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7.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8.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tags/tag30.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10.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1.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2.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3.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4.xml" ContentType="application/vnd.openxmlformats-officedocument.theme+xml"/>
  <Override PartName="/ppt/tags/tag31.xml" ContentType="application/vnd.openxmlformats-officedocument.presentationml.tags+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5.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theme/theme17.xml" ContentType="application/vnd.openxmlformats-officedocument.theme+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18.xml" ContentType="application/vnd.openxmlformats-officedocument.theme+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theme/theme19.xml" ContentType="application/vnd.openxmlformats-officedocument.theme+xml"/>
  <Override PartName="/ppt/tags/tag34.xml" ContentType="application/vnd.openxmlformats-officedocument.presentationml.tags+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20.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theme/theme21.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theme/theme22.xml" ContentType="application/vnd.openxmlformats-officedocument.theme+xml"/>
  <Override PartName="/ppt/tags/tag37.xml" ContentType="application/vnd.openxmlformats-officedocument.presentationml.tags+xml"/>
  <Override PartName="/ppt/theme/theme23.xml" ContentType="application/vnd.openxmlformats-officedocument.theme+xml"/>
  <Override PartName="/ppt/theme/theme24.xml" ContentType="application/vnd.openxmlformats-officedocument.theme+xml"/>
  <Override PartName="/ppt/tags/tag38.xml" ContentType="application/vnd.openxmlformats-officedocument.presentationml.tags+xml"/>
  <Override PartName="/ppt/notesSlides/notesSlide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7.xml" ContentType="application/vnd.openxmlformats-officedocument.presentationml.tags+xml"/>
  <Override PartName="/ppt/notesSlides/notesSlide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0.xml" ContentType="application/vnd.openxmlformats-officedocument.presentationml.tags+xml"/>
  <Override PartName="/ppt/notesSlides/notesSlide18.xml" ContentType="application/vnd.openxmlformats-officedocument.presentationml.notesSlide+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8.xml" ContentType="application/vnd.openxmlformats-officedocument.drawingml.chart+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4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51"/>
    <p:sldMasterId id="2147484617" r:id="rId52"/>
    <p:sldMasterId id="2147484804" r:id="rId53"/>
    <p:sldMasterId id="2147484836" r:id="rId54"/>
    <p:sldMasterId id="2147485032" r:id="rId55"/>
    <p:sldMasterId id="2147485205" r:id="rId56"/>
    <p:sldMasterId id="2147485218" r:id="rId57"/>
    <p:sldMasterId id="2147485231" r:id="rId58"/>
    <p:sldMasterId id="2147485244" r:id="rId59"/>
    <p:sldMasterId id="2147485326" r:id="rId60"/>
    <p:sldMasterId id="2147485352" r:id="rId61"/>
    <p:sldMasterId id="2147485370" r:id="rId62"/>
    <p:sldMasterId id="2147485385" r:id="rId63"/>
    <p:sldMasterId id="2147485416" r:id="rId64"/>
    <p:sldMasterId id="2147485434" r:id="rId65"/>
    <p:sldMasterId id="2147485457" r:id="rId66"/>
    <p:sldMasterId id="2147485487" r:id="rId67"/>
    <p:sldMasterId id="2147485511" r:id="rId68"/>
    <p:sldMasterId id="2147485524" r:id="rId69"/>
    <p:sldMasterId id="2147485538" r:id="rId70"/>
    <p:sldMasterId id="2147485787" r:id="rId71"/>
    <p:sldMasterId id="2147485817" r:id="rId72"/>
  </p:sldMasterIdLst>
  <p:notesMasterIdLst>
    <p:notesMasterId r:id="rId208"/>
  </p:notesMasterIdLst>
  <p:handoutMasterIdLst>
    <p:handoutMasterId r:id="rId209"/>
  </p:handoutMasterIdLst>
  <p:sldIdLst>
    <p:sldId id="260" r:id="rId73"/>
    <p:sldId id="326" r:id="rId74"/>
    <p:sldId id="2147483632" r:id="rId75"/>
    <p:sldId id="266" r:id="rId76"/>
    <p:sldId id="2147483634" r:id="rId77"/>
    <p:sldId id="259" r:id="rId78"/>
    <p:sldId id="315" r:id="rId79"/>
    <p:sldId id="306" r:id="rId80"/>
    <p:sldId id="307" r:id="rId81"/>
    <p:sldId id="2147483571" r:id="rId82"/>
    <p:sldId id="2147483567" r:id="rId83"/>
    <p:sldId id="268" r:id="rId84"/>
    <p:sldId id="309" r:id="rId85"/>
    <p:sldId id="2147483539" r:id="rId86"/>
    <p:sldId id="2147483594" r:id="rId87"/>
    <p:sldId id="257" r:id="rId88"/>
    <p:sldId id="304" r:id="rId89"/>
    <p:sldId id="2147483642" r:id="rId90"/>
    <p:sldId id="256" r:id="rId91"/>
    <p:sldId id="261" r:id="rId92"/>
    <p:sldId id="2147482529" r:id="rId93"/>
    <p:sldId id="2138" r:id="rId94"/>
    <p:sldId id="2147482489" r:id="rId95"/>
    <p:sldId id="2146848336" r:id="rId96"/>
    <p:sldId id="6058" r:id="rId97"/>
    <p:sldId id="2146848317" r:id="rId98"/>
    <p:sldId id="2147373850" r:id="rId99"/>
    <p:sldId id="2147373855" r:id="rId100"/>
    <p:sldId id="2146847888" r:id="rId101"/>
    <p:sldId id="2147483390" r:id="rId102"/>
    <p:sldId id="2147483396" r:id="rId103"/>
    <p:sldId id="280" r:id="rId104"/>
    <p:sldId id="2147483385" r:id="rId105"/>
    <p:sldId id="339" r:id="rId106"/>
    <p:sldId id="2147483391" r:id="rId107"/>
    <p:sldId id="279" r:id="rId108"/>
    <p:sldId id="265" r:id="rId109"/>
    <p:sldId id="2147483392" r:id="rId110"/>
    <p:sldId id="264" r:id="rId111"/>
    <p:sldId id="293" r:id="rId112"/>
    <p:sldId id="2147483394" r:id="rId113"/>
    <p:sldId id="270" r:id="rId114"/>
    <p:sldId id="2147483395" r:id="rId115"/>
    <p:sldId id="291" r:id="rId116"/>
    <p:sldId id="2146848175" r:id="rId117"/>
    <p:sldId id="2147483561" r:id="rId118"/>
    <p:sldId id="277" r:id="rId119"/>
    <p:sldId id="278" r:id="rId120"/>
    <p:sldId id="281" r:id="rId121"/>
    <p:sldId id="282" r:id="rId122"/>
    <p:sldId id="258" r:id="rId123"/>
    <p:sldId id="2147483647" r:id="rId124"/>
    <p:sldId id="267" r:id="rId125"/>
    <p:sldId id="295" r:id="rId126"/>
    <p:sldId id="296" r:id="rId127"/>
    <p:sldId id="297" r:id="rId128"/>
    <p:sldId id="298" r:id="rId129"/>
    <p:sldId id="299" r:id="rId130"/>
    <p:sldId id="300" r:id="rId131"/>
    <p:sldId id="301" r:id="rId132"/>
    <p:sldId id="302" r:id="rId133"/>
    <p:sldId id="303" r:id="rId134"/>
    <p:sldId id="305" r:id="rId135"/>
    <p:sldId id="308" r:id="rId136"/>
    <p:sldId id="310" r:id="rId137"/>
    <p:sldId id="311" r:id="rId138"/>
    <p:sldId id="312" r:id="rId139"/>
    <p:sldId id="313" r:id="rId140"/>
    <p:sldId id="314" r:id="rId141"/>
    <p:sldId id="316" r:id="rId142"/>
    <p:sldId id="317" r:id="rId143"/>
    <p:sldId id="318" r:id="rId144"/>
    <p:sldId id="319" r:id="rId145"/>
    <p:sldId id="2147483553" r:id="rId146"/>
    <p:sldId id="283" r:id="rId147"/>
    <p:sldId id="284" r:id="rId148"/>
    <p:sldId id="285" r:id="rId149"/>
    <p:sldId id="286" r:id="rId150"/>
    <p:sldId id="287" r:id="rId151"/>
    <p:sldId id="262" r:id="rId152"/>
    <p:sldId id="2147473892" r:id="rId153"/>
    <p:sldId id="440" r:id="rId154"/>
    <p:sldId id="3341" r:id="rId155"/>
    <p:sldId id="2147473894" r:id="rId156"/>
    <p:sldId id="2147483113" r:id="rId157"/>
    <p:sldId id="2147483119" r:id="rId158"/>
    <p:sldId id="2147483118" r:id="rId159"/>
    <p:sldId id="2147483114" r:id="rId160"/>
    <p:sldId id="2147483116" r:id="rId161"/>
    <p:sldId id="2147483187" r:id="rId162"/>
    <p:sldId id="269" r:id="rId163"/>
    <p:sldId id="2147473908" r:id="rId164"/>
    <p:sldId id="2147483104" r:id="rId165"/>
    <p:sldId id="2147483123" r:id="rId166"/>
    <p:sldId id="2147483038" r:id="rId167"/>
    <p:sldId id="2147483108" r:id="rId168"/>
    <p:sldId id="2147483093" r:id="rId169"/>
    <p:sldId id="2147483188" r:id="rId170"/>
    <p:sldId id="2147483176" r:id="rId171"/>
    <p:sldId id="2147483184" r:id="rId172"/>
    <p:sldId id="2147483185" r:id="rId173"/>
    <p:sldId id="2147473907" r:id="rId174"/>
    <p:sldId id="276" r:id="rId175"/>
    <p:sldId id="288" r:id="rId176"/>
    <p:sldId id="2147483643" r:id="rId177"/>
    <p:sldId id="289" r:id="rId178"/>
    <p:sldId id="290" r:id="rId179"/>
    <p:sldId id="2147483644" r:id="rId180"/>
    <p:sldId id="2147483569" r:id="rId181"/>
    <p:sldId id="292" r:id="rId182"/>
    <p:sldId id="294" r:id="rId183"/>
    <p:sldId id="263" r:id="rId184"/>
    <p:sldId id="271" r:id="rId185"/>
    <p:sldId id="2147376384" r:id="rId186"/>
    <p:sldId id="2141414439" r:id="rId187"/>
    <p:sldId id="2147376385" r:id="rId188"/>
    <p:sldId id="272" r:id="rId189"/>
    <p:sldId id="2147474285" r:id="rId190"/>
    <p:sldId id="273" r:id="rId191"/>
    <p:sldId id="2141414469" r:id="rId192"/>
    <p:sldId id="2147474237" r:id="rId193"/>
    <p:sldId id="274" r:id="rId194"/>
    <p:sldId id="2147474238" r:id="rId195"/>
    <p:sldId id="2147474296" r:id="rId196"/>
    <p:sldId id="2147474286" r:id="rId197"/>
    <p:sldId id="2147474284" r:id="rId198"/>
    <p:sldId id="275" r:id="rId199"/>
    <p:sldId id="2147474287" r:id="rId200"/>
    <p:sldId id="2147474288" r:id="rId201"/>
    <p:sldId id="2147474293" r:id="rId202"/>
    <p:sldId id="2147474294" r:id="rId203"/>
    <p:sldId id="4787" r:id="rId204"/>
    <p:sldId id="2147483645" r:id="rId205"/>
    <p:sldId id="2147483646" r:id="rId206"/>
    <p:sldId id="320" r:id="rId207"/>
  </p:sldIdLst>
  <p:sldSz cx="12192000" cy="6858000"/>
  <p:notesSz cx="7772400" cy="10058400"/>
  <p:custDataLst>
    <p:tags r:id="rId210"/>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02AFA"/>
    <a:srgbClr val="0432FF"/>
    <a:srgbClr val="2D2DB2"/>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23" autoAdjust="0"/>
    <p:restoredTop sz="96146" autoAdjust="0"/>
  </p:normalViewPr>
  <p:slideViewPr>
    <p:cSldViewPr>
      <p:cViewPr varScale="1">
        <p:scale>
          <a:sx n="172" d="100"/>
          <a:sy n="172" d="100"/>
        </p:scale>
        <p:origin x="832" y="208"/>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45.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slideMaster" Target="slideMasters/slideMaster13.xml"/><Relationship Id="rId84" Type="http://schemas.openxmlformats.org/officeDocument/2006/relationships/slide" Target="slides/slide12.xml"/><Relationship Id="rId138" Type="http://schemas.openxmlformats.org/officeDocument/2006/relationships/slide" Target="slides/slide66.xml"/><Relationship Id="rId159" Type="http://schemas.openxmlformats.org/officeDocument/2006/relationships/slide" Target="slides/slide87.xml"/><Relationship Id="rId170" Type="http://schemas.openxmlformats.org/officeDocument/2006/relationships/slide" Target="slides/slide98.xml"/><Relationship Id="rId191" Type="http://schemas.openxmlformats.org/officeDocument/2006/relationships/slide" Target="slides/slide119.xml"/><Relationship Id="rId205" Type="http://schemas.openxmlformats.org/officeDocument/2006/relationships/slide" Target="slides/slide133.xml"/><Relationship Id="rId107" Type="http://schemas.openxmlformats.org/officeDocument/2006/relationships/slide" Target="slides/slide35.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slideMaster" Target="slideMasters/slideMaster3.xml"/><Relationship Id="rId74" Type="http://schemas.openxmlformats.org/officeDocument/2006/relationships/slide" Target="slides/slide2.xml"/><Relationship Id="rId128" Type="http://schemas.openxmlformats.org/officeDocument/2006/relationships/slide" Target="slides/slide56.xml"/><Relationship Id="rId149" Type="http://schemas.openxmlformats.org/officeDocument/2006/relationships/slide" Target="slides/slide77.xml"/><Relationship Id="rId5" Type="http://schemas.openxmlformats.org/officeDocument/2006/relationships/customXml" Target="../customXml/item5.xml"/><Relationship Id="rId95" Type="http://schemas.openxmlformats.org/officeDocument/2006/relationships/slide" Target="slides/slide23.xml"/><Relationship Id="rId160" Type="http://schemas.openxmlformats.org/officeDocument/2006/relationships/slide" Target="slides/slide88.xml"/><Relationship Id="rId181" Type="http://schemas.openxmlformats.org/officeDocument/2006/relationships/slide" Target="slides/slide109.xml"/><Relationship Id="rId216" Type="http://schemas.microsoft.com/office/2016/11/relationships/changesInfo" Target="changesInfos/changesInfo1.xml"/><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slideMaster" Target="slideMasters/slideMaster14.xml"/><Relationship Id="rId118" Type="http://schemas.openxmlformats.org/officeDocument/2006/relationships/slide" Target="slides/slide46.xml"/><Relationship Id="rId139" Type="http://schemas.openxmlformats.org/officeDocument/2006/relationships/slide" Target="slides/slide67.xml"/><Relationship Id="rId85" Type="http://schemas.openxmlformats.org/officeDocument/2006/relationships/slide" Target="slides/slide13.xml"/><Relationship Id="rId150" Type="http://schemas.openxmlformats.org/officeDocument/2006/relationships/slide" Target="slides/slide78.xml"/><Relationship Id="rId171" Type="http://schemas.openxmlformats.org/officeDocument/2006/relationships/slide" Target="slides/slide99.xml"/><Relationship Id="rId192" Type="http://schemas.openxmlformats.org/officeDocument/2006/relationships/slide" Target="slides/slide120.xml"/><Relationship Id="rId206" Type="http://schemas.openxmlformats.org/officeDocument/2006/relationships/slide" Target="slides/slide134.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slide" Target="slides/slide36.xml"/><Relationship Id="rId129" Type="http://schemas.openxmlformats.org/officeDocument/2006/relationships/slide" Target="slides/slide57.xml"/><Relationship Id="rId54" Type="http://schemas.openxmlformats.org/officeDocument/2006/relationships/slideMaster" Target="slideMasters/slideMaster4.xml"/><Relationship Id="rId75" Type="http://schemas.openxmlformats.org/officeDocument/2006/relationships/slide" Target="slides/slide3.xml"/><Relationship Id="rId96" Type="http://schemas.openxmlformats.org/officeDocument/2006/relationships/slide" Target="slides/slide24.xml"/><Relationship Id="rId140" Type="http://schemas.openxmlformats.org/officeDocument/2006/relationships/slide" Target="slides/slide68.xml"/><Relationship Id="rId161" Type="http://schemas.openxmlformats.org/officeDocument/2006/relationships/slide" Target="slides/slide89.xml"/><Relationship Id="rId182" Type="http://schemas.openxmlformats.org/officeDocument/2006/relationships/slide" Target="slides/slide110.xml"/><Relationship Id="rId6" Type="http://schemas.openxmlformats.org/officeDocument/2006/relationships/customXml" Target="../customXml/item6.xml"/><Relationship Id="rId23" Type="http://schemas.openxmlformats.org/officeDocument/2006/relationships/customXml" Target="../customXml/item23.xml"/><Relationship Id="rId119" Type="http://schemas.openxmlformats.org/officeDocument/2006/relationships/slide" Target="slides/slide47.xml"/><Relationship Id="rId44" Type="http://schemas.openxmlformats.org/officeDocument/2006/relationships/customXml" Target="../customXml/item44.xml"/><Relationship Id="rId65" Type="http://schemas.openxmlformats.org/officeDocument/2006/relationships/slideMaster" Target="slideMasters/slideMaster15.xml"/><Relationship Id="rId86" Type="http://schemas.openxmlformats.org/officeDocument/2006/relationships/slide" Target="slides/slide14.xml"/><Relationship Id="rId130" Type="http://schemas.openxmlformats.org/officeDocument/2006/relationships/slide" Target="slides/slide58.xml"/><Relationship Id="rId151" Type="http://schemas.openxmlformats.org/officeDocument/2006/relationships/slide" Target="slides/slide79.xml"/><Relationship Id="rId172" Type="http://schemas.openxmlformats.org/officeDocument/2006/relationships/slide" Target="slides/slide100.xml"/><Relationship Id="rId193" Type="http://schemas.openxmlformats.org/officeDocument/2006/relationships/slide" Target="slides/slide121.xml"/><Relationship Id="rId207" Type="http://schemas.openxmlformats.org/officeDocument/2006/relationships/slide" Target="slides/slide135.xml"/><Relationship Id="rId13" Type="http://schemas.openxmlformats.org/officeDocument/2006/relationships/customXml" Target="../customXml/item13.xml"/><Relationship Id="rId109" Type="http://schemas.openxmlformats.org/officeDocument/2006/relationships/slide" Target="slides/slide37.xml"/><Relationship Id="rId34" Type="http://schemas.openxmlformats.org/officeDocument/2006/relationships/customXml" Target="../customXml/item34.xml"/><Relationship Id="rId55" Type="http://schemas.openxmlformats.org/officeDocument/2006/relationships/slideMaster" Target="slideMasters/slideMaster5.xml"/><Relationship Id="rId76" Type="http://schemas.openxmlformats.org/officeDocument/2006/relationships/slide" Target="slides/slide4.xml"/><Relationship Id="rId97" Type="http://schemas.openxmlformats.org/officeDocument/2006/relationships/slide" Target="slides/slide25.xml"/><Relationship Id="rId120" Type="http://schemas.openxmlformats.org/officeDocument/2006/relationships/slide" Target="slides/slide48.xml"/><Relationship Id="rId141" Type="http://schemas.openxmlformats.org/officeDocument/2006/relationships/slide" Target="slides/slide69.xml"/><Relationship Id="rId7" Type="http://schemas.openxmlformats.org/officeDocument/2006/relationships/customXml" Target="../customXml/item7.xml"/><Relationship Id="rId162" Type="http://schemas.openxmlformats.org/officeDocument/2006/relationships/slide" Target="slides/slide90.xml"/><Relationship Id="rId183" Type="http://schemas.openxmlformats.org/officeDocument/2006/relationships/slide" Target="slides/slide111.xml"/><Relationship Id="rId24" Type="http://schemas.openxmlformats.org/officeDocument/2006/relationships/customXml" Target="../customXml/item24.xml"/><Relationship Id="rId45" Type="http://schemas.openxmlformats.org/officeDocument/2006/relationships/customXml" Target="../customXml/item45.xml"/><Relationship Id="rId66" Type="http://schemas.openxmlformats.org/officeDocument/2006/relationships/slideMaster" Target="slideMasters/slideMaster16.xml"/><Relationship Id="rId87" Type="http://schemas.openxmlformats.org/officeDocument/2006/relationships/slide" Target="slides/slide15.xml"/><Relationship Id="rId110" Type="http://schemas.openxmlformats.org/officeDocument/2006/relationships/slide" Target="slides/slide38.xml"/><Relationship Id="rId131" Type="http://schemas.openxmlformats.org/officeDocument/2006/relationships/slide" Target="slides/slide59.xml"/><Relationship Id="rId152" Type="http://schemas.openxmlformats.org/officeDocument/2006/relationships/slide" Target="slides/slide80.xml"/><Relationship Id="rId173" Type="http://schemas.openxmlformats.org/officeDocument/2006/relationships/slide" Target="slides/slide101.xml"/><Relationship Id="rId194" Type="http://schemas.openxmlformats.org/officeDocument/2006/relationships/slide" Target="slides/slide122.xml"/><Relationship Id="rId208" Type="http://schemas.openxmlformats.org/officeDocument/2006/relationships/notesMaster" Target="notesMasters/notesMaster1.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Master" Target="slideMasters/slideMaster6.xml"/><Relationship Id="rId77" Type="http://schemas.openxmlformats.org/officeDocument/2006/relationships/slide" Target="slides/slide5.xml"/><Relationship Id="rId100" Type="http://schemas.openxmlformats.org/officeDocument/2006/relationships/slide" Target="slides/slide28.xml"/><Relationship Id="rId105" Type="http://schemas.openxmlformats.org/officeDocument/2006/relationships/slide" Target="slides/slide33.xml"/><Relationship Id="rId126" Type="http://schemas.openxmlformats.org/officeDocument/2006/relationships/slide" Target="slides/slide54.xml"/><Relationship Id="rId147" Type="http://schemas.openxmlformats.org/officeDocument/2006/relationships/slide" Target="slides/slide75.xml"/><Relationship Id="rId168" Type="http://schemas.openxmlformats.org/officeDocument/2006/relationships/slide" Target="slides/slide96.xml"/><Relationship Id="rId8" Type="http://schemas.openxmlformats.org/officeDocument/2006/relationships/customXml" Target="../customXml/item8.xml"/><Relationship Id="rId51" Type="http://schemas.openxmlformats.org/officeDocument/2006/relationships/slideMaster" Target="slideMasters/slideMaster1.xml"/><Relationship Id="rId72" Type="http://schemas.openxmlformats.org/officeDocument/2006/relationships/slideMaster" Target="slideMasters/slideMaster22.xml"/><Relationship Id="rId93" Type="http://schemas.openxmlformats.org/officeDocument/2006/relationships/slide" Target="slides/slide21.xml"/><Relationship Id="rId98" Type="http://schemas.openxmlformats.org/officeDocument/2006/relationships/slide" Target="slides/slide26.xml"/><Relationship Id="rId121" Type="http://schemas.openxmlformats.org/officeDocument/2006/relationships/slide" Target="slides/slide49.xml"/><Relationship Id="rId142" Type="http://schemas.openxmlformats.org/officeDocument/2006/relationships/slide" Target="slides/slide70.xml"/><Relationship Id="rId163" Type="http://schemas.openxmlformats.org/officeDocument/2006/relationships/slide" Target="slides/slide91.xml"/><Relationship Id="rId184" Type="http://schemas.openxmlformats.org/officeDocument/2006/relationships/slide" Target="slides/slide112.xml"/><Relationship Id="rId189" Type="http://schemas.openxmlformats.org/officeDocument/2006/relationships/slide" Target="slides/slide117.xml"/><Relationship Id="rId3" Type="http://schemas.openxmlformats.org/officeDocument/2006/relationships/customXml" Target="../customXml/item3.xml"/><Relationship Id="rId214" Type="http://schemas.openxmlformats.org/officeDocument/2006/relationships/theme" Target="theme/theme1.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Master" Target="slideMasters/slideMaster17.xml"/><Relationship Id="rId116" Type="http://schemas.openxmlformats.org/officeDocument/2006/relationships/slide" Target="slides/slide44.xml"/><Relationship Id="rId137" Type="http://schemas.openxmlformats.org/officeDocument/2006/relationships/slide" Target="slides/slide65.xml"/><Relationship Id="rId158" Type="http://schemas.openxmlformats.org/officeDocument/2006/relationships/slide" Target="slides/slide86.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Master" Target="slideMasters/slideMaster12.xml"/><Relationship Id="rId83" Type="http://schemas.openxmlformats.org/officeDocument/2006/relationships/slide" Target="slides/slide11.xml"/><Relationship Id="rId88" Type="http://schemas.openxmlformats.org/officeDocument/2006/relationships/slide" Target="slides/slide16.xml"/><Relationship Id="rId111" Type="http://schemas.openxmlformats.org/officeDocument/2006/relationships/slide" Target="slides/slide39.xml"/><Relationship Id="rId132" Type="http://schemas.openxmlformats.org/officeDocument/2006/relationships/slide" Target="slides/slide60.xml"/><Relationship Id="rId153" Type="http://schemas.openxmlformats.org/officeDocument/2006/relationships/slide" Target="slides/slide81.xml"/><Relationship Id="rId174" Type="http://schemas.openxmlformats.org/officeDocument/2006/relationships/slide" Target="slides/slide102.xml"/><Relationship Id="rId179" Type="http://schemas.openxmlformats.org/officeDocument/2006/relationships/slide" Target="slides/slide107.xml"/><Relationship Id="rId195" Type="http://schemas.openxmlformats.org/officeDocument/2006/relationships/slide" Target="slides/slide123.xml"/><Relationship Id="rId209" Type="http://schemas.openxmlformats.org/officeDocument/2006/relationships/handoutMaster" Target="handoutMasters/handoutMaster1.xml"/><Relationship Id="rId190" Type="http://schemas.openxmlformats.org/officeDocument/2006/relationships/slide" Target="slides/slide118.xml"/><Relationship Id="rId204" Type="http://schemas.openxmlformats.org/officeDocument/2006/relationships/slide" Target="slides/slide132.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slideMaster" Target="slideMasters/slideMaster7.xml"/><Relationship Id="rId106" Type="http://schemas.openxmlformats.org/officeDocument/2006/relationships/slide" Target="slides/slide34.xml"/><Relationship Id="rId127" Type="http://schemas.openxmlformats.org/officeDocument/2006/relationships/slide" Target="slides/slide55.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Master" Target="slideMasters/slideMaster2.xml"/><Relationship Id="rId73" Type="http://schemas.openxmlformats.org/officeDocument/2006/relationships/slide" Target="slides/slide1.xml"/><Relationship Id="rId78" Type="http://schemas.openxmlformats.org/officeDocument/2006/relationships/slide" Target="slides/slide6.xml"/><Relationship Id="rId94" Type="http://schemas.openxmlformats.org/officeDocument/2006/relationships/slide" Target="slides/slide22.xml"/><Relationship Id="rId99" Type="http://schemas.openxmlformats.org/officeDocument/2006/relationships/slide" Target="slides/slide27.xml"/><Relationship Id="rId101" Type="http://schemas.openxmlformats.org/officeDocument/2006/relationships/slide" Target="slides/slide29.xml"/><Relationship Id="rId122" Type="http://schemas.openxmlformats.org/officeDocument/2006/relationships/slide" Target="slides/slide50.xml"/><Relationship Id="rId143" Type="http://schemas.openxmlformats.org/officeDocument/2006/relationships/slide" Target="slides/slide71.xml"/><Relationship Id="rId148" Type="http://schemas.openxmlformats.org/officeDocument/2006/relationships/slide" Target="slides/slide76.xml"/><Relationship Id="rId164" Type="http://schemas.openxmlformats.org/officeDocument/2006/relationships/slide" Target="slides/slide92.xml"/><Relationship Id="rId169" Type="http://schemas.openxmlformats.org/officeDocument/2006/relationships/slide" Target="slides/slide97.xml"/><Relationship Id="rId185" Type="http://schemas.openxmlformats.org/officeDocument/2006/relationships/slide" Target="slides/slide113.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08.xml"/><Relationship Id="rId210" Type="http://schemas.openxmlformats.org/officeDocument/2006/relationships/tags" Target="tags/tag1.xml"/><Relationship Id="rId215" Type="http://schemas.openxmlformats.org/officeDocument/2006/relationships/tableStyles" Target="tableStyles.xml"/><Relationship Id="rId26" Type="http://schemas.openxmlformats.org/officeDocument/2006/relationships/customXml" Target="../customXml/item26.xml"/><Relationship Id="rId47" Type="http://schemas.openxmlformats.org/officeDocument/2006/relationships/customXml" Target="../customXml/item47.xml"/><Relationship Id="rId68" Type="http://schemas.openxmlformats.org/officeDocument/2006/relationships/slideMaster" Target="slideMasters/slideMaster18.xml"/><Relationship Id="rId89" Type="http://schemas.openxmlformats.org/officeDocument/2006/relationships/slide" Target="slides/slide17.xml"/><Relationship Id="rId112" Type="http://schemas.openxmlformats.org/officeDocument/2006/relationships/slide" Target="slides/slide40.xml"/><Relationship Id="rId133" Type="http://schemas.openxmlformats.org/officeDocument/2006/relationships/slide" Target="slides/slide61.xml"/><Relationship Id="rId154" Type="http://schemas.openxmlformats.org/officeDocument/2006/relationships/slide" Target="slides/slide82.xml"/><Relationship Id="rId175" Type="http://schemas.openxmlformats.org/officeDocument/2006/relationships/slide" Target="slides/slide103.xml"/><Relationship Id="rId196" Type="http://schemas.openxmlformats.org/officeDocument/2006/relationships/slide" Target="slides/slide124.xml"/><Relationship Id="rId200" Type="http://schemas.openxmlformats.org/officeDocument/2006/relationships/slide" Target="slides/slide128.xml"/><Relationship Id="rId16" Type="http://schemas.openxmlformats.org/officeDocument/2006/relationships/customXml" Target="../customXml/item16.xml"/><Relationship Id="rId37" Type="http://schemas.openxmlformats.org/officeDocument/2006/relationships/customXml" Target="../customXml/item37.xml"/><Relationship Id="rId58" Type="http://schemas.openxmlformats.org/officeDocument/2006/relationships/slideMaster" Target="slideMasters/slideMaster8.xml"/><Relationship Id="rId79" Type="http://schemas.openxmlformats.org/officeDocument/2006/relationships/slide" Target="slides/slide7.xml"/><Relationship Id="rId102" Type="http://schemas.openxmlformats.org/officeDocument/2006/relationships/slide" Target="slides/slide30.xml"/><Relationship Id="rId123" Type="http://schemas.openxmlformats.org/officeDocument/2006/relationships/slide" Target="slides/slide51.xml"/><Relationship Id="rId144" Type="http://schemas.openxmlformats.org/officeDocument/2006/relationships/slide" Target="slides/slide72.xml"/><Relationship Id="rId90" Type="http://schemas.openxmlformats.org/officeDocument/2006/relationships/slide" Target="slides/slide18.xml"/><Relationship Id="rId165" Type="http://schemas.openxmlformats.org/officeDocument/2006/relationships/slide" Target="slides/slide93.xml"/><Relationship Id="rId186" Type="http://schemas.openxmlformats.org/officeDocument/2006/relationships/slide" Target="slides/slide114.xml"/><Relationship Id="rId211" Type="http://schemas.openxmlformats.org/officeDocument/2006/relationships/commentAuthors" Target="commentAuthors.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slideMaster" Target="slideMasters/slideMaster19.xml"/><Relationship Id="rId113" Type="http://schemas.openxmlformats.org/officeDocument/2006/relationships/slide" Target="slides/slide41.xml"/><Relationship Id="rId134" Type="http://schemas.openxmlformats.org/officeDocument/2006/relationships/slide" Target="slides/slide62.xml"/><Relationship Id="rId80" Type="http://schemas.openxmlformats.org/officeDocument/2006/relationships/slide" Target="slides/slide8.xml"/><Relationship Id="rId155" Type="http://schemas.openxmlformats.org/officeDocument/2006/relationships/slide" Target="slides/slide83.xml"/><Relationship Id="rId176" Type="http://schemas.openxmlformats.org/officeDocument/2006/relationships/slide" Target="slides/slide104.xml"/><Relationship Id="rId197" Type="http://schemas.openxmlformats.org/officeDocument/2006/relationships/slide" Target="slides/slide125.xml"/><Relationship Id="rId201" Type="http://schemas.openxmlformats.org/officeDocument/2006/relationships/slide" Target="slides/slide129.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slideMaster" Target="slideMasters/slideMaster9.xml"/><Relationship Id="rId103" Type="http://schemas.openxmlformats.org/officeDocument/2006/relationships/slide" Target="slides/slide31.xml"/><Relationship Id="rId124" Type="http://schemas.openxmlformats.org/officeDocument/2006/relationships/slide" Target="slides/slide52.xml"/><Relationship Id="rId70" Type="http://schemas.openxmlformats.org/officeDocument/2006/relationships/slideMaster" Target="slideMasters/slideMaster20.xml"/><Relationship Id="rId91" Type="http://schemas.openxmlformats.org/officeDocument/2006/relationships/slide" Target="slides/slide19.xml"/><Relationship Id="rId145" Type="http://schemas.openxmlformats.org/officeDocument/2006/relationships/slide" Target="slides/slide73.xml"/><Relationship Id="rId166" Type="http://schemas.openxmlformats.org/officeDocument/2006/relationships/slide" Target="slides/slide94.xml"/><Relationship Id="rId187" Type="http://schemas.openxmlformats.org/officeDocument/2006/relationships/slide" Target="slides/slide115.xml"/><Relationship Id="rId1" Type="http://schemas.openxmlformats.org/officeDocument/2006/relationships/customXml" Target="../customXml/item1.xml"/><Relationship Id="rId212" Type="http://schemas.openxmlformats.org/officeDocument/2006/relationships/presProps" Target="presProps.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slide" Target="slides/slide42.xml"/><Relationship Id="rId60" Type="http://schemas.openxmlformats.org/officeDocument/2006/relationships/slideMaster" Target="slideMasters/slideMaster10.xml"/><Relationship Id="rId81" Type="http://schemas.openxmlformats.org/officeDocument/2006/relationships/slide" Target="slides/slide9.xml"/><Relationship Id="rId135" Type="http://schemas.openxmlformats.org/officeDocument/2006/relationships/slide" Target="slides/slide63.xml"/><Relationship Id="rId156" Type="http://schemas.openxmlformats.org/officeDocument/2006/relationships/slide" Target="slides/slide84.xml"/><Relationship Id="rId177" Type="http://schemas.openxmlformats.org/officeDocument/2006/relationships/slide" Target="slides/slide105.xml"/><Relationship Id="rId198" Type="http://schemas.openxmlformats.org/officeDocument/2006/relationships/slide" Target="slides/slide126.xml"/><Relationship Id="rId202" Type="http://schemas.openxmlformats.org/officeDocument/2006/relationships/slide" Target="slides/slide130.xml"/><Relationship Id="rId18" Type="http://schemas.openxmlformats.org/officeDocument/2006/relationships/customXml" Target="../customXml/item18.xml"/><Relationship Id="rId39" Type="http://schemas.openxmlformats.org/officeDocument/2006/relationships/customXml" Target="../customXml/item39.xml"/><Relationship Id="rId50" Type="http://schemas.openxmlformats.org/officeDocument/2006/relationships/customXml" Target="../customXml/item50.xml"/><Relationship Id="rId104" Type="http://schemas.openxmlformats.org/officeDocument/2006/relationships/slide" Target="slides/slide32.xml"/><Relationship Id="rId125" Type="http://schemas.openxmlformats.org/officeDocument/2006/relationships/slide" Target="slides/slide53.xml"/><Relationship Id="rId146" Type="http://schemas.openxmlformats.org/officeDocument/2006/relationships/slide" Target="slides/slide74.xml"/><Relationship Id="rId167" Type="http://schemas.openxmlformats.org/officeDocument/2006/relationships/slide" Target="slides/slide95.xml"/><Relationship Id="rId188" Type="http://schemas.openxmlformats.org/officeDocument/2006/relationships/slide" Target="slides/slide116.xml"/><Relationship Id="rId71" Type="http://schemas.openxmlformats.org/officeDocument/2006/relationships/slideMaster" Target="slideMasters/slideMaster21.xml"/><Relationship Id="rId92" Type="http://schemas.openxmlformats.org/officeDocument/2006/relationships/slide" Target="slides/slide20.xml"/><Relationship Id="rId213"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customXml" Target="../customXml/item29.xml"/><Relationship Id="rId40" Type="http://schemas.openxmlformats.org/officeDocument/2006/relationships/customXml" Target="../customXml/item40.xml"/><Relationship Id="rId115" Type="http://schemas.openxmlformats.org/officeDocument/2006/relationships/slide" Target="slides/slide43.xml"/><Relationship Id="rId136" Type="http://schemas.openxmlformats.org/officeDocument/2006/relationships/slide" Target="slides/slide64.xml"/><Relationship Id="rId157" Type="http://schemas.openxmlformats.org/officeDocument/2006/relationships/slide" Target="slides/slide85.xml"/><Relationship Id="rId178" Type="http://schemas.openxmlformats.org/officeDocument/2006/relationships/slide" Target="slides/slide106.xml"/><Relationship Id="rId61" Type="http://schemas.openxmlformats.org/officeDocument/2006/relationships/slideMaster" Target="slideMasters/slideMaster11.xml"/><Relationship Id="rId82" Type="http://schemas.openxmlformats.org/officeDocument/2006/relationships/slide" Target="slides/slide10.xml"/><Relationship Id="rId199" Type="http://schemas.openxmlformats.org/officeDocument/2006/relationships/slide" Target="slides/slide127.xml"/><Relationship Id="rId203" Type="http://schemas.openxmlformats.org/officeDocument/2006/relationships/slide" Target="slides/slide1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nali Wadehra" userId="a49930c1-0f6e-4d08-a38a-aa5944723777" providerId="ADAL" clId="{798428BC-7DAE-4BDB-B3D7-D3A30B93072A}"/>
    <pc:docChg chg="modSld sldOrd delMainMaster modMainMaster">
      <pc:chgData name="Sunali Wadehra" userId="a49930c1-0f6e-4d08-a38a-aa5944723777" providerId="ADAL" clId="{798428BC-7DAE-4BDB-B3D7-D3A30B93072A}" dt="2026-04-11T13:22:00.170" v="7"/>
      <pc:docMkLst>
        <pc:docMk/>
      </pc:docMkLst>
      <pc:sldChg chg="modSp mod modClrScheme chgLayout">
        <pc:chgData name="Sunali Wadehra" userId="a49930c1-0f6e-4d08-a38a-aa5944723777" providerId="ADAL" clId="{798428BC-7DAE-4BDB-B3D7-D3A30B93072A}" dt="2026-04-11T13:21:43.402" v="5"/>
        <pc:sldMkLst>
          <pc:docMk/>
          <pc:sldMk cId="3471877977" sldId="2147483123"/>
        </pc:sldMkLst>
        <pc:spChg chg="mod ord">
          <ac:chgData name="Sunali Wadehra" userId="a49930c1-0f6e-4d08-a38a-aa5944723777" providerId="ADAL" clId="{798428BC-7DAE-4BDB-B3D7-D3A30B93072A}" dt="2026-04-11T13:21:43.402" v="5"/>
          <ac:spMkLst>
            <pc:docMk/>
            <pc:sldMk cId="3471877977" sldId="2147483123"/>
            <ac:spMk id="2" creationId="{47D24AC1-2795-F030-DE25-96FE244AF43E}"/>
          </ac:spMkLst>
        </pc:spChg>
        <pc:spChg chg="mod ord">
          <ac:chgData name="Sunali Wadehra" userId="a49930c1-0f6e-4d08-a38a-aa5944723777" providerId="ADAL" clId="{798428BC-7DAE-4BDB-B3D7-D3A30B93072A}" dt="2026-04-11T13:21:43.402" v="5"/>
          <ac:spMkLst>
            <pc:docMk/>
            <pc:sldMk cId="3471877977" sldId="2147483123"/>
            <ac:spMk id="5" creationId="{7211E1F7-FB94-3F9C-3CA0-9913C5173F94}"/>
          </ac:spMkLst>
        </pc:spChg>
      </pc:sldChg>
      <pc:sldChg chg="ord">
        <pc:chgData name="Sunali Wadehra" userId="a49930c1-0f6e-4d08-a38a-aa5944723777" providerId="ADAL" clId="{798428BC-7DAE-4BDB-B3D7-D3A30B93072A}" dt="2026-04-11T13:21:32.424" v="1"/>
        <pc:sldMkLst>
          <pc:docMk/>
          <pc:sldMk cId="4257097357" sldId="2147483187"/>
        </pc:sldMkLst>
      </pc:sldChg>
      <pc:sldChg chg="ord">
        <pc:chgData name="Sunali Wadehra" userId="a49930c1-0f6e-4d08-a38a-aa5944723777" providerId="ADAL" clId="{798428BC-7DAE-4BDB-B3D7-D3A30B93072A}" dt="2026-04-11T13:22:00.170" v="7"/>
        <pc:sldMkLst>
          <pc:docMk/>
          <pc:sldMk cId="3383287063" sldId="2147483188"/>
        </pc:sldMkLst>
      </pc:sldChg>
      <pc:sldChg chg="modSp mod modClrScheme chgLayout">
        <pc:chgData name="Sunali Wadehra" userId="a49930c1-0f6e-4d08-a38a-aa5944723777" providerId="ADAL" clId="{798428BC-7DAE-4BDB-B3D7-D3A30B93072A}" dt="2026-04-11T13:21:43.402" v="5"/>
        <pc:sldMkLst>
          <pc:docMk/>
          <pc:sldMk cId="4213992539" sldId="2147483385"/>
        </pc:sldMkLst>
        <pc:spChg chg="mod ord">
          <ac:chgData name="Sunali Wadehra" userId="a49930c1-0f6e-4d08-a38a-aa5944723777" providerId="ADAL" clId="{798428BC-7DAE-4BDB-B3D7-D3A30B93072A}" dt="2026-04-11T13:21:43.402" v="5"/>
          <ac:spMkLst>
            <pc:docMk/>
            <pc:sldMk cId="4213992539" sldId="2147483385"/>
            <ac:spMk id="6" creationId="{0BA9DDE6-05DE-4790-AC1D-3930005AFD9E}"/>
          </ac:spMkLst>
        </pc:spChg>
      </pc:sldChg>
      <pc:sldMasterChg chg="del delSldLayout">
        <pc:chgData name="Sunali Wadehra" userId="a49930c1-0f6e-4d08-a38a-aa5944723777" providerId="ADAL" clId="{798428BC-7DAE-4BDB-B3D7-D3A30B93072A}" dt="2026-04-11T13:21:43.163" v="2"/>
        <pc:sldMasterMkLst>
          <pc:docMk/>
          <pc:sldMasterMk cId="3205297584" sldId="2147484591"/>
        </pc:sldMasterMkLst>
        <pc:sldLayoutChg chg="del">
          <pc:chgData name="Sunali Wadehra" userId="a49930c1-0f6e-4d08-a38a-aa5944723777" providerId="ADAL" clId="{798428BC-7DAE-4BDB-B3D7-D3A30B93072A}" dt="2026-04-11T13:21:43.163" v="2"/>
          <pc:sldLayoutMkLst>
            <pc:docMk/>
            <pc:sldMasterMk cId="3205297584" sldId="2147484591"/>
            <pc:sldLayoutMk cId="1104195846" sldId="2147484592"/>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3634211964" sldId="2147484593"/>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2552880882" sldId="2147484594"/>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4209134099" sldId="2147484595"/>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413157544" sldId="2147484596"/>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2719326801" sldId="2147484597"/>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2662648754" sldId="2147484598"/>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268674476" sldId="2147484599"/>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520580338" sldId="2147484600"/>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1099463591" sldId="2147484601"/>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452405131" sldId="2147484602"/>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4102626462" sldId="2147484603"/>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2663012188" sldId="2147484604"/>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4175657833" sldId="2147484605"/>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388300816" sldId="2147484606"/>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3622196972" sldId="2147484607"/>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2899317415" sldId="2147484608"/>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2502938497" sldId="2147484609"/>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968975803" sldId="2147484610"/>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4167734877" sldId="2147484611"/>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3469377752" sldId="2147484612"/>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586331176" sldId="2147484613"/>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2084586558" sldId="2147484614"/>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3749828224" sldId="2147484615"/>
          </pc:sldLayoutMkLst>
        </pc:sldLayoutChg>
        <pc:sldLayoutChg chg="del">
          <pc:chgData name="Sunali Wadehra" userId="a49930c1-0f6e-4d08-a38a-aa5944723777" providerId="ADAL" clId="{798428BC-7DAE-4BDB-B3D7-D3A30B93072A}" dt="2026-04-11T13:21:43.163" v="2"/>
          <pc:sldLayoutMkLst>
            <pc:docMk/>
            <pc:sldMasterMk cId="3205297584" sldId="2147484591"/>
            <pc:sldLayoutMk cId="293621264" sldId="2147484616"/>
          </pc:sldLayoutMkLst>
        </pc:sldLayoutChg>
      </pc:sldMasterChg>
      <pc:sldMasterChg chg="del delSldLayout">
        <pc:chgData name="Sunali Wadehra" userId="a49930c1-0f6e-4d08-a38a-aa5944723777" providerId="ADAL" clId="{798428BC-7DAE-4BDB-B3D7-D3A30B93072A}" dt="2026-04-11T13:21:43.163" v="2"/>
        <pc:sldMasterMkLst>
          <pc:docMk/>
          <pc:sldMasterMk cId="2976190950" sldId="2147484734"/>
        </pc:sldMasterMkLst>
        <pc:sldLayoutChg chg="del">
          <pc:chgData name="Sunali Wadehra" userId="a49930c1-0f6e-4d08-a38a-aa5944723777" providerId="ADAL" clId="{798428BC-7DAE-4BDB-B3D7-D3A30B93072A}" dt="2026-04-11T13:21:43.163" v="2"/>
          <pc:sldLayoutMkLst>
            <pc:docMk/>
            <pc:sldMasterMk cId="2976190950" sldId="2147484734"/>
            <pc:sldLayoutMk cId="1951222207" sldId="2147484735"/>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633115741" sldId="2147484736"/>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2877455030" sldId="2147484737"/>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758153165" sldId="2147484738"/>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1129237668" sldId="2147484739"/>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645004834" sldId="2147484740"/>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2999997919" sldId="2147484741"/>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325051284" sldId="2147484742"/>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1157343488" sldId="2147484743"/>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2774027957" sldId="2147484744"/>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607343644" sldId="2147484745"/>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2312135208" sldId="2147484746"/>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2942383725" sldId="2147484747"/>
          </pc:sldLayoutMkLst>
        </pc:sldLayoutChg>
        <pc:sldLayoutChg chg="del">
          <pc:chgData name="Sunali Wadehra" userId="a49930c1-0f6e-4d08-a38a-aa5944723777" providerId="ADAL" clId="{798428BC-7DAE-4BDB-B3D7-D3A30B93072A}" dt="2026-04-11T13:21:43.163" v="2"/>
          <pc:sldLayoutMkLst>
            <pc:docMk/>
            <pc:sldMasterMk cId="2976190950" sldId="2147484734"/>
            <pc:sldLayoutMk cId="2654061852" sldId="2147484748"/>
          </pc:sldLayoutMkLst>
        </pc:sldLayoutChg>
      </pc:sldMasterChg>
      <pc:sldMasterChg chg="del delSldLayout">
        <pc:chgData name="Sunali Wadehra" userId="a49930c1-0f6e-4d08-a38a-aa5944723777" providerId="ADAL" clId="{798428BC-7DAE-4BDB-B3D7-D3A30B93072A}" dt="2026-04-11T13:21:43.163" v="2"/>
        <pc:sldMasterMkLst>
          <pc:docMk/>
          <pc:sldMasterMk cId="4049549347" sldId="2147484778"/>
        </pc:sldMasterMkLst>
        <pc:sldLayoutChg chg="del">
          <pc:chgData name="Sunali Wadehra" userId="a49930c1-0f6e-4d08-a38a-aa5944723777" providerId="ADAL" clId="{798428BC-7DAE-4BDB-B3D7-D3A30B93072A}" dt="2026-04-11T13:21:43.163" v="2"/>
          <pc:sldLayoutMkLst>
            <pc:docMk/>
            <pc:sldMasterMk cId="4049549347" sldId="2147484778"/>
            <pc:sldLayoutMk cId="1806351126" sldId="2147484779"/>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2373371596" sldId="2147484780"/>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618250185" sldId="2147484781"/>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1046879394" sldId="2147484782"/>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3876963450" sldId="2147484783"/>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1625608967" sldId="2147484784"/>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3898027814" sldId="2147484785"/>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2817959872" sldId="2147484786"/>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4113092353" sldId="2147484787"/>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1667576427" sldId="2147484788"/>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3860172120" sldId="2147484789"/>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1365877679" sldId="2147484790"/>
          </pc:sldLayoutMkLst>
        </pc:sldLayoutChg>
        <pc:sldLayoutChg chg="del">
          <pc:chgData name="Sunali Wadehra" userId="a49930c1-0f6e-4d08-a38a-aa5944723777" providerId="ADAL" clId="{798428BC-7DAE-4BDB-B3D7-D3A30B93072A}" dt="2026-04-11T13:21:43.163" v="2"/>
          <pc:sldLayoutMkLst>
            <pc:docMk/>
            <pc:sldMasterMk cId="4049549347" sldId="2147484778"/>
            <pc:sldLayoutMk cId="1531614532" sldId="2147484791"/>
          </pc:sldLayoutMkLst>
        </pc:sldLayoutChg>
      </pc:sldMasterChg>
      <pc:sldMasterChg chg="del delSldLayout">
        <pc:chgData name="Sunali Wadehra" userId="a49930c1-0f6e-4d08-a38a-aa5944723777" providerId="ADAL" clId="{798428BC-7DAE-4BDB-B3D7-D3A30B93072A}" dt="2026-04-11T13:21:43.163" v="2"/>
        <pc:sldMasterMkLst>
          <pc:docMk/>
          <pc:sldMasterMk cId="2668898168" sldId="2147485058"/>
        </pc:sldMasterMkLst>
        <pc:sldLayoutChg chg="del">
          <pc:chgData name="Sunali Wadehra" userId="a49930c1-0f6e-4d08-a38a-aa5944723777" providerId="ADAL" clId="{798428BC-7DAE-4BDB-B3D7-D3A30B93072A}" dt="2026-04-11T13:21:43.163" v="2"/>
          <pc:sldLayoutMkLst>
            <pc:docMk/>
            <pc:sldMasterMk cId="2668898168" sldId="2147485058"/>
            <pc:sldLayoutMk cId="508652995" sldId="2147485059"/>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3658186376" sldId="2147485060"/>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412540007" sldId="2147485061"/>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850193633" sldId="2147485062"/>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1142491049" sldId="2147485063"/>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3586817474" sldId="2147485064"/>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2110269637" sldId="2147485065"/>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1232635966" sldId="2147485066"/>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2560577263" sldId="2147485067"/>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1013418613" sldId="2147485068"/>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2765699655" sldId="2147485069"/>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4050980780" sldId="2147485070"/>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1576927535" sldId="2147485071"/>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236059142" sldId="2147485072"/>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3645071728" sldId="2147485073"/>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2467515783" sldId="2147485074"/>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2080560071" sldId="2147485075"/>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2524087598" sldId="2147485076"/>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4102313527" sldId="2147485077"/>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3939422449" sldId="2147485078"/>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1089146700" sldId="2147485079"/>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2919035956" sldId="2147485080"/>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160336514" sldId="2147485081"/>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1533364853" sldId="2147485082"/>
          </pc:sldLayoutMkLst>
        </pc:sldLayoutChg>
        <pc:sldLayoutChg chg="del">
          <pc:chgData name="Sunali Wadehra" userId="a49930c1-0f6e-4d08-a38a-aa5944723777" providerId="ADAL" clId="{798428BC-7DAE-4BDB-B3D7-D3A30B93072A}" dt="2026-04-11T13:21:43.163" v="2"/>
          <pc:sldLayoutMkLst>
            <pc:docMk/>
            <pc:sldMasterMk cId="2668898168" sldId="2147485058"/>
            <pc:sldLayoutMk cId="3713605109" sldId="2147485083"/>
          </pc:sldLayoutMkLst>
        </pc:sldLayoutChg>
      </pc:sldMasterChg>
      <pc:sldMasterChg chg="modSldLayout sldLayoutOrd">
        <pc:chgData name="Sunali Wadehra" userId="a49930c1-0f6e-4d08-a38a-aa5944723777" providerId="ADAL" clId="{798428BC-7DAE-4BDB-B3D7-D3A30B93072A}" dt="2026-04-11T13:21:43.240" v="3"/>
        <pc:sldMasterMkLst>
          <pc:docMk/>
          <pc:sldMasterMk cId="3650610165" sldId="2147485205"/>
        </pc:sldMasterMkLst>
        <pc:sldLayoutChg chg="modSp mod ord">
          <pc:chgData name="Sunali Wadehra" userId="a49930c1-0f6e-4d08-a38a-aa5944723777" providerId="ADAL" clId="{798428BC-7DAE-4BDB-B3D7-D3A30B93072A}" dt="2026-04-11T13:21:43.240" v="3"/>
          <pc:sldLayoutMkLst>
            <pc:docMk/>
            <pc:sldMasterMk cId="3650610165" sldId="2147485205"/>
            <pc:sldLayoutMk cId="2747976497" sldId="2147485340"/>
          </pc:sldLayoutMkLst>
          <pc:spChg chg="mod">
            <ac:chgData name="Sunali Wadehra" userId="a49930c1-0f6e-4d08-a38a-aa5944723777" providerId="ADAL" clId="{798428BC-7DAE-4BDB-B3D7-D3A30B93072A}" dt="2026-04-11T13:21:43.240" v="3"/>
            <ac:spMkLst>
              <pc:docMk/>
              <pc:sldMasterMk cId="3650610165" sldId="2147485205"/>
              <pc:sldLayoutMk cId="2747976497" sldId="2147485340"/>
              <ac:spMk id="2" creationId="{49CDCC3B-CA12-4A4B-B5F5-D2062F3C58EC}"/>
            </ac:spMkLst>
          </pc:spChg>
          <pc:spChg chg="mod">
            <ac:chgData name="Sunali Wadehra" userId="a49930c1-0f6e-4d08-a38a-aa5944723777" providerId="ADAL" clId="{798428BC-7DAE-4BDB-B3D7-D3A30B93072A}" dt="2026-04-11T13:21:43.240" v="3"/>
            <ac:spMkLst>
              <pc:docMk/>
              <pc:sldMasterMk cId="3650610165" sldId="2147485205"/>
              <pc:sldLayoutMk cId="2747976497" sldId="2147485340"/>
              <ac:spMk id="3" creationId="{39E6A1CD-3FD6-4AD3-876A-75F060E88A2E}"/>
            </ac:spMkLst>
          </pc:spChg>
          <pc:spChg chg="mod">
            <ac:chgData name="Sunali Wadehra" userId="a49930c1-0f6e-4d08-a38a-aa5944723777" providerId="ADAL" clId="{798428BC-7DAE-4BDB-B3D7-D3A30B93072A}" dt="2026-04-11T13:21:43.240" v="3"/>
            <ac:spMkLst>
              <pc:docMk/>
              <pc:sldMasterMk cId="3650610165" sldId="2147485205"/>
              <pc:sldLayoutMk cId="2747976497" sldId="2147485340"/>
              <ac:spMk id="6" creationId="{3506CBD9-0F78-454A-9842-87C2546180B8}"/>
            </ac:spMkLst>
          </pc:spChg>
          <pc:spChg chg="mod">
            <ac:chgData name="Sunali Wadehra" userId="a49930c1-0f6e-4d08-a38a-aa5944723777" providerId="ADAL" clId="{798428BC-7DAE-4BDB-B3D7-D3A30B93072A}" dt="2026-04-11T13:21:43.240" v="3"/>
            <ac:spMkLst>
              <pc:docMk/>
              <pc:sldMasterMk cId="3650610165" sldId="2147485205"/>
              <pc:sldLayoutMk cId="2747976497" sldId="2147485340"/>
              <ac:spMk id="8" creationId="{7468ED59-10F2-418A-8E8D-5A205AB6BDFD}"/>
            </ac:spMkLst>
          </pc:spChg>
          <pc:spChg chg="mod">
            <ac:chgData name="Sunali Wadehra" userId="a49930c1-0f6e-4d08-a38a-aa5944723777" providerId="ADAL" clId="{798428BC-7DAE-4BDB-B3D7-D3A30B93072A}" dt="2026-04-11T13:21:43.240" v="3"/>
            <ac:spMkLst>
              <pc:docMk/>
              <pc:sldMasterMk cId="3650610165" sldId="2147485205"/>
              <pc:sldLayoutMk cId="2747976497" sldId="2147485340"/>
              <ac:spMk id="10" creationId="{632E5583-912E-4EA8-8EDC-7B6B86E76274}"/>
            </ac:spMkLst>
          </pc:spChg>
        </pc:sldLayoutChg>
        <pc:sldLayoutChg chg="modSp mod ord">
          <pc:chgData name="Sunali Wadehra" userId="a49930c1-0f6e-4d08-a38a-aa5944723777" providerId="ADAL" clId="{798428BC-7DAE-4BDB-B3D7-D3A30B93072A}" dt="2026-04-11T13:21:43.240" v="3"/>
          <pc:sldLayoutMkLst>
            <pc:docMk/>
            <pc:sldMasterMk cId="3650610165" sldId="2147485205"/>
            <pc:sldLayoutMk cId="2076645821" sldId="2147485341"/>
          </pc:sldLayoutMkLst>
          <pc:spChg chg="mod">
            <ac:chgData name="Sunali Wadehra" userId="a49930c1-0f6e-4d08-a38a-aa5944723777" providerId="ADAL" clId="{798428BC-7DAE-4BDB-B3D7-D3A30B93072A}" dt="2026-04-11T13:21:43.240" v="3"/>
            <ac:spMkLst>
              <pc:docMk/>
              <pc:sldMasterMk cId="3650610165" sldId="2147485205"/>
              <pc:sldLayoutMk cId="2076645821" sldId="2147485341"/>
              <ac:spMk id="2" creationId="{2D9635B2-3D27-4FA3-B863-05E4C9624AB6}"/>
            </ac:spMkLst>
          </pc:spChg>
          <pc:spChg chg="mod">
            <ac:chgData name="Sunali Wadehra" userId="a49930c1-0f6e-4d08-a38a-aa5944723777" providerId="ADAL" clId="{798428BC-7DAE-4BDB-B3D7-D3A30B93072A}" dt="2026-04-11T13:21:43.240" v="3"/>
            <ac:spMkLst>
              <pc:docMk/>
              <pc:sldMasterMk cId="3650610165" sldId="2147485205"/>
              <pc:sldLayoutMk cId="2076645821" sldId="2147485341"/>
              <ac:spMk id="7" creationId="{F002CC1A-50FF-4A50-8660-D325E3429D98}"/>
            </ac:spMkLst>
          </pc:spChg>
          <pc:spChg chg="mod">
            <ac:chgData name="Sunali Wadehra" userId="a49930c1-0f6e-4d08-a38a-aa5944723777" providerId="ADAL" clId="{798428BC-7DAE-4BDB-B3D7-D3A30B93072A}" dt="2026-04-11T13:21:43.240" v="3"/>
            <ac:spMkLst>
              <pc:docMk/>
              <pc:sldMasterMk cId="3650610165" sldId="2147485205"/>
              <pc:sldLayoutMk cId="2076645821" sldId="2147485341"/>
              <ac:spMk id="8" creationId="{91E4B5EC-9E53-45C3-B765-C1C483A070D0}"/>
            </ac:spMkLst>
          </pc:spChg>
          <pc:spChg chg="mod">
            <ac:chgData name="Sunali Wadehra" userId="a49930c1-0f6e-4d08-a38a-aa5944723777" providerId="ADAL" clId="{798428BC-7DAE-4BDB-B3D7-D3A30B93072A}" dt="2026-04-11T13:21:43.240" v="3"/>
            <ac:spMkLst>
              <pc:docMk/>
              <pc:sldMasterMk cId="3650610165" sldId="2147485205"/>
              <pc:sldLayoutMk cId="2076645821" sldId="2147485341"/>
              <ac:spMk id="10" creationId="{7E938F29-84D5-4449-9358-343332B4BEF7}"/>
            </ac:spMkLst>
          </pc:spChg>
          <pc:spChg chg="mod">
            <ac:chgData name="Sunali Wadehra" userId="a49930c1-0f6e-4d08-a38a-aa5944723777" providerId="ADAL" clId="{798428BC-7DAE-4BDB-B3D7-D3A30B93072A}" dt="2026-04-11T13:21:43.240" v="3"/>
            <ac:spMkLst>
              <pc:docMk/>
              <pc:sldMasterMk cId="3650610165" sldId="2147485205"/>
              <pc:sldLayoutMk cId="2076645821" sldId="2147485341"/>
              <ac:spMk id="11" creationId="{C949FF72-87ED-4607-89DB-176C532FA3A0}"/>
            </ac:spMkLst>
          </pc:spChg>
        </pc:sldLayoutChg>
        <pc:sldLayoutChg chg="modSp mod ord">
          <pc:chgData name="Sunali Wadehra" userId="a49930c1-0f6e-4d08-a38a-aa5944723777" providerId="ADAL" clId="{798428BC-7DAE-4BDB-B3D7-D3A30B93072A}" dt="2026-04-11T13:21:43.240" v="3"/>
          <pc:sldLayoutMkLst>
            <pc:docMk/>
            <pc:sldMasterMk cId="3650610165" sldId="2147485205"/>
            <pc:sldLayoutMk cId="2804189631" sldId="2147485342"/>
          </pc:sldLayoutMkLst>
          <pc:spChg chg="mod">
            <ac:chgData name="Sunali Wadehra" userId="a49930c1-0f6e-4d08-a38a-aa5944723777" providerId="ADAL" clId="{798428BC-7DAE-4BDB-B3D7-D3A30B93072A}" dt="2026-04-11T13:21:43.240" v="3"/>
            <ac:spMkLst>
              <pc:docMk/>
              <pc:sldMasterMk cId="3650610165" sldId="2147485205"/>
              <pc:sldLayoutMk cId="2804189631" sldId="2147485342"/>
              <ac:spMk id="4" creationId="{75A4EBE2-41F7-48F4-B525-605699ECF92F}"/>
            </ac:spMkLst>
          </pc:spChg>
          <pc:spChg chg="mod">
            <ac:chgData name="Sunali Wadehra" userId="a49930c1-0f6e-4d08-a38a-aa5944723777" providerId="ADAL" clId="{798428BC-7DAE-4BDB-B3D7-D3A30B93072A}" dt="2026-04-11T13:21:43.240" v="3"/>
            <ac:spMkLst>
              <pc:docMk/>
              <pc:sldMasterMk cId="3650610165" sldId="2147485205"/>
              <pc:sldLayoutMk cId="2804189631" sldId="2147485342"/>
              <ac:spMk id="8" creationId="{DFE25DB2-F58D-4AD2-B640-7A1061569FFB}"/>
            </ac:spMkLst>
          </pc:spChg>
          <pc:spChg chg="mod">
            <ac:chgData name="Sunali Wadehra" userId="a49930c1-0f6e-4d08-a38a-aa5944723777" providerId="ADAL" clId="{798428BC-7DAE-4BDB-B3D7-D3A30B93072A}" dt="2026-04-11T13:21:43.240" v="3"/>
            <ac:spMkLst>
              <pc:docMk/>
              <pc:sldMasterMk cId="3650610165" sldId="2147485205"/>
              <pc:sldLayoutMk cId="2804189631" sldId="2147485342"/>
              <ac:spMk id="10" creationId="{59C580CE-4074-4379-8D68-E5118B13A13A}"/>
            </ac:spMkLst>
          </pc:spChg>
          <pc:spChg chg="mod">
            <ac:chgData name="Sunali Wadehra" userId="a49930c1-0f6e-4d08-a38a-aa5944723777" providerId="ADAL" clId="{798428BC-7DAE-4BDB-B3D7-D3A30B93072A}" dt="2026-04-11T13:21:43.240" v="3"/>
            <ac:spMkLst>
              <pc:docMk/>
              <pc:sldMasterMk cId="3650610165" sldId="2147485205"/>
              <pc:sldLayoutMk cId="2804189631" sldId="2147485342"/>
              <ac:spMk id="12" creationId="{CD0FA13F-5B1F-4795-B0E7-3E97B5D8E071}"/>
            </ac:spMkLst>
          </pc:spChg>
          <pc:spChg chg="mod">
            <ac:chgData name="Sunali Wadehra" userId="a49930c1-0f6e-4d08-a38a-aa5944723777" providerId="ADAL" clId="{798428BC-7DAE-4BDB-B3D7-D3A30B93072A}" dt="2026-04-11T13:21:43.240" v="3"/>
            <ac:spMkLst>
              <pc:docMk/>
              <pc:sldMasterMk cId="3650610165" sldId="2147485205"/>
              <pc:sldLayoutMk cId="2804189631" sldId="2147485342"/>
              <ac:spMk id="13" creationId="{D2C25B5D-B685-4B55-8498-3486110FDCFE}"/>
            </ac:spMkLst>
          </pc:spChg>
        </pc:sldLayoutChg>
        <pc:sldLayoutChg chg="modSp mod ord">
          <pc:chgData name="Sunali Wadehra" userId="a49930c1-0f6e-4d08-a38a-aa5944723777" providerId="ADAL" clId="{798428BC-7DAE-4BDB-B3D7-D3A30B93072A}" dt="2026-04-11T13:21:43.240" v="3"/>
          <pc:sldLayoutMkLst>
            <pc:docMk/>
            <pc:sldMasterMk cId="3650610165" sldId="2147485205"/>
            <pc:sldLayoutMk cId="2265927069" sldId="2147485343"/>
          </pc:sldLayoutMkLst>
          <pc:spChg chg="mod">
            <ac:chgData name="Sunali Wadehra" userId="a49930c1-0f6e-4d08-a38a-aa5944723777" providerId="ADAL" clId="{798428BC-7DAE-4BDB-B3D7-D3A30B93072A}" dt="2026-04-11T13:21:43.240" v="3"/>
            <ac:spMkLst>
              <pc:docMk/>
              <pc:sldMasterMk cId="3650610165" sldId="2147485205"/>
              <pc:sldLayoutMk cId="2265927069" sldId="2147485343"/>
              <ac:spMk id="5" creationId="{D60AE4F3-AAA3-4B8D-A01A-1FF9B8F9F42A}"/>
            </ac:spMkLst>
          </pc:spChg>
          <pc:spChg chg="mod">
            <ac:chgData name="Sunali Wadehra" userId="a49930c1-0f6e-4d08-a38a-aa5944723777" providerId="ADAL" clId="{798428BC-7DAE-4BDB-B3D7-D3A30B93072A}" dt="2026-04-11T13:21:43.240" v="3"/>
            <ac:spMkLst>
              <pc:docMk/>
              <pc:sldMasterMk cId="3650610165" sldId="2147485205"/>
              <pc:sldLayoutMk cId="2265927069" sldId="2147485343"/>
              <ac:spMk id="8" creationId="{45758FA1-2B23-4C7E-97FD-FBA94AB3853B}"/>
            </ac:spMkLst>
          </pc:spChg>
          <pc:spChg chg="mod">
            <ac:chgData name="Sunali Wadehra" userId="a49930c1-0f6e-4d08-a38a-aa5944723777" providerId="ADAL" clId="{798428BC-7DAE-4BDB-B3D7-D3A30B93072A}" dt="2026-04-11T13:21:43.240" v="3"/>
            <ac:spMkLst>
              <pc:docMk/>
              <pc:sldMasterMk cId="3650610165" sldId="2147485205"/>
              <pc:sldLayoutMk cId="2265927069" sldId="2147485343"/>
              <ac:spMk id="10" creationId="{41CC83E6-E70E-43EE-817C-4F68FB75EFD9}"/>
            </ac:spMkLst>
          </pc:spChg>
          <pc:spChg chg="mod">
            <ac:chgData name="Sunali Wadehra" userId="a49930c1-0f6e-4d08-a38a-aa5944723777" providerId="ADAL" clId="{798428BC-7DAE-4BDB-B3D7-D3A30B93072A}" dt="2026-04-11T13:21:43.240" v="3"/>
            <ac:spMkLst>
              <pc:docMk/>
              <pc:sldMasterMk cId="3650610165" sldId="2147485205"/>
              <pc:sldLayoutMk cId="2265927069" sldId="2147485343"/>
              <ac:spMk id="13" creationId="{4447ADDD-920E-4BEB-819B-9759B3CF06AB}"/>
            </ac:spMkLst>
          </pc:spChg>
          <pc:spChg chg="mod">
            <ac:chgData name="Sunali Wadehra" userId="a49930c1-0f6e-4d08-a38a-aa5944723777" providerId="ADAL" clId="{798428BC-7DAE-4BDB-B3D7-D3A30B93072A}" dt="2026-04-11T13:21:43.240" v="3"/>
            <ac:spMkLst>
              <pc:docMk/>
              <pc:sldMasterMk cId="3650610165" sldId="2147485205"/>
              <pc:sldLayoutMk cId="2265927069" sldId="2147485343"/>
              <ac:spMk id="22" creationId="{0486192A-3DB1-49EB-9B2C-D5E68AF24B1A}"/>
            </ac:spMkLst>
          </pc:spChg>
        </pc:sldLayoutChg>
        <pc:sldLayoutChg chg="modSp mod ord">
          <pc:chgData name="Sunali Wadehra" userId="a49930c1-0f6e-4d08-a38a-aa5944723777" providerId="ADAL" clId="{798428BC-7DAE-4BDB-B3D7-D3A30B93072A}" dt="2026-04-11T13:21:43.240" v="3"/>
          <pc:sldLayoutMkLst>
            <pc:docMk/>
            <pc:sldMasterMk cId="3650610165" sldId="2147485205"/>
            <pc:sldLayoutMk cId="3522857094" sldId="2147485344"/>
          </pc:sldLayoutMkLst>
          <pc:spChg chg="mod">
            <ac:chgData name="Sunali Wadehra" userId="a49930c1-0f6e-4d08-a38a-aa5944723777" providerId="ADAL" clId="{798428BC-7DAE-4BDB-B3D7-D3A30B93072A}" dt="2026-04-11T13:21:43.240" v="3"/>
            <ac:spMkLst>
              <pc:docMk/>
              <pc:sldMasterMk cId="3650610165" sldId="2147485205"/>
              <pc:sldLayoutMk cId="3522857094" sldId="2147485344"/>
              <ac:spMk id="2" creationId="{FEDCFFF0-7218-4B33-8DFC-E37157D920C0}"/>
            </ac:spMkLst>
          </pc:spChg>
          <pc:spChg chg="mod">
            <ac:chgData name="Sunali Wadehra" userId="a49930c1-0f6e-4d08-a38a-aa5944723777" providerId="ADAL" clId="{798428BC-7DAE-4BDB-B3D7-D3A30B93072A}" dt="2026-04-11T13:21:43.240" v="3"/>
            <ac:spMkLst>
              <pc:docMk/>
              <pc:sldMasterMk cId="3650610165" sldId="2147485205"/>
              <pc:sldLayoutMk cId="3522857094" sldId="2147485344"/>
              <ac:spMk id="3" creationId="{BA8931D2-AD7B-454A-86A6-EA48B20C0CCA}"/>
            </ac:spMkLst>
          </pc:spChg>
          <pc:spChg chg="mod">
            <ac:chgData name="Sunali Wadehra" userId="a49930c1-0f6e-4d08-a38a-aa5944723777" providerId="ADAL" clId="{798428BC-7DAE-4BDB-B3D7-D3A30B93072A}" dt="2026-04-11T13:21:43.240" v="3"/>
            <ac:spMkLst>
              <pc:docMk/>
              <pc:sldMasterMk cId="3650610165" sldId="2147485205"/>
              <pc:sldLayoutMk cId="3522857094" sldId="2147485344"/>
              <ac:spMk id="5" creationId="{5C0FD97D-3F39-4649-B10A-ECD97F370F22}"/>
            </ac:spMkLst>
          </pc:spChg>
        </pc:sldLayoutChg>
        <pc:sldLayoutChg chg="modSp mod ord">
          <pc:chgData name="Sunali Wadehra" userId="a49930c1-0f6e-4d08-a38a-aa5944723777" providerId="ADAL" clId="{798428BC-7DAE-4BDB-B3D7-D3A30B93072A}" dt="2026-04-11T13:21:43.240" v="3"/>
          <pc:sldLayoutMkLst>
            <pc:docMk/>
            <pc:sldMasterMk cId="3650610165" sldId="2147485205"/>
            <pc:sldLayoutMk cId="1194271796" sldId="2147485345"/>
          </pc:sldLayoutMkLst>
          <pc:spChg chg="mod">
            <ac:chgData name="Sunali Wadehra" userId="a49930c1-0f6e-4d08-a38a-aa5944723777" providerId="ADAL" clId="{798428BC-7DAE-4BDB-B3D7-D3A30B93072A}" dt="2026-04-11T13:21:43.240" v="3"/>
            <ac:spMkLst>
              <pc:docMk/>
              <pc:sldMasterMk cId="3650610165" sldId="2147485205"/>
              <pc:sldLayoutMk cId="1194271796" sldId="2147485345"/>
              <ac:spMk id="2" creationId="{2D9635B2-3D27-4FA3-B863-05E4C9624AB6}"/>
            </ac:spMkLst>
          </pc:spChg>
          <pc:spChg chg="mod">
            <ac:chgData name="Sunali Wadehra" userId="a49930c1-0f6e-4d08-a38a-aa5944723777" providerId="ADAL" clId="{798428BC-7DAE-4BDB-B3D7-D3A30B93072A}" dt="2026-04-11T13:21:43.240" v="3"/>
            <ac:spMkLst>
              <pc:docMk/>
              <pc:sldMasterMk cId="3650610165" sldId="2147485205"/>
              <pc:sldLayoutMk cId="1194271796" sldId="2147485345"/>
              <ac:spMk id="6" creationId="{462FAF15-0CB5-418E-A59C-EA8FADE526AE}"/>
            </ac:spMkLst>
          </pc:spChg>
          <pc:spChg chg="mod">
            <ac:chgData name="Sunali Wadehra" userId="a49930c1-0f6e-4d08-a38a-aa5944723777" providerId="ADAL" clId="{798428BC-7DAE-4BDB-B3D7-D3A30B93072A}" dt="2026-04-11T13:21:43.240" v="3"/>
            <ac:spMkLst>
              <pc:docMk/>
              <pc:sldMasterMk cId="3650610165" sldId="2147485205"/>
              <pc:sldLayoutMk cId="1194271796" sldId="2147485345"/>
              <ac:spMk id="8" creationId="{11075AA4-1FA9-4704-A587-D8E88C1D1EF9}"/>
            </ac:spMkLst>
          </pc:spChg>
          <pc:spChg chg="mod">
            <ac:chgData name="Sunali Wadehra" userId="a49930c1-0f6e-4d08-a38a-aa5944723777" providerId="ADAL" clId="{798428BC-7DAE-4BDB-B3D7-D3A30B93072A}" dt="2026-04-11T13:21:43.240" v="3"/>
            <ac:spMkLst>
              <pc:docMk/>
              <pc:sldMasterMk cId="3650610165" sldId="2147485205"/>
              <pc:sldLayoutMk cId="1194271796" sldId="2147485345"/>
              <ac:spMk id="11" creationId="{A7BF9FC5-73CA-47D5-891A-42CBDE79952C}"/>
            </ac:spMkLst>
          </pc:spChg>
        </pc:sldLayoutChg>
        <pc:sldLayoutChg chg="modSp mod ord">
          <pc:chgData name="Sunali Wadehra" userId="a49930c1-0f6e-4d08-a38a-aa5944723777" providerId="ADAL" clId="{798428BC-7DAE-4BDB-B3D7-D3A30B93072A}" dt="2026-04-11T13:21:43.240" v="3"/>
          <pc:sldLayoutMkLst>
            <pc:docMk/>
            <pc:sldMasterMk cId="3650610165" sldId="2147485205"/>
            <pc:sldLayoutMk cId="2732202519" sldId="2147485346"/>
          </pc:sldLayoutMkLst>
          <pc:spChg chg="mod">
            <ac:chgData name="Sunali Wadehra" userId="a49930c1-0f6e-4d08-a38a-aa5944723777" providerId="ADAL" clId="{798428BC-7DAE-4BDB-B3D7-D3A30B93072A}" dt="2026-04-11T13:21:43.240" v="3"/>
            <ac:spMkLst>
              <pc:docMk/>
              <pc:sldMasterMk cId="3650610165" sldId="2147485205"/>
              <pc:sldLayoutMk cId="2732202519" sldId="2147485346"/>
              <ac:spMk id="5" creationId="{5D317BC2-3CD5-4931-93AD-CC95F2C50D24}"/>
            </ac:spMkLst>
          </pc:spChg>
          <pc:spChg chg="mod">
            <ac:chgData name="Sunali Wadehra" userId="a49930c1-0f6e-4d08-a38a-aa5944723777" providerId="ADAL" clId="{798428BC-7DAE-4BDB-B3D7-D3A30B93072A}" dt="2026-04-11T13:21:43.240" v="3"/>
            <ac:spMkLst>
              <pc:docMk/>
              <pc:sldMasterMk cId="3650610165" sldId="2147485205"/>
              <pc:sldLayoutMk cId="2732202519" sldId="2147485346"/>
              <ac:spMk id="9" creationId="{9B03F247-4297-4973-90A3-0193475AC741}"/>
            </ac:spMkLst>
          </pc:spChg>
          <pc:spChg chg="mod">
            <ac:chgData name="Sunali Wadehra" userId="a49930c1-0f6e-4d08-a38a-aa5944723777" providerId="ADAL" clId="{798428BC-7DAE-4BDB-B3D7-D3A30B93072A}" dt="2026-04-11T13:21:43.240" v="3"/>
            <ac:spMkLst>
              <pc:docMk/>
              <pc:sldMasterMk cId="3650610165" sldId="2147485205"/>
              <pc:sldLayoutMk cId="2732202519" sldId="2147485346"/>
              <ac:spMk id="11" creationId="{E358DA9E-BDF5-4DC7-B478-434301DA6253}"/>
            </ac:spMkLst>
          </pc:spChg>
        </pc:sldLayoutChg>
        <pc:sldLayoutChg chg="modSp mod ord">
          <pc:chgData name="Sunali Wadehra" userId="a49930c1-0f6e-4d08-a38a-aa5944723777" providerId="ADAL" clId="{798428BC-7DAE-4BDB-B3D7-D3A30B93072A}" dt="2026-04-11T13:21:43.240" v="3"/>
          <pc:sldLayoutMkLst>
            <pc:docMk/>
            <pc:sldMasterMk cId="3650610165" sldId="2147485205"/>
            <pc:sldLayoutMk cId="1215366410" sldId="2147485347"/>
          </pc:sldLayoutMkLst>
          <pc:spChg chg="mod">
            <ac:chgData name="Sunali Wadehra" userId="a49930c1-0f6e-4d08-a38a-aa5944723777" providerId="ADAL" clId="{798428BC-7DAE-4BDB-B3D7-D3A30B93072A}" dt="2026-04-11T13:21:43.240" v="3"/>
            <ac:spMkLst>
              <pc:docMk/>
              <pc:sldMasterMk cId="3650610165" sldId="2147485205"/>
              <pc:sldLayoutMk cId="1215366410" sldId="2147485347"/>
              <ac:spMk id="4" creationId="{2AB750B5-01B2-430D-BF92-6E5CD93388D3}"/>
            </ac:spMkLst>
          </pc:spChg>
          <pc:spChg chg="mod">
            <ac:chgData name="Sunali Wadehra" userId="a49930c1-0f6e-4d08-a38a-aa5944723777" providerId="ADAL" clId="{798428BC-7DAE-4BDB-B3D7-D3A30B93072A}" dt="2026-04-11T13:21:43.240" v="3"/>
            <ac:spMkLst>
              <pc:docMk/>
              <pc:sldMasterMk cId="3650610165" sldId="2147485205"/>
              <pc:sldLayoutMk cId="1215366410" sldId="2147485347"/>
              <ac:spMk id="8" creationId="{25C10CA0-7F28-40CE-9633-59C6800E7665}"/>
            </ac:spMkLst>
          </pc:spChg>
        </pc:sldLayoutChg>
        <pc:sldLayoutChg chg="mod ord">
          <pc:chgData name="Sunali Wadehra" userId="a49930c1-0f6e-4d08-a38a-aa5944723777" providerId="ADAL" clId="{798428BC-7DAE-4BDB-B3D7-D3A30B93072A}" dt="2026-04-11T13:21:43.240" v="3"/>
          <pc:sldLayoutMkLst>
            <pc:docMk/>
            <pc:sldMasterMk cId="3650610165" sldId="2147485205"/>
            <pc:sldLayoutMk cId="178270395" sldId="2147485348"/>
          </pc:sldLayoutMkLst>
        </pc:sldLayoutChg>
        <pc:sldLayoutChg chg="modSp mod ord">
          <pc:chgData name="Sunali Wadehra" userId="a49930c1-0f6e-4d08-a38a-aa5944723777" providerId="ADAL" clId="{798428BC-7DAE-4BDB-B3D7-D3A30B93072A}" dt="2026-04-11T13:21:43.240" v="3"/>
          <pc:sldLayoutMkLst>
            <pc:docMk/>
            <pc:sldMasterMk cId="3650610165" sldId="2147485205"/>
            <pc:sldLayoutMk cId="3199846802" sldId="2147485349"/>
          </pc:sldLayoutMkLst>
          <pc:spChg chg="mod">
            <ac:chgData name="Sunali Wadehra" userId="a49930c1-0f6e-4d08-a38a-aa5944723777" providerId="ADAL" clId="{798428BC-7DAE-4BDB-B3D7-D3A30B93072A}" dt="2026-04-11T13:21:43.240" v="3"/>
            <ac:spMkLst>
              <pc:docMk/>
              <pc:sldMasterMk cId="3650610165" sldId="2147485205"/>
              <pc:sldLayoutMk cId="3199846802" sldId="2147485349"/>
              <ac:spMk id="2" creationId="{00000000-0000-0000-0000-000000000000}"/>
            </ac:spMkLst>
          </pc:spChg>
          <pc:spChg chg="mod">
            <ac:chgData name="Sunali Wadehra" userId="a49930c1-0f6e-4d08-a38a-aa5944723777" providerId="ADAL" clId="{798428BC-7DAE-4BDB-B3D7-D3A30B93072A}" dt="2026-04-11T13:21:43.240" v="3"/>
            <ac:spMkLst>
              <pc:docMk/>
              <pc:sldMasterMk cId="3650610165" sldId="2147485205"/>
              <pc:sldLayoutMk cId="3199846802" sldId="2147485349"/>
              <ac:spMk id="3" creationId="{00000000-0000-0000-0000-000000000000}"/>
            </ac:spMkLst>
          </pc:spChg>
          <pc:spChg chg="mod">
            <ac:chgData name="Sunali Wadehra" userId="a49930c1-0f6e-4d08-a38a-aa5944723777" providerId="ADAL" clId="{798428BC-7DAE-4BDB-B3D7-D3A30B93072A}" dt="2026-04-11T13:21:43.240" v="3"/>
            <ac:spMkLst>
              <pc:docMk/>
              <pc:sldMasterMk cId="3650610165" sldId="2147485205"/>
              <pc:sldLayoutMk cId="3199846802" sldId="2147485349"/>
              <ac:spMk id="4" creationId="{00000000-0000-0000-0000-000000000000}"/>
            </ac:spMkLst>
          </pc:spChg>
          <pc:spChg chg="mod">
            <ac:chgData name="Sunali Wadehra" userId="a49930c1-0f6e-4d08-a38a-aa5944723777" providerId="ADAL" clId="{798428BC-7DAE-4BDB-B3D7-D3A30B93072A}" dt="2026-04-11T13:21:43.240" v="3"/>
            <ac:spMkLst>
              <pc:docMk/>
              <pc:sldMasterMk cId="3650610165" sldId="2147485205"/>
              <pc:sldLayoutMk cId="3199846802" sldId="2147485349"/>
              <ac:spMk id="5" creationId="{00000000-0000-0000-0000-000000000000}"/>
            </ac:spMkLst>
          </pc:spChg>
          <pc:spChg chg="mod">
            <ac:chgData name="Sunali Wadehra" userId="a49930c1-0f6e-4d08-a38a-aa5944723777" providerId="ADAL" clId="{798428BC-7DAE-4BDB-B3D7-D3A30B93072A}" dt="2026-04-11T13:21:43.240" v="3"/>
            <ac:spMkLst>
              <pc:docMk/>
              <pc:sldMasterMk cId="3650610165" sldId="2147485205"/>
              <pc:sldLayoutMk cId="3199846802" sldId="2147485349"/>
              <ac:spMk id="6" creationId="{00000000-0000-0000-0000-000000000000}"/>
            </ac:spMkLst>
          </pc:spChg>
        </pc:sldLayoutChg>
        <pc:sldLayoutChg chg="modSp mod ord">
          <pc:chgData name="Sunali Wadehra" userId="a49930c1-0f6e-4d08-a38a-aa5944723777" providerId="ADAL" clId="{798428BC-7DAE-4BDB-B3D7-D3A30B93072A}" dt="2026-04-11T13:21:43.240" v="3"/>
          <pc:sldLayoutMkLst>
            <pc:docMk/>
            <pc:sldMasterMk cId="3650610165" sldId="2147485205"/>
            <pc:sldLayoutMk cId="3058238985" sldId="2147485350"/>
          </pc:sldLayoutMkLst>
          <pc:spChg chg="mod">
            <ac:chgData name="Sunali Wadehra" userId="a49930c1-0f6e-4d08-a38a-aa5944723777" providerId="ADAL" clId="{798428BC-7DAE-4BDB-B3D7-D3A30B93072A}" dt="2026-04-11T13:21:43.240" v="3"/>
            <ac:spMkLst>
              <pc:docMk/>
              <pc:sldMasterMk cId="3650610165" sldId="2147485205"/>
              <pc:sldLayoutMk cId="3058238985" sldId="2147485350"/>
              <ac:spMk id="2" creationId="{794B9105-A356-3043-A04D-A8EAE8F8717D}"/>
            </ac:spMkLst>
          </pc:spChg>
          <pc:spChg chg="mod">
            <ac:chgData name="Sunali Wadehra" userId="a49930c1-0f6e-4d08-a38a-aa5944723777" providerId="ADAL" clId="{798428BC-7DAE-4BDB-B3D7-D3A30B93072A}" dt="2026-04-11T13:21:43.240" v="3"/>
            <ac:spMkLst>
              <pc:docMk/>
              <pc:sldMasterMk cId="3650610165" sldId="2147485205"/>
              <pc:sldLayoutMk cId="3058238985" sldId="2147485350"/>
              <ac:spMk id="3" creationId="{8C5A150B-5466-0149-A195-0661320D3F23}"/>
            </ac:spMkLst>
          </pc:spChg>
          <pc:spChg chg="mod">
            <ac:chgData name="Sunali Wadehra" userId="a49930c1-0f6e-4d08-a38a-aa5944723777" providerId="ADAL" clId="{798428BC-7DAE-4BDB-B3D7-D3A30B93072A}" dt="2026-04-11T13:21:43.240" v="3"/>
            <ac:spMkLst>
              <pc:docMk/>
              <pc:sldMasterMk cId="3650610165" sldId="2147485205"/>
              <pc:sldLayoutMk cId="3058238985" sldId="2147485350"/>
              <ac:spMk id="4" creationId="{5E919A09-85E6-E448-9EEF-71EE87BCCF91}"/>
            </ac:spMkLst>
          </pc:spChg>
          <pc:spChg chg="mod">
            <ac:chgData name="Sunali Wadehra" userId="a49930c1-0f6e-4d08-a38a-aa5944723777" providerId="ADAL" clId="{798428BC-7DAE-4BDB-B3D7-D3A30B93072A}" dt="2026-04-11T13:21:43.240" v="3"/>
            <ac:spMkLst>
              <pc:docMk/>
              <pc:sldMasterMk cId="3650610165" sldId="2147485205"/>
              <pc:sldLayoutMk cId="3058238985" sldId="2147485350"/>
              <ac:spMk id="5" creationId="{64F7E115-5E04-E343-9C60-07E44136E42F}"/>
            </ac:spMkLst>
          </pc:spChg>
          <pc:spChg chg="mod">
            <ac:chgData name="Sunali Wadehra" userId="a49930c1-0f6e-4d08-a38a-aa5944723777" providerId="ADAL" clId="{798428BC-7DAE-4BDB-B3D7-D3A30B93072A}" dt="2026-04-11T13:21:43.240" v="3"/>
            <ac:spMkLst>
              <pc:docMk/>
              <pc:sldMasterMk cId="3650610165" sldId="2147485205"/>
              <pc:sldLayoutMk cId="3058238985" sldId="2147485350"/>
              <ac:spMk id="6" creationId="{E5F7B6D9-3992-5747-AE00-96C674BE50A8}"/>
            </ac:spMkLst>
          </pc:spChg>
          <pc:spChg chg="mod">
            <ac:chgData name="Sunali Wadehra" userId="a49930c1-0f6e-4d08-a38a-aa5944723777" providerId="ADAL" clId="{798428BC-7DAE-4BDB-B3D7-D3A30B93072A}" dt="2026-04-11T13:21:43.240" v="3"/>
            <ac:spMkLst>
              <pc:docMk/>
              <pc:sldMasterMk cId="3650610165" sldId="2147485205"/>
              <pc:sldLayoutMk cId="3058238985" sldId="2147485350"/>
              <ac:spMk id="7" creationId="{A3B26273-28AE-8A43-AF0E-4864D813C75E}"/>
            </ac:spMkLst>
          </pc:spChg>
        </pc:sldLayoutChg>
        <pc:sldLayoutChg chg="modSp mod ord">
          <pc:chgData name="Sunali Wadehra" userId="a49930c1-0f6e-4d08-a38a-aa5944723777" providerId="ADAL" clId="{798428BC-7DAE-4BDB-B3D7-D3A30B93072A}" dt="2026-04-11T13:21:43.240" v="3"/>
          <pc:sldLayoutMkLst>
            <pc:docMk/>
            <pc:sldMasterMk cId="3650610165" sldId="2147485205"/>
            <pc:sldLayoutMk cId="1238261361" sldId="2147485351"/>
          </pc:sldLayoutMkLst>
          <pc:spChg chg="mod">
            <ac:chgData name="Sunali Wadehra" userId="a49930c1-0f6e-4d08-a38a-aa5944723777" providerId="ADAL" clId="{798428BC-7DAE-4BDB-B3D7-D3A30B93072A}" dt="2026-04-11T13:21:43.240" v="3"/>
            <ac:spMkLst>
              <pc:docMk/>
              <pc:sldMasterMk cId="3650610165" sldId="2147485205"/>
              <pc:sldLayoutMk cId="1238261361" sldId="2147485351"/>
              <ac:spMk id="3" creationId="{551FB21A-0E6D-4C3A-92F2-1A4C404F796E}"/>
            </ac:spMkLst>
          </pc:spChg>
          <pc:spChg chg="mod">
            <ac:chgData name="Sunali Wadehra" userId="a49930c1-0f6e-4d08-a38a-aa5944723777" providerId="ADAL" clId="{798428BC-7DAE-4BDB-B3D7-D3A30B93072A}" dt="2026-04-11T13:21:43.240" v="3"/>
            <ac:spMkLst>
              <pc:docMk/>
              <pc:sldMasterMk cId="3650610165" sldId="2147485205"/>
              <pc:sldLayoutMk cId="1238261361" sldId="2147485351"/>
              <ac:spMk id="13" creationId="{861B12CF-C574-4831-92D6-4B1240FED72B}"/>
            </ac:spMkLst>
          </pc:spChg>
        </pc:sldLayoutChg>
      </pc:sldMasterChg>
      <pc:sldMasterChg chg="modSldLayout sldLayoutOrd">
        <pc:chgData name="Sunali Wadehra" userId="a49930c1-0f6e-4d08-a38a-aa5944723777" providerId="ADAL" clId="{798428BC-7DAE-4BDB-B3D7-D3A30B93072A}" dt="2026-04-11T13:21:43.240" v="3"/>
        <pc:sldMasterMkLst>
          <pc:docMk/>
          <pc:sldMasterMk cId="1723313442" sldId="2147485326"/>
        </pc:sldMasterMkLst>
        <pc:sldLayoutChg chg="modSp mod ord">
          <pc:chgData name="Sunali Wadehra" userId="a49930c1-0f6e-4d08-a38a-aa5944723777" providerId="ADAL" clId="{798428BC-7DAE-4BDB-B3D7-D3A30B93072A}" dt="2026-04-11T13:21:43.240" v="3"/>
          <pc:sldLayoutMkLst>
            <pc:docMk/>
            <pc:sldMasterMk cId="1723313442" sldId="2147485326"/>
            <pc:sldLayoutMk cId="122046779" sldId="2147485550"/>
          </pc:sldLayoutMkLst>
          <pc:spChg chg="mod">
            <ac:chgData name="Sunali Wadehra" userId="a49930c1-0f6e-4d08-a38a-aa5944723777" providerId="ADAL" clId="{798428BC-7DAE-4BDB-B3D7-D3A30B93072A}" dt="2026-04-11T13:21:43.240" v="3"/>
            <ac:spMkLst>
              <pc:docMk/>
              <pc:sldMasterMk cId="1723313442" sldId="2147485326"/>
              <pc:sldLayoutMk cId="122046779" sldId="2147485550"/>
              <ac:spMk id="2"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22046779" sldId="2147485550"/>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22046779" sldId="2147485550"/>
              <ac:spMk id="4"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22046779" sldId="2147485550"/>
              <ac:spMk id="5"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22046779" sldId="2147485550"/>
              <ac:spMk id="6" creationId="{00000000-0000-0000-0000-000000000000}"/>
            </ac:spMkLst>
          </pc:spChg>
        </pc:sldLayoutChg>
        <pc:sldLayoutChg chg="modSp mod ord">
          <pc:chgData name="Sunali Wadehra" userId="a49930c1-0f6e-4d08-a38a-aa5944723777" providerId="ADAL" clId="{798428BC-7DAE-4BDB-B3D7-D3A30B93072A}" dt="2026-04-11T13:21:43.240" v="3"/>
          <pc:sldLayoutMkLst>
            <pc:docMk/>
            <pc:sldMasterMk cId="1723313442" sldId="2147485326"/>
            <pc:sldLayoutMk cId="2613348584" sldId="2147485551"/>
          </pc:sldLayoutMkLst>
          <pc:spChg chg="mod">
            <ac:chgData name="Sunali Wadehra" userId="a49930c1-0f6e-4d08-a38a-aa5944723777" providerId="ADAL" clId="{798428BC-7DAE-4BDB-B3D7-D3A30B93072A}" dt="2026-04-11T13:21:43.240" v="3"/>
            <ac:spMkLst>
              <pc:docMk/>
              <pc:sldMasterMk cId="1723313442" sldId="2147485326"/>
              <pc:sldLayoutMk cId="2613348584" sldId="2147485551"/>
              <ac:spMk id="2"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2613348584" sldId="2147485551"/>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2613348584" sldId="2147485551"/>
              <ac:spMk id="4"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2613348584" sldId="2147485551"/>
              <ac:spMk id="5"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2613348584" sldId="2147485551"/>
              <ac:spMk id="6" creationId="{00000000-0000-0000-0000-000000000000}"/>
            </ac:spMkLst>
          </pc:spChg>
        </pc:sldLayoutChg>
        <pc:sldLayoutChg chg="modSp mod ord">
          <pc:chgData name="Sunali Wadehra" userId="a49930c1-0f6e-4d08-a38a-aa5944723777" providerId="ADAL" clId="{798428BC-7DAE-4BDB-B3D7-D3A30B93072A}" dt="2026-04-11T13:21:43.240" v="3"/>
          <pc:sldLayoutMkLst>
            <pc:docMk/>
            <pc:sldMasterMk cId="1723313442" sldId="2147485326"/>
            <pc:sldLayoutMk cId="1252721492" sldId="2147485552"/>
          </pc:sldLayoutMkLst>
          <pc:spChg chg="mod">
            <ac:chgData name="Sunali Wadehra" userId="a49930c1-0f6e-4d08-a38a-aa5944723777" providerId="ADAL" clId="{798428BC-7DAE-4BDB-B3D7-D3A30B93072A}" dt="2026-04-11T13:21:43.240" v="3"/>
            <ac:spMkLst>
              <pc:docMk/>
              <pc:sldMasterMk cId="1723313442" sldId="2147485326"/>
              <pc:sldLayoutMk cId="1252721492" sldId="2147485552"/>
              <ac:spMk id="2"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252721492" sldId="2147485552"/>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252721492" sldId="2147485552"/>
              <ac:spMk id="4"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252721492" sldId="2147485552"/>
              <ac:spMk id="5"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252721492" sldId="2147485552"/>
              <ac:spMk id="6" creationId="{00000000-0000-0000-0000-000000000000}"/>
            </ac:spMkLst>
          </pc:spChg>
        </pc:sldLayoutChg>
        <pc:sldLayoutChg chg="modSp mod ord">
          <pc:chgData name="Sunali Wadehra" userId="a49930c1-0f6e-4d08-a38a-aa5944723777" providerId="ADAL" clId="{798428BC-7DAE-4BDB-B3D7-D3A30B93072A}" dt="2026-04-11T13:21:43.240" v="3"/>
          <pc:sldLayoutMkLst>
            <pc:docMk/>
            <pc:sldMasterMk cId="1723313442" sldId="2147485326"/>
            <pc:sldLayoutMk cId="3767172457" sldId="2147485553"/>
          </pc:sldLayoutMkLst>
          <pc:spChg chg="mod">
            <ac:chgData name="Sunali Wadehra" userId="a49930c1-0f6e-4d08-a38a-aa5944723777" providerId="ADAL" clId="{798428BC-7DAE-4BDB-B3D7-D3A30B93072A}" dt="2026-04-11T13:21:43.240" v="3"/>
            <ac:spMkLst>
              <pc:docMk/>
              <pc:sldMasterMk cId="1723313442" sldId="2147485326"/>
              <pc:sldLayoutMk cId="3767172457" sldId="2147485553"/>
              <ac:spMk id="2"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767172457" sldId="2147485553"/>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767172457" sldId="2147485553"/>
              <ac:spMk id="4"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767172457" sldId="2147485553"/>
              <ac:spMk id="5"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767172457" sldId="2147485553"/>
              <ac:spMk id="6"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767172457" sldId="2147485553"/>
              <ac:spMk id="7" creationId="{00000000-0000-0000-0000-000000000000}"/>
            </ac:spMkLst>
          </pc:spChg>
        </pc:sldLayoutChg>
        <pc:sldLayoutChg chg="modSp mod ord">
          <pc:chgData name="Sunali Wadehra" userId="a49930c1-0f6e-4d08-a38a-aa5944723777" providerId="ADAL" clId="{798428BC-7DAE-4BDB-B3D7-D3A30B93072A}" dt="2026-04-11T13:21:43.240" v="3"/>
          <pc:sldLayoutMkLst>
            <pc:docMk/>
            <pc:sldMasterMk cId="1723313442" sldId="2147485326"/>
            <pc:sldLayoutMk cId="1570504999" sldId="2147485554"/>
          </pc:sldLayoutMkLst>
          <pc:spChg chg="mod">
            <ac:chgData name="Sunali Wadehra" userId="a49930c1-0f6e-4d08-a38a-aa5944723777" providerId="ADAL" clId="{798428BC-7DAE-4BDB-B3D7-D3A30B93072A}" dt="2026-04-11T13:21:43.240" v="3"/>
            <ac:spMkLst>
              <pc:docMk/>
              <pc:sldMasterMk cId="1723313442" sldId="2147485326"/>
              <pc:sldLayoutMk cId="1570504999" sldId="2147485554"/>
              <ac:spMk id="2"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570504999" sldId="2147485554"/>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570504999" sldId="2147485554"/>
              <ac:spMk id="4"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570504999" sldId="2147485554"/>
              <ac:spMk id="5"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570504999" sldId="2147485554"/>
              <ac:spMk id="6"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570504999" sldId="2147485554"/>
              <ac:spMk id="7"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570504999" sldId="2147485554"/>
              <ac:spMk id="8"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570504999" sldId="2147485554"/>
              <ac:spMk id="9" creationId="{00000000-0000-0000-0000-000000000000}"/>
            </ac:spMkLst>
          </pc:spChg>
        </pc:sldLayoutChg>
        <pc:sldLayoutChg chg="modSp mod ord">
          <pc:chgData name="Sunali Wadehra" userId="a49930c1-0f6e-4d08-a38a-aa5944723777" providerId="ADAL" clId="{798428BC-7DAE-4BDB-B3D7-D3A30B93072A}" dt="2026-04-11T13:21:43.240" v="3"/>
          <pc:sldLayoutMkLst>
            <pc:docMk/>
            <pc:sldMasterMk cId="1723313442" sldId="2147485326"/>
            <pc:sldLayoutMk cId="896954989" sldId="2147485555"/>
          </pc:sldLayoutMkLst>
          <pc:spChg chg="mod">
            <ac:chgData name="Sunali Wadehra" userId="a49930c1-0f6e-4d08-a38a-aa5944723777" providerId="ADAL" clId="{798428BC-7DAE-4BDB-B3D7-D3A30B93072A}" dt="2026-04-11T13:21:43.240" v="3"/>
            <ac:spMkLst>
              <pc:docMk/>
              <pc:sldMasterMk cId="1723313442" sldId="2147485326"/>
              <pc:sldLayoutMk cId="896954989" sldId="2147485555"/>
              <ac:spMk id="2"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896954989" sldId="2147485555"/>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896954989" sldId="2147485555"/>
              <ac:spMk id="4"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896954989" sldId="2147485555"/>
              <ac:spMk id="5" creationId="{00000000-0000-0000-0000-000000000000}"/>
            </ac:spMkLst>
          </pc:spChg>
        </pc:sldLayoutChg>
        <pc:sldLayoutChg chg="modSp mod ord">
          <pc:chgData name="Sunali Wadehra" userId="a49930c1-0f6e-4d08-a38a-aa5944723777" providerId="ADAL" clId="{798428BC-7DAE-4BDB-B3D7-D3A30B93072A}" dt="2026-04-11T13:21:43.240" v="3"/>
          <pc:sldLayoutMkLst>
            <pc:docMk/>
            <pc:sldMasterMk cId="1723313442" sldId="2147485326"/>
            <pc:sldLayoutMk cId="4114822023" sldId="2147485556"/>
          </pc:sldLayoutMkLst>
          <pc:spChg chg="mod">
            <ac:chgData name="Sunali Wadehra" userId="a49930c1-0f6e-4d08-a38a-aa5944723777" providerId="ADAL" clId="{798428BC-7DAE-4BDB-B3D7-D3A30B93072A}" dt="2026-04-11T13:21:43.240" v="3"/>
            <ac:spMkLst>
              <pc:docMk/>
              <pc:sldMasterMk cId="1723313442" sldId="2147485326"/>
              <pc:sldLayoutMk cId="4114822023" sldId="2147485556"/>
              <ac:spMk id="2"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4114822023" sldId="2147485556"/>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4114822023" sldId="2147485556"/>
              <ac:spMk id="4" creationId="{00000000-0000-0000-0000-000000000000}"/>
            </ac:spMkLst>
          </pc:spChg>
        </pc:sldLayoutChg>
        <pc:sldLayoutChg chg="modSp mod ord">
          <pc:chgData name="Sunali Wadehra" userId="a49930c1-0f6e-4d08-a38a-aa5944723777" providerId="ADAL" clId="{798428BC-7DAE-4BDB-B3D7-D3A30B93072A}" dt="2026-04-11T13:21:43.240" v="3"/>
          <pc:sldLayoutMkLst>
            <pc:docMk/>
            <pc:sldMasterMk cId="1723313442" sldId="2147485326"/>
            <pc:sldLayoutMk cId="3922847360" sldId="2147485557"/>
          </pc:sldLayoutMkLst>
          <pc:spChg chg="mod">
            <ac:chgData name="Sunali Wadehra" userId="a49930c1-0f6e-4d08-a38a-aa5944723777" providerId="ADAL" clId="{798428BC-7DAE-4BDB-B3D7-D3A30B93072A}" dt="2026-04-11T13:21:43.240" v="3"/>
            <ac:spMkLst>
              <pc:docMk/>
              <pc:sldMasterMk cId="1723313442" sldId="2147485326"/>
              <pc:sldLayoutMk cId="3922847360" sldId="2147485557"/>
              <ac:spMk id="2"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922847360" sldId="2147485557"/>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922847360" sldId="2147485557"/>
              <ac:spMk id="4"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922847360" sldId="2147485557"/>
              <ac:spMk id="5"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922847360" sldId="2147485557"/>
              <ac:spMk id="6"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922847360" sldId="2147485557"/>
              <ac:spMk id="7" creationId="{00000000-0000-0000-0000-000000000000}"/>
            </ac:spMkLst>
          </pc:spChg>
        </pc:sldLayoutChg>
        <pc:sldLayoutChg chg="modSp mod ord">
          <pc:chgData name="Sunali Wadehra" userId="a49930c1-0f6e-4d08-a38a-aa5944723777" providerId="ADAL" clId="{798428BC-7DAE-4BDB-B3D7-D3A30B93072A}" dt="2026-04-11T13:21:43.240" v="3"/>
          <pc:sldLayoutMkLst>
            <pc:docMk/>
            <pc:sldMasterMk cId="1723313442" sldId="2147485326"/>
            <pc:sldLayoutMk cId="1995495538" sldId="2147485558"/>
          </pc:sldLayoutMkLst>
          <pc:spChg chg="mod">
            <ac:chgData name="Sunali Wadehra" userId="a49930c1-0f6e-4d08-a38a-aa5944723777" providerId="ADAL" clId="{798428BC-7DAE-4BDB-B3D7-D3A30B93072A}" dt="2026-04-11T13:21:43.240" v="3"/>
            <ac:spMkLst>
              <pc:docMk/>
              <pc:sldMasterMk cId="1723313442" sldId="2147485326"/>
              <pc:sldLayoutMk cId="1995495538" sldId="2147485558"/>
              <ac:spMk id="2"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995495538" sldId="2147485558"/>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995495538" sldId="2147485558"/>
              <ac:spMk id="4"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995495538" sldId="2147485558"/>
              <ac:spMk id="5"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995495538" sldId="2147485558"/>
              <ac:spMk id="6"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1995495538" sldId="2147485558"/>
              <ac:spMk id="7" creationId="{00000000-0000-0000-0000-000000000000}"/>
            </ac:spMkLst>
          </pc:spChg>
        </pc:sldLayoutChg>
        <pc:sldLayoutChg chg="modSp mod ord">
          <pc:chgData name="Sunali Wadehra" userId="a49930c1-0f6e-4d08-a38a-aa5944723777" providerId="ADAL" clId="{798428BC-7DAE-4BDB-B3D7-D3A30B93072A}" dt="2026-04-11T13:21:43.240" v="3"/>
          <pc:sldLayoutMkLst>
            <pc:docMk/>
            <pc:sldMasterMk cId="1723313442" sldId="2147485326"/>
            <pc:sldLayoutMk cId="533316259" sldId="2147485559"/>
          </pc:sldLayoutMkLst>
          <pc:spChg chg="mod">
            <ac:chgData name="Sunali Wadehra" userId="a49930c1-0f6e-4d08-a38a-aa5944723777" providerId="ADAL" clId="{798428BC-7DAE-4BDB-B3D7-D3A30B93072A}" dt="2026-04-11T13:21:43.240" v="3"/>
            <ac:spMkLst>
              <pc:docMk/>
              <pc:sldMasterMk cId="1723313442" sldId="2147485326"/>
              <pc:sldLayoutMk cId="533316259" sldId="2147485559"/>
              <ac:spMk id="2"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533316259" sldId="2147485559"/>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533316259" sldId="2147485559"/>
              <ac:spMk id="4"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533316259" sldId="2147485559"/>
              <ac:spMk id="5"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533316259" sldId="2147485559"/>
              <ac:spMk id="6" creationId="{00000000-0000-0000-0000-000000000000}"/>
            </ac:spMkLst>
          </pc:spChg>
        </pc:sldLayoutChg>
        <pc:sldLayoutChg chg="modSp mod ord">
          <pc:chgData name="Sunali Wadehra" userId="a49930c1-0f6e-4d08-a38a-aa5944723777" providerId="ADAL" clId="{798428BC-7DAE-4BDB-B3D7-D3A30B93072A}" dt="2026-04-11T13:21:43.240" v="3"/>
          <pc:sldLayoutMkLst>
            <pc:docMk/>
            <pc:sldMasterMk cId="1723313442" sldId="2147485326"/>
            <pc:sldLayoutMk cId="3188938291" sldId="2147485560"/>
          </pc:sldLayoutMkLst>
          <pc:spChg chg="mod">
            <ac:chgData name="Sunali Wadehra" userId="a49930c1-0f6e-4d08-a38a-aa5944723777" providerId="ADAL" clId="{798428BC-7DAE-4BDB-B3D7-D3A30B93072A}" dt="2026-04-11T13:21:43.240" v="3"/>
            <ac:spMkLst>
              <pc:docMk/>
              <pc:sldMasterMk cId="1723313442" sldId="2147485326"/>
              <pc:sldLayoutMk cId="3188938291" sldId="2147485560"/>
              <ac:spMk id="2"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188938291" sldId="2147485560"/>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188938291" sldId="2147485560"/>
              <ac:spMk id="4"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188938291" sldId="2147485560"/>
              <ac:spMk id="5"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3188938291" sldId="2147485560"/>
              <ac:spMk id="6" creationId="{00000000-0000-0000-0000-000000000000}"/>
            </ac:spMkLst>
          </pc:spChg>
        </pc:sldLayoutChg>
        <pc:sldLayoutChg chg="mod ord">
          <pc:chgData name="Sunali Wadehra" userId="a49930c1-0f6e-4d08-a38a-aa5944723777" providerId="ADAL" clId="{798428BC-7DAE-4BDB-B3D7-D3A30B93072A}" dt="2026-04-11T13:21:43.240" v="3"/>
          <pc:sldLayoutMkLst>
            <pc:docMk/>
            <pc:sldMasterMk cId="1723313442" sldId="2147485326"/>
            <pc:sldLayoutMk cId="1807739983" sldId="2147485561"/>
          </pc:sldLayoutMkLst>
        </pc:sldLayoutChg>
        <pc:sldLayoutChg chg="modSp mod ord">
          <pc:chgData name="Sunali Wadehra" userId="a49930c1-0f6e-4d08-a38a-aa5944723777" providerId="ADAL" clId="{798428BC-7DAE-4BDB-B3D7-D3A30B93072A}" dt="2026-04-11T13:21:43.240" v="3"/>
          <pc:sldLayoutMkLst>
            <pc:docMk/>
            <pc:sldMasterMk cId="1723313442" sldId="2147485326"/>
            <pc:sldLayoutMk cId="3412477131" sldId="2147485562"/>
          </pc:sldLayoutMkLst>
          <pc:spChg chg="mod">
            <ac:chgData name="Sunali Wadehra" userId="a49930c1-0f6e-4d08-a38a-aa5944723777" providerId="ADAL" clId="{798428BC-7DAE-4BDB-B3D7-D3A30B93072A}" dt="2026-04-11T13:21:43.240" v="3"/>
            <ac:spMkLst>
              <pc:docMk/>
              <pc:sldMasterMk cId="1723313442" sldId="2147485326"/>
              <pc:sldLayoutMk cId="3412477131" sldId="2147485562"/>
              <ac:spMk id="2" creationId="{6F9C0B7E-4626-614A-99D7-29B1AC549318}"/>
            </ac:spMkLst>
          </pc:spChg>
          <pc:spChg chg="mod">
            <ac:chgData name="Sunali Wadehra" userId="a49930c1-0f6e-4d08-a38a-aa5944723777" providerId="ADAL" clId="{798428BC-7DAE-4BDB-B3D7-D3A30B93072A}" dt="2026-04-11T13:21:43.240" v="3"/>
            <ac:spMkLst>
              <pc:docMk/>
              <pc:sldMasterMk cId="1723313442" sldId="2147485326"/>
              <pc:sldLayoutMk cId="3412477131" sldId="2147485562"/>
              <ac:spMk id="3" creationId="{55836542-B3A8-684F-81C6-1B4D63FCDAC0}"/>
            </ac:spMkLst>
          </pc:spChg>
          <pc:spChg chg="mod">
            <ac:chgData name="Sunali Wadehra" userId="a49930c1-0f6e-4d08-a38a-aa5944723777" providerId="ADAL" clId="{798428BC-7DAE-4BDB-B3D7-D3A30B93072A}" dt="2026-04-11T13:21:43.240" v="3"/>
            <ac:spMkLst>
              <pc:docMk/>
              <pc:sldMasterMk cId="1723313442" sldId="2147485326"/>
              <pc:sldLayoutMk cId="3412477131" sldId="2147485562"/>
              <ac:spMk id="4" creationId="{D7EE037D-91F8-164B-A68B-CA5A8A91F42A}"/>
            </ac:spMkLst>
          </pc:spChg>
        </pc:sldLayoutChg>
        <pc:sldLayoutChg chg="modSp mod ord">
          <pc:chgData name="Sunali Wadehra" userId="a49930c1-0f6e-4d08-a38a-aa5944723777" providerId="ADAL" clId="{798428BC-7DAE-4BDB-B3D7-D3A30B93072A}" dt="2026-04-11T13:21:43.240" v="3"/>
          <pc:sldLayoutMkLst>
            <pc:docMk/>
            <pc:sldMasterMk cId="1723313442" sldId="2147485326"/>
            <pc:sldLayoutMk cId="2726694625" sldId="2147485563"/>
          </pc:sldLayoutMkLst>
          <pc:spChg chg="mod">
            <ac:chgData name="Sunali Wadehra" userId="a49930c1-0f6e-4d08-a38a-aa5944723777" providerId="ADAL" clId="{798428BC-7DAE-4BDB-B3D7-D3A30B93072A}" dt="2026-04-11T13:21:43.240" v="3"/>
            <ac:spMkLst>
              <pc:docMk/>
              <pc:sldMasterMk cId="1723313442" sldId="2147485326"/>
              <pc:sldLayoutMk cId="2726694625" sldId="2147485563"/>
              <ac:spMk id="3"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2726694625" sldId="2147485563"/>
              <ac:spMk id="4"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2726694625" sldId="2147485563"/>
              <ac:spMk id="5" creationId="{00000000-0000-0000-0000-000000000000}"/>
            </ac:spMkLst>
          </pc:spChg>
          <pc:spChg chg="mod">
            <ac:chgData name="Sunali Wadehra" userId="a49930c1-0f6e-4d08-a38a-aa5944723777" providerId="ADAL" clId="{798428BC-7DAE-4BDB-B3D7-D3A30B93072A}" dt="2026-04-11T13:21:43.240" v="3"/>
            <ac:spMkLst>
              <pc:docMk/>
              <pc:sldMasterMk cId="1723313442" sldId="2147485326"/>
              <pc:sldLayoutMk cId="2726694625" sldId="2147485563"/>
              <ac:spMk id="6" creationId="{00000000-0000-0000-0000-000000000000}"/>
            </ac:spMkLst>
          </pc:spChg>
        </pc:sldLayoutChg>
      </pc:sldMasterChg>
      <pc:sldMasterChg chg="del sldLayoutOrd">
        <pc:chgData name="Sunali Wadehra" userId="a49930c1-0f6e-4d08-a38a-aa5944723777" providerId="ADAL" clId="{798428BC-7DAE-4BDB-B3D7-D3A30B93072A}" dt="2026-04-11T13:21:43.294" v="4"/>
        <pc:sldMasterMkLst>
          <pc:docMk/>
          <pc:sldMasterMk cId="672282732" sldId="2147485339"/>
        </pc:sldMasterMkLst>
      </pc:sldMasterChg>
      <pc:sldMasterChg chg="del sldLayoutOrd">
        <pc:chgData name="Sunali Wadehra" userId="a49930c1-0f6e-4d08-a38a-aa5944723777" providerId="ADAL" clId="{798428BC-7DAE-4BDB-B3D7-D3A30B93072A}" dt="2026-04-11T13:21:43.294" v="4"/>
        <pc:sldMasterMkLst>
          <pc:docMk/>
          <pc:sldMasterMk cId="3280154601" sldId="2147485549"/>
        </pc:sldMasterMkLst>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or 2</c:v>
                </c:pt>
              </c:strCache>
            </c:strRef>
          </c:tx>
          <c:spPr>
            <a:solidFill>
              <a:schemeClr val="bg2"/>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DFCB-A44D-BFFA-8FDBF9FECA3A}"/>
              </c:ext>
            </c:extLst>
          </c:dPt>
          <c:cat>
            <c:strRef>
              <c:f>Sheet1!$A$2</c:f>
              <c:strCache>
                <c:ptCount val="1"/>
                <c:pt idx="0">
                  <c:v>Prior line of therapy (%)</c:v>
                </c:pt>
              </c:strCache>
            </c:strRef>
          </c:cat>
          <c:val>
            <c:numRef>
              <c:f>Sheet1!$B$2</c:f>
              <c:numCache>
                <c:formatCode>0.00%</c:formatCode>
                <c:ptCount val="1"/>
                <c:pt idx="0">
                  <c:v>0.55100000000000005</c:v>
                </c:pt>
              </c:numCache>
            </c:numRef>
          </c:val>
          <c:extLst>
            <c:ext xmlns:c16="http://schemas.microsoft.com/office/drawing/2014/chart" uri="{C3380CC4-5D6E-409C-BE32-E72D297353CC}">
              <c16:uniqueId val="{00000002-DFCB-A44D-BFFA-8FDBF9FECA3A}"/>
            </c:ext>
          </c:extLst>
        </c:ser>
        <c:ser>
          <c:idx val="1"/>
          <c:order val="1"/>
          <c:tx>
            <c:strRef>
              <c:f>Sheet1!$C$1</c:f>
              <c:strCache>
                <c:ptCount val="1"/>
                <c:pt idx="0">
                  <c:v>3</c:v>
                </c:pt>
              </c:strCache>
            </c:strRef>
          </c:tx>
          <c:spPr>
            <a:solidFill>
              <a:schemeClr val="bg2">
                <a:lumMod val="75000"/>
              </a:schemeClr>
            </a:solidFill>
            <a:ln>
              <a:noFill/>
            </a:ln>
            <a:effectLst/>
          </c:spPr>
          <c:invertIfNegative val="0"/>
          <c:cat>
            <c:strRef>
              <c:f>Sheet1!$A$2</c:f>
              <c:strCache>
                <c:ptCount val="1"/>
                <c:pt idx="0">
                  <c:v>Prior line of therapy (%)</c:v>
                </c:pt>
              </c:strCache>
            </c:strRef>
          </c:cat>
          <c:val>
            <c:numRef>
              <c:f>Sheet1!$C$2</c:f>
              <c:numCache>
                <c:formatCode>0.00%</c:formatCode>
                <c:ptCount val="1"/>
                <c:pt idx="0">
                  <c:v>0.501</c:v>
                </c:pt>
              </c:numCache>
            </c:numRef>
          </c:val>
          <c:extLst>
            <c:ext xmlns:c16="http://schemas.microsoft.com/office/drawing/2014/chart" uri="{C3380CC4-5D6E-409C-BE32-E72D297353CC}">
              <c16:uniqueId val="{00000003-DFCB-A44D-BFFA-8FDBF9FECA3A}"/>
            </c:ext>
          </c:extLst>
        </c:ser>
        <c:ser>
          <c:idx val="2"/>
          <c:order val="2"/>
          <c:tx>
            <c:strRef>
              <c:f>Sheet1!$D$1</c:f>
              <c:strCache>
                <c:ptCount val="1"/>
                <c:pt idx="0">
                  <c:v>≥4</c:v>
                </c:pt>
              </c:strCache>
            </c:strRef>
          </c:tx>
          <c:spPr>
            <a:solidFill>
              <a:schemeClr val="bg2">
                <a:lumMod val="75000"/>
              </a:schemeClr>
            </a:solidFill>
            <a:ln>
              <a:noFill/>
            </a:ln>
            <a:effectLst/>
          </c:spPr>
          <c:invertIfNegative val="0"/>
          <c:cat>
            <c:strRef>
              <c:f>Sheet1!$A$2</c:f>
              <c:strCache>
                <c:ptCount val="1"/>
                <c:pt idx="0">
                  <c:v>Prior line of therapy (%)</c:v>
                </c:pt>
              </c:strCache>
            </c:strRef>
          </c:cat>
          <c:val>
            <c:numRef>
              <c:f>Sheet1!$D$2</c:f>
              <c:numCache>
                <c:formatCode>0.00%</c:formatCode>
                <c:ptCount val="1"/>
                <c:pt idx="0">
                  <c:v>0.33300000000000002</c:v>
                </c:pt>
              </c:numCache>
            </c:numRef>
          </c:val>
          <c:extLst>
            <c:ext xmlns:c16="http://schemas.microsoft.com/office/drawing/2014/chart" uri="{C3380CC4-5D6E-409C-BE32-E72D297353CC}">
              <c16:uniqueId val="{00000004-DFCB-A44D-BFFA-8FDBF9FECA3A}"/>
            </c:ext>
          </c:extLst>
        </c:ser>
        <c:dLbls>
          <c:showLegendKey val="0"/>
          <c:showVal val="0"/>
          <c:showCatName val="0"/>
          <c:showSerName val="0"/>
          <c:showPercent val="0"/>
          <c:showBubbleSize val="0"/>
        </c:dLbls>
        <c:gapWidth val="162"/>
        <c:overlap val="-43"/>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C$1</c:f>
              <c:strCache>
                <c:ptCount val="1"/>
                <c:pt idx="0">
                  <c:v>Column2</c:v>
                </c:pt>
              </c:strCache>
            </c:strRef>
          </c:tx>
          <c:spPr>
            <a:solidFill>
              <a:schemeClr val="accent2"/>
            </a:solidFill>
            <a:ln>
              <a:noFill/>
            </a:ln>
            <a:effectLst/>
          </c:spPr>
          <c:invertIfNegative val="0"/>
          <c:cat>
            <c:strRef>
              <c:f>Sheet1!$A$2</c:f>
              <c:strCache>
                <c:ptCount val="1"/>
                <c:pt idx="0">
                  <c:v>Overall ORR</c:v>
                </c:pt>
              </c:strCache>
            </c:strRef>
          </c:cat>
          <c:val>
            <c:numRef>
              <c:f>Sheet1!$C$2</c:f>
              <c:numCache>
                <c:formatCode>0.00%</c:formatCode>
                <c:ptCount val="1"/>
              </c:numCache>
            </c:numRef>
          </c:val>
          <c:extLst>
            <c:ext xmlns:c16="http://schemas.microsoft.com/office/drawing/2014/chart" uri="{C3380CC4-5D6E-409C-BE32-E72D297353CC}">
              <c16:uniqueId val="{00000000-8F20-634C-A318-D4845CBD9AED}"/>
            </c:ext>
          </c:extLst>
        </c:ser>
        <c:ser>
          <c:idx val="2"/>
          <c:order val="1"/>
          <c:tx>
            <c:strRef>
              <c:f>Sheet1!$D$1</c:f>
              <c:strCache>
                <c:ptCount val="1"/>
                <c:pt idx="0">
                  <c:v>Column3</c:v>
                </c:pt>
              </c:strCache>
            </c:strRef>
          </c:tx>
          <c:spPr>
            <a:solidFill>
              <a:schemeClr val="accent3"/>
            </a:solidFill>
            <a:ln>
              <a:noFill/>
            </a:ln>
            <a:effectLst/>
          </c:spPr>
          <c:invertIfNegative val="0"/>
          <c:cat>
            <c:strRef>
              <c:f>Sheet1!$A$2</c:f>
              <c:strCache>
                <c:ptCount val="1"/>
                <c:pt idx="0">
                  <c:v>Overall ORR</c:v>
                </c:pt>
              </c:strCache>
            </c:strRef>
          </c:cat>
          <c:val>
            <c:numRef>
              <c:f>Sheet1!$D$2</c:f>
              <c:numCache>
                <c:formatCode>0.00%</c:formatCode>
                <c:ptCount val="1"/>
              </c:numCache>
            </c:numRef>
          </c:val>
          <c:extLst>
            <c:ext xmlns:c16="http://schemas.microsoft.com/office/drawing/2014/chart" uri="{C3380CC4-5D6E-409C-BE32-E72D297353CC}">
              <c16:uniqueId val="{00000001-8F20-634C-A318-D4845CBD9AED}"/>
            </c:ext>
          </c:extLst>
        </c:ser>
        <c:dLbls>
          <c:showLegendKey val="0"/>
          <c:showVal val="0"/>
          <c:showCatName val="0"/>
          <c:showSerName val="0"/>
          <c:showPercent val="0"/>
          <c:showBubbleSize val="0"/>
        </c:dLbls>
        <c:gapWidth val="19"/>
        <c:overlap val="-50"/>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Arial Narrow" panose="020B0606020202030204" pitchFamily="34" charset="0"/>
                <a:ea typeface="+mn-ea"/>
                <a:cs typeface="+mn-cs"/>
              </a:defRPr>
            </a:pPr>
            <a:endParaRPr lang="en-US"/>
          </a:p>
        </c:txPr>
        <c:crossAx val="792537039"/>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Narrow" panose="020B0606020202030204" pitchFamily="34" charset="0"/>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ositive</c:v>
                </c:pt>
              </c:strCache>
            </c:strRef>
          </c:tx>
          <c:spPr>
            <a:solidFill>
              <a:schemeClr val="tx2">
                <a:lumMod val="50000"/>
              </a:schemeClr>
            </a:solidFill>
            <a:ln>
              <a:noFill/>
            </a:ln>
            <a:effectLst/>
          </c:spPr>
          <c:invertIfNegative val="0"/>
          <c:dPt>
            <c:idx val="0"/>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1-F35E-7741-965F-F5C1E8FFC002}"/>
              </c:ext>
            </c:extLst>
          </c:dPt>
          <c:cat>
            <c:strRef>
              <c:f>Sheet1!$A$2</c:f>
              <c:strCache>
                <c:ptCount val="1"/>
                <c:pt idx="0">
                  <c:v>BRCA Mutations</c:v>
                </c:pt>
              </c:strCache>
            </c:strRef>
          </c:cat>
          <c:val>
            <c:numRef>
              <c:f>Sheet1!$B$2</c:f>
              <c:numCache>
                <c:formatCode>0.00%</c:formatCode>
                <c:ptCount val="1"/>
                <c:pt idx="0">
                  <c:v>0.72699999999999998</c:v>
                </c:pt>
              </c:numCache>
            </c:numRef>
          </c:val>
          <c:extLst>
            <c:ext xmlns:c16="http://schemas.microsoft.com/office/drawing/2014/chart" uri="{C3380CC4-5D6E-409C-BE32-E72D297353CC}">
              <c16:uniqueId val="{00000002-F35E-7741-965F-F5C1E8FFC002}"/>
            </c:ext>
          </c:extLst>
        </c:ser>
        <c:ser>
          <c:idx val="1"/>
          <c:order val="1"/>
          <c:tx>
            <c:strRef>
              <c:f>Sheet1!$C$1</c:f>
              <c:strCache>
                <c:ptCount val="1"/>
                <c:pt idx="0">
                  <c:v>Negative/Unknown</c:v>
                </c:pt>
              </c:strCache>
            </c:strRef>
          </c:tx>
          <c:spPr>
            <a:solidFill>
              <a:schemeClr val="tx1">
                <a:lumMod val="50000"/>
                <a:lumOff val="50000"/>
              </a:schemeClr>
            </a:solidFill>
            <a:ln>
              <a:noFill/>
            </a:ln>
            <a:effectLst/>
          </c:spPr>
          <c:invertIfNegative val="0"/>
          <c:cat>
            <c:strRef>
              <c:f>Sheet1!$A$2</c:f>
              <c:strCache>
                <c:ptCount val="1"/>
                <c:pt idx="0">
                  <c:v>BRCA Mutations</c:v>
                </c:pt>
              </c:strCache>
            </c:strRef>
          </c:cat>
          <c:val>
            <c:numRef>
              <c:f>Sheet1!$C$2</c:f>
              <c:numCache>
                <c:formatCode>0.00%</c:formatCode>
                <c:ptCount val="1"/>
                <c:pt idx="0">
                  <c:v>0.439</c:v>
                </c:pt>
              </c:numCache>
            </c:numRef>
          </c:val>
          <c:extLst>
            <c:ext xmlns:c16="http://schemas.microsoft.com/office/drawing/2014/chart" uri="{C3380CC4-5D6E-409C-BE32-E72D297353CC}">
              <c16:uniqueId val="{00000003-F35E-7741-965F-F5C1E8FFC002}"/>
            </c:ext>
          </c:extLst>
        </c:ser>
        <c:dLbls>
          <c:showLegendKey val="0"/>
          <c:showVal val="0"/>
          <c:showCatName val="0"/>
          <c:showSerName val="0"/>
          <c:showPercent val="0"/>
          <c:showBubbleSize val="0"/>
        </c:dLbls>
        <c:gapWidth val="90"/>
        <c:overlap val="-39"/>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o</c:v>
                </c:pt>
              </c:strCache>
            </c:strRef>
          </c:tx>
          <c:spPr>
            <a:solidFill>
              <a:schemeClr val="accent1"/>
            </a:solidFill>
            <a:ln>
              <a:noFill/>
            </a:ln>
            <a:effectLst/>
          </c:spPr>
          <c:invertIfNegative val="0"/>
          <c:cat>
            <c:strRef>
              <c:f>Sheet1!$A$2</c:f>
              <c:strCache>
                <c:ptCount val="1"/>
                <c:pt idx="0">
                  <c:v>Exposure to PARPis</c:v>
                </c:pt>
              </c:strCache>
            </c:strRef>
          </c:cat>
          <c:val>
            <c:numRef>
              <c:f>Sheet1!$B$2</c:f>
              <c:numCache>
                <c:formatCode>0.0%</c:formatCode>
                <c:ptCount val="1"/>
                <c:pt idx="0">
                  <c:v>0.75</c:v>
                </c:pt>
              </c:numCache>
            </c:numRef>
          </c:val>
          <c:extLst>
            <c:ext xmlns:c16="http://schemas.microsoft.com/office/drawing/2014/chart" uri="{C3380CC4-5D6E-409C-BE32-E72D297353CC}">
              <c16:uniqueId val="{00000000-EEAC-0B45-BB4B-20C704DE28E6}"/>
            </c:ext>
          </c:extLst>
        </c:ser>
        <c:ser>
          <c:idx val="1"/>
          <c:order val="1"/>
          <c:tx>
            <c:strRef>
              <c:f>Sheet1!$C$1</c:f>
              <c:strCache>
                <c:ptCount val="1"/>
                <c:pt idx="0">
                  <c:v>Yes</c:v>
                </c:pt>
              </c:strCache>
            </c:strRef>
          </c:tx>
          <c:spPr>
            <a:solidFill>
              <a:schemeClr val="accent1"/>
            </a:solidFill>
            <a:ln>
              <a:noFill/>
            </a:ln>
            <a:effectLst/>
          </c:spPr>
          <c:invertIfNegative val="0"/>
          <c:cat>
            <c:strRef>
              <c:f>Sheet1!$A$2</c:f>
              <c:strCache>
                <c:ptCount val="1"/>
                <c:pt idx="0">
                  <c:v>Exposure to PARPis</c:v>
                </c:pt>
              </c:strCache>
            </c:strRef>
          </c:cat>
          <c:val>
            <c:numRef>
              <c:f>Sheet1!$C$2</c:f>
              <c:numCache>
                <c:formatCode>0.0%</c:formatCode>
                <c:ptCount val="1"/>
                <c:pt idx="0">
                  <c:v>0.46899999999999997</c:v>
                </c:pt>
              </c:numCache>
            </c:numRef>
          </c:val>
          <c:extLst>
            <c:ext xmlns:c16="http://schemas.microsoft.com/office/drawing/2014/chart" uri="{C3380CC4-5D6E-409C-BE32-E72D297353CC}">
              <c16:uniqueId val="{00000001-EEAC-0B45-BB4B-20C704DE28E6}"/>
            </c:ext>
          </c:extLst>
        </c:ser>
        <c:ser>
          <c:idx val="2"/>
          <c:order val="2"/>
          <c:tx>
            <c:strRef>
              <c:f>Sheet1!$D$1</c:f>
              <c:strCache>
                <c:ptCount val="1"/>
                <c:pt idx="0">
                  <c:v>Yes - Progression on PARPib</c:v>
                </c:pt>
              </c:strCache>
            </c:strRef>
          </c:tx>
          <c:spPr>
            <a:solidFill>
              <a:schemeClr val="accent1"/>
            </a:solidFill>
            <a:ln>
              <a:noFill/>
            </a:ln>
            <a:effectLst/>
          </c:spPr>
          <c:invertIfNegative val="0"/>
          <c:cat>
            <c:strRef>
              <c:f>Sheet1!$A$2</c:f>
              <c:strCache>
                <c:ptCount val="1"/>
                <c:pt idx="0">
                  <c:v>Exposure to PARPis</c:v>
                </c:pt>
              </c:strCache>
            </c:strRef>
          </c:cat>
          <c:val>
            <c:numRef>
              <c:f>Sheet1!$D$2</c:f>
              <c:numCache>
                <c:formatCode>0.0%</c:formatCode>
                <c:ptCount val="1"/>
                <c:pt idx="0">
                  <c:v>0.45800000000000002</c:v>
                </c:pt>
              </c:numCache>
            </c:numRef>
          </c:val>
          <c:extLst>
            <c:ext xmlns:c16="http://schemas.microsoft.com/office/drawing/2014/chart" uri="{C3380CC4-5D6E-409C-BE32-E72D297353CC}">
              <c16:uniqueId val="{00000002-EEAC-0B45-BB4B-20C704DE28E6}"/>
            </c:ext>
          </c:extLst>
        </c:ser>
        <c:ser>
          <c:idx val="3"/>
          <c:order val="3"/>
          <c:tx>
            <c:strRef>
              <c:f>Sheet1!$E$1</c:f>
              <c:strCache>
                <c:ptCount val="1"/>
                <c:pt idx="0">
                  <c:v>Yes - Without progression on PARPi</c:v>
                </c:pt>
              </c:strCache>
            </c:strRef>
          </c:tx>
          <c:spPr>
            <a:solidFill>
              <a:schemeClr val="accent1"/>
            </a:solidFill>
            <a:ln>
              <a:noFill/>
            </a:ln>
            <a:effectLst/>
          </c:spPr>
          <c:invertIfNegative val="0"/>
          <c:cat>
            <c:strRef>
              <c:f>Sheet1!$A$2</c:f>
              <c:strCache>
                <c:ptCount val="1"/>
                <c:pt idx="0">
                  <c:v>Exposure to PARPis</c:v>
                </c:pt>
              </c:strCache>
            </c:strRef>
          </c:cat>
          <c:val>
            <c:numRef>
              <c:f>Sheet1!$E$2</c:f>
              <c:numCache>
                <c:formatCode>0.0%</c:formatCode>
                <c:ptCount val="1"/>
                <c:pt idx="0">
                  <c:v>0.6</c:v>
                </c:pt>
              </c:numCache>
            </c:numRef>
          </c:val>
          <c:extLst>
            <c:ext xmlns:c16="http://schemas.microsoft.com/office/drawing/2014/chart" uri="{C3380CC4-5D6E-409C-BE32-E72D297353CC}">
              <c16:uniqueId val="{00000003-EEAC-0B45-BB4B-20C704DE28E6}"/>
            </c:ext>
          </c:extLst>
        </c:ser>
        <c:dLbls>
          <c:showLegendKey val="0"/>
          <c:showVal val="0"/>
          <c:showCatName val="0"/>
          <c:showSerName val="0"/>
          <c:showPercent val="0"/>
          <c:showBubbleSize val="0"/>
        </c:dLbls>
        <c:gapWidth val="87"/>
        <c:overlap val="-39"/>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o</c:v>
                </c:pt>
              </c:strCache>
            </c:strRef>
          </c:tx>
          <c:spPr>
            <a:solidFill>
              <a:schemeClr val="accent2"/>
            </a:solidFill>
            <a:ln>
              <a:noFill/>
            </a:ln>
            <a:effectLst/>
          </c:spPr>
          <c:invertIfNegative val="0"/>
          <c:cat>
            <c:strRef>
              <c:f>Sheet1!$A$2</c:f>
              <c:strCache>
                <c:ptCount val="1"/>
                <c:pt idx="0">
                  <c:v>Exposure to PARPis</c:v>
                </c:pt>
              </c:strCache>
            </c:strRef>
          </c:cat>
          <c:val>
            <c:numRef>
              <c:f>Sheet1!$B$2</c:f>
              <c:numCache>
                <c:formatCode>0.0%</c:formatCode>
                <c:ptCount val="1"/>
                <c:pt idx="0">
                  <c:v>0.57099999999999995</c:v>
                </c:pt>
              </c:numCache>
            </c:numRef>
          </c:val>
          <c:extLst>
            <c:ext xmlns:c16="http://schemas.microsoft.com/office/drawing/2014/chart" uri="{C3380CC4-5D6E-409C-BE32-E72D297353CC}">
              <c16:uniqueId val="{00000000-B836-334E-BB5B-010C12F79A85}"/>
            </c:ext>
          </c:extLst>
        </c:ser>
        <c:ser>
          <c:idx val="1"/>
          <c:order val="1"/>
          <c:tx>
            <c:strRef>
              <c:f>Sheet1!$C$1</c:f>
              <c:strCache>
                <c:ptCount val="1"/>
                <c:pt idx="0">
                  <c:v>Yes</c:v>
                </c:pt>
              </c:strCache>
            </c:strRef>
          </c:tx>
          <c:spPr>
            <a:solidFill>
              <a:schemeClr val="accent2"/>
            </a:solidFill>
            <a:ln>
              <a:noFill/>
            </a:ln>
            <a:effectLst/>
          </c:spPr>
          <c:invertIfNegative val="0"/>
          <c:cat>
            <c:strRef>
              <c:f>Sheet1!$A$2</c:f>
              <c:strCache>
                <c:ptCount val="1"/>
                <c:pt idx="0">
                  <c:v>Exposure to PARPis</c:v>
                </c:pt>
              </c:strCache>
            </c:strRef>
          </c:cat>
          <c:val>
            <c:numRef>
              <c:f>Sheet1!$C$2</c:f>
              <c:numCache>
                <c:formatCode>0.0%</c:formatCode>
                <c:ptCount val="1"/>
                <c:pt idx="0">
                  <c:v>0.49</c:v>
                </c:pt>
              </c:numCache>
            </c:numRef>
          </c:val>
          <c:extLst>
            <c:ext xmlns:c16="http://schemas.microsoft.com/office/drawing/2014/chart" uri="{C3380CC4-5D6E-409C-BE32-E72D297353CC}">
              <c16:uniqueId val="{00000001-B836-334E-BB5B-010C12F79A85}"/>
            </c:ext>
          </c:extLst>
        </c:ser>
        <c:dLbls>
          <c:showLegendKey val="0"/>
          <c:showVal val="0"/>
          <c:showCatName val="0"/>
          <c:showSerName val="0"/>
          <c:showPercent val="0"/>
          <c:showBubbleSize val="0"/>
        </c:dLbls>
        <c:gapWidth val="91"/>
        <c:overlap val="-40"/>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es</c:v>
                </c:pt>
              </c:strCache>
            </c:strRef>
          </c:tx>
          <c:spPr>
            <a:solidFill>
              <a:schemeClr val="accent4"/>
            </a:solidFill>
            <a:ln>
              <a:noFill/>
            </a:ln>
            <a:effectLst/>
          </c:spPr>
          <c:invertIfNegative val="0"/>
          <c:dPt>
            <c:idx val="0"/>
            <c:invertIfNegative val="0"/>
            <c:bubble3D val="0"/>
            <c:spPr>
              <a:solidFill>
                <a:srgbClr val="5F5D8E"/>
              </a:solidFill>
              <a:ln>
                <a:noFill/>
              </a:ln>
              <a:effectLst/>
            </c:spPr>
            <c:extLst>
              <c:ext xmlns:c16="http://schemas.microsoft.com/office/drawing/2014/chart" uri="{C3380CC4-5D6E-409C-BE32-E72D297353CC}">
                <c16:uniqueId val="{00000001-5BFA-8640-965D-A739FD2C3DAB}"/>
              </c:ext>
            </c:extLst>
          </c:dPt>
          <c:cat>
            <c:strRef>
              <c:f>Sheet1!$A$2</c:f>
              <c:strCache>
                <c:ptCount val="1"/>
                <c:pt idx="0">
                  <c:v>Exposure to both PARPis and BEV</c:v>
                </c:pt>
              </c:strCache>
            </c:strRef>
          </c:cat>
          <c:val>
            <c:numRef>
              <c:f>Sheet1!$B$2</c:f>
              <c:numCache>
                <c:formatCode>0.0%</c:formatCode>
                <c:ptCount val="1"/>
                <c:pt idx="0">
                  <c:v>0.439</c:v>
                </c:pt>
              </c:numCache>
            </c:numRef>
          </c:val>
          <c:extLst>
            <c:ext xmlns:c16="http://schemas.microsoft.com/office/drawing/2014/chart" uri="{C3380CC4-5D6E-409C-BE32-E72D297353CC}">
              <c16:uniqueId val="{00000002-5BFA-8640-965D-A739FD2C3DAB}"/>
            </c:ext>
          </c:extLst>
        </c:ser>
        <c:dLbls>
          <c:showLegendKey val="0"/>
          <c:showVal val="0"/>
          <c:showCatName val="0"/>
          <c:showSerName val="0"/>
          <c:showPercent val="0"/>
          <c:showBubbleSize val="0"/>
        </c:dLbls>
        <c:gapWidth val="269"/>
        <c:overlap val="-58"/>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2 months</c:v>
                </c:pt>
              </c:strCache>
            </c:strRef>
          </c:tx>
          <c:spPr>
            <a:solidFill>
              <a:schemeClr val="accent4"/>
            </a:solidFill>
            <a:ln>
              <a:noFill/>
            </a:ln>
            <a:effectLst/>
          </c:spPr>
          <c:invertIfNegative val="0"/>
          <c:cat>
            <c:strRef>
              <c:f>Sheet1!$A$2</c:f>
              <c:strCache>
                <c:ptCount val="1"/>
                <c:pt idx="0">
                  <c:v>Exposure to both PARPis and BEV</c:v>
                </c:pt>
              </c:strCache>
            </c:strRef>
          </c:cat>
          <c:val>
            <c:numRef>
              <c:f>Sheet1!$B$2</c:f>
              <c:numCache>
                <c:formatCode>0.0%</c:formatCode>
                <c:ptCount val="1"/>
                <c:pt idx="0">
                  <c:v>0.41899999999999998</c:v>
                </c:pt>
              </c:numCache>
            </c:numRef>
          </c:val>
          <c:extLst>
            <c:ext xmlns:c16="http://schemas.microsoft.com/office/drawing/2014/chart" uri="{C3380CC4-5D6E-409C-BE32-E72D297353CC}">
              <c16:uniqueId val="{00000000-D0AC-CE4D-95D3-18B4FABB90A6}"/>
            </c:ext>
          </c:extLst>
        </c:ser>
        <c:ser>
          <c:idx val="1"/>
          <c:order val="1"/>
          <c:tx>
            <c:strRef>
              <c:f>Sheet1!$C$1</c:f>
              <c:strCache>
                <c:ptCount val="1"/>
                <c:pt idx="0">
                  <c:v>&gt;12 months</c:v>
                </c:pt>
              </c:strCache>
            </c:strRef>
          </c:tx>
          <c:spPr>
            <a:solidFill>
              <a:schemeClr val="accent4"/>
            </a:solidFill>
            <a:ln>
              <a:noFill/>
            </a:ln>
            <a:effectLst/>
          </c:spPr>
          <c:invertIfNegative val="0"/>
          <c:cat>
            <c:strRef>
              <c:f>Sheet1!$A$2</c:f>
              <c:strCache>
                <c:ptCount val="1"/>
                <c:pt idx="0">
                  <c:v>Exposure to both PARPis and BEV</c:v>
                </c:pt>
              </c:strCache>
            </c:strRef>
          </c:cat>
          <c:val>
            <c:numRef>
              <c:f>Sheet1!$C$2</c:f>
              <c:numCache>
                <c:formatCode>0.0%</c:formatCode>
                <c:ptCount val="1"/>
                <c:pt idx="0">
                  <c:v>0.64700000000000002</c:v>
                </c:pt>
              </c:numCache>
            </c:numRef>
          </c:val>
          <c:extLst>
            <c:ext xmlns:c16="http://schemas.microsoft.com/office/drawing/2014/chart" uri="{C3380CC4-5D6E-409C-BE32-E72D297353CC}">
              <c16:uniqueId val="{00000001-D0AC-CE4D-95D3-18B4FABB90A6}"/>
            </c:ext>
          </c:extLst>
        </c:ser>
        <c:dLbls>
          <c:showLegendKey val="0"/>
          <c:showVal val="0"/>
          <c:showCatName val="0"/>
          <c:showSerName val="0"/>
          <c:showPercent val="0"/>
          <c:showBubbleSize val="0"/>
        </c:dLbls>
        <c:gapWidth val="92"/>
        <c:overlap val="-38"/>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c:style val="2"/>
  <c:chart>
    <c:title>
      <c:tx>
        <c:rich>
          <a:bodyPr/>
          <a:lstStyle/>
          <a:p>
            <a:pPr>
              <a:defRPr sz="1200" b="0" i="0" u="none" strike="noStrike">
                <a:solidFill>
                  <a:srgbClr val="1A2B4A"/>
                </a:solidFill>
                <a:latin typeface="Arial"/>
              </a:defRPr>
            </a:pPr>
            <a:r>
              <a:rPr lang="en-US" sz="1200" b="0" i="0" u="none" strike="noStrike">
                <a:solidFill>
                  <a:srgbClr val="1A2B4A"/>
                </a:solidFill>
                <a:latin typeface="Arial"/>
              </a:rPr>
              <a:t>All-Grade Incidence (%) — Key Class Toxicities</a:t>
            </a:r>
          </a:p>
        </c:rich>
      </c:tx>
      <c:overlay val="0"/>
    </c:title>
    <c:autoTitleDeleted val="0"/>
    <c:plotArea>
      <c:layout/>
      <c:barChart>
        <c:barDir val="bar"/>
        <c:grouping val="clustered"/>
        <c:varyColors val="0"/>
        <c:ser>
          <c:idx val="0"/>
          <c:order val="0"/>
          <c:tx>
            <c:strRef>
              <c:f>Sheet1!$B$1</c:f>
              <c:strCache>
                <c:ptCount val="1"/>
                <c:pt idx="0">
                  <c:v>Olaparib</c:v>
                </c:pt>
              </c:strCache>
            </c:strRef>
          </c:tx>
          <c:spPr>
            <a:solidFill>
              <a:srgbClr val="1B6CA8"/>
            </a:solidFill>
            <a:effectLst/>
          </c:spPr>
          <c:invertIfNegative val="0"/>
          <c:dLbls>
            <c:numFmt formatCode="#,##0" sourceLinked="0"/>
            <c:spPr>
              <a:noFill/>
              <a:ln>
                <a:noFill/>
              </a:ln>
              <a:effectLst/>
            </c:spPr>
            <c:txPr>
              <a:bodyPr/>
              <a:lstStyle/>
              <a:p>
                <a:pPr>
                  <a:defRPr sz="900" b="0" i="0" u="none" strike="noStrike">
                    <a:solidFill>
                      <a:srgbClr val="2C3E50"/>
                    </a:solidFill>
                    <a:latin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Nausea</c:v>
                </c:pt>
                <c:pt idx="1">
                  <c:v>Fatigue</c:v>
                </c:pt>
                <c:pt idx="2">
                  <c:v>Anemia</c:v>
                </c:pt>
                <c:pt idx="3">
                  <c:v>Neutropenia</c:v>
                </c:pt>
                <c:pt idx="4">
                  <c:v>Vomiting</c:v>
                </c:pt>
                <c:pt idx="5">
                  <c:v>Headache</c:v>
                </c:pt>
              </c:strCache>
            </c:strRef>
          </c:cat>
          <c:val>
            <c:numRef>
              <c:f>Sheet1!$B$2:$B$7</c:f>
              <c:numCache>
                <c:formatCode>General</c:formatCode>
                <c:ptCount val="6"/>
                <c:pt idx="0">
                  <c:v>77</c:v>
                </c:pt>
                <c:pt idx="1">
                  <c:v>65</c:v>
                </c:pt>
                <c:pt idx="2">
                  <c:v>44</c:v>
                </c:pt>
                <c:pt idx="3">
                  <c:v>20</c:v>
                </c:pt>
                <c:pt idx="4">
                  <c:v>40</c:v>
                </c:pt>
                <c:pt idx="5">
                  <c:v>25</c:v>
                </c:pt>
              </c:numCache>
            </c:numRef>
          </c:val>
          <c:extLst>
            <c:ext xmlns:c16="http://schemas.microsoft.com/office/drawing/2014/chart" uri="{C3380CC4-5D6E-409C-BE32-E72D297353CC}">
              <c16:uniqueId val="{00000000-53D4-4614-8DC2-9674FCF6FF8E}"/>
            </c:ext>
          </c:extLst>
        </c:ser>
        <c:ser>
          <c:idx val="1"/>
          <c:order val="1"/>
          <c:tx>
            <c:strRef>
              <c:f>Sheet1!$C$1</c:f>
              <c:strCache>
                <c:ptCount val="1"/>
                <c:pt idx="0">
                  <c:v>Niraparib</c:v>
                </c:pt>
              </c:strCache>
            </c:strRef>
          </c:tx>
          <c:spPr>
            <a:solidFill>
              <a:srgbClr val="8B2FC9"/>
            </a:solidFill>
            <a:effectLst/>
          </c:spPr>
          <c:invertIfNegative val="0"/>
          <c:dLbls>
            <c:numFmt formatCode="#,##0" sourceLinked="0"/>
            <c:spPr>
              <a:noFill/>
              <a:ln>
                <a:noFill/>
              </a:ln>
              <a:effectLst/>
            </c:spPr>
            <c:txPr>
              <a:bodyPr/>
              <a:lstStyle/>
              <a:p>
                <a:pPr>
                  <a:defRPr sz="900" b="0" i="0" u="none" strike="noStrike">
                    <a:solidFill>
                      <a:srgbClr val="2C3E50"/>
                    </a:solidFill>
                    <a:latin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Nausea</c:v>
                </c:pt>
                <c:pt idx="1">
                  <c:v>Fatigue</c:v>
                </c:pt>
                <c:pt idx="2">
                  <c:v>Anemia</c:v>
                </c:pt>
                <c:pt idx="3">
                  <c:v>Neutropenia</c:v>
                </c:pt>
                <c:pt idx="4">
                  <c:v>Vomiting</c:v>
                </c:pt>
                <c:pt idx="5">
                  <c:v>Headache</c:v>
                </c:pt>
              </c:strCache>
            </c:strRef>
          </c:cat>
          <c:val>
            <c:numRef>
              <c:f>Sheet1!$C$2:$C$7</c:f>
              <c:numCache>
                <c:formatCode>General</c:formatCode>
                <c:ptCount val="6"/>
                <c:pt idx="0">
                  <c:v>74</c:v>
                </c:pt>
                <c:pt idx="1">
                  <c:v>67</c:v>
                </c:pt>
                <c:pt idx="2">
                  <c:v>50</c:v>
                </c:pt>
                <c:pt idx="3">
                  <c:v>30</c:v>
                </c:pt>
                <c:pt idx="4">
                  <c:v>34</c:v>
                </c:pt>
                <c:pt idx="5">
                  <c:v>26</c:v>
                </c:pt>
              </c:numCache>
            </c:numRef>
          </c:val>
          <c:extLst>
            <c:ext xmlns:c16="http://schemas.microsoft.com/office/drawing/2014/chart" uri="{C3380CC4-5D6E-409C-BE32-E72D297353CC}">
              <c16:uniqueId val="{00000001-53D4-4614-8DC2-9674FCF6FF8E}"/>
            </c:ext>
          </c:extLst>
        </c:ser>
        <c:dLbls>
          <c:showLegendKey val="0"/>
          <c:showVal val="1"/>
          <c:showCatName val="0"/>
          <c:showSerName val="0"/>
          <c:showPercent val="0"/>
          <c:showBubbleSize val="0"/>
        </c:dLbls>
        <c:gapWidth val="150"/>
        <c:axId val="2094734554"/>
        <c:axId val="2094734552"/>
      </c:barChart>
      <c:catAx>
        <c:axId val="2094734554"/>
        <c:scaling>
          <c:orientation val="minMax"/>
        </c:scaling>
        <c:delete val="0"/>
        <c:axPos val="l"/>
        <c:numFmt formatCode="General" sourceLinked="1"/>
        <c:majorTickMark val="out"/>
        <c:minorTickMark val="none"/>
        <c:tickLblPos val="nextTo"/>
        <c:spPr>
          <a:ln w="12700" cap="flat">
            <a:noFill/>
            <a:prstDash val="solid"/>
            <a:round/>
          </a:ln>
        </c:spPr>
        <c:txPr>
          <a:bodyPr/>
          <a:lstStyle/>
          <a:p>
            <a:pPr>
              <a:defRPr sz="1200" b="0" i="0" u="none" strike="noStrike">
                <a:solidFill>
                  <a:srgbClr val="2C3E50"/>
                </a:solidFill>
                <a:latin typeface="Arial"/>
              </a:defRPr>
            </a:pPr>
            <a:endParaRPr lang="en-US"/>
          </a:p>
        </c:txPr>
        <c:crossAx val="2094734552"/>
        <c:crosses val="autoZero"/>
        <c:auto val="1"/>
        <c:lblAlgn val="ctr"/>
        <c:lblOffset val="100"/>
        <c:noMultiLvlLbl val="1"/>
      </c:catAx>
      <c:valAx>
        <c:axId val="2094734552"/>
        <c:scaling>
          <c:orientation val="minMax"/>
          <c:max val="100"/>
        </c:scaling>
        <c:delete val="0"/>
        <c:axPos val="b"/>
        <c:majorGridlines>
          <c:spPr>
            <a:ln w="6350" cap="flat">
              <a:solidFill>
                <a:srgbClr val="D0D8E4"/>
              </a:solidFill>
              <a:prstDash val="solid"/>
              <a:round/>
            </a:ln>
          </c:spPr>
        </c:majorGridlines>
        <c:numFmt formatCode="General" sourceLinked="0"/>
        <c:majorTickMark val="out"/>
        <c:minorTickMark val="none"/>
        <c:tickLblPos val="low"/>
        <c:spPr>
          <a:ln w="12700" cap="flat">
            <a:solidFill>
              <a:srgbClr val="888888"/>
            </a:solidFill>
            <a:prstDash val="solid"/>
            <a:round/>
          </a:ln>
        </c:spPr>
        <c:txPr>
          <a:bodyPr/>
          <a:lstStyle/>
          <a:p>
            <a:pPr>
              <a:defRPr sz="1200" b="0" i="0" u="none" strike="noStrike">
                <a:solidFill>
                  <a:srgbClr val="8898AA"/>
                </a:solidFill>
                <a:latin typeface="Arial"/>
              </a:defRPr>
            </a:pPr>
            <a:endParaRPr lang="en-US"/>
          </a:p>
        </c:txPr>
        <c:crossAx val="2094734554"/>
        <c:crosses val="autoZero"/>
        <c:crossBetween val="between"/>
      </c:valAx>
      <c:spPr>
        <a:solidFill>
          <a:srgbClr val="F4F6F9"/>
        </a:solidFill>
        <a:ln>
          <a:noFill/>
        </a:ln>
        <a:effectLst/>
      </c:spPr>
    </c:plotArea>
    <c:legend>
      <c:legendPos val="b"/>
      <c:overlay val="0"/>
      <c:txPr>
        <a:bodyPr/>
        <a:lstStyle/>
        <a:p>
          <a:pPr>
            <a:defRPr sz="1000"/>
          </a:pPr>
          <a:endParaRPr lang="en-US"/>
        </a:p>
      </c:txPr>
    </c:legend>
    <c:plotVisOnly val="1"/>
    <c:dispBlanksAs val="span"/>
    <c:showDLblsOverMax val="1"/>
  </c:chart>
  <c:spPr>
    <a:solidFill>
      <a:srgbClr val="F4F6F9"/>
    </a:solidFill>
    <a:ln>
      <a:noFill/>
    </a:ln>
    <a:effectLst/>
  </c:sp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BBBF27-8520-CC4D-96D6-15A9396D619A}" type="doc">
      <dgm:prSet loTypeId="urn:microsoft.com/office/officeart/2005/8/layout/cycle4" loCatId="" qsTypeId="urn:microsoft.com/office/officeart/2005/8/quickstyle/simple5" qsCatId="simple" csTypeId="urn:microsoft.com/office/officeart/2005/8/colors/colorful3" csCatId="colorful" phldr="1"/>
      <dgm:spPr/>
      <dgm:t>
        <a:bodyPr/>
        <a:lstStyle/>
        <a:p>
          <a:endParaRPr lang="es-ES"/>
        </a:p>
      </dgm:t>
    </dgm:pt>
    <dgm:pt modelId="{3EEB00AB-DB8A-0845-942D-1C024A9B9384}">
      <dgm:prSet phldrT="[Texto]"/>
      <dgm:spPr/>
      <dgm:t>
        <a:bodyPr/>
        <a:lstStyle/>
        <a:p>
          <a:r>
            <a:rPr lang="en-US" b="1" dirty="0"/>
            <a:t>Patient</a:t>
          </a:r>
        </a:p>
      </dgm:t>
    </dgm:pt>
    <dgm:pt modelId="{994FAB34-EE0F-1A44-BC95-33F6499EB6BA}" type="parTrans" cxnId="{1AF3B74A-9C4A-134A-91B8-67BFE38FFE0E}">
      <dgm:prSet/>
      <dgm:spPr/>
      <dgm:t>
        <a:bodyPr/>
        <a:lstStyle/>
        <a:p>
          <a:endParaRPr lang="es-ES" b="1"/>
        </a:p>
      </dgm:t>
    </dgm:pt>
    <dgm:pt modelId="{20DD174C-E557-9B40-B773-701BF3B3C944}" type="sibTrans" cxnId="{1AF3B74A-9C4A-134A-91B8-67BFE38FFE0E}">
      <dgm:prSet/>
      <dgm:spPr/>
      <dgm:t>
        <a:bodyPr/>
        <a:lstStyle/>
        <a:p>
          <a:endParaRPr lang="es-ES" b="1"/>
        </a:p>
      </dgm:t>
    </dgm:pt>
    <dgm:pt modelId="{517F7357-A5E7-594F-A722-72DBC69DA1BF}">
      <dgm:prSet phldrT="[Texto]"/>
      <dgm:spPr/>
      <dgm:t>
        <a:bodyPr/>
        <a:lstStyle/>
        <a:p>
          <a:r>
            <a:rPr lang="en-US" b="1" dirty="0" err="1"/>
            <a:t>Tumour</a:t>
          </a:r>
          <a:endParaRPr lang="en-US" b="1" dirty="0"/>
        </a:p>
      </dgm:t>
    </dgm:pt>
    <dgm:pt modelId="{4E4F52C4-51CF-A340-80E5-AC43C553857B}" type="parTrans" cxnId="{6C932082-2C38-8041-B942-F5841A479D7C}">
      <dgm:prSet/>
      <dgm:spPr/>
      <dgm:t>
        <a:bodyPr/>
        <a:lstStyle/>
        <a:p>
          <a:endParaRPr lang="es-ES" b="1"/>
        </a:p>
      </dgm:t>
    </dgm:pt>
    <dgm:pt modelId="{420D4B54-E698-7A41-951B-A24B3DC4986E}" type="sibTrans" cxnId="{6C932082-2C38-8041-B942-F5841A479D7C}">
      <dgm:prSet/>
      <dgm:spPr/>
      <dgm:t>
        <a:bodyPr/>
        <a:lstStyle/>
        <a:p>
          <a:endParaRPr lang="es-ES" b="1"/>
        </a:p>
      </dgm:t>
    </dgm:pt>
    <dgm:pt modelId="{5989CC76-0B8A-EA47-835C-C130A1858152}">
      <dgm:prSet phldrT="[Texto]"/>
      <dgm:spPr/>
      <dgm:t>
        <a:bodyPr/>
        <a:lstStyle/>
        <a:p>
          <a:r>
            <a:rPr lang="en-US" b="1" dirty="0"/>
            <a:t>Therapy</a:t>
          </a:r>
        </a:p>
      </dgm:t>
    </dgm:pt>
    <dgm:pt modelId="{BE6CAD21-46DF-764B-8AB6-8914C27EF640}" type="parTrans" cxnId="{AAA92968-D9DE-F84D-9C7E-F6523DC9B05C}">
      <dgm:prSet/>
      <dgm:spPr/>
      <dgm:t>
        <a:bodyPr/>
        <a:lstStyle/>
        <a:p>
          <a:endParaRPr lang="es-ES" b="1"/>
        </a:p>
      </dgm:t>
    </dgm:pt>
    <dgm:pt modelId="{04910825-1709-5647-BBB9-D0CE1E00EF40}" type="sibTrans" cxnId="{AAA92968-D9DE-F84D-9C7E-F6523DC9B05C}">
      <dgm:prSet/>
      <dgm:spPr/>
      <dgm:t>
        <a:bodyPr/>
        <a:lstStyle/>
        <a:p>
          <a:endParaRPr lang="es-ES" b="1"/>
        </a:p>
      </dgm:t>
    </dgm:pt>
    <dgm:pt modelId="{34B0DB23-DE57-5F44-B1D6-102C65BC1AEF}">
      <dgm:prSet phldrT="[Texto]"/>
      <dgm:spPr/>
      <dgm:t>
        <a:bodyPr/>
        <a:lstStyle/>
        <a:p>
          <a:r>
            <a:rPr lang="en-US" b="1" dirty="0"/>
            <a:t>Team</a:t>
          </a:r>
        </a:p>
      </dgm:t>
    </dgm:pt>
    <dgm:pt modelId="{4B93228D-BA3E-8F40-9237-B647BAD37A04}" type="parTrans" cxnId="{8FCCD5BE-E68F-B440-B6F5-89EAFF89B1BC}">
      <dgm:prSet/>
      <dgm:spPr/>
      <dgm:t>
        <a:bodyPr/>
        <a:lstStyle/>
        <a:p>
          <a:endParaRPr lang="es-ES" b="1"/>
        </a:p>
      </dgm:t>
    </dgm:pt>
    <dgm:pt modelId="{C478B3F1-B2EC-1845-BD30-5A681F38D260}" type="sibTrans" cxnId="{8FCCD5BE-E68F-B440-B6F5-89EAFF89B1BC}">
      <dgm:prSet/>
      <dgm:spPr/>
      <dgm:t>
        <a:bodyPr/>
        <a:lstStyle/>
        <a:p>
          <a:endParaRPr lang="es-ES" b="1"/>
        </a:p>
      </dgm:t>
    </dgm:pt>
    <dgm:pt modelId="{67367C4D-C813-6847-A503-97E5756D75B3}" type="pres">
      <dgm:prSet presAssocID="{B7BBBF27-8520-CC4D-96D6-15A9396D619A}" presName="cycleMatrixDiagram" presStyleCnt="0">
        <dgm:presLayoutVars>
          <dgm:chMax val="1"/>
          <dgm:dir/>
          <dgm:animLvl val="lvl"/>
          <dgm:resizeHandles val="exact"/>
        </dgm:presLayoutVars>
      </dgm:prSet>
      <dgm:spPr/>
    </dgm:pt>
    <dgm:pt modelId="{54C467B1-CEDA-FB40-B2E0-487875B9460A}" type="pres">
      <dgm:prSet presAssocID="{B7BBBF27-8520-CC4D-96D6-15A9396D619A}" presName="children" presStyleCnt="0"/>
      <dgm:spPr/>
    </dgm:pt>
    <dgm:pt modelId="{70413EF6-80D8-044C-BBC5-6B54B3D8A722}" type="pres">
      <dgm:prSet presAssocID="{B7BBBF27-8520-CC4D-96D6-15A9396D619A}" presName="childPlaceholder" presStyleCnt="0"/>
      <dgm:spPr/>
    </dgm:pt>
    <dgm:pt modelId="{C56840D7-8164-804B-9947-0792BE6246BF}" type="pres">
      <dgm:prSet presAssocID="{B7BBBF27-8520-CC4D-96D6-15A9396D619A}" presName="circle" presStyleCnt="0"/>
      <dgm:spPr/>
    </dgm:pt>
    <dgm:pt modelId="{53D6DE50-469B-7D49-9207-48676EDE1C47}" type="pres">
      <dgm:prSet presAssocID="{B7BBBF27-8520-CC4D-96D6-15A9396D619A}" presName="quadrant1" presStyleLbl="node1" presStyleIdx="0" presStyleCnt="4">
        <dgm:presLayoutVars>
          <dgm:chMax val="1"/>
          <dgm:bulletEnabled val="1"/>
        </dgm:presLayoutVars>
      </dgm:prSet>
      <dgm:spPr/>
    </dgm:pt>
    <dgm:pt modelId="{44A5943E-C9CB-944E-BAA9-27C3B135354E}" type="pres">
      <dgm:prSet presAssocID="{B7BBBF27-8520-CC4D-96D6-15A9396D619A}" presName="quadrant2" presStyleLbl="node1" presStyleIdx="1" presStyleCnt="4">
        <dgm:presLayoutVars>
          <dgm:chMax val="1"/>
          <dgm:bulletEnabled val="1"/>
        </dgm:presLayoutVars>
      </dgm:prSet>
      <dgm:spPr/>
    </dgm:pt>
    <dgm:pt modelId="{8FA1D850-449D-4042-BDEE-36256BA3E2AA}" type="pres">
      <dgm:prSet presAssocID="{B7BBBF27-8520-CC4D-96D6-15A9396D619A}" presName="quadrant3" presStyleLbl="node1" presStyleIdx="2" presStyleCnt="4">
        <dgm:presLayoutVars>
          <dgm:chMax val="1"/>
          <dgm:bulletEnabled val="1"/>
        </dgm:presLayoutVars>
      </dgm:prSet>
      <dgm:spPr/>
    </dgm:pt>
    <dgm:pt modelId="{83169E15-90EF-AC47-B44E-0CCC68FB5F5E}" type="pres">
      <dgm:prSet presAssocID="{B7BBBF27-8520-CC4D-96D6-15A9396D619A}" presName="quadrant4" presStyleLbl="node1" presStyleIdx="3" presStyleCnt="4">
        <dgm:presLayoutVars>
          <dgm:chMax val="1"/>
          <dgm:bulletEnabled val="1"/>
        </dgm:presLayoutVars>
      </dgm:prSet>
      <dgm:spPr/>
    </dgm:pt>
    <dgm:pt modelId="{EE777048-4EE7-BE45-A200-164C2E8750F1}" type="pres">
      <dgm:prSet presAssocID="{B7BBBF27-8520-CC4D-96D6-15A9396D619A}" presName="quadrantPlaceholder" presStyleCnt="0"/>
      <dgm:spPr/>
    </dgm:pt>
    <dgm:pt modelId="{11C911B5-3D8F-C54C-A313-5E4B5D07034A}" type="pres">
      <dgm:prSet presAssocID="{B7BBBF27-8520-CC4D-96D6-15A9396D619A}" presName="center1" presStyleLbl="fgShp" presStyleIdx="0" presStyleCnt="2"/>
      <dgm:spPr/>
    </dgm:pt>
    <dgm:pt modelId="{09AF23F9-B073-9D4F-89A7-7F54325A9C82}" type="pres">
      <dgm:prSet presAssocID="{B7BBBF27-8520-CC4D-96D6-15A9396D619A}" presName="center2" presStyleLbl="fgShp" presStyleIdx="1" presStyleCnt="2"/>
      <dgm:spPr/>
    </dgm:pt>
  </dgm:ptLst>
  <dgm:cxnLst>
    <dgm:cxn modelId="{41A7F53D-AFB1-7E4C-8F1F-5A5CCC098DD3}" type="presOf" srcId="{3EEB00AB-DB8A-0845-942D-1C024A9B9384}" destId="{53D6DE50-469B-7D49-9207-48676EDE1C47}" srcOrd="0" destOrd="0" presId="urn:microsoft.com/office/officeart/2005/8/layout/cycle4"/>
    <dgm:cxn modelId="{1AF3B74A-9C4A-134A-91B8-67BFE38FFE0E}" srcId="{B7BBBF27-8520-CC4D-96D6-15A9396D619A}" destId="{3EEB00AB-DB8A-0845-942D-1C024A9B9384}" srcOrd="0" destOrd="0" parTransId="{994FAB34-EE0F-1A44-BC95-33F6499EB6BA}" sibTransId="{20DD174C-E557-9B40-B773-701BF3B3C944}"/>
    <dgm:cxn modelId="{37BA9353-2416-064F-8FE2-E529C54A1CFC}" type="presOf" srcId="{517F7357-A5E7-594F-A722-72DBC69DA1BF}" destId="{44A5943E-C9CB-944E-BAA9-27C3B135354E}" srcOrd="0" destOrd="0" presId="urn:microsoft.com/office/officeart/2005/8/layout/cycle4"/>
    <dgm:cxn modelId="{AAA92968-D9DE-F84D-9C7E-F6523DC9B05C}" srcId="{B7BBBF27-8520-CC4D-96D6-15A9396D619A}" destId="{5989CC76-0B8A-EA47-835C-C130A1858152}" srcOrd="2" destOrd="0" parTransId="{BE6CAD21-46DF-764B-8AB6-8914C27EF640}" sibTransId="{04910825-1709-5647-BBB9-D0CE1E00EF40}"/>
    <dgm:cxn modelId="{6C932082-2C38-8041-B942-F5841A479D7C}" srcId="{B7BBBF27-8520-CC4D-96D6-15A9396D619A}" destId="{517F7357-A5E7-594F-A722-72DBC69DA1BF}" srcOrd="1" destOrd="0" parTransId="{4E4F52C4-51CF-A340-80E5-AC43C553857B}" sibTransId="{420D4B54-E698-7A41-951B-A24B3DC4986E}"/>
    <dgm:cxn modelId="{7BEBF193-61FF-2D45-A0A7-DF82CCD3F493}" type="presOf" srcId="{5989CC76-0B8A-EA47-835C-C130A1858152}" destId="{8FA1D850-449D-4042-BDEE-36256BA3E2AA}" srcOrd="0" destOrd="0" presId="urn:microsoft.com/office/officeart/2005/8/layout/cycle4"/>
    <dgm:cxn modelId="{241903B8-4C8F-254F-8542-F6D15F89657B}" type="presOf" srcId="{34B0DB23-DE57-5F44-B1D6-102C65BC1AEF}" destId="{83169E15-90EF-AC47-B44E-0CCC68FB5F5E}" srcOrd="0" destOrd="0" presId="urn:microsoft.com/office/officeart/2005/8/layout/cycle4"/>
    <dgm:cxn modelId="{8FCCD5BE-E68F-B440-B6F5-89EAFF89B1BC}" srcId="{B7BBBF27-8520-CC4D-96D6-15A9396D619A}" destId="{34B0DB23-DE57-5F44-B1D6-102C65BC1AEF}" srcOrd="3" destOrd="0" parTransId="{4B93228D-BA3E-8F40-9237-B647BAD37A04}" sibTransId="{C478B3F1-B2EC-1845-BD30-5A681F38D260}"/>
    <dgm:cxn modelId="{DFF3DABE-52F3-724C-9C3B-0ADB16A37B47}" type="presOf" srcId="{B7BBBF27-8520-CC4D-96D6-15A9396D619A}" destId="{67367C4D-C813-6847-A503-97E5756D75B3}" srcOrd="0" destOrd="0" presId="urn:microsoft.com/office/officeart/2005/8/layout/cycle4"/>
    <dgm:cxn modelId="{6E966AE1-D705-CE4B-ACE9-E4BD2B7BD308}" type="presParOf" srcId="{67367C4D-C813-6847-A503-97E5756D75B3}" destId="{54C467B1-CEDA-FB40-B2E0-487875B9460A}" srcOrd="0" destOrd="0" presId="urn:microsoft.com/office/officeart/2005/8/layout/cycle4"/>
    <dgm:cxn modelId="{AB8DCFE8-DD8B-9D4C-984F-B3A30422B0E4}" type="presParOf" srcId="{54C467B1-CEDA-FB40-B2E0-487875B9460A}" destId="{70413EF6-80D8-044C-BBC5-6B54B3D8A722}" srcOrd="0" destOrd="0" presId="urn:microsoft.com/office/officeart/2005/8/layout/cycle4"/>
    <dgm:cxn modelId="{C15BE635-9589-854E-B22E-1642C09C5197}" type="presParOf" srcId="{67367C4D-C813-6847-A503-97E5756D75B3}" destId="{C56840D7-8164-804B-9947-0792BE6246BF}" srcOrd="1" destOrd="0" presId="urn:microsoft.com/office/officeart/2005/8/layout/cycle4"/>
    <dgm:cxn modelId="{546731E3-F765-924A-8712-6034F8B96DF3}" type="presParOf" srcId="{C56840D7-8164-804B-9947-0792BE6246BF}" destId="{53D6DE50-469B-7D49-9207-48676EDE1C47}" srcOrd="0" destOrd="0" presId="urn:microsoft.com/office/officeart/2005/8/layout/cycle4"/>
    <dgm:cxn modelId="{02147606-C39F-B549-A56C-6185B97B7440}" type="presParOf" srcId="{C56840D7-8164-804B-9947-0792BE6246BF}" destId="{44A5943E-C9CB-944E-BAA9-27C3B135354E}" srcOrd="1" destOrd="0" presId="urn:microsoft.com/office/officeart/2005/8/layout/cycle4"/>
    <dgm:cxn modelId="{BBDB03D3-098E-B94A-B398-DB7F64A520F3}" type="presParOf" srcId="{C56840D7-8164-804B-9947-0792BE6246BF}" destId="{8FA1D850-449D-4042-BDEE-36256BA3E2AA}" srcOrd="2" destOrd="0" presId="urn:microsoft.com/office/officeart/2005/8/layout/cycle4"/>
    <dgm:cxn modelId="{95F66D6C-6EA1-4D4F-881C-9F6C450B59F6}" type="presParOf" srcId="{C56840D7-8164-804B-9947-0792BE6246BF}" destId="{83169E15-90EF-AC47-B44E-0CCC68FB5F5E}" srcOrd="3" destOrd="0" presId="urn:microsoft.com/office/officeart/2005/8/layout/cycle4"/>
    <dgm:cxn modelId="{D25A45D3-E5CD-4D4D-9C07-8C148475E973}" type="presParOf" srcId="{C56840D7-8164-804B-9947-0792BE6246BF}" destId="{EE777048-4EE7-BE45-A200-164C2E8750F1}" srcOrd="4" destOrd="0" presId="urn:microsoft.com/office/officeart/2005/8/layout/cycle4"/>
    <dgm:cxn modelId="{56D71159-2D02-214A-92D8-88A02D603325}" type="presParOf" srcId="{67367C4D-C813-6847-A503-97E5756D75B3}" destId="{11C911B5-3D8F-C54C-A313-5E4B5D07034A}" srcOrd="2" destOrd="0" presId="urn:microsoft.com/office/officeart/2005/8/layout/cycle4"/>
    <dgm:cxn modelId="{CEDA990C-37DF-7549-AB03-1DF687160D85}" type="presParOf" srcId="{67367C4D-C813-6847-A503-97E5756D75B3}" destId="{09AF23F9-B073-9D4F-89A7-7F54325A9C82}"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D6040D-8082-B44A-B1C5-4E1A9B3D7F3B}" type="doc">
      <dgm:prSet loTypeId="urn:microsoft.com/office/officeart/2005/8/layout/hChevron3" loCatId="" qsTypeId="urn:microsoft.com/office/officeart/2005/8/quickstyle/simple2" qsCatId="simple" csTypeId="urn:microsoft.com/office/officeart/2005/8/colors/accent1_3" csCatId="accent1" phldr="1"/>
      <dgm:spPr/>
    </dgm:pt>
    <dgm:pt modelId="{34B46C70-9115-524F-A257-6AFD05657F4B}">
      <dgm:prSet phldrT="[Text]" custT="1"/>
      <dgm:spPr/>
      <dgm:t>
        <a:bodyPr/>
        <a:lstStyle/>
        <a:p>
          <a:r>
            <a:rPr lang="en-US" sz="1400" b="1" dirty="0"/>
            <a:t>Upfront maintenance</a:t>
          </a:r>
        </a:p>
      </dgm:t>
    </dgm:pt>
    <dgm:pt modelId="{692B3AA7-DC60-9B46-AC56-3666DC404866}" type="parTrans" cxnId="{1A7E8634-85A2-3A43-ADA5-5CE4078E0884}">
      <dgm:prSet/>
      <dgm:spPr/>
      <dgm:t>
        <a:bodyPr/>
        <a:lstStyle/>
        <a:p>
          <a:endParaRPr lang="en-US"/>
        </a:p>
      </dgm:t>
    </dgm:pt>
    <dgm:pt modelId="{98609BB0-5B3D-F742-A606-5CB7915E8EB4}" type="sibTrans" cxnId="{1A7E8634-85A2-3A43-ADA5-5CE4078E0884}">
      <dgm:prSet/>
      <dgm:spPr/>
      <dgm:t>
        <a:bodyPr/>
        <a:lstStyle/>
        <a:p>
          <a:endParaRPr lang="en-US"/>
        </a:p>
      </dgm:t>
    </dgm:pt>
    <dgm:pt modelId="{CD08531C-62BF-4948-AE3B-A9038926094D}">
      <dgm:prSet phldrT="[Text]" custT="1"/>
      <dgm:spPr/>
      <dgm:t>
        <a:bodyPr/>
        <a:lstStyle/>
        <a:p>
          <a:r>
            <a:rPr lang="en-US" sz="1400" b="1" dirty="0"/>
            <a:t>Plat Sens Rec (maintenance post chemo)</a:t>
          </a:r>
        </a:p>
      </dgm:t>
    </dgm:pt>
    <dgm:pt modelId="{1E88FDA3-71A9-704E-B19A-B20C1568089F}" type="parTrans" cxnId="{CC406D54-D306-3446-8FF1-2CEFFBB44C30}">
      <dgm:prSet/>
      <dgm:spPr/>
      <dgm:t>
        <a:bodyPr/>
        <a:lstStyle/>
        <a:p>
          <a:endParaRPr lang="en-US"/>
        </a:p>
      </dgm:t>
    </dgm:pt>
    <dgm:pt modelId="{ECFD6A9D-7034-8B49-AEA3-F7F0F7DA0D90}" type="sibTrans" cxnId="{CC406D54-D306-3446-8FF1-2CEFFBB44C30}">
      <dgm:prSet/>
      <dgm:spPr/>
      <dgm:t>
        <a:bodyPr/>
        <a:lstStyle/>
        <a:p>
          <a:endParaRPr lang="en-US"/>
        </a:p>
      </dgm:t>
    </dgm:pt>
    <dgm:pt modelId="{6D238174-517F-3546-A344-C112FA2E4A53}">
      <dgm:prSet phldrT="[Text]" custT="1"/>
      <dgm:spPr/>
      <dgm:t>
        <a:bodyPr/>
        <a:lstStyle/>
        <a:p>
          <a:r>
            <a:rPr lang="en-US" sz="1400" b="1" dirty="0"/>
            <a:t>Plat Sens Rec (treatment)</a:t>
          </a:r>
        </a:p>
      </dgm:t>
    </dgm:pt>
    <dgm:pt modelId="{1061EA35-D559-4B4C-8BC5-ECE6DFB00418}" type="parTrans" cxnId="{4CD0F97D-0D18-7047-AEF8-1E117B5FA49A}">
      <dgm:prSet/>
      <dgm:spPr/>
      <dgm:t>
        <a:bodyPr/>
        <a:lstStyle/>
        <a:p>
          <a:endParaRPr lang="en-US"/>
        </a:p>
      </dgm:t>
    </dgm:pt>
    <dgm:pt modelId="{5649FFF1-4639-394E-BD3F-6D4D244EC5DE}" type="sibTrans" cxnId="{4CD0F97D-0D18-7047-AEF8-1E117B5FA49A}">
      <dgm:prSet/>
      <dgm:spPr/>
      <dgm:t>
        <a:bodyPr/>
        <a:lstStyle/>
        <a:p>
          <a:endParaRPr lang="en-US"/>
        </a:p>
      </dgm:t>
    </dgm:pt>
    <dgm:pt modelId="{47A6EAAE-68EF-7A44-9F2D-80DE9F2B32C7}">
      <dgm:prSet phldrT="[Text]" custT="1"/>
      <dgm:spPr/>
      <dgm:t>
        <a:bodyPr/>
        <a:lstStyle/>
        <a:p>
          <a:r>
            <a:rPr lang="en-US" sz="1400" b="1" dirty="0"/>
            <a:t>Plat Res Rec (treatment)</a:t>
          </a:r>
        </a:p>
      </dgm:t>
    </dgm:pt>
    <dgm:pt modelId="{B8022386-61A1-3A4E-8A9C-3DA39800DE70}" type="parTrans" cxnId="{5205A3A4-F114-5943-B9F8-94DE9B0B794B}">
      <dgm:prSet/>
      <dgm:spPr/>
      <dgm:t>
        <a:bodyPr/>
        <a:lstStyle/>
        <a:p>
          <a:endParaRPr lang="en-US"/>
        </a:p>
      </dgm:t>
    </dgm:pt>
    <dgm:pt modelId="{2E2F257C-CFE4-0C44-9E34-FBBE121AA0D2}" type="sibTrans" cxnId="{5205A3A4-F114-5943-B9F8-94DE9B0B794B}">
      <dgm:prSet/>
      <dgm:spPr/>
      <dgm:t>
        <a:bodyPr/>
        <a:lstStyle/>
        <a:p>
          <a:endParaRPr lang="en-US"/>
        </a:p>
      </dgm:t>
    </dgm:pt>
    <dgm:pt modelId="{E50F9B38-6881-7849-86C4-250AF8A7B10B}" type="pres">
      <dgm:prSet presAssocID="{5ED6040D-8082-B44A-B1C5-4E1A9B3D7F3B}" presName="Name0" presStyleCnt="0">
        <dgm:presLayoutVars>
          <dgm:dir/>
          <dgm:resizeHandles val="exact"/>
        </dgm:presLayoutVars>
      </dgm:prSet>
      <dgm:spPr/>
    </dgm:pt>
    <dgm:pt modelId="{CA4776F4-9689-CB4E-B5C9-CEFF9855361B}" type="pres">
      <dgm:prSet presAssocID="{34B46C70-9115-524F-A257-6AFD05657F4B}" presName="parTxOnly" presStyleLbl="node1" presStyleIdx="0" presStyleCnt="4">
        <dgm:presLayoutVars>
          <dgm:bulletEnabled val="1"/>
        </dgm:presLayoutVars>
      </dgm:prSet>
      <dgm:spPr/>
    </dgm:pt>
    <dgm:pt modelId="{6DE99595-8492-924A-9FB6-4EB870E35297}" type="pres">
      <dgm:prSet presAssocID="{98609BB0-5B3D-F742-A606-5CB7915E8EB4}" presName="parSpace" presStyleCnt="0"/>
      <dgm:spPr/>
    </dgm:pt>
    <dgm:pt modelId="{5BF94170-FC9C-9842-9083-FA3F66D3FBA6}" type="pres">
      <dgm:prSet presAssocID="{CD08531C-62BF-4948-AE3B-A9038926094D}" presName="parTxOnly" presStyleLbl="node1" presStyleIdx="1" presStyleCnt="4" custScaleX="109907">
        <dgm:presLayoutVars>
          <dgm:bulletEnabled val="1"/>
        </dgm:presLayoutVars>
      </dgm:prSet>
      <dgm:spPr/>
    </dgm:pt>
    <dgm:pt modelId="{5FAB5EBC-DFDB-8E44-8D9B-01E55CC51C99}" type="pres">
      <dgm:prSet presAssocID="{ECFD6A9D-7034-8B49-AEA3-F7F0F7DA0D90}" presName="parSpace" presStyleCnt="0"/>
      <dgm:spPr/>
    </dgm:pt>
    <dgm:pt modelId="{240605CA-577B-FD47-90EC-1A17F5E098CB}" type="pres">
      <dgm:prSet presAssocID="{6D238174-517F-3546-A344-C112FA2E4A53}" presName="parTxOnly" presStyleLbl="node1" presStyleIdx="2" presStyleCnt="4">
        <dgm:presLayoutVars>
          <dgm:bulletEnabled val="1"/>
        </dgm:presLayoutVars>
      </dgm:prSet>
      <dgm:spPr/>
    </dgm:pt>
    <dgm:pt modelId="{D73CE91D-36F5-1E49-B0B3-7EF6A636B0D1}" type="pres">
      <dgm:prSet presAssocID="{5649FFF1-4639-394E-BD3F-6D4D244EC5DE}" presName="parSpace" presStyleCnt="0"/>
      <dgm:spPr/>
    </dgm:pt>
    <dgm:pt modelId="{37EFA4B6-A272-414D-AFAA-E78C7A683A03}" type="pres">
      <dgm:prSet presAssocID="{47A6EAAE-68EF-7A44-9F2D-80DE9F2B32C7}" presName="parTxOnly" presStyleLbl="node1" presStyleIdx="3" presStyleCnt="4">
        <dgm:presLayoutVars>
          <dgm:bulletEnabled val="1"/>
        </dgm:presLayoutVars>
      </dgm:prSet>
      <dgm:spPr/>
    </dgm:pt>
  </dgm:ptLst>
  <dgm:cxnLst>
    <dgm:cxn modelId="{1A7E8634-85A2-3A43-ADA5-5CE4078E0884}" srcId="{5ED6040D-8082-B44A-B1C5-4E1A9B3D7F3B}" destId="{34B46C70-9115-524F-A257-6AFD05657F4B}" srcOrd="0" destOrd="0" parTransId="{692B3AA7-DC60-9B46-AC56-3666DC404866}" sibTransId="{98609BB0-5B3D-F742-A606-5CB7915E8EB4}"/>
    <dgm:cxn modelId="{5BFAFA3E-64CC-A645-87D0-0E808B96DC2D}" type="presOf" srcId="{34B46C70-9115-524F-A257-6AFD05657F4B}" destId="{CA4776F4-9689-CB4E-B5C9-CEFF9855361B}" srcOrd="0" destOrd="0" presId="urn:microsoft.com/office/officeart/2005/8/layout/hChevron3"/>
    <dgm:cxn modelId="{D24C5644-8EEC-0B4D-A8DC-7B8B5153AD61}" type="presOf" srcId="{CD08531C-62BF-4948-AE3B-A9038926094D}" destId="{5BF94170-FC9C-9842-9083-FA3F66D3FBA6}" srcOrd="0" destOrd="0" presId="urn:microsoft.com/office/officeart/2005/8/layout/hChevron3"/>
    <dgm:cxn modelId="{CC406D54-D306-3446-8FF1-2CEFFBB44C30}" srcId="{5ED6040D-8082-B44A-B1C5-4E1A9B3D7F3B}" destId="{CD08531C-62BF-4948-AE3B-A9038926094D}" srcOrd="1" destOrd="0" parTransId="{1E88FDA3-71A9-704E-B19A-B20C1568089F}" sibTransId="{ECFD6A9D-7034-8B49-AEA3-F7F0F7DA0D90}"/>
    <dgm:cxn modelId="{4CD0F97D-0D18-7047-AEF8-1E117B5FA49A}" srcId="{5ED6040D-8082-B44A-B1C5-4E1A9B3D7F3B}" destId="{6D238174-517F-3546-A344-C112FA2E4A53}" srcOrd="2" destOrd="0" parTransId="{1061EA35-D559-4B4C-8BC5-ECE6DFB00418}" sibTransId="{5649FFF1-4639-394E-BD3F-6D4D244EC5DE}"/>
    <dgm:cxn modelId="{14C47B97-574B-F249-92EE-664D01982B35}" type="presOf" srcId="{6D238174-517F-3546-A344-C112FA2E4A53}" destId="{240605CA-577B-FD47-90EC-1A17F5E098CB}" srcOrd="0" destOrd="0" presId="urn:microsoft.com/office/officeart/2005/8/layout/hChevron3"/>
    <dgm:cxn modelId="{5205A3A4-F114-5943-B9F8-94DE9B0B794B}" srcId="{5ED6040D-8082-B44A-B1C5-4E1A9B3D7F3B}" destId="{47A6EAAE-68EF-7A44-9F2D-80DE9F2B32C7}" srcOrd="3" destOrd="0" parTransId="{B8022386-61A1-3A4E-8A9C-3DA39800DE70}" sibTransId="{2E2F257C-CFE4-0C44-9E34-FBBE121AA0D2}"/>
    <dgm:cxn modelId="{115AA0B5-B96B-F041-8145-F1A605E96E23}" type="presOf" srcId="{47A6EAAE-68EF-7A44-9F2D-80DE9F2B32C7}" destId="{37EFA4B6-A272-414D-AFAA-E78C7A683A03}" srcOrd="0" destOrd="0" presId="urn:microsoft.com/office/officeart/2005/8/layout/hChevron3"/>
    <dgm:cxn modelId="{765943E4-F0F8-334B-9ABD-F5D852F1428F}" type="presOf" srcId="{5ED6040D-8082-B44A-B1C5-4E1A9B3D7F3B}" destId="{E50F9B38-6881-7849-86C4-250AF8A7B10B}" srcOrd="0" destOrd="0" presId="urn:microsoft.com/office/officeart/2005/8/layout/hChevron3"/>
    <dgm:cxn modelId="{7F8D9C9F-C6FA-1A49-B83D-5FED3D73AA03}" type="presParOf" srcId="{E50F9B38-6881-7849-86C4-250AF8A7B10B}" destId="{CA4776F4-9689-CB4E-B5C9-CEFF9855361B}" srcOrd="0" destOrd="0" presId="urn:microsoft.com/office/officeart/2005/8/layout/hChevron3"/>
    <dgm:cxn modelId="{505DE466-F5C8-F24C-9B47-8D99E11ABD9A}" type="presParOf" srcId="{E50F9B38-6881-7849-86C4-250AF8A7B10B}" destId="{6DE99595-8492-924A-9FB6-4EB870E35297}" srcOrd="1" destOrd="0" presId="urn:microsoft.com/office/officeart/2005/8/layout/hChevron3"/>
    <dgm:cxn modelId="{E681B3D6-1B4B-1E46-AC50-899F8A26217A}" type="presParOf" srcId="{E50F9B38-6881-7849-86C4-250AF8A7B10B}" destId="{5BF94170-FC9C-9842-9083-FA3F66D3FBA6}" srcOrd="2" destOrd="0" presId="urn:microsoft.com/office/officeart/2005/8/layout/hChevron3"/>
    <dgm:cxn modelId="{638385CD-717A-9E4C-A5E0-FB78D64C82A3}" type="presParOf" srcId="{E50F9B38-6881-7849-86C4-250AF8A7B10B}" destId="{5FAB5EBC-DFDB-8E44-8D9B-01E55CC51C99}" srcOrd="3" destOrd="0" presId="urn:microsoft.com/office/officeart/2005/8/layout/hChevron3"/>
    <dgm:cxn modelId="{AC2085BB-3E4B-5140-AF4B-B1C8206141E3}" type="presParOf" srcId="{E50F9B38-6881-7849-86C4-250AF8A7B10B}" destId="{240605CA-577B-FD47-90EC-1A17F5E098CB}" srcOrd="4" destOrd="0" presId="urn:microsoft.com/office/officeart/2005/8/layout/hChevron3"/>
    <dgm:cxn modelId="{9B8CEB56-CAC7-4049-8D3F-C3B15EAB5EF8}" type="presParOf" srcId="{E50F9B38-6881-7849-86C4-250AF8A7B10B}" destId="{D73CE91D-36F5-1E49-B0B3-7EF6A636B0D1}" srcOrd="5" destOrd="0" presId="urn:microsoft.com/office/officeart/2005/8/layout/hChevron3"/>
    <dgm:cxn modelId="{D7CE3F3D-ABD8-7043-AD3D-EC6184F0C1FC}" type="presParOf" srcId="{E50F9B38-6881-7849-86C4-250AF8A7B10B}" destId="{37EFA4B6-A272-414D-AFAA-E78C7A683A03}" srcOrd="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ED6040D-8082-B44A-B1C5-4E1A9B3D7F3B}" type="doc">
      <dgm:prSet loTypeId="urn:microsoft.com/office/officeart/2005/8/layout/hChevron3" loCatId="" qsTypeId="urn:microsoft.com/office/officeart/2005/8/quickstyle/simple2" qsCatId="simple" csTypeId="urn:microsoft.com/office/officeart/2005/8/colors/accent1_3" csCatId="accent1" phldr="1"/>
      <dgm:spPr/>
    </dgm:pt>
    <dgm:pt modelId="{34B46C70-9115-524F-A257-6AFD05657F4B}">
      <dgm:prSet phldrT="[Text]" custT="1"/>
      <dgm:spPr/>
      <dgm:t>
        <a:bodyPr/>
        <a:lstStyle/>
        <a:p>
          <a:r>
            <a:rPr lang="en-US" sz="1400" b="1" dirty="0"/>
            <a:t>Upfront maintenance</a:t>
          </a:r>
        </a:p>
      </dgm:t>
    </dgm:pt>
    <dgm:pt modelId="{692B3AA7-DC60-9B46-AC56-3666DC404866}" type="parTrans" cxnId="{1A7E8634-85A2-3A43-ADA5-5CE4078E0884}">
      <dgm:prSet/>
      <dgm:spPr/>
      <dgm:t>
        <a:bodyPr/>
        <a:lstStyle/>
        <a:p>
          <a:endParaRPr lang="en-US"/>
        </a:p>
      </dgm:t>
    </dgm:pt>
    <dgm:pt modelId="{98609BB0-5B3D-F742-A606-5CB7915E8EB4}" type="sibTrans" cxnId="{1A7E8634-85A2-3A43-ADA5-5CE4078E0884}">
      <dgm:prSet/>
      <dgm:spPr/>
      <dgm:t>
        <a:bodyPr/>
        <a:lstStyle/>
        <a:p>
          <a:endParaRPr lang="en-US"/>
        </a:p>
      </dgm:t>
    </dgm:pt>
    <dgm:pt modelId="{CD08531C-62BF-4948-AE3B-A9038926094D}">
      <dgm:prSet phldrT="[Text]" custT="1"/>
      <dgm:spPr/>
      <dgm:t>
        <a:bodyPr/>
        <a:lstStyle/>
        <a:p>
          <a:r>
            <a:rPr lang="en-US" sz="1400" b="1" dirty="0"/>
            <a:t>Plat Sens Rec (maintenance post chemo)</a:t>
          </a:r>
        </a:p>
      </dgm:t>
    </dgm:pt>
    <dgm:pt modelId="{1E88FDA3-71A9-704E-B19A-B20C1568089F}" type="parTrans" cxnId="{CC406D54-D306-3446-8FF1-2CEFFBB44C30}">
      <dgm:prSet/>
      <dgm:spPr/>
      <dgm:t>
        <a:bodyPr/>
        <a:lstStyle/>
        <a:p>
          <a:endParaRPr lang="en-US"/>
        </a:p>
      </dgm:t>
    </dgm:pt>
    <dgm:pt modelId="{ECFD6A9D-7034-8B49-AEA3-F7F0F7DA0D90}" type="sibTrans" cxnId="{CC406D54-D306-3446-8FF1-2CEFFBB44C30}">
      <dgm:prSet/>
      <dgm:spPr/>
      <dgm:t>
        <a:bodyPr/>
        <a:lstStyle/>
        <a:p>
          <a:endParaRPr lang="en-US"/>
        </a:p>
      </dgm:t>
    </dgm:pt>
    <dgm:pt modelId="{6D238174-517F-3546-A344-C112FA2E4A53}">
      <dgm:prSet phldrT="[Text]" custT="1"/>
      <dgm:spPr/>
      <dgm:t>
        <a:bodyPr/>
        <a:lstStyle/>
        <a:p>
          <a:r>
            <a:rPr lang="en-US" sz="1400" b="1" dirty="0"/>
            <a:t>Plat Sens Rec (treatment)</a:t>
          </a:r>
        </a:p>
      </dgm:t>
    </dgm:pt>
    <dgm:pt modelId="{1061EA35-D559-4B4C-8BC5-ECE6DFB00418}" type="parTrans" cxnId="{4CD0F97D-0D18-7047-AEF8-1E117B5FA49A}">
      <dgm:prSet/>
      <dgm:spPr/>
      <dgm:t>
        <a:bodyPr/>
        <a:lstStyle/>
        <a:p>
          <a:endParaRPr lang="en-US"/>
        </a:p>
      </dgm:t>
    </dgm:pt>
    <dgm:pt modelId="{5649FFF1-4639-394E-BD3F-6D4D244EC5DE}" type="sibTrans" cxnId="{4CD0F97D-0D18-7047-AEF8-1E117B5FA49A}">
      <dgm:prSet/>
      <dgm:spPr/>
      <dgm:t>
        <a:bodyPr/>
        <a:lstStyle/>
        <a:p>
          <a:endParaRPr lang="en-US"/>
        </a:p>
      </dgm:t>
    </dgm:pt>
    <dgm:pt modelId="{47A6EAAE-68EF-7A44-9F2D-80DE9F2B32C7}">
      <dgm:prSet phldrT="[Text]" custT="1"/>
      <dgm:spPr/>
      <dgm:t>
        <a:bodyPr/>
        <a:lstStyle/>
        <a:p>
          <a:r>
            <a:rPr lang="en-US" sz="1400" b="1" dirty="0"/>
            <a:t>Plat Res Rec (treatment)</a:t>
          </a:r>
        </a:p>
      </dgm:t>
    </dgm:pt>
    <dgm:pt modelId="{B8022386-61A1-3A4E-8A9C-3DA39800DE70}" type="parTrans" cxnId="{5205A3A4-F114-5943-B9F8-94DE9B0B794B}">
      <dgm:prSet/>
      <dgm:spPr/>
      <dgm:t>
        <a:bodyPr/>
        <a:lstStyle/>
        <a:p>
          <a:endParaRPr lang="en-US"/>
        </a:p>
      </dgm:t>
    </dgm:pt>
    <dgm:pt modelId="{2E2F257C-CFE4-0C44-9E34-FBBE121AA0D2}" type="sibTrans" cxnId="{5205A3A4-F114-5943-B9F8-94DE9B0B794B}">
      <dgm:prSet/>
      <dgm:spPr/>
      <dgm:t>
        <a:bodyPr/>
        <a:lstStyle/>
        <a:p>
          <a:endParaRPr lang="en-US"/>
        </a:p>
      </dgm:t>
    </dgm:pt>
    <dgm:pt modelId="{E50F9B38-6881-7849-86C4-250AF8A7B10B}" type="pres">
      <dgm:prSet presAssocID="{5ED6040D-8082-B44A-B1C5-4E1A9B3D7F3B}" presName="Name0" presStyleCnt="0">
        <dgm:presLayoutVars>
          <dgm:dir/>
          <dgm:resizeHandles val="exact"/>
        </dgm:presLayoutVars>
      </dgm:prSet>
      <dgm:spPr/>
    </dgm:pt>
    <dgm:pt modelId="{CA4776F4-9689-CB4E-B5C9-CEFF9855361B}" type="pres">
      <dgm:prSet presAssocID="{34B46C70-9115-524F-A257-6AFD05657F4B}" presName="parTxOnly" presStyleLbl="node1" presStyleIdx="0" presStyleCnt="4">
        <dgm:presLayoutVars>
          <dgm:bulletEnabled val="1"/>
        </dgm:presLayoutVars>
      </dgm:prSet>
      <dgm:spPr/>
    </dgm:pt>
    <dgm:pt modelId="{6DE99595-8492-924A-9FB6-4EB870E35297}" type="pres">
      <dgm:prSet presAssocID="{98609BB0-5B3D-F742-A606-5CB7915E8EB4}" presName="parSpace" presStyleCnt="0"/>
      <dgm:spPr/>
    </dgm:pt>
    <dgm:pt modelId="{5BF94170-FC9C-9842-9083-FA3F66D3FBA6}" type="pres">
      <dgm:prSet presAssocID="{CD08531C-62BF-4948-AE3B-A9038926094D}" presName="parTxOnly" presStyleLbl="node1" presStyleIdx="1" presStyleCnt="4" custScaleX="109907">
        <dgm:presLayoutVars>
          <dgm:bulletEnabled val="1"/>
        </dgm:presLayoutVars>
      </dgm:prSet>
      <dgm:spPr/>
    </dgm:pt>
    <dgm:pt modelId="{5FAB5EBC-DFDB-8E44-8D9B-01E55CC51C99}" type="pres">
      <dgm:prSet presAssocID="{ECFD6A9D-7034-8B49-AEA3-F7F0F7DA0D90}" presName="parSpace" presStyleCnt="0"/>
      <dgm:spPr/>
    </dgm:pt>
    <dgm:pt modelId="{240605CA-577B-FD47-90EC-1A17F5E098CB}" type="pres">
      <dgm:prSet presAssocID="{6D238174-517F-3546-A344-C112FA2E4A53}" presName="parTxOnly" presStyleLbl="node1" presStyleIdx="2" presStyleCnt="4">
        <dgm:presLayoutVars>
          <dgm:bulletEnabled val="1"/>
        </dgm:presLayoutVars>
      </dgm:prSet>
      <dgm:spPr/>
    </dgm:pt>
    <dgm:pt modelId="{D73CE91D-36F5-1E49-B0B3-7EF6A636B0D1}" type="pres">
      <dgm:prSet presAssocID="{5649FFF1-4639-394E-BD3F-6D4D244EC5DE}" presName="parSpace" presStyleCnt="0"/>
      <dgm:spPr/>
    </dgm:pt>
    <dgm:pt modelId="{37EFA4B6-A272-414D-AFAA-E78C7A683A03}" type="pres">
      <dgm:prSet presAssocID="{47A6EAAE-68EF-7A44-9F2D-80DE9F2B32C7}" presName="parTxOnly" presStyleLbl="node1" presStyleIdx="3" presStyleCnt="4">
        <dgm:presLayoutVars>
          <dgm:bulletEnabled val="1"/>
        </dgm:presLayoutVars>
      </dgm:prSet>
      <dgm:spPr/>
    </dgm:pt>
  </dgm:ptLst>
  <dgm:cxnLst>
    <dgm:cxn modelId="{1A7E8634-85A2-3A43-ADA5-5CE4078E0884}" srcId="{5ED6040D-8082-B44A-B1C5-4E1A9B3D7F3B}" destId="{34B46C70-9115-524F-A257-6AFD05657F4B}" srcOrd="0" destOrd="0" parTransId="{692B3AA7-DC60-9B46-AC56-3666DC404866}" sibTransId="{98609BB0-5B3D-F742-A606-5CB7915E8EB4}"/>
    <dgm:cxn modelId="{5BFAFA3E-64CC-A645-87D0-0E808B96DC2D}" type="presOf" srcId="{34B46C70-9115-524F-A257-6AFD05657F4B}" destId="{CA4776F4-9689-CB4E-B5C9-CEFF9855361B}" srcOrd="0" destOrd="0" presId="urn:microsoft.com/office/officeart/2005/8/layout/hChevron3"/>
    <dgm:cxn modelId="{D24C5644-8EEC-0B4D-A8DC-7B8B5153AD61}" type="presOf" srcId="{CD08531C-62BF-4948-AE3B-A9038926094D}" destId="{5BF94170-FC9C-9842-9083-FA3F66D3FBA6}" srcOrd="0" destOrd="0" presId="urn:microsoft.com/office/officeart/2005/8/layout/hChevron3"/>
    <dgm:cxn modelId="{CC406D54-D306-3446-8FF1-2CEFFBB44C30}" srcId="{5ED6040D-8082-B44A-B1C5-4E1A9B3D7F3B}" destId="{CD08531C-62BF-4948-AE3B-A9038926094D}" srcOrd="1" destOrd="0" parTransId="{1E88FDA3-71A9-704E-B19A-B20C1568089F}" sibTransId="{ECFD6A9D-7034-8B49-AEA3-F7F0F7DA0D90}"/>
    <dgm:cxn modelId="{4CD0F97D-0D18-7047-AEF8-1E117B5FA49A}" srcId="{5ED6040D-8082-B44A-B1C5-4E1A9B3D7F3B}" destId="{6D238174-517F-3546-A344-C112FA2E4A53}" srcOrd="2" destOrd="0" parTransId="{1061EA35-D559-4B4C-8BC5-ECE6DFB00418}" sibTransId="{5649FFF1-4639-394E-BD3F-6D4D244EC5DE}"/>
    <dgm:cxn modelId="{14C47B97-574B-F249-92EE-664D01982B35}" type="presOf" srcId="{6D238174-517F-3546-A344-C112FA2E4A53}" destId="{240605CA-577B-FD47-90EC-1A17F5E098CB}" srcOrd="0" destOrd="0" presId="urn:microsoft.com/office/officeart/2005/8/layout/hChevron3"/>
    <dgm:cxn modelId="{5205A3A4-F114-5943-B9F8-94DE9B0B794B}" srcId="{5ED6040D-8082-B44A-B1C5-4E1A9B3D7F3B}" destId="{47A6EAAE-68EF-7A44-9F2D-80DE9F2B32C7}" srcOrd="3" destOrd="0" parTransId="{B8022386-61A1-3A4E-8A9C-3DA39800DE70}" sibTransId="{2E2F257C-CFE4-0C44-9E34-FBBE121AA0D2}"/>
    <dgm:cxn modelId="{115AA0B5-B96B-F041-8145-F1A605E96E23}" type="presOf" srcId="{47A6EAAE-68EF-7A44-9F2D-80DE9F2B32C7}" destId="{37EFA4B6-A272-414D-AFAA-E78C7A683A03}" srcOrd="0" destOrd="0" presId="urn:microsoft.com/office/officeart/2005/8/layout/hChevron3"/>
    <dgm:cxn modelId="{765943E4-F0F8-334B-9ABD-F5D852F1428F}" type="presOf" srcId="{5ED6040D-8082-B44A-B1C5-4E1A9B3D7F3B}" destId="{E50F9B38-6881-7849-86C4-250AF8A7B10B}" srcOrd="0" destOrd="0" presId="urn:microsoft.com/office/officeart/2005/8/layout/hChevron3"/>
    <dgm:cxn modelId="{7F8D9C9F-C6FA-1A49-B83D-5FED3D73AA03}" type="presParOf" srcId="{E50F9B38-6881-7849-86C4-250AF8A7B10B}" destId="{CA4776F4-9689-CB4E-B5C9-CEFF9855361B}" srcOrd="0" destOrd="0" presId="urn:microsoft.com/office/officeart/2005/8/layout/hChevron3"/>
    <dgm:cxn modelId="{505DE466-F5C8-F24C-9B47-8D99E11ABD9A}" type="presParOf" srcId="{E50F9B38-6881-7849-86C4-250AF8A7B10B}" destId="{6DE99595-8492-924A-9FB6-4EB870E35297}" srcOrd="1" destOrd="0" presId="urn:microsoft.com/office/officeart/2005/8/layout/hChevron3"/>
    <dgm:cxn modelId="{E681B3D6-1B4B-1E46-AC50-899F8A26217A}" type="presParOf" srcId="{E50F9B38-6881-7849-86C4-250AF8A7B10B}" destId="{5BF94170-FC9C-9842-9083-FA3F66D3FBA6}" srcOrd="2" destOrd="0" presId="urn:microsoft.com/office/officeart/2005/8/layout/hChevron3"/>
    <dgm:cxn modelId="{638385CD-717A-9E4C-A5E0-FB78D64C82A3}" type="presParOf" srcId="{E50F9B38-6881-7849-86C4-250AF8A7B10B}" destId="{5FAB5EBC-DFDB-8E44-8D9B-01E55CC51C99}" srcOrd="3" destOrd="0" presId="urn:microsoft.com/office/officeart/2005/8/layout/hChevron3"/>
    <dgm:cxn modelId="{AC2085BB-3E4B-5140-AF4B-B1C8206141E3}" type="presParOf" srcId="{E50F9B38-6881-7849-86C4-250AF8A7B10B}" destId="{240605CA-577B-FD47-90EC-1A17F5E098CB}" srcOrd="4" destOrd="0" presId="urn:microsoft.com/office/officeart/2005/8/layout/hChevron3"/>
    <dgm:cxn modelId="{9B8CEB56-CAC7-4049-8D3F-C3B15EAB5EF8}" type="presParOf" srcId="{E50F9B38-6881-7849-86C4-250AF8A7B10B}" destId="{D73CE91D-36F5-1E49-B0B3-7EF6A636B0D1}" srcOrd="5" destOrd="0" presId="urn:microsoft.com/office/officeart/2005/8/layout/hChevron3"/>
    <dgm:cxn modelId="{D7CE3F3D-ABD8-7043-AD3D-EC6184F0C1FC}" type="presParOf" srcId="{E50F9B38-6881-7849-86C4-250AF8A7B10B}" destId="{37EFA4B6-A272-414D-AFAA-E78C7A683A03}" srcOrd="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D6DE50-469B-7D49-9207-48676EDE1C47}">
      <dsp:nvSpPr>
        <dsp:cNvPr id="0" name=""/>
        <dsp:cNvSpPr/>
      </dsp:nvSpPr>
      <dsp:spPr>
        <a:xfrm>
          <a:off x="3330156" y="248026"/>
          <a:ext cx="1884129" cy="1884129"/>
        </a:xfrm>
        <a:prstGeom prst="pieWedge">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dirty="0"/>
            <a:t>Patient</a:t>
          </a:r>
        </a:p>
      </dsp:txBody>
      <dsp:txXfrm>
        <a:off x="3882005" y="799875"/>
        <a:ext cx="1332280" cy="1332280"/>
      </dsp:txXfrm>
    </dsp:sp>
    <dsp:sp modelId="{44A5943E-C9CB-944E-BAA9-27C3B135354E}">
      <dsp:nvSpPr>
        <dsp:cNvPr id="0" name=""/>
        <dsp:cNvSpPr/>
      </dsp:nvSpPr>
      <dsp:spPr>
        <a:xfrm rot="5400000">
          <a:off x="5301313" y="248026"/>
          <a:ext cx="1884129" cy="1884129"/>
        </a:xfrm>
        <a:prstGeom prst="pieWedge">
          <a:avLst/>
        </a:prstGeom>
        <a:gradFill rotWithShape="0">
          <a:gsLst>
            <a:gs pos="0">
              <a:schemeClr val="accent3">
                <a:hueOff val="1372388"/>
                <a:satOff val="8237"/>
                <a:lumOff val="6275"/>
                <a:alphaOff val="0"/>
                <a:satMod val="103000"/>
                <a:lumMod val="102000"/>
                <a:tint val="94000"/>
              </a:schemeClr>
            </a:gs>
            <a:gs pos="50000">
              <a:schemeClr val="accent3">
                <a:hueOff val="1372388"/>
                <a:satOff val="8237"/>
                <a:lumOff val="6275"/>
                <a:alphaOff val="0"/>
                <a:satMod val="110000"/>
                <a:lumMod val="100000"/>
                <a:shade val="100000"/>
              </a:schemeClr>
            </a:gs>
            <a:gs pos="100000">
              <a:schemeClr val="accent3">
                <a:hueOff val="1372388"/>
                <a:satOff val="8237"/>
                <a:lumOff val="6275"/>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dirty="0" err="1"/>
            <a:t>Tumour</a:t>
          </a:r>
          <a:endParaRPr lang="en-US" sz="2200" b="1" kern="1200" dirty="0"/>
        </a:p>
      </dsp:txBody>
      <dsp:txXfrm rot="-5400000">
        <a:off x="5301313" y="799875"/>
        <a:ext cx="1332280" cy="1332280"/>
      </dsp:txXfrm>
    </dsp:sp>
    <dsp:sp modelId="{8FA1D850-449D-4042-BDEE-36256BA3E2AA}">
      <dsp:nvSpPr>
        <dsp:cNvPr id="0" name=""/>
        <dsp:cNvSpPr/>
      </dsp:nvSpPr>
      <dsp:spPr>
        <a:xfrm rot="10800000">
          <a:off x="5301313" y="2219182"/>
          <a:ext cx="1884129" cy="1884129"/>
        </a:xfrm>
        <a:prstGeom prst="pieWedge">
          <a:avLst/>
        </a:prstGeom>
        <a:gradFill rotWithShape="0">
          <a:gsLst>
            <a:gs pos="0">
              <a:schemeClr val="accent3">
                <a:hueOff val="2744775"/>
                <a:satOff val="16475"/>
                <a:lumOff val="12550"/>
                <a:alphaOff val="0"/>
                <a:satMod val="103000"/>
                <a:lumMod val="102000"/>
                <a:tint val="94000"/>
              </a:schemeClr>
            </a:gs>
            <a:gs pos="50000">
              <a:schemeClr val="accent3">
                <a:hueOff val="2744775"/>
                <a:satOff val="16475"/>
                <a:lumOff val="12550"/>
                <a:alphaOff val="0"/>
                <a:satMod val="110000"/>
                <a:lumMod val="100000"/>
                <a:shade val="100000"/>
              </a:schemeClr>
            </a:gs>
            <a:gs pos="100000">
              <a:schemeClr val="accent3">
                <a:hueOff val="2744775"/>
                <a:satOff val="16475"/>
                <a:lumOff val="1255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dirty="0"/>
            <a:t>Therapy</a:t>
          </a:r>
        </a:p>
      </dsp:txBody>
      <dsp:txXfrm rot="10800000">
        <a:off x="5301313" y="2219182"/>
        <a:ext cx="1332280" cy="1332280"/>
      </dsp:txXfrm>
    </dsp:sp>
    <dsp:sp modelId="{83169E15-90EF-AC47-B44E-0CCC68FB5F5E}">
      <dsp:nvSpPr>
        <dsp:cNvPr id="0" name=""/>
        <dsp:cNvSpPr/>
      </dsp:nvSpPr>
      <dsp:spPr>
        <a:xfrm rot="16200000">
          <a:off x="3330156" y="2219182"/>
          <a:ext cx="1884129" cy="1884129"/>
        </a:xfrm>
        <a:prstGeom prst="pieWedge">
          <a:avLst/>
        </a:prstGeom>
        <a:gradFill rotWithShape="0">
          <a:gsLst>
            <a:gs pos="0">
              <a:schemeClr val="accent3">
                <a:hueOff val="4117163"/>
                <a:satOff val="24712"/>
                <a:lumOff val="18825"/>
                <a:alphaOff val="0"/>
                <a:satMod val="103000"/>
                <a:lumMod val="102000"/>
                <a:tint val="94000"/>
              </a:schemeClr>
            </a:gs>
            <a:gs pos="50000">
              <a:schemeClr val="accent3">
                <a:hueOff val="4117163"/>
                <a:satOff val="24712"/>
                <a:lumOff val="18825"/>
                <a:alphaOff val="0"/>
                <a:satMod val="110000"/>
                <a:lumMod val="100000"/>
                <a:shade val="100000"/>
              </a:schemeClr>
            </a:gs>
            <a:gs pos="100000">
              <a:schemeClr val="accent3">
                <a:hueOff val="4117163"/>
                <a:satOff val="24712"/>
                <a:lumOff val="18825"/>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dirty="0"/>
            <a:t>Team</a:t>
          </a:r>
        </a:p>
      </dsp:txBody>
      <dsp:txXfrm rot="5400000">
        <a:off x="3882005" y="2219182"/>
        <a:ext cx="1332280" cy="1332280"/>
      </dsp:txXfrm>
    </dsp:sp>
    <dsp:sp modelId="{11C911B5-3D8F-C54C-A313-5E4B5D07034A}">
      <dsp:nvSpPr>
        <dsp:cNvPr id="0" name=""/>
        <dsp:cNvSpPr/>
      </dsp:nvSpPr>
      <dsp:spPr>
        <a:xfrm>
          <a:off x="4932537" y="1784048"/>
          <a:ext cx="650525" cy="565674"/>
        </a:xfrm>
        <a:prstGeom prst="circularArrow">
          <a:avLst/>
        </a:prstGeom>
        <a:gradFill rotWithShape="0">
          <a:gsLst>
            <a:gs pos="0">
              <a:schemeClr val="accent3">
                <a:tint val="40000"/>
                <a:hueOff val="0"/>
                <a:satOff val="0"/>
                <a:lumOff val="0"/>
                <a:alphaOff val="0"/>
                <a:satMod val="103000"/>
                <a:lumMod val="102000"/>
                <a:tint val="94000"/>
              </a:schemeClr>
            </a:gs>
            <a:gs pos="50000">
              <a:schemeClr val="accent3">
                <a:tint val="40000"/>
                <a:hueOff val="0"/>
                <a:satOff val="0"/>
                <a:lumOff val="0"/>
                <a:alphaOff val="0"/>
                <a:satMod val="110000"/>
                <a:lumMod val="100000"/>
                <a:shade val="100000"/>
              </a:schemeClr>
            </a:gs>
            <a:gs pos="100000">
              <a:schemeClr val="accent3">
                <a:tint val="4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dsp:style>
    </dsp:sp>
    <dsp:sp modelId="{09AF23F9-B073-9D4F-89A7-7F54325A9C82}">
      <dsp:nvSpPr>
        <dsp:cNvPr id="0" name=""/>
        <dsp:cNvSpPr/>
      </dsp:nvSpPr>
      <dsp:spPr>
        <a:xfrm rot="10800000">
          <a:off x="4932537" y="2001615"/>
          <a:ext cx="650525" cy="565674"/>
        </a:xfrm>
        <a:prstGeom prst="circularArrow">
          <a:avLst/>
        </a:prstGeom>
        <a:gradFill rotWithShape="0">
          <a:gsLst>
            <a:gs pos="0">
              <a:schemeClr val="accent3">
                <a:tint val="40000"/>
                <a:hueOff val="0"/>
                <a:satOff val="0"/>
                <a:lumOff val="0"/>
                <a:alphaOff val="0"/>
                <a:satMod val="103000"/>
                <a:lumMod val="102000"/>
                <a:tint val="94000"/>
              </a:schemeClr>
            </a:gs>
            <a:gs pos="50000">
              <a:schemeClr val="accent3">
                <a:tint val="40000"/>
                <a:hueOff val="0"/>
                <a:satOff val="0"/>
                <a:lumOff val="0"/>
                <a:alphaOff val="0"/>
                <a:satMod val="110000"/>
                <a:lumMod val="100000"/>
                <a:shade val="100000"/>
              </a:schemeClr>
            </a:gs>
            <a:gs pos="100000">
              <a:schemeClr val="accent3">
                <a:tint val="4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4776F4-9689-CB4E-B5C9-CEFF9855361B}">
      <dsp:nvSpPr>
        <dsp:cNvPr id="0" name=""/>
        <dsp:cNvSpPr/>
      </dsp:nvSpPr>
      <dsp:spPr>
        <a:xfrm>
          <a:off x="2241" y="145049"/>
          <a:ext cx="2512459" cy="1004983"/>
        </a:xfrm>
        <a:prstGeom prst="homePlate">
          <a:avLst/>
        </a:prstGeom>
        <a:solidFill>
          <a:schemeClr val="accent1">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dirty="0"/>
            <a:t>Upfront maintenance</a:t>
          </a:r>
        </a:p>
      </dsp:txBody>
      <dsp:txXfrm>
        <a:off x="2241" y="145049"/>
        <a:ext cx="2261213" cy="1004983"/>
      </dsp:txXfrm>
    </dsp:sp>
    <dsp:sp modelId="{5BF94170-FC9C-9842-9083-FA3F66D3FBA6}">
      <dsp:nvSpPr>
        <dsp:cNvPr id="0" name=""/>
        <dsp:cNvSpPr/>
      </dsp:nvSpPr>
      <dsp:spPr>
        <a:xfrm>
          <a:off x="2012209" y="145049"/>
          <a:ext cx="2761368" cy="1004983"/>
        </a:xfrm>
        <a:prstGeom prst="chevron">
          <a:avLst/>
        </a:prstGeom>
        <a:solidFill>
          <a:schemeClr val="accent1">
            <a:shade val="80000"/>
            <a:hueOff val="67296"/>
            <a:satOff val="-3847"/>
            <a:lumOff val="9293"/>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dirty="0"/>
            <a:t>Plat Sens Rec (maintenance post chemo)</a:t>
          </a:r>
        </a:p>
      </dsp:txBody>
      <dsp:txXfrm>
        <a:off x="2514701" y="145049"/>
        <a:ext cx="1756385" cy="1004983"/>
      </dsp:txXfrm>
    </dsp:sp>
    <dsp:sp modelId="{240605CA-577B-FD47-90EC-1A17F5E098CB}">
      <dsp:nvSpPr>
        <dsp:cNvPr id="0" name=""/>
        <dsp:cNvSpPr/>
      </dsp:nvSpPr>
      <dsp:spPr>
        <a:xfrm>
          <a:off x="4271086" y="145049"/>
          <a:ext cx="2512459" cy="1004983"/>
        </a:xfrm>
        <a:prstGeom prst="chevron">
          <a:avLst/>
        </a:prstGeom>
        <a:solidFill>
          <a:schemeClr val="accent1">
            <a:shade val="80000"/>
            <a:hueOff val="134592"/>
            <a:satOff val="-7695"/>
            <a:lumOff val="1858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dirty="0"/>
            <a:t>Plat Sens Rec (treatment)</a:t>
          </a:r>
        </a:p>
      </dsp:txBody>
      <dsp:txXfrm>
        <a:off x="4773578" y="145049"/>
        <a:ext cx="1507476" cy="1004983"/>
      </dsp:txXfrm>
    </dsp:sp>
    <dsp:sp modelId="{37EFA4B6-A272-414D-AFAA-E78C7A683A03}">
      <dsp:nvSpPr>
        <dsp:cNvPr id="0" name=""/>
        <dsp:cNvSpPr/>
      </dsp:nvSpPr>
      <dsp:spPr>
        <a:xfrm>
          <a:off x="6281053" y="145049"/>
          <a:ext cx="2512459" cy="1004983"/>
        </a:xfrm>
        <a:prstGeom prst="chevron">
          <a:avLst/>
        </a:prstGeom>
        <a:solidFill>
          <a:schemeClr val="accent1">
            <a:shade val="80000"/>
            <a:hueOff val="201888"/>
            <a:satOff val="-11542"/>
            <a:lumOff val="27879"/>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dirty="0"/>
            <a:t>Plat Res Rec (treatment)</a:t>
          </a:r>
        </a:p>
      </dsp:txBody>
      <dsp:txXfrm>
        <a:off x="6783545" y="145049"/>
        <a:ext cx="1507476" cy="10049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4776F4-9689-CB4E-B5C9-CEFF9855361B}">
      <dsp:nvSpPr>
        <dsp:cNvPr id="0" name=""/>
        <dsp:cNvSpPr/>
      </dsp:nvSpPr>
      <dsp:spPr>
        <a:xfrm>
          <a:off x="2241" y="145049"/>
          <a:ext cx="2512459" cy="1004983"/>
        </a:xfrm>
        <a:prstGeom prst="homePlate">
          <a:avLst/>
        </a:prstGeom>
        <a:solidFill>
          <a:schemeClr val="accent1">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dirty="0"/>
            <a:t>Upfront maintenance</a:t>
          </a:r>
        </a:p>
      </dsp:txBody>
      <dsp:txXfrm>
        <a:off x="2241" y="145049"/>
        <a:ext cx="2261213" cy="1004983"/>
      </dsp:txXfrm>
    </dsp:sp>
    <dsp:sp modelId="{5BF94170-FC9C-9842-9083-FA3F66D3FBA6}">
      <dsp:nvSpPr>
        <dsp:cNvPr id="0" name=""/>
        <dsp:cNvSpPr/>
      </dsp:nvSpPr>
      <dsp:spPr>
        <a:xfrm>
          <a:off x="2012209" y="145049"/>
          <a:ext cx="2761368" cy="1004983"/>
        </a:xfrm>
        <a:prstGeom prst="chevron">
          <a:avLst/>
        </a:prstGeom>
        <a:solidFill>
          <a:schemeClr val="accent1">
            <a:shade val="80000"/>
            <a:hueOff val="67296"/>
            <a:satOff val="-3847"/>
            <a:lumOff val="9293"/>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dirty="0"/>
            <a:t>Plat Sens Rec (maintenance post chemo)</a:t>
          </a:r>
        </a:p>
      </dsp:txBody>
      <dsp:txXfrm>
        <a:off x="2514701" y="145049"/>
        <a:ext cx="1756385" cy="1004983"/>
      </dsp:txXfrm>
    </dsp:sp>
    <dsp:sp modelId="{240605CA-577B-FD47-90EC-1A17F5E098CB}">
      <dsp:nvSpPr>
        <dsp:cNvPr id="0" name=""/>
        <dsp:cNvSpPr/>
      </dsp:nvSpPr>
      <dsp:spPr>
        <a:xfrm>
          <a:off x="4271086" y="145049"/>
          <a:ext cx="2512459" cy="1004983"/>
        </a:xfrm>
        <a:prstGeom prst="chevron">
          <a:avLst/>
        </a:prstGeom>
        <a:solidFill>
          <a:schemeClr val="accent1">
            <a:shade val="80000"/>
            <a:hueOff val="134592"/>
            <a:satOff val="-7695"/>
            <a:lumOff val="1858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dirty="0"/>
            <a:t>Plat Sens Rec (treatment)</a:t>
          </a:r>
        </a:p>
      </dsp:txBody>
      <dsp:txXfrm>
        <a:off x="4773578" y="145049"/>
        <a:ext cx="1507476" cy="1004983"/>
      </dsp:txXfrm>
    </dsp:sp>
    <dsp:sp modelId="{37EFA4B6-A272-414D-AFAA-E78C7A683A03}">
      <dsp:nvSpPr>
        <dsp:cNvPr id="0" name=""/>
        <dsp:cNvSpPr/>
      </dsp:nvSpPr>
      <dsp:spPr>
        <a:xfrm>
          <a:off x="6281053" y="145049"/>
          <a:ext cx="2512459" cy="1004983"/>
        </a:xfrm>
        <a:prstGeom prst="chevron">
          <a:avLst/>
        </a:prstGeom>
        <a:solidFill>
          <a:schemeClr val="accent1">
            <a:shade val="80000"/>
            <a:hueOff val="201888"/>
            <a:satOff val="-11542"/>
            <a:lumOff val="27879"/>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dirty="0"/>
            <a:t>Plat Res Rec (treatment)</a:t>
          </a:r>
        </a:p>
      </dsp:txBody>
      <dsp:txXfrm>
        <a:off x="6783545" y="145049"/>
        <a:ext cx="1507476" cy="1004983"/>
      </dsp:txXfrm>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9621</cdr:x>
      <cdr:y>0.38644</cdr:y>
    </cdr:from>
    <cdr:to>
      <cdr:x>0.67554</cdr:x>
      <cdr:y>0.45273</cdr:y>
    </cdr:to>
    <cdr:sp macro="" textlink="">
      <cdr:nvSpPr>
        <cdr:cNvPr id="2" name="TextBox 1">
          <a:extLst xmlns:a="http://schemas.openxmlformats.org/drawingml/2006/main">
            <a:ext uri="{FF2B5EF4-FFF2-40B4-BE49-F238E27FC236}">
              <a16:creationId xmlns:a16="http://schemas.microsoft.com/office/drawing/2014/main" id="{EFD3C7A2-A8BB-9CBB-1D51-4E932783BDB6}"/>
            </a:ext>
          </a:extLst>
        </cdr:cNvPr>
        <cdr:cNvSpPr txBox="1"/>
      </cdr:nvSpPr>
      <cdr:spPr>
        <a:xfrm xmlns:a="http://schemas.openxmlformats.org/drawingml/2006/main">
          <a:off x="397198" y="1166079"/>
          <a:ext cx="970326" cy="200055"/>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US" sz="700" dirty="0"/>
            <a:t>(              )</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4/12/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1D12F-FEA5-48DB-3917-D7BC529FF2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F048F279-F587-419A-10B2-E123414F7AE2}"/>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20507EC-D76F-7388-1043-397129FA28F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E13C5E9D-E2DD-E050-F945-B15474ED6A9C}"/>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10677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202E6E-A867-8D48-B3FD-AE8B73CEE2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27485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83E63-A900-78B4-7C2A-8AAFFBBE29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13DA1D-1ADB-735C-4CD7-C112CFADA2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920C0B-5496-D150-4636-DF38CBB2E3D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0FE1CD1-D9D9-E931-9DCB-D5ABC9F4E06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Proxima Nova Rg" panose="02000506030000020004" pitchFamily="50" charset="0"/>
              <a:ea typeface="+mn-ea"/>
              <a:cs typeface="+mn-cs"/>
            </a:endParaRPr>
          </a:p>
        </p:txBody>
      </p:sp>
    </p:spTree>
    <p:extLst>
      <p:ext uri="{BB962C8B-B14F-4D97-AF65-F5344CB8AC3E}">
        <p14:creationId xmlns:p14="http://schemas.microsoft.com/office/powerpoint/2010/main" val="876719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ACA4C4-09F6-4D98-8998-DB40742E2D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3563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ACA4C4-09F6-4D98-8998-DB40742E2D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14809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195D72-3D50-44C1-9870-15D30C9C29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271104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04B90C-96E9-7C0A-E60D-5FD939EFBA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6894C3-99D0-D179-60B0-7645F999EC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4769AC-AB15-609F-E5CF-7A58D30A32E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4080757-0D1F-626A-B820-5A033721CC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195D72-3D50-44C1-9870-15D30C9C29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956603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ACA4C4-09F6-4D98-8998-DB40742E2D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887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A9CC9F-B370-44CE-BB7D-85529F65FC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57487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ctr" defTabSz="457163" rtl="0" eaLnBrk="1" fontAlgn="auto" latinLnBrk="0" hangingPunct="0">
              <a:lnSpc>
                <a:spcPct val="100000"/>
              </a:lnSpc>
              <a:spcBef>
                <a:spcPts val="0"/>
              </a:spcBef>
              <a:spcAft>
                <a:spcPts val="0"/>
              </a:spcAft>
              <a:buClrTx/>
              <a:buSzTx/>
              <a:buFontTx/>
              <a:buNone/>
              <a:tabLst/>
              <a:defRPr/>
            </a:pPr>
            <a:fld id="{B53C4279-0E90-45C7-936D-21AD6824232C}" type="slidenum">
              <a:rPr kumimoji="0" lang="en-GB" sz="3000" b="1" i="0" u="none" strike="noStrike" kern="0" cap="none" spc="0" normalizeH="0" baseline="0" noProof="0">
                <a:ln>
                  <a:noFill/>
                </a:ln>
                <a:solidFill>
                  <a:prstClr val="black"/>
                </a:solidFill>
                <a:effectLst/>
                <a:uLnTx/>
                <a:uFillTx/>
                <a:latin typeface="Helvetica Neue"/>
                <a:ea typeface="Helvetica Neue"/>
                <a:cs typeface="Helvetica Neue"/>
                <a:sym typeface="Helvetica Neue"/>
              </a:rPr>
              <a:pPr marL="0" marR="0" lvl="0" indent="0" algn="ctr" defTabSz="457163" rtl="0" eaLnBrk="1" fontAlgn="auto" latinLnBrk="0" hangingPunct="0">
                <a:lnSpc>
                  <a:spcPct val="100000"/>
                </a:lnSpc>
                <a:spcBef>
                  <a:spcPts val="0"/>
                </a:spcBef>
                <a:spcAft>
                  <a:spcPts val="0"/>
                </a:spcAft>
                <a:buClrTx/>
                <a:buSzTx/>
                <a:buFontTx/>
                <a:buNone/>
                <a:tabLst/>
                <a:defRPr/>
              </a:pPr>
              <a:t>54</a:t>
            </a:fld>
            <a:endParaRPr kumimoji="0" lang="en-GB" sz="3000" b="1" i="0" u="none" strike="noStrike" kern="0" cap="none" spc="0" normalizeH="0" baseline="0" noProof="0">
              <a:ln>
                <a:noFill/>
              </a:ln>
              <a:solidFill>
                <a:prstClr val="black"/>
              </a:solidFill>
              <a:effectLst/>
              <a:uLnTx/>
              <a:uFillTx/>
              <a:latin typeface="Helvetica Neue"/>
              <a:ea typeface="Helvetica Neue"/>
              <a:cs typeface="Helvetica Neue"/>
              <a:sym typeface="Helvetica Neue"/>
            </a:endParaRPr>
          </a:p>
        </p:txBody>
      </p:sp>
    </p:spTree>
    <p:extLst>
      <p:ext uri="{BB962C8B-B14F-4D97-AF65-F5344CB8AC3E}">
        <p14:creationId xmlns:p14="http://schemas.microsoft.com/office/powerpoint/2010/main" val="6727130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D14A6-C850-3239-30D7-92B0F53F8E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F232A4-DAA3-75DB-14DC-8C9FCBF32B0B}"/>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BA18816F-8AD0-7A58-CBB8-40F171F96319}"/>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E5113FC9-8425-AA04-9C52-A1290896D8F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BC25BA-B559-4940-AC5F-C0D0A2C4FD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3923327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145E7-EC28-02B3-5774-7EF4447FD4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9558DC-1A71-5A6B-F4DA-0684DE75358F}"/>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950C0D05-F90F-E216-2936-A2A2CFF881F7}"/>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17DF5C0A-6D45-75E7-C3DC-EB17B12B3C2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BC25BA-B559-4940-AC5F-C0D0A2C4FD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26158090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3F660-171D-3FAC-DF3F-47571FB59C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9B28AA-639B-3D9C-F691-95EA6BBB847B}"/>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4955C93A-451E-072A-58C6-876179F071A0}"/>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8CF4BBC7-1256-7E8D-89AC-8A7154F9E7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BC25BA-B559-4940-AC5F-C0D0A2C4FD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3005126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23DB12F9-EE0F-3748-8847-9BA5D322ECDE}" type="slidenum">
              <a:rPr kumimoji="0" lang="en-GB" sz="1400" b="0" i="0" u="none" strike="noStrike" kern="0" cap="none" spc="0" normalizeH="0" baseline="0" noProof="0" smtClean="0">
                <a:ln>
                  <a:noFill/>
                </a:ln>
                <a:solidFill>
                  <a:srgbClr val="000000"/>
                </a:solidFill>
                <a:effectLst/>
                <a:uLnTx/>
                <a:uFillTx/>
                <a:latin typeface="Arial"/>
                <a:ea typeface="ＭＳ Ｐゴシック" charset="0"/>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8</a:t>
            </a:fld>
            <a:endParaRPr kumimoji="0" lang="en-GB" sz="1400" b="0" i="0" u="none" strike="noStrike" kern="0" cap="none" spc="0" normalizeH="0" baseline="0" noProof="0">
              <a:ln>
                <a:noFill/>
              </a:ln>
              <a:solidFill>
                <a:srgbClr val="000000"/>
              </a:solidFill>
              <a:effectLst/>
              <a:uLnTx/>
              <a:uFillTx/>
              <a:latin typeface="Arial"/>
              <a:ea typeface="ＭＳ Ｐゴシック" charset="0"/>
              <a:cs typeface="Arial"/>
              <a:sym typeface="Arial"/>
            </a:endParaRPr>
          </a:p>
        </p:txBody>
      </p:sp>
    </p:spTree>
    <p:extLst>
      <p:ext uri="{BB962C8B-B14F-4D97-AF65-F5344CB8AC3E}">
        <p14:creationId xmlns:p14="http://schemas.microsoft.com/office/powerpoint/2010/main" val="22594003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sym typeface="Helvetica Neue"/>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sym typeface="Helvetica Neue"/>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BB02EC-647A-4FF6-9DC8-6F44C049FF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sym typeface="Helvetica Neue"/>
            </a:endParaRPr>
          </a:p>
        </p:txBody>
      </p:sp>
    </p:spTree>
    <p:extLst>
      <p:ext uri="{BB962C8B-B14F-4D97-AF65-F5344CB8AC3E}">
        <p14:creationId xmlns:p14="http://schemas.microsoft.com/office/powerpoint/2010/main" val="25065527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C86BF29-B45F-A045-BBB8-A3FF55686EBA}"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3134055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992A573A-DDAF-401A-BF51-04F202215F52}"/>
              </a:ext>
            </a:extLst>
          </p:cNvPr>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2052742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045412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529CE45-E343-48F3-A170-90ED34D6492E}"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082562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228600" indent="0">
              <a:buFont typeface="Arial" panose="020B0604020202020204" pitchFamily="34" charset="0"/>
              <a:buNone/>
            </a:pPr>
            <a:endParaRPr lang="en-US"/>
          </a:p>
        </p:txBody>
      </p:sp>
      <p:sp>
        <p:nvSpPr>
          <p:cNvPr id="7" name="Slide Image Placeholder 6">
            <a:extLst>
              <a:ext uri="{FF2B5EF4-FFF2-40B4-BE49-F238E27FC236}">
                <a16:creationId xmlns:a16="http://schemas.microsoft.com/office/drawing/2014/main" id="{DFF52DD7-F506-678C-6564-EF0438F180FE}"/>
              </a:ext>
            </a:extLst>
          </p:cNvPr>
          <p:cNvSpPr>
            <a:spLocks noGrp="1" noRot="1" noChangeAspect="1"/>
          </p:cNvSpPr>
          <p:nvPr>
            <p:ph type="sldImg"/>
          </p:nvPr>
        </p:nvSpPr>
        <p:spPr>
          <a:xfrm>
            <a:off x="381000" y="685800"/>
            <a:ext cx="6096000" cy="3429000"/>
          </a:xfrm>
        </p:spPr>
      </p:sp>
      <p:sp>
        <p:nvSpPr>
          <p:cNvPr id="8" name="Slide Number Placeholder 3">
            <a:extLst>
              <a:ext uri="{FF2B5EF4-FFF2-40B4-BE49-F238E27FC236}">
                <a16:creationId xmlns:a16="http://schemas.microsoft.com/office/drawing/2014/main" id="{77E128EF-07D6-E3BE-F1E9-69C63949E2FB}"/>
              </a:ext>
            </a:extLst>
          </p:cNvPr>
          <p:cNvSpPr>
            <a:spLocks noGrp="1"/>
          </p:cNvSpPr>
          <p:nvPr>
            <p:ph type="sldNum" idx="12"/>
          </p:nvPr>
        </p:nvSpPr>
        <p:spPr>
          <a:xfrm>
            <a:off x="3970938" y="8829967"/>
            <a:ext cx="3037840" cy="466433"/>
          </a:xfrm>
        </p:spPr>
        <p:txBody>
          <a:bodyPr/>
          <a:lstStyle/>
          <a:p>
            <a:pPr marL="0" marR="0" lvl="0" indent="0" algn="r" defTabSz="931774"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31774" rtl="0" eaLnBrk="1" fontAlgn="auto" latinLnBrk="0" hangingPunct="1">
                <a:lnSpc>
                  <a:spcPct val="100000"/>
                </a:lnSpc>
                <a:spcBef>
                  <a:spcPts val="0"/>
                </a:spcBef>
                <a:spcAft>
                  <a:spcPts val="0"/>
                </a:spcAft>
                <a:buClr>
                  <a:srgbClr val="000000"/>
                </a:buClr>
                <a:buSzTx/>
                <a:buFont typeface="Arial"/>
                <a:buNone/>
                <a:tabLst/>
                <a:defRPr/>
              </a:pPr>
              <a:t>93</a:t>
            </a:fld>
            <a:endParaRPr kumimoji="0" lang="en"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961213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2B27D-54E2-48F8-395A-1C71852781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324A94-86A5-40DC-EB06-0CEA5AD7E71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AE181C65-2AB5-2EAB-0600-9E7C1D908C54}"/>
              </a:ext>
            </a:extLst>
          </p:cNvPr>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kern="0" cap="none" spc="0" normalizeH="0" baseline="0" noProof="0">
              <a:ln>
                <a:noFill/>
              </a:ln>
              <a:solidFill>
                <a:srgbClr val="262626"/>
              </a:solidFill>
              <a:effectLst/>
              <a:uLnTx/>
              <a:uFillTx/>
              <a:latin typeface="Lato"/>
              <a:ea typeface="Lato"/>
              <a:cs typeface="Lato"/>
            </a:endParaRPr>
          </a:p>
        </p:txBody>
      </p:sp>
      <p:sp>
        <p:nvSpPr>
          <p:cNvPr id="4" name="Slide Number Placeholder 3">
            <a:extLst>
              <a:ext uri="{FF2B5EF4-FFF2-40B4-BE49-F238E27FC236}">
                <a16:creationId xmlns:a16="http://schemas.microsoft.com/office/drawing/2014/main" id="{20491AD2-614A-249D-6341-85BFC0F8E2DD}"/>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4</a:t>
            </a:fld>
            <a:endParaRPr kumimoji="0" lang="en"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903432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BC090-8CE4-7221-4BE5-0B95F12E7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B66D7-E724-A005-5310-171BDD0C5B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EE693D-554F-FB0F-FE2E-0F38196A6B1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C1B4BFFA-C7D7-7015-3A4A-1A7E24F9B966}"/>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6DBDD1E-9C50-50BD-628F-4319208E8CAC}"/>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9236A81D-1718-319B-FCA2-CD656034491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666598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B1C5A8-C849-B49D-DA71-D0FE5686D5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04A692-9738-D26D-E8D6-7D0CA0F098B4}"/>
              </a:ext>
            </a:extLst>
          </p:cNvPr>
          <p:cNvSpPr>
            <a:spLocks noGrp="1" noRot="1" noChangeAspect="1"/>
          </p:cNvSpPr>
          <p:nvPr>
            <p:ph type="sldImg"/>
          </p:nvPr>
        </p:nvSpPr>
        <p:spPr>
          <a:xfrm>
            <a:off x="381000" y="685800"/>
            <a:ext cx="6096000" cy="3429000"/>
          </a:xfrm>
        </p:spPr>
        <p:txBody>
          <a:bodyPr/>
          <a:lstStyle/>
          <a:p>
            <a:endParaRPr lang="en-US"/>
          </a:p>
        </p:txBody>
      </p:sp>
      <p:sp>
        <p:nvSpPr>
          <p:cNvPr id="3" name="Notes Placeholder 2">
            <a:extLst>
              <a:ext uri="{FF2B5EF4-FFF2-40B4-BE49-F238E27FC236}">
                <a16:creationId xmlns:a16="http://schemas.microsoft.com/office/drawing/2014/main" id="{0680912A-483E-AE77-9703-18B7C1A7BFF0}"/>
              </a:ext>
            </a:extLst>
          </p:cNvPr>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1"/>
          </a:p>
        </p:txBody>
      </p:sp>
      <p:sp>
        <p:nvSpPr>
          <p:cNvPr id="4" name="Slide Number Placeholder 3">
            <a:extLst>
              <a:ext uri="{FF2B5EF4-FFF2-40B4-BE49-F238E27FC236}">
                <a16:creationId xmlns:a16="http://schemas.microsoft.com/office/drawing/2014/main" id="{E670076A-8D35-C10A-F562-946B99C54A7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5</a:t>
            </a:fld>
            <a:endParaRPr kumimoji="0" lang="en"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8707411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DC5D8-E077-4151-BF0C-7E841492B83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509865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852547-545D-D565-951C-9275C46EB5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1E825B-000D-8279-10C1-9CEA8338C234}"/>
              </a:ext>
            </a:extLst>
          </p:cNvPr>
          <p:cNvSpPr>
            <a:spLocks noGrp="1" noRot="1" noChangeAspect="1"/>
          </p:cNvSpPr>
          <p:nvPr>
            <p:ph type="sldImg"/>
          </p:nvPr>
        </p:nvSpPr>
        <p:spPr>
          <a:xfrm>
            <a:off x="381000" y="685800"/>
            <a:ext cx="6096000" cy="3429000"/>
          </a:xfrm>
        </p:spPr>
        <p:txBody>
          <a:bodyPr/>
          <a:lstStyle/>
          <a:p>
            <a:endParaRPr lang="en-US"/>
          </a:p>
        </p:txBody>
      </p:sp>
      <p:sp>
        <p:nvSpPr>
          <p:cNvPr id="3" name="Notes Placeholder 2">
            <a:extLst>
              <a:ext uri="{FF2B5EF4-FFF2-40B4-BE49-F238E27FC236}">
                <a16:creationId xmlns:a16="http://schemas.microsoft.com/office/drawing/2014/main" id="{1A852E4E-8D03-7AC1-AC97-5CAC4047FB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B3BFB9-933E-6D21-6CB1-73E6E6A3FDB5}"/>
              </a:ext>
            </a:extLst>
          </p:cNvPr>
          <p:cNvSpPr>
            <a:spLocks noGrp="1"/>
          </p:cNvSpPr>
          <p:nvPr>
            <p:ph type="sldNum" idx="12"/>
          </p:nvPr>
        </p:nvSpPr>
        <p:spPr/>
        <p:txBody>
          <a:bodyPr/>
          <a:lstStyle/>
          <a:p>
            <a:pPr marL="0" marR="0" lvl="0" indent="0" algn="r" defTabSz="931042" rtl="0" eaLnBrk="1" fontAlgn="base" latinLnBrk="0" hangingPunct="1">
              <a:lnSpc>
                <a:spcPct val="100000"/>
              </a:lnSpc>
              <a:spcBef>
                <a:spcPct val="0"/>
              </a:spcBef>
              <a:spcAft>
                <a:spcPct val="0"/>
              </a:spcAft>
              <a:buClr>
                <a:srgbClr val="000000"/>
              </a:buClr>
              <a:buSzTx/>
              <a:buFontTx/>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Calibri" panose="020F0502020204030204" pitchFamily="34" charset="0"/>
                <a:ea typeface="Lato" panose="020F0502020204030203" pitchFamily="34" charset="0"/>
                <a:cs typeface="Lato" panose="020F0502020204030203" pitchFamily="34" charset="0"/>
                <a:sym typeface="Lato" panose="020F0502020204030203" pitchFamily="34" charset="0"/>
              </a:rPr>
              <a:pPr marL="0" marR="0" lvl="0" indent="0" algn="r" defTabSz="931042" rtl="0" eaLnBrk="1" fontAlgn="base" latinLnBrk="0" hangingPunct="1">
                <a:lnSpc>
                  <a:spcPct val="100000"/>
                </a:lnSpc>
                <a:spcBef>
                  <a:spcPct val="0"/>
                </a:spcBef>
                <a:spcAft>
                  <a:spcPct val="0"/>
                </a:spcAft>
                <a:buClr>
                  <a:srgbClr val="000000"/>
                </a:buClr>
                <a:buSzTx/>
                <a:buFontTx/>
                <a:buNone/>
                <a:tabLst/>
                <a:defRPr/>
              </a:pPr>
              <a:t>99</a:t>
            </a:fld>
            <a:endParaRPr kumimoji="0" lang="en" sz="1200" b="0" i="0" u="none" strike="noStrike" kern="0" cap="none" spc="0" normalizeH="0" baseline="0" noProof="0">
              <a:ln>
                <a:noFill/>
              </a:ln>
              <a:solidFill>
                <a:srgbClr val="000000"/>
              </a:solidFill>
              <a:effectLst/>
              <a:uLnTx/>
              <a:uFillTx/>
              <a:latin typeface="Calibri" panose="020F0502020204030204"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612664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01F3B-2398-6AC4-F1FB-B20907C512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4EF1F3-44AA-0974-3E60-3284F8DDF2CE}"/>
              </a:ext>
            </a:extLst>
          </p:cNvPr>
          <p:cNvSpPr>
            <a:spLocks noGrp="1" noRot="1" noChangeAspect="1"/>
          </p:cNvSpPr>
          <p:nvPr>
            <p:ph type="sldImg"/>
          </p:nvPr>
        </p:nvSpPr>
        <p:spPr>
          <a:xfrm>
            <a:off x="381000" y="685800"/>
            <a:ext cx="6096000" cy="3429000"/>
          </a:xfrm>
        </p:spPr>
        <p:txBody>
          <a:bodyPr/>
          <a:lstStyle/>
          <a:p>
            <a:endParaRPr lang="en-US"/>
          </a:p>
        </p:txBody>
      </p:sp>
      <p:sp>
        <p:nvSpPr>
          <p:cNvPr id="3" name="Notes Placeholder 2">
            <a:extLst>
              <a:ext uri="{FF2B5EF4-FFF2-40B4-BE49-F238E27FC236}">
                <a16:creationId xmlns:a16="http://schemas.microsoft.com/office/drawing/2014/main" id="{D326CBD9-34C7-6B04-7AE7-0402D85D88A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4B113AF-960D-6171-3B96-53C1A353E28D}"/>
              </a:ext>
            </a:extLst>
          </p:cNvPr>
          <p:cNvSpPr>
            <a:spLocks noGrp="1"/>
          </p:cNvSpPr>
          <p:nvPr>
            <p:ph type="sldNum" sz="quarter" idx="5"/>
          </p:nvPr>
        </p:nvSpPr>
        <p:spPr/>
        <p:txBody>
          <a:bodyPr/>
          <a:lstStyle/>
          <a:p>
            <a:pPr marL="0" marR="0" lvl="0" indent="0" algn="r" defTabSz="931042" rtl="0" eaLnBrk="1" fontAlgn="base" latinLnBrk="0" hangingPunct="1">
              <a:lnSpc>
                <a:spcPct val="100000"/>
              </a:lnSpc>
              <a:spcBef>
                <a:spcPct val="0"/>
              </a:spcBef>
              <a:spcAft>
                <a:spcPct val="0"/>
              </a:spcAft>
              <a:buClrTx/>
              <a:buSzTx/>
              <a:buFontTx/>
              <a:buNone/>
              <a:tabLst/>
              <a:defRPr/>
            </a:pPr>
            <a:fld id="{7C9D67DD-6910-4BFD-88EE-592B4790E1E7}" type="slidenum">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31042" rtl="0" eaLnBrk="1" fontAlgn="base" latinLnBrk="0" hangingPunct="1">
                <a:lnSpc>
                  <a:spcPct val="100000"/>
                </a:lnSpc>
                <a:spcBef>
                  <a:spcPct val="0"/>
                </a:spcBef>
                <a:spcAft>
                  <a:spcPct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258164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70146-9B2B-7190-80E6-5EC4E9B952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582AF2-0E31-F08B-13F9-8853F734C485}"/>
              </a:ext>
            </a:extLst>
          </p:cNvPr>
          <p:cNvSpPr>
            <a:spLocks noGrp="1" noRot="1" noChangeAspect="1"/>
          </p:cNvSpPr>
          <p:nvPr>
            <p:ph type="sldImg"/>
          </p:nvPr>
        </p:nvSpPr>
        <p:spPr>
          <a:xfrm>
            <a:off x="381000" y="685800"/>
            <a:ext cx="6096000" cy="3429000"/>
          </a:xfrm>
        </p:spPr>
        <p:txBody>
          <a:bodyPr/>
          <a:lstStyle/>
          <a:p>
            <a:endParaRPr lang="en-US"/>
          </a:p>
        </p:txBody>
      </p:sp>
      <p:sp>
        <p:nvSpPr>
          <p:cNvPr id="3" name="Notes Placeholder 2">
            <a:extLst>
              <a:ext uri="{FF2B5EF4-FFF2-40B4-BE49-F238E27FC236}">
                <a16:creationId xmlns:a16="http://schemas.microsoft.com/office/drawing/2014/main" id="{F80B9951-FAAB-9242-12CB-1067A571441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3DF3BE4-9FE6-3EA7-513A-C4EEC2B1D919}"/>
              </a:ext>
            </a:extLst>
          </p:cNvPr>
          <p:cNvSpPr>
            <a:spLocks noGrp="1"/>
          </p:cNvSpPr>
          <p:nvPr>
            <p:ph type="sldNum" sz="quarter" idx="5"/>
          </p:nvPr>
        </p:nvSpPr>
        <p:spPr/>
        <p:txBody>
          <a:bodyPr/>
          <a:lstStyle/>
          <a:p>
            <a:pPr marL="0" marR="0" lvl="0" indent="0" algn="r" defTabSz="931042" rtl="0" eaLnBrk="1" fontAlgn="base" latinLnBrk="0" hangingPunct="1">
              <a:lnSpc>
                <a:spcPct val="100000"/>
              </a:lnSpc>
              <a:spcBef>
                <a:spcPct val="0"/>
              </a:spcBef>
              <a:spcAft>
                <a:spcPct val="0"/>
              </a:spcAft>
              <a:buClrTx/>
              <a:buSzTx/>
              <a:buFontTx/>
              <a:buNone/>
              <a:tabLst/>
              <a:defRPr/>
            </a:pPr>
            <a:fld id="{7C9D67DD-6910-4BFD-88EE-592B4790E1E7}" type="slidenum">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31042" rtl="0" eaLnBrk="1" fontAlgn="base" latinLnBrk="0" hangingPunct="1">
                <a:lnSpc>
                  <a:spcPct val="100000"/>
                </a:lnSpc>
                <a:spcBef>
                  <a:spcPct val="0"/>
                </a:spcBef>
                <a:spcAft>
                  <a:spcPct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1182817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g2cf41325233_0_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4" name="Google Shape;644;g2cf41325233_0_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IEL 4: </a:t>
            </a:r>
            <a:r>
              <a:rPr lang="en-US" dirty="0" err="1"/>
              <a:t>BRCAm</a:t>
            </a:r>
            <a:r>
              <a:rPr lang="en-US" dirty="0"/>
              <a:t> PS and PR: DHCP letter: </a:t>
            </a:r>
            <a:r>
              <a:rPr lang="en-US" sz="1200" b="0" i="0" u="none" strike="noStrike" kern="1200" baseline="0" dirty="0">
                <a:solidFill>
                  <a:schemeClr val="tx1"/>
                </a:solidFill>
                <a:latin typeface="+mn-lt"/>
                <a:ea typeface="+mn-ea"/>
                <a:cs typeface="+mn-cs"/>
              </a:rPr>
              <a:t>detrimental effect in OS for rucaparib c/w chemotherapy (</a:t>
            </a:r>
            <a:r>
              <a:rPr lang="en-US" dirty="0"/>
              <a:t>19.4 months rucaparib, 25.4 chemo) HR 1.31 (95% CI: 1.00, 1.73), p= 0.0507</a:t>
            </a:r>
          </a:p>
          <a:p>
            <a:r>
              <a:rPr lang="en-US" sz="1200" baseline="0" dirty="0">
                <a:solidFill>
                  <a:prstClr val="black"/>
                </a:solidFill>
                <a:latin typeface="+mn-lt"/>
              </a:rPr>
              <a:t>¥ SOLO 3 PS </a:t>
            </a:r>
            <a:r>
              <a:rPr lang="en-US" sz="1200" baseline="0" dirty="0" err="1">
                <a:solidFill>
                  <a:prstClr val="black"/>
                </a:solidFill>
                <a:latin typeface="+mn-lt"/>
              </a:rPr>
              <a:t>OvCa</a:t>
            </a:r>
            <a:r>
              <a:rPr lang="en-US" sz="1200" baseline="0" dirty="0">
                <a:solidFill>
                  <a:prstClr val="black"/>
                </a:solidFill>
                <a:latin typeface="+mn-lt"/>
              </a:rPr>
              <a:t>, non-plat chemo vs. </a:t>
            </a:r>
            <a:r>
              <a:rPr lang="en-US" sz="1200" baseline="0" dirty="0" err="1">
                <a:solidFill>
                  <a:prstClr val="black"/>
                </a:solidFill>
                <a:latin typeface="+mn-lt"/>
              </a:rPr>
              <a:t>olaparib</a:t>
            </a:r>
            <a:r>
              <a:rPr lang="en-US" sz="1200" baseline="0" dirty="0">
                <a:solidFill>
                  <a:prstClr val="black"/>
                </a:solidFill>
                <a:latin typeface="+mn-lt"/>
              </a:rPr>
              <a:t> </a:t>
            </a:r>
            <a:r>
              <a:rPr lang="en-US" sz="1200" b="0" i="0" u="none" strike="noStrike" kern="1200" baseline="0" dirty="0">
                <a:solidFill>
                  <a:schemeClr val="tx1"/>
                </a:solidFill>
                <a:latin typeface="+mn-lt"/>
                <a:ea typeface="+mn-ea"/>
                <a:cs typeface="+mn-cs"/>
              </a:rPr>
              <a:t>detrimental effect in OS for </a:t>
            </a:r>
            <a:r>
              <a:rPr lang="en-US" sz="1200" b="0" i="0" u="none" strike="noStrike" kern="1200" baseline="0" dirty="0" err="1">
                <a:solidFill>
                  <a:schemeClr val="tx1"/>
                </a:solidFill>
                <a:latin typeface="+mn-lt"/>
                <a:ea typeface="+mn-ea"/>
                <a:cs typeface="+mn-cs"/>
              </a:rPr>
              <a:t>olaparib</a:t>
            </a:r>
            <a:r>
              <a:rPr lang="en-US" sz="1200" b="0" i="0" u="none" strike="noStrike" kern="1200" baseline="0" dirty="0">
                <a:solidFill>
                  <a:schemeClr val="tx1"/>
                </a:solidFill>
                <a:latin typeface="+mn-lt"/>
                <a:ea typeface="+mn-ea"/>
                <a:cs typeface="+mn-cs"/>
              </a:rPr>
              <a:t> c/w chemotherapy (29.9</a:t>
            </a:r>
            <a:r>
              <a:rPr lang="en-US" dirty="0"/>
              <a:t> months </a:t>
            </a:r>
            <a:r>
              <a:rPr lang="en-US" dirty="0" err="1"/>
              <a:t>olaparib</a:t>
            </a:r>
            <a:r>
              <a:rPr lang="en-US" dirty="0"/>
              <a:t>, 39.4 chemo) HR 1.33 (95% CI: 0.84, 2.18), p= 0.0507</a:t>
            </a:r>
          </a:p>
          <a:p>
            <a:r>
              <a:rPr lang="en-US" sz="1200" baseline="0" dirty="0">
                <a:solidFill>
                  <a:prstClr val="black"/>
                </a:solidFill>
                <a:latin typeface="+mn-lt"/>
              </a:rPr>
              <a:t>@ NOVA May 2022, November 2022 </a:t>
            </a:r>
            <a:endParaRPr lang="en-US"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E89290-1FF6-4B8D-AE04-A73390A421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34" charset="-128"/>
              <a:cs typeface="+mn-cs"/>
            </a:endParaRPr>
          </a:p>
        </p:txBody>
      </p:sp>
    </p:spTree>
    <p:extLst>
      <p:ext uri="{BB962C8B-B14F-4D97-AF65-F5344CB8AC3E}">
        <p14:creationId xmlns:p14="http://schemas.microsoft.com/office/powerpoint/2010/main" val="30024722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IEL 4: </a:t>
            </a:r>
            <a:r>
              <a:rPr lang="en-US" dirty="0" err="1"/>
              <a:t>BRCAm</a:t>
            </a:r>
            <a:r>
              <a:rPr lang="en-US" dirty="0"/>
              <a:t> PS and PR: DHCP letter: </a:t>
            </a:r>
            <a:r>
              <a:rPr lang="en-US" sz="1200" b="0" i="0" u="none" strike="noStrike" kern="1200" baseline="0" dirty="0">
                <a:solidFill>
                  <a:schemeClr val="tx1"/>
                </a:solidFill>
                <a:latin typeface="+mn-lt"/>
                <a:ea typeface="+mn-ea"/>
                <a:cs typeface="+mn-cs"/>
              </a:rPr>
              <a:t>detrimental effect in OS for rucaparib c/w chemotherapy (</a:t>
            </a:r>
            <a:r>
              <a:rPr lang="en-US" dirty="0"/>
              <a:t>19.4 months rucaparib, 25.4 chemo) HR 1.31 (95% CI: 1.00, 1.73), p= 0.0507</a:t>
            </a:r>
          </a:p>
          <a:p>
            <a:r>
              <a:rPr lang="en-US" sz="1200" baseline="0" dirty="0">
                <a:solidFill>
                  <a:prstClr val="black"/>
                </a:solidFill>
                <a:latin typeface="+mn-lt"/>
              </a:rPr>
              <a:t>¥ SOLO 3 PS </a:t>
            </a:r>
            <a:r>
              <a:rPr lang="en-US" sz="1200" baseline="0" dirty="0" err="1">
                <a:solidFill>
                  <a:prstClr val="black"/>
                </a:solidFill>
                <a:latin typeface="+mn-lt"/>
              </a:rPr>
              <a:t>OvCa</a:t>
            </a:r>
            <a:r>
              <a:rPr lang="en-US" sz="1200" baseline="0" dirty="0">
                <a:solidFill>
                  <a:prstClr val="black"/>
                </a:solidFill>
                <a:latin typeface="+mn-lt"/>
              </a:rPr>
              <a:t>, non-plat chemo vs. </a:t>
            </a:r>
            <a:r>
              <a:rPr lang="en-US" sz="1200" baseline="0" dirty="0" err="1">
                <a:solidFill>
                  <a:prstClr val="black"/>
                </a:solidFill>
                <a:latin typeface="+mn-lt"/>
              </a:rPr>
              <a:t>olaparib</a:t>
            </a:r>
            <a:r>
              <a:rPr lang="en-US" sz="1200" baseline="0" dirty="0">
                <a:solidFill>
                  <a:prstClr val="black"/>
                </a:solidFill>
                <a:latin typeface="+mn-lt"/>
              </a:rPr>
              <a:t> </a:t>
            </a:r>
            <a:r>
              <a:rPr lang="en-US" sz="1200" b="0" i="0" u="none" strike="noStrike" kern="1200" baseline="0" dirty="0">
                <a:solidFill>
                  <a:schemeClr val="tx1"/>
                </a:solidFill>
                <a:latin typeface="+mn-lt"/>
                <a:ea typeface="+mn-ea"/>
                <a:cs typeface="+mn-cs"/>
              </a:rPr>
              <a:t>detrimental effect in OS for </a:t>
            </a:r>
            <a:r>
              <a:rPr lang="en-US" sz="1200" b="0" i="0" u="none" strike="noStrike" kern="1200" baseline="0" dirty="0" err="1">
                <a:solidFill>
                  <a:schemeClr val="tx1"/>
                </a:solidFill>
                <a:latin typeface="+mn-lt"/>
                <a:ea typeface="+mn-ea"/>
                <a:cs typeface="+mn-cs"/>
              </a:rPr>
              <a:t>olaparib</a:t>
            </a:r>
            <a:r>
              <a:rPr lang="en-US" sz="1200" b="0" i="0" u="none" strike="noStrike" kern="1200" baseline="0" dirty="0">
                <a:solidFill>
                  <a:schemeClr val="tx1"/>
                </a:solidFill>
                <a:latin typeface="+mn-lt"/>
                <a:ea typeface="+mn-ea"/>
                <a:cs typeface="+mn-cs"/>
              </a:rPr>
              <a:t> c/w chemotherapy (29.9</a:t>
            </a:r>
            <a:r>
              <a:rPr lang="en-US" dirty="0"/>
              <a:t> months </a:t>
            </a:r>
            <a:r>
              <a:rPr lang="en-US" dirty="0" err="1"/>
              <a:t>olaparib</a:t>
            </a:r>
            <a:r>
              <a:rPr lang="en-US" dirty="0"/>
              <a:t>, 39.4 chemo) HR 1.33 (95% CI: 0.84, 2.18), p= 0.0507</a:t>
            </a:r>
          </a:p>
          <a:p>
            <a:r>
              <a:rPr lang="en-US" sz="1200" baseline="0" dirty="0">
                <a:solidFill>
                  <a:prstClr val="black"/>
                </a:solidFill>
                <a:latin typeface="+mn-lt"/>
              </a:rPr>
              <a:t>@ NOVA May 2022, November 2022 </a:t>
            </a:r>
            <a:endParaRPr lang="en-US"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E89290-1FF6-4B8D-AE04-A73390A421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34" charset="-128"/>
              <a:cs typeface="+mn-cs"/>
            </a:endParaRPr>
          </a:p>
        </p:txBody>
      </p:sp>
    </p:spTree>
    <p:extLst>
      <p:ext uri="{BB962C8B-B14F-4D97-AF65-F5344CB8AC3E}">
        <p14:creationId xmlns:p14="http://schemas.microsoft.com/office/powerpoint/2010/main" val="10305128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6</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7</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7F445B-93B4-CE6D-F0FB-D305A4F2DA37}"/>
            </a:ext>
          </a:extLst>
        </p:cNvPr>
        <p:cNvGrpSpPr/>
        <p:nvPr/>
      </p:nvGrpSpPr>
      <p:grpSpPr>
        <a:xfrm>
          <a:off x="0" y="0"/>
          <a:ext cx="0" cy="0"/>
          <a:chOff x="0" y="0"/>
          <a:chExt cx="0" cy="0"/>
        </a:xfrm>
      </p:grpSpPr>
      <p:sp>
        <p:nvSpPr>
          <p:cNvPr id="10241" name="Slide Image Placeholder 1">
            <a:extLst>
              <a:ext uri="{FF2B5EF4-FFF2-40B4-BE49-F238E27FC236}">
                <a16:creationId xmlns:a16="http://schemas.microsoft.com/office/drawing/2014/main" id="{FC2B484F-5A36-8D1B-4E76-6464882BC536}"/>
              </a:ext>
            </a:extLst>
          </p:cNvPr>
          <p:cNvSpPr>
            <a:spLocks noGrp="1" noRot="1" noChangeAspect="1"/>
          </p:cNvSpPr>
          <p:nvPr>
            <p:ph type="sldImg"/>
          </p:nvPr>
        </p:nvSpPr>
        <p:spPr>
          <a:xfrm>
            <a:off x="381000" y="685800"/>
            <a:ext cx="6096000" cy="3429000"/>
          </a:xfrm>
          <a:solidFill>
            <a:srgbClr val="FFFFFF"/>
          </a:solidFill>
          <a:ln/>
        </p:spPr>
      </p:sp>
      <p:sp>
        <p:nvSpPr>
          <p:cNvPr id="10242" name="Notes Placeholder 2">
            <a:extLst>
              <a:ext uri="{FF2B5EF4-FFF2-40B4-BE49-F238E27FC236}">
                <a16:creationId xmlns:a16="http://schemas.microsoft.com/office/drawing/2014/main" id="{C58E9026-1CA7-427E-AE35-5FC091D24679}"/>
              </a:ext>
            </a:extLst>
          </p:cNvPr>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a:extLst>
              <a:ext uri="{FF2B5EF4-FFF2-40B4-BE49-F238E27FC236}">
                <a16:creationId xmlns:a16="http://schemas.microsoft.com/office/drawing/2014/main" id="{4299DE9E-A542-8863-05F1-DE2B01F1A457}"/>
              </a:ext>
            </a:extLst>
          </p:cNvPr>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572417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9</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US" dirty="0"/>
              <a:t>1L </a:t>
            </a:r>
            <a:r>
              <a:rPr lang="en-US" dirty="0" err="1"/>
              <a:t>maint</a:t>
            </a:r>
            <a:r>
              <a:rPr lang="en-US" baseline="0" dirty="0"/>
              <a:t> – maintenance treatment after completion of first line chemotherapy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PS </a:t>
            </a:r>
            <a:r>
              <a:rPr lang="en-US" baseline="0" dirty="0" err="1"/>
              <a:t>maint</a:t>
            </a:r>
            <a:r>
              <a:rPr lang="en-US" baseline="0" dirty="0"/>
              <a:t> – maintenance treatment after completion of second line or greater platinum sensitive chemotherapy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UDP - until disease progre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Median time to onset of MDS/AML 17.8 months</a:t>
            </a:r>
            <a:r>
              <a:rPr kumimoji="0" lang="en-US" sz="12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1</a:t>
            </a:r>
            <a:r>
              <a:rPr kumimoji="0" lang="it-IT"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orice P-M, et al. Lancet Haematol 2021;8:e122-e134, </a:t>
            </a:r>
            <a:endParaRPr kumimoji="0" lang="en-US" sz="1200" b="0" i="0" u="none" strike="noStrike" kern="1200" cap="none" spc="0" normalizeH="0" baseline="30000" noProof="0" dirty="0">
              <a:ln>
                <a:noFill/>
              </a:ln>
              <a:solidFill>
                <a:srgbClr val="000000"/>
              </a:solidFill>
              <a:effectLst/>
              <a:uLnTx/>
              <a:uFillTx/>
              <a:latin typeface="Times" panose="02020603050405020304" pitchFamily="18" charset="0"/>
              <a:ea typeface="ＭＳ Ｐゴシック" panose="020B0600070205080204"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a:p>
            <a:endParaRPr lang="en-US" dirty="0"/>
          </a:p>
        </p:txBody>
      </p:sp>
    </p:spTree>
    <p:extLst>
      <p:ext uri="{BB962C8B-B14F-4D97-AF65-F5344CB8AC3E}">
        <p14:creationId xmlns:p14="http://schemas.microsoft.com/office/powerpoint/2010/main" val="40278904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280881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5</a:t>
            </a:fld>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96171-A15F-AF4E-B7C5-E1453CAAF64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126</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4717339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8</a:t>
            </a:fld>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30</a:t>
            </a:fld>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31</a:t>
            </a:fld>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0F23E-21F3-3FF9-FBA9-3E75AA7B5A50}"/>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8A748A9D-0D7F-F508-E2A3-E6E74211FF1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3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6E572078-D18D-D279-394A-C49737BC775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B52DC988-43D8-6DB2-9E0F-23CDBD7FF7B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7610512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5</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5</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5</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5FC1BE-F653-4948-3446-FC9F653B9BFC}"/>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E728F744-4805-7D42-0E4D-1632C07EBFC7}"/>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7B8C9C4C-C367-33BA-45EC-9718A293682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7F3F5417-1B09-39B0-6588-2653ACB0B26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13183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8B3FCF75-8AAE-9C4D-B727-8B22E2D82932}" type="slidenum">
              <a:rPr kumimoji="0" lang="de-DE"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2</a:t>
            </a:fld>
            <a:endParaRPr kumimoji="0" lang="de-DE"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2194804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8786" name="Slide Image Placeholder 1">
            <a:extLst>
              <a:ext uri="{FF2B5EF4-FFF2-40B4-BE49-F238E27FC236}">
                <a16:creationId xmlns:a16="http://schemas.microsoft.com/office/drawing/2014/main" id="{498DD1EC-FC70-45F1-92CC-D60F8FF4781E}"/>
              </a:ext>
            </a:extLst>
          </p:cNvPr>
          <p:cNvSpPr>
            <a:spLocks noGrp="1" noRot="1" noChangeAspect="1" noChangeArrowheads="1" noTextEdit="1"/>
          </p:cNvSpPr>
          <p:nvPr>
            <p:ph type="sldImg"/>
          </p:nvPr>
        </p:nvSpPr>
        <p:spPr/>
      </p:sp>
      <p:sp>
        <p:nvSpPr>
          <p:cNvPr id="758787" name="Notes Placeholder 2">
            <a:extLst>
              <a:ext uri="{FF2B5EF4-FFF2-40B4-BE49-F238E27FC236}">
                <a16:creationId xmlns:a16="http://schemas.microsoft.com/office/drawing/2014/main" id="{19ABE2B8-A4CA-4036-8AA0-8B0E8D96F1B7}"/>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it-IT">
              <a:latin typeface="Times New Roman" panose="02020603050405020304" pitchFamily="18" charset="0"/>
              <a:ea typeface="ＭＳ Ｐゴシック" panose="020B0600070205080204" pitchFamily="34" charset="-128"/>
            </a:endParaRPr>
          </a:p>
        </p:txBody>
      </p:sp>
      <p:sp>
        <p:nvSpPr>
          <p:cNvPr id="758788" name="Header Placeholder 3">
            <a:extLst>
              <a:ext uri="{FF2B5EF4-FFF2-40B4-BE49-F238E27FC236}">
                <a16:creationId xmlns:a16="http://schemas.microsoft.com/office/drawing/2014/main" id="{1B17D635-5889-470A-91A9-A7E7EC9E43E8}"/>
              </a:ext>
            </a:extLst>
          </p:cNvPr>
          <p:cNvSpPr>
            <a:spLocks noGrp="1" noChangeArrowheads="1"/>
          </p:cNvSpPr>
          <p:nvPr>
            <p:ph type="hdr"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ＭＳ Ｐゴシック" panose="020B0600070205080204" pitchFamily="34" charset="-128"/>
              </a:defRPr>
            </a:lvl1pPr>
            <a:lvl2pPr>
              <a:defRPr sz="2400">
                <a:solidFill>
                  <a:schemeClr val="tx1"/>
                </a:solidFill>
                <a:latin typeface="Times New Roman" panose="02020603050405020304" pitchFamily="18" charset="0"/>
                <a:ea typeface="ＭＳ Ｐゴシック" panose="020B0600070205080204" pitchFamily="34" charset="-128"/>
              </a:defRPr>
            </a:lvl2pPr>
            <a:lvl3pPr>
              <a:defRPr sz="2400">
                <a:solidFill>
                  <a:schemeClr val="tx1"/>
                </a:solidFill>
                <a:latin typeface="Times New Roman" panose="02020603050405020304" pitchFamily="18" charset="0"/>
                <a:ea typeface="ＭＳ Ｐゴシック" panose="020B0600070205080204" pitchFamily="34" charset="-128"/>
              </a:defRPr>
            </a:lvl3pPr>
            <a:lvl4pPr>
              <a:defRPr sz="2400">
                <a:solidFill>
                  <a:schemeClr val="tx1"/>
                </a:solidFill>
                <a:latin typeface="Times New Roman" panose="02020603050405020304" pitchFamily="18" charset="0"/>
                <a:ea typeface="ＭＳ Ｐゴシック" panose="020B0600070205080204" pitchFamily="34" charset="-128"/>
              </a:defRPr>
            </a:lvl4pPr>
            <a:lvl5pPr>
              <a:defRPr sz="2400">
                <a:solidFill>
                  <a:schemeClr val="tx1"/>
                </a:solidFill>
                <a:latin typeface="Times New Roman" panose="02020603050405020304" pitchFamily="18" charset="0"/>
                <a:ea typeface="ＭＳ Ｐゴシック" panose="020B0600070205080204" pitchFamily="34" charset="-128"/>
              </a:defRPr>
            </a:lvl5pPr>
            <a:lvl6pPr marL="15319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19891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24463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29035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it-IT"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mn-cs"/>
            </a:endParaRPr>
          </a:p>
        </p:txBody>
      </p:sp>
      <p:sp>
        <p:nvSpPr>
          <p:cNvPr id="758789" name="Footer Placeholder 4">
            <a:extLst>
              <a:ext uri="{FF2B5EF4-FFF2-40B4-BE49-F238E27FC236}">
                <a16:creationId xmlns:a16="http://schemas.microsoft.com/office/drawing/2014/main" id="{43CBD327-573A-4842-9D46-5D250B3D4CF3}"/>
              </a:ext>
            </a:extLst>
          </p:cNvPr>
          <p:cNvSpPr>
            <a:spLocks noGrp="1" noChangeArrowheads="1"/>
          </p:cNvSpPr>
          <p:nvPr>
            <p:ph type="ftr"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ＭＳ Ｐゴシック" panose="020B0600070205080204" pitchFamily="34" charset="-128"/>
              </a:defRPr>
            </a:lvl1pPr>
            <a:lvl2pPr>
              <a:defRPr sz="2400">
                <a:solidFill>
                  <a:schemeClr val="tx1"/>
                </a:solidFill>
                <a:latin typeface="Times New Roman" panose="02020603050405020304" pitchFamily="18" charset="0"/>
                <a:ea typeface="ＭＳ Ｐゴシック" panose="020B0600070205080204" pitchFamily="34" charset="-128"/>
              </a:defRPr>
            </a:lvl2pPr>
            <a:lvl3pPr>
              <a:defRPr sz="2400">
                <a:solidFill>
                  <a:schemeClr val="tx1"/>
                </a:solidFill>
                <a:latin typeface="Times New Roman" panose="02020603050405020304" pitchFamily="18" charset="0"/>
                <a:ea typeface="ＭＳ Ｐゴシック" panose="020B0600070205080204" pitchFamily="34" charset="-128"/>
              </a:defRPr>
            </a:lvl3pPr>
            <a:lvl4pPr>
              <a:defRPr sz="2400">
                <a:solidFill>
                  <a:schemeClr val="tx1"/>
                </a:solidFill>
                <a:latin typeface="Times New Roman" panose="02020603050405020304" pitchFamily="18" charset="0"/>
                <a:ea typeface="ＭＳ Ｐゴシック" panose="020B0600070205080204" pitchFamily="34" charset="-128"/>
              </a:defRPr>
            </a:lvl4pPr>
            <a:lvl5pPr>
              <a:defRPr sz="2400">
                <a:solidFill>
                  <a:schemeClr val="tx1"/>
                </a:solidFill>
                <a:latin typeface="Times New Roman" panose="02020603050405020304" pitchFamily="18" charset="0"/>
                <a:ea typeface="ＭＳ Ｐゴシック" panose="020B0600070205080204" pitchFamily="34" charset="-128"/>
              </a:defRPr>
            </a:lvl5pPr>
            <a:lvl6pPr marL="15319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19891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24463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29035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it-IT"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mn-cs"/>
            </a:endParaRPr>
          </a:p>
        </p:txBody>
      </p:sp>
      <p:sp>
        <p:nvSpPr>
          <p:cNvPr id="758790" name="Slide Number Placeholder 5">
            <a:extLst>
              <a:ext uri="{FF2B5EF4-FFF2-40B4-BE49-F238E27FC236}">
                <a16:creationId xmlns:a16="http://schemas.microsoft.com/office/drawing/2014/main" id="{44D9CC01-7D82-4DD2-9583-04E6BDB4C96D}"/>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ＭＳ Ｐゴシック" panose="020B0600070205080204" pitchFamily="34" charset="-128"/>
              </a:defRPr>
            </a:lvl1pPr>
            <a:lvl2pPr>
              <a:defRPr sz="2400">
                <a:solidFill>
                  <a:schemeClr val="tx1"/>
                </a:solidFill>
                <a:latin typeface="Times New Roman" panose="02020603050405020304" pitchFamily="18" charset="0"/>
                <a:ea typeface="ＭＳ Ｐゴシック" panose="020B0600070205080204" pitchFamily="34" charset="-128"/>
              </a:defRPr>
            </a:lvl2pPr>
            <a:lvl3pPr>
              <a:defRPr sz="2400">
                <a:solidFill>
                  <a:schemeClr val="tx1"/>
                </a:solidFill>
                <a:latin typeface="Times New Roman" panose="02020603050405020304" pitchFamily="18" charset="0"/>
                <a:ea typeface="ＭＳ Ｐゴシック" panose="020B0600070205080204" pitchFamily="34" charset="-128"/>
              </a:defRPr>
            </a:lvl3pPr>
            <a:lvl4pPr>
              <a:defRPr sz="2400">
                <a:solidFill>
                  <a:schemeClr val="tx1"/>
                </a:solidFill>
                <a:latin typeface="Times New Roman" panose="02020603050405020304" pitchFamily="18" charset="0"/>
                <a:ea typeface="ＭＳ Ｐゴシック" panose="020B0600070205080204" pitchFamily="34" charset="-128"/>
              </a:defRPr>
            </a:lvl4pPr>
            <a:lvl5pPr>
              <a:defRPr sz="2400">
                <a:solidFill>
                  <a:schemeClr val="tx1"/>
                </a:solidFill>
                <a:latin typeface="Times New Roman" panose="02020603050405020304" pitchFamily="18" charset="0"/>
                <a:ea typeface="ＭＳ Ｐゴシック" panose="020B0600070205080204" pitchFamily="34" charset="-128"/>
              </a:defRPr>
            </a:lvl5pPr>
            <a:lvl6pPr marL="15319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19891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24463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2903538" indent="-211138"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6DA8E97-F7E6-4630-87A4-F6A8E3ED4A27}" type="slidenum">
              <a:rPr kumimoji="0" lang="en-US" altLang="it-IT"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it-IT"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6.xml"/><Relationship Id="rId1" Type="http://schemas.openxmlformats.org/officeDocument/2006/relationships/tags" Target="../tags/tag12.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3.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slideMaster" Target="../slideMasters/slideMaster6.xml"/><Relationship Id="rId1" Type="http://schemas.openxmlformats.org/officeDocument/2006/relationships/tags" Target="../tags/tag15.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7.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9.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customXml" Target="../../customXml/item2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6.xml"/><Relationship Id="rId1" Type="http://schemas.openxmlformats.org/officeDocument/2006/relationships/tags" Target="../tags/tag2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2.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slideMaster" Target="../slideMasters/slideMaster6.xml"/><Relationship Id="rId1" Type="http://schemas.openxmlformats.org/officeDocument/2006/relationships/tags" Target="../tags/tag24.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5.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6.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7.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8.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customXml" Target="../../customXml/item2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3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8.jpe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30.png"/><Relationship Id="rId1" Type="http://schemas.openxmlformats.org/officeDocument/2006/relationships/slideMaster" Target="../slideMasters/slideMaster13.xml"/><Relationship Id="rId5" Type="http://schemas.openxmlformats.org/officeDocument/2006/relationships/image" Target="../media/image43.emf"/><Relationship Id="rId4" Type="http://schemas.openxmlformats.org/officeDocument/2006/relationships/image" Target="../media/image28.emf"/></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2.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slideMaster" Target="../slideMasters/slideMaster16.xml"/><Relationship Id="rId1" Type="http://schemas.openxmlformats.org/officeDocument/2006/relationships/tags" Target="../tags/tag3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7.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9.xml"/><Relationship Id="rId1" Type="http://schemas.openxmlformats.org/officeDocument/2006/relationships/tags" Target="../tags/tag34.xml"/><Relationship Id="rId4" Type="http://schemas.openxmlformats.org/officeDocument/2006/relationships/image" Target="../media/image62.emf"/></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g"/><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g"/><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g"/><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g"/><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g"/><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6.jpg"/><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35.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slideMaster" Target="../slideMasters/slideMaster21.xml"/><Relationship Id="rId1" Type="http://schemas.openxmlformats.org/officeDocument/2006/relationships/tags" Target="../tags/tag3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2" Type="http://schemas.openxmlformats.org/officeDocument/2006/relationships/slideMaster" Target="../slideMasters/slideMaster22.xml"/><Relationship Id="rId1" Type="http://schemas.openxmlformats.org/officeDocument/2006/relationships/tags" Target="../tags/tag3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sv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1FE55FE1-14D6-4E0C-911C-D83186A362DD}" type="slidenum">
              <a:rPr lang="en-US" smtClean="0"/>
              <a:t>‹#›</a:t>
            </a:fld>
            <a:endParaRPr lang="en-US"/>
          </a:p>
        </p:txBody>
      </p:sp>
      <p:sp>
        <p:nvSpPr>
          <p:cNvPr id="4" name="Title 3"/>
          <p:cNvSpPr>
            <a:spLocks noGrp="1"/>
          </p:cNvSpPr>
          <p:nvPr>
            <p:ph type="title" hasCustomPrompt="1"/>
          </p:nvPr>
        </p:nvSpPr>
        <p:spPr/>
        <p:txBody>
          <a:bodyPr/>
          <a:lstStyle>
            <a:lvl1pPr>
              <a:defRPr/>
            </a:lvl1pPr>
          </a:lstStyle>
          <a:p>
            <a:r>
              <a:rPr lang="en-US" dirty="0"/>
              <a:t>Click to </a:t>
            </a:r>
            <a:br>
              <a:rPr lang="en-US" dirty="0"/>
            </a:br>
            <a:r>
              <a:rPr lang="en-US" dirty="0"/>
              <a:t>edit Master title style</a:t>
            </a:r>
          </a:p>
        </p:txBody>
      </p:sp>
    </p:spTree>
    <p:custDataLst>
      <p:tags r:id="rId1"/>
    </p:custDataLst>
    <p:extLst>
      <p:ext uri="{BB962C8B-B14F-4D97-AF65-F5344CB8AC3E}">
        <p14:creationId xmlns:p14="http://schemas.microsoft.com/office/powerpoint/2010/main" val="1447620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1FE55FE1-14D6-4E0C-911C-D83186A362DD}" type="slidenum">
              <a:rPr lang="en-US" smtClean="0"/>
              <a:t>‹#›</a:t>
            </a:fld>
            <a:endParaRPr lang="en-US"/>
          </a:p>
        </p:txBody>
      </p:sp>
      <p:sp>
        <p:nvSpPr>
          <p:cNvPr id="4" name="Title 3"/>
          <p:cNvSpPr>
            <a:spLocks noGrp="1"/>
          </p:cNvSpPr>
          <p:nvPr>
            <p:ph type="title" hasCustomPrompt="1"/>
          </p:nvPr>
        </p:nvSpPr>
        <p:spPr/>
        <p:txBody>
          <a:bodyPr/>
          <a:lstStyle>
            <a:lvl1pPr>
              <a:defRPr/>
            </a:lvl1pPr>
          </a:lstStyle>
          <a:p>
            <a:r>
              <a:rPr lang="en-US" dirty="0"/>
              <a:t>Click to </a:t>
            </a:r>
            <a:br>
              <a:rPr lang="en-US" dirty="0"/>
            </a:br>
            <a:r>
              <a:rPr lang="en-US" dirty="0"/>
              <a:t>edit Master title style</a:t>
            </a:r>
          </a:p>
        </p:txBody>
      </p:sp>
    </p:spTree>
    <p:custDataLst>
      <p:tags r:id="rId1"/>
    </p:custDataLst>
    <p:extLst>
      <p:ext uri="{BB962C8B-B14F-4D97-AF65-F5344CB8AC3E}">
        <p14:creationId xmlns:p14="http://schemas.microsoft.com/office/powerpoint/2010/main" val="24088614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85500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4435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92774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9349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394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61246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192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01041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13136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9510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427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365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234117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915592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7041141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769443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365862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4/12/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537333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13479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379363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643108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947596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22577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28252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70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DCC3B-CA12-4A4B-B5F5-D2062F3C58EC}"/>
              </a:ext>
            </a:extLst>
          </p:cNvPr>
          <p:cNvSpPr>
            <a:spLocks noGrp="1"/>
          </p:cNvSpPr>
          <p:nvPr>
            <p:ph type="title" hasCustomPrompt="1"/>
          </p:nvPr>
        </p:nvSpPr>
        <p:spPr>
          <a:xfrm>
            <a:off x="407988" y="1486306"/>
            <a:ext cx="5185093" cy="2649135"/>
          </a:xfrm>
        </p:spPr>
        <p:txBody>
          <a:bodyPr anchor="b" anchorCtr="0">
            <a:normAutofit/>
          </a:bodyPr>
          <a:lstStyle>
            <a:lvl1pPr>
              <a:lnSpc>
                <a:spcPct val="100000"/>
              </a:lnSpc>
              <a:defRPr sz="4000">
                <a:solidFill>
                  <a:schemeClr val="accent1"/>
                </a:solidFill>
              </a:defRPr>
            </a:lvl1pPr>
          </a:lstStyle>
          <a:p>
            <a:r>
              <a:rPr lang="en-US" dirty="0"/>
              <a:t>Click to enter title here</a:t>
            </a:r>
          </a:p>
        </p:txBody>
      </p:sp>
      <p:sp>
        <p:nvSpPr>
          <p:cNvPr id="6" name="Picture Placeholder 12">
            <a:extLst>
              <a:ext uri="{FF2B5EF4-FFF2-40B4-BE49-F238E27FC236}">
                <a16:creationId xmlns:a16="http://schemas.microsoft.com/office/drawing/2014/main" id="{3506CBD9-0F78-454A-9842-87C2546180B8}"/>
              </a:ext>
            </a:extLst>
          </p:cNvPr>
          <p:cNvSpPr>
            <a:spLocks noGrp="1"/>
          </p:cNvSpPr>
          <p:nvPr>
            <p:ph type="pic" sz="quarter" idx="20" hasCustomPrompt="1"/>
          </p:nvPr>
        </p:nvSpPr>
        <p:spPr>
          <a:xfrm>
            <a:off x="6188477" y="0"/>
            <a:ext cx="6004761" cy="6865200"/>
          </a:xfrm>
          <a:custGeom>
            <a:avLst/>
            <a:gdLst>
              <a:gd name="connsiteX0" fmla="*/ 1547827 w 6004761"/>
              <a:gd name="connsiteY0" fmla="*/ 0 h 6864096"/>
              <a:gd name="connsiteX1" fmla="*/ 6004760 w 6004761"/>
              <a:gd name="connsiteY1" fmla="*/ 0 h 6864096"/>
              <a:gd name="connsiteX2" fmla="*/ 6004761 w 6004761"/>
              <a:gd name="connsiteY2" fmla="*/ 6864096 h 6864096"/>
              <a:gd name="connsiteX3" fmla="*/ 1554450 w 6004761"/>
              <a:gd name="connsiteY3" fmla="*/ 6864096 h 6864096"/>
              <a:gd name="connsiteX4" fmla="*/ 1379124 w 6004761"/>
              <a:gd name="connsiteY4" fmla="*/ 6702826 h 6864096"/>
              <a:gd name="connsiteX5" fmla="*/ 0 w 6004761"/>
              <a:gd name="connsiteY5" fmla="*/ 3429001 h 6864096"/>
              <a:gd name="connsiteX6" fmla="*/ 1379124 w 6004761"/>
              <a:gd name="connsiteY6" fmla="*/ 155178 h 686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4761" h="6864096">
                <a:moveTo>
                  <a:pt x="1547827" y="0"/>
                </a:moveTo>
                <a:lnTo>
                  <a:pt x="6004760" y="0"/>
                </a:lnTo>
                <a:lnTo>
                  <a:pt x="6004761" y="6864096"/>
                </a:lnTo>
                <a:lnTo>
                  <a:pt x="1554450" y="6864096"/>
                </a:lnTo>
                <a:lnTo>
                  <a:pt x="1379124" y="6702826"/>
                </a:lnTo>
                <a:cubicBezTo>
                  <a:pt x="528239" y="5871990"/>
                  <a:pt x="0" y="4712184"/>
                  <a:pt x="0" y="3429001"/>
                </a:cubicBezTo>
                <a:cubicBezTo>
                  <a:pt x="0" y="2145819"/>
                  <a:pt x="528239" y="986013"/>
                  <a:pt x="1379124" y="155178"/>
                </a:cubicBezTo>
                <a:close/>
              </a:path>
            </a:pathLst>
          </a:custGeom>
          <a:solidFill>
            <a:schemeClr val="accent1"/>
          </a:solidFill>
        </p:spPr>
        <p:txBody>
          <a:bodyPr wrap="square" tIns="429768" bIns="649224" anchor="ctr">
            <a:noAutofit/>
          </a:bodyPr>
          <a:lstStyle>
            <a:lvl1pPr marL="0" indent="0" algn="ctr">
              <a:lnSpc>
                <a:spcPct val="100000"/>
              </a:lnSpc>
              <a:spcAft>
                <a:spcPts val="0"/>
              </a:spcAft>
              <a:buNone/>
              <a:defRPr sz="1600" b="1">
                <a:solidFill>
                  <a:schemeClr val="bg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br>
              <a:rPr lang="en-US" dirty="0"/>
            </a:br>
            <a:br>
              <a:rPr lang="en-US" dirty="0"/>
            </a:b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pic>
        <p:nvPicPr>
          <p:cNvPr id="7" name="Picture 2" descr="Image result for ASTRAZENECA LOGO">
            <a:extLst>
              <a:ext uri="{FF2B5EF4-FFF2-40B4-BE49-F238E27FC236}">
                <a16:creationId xmlns:a16="http://schemas.microsoft.com/office/drawing/2014/main" id="{1ED72C3C-E918-420F-9374-6F1CBE3946F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412277" y="576768"/>
            <a:ext cx="2405987" cy="6519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id="{632E5583-912E-4EA8-8EDC-7B6B86E76274}"/>
              </a:ext>
            </a:extLst>
          </p:cNvPr>
          <p:cNvSpPr>
            <a:spLocks noGrp="1"/>
          </p:cNvSpPr>
          <p:nvPr>
            <p:ph type="body" sz="quarter" idx="21" hasCustomPrompt="1"/>
          </p:nvPr>
        </p:nvSpPr>
        <p:spPr>
          <a:xfrm>
            <a:off x="407990" y="4328934"/>
            <a:ext cx="5184775" cy="1203767"/>
          </a:xfrm>
          <a:prstGeom prst="rect">
            <a:avLst/>
          </a:prstGeom>
        </p:spPr>
        <p:txBody>
          <a:bodyPr lIns="0">
            <a:normAutofit/>
          </a:bodyPr>
          <a:lstStyle>
            <a:lvl1pPr marL="0" indent="0">
              <a:lnSpc>
                <a:spcPct val="100000"/>
              </a:lnSpc>
              <a:buNone/>
              <a:defRPr sz="2400">
                <a:solidFill>
                  <a:schemeClr val="tx1"/>
                </a:solidFill>
              </a:defRPr>
            </a:lvl1pPr>
          </a:lstStyle>
          <a:p>
            <a:pPr lvl="0"/>
            <a:r>
              <a:rPr lang="en-US" dirty="0"/>
              <a:t>Click to add subtitle / presenter name</a:t>
            </a:r>
          </a:p>
        </p:txBody>
      </p:sp>
      <p:sp>
        <p:nvSpPr>
          <p:cNvPr id="12" name="Rectangle 11">
            <a:extLst>
              <a:ext uri="{FF2B5EF4-FFF2-40B4-BE49-F238E27FC236}">
                <a16:creationId xmlns:a16="http://schemas.microsoft.com/office/drawing/2014/main" id="{06231862-37A9-4364-9D96-47810B11870D}"/>
              </a:ext>
            </a:extLst>
          </p:cNvPr>
          <p:cNvSpPr/>
          <p:nvPr userDrawn="1"/>
        </p:nvSpPr>
        <p:spPr>
          <a:xfrm>
            <a:off x="342900" y="404813"/>
            <a:ext cx="2794000" cy="920488"/>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id="{39E6A1CD-3FD6-4AD3-876A-75F060E88A2E}"/>
              </a:ext>
            </a:extLst>
          </p:cNvPr>
          <p:cNvSpPr>
            <a:spLocks noGrp="1"/>
          </p:cNvSpPr>
          <p:nvPr>
            <p:ph type="dt" sz="half" idx="26"/>
          </p:nvPr>
        </p:nvSpPr>
        <p:spPr>
          <a:xfrm>
            <a:off x="407987" y="5887669"/>
            <a:ext cx="1279359" cy="309145"/>
          </a:xfrm>
        </p:spPr>
        <p:txBody>
          <a:bodyPr lIns="0"/>
          <a:lstStyle>
            <a:lvl1pPr algn="l">
              <a:lnSpc>
                <a:spcPct val="100000"/>
              </a:lnSpc>
              <a:defRPr/>
            </a:lvl1pPr>
          </a:lstStyle>
          <a:p>
            <a:endParaRPr lang="en-GB" dirty="0"/>
          </a:p>
        </p:txBody>
      </p:sp>
      <p:sp>
        <p:nvSpPr>
          <p:cNvPr id="15" name="Freeform: Shape 14">
            <a:extLst>
              <a:ext uri="{FF2B5EF4-FFF2-40B4-BE49-F238E27FC236}">
                <a16:creationId xmlns:a16="http://schemas.microsoft.com/office/drawing/2014/main" id="{72260595-7C87-4D29-977E-EE25A0D9291A}"/>
              </a:ext>
            </a:extLst>
          </p:cNvPr>
          <p:cNvSpPr/>
          <p:nvPr userDrawn="1"/>
        </p:nvSpPr>
        <p:spPr>
          <a:xfrm>
            <a:off x="-2087954" y="1"/>
            <a:ext cx="2064161" cy="6858000"/>
          </a:xfrm>
          <a:custGeom>
            <a:avLst/>
            <a:gdLst>
              <a:gd name="connsiteX0" fmla="*/ 0 w 2064161"/>
              <a:gd name="connsiteY0" fmla="*/ 0 h 6858000"/>
              <a:gd name="connsiteX1" fmla="*/ 2002971 w 2064161"/>
              <a:gd name="connsiteY1" fmla="*/ 0 h 6858000"/>
              <a:gd name="connsiteX2" fmla="*/ 2002971 w 2064161"/>
              <a:gd name="connsiteY2" fmla="*/ 6447122 h 6858000"/>
              <a:gd name="connsiteX3" fmla="*/ 2064161 w 2064161"/>
              <a:gd name="connsiteY3" fmla="*/ 6538118 h 6858000"/>
              <a:gd name="connsiteX4" fmla="*/ 2002971 w 2064161"/>
              <a:gd name="connsiteY4" fmla="*/ 6629114 h 6858000"/>
              <a:gd name="connsiteX5" fmla="*/ 2002971 w 2064161"/>
              <a:gd name="connsiteY5" fmla="*/ 6858000 h 6858000"/>
              <a:gd name="connsiteX6" fmla="*/ 0 w 206416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4161" h="6858000">
                <a:moveTo>
                  <a:pt x="0" y="0"/>
                </a:moveTo>
                <a:lnTo>
                  <a:pt x="2002971" y="0"/>
                </a:lnTo>
                <a:lnTo>
                  <a:pt x="2002971" y="6447122"/>
                </a:lnTo>
                <a:lnTo>
                  <a:pt x="2064161" y="6538118"/>
                </a:lnTo>
                <a:lnTo>
                  <a:pt x="2002971" y="6629114"/>
                </a:lnTo>
                <a:lnTo>
                  <a:pt x="200297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144000" bIns="216000" rtlCol="0" anchor="b" anchorCtr="0">
            <a:noAutofit/>
          </a:bodyPr>
          <a:lstStyle/>
          <a:p>
            <a:pPr>
              <a:lnSpc>
                <a:spcPct val="100000"/>
              </a:lnSpc>
              <a:spcAft>
                <a:spcPts val="600"/>
              </a:spcAft>
            </a:pPr>
            <a:r>
              <a:rPr lang="en-GB" sz="1400">
                <a:solidFill>
                  <a:schemeClr val="tx1"/>
                </a:solidFill>
              </a:rPr>
              <a:t>Please ensure you have added the correct confidentiality statement. </a:t>
            </a:r>
          </a:p>
          <a:p>
            <a:pPr>
              <a:lnSpc>
                <a:spcPct val="100000"/>
              </a:lnSpc>
              <a:spcAft>
                <a:spcPts val="600"/>
              </a:spcAft>
            </a:pPr>
            <a:r>
              <a:rPr lang="en-GB" sz="1400">
                <a:solidFill>
                  <a:schemeClr val="tx1"/>
                </a:solidFill>
              </a:rPr>
              <a:t>Type the correct statement: </a:t>
            </a:r>
            <a:br>
              <a:rPr lang="en-GB" sz="1400">
                <a:solidFill>
                  <a:schemeClr val="accent1"/>
                </a:solidFill>
              </a:rPr>
            </a:br>
            <a:r>
              <a:rPr lang="en-GB" sz="1400">
                <a:solidFill>
                  <a:schemeClr val="accent1"/>
                </a:solidFill>
              </a:rPr>
              <a:t>‘</a:t>
            </a:r>
            <a:r>
              <a:rPr lang="en-GB" sz="1400" b="1" i="1">
                <a:solidFill>
                  <a:schemeClr val="accent1"/>
                </a:solidFill>
              </a:rPr>
              <a:t>Company Restricted’ </a:t>
            </a:r>
            <a:r>
              <a:rPr lang="en-GB" sz="1400" b="0">
                <a:solidFill>
                  <a:schemeClr val="tx1"/>
                </a:solidFill>
              </a:rPr>
              <a:t>or</a:t>
            </a:r>
            <a:r>
              <a:rPr lang="en-GB" sz="1400" b="1">
                <a:solidFill>
                  <a:schemeClr val="accent1"/>
                </a:solidFill>
              </a:rPr>
              <a:t> ‘</a:t>
            </a:r>
            <a:r>
              <a:rPr lang="en-GB" sz="1400" b="1" i="1">
                <a:solidFill>
                  <a:schemeClr val="accent1"/>
                </a:solidFill>
              </a:rPr>
              <a:t>Strictly Confidential’ </a:t>
            </a:r>
            <a:r>
              <a:rPr lang="en-GB" sz="1400" b="0" i="1">
                <a:solidFill>
                  <a:schemeClr val="tx1"/>
                </a:solidFill>
              </a:rPr>
              <a:t>.</a:t>
            </a:r>
            <a:r>
              <a:rPr lang="en-GB" sz="1400" b="1" i="1">
                <a:solidFill>
                  <a:schemeClr val="accent1"/>
                </a:solidFill>
              </a:rPr>
              <a:t> </a:t>
            </a:r>
            <a:r>
              <a:rPr lang="en-GB" sz="1400" b="0" i="0">
                <a:solidFill>
                  <a:schemeClr val="tx1"/>
                </a:solidFill>
              </a:rPr>
              <a:t>No statement is needed </a:t>
            </a:r>
            <a:br>
              <a:rPr lang="en-GB" sz="1400" b="0" i="0">
                <a:solidFill>
                  <a:schemeClr val="tx1"/>
                </a:solidFill>
              </a:rPr>
            </a:br>
            <a:r>
              <a:rPr lang="en-GB" sz="1400" b="0" i="0">
                <a:solidFill>
                  <a:schemeClr val="tx1"/>
                </a:solidFill>
              </a:rPr>
              <a:t>for public information. </a:t>
            </a:r>
            <a:endParaRPr lang="en-GB" sz="1400" b="0">
              <a:solidFill>
                <a:schemeClr val="tx1"/>
              </a:solidFill>
            </a:endParaRPr>
          </a:p>
        </p:txBody>
      </p:sp>
      <p:sp>
        <p:nvSpPr>
          <p:cNvPr id="14" name="Oval 13">
            <a:extLst>
              <a:ext uri="{FF2B5EF4-FFF2-40B4-BE49-F238E27FC236}">
                <a16:creationId xmlns:a16="http://schemas.microsoft.com/office/drawing/2014/main" id="{E4809C05-E460-4D1A-BC84-C63C988F5D2D}"/>
              </a:ext>
            </a:extLst>
          </p:cNvPr>
          <p:cNvSpPr/>
          <p:nvPr userDrawn="1"/>
        </p:nvSpPr>
        <p:spPr>
          <a:xfrm>
            <a:off x="-1944693" y="3878333"/>
            <a:ext cx="419968" cy="4199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r>
              <a:rPr lang="en-US" sz="2400" b="1">
                <a:solidFill>
                  <a:schemeClr val="bg1"/>
                </a:solidFill>
                <a:latin typeface="+mn-lt"/>
              </a:rPr>
              <a:t>!</a:t>
            </a:r>
          </a:p>
        </p:txBody>
      </p:sp>
      <p:sp>
        <p:nvSpPr>
          <p:cNvPr id="8" name="Text Placeholder 7">
            <a:extLst>
              <a:ext uri="{FF2B5EF4-FFF2-40B4-BE49-F238E27FC236}">
                <a16:creationId xmlns:a16="http://schemas.microsoft.com/office/drawing/2014/main" id="{7468ED59-10F2-418A-8E8D-5A205AB6BDFD}"/>
              </a:ext>
            </a:extLst>
          </p:cNvPr>
          <p:cNvSpPr>
            <a:spLocks noGrp="1"/>
          </p:cNvSpPr>
          <p:nvPr>
            <p:ph type="body" sz="quarter" idx="27" hasCustomPrompt="1"/>
          </p:nvPr>
        </p:nvSpPr>
        <p:spPr>
          <a:xfrm>
            <a:off x="407990" y="6420913"/>
            <a:ext cx="5184775" cy="234414"/>
          </a:xfrm>
        </p:spPr>
        <p:txBody>
          <a:bodyPr lIns="0" tIns="36000" rIns="0" bIns="36000" anchor="ctr" anchorCtr="0">
            <a:spAutoFit/>
          </a:bodyPr>
          <a:lstStyle>
            <a:lvl1pPr marL="0" indent="0">
              <a:lnSpc>
                <a:spcPct val="100000"/>
              </a:lnSpc>
              <a:buNone/>
              <a:defRPr sz="1051"/>
            </a:lvl1pPr>
            <a:lvl2pPr marL="431989" indent="0">
              <a:buNone/>
              <a:defRPr sz="1051"/>
            </a:lvl2pPr>
            <a:lvl3pPr marL="683983" indent="0">
              <a:buNone/>
              <a:defRPr sz="1051"/>
            </a:lvl3pPr>
            <a:lvl4pPr marL="827979" indent="0">
              <a:buNone/>
              <a:defRPr sz="1051"/>
            </a:lvl4pPr>
            <a:lvl5pPr marL="959376" indent="0">
              <a:buNone/>
              <a:defRPr sz="1051"/>
            </a:lvl5pPr>
          </a:lstStyle>
          <a:p>
            <a:pPr lvl="0"/>
            <a:r>
              <a:rPr lang="en-US" dirty="0"/>
              <a:t>Click to add confidentiality statement here</a:t>
            </a:r>
          </a:p>
        </p:txBody>
      </p:sp>
    </p:spTree>
    <p:custDataLst>
      <p:tags r:id="rId1"/>
    </p:custDataLst>
    <p:extLst>
      <p:ext uri="{BB962C8B-B14F-4D97-AF65-F5344CB8AC3E}">
        <p14:creationId xmlns:p14="http://schemas.microsoft.com/office/powerpoint/2010/main" val="18905230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4696">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noAutofit/>
          </a:bodyPr>
          <a:lstStyle>
            <a:lvl1pPr>
              <a:lnSpc>
                <a:spcPct val="100000"/>
              </a:lnSpc>
              <a:spcBef>
                <a:spcPts val="600"/>
              </a:spcBef>
              <a:spcAft>
                <a:spcPts val="600"/>
              </a:spcAft>
              <a:defRPr/>
            </a:lvl1pPr>
            <a:lvl2pPr marL="460788" indent="-228594">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add text here. </a:t>
            </a:r>
            <a:br>
              <a:rPr lang="en-US" dirty="0"/>
            </a:br>
            <a:r>
              <a:rPr lang="en-US" dirty="0"/>
              <a:t>When pasting copy from other slides, be sure to right-click and choose ‘Keep text only’.</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lvl1pPr>
              <a:lnSpc>
                <a:spcPct val="100000"/>
              </a:lnSpc>
              <a:defRPr/>
            </a:lvl1p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9" y="6200776"/>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8925164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55">
          <p15:clr>
            <a:srgbClr val="A4A3A4"/>
          </p15:clr>
        </p15:guide>
        <p15:guide id="2" pos="1951">
          <p15:clr>
            <a:srgbClr val="A4A3A4"/>
          </p15:clr>
        </p15:guide>
        <p15:guide id="3" pos="3464">
          <p15:clr>
            <a:srgbClr val="A4A3A4"/>
          </p15:clr>
        </p15:guide>
        <p15:guide id="4" pos="3559">
          <p15:clr>
            <a:srgbClr val="A4A3A4"/>
          </p15:clr>
        </p15:guide>
        <p15:guide id="5" pos="5072">
          <p15:clr>
            <a:srgbClr val="A4A3A4"/>
          </p15:clr>
        </p15:guide>
        <p15:guide id="6" pos="5168">
          <p15:clr>
            <a:srgbClr val="A4A3A4"/>
          </p15:clr>
        </p15:guide>
        <p15:guide id="7" pos="6679">
          <p15:clr>
            <a:srgbClr val="A4A3A4"/>
          </p15:clr>
        </p15:guide>
        <p15:guide id="8" pos="6776">
          <p15:clr>
            <a:srgbClr val="A4A3A4"/>
          </p15:clr>
        </p15:guide>
        <p15:guide id="9" pos="8287">
          <p15:clr>
            <a:srgbClr val="A4A3A4"/>
          </p15:clr>
        </p15:guide>
        <p15:guide id="10" pos="8384">
          <p15:clr>
            <a:srgbClr val="A4A3A4"/>
          </p15:clr>
        </p15:guide>
        <p15:guide id="11" orient="horz" pos="1187">
          <p15:clr>
            <a:srgbClr val="C35EA4"/>
          </p15:clr>
        </p15:guide>
        <p15:guide id="12" orient="horz" pos="1308">
          <p15:clr>
            <a:srgbClr val="C35E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in Le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D0FA13F-5B1F-4795-B0E7-3E97B5D8E071}"/>
              </a:ext>
            </a:extLst>
          </p:cNvPr>
          <p:cNvSpPr>
            <a:spLocks noGrp="1"/>
          </p:cNvSpPr>
          <p:nvPr>
            <p:ph type="title" hasCustomPrompt="1"/>
          </p:nvPr>
        </p:nvSpPr>
        <p:spPr>
          <a:xfrm>
            <a:off x="2" y="-1"/>
            <a:ext cx="3875391" cy="4330700"/>
          </a:xfrm>
          <a:custGeom>
            <a:avLst/>
            <a:gdLst>
              <a:gd name="connsiteX0" fmla="*/ 417122 w 3875391"/>
              <a:gd name="connsiteY0" fmla="*/ 0 h 4330700"/>
              <a:gd name="connsiteX1" fmla="*/ 2700571 w 3875391"/>
              <a:gd name="connsiteY1" fmla="*/ 0 h 4330700"/>
              <a:gd name="connsiteX2" fmla="*/ 2854048 w 3875391"/>
              <a:gd name="connsiteY2" fmla="*/ 93240 h 4330700"/>
              <a:gd name="connsiteX3" fmla="*/ 3875391 w 3875391"/>
              <a:gd name="connsiteY3" fmla="*/ 2014156 h 4330700"/>
              <a:gd name="connsiteX4" fmla="*/ 3479762 w 3875391"/>
              <a:gd name="connsiteY4" fmla="*/ 3309358 h 4330700"/>
              <a:gd name="connsiteX5" fmla="*/ 3457575 w 3875391"/>
              <a:gd name="connsiteY5" fmla="*/ 3339027 h 4330700"/>
              <a:gd name="connsiteX6" fmla="*/ 3457575 w 3875391"/>
              <a:gd name="connsiteY6" fmla="*/ 3343274 h 4330700"/>
              <a:gd name="connsiteX7" fmla="*/ 3454399 w 3875391"/>
              <a:gd name="connsiteY7" fmla="*/ 3343274 h 4330700"/>
              <a:gd name="connsiteX8" fmla="*/ 3346405 w 3875391"/>
              <a:gd name="connsiteY8" fmla="*/ 3487693 h 4330700"/>
              <a:gd name="connsiteX9" fmla="*/ 1558846 w 3875391"/>
              <a:gd name="connsiteY9" fmla="*/ 4330700 h 4330700"/>
              <a:gd name="connsiteX10" fmla="*/ 85309 w 3875391"/>
              <a:gd name="connsiteY10" fmla="*/ 3801714 h 4330700"/>
              <a:gd name="connsiteX11" fmla="*/ 0 w 3875391"/>
              <a:gd name="connsiteY11" fmla="*/ 3724180 h 4330700"/>
              <a:gd name="connsiteX12" fmla="*/ 0 w 3875391"/>
              <a:gd name="connsiteY12" fmla="*/ 304131 h 4330700"/>
              <a:gd name="connsiteX13" fmla="*/ 85309 w 3875391"/>
              <a:gd name="connsiteY13" fmla="*/ 226597 h 4330700"/>
              <a:gd name="connsiteX14" fmla="*/ 263644 w 3875391"/>
              <a:gd name="connsiteY14" fmla="*/ 93240 h 433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5391" h="4330700">
                <a:moveTo>
                  <a:pt x="417122" y="0"/>
                </a:moveTo>
                <a:lnTo>
                  <a:pt x="2700571" y="0"/>
                </a:lnTo>
                <a:lnTo>
                  <a:pt x="2854048" y="93240"/>
                </a:lnTo>
                <a:cubicBezTo>
                  <a:pt x="3470253" y="509540"/>
                  <a:pt x="3875391" y="1214535"/>
                  <a:pt x="3875391" y="2014156"/>
                </a:cubicBezTo>
                <a:cubicBezTo>
                  <a:pt x="3875391" y="2493928"/>
                  <a:pt x="3729542" y="2939635"/>
                  <a:pt x="3479762" y="3309358"/>
                </a:cubicBezTo>
                <a:lnTo>
                  <a:pt x="3457575" y="3339027"/>
                </a:lnTo>
                <a:lnTo>
                  <a:pt x="3457575" y="3343274"/>
                </a:lnTo>
                <a:lnTo>
                  <a:pt x="3454399" y="3343274"/>
                </a:lnTo>
                <a:lnTo>
                  <a:pt x="3346405" y="3487693"/>
                </a:lnTo>
                <a:cubicBezTo>
                  <a:pt x="2921516" y="4002539"/>
                  <a:pt x="2278504" y="4330700"/>
                  <a:pt x="1558846" y="4330700"/>
                </a:cubicBezTo>
                <a:cubicBezTo>
                  <a:pt x="999112" y="4330700"/>
                  <a:pt x="485745" y="4132183"/>
                  <a:pt x="85309" y="3801714"/>
                </a:cubicBezTo>
                <a:lnTo>
                  <a:pt x="0" y="3724180"/>
                </a:lnTo>
                <a:lnTo>
                  <a:pt x="0" y="304131"/>
                </a:lnTo>
                <a:lnTo>
                  <a:pt x="85309" y="226597"/>
                </a:lnTo>
                <a:cubicBezTo>
                  <a:pt x="142514" y="179387"/>
                  <a:pt x="202023" y="134871"/>
                  <a:pt x="263644" y="93240"/>
                </a:cubicBezTo>
                <a:close/>
              </a:path>
            </a:pathLst>
          </a:custGeom>
          <a:solidFill>
            <a:schemeClr val="accent1"/>
          </a:solidFill>
        </p:spPr>
        <p:txBody>
          <a:bodyPr wrap="square" lIns="396000" tIns="360000" rIns="90000" bIns="360000" anchor="ctr" anchorCtr="0">
            <a:normAutofit/>
          </a:bodyPr>
          <a:lstStyle>
            <a:lvl1pPr>
              <a:lnSpc>
                <a:spcPct val="100000"/>
              </a:lnSpc>
              <a:defRPr sz="4000">
                <a:solidFill>
                  <a:schemeClr val="bg1"/>
                </a:solidFill>
              </a:defRPr>
            </a:lvl1pPr>
          </a:lstStyle>
          <a:p>
            <a:r>
              <a:rPr lang="en-US" dirty="0"/>
              <a:t>Click to enter title here</a:t>
            </a:r>
          </a:p>
        </p:txBody>
      </p:sp>
      <p:cxnSp>
        <p:nvCxnSpPr>
          <p:cNvPr id="9" name="Straight Connector 8">
            <a:extLst>
              <a:ext uri="{FF2B5EF4-FFF2-40B4-BE49-F238E27FC236}">
                <a16:creationId xmlns:a16="http://schemas.microsoft.com/office/drawing/2014/main" id="{21040238-DCC8-4532-9AE6-EB7C834F336E}"/>
              </a:ext>
            </a:extLst>
          </p:cNvPr>
          <p:cNvCxnSpPr>
            <a:cxnSpLocks/>
          </p:cNvCxnSpPr>
          <p:nvPr userDrawn="1"/>
        </p:nvCxnSpPr>
        <p:spPr>
          <a:xfrm>
            <a:off x="3540125" y="3730171"/>
            <a:ext cx="0" cy="247956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75A4EBE2-41F7-48F4-B525-605699ECF92F}"/>
              </a:ext>
            </a:extLst>
          </p:cNvPr>
          <p:cNvSpPr>
            <a:spLocks noGrp="1"/>
          </p:cNvSpPr>
          <p:nvPr>
            <p:ph sz="quarter" idx="19" hasCustomPrompt="1"/>
          </p:nvPr>
        </p:nvSpPr>
        <p:spPr>
          <a:xfrm>
            <a:off x="4238625" y="404813"/>
            <a:ext cx="7545387" cy="5796000"/>
          </a:xfrm>
        </p:spPr>
        <p:txBody>
          <a:bodyPr/>
          <a:lstStyle>
            <a:lvl1pPr>
              <a:lnSpc>
                <a:spcPct val="100000"/>
              </a:lnSpc>
              <a:defRPr/>
            </a:lvl1pPr>
            <a:lvl2pPr marL="460788" indent="-228594">
              <a:lnSpc>
                <a:spcPct val="100000"/>
              </a:lnSpc>
              <a:defRPr lang="en-US" sz="2400" kern="1200" dirty="0">
                <a:solidFill>
                  <a:schemeClr val="tx1"/>
                </a:solidFill>
                <a:latin typeface="+mn-lt"/>
                <a:ea typeface="+mn-ea"/>
                <a:cs typeface="+mn-cs"/>
              </a:defRPr>
            </a:lvl2pPr>
            <a:lvl3pPr marL="691183" indent="-228594">
              <a:lnSpc>
                <a:spcPct val="100000"/>
              </a:lnSpc>
              <a:defRPr lang="en-US" sz="2000" kern="1200" dirty="0">
                <a:solidFill>
                  <a:schemeClr val="tx1"/>
                </a:solidFill>
                <a:latin typeface="+mn-lt"/>
                <a:ea typeface="+mn-ea"/>
                <a:cs typeface="+mn-cs"/>
              </a:defRPr>
            </a:lvl3pPr>
            <a:lvl4pPr marL="921577" indent="-228594">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 here. </a:t>
            </a:r>
            <a:br>
              <a:rPr lang="en-US" dirty="0"/>
            </a:br>
            <a:r>
              <a:rPr lang="en-US" dirty="0"/>
              <a:t>When pasting copy from other slides, be sure to right-click and choose ‘Keep text only’.</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9">
            <a:extLst>
              <a:ext uri="{FF2B5EF4-FFF2-40B4-BE49-F238E27FC236}">
                <a16:creationId xmlns:a16="http://schemas.microsoft.com/office/drawing/2014/main" id="{59C580CE-4074-4379-8D68-E5118B13A13A}"/>
              </a:ext>
            </a:extLst>
          </p:cNvPr>
          <p:cNvSpPr>
            <a:spLocks noGrp="1"/>
          </p:cNvSpPr>
          <p:nvPr>
            <p:ph type="dt" sz="half" idx="20"/>
          </p:nvPr>
        </p:nvSpPr>
        <p:spPr/>
        <p:txBody>
          <a:bodyPr/>
          <a:lstStyle>
            <a:lvl1pPr>
              <a:lnSpc>
                <a:spcPct val="100000"/>
              </a:lnSpc>
              <a:defRPr/>
            </a:lvl1pPr>
          </a:lstStyle>
          <a:p>
            <a:endParaRPr lang="en-GB"/>
          </a:p>
        </p:txBody>
      </p:sp>
      <p:sp>
        <p:nvSpPr>
          <p:cNvPr id="13" name="Slide Number Placeholder 12">
            <a:extLst>
              <a:ext uri="{FF2B5EF4-FFF2-40B4-BE49-F238E27FC236}">
                <a16:creationId xmlns:a16="http://schemas.microsoft.com/office/drawing/2014/main" id="{D2C25B5D-B685-4B55-8498-3486110FDCFE}"/>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8" name="Text Placeholder 96">
            <a:extLst>
              <a:ext uri="{FF2B5EF4-FFF2-40B4-BE49-F238E27FC236}">
                <a16:creationId xmlns:a16="http://schemas.microsoft.com/office/drawing/2014/main" id="{DFE25DB2-F58D-4AD2-B640-7A1061569FFB}"/>
              </a:ext>
            </a:extLst>
          </p:cNvPr>
          <p:cNvSpPr>
            <a:spLocks noGrp="1"/>
          </p:cNvSpPr>
          <p:nvPr>
            <p:ph type="body" sz="quarter" idx="111" hasCustomPrompt="1"/>
          </p:nvPr>
        </p:nvSpPr>
        <p:spPr>
          <a:xfrm>
            <a:off x="407989" y="6200776"/>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7615680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973">
          <p15:clr>
            <a:srgbClr val="C35EA4"/>
          </p15:clr>
        </p15:guide>
        <p15:guide id="5" pos="3548">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2"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1"/>
          </a:solidFill>
        </p:spPr>
        <p:txBody>
          <a:bodyPr wrap="square" lIns="396000" tIns="2160000" bIns="2880000" anchor="b" anchorCtr="0">
            <a:normAutofit/>
          </a:bodyPr>
          <a:lstStyle>
            <a:lvl1pPr>
              <a:lnSpc>
                <a:spcPct val="100000"/>
              </a:lnSpc>
              <a:defRPr sz="4000">
                <a:solidFill>
                  <a:schemeClr val="bg1"/>
                </a:solidFill>
              </a:defRPr>
            </a:lvl1pPr>
          </a:lstStyle>
          <a:p>
            <a:r>
              <a:rPr lang="en-US" dirty="0"/>
              <a:t>Click to enter</a:t>
            </a:r>
            <a:br>
              <a:rPr lang="en-US" dirty="0"/>
            </a:br>
            <a:r>
              <a:rPr lang="en-US" dirty="0"/>
              <a:t>section title here</a:t>
            </a:r>
            <a:endParaRPr lang="en-GB" dirty="0"/>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9"/>
          </a:xfrm>
          <a:prstGeom prst="rect">
            <a:avLst/>
          </a:prstGeom>
          <a:blipFill>
            <a:blip>
              <a:extLst>
                <a:ext uri="{96DAC541-7B7A-43D3-8B79-37D633B846F1}">
                  <asvg:svgBlip xmlns:asvg="http://schemas.microsoft.com/office/drawing/2016/SVG/main" r:embed="rId3"/>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600"/>
              <a:t> </a:t>
            </a:r>
          </a:p>
        </p:txBody>
      </p:sp>
      <p:sp>
        <p:nvSpPr>
          <p:cNvPr id="5" name="Text Placeholder 4">
            <a:extLst>
              <a:ext uri="{FF2B5EF4-FFF2-40B4-BE49-F238E27FC236}">
                <a16:creationId xmlns:a16="http://schemas.microsoft.com/office/drawing/2014/main" id="{D60AE4F3-AAA3-4B8D-A01A-1FF9B8F9F42A}"/>
              </a:ext>
            </a:extLst>
          </p:cNvPr>
          <p:cNvSpPr>
            <a:spLocks noGrp="1"/>
          </p:cNvSpPr>
          <p:nvPr>
            <p:ph type="body" sz="quarter" idx="33" hasCustomPrompt="1"/>
          </p:nvPr>
        </p:nvSpPr>
        <p:spPr>
          <a:xfrm>
            <a:off x="428095" y="863767"/>
            <a:ext cx="1203159" cy="1203159"/>
          </a:xfrm>
          <a:prstGeom prst="ellipse">
            <a:avLst/>
          </a:prstGeom>
          <a:solidFill>
            <a:schemeClr val="bg1"/>
          </a:solidFill>
        </p:spPr>
        <p:txBody>
          <a:bodyPr wrap="none" bIns="0" anchor="ctr" anchorCtr="0">
            <a:normAutofit/>
          </a:bodyPr>
          <a:lstStyle>
            <a:lvl1pPr marL="0" indent="0" algn="ctr">
              <a:lnSpc>
                <a:spcPct val="100000"/>
              </a:lnSpc>
              <a:buNone/>
              <a:defRPr sz="6000" b="1">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a:t>
            </a:r>
          </a:p>
        </p:txBody>
      </p:sp>
      <p:sp>
        <p:nvSpPr>
          <p:cNvPr id="8" name="Text Placeholder 7">
            <a:extLst>
              <a:ext uri="{FF2B5EF4-FFF2-40B4-BE49-F238E27FC236}">
                <a16:creationId xmlns:a16="http://schemas.microsoft.com/office/drawing/2014/main" id="{45758FA1-2B23-4C7E-97FD-FBA94AB3853B}"/>
              </a:ext>
            </a:extLst>
          </p:cNvPr>
          <p:cNvSpPr>
            <a:spLocks noGrp="1"/>
          </p:cNvSpPr>
          <p:nvPr>
            <p:ph type="body" sz="quarter" idx="34" hasCustomPrompt="1"/>
          </p:nvPr>
        </p:nvSpPr>
        <p:spPr>
          <a:xfrm>
            <a:off x="428626" y="4267200"/>
            <a:ext cx="3678919" cy="1896645"/>
          </a:xfrm>
          <a:prstGeom prst="rect">
            <a:avLst/>
          </a:prstGeom>
        </p:spPr>
        <p:txBody>
          <a:bodyPr lIns="0"/>
          <a:lstStyle>
            <a:lvl1pPr marL="0" indent="0">
              <a:lnSpc>
                <a:spcPct val="100000"/>
              </a:lnSpc>
              <a:buNone/>
              <a:defRPr>
                <a:solidFill>
                  <a:schemeClr val="bg1"/>
                </a:solidFill>
              </a:defRPr>
            </a:lvl1pPr>
            <a:lvl5pPr>
              <a:defRPr/>
            </a:lvl5pPr>
          </a:lstStyle>
          <a:p>
            <a:pPr lvl="0"/>
            <a:r>
              <a:rPr lang="en-US" dirty="0"/>
              <a:t>Click to add subtitle / presenter name(s)</a:t>
            </a:r>
          </a:p>
        </p:txBody>
      </p:sp>
      <p:sp>
        <p:nvSpPr>
          <p:cNvPr id="22" name="Picture Placeholder 21">
            <a:extLst>
              <a:ext uri="{FF2B5EF4-FFF2-40B4-BE49-F238E27FC236}">
                <a16:creationId xmlns:a16="http://schemas.microsoft.com/office/drawing/2014/main" id="{0486192A-3DB1-49EB-9B2C-D5E68AF24B1A}"/>
              </a:ext>
            </a:extLst>
          </p:cNvPr>
          <p:cNvSpPr>
            <a:spLocks noGrp="1"/>
          </p:cNvSpPr>
          <p:nvPr>
            <p:ph type="pic" sz="quarter" idx="36" hasCustomPrompt="1"/>
          </p:nvPr>
        </p:nvSpPr>
        <p:spPr>
          <a:xfrm>
            <a:off x="3694792" y="-1"/>
            <a:ext cx="8497208" cy="6858001"/>
          </a:xfrm>
          <a:custGeom>
            <a:avLst/>
            <a:gdLst>
              <a:gd name="connsiteX0" fmla="*/ 8001617 w 8497208"/>
              <a:gd name="connsiteY0" fmla="*/ 6414717 h 6858001"/>
              <a:gd name="connsiteX1" fmla="*/ 7980570 w 8497208"/>
              <a:gd name="connsiteY1" fmla="*/ 6439539 h 6858001"/>
              <a:gd name="connsiteX2" fmla="*/ 8034470 w 8497208"/>
              <a:gd name="connsiteY2" fmla="*/ 6517076 h 6858001"/>
              <a:gd name="connsiteX3" fmla="*/ 8090937 w 8497208"/>
              <a:gd name="connsiteY3" fmla="*/ 6510166 h 6858001"/>
              <a:gd name="connsiteX4" fmla="*/ 8091707 w 8497208"/>
              <a:gd name="connsiteY4" fmla="*/ 6506072 h 6858001"/>
              <a:gd name="connsiteX5" fmla="*/ 8095814 w 8497208"/>
              <a:gd name="connsiteY5" fmla="*/ 6478435 h 6858001"/>
              <a:gd name="connsiteX6" fmla="*/ 8062447 w 8497208"/>
              <a:gd name="connsiteY6" fmla="*/ 6464105 h 6858001"/>
              <a:gd name="connsiteX7" fmla="*/ 8064757 w 8497208"/>
              <a:gd name="connsiteY7" fmla="*/ 6499675 h 6858001"/>
              <a:gd name="connsiteX8" fmla="*/ 8064757 w 8497208"/>
              <a:gd name="connsiteY8" fmla="*/ 6504025 h 6858001"/>
              <a:gd name="connsiteX9" fmla="*/ 8048330 w 8497208"/>
              <a:gd name="connsiteY9" fmla="*/ 6515029 h 6858001"/>
              <a:gd name="connsiteX10" fmla="*/ 7993147 w 8497208"/>
              <a:gd name="connsiteY10" fmla="*/ 6433142 h 6858001"/>
              <a:gd name="connsiteX11" fmla="*/ 7994430 w 8497208"/>
              <a:gd name="connsiteY11" fmla="*/ 6431862 h 6858001"/>
              <a:gd name="connsiteX12" fmla="*/ 7995200 w 8497208"/>
              <a:gd name="connsiteY12" fmla="*/ 6432374 h 6858001"/>
              <a:gd name="connsiteX13" fmla="*/ 7995457 w 8497208"/>
              <a:gd name="connsiteY13" fmla="*/ 6432374 h 6858001"/>
              <a:gd name="connsiteX14" fmla="*/ 8062190 w 8497208"/>
              <a:gd name="connsiteY14" fmla="*/ 6459499 h 6858001"/>
              <a:gd name="connsiteX15" fmla="*/ 8096071 w 8497208"/>
              <a:gd name="connsiteY15" fmla="*/ 6474085 h 6858001"/>
              <a:gd name="connsiteX16" fmla="*/ 8122764 w 8497208"/>
              <a:gd name="connsiteY16" fmla="*/ 6486880 h 6858001"/>
              <a:gd name="connsiteX17" fmla="*/ 8134828 w 8497208"/>
              <a:gd name="connsiteY17" fmla="*/ 6503513 h 6858001"/>
              <a:gd name="connsiteX18" fmla="*/ 7984933 w 8497208"/>
              <a:gd name="connsiteY18" fmla="*/ 6615084 h 6858001"/>
              <a:gd name="connsiteX19" fmla="*/ 7984420 w 8497208"/>
              <a:gd name="connsiteY19" fmla="*/ 6615596 h 6858001"/>
              <a:gd name="connsiteX20" fmla="*/ 7983393 w 8497208"/>
              <a:gd name="connsiteY20" fmla="*/ 6617131 h 6858001"/>
              <a:gd name="connsiteX21" fmla="*/ 7983137 w 8497208"/>
              <a:gd name="connsiteY21" fmla="*/ 6617643 h 6858001"/>
              <a:gd name="connsiteX22" fmla="*/ 7978517 w 8497208"/>
              <a:gd name="connsiteY22" fmla="*/ 6631717 h 6858001"/>
              <a:gd name="connsiteX23" fmla="*/ 7997253 w 8497208"/>
              <a:gd name="connsiteY23" fmla="*/ 6655260 h 6858001"/>
              <a:gd name="connsiteX24" fmla="*/ 8009830 w 8497208"/>
              <a:gd name="connsiteY24" fmla="*/ 6657563 h 6858001"/>
              <a:gd name="connsiteX25" fmla="*/ 8012397 w 8497208"/>
              <a:gd name="connsiteY25" fmla="*/ 6657819 h 6858001"/>
              <a:gd name="connsiteX26" fmla="*/ 8136881 w 8497208"/>
              <a:gd name="connsiteY26" fmla="*/ 6633253 h 6858001"/>
              <a:gd name="connsiteX27" fmla="*/ 8146378 w 8497208"/>
              <a:gd name="connsiteY27" fmla="*/ 6607407 h 6858001"/>
              <a:gd name="connsiteX28" fmla="*/ 8103001 w 8497208"/>
              <a:gd name="connsiteY28" fmla="*/ 6582073 h 6858001"/>
              <a:gd name="connsiteX29" fmla="*/ 8093761 w 8497208"/>
              <a:gd name="connsiteY29" fmla="*/ 6588215 h 6858001"/>
              <a:gd name="connsiteX30" fmla="*/ 8128411 w 8497208"/>
              <a:gd name="connsiteY30" fmla="*/ 6611246 h 6858001"/>
              <a:gd name="connsiteX31" fmla="*/ 8126614 w 8497208"/>
              <a:gd name="connsiteY31" fmla="*/ 6614828 h 6858001"/>
              <a:gd name="connsiteX32" fmla="*/ 8124304 w 8497208"/>
              <a:gd name="connsiteY32" fmla="*/ 6614828 h 6858001"/>
              <a:gd name="connsiteX33" fmla="*/ 8047817 w 8497208"/>
              <a:gd name="connsiteY33" fmla="*/ 6619946 h 6858001"/>
              <a:gd name="connsiteX34" fmla="*/ 8040630 w 8497208"/>
              <a:gd name="connsiteY34" fmla="*/ 6620202 h 6858001"/>
              <a:gd name="connsiteX35" fmla="*/ 8052437 w 8497208"/>
              <a:gd name="connsiteY35" fmla="*/ 6610734 h 6858001"/>
              <a:gd name="connsiteX36" fmla="*/ 8173841 w 8497208"/>
              <a:gd name="connsiteY36" fmla="*/ 6529615 h 6858001"/>
              <a:gd name="connsiteX37" fmla="*/ 8144068 w 8497208"/>
              <a:gd name="connsiteY37" fmla="*/ 6452334 h 6858001"/>
              <a:gd name="connsiteX38" fmla="*/ 8001617 w 8497208"/>
              <a:gd name="connsiteY38" fmla="*/ 6414717 h 6858001"/>
              <a:gd name="connsiteX39" fmla="*/ 8063182 w 8497208"/>
              <a:gd name="connsiteY39" fmla="*/ 6306559 h 6858001"/>
              <a:gd name="connsiteX40" fmla="*/ 7947246 w 8497208"/>
              <a:gd name="connsiteY40" fmla="*/ 6409920 h 6858001"/>
              <a:gd name="connsiteX41" fmla="*/ 7903898 w 8497208"/>
              <a:gd name="connsiteY41" fmla="*/ 6477718 h 6858001"/>
              <a:gd name="connsiteX42" fmla="*/ 7922109 w 8497208"/>
              <a:gd name="connsiteY42" fmla="*/ 6498186 h 6858001"/>
              <a:gd name="connsiteX43" fmla="*/ 8041380 w 8497208"/>
              <a:gd name="connsiteY43" fmla="*/ 6559844 h 6858001"/>
              <a:gd name="connsiteX44" fmla="*/ 8050870 w 8497208"/>
              <a:gd name="connsiteY44" fmla="*/ 6553960 h 6858001"/>
              <a:gd name="connsiteX45" fmla="*/ 7945194 w 8497208"/>
              <a:gd name="connsiteY45" fmla="*/ 6495627 h 6858001"/>
              <a:gd name="connsiteX46" fmla="*/ 7928778 w 8497208"/>
              <a:gd name="connsiteY46" fmla="*/ 6480277 h 6858001"/>
              <a:gd name="connsiteX47" fmla="*/ 7958019 w 8497208"/>
              <a:gd name="connsiteY47" fmla="*/ 6449575 h 6858001"/>
              <a:gd name="connsiteX48" fmla="*/ 7974178 w 8497208"/>
              <a:gd name="connsiteY48" fmla="*/ 6433457 h 6858001"/>
              <a:gd name="connsiteX49" fmla="*/ 7976230 w 8497208"/>
              <a:gd name="connsiteY49" fmla="*/ 6416827 h 6858001"/>
              <a:gd name="connsiteX50" fmla="*/ 7997263 w 8497208"/>
              <a:gd name="connsiteY50" fmla="*/ 6410176 h 6858001"/>
              <a:gd name="connsiteX51" fmla="*/ 8024964 w 8497208"/>
              <a:gd name="connsiteY51" fmla="*/ 6382289 h 6858001"/>
              <a:gd name="connsiteX52" fmla="*/ 8047536 w 8497208"/>
              <a:gd name="connsiteY52" fmla="*/ 6364635 h 6858001"/>
              <a:gd name="connsiteX53" fmla="*/ 8053948 w 8497208"/>
              <a:gd name="connsiteY53" fmla="*/ 6376916 h 6858001"/>
              <a:gd name="connsiteX54" fmla="*/ 8058822 w 8497208"/>
              <a:gd name="connsiteY54" fmla="*/ 6421688 h 6858001"/>
              <a:gd name="connsiteX55" fmla="*/ 8097296 w 8497208"/>
              <a:gd name="connsiteY55" fmla="*/ 6432434 h 6858001"/>
              <a:gd name="connsiteX56" fmla="*/ 8063182 w 8497208"/>
              <a:gd name="connsiteY56" fmla="*/ 6306559 h 6858001"/>
              <a:gd name="connsiteX57" fmla="*/ 4802415 w 8497208"/>
              <a:gd name="connsiteY57" fmla="*/ 0 h 6858001"/>
              <a:gd name="connsiteX58" fmla="*/ 5373009 w 8497208"/>
              <a:gd name="connsiteY58" fmla="*/ 0 h 6858001"/>
              <a:gd name="connsiteX59" fmla="*/ 8497208 w 8497208"/>
              <a:gd name="connsiteY59" fmla="*/ 0 h 6858001"/>
              <a:gd name="connsiteX60" fmla="*/ 8497208 w 8497208"/>
              <a:gd name="connsiteY60" fmla="*/ 1 h 6858001"/>
              <a:gd name="connsiteX61" fmla="*/ 8497208 w 8497208"/>
              <a:gd name="connsiteY61" fmla="*/ 2601686 h 6858001"/>
              <a:gd name="connsiteX62" fmla="*/ 8497208 w 8497208"/>
              <a:gd name="connsiteY62" fmla="*/ 6858000 h 6858001"/>
              <a:gd name="connsiteX63" fmla="*/ 8497208 w 8497208"/>
              <a:gd name="connsiteY63" fmla="*/ 6858001 h 6858001"/>
              <a:gd name="connsiteX64" fmla="*/ 0 w 8497208"/>
              <a:gd name="connsiteY64" fmla="*/ 6858001 h 6858001"/>
              <a:gd name="connsiteX65" fmla="*/ 67701 w 8497208"/>
              <a:gd name="connsiteY65" fmla="*/ 6814599 h 6858001"/>
              <a:gd name="connsiteX66" fmla="*/ 1867809 w 8497208"/>
              <a:gd name="connsiteY66" fmla="*/ 3429001 h 6858001"/>
              <a:gd name="connsiteX67" fmla="*/ 67701 w 8497208"/>
              <a:gd name="connsiteY67" fmla="*/ 43403 h 6858001"/>
              <a:gd name="connsiteX68" fmla="*/ 1 w 8497208"/>
              <a:gd name="connsiteY68" fmla="*/ 1 h 6858001"/>
              <a:gd name="connsiteX69" fmla="*/ 4802413 w 8497208"/>
              <a:gd name="connsiteY6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497208" h="6858001">
                <a:moveTo>
                  <a:pt x="8001617" y="6414717"/>
                </a:moveTo>
                <a:cubicBezTo>
                  <a:pt x="7980570" y="6411902"/>
                  <a:pt x="7972100" y="6419579"/>
                  <a:pt x="7980570" y="6439539"/>
                </a:cubicBezTo>
                <a:cubicBezTo>
                  <a:pt x="7989297" y="6459243"/>
                  <a:pt x="8011370" y="6492254"/>
                  <a:pt x="8034470" y="6517076"/>
                </a:cubicBezTo>
                <a:cubicBezTo>
                  <a:pt x="8057827" y="6541642"/>
                  <a:pt x="8082981" y="6548551"/>
                  <a:pt x="8090937" y="6510166"/>
                </a:cubicBezTo>
                <a:cubicBezTo>
                  <a:pt x="8091194" y="6508887"/>
                  <a:pt x="8091451" y="6507608"/>
                  <a:pt x="8091707" y="6506072"/>
                </a:cubicBezTo>
                <a:cubicBezTo>
                  <a:pt x="8093504" y="6496348"/>
                  <a:pt x="8095044" y="6486880"/>
                  <a:pt x="8095814" y="6478435"/>
                </a:cubicBezTo>
                <a:cubicBezTo>
                  <a:pt x="8085547" y="6473829"/>
                  <a:pt x="8073997" y="6468967"/>
                  <a:pt x="8062447" y="6464105"/>
                </a:cubicBezTo>
                <a:cubicBezTo>
                  <a:pt x="8063217" y="6472806"/>
                  <a:pt x="8064244" y="6487904"/>
                  <a:pt x="8064757" y="6499675"/>
                </a:cubicBezTo>
                <a:cubicBezTo>
                  <a:pt x="8064757" y="6500954"/>
                  <a:pt x="8064757" y="6502490"/>
                  <a:pt x="8064757" y="6504025"/>
                </a:cubicBezTo>
                <a:cubicBezTo>
                  <a:pt x="8065527" y="6522705"/>
                  <a:pt x="8059110" y="6522705"/>
                  <a:pt x="8048330" y="6515029"/>
                </a:cubicBezTo>
                <a:cubicBezTo>
                  <a:pt x="8035754" y="6506072"/>
                  <a:pt x="7997510" y="6455661"/>
                  <a:pt x="7993147" y="6433142"/>
                </a:cubicBezTo>
                <a:cubicBezTo>
                  <a:pt x="7992890" y="6431862"/>
                  <a:pt x="7993660" y="6431606"/>
                  <a:pt x="7994430" y="6431862"/>
                </a:cubicBezTo>
                <a:cubicBezTo>
                  <a:pt x="7994687" y="6432118"/>
                  <a:pt x="7994943" y="6432118"/>
                  <a:pt x="7995200" y="6432374"/>
                </a:cubicBezTo>
                <a:cubicBezTo>
                  <a:pt x="7995200" y="6432374"/>
                  <a:pt x="7995200" y="6432374"/>
                  <a:pt x="7995457" y="6432374"/>
                </a:cubicBezTo>
                <a:cubicBezTo>
                  <a:pt x="8003927" y="6435701"/>
                  <a:pt x="8032930" y="6447216"/>
                  <a:pt x="8062190" y="6459499"/>
                </a:cubicBezTo>
                <a:cubicBezTo>
                  <a:pt x="8073741" y="6464361"/>
                  <a:pt x="8085547" y="6469479"/>
                  <a:pt x="8096071" y="6474085"/>
                </a:cubicBezTo>
                <a:cubicBezTo>
                  <a:pt x="8106594" y="6478691"/>
                  <a:pt x="8115834" y="6483297"/>
                  <a:pt x="8122764" y="6486880"/>
                </a:cubicBezTo>
                <a:cubicBezTo>
                  <a:pt x="8135341" y="6493533"/>
                  <a:pt x="8140218" y="6498139"/>
                  <a:pt x="8134828" y="6503513"/>
                </a:cubicBezTo>
                <a:cubicBezTo>
                  <a:pt x="8108647" y="6530382"/>
                  <a:pt x="8016504" y="6568255"/>
                  <a:pt x="7984933" y="6615084"/>
                </a:cubicBezTo>
                <a:cubicBezTo>
                  <a:pt x="7984933" y="6615084"/>
                  <a:pt x="7984677" y="6615340"/>
                  <a:pt x="7984420" y="6615596"/>
                </a:cubicBezTo>
                <a:cubicBezTo>
                  <a:pt x="7984163" y="6616108"/>
                  <a:pt x="7983650" y="6616619"/>
                  <a:pt x="7983393" y="6617131"/>
                </a:cubicBezTo>
                <a:cubicBezTo>
                  <a:pt x="7983393" y="6617387"/>
                  <a:pt x="7983393" y="6617643"/>
                  <a:pt x="7983137" y="6617643"/>
                </a:cubicBezTo>
                <a:cubicBezTo>
                  <a:pt x="7981597" y="6620714"/>
                  <a:pt x="7979287" y="6625576"/>
                  <a:pt x="7978517" y="6631717"/>
                </a:cubicBezTo>
                <a:cubicBezTo>
                  <a:pt x="7977233" y="6641953"/>
                  <a:pt x="7982623" y="6651421"/>
                  <a:pt x="7997253" y="6655260"/>
                </a:cubicBezTo>
                <a:cubicBezTo>
                  <a:pt x="8001103" y="6656283"/>
                  <a:pt x="8005210" y="6657051"/>
                  <a:pt x="8009830" y="6657563"/>
                </a:cubicBezTo>
                <a:cubicBezTo>
                  <a:pt x="8010600" y="6657819"/>
                  <a:pt x="8011627" y="6657819"/>
                  <a:pt x="8012397" y="6657819"/>
                </a:cubicBezTo>
                <a:cubicBezTo>
                  <a:pt x="8040887" y="6659098"/>
                  <a:pt x="8114551" y="6642977"/>
                  <a:pt x="8136881" y="6633253"/>
                </a:cubicBezTo>
                <a:cubicBezTo>
                  <a:pt x="8159981" y="6623017"/>
                  <a:pt x="8153051" y="6612781"/>
                  <a:pt x="8146378" y="6607407"/>
                </a:cubicBezTo>
                <a:cubicBezTo>
                  <a:pt x="8141244" y="6603313"/>
                  <a:pt x="8115577" y="6588983"/>
                  <a:pt x="8103001" y="6582073"/>
                </a:cubicBezTo>
                <a:cubicBezTo>
                  <a:pt x="8099664" y="6584376"/>
                  <a:pt x="8097097" y="6585912"/>
                  <a:pt x="8093761" y="6588215"/>
                </a:cubicBezTo>
                <a:cubicBezTo>
                  <a:pt x="8115064" y="6601010"/>
                  <a:pt x="8123534" y="6607407"/>
                  <a:pt x="8128411" y="6611246"/>
                </a:cubicBezTo>
                <a:cubicBezTo>
                  <a:pt x="8130464" y="6612781"/>
                  <a:pt x="8129438" y="6614572"/>
                  <a:pt x="8126614" y="6614828"/>
                </a:cubicBezTo>
                <a:cubicBezTo>
                  <a:pt x="8125844" y="6614828"/>
                  <a:pt x="8125074" y="6614828"/>
                  <a:pt x="8124304" y="6614828"/>
                </a:cubicBezTo>
                <a:cubicBezTo>
                  <a:pt x="8104027" y="6616364"/>
                  <a:pt x="8065784" y="6618922"/>
                  <a:pt x="8047817" y="6619946"/>
                </a:cubicBezTo>
                <a:cubicBezTo>
                  <a:pt x="8045250" y="6620202"/>
                  <a:pt x="8042170" y="6620202"/>
                  <a:pt x="8040630" y="6620202"/>
                </a:cubicBezTo>
                <a:cubicBezTo>
                  <a:pt x="8044994" y="6616108"/>
                  <a:pt x="8049870" y="6612525"/>
                  <a:pt x="8052437" y="6610734"/>
                </a:cubicBezTo>
                <a:cubicBezTo>
                  <a:pt x="8090937" y="6583609"/>
                  <a:pt x="8154848" y="6545736"/>
                  <a:pt x="8173841" y="6529615"/>
                </a:cubicBezTo>
                <a:cubicBezTo>
                  <a:pt x="8187701" y="6517587"/>
                  <a:pt x="8225688" y="6480994"/>
                  <a:pt x="8144068" y="6452334"/>
                </a:cubicBezTo>
                <a:cubicBezTo>
                  <a:pt x="8120711" y="6444401"/>
                  <a:pt x="8062704" y="6422906"/>
                  <a:pt x="8001617" y="6414717"/>
                </a:cubicBezTo>
                <a:close/>
                <a:moveTo>
                  <a:pt x="8063182" y="6306559"/>
                </a:moveTo>
                <a:cubicBezTo>
                  <a:pt x="8043432" y="6304000"/>
                  <a:pt x="8013678" y="6328817"/>
                  <a:pt x="7947246" y="6409920"/>
                </a:cubicBezTo>
                <a:cubicBezTo>
                  <a:pt x="7934934" y="6424759"/>
                  <a:pt x="7906206" y="6461088"/>
                  <a:pt x="7903898" y="6477718"/>
                </a:cubicBezTo>
                <a:cubicBezTo>
                  <a:pt x="7902359" y="6489487"/>
                  <a:pt x="7914927" y="6494604"/>
                  <a:pt x="7922109" y="6498186"/>
                </a:cubicBezTo>
                <a:cubicBezTo>
                  <a:pt x="7928778" y="6501768"/>
                  <a:pt x="8005727" y="6539888"/>
                  <a:pt x="8041380" y="6559844"/>
                </a:cubicBezTo>
                <a:cubicBezTo>
                  <a:pt x="8044458" y="6557797"/>
                  <a:pt x="8047536" y="6555751"/>
                  <a:pt x="8050870" y="6553960"/>
                </a:cubicBezTo>
                <a:cubicBezTo>
                  <a:pt x="8029581" y="6542447"/>
                  <a:pt x="7969561" y="6510211"/>
                  <a:pt x="7945194" y="6495627"/>
                </a:cubicBezTo>
                <a:cubicBezTo>
                  <a:pt x="7935190" y="6489743"/>
                  <a:pt x="7928265" y="6484882"/>
                  <a:pt x="7928778" y="6480277"/>
                </a:cubicBezTo>
                <a:cubicBezTo>
                  <a:pt x="7929548" y="6474648"/>
                  <a:pt x="7944168" y="6463391"/>
                  <a:pt x="7958019" y="6449575"/>
                </a:cubicBezTo>
                <a:cubicBezTo>
                  <a:pt x="7961610" y="6445994"/>
                  <a:pt x="7967509" y="6440109"/>
                  <a:pt x="7974178" y="6433457"/>
                </a:cubicBezTo>
                <a:cubicBezTo>
                  <a:pt x="7972382" y="6426550"/>
                  <a:pt x="7973152" y="6420921"/>
                  <a:pt x="7976230" y="6416827"/>
                </a:cubicBezTo>
                <a:cubicBezTo>
                  <a:pt x="7980077" y="6411711"/>
                  <a:pt x="7987003" y="6409664"/>
                  <a:pt x="7997263" y="6410176"/>
                </a:cubicBezTo>
                <a:cubicBezTo>
                  <a:pt x="8009831" y="6397639"/>
                  <a:pt x="8021117" y="6386382"/>
                  <a:pt x="8024964" y="6382289"/>
                </a:cubicBezTo>
                <a:cubicBezTo>
                  <a:pt x="8033941" y="6373334"/>
                  <a:pt x="8043432" y="6364124"/>
                  <a:pt x="8047536" y="6364635"/>
                </a:cubicBezTo>
                <a:cubicBezTo>
                  <a:pt x="8050870" y="6365147"/>
                  <a:pt x="8052666" y="6368217"/>
                  <a:pt x="8053948" y="6376916"/>
                </a:cubicBezTo>
                <a:cubicBezTo>
                  <a:pt x="8054974" y="6384591"/>
                  <a:pt x="8057539" y="6406850"/>
                  <a:pt x="8058822" y="6421688"/>
                </a:cubicBezTo>
                <a:cubicBezTo>
                  <a:pt x="8072672" y="6425014"/>
                  <a:pt x="8085497" y="6428852"/>
                  <a:pt x="8097296" y="6432434"/>
                </a:cubicBezTo>
                <a:cubicBezTo>
                  <a:pt x="8095757" y="6330864"/>
                  <a:pt x="8084215" y="6309373"/>
                  <a:pt x="8063182" y="6306559"/>
                </a:cubicBezTo>
                <a:close/>
                <a:moveTo>
                  <a:pt x="4802415" y="0"/>
                </a:moveTo>
                <a:lnTo>
                  <a:pt x="5373009" y="0"/>
                </a:lnTo>
                <a:lnTo>
                  <a:pt x="8497208" y="0"/>
                </a:lnTo>
                <a:lnTo>
                  <a:pt x="8497208" y="1"/>
                </a:lnTo>
                <a:lnTo>
                  <a:pt x="8497208" y="2601686"/>
                </a:lnTo>
                <a:lnTo>
                  <a:pt x="8497208" y="6858000"/>
                </a:lnTo>
                <a:lnTo>
                  <a:pt x="8497208" y="6858001"/>
                </a:lnTo>
                <a:lnTo>
                  <a:pt x="0" y="6858001"/>
                </a:lnTo>
                <a:lnTo>
                  <a:pt x="67701" y="6814599"/>
                </a:lnTo>
                <a:cubicBezTo>
                  <a:pt x="1153758" y="6080874"/>
                  <a:pt x="1867809" y="4838326"/>
                  <a:pt x="1867809" y="3429001"/>
                </a:cubicBezTo>
                <a:cubicBezTo>
                  <a:pt x="1867809" y="2019677"/>
                  <a:pt x="1153758" y="777128"/>
                  <a:pt x="67701" y="43403"/>
                </a:cubicBezTo>
                <a:lnTo>
                  <a:pt x="1" y="1"/>
                </a:lnTo>
                <a:lnTo>
                  <a:pt x="4802413" y="1"/>
                </a:lnTo>
                <a:close/>
              </a:path>
            </a:pathLst>
          </a:custGeom>
        </p:spPr>
        <p:txBody>
          <a:bodyPr wrap="square" tIns="360000" bIns="640080" anchor="ctr" anchorCtr="0">
            <a:noAutofit/>
          </a:bodyPr>
          <a:lstStyle>
            <a:lvl1pPr marL="0" marR="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sz="1600" b="1"/>
            </a:lvl1pPr>
          </a:lstStyle>
          <a:p>
            <a:r>
              <a:rPr lang="en-US" dirty="0"/>
              <a:t>_______________________________</a:t>
            </a:r>
            <a:br>
              <a:rPr lang="en-US" dirty="0"/>
            </a:b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br>
              <a:rPr lang="en-US" dirty="0"/>
            </a:br>
            <a:br>
              <a:rPr lang="en-US" dirty="0"/>
            </a:b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10" name="Date Placeholder 9">
            <a:extLst>
              <a:ext uri="{FF2B5EF4-FFF2-40B4-BE49-F238E27FC236}">
                <a16:creationId xmlns:a16="http://schemas.microsoft.com/office/drawing/2014/main" id="{41CC83E6-E70E-43EE-817C-4F68FB75EFD9}"/>
              </a:ext>
            </a:extLst>
          </p:cNvPr>
          <p:cNvSpPr>
            <a:spLocks noGrp="1"/>
          </p:cNvSpPr>
          <p:nvPr>
            <p:ph type="dt" sz="half" idx="35"/>
          </p:nvPr>
        </p:nvSpPr>
        <p:spPr/>
        <p:txBody>
          <a:bodyPr/>
          <a:lstStyle>
            <a:lvl1pPr>
              <a:lnSpc>
                <a:spcPct val="100000"/>
              </a:lnSpc>
              <a:defRPr/>
            </a:lvl1pPr>
          </a:lstStyle>
          <a:p>
            <a:endParaRPr lang="en-GB"/>
          </a:p>
        </p:txBody>
      </p:sp>
    </p:spTree>
    <p:custDataLst>
      <p:tags r:id="rId1"/>
    </p:custDataLst>
    <p:extLst>
      <p:ext uri="{BB962C8B-B14F-4D97-AF65-F5344CB8AC3E}">
        <p14:creationId xmlns:p14="http://schemas.microsoft.com/office/powerpoint/2010/main" val="644381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Key State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CFFF0-7218-4B33-8DFC-E37157D920C0}"/>
              </a:ext>
            </a:extLst>
          </p:cNvPr>
          <p:cNvSpPr>
            <a:spLocks noGrp="1"/>
          </p:cNvSpPr>
          <p:nvPr>
            <p:ph type="title" hasCustomPrompt="1"/>
          </p:nvPr>
        </p:nvSpPr>
        <p:spPr>
          <a:xfrm>
            <a:off x="3288323" y="555585"/>
            <a:ext cx="5615355" cy="5614275"/>
          </a:xfrm>
          <a:prstGeom prst="ellipse">
            <a:avLst/>
          </a:prstGeom>
          <a:solidFill>
            <a:schemeClr val="bg1"/>
          </a:solidFill>
        </p:spPr>
        <p:txBody>
          <a:bodyPr anchor="ctr" anchorCtr="0">
            <a:normAutofit/>
          </a:bodyPr>
          <a:lstStyle>
            <a:lvl1pPr algn="ctr">
              <a:lnSpc>
                <a:spcPct val="100000"/>
              </a:lnSpc>
              <a:defRPr sz="4000">
                <a:solidFill>
                  <a:schemeClr val="accent1"/>
                </a:solidFill>
              </a:defRPr>
            </a:lvl1pPr>
          </a:lstStyle>
          <a:p>
            <a:r>
              <a:rPr lang="en-US" dirty="0"/>
              <a:t>Click to add key statement</a:t>
            </a:r>
          </a:p>
        </p:txBody>
      </p:sp>
      <p:sp>
        <p:nvSpPr>
          <p:cNvPr id="3" name="Date Placeholder 2">
            <a:extLst>
              <a:ext uri="{FF2B5EF4-FFF2-40B4-BE49-F238E27FC236}">
                <a16:creationId xmlns:a16="http://schemas.microsoft.com/office/drawing/2014/main" id="{BA8931D2-AD7B-454A-86A6-EA48B20C0CCA}"/>
              </a:ext>
            </a:extLst>
          </p:cNvPr>
          <p:cNvSpPr>
            <a:spLocks noGrp="1"/>
          </p:cNvSpPr>
          <p:nvPr>
            <p:ph type="dt" sz="half" idx="10"/>
          </p:nvPr>
        </p:nvSpPr>
        <p:spPr/>
        <p:txBody>
          <a:bodyPr/>
          <a:lstStyle>
            <a:lvl1pPr>
              <a:lnSpc>
                <a:spcPct val="100000"/>
              </a:lnSpc>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5C0FD97D-3F39-4649-B10A-ECD97F370F22}"/>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spTree>
    <p:custDataLst>
      <p:tags r:id="rId1"/>
    </p:custDataLst>
    <p:extLst>
      <p:ext uri="{BB962C8B-B14F-4D97-AF65-F5344CB8AC3E}">
        <p14:creationId xmlns:p14="http://schemas.microsoft.com/office/powerpoint/2010/main" val="1629052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p:txBody>
          <a:bodyPr/>
          <a:lstStyle>
            <a:lvl1pPr>
              <a:lnSpc>
                <a:spcPct val="100000"/>
              </a:lnSpc>
              <a:defRPr/>
            </a:lvl1pPr>
          </a:lstStyle>
          <a:p>
            <a:endParaRPr lang="en-GB" dirty="0"/>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dirty="0"/>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9" y="6200776"/>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0274082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55">
          <p15:clr>
            <a:srgbClr val="A4A3A4"/>
          </p15:clr>
        </p15:guide>
        <p15:guide id="2" pos="1951">
          <p15:clr>
            <a:srgbClr val="A4A3A4"/>
          </p15:clr>
        </p15:guide>
        <p15:guide id="3" pos="3464">
          <p15:clr>
            <a:srgbClr val="A4A3A4"/>
          </p15:clr>
        </p15:guide>
        <p15:guide id="4" pos="3559">
          <p15:clr>
            <a:srgbClr val="A4A3A4"/>
          </p15:clr>
        </p15:guide>
        <p15:guide id="5" pos="5072">
          <p15:clr>
            <a:srgbClr val="A4A3A4"/>
          </p15:clr>
        </p15:guide>
        <p15:guide id="6" pos="5168">
          <p15:clr>
            <a:srgbClr val="A4A3A4"/>
          </p15:clr>
        </p15:guide>
        <p15:guide id="7" pos="6679">
          <p15:clr>
            <a:srgbClr val="A4A3A4"/>
          </p15:clr>
        </p15:guide>
        <p15:guide id="8" pos="6776">
          <p15:clr>
            <a:srgbClr val="A4A3A4"/>
          </p15:clr>
        </p15:guide>
        <p15:guide id="9" pos="8287">
          <p15:clr>
            <a:srgbClr val="A4A3A4"/>
          </p15:clr>
        </p15:guide>
        <p15:guide id="10" pos="8384">
          <p15:clr>
            <a:srgbClr val="A4A3A4"/>
          </p15:clr>
        </p15:guide>
        <p15:guide id="11" orient="horz" pos="1187">
          <p15:clr>
            <a:srgbClr val="C35EA4"/>
          </p15:clr>
        </p15:guide>
        <p15:guide id="12" orient="horz" pos="1308">
          <p15:clr>
            <a:srgbClr val="C35E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B03F247-4297-4973-90A3-0193475AC741}"/>
              </a:ext>
            </a:extLst>
          </p:cNvPr>
          <p:cNvSpPr>
            <a:spLocks noGrp="1"/>
          </p:cNvSpPr>
          <p:nvPr>
            <p:ph type="dt" sz="half" idx="10"/>
          </p:nvPr>
        </p:nvSpPr>
        <p:spPr/>
        <p:txBody>
          <a:bodyPr/>
          <a:lstStyle>
            <a:lvl1pPr>
              <a:lnSpc>
                <a:spcPct val="100000"/>
              </a:lnSpc>
              <a:defRPr/>
            </a:lvl1pPr>
          </a:lstStyle>
          <a:p>
            <a:endParaRPr lang="en-GB"/>
          </a:p>
        </p:txBody>
      </p:sp>
      <p:sp>
        <p:nvSpPr>
          <p:cNvPr id="11" name="Slide Number Placeholder 10">
            <a:extLst>
              <a:ext uri="{FF2B5EF4-FFF2-40B4-BE49-F238E27FC236}">
                <a16:creationId xmlns:a16="http://schemas.microsoft.com/office/drawing/2014/main" id="{E358DA9E-BDF5-4DC7-B478-434301DA6253}"/>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07989" y="6200776"/>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008368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onfidentiality Notic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48B27A-10B7-4200-88E7-16263562F97B}"/>
              </a:ext>
            </a:extLst>
          </p:cNvPr>
          <p:cNvSpPr txBox="1"/>
          <p:nvPr userDrawn="1"/>
        </p:nvSpPr>
        <p:spPr>
          <a:xfrm>
            <a:off x="419101" y="4864101"/>
            <a:ext cx="9156700" cy="1028700"/>
          </a:xfrm>
          <a:prstGeom prst="rect">
            <a:avLst/>
          </a:prstGeom>
          <a:noFill/>
        </p:spPr>
        <p:txBody>
          <a:bodyPr wrap="square" rtlCol="0">
            <a:noAutofit/>
          </a:bodyPr>
          <a:lstStyle/>
          <a:p>
            <a:pPr marL="12700">
              <a:lnSpc>
                <a:spcPct val="100000"/>
              </a:lnSpc>
              <a:spcBef>
                <a:spcPts val="100"/>
              </a:spcBef>
            </a:pPr>
            <a:r>
              <a:rPr lang="en-US" sz="1200" b="1" spc="-5">
                <a:solidFill>
                  <a:schemeClr val="tx1"/>
                </a:solidFill>
                <a:latin typeface="+mn-lt"/>
                <a:cs typeface="Arial"/>
              </a:rPr>
              <a:t>Confidentiality</a:t>
            </a:r>
            <a:r>
              <a:rPr lang="en-US" sz="1200" b="1" spc="-11">
                <a:solidFill>
                  <a:schemeClr val="tx1"/>
                </a:solidFill>
                <a:latin typeface="+mn-lt"/>
                <a:cs typeface="Arial"/>
              </a:rPr>
              <a:t> </a:t>
            </a:r>
            <a:r>
              <a:rPr lang="en-US" sz="1200" b="1" spc="-5">
                <a:solidFill>
                  <a:schemeClr val="tx1"/>
                </a:solidFill>
                <a:latin typeface="+mn-lt"/>
                <a:cs typeface="Arial"/>
              </a:rPr>
              <a:t>Notice</a:t>
            </a:r>
            <a:endParaRPr lang="en-US" sz="1200">
              <a:solidFill>
                <a:schemeClr val="tx1"/>
              </a:solidFill>
              <a:latin typeface="+mn-lt"/>
              <a:cs typeface="Arial"/>
            </a:endParaRPr>
          </a:p>
          <a:p>
            <a:pPr marL="26670" marR="5080">
              <a:lnSpc>
                <a:spcPct val="100000"/>
              </a:lnSpc>
              <a:spcBef>
                <a:spcPts val="780"/>
              </a:spcBef>
            </a:pPr>
            <a:r>
              <a:rPr lang="en-US" sz="1200" spc="5">
                <a:solidFill>
                  <a:schemeClr val="tx1"/>
                </a:solidFill>
                <a:latin typeface="+mn-lt"/>
                <a:cs typeface="Arial"/>
              </a:rPr>
              <a:t>This </a:t>
            </a:r>
            <a:r>
              <a:rPr lang="en-US" sz="1200">
                <a:solidFill>
                  <a:schemeClr val="tx1"/>
                </a:solidFill>
                <a:latin typeface="+mn-lt"/>
                <a:cs typeface="Arial"/>
              </a:rPr>
              <a:t>file is </a:t>
            </a:r>
            <a:r>
              <a:rPr lang="en-US" sz="1200" spc="5">
                <a:solidFill>
                  <a:schemeClr val="tx1"/>
                </a:solidFill>
                <a:latin typeface="+mn-lt"/>
                <a:cs typeface="Arial"/>
              </a:rPr>
              <a:t>private </a:t>
            </a:r>
            <a:r>
              <a:rPr lang="en-US" sz="1200" spc="11">
                <a:solidFill>
                  <a:schemeClr val="tx1"/>
                </a:solidFill>
                <a:latin typeface="+mn-lt"/>
                <a:cs typeface="Arial"/>
              </a:rPr>
              <a:t>and may contain confidential and proprietary information. </a:t>
            </a:r>
            <a:r>
              <a:rPr lang="en-US" sz="1200">
                <a:solidFill>
                  <a:schemeClr val="tx1"/>
                </a:solidFill>
                <a:latin typeface="+mn-lt"/>
                <a:cs typeface="Arial"/>
              </a:rPr>
              <a:t>If </a:t>
            </a:r>
            <a:r>
              <a:rPr lang="en-US" sz="1200" spc="11">
                <a:solidFill>
                  <a:schemeClr val="tx1"/>
                </a:solidFill>
                <a:latin typeface="+mn-lt"/>
                <a:cs typeface="Arial"/>
              </a:rPr>
              <a:t>you have received </a:t>
            </a:r>
            <a:r>
              <a:rPr lang="en-US" sz="1200" spc="5">
                <a:solidFill>
                  <a:schemeClr val="tx1"/>
                </a:solidFill>
                <a:latin typeface="+mn-lt"/>
                <a:cs typeface="Arial"/>
              </a:rPr>
              <a:t>this </a:t>
            </a:r>
            <a:r>
              <a:rPr lang="en-US" sz="1200">
                <a:solidFill>
                  <a:schemeClr val="tx1"/>
                </a:solidFill>
                <a:latin typeface="+mn-lt"/>
                <a:cs typeface="Arial"/>
              </a:rPr>
              <a:t>file in </a:t>
            </a:r>
            <a:r>
              <a:rPr lang="en-US" sz="1200" spc="11">
                <a:solidFill>
                  <a:schemeClr val="tx1"/>
                </a:solidFill>
                <a:latin typeface="+mn-lt"/>
                <a:cs typeface="Arial"/>
              </a:rPr>
              <a:t>error, please </a:t>
            </a:r>
            <a:r>
              <a:rPr lang="en-US" sz="1200" spc="5">
                <a:solidFill>
                  <a:schemeClr val="tx1"/>
                </a:solidFill>
                <a:latin typeface="+mn-lt"/>
                <a:cs typeface="Arial"/>
              </a:rPr>
              <a:t>notify us </a:t>
            </a:r>
            <a:r>
              <a:rPr lang="en-US" sz="1200" spc="11">
                <a:solidFill>
                  <a:schemeClr val="tx1"/>
                </a:solidFill>
                <a:latin typeface="+mn-lt"/>
                <a:cs typeface="Arial"/>
              </a:rPr>
              <a:t>and remove  </a:t>
            </a:r>
            <a:r>
              <a:rPr lang="en-US" sz="1200">
                <a:solidFill>
                  <a:schemeClr val="tx1"/>
                </a:solidFill>
                <a:latin typeface="+mn-lt"/>
                <a:cs typeface="Arial"/>
              </a:rPr>
              <a:t>it </a:t>
            </a:r>
            <a:r>
              <a:rPr lang="en-US" sz="1200" spc="5">
                <a:solidFill>
                  <a:schemeClr val="tx1"/>
                </a:solidFill>
                <a:latin typeface="+mn-lt"/>
                <a:cs typeface="Arial"/>
              </a:rPr>
              <a:t>from </a:t>
            </a:r>
            <a:r>
              <a:rPr lang="en-US" sz="1200" spc="11">
                <a:solidFill>
                  <a:schemeClr val="tx1"/>
                </a:solidFill>
                <a:latin typeface="+mn-lt"/>
                <a:cs typeface="Arial"/>
              </a:rPr>
              <a:t>your system and </a:t>
            </a:r>
            <a:r>
              <a:rPr lang="en-US" sz="1200" spc="5">
                <a:solidFill>
                  <a:schemeClr val="tx1"/>
                </a:solidFill>
                <a:latin typeface="+mn-lt"/>
                <a:cs typeface="Arial"/>
              </a:rPr>
              <a:t>note that </a:t>
            </a:r>
            <a:r>
              <a:rPr lang="en-US" sz="1200" spc="11">
                <a:solidFill>
                  <a:schemeClr val="tx1"/>
                </a:solidFill>
                <a:latin typeface="+mn-lt"/>
                <a:cs typeface="Arial"/>
              </a:rPr>
              <a:t>you must not copy, </a:t>
            </a:r>
            <a:r>
              <a:rPr lang="en-US" sz="1200" spc="5">
                <a:solidFill>
                  <a:schemeClr val="tx1"/>
                </a:solidFill>
                <a:latin typeface="+mn-lt"/>
                <a:cs typeface="Arial"/>
              </a:rPr>
              <a:t>distribute or take </a:t>
            </a:r>
            <a:r>
              <a:rPr lang="en-US" sz="1200" spc="11">
                <a:solidFill>
                  <a:schemeClr val="tx1"/>
                </a:solidFill>
                <a:latin typeface="+mn-lt"/>
                <a:cs typeface="Arial"/>
              </a:rPr>
              <a:t>any </a:t>
            </a:r>
            <a:r>
              <a:rPr lang="en-US" sz="1200" spc="5">
                <a:solidFill>
                  <a:schemeClr val="tx1"/>
                </a:solidFill>
                <a:latin typeface="+mn-lt"/>
                <a:cs typeface="Arial"/>
              </a:rPr>
              <a:t>action </a:t>
            </a:r>
            <a:r>
              <a:rPr lang="en-US" sz="1200">
                <a:solidFill>
                  <a:schemeClr val="tx1"/>
                </a:solidFill>
                <a:latin typeface="+mn-lt"/>
                <a:cs typeface="Arial"/>
              </a:rPr>
              <a:t>in </a:t>
            </a:r>
            <a:r>
              <a:rPr lang="en-US" sz="1200" spc="11">
                <a:solidFill>
                  <a:schemeClr val="tx1"/>
                </a:solidFill>
                <a:latin typeface="+mn-lt"/>
                <a:cs typeface="Arial"/>
              </a:rPr>
              <a:t>reliance </a:t>
            </a:r>
            <a:r>
              <a:rPr lang="en-US" sz="1200" spc="5">
                <a:solidFill>
                  <a:schemeClr val="tx1"/>
                </a:solidFill>
                <a:latin typeface="+mn-lt"/>
                <a:cs typeface="Arial"/>
              </a:rPr>
              <a:t>on </a:t>
            </a:r>
            <a:r>
              <a:rPr lang="en-US" sz="1200">
                <a:solidFill>
                  <a:schemeClr val="tx1"/>
                </a:solidFill>
                <a:latin typeface="+mn-lt"/>
                <a:cs typeface="Arial"/>
              </a:rPr>
              <a:t>it. </a:t>
            </a:r>
            <a:r>
              <a:rPr lang="en-US" sz="1200" spc="11">
                <a:solidFill>
                  <a:schemeClr val="tx1"/>
                </a:solidFill>
                <a:latin typeface="+mn-lt"/>
                <a:cs typeface="Arial"/>
              </a:rPr>
              <a:t>Any unauthorized use </a:t>
            </a:r>
            <a:r>
              <a:rPr lang="en-US" sz="1200" spc="5">
                <a:solidFill>
                  <a:schemeClr val="tx1"/>
                </a:solidFill>
                <a:latin typeface="+mn-lt"/>
                <a:cs typeface="Arial"/>
              </a:rPr>
              <a:t>or </a:t>
            </a:r>
            <a:r>
              <a:rPr lang="en-US" sz="1200" spc="11">
                <a:solidFill>
                  <a:schemeClr val="tx1"/>
                </a:solidFill>
                <a:latin typeface="+mn-lt"/>
                <a:cs typeface="Arial"/>
              </a:rPr>
              <a:t>disclosure </a:t>
            </a:r>
            <a:r>
              <a:rPr lang="en-US" sz="1200" spc="5">
                <a:solidFill>
                  <a:schemeClr val="tx1"/>
                </a:solidFill>
                <a:latin typeface="+mn-lt"/>
                <a:cs typeface="Arial"/>
              </a:rPr>
              <a:t>of the  </a:t>
            </a:r>
            <a:r>
              <a:rPr lang="en-US" sz="1200" spc="11">
                <a:solidFill>
                  <a:schemeClr val="tx1"/>
                </a:solidFill>
                <a:latin typeface="+mn-lt"/>
                <a:cs typeface="Arial"/>
              </a:rPr>
              <a:t>contents </a:t>
            </a:r>
            <a:r>
              <a:rPr lang="en-US" sz="1200" spc="5">
                <a:solidFill>
                  <a:schemeClr val="tx1"/>
                </a:solidFill>
                <a:latin typeface="+mn-lt"/>
                <a:cs typeface="Arial"/>
              </a:rPr>
              <a:t>of this </a:t>
            </a:r>
            <a:r>
              <a:rPr lang="en-US" sz="1200">
                <a:solidFill>
                  <a:schemeClr val="tx1"/>
                </a:solidFill>
                <a:latin typeface="+mn-lt"/>
                <a:cs typeface="Arial"/>
              </a:rPr>
              <a:t>file is </a:t>
            </a:r>
            <a:r>
              <a:rPr lang="en-US" sz="1200" spc="11">
                <a:solidFill>
                  <a:schemeClr val="tx1"/>
                </a:solidFill>
                <a:latin typeface="+mn-lt"/>
                <a:cs typeface="Arial"/>
              </a:rPr>
              <a:t>not permitted and may </a:t>
            </a:r>
            <a:r>
              <a:rPr lang="en-US" sz="1200" spc="5">
                <a:solidFill>
                  <a:schemeClr val="tx1"/>
                </a:solidFill>
                <a:latin typeface="+mn-lt"/>
                <a:cs typeface="Arial"/>
              </a:rPr>
              <a:t>be </a:t>
            </a:r>
            <a:r>
              <a:rPr lang="en-US" sz="1200" spc="11">
                <a:solidFill>
                  <a:schemeClr val="tx1"/>
                </a:solidFill>
                <a:latin typeface="+mn-lt"/>
                <a:cs typeface="Arial"/>
              </a:rPr>
              <a:t>unlawful. AstraZeneca PLC, </a:t>
            </a:r>
            <a:r>
              <a:rPr lang="en-US" sz="1200">
                <a:solidFill>
                  <a:schemeClr val="tx1"/>
                </a:solidFill>
                <a:latin typeface="+mn-lt"/>
                <a:cs typeface="Arial"/>
              </a:rPr>
              <a:t>1 </a:t>
            </a:r>
            <a:r>
              <a:rPr lang="en-US" sz="1200" spc="11">
                <a:solidFill>
                  <a:schemeClr val="tx1"/>
                </a:solidFill>
                <a:latin typeface="+mn-lt"/>
                <a:cs typeface="Arial"/>
              </a:rPr>
              <a:t>Francis Crick Avenue, Cambridge Biomedical </a:t>
            </a:r>
            <a:r>
              <a:rPr lang="en-US" sz="1200" spc="15">
                <a:solidFill>
                  <a:schemeClr val="tx1"/>
                </a:solidFill>
                <a:latin typeface="+mn-lt"/>
                <a:cs typeface="Arial"/>
              </a:rPr>
              <a:t>Campus,  </a:t>
            </a:r>
            <a:r>
              <a:rPr lang="en-US" sz="1200" spc="11">
                <a:solidFill>
                  <a:schemeClr val="tx1"/>
                </a:solidFill>
                <a:latin typeface="+mn-lt"/>
                <a:cs typeface="Arial"/>
              </a:rPr>
              <a:t>Cambridge, CB2 0AA, UK, </a:t>
            </a:r>
            <a:r>
              <a:rPr lang="en-US" sz="1200" spc="5">
                <a:solidFill>
                  <a:schemeClr val="tx1"/>
                </a:solidFill>
                <a:latin typeface="+mn-lt"/>
                <a:cs typeface="Arial"/>
              </a:rPr>
              <a:t>T: </a:t>
            </a:r>
            <a:r>
              <a:rPr lang="en-US" sz="1200" spc="11">
                <a:solidFill>
                  <a:schemeClr val="tx1"/>
                </a:solidFill>
                <a:latin typeface="+mn-lt"/>
                <a:cs typeface="Arial"/>
              </a:rPr>
              <a:t>+44(0)203 749 5000,</a:t>
            </a:r>
            <a:r>
              <a:rPr lang="en-US" sz="1200" spc="85">
                <a:solidFill>
                  <a:schemeClr val="tx1"/>
                </a:solidFill>
                <a:latin typeface="+mn-lt"/>
                <a:cs typeface="Arial"/>
              </a:rPr>
              <a:t> </a:t>
            </a:r>
            <a:r>
              <a:rPr lang="en-US" sz="1200" u="none" spc="11">
                <a:solidFill>
                  <a:schemeClr val="tx1"/>
                </a:solidFill>
                <a:latin typeface="+mn-lt"/>
                <a:cs typeface="Arial"/>
              </a:rPr>
              <a:t>www.astrazeneca.com</a:t>
            </a:r>
            <a:endParaRPr lang="en-US" sz="1200">
              <a:solidFill>
                <a:schemeClr val="tx1"/>
              </a:solidFill>
            </a:endParaRPr>
          </a:p>
        </p:txBody>
      </p:sp>
      <p:sp>
        <p:nvSpPr>
          <p:cNvPr id="4" name="Date Placeholder 3">
            <a:extLst>
              <a:ext uri="{FF2B5EF4-FFF2-40B4-BE49-F238E27FC236}">
                <a16:creationId xmlns:a16="http://schemas.microsoft.com/office/drawing/2014/main" id="{2AB750B5-01B2-430D-BF92-6E5CD93388D3}"/>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id="{25C10CA0-7F28-40CE-9633-59C6800E7665}"/>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Tree>
    <p:custDataLst>
      <p:tags r:id="rId1"/>
    </p:custDataLst>
    <p:extLst>
      <p:ext uri="{BB962C8B-B14F-4D97-AF65-F5344CB8AC3E}">
        <p14:creationId xmlns:p14="http://schemas.microsoft.com/office/powerpoint/2010/main" val="41009476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5"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90000"/>
              </a:lnSpc>
            </a:pPr>
            <a:r>
              <a:rPr lang="en-US" sz="9600" dirty="0"/>
              <a:t>Do not use layouts</a:t>
            </a:r>
            <a:br>
              <a:rPr lang="en-US" sz="9600" dirty="0"/>
            </a:br>
            <a:r>
              <a:rPr lang="en-US" sz="9600" dirty="0"/>
              <a:t>in this section appearing after this point. </a:t>
            </a:r>
          </a:p>
        </p:txBody>
      </p:sp>
      <p:sp>
        <p:nvSpPr>
          <p:cNvPr id="4" name="DO NOT DELETE (BRANDIN)">
            <a:extLst>
              <a:ext uri="{FF2B5EF4-FFF2-40B4-BE49-F238E27FC236}">
                <a16:creationId xmlns:a16="http://schemas.microsoft.com/office/drawing/2014/main" id="{69877D48-052F-814D-ACE8-304F09202645}"/>
              </a:ext>
            </a:extLst>
          </p:cNvPr>
          <p:cNvSpPr/>
          <p:nvPr userDrawn="1"/>
        </p:nvSpPr>
        <p:spPr>
          <a:xfrm>
            <a:off x="152400" y="15240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120000"/>
              </a:lnSpc>
              <a:spcAft>
                <a:spcPts val="600"/>
              </a:spcAft>
            </a:pPr>
            <a:endParaRPr lang="en-US" sz="1800" dirty="0" err="1"/>
          </a:p>
        </p:txBody>
      </p:sp>
    </p:spTree>
    <p:custDataLst>
      <p:custData r:id="rId1"/>
      <p:tags r:id="rId2"/>
    </p:custDataLst>
    <p:extLst>
      <p:ext uri="{BB962C8B-B14F-4D97-AF65-F5344CB8AC3E}">
        <p14:creationId xmlns:p14="http://schemas.microsoft.com/office/powerpoint/2010/main" val="32290507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345CE3C-4855-AB42-8878-CA4D952BE4D7}" type="datetimeFigureOut">
              <a:rPr lang="en-US" smtClean="0"/>
              <a:t>4/1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31D9AD-9C59-E949-A677-B00AA5613CE9}" type="slidenum">
              <a:rPr lang="en-US" smtClean="0"/>
              <a:t>‹#›</a:t>
            </a:fld>
            <a:endParaRPr lang="en-US"/>
          </a:p>
        </p:txBody>
      </p:sp>
    </p:spTree>
    <p:extLst>
      <p:ext uri="{BB962C8B-B14F-4D97-AF65-F5344CB8AC3E}">
        <p14:creationId xmlns:p14="http://schemas.microsoft.com/office/powerpoint/2010/main" val="78120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woObj">
  <p:cSld name="Dos contenid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4B9105-A356-3043-A04D-A8EAE8F8717D}"/>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8C5A150B-5466-0149-A195-0661320D3F23}"/>
              </a:ext>
            </a:extLst>
          </p:cNvPr>
          <p:cNvSpPr>
            <a:spLocks noGrp="1"/>
          </p:cNvSpPr>
          <p:nvPr>
            <p:ph sz="half" idx="1"/>
          </p:nvPr>
        </p:nvSpPr>
        <p:spPr>
          <a:xfrm>
            <a:off x="838200" y="1825625"/>
            <a:ext cx="5181600" cy="4351339"/>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5E919A09-85E6-E448-9EEF-71EE87BCCF91}"/>
              </a:ext>
            </a:extLst>
          </p:cNvPr>
          <p:cNvSpPr>
            <a:spLocks noGrp="1"/>
          </p:cNvSpPr>
          <p:nvPr>
            <p:ph sz="half" idx="2"/>
          </p:nvPr>
        </p:nvSpPr>
        <p:spPr>
          <a:xfrm>
            <a:off x="6172200" y="1825625"/>
            <a:ext cx="5181600" cy="4351339"/>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posición de fecha 4">
            <a:extLst>
              <a:ext uri="{FF2B5EF4-FFF2-40B4-BE49-F238E27FC236}">
                <a16:creationId xmlns:a16="http://schemas.microsoft.com/office/drawing/2014/main" id="{64F7E115-5E04-E343-9C60-07E44136E42F}"/>
              </a:ext>
            </a:extLst>
          </p:cNvPr>
          <p:cNvSpPr>
            <a:spLocks noGrp="1"/>
          </p:cNvSpPr>
          <p:nvPr>
            <p:ph type="dt" sz="half" idx="10"/>
          </p:nvPr>
        </p:nvSpPr>
        <p:spPr/>
        <p:txBody>
          <a:bodyPr/>
          <a:lstStyle/>
          <a:p>
            <a:fld id="{6465687F-4B19-7F42-91D9-5979BBCE6F7A}" type="datetimeFigureOut">
              <a:rPr lang="es-ES" smtClean="0"/>
              <a:t>12/4/26</a:t>
            </a:fld>
            <a:endParaRPr lang="es-ES"/>
          </a:p>
        </p:txBody>
      </p:sp>
      <p:sp>
        <p:nvSpPr>
          <p:cNvPr id="6" name="Marcador de posición de pie de página 5">
            <a:extLst>
              <a:ext uri="{FF2B5EF4-FFF2-40B4-BE49-F238E27FC236}">
                <a16:creationId xmlns:a16="http://schemas.microsoft.com/office/drawing/2014/main" id="{E5F7B6D9-3992-5747-AE00-96C674BE50A8}"/>
              </a:ext>
            </a:extLst>
          </p:cNvPr>
          <p:cNvSpPr>
            <a:spLocks noGrp="1"/>
          </p:cNvSpPr>
          <p:nvPr>
            <p:ph type="ftr" sz="quarter" idx="11"/>
          </p:nvPr>
        </p:nvSpPr>
        <p:spPr/>
        <p:txBody>
          <a:bodyPr/>
          <a:lstStyle/>
          <a:p>
            <a:endParaRPr lang="es-ES"/>
          </a:p>
        </p:txBody>
      </p:sp>
      <p:sp>
        <p:nvSpPr>
          <p:cNvPr id="7" name="Marcador de posición de número de diapositiva 6">
            <a:extLst>
              <a:ext uri="{FF2B5EF4-FFF2-40B4-BE49-F238E27FC236}">
                <a16:creationId xmlns:a16="http://schemas.microsoft.com/office/drawing/2014/main" id="{A3B26273-28AE-8A43-AF0E-4864D813C75E}"/>
              </a:ext>
            </a:extLst>
          </p:cNvPr>
          <p:cNvSpPr>
            <a:spLocks noGrp="1"/>
          </p:cNvSpPr>
          <p:nvPr>
            <p:ph type="sldNum" sz="quarter" idx="12"/>
          </p:nvPr>
        </p:nvSpPr>
        <p:spPr/>
        <p:txBody>
          <a:bodyPr/>
          <a:lstStyle/>
          <a:p>
            <a:fld id="{5C982749-846C-1741-B0C0-9005FC90850F}" type="slidenum">
              <a:rPr lang="es-ES" smtClean="0"/>
              <a:t>‹#›</a:t>
            </a:fld>
            <a:endParaRPr lang="es-ES"/>
          </a:p>
        </p:txBody>
      </p:sp>
    </p:spTree>
    <p:extLst>
      <p:ext uri="{BB962C8B-B14F-4D97-AF65-F5344CB8AC3E}">
        <p14:creationId xmlns:p14="http://schemas.microsoft.com/office/powerpoint/2010/main" val="2723589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userDrawn="1">
  <p:cSld name="General Content">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551FB21A-0E6D-4C3A-92F2-1A4C404F796E}"/>
              </a:ext>
            </a:extLst>
          </p:cNvPr>
          <p:cNvSpPr>
            <a:spLocks noGrp="1"/>
          </p:cNvSpPr>
          <p:nvPr>
            <p:ph type="body" sz="quarter" idx="10" hasCustomPrompt="1"/>
          </p:nvPr>
        </p:nvSpPr>
        <p:spPr>
          <a:xfrm>
            <a:off x="432825" y="452671"/>
            <a:ext cx="8021219" cy="960109"/>
          </a:xfrm>
          <a:prstGeom prst="rect">
            <a:avLst/>
          </a:prstGeom>
        </p:spPr>
        <p:txBody>
          <a:bodyPr/>
          <a:lstStyle>
            <a:lvl1pPr marL="0" indent="0">
              <a:lnSpc>
                <a:spcPts val="3333"/>
              </a:lnSpc>
              <a:spcBef>
                <a:spcPts val="0"/>
              </a:spcBef>
              <a:buNone/>
              <a:defRPr sz="3467" b="0">
                <a:solidFill>
                  <a:srgbClr val="C1002A"/>
                </a:solidFill>
                <a:latin typeface="+mj-lt"/>
              </a:defRPr>
            </a:lvl1pPr>
            <a:lvl2pPr marL="355582" indent="0">
              <a:buNone/>
              <a:defRPr/>
            </a:lvl2pPr>
            <a:lvl3pPr marL="709048" indent="0">
              <a:buNone/>
              <a:defRPr/>
            </a:lvl3pPr>
            <a:lvl4pPr marL="1079446" indent="0">
              <a:buNone/>
              <a:defRPr/>
            </a:lvl4pPr>
            <a:lvl5pPr marL="1435028" indent="0">
              <a:buNone/>
              <a:defRPr/>
            </a:lvl5pPr>
          </a:lstStyle>
          <a:p>
            <a:pPr lvl="0"/>
            <a:r>
              <a:rPr lang="en-US" dirty="0"/>
              <a:t>First line</a:t>
            </a:r>
            <a:r>
              <a:rPr lang="cs-CZ" dirty="0"/>
              <a:t> o</a:t>
            </a:r>
            <a:r>
              <a:rPr lang="en-US" dirty="0"/>
              <a:t>f the headline</a:t>
            </a:r>
          </a:p>
        </p:txBody>
      </p:sp>
      <p:sp>
        <p:nvSpPr>
          <p:cNvPr id="13" name="Espace réservé du contenu 12">
            <a:extLst>
              <a:ext uri="{FF2B5EF4-FFF2-40B4-BE49-F238E27FC236}">
                <a16:creationId xmlns:a16="http://schemas.microsoft.com/office/drawing/2014/main" id="{861B12CF-C574-4831-92D6-4B1240FED72B}"/>
              </a:ext>
            </a:extLst>
          </p:cNvPr>
          <p:cNvSpPr>
            <a:spLocks noGrp="1"/>
          </p:cNvSpPr>
          <p:nvPr>
            <p:ph sz="quarter" idx="11" hasCustomPrompt="1"/>
          </p:nvPr>
        </p:nvSpPr>
        <p:spPr>
          <a:xfrm>
            <a:off x="431801" y="1604435"/>
            <a:ext cx="10368723" cy="4129617"/>
          </a:xfrm>
          <a:prstGeom prst="rect">
            <a:avLst/>
          </a:prstGeom>
        </p:spPr>
        <p:txBody>
          <a:bodyPr/>
          <a:lstStyle>
            <a:lvl1pPr marL="0" indent="0">
              <a:buNone/>
              <a:defRPr sz="1600">
                <a:solidFill>
                  <a:schemeClr val="tx1">
                    <a:lumMod val="65000"/>
                    <a:lumOff val="35000"/>
                  </a:schemeClr>
                </a:solidFill>
                <a:latin typeface="Verdana Pro" panose="020B0604030504040204" pitchFamily="34" charset="0"/>
              </a:defRPr>
            </a:lvl1pPr>
            <a:lvl2pPr marL="355582" indent="0">
              <a:buNone/>
              <a:defRPr sz="1600">
                <a:solidFill>
                  <a:schemeClr val="tx1">
                    <a:lumMod val="95000"/>
                    <a:lumOff val="5000"/>
                  </a:schemeClr>
                </a:solidFill>
                <a:latin typeface="+mj-lt"/>
              </a:defRPr>
            </a:lvl2pPr>
            <a:lvl3pPr marL="709048" indent="0">
              <a:buNone/>
              <a:defRPr sz="1600">
                <a:solidFill>
                  <a:schemeClr val="tx1">
                    <a:lumMod val="95000"/>
                    <a:lumOff val="5000"/>
                  </a:schemeClr>
                </a:solidFill>
                <a:latin typeface="+mj-lt"/>
              </a:defRPr>
            </a:lvl3pPr>
            <a:lvl4pPr marL="1079446" indent="0">
              <a:buNone/>
              <a:defRPr sz="1600">
                <a:solidFill>
                  <a:schemeClr val="tx1">
                    <a:lumMod val="95000"/>
                    <a:lumOff val="5000"/>
                  </a:schemeClr>
                </a:solidFill>
                <a:latin typeface="+mj-lt"/>
              </a:defRPr>
            </a:lvl4pPr>
            <a:lvl5pPr marL="1435028" indent="0">
              <a:buNone/>
              <a:defRPr sz="1600">
                <a:solidFill>
                  <a:schemeClr val="tx1">
                    <a:lumMod val="95000"/>
                    <a:lumOff val="5000"/>
                  </a:schemeClr>
                </a:solidFill>
                <a:latin typeface="+mj-lt"/>
              </a:defRPr>
            </a:lvl5pPr>
          </a:lstStyle>
          <a:p>
            <a:pPr lvl="0"/>
            <a:r>
              <a:rPr lang="cs-CZ" dirty="0" err="1"/>
              <a:t>Content</a:t>
            </a:r>
            <a:endParaRPr lang="fr-FR" dirty="0"/>
          </a:p>
        </p:txBody>
      </p:sp>
      <p:pic>
        <p:nvPicPr>
          <p:cNvPr id="5" name="Picture 4" descr="Text&#10;&#10;Description automatically generated with medium confidence">
            <a:extLst>
              <a:ext uri="{FF2B5EF4-FFF2-40B4-BE49-F238E27FC236}">
                <a16:creationId xmlns:a16="http://schemas.microsoft.com/office/drawing/2014/main" id="{695B8D64-2182-F37F-CD9E-7F8BDF3B9D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876199" y="5915768"/>
            <a:ext cx="2663133" cy="492517"/>
          </a:xfrm>
          <a:prstGeom prst="rect">
            <a:avLst/>
          </a:prstGeom>
        </p:spPr>
      </p:pic>
      <p:pic>
        <p:nvPicPr>
          <p:cNvPr id="4" name="Picture 3" descr="Text&#10;&#10;Description automatically generated">
            <a:extLst>
              <a:ext uri="{FF2B5EF4-FFF2-40B4-BE49-F238E27FC236}">
                <a16:creationId xmlns:a16="http://schemas.microsoft.com/office/drawing/2014/main" id="{532B0D02-2D37-B625-37A0-B7A51A5A269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876199" y="5890941"/>
            <a:ext cx="2802283" cy="517345"/>
          </a:xfrm>
          <a:prstGeom prst="rect">
            <a:avLst/>
          </a:prstGeom>
        </p:spPr>
      </p:pic>
    </p:spTree>
    <p:extLst>
      <p:ext uri="{BB962C8B-B14F-4D97-AF65-F5344CB8AC3E}">
        <p14:creationId xmlns:p14="http://schemas.microsoft.com/office/powerpoint/2010/main" val="23696812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DCC3B-CA12-4A4B-B5F5-D2062F3C58EC}"/>
              </a:ext>
            </a:extLst>
          </p:cNvPr>
          <p:cNvSpPr>
            <a:spLocks noGrp="1"/>
          </p:cNvSpPr>
          <p:nvPr>
            <p:ph type="title" hasCustomPrompt="1"/>
          </p:nvPr>
        </p:nvSpPr>
        <p:spPr>
          <a:xfrm>
            <a:off x="407988" y="1486306"/>
            <a:ext cx="5185093" cy="2649135"/>
          </a:xfrm>
        </p:spPr>
        <p:txBody>
          <a:bodyPr anchor="b" anchorCtr="0">
            <a:normAutofit/>
          </a:bodyPr>
          <a:lstStyle>
            <a:lvl1pPr>
              <a:lnSpc>
                <a:spcPct val="100000"/>
              </a:lnSpc>
              <a:defRPr sz="4000">
                <a:solidFill>
                  <a:schemeClr val="accent1"/>
                </a:solidFill>
              </a:defRPr>
            </a:lvl1pPr>
          </a:lstStyle>
          <a:p>
            <a:r>
              <a:rPr lang="en-US" dirty="0"/>
              <a:t>Click to enter title here</a:t>
            </a:r>
          </a:p>
        </p:txBody>
      </p:sp>
      <p:sp>
        <p:nvSpPr>
          <p:cNvPr id="6" name="Picture Placeholder 12">
            <a:extLst>
              <a:ext uri="{FF2B5EF4-FFF2-40B4-BE49-F238E27FC236}">
                <a16:creationId xmlns:a16="http://schemas.microsoft.com/office/drawing/2014/main" id="{3506CBD9-0F78-454A-9842-87C2546180B8}"/>
              </a:ext>
            </a:extLst>
          </p:cNvPr>
          <p:cNvSpPr>
            <a:spLocks noGrp="1"/>
          </p:cNvSpPr>
          <p:nvPr>
            <p:ph type="pic" sz="quarter" idx="20" hasCustomPrompt="1"/>
          </p:nvPr>
        </p:nvSpPr>
        <p:spPr>
          <a:xfrm>
            <a:off x="6188477" y="0"/>
            <a:ext cx="6004761" cy="6865200"/>
          </a:xfrm>
          <a:custGeom>
            <a:avLst/>
            <a:gdLst>
              <a:gd name="connsiteX0" fmla="*/ 1547827 w 6004761"/>
              <a:gd name="connsiteY0" fmla="*/ 0 h 6864096"/>
              <a:gd name="connsiteX1" fmla="*/ 6004760 w 6004761"/>
              <a:gd name="connsiteY1" fmla="*/ 0 h 6864096"/>
              <a:gd name="connsiteX2" fmla="*/ 6004761 w 6004761"/>
              <a:gd name="connsiteY2" fmla="*/ 6864096 h 6864096"/>
              <a:gd name="connsiteX3" fmla="*/ 1554450 w 6004761"/>
              <a:gd name="connsiteY3" fmla="*/ 6864096 h 6864096"/>
              <a:gd name="connsiteX4" fmla="*/ 1379124 w 6004761"/>
              <a:gd name="connsiteY4" fmla="*/ 6702826 h 6864096"/>
              <a:gd name="connsiteX5" fmla="*/ 0 w 6004761"/>
              <a:gd name="connsiteY5" fmla="*/ 3429001 h 6864096"/>
              <a:gd name="connsiteX6" fmla="*/ 1379124 w 6004761"/>
              <a:gd name="connsiteY6" fmla="*/ 155178 h 686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4761" h="6864096">
                <a:moveTo>
                  <a:pt x="1547827" y="0"/>
                </a:moveTo>
                <a:lnTo>
                  <a:pt x="6004760" y="0"/>
                </a:lnTo>
                <a:lnTo>
                  <a:pt x="6004761" y="6864096"/>
                </a:lnTo>
                <a:lnTo>
                  <a:pt x="1554450" y="6864096"/>
                </a:lnTo>
                <a:lnTo>
                  <a:pt x="1379124" y="6702826"/>
                </a:lnTo>
                <a:cubicBezTo>
                  <a:pt x="528239" y="5871990"/>
                  <a:pt x="0" y="4712184"/>
                  <a:pt x="0" y="3429001"/>
                </a:cubicBezTo>
                <a:cubicBezTo>
                  <a:pt x="0" y="2145819"/>
                  <a:pt x="528239" y="986013"/>
                  <a:pt x="1379124" y="155178"/>
                </a:cubicBezTo>
                <a:close/>
              </a:path>
            </a:pathLst>
          </a:custGeom>
          <a:solidFill>
            <a:schemeClr val="accent1"/>
          </a:solidFill>
        </p:spPr>
        <p:txBody>
          <a:bodyPr wrap="square" tIns="429768" bIns="649224" anchor="ctr">
            <a:noAutofit/>
          </a:bodyPr>
          <a:lstStyle>
            <a:lvl1pPr marL="0" indent="0" algn="ctr">
              <a:lnSpc>
                <a:spcPct val="100000"/>
              </a:lnSpc>
              <a:spcAft>
                <a:spcPts val="0"/>
              </a:spcAft>
              <a:buNone/>
              <a:defRPr sz="1600" b="1">
                <a:solidFill>
                  <a:schemeClr val="bg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br>
              <a:rPr lang="en-US" dirty="0"/>
            </a:br>
            <a:br>
              <a:rPr lang="en-US" dirty="0"/>
            </a:b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pic>
        <p:nvPicPr>
          <p:cNvPr id="7" name="Picture 2" descr="Image result for ASTRAZENECA LOGO">
            <a:extLst>
              <a:ext uri="{FF2B5EF4-FFF2-40B4-BE49-F238E27FC236}">
                <a16:creationId xmlns:a16="http://schemas.microsoft.com/office/drawing/2014/main" id="{1ED72C3C-E918-420F-9374-6F1CBE3946F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412277" y="576768"/>
            <a:ext cx="2405987" cy="6519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id="{632E5583-912E-4EA8-8EDC-7B6B86E76274}"/>
              </a:ext>
            </a:extLst>
          </p:cNvPr>
          <p:cNvSpPr>
            <a:spLocks noGrp="1"/>
          </p:cNvSpPr>
          <p:nvPr>
            <p:ph type="body" sz="quarter" idx="21" hasCustomPrompt="1"/>
          </p:nvPr>
        </p:nvSpPr>
        <p:spPr>
          <a:xfrm>
            <a:off x="407990" y="4328934"/>
            <a:ext cx="5184775" cy="1203767"/>
          </a:xfrm>
          <a:prstGeom prst="rect">
            <a:avLst/>
          </a:prstGeom>
        </p:spPr>
        <p:txBody>
          <a:bodyPr lIns="0">
            <a:normAutofit/>
          </a:bodyPr>
          <a:lstStyle>
            <a:lvl1pPr marL="0" indent="0">
              <a:lnSpc>
                <a:spcPct val="100000"/>
              </a:lnSpc>
              <a:buNone/>
              <a:defRPr sz="2400">
                <a:solidFill>
                  <a:schemeClr val="tx1"/>
                </a:solidFill>
              </a:defRPr>
            </a:lvl1pPr>
          </a:lstStyle>
          <a:p>
            <a:pPr lvl="0"/>
            <a:r>
              <a:rPr lang="en-US" dirty="0"/>
              <a:t>Click to add subtitle / presenter name</a:t>
            </a:r>
          </a:p>
        </p:txBody>
      </p:sp>
      <p:sp>
        <p:nvSpPr>
          <p:cNvPr id="12" name="Rectangle 11">
            <a:extLst>
              <a:ext uri="{FF2B5EF4-FFF2-40B4-BE49-F238E27FC236}">
                <a16:creationId xmlns:a16="http://schemas.microsoft.com/office/drawing/2014/main" id="{06231862-37A9-4364-9D96-47810B11870D}"/>
              </a:ext>
            </a:extLst>
          </p:cNvPr>
          <p:cNvSpPr/>
          <p:nvPr userDrawn="1"/>
        </p:nvSpPr>
        <p:spPr>
          <a:xfrm>
            <a:off x="342900" y="404813"/>
            <a:ext cx="2794000" cy="920488"/>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id="{39E6A1CD-3FD6-4AD3-876A-75F060E88A2E}"/>
              </a:ext>
            </a:extLst>
          </p:cNvPr>
          <p:cNvSpPr>
            <a:spLocks noGrp="1"/>
          </p:cNvSpPr>
          <p:nvPr>
            <p:ph type="dt" sz="half" idx="26"/>
          </p:nvPr>
        </p:nvSpPr>
        <p:spPr>
          <a:xfrm>
            <a:off x="407987" y="5887669"/>
            <a:ext cx="1279359" cy="309145"/>
          </a:xfrm>
        </p:spPr>
        <p:txBody>
          <a:bodyPr lIns="0"/>
          <a:lstStyle>
            <a:lvl1pPr algn="l">
              <a:lnSpc>
                <a:spcPct val="100000"/>
              </a:lnSpc>
              <a:defRPr/>
            </a:lvl1pPr>
          </a:lstStyle>
          <a:p>
            <a:endParaRPr lang="en-GB" dirty="0"/>
          </a:p>
        </p:txBody>
      </p:sp>
      <p:sp>
        <p:nvSpPr>
          <p:cNvPr id="15" name="Freeform: Shape 14">
            <a:extLst>
              <a:ext uri="{FF2B5EF4-FFF2-40B4-BE49-F238E27FC236}">
                <a16:creationId xmlns:a16="http://schemas.microsoft.com/office/drawing/2014/main" id="{72260595-7C87-4D29-977E-EE25A0D9291A}"/>
              </a:ext>
            </a:extLst>
          </p:cNvPr>
          <p:cNvSpPr/>
          <p:nvPr userDrawn="1"/>
        </p:nvSpPr>
        <p:spPr>
          <a:xfrm>
            <a:off x="-2087954" y="1"/>
            <a:ext cx="2064161" cy="6858000"/>
          </a:xfrm>
          <a:custGeom>
            <a:avLst/>
            <a:gdLst>
              <a:gd name="connsiteX0" fmla="*/ 0 w 2064161"/>
              <a:gd name="connsiteY0" fmla="*/ 0 h 6858000"/>
              <a:gd name="connsiteX1" fmla="*/ 2002971 w 2064161"/>
              <a:gd name="connsiteY1" fmla="*/ 0 h 6858000"/>
              <a:gd name="connsiteX2" fmla="*/ 2002971 w 2064161"/>
              <a:gd name="connsiteY2" fmla="*/ 6447122 h 6858000"/>
              <a:gd name="connsiteX3" fmla="*/ 2064161 w 2064161"/>
              <a:gd name="connsiteY3" fmla="*/ 6538118 h 6858000"/>
              <a:gd name="connsiteX4" fmla="*/ 2002971 w 2064161"/>
              <a:gd name="connsiteY4" fmla="*/ 6629114 h 6858000"/>
              <a:gd name="connsiteX5" fmla="*/ 2002971 w 2064161"/>
              <a:gd name="connsiteY5" fmla="*/ 6858000 h 6858000"/>
              <a:gd name="connsiteX6" fmla="*/ 0 w 206416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4161" h="6858000">
                <a:moveTo>
                  <a:pt x="0" y="0"/>
                </a:moveTo>
                <a:lnTo>
                  <a:pt x="2002971" y="0"/>
                </a:lnTo>
                <a:lnTo>
                  <a:pt x="2002971" y="6447122"/>
                </a:lnTo>
                <a:lnTo>
                  <a:pt x="2064161" y="6538118"/>
                </a:lnTo>
                <a:lnTo>
                  <a:pt x="2002971" y="6629114"/>
                </a:lnTo>
                <a:lnTo>
                  <a:pt x="200297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144000" bIns="216000" rtlCol="0" anchor="b" anchorCtr="0">
            <a:noAutofit/>
          </a:bodyPr>
          <a:lstStyle/>
          <a:p>
            <a:pPr>
              <a:lnSpc>
                <a:spcPct val="100000"/>
              </a:lnSpc>
              <a:spcAft>
                <a:spcPts val="600"/>
              </a:spcAft>
            </a:pPr>
            <a:r>
              <a:rPr lang="en-GB" sz="1400">
                <a:solidFill>
                  <a:schemeClr val="tx1"/>
                </a:solidFill>
              </a:rPr>
              <a:t>Please ensure you have added the correct confidentiality statement. </a:t>
            </a:r>
          </a:p>
          <a:p>
            <a:pPr>
              <a:lnSpc>
                <a:spcPct val="100000"/>
              </a:lnSpc>
              <a:spcAft>
                <a:spcPts val="600"/>
              </a:spcAft>
            </a:pPr>
            <a:r>
              <a:rPr lang="en-GB" sz="1400">
                <a:solidFill>
                  <a:schemeClr val="tx1"/>
                </a:solidFill>
              </a:rPr>
              <a:t>Type the correct statement: </a:t>
            </a:r>
            <a:br>
              <a:rPr lang="en-GB" sz="1400">
                <a:solidFill>
                  <a:schemeClr val="accent1"/>
                </a:solidFill>
              </a:rPr>
            </a:br>
            <a:r>
              <a:rPr lang="en-GB" sz="1400">
                <a:solidFill>
                  <a:schemeClr val="accent1"/>
                </a:solidFill>
              </a:rPr>
              <a:t>‘</a:t>
            </a:r>
            <a:r>
              <a:rPr lang="en-GB" sz="1400" b="1" i="1">
                <a:solidFill>
                  <a:schemeClr val="accent1"/>
                </a:solidFill>
              </a:rPr>
              <a:t>Company Restricted’ </a:t>
            </a:r>
            <a:r>
              <a:rPr lang="en-GB" sz="1400" b="0">
                <a:solidFill>
                  <a:schemeClr val="tx1"/>
                </a:solidFill>
              </a:rPr>
              <a:t>or</a:t>
            </a:r>
            <a:r>
              <a:rPr lang="en-GB" sz="1400" b="1">
                <a:solidFill>
                  <a:schemeClr val="accent1"/>
                </a:solidFill>
              </a:rPr>
              <a:t> ‘</a:t>
            </a:r>
            <a:r>
              <a:rPr lang="en-GB" sz="1400" b="1" i="1">
                <a:solidFill>
                  <a:schemeClr val="accent1"/>
                </a:solidFill>
              </a:rPr>
              <a:t>Strictly Confidential’ </a:t>
            </a:r>
            <a:r>
              <a:rPr lang="en-GB" sz="1400" b="0" i="1">
                <a:solidFill>
                  <a:schemeClr val="tx1"/>
                </a:solidFill>
              </a:rPr>
              <a:t>.</a:t>
            </a:r>
            <a:r>
              <a:rPr lang="en-GB" sz="1400" b="1" i="1">
                <a:solidFill>
                  <a:schemeClr val="accent1"/>
                </a:solidFill>
              </a:rPr>
              <a:t> </a:t>
            </a:r>
            <a:r>
              <a:rPr lang="en-GB" sz="1400" b="0" i="0">
                <a:solidFill>
                  <a:schemeClr val="tx1"/>
                </a:solidFill>
              </a:rPr>
              <a:t>No statement is needed </a:t>
            </a:r>
            <a:br>
              <a:rPr lang="en-GB" sz="1400" b="0" i="0">
                <a:solidFill>
                  <a:schemeClr val="tx1"/>
                </a:solidFill>
              </a:rPr>
            </a:br>
            <a:r>
              <a:rPr lang="en-GB" sz="1400" b="0" i="0">
                <a:solidFill>
                  <a:schemeClr val="tx1"/>
                </a:solidFill>
              </a:rPr>
              <a:t>for public information. </a:t>
            </a:r>
            <a:endParaRPr lang="en-GB" sz="1400" b="0">
              <a:solidFill>
                <a:schemeClr val="tx1"/>
              </a:solidFill>
            </a:endParaRPr>
          </a:p>
        </p:txBody>
      </p:sp>
      <p:sp>
        <p:nvSpPr>
          <p:cNvPr id="14" name="Oval 13">
            <a:extLst>
              <a:ext uri="{FF2B5EF4-FFF2-40B4-BE49-F238E27FC236}">
                <a16:creationId xmlns:a16="http://schemas.microsoft.com/office/drawing/2014/main" id="{E4809C05-E460-4D1A-BC84-C63C988F5D2D}"/>
              </a:ext>
            </a:extLst>
          </p:cNvPr>
          <p:cNvSpPr/>
          <p:nvPr userDrawn="1"/>
        </p:nvSpPr>
        <p:spPr>
          <a:xfrm>
            <a:off x="-1944693" y="3878333"/>
            <a:ext cx="419968" cy="4199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r>
              <a:rPr lang="en-US" sz="2400" b="1">
                <a:solidFill>
                  <a:schemeClr val="bg1"/>
                </a:solidFill>
                <a:latin typeface="+mn-lt"/>
              </a:rPr>
              <a:t>!</a:t>
            </a:r>
          </a:p>
        </p:txBody>
      </p:sp>
      <p:sp>
        <p:nvSpPr>
          <p:cNvPr id="8" name="Text Placeholder 7">
            <a:extLst>
              <a:ext uri="{FF2B5EF4-FFF2-40B4-BE49-F238E27FC236}">
                <a16:creationId xmlns:a16="http://schemas.microsoft.com/office/drawing/2014/main" id="{7468ED59-10F2-418A-8E8D-5A205AB6BDFD}"/>
              </a:ext>
            </a:extLst>
          </p:cNvPr>
          <p:cNvSpPr>
            <a:spLocks noGrp="1"/>
          </p:cNvSpPr>
          <p:nvPr>
            <p:ph type="body" sz="quarter" idx="27" hasCustomPrompt="1"/>
          </p:nvPr>
        </p:nvSpPr>
        <p:spPr>
          <a:xfrm>
            <a:off x="407990" y="6420913"/>
            <a:ext cx="5184775" cy="234414"/>
          </a:xfrm>
        </p:spPr>
        <p:txBody>
          <a:bodyPr lIns="0" tIns="36000" rIns="0" bIns="36000" anchor="ctr" anchorCtr="0">
            <a:spAutoFit/>
          </a:bodyPr>
          <a:lstStyle>
            <a:lvl1pPr marL="0" indent="0">
              <a:lnSpc>
                <a:spcPct val="100000"/>
              </a:lnSpc>
              <a:buNone/>
              <a:defRPr sz="1051"/>
            </a:lvl1pPr>
            <a:lvl2pPr marL="431989" indent="0">
              <a:buNone/>
              <a:defRPr sz="1051"/>
            </a:lvl2pPr>
            <a:lvl3pPr marL="683983" indent="0">
              <a:buNone/>
              <a:defRPr sz="1051"/>
            </a:lvl3pPr>
            <a:lvl4pPr marL="827979" indent="0">
              <a:buNone/>
              <a:defRPr sz="1051"/>
            </a:lvl4pPr>
            <a:lvl5pPr marL="959376" indent="0">
              <a:buNone/>
              <a:defRPr sz="1051"/>
            </a:lvl5pPr>
          </a:lstStyle>
          <a:p>
            <a:pPr lvl="0"/>
            <a:r>
              <a:rPr lang="en-US" dirty="0"/>
              <a:t>Click to add confidentiality statement here</a:t>
            </a:r>
          </a:p>
        </p:txBody>
      </p:sp>
    </p:spTree>
    <p:custDataLst>
      <p:tags r:id="rId1"/>
    </p:custDataLst>
    <p:extLst>
      <p:ext uri="{BB962C8B-B14F-4D97-AF65-F5344CB8AC3E}">
        <p14:creationId xmlns:p14="http://schemas.microsoft.com/office/powerpoint/2010/main" val="2747976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4696">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noAutofit/>
          </a:bodyPr>
          <a:lstStyle>
            <a:lvl1pPr>
              <a:lnSpc>
                <a:spcPct val="100000"/>
              </a:lnSpc>
              <a:spcBef>
                <a:spcPts val="600"/>
              </a:spcBef>
              <a:spcAft>
                <a:spcPts val="600"/>
              </a:spcAft>
              <a:defRPr/>
            </a:lvl1pPr>
            <a:lvl2pPr marL="460788" indent="-228594">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add text here. </a:t>
            </a:r>
            <a:br>
              <a:rPr lang="en-US" dirty="0"/>
            </a:br>
            <a:r>
              <a:rPr lang="en-US" dirty="0"/>
              <a:t>When pasting copy from other slides, be sure to right-click and choose ‘Keep text only’.</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lvl1pPr>
              <a:lnSpc>
                <a:spcPct val="100000"/>
              </a:lnSpc>
              <a:defRPr/>
            </a:lvl1p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9" y="6200776"/>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076645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55">
          <p15:clr>
            <a:srgbClr val="A4A3A4"/>
          </p15:clr>
        </p15:guide>
        <p15:guide id="2" pos="1951">
          <p15:clr>
            <a:srgbClr val="A4A3A4"/>
          </p15:clr>
        </p15:guide>
        <p15:guide id="3" pos="3464">
          <p15:clr>
            <a:srgbClr val="A4A3A4"/>
          </p15:clr>
        </p15:guide>
        <p15:guide id="4" pos="3559">
          <p15:clr>
            <a:srgbClr val="A4A3A4"/>
          </p15:clr>
        </p15:guide>
        <p15:guide id="5" pos="5072">
          <p15:clr>
            <a:srgbClr val="A4A3A4"/>
          </p15:clr>
        </p15:guide>
        <p15:guide id="6" pos="5168">
          <p15:clr>
            <a:srgbClr val="A4A3A4"/>
          </p15:clr>
        </p15:guide>
        <p15:guide id="7" pos="6679">
          <p15:clr>
            <a:srgbClr val="A4A3A4"/>
          </p15:clr>
        </p15:guide>
        <p15:guide id="8" pos="6776">
          <p15:clr>
            <a:srgbClr val="A4A3A4"/>
          </p15:clr>
        </p15:guide>
        <p15:guide id="9" pos="8287">
          <p15:clr>
            <a:srgbClr val="A4A3A4"/>
          </p15:clr>
        </p15:guide>
        <p15:guide id="10" pos="8384">
          <p15:clr>
            <a:srgbClr val="A4A3A4"/>
          </p15:clr>
        </p15:guide>
        <p15:guide id="11" orient="horz" pos="1187">
          <p15:clr>
            <a:srgbClr val="C35EA4"/>
          </p15:clr>
        </p15:guide>
        <p15:guide id="12" orient="horz" pos="1308">
          <p15:clr>
            <a:srgbClr val="C35E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Title in Le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D0FA13F-5B1F-4795-B0E7-3E97B5D8E071}"/>
              </a:ext>
            </a:extLst>
          </p:cNvPr>
          <p:cNvSpPr>
            <a:spLocks noGrp="1"/>
          </p:cNvSpPr>
          <p:nvPr>
            <p:ph type="title" hasCustomPrompt="1"/>
          </p:nvPr>
        </p:nvSpPr>
        <p:spPr>
          <a:xfrm>
            <a:off x="2" y="-1"/>
            <a:ext cx="3875391" cy="4330700"/>
          </a:xfrm>
          <a:custGeom>
            <a:avLst/>
            <a:gdLst>
              <a:gd name="connsiteX0" fmla="*/ 417122 w 3875391"/>
              <a:gd name="connsiteY0" fmla="*/ 0 h 4330700"/>
              <a:gd name="connsiteX1" fmla="*/ 2700571 w 3875391"/>
              <a:gd name="connsiteY1" fmla="*/ 0 h 4330700"/>
              <a:gd name="connsiteX2" fmla="*/ 2854048 w 3875391"/>
              <a:gd name="connsiteY2" fmla="*/ 93240 h 4330700"/>
              <a:gd name="connsiteX3" fmla="*/ 3875391 w 3875391"/>
              <a:gd name="connsiteY3" fmla="*/ 2014156 h 4330700"/>
              <a:gd name="connsiteX4" fmla="*/ 3479762 w 3875391"/>
              <a:gd name="connsiteY4" fmla="*/ 3309358 h 4330700"/>
              <a:gd name="connsiteX5" fmla="*/ 3457575 w 3875391"/>
              <a:gd name="connsiteY5" fmla="*/ 3339027 h 4330700"/>
              <a:gd name="connsiteX6" fmla="*/ 3457575 w 3875391"/>
              <a:gd name="connsiteY6" fmla="*/ 3343274 h 4330700"/>
              <a:gd name="connsiteX7" fmla="*/ 3454399 w 3875391"/>
              <a:gd name="connsiteY7" fmla="*/ 3343274 h 4330700"/>
              <a:gd name="connsiteX8" fmla="*/ 3346405 w 3875391"/>
              <a:gd name="connsiteY8" fmla="*/ 3487693 h 4330700"/>
              <a:gd name="connsiteX9" fmla="*/ 1558846 w 3875391"/>
              <a:gd name="connsiteY9" fmla="*/ 4330700 h 4330700"/>
              <a:gd name="connsiteX10" fmla="*/ 85309 w 3875391"/>
              <a:gd name="connsiteY10" fmla="*/ 3801714 h 4330700"/>
              <a:gd name="connsiteX11" fmla="*/ 0 w 3875391"/>
              <a:gd name="connsiteY11" fmla="*/ 3724180 h 4330700"/>
              <a:gd name="connsiteX12" fmla="*/ 0 w 3875391"/>
              <a:gd name="connsiteY12" fmla="*/ 304131 h 4330700"/>
              <a:gd name="connsiteX13" fmla="*/ 85309 w 3875391"/>
              <a:gd name="connsiteY13" fmla="*/ 226597 h 4330700"/>
              <a:gd name="connsiteX14" fmla="*/ 263644 w 3875391"/>
              <a:gd name="connsiteY14" fmla="*/ 93240 h 433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5391" h="4330700">
                <a:moveTo>
                  <a:pt x="417122" y="0"/>
                </a:moveTo>
                <a:lnTo>
                  <a:pt x="2700571" y="0"/>
                </a:lnTo>
                <a:lnTo>
                  <a:pt x="2854048" y="93240"/>
                </a:lnTo>
                <a:cubicBezTo>
                  <a:pt x="3470253" y="509540"/>
                  <a:pt x="3875391" y="1214535"/>
                  <a:pt x="3875391" y="2014156"/>
                </a:cubicBezTo>
                <a:cubicBezTo>
                  <a:pt x="3875391" y="2493928"/>
                  <a:pt x="3729542" y="2939635"/>
                  <a:pt x="3479762" y="3309358"/>
                </a:cubicBezTo>
                <a:lnTo>
                  <a:pt x="3457575" y="3339027"/>
                </a:lnTo>
                <a:lnTo>
                  <a:pt x="3457575" y="3343274"/>
                </a:lnTo>
                <a:lnTo>
                  <a:pt x="3454399" y="3343274"/>
                </a:lnTo>
                <a:lnTo>
                  <a:pt x="3346405" y="3487693"/>
                </a:lnTo>
                <a:cubicBezTo>
                  <a:pt x="2921516" y="4002539"/>
                  <a:pt x="2278504" y="4330700"/>
                  <a:pt x="1558846" y="4330700"/>
                </a:cubicBezTo>
                <a:cubicBezTo>
                  <a:pt x="999112" y="4330700"/>
                  <a:pt x="485745" y="4132183"/>
                  <a:pt x="85309" y="3801714"/>
                </a:cubicBezTo>
                <a:lnTo>
                  <a:pt x="0" y="3724180"/>
                </a:lnTo>
                <a:lnTo>
                  <a:pt x="0" y="304131"/>
                </a:lnTo>
                <a:lnTo>
                  <a:pt x="85309" y="226597"/>
                </a:lnTo>
                <a:cubicBezTo>
                  <a:pt x="142514" y="179387"/>
                  <a:pt x="202023" y="134871"/>
                  <a:pt x="263644" y="93240"/>
                </a:cubicBezTo>
                <a:close/>
              </a:path>
            </a:pathLst>
          </a:custGeom>
          <a:solidFill>
            <a:schemeClr val="accent1"/>
          </a:solidFill>
        </p:spPr>
        <p:txBody>
          <a:bodyPr wrap="square" lIns="396000" tIns="360000" rIns="90000" bIns="360000" anchor="ctr" anchorCtr="0">
            <a:normAutofit/>
          </a:bodyPr>
          <a:lstStyle>
            <a:lvl1pPr>
              <a:lnSpc>
                <a:spcPct val="100000"/>
              </a:lnSpc>
              <a:defRPr sz="4000">
                <a:solidFill>
                  <a:schemeClr val="bg1"/>
                </a:solidFill>
              </a:defRPr>
            </a:lvl1pPr>
          </a:lstStyle>
          <a:p>
            <a:r>
              <a:rPr lang="en-US" dirty="0"/>
              <a:t>Click to enter title here</a:t>
            </a:r>
          </a:p>
        </p:txBody>
      </p:sp>
      <p:cxnSp>
        <p:nvCxnSpPr>
          <p:cNvPr id="9" name="Straight Connector 8">
            <a:extLst>
              <a:ext uri="{FF2B5EF4-FFF2-40B4-BE49-F238E27FC236}">
                <a16:creationId xmlns:a16="http://schemas.microsoft.com/office/drawing/2014/main" id="{21040238-DCC8-4532-9AE6-EB7C834F336E}"/>
              </a:ext>
            </a:extLst>
          </p:cNvPr>
          <p:cNvCxnSpPr>
            <a:cxnSpLocks/>
          </p:cNvCxnSpPr>
          <p:nvPr userDrawn="1"/>
        </p:nvCxnSpPr>
        <p:spPr>
          <a:xfrm>
            <a:off x="3540125" y="3730171"/>
            <a:ext cx="0" cy="247956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75A4EBE2-41F7-48F4-B525-605699ECF92F}"/>
              </a:ext>
            </a:extLst>
          </p:cNvPr>
          <p:cNvSpPr>
            <a:spLocks noGrp="1"/>
          </p:cNvSpPr>
          <p:nvPr>
            <p:ph sz="quarter" idx="19" hasCustomPrompt="1"/>
          </p:nvPr>
        </p:nvSpPr>
        <p:spPr>
          <a:xfrm>
            <a:off x="4238625" y="404813"/>
            <a:ext cx="7545387" cy="5796000"/>
          </a:xfrm>
        </p:spPr>
        <p:txBody>
          <a:bodyPr/>
          <a:lstStyle>
            <a:lvl1pPr>
              <a:lnSpc>
                <a:spcPct val="100000"/>
              </a:lnSpc>
              <a:defRPr/>
            </a:lvl1pPr>
            <a:lvl2pPr marL="460788" indent="-228594">
              <a:lnSpc>
                <a:spcPct val="100000"/>
              </a:lnSpc>
              <a:defRPr lang="en-US" sz="2400" kern="1200" dirty="0">
                <a:solidFill>
                  <a:schemeClr val="tx1"/>
                </a:solidFill>
                <a:latin typeface="+mn-lt"/>
                <a:ea typeface="+mn-ea"/>
                <a:cs typeface="+mn-cs"/>
              </a:defRPr>
            </a:lvl2pPr>
            <a:lvl3pPr marL="691183" indent="-228594">
              <a:lnSpc>
                <a:spcPct val="100000"/>
              </a:lnSpc>
              <a:defRPr lang="en-US" sz="2000" kern="1200" dirty="0">
                <a:solidFill>
                  <a:schemeClr val="tx1"/>
                </a:solidFill>
                <a:latin typeface="+mn-lt"/>
                <a:ea typeface="+mn-ea"/>
                <a:cs typeface="+mn-cs"/>
              </a:defRPr>
            </a:lvl3pPr>
            <a:lvl4pPr marL="921577" indent="-228594">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 here. </a:t>
            </a:r>
            <a:br>
              <a:rPr lang="en-US" dirty="0"/>
            </a:br>
            <a:r>
              <a:rPr lang="en-US" dirty="0"/>
              <a:t>When pasting copy from other slides, be sure to right-click and choose ‘Keep text only’.</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9">
            <a:extLst>
              <a:ext uri="{FF2B5EF4-FFF2-40B4-BE49-F238E27FC236}">
                <a16:creationId xmlns:a16="http://schemas.microsoft.com/office/drawing/2014/main" id="{59C580CE-4074-4379-8D68-E5118B13A13A}"/>
              </a:ext>
            </a:extLst>
          </p:cNvPr>
          <p:cNvSpPr>
            <a:spLocks noGrp="1"/>
          </p:cNvSpPr>
          <p:nvPr>
            <p:ph type="dt" sz="half" idx="20"/>
          </p:nvPr>
        </p:nvSpPr>
        <p:spPr/>
        <p:txBody>
          <a:bodyPr/>
          <a:lstStyle>
            <a:lvl1pPr>
              <a:lnSpc>
                <a:spcPct val="100000"/>
              </a:lnSpc>
              <a:defRPr/>
            </a:lvl1pPr>
          </a:lstStyle>
          <a:p>
            <a:endParaRPr lang="en-GB"/>
          </a:p>
        </p:txBody>
      </p:sp>
      <p:sp>
        <p:nvSpPr>
          <p:cNvPr id="13" name="Slide Number Placeholder 12">
            <a:extLst>
              <a:ext uri="{FF2B5EF4-FFF2-40B4-BE49-F238E27FC236}">
                <a16:creationId xmlns:a16="http://schemas.microsoft.com/office/drawing/2014/main" id="{D2C25B5D-B685-4B55-8498-3486110FDCFE}"/>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8" name="Text Placeholder 96">
            <a:extLst>
              <a:ext uri="{FF2B5EF4-FFF2-40B4-BE49-F238E27FC236}">
                <a16:creationId xmlns:a16="http://schemas.microsoft.com/office/drawing/2014/main" id="{DFE25DB2-F58D-4AD2-B640-7A1061569FFB}"/>
              </a:ext>
            </a:extLst>
          </p:cNvPr>
          <p:cNvSpPr>
            <a:spLocks noGrp="1"/>
          </p:cNvSpPr>
          <p:nvPr>
            <p:ph type="body" sz="quarter" idx="111" hasCustomPrompt="1"/>
          </p:nvPr>
        </p:nvSpPr>
        <p:spPr>
          <a:xfrm>
            <a:off x="407989" y="6200776"/>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804189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973">
          <p15:clr>
            <a:srgbClr val="C35EA4"/>
          </p15:clr>
        </p15:guide>
        <p15:guide id="5" pos="3548">
          <p15:clr>
            <a:srgbClr val="C35E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2"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1"/>
          </a:solidFill>
        </p:spPr>
        <p:txBody>
          <a:bodyPr wrap="square" lIns="396000" tIns="2160000" bIns="2880000" anchor="b" anchorCtr="0">
            <a:normAutofit/>
          </a:bodyPr>
          <a:lstStyle>
            <a:lvl1pPr>
              <a:lnSpc>
                <a:spcPct val="100000"/>
              </a:lnSpc>
              <a:defRPr sz="4000">
                <a:solidFill>
                  <a:schemeClr val="bg1"/>
                </a:solidFill>
              </a:defRPr>
            </a:lvl1pPr>
          </a:lstStyle>
          <a:p>
            <a:r>
              <a:rPr lang="en-US" dirty="0"/>
              <a:t>Click to enter</a:t>
            </a:r>
            <a:br>
              <a:rPr lang="en-US" dirty="0"/>
            </a:br>
            <a:r>
              <a:rPr lang="en-US" dirty="0"/>
              <a:t>section title here</a:t>
            </a:r>
            <a:endParaRPr lang="en-GB" dirty="0"/>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9"/>
          </a:xfrm>
          <a:prstGeom prst="rect">
            <a:avLst/>
          </a:prstGeom>
          <a:blipFill>
            <a:blip>
              <a:extLst>
                <a:ext uri="{96DAC541-7B7A-43D3-8B79-37D633B846F1}">
                  <asvg:svgBlip xmlns:asvg="http://schemas.microsoft.com/office/drawing/2016/SVG/main" r:embed="rId3"/>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600"/>
              <a:t> </a:t>
            </a:r>
          </a:p>
        </p:txBody>
      </p:sp>
      <p:sp>
        <p:nvSpPr>
          <p:cNvPr id="5" name="Text Placeholder 4">
            <a:extLst>
              <a:ext uri="{FF2B5EF4-FFF2-40B4-BE49-F238E27FC236}">
                <a16:creationId xmlns:a16="http://schemas.microsoft.com/office/drawing/2014/main" id="{D60AE4F3-AAA3-4B8D-A01A-1FF9B8F9F42A}"/>
              </a:ext>
            </a:extLst>
          </p:cNvPr>
          <p:cNvSpPr>
            <a:spLocks noGrp="1"/>
          </p:cNvSpPr>
          <p:nvPr>
            <p:ph type="body" sz="quarter" idx="33" hasCustomPrompt="1"/>
          </p:nvPr>
        </p:nvSpPr>
        <p:spPr>
          <a:xfrm>
            <a:off x="428095" y="863767"/>
            <a:ext cx="1203159" cy="1203159"/>
          </a:xfrm>
          <a:prstGeom prst="ellipse">
            <a:avLst/>
          </a:prstGeom>
          <a:solidFill>
            <a:schemeClr val="bg1"/>
          </a:solidFill>
        </p:spPr>
        <p:txBody>
          <a:bodyPr wrap="none" bIns="0" anchor="ctr" anchorCtr="0">
            <a:normAutofit/>
          </a:bodyPr>
          <a:lstStyle>
            <a:lvl1pPr marL="0" indent="0" algn="ctr">
              <a:lnSpc>
                <a:spcPct val="100000"/>
              </a:lnSpc>
              <a:buNone/>
              <a:defRPr sz="6000" b="1">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a:t>
            </a:r>
          </a:p>
        </p:txBody>
      </p:sp>
      <p:sp>
        <p:nvSpPr>
          <p:cNvPr id="8" name="Text Placeholder 7">
            <a:extLst>
              <a:ext uri="{FF2B5EF4-FFF2-40B4-BE49-F238E27FC236}">
                <a16:creationId xmlns:a16="http://schemas.microsoft.com/office/drawing/2014/main" id="{45758FA1-2B23-4C7E-97FD-FBA94AB3853B}"/>
              </a:ext>
            </a:extLst>
          </p:cNvPr>
          <p:cNvSpPr>
            <a:spLocks noGrp="1"/>
          </p:cNvSpPr>
          <p:nvPr>
            <p:ph type="body" sz="quarter" idx="34" hasCustomPrompt="1"/>
          </p:nvPr>
        </p:nvSpPr>
        <p:spPr>
          <a:xfrm>
            <a:off x="428626" y="4267200"/>
            <a:ext cx="3678919" cy="1896645"/>
          </a:xfrm>
          <a:prstGeom prst="rect">
            <a:avLst/>
          </a:prstGeom>
        </p:spPr>
        <p:txBody>
          <a:bodyPr lIns="0"/>
          <a:lstStyle>
            <a:lvl1pPr marL="0" indent="0">
              <a:lnSpc>
                <a:spcPct val="100000"/>
              </a:lnSpc>
              <a:buNone/>
              <a:defRPr>
                <a:solidFill>
                  <a:schemeClr val="bg1"/>
                </a:solidFill>
              </a:defRPr>
            </a:lvl1pPr>
            <a:lvl5pPr>
              <a:defRPr/>
            </a:lvl5pPr>
          </a:lstStyle>
          <a:p>
            <a:pPr lvl="0"/>
            <a:r>
              <a:rPr lang="en-US" dirty="0"/>
              <a:t>Click to add subtitle / presenter name(s)</a:t>
            </a:r>
          </a:p>
        </p:txBody>
      </p:sp>
      <p:sp>
        <p:nvSpPr>
          <p:cNvPr id="22" name="Picture Placeholder 21">
            <a:extLst>
              <a:ext uri="{FF2B5EF4-FFF2-40B4-BE49-F238E27FC236}">
                <a16:creationId xmlns:a16="http://schemas.microsoft.com/office/drawing/2014/main" id="{0486192A-3DB1-49EB-9B2C-D5E68AF24B1A}"/>
              </a:ext>
            </a:extLst>
          </p:cNvPr>
          <p:cNvSpPr>
            <a:spLocks noGrp="1"/>
          </p:cNvSpPr>
          <p:nvPr>
            <p:ph type="pic" sz="quarter" idx="36" hasCustomPrompt="1"/>
          </p:nvPr>
        </p:nvSpPr>
        <p:spPr>
          <a:xfrm>
            <a:off x="3694792" y="-1"/>
            <a:ext cx="8497208" cy="6858001"/>
          </a:xfrm>
          <a:custGeom>
            <a:avLst/>
            <a:gdLst>
              <a:gd name="connsiteX0" fmla="*/ 8001617 w 8497208"/>
              <a:gd name="connsiteY0" fmla="*/ 6414717 h 6858001"/>
              <a:gd name="connsiteX1" fmla="*/ 7980570 w 8497208"/>
              <a:gd name="connsiteY1" fmla="*/ 6439539 h 6858001"/>
              <a:gd name="connsiteX2" fmla="*/ 8034470 w 8497208"/>
              <a:gd name="connsiteY2" fmla="*/ 6517076 h 6858001"/>
              <a:gd name="connsiteX3" fmla="*/ 8090937 w 8497208"/>
              <a:gd name="connsiteY3" fmla="*/ 6510166 h 6858001"/>
              <a:gd name="connsiteX4" fmla="*/ 8091707 w 8497208"/>
              <a:gd name="connsiteY4" fmla="*/ 6506072 h 6858001"/>
              <a:gd name="connsiteX5" fmla="*/ 8095814 w 8497208"/>
              <a:gd name="connsiteY5" fmla="*/ 6478435 h 6858001"/>
              <a:gd name="connsiteX6" fmla="*/ 8062447 w 8497208"/>
              <a:gd name="connsiteY6" fmla="*/ 6464105 h 6858001"/>
              <a:gd name="connsiteX7" fmla="*/ 8064757 w 8497208"/>
              <a:gd name="connsiteY7" fmla="*/ 6499675 h 6858001"/>
              <a:gd name="connsiteX8" fmla="*/ 8064757 w 8497208"/>
              <a:gd name="connsiteY8" fmla="*/ 6504025 h 6858001"/>
              <a:gd name="connsiteX9" fmla="*/ 8048330 w 8497208"/>
              <a:gd name="connsiteY9" fmla="*/ 6515029 h 6858001"/>
              <a:gd name="connsiteX10" fmla="*/ 7993147 w 8497208"/>
              <a:gd name="connsiteY10" fmla="*/ 6433142 h 6858001"/>
              <a:gd name="connsiteX11" fmla="*/ 7994430 w 8497208"/>
              <a:gd name="connsiteY11" fmla="*/ 6431862 h 6858001"/>
              <a:gd name="connsiteX12" fmla="*/ 7995200 w 8497208"/>
              <a:gd name="connsiteY12" fmla="*/ 6432374 h 6858001"/>
              <a:gd name="connsiteX13" fmla="*/ 7995457 w 8497208"/>
              <a:gd name="connsiteY13" fmla="*/ 6432374 h 6858001"/>
              <a:gd name="connsiteX14" fmla="*/ 8062190 w 8497208"/>
              <a:gd name="connsiteY14" fmla="*/ 6459499 h 6858001"/>
              <a:gd name="connsiteX15" fmla="*/ 8096071 w 8497208"/>
              <a:gd name="connsiteY15" fmla="*/ 6474085 h 6858001"/>
              <a:gd name="connsiteX16" fmla="*/ 8122764 w 8497208"/>
              <a:gd name="connsiteY16" fmla="*/ 6486880 h 6858001"/>
              <a:gd name="connsiteX17" fmla="*/ 8134828 w 8497208"/>
              <a:gd name="connsiteY17" fmla="*/ 6503513 h 6858001"/>
              <a:gd name="connsiteX18" fmla="*/ 7984933 w 8497208"/>
              <a:gd name="connsiteY18" fmla="*/ 6615084 h 6858001"/>
              <a:gd name="connsiteX19" fmla="*/ 7984420 w 8497208"/>
              <a:gd name="connsiteY19" fmla="*/ 6615596 h 6858001"/>
              <a:gd name="connsiteX20" fmla="*/ 7983393 w 8497208"/>
              <a:gd name="connsiteY20" fmla="*/ 6617131 h 6858001"/>
              <a:gd name="connsiteX21" fmla="*/ 7983137 w 8497208"/>
              <a:gd name="connsiteY21" fmla="*/ 6617643 h 6858001"/>
              <a:gd name="connsiteX22" fmla="*/ 7978517 w 8497208"/>
              <a:gd name="connsiteY22" fmla="*/ 6631717 h 6858001"/>
              <a:gd name="connsiteX23" fmla="*/ 7997253 w 8497208"/>
              <a:gd name="connsiteY23" fmla="*/ 6655260 h 6858001"/>
              <a:gd name="connsiteX24" fmla="*/ 8009830 w 8497208"/>
              <a:gd name="connsiteY24" fmla="*/ 6657563 h 6858001"/>
              <a:gd name="connsiteX25" fmla="*/ 8012397 w 8497208"/>
              <a:gd name="connsiteY25" fmla="*/ 6657819 h 6858001"/>
              <a:gd name="connsiteX26" fmla="*/ 8136881 w 8497208"/>
              <a:gd name="connsiteY26" fmla="*/ 6633253 h 6858001"/>
              <a:gd name="connsiteX27" fmla="*/ 8146378 w 8497208"/>
              <a:gd name="connsiteY27" fmla="*/ 6607407 h 6858001"/>
              <a:gd name="connsiteX28" fmla="*/ 8103001 w 8497208"/>
              <a:gd name="connsiteY28" fmla="*/ 6582073 h 6858001"/>
              <a:gd name="connsiteX29" fmla="*/ 8093761 w 8497208"/>
              <a:gd name="connsiteY29" fmla="*/ 6588215 h 6858001"/>
              <a:gd name="connsiteX30" fmla="*/ 8128411 w 8497208"/>
              <a:gd name="connsiteY30" fmla="*/ 6611246 h 6858001"/>
              <a:gd name="connsiteX31" fmla="*/ 8126614 w 8497208"/>
              <a:gd name="connsiteY31" fmla="*/ 6614828 h 6858001"/>
              <a:gd name="connsiteX32" fmla="*/ 8124304 w 8497208"/>
              <a:gd name="connsiteY32" fmla="*/ 6614828 h 6858001"/>
              <a:gd name="connsiteX33" fmla="*/ 8047817 w 8497208"/>
              <a:gd name="connsiteY33" fmla="*/ 6619946 h 6858001"/>
              <a:gd name="connsiteX34" fmla="*/ 8040630 w 8497208"/>
              <a:gd name="connsiteY34" fmla="*/ 6620202 h 6858001"/>
              <a:gd name="connsiteX35" fmla="*/ 8052437 w 8497208"/>
              <a:gd name="connsiteY35" fmla="*/ 6610734 h 6858001"/>
              <a:gd name="connsiteX36" fmla="*/ 8173841 w 8497208"/>
              <a:gd name="connsiteY36" fmla="*/ 6529615 h 6858001"/>
              <a:gd name="connsiteX37" fmla="*/ 8144068 w 8497208"/>
              <a:gd name="connsiteY37" fmla="*/ 6452334 h 6858001"/>
              <a:gd name="connsiteX38" fmla="*/ 8001617 w 8497208"/>
              <a:gd name="connsiteY38" fmla="*/ 6414717 h 6858001"/>
              <a:gd name="connsiteX39" fmla="*/ 8063182 w 8497208"/>
              <a:gd name="connsiteY39" fmla="*/ 6306559 h 6858001"/>
              <a:gd name="connsiteX40" fmla="*/ 7947246 w 8497208"/>
              <a:gd name="connsiteY40" fmla="*/ 6409920 h 6858001"/>
              <a:gd name="connsiteX41" fmla="*/ 7903898 w 8497208"/>
              <a:gd name="connsiteY41" fmla="*/ 6477718 h 6858001"/>
              <a:gd name="connsiteX42" fmla="*/ 7922109 w 8497208"/>
              <a:gd name="connsiteY42" fmla="*/ 6498186 h 6858001"/>
              <a:gd name="connsiteX43" fmla="*/ 8041380 w 8497208"/>
              <a:gd name="connsiteY43" fmla="*/ 6559844 h 6858001"/>
              <a:gd name="connsiteX44" fmla="*/ 8050870 w 8497208"/>
              <a:gd name="connsiteY44" fmla="*/ 6553960 h 6858001"/>
              <a:gd name="connsiteX45" fmla="*/ 7945194 w 8497208"/>
              <a:gd name="connsiteY45" fmla="*/ 6495627 h 6858001"/>
              <a:gd name="connsiteX46" fmla="*/ 7928778 w 8497208"/>
              <a:gd name="connsiteY46" fmla="*/ 6480277 h 6858001"/>
              <a:gd name="connsiteX47" fmla="*/ 7958019 w 8497208"/>
              <a:gd name="connsiteY47" fmla="*/ 6449575 h 6858001"/>
              <a:gd name="connsiteX48" fmla="*/ 7974178 w 8497208"/>
              <a:gd name="connsiteY48" fmla="*/ 6433457 h 6858001"/>
              <a:gd name="connsiteX49" fmla="*/ 7976230 w 8497208"/>
              <a:gd name="connsiteY49" fmla="*/ 6416827 h 6858001"/>
              <a:gd name="connsiteX50" fmla="*/ 7997263 w 8497208"/>
              <a:gd name="connsiteY50" fmla="*/ 6410176 h 6858001"/>
              <a:gd name="connsiteX51" fmla="*/ 8024964 w 8497208"/>
              <a:gd name="connsiteY51" fmla="*/ 6382289 h 6858001"/>
              <a:gd name="connsiteX52" fmla="*/ 8047536 w 8497208"/>
              <a:gd name="connsiteY52" fmla="*/ 6364635 h 6858001"/>
              <a:gd name="connsiteX53" fmla="*/ 8053948 w 8497208"/>
              <a:gd name="connsiteY53" fmla="*/ 6376916 h 6858001"/>
              <a:gd name="connsiteX54" fmla="*/ 8058822 w 8497208"/>
              <a:gd name="connsiteY54" fmla="*/ 6421688 h 6858001"/>
              <a:gd name="connsiteX55" fmla="*/ 8097296 w 8497208"/>
              <a:gd name="connsiteY55" fmla="*/ 6432434 h 6858001"/>
              <a:gd name="connsiteX56" fmla="*/ 8063182 w 8497208"/>
              <a:gd name="connsiteY56" fmla="*/ 6306559 h 6858001"/>
              <a:gd name="connsiteX57" fmla="*/ 4802415 w 8497208"/>
              <a:gd name="connsiteY57" fmla="*/ 0 h 6858001"/>
              <a:gd name="connsiteX58" fmla="*/ 5373009 w 8497208"/>
              <a:gd name="connsiteY58" fmla="*/ 0 h 6858001"/>
              <a:gd name="connsiteX59" fmla="*/ 8497208 w 8497208"/>
              <a:gd name="connsiteY59" fmla="*/ 0 h 6858001"/>
              <a:gd name="connsiteX60" fmla="*/ 8497208 w 8497208"/>
              <a:gd name="connsiteY60" fmla="*/ 1 h 6858001"/>
              <a:gd name="connsiteX61" fmla="*/ 8497208 w 8497208"/>
              <a:gd name="connsiteY61" fmla="*/ 2601686 h 6858001"/>
              <a:gd name="connsiteX62" fmla="*/ 8497208 w 8497208"/>
              <a:gd name="connsiteY62" fmla="*/ 6858000 h 6858001"/>
              <a:gd name="connsiteX63" fmla="*/ 8497208 w 8497208"/>
              <a:gd name="connsiteY63" fmla="*/ 6858001 h 6858001"/>
              <a:gd name="connsiteX64" fmla="*/ 0 w 8497208"/>
              <a:gd name="connsiteY64" fmla="*/ 6858001 h 6858001"/>
              <a:gd name="connsiteX65" fmla="*/ 67701 w 8497208"/>
              <a:gd name="connsiteY65" fmla="*/ 6814599 h 6858001"/>
              <a:gd name="connsiteX66" fmla="*/ 1867809 w 8497208"/>
              <a:gd name="connsiteY66" fmla="*/ 3429001 h 6858001"/>
              <a:gd name="connsiteX67" fmla="*/ 67701 w 8497208"/>
              <a:gd name="connsiteY67" fmla="*/ 43403 h 6858001"/>
              <a:gd name="connsiteX68" fmla="*/ 1 w 8497208"/>
              <a:gd name="connsiteY68" fmla="*/ 1 h 6858001"/>
              <a:gd name="connsiteX69" fmla="*/ 4802413 w 8497208"/>
              <a:gd name="connsiteY6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497208" h="6858001">
                <a:moveTo>
                  <a:pt x="8001617" y="6414717"/>
                </a:moveTo>
                <a:cubicBezTo>
                  <a:pt x="7980570" y="6411902"/>
                  <a:pt x="7972100" y="6419579"/>
                  <a:pt x="7980570" y="6439539"/>
                </a:cubicBezTo>
                <a:cubicBezTo>
                  <a:pt x="7989297" y="6459243"/>
                  <a:pt x="8011370" y="6492254"/>
                  <a:pt x="8034470" y="6517076"/>
                </a:cubicBezTo>
                <a:cubicBezTo>
                  <a:pt x="8057827" y="6541642"/>
                  <a:pt x="8082981" y="6548551"/>
                  <a:pt x="8090937" y="6510166"/>
                </a:cubicBezTo>
                <a:cubicBezTo>
                  <a:pt x="8091194" y="6508887"/>
                  <a:pt x="8091451" y="6507608"/>
                  <a:pt x="8091707" y="6506072"/>
                </a:cubicBezTo>
                <a:cubicBezTo>
                  <a:pt x="8093504" y="6496348"/>
                  <a:pt x="8095044" y="6486880"/>
                  <a:pt x="8095814" y="6478435"/>
                </a:cubicBezTo>
                <a:cubicBezTo>
                  <a:pt x="8085547" y="6473829"/>
                  <a:pt x="8073997" y="6468967"/>
                  <a:pt x="8062447" y="6464105"/>
                </a:cubicBezTo>
                <a:cubicBezTo>
                  <a:pt x="8063217" y="6472806"/>
                  <a:pt x="8064244" y="6487904"/>
                  <a:pt x="8064757" y="6499675"/>
                </a:cubicBezTo>
                <a:cubicBezTo>
                  <a:pt x="8064757" y="6500954"/>
                  <a:pt x="8064757" y="6502490"/>
                  <a:pt x="8064757" y="6504025"/>
                </a:cubicBezTo>
                <a:cubicBezTo>
                  <a:pt x="8065527" y="6522705"/>
                  <a:pt x="8059110" y="6522705"/>
                  <a:pt x="8048330" y="6515029"/>
                </a:cubicBezTo>
                <a:cubicBezTo>
                  <a:pt x="8035754" y="6506072"/>
                  <a:pt x="7997510" y="6455661"/>
                  <a:pt x="7993147" y="6433142"/>
                </a:cubicBezTo>
                <a:cubicBezTo>
                  <a:pt x="7992890" y="6431862"/>
                  <a:pt x="7993660" y="6431606"/>
                  <a:pt x="7994430" y="6431862"/>
                </a:cubicBezTo>
                <a:cubicBezTo>
                  <a:pt x="7994687" y="6432118"/>
                  <a:pt x="7994943" y="6432118"/>
                  <a:pt x="7995200" y="6432374"/>
                </a:cubicBezTo>
                <a:cubicBezTo>
                  <a:pt x="7995200" y="6432374"/>
                  <a:pt x="7995200" y="6432374"/>
                  <a:pt x="7995457" y="6432374"/>
                </a:cubicBezTo>
                <a:cubicBezTo>
                  <a:pt x="8003927" y="6435701"/>
                  <a:pt x="8032930" y="6447216"/>
                  <a:pt x="8062190" y="6459499"/>
                </a:cubicBezTo>
                <a:cubicBezTo>
                  <a:pt x="8073741" y="6464361"/>
                  <a:pt x="8085547" y="6469479"/>
                  <a:pt x="8096071" y="6474085"/>
                </a:cubicBezTo>
                <a:cubicBezTo>
                  <a:pt x="8106594" y="6478691"/>
                  <a:pt x="8115834" y="6483297"/>
                  <a:pt x="8122764" y="6486880"/>
                </a:cubicBezTo>
                <a:cubicBezTo>
                  <a:pt x="8135341" y="6493533"/>
                  <a:pt x="8140218" y="6498139"/>
                  <a:pt x="8134828" y="6503513"/>
                </a:cubicBezTo>
                <a:cubicBezTo>
                  <a:pt x="8108647" y="6530382"/>
                  <a:pt x="8016504" y="6568255"/>
                  <a:pt x="7984933" y="6615084"/>
                </a:cubicBezTo>
                <a:cubicBezTo>
                  <a:pt x="7984933" y="6615084"/>
                  <a:pt x="7984677" y="6615340"/>
                  <a:pt x="7984420" y="6615596"/>
                </a:cubicBezTo>
                <a:cubicBezTo>
                  <a:pt x="7984163" y="6616108"/>
                  <a:pt x="7983650" y="6616619"/>
                  <a:pt x="7983393" y="6617131"/>
                </a:cubicBezTo>
                <a:cubicBezTo>
                  <a:pt x="7983393" y="6617387"/>
                  <a:pt x="7983393" y="6617643"/>
                  <a:pt x="7983137" y="6617643"/>
                </a:cubicBezTo>
                <a:cubicBezTo>
                  <a:pt x="7981597" y="6620714"/>
                  <a:pt x="7979287" y="6625576"/>
                  <a:pt x="7978517" y="6631717"/>
                </a:cubicBezTo>
                <a:cubicBezTo>
                  <a:pt x="7977233" y="6641953"/>
                  <a:pt x="7982623" y="6651421"/>
                  <a:pt x="7997253" y="6655260"/>
                </a:cubicBezTo>
                <a:cubicBezTo>
                  <a:pt x="8001103" y="6656283"/>
                  <a:pt x="8005210" y="6657051"/>
                  <a:pt x="8009830" y="6657563"/>
                </a:cubicBezTo>
                <a:cubicBezTo>
                  <a:pt x="8010600" y="6657819"/>
                  <a:pt x="8011627" y="6657819"/>
                  <a:pt x="8012397" y="6657819"/>
                </a:cubicBezTo>
                <a:cubicBezTo>
                  <a:pt x="8040887" y="6659098"/>
                  <a:pt x="8114551" y="6642977"/>
                  <a:pt x="8136881" y="6633253"/>
                </a:cubicBezTo>
                <a:cubicBezTo>
                  <a:pt x="8159981" y="6623017"/>
                  <a:pt x="8153051" y="6612781"/>
                  <a:pt x="8146378" y="6607407"/>
                </a:cubicBezTo>
                <a:cubicBezTo>
                  <a:pt x="8141244" y="6603313"/>
                  <a:pt x="8115577" y="6588983"/>
                  <a:pt x="8103001" y="6582073"/>
                </a:cubicBezTo>
                <a:cubicBezTo>
                  <a:pt x="8099664" y="6584376"/>
                  <a:pt x="8097097" y="6585912"/>
                  <a:pt x="8093761" y="6588215"/>
                </a:cubicBezTo>
                <a:cubicBezTo>
                  <a:pt x="8115064" y="6601010"/>
                  <a:pt x="8123534" y="6607407"/>
                  <a:pt x="8128411" y="6611246"/>
                </a:cubicBezTo>
                <a:cubicBezTo>
                  <a:pt x="8130464" y="6612781"/>
                  <a:pt x="8129438" y="6614572"/>
                  <a:pt x="8126614" y="6614828"/>
                </a:cubicBezTo>
                <a:cubicBezTo>
                  <a:pt x="8125844" y="6614828"/>
                  <a:pt x="8125074" y="6614828"/>
                  <a:pt x="8124304" y="6614828"/>
                </a:cubicBezTo>
                <a:cubicBezTo>
                  <a:pt x="8104027" y="6616364"/>
                  <a:pt x="8065784" y="6618922"/>
                  <a:pt x="8047817" y="6619946"/>
                </a:cubicBezTo>
                <a:cubicBezTo>
                  <a:pt x="8045250" y="6620202"/>
                  <a:pt x="8042170" y="6620202"/>
                  <a:pt x="8040630" y="6620202"/>
                </a:cubicBezTo>
                <a:cubicBezTo>
                  <a:pt x="8044994" y="6616108"/>
                  <a:pt x="8049870" y="6612525"/>
                  <a:pt x="8052437" y="6610734"/>
                </a:cubicBezTo>
                <a:cubicBezTo>
                  <a:pt x="8090937" y="6583609"/>
                  <a:pt x="8154848" y="6545736"/>
                  <a:pt x="8173841" y="6529615"/>
                </a:cubicBezTo>
                <a:cubicBezTo>
                  <a:pt x="8187701" y="6517587"/>
                  <a:pt x="8225688" y="6480994"/>
                  <a:pt x="8144068" y="6452334"/>
                </a:cubicBezTo>
                <a:cubicBezTo>
                  <a:pt x="8120711" y="6444401"/>
                  <a:pt x="8062704" y="6422906"/>
                  <a:pt x="8001617" y="6414717"/>
                </a:cubicBezTo>
                <a:close/>
                <a:moveTo>
                  <a:pt x="8063182" y="6306559"/>
                </a:moveTo>
                <a:cubicBezTo>
                  <a:pt x="8043432" y="6304000"/>
                  <a:pt x="8013678" y="6328817"/>
                  <a:pt x="7947246" y="6409920"/>
                </a:cubicBezTo>
                <a:cubicBezTo>
                  <a:pt x="7934934" y="6424759"/>
                  <a:pt x="7906206" y="6461088"/>
                  <a:pt x="7903898" y="6477718"/>
                </a:cubicBezTo>
                <a:cubicBezTo>
                  <a:pt x="7902359" y="6489487"/>
                  <a:pt x="7914927" y="6494604"/>
                  <a:pt x="7922109" y="6498186"/>
                </a:cubicBezTo>
                <a:cubicBezTo>
                  <a:pt x="7928778" y="6501768"/>
                  <a:pt x="8005727" y="6539888"/>
                  <a:pt x="8041380" y="6559844"/>
                </a:cubicBezTo>
                <a:cubicBezTo>
                  <a:pt x="8044458" y="6557797"/>
                  <a:pt x="8047536" y="6555751"/>
                  <a:pt x="8050870" y="6553960"/>
                </a:cubicBezTo>
                <a:cubicBezTo>
                  <a:pt x="8029581" y="6542447"/>
                  <a:pt x="7969561" y="6510211"/>
                  <a:pt x="7945194" y="6495627"/>
                </a:cubicBezTo>
                <a:cubicBezTo>
                  <a:pt x="7935190" y="6489743"/>
                  <a:pt x="7928265" y="6484882"/>
                  <a:pt x="7928778" y="6480277"/>
                </a:cubicBezTo>
                <a:cubicBezTo>
                  <a:pt x="7929548" y="6474648"/>
                  <a:pt x="7944168" y="6463391"/>
                  <a:pt x="7958019" y="6449575"/>
                </a:cubicBezTo>
                <a:cubicBezTo>
                  <a:pt x="7961610" y="6445994"/>
                  <a:pt x="7967509" y="6440109"/>
                  <a:pt x="7974178" y="6433457"/>
                </a:cubicBezTo>
                <a:cubicBezTo>
                  <a:pt x="7972382" y="6426550"/>
                  <a:pt x="7973152" y="6420921"/>
                  <a:pt x="7976230" y="6416827"/>
                </a:cubicBezTo>
                <a:cubicBezTo>
                  <a:pt x="7980077" y="6411711"/>
                  <a:pt x="7987003" y="6409664"/>
                  <a:pt x="7997263" y="6410176"/>
                </a:cubicBezTo>
                <a:cubicBezTo>
                  <a:pt x="8009831" y="6397639"/>
                  <a:pt x="8021117" y="6386382"/>
                  <a:pt x="8024964" y="6382289"/>
                </a:cubicBezTo>
                <a:cubicBezTo>
                  <a:pt x="8033941" y="6373334"/>
                  <a:pt x="8043432" y="6364124"/>
                  <a:pt x="8047536" y="6364635"/>
                </a:cubicBezTo>
                <a:cubicBezTo>
                  <a:pt x="8050870" y="6365147"/>
                  <a:pt x="8052666" y="6368217"/>
                  <a:pt x="8053948" y="6376916"/>
                </a:cubicBezTo>
                <a:cubicBezTo>
                  <a:pt x="8054974" y="6384591"/>
                  <a:pt x="8057539" y="6406850"/>
                  <a:pt x="8058822" y="6421688"/>
                </a:cubicBezTo>
                <a:cubicBezTo>
                  <a:pt x="8072672" y="6425014"/>
                  <a:pt x="8085497" y="6428852"/>
                  <a:pt x="8097296" y="6432434"/>
                </a:cubicBezTo>
                <a:cubicBezTo>
                  <a:pt x="8095757" y="6330864"/>
                  <a:pt x="8084215" y="6309373"/>
                  <a:pt x="8063182" y="6306559"/>
                </a:cubicBezTo>
                <a:close/>
                <a:moveTo>
                  <a:pt x="4802415" y="0"/>
                </a:moveTo>
                <a:lnTo>
                  <a:pt x="5373009" y="0"/>
                </a:lnTo>
                <a:lnTo>
                  <a:pt x="8497208" y="0"/>
                </a:lnTo>
                <a:lnTo>
                  <a:pt x="8497208" y="1"/>
                </a:lnTo>
                <a:lnTo>
                  <a:pt x="8497208" y="2601686"/>
                </a:lnTo>
                <a:lnTo>
                  <a:pt x="8497208" y="6858000"/>
                </a:lnTo>
                <a:lnTo>
                  <a:pt x="8497208" y="6858001"/>
                </a:lnTo>
                <a:lnTo>
                  <a:pt x="0" y="6858001"/>
                </a:lnTo>
                <a:lnTo>
                  <a:pt x="67701" y="6814599"/>
                </a:lnTo>
                <a:cubicBezTo>
                  <a:pt x="1153758" y="6080874"/>
                  <a:pt x="1867809" y="4838326"/>
                  <a:pt x="1867809" y="3429001"/>
                </a:cubicBezTo>
                <a:cubicBezTo>
                  <a:pt x="1867809" y="2019677"/>
                  <a:pt x="1153758" y="777128"/>
                  <a:pt x="67701" y="43403"/>
                </a:cubicBezTo>
                <a:lnTo>
                  <a:pt x="1" y="1"/>
                </a:lnTo>
                <a:lnTo>
                  <a:pt x="4802413" y="1"/>
                </a:lnTo>
                <a:close/>
              </a:path>
            </a:pathLst>
          </a:custGeom>
        </p:spPr>
        <p:txBody>
          <a:bodyPr wrap="square" tIns="360000" bIns="640080" anchor="ctr" anchorCtr="0">
            <a:noAutofit/>
          </a:bodyPr>
          <a:lstStyle>
            <a:lvl1pPr marL="0" marR="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sz="1600" b="1"/>
            </a:lvl1pPr>
          </a:lstStyle>
          <a:p>
            <a:r>
              <a:rPr lang="en-US" dirty="0"/>
              <a:t>_______________________________</a:t>
            </a:r>
            <a:br>
              <a:rPr lang="en-US" dirty="0"/>
            </a:b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br>
              <a:rPr lang="en-US" dirty="0"/>
            </a:br>
            <a:br>
              <a:rPr lang="en-US" dirty="0"/>
            </a:b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10" name="Date Placeholder 9">
            <a:extLst>
              <a:ext uri="{FF2B5EF4-FFF2-40B4-BE49-F238E27FC236}">
                <a16:creationId xmlns:a16="http://schemas.microsoft.com/office/drawing/2014/main" id="{41CC83E6-E70E-43EE-817C-4F68FB75EFD9}"/>
              </a:ext>
            </a:extLst>
          </p:cNvPr>
          <p:cNvSpPr>
            <a:spLocks noGrp="1"/>
          </p:cNvSpPr>
          <p:nvPr>
            <p:ph type="dt" sz="half" idx="35"/>
          </p:nvPr>
        </p:nvSpPr>
        <p:spPr/>
        <p:txBody>
          <a:bodyPr/>
          <a:lstStyle>
            <a:lvl1pPr>
              <a:lnSpc>
                <a:spcPct val="100000"/>
              </a:lnSpc>
              <a:defRPr/>
            </a:lvl1pPr>
          </a:lstStyle>
          <a:p>
            <a:endParaRPr lang="en-GB"/>
          </a:p>
        </p:txBody>
      </p:sp>
    </p:spTree>
    <p:custDataLst>
      <p:tags r:id="rId1"/>
    </p:custDataLst>
    <p:extLst>
      <p:ext uri="{BB962C8B-B14F-4D97-AF65-F5344CB8AC3E}">
        <p14:creationId xmlns:p14="http://schemas.microsoft.com/office/powerpoint/2010/main" val="22659270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Key State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CFFF0-7218-4B33-8DFC-E37157D920C0}"/>
              </a:ext>
            </a:extLst>
          </p:cNvPr>
          <p:cNvSpPr>
            <a:spLocks noGrp="1"/>
          </p:cNvSpPr>
          <p:nvPr>
            <p:ph type="title" hasCustomPrompt="1"/>
          </p:nvPr>
        </p:nvSpPr>
        <p:spPr>
          <a:xfrm>
            <a:off x="3288323" y="555585"/>
            <a:ext cx="5615355" cy="5614275"/>
          </a:xfrm>
          <a:prstGeom prst="ellipse">
            <a:avLst/>
          </a:prstGeom>
          <a:solidFill>
            <a:schemeClr val="bg1"/>
          </a:solidFill>
        </p:spPr>
        <p:txBody>
          <a:bodyPr anchor="ctr" anchorCtr="0">
            <a:normAutofit/>
          </a:bodyPr>
          <a:lstStyle>
            <a:lvl1pPr algn="ctr">
              <a:lnSpc>
                <a:spcPct val="100000"/>
              </a:lnSpc>
              <a:defRPr sz="4000">
                <a:solidFill>
                  <a:schemeClr val="accent1"/>
                </a:solidFill>
              </a:defRPr>
            </a:lvl1pPr>
          </a:lstStyle>
          <a:p>
            <a:r>
              <a:rPr lang="en-US" dirty="0"/>
              <a:t>Click to add key statement</a:t>
            </a:r>
          </a:p>
        </p:txBody>
      </p:sp>
      <p:sp>
        <p:nvSpPr>
          <p:cNvPr id="3" name="Date Placeholder 2">
            <a:extLst>
              <a:ext uri="{FF2B5EF4-FFF2-40B4-BE49-F238E27FC236}">
                <a16:creationId xmlns:a16="http://schemas.microsoft.com/office/drawing/2014/main" id="{BA8931D2-AD7B-454A-86A6-EA48B20C0CCA}"/>
              </a:ext>
            </a:extLst>
          </p:cNvPr>
          <p:cNvSpPr>
            <a:spLocks noGrp="1"/>
          </p:cNvSpPr>
          <p:nvPr>
            <p:ph type="dt" sz="half" idx="10"/>
          </p:nvPr>
        </p:nvSpPr>
        <p:spPr/>
        <p:txBody>
          <a:bodyPr/>
          <a:lstStyle>
            <a:lvl1pPr>
              <a:lnSpc>
                <a:spcPct val="100000"/>
              </a:lnSpc>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5C0FD97D-3F39-4649-B10A-ECD97F370F22}"/>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spTree>
    <p:custDataLst>
      <p:tags r:id="rId1"/>
    </p:custDataLst>
    <p:extLst>
      <p:ext uri="{BB962C8B-B14F-4D97-AF65-F5344CB8AC3E}">
        <p14:creationId xmlns:p14="http://schemas.microsoft.com/office/powerpoint/2010/main" val="35228570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p:txBody>
          <a:bodyPr/>
          <a:lstStyle>
            <a:lvl1pPr>
              <a:lnSpc>
                <a:spcPct val="100000"/>
              </a:lnSpc>
              <a:defRPr/>
            </a:lvl1pPr>
          </a:lstStyle>
          <a:p>
            <a:endParaRPr lang="en-GB" dirty="0"/>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dirty="0"/>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9" y="6200776"/>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1942717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55">
          <p15:clr>
            <a:srgbClr val="A4A3A4"/>
          </p15:clr>
        </p15:guide>
        <p15:guide id="2" pos="1951">
          <p15:clr>
            <a:srgbClr val="A4A3A4"/>
          </p15:clr>
        </p15:guide>
        <p15:guide id="3" pos="3464">
          <p15:clr>
            <a:srgbClr val="A4A3A4"/>
          </p15:clr>
        </p15:guide>
        <p15:guide id="4" pos="3559">
          <p15:clr>
            <a:srgbClr val="A4A3A4"/>
          </p15:clr>
        </p15:guide>
        <p15:guide id="5" pos="5072">
          <p15:clr>
            <a:srgbClr val="A4A3A4"/>
          </p15:clr>
        </p15:guide>
        <p15:guide id="6" pos="5168">
          <p15:clr>
            <a:srgbClr val="A4A3A4"/>
          </p15:clr>
        </p15:guide>
        <p15:guide id="7" pos="6679">
          <p15:clr>
            <a:srgbClr val="A4A3A4"/>
          </p15:clr>
        </p15:guide>
        <p15:guide id="8" pos="6776">
          <p15:clr>
            <a:srgbClr val="A4A3A4"/>
          </p15:clr>
        </p15:guide>
        <p15:guide id="9" pos="8287">
          <p15:clr>
            <a:srgbClr val="A4A3A4"/>
          </p15:clr>
        </p15:guide>
        <p15:guide id="10" pos="8384">
          <p15:clr>
            <a:srgbClr val="A4A3A4"/>
          </p15:clr>
        </p15:guide>
        <p15:guide id="11" orient="horz" pos="1187">
          <p15:clr>
            <a:srgbClr val="C35EA4"/>
          </p15:clr>
        </p15:guide>
        <p15:guide id="12" orient="horz" pos="1308">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B03F247-4297-4973-90A3-0193475AC741}"/>
              </a:ext>
            </a:extLst>
          </p:cNvPr>
          <p:cNvSpPr>
            <a:spLocks noGrp="1"/>
          </p:cNvSpPr>
          <p:nvPr>
            <p:ph type="dt" sz="half" idx="10"/>
          </p:nvPr>
        </p:nvSpPr>
        <p:spPr/>
        <p:txBody>
          <a:bodyPr/>
          <a:lstStyle>
            <a:lvl1pPr>
              <a:lnSpc>
                <a:spcPct val="100000"/>
              </a:lnSpc>
              <a:defRPr/>
            </a:lvl1pPr>
          </a:lstStyle>
          <a:p>
            <a:endParaRPr lang="en-GB"/>
          </a:p>
        </p:txBody>
      </p:sp>
      <p:sp>
        <p:nvSpPr>
          <p:cNvPr id="11" name="Slide Number Placeholder 10">
            <a:extLst>
              <a:ext uri="{FF2B5EF4-FFF2-40B4-BE49-F238E27FC236}">
                <a16:creationId xmlns:a16="http://schemas.microsoft.com/office/drawing/2014/main" id="{E358DA9E-BDF5-4DC7-B478-434301DA6253}"/>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07989" y="6200776"/>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732202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_Confidentiality Notic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48B27A-10B7-4200-88E7-16263562F97B}"/>
              </a:ext>
            </a:extLst>
          </p:cNvPr>
          <p:cNvSpPr txBox="1"/>
          <p:nvPr userDrawn="1"/>
        </p:nvSpPr>
        <p:spPr>
          <a:xfrm>
            <a:off x="419101" y="4864101"/>
            <a:ext cx="9156700" cy="1028700"/>
          </a:xfrm>
          <a:prstGeom prst="rect">
            <a:avLst/>
          </a:prstGeom>
          <a:noFill/>
        </p:spPr>
        <p:txBody>
          <a:bodyPr wrap="square" rtlCol="0">
            <a:noAutofit/>
          </a:bodyPr>
          <a:lstStyle/>
          <a:p>
            <a:pPr marL="12700">
              <a:lnSpc>
                <a:spcPct val="100000"/>
              </a:lnSpc>
              <a:spcBef>
                <a:spcPts val="100"/>
              </a:spcBef>
            </a:pPr>
            <a:r>
              <a:rPr lang="en-US" sz="1200" b="1" spc="-5">
                <a:solidFill>
                  <a:schemeClr val="tx1"/>
                </a:solidFill>
                <a:latin typeface="+mn-lt"/>
                <a:cs typeface="Arial"/>
              </a:rPr>
              <a:t>Confidentiality</a:t>
            </a:r>
            <a:r>
              <a:rPr lang="en-US" sz="1200" b="1" spc="-11">
                <a:solidFill>
                  <a:schemeClr val="tx1"/>
                </a:solidFill>
                <a:latin typeface="+mn-lt"/>
                <a:cs typeface="Arial"/>
              </a:rPr>
              <a:t> </a:t>
            </a:r>
            <a:r>
              <a:rPr lang="en-US" sz="1200" b="1" spc="-5">
                <a:solidFill>
                  <a:schemeClr val="tx1"/>
                </a:solidFill>
                <a:latin typeface="+mn-lt"/>
                <a:cs typeface="Arial"/>
              </a:rPr>
              <a:t>Notice</a:t>
            </a:r>
            <a:endParaRPr lang="en-US" sz="1200">
              <a:solidFill>
                <a:schemeClr val="tx1"/>
              </a:solidFill>
              <a:latin typeface="+mn-lt"/>
              <a:cs typeface="Arial"/>
            </a:endParaRPr>
          </a:p>
          <a:p>
            <a:pPr marL="26670" marR="5080">
              <a:lnSpc>
                <a:spcPct val="100000"/>
              </a:lnSpc>
              <a:spcBef>
                <a:spcPts val="780"/>
              </a:spcBef>
            </a:pPr>
            <a:r>
              <a:rPr lang="en-US" sz="1200" spc="5">
                <a:solidFill>
                  <a:schemeClr val="tx1"/>
                </a:solidFill>
                <a:latin typeface="+mn-lt"/>
                <a:cs typeface="Arial"/>
              </a:rPr>
              <a:t>This </a:t>
            </a:r>
            <a:r>
              <a:rPr lang="en-US" sz="1200">
                <a:solidFill>
                  <a:schemeClr val="tx1"/>
                </a:solidFill>
                <a:latin typeface="+mn-lt"/>
                <a:cs typeface="Arial"/>
              </a:rPr>
              <a:t>file is </a:t>
            </a:r>
            <a:r>
              <a:rPr lang="en-US" sz="1200" spc="5">
                <a:solidFill>
                  <a:schemeClr val="tx1"/>
                </a:solidFill>
                <a:latin typeface="+mn-lt"/>
                <a:cs typeface="Arial"/>
              </a:rPr>
              <a:t>private </a:t>
            </a:r>
            <a:r>
              <a:rPr lang="en-US" sz="1200" spc="11">
                <a:solidFill>
                  <a:schemeClr val="tx1"/>
                </a:solidFill>
                <a:latin typeface="+mn-lt"/>
                <a:cs typeface="Arial"/>
              </a:rPr>
              <a:t>and may contain confidential and proprietary information. </a:t>
            </a:r>
            <a:r>
              <a:rPr lang="en-US" sz="1200">
                <a:solidFill>
                  <a:schemeClr val="tx1"/>
                </a:solidFill>
                <a:latin typeface="+mn-lt"/>
                <a:cs typeface="Arial"/>
              </a:rPr>
              <a:t>If </a:t>
            </a:r>
            <a:r>
              <a:rPr lang="en-US" sz="1200" spc="11">
                <a:solidFill>
                  <a:schemeClr val="tx1"/>
                </a:solidFill>
                <a:latin typeface="+mn-lt"/>
                <a:cs typeface="Arial"/>
              </a:rPr>
              <a:t>you have received </a:t>
            </a:r>
            <a:r>
              <a:rPr lang="en-US" sz="1200" spc="5">
                <a:solidFill>
                  <a:schemeClr val="tx1"/>
                </a:solidFill>
                <a:latin typeface="+mn-lt"/>
                <a:cs typeface="Arial"/>
              </a:rPr>
              <a:t>this </a:t>
            </a:r>
            <a:r>
              <a:rPr lang="en-US" sz="1200">
                <a:solidFill>
                  <a:schemeClr val="tx1"/>
                </a:solidFill>
                <a:latin typeface="+mn-lt"/>
                <a:cs typeface="Arial"/>
              </a:rPr>
              <a:t>file in </a:t>
            </a:r>
            <a:r>
              <a:rPr lang="en-US" sz="1200" spc="11">
                <a:solidFill>
                  <a:schemeClr val="tx1"/>
                </a:solidFill>
                <a:latin typeface="+mn-lt"/>
                <a:cs typeface="Arial"/>
              </a:rPr>
              <a:t>error, please </a:t>
            </a:r>
            <a:r>
              <a:rPr lang="en-US" sz="1200" spc="5">
                <a:solidFill>
                  <a:schemeClr val="tx1"/>
                </a:solidFill>
                <a:latin typeface="+mn-lt"/>
                <a:cs typeface="Arial"/>
              </a:rPr>
              <a:t>notify us </a:t>
            </a:r>
            <a:r>
              <a:rPr lang="en-US" sz="1200" spc="11">
                <a:solidFill>
                  <a:schemeClr val="tx1"/>
                </a:solidFill>
                <a:latin typeface="+mn-lt"/>
                <a:cs typeface="Arial"/>
              </a:rPr>
              <a:t>and remove  </a:t>
            </a:r>
            <a:r>
              <a:rPr lang="en-US" sz="1200">
                <a:solidFill>
                  <a:schemeClr val="tx1"/>
                </a:solidFill>
                <a:latin typeface="+mn-lt"/>
                <a:cs typeface="Arial"/>
              </a:rPr>
              <a:t>it </a:t>
            </a:r>
            <a:r>
              <a:rPr lang="en-US" sz="1200" spc="5">
                <a:solidFill>
                  <a:schemeClr val="tx1"/>
                </a:solidFill>
                <a:latin typeface="+mn-lt"/>
                <a:cs typeface="Arial"/>
              </a:rPr>
              <a:t>from </a:t>
            </a:r>
            <a:r>
              <a:rPr lang="en-US" sz="1200" spc="11">
                <a:solidFill>
                  <a:schemeClr val="tx1"/>
                </a:solidFill>
                <a:latin typeface="+mn-lt"/>
                <a:cs typeface="Arial"/>
              </a:rPr>
              <a:t>your system and </a:t>
            </a:r>
            <a:r>
              <a:rPr lang="en-US" sz="1200" spc="5">
                <a:solidFill>
                  <a:schemeClr val="tx1"/>
                </a:solidFill>
                <a:latin typeface="+mn-lt"/>
                <a:cs typeface="Arial"/>
              </a:rPr>
              <a:t>note that </a:t>
            </a:r>
            <a:r>
              <a:rPr lang="en-US" sz="1200" spc="11">
                <a:solidFill>
                  <a:schemeClr val="tx1"/>
                </a:solidFill>
                <a:latin typeface="+mn-lt"/>
                <a:cs typeface="Arial"/>
              </a:rPr>
              <a:t>you must not copy, </a:t>
            </a:r>
            <a:r>
              <a:rPr lang="en-US" sz="1200" spc="5">
                <a:solidFill>
                  <a:schemeClr val="tx1"/>
                </a:solidFill>
                <a:latin typeface="+mn-lt"/>
                <a:cs typeface="Arial"/>
              </a:rPr>
              <a:t>distribute or take </a:t>
            </a:r>
            <a:r>
              <a:rPr lang="en-US" sz="1200" spc="11">
                <a:solidFill>
                  <a:schemeClr val="tx1"/>
                </a:solidFill>
                <a:latin typeface="+mn-lt"/>
                <a:cs typeface="Arial"/>
              </a:rPr>
              <a:t>any </a:t>
            </a:r>
            <a:r>
              <a:rPr lang="en-US" sz="1200" spc="5">
                <a:solidFill>
                  <a:schemeClr val="tx1"/>
                </a:solidFill>
                <a:latin typeface="+mn-lt"/>
                <a:cs typeface="Arial"/>
              </a:rPr>
              <a:t>action </a:t>
            </a:r>
            <a:r>
              <a:rPr lang="en-US" sz="1200">
                <a:solidFill>
                  <a:schemeClr val="tx1"/>
                </a:solidFill>
                <a:latin typeface="+mn-lt"/>
                <a:cs typeface="Arial"/>
              </a:rPr>
              <a:t>in </a:t>
            </a:r>
            <a:r>
              <a:rPr lang="en-US" sz="1200" spc="11">
                <a:solidFill>
                  <a:schemeClr val="tx1"/>
                </a:solidFill>
                <a:latin typeface="+mn-lt"/>
                <a:cs typeface="Arial"/>
              </a:rPr>
              <a:t>reliance </a:t>
            </a:r>
            <a:r>
              <a:rPr lang="en-US" sz="1200" spc="5">
                <a:solidFill>
                  <a:schemeClr val="tx1"/>
                </a:solidFill>
                <a:latin typeface="+mn-lt"/>
                <a:cs typeface="Arial"/>
              </a:rPr>
              <a:t>on </a:t>
            </a:r>
            <a:r>
              <a:rPr lang="en-US" sz="1200">
                <a:solidFill>
                  <a:schemeClr val="tx1"/>
                </a:solidFill>
                <a:latin typeface="+mn-lt"/>
                <a:cs typeface="Arial"/>
              </a:rPr>
              <a:t>it. </a:t>
            </a:r>
            <a:r>
              <a:rPr lang="en-US" sz="1200" spc="11">
                <a:solidFill>
                  <a:schemeClr val="tx1"/>
                </a:solidFill>
                <a:latin typeface="+mn-lt"/>
                <a:cs typeface="Arial"/>
              </a:rPr>
              <a:t>Any unauthorized use </a:t>
            </a:r>
            <a:r>
              <a:rPr lang="en-US" sz="1200" spc="5">
                <a:solidFill>
                  <a:schemeClr val="tx1"/>
                </a:solidFill>
                <a:latin typeface="+mn-lt"/>
                <a:cs typeface="Arial"/>
              </a:rPr>
              <a:t>or </a:t>
            </a:r>
            <a:r>
              <a:rPr lang="en-US" sz="1200" spc="11">
                <a:solidFill>
                  <a:schemeClr val="tx1"/>
                </a:solidFill>
                <a:latin typeface="+mn-lt"/>
                <a:cs typeface="Arial"/>
              </a:rPr>
              <a:t>disclosure </a:t>
            </a:r>
            <a:r>
              <a:rPr lang="en-US" sz="1200" spc="5">
                <a:solidFill>
                  <a:schemeClr val="tx1"/>
                </a:solidFill>
                <a:latin typeface="+mn-lt"/>
                <a:cs typeface="Arial"/>
              </a:rPr>
              <a:t>of the  </a:t>
            </a:r>
            <a:r>
              <a:rPr lang="en-US" sz="1200" spc="11">
                <a:solidFill>
                  <a:schemeClr val="tx1"/>
                </a:solidFill>
                <a:latin typeface="+mn-lt"/>
                <a:cs typeface="Arial"/>
              </a:rPr>
              <a:t>contents </a:t>
            </a:r>
            <a:r>
              <a:rPr lang="en-US" sz="1200" spc="5">
                <a:solidFill>
                  <a:schemeClr val="tx1"/>
                </a:solidFill>
                <a:latin typeface="+mn-lt"/>
                <a:cs typeface="Arial"/>
              </a:rPr>
              <a:t>of this </a:t>
            </a:r>
            <a:r>
              <a:rPr lang="en-US" sz="1200">
                <a:solidFill>
                  <a:schemeClr val="tx1"/>
                </a:solidFill>
                <a:latin typeface="+mn-lt"/>
                <a:cs typeface="Arial"/>
              </a:rPr>
              <a:t>file is </a:t>
            </a:r>
            <a:r>
              <a:rPr lang="en-US" sz="1200" spc="11">
                <a:solidFill>
                  <a:schemeClr val="tx1"/>
                </a:solidFill>
                <a:latin typeface="+mn-lt"/>
                <a:cs typeface="Arial"/>
              </a:rPr>
              <a:t>not permitted and may </a:t>
            </a:r>
            <a:r>
              <a:rPr lang="en-US" sz="1200" spc="5">
                <a:solidFill>
                  <a:schemeClr val="tx1"/>
                </a:solidFill>
                <a:latin typeface="+mn-lt"/>
                <a:cs typeface="Arial"/>
              </a:rPr>
              <a:t>be </a:t>
            </a:r>
            <a:r>
              <a:rPr lang="en-US" sz="1200" spc="11">
                <a:solidFill>
                  <a:schemeClr val="tx1"/>
                </a:solidFill>
                <a:latin typeface="+mn-lt"/>
                <a:cs typeface="Arial"/>
              </a:rPr>
              <a:t>unlawful. AstraZeneca PLC, </a:t>
            </a:r>
            <a:r>
              <a:rPr lang="en-US" sz="1200">
                <a:solidFill>
                  <a:schemeClr val="tx1"/>
                </a:solidFill>
                <a:latin typeface="+mn-lt"/>
                <a:cs typeface="Arial"/>
              </a:rPr>
              <a:t>1 </a:t>
            </a:r>
            <a:r>
              <a:rPr lang="en-US" sz="1200" spc="11">
                <a:solidFill>
                  <a:schemeClr val="tx1"/>
                </a:solidFill>
                <a:latin typeface="+mn-lt"/>
                <a:cs typeface="Arial"/>
              </a:rPr>
              <a:t>Francis Crick Avenue, Cambridge Biomedical </a:t>
            </a:r>
            <a:r>
              <a:rPr lang="en-US" sz="1200" spc="15">
                <a:solidFill>
                  <a:schemeClr val="tx1"/>
                </a:solidFill>
                <a:latin typeface="+mn-lt"/>
                <a:cs typeface="Arial"/>
              </a:rPr>
              <a:t>Campus,  </a:t>
            </a:r>
            <a:r>
              <a:rPr lang="en-US" sz="1200" spc="11">
                <a:solidFill>
                  <a:schemeClr val="tx1"/>
                </a:solidFill>
                <a:latin typeface="+mn-lt"/>
                <a:cs typeface="Arial"/>
              </a:rPr>
              <a:t>Cambridge, CB2 0AA, UK, </a:t>
            </a:r>
            <a:r>
              <a:rPr lang="en-US" sz="1200" spc="5">
                <a:solidFill>
                  <a:schemeClr val="tx1"/>
                </a:solidFill>
                <a:latin typeface="+mn-lt"/>
                <a:cs typeface="Arial"/>
              </a:rPr>
              <a:t>T: </a:t>
            </a:r>
            <a:r>
              <a:rPr lang="en-US" sz="1200" spc="11">
                <a:solidFill>
                  <a:schemeClr val="tx1"/>
                </a:solidFill>
                <a:latin typeface="+mn-lt"/>
                <a:cs typeface="Arial"/>
              </a:rPr>
              <a:t>+44(0)203 749 5000,</a:t>
            </a:r>
            <a:r>
              <a:rPr lang="en-US" sz="1200" spc="85">
                <a:solidFill>
                  <a:schemeClr val="tx1"/>
                </a:solidFill>
                <a:latin typeface="+mn-lt"/>
                <a:cs typeface="Arial"/>
              </a:rPr>
              <a:t> </a:t>
            </a:r>
            <a:r>
              <a:rPr lang="en-US" sz="1200" u="none" spc="11">
                <a:solidFill>
                  <a:schemeClr val="tx1"/>
                </a:solidFill>
                <a:latin typeface="+mn-lt"/>
                <a:cs typeface="Arial"/>
              </a:rPr>
              <a:t>www.astrazeneca.com</a:t>
            </a:r>
            <a:endParaRPr lang="en-US" sz="1200">
              <a:solidFill>
                <a:schemeClr val="tx1"/>
              </a:solidFill>
            </a:endParaRPr>
          </a:p>
        </p:txBody>
      </p:sp>
      <p:sp>
        <p:nvSpPr>
          <p:cNvPr id="4" name="Date Placeholder 3">
            <a:extLst>
              <a:ext uri="{FF2B5EF4-FFF2-40B4-BE49-F238E27FC236}">
                <a16:creationId xmlns:a16="http://schemas.microsoft.com/office/drawing/2014/main" id="{2AB750B5-01B2-430D-BF92-6E5CD93388D3}"/>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id="{25C10CA0-7F28-40CE-9633-59C6800E7665}"/>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Tree>
    <p:custDataLst>
      <p:tags r:id="rId1"/>
    </p:custDataLst>
    <p:extLst>
      <p:ext uri="{BB962C8B-B14F-4D97-AF65-F5344CB8AC3E}">
        <p14:creationId xmlns:p14="http://schemas.microsoft.com/office/powerpoint/2010/main" val="1215366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5"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90000"/>
              </a:lnSpc>
            </a:pPr>
            <a:r>
              <a:rPr lang="en-US" sz="9600" dirty="0"/>
              <a:t>Do not use layouts</a:t>
            </a:r>
            <a:br>
              <a:rPr lang="en-US" sz="9600" dirty="0"/>
            </a:br>
            <a:r>
              <a:rPr lang="en-US" sz="9600" dirty="0"/>
              <a:t>in this section appearing after this point. </a:t>
            </a:r>
          </a:p>
        </p:txBody>
      </p:sp>
      <p:sp>
        <p:nvSpPr>
          <p:cNvPr id="4" name="DO NOT DELETE (BRANDIN)">
            <a:extLst>
              <a:ext uri="{FF2B5EF4-FFF2-40B4-BE49-F238E27FC236}">
                <a16:creationId xmlns:a16="http://schemas.microsoft.com/office/drawing/2014/main" id="{69877D48-052F-814D-ACE8-304F09202645}"/>
              </a:ext>
            </a:extLst>
          </p:cNvPr>
          <p:cNvSpPr/>
          <p:nvPr userDrawn="1"/>
        </p:nvSpPr>
        <p:spPr>
          <a:xfrm>
            <a:off x="152400" y="15240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120000"/>
              </a:lnSpc>
              <a:spcAft>
                <a:spcPts val="600"/>
              </a:spcAft>
            </a:pPr>
            <a:endParaRPr lang="en-US" sz="1800" dirty="0" err="1"/>
          </a:p>
        </p:txBody>
      </p:sp>
    </p:spTree>
    <p:custDataLst>
      <p:custData r:id="rId1"/>
      <p:tags r:id="rId2"/>
    </p:custDataLst>
    <p:extLst>
      <p:ext uri="{BB962C8B-B14F-4D97-AF65-F5344CB8AC3E}">
        <p14:creationId xmlns:p14="http://schemas.microsoft.com/office/powerpoint/2010/main" val="1782703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345CE3C-4855-AB42-8878-CA4D952BE4D7}" type="datetimeFigureOut">
              <a:rPr lang="en-US" smtClean="0"/>
              <a:t>4/1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31D9AD-9C59-E949-A677-B00AA5613CE9}" type="slidenum">
              <a:rPr lang="en-US" smtClean="0"/>
              <a:t>‹#›</a:t>
            </a:fld>
            <a:endParaRPr lang="en-US"/>
          </a:p>
        </p:txBody>
      </p:sp>
    </p:spTree>
    <p:extLst>
      <p:ext uri="{BB962C8B-B14F-4D97-AF65-F5344CB8AC3E}">
        <p14:creationId xmlns:p14="http://schemas.microsoft.com/office/powerpoint/2010/main" val="3199846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woObj">
  <p:cSld name="1_Dos contenid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4B9105-A356-3043-A04D-A8EAE8F8717D}"/>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8C5A150B-5466-0149-A195-0661320D3F23}"/>
              </a:ext>
            </a:extLst>
          </p:cNvPr>
          <p:cNvSpPr>
            <a:spLocks noGrp="1"/>
          </p:cNvSpPr>
          <p:nvPr>
            <p:ph sz="half" idx="1"/>
          </p:nvPr>
        </p:nvSpPr>
        <p:spPr>
          <a:xfrm>
            <a:off x="838200" y="1825625"/>
            <a:ext cx="5181600" cy="4351339"/>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5E919A09-85E6-E448-9EEF-71EE87BCCF91}"/>
              </a:ext>
            </a:extLst>
          </p:cNvPr>
          <p:cNvSpPr>
            <a:spLocks noGrp="1"/>
          </p:cNvSpPr>
          <p:nvPr>
            <p:ph sz="half" idx="2"/>
          </p:nvPr>
        </p:nvSpPr>
        <p:spPr>
          <a:xfrm>
            <a:off x="6172200" y="1825625"/>
            <a:ext cx="5181600" cy="4351339"/>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posición de fecha 4">
            <a:extLst>
              <a:ext uri="{FF2B5EF4-FFF2-40B4-BE49-F238E27FC236}">
                <a16:creationId xmlns:a16="http://schemas.microsoft.com/office/drawing/2014/main" id="{64F7E115-5E04-E343-9C60-07E44136E42F}"/>
              </a:ext>
            </a:extLst>
          </p:cNvPr>
          <p:cNvSpPr>
            <a:spLocks noGrp="1"/>
          </p:cNvSpPr>
          <p:nvPr>
            <p:ph type="dt" sz="half" idx="10"/>
          </p:nvPr>
        </p:nvSpPr>
        <p:spPr/>
        <p:txBody>
          <a:bodyPr/>
          <a:lstStyle/>
          <a:p>
            <a:fld id="{6465687F-4B19-7F42-91D9-5979BBCE6F7A}" type="datetimeFigureOut">
              <a:rPr lang="es-ES" smtClean="0"/>
              <a:t>12/4/26</a:t>
            </a:fld>
            <a:endParaRPr lang="es-ES"/>
          </a:p>
        </p:txBody>
      </p:sp>
      <p:sp>
        <p:nvSpPr>
          <p:cNvPr id="6" name="Marcador de posición de pie de página 5">
            <a:extLst>
              <a:ext uri="{FF2B5EF4-FFF2-40B4-BE49-F238E27FC236}">
                <a16:creationId xmlns:a16="http://schemas.microsoft.com/office/drawing/2014/main" id="{E5F7B6D9-3992-5747-AE00-96C674BE50A8}"/>
              </a:ext>
            </a:extLst>
          </p:cNvPr>
          <p:cNvSpPr>
            <a:spLocks noGrp="1"/>
          </p:cNvSpPr>
          <p:nvPr>
            <p:ph type="ftr" sz="quarter" idx="11"/>
          </p:nvPr>
        </p:nvSpPr>
        <p:spPr/>
        <p:txBody>
          <a:bodyPr/>
          <a:lstStyle/>
          <a:p>
            <a:endParaRPr lang="es-ES"/>
          </a:p>
        </p:txBody>
      </p:sp>
      <p:sp>
        <p:nvSpPr>
          <p:cNvPr id="7" name="Marcador de posición de número de diapositiva 6">
            <a:extLst>
              <a:ext uri="{FF2B5EF4-FFF2-40B4-BE49-F238E27FC236}">
                <a16:creationId xmlns:a16="http://schemas.microsoft.com/office/drawing/2014/main" id="{A3B26273-28AE-8A43-AF0E-4864D813C75E}"/>
              </a:ext>
            </a:extLst>
          </p:cNvPr>
          <p:cNvSpPr>
            <a:spLocks noGrp="1"/>
          </p:cNvSpPr>
          <p:nvPr>
            <p:ph type="sldNum" sz="quarter" idx="12"/>
          </p:nvPr>
        </p:nvSpPr>
        <p:spPr/>
        <p:txBody>
          <a:bodyPr/>
          <a:lstStyle/>
          <a:p>
            <a:fld id="{5C982749-846C-1741-B0C0-9005FC90850F}" type="slidenum">
              <a:rPr lang="es-ES" smtClean="0"/>
              <a:t>‹#›</a:t>
            </a:fld>
            <a:endParaRPr lang="es-ES"/>
          </a:p>
        </p:txBody>
      </p:sp>
    </p:spTree>
    <p:extLst>
      <p:ext uri="{BB962C8B-B14F-4D97-AF65-F5344CB8AC3E}">
        <p14:creationId xmlns:p14="http://schemas.microsoft.com/office/powerpoint/2010/main" val="3058238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1_General Content">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551FB21A-0E6D-4C3A-92F2-1A4C404F796E}"/>
              </a:ext>
            </a:extLst>
          </p:cNvPr>
          <p:cNvSpPr>
            <a:spLocks noGrp="1"/>
          </p:cNvSpPr>
          <p:nvPr>
            <p:ph type="body" sz="quarter" idx="10" hasCustomPrompt="1"/>
          </p:nvPr>
        </p:nvSpPr>
        <p:spPr>
          <a:xfrm>
            <a:off x="432825" y="452671"/>
            <a:ext cx="8021219" cy="960109"/>
          </a:xfrm>
          <a:prstGeom prst="rect">
            <a:avLst/>
          </a:prstGeom>
        </p:spPr>
        <p:txBody>
          <a:bodyPr/>
          <a:lstStyle>
            <a:lvl1pPr marL="0" indent="0">
              <a:lnSpc>
                <a:spcPts val="3333"/>
              </a:lnSpc>
              <a:spcBef>
                <a:spcPts val="0"/>
              </a:spcBef>
              <a:buNone/>
              <a:defRPr sz="3467" b="0">
                <a:solidFill>
                  <a:srgbClr val="C1002A"/>
                </a:solidFill>
                <a:latin typeface="+mj-lt"/>
              </a:defRPr>
            </a:lvl1pPr>
            <a:lvl2pPr marL="355582" indent="0">
              <a:buNone/>
              <a:defRPr/>
            </a:lvl2pPr>
            <a:lvl3pPr marL="709048" indent="0">
              <a:buNone/>
              <a:defRPr/>
            </a:lvl3pPr>
            <a:lvl4pPr marL="1079446" indent="0">
              <a:buNone/>
              <a:defRPr/>
            </a:lvl4pPr>
            <a:lvl5pPr marL="1435028" indent="0">
              <a:buNone/>
              <a:defRPr/>
            </a:lvl5pPr>
          </a:lstStyle>
          <a:p>
            <a:pPr lvl="0"/>
            <a:r>
              <a:rPr lang="en-US" dirty="0"/>
              <a:t>First line</a:t>
            </a:r>
            <a:r>
              <a:rPr lang="cs-CZ" dirty="0"/>
              <a:t> o</a:t>
            </a:r>
            <a:r>
              <a:rPr lang="en-US" dirty="0"/>
              <a:t>f the headline</a:t>
            </a:r>
          </a:p>
        </p:txBody>
      </p:sp>
      <p:sp>
        <p:nvSpPr>
          <p:cNvPr id="13" name="Espace réservé du contenu 12">
            <a:extLst>
              <a:ext uri="{FF2B5EF4-FFF2-40B4-BE49-F238E27FC236}">
                <a16:creationId xmlns:a16="http://schemas.microsoft.com/office/drawing/2014/main" id="{861B12CF-C574-4831-92D6-4B1240FED72B}"/>
              </a:ext>
            </a:extLst>
          </p:cNvPr>
          <p:cNvSpPr>
            <a:spLocks noGrp="1"/>
          </p:cNvSpPr>
          <p:nvPr>
            <p:ph sz="quarter" idx="11" hasCustomPrompt="1"/>
          </p:nvPr>
        </p:nvSpPr>
        <p:spPr>
          <a:xfrm>
            <a:off x="431801" y="1604435"/>
            <a:ext cx="10368723" cy="4129617"/>
          </a:xfrm>
          <a:prstGeom prst="rect">
            <a:avLst/>
          </a:prstGeom>
        </p:spPr>
        <p:txBody>
          <a:bodyPr/>
          <a:lstStyle>
            <a:lvl1pPr marL="0" indent="0">
              <a:buNone/>
              <a:defRPr sz="1600">
                <a:solidFill>
                  <a:schemeClr val="tx1">
                    <a:lumMod val="65000"/>
                    <a:lumOff val="35000"/>
                  </a:schemeClr>
                </a:solidFill>
                <a:latin typeface="Verdana Pro" panose="020B0604030504040204" pitchFamily="34" charset="0"/>
              </a:defRPr>
            </a:lvl1pPr>
            <a:lvl2pPr marL="355582" indent="0">
              <a:buNone/>
              <a:defRPr sz="1600">
                <a:solidFill>
                  <a:schemeClr val="tx1">
                    <a:lumMod val="95000"/>
                    <a:lumOff val="5000"/>
                  </a:schemeClr>
                </a:solidFill>
                <a:latin typeface="+mj-lt"/>
              </a:defRPr>
            </a:lvl2pPr>
            <a:lvl3pPr marL="709048" indent="0">
              <a:buNone/>
              <a:defRPr sz="1600">
                <a:solidFill>
                  <a:schemeClr val="tx1">
                    <a:lumMod val="95000"/>
                    <a:lumOff val="5000"/>
                  </a:schemeClr>
                </a:solidFill>
                <a:latin typeface="+mj-lt"/>
              </a:defRPr>
            </a:lvl3pPr>
            <a:lvl4pPr marL="1079446" indent="0">
              <a:buNone/>
              <a:defRPr sz="1600">
                <a:solidFill>
                  <a:schemeClr val="tx1">
                    <a:lumMod val="95000"/>
                    <a:lumOff val="5000"/>
                  </a:schemeClr>
                </a:solidFill>
                <a:latin typeface="+mj-lt"/>
              </a:defRPr>
            </a:lvl4pPr>
            <a:lvl5pPr marL="1435028" indent="0">
              <a:buNone/>
              <a:defRPr sz="1600">
                <a:solidFill>
                  <a:schemeClr val="tx1">
                    <a:lumMod val="95000"/>
                    <a:lumOff val="5000"/>
                  </a:schemeClr>
                </a:solidFill>
                <a:latin typeface="+mj-lt"/>
              </a:defRPr>
            </a:lvl5pPr>
          </a:lstStyle>
          <a:p>
            <a:pPr lvl="0"/>
            <a:r>
              <a:rPr lang="cs-CZ" dirty="0" err="1"/>
              <a:t>Content</a:t>
            </a:r>
            <a:endParaRPr lang="fr-FR" dirty="0"/>
          </a:p>
        </p:txBody>
      </p:sp>
      <p:pic>
        <p:nvPicPr>
          <p:cNvPr id="5" name="Picture 4" descr="Text&#10;&#10;Description automatically generated with medium confidence">
            <a:extLst>
              <a:ext uri="{FF2B5EF4-FFF2-40B4-BE49-F238E27FC236}">
                <a16:creationId xmlns:a16="http://schemas.microsoft.com/office/drawing/2014/main" id="{695B8D64-2182-F37F-CD9E-7F8BDF3B9D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876199" y="5915768"/>
            <a:ext cx="2663133" cy="492517"/>
          </a:xfrm>
          <a:prstGeom prst="rect">
            <a:avLst/>
          </a:prstGeom>
        </p:spPr>
      </p:pic>
      <p:pic>
        <p:nvPicPr>
          <p:cNvPr id="4" name="Picture 3" descr="Text&#10;&#10;Description automatically generated">
            <a:extLst>
              <a:ext uri="{FF2B5EF4-FFF2-40B4-BE49-F238E27FC236}">
                <a16:creationId xmlns:a16="http://schemas.microsoft.com/office/drawing/2014/main" id="{532B0D02-2D37-B625-37A0-B7A51A5A269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876199" y="5890941"/>
            <a:ext cx="2802283" cy="517345"/>
          </a:xfrm>
          <a:prstGeom prst="rect">
            <a:avLst/>
          </a:prstGeom>
        </p:spPr>
      </p:pic>
    </p:spTree>
    <p:extLst>
      <p:ext uri="{BB962C8B-B14F-4D97-AF65-F5344CB8AC3E}">
        <p14:creationId xmlns:p14="http://schemas.microsoft.com/office/powerpoint/2010/main" val="12382613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865713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191289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0507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303531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4/12/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57361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4/12/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7354868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12/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407828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4175325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574017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6064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647037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FCF4FF2-4E7F-D663-1AED-29CAEBC8CBDF}"/>
              </a:ext>
            </a:extLst>
          </p:cNvPr>
          <p:cNvSpPr>
            <a:spLocks noGrp="1"/>
          </p:cNvSpPr>
          <p:nvPr>
            <p:ph type="ctrTitle" hasCustomPrompt="1"/>
          </p:nvPr>
        </p:nvSpPr>
        <p:spPr>
          <a:xfrm>
            <a:off x="3840480" y="701040"/>
            <a:ext cx="5760720" cy="616373"/>
          </a:xfrm>
          <a:prstGeom prst="rect">
            <a:avLst/>
          </a:prstGeom>
        </p:spPr>
        <p:txBody>
          <a:bodyPr anchor="t"/>
          <a:lstStyle>
            <a:lvl1pPr algn="l">
              <a:defRPr sz="3200">
                <a:solidFill>
                  <a:schemeClr val="bg1"/>
                </a:solidFill>
                <a:latin typeface="Arial" panose="020B0604020202020204" pitchFamily="34" charset="0"/>
                <a:cs typeface="Arial" panose="020B0604020202020204" pitchFamily="34" charset="0"/>
              </a:defRPr>
            </a:lvl1pPr>
          </a:lstStyle>
          <a:p>
            <a:r>
              <a:rPr lang="it-IT" dirty="0"/>
              <a:t>Inserisci testo</a:t>
            </a:r>
          </a:p>
        </p:txBody>
      </p:sp>
      <p:sp>
        <p:nvSpPr>
          <p:cNvPr id="5" name="Segnaposto testo 4">
            <a:extLst>
              <a:ext uri="{FF2B5EF4-FFF2-40B4-BE49-F238E27FC236}">
                <a16:creationId xmlns:a16="http://schemas.microsoft.com/office/drawing/2014/main" id="{264148BF-08DF-A4F4-3155-D244B2C2C234}"/>
              </a:ext>
            </a:extLst>
          </p:cNvPr>
          <p:cNvSpPr>
            <a:spLocks noGrp="1"/>
          </p:cNvSpPr>
          <p:nvPr>
            <p:ph type="body" sz="quarter" idx="10"/>
          </p:nvPr>
        </p:nvSpPr>
        <p:spPr>
          <a:xfrm>
            <a:off x="681567" y="2275841"/>
            <a:ext cx="8705851" cy="3809577"/>
          </a:xfrm>
          <a:prstGeom prst="rect">
            <a:avLst/>
          </a:prstGeom>
        </p:spPr>
        <p:txBody>
          <a:bodyPr/>
          <a:lstStyle>
            <a:lvl1pPr marL="0" indent="0">
              <a:buNone/>
              <a:defRPr sz="1867">
                <a:solidFill>
                  <a:schemeClr val="bg1"/>
                </a:solidFill>
              </a:defRPr>
            </a:lvl1pPr>
            <a:lvl2pPr marL="609585" indent="0">
              <a:buNone/>
              <a:defRPr sz="1867">
                <a:solidFill>
                  <a:schemeClr val="bg1"/>
                </a:solidFill>
              </a:defRPr>
            </a:lvl2pPr>
            <a:lvl3pPr marL="1219170" indent="0">
              <a:buNone/>
              <a:defRPr sz="1867">
                <a:solidFill>
                  <a:schemeClr val="bg1"/>
                </a:solidFill>
              </a:defRPr>
            </a:lvl3pPr>
            <a:lvl4pPr marL="1828754" indent="0">
              <a:buNone/>
              <a:defRPr sz="1867">
                <a:solidFill>
                  <a:schemeClr val="bg1"/>
                </a:solidFill>
              </a:defRPr>
            </a:lvl4pPr>
            <a:lvl5pPr marL="2438339" indent="0">
              <a:buNone/>
              <a:defRPr sz="1867">
                <a:solidFill>
                  <a:schemeClr val="bg1"/>
                </a:solidFill>
              </a:defRPr>
            </a:lvl5pPr>
          </a:lstStyle>
          <a:p>
            <a:pPr lvl="0"/>
            <a:r>
              <a:rPr lang="it-IT" dirty="0"/>
              <a:t>Fare clic per modificare gli stili del testo dello schema</a:t>
            </a:r>
          </a:p>
        </p:txBody>
      </p:sp>
    </p:spTree>
    <p:extLst>
      <p:ext uri="{BB962C8B-B14F-4D97-AF65-F5344CB8AC3E}">
        <p14:creationId xmlns:p14="http://schemas.microsoft.com/office/powerpoint/2010/main" val="9947324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2043468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5424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56588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929560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4/12/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471349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4/12/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93486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12/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60467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86970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663688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365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41002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sp>
        <p:nvSpPr>
          <p:cNvPr id="3" name="Titolo 1">
            <a:extLst>
              <a:ext uri="{FF2B5EF4-FFF2-40B4-BE49-F238E27FC236}">
                <a16:creationId xmlns:a16="http://schemas.microsoft.com/office/drawing/2014/main" id="{94A8264D-B985-689E-2934-BC1A9A20AEE2}"/>
              </a:ext>
            </a:extLst>
          </p:cNvPr>
          <p:cNvSpPr>
            <a:spLocks noGrp="1"/>
          </p:cNvSpPr>
          <p:nvPr>
            <p:ph type="title"/>
          </p:nvPr>
        </p:nvSpPr>
        <p:spPr>
          <a:xfrm>
            <a:off x="347133" y="366185"/>
            <a:ext cx="11641667" cy="1280583"/>
          </a:xfrm>
          <a:prstGeom prst="rect">
            <a:avLst/>
          </a:prstGeom>
        </p:spPr>
        <p:txBody>
          <a:bodyPr/>
          <a:lstStyle>
            <a:lvl1pPr algn="l">
              <a:defRPr sz="3733" b="1">
                <a:solidFill>
                  <a:srgbClr val="004D72"/>
                </a:solidFill>
                <a:latin typeface="Arial" panose="020B0604020202020204" pitchFamily="34" charset="0"/>
                <a:cs typeface="Arial" panose="020B0604020202020204" pitchFamily="34" charset="0"/>
              </a:defRPr>
            </a:lvl1pPr>
          </a:lstStyle>
          <a:p>
            <a:r>
              <a:rPr lang="it-IT" dirty="0"/>
              <a:t>Fare clic per modificare lo stile del titolo dello schema</a:t>
            </a:r>
          </a:p>
        </p:txBody>
      </p:sp>
      <p:sp>
        <p:nvSpPr>
          <p:cNvPr id="6" name="Segnaposto testo 5">
            <a:extLst>
              <a:ext uri="{FF2B5EF4-FFF2-40B4-BE49-F238E27FC236}">
                <a16:creationId xmlns:a16="http://schemas.microsoft.com/office/drawing/2014/main" id="{19916127-A38A-FA9B-C77B-D914640CBE6D}"/>
              </a:ext>
            </a:extLst>
          </p:cNvPr>
          <p:cNvSpPr>
            <a:spLocks noGrp="1"/>
          </p:cNvSpPr>
          <p:nvPr>
            <p:ph type="body" sz="quarter" idx="12"/>
          </p:nvPr>
        </p:nvSpPr>
        <p:spPr>
          <a:xfrm>
            <a:off x="347133" y="1981200"/>
            <a:ext cx="11641667" cy="4013200"/>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it-IT" dirty="0"/>
              <a:t>Fare clic per modificare gli stili del testo dello schema</a:t>
            </a:r>
          </a:p>
        </p:txBody>
      </p:sp>
      <p:sp>
        <p:nvSpPr>
          <p:cNvPr id="8" name="Segnaposto testo 7">
            <a:extLst>
              <a:ext uri="{FF2B5EF4-FFF2-40B4-BE49-F238E27FC236}">
                <a16:creationId xmlns:a16="http://schemas.microsoft.com/office/drawing/2014/main" id="{FD237066-3002-099D-3657-0ADB4EADADD0}"/>
              </a:ext>
            </a:extLst>
          </p:cNvPr>
          <p:cNvSpPr>
            <a:spLocks noGrp="1"/>
          </p:cNvSpPr>
          <p:nvPr>
            <p:ph type="body" sz="quarter" idx="13"/>
          </p:nvPr>
        </p:nvSpPr>
        <p:spPr>
          <a:xfrm>
            <a:off x="347133" y="6214533"/>
            <a:ext cx="9626600" cy="355600"/>
          </a:xfrm>
          <a:prstGeom prst="rect">
            <a:avLst/>
          </a:prstGeom>
        </p:spPr>
        <p:txBody>
          <a:bodyPr/>
          <a:lstStyle>
            <a:lvl1pPr marL="0" indent="0">
              <a:buNone/>
              <a:defRPr sz="1067">
                <a:latin typeface="Arial" panose="020B0604020202020204" pitchFamily="34" charset="0"/>
                <a:cs typeface="Arial" panose="020B0604020202020204" pitchFamily="34" charset="0"/>
              </a:defRPr>
            </a:lvl1pPr>
            <a:lvl2pPr marL="609585" indent="0">
              <a:buNone/>
              <a:defRPr sz="1067"/>
            </a:lvl2pPr>
            <a:lvl3pPr marL="1219170" indent="0">
              <a:buNone/>
              <a:defRPr sz="1067"/>
            </a:lvl3pPr>
            <a:lvl4pPr marL="1828754" indent="0">
              <a:buNone/>
              <a:defRPr sz="1067"/>
            </a:lvl4pPr>
            <a:lvl5pPr marL="2438339" indent="0">
              <a:buNone/>
              <a:defRPr sz="1067"/>
            </a:lvl5pPr>
          </a:lstStyle>
          <a:p>
            <a:pPr lvl="0"/>
            <a:r>
              <a:rPr lang="it-IT" dirty="0"/>
              <a:t>Fare clic per modificare gli stili del testo dello schema</a:t>
            </a:r>
          </a:p>
        </p:txBody>
      </p:sp>
    </p:spTree>
    <p:extLst>
      <p:ext uri="{BB962C8B-B14F-4D97-AF65-F5344CB8AC3E}">
        <p14:creationId xmlns:p14="http://schemas.microsoft.com/office/powerpoint/2010/main" val="5866842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 Presentation">
    <p:spTree>
      <p:nvGrpSpPr>
        <p:cNvPr id="1" name=""/>
        <p:cNvGrpSpPr/>
        <p:nvPr/>
      </p:nvGrpSpPr>
      <p:grpSpPr>
        <a:xfrm>
          <a:off x="0" y="0"/>
          <a:ext cx="0" cy="0"/>
          <a:chOff x="0" y="0"/>
          <a:chExt cx="0" cy="0"/>
        </a:xfrm>
      </p:grpSpPr>
      <p:pic>
        <p:nvPicPr>
          <p:cNvPr id="9" name="Picture 4" descr="background-main.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3060701"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9"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3" name="Subtitle 2"/>
          <p:cNvSpPr>
            <a:spLocks noGrp="1"/>
          </p:cNvSpPr>
          <p:nvPr>
            <p:ph type="subTitle" idx="1"/>
          </p:nvPr>
        </p:nvSpPr>
        <p:spPr>
          <a:xfrm>
            <a:off x="900000" y="3370147"/>
            <a:ext cx="8028000" cy="553999"/>
          </a:xfrm>
        </p:spPr>
        <p:txBody>
          <a:bodyPr>
            <a:noAutofit/>
          </a:bodyPr>
          <a:lstStyle>
            <a:lvl1pPr marL="0" indent="0" algn="l">
              <a:buNone/>
              <a:defRPr sz="3000">
                <a:solidFill>
                  <a:srgbClr val="81104F"/>
                </a:solidFill>
                <a:latin typeface="Arial Narrow"/>
                <a:cs typeface="Arial Narrow"/>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CH"/>
              <a:t>Click to edit Master subtitle style</a:t>
            </a:r>
            <a:endParaRPr lang="en-US" dirty="0"/>
          </a:p>
        </p:txBody>
      </p:sp>
      <p:sp>
        <p:nvSpPr>
          <p:cNvPr id="19" name="Text Placeholder 18"/>
          <p:cNvSpPr>
            <a:spLocks noGrp="1"/>
          </p:cNvSpPr>
          <p:nvPr>
            <p:ph type="body" sz="quarter" idx="10"/>
          </p:nvPr>
        </p:nvSpPr>
        <p:spPr>
          <a:xfrm>
            <a:off x="900001" y="4578353"/>
            <a:ext cx="5900236" cy="307777"/>
          </a:xfrm>
        </p:spPr>
        <p:txBody>
          <a:bodyPr>
            <a:noAutofit/>
          </a:bodyPr>
          <a:lstStyle>
            <a:lvl1pPr marL="0" indent="0">
              <a:buFontTx/>
              <a:buNone/>
              <a:defRPr sz="1400" b="1">
                <a:solidFill>
                  <a:srgbClr val="81104F"/>
                </a:solidFill>
              </a:defRPr>
            </a:lvl1pPr>
          </a:lstStyle>
          <a:p>
            <a:pPr lvl="0"/>
            <a:r>
              <a:rPr lang="fr-CH"/>
              <a:t>Click to edit Master text styles</a:t>
            </a:r>
          </a:p>
        </p:txBody>
      </p:sp>
      <p:sp>
        <p:nvSpPr>
          <p:cNvPr id="20" name="Text Placeholder 18"/>
          <p:cNvSpPr>
            <a:spLocks noGrp="1"/>
          </p:cNvSpPr>
          <p:nvPr>
            <p:ph type="body" sz="quarter" idx="11"/>
          </p:nvPr>
        </p:nvSpPr>
        <p:spPr>
          <a:xfrm>
            <a:off x="900001" y="4894305"/>
            <a:ext cx="5900236"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
        <p:nvSpPr>
          <p:cNvPr id="21" name="Text Placeholder 18"/>
          <p:cNvSpPr>
            <a:spLocks noGrp="1"/>
          </p:cNvSpPr>
          <p:nvPr>
            <p:ph type="body" sz="quarter" idx="12"/>
          </p:nvPr>
        </p:nvSpPr>
        <p:spPr>
          <a:xfrm>
            <a:off x="900001" y="5966060"/>
            <a:ext cx="5454185"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Tree>
    <p:extLst>
      <p:ext uri="{BB962C8B-B14F-4D97-AF65-F5344CB8AC3E}">
        <p14:creationId xmlns:p14="http://schemas.microsoft.com/office/powerpoint/2010/main" val="1127301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pic>
        <p:nvPicPr>
          <p:cNvPr id="6" name="Picture 4" descr="background-title.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3054349" y="-16728"/>
            <a:ext cx="913765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6" name="Subtitle 2"/>
          <p:cNvSpPr>
            <a:spLocks noGrp="1"/>
          </p:cNvSpPr>
          <p:nvPr>
            <p:ph type="subTitle" idx="1"/>
          </p:nvPr>
        </p:nvSpPr>
        <p:spPr>
          <a:xfrm>
            <a:off x="900000" y="3370147"/>
            <a:ext cx="8028000" cy="553999"/>
          </a:xfrm>
        </p:spPr>
        <p:txBody>
          <a:bodyPr>
            <a:noAutofit/>
          </a:bodyPr>
          <a:lstStyle>
            <a:lvl1pPr marL="0" indent="0" algn="l">
              <a:buNone/>
              <a:defRPr sz="3000">
                <a:solidFill>
                  <a:srgbClr val="81104F"/>
                </a:solidFill>
                <a:latin typeface="Arial Narrow"/>
                <a:cs typeface="Arial Narrow"/>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CH" dirty="0"/>
              <a:t>Click to </a:t>
            </a:r>
            <a:r>
              <a:rPr lang="fr-CH" dirty="0" err="1"/>
              <a:t>edit</a:t>
            </a:r>
            <a:r>
              <a:rPr lang="fr-CH" dirty="0"/>
              <a:t> Master </a:t>
            </a:r>
            <a:r>
              <a:rPr lang="fr-CH" dirty="0" err="1"/>
              <a:t>subtitle</a:t>
            </a:r>
            <a:r>
              <a:rPr lang="fr-CH" dirty="0"/>
              <a:t> style</a:t>
            </a:r>
            <a:endParaRPr lang="en-US" dirty="0"/>
          </a:p>
        </p:txBody>
      </p:sp>
      <p:sp>
        <p:nvSpPr>
          <p:cNvPr id="17" name="TextBox 16">
            <a:extLst>
              <a:ext uri="{FF2B5EF4-FFF2-40B4-BE49-F238E27FC236}">
                <a16:creationId xmlns:a16="http://schemas.microsoft.com/office/drawing/2014/main" id="{11155846-E455-4782-A3EE-C40E6B5EEF6F}"/>
              </a:ext>
            </a:extLst>
          </p:cNvPr>
          <p:cNvSpPr txBox="1"/>
          <p:nvPr userDrawn="1"/>
        </p:nvSpPr>
        <p:spPr>
          <a:xfrm>
            <a:off x="6096001" y="6346181"/>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8" name="Google Shape;17;p14">
            <a:extLst>
              <a:ext uri="{FF2B5EF4-FFF2-40B4-BE49-F238E27FC236}">
                <a16:creationId xmlns:a16="http://schemas.microsoft.com/office/drawing/2014/main" id="{C1D878CB-815A-4A66-87FA-1735865492AC}"/>
              </a:ext>
            </a:extLst>
          </p:cNvPr>
          <p:cNvSpPr txBox="1">
            <a:spLocks noGrp="1"/>
          </p:cNvSpPr>
          <p:nvPr>
            <p:ph type="body" idx="13" hasCustomPrompt="1"/>
          </p:nvPr>
        </p:nvSpPr>
        <p:spPr>
          <a:xfrm>
            <a:off x="608400" y="6284625"/>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739660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1"/>
            <a:ext cx="8028000" cy="553999"/>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3" name="Textplatzhalter 7">
            <a:extLst>
              <a:ext uri="{FF2B5EF4-FFF2-40B4-BE49-F238E27FC236}">
                <a16:creationId xmlns:a16="http://schemas.microsoft.com/office/drawing/2014/main" id="{DF37AAAB-465B-7FFE-3A3D-FCECED7DE996}"/>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19253855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1"/>
            <a:ext cx="8028000" cy="553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ame</a:t>
            </a:r>
            <a:r>
              <a:rPr lang="fr-CH" dirty="0"/>
              <a:t> of </a:t>
            </a:r>
            <a:r>
              <a:rPr lang="fr-CH" dirty="0" err="1"/>
              <a:t>presenter</a:t>
            </a:r>
            <a:r>
              <a:rPr lang="fr-CH" dirty="0"/>
              <a:t> </a:t>
            </a:r>
            <a:r>
              <a:rPr lang="fr-CH" dirty="0" err="1"/>
              <a:t>here</a:t>
            </a:r>
            <a:endParaRPr dirty="0"/>
          </a:p>
        </p:txBody>
      </p:sp>
      <p:sp>
        <p:nvSpPr>
          <p:cNvPr id="3" name="Textplatzhalter 7">
            <a:extLst>
              <a:ext uri="{FF2B5EF4-FFF2-40B4-BE49-F238E27FC236}">
                <a16:creationId xmlns:a16="http://schemas.microsoft.com/office/drawing/2014/main" id="{4ABB1F61-1713-98D8-29BF-86A211231C64}"/>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6711775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1"/>
            <a:ext cx="8028000" cy="553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4" name="Bildplatzhalter 3">
            <a:extLst>
              <a:ext uri="{FF2B5EF4-FFF2-40B4-BE49-F238E27FC236}">
                <a16:creationId xmlns:a16="http://schemas.microsoft.com/office/drawing/2014/main" id="{B3F0AA49-2623-7267-4BD4-5D5EB1199997}"/>
              </a:ext>
            </a:extLst>
          </p:cNvPr>
          <p:cNvSpPr>
            <a:spLocks noGrp="1"/>
          </p:cNvSpPr>
          <p:nvPr>
            <p:ph type="pic" sz="quarter" idx="14"/>
          </p:nvPr>
        </p:nvSpPr>
        <p:spPr>
          <a:xfrm>
            <a:off x="608400" y="2146519"/>
            <a:ext cx="5449173" cy="3620275"/>
          </a:xfrm>
        </p:spPr>
        <p:txBody>
          <a:bodyPr/>
          <a:lstStyle/>
          <a:p>
            <a:endParaRPr lang="de-DE"/>
          </a:p>
        </p:txBody>
      </p:sp>
      <p:sp>
        <p:nvSpPr>
          <p:cNvPr id="5" name="Bildplatzhalter 3">
            <a:extLst>
              <a:ext uri="{FF2B5EF4-FFF2-40B4-BE49-F238E27FC236}">
                <a16:creationId xmlns:a16="http://schemas.microsoft.com/office/drawing/2014/main" id="{CD29AD14-4DAE-5769-C116-7E0DFA003C05}"/>
              </a:ext>
            </a:extLst>
          </p:cNvPr>
          <p:cNvSpPr>
            <a:spLocks noGrp="1"/>
          </p:cNvSpPr>
          <p:nvPr>
            <p:ph type="pic" sz="quarter" idx="15"/>
          </p:nvPr>
        </p:nvSpPr>
        <p:spPr>
          <a:xfrm>
            <a:off x="6369448" y="2143125"/>
            <a:ext cx="5449173" cy="3620275"/>
          </a:xfrm>
        </p:spPr>
        <p:txBody>
          <a:bodyPr/>
          <a:lstStyle/>
          <a:p>
            <a:endParaRPr lang="de-DE"/>
          </a:p>
        </p:txBody>
      </p:sp>
      <p:sp>
        <p:nvSpPr>
          <p:cNvPr id="8" name="Textplatzhalter 7">
            <a:extLst>
              <a:ext uri="{FF2B5EF4-FFF2-40B4-BE49-F238E27FC236}">
                <a16:creationId xmlns:a16="http://schemas.microsoft.com/office/drawing/2014/main" id="{A6556AC4-F26E-EF4A-4A00-9BCA70591071}"/>
              </a:ext>
            </a:extLst>
          </p:cNvPr>
          <p:cNvSpPr>
            <a:spLocks noGrp="1"/>
          </p:cNvSpPr>
          <p:nvPr>
            <p:ph type="body" sz="quarter" idx="16"/>
          </p:nvPr>
        </p:nvSpPr>
        <p:spPr>
          <a:xfrm>
            <a:off x="608401" y="1720851"/>
            <a:ext cx="5449500" cy="365125"/>
          </a:xfrm>
        </p:spPr>
        <p:txBody>
          <a:bodyPr/>
          <a:lstStyle>
            <a:lvl1pPr marL="0" indent="0">
              <a:buNone/>
              <a:defRPr/>
            </a:lvl1pPr>
          </a:lstStyle>
          <a:p>
            <a:pPr lvl="0"/>
            <a:r>
              <a:rPr lang="de-DE" dirty="0"/>
              <a:t>Mastertextformat bearbeiten</a:t>
            </a:r>
          </a:p>
        </p:txBody>
      </p:sp>
      <p:sp>
        <p:nvSpPr>
          <p:cNvPr id="9" name="Textplatzhalter 7">
            <a:extLst>
              <a:ext uri="{FF2B5EF4-FFF2-40B4-BE49-F238E27FC236}">
                <a16:creationId xmlns:a16="http://schemas.microsoft.com/office/drawing/2014/main" id="{CE72F6E6-4A25-880E-C1E2-C19E9602C0B7}"/>
              </a:ext>
            </a:extLst>
          </p:cNvPr>
          <p:cNvSpPr>
            <a:spLocks noGrp="1"/>
          </p:cNvSpPr>
          <p:nvPr>
            <p:ph type="body" sz="quarter" idx="17"/>
          </p:nvPr>
        </p:nvSpPr>
        <p:spPr>
          <a:xfrm>
            <a:off x="6369121" y="1719580"/>
            <a:ext cx="5449500" cy="365125"/>
          </a:xfrm>
        </p:spPr>
        <p:txBody>
          <a:bodyPr/>
          <a:lstStyle>
            <a:lvl1pPr marL="0" indent="0">
              <a:buNone/>
              <a:defRPr/>
            </a:lvl1pPr>
          </a:lstStyle>
          <a:p>
            <a:pPr lvl="0"/>
            <a:r>
              <a:rPr lang="de-DE" dirty="0"/>
              <a:t>Mastertextformat bearbeiten</a:t>
            </a:r>
          </a:p>
        </p:txBody>
      </p:sp>
      <p:sp>
        <p:nvSpPr>
          <p:cNvPr id="10" name="Textplatzhalter 7">
            <a:extLst>
              <a:ext uri="{FF2B5EF4-FFF2-40B4-BE49-F238E27FC236}">
                <a16:creationId xmlns:a16="http://schemas.microsoft.com/office/drawing/2014/main" id="{F334EDFC-0B50-1C70-E042-6258D7C69BEC}"/>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15081801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1"/>
            <a:ext cx="8028000" cy="553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4" name="Bildplatzhalter 3">
            <a:extLst>
              <a:ext uri="{FF2B5EF4-FFF2-40B4-BE49-F238E27FC236}">
                <a16:creationId xmlns:a16="http://schemas.microsoft.com/office/drawing/2014/main" id="{B3F0AA49-2623-7267-4BD4-5D5EB1199997}"/>
              </a:ext>
            </a:extLst>
          </p:cNvPr>
          <p:cNvSpPr>
            <a:spLocks noGrp="1"/>
          </p:cNvSpPr>
          <p:nvPr>
            <p:ph type="pic" sz="quarter" idx="14"/>
          </p:nvPr>
        </p:nvSpPr>
        <p:spPr>
          <a:xfrm>
            <a:off x="608402" y="1658239"/>
            <a:ext cx="11295527" cy="4513853"/>
          </a:xfrm>
        </p:spPr>
        <p:txBody>
          <a:bodyPr/>
          <a:lstStyle/>
          <a:p>
            <a:endParaRPr lang="de-DE"/>
          </a:p>
        </p:txBody>
      </p:sp>
      <p:sp>
        <p:nvSpPr>
          <p:cNvPr id="10" name="Textplatzhalter 7">
            <a:extLst>
              <a:ext uri="{FF2B5EF4-FFF2-40B4-BE49-F238E27FC236}">
                <a16:creationId xmlns:a16="http://schemas.microsoft.com/office/drawing/2014/main" id="{F334EDFC-0B50-1C70-E042-6258D7C69BEC}"/>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205255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1"/>
            <a:ext cx="8028000" cy="553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4" name="Bildplatzhalter 3">
            <a:extLst>
              <a:ext uri="{FF2B5EF4-FFF2-40B4-BE49-F238E27FC236}">
                <a16:creationId xmlns:a16="http://schemas.microsoft.com/office/drawing/2014/main" id="{B3F0AA49-2623-7267-4BD4-5D5EB1199997}"/>
              </a:ext>
            </a:extLst>
          </p:cNvPr>
          <p:cNvSpPr>
            <a:spLocks noGrp="1"/>
          </p:cNvSpPr>
          <p:nvPr>
            <p:ph type="pic" sz="quarter" idx="14"/>
          </p:nvPr>
        </p:nvSpPr>
        <p:spPr>
          <a:xfrm>
            <a:off x="608402" y="1276817"/>
            <a:ext cx="11295527" cy="4895276"/>
          </a:xfrm>
        </p:spPr>
        <p:txBody>
          <a:bodyPr/>
          <a:lstStyle/>
          <a:p>
            <a:endParaRPr lang="de-DE"/>
          </a:p>
        </p:txBody>
      </p:sp>
      <p:sp>
        <p:nvSpPr>
          <p:cNvPr id="10" name="Textplatzhalter 7">
            <a:extLst>
              <a:ext uri="{FF2B5EF4-FFF2-40B4-BE49-F238E27FC236}">
                <a16:creationId xmlns:a16="http://schemas.microsoft.com/office/drawing/2014/main" id="{F334EDFC-0B50-1C70-E042-6258D7C69BEC}"/>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20011378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1"/>
            <a:ext cx="8028000" cy="553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10" name="Textplatzhalter 7">
            <a:extLst>
              <a:ext uri="{FF2B5EF4-FFF2-40B4-BE49-F238E27FC236}">
                <a16:creationId xmlns:a16="http://schemas.microsoft.com/office/drawing/2014/main" id="{F334EDFC-0B50-1C70-E042-6258D7C69BEC}"/>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
        <p:nvSpPr>
          <p:cNvPr id="8" name="Inhaltsplatzhalter 7">
            <a:extLst>
              <a:ext uri="{FF2B5EF4-FFF2-40B4-BE49-F238E27FC236}">
                <a16:creationId xmlns:a16="http://schemas.microsoft.com/office/drawing/2014/main" id="{875A98E8-EC17-66AD-B216-FD8EA0A61852}"/>
              </a:ext>
            </a:extLst>
          </p:cNvPr>
          <p:cNvSpPr>
            <a:spLocks noGrp="1"/>
          </p:cNvSpPr>
          <p:nvPr>
            <p:ph sz="quarter" idx="19"/>
          </p:nvPr>
        </p:nvSpPr>
        <p:spPr>
          <a:xfrm>
            <a:off x="608015" y="1193800"/>
            <a:ext cx="10999152" cy="4978291"/>
          </a:xfrm>
        </p:spPr>
        <p:txBody>
          <a:bodyPr/>
          <a:lstStyle>
            <a:lvl1pPr marL="342891" indent="-342891">
              <a:buSzPct val="100000"/>
              <a:buFont typeface="Wingdings" pitchFamily="2" charset="2"/>
              <a:buChar char="§"/>
              <a:defRPr b="1">
                <a:solidFill>
                  <a:srgbClr val="324067"/>
                </a:solidFill>
              </a:defRPr>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88024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Text (No Subtitle)">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1"/>
            <a:ext cx="8028000" cy="553999"/>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3" name="Text Placeholder 6"/>
          <p:cNvSpPr>
            <a:spLocks noGrp="1"/>
          </p:cNvSpPr>
          <p:nvPr>
            <p:ph type="body" sz="quarter" idx="12"/>
          </p:nvPr>
        </p:nvSpPr>
        <p:spPr>
          <a:xfrm>
            <a:off x="608400" y="1512000"/>
            <a:ext cx="10982400" cy="46080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E88B6745-97FD-4E4F-81CC-3FD84BF76BC9}"/>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62835D29-556F-4D8D-8F9E-8756AD0BBB9B}"/>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4" name="Google Shape;17;p14">
            <a:extLst>
              <a:ext uri="{FF2B5EF4-FFF2-40B4-BE49-F238E27FC236}">
                <a16:creationId xmlns:a16="http://schemas.microsoft.com/office/drawing/2014/main" id="{1F0FF8E1-469D-49EF-8545-C2F77CD9833B}"/>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3" name="Textplatzhalter 7">
            <a:extLst>
              <a:ext uri="{FF2B5EF4-FFF2-40B4-BE49-F238E27FC236}">
                <a16:creationId xmlns:a16="http://schemas.microsoft.com/office/drawing/2014/main" id="{475A422C-9C7E-86BA-752E-BB5AB5ECEDDF}"/>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17715876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605367" y="2112963"/>
            <a:ext cx="4551516" cy="4013627"/>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1"/>
            <a:ext cx="8028000" cy="553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background-title.png">
            <a:extLst>
              <a:ext uri="{FF2B5EF4-FFF2-40B4-BE49-F238E27FC236}">
                <a16:creationId xmlns:a16="http://schemas.microsoft.com/office/drawing/2014/main" id="{94B3BB7B-D192-40D5-A383-C201ED627087}"/>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DD00D4DD-9A13-42EF-94D9-40510CA0244D}"/>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BF0CD5D2-8D1D-494F-9787-7D046DB9E794}"/>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2" name="Textplatzhalter 7">
            <a:extLst>
              <a:ext uri="{FF2B5EF4-FFF2-40B4-BE49-F238E27FC236}">
                <a16:creationId xmlns:a16="http://schemas.microsoft.com/office/drawing/2014/main" id="{B2C7FA36-074F-E5AC-B7A8-AE46E74337EF}"/>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1523071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p:cNvSpPr>
            <a:spLocks noGrp="1"/>
          </p:cNvSpPr>
          <p:nvPr>
            <p:ph sz="quarter" idx="11"/>
          </p:nvPr>
        </p:nvSpPr>
        <p:spPr>
          <a:xfrm>
            <a:off x="609599" y="4132148"/>
            <a:ext cx="10982400" cy="1994017"/>
          </a:xfrm>
          <a:solidFill>
            <a:schemeClr val="bg1">
              <a:lumMod val="85000"/>
            </a:schemeClr>
          </a:solidFill>
        </p:spPr>
        <p:txBody>
          <a:bodyPr anchor="ctr"/>
          <a:lstStyle>
            <a:lvl1pPr marL="0" marR="0" indent="0" algn="ctr" defTabSz="457189"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7" name="Text Placeholder 6"/>
          <p:cNvSpPr>
            <a:spLocks noGrp="1"/>
          </p:cNvSpPr>
          <p:nvPr>
            <p:ph type="body" sz="quarter" idx="12"/>
          </p:nvPr>
        </p:nvSpPr>
        <p:spPr>
          <a:xfrm>
            <a:off x="609600" y="2112965"/>
            <a:ext cx="10982400" cy="1895281"/>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1"/>
            <a:ext cx="8028000" cy="553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1CF8675-6D8E-4E77-997F-498C0B305BBB}"/>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8528D2F2-BF89-4151-82FF-9CC1A7BF4EC0}"/>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C2E7EF18-FDBC-43BB-945B-1FE73175B3D5}"/>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2" name="Textplatzhalter 7">
            <a:extLst>
              <a:ext uri="{FF2B5EF4-FFF2-40B4-BE49-F238E27FC236}">
                <a16:creationId xmlns:a16="http://schemas.microsoft.com/office/drawing/2014/main" id="{A4880FFB-F08D-A88B-7112-BCE02BF7DE95}"/>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59651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pic>
        <p:nvPicPr>
          <p:cNvPr id="8" name="Picture 7"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609600" y="2112964"/>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7" name="Title 1"/>
          <p:cNvSpPr>
            <a:spLocks noGrp="1"/>
          </p:cNvSpPr>
          <p:nvPr>
            <p:ph type="title"/>
          </p:nvPr>
        </p:nvSpPr>
        <p:spPr>
          <a:xfrm>
            <a:off x="609599" y="550801"/>
            <a:ext cx="8028000" cy="553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0"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FFC43940-904F-4AE6-881A-6D1127D89B18}"/>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D5ED9B5-8993-4E35-922E-4759356D96B8}"/>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3" name="Google Shape;17;p14">
            <a:extLst>
              <a:ext uri="{FF2B5EF4-FFF2-40B4-BE49-F238E27FC236}">
                <a16:creationId xmlns:a16="http://schemas.microsoft.com/office/drawing/2014/main" id="{DD441E51-5C21-4C4C-B96E-A99F7FE50749}"/>
              </a:ext>
            </a:extLst>
          </p:cNvPr>
          <p:cNvSpPr txBox="1">
            <a:spLocks noGrp="1"/>
          </p:cNvSpPr>
          <p:nvPr>
            <p:ph type="body" idx="14"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2" name="Textplatzhalter 7">
            <a:extLst>
              <a:ext uri="{FF2B5EF4-FFF2-40B4-BE49-F238E27FC236}">
                <a16:creationId xmlns:a16="http://schemas.microsoft.com/office/drawing/2014/main" id="{BCC0AE0B-549C-6783-3A59-C94DBC7E6A00}"/>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5562288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pic>
        <p:nvPicPr>
          <p:cNvPr id="4" name="Picture 3"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background-title.png">
            <a:extLst>
              <a:ext uri="{FF2B5EF4-FFF2-40B4-BE49-F238E27FC236}">
                <a16:creationId xmlns:a16="http://schemas.microsoft.com/office/drawing/2014/main" id="{3D467BB9-5E4C-4248-93BA-9D2ACC4B38CE}"/>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604DE0C-1B2D-48FE-A3B3-69A3030C6D2E}"/>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15E30E08-721E-42AA-9CF9-BACF4F17DEB6}"/>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2" name="Textplatzhalter 7">
            <a:extLst>
              <a:ext uri="{FF2B5EF4-FFF2-40B4-BE49-F238E27FC236}">
                <a16:creationId xmlns:a16="http://schemas.microsoft.com/office/drawing/2014/main" id="{D0055FEF-4294-CD9F-01D7-2A8BB71038E0}"/>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3339168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609600" y="2112964"/>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6" name="Title 1"/>
          <p:cNvSpPr>
            <a:spLocks noGrp="1"/>
          </p:cNvSpPr>
          <p:nvPr>
            <p:ph type="title"/>
          </p:nvPr>
        </p:nvSpPr>
        <p:spPr>
          <a:xfrm>
            <a:off x="609600" y="550801"/>
            <a:ext cx="10982400" cy="553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7" name="Text Placeholder 11"/>
          <p:cNvSpPr>
            <a:spLocks noGrp="1"/>
          </p:cNvSpPr>
          <p:nvPr>
            <p:ph type="body" sz="quarter" idx="14"/>
          </p:nvPr>
        </p:nvSpPr>
        <p:spPr>
          <a:xfrm>
            <a:off x="609600" y="1080001"/>
            <a:ext cx="109824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a:extLst>
              <a:ext uri="{FF2B5EF4-FFF2-40B4-BE49-F238E27FC236}">
                <a16:creationId xmlns:a16="http://schemas.microsoft.com/office/drawing/2014/main" id="{C88DD83A-3905-4529-8E01-BC06AD879212}"/>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A3527949-319F-4814-8EF2-7103A7732CA7}"/>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AF1B53D8-DC87-4920-8B8F-0F73ADD4333F}"/>
              </a:ext>
            </a:extLst>
          </p:cNvPr>
          <p:cNvSpPr txBox="1">
            <a:spLocks noGrp="1"/>
          </p:cNvSpPr>
          <p:nvPr>
            <p:ph type="body" idx="15"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2" name="Textplatzhalter 7">
            <a:extLst>
              <a:ext uri="{FF2B5EF4-FFF2-40B4-BE49-F238E27FC236}">
                <a16:creationId xmlns:a16="http://schemas.microsoft.com/office/drawing/2014/main" id="{87566EE8-5FB1-2320-0717-47DC5BD4B956}"/>
              </a:ext>
            </a:extLst>
          </p:cNvPr>
          <p:cNvSpPr>
            <a:spLocks noGrp="1"/>
          </p:cNvSpPr>
          <p:nvPr>
            <p:ph type="body" sz="quarter" idx="18" hasCustomPrompt="1"/>
          </p:nvPr>
        </p:nvSpPr>
        <p:spPr>
          <a:xfrm>
            <a:off x="3583306" y="6231329"/>
            <a:ext cx="7536180" cy="223139"/>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19001093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pic>
        <p:nvPicPr>
          <p:cNvPr id="13" name="Picture 4" descr="background-main.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3060701"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userDrawn="1"/>
        </p:nvSpPr>
        <p:spPr bwMode="auto">
          <a:xfrm>
            <a:off x="914402" y="3692527"/>
            <a:ext cx="3992033" cy="1417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800" b="1" baseline="30000" dirty="0">
                <a:solidFill>
                  <a:srgbClr val="81104F"/>
                </a:solidFill>
                <a:latin typeface="Arial Narrow" pitchFamily="34" charset="0"/>
              </a:rPr>
              <a:t>Contacts ESMO </a:t>
            </a:r>
          </a:p>
          <a:p>
            <a:pPr eaLnBrk="1" hangingPunct="1">
              <a:defRPr/>
            </a:pPr>
            <a:endParaRPr lang="en-US" altLang="en-US" sz="1800" b="1" baseline="30000" dirty="0">
              <a:solidFill>
                <a:srgbClr val="81104F"/>
              </a:solidFill>
              <a:latin typeface="Arial Narrow" pitchFamily="34" charset="0"/>
            </a:endParaRPr>
          </a:p>
          <a:p>
            <a:pPr eaLnBrk="1" hangingPunct="1">
              <a:defRPr/>
            </a:pPr>
            <a:r>
              <a:rPr lang="en-US" altLang="en-US" sz="1800" baseline="30000" dirty="0">
                <a:solidFill>
                  <a:srgbClr val="81104F"/>
                </a:solidFill>
                <a:latin typeface="Arial Narrow" pitchFamily="34" charset="0"/>
              </a:rPr>
              <a:t>European Society for Medical Oncology </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Via Ginevra 4, CH-6900 Lugano</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T. +41 (0)91 973 19 00</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esmo@esmo.org</a:t>
            </a:r>
          </a:p>
          <a:p>
            <a:pPr eaLnBrk="1" hangingPunct="1">
              <a:lnSpc>
                <a:spcPct val="110000"/>
              </a:lnSpc>
              <a:defRPr/>
            </a:pPr>
            <a:endParaRPr lang="en-US" altLang="en-US" sz="1400" b="1" dirty="0">
              <a:solidFill>
                <a:srgbClr val="81104F"/>
              </a:solidFill>
              <a:latin typeface="Arial Narrow" pitchFamily="34" charset="0"/>
            </a:endParaRPr>
          </a:p>
        </p:txBody>
      </p:sp>
      <p:sp>
        <p:nvSpPr>
          <p:cNvPr id="11" name="TextBox 10"/>
          <p:cNvSpPr txBox="1">
            <a:spLocks noChangeArrowheads="1"/>
          </p:cNvSpPr>
          <p:nvPr userDrawn="1"/>
        </p:nvSpPr>
        <p:spPr bwMode="auto">
          <a:xfrm>
            <a:off x="914402" y="6064252"/>
            <a:ext cx="39920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sz="1800" b="1" baseline="30000">
                <a:solidFill>
                  <a:srgbClr val="81104F"/>
                </a:solidFill>
                <a:latin typeface="Arial Narrow" panose="020B0606020202030204" pitchFamily="34" charset="0"/>
                <a:cs typeface="Arial Narrow" panose="020B0606020202030204" pitchFamily="34" charset="0"/>
              </a:rPr>
              <a:t>esmo.org</a:t>
            </a:r>
            <a:endParaRPr lang="en-US" altLang="en-US" sz="1400" b="1">
              <a:solidFill>
                <a:srgbClr val="81104F"/>
              </a:solidFill>
              <a:latin typeface="Arial Narrow" panose="020B0606020202030204" pitchFamily="34" charset="0"/>
              <a:cs typeface="Arial Narrow" panose="020B0606020202030204" pitchFamily="34" charset="0"/>
            </a:endParaRPr>
          </a:p>
        </p:txBody>
      </p:sp>
      <p:sp>
        <p:nvSpPr>
          <p:cNvPr id="5" name="Text Placeholder 18"/>
          <p:cNvSpPr>
            <a:spLocks noGrp="1"/>
          </p:cNvSpPr>
          <p:nvPr>
            <p:ph type="body" sz="quarter" idx="10"/>
          </p:nvPr>
        </p:nvSpPr>
        <p:spPr>
          <a:xfrm>
            <a:off x="914400" y="2266720"/>
            <a:ext cx="8421131" cy="297517"/>
          </a:xfrm>
        </p:spPr>
        <p:txBody>
          <a:bodyPr anchor="ctr">
            <a:noAutofit/>
          </a:bodyPr>
          <a:lstStyle>
            <a:lvl1pPr marL="0" indent="0" rtl="0">
              <a:buFontTx/>
              <a:buNone/>
              <a:defRPr lang="en-US" sz="2000" b="1" i="0" u="none" strike="noStrike" baseline="30000" smtClean="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6" name="Text Placeholder 18"/>
          <p:cNvSpPr>
            <a:spLocks noGrp="1"/>
          </p:cNvSpPr>
          <p:nvPr>
            <p:ph type="body" sz="quarter" idx="11"/>
          </p:nvPr>
        </p:nvSpPr>
        <p:spPr>
          <a:xfrm>
            <a:off x="914401" y="2664487"/>
            <a:ext cx="8421129" cy="270475"/>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0" name="Text Placeholder 18"/>
          <p:cNvSpPr>
            <a:spLocks noGrp="1"/>
          </p:cNvSpPr>
          <p:nvPr>
            <p:ph type="body" sz="quarter" idx="12"/>
          </p:nvPr>
        </p:nvSpPr>
        <p:spPr>
          <a:xfrm>
            <a:off x="914401" y="2874144"/>
            <a:ext cx="8421129" cy="297517"/>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a:p>
        </p:txBody>
      </p:sp>
      <p:pic>
        <p:nvPicPr>
          <p:cNvPr id="15"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9"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918513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3"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1" y="6152877"/>
            <a:ext cx="10227735" cy="694267"/>
          </a:xfrm>
          <a:prstGeom prst="rect">
            <a:avLst/>
          </a:prstGeom>
        </p:spPr>
        <p:txBody>
          <a:bodyPr anchor="b">
            <a:normAutofit/>
          </a:bodyPr>
          <a:lstStyle>
            <a:lvl1pPr marL="0" algn="l" defTabSz="914354" rtl="0" eaLnBrk="1" fontAlgn="base" latinLnBrk="0" hangingPunct="1">
              <a:spcBef>
                <a:spcPct val="0"/>
              </a:spcBef>
              <a:spcAft>
                <a:spcPct val="0"/>
              </a:spcAft>
              <a:buClr>
                <a:schemeClr val="tx2"/>
              </a:buClr>
              <a:defRPr lang="en-US" sz="1067" b="0" kern="0" dirty="0" smtClean="0">
                <a:solidFill>
                  <a:srgbClr val="6A6356"/>
                </a:solidFill>
                <a:latin typeface="+mn-lt"/>
                <a:ea typeface="+mn-ea"/>
                <a:cs typeface="+mn-cs"/>
              </a:defRPr>
            </a:lvl1pPr>
          </a:lstStyle>
          <a:p>
            <a:pPr lvl="0"/>
            <a:r>
              <a:rPr lang="en-GB"/>
              <a:t>Click to edit Master text styles</a:t>
            </a:r>
          </a:p>
        </p:txBody>
      </p:sp>
      <p:sp>
        <p:nvSpPr>
          <p:cNvPr id="6" name="Slide Number Placeholder 5">
            <a:extLst>
              <a:ext uri="{FF2B5EF4-FFF2-40B4-BE49-F238E27FC236}">
                <a16:creationId xmlns:a16="http://schemas.microsoft.com/office/drawing/2014/main" id="{6AF995A1-2AF6-4E1E-ABCD-286DEA0CEFA0}"/>
              </a:ext>
            </a:extLst>
          </p:cNvPr>
          <p:cNvSpPr>
            <a:spLocks noGrp="1"/>
          </p:cNvSpPr>
          <p:nvPr>
            <p:ph type="sldNum" sz="quarter" idx="4"/>
          </p:nvPr>
        </p:nvSpPr>
        <p:spPr>
          <a:xfrm>
            <a:off x="10693400" y="6553085"/>
            <a:ext cx="1397000" cy="184667"/>
          </a:xfrm>
          <a:prstGeom prst="rect">
            <a:avLst/>
          </a:prstGeom>
        </p:spPr>
        <p:txBody>
          <a:bodyPr vert="horz" wrap="square" lIns="0" tIns="0" rIns="0" bIns="0" rtlCol="0" anchor="ctr">
            <a:spAutoFit/>
          </a:bodyPr>
          <a:lstStyle>
            <a:lvl1pPr algn="r">
              <a:defRPr sz="1200">
                <a:solidFill>
                  <a:schemeClr val="tx1"/>
                </a:solidFill>
              </a:defRPr>
            </a:lvl1pPr>
          </a:lstStyle>
          <a:p>
            <a:fld id="{1FE55FE1-14D6-4E0C-911C-D83186A362DD}" type="slidenum">
              <a:rPr lang="en-US" smtClean="0"/>
              <a:pPr/>
              <a:t>‹#›</a:t>
            </a:fld>
            <a:endParaRPr lang="en-US"/>
          </a:p>
        </p:txBody>
      </p:sp>
    </p:spTree>
    <p:custDataLst>
      <p:tags r:id="rId1"/>
    </p:custDataLst>
    <p:extLst>
      <p:ext uri="{BB962C8B-B14F-4D97-AF65-F5344CB8AC3E}">
        <p14:creationId xmlns:p14="http://schemas.microsoft.com/office/powerpoint/2010/main" val="2659661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9_Free Content">
    <p:spTree>
      <p:nvGrpSpPr>
        <p:cNvPr id="1" name=""/>
        <p:cNvGrpSpPr/>
        <p:nvPr/>
      </p:nvGrpSpPr>
      <p:grpSpPr>
        <a:xfrm>
          <a:off x="0" y="0"/>
          <a:ext cx="0" cy="0"/>
          <a:chOff x="0" y="0"/>
          <a:chExt cx="0" cy="0"/>
        </a:xfrm>
      </p:grpSpPr>
      <p:pic>
        <p:nvPicPr>
          <p:cNvPr id="4" name="Picture 3"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5"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background-title.png">
            <a:extLst>
              <a:ext uri="{FF2B5EF4-FFF2-40B4-BE49-F238E27FC236}">
                <a16:creationId xmlns:a16="http://schemas.microsoft.com/office/drawing/2014/main" id="{3D467BB9-5E4C-4248-93BA-9D2ACC4B38CE}"/>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604DE0C-1B2D-48FE-A3B3-69A3030C6D2E}"/>
              </a:ext>
            </a:extLst>
          </p:cNvPr>
          <p:cNvSpPr txBox="1"/>
          <p:nvPr userDrawn="1"/>
        </p:nvSpPr>
        <p:spPr>
          <a:xfrm>
            <a:off x="6096001" y="6454469"/>
            <a:ext cx="5068649" cy="161711"/>
          </a:xfrm>
          <a:prstGeom prst="rect">
            <a:avLst/>
          </a:prstGeom>
          <a:noFill/>
        </p:spPr>
        <p:txBody>
          <a:bodyPr wrap="square" lIns="0" tIns="0" rIns="90000" bIns="0" rtlCol="0">
            <a:spAutoFit/>
          </a:bodyPr>
          <a:lstStyle/>
          <a:p>
            <a:pPr marL="0" marR="0" lvl="0" indent="0" algn="r" defTabSz="914377"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15E30E08-721E-42AA-9CF9-BACF4F17DEB6}"/>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77"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1"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40298233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B9181D"/>
                </a:solidFill>
              </a:defRPr>
            </a:lvl1pPr>
          </a:lstStyle>
          <a:p>
            <a:r>
              <a:rPr lang="de-DE" dirty="0"/>
              <a:t>Titel einfügen</a:t>
            </a:r>
            <a:endParaRPr lang="en-US" dirty="0"/>
          </a:p>
        </p:txBody>
      </p:sp>
      <p:sp>
        <p:nvSpPr>
          <p:cNvPr id="3" name="Content Placeholder 2"/>
          <p:cNvSpPr>
            <a:spLocks noGrp="1"/>
          </p:cNvSpPr>
          <p:nvPr>
            <p:ph idx="1"/>
          </p:nvPr>
        </p:nvSpPr>
        <p:spPr>
          <a:xfrm>
            <a:off x="479376" y="1484785"/>
            <a:ext cx="11089232" cy="4692179"/>
          </a:xfrm>
        </p:spPr>
        <p:txBody>
          <a:bodyPr/>
          <a:lstStyle>
            <a:lvl1pPr marL="0" indent="0">
              <a:buNone/>
              <a:defRPr/>
            </a:lvl1pPr>
            <a:lvl2pPr marL="685783" marR="0" indent="-228594" algn="l" defTabSz="914377" rtl="0" eaLnBrk="1" fontAlgn="auto" latinLnBrk="0" hangingPunct="1">
              <a:lnSpc>
                <a:spcPct val="90000"/>
              </a:lnSpc>
              <a:spcBef>
                <a:spcPts val="500"/>
              </a:spcBef>
              <a:spcAft>
                <a:spcPts val="0"/>
              </a:spcAft>
              <a:buClrTx/>
              <a:buSzTx/>
              <a:buFont typeface="Symbol" pitchFamily="2" charset="2"/>
              <a:buChar char="-"/>
              <a:tabLst/>
              <a:defRPr/>
            </a:lvl2pPr>
          </a:lstStyle>
          <a:p>
            <a:pPr lvl="0"/>
            <a:r>
              <a:rPr lang="de-DE"/>
              <a:t>Mastertextformat bearbeiten</a:t>
            </a:r>
          </a:p>
          <a:p>
            <a:pPr lvl="1"/>
            <a:r>
              <a:rPr lang="de-DE"/>
              <a:t>Zweite Ebene</a:t>
            </a:r>
          </a:p>
          <a:p>
            <a:pPr lvl="2"/>
            <a:r>
              <a:rPr lang="de-DE"/>
              <a:t>Dritte Ebene</a:t>
            </a:r>
          </a:p>
        </p:txBody>
      </p:sp>
      <p:sp>
        <p:nvSpPr>
          <p:cNvPr id="8" name="Textplatzhalter 7">
            <a:extLst>
              <a:ext uri="{FF2B5EF4-FFF2-40B4-BE49-F238E27FC236}">
                <a16:creationId xmlns:a16="http://schemas.microsoft.com/office/drawing/2014/main" id="{C2DA5CE2-9C37-3F49-A3FA-1BBBE3E1DDE7}"/>
              </a:ext>
            </a:extLst>
          </p:cNvPr>
          <p:cNvSpPr>
            <a:spLocks noGrp="1"/>
          </p:cNvSpPr>
          <p:nvPr>
            <p:ph type="body" sz="quarter" idx="10"/>
          </p:nvPr>
        </p:nvSpPr>
        <p:spPr>
          <a:xfrm>
            <a:off x="1775520" y="6237312"/>
            <a:ext cx="8208912" cy="576064"/>
          </a:xfrm>
        </p:spPr>
        <p:txBody>
          <a:bodyPr anchor="b">
            <a:normAutofit/>
          </a:bodyPr>
          <a:lstStyle>
            <a:lvl1pPr marL="0" indent="0">
              <a:spcBef>
                <a:spcPts val="0"/>
              </a:spcBef>
              <a:buNone/>
              <a:defRPr sz="1200"/>
            </a:lvl1pPr>
            <a:lvl2pPr marL="457189" indent="0">
              <a:buNone/>
              <a:defRPr/>
            </a:lvl2pPr>
            <a:lvl3pPr marL="914377" indent="0">
              <a:buNone/>
              <a:defRPr/>
            </a:lvl3pPr>
            <a:lvl4pPr marL="1371566" indent="0">
              <a:buNone/>
              <a:defRPr/>
            </a:lvl4pPr>
            <a:lvl5pPr marL="1828754" indent="0">
              <a:buNone/>
              <a:defRPr/>
            </a:lvl5pPr>
          </a:lstStyle>
          <a:p>
            <a:pPr lvl="0"/>
            <a:r>
              <a:rPr lang="de-DE"/>
              <a:t>Mastertextformat bearbeiten</a:t>
            </a:r>
          </a:p>
        </p:txBody>
      </p:sp>
    </p:spTree>
    <p:extLst>
      <p:ext uri="{BB962C8B-B14F-4D97-AF65-F5344CB8AC3E}">
        <p14:creationId xmlns:p14="http://schemas.microsoft.com/office/powerpoint/2010/main" val="1543745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6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60757" y="3758424"/>
            <a:ext cx="11260735" cy="1994017"/>
          </a:xfrm>
          <a:prstGeom prst="rect">
            <a:avLst/>
          </a:prstGeom>
          <a:solidFill>
            <a:schemeClr val="bg1">
              <a:lumMod val="85000"/>
            </a:schemeClr>
          </a:solidFill>
        </p:spPr>
        <p:txBody>
          <a:bodyPr anchor="ctr"/>
          <a:lstStyle>
            <a:lvl1pPr marL="0" marR="0" indent="0" algn="ctr" defTabSz="60957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9" name="Title 1">
            <a:extLst>
              <a:ext uri="{FF2B5EF4-FFF2-40B4-BE49-F238E27FC236}">
                <a16:creationId xmlns:a16="http://schemas.microsoft.com/office/drawing/2014/main" id="{9565B337-2BB0-464E-93A5-A2DD46984BA7}"/>
              </a:ext>
            </a:extLst>
          </p:cNvPr>
          <p:cNvSpPr>
            <a:spLocks noGrp="1"/>
          </p:cNvSpPr>
          <p:nvPr>
            <p:ph type="ctrTitle"/>
          </p:nvPr>
        </p:nvSpPr>
        <p:spPr>
          <a:xfrm>
            <a:off x="470509" y="646992"/>
            <a:ext cx="11241491" cy="576000"/>
          </a:xfrm>
          <a:prstGeom prst="rect">
            <a:avLst/>
          </a:prstGeom>
        </p:spPr>
        <p:txBody>
          <a:bodyPr anchor="t">
            <a:noAutofit/>
          </a:bodyPr>
          <a:lstStyle>
            <a:lvl1pPr algn="l">
              <a:lnSpc>
                <a:spcPct val="80000"/>
              </a:lnSpc>
              <a:defRPr sz="3733" b="1" i="0" cap="all">
                <a:solidFill>
                  <a:srgbClr val="E10454"/>
                </a:solidFill>
                <a:latin typeface="+mn-lt"/>
                <a:cs typeface="Arial Narrow"/>
              </a:defRPr>
            </a:lvl1pPr>
          </a:lstStyle>
          <a:p>
            <a:endParaRPr lang="en-US" dirty="0"/>
          </a:p>
        </p:txBody>
      </p:sp>
      <p:sp>
        <p:nvSpPr>
          <p:cNvPr id="12" name="Subtitle 2">
            <a:extLst>
              <a:ext uri="{FF2B5EF4-FFF2-40B4-BE49-F238E27FC236}">
                <a16:creationId xmlns:a16="http://schemas.microsoft.com/office/drawing/2014/main" id="{1181E350-664D-B74F-BC18-EC5488FF6F70}"/>
              </a:ext>
            </a:extLst>
          </p:cNvPr>
          <p:cNvSpPr>
            <a:spLocks noGrp="1"/>
          </p:cNvSpPr>
          <p:nvPr>
            <p:ph type="subTitle" idx="1"/>
          </p:nvPr>
        </p:nvSpPr>
        <p:spPr>
          <a:xfrm>
            <a:off x="470509" y="1222992"/>
            <a:ext cx="11241491" cy="600000"/>
          </a:xfrm>
          <a:prstGeom prst="rect">
            <a:avLst/>
          </a:prstGeom>
        </p:spPr>
        <p:txBody>
          <a:bodyPr anchor="t">
            <a:noAutofit/>
          </a:bodyPr>
          <a:lstStyle>
            <a:lvl1pPr marL="0" indent="0" algn="l">
              <a:buNone/>
              <a:defRPr sz="2667">
                <a:solidFill>
                  <a:srgbClr val="E10454"/>
                </a:solidFill>
                <a:latin typeface="+mn-lt"/>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dirty="0"/>
              <a:t>Click to edit Master subtitle style</a:t>
            </a:r>
          </a:p>
        </p:txBody>
      </p:sp>
      <p:sp>
        <p:nvSpPr>
          <p:cNvPr id="13" name="Text Placeholder 6">
            <a:extLst>
              <a:ext uri="{FF2B5EF4-FFF2-40B4-BE49-F238E27FC236}">
                <a16:creationId xmlns:a16="http://schemas.microsoft.com/office/drawing/2014/main" id="{C5C35293-ECC7-C64B-B3A9-CA64DE4E3139}"/>
              </a:ext>
            </a:extLst>
          </p:cNvPr>
          <p:cNvSpPr>
            <a:spLocks noGrp="1"/>
          </p:cNvSpPr>
          <p:nvPr>
            <p:ph type="body" sz="quarter" idx="12"/>
          </p:nvPr>
        </p:nvSpPr>
        <p:spPr>
          <a:xfrm>
            <a:off x="480001" y="2152441"/>
            <a:ext cx="11241491" cy="1605983"/>
          </a:xfrm>
          <a:prstGeom prst="rect">
            <a:avLst/>
          </a:prstGeom>
        </p:spPr>
        <p:txBody>
          <a:bodyPr>
            <a:noAutofit/>
          </a:bodyPr>
          <a:lstStyle>
            <a:lvl1pPr marL="0" indent="0">
              <a:buNone/>
              <a:defRPr sz="2133" baseline="0">
                <a:solidFill>
                  <a:srgbClr val="E10454"/>
                </a:solidFill>
              </a:defRPr>
            </a:lvl1pPr>
          </a:lstStyle>
          <a:p>
            <a:pPr lvl="0"/>
            <a:r>
              <a:rPr lang="en-US"/>
              <a:t>Click to edit Master text styles</a:t>
            </a:r>
          </a:p>
        </p:txBody>
      </p:sp>
      <p:pic>
        <p:nvPicPr>
          <p:cNvPr id="8" name="Image 7">
            <a:extLst>
              <a:ext uri="{FF2B5EF4-FFF2-40B4-BE49-F238E27FC236}">
                <a16:creationId xmlns:a16="http://schemas.microsoft.com/office/drawing/2014/main" id="{53B5C386-20AE-F242-8283-AB13EE5A2C0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24789" y="6296872"/>
            <a:ext cx="3724545" cy="226697"/>
          </a:xfrm>
          <a:prstGeom prst="rect">
            <a:avLst/>
          </a:prstGeom>
        </p:spPr>
      </p:pic>
    </p:spTree>
    <p:extLst>
      <p:ext uri="{BB962C8B-B14F-4D97-AF65-F5344CB8AC3E}">
        <p14:creationId xmlns:p14="http://schemas.microsoft.com/office/powerpoint/2010/main" val="42160744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90" y="292610"/>
            <a:ext cx="10102852" cy="369332"/>
          </a:xfrm>
        </p:spPr>
        <p:txBody>
          <a:bodyPr anchor="ctr"/>
          <a:lstStyle/>
          <a:p>
            <a:r>
              <a:rPr lang="en-US" dirty="0"/>
              <a:t>Click to edit Master heading style</a:t>
            </a:r>
            <a:endParaRPr lang="en-GB" dirty="0"/>
          </a:p>
        </p:txBody>
      </p:sp>
      <p:sp>
        <p:nvSpPr>
          <p:cNvPr id="11" name="Text Placeholder 2"/>
          <p:cNvSpPr>
            <a:spLocks noGrp="1"/>
          </p:cNvSpPr>
          <p:nvPr>
            <p:ph type="body" sz="quarter" idx="29" hasCustomPrompt="1"/>
          </p:nvPr>
        </p:nvSpPr>
        <p:spPr>
          <a:xfrm>
            <a:off x="478869" y="950978"/>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solidFill>
                  <a:srgbClr val="002060"/>
                </a:solidFill>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4" name="Text Placeholder 5">
            <a:extLst>
              <a:ext uri="{FF2B5EF4-FFF2-40B4-BE49-F238E27FC236}">
                <a16:creationId xmlns:a16="http://schemas.microsoft.com/office/drawing/2014/main" id="{774A5DF1-8FDB-AB40-AC7B-8DEFF07BAEEA}"/>
              </a:ext>
            </a:extLst>
          </p:cNvPr>
          <p:cNvSpPr>
            <a:spLocks noGrp="1"/>
          </p:cNvSpPr>
          <p:nvPr>
            <p:ph type="body" sz="quarter" idx="18" hasCustomPrompt="1"/>
          </p:nvPr>
        </p:nvSpPr>
        <p:spPr>
          <a:xfrm>
            <a:off x="1560578" y="5681472"/>
            <a:ext cx="10256356" cy="256545"/>
          </a:xfrm>
          <a:prstGeom prst="rect">
            <a:avLst/>
          </a:prstGeom>
        </p:spPr>
        <p:txBody>
          <a:bodyPr wrap="square" lIns="0" anchor="t" anchorCtr="0">
            <a:spAutoFit/>
          </a:bodyPr>
          <a:lstStyle>
            <a:lvl1pPr marL="0" indent="0">
              <a:buNone/>
              <a:defRPr sz="1067" baseline="0">
                <a:solidFill>
                  <a:srgbClr val="002060"/>
                </a:solidFill>
              </a:defRPr>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dirty="0"/>
              <a:t>Insert Source text here</a:t>
            </a:r>
          </a:p>
        </p:txBody>
      </p:sp>
    </p:spTree>
    <p:extLst>
      <p:ext uri="{BB962C8B-B14F-4D97-AF65-F5344CB8AC3E}">
        <p14:creationId xmlns:p14="http://schemas.microsoft.com/office/powerpoint/2010/main" val="36575719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F95AE1F-D36A-485F-8A74-3A38008585D0}" type="datetimeFigureOut">
              <a:rPr lang="zh-CN" altLang="en-US" smtClean="0"/>
              <a:t>2026/4/1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A83C19D-CAE1-4355-A1BA-91CFED4C252A}" type="slidenum">
              <a:rPr lang="zh-CN" altLang="en-US" smtClean="0"/>
              <a:t>‹#›</a:t>
            </a:fld>
            <a:endParaRPr lang="zh-CN" altLang="en-US"/>
          </a:p>
        </p:txBody>
      </p:sp>
    </p:spTree>
    <p:extLst>
      <p:ext uri="{BB962C8B-B14F-4D97-AF65-F5344CB8AC3E}">
        <p14:creationId xmlns:p14="http://schemas.microsoft.com/office/powerpoint/2010/main" val="41725539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F95AE1F-D36A-485F-8A74-3A38008585D0}" type="datetimeFigureOut">
              <a:rPr lang="zh-CN" altLang="en-US" smtClean="0"/>
              <a:t>2026/4/1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A83C19D-CAE1-4355-A1BA-91CFED4C252A}" type="slidenum">
              <a:rPr lang="zh-CN" altLang="en-US" smtClean="0"/>
              <a:t>‹#›</a:t>
            </a:fld>
            <a:endParaRPr lang="zh-CN" altLang="en-US"/>
          </a:p>
        </p:txBody>
      </p:sp>
    </p:spTree>
    <p:extLst>
      <p:ext uri="{BB962C8B-B14F-4D97-AF65-F5344CB8AC3E}">
        <p14:creationId xmlns:p14="http://schemas.microsoft.com/office/powerpoint/2010/main" val="24190013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F95AE1F-D36A-485F-8A74-3A38008585D0}" type="datetimeFigureOut">
              <a:rPr lang="zh-CN" altLang="en-US" smtClean="0"/>
              <a:t>2026/4/1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A83C19D-CAE1-4355-A1BA-91CFED4C252A}" type="slidenum">
              <a:rPr lang="zh-CN" altLang="en-US" smtClean="0"/>
              <a:t>‹#›</a:t>
            </a:fld>
            <a:endParaRPr lang="zh-CN" altLang="en-US"/>
          </a:p>
        </p:txBody>
      </p:sp>
    </p:spTree>
    <p:extLst>
      <p:ext uri="{BB962C8B-B14F-4D97-AF65-F5344CB8AC3E}">
        <p14:creationId xmlns:p14="http://schemas.microsoft.com/office/powerpoint/2010/main" val="386011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F95AE1F-D36A-485F-8A74-3A38008585D0}" type="datetimeFigureOut">
              <a:rPr lang="zh-CN" altLang="en-US" smtClean="0"/>
              <a:t>2026/4/12</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A83C19D-CAE1-4355-A1BA-91CFED4C252A}" type="slidenum">
              <a:rPr lang="zh-CN" altLang="en-US" smtClean="0"/>
              <a:t>‹#›</a:t>
            </a:fld>
            <a:endParaRPr lang="zh-CN" altLang="en-US"/>
          </a:p>
        </p:txBody>
      </p:sp>
    </p:spTree>
    <p:extLst>
      <p:ext uri="{BB962C8B-B14F-4D97-AF65-F5344CB8AC3E}">
        <p14:creationId xmlns:p14="http://schemas.microsoft.com/office/powerpoint/2010/main" val="12160053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F95AE1F-D36A-485F-8A74-3A38008585D0}" type="datetimeFigureOut">
              <a:rPr lang="zh-CN" altLang="en-US" smtClean="0"/>
              <a:t>2026/4/12</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0A83C19D-CAE1-4355-A1BA-91CFED4C252A}" type="slidenum">
              <a:rPr lang="zh-CN" altLang="en-US" smtClean="0"/>
              <a:t>‹#›</a:t>
            </a:fld>
            <a:endParaRPr lang="zh-CN" altLang="en-US"/>
          </a:p>
        </p:txBody>
      </p:sp>
    </p:spTree>
    <p:extLst>
      <p:ext uri="{BB962C8B-B14F-4D97-AF65-F5344CB8AC3E}">
        <p14:creationId xmlns:p14="http://schemas.microsoft.com/office/powerpoint/2010/main" val="3921840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F95AE1F-D36A-485F-8A74-3A38008585D0}" type="datetimeFigureOut">
              <a:rPr lang="zh-CN" altLang="en-US" smtClean="0"/>
              <a:t>2026/4/12</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0A83C19D-CAE1-4355-A1BA-91CFED4C252A}" type="slidenum">
              <a:rPr lang="zh-CN" altLang="en-US" smtClean="0"/>
              <a:t>‹#›</a:t>
            </a:fld>
            <a:endParaRPr lang="zh-CN" altLang="en-US"/>
          </a:p>
        </p:txBody>
      </p:sp>
    </p:spTree>
    <p:extLst>
      <p:ext uri="{BB962C8B-B14F-4D97-AF65-F5344CB8AC3E}">
        <p14:creationId xmlns:p14="http://schemas.microsoft.com/office/powerpoint/2010/main" val="1995424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95AE1F-D36A-485F-8A74-3A38008585D0}" type="datetimeFigureOut">
              <a:rPr lang="zh-CN" altLang="en-US" smtClean="0"/>
              <a:t>2026/4/12</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0A83C19D-CAE1-4355-A1BA-91CFED4C252A}" type="slidenum">
              <a:rPr lang="zh-CN" altLang="en-US" smtClean="0"/>
              <a:t>‹#›</a:t>
            </a:fld>
            <a:endParaRPr lang="zh-CN" altLang="en-US"/>
          </a:p>
        </p:txBody>
      </p:sp>
    </p:spTree>
    <p:extLst>
      <p:ext uri="{BB962C8B-B14F-4D97-AF65-F5344CB8AC3E}">
        <p14:creationId xmlns:p14="http://schemas.microsoft.com/office/powerpoint/2010/main" val="32939979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F95AE1F-D36A-485F-8A74-3A38008585D0}" type="datetimeFigureOut">
              <a:rPr lang="zh-CN" altLang="en-US" smtClean="0"/>
              <a:t>2026/4/12</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A83C19D-CAE1-4355-A1BA-91CFED4C252A}" type="slidenum">
              <a:rPr lang="zh-CN" altLang="en-US" smtClean="0"/>
              <a:t>‹#›</a:t>
            </a:fld>
            <a:endParaRPr lang="zh-CN" altLang="en-US"/>
          </a:p>
        </p:txBody>
      </p:sp>
    </p:spTree>
    <p:extLst>
      <p:ext uri="{BB962C8B-B14F-4D97-AF65-F5344CB8AC3E}">
        <p14:creationId xmlns:p14="http://schemas.microsoft.com/office/powerpoint/2010/main" val="12181747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F95AE1F-D36A-485F-8A74-3A38008585D0}" type="datetimeFigureOut">
              <a:rPr lang="zh-CN" altLang="en-US" smtClean="0"/>
              <a:t>2026/4/12</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A83C19D-CAE1-4355-A1BA-91CFED4C252A}" type="slidenum">
              <a:rPr lang="zh-CN" altLang="en-US" smtClean="0"/>
              <a:t>‹#›</a:t>
            </a:fld>
            <a:endParaRPr lang="zh-CN" altLang="en-US"/>
          </a:p>
        </p:txBody>
      </p:sp>
    </p:spTree>
    <p:extLst>
      <p:ext uri="{BB962C8B-B14F-4D97-AF65-F5344CB8AC3E}">
        <p14:creationId xmlns:p14="http://schemas.microsoft.com/office/powerpoint/2010/main" val="1743664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F95AE1F-D36A-485F-8A74-3A38008585D0}" type="datetimeFigureOut">
              <a:rPr lang="zh-CN" altLang="en-US" smtClean="0"/>
              <a:t>2026/4/1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A83C19D-CAE1-4355-A1BA-91CFED4C252A}" type="slidenum">
              <a:rPr lang="zh-CN" altLang="en-US" smtClean="0"/>
              <a:t>‹#›</a:t>
            </a:fld>
            <a:endParaRPr lang="zh-CN" altLang="en-US"/>
          </a:p>
        </p:txBody>
      </p:sp>
    </p:spTree>
    <p:extLst>
      <p:ext uri="{BB962C8B-B14F-4D97-AF65-F5344CB8AC3E}">
        <p14:creationId xmlns:p14="http://schemas.microsoft.com/office/powerpoint/2010/main" val="3906814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F95AE1F-D36A-485F-8A74-3A38008585D0}" type="datetimeFigureOut">
              <a:rPr lang="zh-CN" altLang="en-US" smtClean="0"/>
              <a:t>2026/4/1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A83C19D-CAE1-4355-A1BA-91CFED4C252A}" type="slidenum">
              <a:rPr lang="zh-CN" altLang="en-US" smtClean="0"/>
              <a:t>‹#›</a:t>
            </a:fld>
            <a:endParaRPr lang="zh-CN" altLang="en-US"/>
          </a:p>
        </p:txBody>
      </p:sp>
    </p:spTree>
    <p:extLst>
      <p:ext uri="{BB962C8B-B14F-4D97-AF65-F5344CB8AC3E}">
        <p14:creationId xmlns:p14="http://schemas.microsoft.com/office/powerpoint/2010/main" val="39988337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Arial" panose="020B0604020202020204" pitchFamily="34" charset="0"/>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2" name="Picture 1" descr="Logo&#10;&#10;Description automatically generated">
            <a:extLst>
              <a:ext uri="{FF2B5EF4-FFF2-40B4-BE49-F238E27FC236}">
                <a16:creationId xmlns:a16="http://schemas.microsoft.com/office/drawing/2014/main" id="{0CA22DB6-01FE-B574-F4D9-9A33C489CE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265" y="6248188"/>
            <a:ext cx="1843200" cy="316800"/>
          </a:xfrm>
          <a:prstGeom prst="rect">
            <a:avLst/>
          </a:prstGeom>
        </p:spPr>
      </p:pic>
    </p:spTree>
    <p:extLst>
      <p:ext uri="{BB962C8B-B14F-4D97-AF65-F5344CB8AC3E}">
        <p14:creationId xmlns:p14="http://schemas.microsoft.com/office/powerpoint/2010/main" val="6191807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3913">
          <p15:clr>
            <a:srgbClr val="FBAE40"/>
          </p15:clr>
        </p15:guide>
        <p15:guide id="3" orient="horz" pos="4125">
          <p15:clr>
            <a:srgbClr val="FBAE40"/>
          </p15:clr>
        </p15:guide>
        <p15:guide id="4" pos="301">
          <p15:clr>
            <a:srgbClr val="FBAE40"/>
          </p15:clr>
        </p15:guide>
        <p15:guide id="5" pos="7379">
          <p15:clr>
            <a:srgbClr val="FBAE40"/>
          </p15:clr>
        </p15:guide>
        <p15:guide id="6" orient="horz" pos="225">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20467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51B757F-C14A-B741-B454-7B185A1C2E7E}" type="slidenum">
              <a:rPr lang="en-US" altLang="en-US" smtClean="0"/>
              <a:pPr/>
              <a:t>‹#›</a:t>
            </a:fld>
            <a:endParaRPr lang="en-US" altLang="en-US" dirty="0"/>
          </a:p>
        </p:txBody>
      </p:sp>
    </p:spTree>
    <p:extLst>
      <p:ext uri="{BB962C8B-B14F-4D97-AF65-F5344CB8AC3E}">
        <p14:creationId xmlns:p14="http://schemas.microsoft.com/office/powerpoint/2010/main" val="2613348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52721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671724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4/12/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0504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4/12/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969549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F41C86-81D1-154C-A238-A794744A1851}" type="datetimeFigureOut">
              <a:rPr lang="en-US" smtClean="0"/>
              <a:t>4/12/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4114822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228473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995495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5333162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88938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cSld name="DEFAU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7399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C0B7E-4626-614A-99D7-29B1AC549318}"/>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55836542-B3A8-684F-81C6-1B4D63FCDAC0}"/>
              </a:ext>
            </a:extLst>
          </p:cNvPr>
          <p:cNvSpPr>
            <a:spLocks noGrp="1"/>
          </p:cNvSpPr>
          <p:nvPr>
            <p:ph type="sldNum" sz="quarter" idx="10"/>
          </p:nvPr>
        </p:nvSpPr>
        <p:spPr/>
        <p:txBody>
          <a:bodyPr/>
          <a:lstStyle/>
          <a:p>
            <a:fld id="{651B757F-C14A-B741-B454-7B185A1C2E7E}" type="slidenum">
              <a:rPr lang="en-US" altLang="en-US" smtClean="0"/>
              <a:pPr/>
              <a:t>‹#›</a:t>
            </a:fld>
            <a:endParaRPr lang="en-US" altLang="en-US" dirty="0"/>
          </a:p>
        </p:txBody>
      </p:sp>
      <p:sp>
        <p:nvSpPr>
          <p:cNvPr id="4" name="Content Placeholder 2">
            <a:extLst>
              <a:ext uri="{FF2B5EF4-FFF2-40B4-BE49-F238E27FC236}">
                <a16:creationId xmlns:a16="http://schemas.microsoft.com/office/drawing/2014/main" id="{D7EE037D-91F8-164B-A68B-CA5A8A91F42A}"/>
              </a:ext>
            </a:extLst>
          </p:cNvPr>
          <p:cNvSpPr>
            <a:spLocks noGrp="1"/>
          </p:cNvSpPr>
          <p:nvPr>
            <p:ph idx="1"/>
          </p:nvPr>
        </p:nvSpPr>
        <p:spPr>
          <a:xfrm>
            <a:off x="878419" y="1600200"/>
            <a:ext cx="10358967" cy="4356099"/>
          </a:xfrm>
        </p:spPr>
        <p:txBody>
          <a:bodyPr/>
          <a:lstStyle>
            <a:lvl1pPr>
              <a:defRPr sz="2667" baseline="0"/>
            </a:lvl1pPr>
            <a:lvl2pPr>
              <a:defRPr sz="2400" baseline="0"/>
            </a:lvl2pPr>
            <a:lvl3pPr>
              <a:defRPr sz="2133" baseline="0"/>
            </a:lvl3pPr>
            <a:lvl4pPr>
              <a:defRPr sz="1867" baseline="0"/>
            </a:lvl4pPr>
            <a:lvl5pPr>
              <a:defRPr sz="16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2477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488756"/>
            <a:ext cx="5080000" cy="3911365"/>
          </a:xfrm>
        </p:spPr>
        <p:txBody>
          <a:bodyPr/>
          <a:lstStyle>
            <a:lvl1pPr>
              <a:defRPr sz="3731"/>
            </a:lvl1pPr>
            <a:lvl2pPr>
              <a:defRPr sz="3197"/>
            </a:lvl2pPr>
            <a:lvl3pPr>
              <a:defRPr sz="2664"/>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88756"/>
            <a:ext cx="5080000" cy="3911365"/>
          </a:xfrm>
        </p:spPr>
        <p:txBody>
          <a:bodyPr/>
          <a:lstStyle>
            <a:lvl1pPr>
              <a:defRPr sz="3731"/>
            </a:lvl1pPr>
            <a:lvl2pPr>
              <a:defRPr sz="3197"/>
            </a:lvl2pPr>
            <a:lvl3pPr>
              <a:defRPr sz="2664"/>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6" y="6165306"/>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6" name="Title 1"/>
          <p:cNvSpPr>
            <a:spLocks noGrp="1"/>
          </p:cNvSpPr>
          <p:nvPr>
            <p:ph type="title"/>
          </p:nvPr>
        </p:nvSpPr>
        <p:spPr>
          <a:xfrm>
            <a:off x="0" y="169797"/>
            <a:ext cx="12192000" cy="926471"/>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2726694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42279FE-934D-B049-96A3-CEA122BEF835}" type="datetimeFigureOut">
              <a:rPr lang="en-GB" smtClean="0"/>
              <a:t>12/04/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50FA8E4-6517-4D47-8685-195E4D3EC24C}" type="slidenum">
              <a:rPr lang="en-GB" smtClean="0"/>
              <a:t>‹#›</a:t>
            </a:fld>
            <a:endParaRPr lang="en-GB"/>
          </a:p>
        </p:txBody>
      </p:sp>
    </p:spTree>
    <p:extLst>
      <p:ext uri="{BB962C8B-B14F-4D97-AF65-F5344CB8AC3E}">
        <p14:creationId xmlns:p14="http://schemas.microsoft.com/office/powerpoint/2010/main" val="2762771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2279FE-934D-B049-96A3-CEA122BEF835}" type="datetimeFigureOut">
              <a:rPr lang="en-GB" smtClean="0"/>
              <a:t>12/04/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50FA8E4-6517-4D47-8685-195E4D3EC24C}" type="slidenum">
              <a:rPr lang="en-GB" smtClean="0"/>
              <a:t>‹#›</a:t>
            </a:fld>
            <a:endParaRPr lang="en-GB"/>
          </a:p>
        </p:txBody>
      </p:sp>
    </p:spTree>
    <p:extLst>
      <p:ext uri="{BB962C8B-B14F-4D97-AF65-F5344CB8AC3E}">
        <p14:creationId xmlns:p14="http://schemas.microsoft.com/office/powerpoint/2010/main" val="1686112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42279FE-934D-B049-96A3-CEA122BEF835}" type="datetimeFigureOut">
              <a:rPr lang="en-GB" smtClean="0"/>
              <a:t>12/04/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50FA8E4-6517-4D47-8685-195E4D3EC24C}" type="slidenum">
              <a:rPr lang="en-GB" smtClean="0"/>
              <a:t>‹#›</a:t>
            </a:fld>
            <a:endParaRPr lang="en-GB"/>
          </a:p>
        </p:txBody>
      </p:sp>
    </p:spTree>
    <p:extLst>
      <p:ext uri="{BB962C8B-B14F-4D97-AF65-F5344CB8AC3E}">
        <p14:creationId xmlns:p14="http://schemas.microsoft.com/office/powerpoint/2010/main" val="39571096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42279FE-934D-B049-96A3-CEA122BEF835}" type="datetimeFigureOut">
              <a:rPr lang="en-GB" smtClean="0"/>
              <a:t>12/04/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50FA8E4-6517-4D47-8685-195E4D3EC24C}" type="slidenum">
              <a:rPr lang="en-GB" smtClean="0"/>
              <a:t>‹#›</a:t>
            </a:fld>
            <a:endParaRPr lang="en-GB"/>
          </a:p>
        </p:txBody>
      </p:sp>
    </p:spTree>
    <p:extLst>
      <p:ext uri="{BB962C8B-B14F-4D97-AF65-F5344CB8AC3E}">
        <p14:creationId xmlns:p14="http://schemas.microsoft.com/office/powerpoint/2010/main" val="16529206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42279FE-934D-B049-96A3-CEA122BEF835}" type="datetimeFigureOut">
              <a:rPr lang="en-GB" smtClean="0"/>
              <a:t>12/04/202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550FA8E4-6517-4D47-8685-195E4D3EC24C}" type="slidenum">
              <a:rPr lang="en-GB" smtClean="0"/>
              <a:t>‹#›</a:t>
            </a:fld>
            <a:endParaRPr lang="en-GB"/>
          </a:p>
        </p:txBody>
      </p:sp>
    </p:spTree>
    <p:extLst>
      <p:ext uri="{BB962C8B-B14F-4D97-AF65-F5344CB8AC3E}">
        <p14:creationId xmlns:p14="http://schemas.microsoft.com/office/powerpoint/2010/main" val="3550083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42279FE-934D-B049-96A3-CEA122BEF835}" type="datetimeFigureOut">
              <a:rPr lang="en-GB" smtClean="0"/>
              <a:t>12/04/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550FA8E4-6517-4D47-8685-195E4D3EC24C}" type="slidenum">
              <a:rPr lang="en-GB" smtClean="0"/>
              <a:t>‹#›</a:t>
            </a:fld>
            <a:endParaRPr lang="en-GB"/>
          </a:p>
        </p:txBody>
      </p:sp>
    </p:spTree>
    <p:extLst>
      <p:ext uri="{BB962C8B-B14F-4D97-AF65-F5344CB8AC3E}">
        <p14:creationId xmlns:p14="http://schemas.microsoft.com/office/powerpoint/2010/main" val="1033424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2279FE-934D-B049-96A3-CEA122BEF835}" type="datetimeFigureOut">
              <a:rPr lang="en-GB" smtClean="0"/>
              <a:t>12/04/202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550FA8E4-6517-4D47-8685-195E4D3EC24C}" type="slidenum">
              <a:rPr lang="en-GB" smtClean="0"/>
              <a:t>‹#›</a:t>
            </a:fld>
            <a:endParaRPr lang="en-GB"/>
          </a:p>
        </p:txBody>
      </p:sp>
    </p:spTree>
    <p:extLst>
      <p:ext uri="{BB962C8B-B14F-4D97-AF65-F5344CB8AC3E}">
        <p14:creationId xmlns:p14="http://schemas.microsoft.com/office/powerpoint/2010/main" val="25938734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42279FE-934D-B049-96A3-CEA122BEF835}" type="datetimeFigureOut">
              <a:rPr lang="en-GB" smtClean="0"/>
              <a:t>12/04/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50FA8E4-6517-4D47-8685-195E4D3EC24C}" type="slidenum">
              <a:rPr lang="en-GB" smtClean="0"/>
              <a:t>‹#›</a:t>
            </a:fld>
            <a:endParaRPr lang="en-GB"/>
          </a:p>
        </p:txBody>
      </p:sp>
    </p:spTree>
    <p:extLst>
      <p:ext uri="{BB962C8B-B14F-4D97-AF65-F5344CB8AC3E}">
        <p14:creationId xmlns:p14="http://schemas.microsoft.com/office/powerpoint/2010/main" val="17703839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42279FE-934D-B049-96A3-CEA122BEF835}" type="datetimeFigureOut">
              <a:rPr lang="en-GB" smtClean="0"/>
              <a:t>12/04/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50FA8E4-6517-4D47-8685-195E4D3EC24C}" type="slidenum">
              <a:rPr lang="en-GB" smtClean="0"/>
              <a:t>‹#›</a:t>
            </a:fld>
            <a:endParaRPr lang="en-GB"/>
          </a:p>
        </p:txBody>
      </p:sp>
    </p:spTree>
    <p:extLst>
      <p:ext uri="{BB962C8B-B14F-4D97-AF65-F5344CB8AC3E}">
        <p14:creationId xmlns:p14="http://schemas.microsoft.com/office/powerpoint/2010/main" val="1151998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2279FE-934D-B049-96A3-CEA122BEF835}" type="datetimeFigureOut">
              <a:rPr lang="en-GB" smtClean="0"/>
              <a:t>12/04/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50FA8E4-6517-4D47-8685-195E4D3EC24C}" type="slidenum">
              <a:rPr lang="en-GB" smtClean="0"/>
              <a:t>‹#›</a:t>
            </a:fld>
            <a:endParaRPr lang="en-GB"/>
          </a:p>
        </p:txBody>
      </p:sp>
    </p:spTree>
    <p:extLst>
      <p:ext uri="{BB962C8B-B14F-4D97-AF65-F5344CB8AC3E}">
        <p14:creationId xmlns:p14="http://schemas.microsoft.com/office/powerpoint/2010/main" val="40917552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2279FE-934D-B049-96A3-CEA122BEF835}" type="datetimeFigureOut">
              <a:rPr lang="en-GB" smtClean="0"/>
              <a:t>12/04/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50FA8E4-6517-4D47-8685-195E4D3EC24C}" type="slidenum">
              <a:rPr lang="en-GB" smtClean="0"/>
              <a:t>‹#›</a:t>
            </a:fld>
            <a:endParaRPr lang="en-GB"/>
          </a:p>
        </p:txBody>
      </p:sp>
    </p:spTree>
    <p:extLst>
      <p:ext uri="{BB962C8B-B14F-4D97-AF65-F5344CB8AC3E}">
        <p14:creationId xmlns:p14="http://schemas.microsoft.com/office/powerpoint/2010/main" val="432214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33C3-5B9B-5062-E3B3-EDFCF00DC312}"/>
              </a:ext>
            </a:extLst>
          </p:cNvPr>
          <p:cNvSpPr>
            <a:spLocks noGrp="1"/>
          </p:cNvSpPr>
          <p:nvPr>
            <p:ph type="title"/>
          </p:nvPr>
        </p:nvSpPr>
        <p:spPr>
          <a:xfrm>
            <a:off x="357434" y="355699"/>
            <a:ext cx="11834565" cy="794372"/>
          </a:xfrm>
          <a:prstGeom prst="rect">
            <a:avLst/>
          </a:prstGeom>
        </p:spPr>
        <p:txBody>
          <a:bodyPr>
            <a:noAutofit/>
          </a:bodyPr>
          <a:lstStyle>
            <a:lvl1pPr>
              <a:lnSpc>
                <a:spcPct val="100000"/>
              </a:lnSpc>
              <a:defRPr sz="3000" b="1">
                <a:solidFill>
                  <a:srgbClr val="5D2A84"/>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0BEA3F4-F7BB-DC32-A0DE-4CDD68B3BAA6}"/>
              </a:ext>
            </a:extLst>
          </p:cNvPr>
          <p:cNvSpPr>
            <a:spLocks noGrp="1"/>
          </p:cNvSpPr>
          <p:nvPr>
            <p:ph idx="1"/>
          </p:nvPr>
        </p:nvSpPr>
        <p:spPr>
          <a:xfrm>
            <a:off x="357435" y="1489435"/>
            <a:ext cx="9568992" cy="4027652"/>
          </a:xfrm>
          <a:prstGeom prst="rect">
            <a:avLst/>
          </a:prstGeom>
        </p:spPr>
        <p:txBody>
          <a:bodyPr/>
          <a:lstStyle>
            <a:lvl1pPr>
              <a:lnSpc>
                <a:spcPct val="100000"/>
              </a:lnSpc>
              <a:spcBef>
                <a:spcPts val="0"/>
              </a:spcBef>
              <a:defRPr>
                <a:solidFill>
                  <a:srgbClr val="251607"/>
                </a:solidFill>
                <a:latin typeface="Arial" panose="020B0604020202020204" pitchFamily="34" charset="0"/>
                <a:cs typeface="Arial" panose="020B0604020202020204" pitchFamily="34" charset="0"/>
              </a:defRPr>
            </a:lvl1pPr>
            <a:lvl2pPr>
              <a:lnSpc>
                <a:spcPct val="100000"/>
              </a:lnSpc>
              <a:spcBef>
                <a:spcPts val="0"/>
              </a:spcBef>
              <a:defRPr>
                <a:solidFill>
                  <a:srgbClr val="251607"/>
                </a:solidFill>
                <a:latin typeface="Arial" panose="020B0604020202020204" pitchFamily="34" charset="0"/>
                <a:cs typeface="Arial" panose="020B0604020202020204" pitchFamily="34" charset="0"/>
              </a:defRPr>
            </a:lvl2pPr>
            <a:lvl3pPr>
              <a:lnSpc>
                <a:spcPct val="100000"/>
              </a:lnSpc>
              <a:spcBef>
                <a:spcPts val="0"/>
              </a:spcBef>
              <a:defRPr>
                <a:solidFill>
                  <a:srgbClr val="251607"/>
                </a:solidFill>
                <a:latin typeface="Arial" panose="020B0604020202020204" pitchFamily="34" charset="0"/>
                <a:cs typeface="Arial" panose="020B0604020202020204" pitchFamily="34" charset="0"/>
              </a:defRPr>
            </a:lvl3pPr>
            <a:lvl4pPr>
              <a:lnSpc>
                <a:spcPct val="100000"/>
              </a:lnSpc>
              <a:spcBef>
                <a:spcPts val="0"/>
              </a:spcBef>
              <a:defRPr>
                <a:solidFill>
                  <a:srgbClr val="251607"/>
                </a:solidFill>
                <a:latin typeface="Arial" panose="020B0604020202020204" pitchFamily="34" charset="0"/>
                <a:cs typeface="Arial" panose="020B0604020202020204" pitchFamily="34" charset="0"/>
              </a:defRPr>
            </a:lvl4pPr>
            <a:lvl5pPr>
              <a:lnSpc>
                <a:spcPct val="100000"/>
              </a:lnSpc>
              <a:spcBef>
                <a:spcPts val="0"/>
              </a:spcBef>
              <a:defRPr>
                <a:solidFill>
                  <a:srgbClr val="251607"/>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EEEE254A-EDA4-3177-8007-FD8F7CB5CD9C}"/>
              </a:ext>
            </a:extLst>
          </p:cNvPr>
          <p:cNvSpPr>
            <a:spLocks noGrp="1"/>
          </p:cNvSpPr>
          <p:nvPr>
            <p:ph type="body" sz="quarter" idx="10" hasCustomPrompt="1"/>
          </p:nvPr>
        </p:nvSpPr>
        <p:spPr>
          <a:xfrm>
            <a:off x="357434" y="6437314"/>
            <a:ext cx="11834567" cy="420687"/>
          </a:xfrm>
          <a:prstGeom prst="rect">
            <a:avLst/>
          </a:prstGeom>
        </p:spPr>
        <p:txBody>
          <a:bodyPr anchor="b"/>
          <a:lstStyle>
            <a:lvl1pPr marL="0" indent="0">
              <a:spcBef>
                <a:spcPts val="0"/>
              </a:spcBef>
              <a:buNone/>
              <a:defRPr sz="1000"/>
            </a:lvl1pPr>
          </a:lstStyle>
          <a:p>
            <a:pPr lvl="0"/>
            <a:r>
              <a:rPr lang="en-US"/>
              <a:t>Footnote</a:t>
            </a:r>
            <a:endParaRPr lang="en-GB"/>
          </a:p>
        </p:txBody>
      </p:sp>
    </p:spTree>
    <p:extLst>
      <p:ext uri="{BB962C8B-B14F-4D97-AF65-F5344CB8AC3E}">
        <p14:creationId xmlns:p14="http://schemas.microsoft.com/office/powerpoint/2010/main" val="86209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7_Free Content" userDrawn="1">
  <p:cSld name="7_Free Content">
    <p:spTree>
      <p:nvGrpSpPr>
        <p:cNvPr id="1" name="Shape 44"/>
        <p:cNvGrpSpPr/>
        <p:nvPr/>
      </p:nvGrpSpPr>
      <p:grpSpPr>
        <a:xfrm>
          <a:off x="0" y="0"/>
          <a:ext cx="0" cy="0"/>
          <a:chOff x="0" y="0"/>
          <a:chExt cx="0" cy="0"/>
        </a:xfrm>
      </p:grpSpPr>
    </p:spTree>
    <p:extLst>
      <p:ext uri="{BB962C8B-B14F-4D97-AF65-F5344CB8AC3E}">
        <p14:creationId xmlns:p14="http://schemas.microsoft.com/office/powerpoint/2010/main" val="2933899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gráfico 2">
    <p:spTree>
      <p:nvGrpSpPr>
        <p:cNvPr id="1" name=""/>
        <p:cNvGrpSpPr/>
        <p:nvPr/>
      </p:nvGrpSpPr>
      <p:grpSpPr>
        <a:xfrm>
          <a:off x="0" y="0"/>
          <a:ext cx="0" cy="0"/>
          <a:chOff x="0" y="0"/>
          <a:chExt cx="0" cy="0"/>
        </a:xfrm>
      </p:grpSpPr>
      <p:sp>
        <p:nvSpPr>
          <p:cNvPr id="5" name="Marcador de gráfico 10">
            <a:extLst>
              <a:ext uri="{FF2B5EF4-FFF2-40B4-BE49-F238E27FC236}">
                <a16:creationId xmlns:a16="http://schemas.microsoft.com/office/drawing/2014/main" id="{4CB7AD7B-55A0-4607-A1FE-C85E78297C31}"/>
              </a:ext>
            </a:extLst>
          </p:cNvPr>
          <p:cNvSpPr>
            <a:spLocks noGrp="1"/>
          </p:cNvSpPr>
          <p:nvPr>
            <p:ph type="chart" sz="quarter" idx="12"/>
          </p:nvPr>
        </p:nvSpPr>
        <p:spPr>
          <a:xfrm>
            <a:off x="1583879" y="1412780"/>
            <a:ext cx="8928992" cy="4626841"/>
          </a:xfrm>
          <a:prstGeom prst="rect">
            <a:avLst/>
          </a:prstGeom>
        </p:spPr>
        <p:txBody>
          <a:bodyPr/>
          <a:lstStyle>
            <a:lvl1pPr>
              <a:defRPr>
                <a:solidFill>
                  <a:schemeClr val="tx1"/>
                </a:solidFill>
              </a:defRPr>
            </a:lvl1pPr>
          </a:lstStyle>
          <a:p>
            <a:endParaRPr lang="es-ES"/>
          </a:p>
        </p:txBody>
      </p:sp>
      <p:sp>
        <p:nvSpPr>
          <p:cNvPr id="2" name="15 Título">
            <a:extLst>
              <a:ext uri="{FF2B5EF4-FFF2-40B4-BE49-F238E27FC236}">
                <a16:creationId xmlns:a16="http://schemas.microsoft.com/office/drawing/2014/main" id="{AD572CA1-B56D-9D8A-D64F-285181FA75C2}"/>
              </a:ext>
            </a:extLst>
          </p:cNvPr>
          <p:cNvSpPr>
            <a:spLocks noGrp="1"/>
          </p:cNvSpPr>
          <p:nvPr>
            <p:ph type="title"/>
          </p:nvPr>
        </p:nvSpPr>
        <p:spPr>
          <a:xfrm>
            <a:off x="190459" y="123021"/>
            <a:ext cx="10972800" cy="500043"/>
          </a:xfrm>
          <a:prstGeom prst="rect">
            <a:avLst/>
          </a:prstGeom>
        </p:spPr>
        <p:txBody>
          <a:bodyPr/>
          <a:lstStyle>
            <a:lvl1pPr algn="l" rtl="0" fontAlgn="base">
              <a:spcBef>
                <a:spcPct val="0"/>
              </a:spcBef>
              <a:spcAft>
                <a:spcPct val="0"/>
              </a:spcAft>
              <a:defRPr lang="es-ES" sz="2400" b="1" kern="1200" dirty="0">
                <a:solidFill>
                  <a:schemeClr val="bg2"/>
                </a:solidFill>
                <a:latin typeface="Trebuchet MS" pitchFamily="34" charset="0"/>
                <a:ea typeface="+mn-ea"/>
                <a:cs typeface="Arial" charset="0"/>
              </a:defRPr>
            </a:lvl1pPr>
          </a:lstStyle>
          <a:p>
            <a:r>
              <a:rPr lang="es-ES"/>
              <a:t>Haga clic para modificar el estilo de título del patrón</a:t>
            </a:r>
          </a:p>
        </p:txBody>
      </p:sp>
      <p:sp>
        <p:nvSpPr>
          <p:cNvPr id="3" name="19 Marcador de texto">
            <a:extLst>
              <a:ext uri="{FF2B5EF4-FFF2-40B4-BE49-F238E27FC236}">
                <a16:creationId xmlns:a16="http://schemas.microsoft.com/office/drawing/2014/main" id="{618D27F4-98B9-2C37-B382-AB4651DEA4D7}"/>
              </a:ext>
            </a:extLst>
          </p:cNvPr>
          <p:cNvSpPr>
            <a:spLocks noGrp="1"/>
          </p:cNvSpPr>
          <p:nvPr>
            <p:ph type="body" sz="quarter" idx="11"/>
          </p:nvPr>
        </p:nvSpPr>
        <p:spPr>
          <a:xfrm>
            <a:off x="190459" y="599935"/>
            <a:ext cx="11715832" cy="428628"/>
          </a:xfrm>
          <a:prstGeom prst="rect">
            <a:avLst/>
          </a:prstGeom>
        </p:spPr>
        <p:txBody>
          <a:bodyPr/>
          <a:lstStyle>
            <a:lvl1pPr>
              <a:buFontTx/>
              <a:buNone/>
              <a:defRPr lang="es-ES" sz="2000" i="1" kern="1200" dirty="0" smtClean="0">
                <a:solidFill>
                  <a:schemeClr val="tx2"/>
                </a:solidFill>
                <a:latin typeface="Trebuchet MS" pitchFamily="34" charset="0"/>
                <a:ea typeface="+mn-ea"/>
                <a:cs typeface="Arial" charset="0"/>
              </a:defRPr>
            </a:lvl1pPr>
          </a:lstStyle>
          <a:p>
            <a:pPr lvl="0"/>
            <a:r>
              <a:rPr lang="es-ES"/>
              <a:t>Haga clic para modificar el estilo de texto del patrón</a:t>
            </a:r>
          </a:p>
        </p:txBody>
      </p:sp>
    </p:spTree>
    <p:extLst>
      <p:ext uri="{BB962C8B-B14F-4D97-AF65-F5344CB8AC3E}">
        <p14:creationId xmlns:p14="http://schemas.microsoft.com/office/powerpoint/2010/main" val="1531378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5A3F6-70F1-EE76-4973-A6212DD8ADF7}"/>
              </a:ext>
            </a:extLst>
          </p:cNvPr>
          <p:cNvSpPr>
            <a:spLocks noGrp="1"/>
          </p:cNvSpPr>
          <p:nvPr>
            <p:ph type="title"/>
          </p:nvPr>
        </p:nvSpPr>
        <p:spPr/>
        <p:txBody>
          <a:bodyPr lIns="0" tIns="0" rIns="0" bIns="0">
            <a:noAutofit/>
          </a:bodyPr>
          <a:lstStyle>
            <a:lvl1pPr>
              <a:defRPr sz="3000"/>
            </a:lvl1pPr>
          </a:lstStyle>
          <a:p>
            <a:r>
              <a:rPr lang="en-US"/>
              <a:t>Click to edit Master title style</a:t>
            </a:r>
          </a:p>
        </p:txBody>
      </p:sp>
      <p:sp>
        <p:nvSpPr>
          <p:cNvPr id="3" name="Content Placeholder 2">
            <a:extLst>
              <a:ext uri="{FF2B5EF4-FFF2-40B4-BE49-F238E27FC236}">
                <a16:creationId xmlns:a16="http://schemas.microsoft.com/office/drawing/2014/main" id="{0EEA4AE9-9DDC-CD19-FF51-F850DE00F68D}"/>
              </a:ext>
            </a:extLst>
          </p:cNvPr>
          <p:cNvSpPr>
            <a:spLocks noGrp="1"/>
          </p:cNvSpPr>
          <p:nvPr>
            <p:ph idx="1"/>
          </p:nvPr>
        </p:nvSpPr>
        <p:spPr>
          <a:xfrm>
            <a:off x="482340" y="1825625"/>
            <a:ext cx="10515600" cy="4351339"/>
          </a:xfrm>
        </p:spPr>
        <p:txBody>
          <a:bodyPr lIns="0" tIns="0" rIns="0" bIns="0">
            <a:noAutofit/>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35237BF6-457E-EFB6-C68E-CA4FFF200C92}"/>
              </a:ext>
            </a:extLst>
          </p:cNvPr>
          <p:cNvSpPr>
            <a:spLocks noGrp="1"/>
          </p:cNvSpPr>
          <p:nvPr>
            <p:ph type="sldNum" sz="quarter" idx="12"/>
          </p:nvPr>
        </p:nvSpPr>
        <p:spPr/>
        <p:txBody>
          <a:bodyPr/>
          <a:lstStyle/>
          <a:p>
            <a:fld id="{4F56D0CE-98BC-4E53-87E9-C5EE57AAFB1D}" type="slidenum">
              <a:rPr lang="en-US" smtClean="0"/>
              <a:t>‹#›</a:t>
            </a:fld>
            <a:endParaRPr lang="en-US"/>
          </a:p>
        </p:txBody>
      </p:sp>
      <p:sp>
        <p:nvSpPr>
          <p:cNvPr id="5" name="Text Placeholder 4">
            <a:extLst>
              <a:ext uri="{FF2B5EF4-FFF2-40B4-BE49-F238E27FC236}">
                <a16:creationId xmlns:a16="http://schemas.microsoft.com/office/drawing/2014/main" id="{AC458967-3661-15EB-F446-6078B955553A}"/>
              </a:ext>
            </a:extLst>
          </p:cNvPr>
          <p:cNvSpPr>
            <a:spLocks noGrp="1"/>
          </p:cNvSpPr>
          <p:nvPr>
            <p:ph type="body" sz="quarter" idx="13"/>
          </p:nvPr>
        </p:nvSpPr>
        <p:spPr>
          <a:xfrm>
            <a:off x="482340" y="6011547"/>
            <a:ext cx="10996613" cy="714375"/>
          </a:xfrm>
        </p:spPr>
        <p:txBody>
          <a:bodyPr vert="horz" lIns="0" tIns="0" rIns="0" bIns="0" rtlCol="0" anchor="b"/>
          <a:lstStyle>
            <a:lvl1pPr marL="0" indent="0">
              <a:buNone/>
              <a:defRPr kumimoji="0" lang="en-US" sz="700" b="0" i="0" u="none" strike="noStrike" cap="none" spc="0" normalizeH="0" baseline="0" dirty="0" smtClean="0">
                <a:ln>
                  <a:noFill/>
                </a:ln>
                <a:solidFill>
                  <a:srgbClr val="000000"/>
                </a:solidFill>
                <a:effectLst/>
                <a:uLnTx/>
                <a:uFillTx/>
              </a:defRPr>
            </a:lvl1pPr>
          </a:lstStyle>
          <a:p>
            <a:pPr marL="0" lvl="0"/>
            <a:r>
              <a:rPr lang="en-US"/>
              <a:t>Click to edit Master text styles</a:t>
            </a:r>
          </a:p>
        </p:txBody>
      </p:sp>
    </p:spTree>
    <p:extLst>
      <p:ext uri="{BB962C8B-B14F-4D97-AF65-F5344CB8AC3E}">
        <p14:creationId xmlns:p14="http://schemas.microsoft.com/office/powerpoint/2010/main" val="28616132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6" y="2"/>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2"/>
            <a:ext cx="8028000" cy="553999"/>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2" y="6454470"/>
            <a:ext cx="5068649" cy="161711"/>
          </a:xfrm>
          <a:prstGeom prst="rect">
            <a:avLst/>
          </a:prstGeom>
          <a:noFill/>
        </p:spPr>
        <p:txBody>
          <a:bodyPr wrap="square" lIns="0" tIns="0" rIns="90000" bIns="0" rtlCol="0">
            <a:spAutoFit/>
          </a:bodyPr>
          <a:lstStyle/>
          <a:p>
            <a:pPr marL="0" marR="0" lvl="0" indent="0" algn="r" defTabSz="914354"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1"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9" cy="223139"/>
          </a:xfrm>
          <a:prstGeom prst="rect">
            <a:avLst/>
          </a:prstGeom>
          <a:noFill/>
          <a:ln>
            <a:noFill/>
          </a:ln>
        </p:spPr>
        <p:txBody>
          <a:bodyPr spcFirstLastPara="1" vert="horz" wrap="square" lIns="0" tIns="0" rIns="0" bIns="0" anchor="ctr" anchorCtr="0">
            <a:spAutoFit/>
          </a:bodyPr>
          <a:lstStyle>
            <a:lvl1pPr marL="457178" marR="0" lvl="0" indent="-228589"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354" marR="0" lvl="1"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32" marR="0" lvl="2"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09" marR="0" lvl="3"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886" marR="0" lvl="4"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062" marR="0" lvl="5"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240" marR="0" lvl="6"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418" marR="0" lvl="7"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594" marR="0" lvl="8"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7812801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Diapositiva de título">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3423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1478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4002972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07554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36791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4/12/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467878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4/12/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pic>
        <p:nvPicPr>
          <p:cNvPr id="6" name="Picture 5" descr="Purple spheres on a surface&#10;&#10;Description automatically generated with medium confidence">
            <a:extLst>
              <a:ext uri="{FF2B5EF4-FFF2-40B4-BE49-F238E27FC236}">
                <a16:creationId xmlns:a16="http://schemas.microsoft.com/office/drawing/2014/main" id="{92781BDA-5D2E-922B-2A53-29DD237C67A4}"/>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rcRect/>
          <a:stretch/>
        </p:blipFill>
        <p:spPr>
          <a:xfrm>
            <a:off x="10185621" y="0"/>
            <a:ext cx="2006379" cy="6858000"/>
          </a:xfrm>
          <a:prstGeom prst="rect">
            <a:avLst/>
          </a:prstGeom>
        </p:spPr>
      </p:pic>
      <p:sp>
        <p:nvSpPr>
          <p:cNvPr id="7" name="Rectangle 6">
            <a:extLst>
              <a:ext uri="{FF2B5EF4-FFF2-40B4-BE49-F238E27FC236}">
                <a16:creationId xmlns:a16="http://schemas.microsoft.com/office/drawing/2014/main" id="{5F30E34A-4BF4-9885-DE10-28EEAD0F6A0E}"/>
              </a:ext>
            </a:extLst>
          </p:cNvPr>
          <p:cNvSpPr/>
          <p:nvPr userDrawn="1"/>
        </p:nvSpPr>
        <p:spPr>
          <a:xfrm>
            <a:off x="10118471" y="0"/>
            <a:ext cx="106791" cy="6858000"/>
          </a:xfrm>
          <a:prstGeom prst="rect">
            <a:avLst/>
          </a:prstGeom>
          <a:solidFill>
            <a:srgbClr val="5D2A8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9967535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12/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83444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22991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419506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3595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753878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33C3-5B9B-5062-E3B3-EDFCF00DC312}"/>
              </a:ext>
            </a:extLst>
          </p:cNvPr>
          <p:cNvSpPr>
            <a:spLocks noGrp="1"/>
          </p:cNvSpPr>
          <p:nvPr>
            <p:ph type="title"/>
          </p:nvPr>
        </p:nvSpPr>
        <p:spPr>
          <a:xfrm>
            <a:off x="357434" y="355699"/>
            <a:ext cx="11834565" cy="794372"/>
          </a:xfrm>
          <a:prstGeom prst="rect">
            <a:avLst/>
          </a:prstGeom>
        </p:spPr>
        <p:txBody>
          <a:bodyPr>
            <a:noAutofit/>
          </a:bodyPr>
          <a:lstStyle>
            <a:lvl1pPr>
              <a:lnSpc>
                <a:spcPct val="100000"/>
              </a:lnSpc>
              <a:defRPr sz="3000" b="1">
                <a:solidFill>
                  <a:srgbClr val="5D2A84"/>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0BEA3F4-F7BB-DC32-A0DE-4CDD68B3BAA6}"/>
              </a:ext>
            </a:extLst>
          </p:cNvPr>
          <p:cNvSpPr>
            <a:spLocks noGrp="1"/>
          </p:cNvSpPr>
          <p:nvPr>
            <p:ph idx="1"/>
          </p:nvPr>
        </p:nvSpPr>
        <p:spPr>
          <a:xfrm>
            <a:off x="357435" y="1489435"/>
            <a:ext cx="9568992" cy="4027652"/>
          </a:xfrm>
          <a:prstGeom prst="rect">
            <a:avLst/>
          </a:prstGeom>
        </p:spPr>
        <p:txBody>
          <a:bodyPr/>
          <a:lstStyle>
            <a:lvl1pPr>
              <a:lnSpc>
                <a:spcPct val="100000"/>
              </a:lnSpc>
              <a:spcBef>
                <a:spcPts val="0"/>
              </a:spcBef>
              <a:defRPr>
                <a:solidFill>
                  <a:srgbClr val="251607"/>
                </a:solidFill>
                <a:latin typeface="Arial" panose="020B0604020202020204" pitchFamily="34" charset="0"/>
                <a:cs typeface="Arial" panose="020B0604020202020204" pitchFamily="34" charset="0"/>
              </a:defRPr>
            </a:lvl1pPr>
            <a:lvl2pPr>
              <a:lnSpc>
                <a:spcPct val="100000"/>
              </a:lnSpc>
              <a:spcBef>
                <a:spcPts val="0"/>
              </a:spcBef>
              <a:defRPr>
                <a:solidFill>
                  <a:srgbClr val="251607"/>
                </a:solidFill>
                <a:latin typeface="Arial" panose="020B0604020202020204" pitchFamily="34" charset="0"/>
                <a:cs typeface="Arial" panose="020B0604020202020204" pitchFamily="34" charset="0"/>
              </a:defRPr>
            </a:lvl2pPr>
            <a:lvl3pPr>
              <a:lnSpc>
                <a:spcPct val="100000"/>
              </a:lnSpc>
              <a:spcBef>
                <a:spcPts val="0"/>
              </a:spcBef>
              <a:defRPr>
                <a:solidFill>
                  <a:srgbClr val="251607"/>
                </a:solidFill>
                <a:latin typeface="Arial" panose="020B0604020202020204" pitchFamily="34" charset="0"/>
                <a:cs typeface="Arial" panose="020B0604020202020204" pitchFamily="34" charset="0"/>
              </a:defRPr>
            </a:lvl3pPr>
            <a:lvl4pPr>
              <a:lnSpc>
                <a:spcPct val="100000"/>
              </a:lnSpc>
              <a:spcBef>
                <a:spcPts val="0"/>
              </a:spcBef>
              <a:defRPr>
                <a:solidFill>
                  <a:srgbClr val="251607"/>
                </a:solidFill>
                <a:latin typeface="Arial" panose="020B0604020202020204" pitchFamily="34" charset="0"/>
                <a:cs typeface="Arial" panose="020B0604020202020204" pitchFamily="34" charset="0"/>
              </a:defRPr>
            </a:lvl4pPr>
            <a:lvl5pPr>
              <a:lnSpc>
                <a:spcPct val="100000"/>
              </a:lnSpc>
              <a:spcBef>
                <a:spcPts val="0"/>
              </a:spcBef>
              <a:defRPr>
                <a:solidFill>
                  <a:srgbClr val="251607"/>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EEEE254A-EDA4-3177-8007-FD8F7CB5CD9C}"/>
              </a:ext>
            </a:extLst>
          </p:cNvPr>
          <p:cNvSpPr>
            <a:spLocks noGrp="1"/>
          </p:cNvSpPr>
          <p:nvPr>
            <p:ph type="body" sz="quarter" idx="10" hasCustomPrompt="1"/>
          </p:nvPr>
        </p:nvSpPr>
        <p:spPr>
          <a:xfrm>
            <a:off x="357434" y="6437314"/>
            <a:ext cx="11834567" cy="420687"/>
          </a:xfrm>
          <a:prstGeom prst="rect">
            <a:avLst/>
          </a:prstGeom>
        </p:spPr>
        <p:txBody>
          <a:bodyPr anchor="b"/>
          <a:lstStyle>
            <a:lvl1pPr marL="0" indent="0">
              <a:spcBef>
                <a:spcPts val="0"/>
              </a:spcBef>
              <a:buNone/>
              <a:defRPr sz="1000"/>
            </a:lvl1pPr>
          </a:lstStyle>
          <a:p>
            <a:pPr lvl="0"/>
            <a:r>
              <a:rPr lang="en-US"/>
              <a:t>Footnote</a:t>
            </a:r>
            <a:endParaRPr lang="en-GB"/>
          </a:p>
        </p:txBody>
      </p:sp>
    </p:spTree>
    <p:extLst>
      <p:ext uri="{BB962C8B-B14F-4D97-AF65-F5344CB8AC3E}">
        <p14:creationId xmlns:p14="http://schemas.microsoft.com/office/powerpoint/2010/main" val="3045509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CA154-02E0-DA1A-6855-7862784E01D7}"/>
              </a:ext>
            </a:extLst>
          </p:cNvPr>
          <p:cNvSpPr>
            <a:spLocks noGrp="1"/>
          </p:cNvSpPr>
          <p:nvPr>
            <p:ph type="ctrTitle"/>
          </p:nvPr>
        </p:nvSpPr>
        <p:spPr>
          <a:xfrm>
            <a:off x="392784" y="1424021"/>
            <a:ext cx="9144000" cy="1856507"/>
          </a:xfrm>
          <a:prstGeom prst="rect">
            <a:avLst/>
          </a:prstGeom>
        </p:spPr>
        <p:txBody>
          <a:bodyPr anchor="b"/>
          <a:lstStyle>
            <a:lvl1pPr algn="l">
              <a:defRPr sz="6000" b="1">
                <a:solidFill>
                  <a:srgbClr val="5D2A84"/>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B51938F6-D617-4CBB-0741-93149AC1532D}"/>
              </a:ext>
            </a:extLst>
          </p:cNvPr>
          <p:cNvSpPr>
            <a:spLocks noGrp="1"/>
          </p:cNvSpPr>
          <p:nvPr>
            <p:ph type="subTitle" idx="1"/>
          </p:nvPr>
        </p:nvSpPr>
        <p:spPr>
          <a:xfrm>
            <a:off x="392784" y="3429000"/>
            <a:ext cx="9144000" cy="1655763"/>
          </a:xfrm>
          <a:prstGeom prst="rect">
            <a:avLst/>
          </a:prstGeom>
        </p:spPr>
        <p:txBody>
          <a:bodyPr/>
          <a:lstStyle>
            <a:lvl1pPr marL="0" indent="0" algn="l">
              <a:spcBef>
                <a:spcPts val="0"/>
              </a:spcBef>
              <a:buNone/>
              <a:defRPr sz="2400">
                <a:solidFill>
                  <a:srgbClr val="251607"/>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11" name="Picture 10" descr="Purple spheres on a surface&#10;&#10;Description automatically generated with medium confidence">
            <a:extLst>
              <a:ext uri="{FF2B5EF4-FFF2-40B4-BE49-F238E27FC236}">
                <a16:creationId xmlns:a16="http://schemas.microsoft.com/office/drawing/2014/main" id="{F6109C5A-AB2A-EF10-6768-EDB543C64E2C}"/>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rcRect/>
          <a:stretch/>
        </p:blipFill>
        <p:spPr>
          <a:xfrm>
            <a:off x="10185621" y="0"/>
            <a:ext cx="2006379" cy="6858000"/>
          </a:xfrm>
          <a:prstGeom prst="rect">
            <a:avLst/>
          </a:prstGeom>
        </p:spPr>
      </p:pic>
      <p:sp>
        <p:nvSpPr>
          <p:cNvPr id="7" name="Rectangle 6">
            <a:extLst>
              <a:ext uri="{FF2B5EF4-FFF2-40B4-BE49-F238E27FC236}">
                <a16:creationId xmlns:a16="http://schemas.microsoft.com/office/drawing/2014/main" id="{FF7ADA35-D250-C252-80D1-B5586FA71261}"/>
              </a:ext>
            </a:extLst>
          </p:cNvPr>
          <p:cNvSpPr/>
          <p:nvPr userDrawn="1"/>
        </p:nvSpPr>
        <p:spPr>
          <a:xfrm>
            <a:off x="10118471" y="0"/>
            <a:ext cx="106791" cy="6858000"/>
          </a:xfrm>
          <a:prstGeom prst="rect">
            <a:avLst/>
          </a:prstGeom>
          <a:solidFill>
            <a:srgbClr val="5D2A8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Text Placeholder 13">
            <a:extLst>
              <a:ext uri="{FF2B5EF4-FFF2-40B4-BE49-F238E27FC236}">
                <a16:creationId xmlns:a16="http://schemas.microsoft.com/office/drawing/2014/main" id="{8B08301F-8160-6095-FA8F-BD3C3228903C}"/>
              </a:ext>
            </a:extLst>
          </p:cNvPr>
          <p:cNvSpPr>
            <a:spLocks noGrp="1"/>
          </p:cNvSpPr>
          <p:nvPr>
            <p:ph type="body" sz="quarter" idx="10" hasCustomPrompt="1"/>
          </p:nvPr>
        </p:nvSpPr>
        <p:spPr>
          <a:xfrm>
            <a:off x="392784" y="6464301"/>
            <a:ext cx="9725941" cy="393700"/>
          </a:xfrm>
          <a:prstGeom prst="rect">
            <a:avLst/>
          </a:prstGeom>
        </p:spPr>
        <p:txBody>
          <a:bodyPr anchor="b"/>
          <a:lstStyle>
            <a:lvl1pPr marL="0" indent="0">
              <a:spcBef>
                <a:spcPts val="0"/>
              </a:spcBef>
              <a:buNone/>
              <a:defRPr sz="1000"/>
            </a:lvl1pPr>
          </a:lstStyle>
          <a:p>
            <a:pPr lvl="0"/>
            <a:r>
              <a:rPr lang="en-US"/>
              <a:t>Footnote</a:t>
            </a:r>
          </a:p>
        </p:txBody>
      </p:sp>
    </p:spTree>
    <p:extLst>
      <p:ext uri="{BB962C8B-B14F-4D97-AF65-F5344CB8AC3E}">
        <p14:creationId xmlns:p14="http://schemas.microsoft.com/office/powerpoint/2010/main" val="3221243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D4E280-7AF5-26D4-D89D-7738ACCEE9CD}"/>
              </a:ext>
            </a:extLst>
          </p:cNvPr>
          <p:cNvSpPr>
            <a:spLocks noGrp="1"/>
          </p:cNvSpPr>
          <p:nvPr>
            <p:ph type="title"/>
          </p:nvPr>
        </p:nvSpPr>
        <p:spPr>
          <a:xfrm>
            <a:off x="319727" y="3021016"/>
            <a:ext cx="9634979" cy="815968"/>
          </a:xfrm>
          <a:prstGeom prst="rect">
            <a:avLst/>
          </a:prstGeom>
        </p:spPr>
        <p:txBody>
          <a:bodyPr>
            <a:normAutofit/>
          </a:bodyPr>
          <a:lstStyle>
            <a:lvl1pPr>
              <a:lnSpc>
                <a:spcPct val="100000"/>
              </a:lnSpc>
              <a:defRPr sz="5400" b="1">
                <a:solidFill>
                  <a:srgbClr val="5D2A84"/>
                </a:solidFill>
                <a:latin typeface="Arial" panose="020B0604020202020204" pitchFamily="34" charset="0"/>
                <a:cs typeface="Arial" panose="020B0604020202020204" pitchFamily="34" charset="0"/>
              </a:defRPr>
            </a:lvl1pPr>
          </a:lstStyle>
          <a:p>
            <a:r>
              <a:rPr lang="en-US"/>
              <a:t>Click to edit Master title style</a:t>
            </a:r>
          </a:p>
        </p:txBody>
      </p:sp>
      <p:pic>
        <p:nvPicPr>
          <p:cNvPr id="8" name="Picture 7" descr="Purple spheres on a surface&#10;&#10;Description automatically generated with medium confidence">
            <a:extLst>
              <a:ext uri="{FF2B5EF4-FFF2-40B4-BE49-F238E27FC236}">
                <a16:creationId xmlns:a16="http://schemas.microsoft.com/office/drawing/2014/main" id="{7A5D2530-4B9F-152B-5B4F-706ED4553784}"/>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rcRect/>
          <a:stretch/>
        </p:blipFill>
        <p:spPr>
          <a:xfrm>
            <a:off x="10185621" y="0"/>
            <a:ext cx="2006379" cy="6858000"/>
          </a:xfrm>
          <a:prstGeom prst="rect">
            <a:avLst/>
          </a:prstGeom>
        </p:spPr>
      </p:pic>
      <p:sp>
        <p:nvSpPr>
          <p:cNvPr id="9" name="Rectangle 8">
            <a:extLst>
              <a:ext uri="{FF2B5EF4-FFF2-40B4-BE49-F238E27FC236}">
                <a16:creationId xmlns:a16="http://schemas.microsoft.com/office/drawing/2014/main" id="{6E0A41AF-F963-D136-5866-358C2868C111}"/>
              </a:ext>
            </a:extLst>
          </p:cNvPr>
          <p:cNvSpPr/>
          <p:nvPr userDrawn="1"/>
        </p:nvSpPr>
        <p:spPr>
          <a:xfrm>
            <a:off x="10118471" y="0"/>
            <a:ext cx="106791" cy="6858000"/>
          </a:xfrm>
          <a:prstGeom prst="rect">
            <a:avLst/>
          </a:prstGeom>
          <a:solidFill>
            <a:srgbClr val="5D2A8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5694171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matchingName="1_Title Presentation" userDrawn="1">
  <p:cSld name="1_Title Presentation">
    <p:spTree>
      <p:nvGrpSpPr>
        <p:cNvPr id="1" name="Shape 10"/>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DD4C849E-8FDA-34A0-7CD2-64EDCAC9F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419" y="443048"/>
            <a:ext cx="3381255" cy="581153"/>
          </a:xfrm>
          <a:prstGeom prst="rect">
            <a:avLst/>
          </a:prstGeom>
        </p:spPr>
      </p:pic>
      <p:sp>
        <p:nvSpPr>
          <p:cNvPr id="9" name="Text Placeholder 3">
            <a:extLst>
              <a:ext uri="{FF2B5EF4-FFF2-40B4-BE49-F238E27FC236}">
                <a16:creationId xmlns:a16="http://schemas.microsoft.com/office/drawing/2014/main" id="{6FD46E52-FF66-4403-A46F-CC79558F4353}"/>
              </a:ext>
            </a:extLst>
          </p:cNvPr>
          <p:cNvSpPr>
            <a:spLocks noGrp="1"/>
          </p:cNvSpPr>
          <p:nvPr>
            <p:ph type="body" sz="half" idx="2" hasCustomPrompt="1"/>
          </p:nvPr>
        </p:nvSpPr>
        <p:spPr>
          <a:xfrm>
            <a:off x="532059" y="1984889"/>
            <a:ext cx="6104332" cy="1043619"/>
          </a:xfrm>
          <a:prstGeom prst="rect">
            <a:avLst/>
          </a:prstGeom>
        </p:spPr>
        <p:txBody>
          <a:bodyPr>
            <a:normAutofit/>
          </a:bodyPr>
          <a:lstStyle>
            <a:lvl1pPr marL="0" indent="0">
              <a:spcBef>
                <a:spcPts val="0"/>
              </a:spcBef>
              <a:buNone/>
              <a:defRPr sz="4267" b="1" i="0">
                <a:solidFill>
                  <a:srgbClr val="5F5D8E"/>
                </a:solidFill>
                <a:latin typeface="Arial Narrow" panose="020B0604020202020204" pitchFamily="34" charset="0"/>
                <a:cs typeface="Arial Narrow" panose="020B0604020202020204" pitchFamily="34" charset="0"/>
              </a:defRPr>
            </a:lvl1pPr>
            <a:lvl2pPr marL="609570" indent="0">
              <a:buNone/>
              <a:defRPr sz="1867"/>
            </a:lvl2pPr>
            <a:lvl3pPr marL="1219140" indent="0">
              <a:buNone/>
              <a:defRPr sz="1600"/>
            </a:lvl3pPr>
            <a:lvl4pPr marL="1828709" indent="0">
              <a:buNone/>
              <a:defRPr sz="1333"/>
            </a:lvl4pPr>
            <a:lvl5pPr marL="2438278" indent="0">
              <a:buNone/>
              <a:defRPr sz="1333"/>
            </a:lvl5pPr>
            <a:lvl6pPr marL="3047848" indent="0">
              <a:buNone/>
              <a:defRPr sz="1333"/>
            </a:lvl6pPr>
            <a:lvl7pPr marL="3657418" indent="0">
              <a:buNone/>
              <a:defRPr sz="1333"/>
            </a:lvl7pPr>
            <a:lvl8pPr marL="4266987" indent="0">
              <a:buNone/>
              <a:defRPr sz="1333"/>
            </a:lvl8pPr>
            <a:lvl9pPr marL="4876557" indent="0">
              <a:buNone/>
              <a:defRPr sz="1333"/>
            </a:lvl9pPr>
          </a:lstStyle>
          <a:p>
            <a:pPr lvl="0"/>
            <a:r>
              <a:rPr lang="en-GB"/>
              <a:t>Title of the presentation</a:t>
            </a:r>
          </a:p>
        </p:txBody>
      </p:sp>
      <p:sp>
        <p:nvSpPr>
          <p:cNvPr id="10" name="Text Placeholder 3">
            <a:extLst>
              <a:ext uri="{FF2B5EF4-FFF2-40B4-BE49-F238E27FC236}">
                <a16:creationId xmlns:a16="http://schemas.microsoft.com/office/drawing/2014/main" id="{798FF270-290D-497B-871A-6ADB099AB048}"/>
              </a:ext>
            </a:extLst>
          </p:cNvPr>
          <p:cNvSpPr>
            <a:spLocks noGrp="1"/>
          </p:cNvSpPr>
          <p:nvPr>
            <p:ph type="body" sz="half" idx="10" hasCustomPrompt="1"/>
          </p:nvPr>
        </p:nvSpPr>
        <p:spPr>
          <a:xfrm>
            <a:off x="532059" y="3028509"/>
            <a:ext cx="6104332" cy="533843"/>
          </a:xfrm>
          <a:prstGeom prst="rect">
            <a:avLst/>
          </a:prstGeom>
        </p:spPr>
        <p:txBody>
          <a:bodyPr>
            <a:normAutofit/>
          </a:bodyPr>
          <a:lstStyle>
            <a:lvl1pPr marL="0" indent="0">
              <a:spcBef>
                <a:spcPts val="0"/>
              </a:spcBef>
              <a:buNone/>
              <a:defRPr sz="2133" b="0" i="0">
                <a:solidFill>
                  <a:srgbClr val="5F5D8E"/>
                </a:solidFill>
                <a:latin typeface="Arial Narrow" panose="020B0604020202020204" pitchFamily="34" charset="0"/>
                <a:cs typeface="Arial Narrow" panose="020B0604020202020204" pitchFamily="34" charset="0"/>
              </a:defRPr>
            </a:lvl1pPr>
            <a:lvl2pPr marL="609570" indent="0">
              <a:buNone/>
              <a:defRPr sz="1867"/>
            </a:lvl2pPr>
            <a:lvl3pPr marL="1219140" indent="0">
              <a:buNone/>
              <a:defRPr sz="1600"/>
            </a:lvl3pPr>
            <a:lvl4pPr marL="1828709" indent="0">
              <a:buNone/>
              <a:defRPr sz="1333"/>
            </a:lvl4pPr>
            <a:lvl5pPr marL="2438278" indent="0">
              <a:buNone/>
              <a:defRPr sz="1333"/>
            </a:lvl5pPr>
            <a:lvl6pPr marL="3047848" indent="0">
              <a:buNone/>
              <a:defRPr sz="1333"/>
            </a:lvl6pPr>
            <a:lvl7pPr marL="3657418" indent="0">
              <a:buNone/>
              <a:defRPr sz="1333"/>
            </a:lvl7pPr>
            <a:lvl8pPr marL="4266987" indent="0">
              <a:buNone/>
              <a:defRPr sz="1333"/>
            </a:lvl8pPr>
            <a:lvl9pPr marL="4876557" indent="0">
              <a:buNone/>
              <a:defRPr sz="1333"/>
            </a:lvl9pPr>
          </a:lstStyle>
          <a:p>
            <a:pPr lvl="0"/>
            <a:r>
              <a:rPr lang="en-GB"/>
              <a:t>Subtitle of the presentation</a:t>
            </a:r>
          </a:p>
        </p:txBody>
      </p:sp>
      <p:sp>
        <p:nvSpPr>
          <p:cNvPr id="16" name="Text Placeholder 3">
            <a:extLst>
              <a:ext uri="{FF2B5EF4-FFF2-40B4-BE49-F238E27FC236}">
                <a16:creationId xmlns:a16="http://schemas.microsoft.com/office/drawing/2014/main" id="{5518978F-F373-430B-85CD-7F1D9672255F}"/>
              </a:ext>
            </a:extLst>
          </p:cNvPr>
          <p:cNvSpPr>
            <a:spLocks noGrp="1"/>
          </p:cNvSpPr>
          <p:nvPr>
            <p:ph type="body" sz="half" idx="11" hasCustomPrompt="1"/>
          </p:nvPr>
        </p:nvSpPr>
        <p:spPr>
          <a:xfrm>
            <a:off x="532060" y="4797991"/>
            <a:ext cx="6104331" cy="623252"/>
          </a:xfrm>
          <a:prstGeom prst="rect">
            <a:avLst/>
          </a:prstGeom>
        </p:spPr>
        <p:txBody>
          <a:bodyPr>
            <a:noAutofit/>
          </a:bodyPr>
          <a:lstStyle>
            <a:lvl1pPr marL="0" indent="0">
              <a:lnSpc>
                <a:spcPct val="100000"/>
              </a:lnSpc>
              <a:spcBef>
                <a:spcPts val="0"/>
              </a:spcBef>
              <a:buNone/>
              <a:defRPr sz="1867" b="1" i="0">
                <a:solidFill>
                  <a:srgbClr val="AB0C23"/>
                </a:solidFill>
                <a:latin typeface="Arial Narrow" panose="020B0604020202020204" pitchFamily="34" charset="0"/>
                <a:cs typeface="Arial Narrow" panose="020B0604020202020204" pitchFamily="34" charset="0"/>
              </a:defRPr>
            </a:lvl1pPr>
            <a:lvl2pPr marL="609570" indent="0">
              <a:buNone/>
              <a:defRPr sz="1867"/>
            </a:lvl2pPr>
            <a:lvl3pPr marL="1219140" indent="0">
              <a:buNone/>
              <a:defRPr sz="1600"/>
            </a:lvl3pPr>
            <a:lvl4pPr marL="1828709" indent="0">
              <a:buNone/>
              <a:defRPr sz="1333"/>
            </a:lvl4pPr>
            <a:lvl5pPr marL="2438278" indent="0">
              <a:buNone/>
              <a:defRPr sz="1333"/>
            </a:lvl5pPr>
            <a:lvl6pPr marL="3047848" indent="0">
              <a:buNone/>
              <a:defRPr sz="1333"/>
            </a:lvl6pPr>
            <a:lvl7pPr marL="3657418" indent="0">
              <a:buNone/>
              <a:defRPr sz="1333"/>
            </a:lvl7pPr>
            <a:lvl8pPr marL="4266987" indent="0">
              <a:buNone/>
              <a:defRPr sz="1333"/>
            </a:lvl8pPr>
            <a:lvl9pPr marL="4876557" indent="0">
              <a:buNone/>
              <a:defRPr sz="1333"/>
            </a:lvl9pPr>
          </a:lstStyle>
          <a:p>
            <a:pPr lvl="0"/>
            <a:r>
              <a:rPr lang="en-GB"/>
              <a:t>Name of the speaker</a:t>
            </a:r>
          </a:p>
          <a:p>
            <a:pPr lvl="0"/>
            <a:r>
              <a:rPr lang="en-GB"/>
              <a:t>Position</a:t>
            </a:r>
          </a:p>
        </p:txBody>
      </p:sp>
      <p:sp>
        <p:nvSpPr>
          <p:cNvPr id="17" name="Text Placeholder 3">
            <a:extLst>
              <a:ext uri="{FF2B5EF4-FFF2-40B4-BE49-F238E27FC236}">
                <a16:creationId xmlns:a16="http://schemas.microsoft.com/office/drawing/2014/main" id="{BDF40534-86AB-4408-9234-40E0777315E7}"/>
              </a:ext>
            </a:extLst>
          </p:cNvPr>
          <p:cNvSpPr>
            <a:spLocks noGrp="1"/>
          </p:cNvSpPr>
          <p:nvPr>
            <p:ph type="body" sz="half" idx="12" hasCustomPrompt="1"/>
          </p:nvPr>
        </p:nvSpPr>
        <p:spPr>
          <a:xfrm>
            <a:off x="532060" y="5525731"/>
            <a:ext cx="6104331" cy="623252"/>
          </a:xfrm>
          <a:prstGeom prst="rect">
            <a:avLst/>
          </a:prstGeom>
        </p:spPr>
        <p:txBody>
          <a:bodyPr>
            <a:noAutofit/>
          </a:bodyPr>
          <a:lstStyle>
            <a:lvl1pPr marL="0" indent="0">
              <a:lnSpc>
                <a:spcPct val="100000"/>
              </a:lnSpc>
              <a:spcBef>
                <a:spcPts val="0"/>
              </a:spcBef>
              <a:buNone/>
              <a:defRPr sz="1600" b="0" i="0">
                <a:solidFill>
                  <a:srgbClr val="AB0C23"/>
                </a:solidFill>
                <a:latin typeface="Arial Narrow" panose="020B0604020202020204" pitchFamily="34" charset="0"/>
                <a:cs typeface="Arial Narrow" panose="020B0604020202020204" pitchFamily="34" charset="0"/>
              </a:defRPr>
            </a:lvl1pPr>
            <a:lvl2pPr marL="609570" indent="0">
              <a:buNone/>
              <a:defRPr sz="1867"/>
            </a:lvl2pPr>
            <a:lvl3pPr marL="1219140" indent="0">
              <a:buNone/>
              <a:defRPr sz="1600"/>
            </a:lvl3pPr>
            <a:lvl4pPr marL="1828709" indent="0">
              <a:buNone/>
              <a:defRPr sz="1333"/>
            </a:lvl4pPr>
            <a:lvl5pPr marL="2438278" indent="0">
              <a:buNone/>
              <a:defRPr sz="1333"/>
            </a:lvl5pPr>
            <a:lvl6pPr marL="3047848" indent="0">
              <a:buNone/>
              <a:defRPr sz="1333"/>
            </a:lvl6pPr>
            <a:lvl7pPr marL="3657418" indent="0">
              <a:buNone/>
              <a:defRPr sz="1333"/>
            </a:lvl7pPr>
            <a:lvl8pPr marL="4266987" indent="0">
              <a:buNone/>
              <a:defRPr sz="1333"/>
            </a:lvl8pPr>
            <a:lvl9pPr marL="4876557" indent="0">
              <a:buNone/>
              <a:defRPr sz="1333"/>
            </a:lvl9pPr>
          </a:lstStyle>
          <a:p>
            <a:pPr lvl="0"/>
            <a:r>
              <a:rPr lang="en-CH"/>
              <a:t>City Nation, Date </a:t>
            </a:r>
            <a:endParaRPr lang="en-GB"/>
          </a:p>
        </p:txBody>
      </p:sp>
      <p:pic>
        <p:nvPicPr>
          <p:cNvPr id="2" name="Picture 1">
            <a:extLst>
              <a:ext uri="{FF2B5EF4-FFF2-40B4-BE49-F238E27FC236}">
                <a16:creationId xmlns:a16="http://schemas.microsoft.com/office/drawing/2014/main" id="{3A758B7F-4B8D-BB94-9292-DED031A5EC0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869373" y="365758"/>
            <a:ext cx="5322627" cy="6490447"/>
          </a:xfrm>
          <a:prstGeom prst="rect">
            <a:avLst/>
          </a:prstGeom>
        </p:spPr>
      </p:pic>
    </p:spTree>
    <p:extLst>
      <p:ext uri="{BB962C8B-B14F-4D97-AF65-F5344CB8AC3E}">
        <p14:creationId xmlns:p14="http://schemas.microsoft.com/office/powerpoint/2010/main" val="38495762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156">
          <p15:clr>
            <a:srgbClr val="FBAE40"/>
          </p15:clr>
        </p15:guide>
        <p15:guide id="2" pos="393">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3_Title and Text" preserve="1"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Arial" panose="020B0604020202020204" pitchFamily="34" charset="0"/>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2" name="Picture 1" descr="Logo&#10;&#10;Description automatically generated">
            <a:extLst>
              <a:ext uri="{FF2B5EF4-FFF2-40B4-BE49-F238E27FC236}">
                <a16:creationId xmlns:a16="http://schemas.microsoft.com/office/drawing/2014/main" id="{0CA22DB6-01FE-B574-F4D9-9A33C489CE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265" y="6248188"/>
            <a:ext cx="1843200" cy="316800"/>
          </a:xfrm>
          <a:prstGeom prst="rect">
            <a:avLst/>
          </a:prstGeom>
        </p:spPr>
      </p:pic>
    </p:spTree>
    <p:extLst>
      <p:ext uri="{BB962C8B-B14F-4D97-AF65-F5344CB8AC3E}">
        <p14:creationId xmlns:p14="http://schemas.microsoft.com/office/powerpoint/2010/main" val="1042063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3913">
          <p15:clr>
            <a:srgbClr val="FBAE40"/>
          </p15:clr>
        </p15:guide>
        <p15:guide id="3" orient="horz" pos="4125">
          <p15:clr>
            <a:srgbClr val="FBAE40"/>
          </p15:clr>
        </p15:guide>
        <p15:guide id="4" pos="301">
          <p15:clr>
            <a:srgbClr val="FBAE40"/>
          </p15:clr>
        </p15:guide>
        <p15:guide id="5" pos="7379">
          <p15:clr>
            <a:srgbClr val="FBAE40"/>
          </p15:clr>
        </p15:guide>
        <p15:guide id="6" orient="horz" pos="225">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63F7DA-7EDC-FBA3-7FED-B45ECA0D16E3}"/>
              </a:ext>
            </a:extLst>
          </p:cNvPr>
          <p:cNvSpPr>
            <a:spLocks noGrp="1"/>
          </p:cNvSpPr>
          <p:nvPr>
            <p:ph idx="1"/>
          </p:nvPr>
        </p:nvSpPr>
        <p:spPr>
          <a:xfrm>
            <a:off x="479999" y="1835152"/>
            <a:ext cx="10515600" cy="4349749"/>
          </a:xfrm>
          <a:prstGeom prst="rect">
            <a:avLst/>
          </a:prstGeom>
        </p:spPr>
        <p:txBody>
          <a:bodyPr vert="horz" lIns="91440" tIns="45720" rIns="91440" bIns="45720" rtlCol="0">
            <a:normAutofit/>
          </a:bodyPr>
          <a:lstStyle>
            <a:lvl1pPr marL="304784" indent="-304784" algn="l" defTabSz="1219140" rtl="0" eaLnBrk="1" latinLnBrk="0" hangingPunct="1">
              <a:lnSpc>
                <a:spcPct val="90000"/>
              </a:lnSpc>
              <a:spcBef>
                <a:spcPts val="1333"/>
              </a:spcBef>
              <a:buFont typeface="Arial" panose="020B0604020202020204" pitchFamily="34" charset="0"/>
              <a:buChar char="•"/>
              <a:defRPr sz="2133" kern="1200">
                <a:solidFill>
                  <a:schemeClr val="tx1">
                    <a:lumMod val="75000"/>
                    <a:lumOff val="25000"/>
                  </a:schemeClr>
                </a:solidFill>
                <a:latin typeface="Arial Narrow" panose="020B0606020202030204" pitchFamily="34" charset="0"/>
                <a:ea typeface="+mn-ea"/>
                <a:cs typeface="+mn-cs"/>
              </a:defRPr>
            </a:lvl1pPr>
            <a:lvl2pPr marL="914354" indent="-304784" algn="l" defTabSz="1219140" rtl="0" eaLnBrk="1" latinLnBrk="0" hangingPunct="1">
              <a:lnSpc>
                <a:spcPct val="90000"/>
              </a:lnSpc>
              <a:spcBef>
                <a:spcPts val="667"/>
              </a:spcBef>
              <a:buFont typeface="Arial" panose="020B0604020202020204" pitchFamily="34" charset="0"/>
              <a:buChar char="•"/>
              <a:defRPr sz="2133" kern="1200">
                <a:solidFill>
                  <a:srgbClr val="5F5D8E"/>
                </a:solidFill>
                <a:latin typeface="Arial Narrow" panose="020B0606020202030204" pitchFamily="34" charset="0"/>
                <a:ea typeface="+mn-ea"/>
                <a:cs typeface="+mn-cs"/>
              </a:defRPr>
            </a:lvl2pPr>
            <a:lvl3pPr marL="1523925" indent="-304784" algn="l" defTabSz="1219140" rtl="0" eaLnBrk="1" latinLnBrk="0" hangingPunct="1">
              <a:lnSpc>
                <a:spcPct val="90000"/>
              </a:lnSpc>
              <a:spcBef>
                <a:spcPts val="667"/>
              </a:spcBef>
              <a:buFont typeface="Arial" panose="020B0604020202020204" pitchFamily="34" charset="0"/>
              <a:buChar char="•"/>
              <a:defRPr sz="1867" kern="1200">
                <a:solidFill>
                  <a:srgbClr val="AB0C23"/>
                </a:solidFill>
                <a:latin typeface="Arial Narrow" panose="020B0606020202030204" pitchFamily="34" charset="0"/>
                <a:ea typeface="+mn-ea"/>
                <a:cs typeface="+mn-cs"/>
              </a:defRPr>
            </a:lvl3pPr>
            <a:lvl4pPr marL="2133493" indent="-304784" algn="l" defTabSz="1219140" rtl="0" eaLnBrk="1" latinLnBrk="0" hangingPunct="1">
              <a:lnSpc>
                <a:spcPct val="90000"/>
              </a:lnSpc>
              <a:spcBef>
                <a:spcPts val="667"/>
              </a:spcBef>
              <a:buFont typeface="Arial" panose="020B0604020202020204" pitchFamily="34" charset="0"/>
              <a:buChar char="•"/>
              <a:defRPr sz="1600" kern="1200">
                <a:solidFill>
                  <a:schemeClr val="tx1">
                    <a:lumMod val="75000"/>
                    <a:lumOff val="25000"/>
                  </a:schemeClr>
                </a:solidFill>
                <a:latin typeface="Arial Narrow" panose="020B0606020202030204" pitchFamily="34" charset="0"/>
                <a:ea typeface="+mn-ea"/>
                <a:cs typeface="+mn-cs"/>
              </a:defRPr>
            </a:lvl4pPr>
            <a:lvl5pPr marL="2743062" indent="-304784" algn="l" defTabSz="1219140" rtl="0" eaLnBrk="1" latinLnBrk="0" hangingPunct="1">
              <a:lnSpc>
                <a:spcPct val="90000"/>
              </a:lnSpc>
              <a:spcBef>
                <a:spcPts val="667"/>
              </a:spcBef>
              <a:buFont typeface="Arial" panose="020B0604020202020204" pitchFamily="34" charset="0"/>
              <a:buChar char="•"/>
              <a:defRPr sz="1600" kern="1200">
                <a:solidFill>
                  <a:schemeClr val="tx1">
                    <a:lumMod val="75000"/>
                    <a:lumOff val="25000"/>
                  </a:schemeClr>
                </a:solidFill>
                <a:latin typeface="Arial Narrow" panose="020B0606020202030204" pitchFamily="34" charset="0"/>
                <a:ea typeface="+mn-ea"/>
                <a:cs typeface="+mn-cs"/>
              </a:defRPr>
            </a:lvl5pPr>
            <a:lvl6pPr marL="335263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20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7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41"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7" name="Google Shape;19;p14">
            <a:extLst>
              <a:ext uri="{FF2B5EF4-FFF2-40B4-BE49-F238E27FC236}">
                <a16:creationId xmlns:a16="http://schemas.microsoft.com/office/drawing/2014/main" id="{7E29A2B3-2685-843A-6AAE-FC68E0B57C80}"/>
              </a:ext>
            </a:extLst>
          </p:cNvPr>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8" name="Google Shape;18;p14">
            <a:extLst>
              <a:ext uri="{FF2B5EF4-FFF2-40B4-BE49-F238E27FC236}">
                <a16:creationId xmlns:a16="http://schemas.microsoft.com/office/drawing/2014/main" id="{7B28D9C0-A613-09FC-7C2A-0CBC18F3C9B3}"/>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pic>
        <p:nvPicPr>
          <p:cNvPr id="9" name="Picture 8" descr="Logo&#10;&#10;Description automatically generated">
            <a:extLst>
              <a:ext uri="{FF2B5EF4-FFF2-40B4-BE49-F238E27FC236}">
                <a16:creationId xmlns:a16="http://schemas.microsoft.com/office/drawing/2014/main" id="{A35CEAA2-49D1-2F6D-07A2-44AB66496D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504" y="6248188"/>
            <a:ext cx="1843200" cy="316800"/>
          </a:xfrm>
          <a:prstGeom prst="rect">
            <a:avLst/>
          </a:prstGeom>
        </p:spPr>
      </p:pic>
    </p:spTree>
    <p:extLst>
      <p:ext uri="{BB962C8B-B14F-4D97-AF65-F5344CB8AC3E}">
        <p14:creationId xmlns:p14="http://schemas.microsoft.com/office/powerpoint/2010/main" val="31852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F563774F-E392-0830-E9BC-C833639591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8123" y="345669"/>
            <a:ext cx="1843200" cy="316800"/>
          </a:xfrm>
          <a:prstGeom prst="rect">
            <a:avLst/>
          </a:prstGeom>
        </p:spPr>
      </p:pic>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73" y="1743741"/>
            <a:ext cx="11213200" cy="4805227"/>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65000"/>
                    <a:lumOff val="3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37496319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25">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1743740"/>
            <a:ext cx="11213200" cy="4329037"/>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65000"/>
                    <a:lumOff val="3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6" name="TextBox 5">
            <a:extLst>
              <a:ext uri="{FF2B5EF4-FFF2-40B4-BE49-F238E27FC236}">
                <a16:creationId xmlns:a16="http://schemas.microsoft.com/office/drawing/2014/main" id="{F6929245-1127-41C1-8399-15B8A6D93BE9}"/>
              </a:ext>
            </a:extLst>
          </p:cNvPr>
          <p:cNvSpPr txBox="1"/>
          <p:nvPr userDrawn="1"/>
        </p:nvSpPr>
        <p:spPr>
          <a:xfrm>
            <a:off x="569400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AB0C23"/>
                </a:solidFill>
                <a:effectLst/>
                <a:latin typeface="Arial Narrow" panose="020B0606020202030204" pitchFamily="34" charset="0"/>
              </a:rPr>
              <a:t>Content of this presentation is copyright</a:t>
            </a:r>
            <a:r>
              <a:rPr lang="en-CH" sz="1200" b="0" i="0">
                <a:solidFill>
                  <a:srgbClr val="AB0C23"/>
                </a:solidFill>
                <a:effectLst/>
                <a:latin typeface="Arial Narrow" panose="020B0606020202030204" pitchFamily="34" charset="0"/>
              </a:rPr>
              <a:t> </a:t>
            </a:r>
            <a:r>
              <a:rPr lang="en-US" sz="1200" b="0" i="0">
                <a:solidFill>
                  <a:srgbClr val="AB0C23"/>
                </a:solidFill>
                <a:effectLst/>
                <a:latin typeface="Arial Narrow" panose="020B0606020202030204" pitchFamily="34" charset="0"/>
              </a:rPr>
              <a:t>and responsibility of the author. Permission is required for re-use</a:t>
            </a:r>
            <a:r>
              <a:rPr lang="en-CH" sz="1200" b="0" i="0">
                <a:solidFill>
                  <a:srgbClr val="AB0C23"/>
                </a:solidFill>
                <a:effectLst/>
                <a:latin typeface="Arial Narrow" panose="020B0606020202030204" pitchFamily="34" charset="0"/>
              </a:rPr>
              <a:t>.</a:t>
            </a:r>
            <a:endParaRPr lang="en-US" sz="1200" b="0" i="0">
              <a:solidFill>
                <a:srgbClr val="AB0C23"/>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7F38491F-1A8A-4D61-8305-D4361D7666D3}"/>
              </a:ext>
            </a:extLst>
          </p:cNvPr>
          <p:cNvSpPr txBox="1">
            <a:spLocks noGrp="1"/>
          </p:cNvSpPr>
          <p:nvPr>
            <p:ph type="body" idx="12" hasCustomPrompt="1"/>
          </p:nvPr>
        </p:nvSpPr>
        <p:spPr>
          <a:xfrm>
            <a:off x="600363" y="6358248"/>
            <a:ext cx="3110095" cy="240833"/>
          </a:xfrm>
          <a:prstGeom prst="rect">
            <a:avLst/>
          </a:prstGeom>
          <a:noFill/>
          <a:ln>
            <a:noFill/>
          </a:ln>
        </p:spPr>
        <p:txBody>
          <a:bodyPr spcFirstLastPara="1" vert="horz" wrap="square" lIns="0" tIns="0" rIns="0" bIns="0" anchor="ctr" anchorCtr="0">
            <a:spAutoFit/>
          </a:bodyPr>
          <a:lstStyle>
            <a:lvl1pPr marL="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AB0C23"/>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5" name="Picture 4" descr="Logo&#10;&#10;Description automatically generated">
            <a:extLst>
              <a:ext uri="{FF2B5EF4-FFF2-40B4-BE49-F238E27FC236}">
                <a16:creationId xmlns:a16="http://schemas.microsoft.com/office/drawing/2014/main" id="{DE341DE0-7C33-671E-3754-83EE8496A3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8123" y="345669"/>
            <a:ext cx="1843200" cy="316800"/>
          </a:xfrm>
          <a:prstGeom prst="rect">
            <a:avLst/>
          </a:prstGeom>
        </p:spPr>
      </p:pic>
    </p:spTree>
    <p:extLst>
      <p:ext uri="{BB962C8B-B14F-4D97-AF65-F5344CB8AC3E}">
        <p14:creationId xmlns:p14="http://schemas.microsoft.com/office/powerpoint/2010/main" val="17047994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25">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F563774F-E392-0830-E9BC-C833639591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70344" y="357717"/>
            <a:ext cx="1843200" cy="316800"/>
          </a:xfrm>
          <a:prstGeom prst="rect">
            <a:avLst/>
          </a:prstGeom>
        </p:spPr>
      </p:pic>
      <p:sp>
        <p:nvSpPr>
          <p:cNvPr id="19" name="Google Shape;19;p14"/>
          <p:cNvSpPr txBox="1">
            <a:spLocks noGrp="1"/>
          </p:cNvSpPr>
          <p:nvPr>
            <p:ph type="subTitle" idx="2"/>
          </p:nvPr>
        </p:nvSpPr>
        <p:spPr>
          <a:xfrm>
            <a:off x="489669"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89635"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1743741"/>
            <a:ext cx="11213200" cy="4805227"/>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65000"/>
                    <a:lumOff val="3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34914607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25">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F563774F-E392-0830-E9BC-C833639591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70344" y="357717"/>
            <a:ext cx="1843200" cy="316800"/>
          </a:xfrm>
          <a:prstGeom prst="rect">
            <a:avLst/>
          </a:prstGeom>
        </p:spPr>
      </p:pic>
      <p:sp>
        <p:nvSpPr>
          <p:cNvPr id="19" name="Google Shape;19;p14"/>
          <p:cNvSpPr txBox="1">
            <a:spLocks noGrp="1"/>
          </p:cNvSpPr>
          <p:nvPr>
            <p:ph type="subTitle" idx="2"/>
          </p:nvPr>
        </p:nvSpPr>
        <p:spPr>
          <a:xfrm>
            <a:off x="489669"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89635"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3" name="Google Shape;17;p14">
            <a:extLst>
              <a:ext uri="{FF2B5EF4-FFF2-40B4-BE49-F238E27FC236}">
                <a16:creationId xmlns:a16="http://schemas.microsoft.com/office/drawing/2014/main" id="{62E1C9A2-BF1A-B7A6-3C13-AF31CBFDFAF1}"/>
              </a:ext>
            </a:extLst>
          </p:cNvPr>
          <p:cNvSpPr txBox="1">
            <a:spLocks noGrp="1"/>
          </p:cNvSpPr>
          <p:nvPr>
            <p:ph type="body" idx="1"/>
          </p:nvPr>
        </p:nvSpPr>
        <p:spPr>
          <a:xfrm>
            <a:off x="489667" y="1743740"/>
            <a:ext cx="11213200" cy="4329037"/>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65000"/>
                    <a:lumOff val="3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4" name="TextBox 3">
            <a:extLst>
              <a:ext uri="{FF2B5EF4-FFF2-40B4-BE49-F238E27FC236}">
                <a16:creationId xmlns:a16="http://schemas.microsoft.com/office/drawing/2014/main" id="{E4BC6149-D3D2-BE2E-2D6E-93847AC2DF02}"/>
              </a:ext>
            </a:extLst>
          </p:cNvPr>
          <p:cNvSpPr txBox="1"/>
          <p:nvPr userDrawn="1"/>
        </p:nvSpPr>
        <p:spPr>
          <a:xfrm>
            <a:off x="569400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AB0C23"/>
                </a:solidFill>
                <a:effectLst/>
                <a:latin typeface="Arial Narrow" panose="020B0606020202030204" pitchFamily="34" charset="0"/>
              </a:rPr>
              <a:t>Content of this presentation is copyright</a:t>
            </a:r>
            <a:r>
              <a:rPr lang="en-CH" sz="1200" b="0" i="0">
                <a:solidFill>
                  <a:srgbClr val="AB0C23"/>
                </a:solidFill>
                <a:effectLst/>
                <a:latin typeface="Arial Narrow" panose="020B0606020202030204" pitchFamily="34" charset="0"/>
              </a:rPr>
              <a:t> </a:t>
            </a:r>
            <a:r>
              <a:rPr lang="en-US" sz="1200" b="0" i="0">
                <a:solidFill>
                  <a:srgbClr val="AB0C23"/>
                </a:solidFill>
                <a:effectLst/>
                <a:latin typeface="Arial Narrow" panose="020B0606020202030204" pitchFamily="34" charset="0"/>
              </a:rPr>
              <a:t>and responsibility of the author. Permission is required for re-use</a:t>
            </a:r>
            <a:r>
              <a:rPr lang="en-CH" sz="1200" b="0" i="0">
                <a:solidFill>
                  <a:srgbClr val="AB0C23"/>
                </a:solidFill>
                <a:effectLst/>
                <a:latin typeface="Arial Narrow" panose="020B0606020202030204" pitchFamily="34" charset="0"/>
              </a:rPr>
              <a:t>.</a:t>
            </a:r>
            <a:endParaRPr lang="en-US" sz="1200" b="0" i="0">
              <a:solidFill>
                <a:srgbClr val="AB0C23"/>
              </a:solidFill>
              <a:effectLst/>
              <a:latin typeface="Arial Narrow" panose="020B0606020202030204" pitchFamily="34" charset="0"/>
            </a:endParaRPr>
          </a:p>
        </p:txBody>
      </p:sp>
      <p:sp>
        <p:nvSpPr>
          <p:cNvPr id="7" name="Google Shape;17;p14">
            <a:extLst>
              <a:ext uri="{FF2B5EF4-FFF2-40B4-BE49-F238E27FC236}">
                <a16:creationId xmlns:a16="http://schemas.microsoft.com/office/drawing/2014/main" id="{00638DD3-B1F5-07F7-853A-B4E5B003BF59}"/>
              </a:ext>
            </a:extLst>
          </p:cNvPr>
          <p:cNvSpPr txBox="1">
            <a:spLocks noGrp="1"/>
          </p:cNvSpPr>
          <p:nvPr>
            <p:ph type="body" idx="12" hasCustomPrompt="1"/>
          </p:nvPr>
        </p:nvSpPr>
        <p:spPr>
          <a:xfrm>
            <a:off x="600363" y="6358248"/>
            <a:ext cx="3110095" cy="240833"/>
          </a:xfrm>
          <a:prstGeom prst="rect">
            <a:avLst/>
          </a:prstGeom>
          <a:noFill/>
          <a:ln>
            <a:noFill/>
          </a:ln>
        </p:spPr>
        <p:txBody>
          <a:bodyPr spcFirstLastPara="1" vert="horz" wrap="square" lIns="0" tIns="0" rIns="0" bIns="0" anchor="ctr" anchorCtr="0">
            <a:spAutoFit/>
          </a:bodyPr>
          <a:lstStyle>
            <a:lvl1pPr marL="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AB0C23"/>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4788889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25">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8" y="1743740"/>
            <a:ext cx="10296867" cy="4329037"/>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65000"/>
                    <a:lumOff val="3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6" name="TextBox 5">
            <a:extLst>
              <a:ext uri="{FF2B5EF4-FFF2-40B4-BE49-F238E27FC236}">
                <a16:creationId xmlns:a16="http://schemas.microsoft.com/office/drawing/2014/main" id="{F6929245-1127-41C1-8399-15B8A6D93BE9}"/>
              </a:ext>
            </a:extLst>
          </p:cNvPr>
          <p:cNvSpPr txBox="1"/>
          <p:nvPr userDrawn="1"/>
        </p:nvSpPr>
        <p:spPr>
          <a:xfrm>
            <a:off x="4796536"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AB0C23"/>
                </a:solidFill>
                <a:effectLst/>
                <a:latin typeface="Arial Narrow" panose="020B0606020202030204" pitchFamily="34" charset="0"/>
              </a:rPr>
              <a:t>Content of this presentation is copyright</a:t>
            </a:r>
            <a:r>
              <a:rPr lang="en-CH" sz="1200" b="0" i="0">
                <a:solidFill>
                  <a:srgbClr val="AB0C23"/>
                </a:solidFill>
                <a:effectLst/>
                <a:latin typeface="Arial Narrow" panose="020B0606020202030204" pitchFamily="34" charset="0"/>
              </a:rPr>
              <a:t> </a:t>
            </a:r>
            <a:r>
              <a:rPr lang="en-US" sz="1200" b="0" i="0">
                <a:solidFill>
                  <a:srgbClr val="AB0C23"/>
                </a:solidFill>
                <a:effectLst/>
                <a:latin typeface="Arial Narrow" panose="020B0606020202030204" pitchFamily="34" charset="0"/>
              </a:rPr>
              <a:t>and responsibility of the author. Permission is required for re-use</a:t>
            </a:r>
            <a:r>
              <a:rPr lang="en-CH" sz="1200" b="0" i="0">
                <a:solidFill>
                  <a:srgbClr val="AB0C23"/>
                </a:solidFill>
                <a:effectLst/>
                <a:latin typeface="Arial Narrow" panose="020B0606020202030204" pitchFamily="34" charset="0"/>
              </a:rPr>
              <a:t>.</a:t>
            </a:r>
            <a:endParaRPr lang="en-US" sz="1200" b="0" i="0">
              <a:solidFill>
                <a:srgbClr val="AB0C23"/>
              </a:solidFill>
              <a:effectLst/>
              <a:latin typeface="Arial Narrow" panose="020B0606020202030204" pitchFamily="34" charset="0"/>
            </a:endParaRPr>
          </a:p>
        </p:txBody>
      </p:sp>
      <p:pic>
        <p:nvPicPr>
          <p:cNvPr id="2" name="Picture 1" descr="Logo&#10;&#10;Description automatically generated">
            <a:extLst>
              <a:ext uri="{FF2B5EF4-FFF2-40B4-BE49-F238E27FC236}">
                <a16:creationId xmlns:a16="http://schemas.microsoft.com/office/drawing/2014/main" id="{244C3251-218E-13C6-6408-20D44C547E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8887" y="345669"/>
            <a:ext cx="1843200" cy="316800"/>
          </a:xfrm>
          <a:prstGeom prst="rect">
            <a:avLst/>
          </a:prstGeom>
        </p:spPr>
      </p:pic>
      <p:pic>
        <p:nvPicPr>
          <p:cNvPr id="4" name="Picture 3">
            <a:extLst>
              <a:ext uri="{FF2B5EF4-FFF2-40B4-BE49-F238E27FC236}">
                <a16:creationId xmlns:a16="http://schemas.microsoft.com/office/drawing/2014/main" id="{A319ACFE-976D-F96A-3EA8-A0087950B95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175278" y="3035457"/>
            <a:ext cx="1016724" cy="3037323"/>
          </a:xfrm>
          <a:prstGeom prst="rect">
            <a:avLst/>
          </a:prstGeom>
        </p:spPr>
      </p:pic>
      <p:sp>
        <p:nvSpPr>
          <p:cNvPr id="3" name="Google Shape;17;p14">
            <a:extLst>
              <a:ext uri="{FF2B5EF4-FFF2-40B4-BE49-F238E27FC236}">
                <a16:creationId xmlns:a16="http://schemas.microsoft.com/office/drawing/2014/main" id="{AC74C1A0-01C3-40BC-AD60-904E5598CB85}"/>
              </a:ext>
            </a:extLst>
          </p:cNvPr>
          <p:cNvSpPr txBox="1">
            <a:spLocks noGrp="1"/>
          </p:cNvSpPr>
          <p:nvPr>
            <p:ph type="body" idx="12" hasCustomPrompt="1"/>
          </p:nvPr>
        </p:nvSpPr>
        <p:spPr>
          <a:xfrm>
            <a:off x="600363" y="6358248"/>
            <a:ext cx="3110095" cy="240833"/>
          </a:xfrm>
          <a:prstGeom prst="rect">
            <a:avLst/>
          </a:prstGeom>
          <a:noFill/>
          <a:ln>
            <a:noFill/>
          </a:ln>
        </p:spPr>
        <p:txBody>
          <a:bodyPr spcFirstLastPara="1" vert="horz" wrap="square" lIns="0" tIns="0" rIns="0" bIns="0" anchor="ctr" anchorCtr="0">
            <a:spAutoFit/>
          </a:bodyPr>
          <a:lstStyle>
            <a:lvl1pPr marL="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AB0C23"/>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5227469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25">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8" y="1743741"/>
            <a:ext cx="10296867" cy="4805227"/>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65000"/>
                    <a:lumOff val="3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4" name="Picture 3">
            <a:extLst>
              <a:ext uri="{FF2B5EF4-FFF2-40B4-BE49-F238E27FC236}">
                <a16:creationId xmlns:a16="http://schemas.microsoft.com/office/drawing/2014/main" id="{510199D1-A9ED-0344-52B0-9509F13851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175278" y="3511645"/>
            <a:ext cx="1016724" cy="3037323"/>
          </a:xfrm>
          <a:prstGeom prst="rect">
            <a:avLst/>
          </a:prstGeom>
        </p:spPr>
      </p:pic>
      <p:pic>
        <p:nvPicPr>
          <p:cNvPr id="5" name="Picture 4" descr="Logo&#10;&#10;Description automatically generated">
            <a:extLst>
              <a:ext uri="{FF2B5EF4-FFF2-40B4-BE49-F238E27FC236}">
                <a16:creationId xmlns:a16="http://schemas.microsoft.com/office/drawing/2014/main" id="{AB4D4B26-0414-CFE8-780A-2EAB8C2787F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8887" y="345669"/>
            <a:ext cx="1843200" cy="316800"/>
          </a:xfrm>
          <a:prstGeom prst="rect">
            <a:avLst/>
          </a:prstGeom>
        </p:spPr>
      </p:pic>
    </p:spTree>
    <p:extLst>
      <p:ext uri="{BB962C8B-B14F-4D97-AF65-F5344CB8AC3E}">
        <p14:creationId xmlns:p14="http://schemas.microsoft.com/office/powerpoint/2010/main" val="1137084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25">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F563774F-E392-0830-E9BC-C833639591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70344" y="357717"/>
            <a:ext cx="1843200" cy="316800"/>
          </a:xfrm>
          <a:prstGeom prst="rect">
            <a:avLst/>
          </a:prstGeom>
        </p:spPr>
      </p:pic>
      <p:sp>
        <p:nvSpPr>
          <p:cNvPr id="19" name="Google Shape;19;p14"/>
          <p:cNvSpPr txBox="1">
            <a:spLocks noGrp="1"/>
          </p:cNvSpPr>
          <p:nvPr>
            <p:ph type="subTitle" idx="2"/>
          </p:nvPr>
        </p:nvSpPr>
        <p:spPr>
          <a:xfrm>
            <a:off x="489669"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89635"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9" y="1743741"/>
            <a:ext cx="9984369" cy="4805227"/>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65000"/>
                    <a:lumOff val="3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4" name="Picture 3">
            <a:extLst>
              <a:ext uri="{FF2B5EF4-FFF2-40B4-BE49-F238E27FC236}">
                <a16:creationId xmlns:a16="http://schemas.microsoft.com/office/drawing/2014/main" id="{FDDD767A-86FA-4AAA-DC3E-0E9927523D8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175278" y="3511645"/>
            <a:ext cx="1016724" cy="3037323"/>
          </a:xfrm>
          <a:prstGeom prst="rect">
            <a:avLst/>
          </a:prstGeom>
        </p:spPr>
      </p:pic>
    </p:spTree>
    <p:extLst>
      <p:ext uri="{BB962C8B-B14F-4D97-AF65-F5344CB8AC3E}">
        <p14:creationId xmlns:p14="http://schemas.microsoft.com/office/powerpoint/2010/main" val="829337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25">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F563774F-E392-0830-E9BC-C833639591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70344" y="357717"/>
            <a:ext cx="1843200" cy="316800"/>
          </a:xfrm>
          <a:prstGeom prst="rect">
            <a:avLst/>
          </a:prstGeom>
        </p:spPr>
      </p:pic>
      <p:sp>
        <p:nvSpPr>
          <p:cNvPr id="19" name="Google Shape;19;p14"/>
          <p:cNvSpPr txBox="1">
            <a:spLocks noGrp="1"/>
          </p:cNvSpPr>
          <p:nvPr>
            <p:ph type="subTitle" idx="2"/>
          </p:nvPr>
        </p:nvSpPr>
        <p:spPr>
          <a:xfrm>
            <a:off x="489669"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89635"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4" name="TextBox 3">
            <a:extLst>
              <a:ext uri="{FF2B5EF4-FFF2-40B4-BE49-F238E27FC236}">
                <a16:creationId xmlns:a16="http://schemas.microsoft.com/office/drawing/2014/main" id="{E4BC6149-D3D2-BE2E-2D6E-93847AC2DF02}"/>
              </a:ext>
            </a:extLst>
          </p:cNvPr>
          <p:cNvSpPr txBox="1"/>
          <p:nvPr userDrawn="1"/>
        </p:nvSpPr>
        <p:spPr>
          <a:xfrm>
            <a:off x="569400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AB0C23"/>
                </a:solidFill>
                <a:effectLst/>
                <a:latin typeface="Arial Narrow" panose="020B0606020202030204" pitchFamily="34" charset="0"/>
              </a:rPr>
              <a:t>Content of this presentation is copyright</a:t>
            </a:r>
            <a:r>
              <a:rPr lang="en-CH" sz="1200" b="0" i="0">
                <a:solidFill>
                  <a:srgbClr val="AB0C23"/>
                </a:solidFill>
                <a:effectLst/>
                <a:latin typeface="Arial Narrow" panose="020B0606020202030204" pitchFamily="34" charset="0"/>
              </a:rPr>
              <a:t> </a:t>
            </a:r>
            <a:r>
              <a:rPr lang="en-US" sz="1200" b="0" i="0">
                <a:solidFill>
                  <a:srgbClr val="AB0C23"/>
                </a:solidFill>
                <a:effectLst/>
                <a:latin typeface="Arial Narrow" panose="020B0606020202030204" pitchFamily="34" charset="0"/>
              </a:rPr>
              <a:t>and responsibility of the author. Permission is required for re-use</a:t>
            </a:r>
            <a:r>
              <a:rPr lang="en-CH" sz="1200" b="0" i="0">
                <a:solidFill>
                  <a:srgbClr val="AB0C23"/>
                </a:solidFill>
                <a:effectLst/>
                <a:latin typeface="Arial Narrow" panose="020B0606020202030204" pitchFamily="34" charset="0"/>
              </a:rPr>
              <a:t>.</a:t>
            </a:r>
            <a:endParaRPr lang="en-US" sz="1200" b="0" i="0">
              <a:solidFill>
                <a:srgbClr val="AB0C23"/>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83842FD7-E658-A2CC-E9EA-6A19BFB78AB4}"/>
              </a:ext>
            </a:extLst>
          </p:cNvPr>
          <p:cNvSpPr txBox="1">
            <a:spLocks noGrp="1"/>
          </p:cNvSpPr>
          <p:nvPr>
            <p:ph type="body" idx="1"/>
          </p:nvPr>
        </p:nvSpPr>
        <p:spPr>
          <a:xfrm>
            <a:off x="489668" y="1743740"/>
            <a:ext cx="10296867" cy="4329037"/>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65000"/>
                    <a:lumOff val="3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9" name="Picture 8">
            <a:extLst>
              <a:ext uri="{FF2B5EF4-FFF2-40B4-BE49-F238E27FC236}">
                <a16:creationId xmlns:a16="http://schemas.microsoft.com/office/drawing/2014/main" id="{AF9118BC-BDA2-92A9-8098-61543437506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175278" y="3035457"/>
            <a:ext cx="1016724" cy="3037323"/>
          </a:xfrm>
          <a:prstGeom prst="rect">
            <a:avLst/>
          </a:prstGeom>
        </p:spPr>
      </p:pic>
      <p:sp>
        <p:nvSpPr>
          <p:cNvPr id="10" name="Google Shape;17;p14">
            <a:extLst>
              <a:ext uri="{FF2B5EF4-FFF2-40B4-BE49-F238E27FC236}">
                <a16:creationId xmlns:a16="http://schemas.microsoft.com/office/drawing/2014/main" id="{495ABEB1-7CD3-8C56-EE13-3D746FA3AB61}"/>
              </a:ext>
            </a:extLst>
          </p:cNvPr>
          <p:cNvSpPr txBox="1">
            <a:spLocks noGrp="1"/>
          </p:cNvSpPr>
          <p:nvPr>
            <p:ph type="body" idx="12" hasCustomPrompt="1"/>
          </p:nvPr>
        </p:nvSpPr>
        <p:spPr>
          <a:xfrm>
            <a:off x="600363" y="6358248"/>
            <a:ext cx="3110095" cy="240833"/>
          </a:xfrm>
          <a:prstGeom prst="rect">
            <a:avLst/>
          </a:prstGeom>
          <a:noFill/>
          <a:ln>
            <a:noFill/>
          </a:ln>
        </p:spPr>
        <p:txBody>
          <a:bodyPr spcFirstLastPara="1" vert="horz" wrap="square" lIns="0" tIns="0" rIns="0" bIns="0" anchor="ctr" anchorCtr="0">
            <a:spAutoFit/>
          </a:bodyPr>
          <a:lstStyle>
            <a:lvl1pPr marL="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AB0C23"/>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21560458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25">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5F5D8E"/>
        </a:solidFill>
        <a:effectLst/>
      </p:bgPr>
    </p:bg>
    <p:spTree>
      <p:nvGrpSpPr>
        <p:cNvPr id="1" name=""/>
        <p:cNvGrpSpPr/>
        <p:nvPr/>
      </p:nvGrpSpPr>
      <p:grpSpPr>
        <a:xfrm>
          <a:off x="0" y="0"/>
          <a:ext cx="0" cy="0"/>
          <a:chOff x="0" y="0"/>
          <a:chExt cx="0" cy="0"/>
        </a:xfrm>
      </p:grpSpPr>
      <p:sp>
        <p:nvSpPr>
          <p:cNvPr id="6" name="Google Shape;22;p15">
            <a:extLst>
              <a:ext uri="{FF2B5EF4-FFF2-40B4-BE49-F238E27FC236}">
                <a16:creationId xmlns:a16="http://schemas.microsoft.com/office/drawing/2014/main" id="{9F0F4E0E-EF6C-478E-8886-BC7879BA76EF}"/>
              </a:ext>
            </a:extLst>
          </p:cNvPr>
          <p:cNvSpPr txBox="1">
            <a:spLocks noGrp="1"/>
          </p:cNvSpPr>
          <p:nvPr>
            <p:ph type="ctrTitle"/>
          </p:nvPr>
        </p:nvSpPr>
        <p:spPr>
          <a:xfrm>
            <a:off x="480000" y="2494536"/>
            <a:ext cx="11233635"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chemeClr val="bg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7" name="Google Shape;23;p15">
            <a:extLst>
              <a:ext uri="{FF2B5EF4-FFF2-40B4-BE49-F238E27FC236}">
                <a16:creationId xmlns:a16="http://schemas.microsoft.com/office/drawing/2014/main" id="{9166CBA5-BBC6-448C-88CC-9930401EB781}"/>
              </a:ext>
            </a:extLst>
          </p:cNvPr>
          <p:cNvSpPr txBox="1">
            <a:spLocks noGrp="1"/>
          </p:cNvSpPr>
          <p:nvPr>
            <p:ph type="subTitle" idx="1"/>
          </p:nvPr>
        </p:nvSpPr>
        <p:spPr>
          <a:xfrm>
            <a:off x="480000" y="3694533"/>
            <a:ext cx="11233635"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chemeClr val="bg1"/>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8" name="TextBox 7">
            <a:extLst>
              <a:ext uri="{FF2B5EF4-FFF2-40B4-BE49-F238E27FC236}">
                <a16:creationId xmlns:a16="http://schemas.microsoft.com/office/drawing/2014/main" id="{2BDF980C-3220-4478-961A-D9870602C2FB}"/>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chemeClr val="bg1"/>
                </a:solidFill>
                <a:effectLst/>
                <a:latin typeface="Arial Narrow" panose="020B0606020202030204" pitchFamily="34" charset="0"/>
              </a:rPr>
              <a:t>Content of this presentation is copyright</a:t>
            </a:r>
            <a:r>
              <a:rPr lang="en-CH" sz="1200" b="0" i="0">
                <a:solidFill>
                  <a:schemeClr val="bg1"/>
                </a:solidFill>
                <a:effectLst/>
                <a:latin typeface="Arial Narrow" panose="020B0606020202030204" pitchFamily="34" charset="0"/>
              </a:rPr>
              <a:t> </a:t>
            </a:r>
            <a:r>
              <a:rPr lang="en-US" sz="1200" b="0" i="0">
                <a:solidFill>
                  <a:schemeClr val="bg1"/>
                </a:solidFill>
                <a:effectLst/>
                <a:latin typeface="Arial Narrow" panose="020B0606020202030204" pitchFamily="34" charset="0"/>
              </a:rPr>
              <a:t>and responsibility of the author. Permission is required for re-use</a:t>
            </a:r>
            <a:r>
              <a:rPr lang="en-CH" sz="1200" b="0" i="0">
                <a:solidFill>
                  <a:schemeClr val="bg1"/>
                </a:solidFill>
                <a:effectLst/>
                <a:latin typeface="Arial Narrow" panose="020B0606020202030204" pitchFamily="34" charset="0"/>
              </a:rPr>
              <a:t>.</a:t>
            </a:r>
            <a:endParaRPr lang="en-US" sz="1200" b="0" i="0">
              <a:solidFill>
                <a:schemeClr val="bg1"/>
              </a:solidFill>
              <a:effectLst/>
              <a:latin typeface="Arial Narrow" panose="020B0606020202030204" pitchFamily="34" charset="0"/>
            </a:endParaRPr>
          </a:p>
        </p:txBody>
      </p:sp>
      <p:sp>
        <p:nvSpPr>
          <p:cNvPr id="9" name="Google Shape;17;p14">
            <a:extLst>
              <a:ext uri="{FF2B5EF4-FFF2-40B4-BE49-F238E27FC236}">
                <a16:creationId xmlns:a16="http://schemas.microsoft.com/office/drawing/2014/main" id="{1D91ADB7-2EC7-4936-ABC9-9B29136A1AA5}"/>
              </a:ext>
            </a:extLst>
          </p:cNvPr>
          <p:cNvSpPr txBox="1">
            <a:spLocks noGrp="1"/>
          </p:cNvSpPr>
          <p:nvPr>
            <p:ph type="body" idx="12" hasCustomPrompt="1"/>
          </p:nvPr>
        </p:nvSpPr>
        <p:spPr>
          <a:xfrm>
            <a:off x="2498928" y="6340050"/>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chemeClr val="bg1"/>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3" name="Picture 2" descr="A picture containing text, clipart&#10;&#10;Description automatically generated">
            <a:extLst>
              <a:ext uri="{FF2B5EF4-FFF2-40B4-BE49-F238E27FC236}">
                <a16:creationId xmlns:a16="http://schemas.microsoft.com/office/drawing/2014/main" id="{6353D945-C4B2-20EF-9039-8502DE35F2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6911" y="6268517"/>
            <a:ext cx="1864380" cy="321600"/>
          </a:xfrm>
          <a:prstGeom prst="rect">
            <a:avLst/>
          </a:prstGeom>
        </p:spPr>
      </p:pic>
    </p:spTree>
    <p:extLst>
      <p:ext uri="{BB962C8B-B14F-4D97-AF65-F5344CB8AC3E}">
        <p14:creationId xmlns:p14="http://schemas.microsoft.com/office/powerpoint/2010/main" val="3793135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01">
          <p15:clr>
            <a:srgbClr val="FBAE40"/>
          </p15:clr>
        </p15:guide>
        <p15:guide id="2" pos="7379">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5F5D8E"/>
        </a:solidFill>
        <a:effectLst/>
      </p:bgPr>
    </p:bg>
    <p:spTree>
      <p:nvGrpSpPr>
        <p:cNvPr id="1" name=""/>
        <p:cNvGrpSpPr/>
        <p:nvPr/>
      </p:nvGrpSpPr>
      <p:grpSpPr>
        <a:xfrm>
          <a:off x="0" y="0"/>
          <a:ext cx="0" cy="0"/>
          <a:chOff x="0" y="0"/>
          <a:chExt cx="0" cy="0"/>
        </a:xfrm>
      </p:grpSpPr>
      <p:sp>
        <p:nvSpPr>
          <p:cNvPr id="6" name="Google Shape;22;p15">
            <a:extLst>
              <a:ext uri="{FF2B5EF4-FFF2-40B4-BE49-F238E27FC236}">
                <a16:creationId xmlns:a16="http://schemas.microsoft.com/office/drawing/2014/main" id="{9F0F4E0E-EF6C-478E-8886-BC7879BA76EF}"/>
              </a:ext>
            </a:extLst>
          </p:cNvPr>
          <p:cNvSpPr txBox="1">
            <a:spLocks noGrp="1"/>
          </p:cNvSpPr>
          <p:nvPr>
            <p:ph type="ctrTitle"/>
          </p:nvPr>
        </p:nvSpPr>
        <p:spPr>
          <a:xfrm>
            <a:off x="480000" y="2494536"/>
            <a:ext cx="11233635"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chemeClr val="bg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7" name="Google Shape;23;p15">
            <a:extLst>
              <a:ext uri="{FF2B5EF4-FFF2-40B4-BE49-F238E27FC236}">
                <a16:creationId xmlns:a16="http://schemas.microsoft.com/office/drawing/2014/main" id="{9166CBA5-BBC6-448C-88CC-9930401EB781}"/>
              </a:ext>
            </a:extLst>
          </p:cNvPr>
          <p:cNvSpPr txBox="1">
            <a:spLocks noGrp="1"/>
          </p:cNvSpPr>
          <p:nvPr>
            <p:ph type="subTitle" idx="1"/>
          </p:nvPr>
        </p:nvSpPr>
        <p:spPr>
          <a:xfrm>
            <a:off x="480000" y="3694533"/>
            <a:ext cx="11233635"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chemeClr val="bg1"/>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pic>
        <p:nvPicPr>
          <p:cNvPr id="3" name="Picture 2" descr="A picture containing text, clipart&#10;&#10;Description automatically generated">
            <a:extLst>
              <a:ext uri="{FF2B5EF4-FFF2-40B4-BE49-F238E27FC236}">
                <a16:creationId xmlns:a16="http://schemas.microsoft.com/office/drawing/2014/main" id="{23456830-DD1A-5C3F-846A-E93D11C0BB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6911" y="6268517"/>
            <a:ext cx="1864380" cy="321600"/>
          </a:xfrm>
          <a:prstGeom prst="rect">
            <a:avLst/>
          </a:prstGeom>
        </p:spPr>
      </p:pic>
    </p:spTree>
    <p:extLst>
      <p:ext uri="{BB962C8B-B14F-4D97-AF65-F5344CB8AC3E}">
        <p14:creationId xmlns:p14="http://schemas.microsoft.com/office/powerpoint/2010/main" val="15100691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01">
          <p15:clr>
            <a:srgbClr val="FBAE40"/>
          </p15:clr>
        </p15:guide>
        <p15:guide id="2" pos="7379">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5F5D8E"/>
        </a:solidFill>
        <a:effectLst/>
      </p:bgPr>
    </p:bg>
    <p:spTree>
      <p:nvGrpSpPr>
        <p:cNvPr id="1" name=""/>
        <p:cNvGrpSpPr/>
        <p:nvPr/>
      </p:nvGrpSpPr>
      <p:grpSpPr>
        <a:xfrm>
          <a:off x="0" y="0"/>
          <a:ext cx="0" cy="0"/>
          <a:chOff x="0" y="0"/>
          <a:chExt cx="0" cy="0"/>
        </a:xfrm>
      </p:grpSpPr>
      <p:pic>
        <p:nvPicPr>
          <p:cNvPr id="11" name="Picture 10" descr="A picture containing text, clipart&#10;&#10;Description automatically generated">
            <a:extLst>
              <a:ext uri="{FF2B5EF4-FFF2-40B4-BE49-F238E27FC236}">
                <a16:creationId xmlns:a16="http://schemas.microsoft.com/office/drawing/2014/main" id="{C1FB7374-1E0C-F4EF-4975-CEA93C13CB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6911" y="6268517"/>
            <a:ext cx="1864380" cy="321600"/>
          </a:xfrm>
          <a:prstGeom prst="rect">
            <a:avLst/>
          </a:prstGeom>
        </p:spPr>
      </p:pic>
      <p:sp>
        <p:nvSpPr>
          <p:cNvPr id="6" name="Google Shape;22;p15">
            <a:extLst>
              <a:ext uri="{FF2B5EF4-FFF2-40B4-BE49-F238E27FC236}">
                <a16:creationId xmlns:a16="http://schemas.microsoft.com/office/drawing/2014/main" id="{9F0F4E0E-EF6C-478E-8886-BC7879BA76EF}"/>
              </a:ext>
            </a:extLst>
          </p:cNvPr>
          <p:cNvSpPr txBox="1">
            <a:spLocks noGrp="1"/>
          </p:cNvSpPr>
          <p:nvPr>
            <p:ph type="ctrTitle"/>
          </p:nvPr>
        </p:nvSpPr>
        <p:spPr>
          <a:xfrm>
            <a:off x="480000" y="444064"/>
            <a:ext cx="11233635" cy="774168"/>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chemeClr val="bg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7" name="Google Shape;23;p15">
            <a:extLst>
              <a:ext uri="{FF2B5EF4-FFF2-40B4-BE49-F238E27FC236}">
                <a16:creationId xmlns:a16="http://schemas.microsoft.com/office/drawing/2014/main" id="{9166CBA5-BBC6-448C-88CC-9930401EB781}"/>
              </a:ext>
            </a:extLst>
          </p:cNvPr>
          <p:cNvSpPr txBox="1">
            <a:spLocks noGrp="1"/>
          </p:cNvSpPr>
          <p:nvPr>
            <p:ph type="subTitle" idx="1"/>
          </p:nvPr>
        </p:nvSpPr>
        <p:spPr>
          <a:xfrm>
            <a:off x="478368" y="1218234"/>
            <a:ext cx="11233635" cy="63959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chemeClr val="bg1"/>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pic>
        <p:nvPicPr>
          <p:cNvPr id="9" name="Picture 8" descr="A picture containing light&#10;&#10;Description automatically generated">
            <a:extLst>
              <a:ext uri="{FF2B5EF4-FFF2-40B4-BE49-F238E27FC236}">
                <a16:creationId xmlns:a16="http://schemas.microsoft.com/office/drawing/2014/main" id="{2D4E8AFD-47E4-ED55-DCF1-9D0C904BD908}"/>
              </a:ext>
            </a:extLst>
          </p:cNvPr>
          <p:cNvPicPr>
            <a:picLocks noChangeAspect="1"/>
          </p:cNvPicPr>
          <p:nvPr userDrawn="1"/>
        </p:nvPicPr>
        <p:blipFill>
          <a:blip r:embed="rId3" cstate="screen">
            <a:alphaModFix amt="85000"/>
            <a:extLst>
              <a:ext uri="{28A0092B-C50C-407E-A947-70E740481C1C}">
                <a14:useLocalDpi xmlns:a14="http://schemas.microsoft.com/office/drawing/2010/main"/>
              </a:ext>
            </a:extLst>
          </a:blip>
          <a:stretch>
            <a:fillRect/>
          </a:stretch>
        </p:blipFill>
        <p:spPr>
          <a:xfrm>
            <a:off x="7130473" y="3633380"/>
            <a:ext cx="5374296" cy="3224621"/>
          </a:xfrm>
          <a:prstGeom prst="rect">
            <a:avLst/>
          </a:prstGeom>
        </p:spPr>
      </p:pic>
    </p:spTree>
    <p:extLst>
      <p:ext uri="{BB962C8B-B14F-4D97-AF65-F5344CB8AC3E}">
        <p14:creationId xmlns:p14="http://schemas.microsoft.com/office/powerpoint/2010/main" val="1664670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01">
          <p15:clr>
            <a:srgbClr val="FBAE40"/>
          </p15:clr>
        </p15:guide>
        <p15:guide id="2" pos="7379">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matchingName="1_Title Presentation" preserve="1" userDrawn="1">
  <p:cSld name="2_Title Presentation">
    <p:spTree>
      <p:nvGrpSpPr>
        <p:cNvPr id="1" name="Shape 10"/>
        <p:cNvGrpSpPr/>
        <p:nvPr/>
      </p:nvGrpSpPr>
      <p:grpSpPr>
        <a:xfrm>
          <a:off x="0" y="0"/>
          <a:ext cx="0" cy="0"/>
          <a:chOff x="0" y="0"/>
          <a:chExt cx="0" cy="0"/>
        </a:xfrm>
      </p:grpSpPr>
      <p:pic>
        <p:nvPicPr>
          <p:cNvPr id="3" name="Picture 2">
            <a:extLst>
              <a:ext uri="{FF2B5EF4-FFF2-40B4-BE49-F238E27FC236}">
                <a16:creationId xmlns:a16="http://schemas.microsoft.com/office/drawing/2014/main" id="{C665F1FA-5563-06E0-90A6-7DADE4AE98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507382" y="1055256"/>
            <a:ext cx="3684620" cy="4747491"/>
          </a:xfrm>
          <a:prstGeom prst="rect">
            <a:avLst/>
          </a:prstGeom>
        </p:spPr>
      </p:pic>
      <p:sp>
        <p:nvSpPr>
          <p:cNvPr id="8" name="Google Shape;22;p15">
            <a:extLst>
              <a:ext uri="{FF2B5EF4-FFF2-40B4-BE49-F238E27FC236}">
                <a16:creationId xmlns:a16="http://schemas.microsoft.com/office/drawing/2014/main" id="{97839463-F45A-452F-84F7-AE7637A2AA86}"/>
              </a:ext>
            </a:extLst>
          </p:cNvPr>
          <p:cNvSpPr txBox="1">
            <a:spLocks noGrp="1"/>
          </p:cNvSpPr>
          <p:nvPr>
            <p:ph type="ctrTitle"/>
          </p:nvPr>
        </p:nvSpPr>
        <p:spPr>
          <a:xfrm>
            <a:off x="480002" y="2494536"/>
            <a:ext cx="6863553"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1" name="Google Shape;23;p15">
            <a:extLst>
              <a:ext uri="{FF2B5EF4-FFF2-40B4-BE49-F238E27FC236}">
                <a16:creationId xmlns:a16="http://schemas.microsoft.com/office/drawing/2014/main" id="{560DC4F9-1CE4-4388-933C-5545DB0CD526}"/>
              </a:ext>
            </a:extLst>
          </p:cNvPr>
          <p:cNvSpPr txBox="1">
            <a:spLocks noGrp="1"/>
          </p:cNvSpPr>
          <p:nvPr>
            <p:ph type="subTitle" idx="1"/>
          </p:nvPr>
        </p:nvSpPr>
        <p:spPr>
          <a:xfrm>
            <a:off x="480002" y="3694533"/>
            <a:ext cx="6863553"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pic>
        <p:nvPicPr>
          <p:cNvPr id="2" name="Picture 1" descr="Logo&#10;&#10;Description automatically generated">
            <a:extLst>
              <a:ext uri="{FF2B5EF4-FFF2-40B4-BE49-F238E27FC236}">
                <a16:creationId xmlns:a16="http://schemas.microsoft.com/office/drawing/2014/main" id="{A56B2B27-E2AF-3BF6-4867-414284C2B53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0504" y="6248188"/>
            <a:ext cx="1843200" cy="316800"/>
          </a:xfrm>
          <a:prstGeom prst="rect">
            <a:avLst/>
          </a:prstGeom>
        </p:spPr>
      </p:pic>
    </p:spTree>
    <p:extLst>
      <p:ext uri="{BB962C8B-B14F-4D97-AF65-F5344CB8AC3E}">
        <p14:creationId xmlns:p14="http://schemas.microsoft.com/office/powerpoint/2010/main" val="3592651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156">
          <p15:clr>
            <a:srgbClr val="FBAE40"/>
          </p15:clr>
        </p15:guide>
        <p15:guide id="2" pos="393">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matchingName="1_Title Presentation" preserve="1" userDrawn="1">
  <p:cSld name="2_Title Presentation">
    <p:spTree>
      <p:nvGrpSpPr>
        <p:cNvPr id="1" name="Shape 10"/>
        <p:cNvGrpSpPr/>
        <p:nvPr/>
      </p:nvGrpSpPr>
      <p:grpSpPr>
        <a:xfrm>
          <a:off x="0" y="0"/>
          <a:ext cx="0" cy="0"/>
          <a:chOff x="0" y="0"/>
          <a:chExt cx="0" cy="0"/>
        </a:xfrm>
      </p:grpSpPr>
      <p:sp>
        <p:nvSpPr>
          <p:cNvPr id="8" name="Google Shape;22;p15">
            <a:extLst>
              <a:ext uri="{FF2B5EF4-FFF2-40B4-BE49-F238E27FC236}">
                <a16:creationId xmlns:a16="http://schemas.microsoft.com/office/drawing/2014/main" id="{97839463-F45A-452F-84F7-AE7637A2AA86}"/>
              </a:ext>
            </a:extLst>
          </p:cNvPr>
          <p:cNvSpPr txBox="1">
            <a:spLocks noGrp="1"/>
          </p:cNvSpPr>
          <p:nvPr>
            <p:ph type="ctrTitle"/>
          </p:nvPr>
        </p:nvSpPr>
        <p:spPr>
          <a:xfrm>
            <a:off x="480002" y="2494536"/>
            <a:ext cx="6863553"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1" name="Google Shape;23;p15">
            <a:extLst>
              <a:ext uri="{FF2B5EF4-FFF2-40B4-BE49-F238E27FC236}">
                <a16:creationId xmlns:a16="http://schemas.microsoft.com/office/drawing/2014/main" id="{560DC4F9-1CE4-4388-933C-5545DB0CD526}"/>
              </a:ext>
            </a:extLst>
          </p:cNvPr>
          <p:cNvSpPr txBox="1">
            <a:spLocks noGrp="1"/>
          </p:cNvSpPr>
          <p:nvPr>
            <p:ph type="subTitle" idx="1"/>
          </p:nvPr>
        </p:nvSpPr>
        <p:spPr>
          <a:xfrm>
            <a:off x="480002" y="3694533"/>
            <a:ext cx="6863553"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7" name="TextBox 6">
            <a:extLst>
              <a:ext uri="{FF2B5EF4-FFF2-40B4-BE49-F238E27FC236}">
                <a16:creationId xmlns:a16="http://schemas.microsoft.com/office/drawing/2014/main" id="{77BF4F1A-021D-4AE7-9A5D-E1651C08B59C}"/>
              </a:ext>
            </a:extLst>
          </p:cNvPr>
          <p:cNvSpPr txBox="1"/>
          <p:nvPr userDrawn="1"/>
        </p:nvSpPr>
        <p:spPr>
          <a:xfrm>
            <a:off x="6062187" y="6402717"/>
            <a:ext cx="4093032" cy="369332"/>
          </a:xfrm>
          <a:prstGeom prst="rect">
            <a:avLst/>
          </a:prstGeom>
          <a:noFill/>
        </p:spPr>
        <p:txBody>
          <a:bodyPr wrap="square" lIns="0" tIns="0" rIns="120000" bIns="0" rtlCol="0">
            <a:spAutoFit/>
          </a:bodyPr>
          <a:lstStyle/>
          <a:p>
            <a:pPr marL="0" marR="0" lvl="0" indent="0" algn="l"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AB0C23"/>
                </a:solidFill>
                <a:effectLst/>
                <a:latin typeface="Arial Narrow" panose="020B0606020202030204" pitchFamily="34" charset="0"/>
              </a:rPr>
              <a:t>Content of this presentation is copyright</a:t>
            </a:r>
            <a:r>
              <a:rPr lang="en-CH" sz="1200" b="0" i="0">
                <a:solidFill>
                  <a:srgbClr val="AB0C23"/>
                </a:solidFill>
                <a:effectLst/>
                <a:latin typeface="Arial Narrow" panose="020B0606020202030204" pitchFamily="34" charset="0"/>
              </a:rPr>
              <a:t> </a:t>
            </a:r>
            <a:r>
              <a:rPr lang="en-US" sz="1200" b="0" i="0">
                <a:solidFill>
                  <a:srgbClr val="AB0C23"/>
                </a:solidFill>
                <a:effectLst/>
                <a:latin typeface="Arial Narrow" panose="020B0606020202030204" pitchFamily="34" charset="0"/>
              </a:rPr>
              <a:t>and responsibility of the author. Permission is required for re-use</a:t>
            </a:r>
            <a:r>
              <a:rPr lang="en-CH" sz="1200" b="0" i="0">
                <a:solidFill>
                  <a:srgbClr val="AB0C23"/>
                </a:solidFill>
                <a:effectLst/>
                <a:latin typeface="Arial Narrow" panose="020B0606020202030204" pitchFamily="34" charset="0"/>
              </a:rPr>
              <a:t>.</a:t>
            </a:r>
            <a:endParaRPr lang="en-US" sz="1200" b="0" i="0">
              <a:solidFill>
                <a:srgbClr val="AB0C23"/>
              </a:solidFill>
              <a:effectLst/>
              <a:latin typeface="Arial Narrow" panose="020B0606020202030204" pitchFamily="34" charset="0"/>
            </a:endParaRPr>
          </a:p>
        </p:txBody>
      </p:sp>
      <p:sp>
        <p:nvSpPr>
          <p:cNvPr id="9" name="Google Shape;17;p14">
            <a:extLst>
              <a:ext uri="{FF2B5EF4-FFF2-40B4-BE49-F238E27FC236}">
                <a16:creationId xmlns:a16="http://schemas.microsoft.com/office/drawing/2014/main" id="{9A022B80-BC6D-4251-97C9-A1DA7C66860E}"/>
              </a:ext>
            </a:extLst>
          </p:cNvPr>
          <p:cNvSpPr txBox="1">
            <a:spLocks noGrp="1"/>
          </p:cNvSpPr>
          <p:nvPr>
            <p:ph type="body" idx="12" hasCustomPrompt="1"/>
          </p:nvPr>
        </p:nvSpPr>
        <p:spPr>
          <a:xfrm>
            <a:off x="2726676" y="6358248"/>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AB0C23"/>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4" name="Picture 3">
            <a:extLst>
              <a:ext uri="{FF2B5EF4-FFF2-40B4-BE49-F238E27FC236}">
                <a16:creationId xmlns:a16="http://schemas.microsoft.com/office/drawing/2014/main" id="{CD7F9B9E-E612-CAD1-8C28-2E070B8844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507382" y="1055256"/>
            <a:ext cx="3684620" cy="4747491"/>
          </a:xfrm>
          <a:prstGeom prst="rect">
            <a:avLst/>
          </a:prstGeom>
        </p:spPr>
      </p:pic>
      <p:pic>
        <p:nvPicPr>
          <p:cNvPr id="5" name="Picture 4" descr="Logo&#10;&#10;Description automatically generated">
            <a:extLst>
              <a:ext uri="{FF2B5EF4-FFF2-40B4-BE49-F238E27FC236}">
                <a16:creationId xmlns:a16="http://schemas.microsoft.com/office/drawing/2014/main" id="{730CC272-1BFE-1577-4A74-328383D9F91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0504" y="6248188"/>
            <a:ext cx="1843200" cy="316800"/>
          </a:xfrm>
          <a:prstGeom prst="rect">
            <a:avLst/>
          </a:prstGeom>
        </p:spPr>
      </p:pic>
    </p:spTree>
    <p:extLst>
      <p:ext uri="{BB962C8B-B14F-4D97-AF65-F5344CB8AC3E}">
        <p14:creationId xmlns:p14="http://schemas.microsoft.com/office/powerpoint/2010/main" val="11417754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156">
          <p15:clr>
            <a:srgbClr val="FBAE40"/>
          </p15:clr>
        </p15:guide>
        <p15:guide id="2" pos="393">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2_Title Chapter" preserve="1" userDrawn="1">
  <p:cSld name="2_Title Chapter">
    <p:spTree>
      <p:nvGrpSpPr>
        <p:cNvPr id="1" name="Shape 21"/>
        <p:cNvGrpSpPr/>
        <p:nvPr/>
      </p:nvGrpSpPr>
      <p:grpSpPr>
        <a:xfrm>
          <a:off x="0" y="0"/>
          <a:ext cx="0" cy="0"/>
          <a:chOff x="0" y="0"/>
          <a:chExt cx="0" cy="0"/>
        </a:xfrm>
      </p:grpSpPr>
      <p:sp>
        <p:nvSpPr>
          <p:cNvPr id="11" name="TextBox 10">
            <a:extLst>
              <a:ext uri="{FF2B5EF4-FFF2-40B4-BE49-F238E27FC236}">
                <a16:creationId xmlns:a16="http://schemas.microsoft.com/office/drawing/2014/main" id="{DA265234-4107-4D6D-B6CF-71BF3D224F74}"/>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AB0C23"/>
                </a:solidFill>
                <a:effectLst/>
                <a:latin typeface="Arial Narrow" panose="020B0606020202030204" pitchFamily="34" charset="0"/>
              </a:rPr>
              <a:t>Content of this presentation is copyright</a:t>
            </a:r>
            <a:r>
              <a:rPr lang="en-CH" sz="1200" b="0" i="0">
                <a:solidFill>
                  <a:srgbClr val="AB0C23"/>
                </a:solidFill>
                <a:effectLst/>
                <a:latin typeface="Arial Narrow" panose="020B0606020202030204" pitchFamily="34" charset="0"/>
              </a:rPr>
              <a:t> </a:t>
            </a:r>
            <a:r>
              <a:rPr lang="en-US" sz="1200" b="0" i="0">
                <a:solidFill>
                  <a:srgbClr val="AB0C23"/>
                </a:solidFill>
                <a:effectLst/>
                <a:latin typeface="Arial Narrow" panose="020B0606020202030204" pitchFamily="34" charset="0"/>
              </a:rPr>
              <a:t>and responsibility of the author. Permission is required for re-use</a:t>
            </a:r>
            <a:r>
              <a:rPr lang="en-CH" sz="1200" b="0" i="0">
                <a:solidFill>
                  <a:srgbClr val="AB0C23"/>
                </a:solidFill>
                <a:effectLst/>
                <a:latin typeface="Arial Narrow" panose="020B0606020202030204" pitchFamily="34" charset="0"/>
              </a:rPr>
              <a:t>.</a:t>
            </a:r>
            <a:endParaRPr lang="en-US" sz="1200" b="0" i="0">
              <a:solidFill>
                <a:srgbClr val="AB0C23"/>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E28D0820-6913-437C-A4E4-ED5E441DEA39}"/>
              </a:ext>
            </a:extLst>
          </p:cNvPr>
          <p:cNvSpPr txBox="1">
            <a:spLocks noGrp="1"/>
          </p:cNvSpPr>
          <p:nvPr>
            <p:ph type="body" idx="12" hasCustomPrompt="1"/>
          </p:nvPr>
        </p:nvSpPr>
        <p:spPr>
          <a:xfrm>
            <a:off x="2553811" y="6324157"/>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AB0C23"/>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
        <p:nvSpPr>
          <p:cNvPr id="3" name="Google Shape;19;p14">
            <a:extLst>
              <a:ext uri="{FF2B5EF4-FFF2-40B4-BE49-F238E27FC236}">
                <a16:creationId xmlns:a16="http://schemas.microsoft.com/office/drawing/2014/main" id="{4F1CA240-2642-1763-40C4-B45A7E30B5B1}"/>
              </a:ext>
            </a:extLst>
          </p:cNvPr>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4" name="Google Shape;18;p14">
            <a:extLst>
              <a:ext uri="{FF2B5EF4-FFF2-40B4-BE49-F238E27FC236}">
                <a16:creationId xmlns:a16="http://schemas.microsoft.com/office/drawing/2014/main" id="{788965C1-01AC-E2F6-5184-7CAE3C8916C2}"/>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5" name="Google Shape;17;p14">
            <a:extLst>
              <a:ext uri="{FF2B5EF4-FFF2-40B4-BE49-F238E27FC236}">
                <a16:creationId xmlns:a16="http://schemas.microsoft.com/office/drawing/2014/main" id="{23A0E90A-AA58-C609-CC3D-906A14B42104}"/>
              </a:ext>
            </a:extLst>
          </p:cNvPr>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6" name="Picture 5" descr="Logo&#10;&#10;Description automatically generated">
            <a:extLst>
              <a:ext uri="{FF2B5EF4-FFF2-40B4-BE49-F238E27FC236}">
                <a16:creationId xmlns:a16="http://schemas.microsoft.com/office/drawing/2014/main" id="{6BD571E7-BDD0-AA31-D15B-2C8313727B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504" y="6248188"/>
            <a:ext cx="1843200" cy="316800"/>
          </a:xfrm>
          <a:prstGeom prst="rect">
            <a:avLst/>
          </a:prstGeom>
        </p:spPr>
      </p:pic>
    </p:spTree>
    <p:extLst>
      <p:ext uri="{BB962C8B-B14F-4D97-AF65-F5344CB8AC3E}">
        <p14:creationId xmlns:p14="http://schemas.microsoft.com/office/powerpoint/2010/main" val="23341182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156">
          <p15:clr>
            <a:srgbClr val="FBAE40"/>
          </p15:clr>
        </p15:guide>
        <p15:guide id="2" pos="393">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2_Title Chapter" preserve="1" userDrawn="1">
  <p:cSld name="3_Title Chapter">
    <p:spTree>
      <p:nvGrpSpPr>
        <p:cNvPr id="1" name="Shape 21"/>
        <p:cNvGrpSpPr/>
        <p:nvPr/>
      </p:nvGrpSpPr>
      <p:grpSpPr>
        <a:xfrm>
          <a:off x="0" y="0"/>
          <a:ext cx="0" cy="0"/>
          <a:chOff x="0" y="0"/>
          <a:chExt cx="0" cy="0"/>
        </a:xfrm>
      </p:grpSpPr>
      <p:sp>
        <p:nvSpPr>
          <p:cNvPr id="11" name="TextBox 10">
            <a:extLst>
              <a:ext uri="{FF2B5EF4-FFF2-40B4-BE49-F238E27FC236}">
                <a16:creationId xmlns:a16="http://schemas.microsoft.com/office/drawing/2014/main" id="{DA265234-4107-4D6D-B6CF-71BF3D224F74}"/>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AB0C23"/>
                </a:solidFill>
                <a:effectLst/>
                <a:latin typeface="Arial Narrow" panose="020B0606020202030204" pitchFamily="34" charset="0"/>
              </a:rPr>
              <a:t>Content of this presentation is copyright</a:t>
            </a:r>
            <a:r>
              <a:rPr lang="en-CH" sz="1200" b="0" i="0">
                <a:solidFill>
                  <a:srgbClr val="AB0C23"/>
                </a:solidFill>
                <a:effectLst/>
                <a:latin typeface="Arial Narrow" panose="020B0606020202030204" pitchFamily="34" charset="0"/>
              </a:rPr>
              <a:t> </a:t>
            </a:r>
            <a:r>
              <a:rPr lang="en-US" sz="1200" b="0" i="0">
                <a:solidFill>
                  <a:srgbClr val="AB0C23"/>
                </a:solidFill>
                <a:effectLst/>
                <a:latin typeface="Arial Narrow" panose="020B0606020202030204" pitchFamily="34" charset="0"/>
              </a:rPr>
              <a:t>and responsibility of the author. Permission is required for re-use</a:t>
            </a:r>
            <a:r>
              <a:rPr lang="en-CH" sz="1200" b="0" i="0">
                <a:solidFill>
                  <a:srgbClr val="AB0C23"/>
                </a:solidFill>
                <a:effectLst/>
                <a:latin typeface="Arial Narrow" panose="020B0606020202030204" pitchFamily="34" charset="0"/>
              </a:rPr>
              <a:t>.</a:t>
            </a:r>
            <a:endParaRPr lang="en-US" sz="1200" b="0" i="0">
              <a:solidFill>
                <a:srgbClr val="AB0C23"/>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E28D0820-6913-437C-A4E4-ED5E441DEA39}"/>
              </a:ext>
            </a:extLst>
          </p:cNvPr>
          <p:cNvSpPr txBox="1">
            <a:spLocks noGrp="1"/>
          </p:cNvSpPr>
          <p:nvPr>
            <p:ph type="body" idx="12" hasCustomPrompt="1"/>
          </p:nvPr>
        </p:nvSpPr>
        <p:spPr>
          <a:xfrm>
            <a:off x="2553811" y="6324157"/>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AB0C23"/>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
        <p:nvSpPr>
          <p:cNvPr id="3" name="Google Shape;19;p14">
            <a:extLst>
              <a:ext uri="{FF2B5EF4-FFF2-40B4-BE49-F238E27FC236}">
                <a16:creationId xmlns:a16="http://schemas.microsoft.com/office/drawing/2014/main" id="{4F1CA240-2642-1763-40C4-B45A7E30B5B1}"/>
              </a:ext>
            </a:extLst>
          </p:cNvPr>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4" name="Google Shape;18;p14">
            <a:extLst>
              <a:ext uri="{FF2B5EF4-FFF2-40B4-BE49-F238E27FC236}">
                <a16:creationId xmlns:a16="http://schemas.microsoft.com/office/drawing/2014/main" id="{788965C1-01AC-E2F6-5184-7CAE3C8916C2}"/>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5" name="Google Shape;17;p14">
            <a:extLst>
              <a:ext uri="{FF2B5EF4-FFF2-40B4-BE49-F238E27FC236}">
                <a16:creationId xmlns:a16="http://schemas.microsoft.com/office/drawing/2014/main" id="{23A0E90A-AA58-C609-CC3D-906A14B42104}"/>
              </a:ext>
            </a:extLst>
          </p:cNvPr>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Arial" panose="020B0604020202020204" pitchFamily="34" charset="0"/>
              <a:buNone/>
              <a:defRPr sz="2133" b="0" i="0" u="none" strike="noStrike" cap="none">
                <a:solidFill>
                  <a:schemeClr val="tx1">
                    <a:lumMod val="75000"/>
                    <a:lumOff val="25000"/>
                  </a:schemeClr>
                </a:solidFill>
                <a:latin typeface="Arial Narrow"/>
                <a:ea typeface="Arial Narrow"/>
                <a:cs typeface="Arial Narrow"/>
                <a:sym typeface="Arial Narrow"/>
              </a:defRPr>
            </a:lvl1pPr>
            <a:lvl2pPr marL="959952" marR="0" lvl="1" indent="-440245" algn="l" rtl="0">
              <a:lnSpc>
                <a:spcPct val="100000"/>
              </a:lnSpc>
              <a:spcBef>
                <a:spcPts val="427"/>
              </a:spcBef>
              <a:spcAft>
                <a:spcPts val="0"/>
              </a:spcAft>
              <a:buClr>
                <a:srgbClr val="05416B"/>
              </a:buClr>
              <a:buSzPts val="1600"/>
              <a:buFont typeface="Arial" panose="020B0604020202020204" pitchFamily="34" charset="0"/>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6" name="Picture 5" descr="Logo&#10;&#10;Description automatically generated">
            <a:extLst>
              <a:ext uri="{FF2B5EF4-FFF2-40B4-BE49-F238E27FC236}">
                <a16:creationId xmlns:a16="http://schemas.microsoft.com/office/drawing/2014/main" id="{6BD571E7-BDD0-AA31-D15B-2C8313727B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504" y="6248188"/>
            <a:ext cx="1843200" cy="316800"/>
          </a:xfrm>
          <a:prstGeom prst="rect">
            <a:avLst/>
          </a:prstGeom>
        </p:spPr>
      </p:pic>
    </p:spTree>
    <p:extLst>
      <p:ext uri="{BB962C8B-B14F-4D97-AF65-F5344CB8AC3E}">
        <p14:creationId xmlns:p14="http://schemas.microsoft.com/office/powerpoint/2010/main" val="1591967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156">
          <p15:clr>
            <a:srgbClr val="FBAE40"/>
          </p15:clr>
        </p15:guide>
        <p15:guide id="2" pos="39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2_Title Chapter" preserve="1" userDrawn="1">
  <p:cSld name="3_Title Chapter">
    <p:spTree>
      <p:nvGrpSpPr>
        <p:cNvPr id="1" name="Shape 21"/>
        <p:cNvGrpSpPr/>
        <p:nvPr/>
      </p:nvGrpSpPr>
      <p:grpSpPr>
        <a:xfrm>
          <a:off x="0" y="0"/>
          <a:ext cx="0" cy="0"/>
          <a:chOff x="0" y="0"/>
          <a:chExt cx="0" cy="0"/>
        </a:xfrm>
      </p:grpSpPr>
      <p:sp>
        <p:nvSpPr>
          <p:cNvPr id="11" name="TextBox 10">
            <a:extLst>
              <a:ext uri="{FF2B5EF4-FFF2-40B4-BE49-F238E27FC236}">
                <a16:creationId xmlns:a16="http://schemas.microsoft.com/office/drawing/2014/main" id="{DA265234-4107-4D6D-B6CF-71BF3D224F74}"/>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AB0C23"/>
                </a:solidFill>
                <a:effectLst/>
                <a:latin typeface="Arial Narrow" panose="020B0606020202030204" pitchFamily="34" charset="0"/>
              </a:rPr>
              <a:t>Content of this presentation is copyright</a:t>
            </a:r>
            <a:r>
              <a:rPr lang="en-CH" sz="1200" b="0" i="0">
                <a:solidFill>
                  <a:srgbClr val="AB0C23"/>
                </a:solidFill>
                <a:effectLst/>
                <a:latin typeface="Arial Narrow" panose="020B0606020202030204" pitchFamily="34" charset="0"/>
              </a:rPr>
              <a:t> </a:t>
            </a:r>
            <a:r>
              <a:rPr lang="en-US" sz="1200" b="0" i="0">
                <a:solidFill>
                  <a:srgbClr val="AB0C23"/>
                </a:solidFill>
                <a:effectLst/>
                <a:latin typeface="Arial Narrow" panose="020B0606020202030204" pitchFamily="34" charset="0"/>
              </a:rPr>
              <a:t>and responsibility of the author. Permission is required for re-use</a:t>
            </a:r>
            <a:r>
              <a:rPr lang="en-CH" sz="1200" b="0" i="0">
                <a:solidFill>
                  <a:srgbClr val="AB0C23"/>
                </a:solidFill>
                <a:effectLst/>
                <a:latin typeface="Arial Narrow" panose="020B0606020202030204" pitchFamily="34" charset="0"/>
              </a:rPr>
              <a:t>.</a:t>
            </a:r>
            <a:endParaRPr lang="en-US" sz="1200" b="0" i="0">
              <a:solidFill>
                <a:srgbClr val="AB0C23"/>
              </a:solidFill>
              <a:effectLst/>
              <a:latin typeface="Arial Narrow" panose="020B0606020202030204" pitchFamily="34" charset="0"/>
            </a:endParaRPr>
          </a:p>
        </p:txBody>
      </p:sp>
      <p:pic>
        <p:nvPicPr>
          <p:cNvPr id="6" name="Picture 5" descr="Logo&#10;&#10;Description automatically generated">
            <a:extLst>
              <a:ext uri="{FF2B5EF4-FFF2-40B4-BE49-F238E27FC236}">
                <a16:creationId xmlns:a16="http://schemas.microsoft.com/office/drawing/2014/main" id="{F1CA51A5-BFE7-E244-6AA3-3D6CCEFD2F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504" y="6248188"/>
            <a:ext cx="1843200" cy="316800"/>
          </a:xfrm>
          <a:prstGeom prst="rect">
            <a:avLst/>
          </a:prstGeom>
        </p:spPr>
      </p:pic>
      <p:sp>
        <p:nvSpPr>
          <p:cNvPr id="7" name="Google Shape;17;p14">
            <a:extLst>
              <a:ext uri="{FF2B5EF4-FFF2-40B4-BE49-F238E27FC236}">
                <a16:creationId xmlns:a16="http://schemas.microsoft.com/office/drawing/2014/main" id="{DB6C73AD-5FD7-882C-9953-E3B14F34F1B6}"/>
              </a:ext>
            </a:extLst>
          </p:cNvPr>
          <p:cNvSpPr txBox="1">
            <a:spLocks noGrp="1"/>
          </p:cNvSpPr>
          <p:nvPr>
            <p:ph type="body" idx="12" hasCustomPrompt="1"/>
          </p:nvPr>
        </p:nvSpPr>
        <p:spPr>
          <a:xfrm>
            <a:off x="2553811" y="6324157"/>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AB0C23"/>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27234547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156">
          <p15:clr>
            <a:srgbClr val="FBAE40"/>
          </p15:clr>
        </p15:guide>
        <p15:guide id="2" pos="393">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BA7A94E6-FBD8-AB05-31EB-57E61D0F12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504" y="6248188"/>
            <a:ext cx="1843200" cy="316800"/>
          </a:xfrm>
          <a:prstGeom prst="rect">
            <a:avLst/>
          </a:prstGeom>
        </p:spPr>
      </p:pic>
    </p:spTree>
    <p:extLst>
      <p:ext uri="{BB962C8B-B14F-4D97-AF65-F5344CB8AC3E}">
        <p14:creationId xmlns:p14="http://schemas.microsoft.com/office/powerpoint/2010/main" val="38967677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3913">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7_Free Content" preserve="1" userDrawn="1">
  <p:cSld name="7_Free Content">
    <p:spTree>
      <p:nvGrpSpPr>
        <p:cNvPr id="1" name="Shape 44"/>
        <p:cNvGrpSpPr/>
        <p:nvPr/>
      </p:nvGrpSpPr>
      <p:grpSpPr>
        <a:xfrm>
          <a:off x="0" y="0"/>
          <a:ext cx="0" cy="0"/>
          <a:chOff x="0" y="0"/>
          <a:chExt cx="0" cy="0"/>
        </a:xfrm>
      </p:grpSpPr>
    </p:spTree>
    <p:extLst>
      <p:ext uri="{BB962C8B-B14F-4D97-AF65-F5344CB8AC3E}">
        <p14:creationId xmlns:p14="http://schemas.microsoft.com/office/powerpoint/2010/main" val="37146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7_Free Content" preserve="1" userDrawn="1">
  <p:cSld name="8_Free Content">
    <p:spTree>
      <p:nvGrpSpPr>
        <p:cNvPr id="1" name="Shape 44"/>
        <p:cNvGrpSpPr/>
        <p:nvPr/>
      </p:nvGrpSpPr>
      <p:grpSpPr>
        <a:xfrm>
          <a:off x="0" y="0"/>
          <a:ext cx="0" cy="0"/>
          <a:chOff x="0" y="0"/>
          <a:chExt cx="0" cy="0"/>
        </a:xfrm>
      </p:grpSpPr>
      <p:sp>
        <p:nvSpPr>
          <p:cNvPr id="10" name="Text Placeholder 3">
            <a:extLst>
              <a:ext uri="{FF2B5EF4-FFF2-40B4-BE49-F238E27FC236}">
                <a16:creationId xmlns:a16="http://schemas.microsoft.com/office/drawing/2014/main" id="{287D68E1-6054-41A0-9F7E-38209ACC31E6}"/>
              </a:ext>
            </a:extLst>
          </p:cNvPr>
          <p:cNvSpPr>
            <a:spLocks noGrp="1"/>
          </p:cNvSpPr>
          <p:nvPr>
            <p:ph type="body" sz="half" idx="10" hasCustomPrompt="1"/>
          </p:nvPr>
        </p:nvSpPr>
        <p:spPr>
          <a:xfrm>
            <a:off x="504351" y="2060011"/>
            <a:ext cx="6104332" cy="1502340"/>
          </a:xfrm>
          <a:prstGeom prst="rect">
            <a:avLst/>
          </a:prstGeom>
        </p:spPr>
        <p:txBody>
          <a:bodyPr>
            <a:normAutofit/>
          </a:bodyPr>
          <a:lstStyle>
            <a:lvl1pPr marL="0" indent="0">
              <a:spcBef>
                <a:spcPts val="0"/>
              </a:spcBef>
              <a:buNone/>
              <a:defRPr sz="2133" b="0" i="0">
                <a:solidFill>
                  <a:schemeClr val="tx1">
                    <a:lumMod val="75000"/>
                    <a:lumOff val="25000"/>
                  </a:schemeClr>
                </a:solidFill>
                <a:latin typeface="Arial Narrow" panose="020B0604020202020204" pitchFamily="34" charset="0"/>
                <a:cs typeface="Arial Narrow" panose="020B0604020202020204" pitchFamily="34" charset="0"/>
              </a:defRPr>
            </a:lvl1pPr>
            <a:lvl2pPr marL="609570" indent="0">
              <a:buNone/>
              <a:defRPr sz="1867"/>
            </a:lvl2pPr>
            <a:lvl3pPr marL="1219140" indent="0">
              <a:buNone/>
              <a:defRPr sz="1600"/>
            </a:lvl3pPr>
            <a:lvl4pPr marL="1828709" indent="0">
              <a:buNone/>
              <a:defRPr sz="1333"/>
            </a:lvl4pPr>
            <a:lvl5pPr marL="2438278" indent="0">
              <a:buNone/>
              <a:defRPr sz="1333"/>
            </a:lvl5pPr>
            <a:lvl6pPr marL="3047848" indent="0">
              <a:buNone/>
              <a:defRPr sz="1333"/>
            </a:lvl6pPr>
            <a:lvl7pPr marL="3657418" indent="0">
              <a:buNone/>
              <a:defRPr sz="1333"/>
            </a:lvl7pPr>
            <a:lvl8pPr marL="4266987" indent="0">
              <a:buNone/>
              <a:defRPr sz="1333"/>
            </a:lvl8pPr>
            <a:lvl9pPr marL="4876557" indent="0">
              <a:buNone/>
              <a:defRPr sz="1333"/>
            </a:lvl9pPr>
          </a:lstStyle>
          <a:p>
            <a:pPr lvl="0"/>
            <a:r>
              <a:rPr lang="en-CH"/>
              <a:t>Click to add text </a:t>
            </a:r>
            <a:endParaRPr lang="en-GB"/>
          </a:p>
        </p:txBody>
      </p:sp>
      <p:sp>
        <p:nvSpPr>
          <p:cNvPr id="11" name="Google Shape;48;p20">
            <a:extLst>
              <a:ext uri="{FF2B5EF4-FFF2-40B4-BE49-F238E27FC236}">
                <a16:creationId xmlns:a16="http://schemas.microsoft.com/office/drawing/2014/main" id="{233D06C7-442A-4E69-9D20-2D31FDBC308C}"/>
              </a:ext>
            </a:extLst>
          </p:cNvPr>
          <p:cNvSpPr txBox="1"/>
          <p:nvPr userDrawn="1"/>
        </p:nvSpPr>
        <p:spPr>
          <a:xfrm>
            <a:off x="506463" y="4948613"/>
            <a:ext cx="4218919" cy="1600384"/>
          </a:xfrm>
          <a:prstGeom prst="rect">
            <a:avLst/>
          </a:prstGeom>
          <a:noFill/>
          <a:ln>
            <a:noFill/>
          </a:ln>
        </p:spPr>
        <p:txBody>
          <a:bodyPr spcFirstLastPara="1" wrap="square" lIns="121900" tIns="60933" rIns="121900" bIns="60933"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600" b="1" i="0" u="none" strike="noStrike" cap="none">
                <a:solidFill>
                  <a:srgbClr val="5F5D8E"/>
                </a:solidFill>
                <a:latin typeface="Arial Narrow"/>
                <a:ea typeface="Arial Narrow"/>
                <a:cs typeface="Arial Narrow"/>
                <a:sym typeface="Arial Narrow"/>
              </a:rPr>
              <a:t>European Society for Medical Oncology (ESMO)</a:t>
            </a:r>
            <a:endParaRPr sz="1600" b="0" i="0" u="none" strike="noStrike" cap="none">
              <a:solidFill>
                <a:srgbClr val="5F5D8E"/>
              </a:solidFill>
              <a:latin typeface="Arial Narrow"/>
              <a:ea typeface="Arial Narrow"/>
              <a:cs typeface="Arial Narrow"/>
              <a:sym typeface="Arial Narrow"/>
            </a:endParaRPr>
          </a:p>
          <a:p>
            <a:pPr marL="0" marR="0" lvl="0" indent="0" algn="l" rtl="0">
              <a:lnSpc>
                <a:spcPct val="100000"/>
              </a:lnSpc>
              <a:spcBef>
                <a:spcPts val="0"/>
              </a:spcBef>
              <a:spcAft>
                <a:spcPts val="0"/>
              </a:spcAft>
              <a:buClr>
                <a:srgbClr val="000000"/>
              </a:buClr>
              <a:buSzPts val="1200"/>
              <a:buFont typeface="Arial"/>
              <a:buNone/>
            </a:pPr>
            <a:r>
              <a:rPr lang="en-US" sz="1600" b="0" i="0" u="none" strike="noStrike" cap="none">
                <a:solidFill>
                  <a:srgbClr val="5F5D8E"/>
                </a:solidFill>
                <a:latin typeface="Arial Narrow"/>
                <a:ea typeface="Arial Narrow"/>
                <a:cs typeface="Arial Narrow"/>
                <a:sym typeface="Arial Narrow"/>
              </a:rPr>
              <a:t>Via Ginevra 4, CH-6900 Lugano</a:t>
            </a:r>
            <a:br>
              <a:rPr lang="en-US" sz="1600" b="0" i="0" u="none" strike="noStrike" cap="none">
                <a:solidFill>
                  <a:srgbClr val="5F5D8E"/>
                </a:solidFill>
                <a:latin typeface="Arial Narrow"/>
                <a:ea typeface="Arial Narrow"/>
                <a:cs typeface="Arial Narrow"/>
                <a:sym typeface="Arial Narrow"/>
              </a:rPr>
            </a:br>
            <a:r>
              <a:rPr lang="en-US" sz="1600" b="0" i="0" u="none" strike="noStrike" cap="none">
                <a:solidFill>
                  <a:srgbClr val="5F5D8E"/>
                </a:solidFill>
                <a:latin typeface="Arial Narrow"/>
                <a:ea typeface="Arial Narrow"/>
                <a:cs typeface="Arial Narrow"/>
                <a:sym typeface="Arial Narrow"/>
              </a:rPr>
              <a:t>T. +41 (0)91 973 19 00</a:t>
            </a:r>
            <a:br>
              <a:rPr lang="en-US" sz="1600" b="0" i="0" u="none" strike="noStrike" cap="none">
                <a:solidFill>
                  <a:srgbClr val="5F5D8E"/>
                </a:solidFill>
                <a:latin typeface="Arial Narrow"/>
                <a:ea typeface="Arial Narrow"/>
                <a:cs typeface="Arial Narrow"/>
                <a:sym typeface="Arial Narrow"/>
              </a:rPr>
            </a:br>
            <a:r>
              <a:rPr lang="en-US" sz="1600" b="0" i="0" u="none" strike="noStrike" cap="none">
                <a:solidFill>
                  <a:srgbClr val="5F5D8E"/>
                </a:solidFill>
                <a:latin typeface="Arial Narrow"/>
                <a:ea typeface="Arial Narrow"/>
                <a:cs typeface="Arial Narrow"/>
                <a:sym typeface="Arial Narrow"/>
              </a:rPr>
              <a:t>esmo@esmo.org</a:t>
            </a:r>
            <a:br>
              <a:rPr lang="en-US" sz="1600" b="0" i="0" u="none" strike="noStrike" cap="none">
                <a:solidFill>
                  <a:srgbClr val="5F5D8E"/>
                </a:solidFill>
                <a:latin typeface="Arial Narrow"/>
                <a:ea typeface="Arial Narrow"/>
                <a:cs typeface="Arial Narrow"/>
                <a:sym typeface="Arial Narrow"/>
              </a:rPr>
            </a:br>
            <a:endParaRPr sz="1600" b="0" i="0" u="none" strike="noStrike" cap="none">
              <a:solidFill>
                <a:srgbClr val="5F5D8E"/>
              </a:solidFill>
              <a:latin typeface="Arial Narrow"/>
              <a:ea typeface="Arial Narrow"/>
              <a:cs typeface="Arial Narrow"/>
              <a:sym typeface="Arial Narrow"/>
            </a:endParaRPr>
          </a:p>
          <a:p>
            <a:pPr marL="0" marR="0" lvl="0" indent="0" algn="l" rtl="0">
              <a:lnSpc>
                <a:spcPct val="100000"/>
              </a:lnSpc>
              <a:spcBef>
                <a:spcPts val="0"/>
              </a:spcBef>
              <a:spcAft>
                <a:spcPts val="0"/>
              </a:spcAft>
              <a:buClr>
                <a:srgbClr val="000000"/>
              </a:buClr>
              <a:buSzPts val="1200"/>
              <a:buFont typeface="Arial"/>
              <a:buNone/>
            </a:pPr>
            <a:r>
              <a:rPr lang="en-US" sz="1600" b="1" i="0" u="none" strike="noStrike" cap="none">
                <a:solidFill>
                  <a:srgbClr val="5F5D8E"/>
                </a:solidFill>
                <a:latin typeface="Arial Narrow"/>
                <a:ea typeface="Arial Narrow"/>
                <a:cs typeface="Arial Narrow"/>
                <a:sym typeface="Arial Narrow"/>
              </a:rPr>
              <a:t>esmo.org</a:t>
            </a:r>
            <a:endParaRPr sz="1600" b="1" i="0" u="none" strike="noStrike" cap="none">
              <a:solidFill>
                <a:srgbClr val="5F5D8E"/>
              </a:solidFill>
              <a:latin typeface="Arial Narrow"/>
              <a:ea typeface="Arial Narrow"/>
              <a:cs typeface="Arial Narrow"/>
              <a:sym typeface="Arial Narrow"/>
            </a:endParaRPr>
          </a:p>
        </p:txBody>
      </p:sp>
      <p:pic>
        <p:nvPicPr>
          <p:cNvPr id="2" name="Picture 1" descr="Logo&#10;&#10;Description automatically generated">
            <a:extLst>
              <a:ext uri="{FF2B5EF4-FFF2-40B4-BE49-F238E27FC236}">
                <a16:creationId xmlns:a16="http://schemas.microsoft.com/office/drawing/2014/main" id="{CD8CCFD7-15E4-FC5A-FF84-42F24F7CF3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419" y="443048"/>
            <a:ext cx="3381255" cy="581153"/>
          </a:xfrm>
          <a:prstGeom prst="rect">
            <a:avLst/>
          </a:prstGeom>
        </p:spPr>
      </p:pic>
      <p:pic>
        <p:nvPicPr>
          <p:cNvPr id="3" name="Picture 2">
            <a:extLst>
              <a:ext uri="{FF2B5EF4-FFF2-40B4-BE49-F238E27FC236}">
                <a16:creationId xmlns:a16="http://schemas.microsoft.com/office/drawing/2014/main" id="{1986E851-BD39-384D-50D1-FD36E94676B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869373" y="365758"/>
            <a:ext cx="5322627" cy="6490447"/>
          </a:xfrm>
          <a:prstGeom prst="rect">
            <a:avLst/>
          </a:prstGeom>
        </p:spPr>
      </p:pic>
    </p:spTree>
    <p:extLst>
      <p:ext uri="{BB962C8B-B14F-4D97-AF65-F5344CB8AC3E}">
        <p14:creationId xmlns:p14="http://schemas.microsoft.com/office/powerpoint/2010/main" val="5756881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7_Title and List">
    <p:spTree>
      <p:nvGrpSpPr>
        <p:cNvPr id="1" name=""/>
        <p:cNvGrpSpPr/>
        <p:nvPr/>
      </p:nvGrpSpPr>
      <p:grpSpPr>
        <a:xfrm>
          <a:off x="0" y="0"/>
          <a:ext cx="0" cy="0"/>
          <a:chOff x="0" y="0"/>
          <a:chExt cx="0" cy="0"/>
        </a:xfrm>
      </p:grpSpPr>
      <p:pic>
        <p:nvPicPr>
          <p:cNvPr id="8" name="Picture 7" descr="background-slide1.png"/>
          <p:cNvPicPr>
            <a:picLocks noChangeAspect="1"/>
          </p:cNvPicPr>
          <p:nvPr userDrawn="1"/>
        </p:nvPicPr>
        <p:blipFill rotWithShape="1">
          <a:blip r:embed="rId2">
            <a:extLst>
              <a:ext uri="{28A0092B-C50C-407E-A947-70E740481C1C}">
                <a14:useLocalDpi xmlns:a14="http://schemas.microsoft.com/office/drawing/2010/main"/>
              </a:ext>
            </a:extLst>
          </a:blip>
          <a:srcRect l="61179" b="81378"/>
          <a:stretch/>
        </p:blipFill>
        <p:spPr bwMode="auto">
          <a:xfrm>
            <a:off x="8642196" y="3"/>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609600" y="2112965"/>
            <a:ext cx="10982400" cy="4013627"/>
          </a:xfrm>
        </p:spPr>
        <p:txBody>
          <a:bodyPr>
            <a:noAutofit/>
          </a:bodyPr>
          <a:lstStyle/>
          <a:p>
            <a:pPr lvl="0"/>
            <a:r>
              <a:rPr lang="fr-CH"/>
              <a:t>Click to edit Master text styles</a:t>
            </a:r>
          </a:p>
          <a:p>
            <a:pPr lvl="1"/>
            <a:r>
              <a:rPr lang="fr-CH"/>
              <a:t>Second level</a:t>
            </a:r>
          </a:p>
          <a:p>
            <a:pPr lvl="2"/>
            <a:r>
              <a:rPr lang="fr-CH"/>
              <a:t>Third level</a:t>
            </a:r>
            <a:endParaRPr lang="en-US"/>
          </a:p>
        </p:txBody>
      </p:sp>
      <p:sp>
        <p:nvSpPr>
          <p:cNvPr id="7" name="Title 1"/>
          <p:cNvSpPr>
            <a:spLocks noGrp="1"/>
          </p:cNvSpPr>
          <p:nvPr>
            <p:ph type="title"/>
          </p:nvPr>
        </p:nvSpPr>
        <p:spPr>
          <a:xfrm>
            <a:off x="609599" y="550802"/>
            <a:ext cx="8028000" cy="553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a:t>Click to </a:t>
            </a:r>
            <a:r>
              <a:rPr lang="fr-CH" err="1"/>
              <a:t>edit</a:t>
            </a:r>
            <a:r>
              <a:rPr lang="fr-CH"/>
              <a:t> Master </a:t>
            </a:r>
            <a:r>
              <a:rPr lang="fr-CH" err="1"/>
              <a:t>title</a:t>
            </a:r>
            <a:r>
              <a:rPr lang="fr-CH"/>
              <a:t> style</a:t>
            </a:r>
            <a:endParaRPr lang="en-US"/>
          </a:p>
        </p:txBody>
      </p:sp>
      <p:sp>
        <p:nvSpPr>
          <p:cNvPr id="10"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a:t>Click to </a:t>
            </a:r>
            <a:r>
              <a:rPr lang="fr-CH" err="1"/>
              <a:t>edit</a:t>
            </a:r>
            <a:r>
              <a:rPr lang="fr-CH"/>
              <a:t> Master </a:t>
            </a:r>
            <a:r>
              <a:rPr lang="fr-CH" err="1"/>
              <a:t>text</a:t>
            </a:r>
            <a:r>
              <a:rPr lang="fr-CH"/>
              <a:t> styles</a:t>
            </a:r>
          </a:p>
        </p:txBody>
      </p:sp>
      <p:sp>
        <p:nvSpPr>
          <p:cNvPr id="6" name="Slide Number Placeholder 5"/>
          <p:cNvSpPr>
            <a:spLocks noGrp="1"/>
          </p:cNvSpPr>
          <p:nvPr>
            <p:ph type="sldNum" sz="quarter" idx="14"/>
          </p:nvPr>
        </p:nvSpPr>
        <p:spPr/>
        <p:txBody>
          <a:bodyPr/>
          <a:lstStyle>
            <a:lvl1pPr>
              <a:defRPr/>
            </a:lvl1pPr>
          </a:lstStyle>
          <a:p>
            <a:pPr>
              <a:defRPr/>
            </a:pPr>
            <a:fld id="{08D83D96-D520-43E8-9FE3-99F474E31BD7}" type="slidenum">
              <a:rPr lang="en-US" altLang="en-US"/>
              <a:pPr>
                <a:defRPr/>
              </a:pPr>
              <a:t>‹#›</a:t>
            </a:fld>
            <a:endParaRPr lang="en-US" altLang="en-US"/>
          </a:p>
        </p:txBody>
      </p:sp>
      <p:pic>
        <p:nvPicPr>
          <p:cNvPr id="11" name="Picture 10">
            <a:extLst>
              <a:ext uri="{FF2B5EF4-FFF2-40B4-BE49-F238E27FC236}">
                <a16:creationId xmlns:a16="http://schemas.microsoft.com/office/drawing/2014/main" id="{883EBD7B-7DB4-4EBE-A7BA-9702BFCF2F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09581" y="6260285"/>
            <a:ext cx="682463" cy="345600"/>
          </a:xfrm>
          <a:prstGeom prst="rect">
            <a:avLst/>
          </a:prstGeom>
        </p:spPr>
      </p:pic>
      <p:pic>
        <p:nvPicPr>
          <p:cNvPr id="12" name="Picture 6" descr="ESMO_Logo_CMYK.eps">
            <a:extLst>
              <a:ext uri="{FF2B5EF4-FFF2-40B4-BE49-F238E27FC236}">
                <a16:creationId xmlns:a16="http://schemas.microsoft.com/office/drawing/2014/main" id="{B92D6450-9504-4CDD-828C-D18B4BF90AD4}"/>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36828"/>
          <a:stretch/>
        </p:blipFill>
        <p:spPr bwMode="auto">
          <a:xfrm>
            <a:off x="10916577" y="6260287"/>
            <a:ext cx="608351"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107650D8-CA8F-48D4-8EE3-6D96E55A727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549457" y="6260288"/>
            <a:ext cx="540875" cy="368213"/>
          </a:xfrm>
          <a:prstGeom prst="rect">
            <a:avLst/>
          </a:prstGeom>
        </p:spPr>
      </p:pic>
    </p:spTree>
    <p:extLst>
      <p:ext uri="{BB962C8B-B14F-4D97-AF65-F5344CB8AC3E}">
        <p14:creationId xmlns:p14="http://schemas.microsoft.com/office/powerpoint/2010/main" val="18884908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B1A004A1-C6F0-A89D-A8EC-E5BEBC563FF8}"/>
              </a:ext>
            </a:extLst>
          </p:cNvPr>
          <p:cNvSpPr>
            <a:spLocks noGrp="1"/>
          </p:cNvSpPr>
          <p:nvPr>
            <p:ph type="title" hasCustomPrompt="1"/>
          </p:nvPr>
        </p:nvSpPr>
        <p:spPr>
          <a:xfrm>
            <a:off x="237895" y="249925"/>
            <a:ext cx="11716215" cy="556475"/>
          </a:xfrm>
          <a:prstGeom prst="rect">
            <a:avLst/>
          </a:prstGeom>
        </p:spPr>
        <p:txBody>
          <a:bodyPr/>
          <a:lstStyle>
            <a:lvl1pPr>
              <a:defRPr sz="3600" b="1" i="0">
                <a:solidFill>
                  <a:schemeClr val="accent3"/>
                </a:solidFill>
                <a:latin typeface="Arial" panose="020B0604020202020204" pitchFamily="34" charset="0"/>
                <a:cs typeface="Arial" panose="020B0604020202020204" pitchFamily="34" charset="0"/>
              </a:defRPr>
            </a:lvl1pPr>
          </a:lstStyle>
          <a:p>
            <a:r>
              <a:rPr lang="en-GB"/>
              <a:t>Content title here…</a:t>
            </a:r>
            <a:endParaRPr lang="en-US"/>
          </a:p>
        </p:txBody>
      </p:sp>
      <p:sp>
        <p:nvSpPr>
          <p:cNvPr id="12" name="Content Placeholder 2">
            <a:extLst>
              <a:ext uri="{FF2B5EF4-FFF2-40B4-BE49-F238E27FC236}">
                <a16:creationId xmlns:a16="http://schemas.microsoft.com/office/drawing/2014/main" id="{25CE2287-5227-9AD9-D503-7250B2838D48}"/>
              </a:ext>
            </a:extLst>
          </p:cNvPr>
          <p:cNvSpPr>
            <a:spLocks noGrp="1"/>
          </p:cNvSpPr>
          <p:nvPr>
            <p:ph idx="12" hasCustomPrompt="1"/>
          </p:nvPr>
        </p:nvSpPr>
        <p:spPr>
          <a:xfrm>
            <a:off x="237895" y="1002708"/>
            <a:ext cx="11716215" cy="5133201"/>
          </a:xfrm>
          <a:prstGeom prst="rect">
            <a:avLst/>
          </a:prstGeom>
        </p:spPr>
        <p:txBody>
          <a:bodyPr anchor="t">
            <a:normAutofit/>
          </a:bodyPr>
          <a:lstStyle>
            <a:lvl1pPr marL="0" indent="0">
              <a:lnSpc>
                <a:spcPts val="1560"/>
              </a:lnSpc>
              <a:buFontTx/>
              <a:buNone/>
              <a:defRPr sz="1200" b="0" i="0" spc="0">
                <a:solidFill>
                  <a:schemeClr val="accent3"/>
                </a:solidFill>
                <a:latin typeface="Arial" panose="020B0604020202020204" pitchFamily="34" charset="0"/>
                <a:cs typeface="Arial" panose="020B0604020202020204" pitchFamily="34" charset="0"/>
              </a:defRPr>
            </a:lvl1pPr>
            <a:lvl2pPr marL="457178" indent="0">
              <a:buFontTx/>
              <a:buNone/>
              <a:defRPr/>
            </a:lvl2pPr>
            <a:lvl3pPr marL="914354" indent="0">
              <a:buFontTx/>
              <a:buNone/>
              <a:defRPr/>
            </a:lvl3pPr>
            <a:lvl4pPr marL="1371532" indent="0">
              <a:buFontTx/>
              <a:buNone/>
              <a:defRPr/>
            </a:lvl4pPr>
            <a:lvl5pPr marL="1828709" indent="0">
              <a:buFontTx/>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r>
              <a:rPr lang="en-GB" err="1"/>
              <a:t>sint</a:t>
            </a:r>
            <a:r>
              <a:rPr lang="en-GB"/>
              <a:t> </a:t>
            </a:r>
            <a:r>
              <a:rPr lang="en-GB" err="1"/>
              <a:t>occaecat</a:t>
            </a:r>
            <a:r>
              <a:rPr lang="en-GB"/>
              <a:t> </a:t>
            </a:r>
            <a:r>
              <a:rPr lang="en-GB" err="1"/>
              <a:t>cupidatat</a:t>
            </a:r>
            <a:r>
              <a:rPr lang="en-GB"/>
              <a:t> non </a:t>
            </a:r>
            <a:r>
              <a:rPr lang="en-GB" err="1"/>
              <a:t>proident</a:t>
            </a:r>
            <a:r>
              <a:rPr lang="en-GB"/>
              <a:t>, sunt in culpa qui </a:t>
            </a:r>
            <a:r>
              <a:rPr lang="en-GB" err="1"/>
              <a:t>officia</a:t>
            </a:r>
            <a:r>
              <a:rPr lang="en-GB"/>
              <a:t> </a:t>
            </a:r>
            <a:r>
              <a:rPr lang="en-GB" err="1"/>
              <a:t>deserunt</a:t>
            </a:r>
            <a:r>
              <a:rPr lang="en-GB"/>
              <a:t> </a:t>
            </a:r>
            <a:r>
              <a:rPr lang="en-GB" err="1"/>
              <a:t>mollit</a:t>
            </a:r>
            <a:r>
              <a:rPr lang="en-GB"/>
              <a:t> </a:t>
            </a:r>
            <a:r>
              <a:rPr lang="en-GB" err="1"/>
              <a:t>anim</a:t>
            </a:r>
            <a:r>
              <a:rPr lang="en-GB"/>
              <a:t> id </a:t>
            </a:r>
            <a:r>
              <a:rPr lang="en-GB" err="1"/>
              <a:t>est</a:t>
            </a:r>
            <a:r>
              <a:rPr lang="en-GB"/>
              <a:t> </a:t>
            </a:r>
            <a:r>
              <a:rPr lang="en-GB" err="1"/>
              <a:t>laborum</a:t>
            </a:r>
            <a:r>
              <a:rPr lang="en-GB"/>
              <a:t>.</a:t>
            </a:r>
          </a:p>
        </p:txBody>
      </p:sp>
      <p:sp>
        <p:nvSpPr>
          <p:cNvPr id="13" name="Rectangle 12">
            <a:extLst>
              <a:ext uri="{FF2B5EF4-FFF2-40B4-BE49-F238E27FC236}">
                <a16:creationId xmlns:a16="http://schemas.microsoft.com/office/drawing/2014/main" id="{2E78908A-4067-7BF5-A649-0B6042B96205}"/>
              </a:ext>
            </a:extLst>
          </p:cNvPr>
          <p:cNvSpPr/>
          <p:nvPr userDrawn="1"/>
        </p:nvSpPr>
        <p:spPr>
          <a:xfrm>
            <a:off x="0" y="6135907"/>
            <a:ext cx="12192000" cy="72209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Content Placeholder 2">
            <a:extLst>
              <a:ext uri="{FF2B5EF4-FFF2-40B4-BE49-F238E27FC236}">
                <a16:creationId xmlns:a16="http://schemas.microsoft.com/office/drawing/2014/main" id="{C3790825-C0D3-EAE3-996B-7C5F48B1A0CB}"/>
              </a:ext>
            </a:extLst>
          </p:cNvPr>
          <p:cNvSpPr>
            <a:spLocks noGrp="1"/>
          </p:cNvSpPr>
          <p:nvPr>
            <p:ph idx="13" hasCustomPrompt="1"/>
          </p:nvPr>
        </p:nvSpPr>
        <p:spPr>
          <a:xfrm>
            <a:off x="237895" y="6194069"/>
            <a:ext cx="11716215" cy="620529"/>
          </a:xfrm>
          <a:prstGeom prst="rect">
            <a:avLst/>
          </a:prstGeom>
        </p:spPr>
        <p:txBody>
          <a:bodyPr anchor="ctr">
            <a:normAutofit/>
          </a:bodyPr>
          <a:lstStyle>
            <a:lvl1pPr marL="0" indent="0">
              <a:lnSpc>
                <a:spcPts val="1560"/>
              </a:lnSpc>
              <a:buFontTx/>
              <a:buNone/>
              <a:defRPr sz="1000" b="0" i="0" spc="0">
                <a:solidFill>
                  <a:schemeClr val="bg1"/>
                </a:solidFill>
                <a:latin typeface="Arial" panose="020B0604020202020204" pitchFamily="34" charset="0"/>
                <a:cs typeface="Arial" panose="020B0604020202020204" pitchFamily="34" charset="0"/>
              </a:defRPr>
            </a:lvl1pPr>
            <a:lvl2pPr marL="457178" indent="0">
              <a:buFontTx/>
              <a:buNone/>
              <a:defRPr/>
            </a:lvl2pPr>
            <a:lvl3pPr marL="914354" indent="0">
              <a:buFontTx/>
              <a:buNone/>
              <a:defRPr/>
            </a:lvl3pPr>
            <a:lvl4pPr marL="1371532" indent="0">
              <a:buFontTx/>
              <a:buNone/>
              <a:defRPr/>
            </a:lvl4pPr>
            <a:lvl5pPr marL="1828709" indent="0">
              <a:buFontTx/>
              <a:buNone/>
              <a:defRPr/>
            </a:lvl5pPr>
          </a:lstStyle>
          <a:p>
            <a:pPr lvl="0"/>
            <a:r>
              <a:rPr lang="en-GB"/>
              <a:t>References here…</a:t>
            </a:r>
          </a:p>
        </p:txBody>
      </p:sp>
      <p:sp>
        <p:nvSpPr>
          <p:cNvPr id="17" name="Freeform 16">
            <a:extLst>
              <a:ext uri="{FF2B5EF4-FFF2-40B4-BE49-F238E27FC236}">
                <a16:creationId xmlns:a16="http://schemas.microsoft.com/office/drawing/2014/main" id="{0D5EFD13-DE03-E8BF-FD99-311F196A5C71}"/>
              </a:ext>
            </a:extLst>
          </p:cNvPr>
          <p:cNvSpPr/>
          <p:nvPr userDrawn="1"/>
        </p:nvSpPr>
        <p:spPr>
          <a:xfrm>
            <a:off x="3" y="6393288"/>
            <a:ext cx="103647" cy="207293"/>
          </a:xfrm>
          <a:custGeom>
            <a:avLst/>
            <a:gdLst>
              <a:gd name="connsiteX0" fmla="*/ 0 w 242863"/>
              <a:gd name="connsiteY0" fmla="*/ 0 h 485726"/>
              <a:gd name="connsiteX1" fmla="*/ 242863 w 242863"/>
              <a:gd name="connsiteY1" fmla="*/ 242863 h 485726"/>
              <a:gd name="connsiteX2" fmla="*/ 0 w 242863"/>
              <a:gd name="connsiteY2" fmla="*/ 485726 h 485726"/>
              <a:gd name="connsiteX3" fmla="*/ 0 w 242863"/>
              <a:gd name="connsiteY3" fmla="*/ 0 h 485726"/>
            </a:gdLst>
            <a:ahLst/>
            <a:cxnLst>
              <a:cxn ang="0">
                <a:pos x="connsiteX0" y="connsiteY0"/>
              </a:cxn>
              <a:cxn ang="0">
                <a:pos x="connsiteX1" y="connsiteY1"/>
              </a:cxn>
              <a:cxn ang="0">
                <a:pos x="connsiteX2" y="connsiteY2"/>
              </a:cxn>
              <a:cxn ang="0">
                <a:pos x="connsiteX3" y="connsiteY3"/>
              </a:cxn>
            </a:cxnLst>
            <a:rect l="l" t="t" r="r" b="b"/>
            <a:pathLst>
              <a:path w="242863" h="485726">
                <a:moveTo>
                  <a:pt x="0" y="0"/>
                </a:moveTo>
                <a:cubicBezTo>
                  <a:pt x="134130" y="0"/>
                  <a:pt x="242863" y="108733"/>
                  <a:pt x="242863" y="242863"/>
                </a:cubicBezTo>
                <a:cubicBezTo>
                  <a:pt x="242863" y="376993"/>
                  <a:pt x="134130" y="485726"/>
                  <a:pt x="0" y="485726"/>
                </a:cubicBezTo>
                <a:lnTo>
                  <a:pt x="0" y="0"/>
                </a:ln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Tree>
    <p:extLst>
      <p:ext uri="{BB962C8B-B14F-4D97-AF65-F5344CB8AC3E}">
        <p14:creationId xmlns:p14="http://schemas.microsoft.com/office/powerpoint/2010/main" val="2577839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B1A004A1-C6F0-A89D-A8EC-E5BEBC563FF8}"/>
              </a:ext>
            </a:extLst>
          </p:cNvPr>
          <p:cNvSpPr>
            <a:spLocks noGrp="1"/>
          </p:cNvSpPr>
          <p:nvPr>
            <p:ph type="title" hasCustomPrompt="1"/>
          </p:nvPr>
        </p:nvSpPr>
        <p:spPr>
          <a:xfrm>
            <a:off x="237895" y="249925"/>
            <a:ext cx="11716215" cy="556475"/>
          </a:xfrm>
          <a:prstGeom prst="rect">
            <a:avLst/>
          </a:prstGeom>
        </p:spPr>
        <p:txBody>
          <a:bodyPr/>
          <a:lstStyle>
            <a:lvl1pPr>
              <a:defRPr sz="3600" b="1" i="0">
                <a:solidFill>
                  <a:srgbClr val="402E56"/>
                </a:solidFill>
                <a:latin typeface="Arial" panose="020B0604020202020204" pitchFamily="34" charset="0"/>
                <a:cs typeface="Arial" panose="020B0604020202020204" pitchFamily="34" charset="0"/>
              </a:defRPr>
            </a:lvl1pPr>
          </a:lstStyle>
          <a:p>
            <a:r>
              <a:rPr lang="en-GB"/>
              <a:t>Content title here…</a:t>
            </a:r>
            <a:endParaRPr lang="en-US"/>
          </a:p>
        </p:txBody>
      </p:sp>
      <p:sp>
        <p:nvSpPr>
          <p:cNvPr id="12" name="Content Placeholder 2">
            <a:extLst>
              <a:ext uri="{FF2B5EF4-FFF2-40B4-BE49-F238E27FC236}">
                <a16:creationId xmlns:a16="http://schemas.microsoft.com/office/drawing/2014/main" id="{25CE2287-5227-9AD9-D503-7250B2838D48}"/>
              </a:ext>
            </a:extLst>
          </p:cNvPr>
          <p:cNvSpPr>
            <a:spLocks noGrp="1"/>
          </p:cNvSpPr>
          <p:nvPr>
            <p:ph idx="12" hasCustomPrompt="1"/>
          </p:nvPr>
        </p:nvSpPr>
        <p:spPr>
          <a:xfrm>
            <a:off x="237895" y="1002708"/>
            <a:ext cx="11716215" cy="5133201"/>
          </a:xfrm>
          <a:prstGeom prst="rect">
            <a:avLst/>
          </a:prstGeom>
        </p:spPr>
        <p:txBody>
          <a:bodyPr anchor="t">
            <a:normAutofit/>
          </a:bodyPr>
          <a:lstStyle>
            <a:lvl1pPr marL="0" indent="0">
              <a:lnSpc>
                <a:spcPts val="1560"/>
              </a:lnSpc>
              <a:buFontTx/>
              <a:buNone/>
              <a:defRPr sz="1200" b="0" i="0" spc="0">
                <a:solidFill>
                  <a:schemeClr val="accent4"/>
                </a:solidFill>
                <a:latin typeface="Arial" panose="020B0604020202020204" pitchFamily="34" charset="0"/>
                <a:cs typeface="Arial" panose="020B0604020202020204" pitchFamily="34" charset="0"/>
              </a:defRPr>
            </a:lvl1pPr>
            <a:lvl2pPr marL="457178" indent="0">
              <a:buFontTx/>
              <a:buNone/>
              <a:defRPr/>
            </a:lvl2pPr>
            <a:lvl3pPr marL="914354" indent="0">
              <a:buFontTx/>
              <a:buNone/>
              <a:defRPr/>
            </a:lvl3pPr>
            <a:lvl4pPr marL="1371532" indent="0">
              <a:buFontTx/>
              <a:buNone/>
              <a:defRPr/>
            </a:lvl4pPr>
            <a:lvl5pPr marL="1828709" indent="0">
              <a:buFontTx/>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r>
              <a:rPr lang="en-GB" err="1"/>
              <a:t>sint</a:t>
            </a:r>
            <a:r>
              <a:rPr lang="en-GB"/>
              <a:t> </a:t>
            </a:r>
            <a:r>
              <a:rPr lang="en-GB" err="1"/>
              <a:t>occaecat</a:t>
            </a:r>
            <a:r>
              <a:rPr lang="en-GB"/>
              <a:t> </a:t>
            </a:r>
            <a:r>
              <a:rPr lang="en-GB" err="1"/>
              <a:t>cupidatat</a:t>
            </a:r>
            <a:r>
              <a:rPr lang="en-GB"/>
              <a:t> non </a:t>
            </a:r>
            <a:r>
              <a:rPr lang="en-GB" err="1"/>
              <a:t>proident</a:t>
            </a:r>
            <a:r>
              <a:rPr lang="en-GB"/>
              <a:t>, sunt in culpa qui </a:t>
            </a:r>
            <a:r>
              <a:rPr lang="en-GB" err="1"/>
              <a:t>officia</a:t>
            </a:r>
            <a:r>
              <a:rPr lang="en-GB"/>
              <a:t> </a:t>
            </a:r>
            <a:r>
              <a:rPr lang="en-GB" err="1"/>
              <a:t>deserunt</a:t>
            </a:r>
            <a:r>
              <a:rPr lang="en-GB"/>
              <a:t> </a:t>
            </a:r>
            <a:r>
              <a:rPr lang="en-GB" err="1"/>
              <a:t>mollit</a:t>
            </a:r>
            <a:r>
              <a:rPr lang="en-GB"/>
              <a:t> </a:t>
            </a:r>
            <a:r>
              <a:rPr lang="en-GB" err="1"/>
              <a:t>anim</a:t>
            </a:r>
            <a:r>
              <a:rPr lang="en-GB"/>
              <a:t> id </a:t>
            </a:r>
            <a:r>
              <a:rPr lang="en-GB" err="1"/>
              <a:t>est</a:t>
            </a:r>
            <a:r>
              <a:rPr lang="en-GB"/>
              <a:t> </a:t>
            </a:r>
            <a:r>
              <a:rPr lang="en-GB" err="1"/>
              <a:t>laborum</a:t>
            </a:r>
            <a:r>
              <a:rPr lang="en-GB"/>
              <a:t>.</a:t>
            </a:r>
          </a:p>
        </p:txBody>
      </p:sp>
      <p:sp>
        <p:nvSpPr>
          <p:cNvPr id="13" name="Rectangle 12">
            <a:extLst>
              <a:ext uri="{FF2B5EF4-FFF2-40B4-BE49-F238E27FC236}">
                <a16:creationId xmlns:a16="http://schemas.microsoft.com/office/drawing/2014/main" id="{2E78908A-4067-7BF5-A649-0B6042B96205}"/>
              </a:ext>
            </a:extLst>
          </p:cNvPr>
          <p:cNvSpPr/>
          <p:nvPr userDrawn="1"/>
        </p:nvSpPr>
        <p:spPr>
          <a:xfrm>
            <a:off x="0" y="5855297"/>
            <a:ext cx="12192000" cy="1002705"/>
          </a:xfrm>
          <a:prstGeom prst="rect">
            <a:avLst/>
          </a:prstGeom>
          <a:solidFill>
            <a:srgbClr val="402E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Content Placeholder 2">
            <a:extLst>
              <a:ext uri="{FF2B5EF4-FFF2-40B4-BE49-F238E27FC236}">
                <a16:creationId xmlns:a16="http://schemas.microsoft.com/office/drawing/2014/main" id="{C3790825-C0D3-EAE3-996B-7C5F48B1A0CB}"/>
              </a:ext>
            </a:extLst>
          </p:cNvPr>
          <p:cNvSpPr>
            <a:spLocks noGrp="1"/>
          </p:cNvSpPr>
          <p:nvPr>
            <p:ph idx="13" hasCustomPrompt="1"/>
          </p:nvPr>
        </p:nvSpPr>
        <p:spPr>
          <a:xfrm>
            <a:off x="237895" y="5727703"/>
            <a:ext cx="11716215" cy="1086895"/>
          </a:xfrm>
          <a:prstGeom prst="rect">
            <a:avLst/>
          </a:prstGeom>
        </p:spPr>
        <p:txBody>
          <a:bodyPr anchor="ctr">
            <a:normAutofit/>
          </a:bodyPr>
          <a:lstStyle>
            <a:lvl1pPr marL="0" indent="0">
              <a:lnSpc>
                <a:spcPct val="100000"/>
              </a:lnSpc>
              <a:buFontTx/>
              <a:buNone/>
              <a:defRPr sz="1000" b="0" i="0" spc="0">
                <a:solidFill>
                  <a:schemeClr val="bg1"/>
                </a:solidFill>
                <a:latin typeface="Arial" panose="020B0604020202020204" pitchFamily="34" charset="0"/>
                <a:cs typeface="Arial" panose="020B0604020202020204" pitchFamily="34" charset="0"/>
              </a:defRPr>
            </a:lvl1pPr>
            <a:lvl2pPr marL="457178" indent="0">
              <a:buFontTx/>
              <a:buNone/>
              <a:defRPr/>
            </a:lvl2pPr>
            <a:lvl3pPr marL="914354" indent="0">
              <a:buFontTx/>
              <a:buNone/>
              <a:defRPr/>
            </a:lvl3pPr>
            <a:lvl4pPr marL="1371532" indent="0">
              <a:buFontTx/>
              <a:buNone/>
              <a:defRPr/>
            </a:lvl4pPr>
            <a:lvl5pPr marL="1828709" indent="0">
              <a:buFontTx/>
              <a:buNone/>
              <a:defRPr/>
            </a:lvl5pPr>
          </a:lstStyle>
          <a:p>
            <a:pPr lvl="0"/>
            <a:r>
              <a:rPr lang="en-GB"/>
              <a:t>References here…</a:t>
            </a:r>
          </a:p>
        </p:txBody>
      </p:sp>
      <p:sp>
        <p:nvSpPr>
          <p:cNvPr id="17" name="Freeform 16">
            <a:extLst>
              <a:ext uri="{FF2B5EF4-FFF2-40B4-BE49-F238E27FC236}">
                <a16:creationId xmlns:a16="http://schemas.microsoft.com/office/drawing/2014/main" id="{0D5EFD13-DE03-E8BF-FD99-311F196A5C71}"/>
              </a:ext>
            </a:extLst>
          </p:cNvPr>
          <p:cNvSpPr/>
          <p:nvPr userDrawn="1"/>
        </p:nvSpPr>
        <p:spPr>
          <a:xfrm>
            <a:off x="3" y="6253588"/>
            <a:ext cx="103647" cy="207293"/>
          </a:xfrm>
          <a:custGeom>
            <a:avLst/>
            <a:gdLst>
              <a:gd name="connsiteX0" fmla="*/ 0 w 242863"/>
              <a:gd name="connsiteY0" fmla="*/ 0 h 485726"/>
              <a:gd name="connsiteX1" fmla="*/ 242863 w 242863"/>
              <a:gd name="connsiteY1" fmla="*/ 242863 h 485726"/>
              <a:gd name="connsiteX2" fmla="*/ 0 w 242863"/>
              <a:gd name="connsiteY2" fmla="*/ 485726 h 485726"/>
              <a:gd name="connsiteX3" fmla="*/ 0 w 242863"/>
              <a:gd name="connsiteY3" fmla="*/ 0 h 485726"/>
            </a:gdLst>
            <a:ahLst/>
            <a:cxnLst>
              <a:cxn ang="0">
                <a:pos x="connsiteX0" y="connsiteY0"/>
              </a:cxn>
              <a:cxn ang="0">
                <a:pos x="connsiteX1" y="connsiteY1"/>
              </a:cxn>
              <a:cxn ang="0">
                <a:pos x="connsiteX2" y="connsiteY2"/>
              </a:cxn>
              <a:cxn ang="0">
                <a:pos x="connsiteX3" y="connsiteY3"/>
              </a:cxn>
            </a:cxnLst>
            <a:rect l="l" t="t" r="r" b="b"/>
            <a:pathLst>
              <a:path w="242863" h="485726">
                <a:moveTo>
                  <a:pt x="0" y="0"/>
                </a:moveTo>
                <a:cubicBezTo>
                  <a:pt x="134130" y="0"/>
                  <a:pt x="242863" y="108733"/>
                  <a:pt x="242863" y="242863"/>
                </a:cubicBezTo>
                <a:cubicBezTo>
                  <a:pt x="242863" y="376993"/>
                  <a:pt x="134130" y="485726"/>
                  <a:pt x="0" y="485726"/>
                </a:cubicBezTo>
                <a:lnTo>
                  <a:pt x="0" y="0"/>
                </a:ln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Tree>
    <p:extLst>
      <p:ext uri="{BB962C8B-B14F-4D97-AF65-F5344CB8AC3E}">
        <p14:creationId xmlns:p14="http://schemas.microsoft.com/office/powerpoint/2010/main" val="3013232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3" y="1651000"/>
            <a:ext cx="11213019" cy="4345253"/>
          </a:xfrm>
          <a:prstGeom prst="rect">
            <a:avLst/>
          </a:prstGeom>
        </p:spPr>
        <p:txBody>
          <a:bodyPr>
            <a:noAutofit/>
          </a:bodyPr>
          <a:lstStyle>
            <a:lvl1pPr marL="0" indent="0">
              <a:buNone/>
              <a:defRPr sz="2133" baseline="0">
                <a:solidFill>
                  <a:schemeClr val="tx1">
                    <a:lumMod val="65000"/>
                    <a:lumOff val="35000"/>
                  </a:schemeClr>
                </a:solidFill>
              </a:defRPr>
            </a:lvl1pPr>
          </a:lstStyle>
          <a:p>
            <a:pPr lvl="0"/>
            <a:r>
              <a:rPr lang="en-US"/>
              <a:t>Click to edit Master text style</a:t>
            </a:r>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285747"/>
            <a:ext cx="11213020" cy="576000"/>
          </a:xfrm>
          <a:prstGeom prst="rect">
            <a:avLst/>
          </a:prstGeom>
        </p:spPr>
        <p:txBody>
          <a:bodyPr anchor="t">
            <a:noAutofit/>
          </a:bodyPr>
          <a:lstStyle>
            <a:lvl1pPr algn="l">
              <a:lnSpc>
                <a:spcPct val="80000"/>
              </a:lnSpc>
              <a:defRPr sz="3200" b="1" i="0" cap="all">
                <a:solidFill>
                  <a:srgbClr val="991F6D"/>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861747"/>
            <a:ext cx="11213020" cy="600000"/>
          </a:xfrm>
          <a:prstGeom prst="rect">
            <a:avLst/>
          </a:prstGeom>
        </p:spPr>
        <p:txBody>
          <a:bodyPr anchor="t">
            <a:noAutofit/>
          </a:bodyPr>
          <a:lstStyle>
            <a:lvl1pPr marL="0" indent="0" algn="l">
              <a:buNone/>
              <a:defRPr sz="2400">
                <a:solidFill>
                  <a:srgbClr val="991F6D"/>
                </a:solidFill>
                <a:latin typeface="+mn-lt"/>
                <a:cs typeface="Arial Narrow"/>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en-US"/>
              <a:t>Click to edit Master subtitle style</a:t>
            </a:r>
          </a:p>
        </p:txBody>
      </p:sp>
      <p:sp>
        <p:nvSpPr>
          <p:cNvPr id="12" name="TextBox 4">
            <a:extLst>
              <a:ext uri="{FF2B5EF4-FFF2-40B4-BE49-F238E27FC236}">
                <a16:creationId xmlns:a16="http://schemas.microsoft.com/office/drawing/2014/main" id="{71211730-CDF2-47C8-A380-2BCC4EAC1772}"/>
              </a:ext>
            </a:extLst>
          </p:cNvPr>
          <p:cNvSpPr txBox="1"/>
          <p:nvPr userDrawn="1"/>
        </p:nvSpPr>
        <p:spPr>
          <a:xfrm>
            <a:off x="610785" y="6551190"/>
            <a:ext cx="6270219" cy="184666"/>
          </a:xfrm>
          <a:prstGeom prst="rect">
            <a:avLst/>
          </a:prstGeom>
          <a:noFill/>
        </p:spPr>
        <p:txBody>
          <a:bodyPr wrap="square" lIns="0" tIns="0" rIns="0" bIns="0" rtlCol="0" anchor="b" anchorCtr="0">
            <a:spAutoFit/>
          </a:bodyPr>
          <a:lstStyle/>
          <a:p>
            <a:pPr marL="0" marR="0" lvl="0" indent="0" algn="l" defTabSz="121911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D7127F"/>
                </a:solidFill>
                <a:effectLst/>
                <a:latin typeface="Arial Narrow" panose="020B0604020202020204" pitchFamily="34" charset="0"/>
                <a:cs typeface="Arial Narrow" panose="020B0604020202020204" pitchFamily="34" charset="0"/>
              </a:rPr>
              <a:t>Content of this presentation is copyright</a:t>
            </a:r>
            <a:r>
              <a:rPr lang="en-CH" sz="1200" b="0" i="0">
                <a:solidFill>
                  <a:srgbClr val="D7127F"/>
                </a:solidFill>
                <a:effectLst/>
                <a:latin typeface="Arial Narrow" panose="020B0604020202020204" pitchFamily="34" charset="0"/>
                <a:cs typeface="Arial Narrow" panose="020B0604020202020204" pitchFamily="34" charset="0"/>
              </a:rPr>
              <a:t> </a:t>
            </a:r>
            <a:r>
              <a:rPr lang="en-US" sz="1200" b="0" i="0">
                <a:solidFill>
                  <a:srgbClr val="D7127F"/>
                </a:solidFill>
                <a:effectLst/>
                <a:latin typeface="Arial Narrow" panose="020B0604020202020204" pitchFamily="34" charset="0"/>
                <a:cs typeface="Arial Narrow" panose="020B0604020202020204" pitchFamily="34" charset="0"/>
              </a:rPr>
              <a:t>and responsibility of the author. Permission is required for re-use</a:t>
            </a:r>
            <a:r>
              <a:rPr lang="en-CH" sz="1200" b="0" i="0">
                <a:solidFill>
                  <a:srgbClr val="D7127F"/>
                </a:solidFill>
                <a:effectLst/>
                <a:latin typeface="Arial Narrow" panose="020B0604020202020204" pitchFamily="34" charset="0"/>
                <a:cs typeface="Arial Narrow" panose="020B0604020202020204" pitchFamily="34" charset="0"/>
              </a:rPr>
              <a:t>.</a:t>
            </a:r>
            <a:endParaRPr lang="en-US" sz="1200" b="0" i="0">
              <a:solidFill>
                <a:srgbClr val="D7127F"/>
              </a:solidFill>
              <a:effectLst/>
              <a:latin typeface="Arial Narrow" panose="020B0604020202020204" pitchFamily="34" charset="0"/>
              <a:cs typeface="Arial Narrow" panose="020B0604020202020204" pitchFamily="34" charset="0"/>
            </a:endParaRPr>
          </a:p>
        </p:txBody>
      </p:sp>
      <p:sp>
        <p:nvSpPr>
          <p:cNvPr id="14" name="Espace réservé du texte 3">
            <a:extLst>
              <a:ext uri="{FF2B5EF4-FFF2-40B4-BE49-F238E27FC236}">
                <a16:creationId xmlns:a16="http://schemas.microsoft.com/office/drawing/2014/main" id="{A7C2793A-08E8-4EC6-88E0-377E2EBD5848}"/>
              </a:ext>
            </a:extLst>
          </p:cNvPr>
          <p:cNvSpPr>
            <a:spLocks noGrp="1"/>
          </p:cNvSpPr>
          <p:nvPr>
            <p:ph type="body" sz="quarter" idx="14" hasCustomPrompt="1"/>
          </p:nvPr>
        </p:nvSpPr>
        <p:spPr>
          <a:xfrm>
            <a:off x="4756225" y="6216656"/>
            <a:ext cx="2538679" cy="234949"/>
          </a:xfrm>
          <a:prstGeom prst="rect">
            <a:avLst/>
          </a:prstGeom>
        </p:spPr>
        <p:txBody>
          <a:bodyPr lIns="0" bIns="0" anchor="b" anchorCtr="0"/>
          <a:lstStyle>
            <a:lvl1pPr marL="0" indent="0">
              <a:buNone/>
              <a:defRPr sz="1200" b="0" i="0" spc="0">
                <a:solidFill>
                  <a:srgbClr val="D7127F"/>
                </a:solidFill>
                <a:latin typeface="Arial Narrow" panose="020B0604020202020204" pitchFamily="34" charset="0"/>
                <a:cs typeface="Arial Narrow" panose="020B0604020202020204" pitchFamily="34" charset="0"/>
              </a:defRPr>
            </a:lvl1pPr>
          </a:lstStyle>
          <a:p>
            <a:pPr lvl="0"/>
            <a:r>
              <a:rPr lang="fr-FR" dirty="0"/>
              <a:t>Isabelle </a:t>
            </a:r>
            <a:r>
              <a:rPr lang="fr-FR" dirty="0" err="1"/>
              <a:t>Ray-Coquard</a:t>
            </a:r>
            <a:endParaRPr lang="fr-FR" dirty="0"/>
          </a:p>
        </p:txBody>
      </p:sp>
      <p:pic>
        <p:nvPicPr>
          <p:cNvPr id="15" name="Picture 14">
            <a:extLst>
              <a:ext uri="{FF2B5EF4-FFF2-40B4-BE49-F238E27FC236}">
                <a16:creationId xmlns:a16="http://schemas.microsoft.com/office/drawing/2014/main" id="{1CCC44DE-5F35-4B24-9906-95E56C6947B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24421" y="6216657"/>
            <a:ext cx="3586577" cy="249209"/>
          </a:xfrm>
          <a:prstGeom prst="rect">
            <a:avLst/>
          </a:prstGeom>
        </p:spPr>
      </p:pic>
    </p:spTree>
    <p:extLst>
      <p:ext uri="{BB962C8B-B14F-4D97-AF65-F5344CB8AC3E}">
        <p14:creationId xmlns:p14="http://schemas.microsoft.com/office/powerpoint/2010/main" val="2334840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
          <p15:clr>
            <a:srgbClr val="FBAE40"/>
          </p15:clr>
        </p15:guide>
        <p15:guide id="2" pos="393">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5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3" y="1651000"/>
            <a:ext cx="11213019" cy="4345253"/>
          </a:xfrm>
          <a:prstGeom prst="rect">
            <a:avLst/>
          </a:prstGeom>
        </p:spPr>
        <p:txBody>
          <a:bodyPr>
            <a:noAutofit/>
          </a:bodyPr>
          <a:lstStyle>
            <a:lvl1pPr marL="0" indent="0">
              <a:buNone/>
              <a:defRPr sz="2133" baseline="0">
                <a:solidFill>
                  <a:schemeClr val="tx1">
                    <a:lumMod val="65000"/>
                    <a:lumOff val="35000"/>
                  </a:schemeClr>
                </a:solidFill>
              </a:defRPr>
            </a:lvl1pPr>
          </a:lstStyle>
          <a:p>
            <a:pPr lvl="0"/>
            <a:r>
              <a:rPr lang="en-US"/>
              <a:t>Click to edit Master text style</a:t>
            </a:r>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285747"/>
            <a:ext cx="11213020" cy="576000"/>
          </a:xfrm>
          <a:prstGeom prst="rect">
            <a:avLst/>
          </a:prstGeom>
        </p:spPr>
        <p:txBody>
          <a:bodyPr anchor="t">
            <a:noAutofit/>
          </a:bodyPr>
          <a:lstStyle>
            <a:lvl1pPr algn="l">
              <a:lnSpc>
                <a:spcPct val="80000"/>
              </a:lnSpc>
              <a:defRPr sz="3200" b="1" i="0" cap="all">
                <a:solidFill>
                  <a:srgbClr val="991F6D"/>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861747"/>
            <a:ext cx="11213020" cy="600000"/>
          </a:xfrm>
          <a:prstGeom prst="rect">
            <a:avLst/>
          </a:prstGeom>
        </p:spPr>
        <p:txBody>
          <a:bodyPr anchor="t">
            <a:noAutofit/>
          </a:bodyPr>
          <a:lstStyle>
            <a:lvl1pPr marL="0" indent="0" algn="l">
              <a:buNone/>
              <a:defRPr sz="2400">
                <a:solidFill>
                  <a:srgbClr val="991F6D"/>
                </a:solidFill>
                <a:latin typeface="+mn-lt"/>
                <a:cs typeface="Arial Narrow"/>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en-US"/>
              <a:t>Click to edit Master subtitle style</a:t>
            </a:r>
          </a:p>
        </p:txBody>
      </p:sp>
      <p:pic>
        <p:nvPicPr>
          <p:cNvPr id="15" name="Picture 14">
            <a:extLst>
              <a:ext uri="{FF2B5EF4-FFF2-40B4-BE49-F238E27FC236}">
                <a16:creationId xmlns:a16="http://schemas.microsoft.com/office/drawing/2014/main" id="{1CCC44DE-5F35-4B24-9906-95E56C6947B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24421" y="6216657"/>
            <a:ext cx="3586577" cy="249209"/>
          </a:xfrm>
          <a:prstGeom prst="rect">
            <a:avLst/>
          </a:prstGeom>
        </p:spPr>
      </p:pic>
    </p:spTree>
    <p:extLst>
      <p:ext uri="{BB962C8B-B14F-4D97-AF65-F5344CB8AC3E}">
        <p14:creationId xmlns:p14="http://schemas.microsoft.com/office/powerpoint/2010/main" val="17586851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
          <p15:clr>
            <a:srgbClr val="FBAE40"/>
          </p15:clr>
        </p15:guide>
        <p15:guide id="2" pos="393">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2" name="Titre 1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3846159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2179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Titre - contenu">
    <p:spTree>
      <p:nvGrpSpPr>
        <p:cNvPr id="1" name=""/>
        <p:cNvGrpSpPr/>
        <p:nvPr/>
      </p:nvGrpSpPr>
      <p:grpSpPr>
        <a:xfrm>
          <a:off x="0" y="0"/>
          <a:ext cx="0" cy="0"/>
          <a:chOff x="0" y="0"/>
          <a:chExt cx="0" cy="0"/>
        </a:xfrm>
      </p:grpSpPr>
      <p:sp>
        <p:nvSpPr>
          <p:cNvPr id="10" name="Cadre 9">
            <a:extLst>
              <a:ext uri="{FF2B5EF4-FFF2-40B4-BE49-F238E27FC236}">
                <a16:creationId xmlns:a16="http://schemas.microsoft.com/office/drawing/2014/main" id="{36930F1B-7F89-4F9A-8ED3-0ECD6568B988}"/>
              </a:ext>
            </a:extLst>
          </p:cNvPr>
          <p:cNvSpPr/>
          <p:nvPr/>
        </p:nvSpPr>
        <p:spPr>
          <a:xfrm>
            <a:off x="1" y="0"/>
            <a:ext cx="12192000" cy="6858000"/>
          </a:xfrm>
          <a:prstGeom prst="frame">
            <a:avLst>
              <a:gd name="adj1" fmla="val 2729"/>
            </a:avLst>
          </a:prstGeom>
          <a:solidFill>
            <a:srgbClr val="2B9BB0"/>
          </a:solidFill>
          <a:ln w="0" cap="flat" cmpd="sng" algn="ctr">
            <a:noFill/>
            <a:prstDash val="solid"/>
            <a:round/>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fr-FR" sz="1800" dirty="0">
              <a:solidFill>
                <a:schemeClr val="tx1"/>
              </a:solidFill>
            </a:endParaRPr>
          </a:p>
        </p:txBody>
      </p:sp>
      <p:sp>
        <p:nvSpPr>
          <p:cNvPr id="16" name="Espace réservé du texte 15">
            <a:extLst>
              <a:ext uri="{FF2B5EF4-FFF2-40B4-BE49-F238E27FC236}">
                <a16:creationId xmlns:a16="http://schemas.microsoft.com/office/drawing/2014/main" id="{9673F7FA-EC45-443C-9DFF-4111549F2CE9}"/>
              </a:ext>
            </a:extLst>
          </p:cNvPr>
          <p:cNvSpPr>
            <a:spLocks noGrp="1"/>
          </p:cNvSpPr>
          <p:nvPr>
            <p:ph type="body" sz="quarter" idx="11" hasCustomPrompt="1"/>
          </p:nvPr>
        </p:nvSpPr>
        <p:spPr>
          <a:xfrm>
            <a:off x="573579" y="1970117"/>
            <a:ext cx="11008823" cy="3671875"/>
          </a:xfrm>
          <a:prstGeom prst="rect">
            <a:avLst/>
          </a:prstGeom>
        </p:spPr>
        <p:txBody>
          <a:bodyPr/>
          <a:lstStyle>
            <a:lvl1pPr>
              <a:defRPr sz="2800">
                <a:solidFill>
                  <a:srgbClr val="744995"/>
                </a:solidFill>
              </a:defRPr>
            </a:lvl1pPr>
          </a:lstStyle>
          <a:p>
            <a:pPr lvl="0"/>
            <a:r>
              <a:rPr lang="fr-FR" dirty="0"/>
              <a:t>Cliquez pour ajouter du texte</a:t>
            </a:r>
            <a:endParaRPr lang="en-US" dirty="0"/>
          </a:p>
        </p:txBody>
      </p:sp>
      <p:sp>
        <p:nvSpPr>
          <p:cNvPr id="6" name="Titre 1">
            <a:extLst>
              <a:ext uri="{FF2B5EF4-FFF2-40B4-BE49-F238E27FC236}">
                <a16:creationId xmlns:a16="http://schemas.microsoft.com/office/drawing/2014/main" id="{1059FEB2-89BC-4335-9806-6B0B412D1BF5}"/>
              </a:ext>
            </a:extLst>
          </p:cNvPr>
          <p:cNvSpPr>
            <a:spLocks noGrp="1"/>
          </p:cNvSpPr>
          <p:nvPr>
            <p:ph type="title"/>
          </p:nvPr>
        </p:nvSpPr>
        <p:spPr>
          <a:xfrm>
            <a:off x="2107475" y="363567"/>
            <a:ext cx="9474927" cy="1232477"/>
          </a:xfrm>
          <a:prstGeom prst="rect">
            <a:avLst/>
          </a:prstGeom>
        </p:spPr>
        <p:txBody>
          <a:bodyPr>
            <a:normAutofit/>
          </a:bodyPr>
          <a:lstStyle>
            <a:lvl1pPr algn="l">
              <a:defRPr sz="3200" b="1">
                <a:solidFill>
                  <a:srgbClr val="2B9BB0"/>
                </a:solidFill>
              </a:defRPr>
            </a:lvl1pPr>
          </a:lstStyle>
          <a:p>
            <a:r>
              <a:rPr lang="fr-FR"/>
              <a:t>Modifiez le style du titre</a:t>
            </a:r>
            <a:endParaRPr lang="fr-FR" dirty="0"/>
          </a:p>
        </p:txBody>
      </p:sp>
    </p:spTree>
    <p:extLst>
      <p:ext uri="{BB962C8B-B14F-4D97-AF65-F5344CB8AC3E}">
        <p14:creationId xmlns:p14="http://schemas.microsoft.com/office/powerpoint/2010/main" val="1011012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3116" y="2377734"/>
            <a:ext cx="11425767" cy="1620837"/>
          </a:xfrm>
        </p:spPr>
        <p:txBody>
          <a:bodyPr/>
          <a:lstStyle/>
          <a:p>
            <a:r>
              <a:rPr lang="en-US"/>
              <a:t>Click to edit Master title style</a:t>
            </a:r>
          </a:p>
        </p:txBody>
      </p:sp>
      <p:sp>
        <p:nvSpPr>
          <p:cNvPr id="3" name="Subtitle 2"/>
          <p:cNvSpPr>
            <a:spLocks noGrp="1"/>
          </p:cNvSpPr>
          <p:nvPr>
            <p:ph type="subTitle" idx="1"/>
          </p:nvPr>
        </p:nvSpPr>
        <p:spPr>
          <a:xfrm>
            <a:off x="1391707" y="4293017"/>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0181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00531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0997774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45971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82070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6220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966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137361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58356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456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7471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090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7363307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965940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102516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008378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955950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descr="MDAnderson Master Logo_Texas_V_Taglin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12224" y="4879879"/>
            <a:ext cx="3282188" cy="1583309"/>
          </a:xfrm>
          <a:prstGeom prst="rect">
            <a:avLst/>
          </a:prstGeom>
        </p:spPr>
      </p:pic>
    </p:spTree>
    <p:extLst>
      <p:ext uri="{BB962C8B-B14F-4D97-AF65-F5344CB8AC3E}">
        <p14:creationId xmlns:p14="http://schemas.microsoft.com/office/powerpoint/2010/main" val="10448326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3" descr="MDAnderson Master Logo_Texas_V_Taglin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767" y="233558"/>
            <a:ext cx="1801284" cy="654390"/>
          </a:xfrm>
          <a:prstGeom prst="rect">
            <a:avLst/>
          </a:prstGeom>
        </p:spPr>
      </p:pic>
      <p:cxnSp>
        <p:nvCxnSpPr>
          <p:cNvPr id="3" name="Straight Connector 2"/>
          <p:cNvCxnSpPr>
            <a:cxnSpLocks noChangeShapeType="1"/>
          </p:cNvCxnSpPr>
          <p:nvPr/>
        </p:nvCxnSpPr>
        <p:spPr bwMode="auto">
          <a:xfrm>
            <a:off x="376768" y="1014415"/>
            <a:ext cx="11370733" cy="793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27937620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cxnSp>
        <p:nvCxnSpPr>
          <p:cNvPr id="5" name="Straight Connector 4"/>
          <p:cNvCxnSpPr>
            <a:cxnSpLocks noChangeShapeType="1"/>
          </p:cNvCxnSpPr>
          <p:nvPr/>
        </p:nvCxnSpPr>
        <p:spPr bwMode="auto">
          <a:xfrm>
            <a:off x="376768" y="5838825"/>
            <a:ext cx="11370733" cy="7938"/>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 xmlns:a14="http://schemas.microsoft.com/office/drawing/2010/main">
                <a:noFill/>
              </a14:hiddenFill>
            </a:ext>
          </a:extLst>
        </p:spPr>
      </p:cxnSp>
      <p:sp>
        <p:nvSpPr>
          <p:cNvPr id="3" name="Text Placeholder 2"/>
          <p:cNvSpPr>
            <a:spLocks noGrp="1"/>
          </p:cNvSpPr>
          <p:nvPr>
            <p:ph type="body" idx="1"/>
          </p:nvPr>
        </p:nvSpPr>
        <p:spPr>
          <a:xfrm>
            <a:off x="786687" y="714352"/>
            <a:ext cx="10363200" cy="3527664"/>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6" name="Picture 5" descr="MDAnderson Master Logo_Texas_V_Taglin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6219" y="6052467"/>
            <a:ext cx="1801284" cy="654390"/>
          </a:xfrm>
          <a:prstGeom prst="rect">
            <a:avLst/>
          </a:prstGeom>
        </p:spPr>
      </p:pic>
    </p:spTree>
    <p:extLst>
      <p:ext uri="{BB962C8B-B14F-4D97-AF65-F5344CB8AC3E}">
        <p14:creationId xmlns:p14="http://schemas.microsoft.com/office/powerpoint/2010/main" val="834720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5"/>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MDAnderson Master Logo_Texas_V_Taglin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767" y="233558"/>
            <a:ext cx="1801284" cy="654390"/>
          </a:xfrm>
          <a:prstGeom prst="rect">
            <a:avLst/>
          </a:prstGeom>
        </p:spPr>
      </p:pic>
    </p:spTree>
    <p:extLst>
      <p:ext uri="{BB962C8B-B14F-4D97-AF65-F5344CB8AC3E}">
        <p14:creationId xmlns:p14="http://schemas.microsoft.com/office/powerpoint/2010/main" val="76908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Rectangle 1"/>
          <p:cNvSpPr>
            <a:spLocks noChangeArrowheads="1"/>
          </p:cNvSpPr>
          <p:nvPr/>
        </p:nvSpPr>
        <p:spPr bwMode="auto">
          <a:xfrm>
            <a:off x="0" y="0"/>
            <a:ext cx="2692400" cy="6858000"/>
          </a:xfrm>
          <a:prstGeom prst="rect">
            <a:avLst/>
          </a:prstGeom>
          <a:solidFill>
            <a:srgbClr val="595959"/>
          </a:solidFill>
          <a:ln>
            <a:noFill/>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en-US">
              <a:solidFill>
                <a:schemeClr val="lt1"/>
              </a:solidFill>
              <a:latin typeface="+mn-lt"/>
              <a:ea typeface="+mn-ea"/>
            </a:endParaRPr>
          </a:p>
        </p:txBody>
      </p:sp>
      <p:pic>
        <p:nvPicPr>
          <p:cNvPr id="5" name="Picture 4" descr="MDAnderson Master Logo_Texas_V_Tagline_RGB REV.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767" y="233558"/>
            <a:ext cx="1801284" cy="654390"/>
          </a:xfrm>
          <a:prstGeom prst="rect">
            <a:avLst/>
          </a:prstGeom>
        </p:spPr>
      </p:pic>
    </p:spTree>
    <p:extLst>
      <p:ext uri="{BB962C8B-B14F-4D97-AF65-F5344CB8AC3E}">
        <p14:creationId xmlns:p14="http://schemas.microsoft.com/office/powerpoint/2010/main" val="2741380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1"/>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154" indent="0" algn="ctr">
              <a:buNone/>
              <a:defRPr/>
            </a:lvl2pPr>
            <a:lvl3pPr marL="914306" indent="0" algn="ctr">
              <a:buNone/>
              <a:defRPr/>
            </a:lvl3pPr>
            <a:lvl4pPr marL="1371460" indent="0" algn="ctr">
              <a:buNone/>
              <a:defRPr/>
            </a:lvl4pPr>
            <a:lvl5pPr marL="1828613" indent="0" algn="ctr">
              <a:buNone/>
              <a:defRPr/>
            </a:lvl5pPr>
            <a:lvl6pPr marL="2285766" indent="0" algn="ctr">
              <a:buNone/>
              <a:defRPr/>
            </a:lvl6pPr>
            <a:lvl7pPr marL="2742920" indent="0" algn="ctr">
              <a:buNone/>
              <a:defRPr/>
            </a:lvl7pPr>
            <a:lvl8pPr marL="3200072" indent="0" algn="ctr">
              <a:buNone/>
              <a:defRPr/>
            </a:lvl8pPr>
            <a:lvl9pPr marL="3657226" indent="0" algn="ctr">
              <a:buNone/>
              <a:defRPr/>
            </a:lvl9pPr>
          </a:lstStyle>
          <a:p>
            <a:r>
              <a:rPr lang="en-US"/>
              <a:t>Click to edit Master subtitle style</a:t>
            </a:r>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F357427B-1BC9-5143-B7F6-97CA77F1BD5A}" type="slidenum">
              <a:rPr lang="en-US"/>
              <a:pPr>
                <a:defRPr/>
              </a:pPr>
              <a:t>‹#›</a:t>
            </a:fld>
            <a:endParaRPr lang="en-US"/>
          </a:p>
        </p:txBody>
      </p:sp>
    </p:spTree>
    <p:extLst>
      <p:ext uri="{BB962C8B-B14F-4D97-AF65-F5344CB8AC3E}">
        <p14:creationId xmlns:p14="http://schemas.microsoft.com/office/powerpoint/2010/main" val="42770162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type="txAndMedia">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914400" y="1981200"/>
            <a:ext cx="50800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Media Placeholder 3"/>
          <p:cNvSpPr>
            <a:spLocks noGrp="1"/>
          </p:cNvSpPr>
          <p:nvPr>
            <p:ph type="media" sz="half" idx="2"/>
          </p:nvPr>
        </p:nvSpPr>
        <p:spPr>
          <a:xfrm>
            <a:off x="6197600" y="1981200"/>
            <a:ext cx="5080000" cy="4114800"/>
          </a:xfrm>
          <a:prstGeom prst="rect">
            <a:avLst/>
          </a:prstGeom>
        </p:spPr>
        <p:txBody>
          <a:bodyPr/>
          <a:lstStyle/>
          <a:p>
            <a:pPr lvl="0"/>
            <a:endParaRPr lang="en-US" noProof="0"/>
          </a:p>
        </p:txBody>
      </p:sp>
      <p:sp>
        <p:nvSpPr>
          <p:cNvPr id="5" name="Date Placeholder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ltLang="en-US"/>
          </a:p>
        </p:txBody>
      </p:sp>
      <p:sp>
        <p:nvSpPr>
          <p:cNvPr id="6" name="Footer Placeholder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ltLang="en-US"/>
          </a:p>
        </p:txBody>
      </p:sp>
      <p:sp>
        <p:nvSpPr>
          <p:cNvPr id="7" name="Slide Number Placeholder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D22791FA-6AEF-5A4C-867E-F2119D0C8906}" type="slidenum">
              <a:rPr lang="en-US"/>
              <a:pPr>
                <a:defRPr/>
              </a:pPr>
              <a:t>‹#›</a:t>
            </a:fld>
            <a:endParaRPr lang="en-US"/>
          </a:p>
        </p:txBody>
      </p:sp>
    </p:spTree>
    <p:extLst>
      <p:ext uri="{BB962C8B-B14F-4D97-AF65-F5344CB8AC3E}">
        <p14:creationId xmlns:p14="http://schemas.microsoft.com/office/powerpoint/2010/main" val="27905660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914400" y="1981200"/>
            <a:ext cx="50800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ltLang="en-US"/>
          </a:p>
        </p:txBody>
      </p:sp>
      <p:sp>
        <p:nvSpPr>
          <p:cNvPr id="6" name="Footer Placeholder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ltLang="en-US"/>
          </a:p>
        </p:txBody>
      </p:sp>
      <p:sp>
        <p:nvSpPr>
          <p:cNvPr id="7" name="Slide Number Placeholder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DD52B518-92DC-0B48-884A-73C2A647FDC7}" type="slidenum">
              <a:rPr lang="en-US"/>
              <a:pPr>
                <a:defRPr/>
              </a:pPr>
              <a:t>‹#›</a:t>
            </a:fld>
            <a:endParaRPr lang="en-US"/>
          </a:p>
        </p:txBody>
      </p:sp>
    </p:spTree>
    <p:extLst>
      <p:ext uri="{BB962C8B-B14F-4D97-AF65-F5344CB8AC3E}">
        <p14:creationId xmlns:p14="http://schemas.microsoft.com/office/powerpoint/2010/main" val="279817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032000" y="190500"/>
            <a:ext cx="9347200" cy="1527175"/>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2032000" y="1905000"/>
            <a:ext cx="9347200" cy="4114800"/>
          </a:xfrm>
          <a:prstGeom prst="rect">
            <a:avLst/>
          </a:prstGeo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FE9C7EA1-838F-414A-909D-F623D8C5960F}" type="slidenum">
              <a:rPr lang="en-US"/>
              <a:pPr/>
              <a:t>‹#›</a:t>
            </a:fld>
            <a:endParaRPr lang="en-US"/>
          </a:p>
        </p:txBody>
      </p:sp>
    </p:spTree>
    <p:extLst>
      <p:ext uri="{BB962C8B-B14F-4D97-AF65-F5344CB8AC3E}">
        <p14:creationId xmlns:p14="http://schemas.microsoft.com/office/powerpoint/2010/main" val="30318300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914424" y="1828800"/>
            <a:ext cx="5091289"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186336" y="1828800"/>
            <a:ext cx="5091289" cy="4114800"/>
          </a:xfrm>
          <a:prstGeom prst="rect">
            <a:avLst/>
          </a:prstGeom>
        </p:spPr>
        <p:txBody>
          <a:bodyPr/>
          <a:lstStyle/>
          <a:p>
            <a:pPr lvl="0"/>
            <a:endParaRPr lang="en-US" noProof="0"/>
          </a:p>
        </p:txBody>
      </p:sp>
      <p:sp>
        <p:nvSpPr>
          <p:cNvPr id="5" name="Rectangle 9"/>
          <p:cNvSpPr>
            <a:spLocks noGrp="1" noChangeArrowheads="1"/>
          </p:cNvSpPr>
          <p:nvPr>
            <p:ph type="dt" sz="half" idx="10"/>
          </p:nvPr>
        </p:nvSpPr>
        <p:spPr>
          <a:xfrm>
            <a:off x="914400" y="6248400"/>
            <a:ext cx="2540000" cy="457200"/>
          </a:xfrm>
          <a:prstGeom prst="rect">
            <a:avLst/>
          </a:prstGeom>
        </p:spPr>
        <p:txBody>
          <a:bodyPr/>
          <a:lstStyle>
            <a:lvl1pPr>
              <a:defRPr/>
            </a:lvl1pPr>
          </a:lstStyle>
          <a:p>
            <a:pPr>
              <a:defRPr/>
            </a:pPr>
            <a:endParaRPr lang="en-US"/>
          </a:p>
        </p:txBody>
      </p:sp>
      <p:sp>
        <p:nvSpPr>
          <p:cNvPr id="6" name="Rectangle 10"/>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US"/>
          </a:p>
        </p:txBody>
      </p:sp>
      <p:sp>
        <p:nvSpPr>
          <p:cNvPr id="7" name="Rectangle 11"/>
          <p:cNvSpPr>
            <a:spLocks noGrp="1" noChangeArrowheads="1"/>
          </p:cNvSpPr>
          <p:nvPr>
            <p:ph type="sldNum" sz="quarter" idx="12"/>
          </p:nvPr>
        </p:nvSpPr>
        <p:spPr>
          <a:xfrm>
            <a:off x="8737600" y="6248400"/>
            <a:ext cx="2540000" cy="457200"/>
          </a:xfrm>
          <a:prstGeom prst="rect">
            <a:avLst/>
          </a:prstGeom>
        </p:spPr>
        <p:txBody>
          <a:bodyPr/>
          <a:lstStyle>
            <a:lvl1pPr>
              <a:defRPr/>
            </a:lvl1pPr>
          </a:lstStyle>
          <a:p>
            <a:pPr>
              <a:defRPr/>
            </a:pPr>
            <a:fld id="{134BDD63-E569-8043-8ACB-E8D8175BE1EE}" type="slidenum">
              <a:rPr lang="en-US"/>
              <a:pPr>
                <a:defRPr/>
              </a:pPr>
              <a:t>‹#›</a:t>
            </a:fld>
            <a:endParaRPr lang="en-US"/>
          </a:p>
        </p:txBody>
      </p:sp>
    </p:spTree>
    <p:extLst>
      <p:ext uri="{BB962C8B-B14F-4D97-AF65-F5344CB8AC3E}">
        <p14:creationId xmlns:p14="http://schemas.microsoft.com/office/powerpoint/2010/main" val="802733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ltLang="en-US"/>
          </a:p>
        </p:txBody>
      </p:sp>
      <p:sp>
        <p:nvSpPr>
          <p:cNvPr id="8"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ltLang="en-US"/>
          </a:p>
        </p:txBody>
      </p:sp>
      <p:sp>
        <p:nvSpPr>
          <p:cNvPr id="9"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24F7E710-D064-D94E-990F-FA635A400ABF}" type="slidenum">
              <a:rPr lang="en-US"/>
              <a:pPr>
                <a:defRPr/>
              </a:pPr>
              <a:t>‹#›</a:t>
            </a:fld>
            <a:endParaRPr lang="en-US"/>
          </a:p>
        </p:txBody>
      </p:sp>
    </p:spTree>
    <p:extLst>
      <p:ext uri="{BB962C8B-B14F-4D97-AF65-F5344CB8AC3E}">
        <p14:creationId xmlns:p14="http://schemas.microsoft.com/office/powerpoint/2010/main" val="3317205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type="twoObjAndObj">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a:prstGeom prst="rect">
            <a:avLst/>
          </a:prstGeom>
        </p:spPr>
        <p:txBody>
          <a:bodyPr/>
          <a:lstStyle/>
          <a:p>
            <a:r>
              <a:rPr lang="en-US"/>
              <a:t>Click to edit Master title style</a:t>
            </a:r>
          </a:p>
        </p:txBody>
      </p:sp>
      <p:sp>
        <p:nvSpPr>
          <p:cNvPr id="3" name="Content Placeholder 2"/>
          <p:cNvSpPr>
            <a:spLocks noGrp="1"/>
          </p:cNvSpPr>
          <p:nvPr>
            <p:ph sz="quarter" idx="1"/>
          </p:nvPr>
        </p:nvSpPr>
        <p:spPr>
          <a:xfrm>
            <a:off x="914400" y="1981200"/>
            <a:ext cx="5080000" cy="1981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914400" y="4114800"/>
            <a:ext cx="5080000" cy="1981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half" idx="3"/>
          </p:nvPr>
        </p:nvSpPr>
        <p:spPr>
          <a:xfrm>
            <a:off x="6197600" y="1981200"/>
            <a:ext cx="50800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ltLang="en-US"/>
          </a:p>
        </p:txBody>
      </p:sp>
      <p:sp>
        <p:nvSpPr>
          <p:cNvPr id="7"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ltLang="en-US"/>
          </a:p>
        </p:txBody>
      </p:sp>
      <p:sp>
        <p:nvSpPr>
          <p:cNvPr id="8"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4DBD6F21-98CD-A24B-BE1B-98CBAF3BDA5F}" type="slidenum">
              <a:rPr lang="en-US"/>
              <a:pPr>
                <a:defRPr/>
              </a:pPr>
              <a:t>‹#›</a:t>
            </a:fld>
            <a:endParaRPr lang="en-US"/>
          </a:p>
        </p:txBody>
      </p:sp>
    </p:spTree>
    <p:extLst>
      <p:ext uri="{BB962C8B-B14F-4D97-AF65-F5344CB8AC3E}">
        <p14:creationId xmlns:p14="http://schemas.microsoft.com/office/powerpoint/2010/main" val="16894900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1709746"/>
            <a:ext cx="10515600" cy="2852737"/>
          </a:xfrm>
          <a:prstGeom prst="rect">
            <a:avLst/>
          </a:prstGeom>
        </p:spPr>
        <p:txBody>
          <a:bodyPr anchor="b">
            <a:noAutofit/>
          </a:bodyPr>
          <a:lstStyle>
            <a:lvl1pPr>
              <a:defRPr sz="3600" baseline="0"/>
            </a:lvl1pPr>
          </a:lstStyle>
          <a:p>
            <a:r>
              <a:rPr lang="en-US" dirty="0"/>
              <a:t>CLICK TO EDIT MASTER TITLE STYLE</a:t>
            </a:r>
          </a:p>
        </p:txBody>
      </p:sp>
      <p:sp>
        <p:nvSpPr>
          <p:cNvPr id="3" name="Text Placeholder 2"/>
          <p:cNvSpPr>
            <a:spLocks noGrp="1"/>
          </p:cNvSpPr>
          <p:nvPr>
            <p:ph type="body" idx="1"/>
          </p:nvPr>
        </p:nvSpPr>
        <p:spPr>
          <a:xfrm>
            <a:off x="831851" y="4589470"/>
            <a:ext cx="10515600" cy="1500187"/>
          </a:xfrm>
          <a:prstGeom prst="rect">
            <a:avLst/>
          </a:prstGeom>
        </p:spPr>
        <p:txBody>
          <a:bodyPr>
            <a:noAutofit/>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a:xfrm>
            <a:off x="334435" y="5981657"/>
            <a:ext cx="941328" cy="365125"/>
          </a:xfrm>
          <a:prstGeom prst="rect">
            <a:avLst/>
          </a:prstGeom>
        </p:spPr>
        <p:txBody>
          <a:bodyPr/>
          <a:lstStyle/>
          <a:p>
            <a:fld id="{C9A8FF39-2CA5-4A99-8627-D71AA18B7360}" type="datetime1">
              <a:rPr lang="en-GB" smtClean="0"/>
              <a:t>12/04/2026</a:t>
            </a:fld>
            <a:endParaRPr lang="en-GB"/>
          </a:p>
        </p:txBody>
      </p:sp>
      <p:sp>
        <p:nvSpPr>
          <p:cNvPr id="5" name="Footer Placeholder 4"/>
          <p:cNvSpPr>
            <a:spLocks noGrp="1"/>
          </p:cNvSpPr>
          <p:nvPr>
            <p:ph type="ftr" sz="quarter" idx="11"/>
          </p:nvPr>
        </p:nvSpPr>
        <p:spPr>
          <a:xfrm>
            <a:off x="4038600" y="5981657"/>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10860069" y="6312369"/>
            <a:ext cx="647475" cy="365125"/>
          </a:xfrm>
          <a:prstGeom prst="rect">
            <a:avLst/>
          </a:prstGeom>
        </p:spPr>
        <p:txBody>
          <a:bodyPr/>
          <a:lstStyle/>
          <a:p>
            <a:fld id="{7E65ABA9-FDBC-404A-8885-A9833F77867B}" type="slidenum">
              <a:rPr lang="en-GB" smtClean="0"/>
              <a:t>‹#›</a:t>
            </a:fld>
            <a:endParaRPr lang="en-GB"/>
          </a:p>
        </p:txBody>
      </p:sp>
      <p:pic>
        <p:nvPicPr>
          <p:cNvPr id="7" name="Picture 6"/>
          <p:cNvPicPr>
            <a:picLocks noChangeAspect="1"/>
          </p:cNvPicPr>
          <p:nvPr userDrawn="1"/>
        </p:nvPicPr>
        <p:blipFill>
          <a:blip r:embed="rId2"/>
          <a:stretch>
            <a:fillRect/>
          </a:stretch>
        </p:blipFill>
        <p:spPr>
          <a:xfrm>
            <a:off x="906140" y="515309"/>
            <a:ext cx="2552717" cy="528149"/>
          </a:xfrm>
          <a:prstGeom prst="rect">
            <a:avLst/>
          </a:prstGeom>
        </p:spPr>
      </p:pic>
    </p:spTree>
    <p:extLst>
      <p:ext uri="{BB962C8B-B14F-4D97-AF65-F5344CB8AC3E}">
        <p14:creationId xmlns:p14="http://schemas.microsoft.com/office/powerpoint/2010/main" val="20376422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4" name="Picture 3" descr="MDAnderson Master Logo_Texas_V_Taglin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770" y="233563"/>
            <a:ext cx="1801284" cy="654391"/>
          </a:xfrm>
          <a:prstGeom prst="rect">
            <a:avLst/>
          </a:prstGeom>
        </p:spPr>
      </p:pic>
      <p:cxnSp>
        <p:nvCxnSpPr>
          <p:cNvPr id="3" name="Straight Connector 2"/>
          <p:cNvCxnSpPr>
            <a:cxnSpLocks noChangeShapeType="1"/>
          </p:cNvCxnSpPr>
          <p:nvPr/>
        </p:nvCxnSpPr>
        <p:spPr bwMode="auto">
          <a:xfrm>
            <a:off x="376768" y="1014415"/>
            <a:ext cx="11370733" cy="793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1924019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4" name="Picture 3" descr="MDAnderson Master Logo_Texas_V_Taglin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770" y="233563"/>
            <a:ext cx="1801284" cy="654391"/>
          </a:xfrm>
          <a:prstGeom prst="rect">
            <a:avLst/>
          </a:prstGeom>
        </p:spPr>
      </p:pic>
      <p:cxnSp>
        <p:nvCxnSpPr>
          <p:cNvPr id="3" name="Straight Connector 2"/>
          <p:cNvCxnSpPr>
            <a:cxnSpLocks noChangeShapeType="1"/>
          </p:cNvCxnSpPr>
          <p:nvPr/>
        </p:nvCxnSpPr>
        <p:spPr bwMode="auto">
          <a:xfrm>
            <a:off x="376768" y="1014415"/>
            <a:ext cx="11370733" cy="793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3863811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pic>
        <p:nvPicPr>
          <p:cNvPr id="4" name="Picture 3" descr="MDAnderson Master Logo_Texas_V_Taglin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770" y="233563"/>
            <a:ext cx="1801284" cy="654391"/>
          </a:xfrm>
          <a:prstGeom prst="rect">
            <a:avLst/>
          </a:prstGeom>
        </p:spPr>
      </p:pic>
      <p:cxnSp>
        <p:nvCxnSpPr>
          <p:cNvPr id="3" name="Straight Connector 2"/>
          <p:cNvCxnSpPr>
            <a:cxnSpLocks noChangeShapeType="1"/>
          </p:cNvCxnSpPr>
          <p:nvPr/>
        </p:nvCxnSpPr>
        <p:spPr bwMode="auto">
          <a:xfrm>
            <a:off x="376768" y="1014415"/>
            <a:ext cx="11370733" cy="793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3080940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cxnSp>
        <p:nvCxnSpPr>
          <p:cNvPr id="12" name="Straight Connector 11"/>
          <p:cNvCxnSpPr/>
          <p:nvPr userDrawn="1"/>
        </p:nvCxnSpPr>
        <p:spPr>
          <a:xfrm>
            <a:off x="0" y="1104331"/>
            <a:ext cx="12192000" cy="0"/>
          </a:xfrm>
          <a:prstGeom prst="line">
            <a:avLst/>
          </a:prstGeom>
          <a:ln>
            <a:solidFill>
              <a:schemeClr val="accent2"/>
            </a:solidFill>
          </a:ln>
        </p:spPr>
        <p:style>
          <a:lnRef idx="2">
            <a:schemeClr val="accent2"/>
          </a:lnRef>
          <a:fillRef idx="0">
            <a:schemeClr val="accent2"/>
          </a:fillRef>
          <a:effectRef idx="1">
            <a:schemeClr val="accent2"/>
          </a:effectRef>
          <a:fontRef idx="minor">
            <a:schemeClr val="tx1"/>
          </a:fontRef>
        </p:style>
      </p:cxnSp>
      <p:sp>
        <p:nvSpPr>
          <p:cNvPr id="6" name="Title 1"/>
          <p:cNvSpPr>
            <a:spLocks noGrp="1"/>
          </p:cNvSpPr>
          <p:nvPr>
            <p:ph type="title"/>
          </p:nvPr>
        </p:nvSpPr>
        <p:spPr>
          <a:xfrm>
            <a:off x="243840" y="57151"/>
            <a:ext cx="11704320" cy="990600"/>
          </a:xfrm>
          <a:prstGeom prst="rect">
            <a:avLst/>
          </a:prstGeom>
        </p:spPr>
        <p:txBody>
          <a:bodyPr>
            <a:noAutofit/>
          </a:bodyPr>
          <a:lstStyle>
            <a:lvl1pPr>
              <a:defRPr sz="4000"/>
            </a:lvl1pPr>
          </a:lstStyle>
          <a:p>
            <a:r>
              <a:rPr lang="en-US" dirty="0"/>
              <a:t>Click to edit Master title style</a:t>
            </a:r>
          </a:p>
        </p:txBody>
      </p:sp>
      <p:sp>
        <p:nvSpPr>
          <p:cNvPr id="8" name="Footer Placeholder 6"/>
          <p:cNvSpPr>
            <a:spLocks noGrp="1"/>
          </p:cNvSpPr>
          <p:nvPr>
            <p:ph type="ftr" sz="quarter" idx="13"/>
          </p:nvPr>
        </p:nvSpPr>
        <p:spPr>
          <a:xfrm>
            <a:off x="243840" y="6356359"/>
            <a:ext cx="9997440" cy="365125"/>
          </a:xfrm>
          <a:prstGeom prst="rect">
            <a:avLst/>
          </a:prstGeom>
        </p:spPr>
        <p:txBody>
          <a:bodyPr lIns="45720" bIns="0"/>
          <a:lstStyle/>
          <a:p>
            <a:endParaRPr lang="en-US" dirty="0"/>
          </a:p>
        </p:txBody>
      </p:sp>
    </p:spTree>
    <p:extLst>
      <p:ext uri="{BB962C8B-B14F-4D97-AF65-F5344CB8AC3E}">
        <p14:creationId xmlns:p14="http://schemas.microsoft.com/office/powerpoint/2010/main" val="3580748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295404"/>
            <a:ext cx="11582400" cy="4830763"/>
          </a:xfrm>
          <a:prstGeom prst="rect">
            <a:avLst/>
          </a:prstGeom>
        </p:spPr>
        <p:txBody>
          <a:bodyPr>
            <a:normAutofit/>
          </a:bodyPr>
          <a:lstStyle>
            <a:lvl1pPr marL="457189" indent="-457189">
              <a:lnSpc>
                <a:spcPct val="100000"/>
              </a:lnSpc>
              <a:buFont typeface="Arial" panose="020B0604020202020204" pitchFamily="34" charset="0"/>
              <a:buChar char="•"/>
              <a:defRPr sz="3200" baseline="0"/>
            </a:lvl1pPr>
            <a:lvl2pPr marL="1066773" indent="-457189">
              <a:lnSpc>
                <a:spcPct val="100000"/>
              </a:lnSpc>
              <a:buFont typeface="Arial" panose="020B0604020202020204" pitchFamily="34" charset="0"/>
              <a:buChar char="–"/>
              <a:defRPr sz="3200"/>
            </a:lvl2pPr>
            <a:lvl3pPr marL="1676358" indent="-457189">
              <a:lnSpc>
                <a:spcPct val="100000"/>
              </a:lnSpc>
              <a:buSzPct val="70000"/>
              <a:buFont typeface="Wingdings" panose="05000000000000000000" pitchFamily="2" charset="2"/>
              <a:buChar char="Ø"/>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cxnSp>
        <p:nvCxnSpPr>
          <p:cNvPr id="10" name="Straight Connector 9"/>
          <p:cNvCxnSpPr/>
          <p:nvPr userDrawn="1"/>
        </p:nvCxnSpPr>
        <p:spPr>
          <a:xfrm>
            <a:off x="0" y="1104331"/>
            <a:ext cx="12192000" cy="0"/>
          </a:xfrm>
          <a:prstGeom prst="line">
            <a:avLst/>
          </a:prstGeom>
          <a:ln>
            <a:solidFill>
              <a:schemeClr val="accent2"/>
            </a:solidFill>
          </a:ln>
        </p:spPr>
        <p:style>
          <a:lnRef idx="2">
            <a:schemeClr val="accent2"/>
          </a:lnRef>
          <a:fillRef idx="0">
            <a:schemeClr val="accent2"/>
          </a:fillRef>
          <a:effectRef idx="1">
            <a:schemeClr val="accent2"/>
          </a:effectRef>
          <a:fontRef idx="minor">
            <a:schemeClr val="tx1"/>
          </a:fontRef>
        </p:style>
      </p:cxnSp>
      <p:sp>
        <p:nvSpPr>
          <p:cNvPr id="8" name="Title 1"/>
          <p:cNvSpPr>
            <a:spLocks noGrp="1"/>
          </p:cNvSpPr>
          <p:nvPr>
            <p:ph type="title"/>
          </p:nvPr>
        </p:nvSpPr>
        <p:spPr>
          <a:xfrm>
            <a:off x="243840" y="57151"/>
            <a:ext cx="11704320" cy="990600"/>
          </a:xfrm>
          <a:prstGeom prst="rect">
            <a:avLst/>
          </a:prstGeom>
        </p:spPr>
        <p:txBody>
          <a:bodyPr>
            <a:noAutofit/>
          </a:bodyPr>
          <a:lstStyle>
            <a:lvl1pPr>
              <a:defRPr sz="4000" b="1"/>
            </a:lvl1pPr>
          </a:lstStyle>
          <a:p>
            <a:r>
              <a:rPr lang="en-US" dirty="0"/>
              <a:t>Click to edit Master title style</a:t>
            </a:r>
          </a:p>
        </p:txBody>
      </p:sp>
      <p:sp>
        <p:nvSpPr>
          <p:cNvPr id="9" name="Footer Placeholder 6"/>
          <p:cNvSpPr>
            <a:spLocks noGrp="1"/>
          </p:cNvSpPr>
          <p:nvPr>
            <p:ph type="ftr" sz="quarter" idx="13"/>
          </p:nvPr>
        </p:nvSpPr>
        <p:spPr>
          <a:xfrm>
            <a:off x="243840" y="6356359"/>
            <a:ext cx="9997440" cy="365125"/>
          </a:xfrm>
          <a:prstGeom prst="rect">
            <a:avLst/>
          </a:prstGeom>
        </p:spPr>
        <p:txBody>
          <a:bodyPr lIns="45720" bIns="0"/>
          <a:lstStyle/>
          <a:p>
            <a:endParaRPr lang="en-US" dirty="0"/>
          </a:p>
        </p:txBody>
      </p:sp>
    </p:spTree>
    <p:extLst>
      <p:ext uri="{BB962C8B-B14F-4D97-AF65-F5344CB8AC3E}">
        <p14:creationId xmlns:p14="http://schemas.microsoft.com/office/powerpoint/2010/main" val="3047959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57200" y="1545336"/>
            <a:ext cx="11277600" cy="4572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1" hasCustomPrompt="1"/>
          </p:nvPr>
        </p:nvSpPr>
        <p:spPr>
          <a:xfrm>
            <a:off x="324908" y="1021720"/>
            <a:ext cx="11542184" cy="349251"/>
          </a:xfrm>
          <a:prstGeom prst="rect">
            <a:avLst/>
          </a:prstGeom>
        </p:spPr>
        <p:txBody>
          <a:bodyPr/>
          <a:lstStyle>
            <a:lvl1pPr marL="0" indent="0">
              <a:spcBef>
                <a:spcPts val="400"/>
              </a:spcBef>
              <a:buFontTx/>
              <a:buNone/>
              <a:defRPr sz="2000" b="1">
                <a:solidFill>
                  <a:schemeClr val="accent1"/>
                </a:solidFill>
              </a:defRPr>
            </a:lvl1pPr>
          </a:lstStyle>
          <a:p>
            <a:pPr lvl="0"/>
            <a:r>
              <a:rPr lang="en-US" dirty="0"/>
              <a:t>Click to Add Slide Subtitle</a:t>
            </a:r>
          </a:p>
        </p:txBody>
      </p:sp>
      <p:sp>
        <p:nvSpPr>
          <p:cNvPr id="17" name="Title 16"/>
          <p:cNvSpPr>
            <a:spLocks noGrp="1"/>
          </p:cNvSpPr>
          <p:nvPr>
            <p:ph type="title"/>
          </p:nvPr>
        </p:nvSpPr>
        <p:spPr>
          <a:xfrm>
            <a:off x="253598" y="106882"/>
            <a:ext cx="11208807" cy="903908"/>
          </a:xfrm>
          <a:prstGeom prst="rect">
            <a:avLst/>
          </a:prstGeom>
        </p:spPr>
        <p:txBody>
          <a:bodyPr/>
          <a:lstStyle/>
          <a:p>
            <a:r>
              <a:rPr lang="en-US"/>
              <a:t>Click to edit Master title style</a:t>
            </a:r>
          </a:p>
        </p:txBody>
      </p:sp>
      <p:sp>
        <p:nvSpPr>
          <p:cNvPr id="6" name="Text Placeholder 13"/>
          <p:cNvSpPr>
            <a:spLocks noGrp="1"/>
          </p:cNvSpPr>
          <p:nvPr>
            <p:ph type="body" sz="quarter" idx="12" hasCustomPrompt="1"/>
          </p:nvPr>
        </p:nvSpPr>
        <p:spPr>
          <a:xfrm>
            <a:off x="2743201" y="6309362"/>
            <a:ext cx="8869680" cy="502284"/>
          </a:xfrm>
          <a:prstGeom prst="rect">
            <a:avLst/>
          </a:prstGeom>
        </p:spPr>
        <p:txBody>
          <a:bodyPr anchor="b" anchorCtr="0"/>
          <a:lstStyle>
            <a:lvl1pPr marL="0" marR="0" indent="0" algn="l" defTabSz="914400" rtl="0" eaLnBrk="1" fontAlgn="auto" latinLnBrk="0" hangingPunct="1">
              <a:lnSpc>
                <a:spcPct val="90000"/>
              </a:lnSpc>
              <a:spcBef>
                <a:spcPts val="300"/>
              </a:spcBef>
              <a:spcAft>
                <a:spcPts val="0"/>
              </a:spcAft>
              <a:buClr>
                <a:schemeClr val="accent2"/>
              </a:buClr>
              <a:buSzPct val="100000"/>
              <a:buFontTx/>
              <a:buNone/>
              <a:tabLst/>
              <a:defRPr sz="900" baseline="0"/>
            </a:lvl1pPr>
          </a:lstStyle>
          <a:p>
            <a:pPr marL="0" marR="0" lvl="0" indent="0" algn="l" defTabSz="914400" rtl="0" eaLnBrk="1" fontAlgn="auto" latinLnBrk="0" hangingPunct="1">
              <a:lnSpc>
                <a:spcPct val="90000"/>
              </a:lnSpc>
              <a:spcBef>
                <a:spcPts val="300"/>
              </a:spcBef>
              <a:spcAft>
                <a:spcPts val="0"/>
              </a:spcAft>
              <a:buClr>
                <a:schemeClr val="accent2"/>
              </a:buClr>
              <a:buSzPct val="100000"/>
              <a:buFontTx/>
              <a:buNone/>
              <a:tabLst/>
              <a:defRPr/>
            </a:pPr>
            <a:r>
              <a:rPr lang="en-US" dirty="0"/>
              <a:t>Confidential – For steering committee purposes only</a:t>
            </a:r>
          </a:p>
        </p:txBody>
      </p:sp>
    </p:spTree>
    <p:extLst>
      <p:ext uri="{BB962C8B-B14F-4D97-AF65-F5344CB8AC3E}">
        <p14:creationId xmlns:p14="http://schemas.microsoft.com/office/powerpoint/2010/main" val="1014754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cSld name="2_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04501" y="371094"/>
            <a:ext cx="10582995" cy="1143000"/>
          </a:xfrm>
          <a:prstGeom prst="rect">
            <a:avLst/>
          </a:prstGeom>
        </p:spPr>
        <p:txBody>
          <a:bodyPr lIns="0" tIns="0" rIns="0" bIns="0"/>
          <a:lstStyle>
            <a:lvl1pPr>
              <a:defRPr sz="2700" b="1"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49244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9244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4/12/26</a:t>
            </a:fld>
            <a:endParaRPr lang="en-US"/>
          </a:p>
        </p:txBody>
      </p:sp>
      <p:sp>
        <p:nvSpPr>
          <p:cNvPr id="7" name="Holder 7"/>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383241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7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00" baseline="0"/>
            </a:lvl1pPr>
          </a:lstStyle>
          <a:p>
            <a:pPr lvl="0"/>
            <a:r>
              <a:rPr lang="en-US"/>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2153895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20624" y="759884"/>
            <a:ext cx="10484443" cy="2901949"/>
          </a:xfrm>
        </p:spPr>
        <p:txBody>
          <a:bodyPr anchor="b">
            <a:normAutofit/>
          </a:bodyPr>
          <a:lstStyle>
            <a:lvl1pPr>
              <a:lnSpc>
                <a:spcPct val="90000"/>
              </a:lnSpc>
              <a:defRPr sz="3200">
                <a:solidFill>
                  <a:srgbClr val="83005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763434"/>
            <a:ext cx="10484443" cy="778935"/>
          </a:xfrm>
          <a:prstGeom prst="rect">
            <a:avLst/>
          </a:prstGeom>
        </p:spPr>
        <p:txBody>
          <a:bodyPr anchor="t" anchorCtr="0">
            <a:normAutofit/>
          </a:bodyPr>
          <a:lstStyle>
            <a:lvl1pPr marL="0" indent="0">
              <a:defRPr sz="2400" b="1" baseline="0">
                <a:solidFill>
                  <a:schemeClr val="accent4"/>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542369"/>
            <a:ext cx="10487483" cy="1028681"/>
          </a:xfrm>
          <a:prstGeom prst="rect">
            <a:avLst/>
          </a:prstGeom>
        </p:spPr>
        <p:txBody>
          <a:bodyPr anchor="b"/>
          <a:lstStyle>
            <a:lvl1pPr marL="4763" indent="-4763">
              <a:defRPr sz="1467">
                <a:solidFill>
                  <a:schemeClr val="accent1"/>
                </a:solidFill>
              </a:defRPr>
            </a:lvl1pPr>
          </a:lstStyle>
          <a:p>
            <a:pPr lvl="0"/>
            <a:r>
              <a:rPr lang="en-GB"/>
              <a:t>Click to edit Master text styles</a:t>
            </a:r>
          </a:p>
        </p:txBody>
      </p:sp>
      <p:sp>
        <p:nvSpPr>
          <p:cNvPr id="4" name="Rectangle 3"/>
          <p:cNvSpPr/>
          <p:nvPr userDrawn="1"/>
        </p:nvSpPr>
        <p:spPr bwMode="auto">
          <a:xfrm>
            <a:off x="11278991" y="6192762"/>
            <a:ext cx="510472" cy="665239"/>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
        <p:nvSpPr>
          <p:cNvPr id="8" name="TextBox 7"/>
          <p:cNvSpPr txBox="1"/>
          <p:nvPr userDrawn="1"/>
        </p:nvSpPr>
        <p:spPr>
          <a:xfrm>
            <a:off x="2539923" y="6590093"/>
            <a:ext cx="7103181" cy="23589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933" b="0" i="0" u="none" strike="noStrike" kern="0" cap="none" spc="0" normalizeH="0" baseline="0" noProof="0">
                <a:ln>
                  <a:noFill/>
                </a:ln>
                <a:solidFill>
                  <a:srgbClr val="C7C2BA">
                    <a:lumMod val="50000"/>
                  </a:srgbClr>
                </a:solidFill>
                <a:effectLst/>
                <a:uLnTx/>
                <a:uFillTx/>
              </a:rPr>
              <a:t>©AstraZeneca 2018 • FOR HEALTHCARE PROFESSIONAL USE ONLY</a:t>
            </a:r>
            <a:endParaRPr kumimoji="0" lang="en-US" sz="933" b="0" i="0" u="none" strike="noStrike" kern="0" cap="none" spc="0" normalizeH="0" baseline="0" noProof="0">
              <a:ln>
                <a:noFill/>
              </a:ln>
              <a:solidFill>
                <a:srgbClr val="C7C2BA">
                  <a:lumMod val="50000"/>
                </a:srgbClr>
              </a:solidFill>
              <a:effectLst/>
              <a:uLnTx/>
              <a:uFillTx/>
            </a:endParaRPr>
          </a:p>
        </p:txBody>
      </p:sp>
      <p:sp>
        <p:nvSpPr>
          <p:cNvPr id="9" name="Rectangle 8"/>
          <p:cNvSpPr/>
          <p:nvPr userDrawn="1"/>
        </p:nvSpPr>
        <p:spPr bwMode="auto">
          <a:xfrm>
            <a:off x="10371386" y="6192762"/>
            <a:ext cx="1418077" cy="665239"/>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pic>
        <p:nvPicPr>
          <p:cNvPr id="11" name="Picture 10" descr="AZ_RGB_H_COL.jpg"/>
          <p:cNvPicPr>
            <a:picLocks noChangeAspect="1"/>
          </p:cNvPicPr>
          <p:nvPr userDrawn="1"/>
        </p:nvPicPr>
        <p:blipFill>
          <a:blip r:embed="rId2" cstate="print">
            <a:alphaModFix/>
            <a:extLst>
              <a:ext uri="{28A0092B-C50C-407E-A947-70E740481C1C}">
                <a14:useLocalDpi xmlns:a14="http://schemas.microsoft.com/office/drawing/2010/main" val="0"/>
              </a:ext>
            </a:extLst>
          </a:blip>
          <a:stretch>
            <a:fillRect/>
          </a:stretch>
        </p:blipFill>
        <p:spPr>
          <a:xfrm>
            <a:off x="9373725" y="155869"/>
            <a:ext cx="2678400" cy="884732"/>
          </a:xfrm>
          <a:prstGeom prst="rect">
            <a:avLst/>
          </a:prstGeom>
        </p:spPr>
      </p:pic>
      <p:pic>
        <p:nvPicPr>
          <p:cNvPr id="14" name="Picture 13" descr="msd_ifl_lg_rgb_tl_dkgry.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03952" y="239495"/>
            <a:ext cx="2200163" cy="890653"/>
          </a:xfrm>
          <a:prstGeom prst="rect">
            <a:avLst/>
          </a:prstGeom>
        </p:spPr>
      </p:pic>
    </p:spTree>
    <p:extLst>
      <p:ext uri="{BB962C8B-B14F-4D97-AF65-F5344CB8AC3E}">
        <p14:creationId xmlns:p14="http://schemas.microsoft.com/office/powerpoint/2010/main" val="1261033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20624" y="1481738"/>
            <a:ext cx="10484443" cy="2180095"/>
          </a:xfrm>
        </p:spPr>
        <p:txBody>
          <a:bodyPr anchor="b">
            <a:normAutofit/>
          </a:bodyPr>
          <a:lstStyle>
            <a:lvl1pPr>
              <a:lnSpc>
                <a:spcPct val="90000"/>
              </a:lnSpc>
              <a:defRPr sz="3200">
                <a:solidFill>
                  <a:srgbClr val="83005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763434"/>
            <a:ext cx="10484443" cy="778935"/>
          </a:xfrm>
          <a:prstGeom prst="rect">
            <a:avLst/>
          </a:prstGeom>
        </p:spPr>
        <p:txBody>
          <a:bodyPr anchor="t">
            <a:normAutofit/>
          </a:bodyPr>
          <a:lstStyle>
            <a:lvl1pPr marL="0" indent="0">
              <a:defRPr sz="2400" b="1" baseline="0">
                <a:solidFill>
                  <a:schemeClr val="accent2"/>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554044"/>
            <a:ext cx="10487483" cy="1028681"/>
          </a:xfrm>
          <a:prstGeom prst="rect">
            <a:avLst/>
          </a:prstGeom>
        </p:spPr>
        <p:txBody>
          <a:bodyPr anchor="b"/>
          <a:lstStyle>
            <a:lvl1pPr marL="4763" indent="-4763">
              <a:defRPr sz="1467">
                <a:solidFill>
                  <a:srgbClr val="4B306A"/>
                </a:solidFill>
              </a:defRPr>
            </a:lvl1pPr>
          </a:lstStyle>
          <a:p>
            <a:pPr lvl="0"/>
            <a:r>
              <a:rPr lang="en-GB"/>
              <a:t>Click to edit Master text styles</a:t>
            </a:r>
          </a:p>
        </p:txBody>
      </p:sp>
      <p:sp>
        <p:nvSpPr>
          <p:cNvPr id="4" name="TextBox 3"/>
          <p:cNvSpPr txBox="1"/>
          <p:nvPr userDrawn="1"/>
        </p:nvSpPr>
        <p:spPr>
          <a:xfrm>
            <a:off x="2539923" y="6590093"/>
            <a:ext cx="7103181" cy="23589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933">
                <a:solidFill>
                  <a:schemeClr val="accent6">
                    <a:lumMod val="50000"/>
                  </a:schemeClr>
                </a:solidFill>
              </a:rPr>
              <a:t>©AstraZeneca 2018 • FOR HEALTHCARE PROFESSIONAL USE ONLY</a:t>
            </a:r>
            <a:endParaRPr lang="en-US" sz="933">
              <a:solidFill>
                <a:schemeClr val="accent6">
                  <a:lumMod val="50000"/>
                </a:schemeClr>
              </a:solidFill>
            </a:endParaRPr>
          </a:p>
        </p:txBody>
      </p:sp>
      <p:sp>
        <p:nvSpPr>
          <p:cNvPr id="7" name="Rectangle 6"/>
          <p:cNvSpPr/>
          <p:nvPr userDrawn="1"/>
        </p:nvSpPr>
        <p:spPr bwMode="auto">
          <a:xfrm>
            <a:off x="10371386" y="6192762"/>
            <a:ext cx="1418077" cy="665239"/>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pic>
        <p:nvPicPr>
          <p:cNvPr id="8" name="Picture 7" descr="AZ_RGB_H_COL.jpg"/>
          <p:cNvPicPr>
            <a:picLocks noChangeAspect="1"/>
          </p:cNvPicPr>
          <p:nvPr userDrawn="1"/>
        </p:nvPicPr>
        <p:blipFill>
          <a:blip r:embed="rId2" cstate="print">
            <a:alphaModFix/>
            <a:extLst>
              <a:ext uri="{28A0092B-C50C-407E-A947-70E740481C1C}">
                <a14:useLocalDpi xmlns:a14="http://schemas.microsoft.com/office/drawing/2010/main" val="0"/>
              </a:ext>
            </a:extLst>
          </a:blip>
          <a:stretch>
            <a:fillRect/>
          </a:stretch>
        </p:blipFill>
        <p:spPr>
          <a:xfrm>
            <a:off x="9373725" y="155869"/>
            <a:ext cx="2678400" cy="884732"/>
          </a:xfrm>
          <a:prstGeom prst="rect">
            <a:avLst/>
          </a:prstGeom>
        </p:spPr>
      </p:pic>
      <p:pic>
        <p:nvPicPr>
          <p:cNvPr id="11" name="Picture 10" descr="msd_ifl_lg_rgb_tl_dkgry.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03952" y="239495"/>
            <a:ext cx="2200163" cy="890653"/>
          </a:xfrm>
          <a:prstGeom prst="rect">
            <a:avLst/>
          </a:prstGeom>
        </p:spPr>
      </p:pic>
    </p:spTree>
    <p:extLst>
      <p:ext uri="{BB962C8B-B14F-4D97-AF65-F5344CB8AC3E}">
        <p14:creationId xmlns:p14="http://schemas.microsoft.com/office/powerpoint/2010/main" val="1414338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chemeClr val="accent3"/>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chemeClr val="accent2"/>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4" name="TextBox 3"/>
          <p:cNvSpPr txBox="1"/>
          <p:nvPr userDrawn="1"/>
        </p:nvSpPr>
        <p:spPr>
          <a:xfrm>
            <a:off x="430366" y="6581275"/>
            <a:ext cx="7103181" cy="2358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GB" sz="933">
                <a:solidFill>
                  <a:srgbClr val="3F4444"/>
                </a:solidFill>
              </a:rPr>
              <a:t>©AstraZeneca 2018 • FOR HEALTHCARE PROFESSIONAL USE ONLY</a:t>
            </a:r>
            <a:endParaRPr lang="en-US" sz="933">
              <a:solidFill>
                <a:srgbClr val="3F4444"/>
              </a:solidFill>
            </a:endParaRPr>
          </a:p>
        </p:txBody>
      </p:sp>
      <p:pic>
        <p:nvPicPr>
          <p:cNvPr id="8" name="Picture 7" descr="AZ_RGB_H_COL.jpg"/>
          <p:cNvPicPr>
            <a:picLocks noChangeAspect="1"/>
          </p:cNvPicPr>
          <p:nvPr userDrawn="1"/>
        </p:nvPicPr>
        <p:blipFill>
          <a:blip r:embed="rId2" cstate="print">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562466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rgbClr val="103865"/>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chemeClr val="accent1">
                    <a:lumMod val="60000"/>
                    <a:lumOff val="40000"/>
                  </a:schemeClr>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pic>
        <p:nvPicPr>
          <p:cNvPr id="8" name="Picture 7" descr="AZ_RGB_H_COL.jpg"/>
          <p:cNvPicPr>
            <a:picLocks noChangeAspect="1"/>
          </p:cNvPicPr>
          <p:nvPr userDrawn="1"/>
        </p:nvPicPr>
        <p:blipFill>
          <a:blip r:embed="rId2" cstate="print">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5438841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chemeClr val="accent2"/>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rgbClr val="3F4444"/>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4" name="TextBox 3"/>
          <p:cNvSpPr txBox="1"/>
          <p:nvPr userDrawn="1"/>
        </p:nvSpPr>
        <p:spPr>
          <a:xfrm>
            <a:off x="430366" y="6581275"/>
            <a:ext cx="7103181" cy="2358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GB" sz="933">
                <a:solidFill>
                  <a:srgbClr val="3F4444"/>
                </a:solidFill>
              </a:rPr>
              <a:t>©AstraZeneca 2018 • FOR HEALTHCARE PROFESSIONAL USE ONLY</a:t>
            </a:r>
            <a:endParaRPr lang="en-US" sz="933">
              <a:solidFill>
                <a:srgbClr val="3F4444"/>
              </a:solidFill>
            </a:endParaRPr>
          </a:p>
        </p:txBody>
      </p:sp>
      <p:pic>
        <p:nvPicPr>
          <p:cNvPr id="8" name="Picture 7" descr="AZ_RGB_H_COL.jpg"/>
          <p:cNvPicPr>
            <a:picLocks noChangeAspect="1"/>
          </p:cNvPicPr>
          <p:nvPr userDrawn="1"/>
        </p:nvPicPr>
        <p:blipFill>
          <a:blip r:embed="rId2" cstate="print">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648499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chemeClr val="accent1"/>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chemeClr val="accent6"/>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4" name="TextBox 3"/>
          <p:cNvSpPr txBox="1"/>
          <p:nvPr userDrawn="1"/>
        </p:nvSpPr>
        <p:spPr>
          <a:xfrm>
            <a:off x="430366" y="6581275"/>
            <a:ext cx="7103181" cy="2358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GB" sz="933">
                <a:solidFill>
                  <a:srgbClr val="3F4444"/>
                </a:solidFill>
              </a:rPr>
              <a:t>©AstraZeneca 2018 • FOR HEALTHCARE PROFESSIONAL USE ONLY</a:t>
            </a:r>
            <a:endParaRPr lang="en-US" sz="933">
              <a:solidFill>
                <a:srgbClr val="3F4444"/>
              </a:solidFill>
            </a:endParaRPr>
          </a:p>
        </p:txBody>
      </p:sp>
      <p:pic>
        <p:nvPicPr>
          <p:cNvPr id="8" name="Picture 7" descr="AZ_RGB_H_COL.jpg"/>
          <p:cNvPicPr>
            <a:picLocks noChangeAspect="1"/>
          </p:cNvPicPr>
          <p:nvPr userDrawn="1"/>
        </p:nvPicPr>
        <p:blipFill>
          <a:blip r:embed="rId2" cstate="print">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6764768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20624" y="759884"/>
            <a:ext cx="10484443" cy="2901949"/>
          </a:xfrm>
        </p:spPr>
        <p:txBody>
          <a:bodyPr anchor="b">
            <a:normAutofit/>
          </a:bodyPr>
          <a:lstStyle>
            <a:lvl1pPr>
              <a:lnSpc>
                <a:spcPct val="90000"/>
              </a:lnSpc>
              <a:defRPr sz="3200">
                <a:solidFill>
                  <a:srgbClr val="83005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763434"/>
            <a:ext cx="10484443" cy="778935"/>
          </a:xfrm>
          <a:prstGeom prst="rect">
            <a:avLst/>
          </a:prstGeom>
        </p:spPr>
        <p:txBody>
          <a:bodyPr anchor="t" anchorCtr="0">
            <a:normAutofit/>
          </a:bodyPr>
          <a:lstStyle>
            <a:lvl1pPr marL="0" indent="0">
              <a:defRPr sz="2400" b="1" baseline="0">
                <a:solidFill>
                  <a:schemeClr val="accent4"/>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542369"/>
            <a:ext cx="10487483" cy="1028681"/>
          </a:xfrm>
          <a:prstGeom prst="rect">
            <a:avLst/>
          </a:prstGeom>
        </p:spPr>
        <p:txBody>
          <a:bodyPr anchor="b"/>
          <a:lstStyle>
            <a:lvl1pPr marL="4763" indent="-4763">
              <a:defRPr sz="1467">
                <a:solidFill>
                  <a:schemeClr val="accent1"/>
                </a:solidFill>
              </a:defRPr>
            </a:lvl1pPr>
          </a:lstStyle>
          <a:p>
            <a:pPr lvl="0"/>
            <a:r>
              <a:rPr lang="en-GB"/>
              <a:t>Click to edit Master text styles</a:t>
            </a:r>
          </a:p>
        </p:txBody>
      </p:sp>
      <p:sp>
        <p:nvSpPr>
          <p:cNvPr id="4" name="Rectangle 3"/>
          <p:cNvSpPr/>
          <p:nvPr userDrawn="1"/>
        </p:nvSpPr>
        <p:spPr bwMode="auto">
          <a:xfrm>
            <a:off x="11278991" y="6192762"/>
            <a:ext cx="510472" cy="665239"/>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
        <p:nvSpPr>
          <p:cNvPr id="8" name="TextBox 7"/>
          <p:cNvSpPr txBox="1"/>
          <p:nvPr userDrawn="1"/>
        </p:nvSpPr>
        <p:spPr>
          <a:xfrm>
            <a:off x="2539923" y="6590093"/>
            <a:ext cx="7103181" cy="23589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933" b="0" i="0" u="none" strike="noStrike" kern="0" cap="none" spc="0" normalizeH="0" baseline="0" noProof="0">
                <a:ln>
                  <a:noFill/>
                </a:ln>
                <a:solidFill>
                  <a:srgbClr val="C7C2BA">
                    <a:lumMod val="50000"/>
                  </a:srgbClr>
                </a:solidFill>
                <a:effectLst/>
                <a:uLnTx/>
                <a:uFillTx/>
              </a:rPr>
              <a:t>©AstraZeneca 2018 • FOR HEALTHCARE PROFESSIONAL USE ONLY</a:t>
            </a:r>
            <a:endParaRPr kumimoji="0" lang="en-US" sz="933" b="0" i="0" u="none" strike="noStrike" kern="0" cap="none" spc="0" normalizeH="0" baseline="0" noProof="0">
              <a:ln>
                <a:noFill/>
              </a:ln>
              <a:solidFill>
                <a:srgbClr val="C7C2BA">
                  <a:lumMod val="50000"/>
                </a:srgbClr>
              </a:solidFill>
              <a:effectLst/>
              <a:uLnTx/>
              <a:uFillTx/>
            </a:endParaRPr>
          </a:p>
        </p:txBody>
      </p:sp>
      <p:sp>
        <p:nvSpPr>
          <p:cNvPr id="9" name="Rectangle 8"/>
          <p:cNvSpPr/>
          <p:nvPr userDrawn="1"/>
        </p:nvSpPr>
        <p:spPr bwMode="auto">
          <a:xfrm>
            <a:off x="10371386" y="6192762"/>
            <a:ext cx="1418077" cy="665239"/>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pic>
        <p:nvPicPr>
          <p:cNvPr id="11" name="Picture 10" descr="AZ_RGB_H_COL.jpg"/>
          <p:cNvPicPr>
            <a:picLocks noChangeAspect="1"/>
          </p:cNvPicPr>
          <p:nvPr userDrawn="1"/>
        </p:nvPicPr>
        <p:blipFill>
          <a:blip r:embed="rId2" cstate="print">
            <a:alphaModFix/>
            <a:extLst>
              <a:ext uri="{28A0092B-C50C-407E-A947-70E740481C1C}">
                <a14:useLocalDpi xmlns:a14="http://schemas.microsoft.com/office/drawing/2010/main" val="0"/>
              </a:ext>
            </a:extLst>
          </a:blip>
          <a:stretch>
            <a:fillRect/>
          </a:stretch>
        </p:blipFill>
        <p:spPr>
          <a:xfrm>
            <a:off x="9373725" y="155869"/>
            <a:ext cx="2678400" cy="884732"/>
          </a:xfrm>
          <a:prstGeom prst="rect">
            <a:avLst/>
          </a:prstGeom>
        </p:spPr>
      </p:pic>
      <p:pic>
        <p:nvPicPr>
          <p:cNvPr id="14" name="Picture 13" descr="msd_ifl_lg_rgb_tl_dkgry.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03952" y="239495"/>
            <a:ext cx="2200163" cy="890653"/>
          </a:xfrm>
          <a:prstGeom prst="rect">
            <a:avLst/>
          </a:prstGeom>
        </p:spPr>
      </p:pic>
    </p:spTree>
    <p:extLst>
      <p:ext uri="{BB962C8B-B14F-4D97-AF65-F5344CB8AC3E}">
        <p14:creationId xmlns:p14="http://schemas.microsoft.com/office/powerpoint/2010/main" val="497733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150875"/>
            <a:ext cx="11208792" cy="908180"/>
          </a:xfrm>
        </p:spPr>
        <p:txBody>
          <a:bodyPr/>
          <a:lstStyle>
            <a:lvl1pPr>
              <a:defRPr>
                <a:solidFill>
                  <a:srgbClr val="830051"/>
                </a:solidFill>
              </a:defRPr>
            </a:lvl1pPr>
          </a:lstStyle>
          <a:p>
            <a:r>
              <a:rPr lang="en-GB" dirty="0"/>
              <a:t>Click to edit Master title style</a:t>
            </a:r>
          </a:p>
        </p:txBody>
      </p:sp>
      <p:sp>
        <p:nvSpPr>
          <p:cNvPr id="8" name="Text Placeholder 7"/>
          <p:cNvSpPr>
            <a:spLocks noGrp="1"/>
          </p:cNvSpPr>
          <p:nvPr>
            <p:ph type="body" sz="quarter" idx="10"/>
          </p:nvPr>
        </p:nvSpPr>
        <p:spPr>
          <a:xfrm>
            <a:off x="-1" y="6152877"/>
            <a:ext cx="10244668"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6A6356"/>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2" y="6180268"/>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5" y="1057821"/>
            <a:ext cx="11204788" cy="701273"/>
          </a:xfrm>
          <a:prstGeom prst="rect">
            <a:avLst/>
          </a:prstGeom>
          <a:noFill/>
          <a:ln>
            <a:noFill/>
          </a:ln>
        </p:spPr>
        <p:txBody>
          <a:bodyPr anchor="t">
            <a:noAutofit/>
          </a:bodyPr>
          <a:lstStyle>
            <a:lvl1pPr marL="0" indent="0">
              <a:lnSpc>
                <a:spcPct val="100000"/>
              </a:lnSpc>
              <a:buNone/>
              <a:defRPr sz="2000"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hasCustomPrompt="1"/>
          </p:nvPr>
        </p:nvSpPr>
        <p:spPr>
          <a:xfrm>
            <a:off x="430602" y="1686984"/>
            <a:ext cx="10443633" cy="4451349"/>
          </a:xfrm>
        </p:spPr>
        <p:txBody>
          <a:bodyPr>
            <a:normAutofit/>
          </a:bodyPr>
          <a:lstStyle>
            <a:lvl1pPr>
              <a:spcAft>
                <a:spcPts val="400"/>
              </a:spcAft>
              <a:defRPr sz="2133" b="0">
                <a:solidFill>
                  <a:srgbClr val="4B306A"/>
                </a:solidFill>
              </a:defRPr>
            </a:lvl1pPr>
            <a:lvl2pPr marL="241294" indent="-239178">
              <a:lnSpc>
                <a:spcPct val="100000"/>
              </a:lnSpc>
              <a:spcAft>
                <a:spcPts val="400"/>
              </a:spcAft>
              <a:defRPr sz="2133" b="0">
                <a:solidFill>
                  <a:schemeClr val="tx1"/>
                </a:solidFill>
              </a:defRPr>
            </a:lvl2pPr>
            <a:lvl3pPr marL="666734" indent="-188379">
              <a:lnSpc>
                <a:spcPct val="100000"/>
              </a:lnSpc>
              <a:spcAft>
                <a:spcPts val="400"/>
              </a:spcAft>
              <a:buSzPct val="80000"/>
              <a:buFont typeface="Arial" panose="020B0604020202020204" pitchFamily="34" charset="0"/>
              <a:buChar char="–"/>
              <a:defRPr sz="1600">
                <a:solidFill>
                  <a:schemeClr val="tx1"/>
                </a:solidFill>
              </a:defRPr>
            </a:lvl3pPr>
            <a:lvl4pPr>
              <a:lnSpc>
                <a:spcPct val="100000"/>
              </a:lnSpc>
              <a:spcAft>
                <a:spcPts val="400"/>
              </a:spcAft>
              <a:defRPr sz="1467">
                <a:solidFill>
                  <a:schemeClr val="tx1"/>
                </a:solidFill>
              </a:defRPr>
            </a:lvl4pPr>
            <a:lvl5pPr>
              <a:lnSpc>
                <a:spcPct val="100000"/>
              </a:lnSpc>
              <a:defRPr/>
            </a:lvl5pPr>
          </a:lstStyle>
          <a:p>
            <a:pPr lvl="1"/>
            <a:r>
              <a:rPr lang="en-GB" dirty="0"/>
              <a:t>Second level</a:t>
            </a:r>
          </a:p>
          <a:p>
            <a:pPr lvl="2"/>
            <a:r>
              <a:rPr lang="en-GB" dirty="0"/>
              <a:t>Third level</a:t>
            </a:r>
          </a:p>
          <a:p>
            <a:pPr lvl="3"/>
            <a:r>
              <a:rPr lang="en-GB" dirty="0"/>
              <a:t>Fourth level</a:t>
            </a:r>
          </a:p>
        </p:txBody>
      </p:sp>
      <p:sp>
        <p:nvSpPr>
          <p:cNvPr id="12"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24888368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2"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1" y="6152877"/>
            <a:ext cx="10227735"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6A6356"/>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1714329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11537304" y="6486810"/>
            <a:ext cx="654697" cy="366183"/>
          </a:xfrm>
          <a:prstGeom prst="rect">
            <a:avLst/>
          </a:prstGeom>
        </p:spPr>
        <p:txBody>
          <a:bodyPr/>
          <a:lstStyle/>
          <a:p>
            <a:fld id="{47E66208-4A1C-594F-8665-CB46850971E6}" type="slidenum">
              <a:rPr lang="en-GB" smtClean="0"/>
              <a:pPr/>
              <a:t>‹#›</a:t>
            </a:fld>
            <a:endParaRPr lang="en-GB"/>
          </a:p>
        </p:txBody>
      </p:sp>
      <p:sp>
        <p:nvSpPr>
          <p:cNvPr id="5" name="Content Placeholder 4"/>
          <p:cNvSpPr>
            <a:spLocks noGrp="1"/>
          </p:cNvSpPr>
          <p:nvPr>
            <p:ph sz="quarter" idx="11"/>
          </p:nvPr>
        </p:nvSpPr>
        <p:spPr>
          <a:xfrm>
            <a:off x="412751" y="1051284"/>
            <a:ext cx="11226800" cy="868971"/>
          </a:xfrm>
        </p:spPr>
        <p:txBody>
          <a:bodyPr>
            <a:normAutofit/>
          </a:bodyPr>
          <a:lstStyle>
            <a:lvl1pPr marL="0" indent="0">
              <a:defRPr sz="2000" b="0" i="1">
                <a:solidFill>
                  <a:srgbClr val="4B306A"/>
                </a:solidFill>
              </a:defRPr>
            </a:lvl1pPr>
          </a:lstStyle>
          <a:p>
            <a:pPr lvl="0"/>
            <a:r>
              <a:rPr lang="en-GB" dirty="0"/>
              <a:t>Click to edit Master text styles</a:t>
            </a:r>
          </a:p>
        </p:txBody>
      </p:sp>
      <p:sp>
        <p:nvSpPr>
          <p:cNvPr id="7" name="Content Placeholder 6"/>
          <p:cNvSpPr>
            <a:spLocks noGrp="1"/>
          </p:cNvSpPr>
          <p:nvPr>
            <p:ph sz="quarter" idx="12"/>
          </p:nvPr>
        </p:nvSpPr>
        <p:spPr>
          <a:xfrm>
            <a:off x="-1" y="6559598"/>
            <a:ext cx="8487999" cy="293393"/>
          </a:xfrm>
        </p:spPr>
        <p:txBody>
          <a:bodyPr anchor="b" anchorCtr="0">
            <a:noAutofit/>
          </a:bodyPr>
          <a:lstStyle>
            <a:lvl1pPr>
              <a:defRPr sz="1067" b="0">
                <a:solidFill>
                  <a:srgbClr val="6A6356"/>
                </a:solidFill>
              </a:defRPr>
            </a:lvl1pPr>
          </a:lstStyle>
          <a:p>
            <a:pPr lvl="0"/>
            <a:r>
              <a:rPr lang="en-GB" dirty="0"/>
              <a:t>Click to edit Master text styles</a:t>
            </a:r>
          </a:p>
        </p:txBody>
      </p:sp>
    </p:spTree>
    <p:extLst>
      <p:ext uri="{BB962C8B-B14F-4D97-AF65-F5344CB8AC3E}">
        <p14:creationId xmlns:p14="http://schemas.microsoft.com/office/powerpoint/2010/main" val="3099007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424630" y="267992"/>
            <a:ext cx="11687535" cy="672000"/>
          </a:xfrm>
          <a:prstGeom prst="rect">
            <a:avLst/>
          </a:prstGeom>
          <a:noFill/>
          <a:ln w="9525">
            <a:noFill/>
            <a:miter lim="800000"/>
            <a:headEnd/>
            <a:tailEnd/>
          </a:ln>
        </p:spPr>
        <p:txBody>
          <a:bodyPr vert="horz"/>
          <a:lstStyle>
            <a:lvl1pPr algn="l" defTabSz="609585" rtl="0" eaLnBrk="1" latinLnBrk="0" hangingPunct="1">
              <a:lnSpc>
                <a:spcPct val="100000"/>
              </a:lnSpc>
              <a:spcBef>
                <a:spcPct val="0"/>
              </a:spcBef>
              <a:buNone/>
              <a:defRPr lang="en-GB" sz="2667"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425347" y="1682031"/>
            <a:ext cx="9408000" cy="2160000"/>
          </a:xfrm>
          <a:prstGeom prst="rect">
            <a:avLst/>
          </a:prstGeom>
        </p:spPr>
        <p:txBody>
          <a:bodyPr vert="horz">
            <a:normAutofit/>
          </a:bodyPr>
          <a:lstStyle>
            <a:lvl1pPr marL="239178" indent="-239178" algn="l">
              <a:spcBef>
                <a:spcPts val="0"/>
              </a:spcBef>
              <a:buClr>
                <a:srgbClr val="4B306A"/>
              </a:buClr>
              <a:buFont typeface="Arial"/>
              <a:buChar char="•"/>
              <a:defRPr sz="2133" b="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3" name="Content Placeholder 2"/>
          <p:cNvSpPr>
            <a:spLocks noGrp="1"/>
          </p:cNvSpPr>
          <p:nvPr>
            <p:ph sz="quarter" idx="12"/>
          </p:nvPr>
        </p:nvSpPr>
        <p:spPr>
          <a:xfrm>
            <a:off x="1" y="6565851"/>
            <a:ext cx="10020300" cy="281293"/>
          </a:xfrm>
        </p:spPr>
        <p:txBody>
          <a:bodyPr anchor="b" anchorCtr="0">
            <a:normAutofit/>
          </a:bodyPr>
          <a:lstStyle>
            <a:lvl1pPr>
              <a:defRPr sz="1067" b="0">
                <a:solidFill>
                  <a:srgbClr val="6A6356"/>
                </a:solidFill>
              </a:defRPr>
            </a:lvl1pPr>
          </a:lstStyle>
          <a:p>
            <a:pPr lvl="0"/>
            <a:r>
              <a:rPr lang="en-GB" dirty="0"/>
              <a:t>Click to edit Master text styles</a:t>
            </a:r>
          </a:p>
        </p:txBody>
      </p:sp>
      <p:sp>
        <p:nvSpPr>
          <p:cNvPr id="7"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22294717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423929" y="1644095"/>
            <a:ext cx="11688232" cy="4230000"/>
          </a:xfrm>
          <a:prstGeom prst="rect">
            <a:avLst/>
          </a:prstGeom>
        </p:spPr>
        <p:txBody>
          <a:bodyPr/>
          <a:lstStyle>
            <a:lvl1pPr marL="239178" indent="-239178">
              <a:lnSpc>
                <a:spcPct val="100000"/>
              </a:lnSpc>
              <a:spcBef>
                <a:spcPts val="0"/>
              </a:spcBef>
              <a:buClr>
                <a:srgbClr val="4B306A"/>
              </a:buClr>
              <a:buFont typeface="Arial"/>
              <a:buChar char="•"/>
              <a:defRPr sz="2133" b="0">
                <a:solidFill>
                  <a:schemeClr val="tx1"/>
                </a:solidFill>
                <a:latin typeface="Arial" pitchFamily="34" charset="0"/>
                <a:cs typeface="Arial" pitchFamily="34" charset="0"/>
              </a:defRPr>
            </a:lvl1pPr>
            <a:lvl2pPr marL="629984" indent="-179996">
              <a:lnSpc>
                <a:spcPct val="100000"/>
              </a:lnSpc>
              <a:spcBef>
                <a:spcPts val="0"/>
              </a:spcBef>
              <a:buClr>
                <a:srgbClr val="4B306A"/>
              </a:buClr>
              <a:buFont typeface="Lucida Grande"/>
              <a:buChar char="–"/>
              <a:defRPr sz="1867" baseline="0">
                <a:solidFill>
                  <a:schemeClr val="tx1"/>
                </a:solidFill>
                <a:latin typeface="Arial" pitchFamily="34" charset="0"/>
                <a:cs typeface="Arial" pitchFamily="34" charset="0"/>
              </a:defRPr>
            </a:lvl2pPr>
            <a:lvl3pPr marL="1075240" indent="-245527">
              <a:buClr>
                <a:srgbClr val="4B306A"/>
              </a:buClr>
              <a:buFont typeface="Arial"/>
              <a:buChar char="•"/>
              <a:defRPr sz="1600" baseline="0">
                <a:latin typeface="Arial" pitchFamily="34" charset="0"/>
                <a:cs typeface="Arial" pitchFamily="34" charset="0"/>
              </a:defRPr>
            </a:lvl3pPr>
            <a:lvl4pPr marL="1316534" indent="-179913">
              <a:buClr>
                <a:srgbClr val="4B306A"/>
              </a:buClr>
              <a:buFont typeface="Arial" panose="020B0604020202020204" pitchFamily="34" charset="0"/>
              <a:buChar char="•"/>
              <a:defRPr sz="16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2"/>
            <a:r>
              <a:rPr lang="en-GB" noProof="0" dirty="0"/>
              <a:t>Third level</a:t>
            </a:r>
          </a:p>
          <a:p>
            <a:pPr lvl="3"/>
            <a:r>
              <a:rPr lang="en-GB" noProof="0" dirty="0"/>
              <a:t>Fourth level</a:t>
            </a:r>
          </a:p>
        </p:txBody>
      </p:sp>
      <p:sp>
        <p:nvSpPr>
          <p:cNvPr id="9" name="Title 8"/>
          <p:cNvSpPr>
            <a:spLocks noGrp="1"/>
          </p:cNvSpPr>
          <p:nvPr>
            <p:ph type="title" hasCustomPrompt="1"/>
          </p:nvPr>
        </p:nvSpPr>
        <p:spPr>
          <a:xfrm>
            <a:off x="424630" y="267992"/>
            <a:ext cx="11687535" cy="672000"/>
          </a:xfrm>
          <a:prstGeom prst="rect">
            <a:avLst/>
          </a:prstGeom>
        </p:spPr>
        <p:txBody>
          <a:bodyPr vert="horz"/>
          <a:lstStyle>
            <a:lvl1pPr algn="l" defTabSz="609585" rtl="0" eaLnBrk="1" latinLnBrk="0" hangingPunct="1">
              <a:lnSpc>
                <a:spcPct val="100000"/>
              </a:lnSpc>
              <a:spcBef>
                <a:spcPct val="0"/>
              </a:spcBef>
              <a:buNone/>
              <a:defRPr lang="en-GB" sz="2667"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
        <p:nvSpPr>
          <p:cNvPr id="3" name="Text Placeholder 2"/>
          <p:cNvSpPr>
            <a:spLocks noGrp="1"/>
          </p:cNvSpPr>
          <p:nvPr>
            <p:ph type="body" sz="quarter" idx="10"/>
          </p:nvPr>
        </p:nvSpPr>
        <p:spPr>
          <a:xfrm>
            <a:off x="423932" y="1056649"/>
            <a:ext cx="11688233" cy="664633"/>
          </a:xfrm>
          <a:prstGeom prst="rect">
            <a:avLst/>
          </a:prstGeom>
        </p:spPr>
        <p:txBody>
          <a:bodyPr>
            <a:normAutofit/>
          </a:bodyPr>
          <a:lstStyle>
            <a:lvl1pPr marL="0" indent="0">
              <a:buFontTx/>
              <a:buNone/>
              <a:defRPr sz="2000" b="0" i="1">
                <a:solidFill>
                  <a:srgbClr val="3C0F53"/>
                </a:solidFill>
              </a:defRPr>
            </a:lvl1pPr>
          </a:lstStyle>
          <a:p>
            <a:pPr lvl="0"/>
            <a:r>
              <a:rPr lang="en-US" dirty="0"/>
              <a:t>Click to edit Master text styles</a:t>
            </a:r>
          </a:p>
        </p:txBody>
      </p:sp>
      <p:sp>
        <p:nvSpPr>
          <p:cNvPr id="4" name="Content Placeholder 3"/>
          <p:cNvSpPr>
            <a:spLocks noGrp="1"/>
          </p:cNvSpPr>
          <p:nvPr>
            <p:ph sz="quarter" idx="11"/>
          </p:nvPr>
        </p:nvSpPr>
        <p:spPr>
          <a:xfrm>
            <a:off x="0" y="6565586"/>
            <a:ext cx="9725379" cy="292415"/>
          </a:xfrm>
        </p:spPr>
        <p:txBody>
          <a:bodyPr>
            <a:normAutofit/>
          </a:bodyPr>
          <a:lstStyle>
            <a:lvl1pPr>
              <a:defRPr sz="1067" b="0">
                <a:solidFill>
                  <a:srgbClr val="6A6356"/>
                </a:solidFill>
              </a:defRPr>
            </a:lvl1pPr>
          </a:lstStyle>
          <a:p>
            <a:pPr lvl="0"/>
            <a:r>
              <a:rPr lang="en-GB" dirty="0"/>
              <a:t>Click to edit Master text styles</a:t>
            </a:r>
          </a:p>
        </p:txBody>
      </p:sp>
      <p:sp>
        <p:nvSpPr>
          <p:cNvPr id="6"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29192963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11537304" y="6486810"/>
            <a:ext cx="654697" cy="366183"/>
          </a:xfrm>
          <a:prstGeom prst="rect">
            <a:avLst/>
          </a:prstGeom>
        </p:spPr>
        <p:txBody>
          <a:bodyPr/>
          <a:lstStyle/>
          <a:p>
            <a:fld id="{47E66208-4A1C-594F-8665-CB46850971E6}" type="slidenum">
              <a:rPr lang="en-GB" smtClean="0"/>
              <a:pPr/>
              <a:t>‹#›</a:t>
            </a:fld>
            <a:endParaRPr lang="en-GB"/>
          </a:p>
        </p:txBody>
      </p:sp>
      <p:sp>
        <p:nvSpPr>
          <p:cNvPr id="5" name="Content Placeholder 4"/>
          <p:cNvSpPr>
            <a:spLocks noGrp="1"/>
          </p:cNvSpPr>
          <p:nvPr>
            <p:ph sz="quarter" idx="11"/>
          </p:nvPr>
        </p:nvSpPr>
        <p:spPr>
          <a:xfrm>
            <a:off x="412751" y="1681192"/>
            <a:ext cx="5524500" cy="4202521"/>
          </a:xfrm>
        </p:spPr>
        <p:txBody>
          <a:bodyPr/>
          <a:lstStyle>
            <a:lvl1pPr marL="239178" indent="-239178">
              <a:buClr>
                <a:srgbClr val="4B306A"/>
              </a:buClr>
              <a:buFont typeface="Arial"/>
              <a:buChar char="•"/>
              <a:defRPr sz="2133" b="0"/>
            </a:lvl1pPr>
            <a:lvl2pPr marL="599002" indent="-239178">
              <a:buClr>
                <a:srgbClr val="4B306A"/>
              </a:buClr>
              <a:buFont typeface="Lucida Grande"/>
              <a:buChar char="–"/>
              <a:tabLst/>
              <a:defRPr sz="1867"/>
            </a:lvl2pPr>
            <a:lvl3pPr marL="836063" indent="-186262">
              <a:buClr>
                <a:srgbClr val="4B306A"/>
              </a:buClr>
              <a:buFont typeface="Arial"/>
              <a:buChar char="•"/>
              <a:defRPr sz="1600"/>
            </a:lvl3pPr>
            <a:lvl4pPr>
              <a:buClr>
                <a:srgbClr val="4B306A"/>
              </a:buClr>
              <a:defRPr/>
            </a:lvl4pPr>
            <a:lvl5pPr>
              <a:buClr>
                <a:srgbClr val="4B306A"/>
              </a:buCl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Content Placeholder 6"/>
          <p:cNvSpPr>
            <a:spLocks noGrp="1"/>
          </p:cNvSpPr>
          <p:nvPr>
            <p:ph sz="quarter" idx="12"/>
          </p:nvPr>
        </p:nvSpPr>
        <p:spPr>
          <a:xfrm>
            <a:off x="6240326" y="1681192"/>
            <a:ext cx="5399225" cy="4202521"/>
          </a:xfrm>
        </p:spPr>
        <p:txBody>
          <a:bodyPr/>
          <a:lstStyle>
            <a:lvl1pPr marL="239178" indent="-239178">
              <a:buClr>
                <a:srgbClr val="4B306A"/>
              </a:buClr>
              <a:buFont typeface="Arial"/>
              <a:buChar char="•"/>
              <a:defRPr sz="2133" b="0"/>
            </a:lvl1pPr>
            <a:lvl2pPr marL="599002" indent="-239178">
              <a:buClr>
                <a:srgbClr val="4B306A"/>
              </a:buClr>
              <a:buFont typeface="Lucida Grande"/>
              <a:buChar char="–"/>
              <a:defRPr sz="1867"/>
            </a:lvl2pPr>
            <a:lvl3pPr marL="836063" indent="-186262">
              <a:buClr>
                <a:srgbClr val="4B306A"/>
              </a:buClr>
              <a:buFont typeface="Arial"/>
              <a:buChar char="•"/>
              <a:defRPr sz="1600"/>
            </a:lvl3pPr>
            <a:lvl4pPr>
              <a:buClr>
                <a:srgbClr val="4B306A"/>
              </a:buClr>
              <a:defRPr/>
            </a:lvl4pPr>
            <a:lvl5pPr>
              <a:buClr>
                <a:srgbClr val="4B306A"/>
              </a:buCl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Content Placeholder 8"/>
          <p:cNvSpPr>
            <a:spLocks noGrp="1"/>
          </p:cNvSpPr>
          <p:nvPr>
            <p:ph sz="quarter" idx="13"/>
          </p:nvPr>
        </p:nvSpPr>
        <p:spPr>
          <a:xfrm>
            <a:off x="-107" y="6556756"/>
            <a:ext cx="9323873" cy="205995"/>
          </a:xfrm>
        </p:spPr>
        <p:txBody>
          <a:bodyPr>
            <a:normAutofit/>
          </a:bodyPr>
          <a:lstStyle>
            <a:lvl1pPr>
              <a:defRPr sz="1067" b="0">
                <a:solidFill>
                  <a:srgbClr val="6A6356"/>
                </a:solidFill>
              </a:defRPr>
            </a:lvl1pPr>
          </a:lstStyle>
          <a:p>
            <a:pPr lvl="0"/>
            <a:r>
              <a:rPr lang="en-GB" dirty="0"/>
              <a:t>Click to edit Master text styles</a:t>
            </a:r>
          </a:p>
        </p:txBody>
      </p:sp>
    </p:spTree>
    <p:extLst>
      <p:ext uri="{BB962C8B-B14F-4D97-AF65-F5344CB8AC3E}">
        <p14:creationId xmlns:p14="http://schemas.microsoft.com/office/powerpoint/2010/main" val="3892937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11537304" y="6486810"/>
            <a:ext cx="654697" cy="366183"/>
          </a:xfrm>
          <a:prstGeom prst="rect">
            <a:avLst/>
          </a:prstGeom>
        </p:spPr>
        <p:txBody>
          <a:bodyPr/>
          <a:lstStyle/>
          <a:p>
            <a:fld id="{47E66208-4A1C-594F-8665-CB46850971E6}" type="slidenum">
              <a:rPr lang="en-GB" smtClean="0"/>
              <a:pPr/>
              <a:t>‹#›</a:t>
            </a:fld>
            <a:endParaRPr lang="en-GB"/>
          </a:p>
        </p:txBody>
      </p:sp>
      <p:sp>
        <p:nvSpPr>
          <p:cNvPr id="5" name="Content Placeholder 4"/>
          <p:cNvSpPr>
            <a:spLocks noGrp="1"/>
          </p:cNvSpPr>
          <p:nvPr>
            <p:ph sz="quarter" idx="11"/>
          </p:nvPr>
        </p:nvSpPr>
        <p:spPr>
          <a:xfrm>
            <a:off x="419101" y="1681631"/>
            <a:ext cx="10477500" cy="3475567"/>
          </a:xfrm>
        </p:spPr>
        <p:txBody>
          <a:bodyPr/>
          <a:lstStyle>
            <a:lvl1pPr>
              <a:defRPr sz="2133" b="0">
                <a:solidFill>
                  <a:srgbClr val="4B306A"/>
                </a:solidFill>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Content Placeholder 6"/>
          <p:cNvSpPr>
            <a:spLocks noGrp="1"/>
          </p:cNvSpPr>
          <p:nvPr>
            <p:ph sz="quarter" idx="12"/>
          </p:nvPr>
        </p:nvSpPr>
        <p:spPr>
          <a:xfrm>
            <a:off x="419101" y="1050952"/>
            <a:ext cx="10996084" cy="597912"/>
          </a:xfrm>
        </p:spPr>
        <p:txBody>
          <a:bodyPr>
            <a:normAutofit/>
          </a:bodyPr>
          <a:lstStyle>
            <a:lvl1pPr marL="0" indent="0">
              <a:defRPr sz="2000" b="0" i="1">
                <a:solidFill>
                  <a:srgbClr val="4B306A"/>
                </a:solidFill>
              </a:defRPr>
            </a:lvl1pPr>
          </a:lstStyle>
          <a:p>
            <a:pPr lvl="0"/>
            <a:r>
              <a:rPr lang="en-GB" dirty="0"/>
              <a:t>Click to edit Master text styles</a:t>
            </a:r>
          </a:p>
        </p:txBody>
      </p:sp>
      <p:sp>
        <p:nvSpPr>
          <p:cNvPr id="9" name="Content Placeholder 8"/>
          <p:cNvSpPr>
            <a:spLocks noGrp="1"/>
          </p:cNvSpPr>
          <p:nvPr>
            <p:ph sz="quarter" idx="13"/>
          </p:nvPr>
        </p:nvSpPr>
        <p:spPr>
          <a:xfrm>
            <a:off x="-1" y="6556757"/>
            <a:ext cx="9084980" cy="290387"/>
          </a:xfrm>
        </p:spPr>
        <p:txBody>
          <a:bodyPr>
            <a:normAutofit/>
          </a:bodyPr>
          <a:lstStyle>
            <a:lvl1pPr>
              <a:defRPr sz="1067" b="0">
                <a:solidFill>
                  <a:srgbClr val="6A6356"/>
                </a:solidFill>
              </a:defRPr>
            </a:lvl1pPr>
          </a:lstStyle>
          <a:p>
            <a:pPr lvl="0"/>
            <a:r>
              <a:rPr lang="en-GB" dirty="0"/>
              <a:t>Click to edit Master text styles</a:t>
            </a:r>
          </a:p>
        </p:txBody>
      </p:sp>
    </p:spTree>
    <p:extLst>
      <p:ext uri="{BB962C8B-B14F-4D97-AF65-F5344CB8AC3E}">
        <p14:creationId xmlns:p14="http://schemas.microsoft.com/office/powerpoint/2010/main" val="2119901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329A9-14ED-3E46-882A-FC857F4A31C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47FBFE-8D71-504E-AE6C-44D834B930AB}"/>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C15AD003-50BA-9B46-B5F2-709B5B8B7E1F}"/>
              </a:ext>
            </a:extLst>
          </p:cNvPr>
          <p:cNvSpPr>
            <a:spLocks noGrp="1"/>
          </p:cNvSpPr>
          <p:nvPr>
            <p:ph type="sldNum" sz="quarter" idx="11"/>
          </p:nvPr>
        </p:nvSpPr>
        <p:spPr/>
        <p:txBody>
          <a:bodyPr/>
          <a:lstStyle/>
          <a:p>
            <a:fld id="{4FF61421-0D1F-374C-A6EF-D3B8E531EC5C}" type="slidenum">
              <a:rPr lang="en-US" smtClean="0"/>
              <a:pPr/>
              <a:t>‹#›</a:t>
            </a:fld>
            <a:endParaRPr lang="en-US"/>
          </a:p>
        </p:txBody>
      </p:sp>
      <p:sp>
        <p:nvSpPr>
          <p:cNvPr id="6" name="Rectangle 5">
            <a:extLst>
              <a:ext uri="{FF2B5EF4-FFF2-40B4-BE49-F238E27FC236}">
                <a16:creationId xmlns:a16="http://schemas.microsoft.com/office/drawing/2014/main" id="{394C9986-3E3B-3645-9507-D821BE68AA82}"/>
              </a:ext>
            </a:extLst>
          </p:cNvPr>
          <p:cNvSpPr>
            <a:spLocks noGrp="1" noChangeArrowheads="1"/>
          </p:cNvSpPr>
          <p:nvPr userDrawn="1"/>
        </p:nvSpPr>
        <p:spPr bwMode="auto">
          <a:xfrm>
            <a:off x="419101" y="4190920"/>
            <a:ext cx="4780844" cy="508000"/>
          </a:xfrm>
          <a:prstGeom prst="rect">
            <a:avLst/>
          </a:prstGeom>
          <a:noFill/>
          <a:ln w="9525">
            <a:noFill/>
            <a:miter lim="800000"/>
            <a:headEnd/>
            <a:tailEnd/>
          </a:ln>
          <a:effectLst/>
        </p:spPr>
        <p:txBody>
          <a:bodyPr anchor="b"/>
          <a:lstStyle/>
          <a:p>
            <a:r>
              <a:rPr lang="en-GB" sz="2133" b="1">
                <a:solidFill>
                  <a:schemeClr val="tx1"/>
                </a:solidFill>
                <a:latin typeface="Arial" pitchFamily="34" charset="0"/>
                <a:cs typeface="Arial" pitchFamily="34" charset="0"/>
              </a:rPr>
              <a:t>Confidentiality Notice </a:t>
            </a:r>
            <a:endParaRPr lang="en-GB" sz="3200">
              <a:solidFill>
                <a:schemeClr val="tx1"/>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C186AA42-3EF3-9647-AC42-ED3B9B1C0DFC}"/>
              </a:ext>
            </a:extLst>
          </p:cNvPr>
          <p:cNvSpPr>
            <a:spLocks noGrp="1" noChangeArrowheads="1"/>
          </p:cNvSpPr>
          <p:nvPr userDrawn="1"/>
        </p:nvSpPr>
        <p:spPr bwMode="auto">
          <a:xfrm>
            <a:off x="419100" y="4643725"/>
            <a:ext cx="11220451" cy="1152000"/>
          </a:xfrm>
          <a:prstGeom prst="rect">
            <a:avLst/>
          </a:prstGeom>
          <a:noFill/>
          <a:ln w="9525">
            <a:noFill/>
            <a:miter lim="800000"/>
            <a:headEnd/>
            <a:tailEnd/>
          </a:ln>
          <a:effectLst/>
        </p:spPr>
        <p:txBody>
          <a:bodyPr/>
          <a:lstStyle/>
          <a:p>
            <a:r>
              <a:rPr lang="en-GB" sz="1400" noProof="0">
                <a:solidFill>
                  <a:schemeClr val="tx1"/>
                </a:solidFill>
                <a:latin typeface="+mn-lt"/>
                <a:cs typeface="Arial"/>
              </a:rPr>
              <a:t>This file is private and may contain confidential and proprietary information. If you have received this file in error, please notify us and remove it from your system and note that you must not copy, distribute or take any action in reliance on it. Any unauthorised use or disclosure of the contents of this file is not permitted and may be unlawful. AstraZeneca PLC, </a:t>
            </a:r>
            <a:r>
              <a:rPr lang="en-US" sz="1400" kern="1200">
                <a:solidFill>
                  <a:schemeClr val="tx1"/>
                </a:solidFill>
                <a:latin typeface="+mn-lt"/>
                <a:ea typeface="+mn-ea"/>
                <a:cs typeface="Arial"/>
              </a:rPr>
              <a:t>1 Francis Crick Avenue</a:t>
            </a:r>
            <a:r>
              <a:rPr lang="en-US" sz="1400" kern="1200" baseline="0">
                <a:solidFill>
                  <a:schemeClr val="tx1"/>
                </a:solidFill>
                <a:latin typeface="+mn-lt"/>
                <a:ea typeface="+mn-ea"/>
                <a:cs typeface="Arial"/>
              </a:rPr>
              <a:t>, </a:t>
            </a:r>
            <a:r>
              <a:rPr lang="en-US" sz="1400" kern="1200">
                <a:solidFill>
                  <a:schemeClr val="tx1"/>
                </a:solidFill>
                <a:latin typeface="+mn-lt"/>
                <a:ea typeface="+mn-ea"/>
                <a:cs typeface="Arial"/>
              </a:rPr>
              <a:t>Cambridge Biomedical Campus, Cambridge, CB2 0AA</a:t>
            </a:r>
            <a:r>
              <a:rPr lang="en-GB" sz="1400" noProof="0">
                <a:solidFill>
                  <a:schemeClr val="tx1"/>
                </a:solidFill>
                <a:latin typeface="+mn-lt"/>
                <a:cs typeface="Arial"/>
              </a:rPr>
              <a:t>, UK, T: +44(0)203 749 5000, www.astrazeneca.com</a:t>
            </a:r>
          </a:p>
        </p:txBody>
      </p:sp>
    </p:spTree>
    <p:extLst>
      <p:ext uri="{BB962C8B-B14F-4D97-AF65-F5344CB8AC3E}">
        <p14:creationId xmlns:p14="http://schemas.microsoft.com/office/powerpoint/2010/main" val="21431650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Slide Title - Blank">
    <p:spTree>
      <p:nvGrpSpPr>
        <p:cNvPr id="1" name=""/>
        <p:cNvGrpSpPr/>
        <p:nvPr/>
      </p:nvGrpSpPr>
      <p:grpSpPr>
        <a:xfrm>
          <a:off x="0" y="0"/>
          <a:ext cx="0" cy="0"/>
          <a:chOff x="0" y="0"/>
          <a:chExt cx="0" cy="0"/>
        </a:xfrm>
      </p:grpSpPr>
      <p:sp>
        <p:nvSpPr>
          <p:cNvPr id="16" name="Title 8"/>
          <p:cNvSpPr>
            <a:spLocks noGrp="1"/>
          </p:cNvSpPr>
          <p:nvPr>
            <p:ph type="title" hasCustomPrompt="1"/>
          </p:nvPr>
        </p:nvSpPr>
        <p:spPr>
          <a:xfrm>
            <a:off x="288002" y="1848643"/>
            <a:ext cx="9097012" cy="672000"/>
          </a:xfrm>
          <a:prstGeom prst="rect">
            <a:avLst/>
          </a:prstGeom>
        </p:spPr>
        <p:txBody>
          <a:bodyPr vert="horz"/>
          <a:lstStyle>
            <a:lvl1pPr algn="l">
              <a:lnSpc>
                <a:spcPct val="90000"/>
              </a:lnSpc>
              <a:defRPr sz="3733" b="1" baseline="0">
                <a:solidFill>
                  <a:schemeClr val="accent1"/>
                </a:solidFill>
                <a:latin typeface="Arial" pitchFamily="34" charset="0"/>
                <a:cs typeface="Arial" pitchFamily="34" charset="0"/>
              </a:defRPr>
            </a:lvl1pPr>
          </a:lstStyle>
          <a:p>
            <a:r>
              <a:rPr lang="en-GB" noProof="0" dirty="0"/>
              <a:t>Click to add presentation title</a:t>
            </a:r>
          </a:p>
        </p:txBody>
      </p:sp>
      <p:sp>
        <p:nvSpPr>
          <p:cNvPr id="10" name="Text Placeholder 29"/>
          <p:cNvSpPr>
            <a:spLocks noGrp="1"/>
          </p:cNvSpPr>
          <p:nvPr>
            <p:ph type="body" sz="quarter" idx="11" hasCustomPrompt="1"/>
          </p:nvPr>
        </p:nvSpPr>
        <p:spPr>
          <a:xfrm>
            <a:off x="287999" y="5951992"/>
            <a:ext cx="8640000" cy="254400"/>
          </a:xfrm>
          <a:prstGeom prst="rect">
            <a:avLst/>
          </a:prstGeom>
        </p:spPr>
        <p:txBody>
          <a:bodyPr vert="horz"/>
          <a:lstStyle>
            <a:lvl1pPr marL="0" indent="0">
              <a:lnSpc>
                <a:spcPts val="1467"/>
              </a:lnSpc>
              <a:spcBef>
                <a:spcPts val="0"/>
              </a:spcBef>
              <a:buNone/>
              <a:defRPr sz="1867" b="1">
                <a:solidFill>
                  <a:srgbClr val="000000"/>
                </a:solidFill>
                <a:latin typeface="Arial" pitchFamily="34" charset="0"/>
                <a:cs typeface="Arial" pitchFamily="34" charset="0"/>
              </a:defRPr>
            </a:lvl1pPr>
          </a:lstStyle>
          <a:p>
            <a:pPr lvl="0"/>
            <a:r>
              <a:rPr lang="en-GB" noProof="0" dirty="0"/>
              <a:t>Click to add speaker title</a:t>
            </a:r>
          </a:p>
        </p:txBody>
      </p:sp>
      <p:sp>
        <p:nvSpPr>
          <p:cNvPr id="12" name="Text Placeholder 29"/>
          <p:cNvSpPr>
            <a:spLocks noGrp="1"/>
          </p:cNvSpPr>
          <p:nvPr>
            <p:ph type="body" sz="quarter" idx="12" hasCustomPrompt="1"/>
          </p:nvPr>
        </p:nvSpPr>
        <p:spPr>
          <a:xfrm>
            <a:off x="287999" y="6226992"/>
            <a:ext cx="8640000" cy="254400"/>
          </a:xfrm>
          <a:prstGeom prst="rect">
            <a:avLst/>
          </a:prstGeom>
        </p:spPr>
        <p:txBody>
          <a:bodyPr vert="horz"/>
          <a:lstStyle>
            <a:lvl1pPr marL="0" indent="0">
              <a:lnSpc>
                <a:spcPts val="1467"/>
              </a:lnSpc>
              <a:spcBef>
                <a:spcPts val="0"/>
              </a:spcBef>
              <a:buNone/>
              <a:defRPr sz="1600">
                <a:solidFill>
                  <a:srgbClr val="000000"/>
                </a:solidFill>
                <a:latin typeface="Arial" pitchFamily="34" charset="0"/>
                <a:cs typeface="Arial" pitchFamily="34" charset="0"/>
              </a:defRPr>
            </a:lvl1pPr>
          </a:lstStyle>
          <a:p>
            <a:pPr lvl="0"/>
            <a:r>
              <a:rPr lang="en-GB" noProof="0" dirty="0"/>
              <a:t>Click to add event title</a:t>
            </a:r>
          </a:p>
        </p:txBody>
      </p:sp>
      <p:sp>
        <p:nvSpPr>
          <p:cNvPr id="13" name="Text Placeholder 29"/>
          <p:cNvSpPr>
            <a:spLocks noGrp="1"/>
          </p:cNvSpPr>
          <p:nvPr>
            <p:ph type="body" sz="quarter" idx="15" hasCustomPrompt="1"/>
          </p:nvPr>
        </p:nvSpPr>
        <p:spPr>
          <a:xfrm>
            <a:off x="9504000" y="5951992"/>
            <a:ext cx="2496000" cy="254400"/>
          </a:xfrm>
          <a:prstGeom prst="rect">
            <a:avLst/>
          </a:prstGeom>
        </p:spPr>
        <p:txBody>
          <a:bodyPr vert="horz"/>
          <a:lstStyle>
            <a:lvl1pPr marL="0" indent="0">
              <a:lnSpc>
                <a:spcPts val="1467"/>
              </a:lnSpc>
              <a:spcBef>
                <a:spcPts val="0"/>
              </a:spcBef>
              <a:buNone/>
              <a:defRPr sz="1600" baseline="0">
                <a:solidFill>
                  <a:srgbClr val="000000"/>
                </a:solidFill>
                <a:latin typeface="Arial" pitchFamily="34" charset="0"/>
                <a:cs typeface="Arial" pitchFamily="34" charset="0"/>
              </a:defRPr>
            </a:lvl1pPr>
          </a:lstStyle>
          <a:p>
            <a:pPr lvl="0"/>
            <a:r>
              <a:rPr lang="en-GB" noProof="0" dirty="0"/>
              <a:t>Confidential statement</a:t>
            </a:r>
          </a:p>
        </p:txBody>
      </p:sp>
      <p:sp>
        <p:nvSpPr>
          <p:cNvPr id="14" name="Text Placeholder 29"/>
          <p:cNvSpPr>
            <a:spLocks noGrp="1"/>
          </p:cNvSpPr>
          <p:nvPr>
            <p:ph type="body" sz="quarter" idx="13" hasCustomPrompt="1"/>
          </p:nvPr>
        </p:nvSpPr>
        <p:spPr>
          <a:xfrm>
            <a:off x="9504000" y="6226992"/>
            <a:ext cx="2496000" cy="254400"/>
          </a:xfrm>
          <a:prstGeom prst="rect">
            <a:avLst/>
          </a:prstGeom>
        </p:spPr>
        <p:txBody>
          <a:bodyPr vert="horz"/>
          <a:lstStyle>
            <a:lvl1pPr marL="0" indent="0">
              <a:lnSpc>
                <a:spcPts val="1467"/>
              </a:lnSpc>
              <a:spcBef>
                <a:spcPts val="0"/>
              </a:spcBef>
              <a:buNone/>
              <a:defRPr sz="1600">
                <a:solidFill>
                  <a:srgbClr val="000000"/>
                </a:solidFill>
                <a:latin typeface="Arial" pitchFamily="34" charset="0"/>
                <a:cs typeface="Arial" pitchFamily="34" charset="0"/>
              </a:defRPr>
            </a:lvl1pPr>
          </a:lstStyle>
          <a:p>
            <a:pPr lvl="0"/>
            <a:r>
              <a:rPr lang="en-GB" noProof="0" dirty="0"/>
              <a:t>00 Month Year</a:t>
            </a:r>
          </a:p>
        </p:txBody>
      </p:sp>
      <p:pic>
        <p:nvPicPr>
          <p:cNvPr id="9" name="Picture 8" descr="AZ_RGB_H_COL.jpg"/>
          <p:cNvPicPr>
            <a:picLocks noChangeAspect="1"/>
          </p:cNvPicPr>
          <p:nvPr userDrawn="1"/>
        </p:nvPicPr>
        <p:blipFill>
          <a:blip r:embed="rId2" cstate="print">
            <a:alphaModFix/>
            <a:extLst>
              <a:ext uri="{28A0092B-C50C-407E-A947-70E740481C1C}">
                <a14:useLocalDpi xmlns:a14="http://schemas.microsoft.com/office/drawing/2010/main" val="0"/>
              </a:ext>
            </a:extLst>
          </a:blip>
          <a:stretch>
            <a:fillRect/>
          </a:stretch>
        </p:blipFill>
        <p:spPr>
          <a:xfrm>
            <a:off x="9373725" y="155869"/>
            <a:ext cx="2678400" cy="884732"/>
          </a:xfrm>
          <a:prstGeom prst="rect">
            <a:avLst/>
          </a:prstGeom>
        </p:spPr>
      </p:pic>
      <p:pic>
        <p:nvPicPr>
          <p:cNvPr id="15" name="Picture 14">
            <a:extLst>
              <a:ext uri="{FF2B5EF4-FFF2-40B4-BE49-F238E27FC236}">
                <a16:creationId xmlns:a16="http://schemas.microsoft.com/office/drawing/2014/main" id="{24A785AB-E122-44C8-843E-CB79C8274929}"/>
              </a:ext>
            </a:extLst>
          </p:cNvPr>
          <p:cNvPicPr>
            <a:picLocks noChangeAspect="1"/>
          </p:cNvPicPr>
          <p:nvPr userDrawn="1"/>
        </p:nvPicPr>
        <p:blipFill>
          <a:blip r:embed="rId3"/>
          <a:stretch>
            <a:fillRect/>
          </a:stretch>
        </p:blipFill>
        <p:spPr>
          <a:xfrm>
            <a:off x="6908185" y="243729"/>
            <a:ext cx="2309104" cy="877031"/>
          </a:xfrm>
          <a:prstGeom prst="rect">
            <a:avLst/>
          </a:prstGeom>
        </p:spPr>
      </p:pic>
    </p:spTree>
    <p:extLst>
      <p:ext uri="{BB962C8B-B14F-4D97-AF65-F5344CB8AC3E}">
        <p14:creationId xmlns:p14="http://schemas.microsoft.com/office/powerpoint/2010/main" val="1173759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4" y="198707"/>
            <a:ext cx="11647317" cy="864403"/>
          </a:xfrm>
        </p:spPr>
        <p:txBody>
          <a:bodyPr/>
          <a:lstStyle>
            <a:lvl1pPr>
              <a:defRPr cap="none" baseline="0"/>
            </a:lvl1pPr>
          </a:lstStyle>
          <a:p>
            <a:r>
              <a:rPr lang="en-US" dirty="0"/>
              <a:t>CLICK TO EDIT SLIDE MASTER </a:t>
            </a:r>
          </a:p>
        </p:txBody>
      </p:sp>
      <p:sp>
        <p:nvSpPr>
          <p:cNvPr id="3" name="Content Placeholder 2"/>
          <p:cNvSpPr>
            <a:spLocks noGrp="1"/>
          </p:cNvSpPr>
          <p:nvPr>
            <p:ph idx="1"/>
          </p:nvPr>
        </p:nvSpPr>
        <p:spPr>
          <a:xfrm>
            <a:off x="290684" y="1868643"/>
            <a:ext cx="11647317" cy="4189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790729" y="6499391"/>
            <a:ext cx="8707033" cy="169335"/>
          </a:xfrm>
          <a:prstGeom prst="rect">
            <a:avLst/>
          </a:prstGeom>
        </p:spPr>
        <p:txBody>
          <a:bodyPr lIns="91400" tIns="45702" rIns="91400" bIns="45702"/>
          <a:lstStyle/>
          <a:p>
            <a:r>
              <a:rPr lang="en-US"/>
              <a:t>Proprietary and Confidential ©AstraZeneca 2014 • FOR INTERNAL USE ONLY. This document is not to be shared or distributed outside of AstraZeneca</a:t>
            </a:r>
          </a:p>
        </p:txBody>
      </p:sp>
      <p:sp>
        <p:nvSpPr>
          <p:cNvPr id="6" name="Slide Number Placeholder 5"/>
          <p:cNvSpPr>
            <a:spLocks noGrp="1"/>
          </p:cNvSpPr>
          <p:nvPr>
            <p:ph type="sldNum" sz="quarter" idx="12"/>
          </p:nvPr>
        </p:nvSpPr>
        <p:spPr/>
        <p:txBody>
          <a:bodyPr/>
          <a:lstStyle/>
          <a:p>
            <a:fld id="{F010A110-AE06-9743-A649-DAA2360FF4B9}" type="slidenum">
              <a:rPr lang="en-US" smtClean="0"/>
              <a:pPr/>
              <a:t>‹#›</a:t>
            </a:fld>
            <a:endParaRPr lang="en-US"/>
          </a:p>
        </p:txBody>
      </p:sp>
      <p:sp>
        <p:nvSpPr>
          <p:cNvPr id="7" name="Text Placeholder 2"/>
          <p:cNvSpPr>
            <a:spLocks noGrp="1"/>
          </p:cNvSpPr>
          <p:nvPr>
            <p:ph type="body" idx="13"/>
          </p:nvPr>
        </p:nvSpPr>
        <p:spPr>
          <a:xfrm>
            <a:off x="290684" y="1208006"/>
            <a:ext cx="11647317" cy="580225"/>
          </a:xfrm>
        </p:spPr>
        <p:txBody>
          <a:bodyPr anchor="b">
            <a:normAutofit/>
          </a:bodyPr>
          <a:lstStyle>
            <a:lvl1pPr marL="0" indent="0">
              <a:buNone/>
              <a:defRPr sz="1600" b="1" i="0">
                <a:solidFill>
                  <a:schemeClr val="accent2"/>
                </a:solidFill>
                <a:latin typeface="Arial"/>
                <a:cs typeface="Arial"/>
              </a:defRPr>
            </a:lvl1pPr>
            <a:lvl2pPr marL="456999" indent="0">
              <a:buNone/>
              <a:defRPr sz="2000" b="1"/>
            </a:lvl2pPr>
            <a:lvl3pPr marL="913998" indent="0">
              <a:buNone/>
              <a:defRPr sz="1800" b="1"/>
            </a:lvl3pPr>
            <a:lvl4pPr marL="1370998" indent="0">
              <a:buNone/>
              <a:defRPr sz="1600" b="1"/>
            </a:lvl4pPr>
            <a:lvl5pPr marL="1827996" indent="0">
              <a:buNone/>
              <a:defRPr sz="1600" b="1"/>
            </a:lvl5pPr>
            <a:lvl6pPr marL="2284995" indent="0">
              <a:buNone/>
              <a:defRPr sz="1600" b="1"/>
            </a:lvl6pPr>
            <a:lvl7pPr marL="2741994" indent="0">
              <a:buNone/>
              <a:defRPr sz="1600" b="1"/>
            </a:lvl7pPr>
            <a:lvl8pPr marL="3198992" indent="0">
              <a:buNone/>
              <a:defRPr sz="1600" b="1"/>
            </a:lvl8pPr>
            <a:lvl9pPr marL="3655991" indent="0">
              <a:buNone/>
              <a:defRPr sz="1600" b="1"/>
            </a:lvl9pPr>
          </a:lstStyle>
          <a:p>
            <a:pPr lvl="0"/>
            <a:r>
              <a:rPr lang="en-US" dirty="0"/>
              <a:t>Click to edit Master text styles</a:t>
            </a:r>
          </a:p>
        </p:txBody>
      </p:sp>
    </p:spTree>
    <p:extLst>
      <p:ext uri="{BB962C8B-B14F-4D97-AF65-F5344CB8AC3E}">
        <p14:creationId xmlns:p14="http://schemas.microsoft.com/office/powerpoint/2010/main" val="3957156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userDrawn="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US"/>
              <a:t>Fare clic per modificare stile</a:t>
            </a:r>
            <a:endParaRPr lang="it-IT"/>
          </a:p>
        </p:txBody>
      </p:sp>
      <p:sp>
        <p:nvSpPr>
          <p:cNvPr id="3" name="Segnaposto contenuto 2"/>
          <p:cNvSpPr>
            <a:spLocks noGrp="1"/>
          </p:cNvSpPr>
          <p:nvPr>
            <p:ph idx="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gli</a:t>
            </a:r>
            <a:r>
              <a:rPr lang="en-US" dirty="0"/>
              <a:t> </a:t>
            </a:r>
            <a:r>
              <a:rPr lang="en-US" dirty="0" err="1"/>
              <a:t>stili</a:t>
            </a:r>
            <a:r>
              <a:rPr lang="en-US" dirty="0"/>
              <a:t> del </a:t>
            </a:r>
            <a:r>
              <a:rPr lang="en-US" dirty="0" err="1"/>
              <a:t>testo</a:t>
            </a:r>
            <a:r>
              <a:rPr lang="en-US" dirty="0"/>
              <a:t> </a:t>
            </a:r>
            <a:r>
              <a:rPr lang="en-US" dirty="0" err="1"/>
              <a:t>dello</a:t>
            </a:r>
            <a:r>
              <a:rPr lang="en-US" dirty="0"/>
              <a:t> schema</a:t>
            </a:r>
          </a:p>
          <a:p>
            <a:pPr lvl="1"/>
            <a:r>
              <a:rPr lang="en-US" dirty="0" err="1"/>
              <a:t>Secondo</a:t>
            </a:r>
            <a:r>
              <a:rPr lang="en-US" dirty="0"/>
              <a:t>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err="1"/>
              <a:t>Quinto</a:t>
            </a:r>
            <a:r>
              <a:rPr lang="en-US" dirty="0"/>
              <a:t> </a:t>
            </a:r>
            <a:r>
              <a:rPr lang="en-US" dirty="0" err="1"/>
              <a:t>livello</a:t>
            </a:r>
            <a:endParaRPr lang="it-IT" dirty="0"/>
          </a:p>
        </p:txBody>
      </p:sp>
      <p:sp>
        <p:nvSpPr>
          <p:cNvPr id="4" name="Segnaposto data 3"/>
          <p:cNvSpPr>
            <a:spLocks noGrp="1"/>
          </p:cNvSpPr>
          <p:nvPr>
            <p:ph type="dt" sz="half" idx="10"/>
          </p:nvPr>
        </p:nvSpPr>
        <p:spPr/>
        <p:txBody>
          <a:bodyPr/>
          <a:lstStyle/>
          <a:p>
            <a:pPr fontAlgn="base">
              <a:spcBef>
                <a:spcPct val="0"/>
              </a:spcBef>
              <a:spcAft>
                <a:spcPct val="0"/>
              </a:spcAft>
            </a:pPr>
            <a:fld id="{2086F947-4537-4010-9FDA-DE6CE0E0A95B}" type="datetimeFigureOut">
              <a:rPr lang="en-US" smtClean="0"/>
              <a:pPr fontAlgn="base">
                <a:spcBef>
                  <a:spcPct val="0"/>
                </a:spcBef>
                <a:spcAft>
                  <a:spcPct val="0"/>
                </a:spcAft>
              </a:pPr>
              <a:t>4/12/26</a:t>
            </a:fld>
            <a:endParaRPr lang="en-US"/>
          </a:p>
        </p:txBody>
      </p:sp>
      <p:sp>
        <p:nvSpPr>
          <p:cNvPr id="5" name="Segnaposto piè di pagina 4"/>
          <p:cNvSpPr>
            <a:spLocks noGrp="1"/>
          </p:cNvSpPr>
          <p:nvPr>
            <p:ph type="ftr" sz="quarter" idx="11"/>
          </p:nvPr>
        </p:nvSpPr>
        <p:spPr/>
        <p:txBody>
          <a:bodyPr/>
          <a:lstStyle/>
          <a:p>
            <a:pPr fontAlgn="base">
              <a:spcBef>
                <a:spcPct val="0"/>
              </a:spcBef>
              <a:spcAft>
                <a:spcPct val="0"/>
              </a:spcAft>
            </a:pPr>
            <a:endParaRPr lang="it-IT"/>
          </a:p>
        </p:txBody>
      </p:sp>
      <p:sp>
        <p:nvSpPr>
          <p:cNvPr id="6" name="Segnaposto numero diapositiva 5"/>
          <p:cNvSpPr>
            <a:spLocks noGrp="1"/>
          </p:cNvSpPr>
          <p:nvPr>
            <p:ph type="sldNum" sz="quarter" idx="12"/>
          </p:nvPr>
        </p:nvSpPr>
        <p:spPr/>
        <p:txBody>
          <a:bodyPr/>
          <a:lstStyle/>
          <a:p>
            <a:pPr fontAlgn="base">
              <a:spcBef>
                <a:spcPct val="0"/>
              </a:spcBef>
              <a:spcAft>
                <a:spcPct val="0"/>
              </a:spcAft>
            </a:pPr>
            <a:fld id="{821A7115-F75B-499B-A16D-A042ED475D9B}"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12493001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titleOnly">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7EDDE8D4-C476-4EFF-8C0C-EA4B5A02DD56}" type="datetimeFigureOut">
              <a:rPr lang="ru-RU" smtClean="0"/>
              <a:t>12.04.2026</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F283E09F-9A6F-4B56-AD52-BC5B071BA75A}" type="slidenum">
              <a:rPr lang="ru-RU" smtClean="0"/>
              <a:t>‹#›</a:t>
            </a:fld>
            <a:endParaRPr lang="ru-RU"/>
          </a:p>
        </p:txBody>
      </p:sp>
    </p:spTree>
    <p:extLst>
      <p:ext uri="{BB962C8B-B14F-4D97-AF65-F5344CB8AC3E}">
        <p14:creationId xmlns:p14="http://schemas.microsoft.com/office/powerpoint/2010/main" val="2553320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userDrawn="1">
  <p:cSld name="1_Tile and content full pag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76000" y="432005"/>
            <a:ext cx="10972800" cy="276999"/>
          </a:xfrm>
        </p:spPr>
        <p:txBody>
          <a:bodyPr/>
          <a:lstStyle>
            <a:lvl1pPr>
              <a:defRPr sz="3000" baseline="0">
                <a:solidFill>
                  <a:schemeClr val="tx1"/>
                </a:solidFill>
              </a:defRPr>
            </a:lvl1pPr>
          </a:lstStyle>
          <a:p>
            <a:r>
              <a:rPr lang="en-US" dirty="0"/>
              <a:t>CLICK TO EDIT MASTER TITLE STYLE</a:t>
            </a:r>
            <a:endParaRPr lang="en-GB" dirty="0"/>
          </a:p>
        </p:txBody>
      </p:sp>
      <p:sp>
        <p:nvSpPr>
          <p:cNvPr id="12" name="Content Placeholder 2"/>
          <p:cNvSpPr>
            <a:spLocks noGrp="1"/>
          </p:cNvSpPr>
          <p:nvPr>
            <p:ph idx="1"/>
          </p:nvPr>
        </p:nvSpPr>
        <p:spPr>
          <a:xfrm>
            <a:off x="576000" y="1700809"/>
            <a:ext cx="10972800" cy="144039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032171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848326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F28BD-74F7-4A82-B506-2A1F2000E92D}"/>
              </a:ext>
            </a:extLst>
          </p:cNvPr>
          <p:cNvSpPr>
            <a:spLocks noGrp="1"/>
          </p:cNvSpPr>
          <p:nvPr>
            <p:ph type="title"/>
          </p:nvPr>
        </p:nvSpPr>
        <p:spPr>
          <a:xfrm>
            <a:off x="1055803" y="347873"/>
            <a:ext cx="10801235" cy="1325563"/>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4150BCA4-3AF7-461B-AB64-459499C06FFA}"/>
              </a:ext>
            </a:extLst>
          </p:cNvPr>
          <p:cNvSpPr>
            <a:spLocks noGrp="1"/>
          </p:cNvSpPr>
          <p:nvPr>
            <p:ph idx="1"/>
          </p:nvPr>
        </p:nvSpPr>
        <p:spPr>
          <a:xfrm>
            <a:off x="1055803" y="1825625"/>
            <a:ext cx="10801235" cy="43513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AFDC7DC4-1100-4E32-8B64-617A78A2D47A}"/>
              </a:ext>
            </a:extLst>
          </p:cNvPr>
          <p:cNvSpPr>
            <a:spLocks noGrp="1"/>
          </p:cNvSpPr>
          <p:nvPr>
            <p:ph type="sldNum" sz="quarter" idx="12"/>
          </p:nvPr>
        </p:nvSpPr>
        <p:spPr/>
        <p:txBody>
          <a:bodyPr/>
          <a:lstStyle/>
          <a:p>
            <a:pPr defTabSz="912768">
              <a:defRPr/>
            </a:pPr>
            <a:fld id="{729EBAF0-93D3-4D3E-ADD9-A2EE90FE682E}" type="slidenum">
              <a:rPr lang="en-GB" sz="1200" smtClean="0">
                <a:solidFill>
                  <a:prstClr val="black">
                    <a:tint val="75000"/>
                  </a:prstClr>
                </a:solidFill>
                <a:latin typeface="Calibri"/>
              </a:rPr>
              <a:pPr defTabSz="912768">
                <a:defRPr/>
              </a:pPr>
              <a:t>‹#›</a:t>
            </a:fld>
            <a:endParaRPr lang="en-GB" sz="1200">
              <a:solidFill>
                <a:prstClr val="black">
                  <a:tint val="75000"/>
                </a:prstClr>
              </a:solidFill>
              <a:latin typeface="Calibri"/>
            </a:endParaRPr>
          </a:p>
        </p:txBody>
      </p:sp>
      <p:sp>
        <p:nvSpPr>
          <p:cNvPr id="8" name="Text Placeholder 7">
            <a:extLst>
              <a:ext uri="{FF2B5EF4-FFF2-40B4-BE49-F238E27FC236}">
                <a16:creationId xmlns:a16="http://schemas.microsoft.com/office/drawing/2014/main" id="{7BB6E02D-31EC-4F55-B6EE-3AF97F633764}"/>
              </a:ext>
            </a:extLst>
          </p:cNvPr>
          <p:cNvSpPr>
            <a:spLocks noGrp="1"/>
          </p:cNvSpPr>
          <p:nvPr>
            <p:ph type="body" sz="quarter" idx="13" hasCustomPrompt="1"/>
          </p:nvPr>
        </p:nvSpPr>
        <p:spPr>
          <a:xfrm>
            <a:off x="1055803" y="6391560"/>
            <a:ext cx="4212000" cy="200055"/>
          </a:xfrm>
        </p:spPr>
        <p:txBody>
          <a:bodyPr wrap="square" bIns="0" anchor="b">
            <a:spAutoFit/>
          </a:bodyPr>
          <a:lstStyle>
            <a:lvl1pPr marL="0" indent="0">
              <a:spcBef>
                <a:spcPts val="0"/>
              </a:spcBef>
              <a:spcAft>
                <a:spcPts val="0"/>
              </a:spcAft>
              <a:buNone/>
              <a:defRPr sz="1000">
                <a:solidFill>
                  <a:schemeClr val="tx2"/>
                </a:solidFill>
              </a:defRPr>
            </a:lvl1pPr>
          </a:lstStyle>
          <a:p>
            <a:pPr lvl="0"/>
            <a:r>
              <a:rPr lang="en-US" dirty="0"/>
              <a:t>Abbreviations</a:t>
            </a:r>
            <a:endParaRPr lang="en-GB" dirty="0"/>
          </a:p>
        </p:txBody>
      </p:sp>
      <p:sp>
        <p:nvSpPr>
          <p:cNvPr id="9" name="Text Placeholder 7">
            <a:extLst>
              <a:ext uri="{FF2B5EF4-FFF2-40B4-BE49-F238E27FC236}">
                <a16:creationId xmlns:a16="http://schemas.microsoft.com/office/drawing/2014/main" id="{6E2911CA-A940-4701-918B-6070B844ECF7}"/>
              </a:ext>
            </a:extLst>
          </p:cNvPr>
          <p:cNvSpPr>
            <a:spLocks noGrp="1"/>
          </p:cNvSpPr>
          <p:nvPr>
            <p:ph type="body" sz="quarter" idx="14" hasCustomPrompt="1"/>
          </p:nvPr>
        </p:nvSpPr>
        <p:spPr>
          <a:xfrm>
            <a:off x="5518816" y="6391560"/>
            <a:ext cx="4212000" cy="200055"/>
          </a:xfrm>
        </p:spPr>
        <p:txBody>
          <a:bodyPr wrap="square" bIns="0" anchor="b">
            <a:spAutoFit/>
          </a:bodyPr>
          <a:lstStyle>
            <a:lvl1pPr marL="0" indent="0" algn="r">
              <a:spcBef>
                <a:spcPts val="0"/>
              </a:spcBef>
              <a:spcAft>
                <a:spcPts val="0"/>
              </a:spcAft>
              <a:buNone/>
              <a:defRPr sz="1000">
                <a:solidFill>
                  <a:schemeClr val="tx2"/>
                </a:solidFill>
              </a:defRPr>
            </a:lvl1pPr>
          </a:lstStyle>
          <a:p>
            <a:pPr lvl="0"/>
            <a:r>
              <a:rPr lang="en-US" dirty="0"/>
              <a:t>References</a:t>
            </a:r>
            <a:endParaRPr lang="en-GB" dirty="0"/>
          </a:p>
        </p:txBody>
      </p:sp>
      <p:sp>
        <p:nvSpPr>
          <p:cNvPr id="4" name="Rectangle 3">
            <a:extLst>
              <a:ext uri="{FF2B5EF4-FFF2-40B4-BE49-F238E27FC236}">
                <a16:creationId xmlns:a16="http://schemas.microsoft.com/office/drawing/2014/main" id="{06071572-0F16-4886-AB99-E49BC06C924D}"/>
              </a:ext>
            </a:extLst>
          </p:cNvPr>
          <p:cNvSpPr/>
          <p:nvPr userDrawn="1"/>
        </p:nvSpPr>
        <p:spPr>
          <a:xfrm>
            <a:off x="0" y="0"/>
            <a:ext cx="843455" cy="6858000"/>
          </a:xfrm>
          <a:prstGeom prst="rect">
            <a:avLst/>
          </a:prstGeom>
          <a:blipFill dpi="0" rotWithShape="1">
            <a:blip r:embed="rId2">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76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DD3B0B2A-B125-4B5A-80FC-A949AC1A0A4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846470" y="6110289"/>
            <a:ext cx="2124271" cy="652460"/>
          </a:xfrm>
          <a:prstGeom prst="rect">
            <a:avLst/>
          </a:prstGeom>
        </p:spPr>
      </p:pic>
    </p:spTree>
    <p:extLst>
      <p:ext uri="{BB962C8B-B14F-4D97-AF65-F5344CB8AC3E}">
        <p14:creationId xmlns:p14="http://schemas.microsoft.com/office/powerpoint/2010/main" val="2696353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userDrawn="1">
  <p:cSld name="TH Content Slide (1-2 line title)">
    <p:spTree>
      <p:nvGrpSpPr>
        <p:cNvPr id="1" name=""/>
        <p:cNvGrpSpPr/>
        <p:nvPr/>
      </p:nvGrpSpPr>
      <p:grpSpPr>
        <a:xfrm>
          <a:off x="0" y="0"/>
          <a:ext cx="0" cy="0"/>
          <a:chOff x="0" y="0"/>
          <a:chExt cx="0" cy="0"/>
        </a:xfrm>
      </p:grpSpPr>
      <p:sp>
        <p:nvSpPr>
          <p:cNvPr id="23" name="Text Placeholder 1"/>
          <p:cNvSpPr>
            <a:spLocks noGrp="1"/>
          </p:cNvSpPr>
          <p:nvPr>
            <p:ph idx="1" hasCustomPrompt="1"/>
          </p:nvPr>
        </p:nvSpPr>
        <p:spPr bwMode="auto">
          <a:xfrm>
            <a:off x="254000" y="1381921"/>
            <a:ext cx="11328403" cy="47521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p:txBody>
      </p:sp>
      <p:sp>
        <p:nvSpPr>
          <p:cNvPr id="6" name="Text Placeholder 2"/>
          <p:cNvSpPr>
            <a:spLocks noGrp="1"/>
          </p:cNvSpPr>
          <p:nvPr>
            <p:ph type="body" sz="quarter" idx="15"/>
          </p:nvPr>
        </p:nvSpPr>
        <p:spPr>
          <a:xfrm>
            <a:off x="253997" y="6161088"/>
            <a:ext cx="11419083" cy="696912"/>
          </a:xfrm>
        </p:spPr>
        <p:txBody>
          <a:bodyPr anchor="b">
            <a:normAutofit/>
          </a:bodyPr>
          <a:lstStyle>
            <a:lvl1pPr marL="0" indent="0">
              <a:lnSpc>
                <a:spcPct val="90000"/>
              </a:lnSpc>
              <a:spcBef>
                <a:spcPts val="0"/>
              </a:spcBef>
              <a:buFontTx/>
              <a:buNone/>
              <a:defRPr sz="1400" b="0"/>
            </a:lvl1pPr>
          </a:lstStyle>
          <a:p>
            <a:pPr lvl="0"/>
            <a:endParaRPr lang="en-US" dirty="0"/>
          </a:p>
        </p:txBody>
      </p:sp>
      <p:sp>
        <p:nvSpPr>
          <p:cNvPr id="8" name="Title Placeholder 10"/>
          <p:cNvSpPr>
            <a:spLocks noGrp="1"/>
          </p:cNvSpPr>
          <p:nvPr>
            <p:ph type="title"/>
          </p:nvPr>
        </p:nvSpPr>
        <p:spPr bwMode="auto">
          <a:xfrm>
            <a:off x="253997" y="78391"/>
            <a:ext cx="11680616" cy="9953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nSpc>
                <a:spcPct val="90000"/>
              </a:lnSpc>
              <a:defRPr/>
            </a:lvl1pPr>
          </a:lstStyle>
          <a:p>
            <a:pPr lvl="0"/>
            <a:r>
              <a:rPr lang="en-US" altLang="en-US" dirty="0"/>
              <a:t>Click To Edit Master Title Style</a:t>
            </a:r>
          </a:p>
        </p:txBody>
      </p:sp>
      <p:sp>
        <p:nvSpPr>
          <p:cNvPr id="9" name="Slide Number Placeholder 4"/>
          <p:cNvSpPr>
            <a:spLocks noGrp="1"/>
          </p:cNvSpPr>
          <p:nvPr>
            <p:ph type="sldNum" sz="quarter" idx="4"/>
          </p:nvPr>
        </p:nvSpPr>
        <p:spPr>
          <a:xfrm>
            <a:off x="11656911" y="6326112"/>
            <a:ext cx="632884" cy="365125"/>
          </a:xfrm>
          <a:prstGeom prst="rect">
            <a:avLst/>
          </a:prstGeom>
        </p:spPr>
        <p:txBody>
          <a:bodyPr vert="horz" lIns="91440" tIns="45720" rIns="91440" bIns="45720" rtlCol="0" anchor="ctr"/>
          <a:lstStyle>
            <a:lvl1pPr algn="ctr">
              <a:defRPr sz="1200" b="1">
                <a:solidFill>
                  <a:srgbClr val="345B0E"/>
                </a:solidFill>
                <a:latin typeface="Calibri"/>
                <a:cs typeface="Calibri"/>
              </a:defRPr>
            </a:lvl1pPr>
          </a:lstStyle>
          <a:p>
            <a:pPr>
              <a:defRPr/>
            </a:pPr>
            <a:fld id="{836F82F2-659E-4779-934C-90BE5A398E16}" type="slidenum">
              <a:rPr lang="en-US" smtClean="0"/>
              <a:pPr>
                <a:defRPr/>
              </a:pPr>
              <a:t>‹#›</a:t>
            </a:fld>
            <a:endParaRPr lang="en-US"/>
          </a:p>
        </p:txBody>
      </p:sp>
    </p:spTree>
    <p:extLst>
      <p:ext uri="{BB962C8B-B14F-4D97-AF65-F5344CB8AC3E}">
        <p14:creationId xmlns:p14="http://schemas.microsoft.com/office/powerpoint/2010/main" val="35171012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pos="1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userDrawn="1">
  <p:cSld name="Introduc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dirty="0"/>
          </a:p>
        </p:txBody>
      </p:sp>
      <p:sp>
        <p:nvSpPr>
          <p:cNvPr id="7" name="Text Placeholder 6"/>
          <p:cNvSpPr>
            <a:spLocks noGrp="1"/>
          </p:cNvSpPr>
          <p:nvPr>
            <p:ph type="body" sz="quarter" idx="12" hasCustomPrompt="1"/>
          </p:nvPr>
        </p:nvSpPr>
        <p:spPr>
          <a:xfrm>
            <a:off x="412800" y="784803"/>
            <a:ext cx="112224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dirty="0"/>
              <a:t>Click to add Secondary title</a:t>
            </a:r>
            <a:endParaRPr lang="en-GB" dirty="0"/>
          </a:p>
        </p:txBody>
      </p:sp>
      <p:sp>
        <p:nvSpPr>
          <p:cNvPr id="9" name="Text Placeholder 8"/>
          <p:cNvSpPr>
            <a:spLocks noGrp="1"/>
          </p:cNvSpPr>
          <p:nvPr>
            <p:ph type="body" sz="quarter" idx="13"/>
          </p:nvPr>
        </p:nvSpPr>
        <p:spPr>
          <a:xfrm>
            <a:off x="412803" y="1760400"/>
            <a:ext cx="8942400" cy="4424400"/>
          </a:xfrm>
        </p:spPr>
        <p:txBody>
          <a:bodyPr/>
          <a:lstStyle>
            <a:lvl1pPr marL="0" indent="0">
              <a:buNone/>
              <a:defRPr sz="2400" b="1">
                <a:solidFill>
                  <a:schemeClr val="tx1"/>
                </a:solidFill>
                <a:latin typeface="Arial" pitchFamily="34" charset="0"/>
                <a:cs typeface="Arial" pitchFamily="34" charset="0"/>
              </a:defRPr>
            </a:lvl1pPr>
          </a:lstStyle>
          <a:p>
            <a:pPr lvl="0"/>
            <a:r>
              <a:rPr lang="it-IT"/>
              <a:t>Fare clic per modificare stili del testo dello schema</a:t>
            </a:r>
          </a:p>
        </p:txBody>
      </p:sp>
      <p:sp>
        <p:nvSpPr>
          <p:cNvPr id="11" name="Date Placeholder 10"/>
          <p:cNvSpPr>
            <a:spLocks noGrp="1"/>
          </p:cNvSpPr>
          <p:nvPr>
            <p:ph type="dt" sz="half" idx="14"/>
          </p:nvPr>
        </p:nvSpPr>
        <p:spPr/>
        <p:txBody>
          <a:bodyPr/>
          <a:lstStyle/>
          <a:p>
            <a:endParaRPr lang="sv-SE">
              <a:solidFill>
                <a:srgbClr val="000000"/>
              </a:solidFill>
            </a:endParaRPr>
          </a:p>
        </p:txBody>
      </p:sp>
      <p:sp>
        <p:nvSpPr>
          <p:cNvPr id="12" name="Slide Number Placeholder 11"/>
          <p:cNvSpPr>
            <a:spLocks noGrp="1"/>
          </p:cNvSpPr>
          <p:nvPr>
            <p:ph type="sldNum" sz="quarter" idx="15"/>
          </p:nvPr>
        </p:nvSpPr>
        <p:spPr/>
        <p:txBody>
          <a:bodyPr/>
          <a:lstStyle/>
          <a:p>
            <a:pPr>
              <a:defRPr/>
            </a:pPr>
            <a:fld id="{1748D8EB-9301-403A-889B-E8DDB32CFF4A}" type="slidenum">
              <a:rPr lang="en-GB" smtClean="0">
                <a:solidFill>
                  <a:srgbClr val="000000"/>
                </a:solidFill>
              </a:rPr>
              <a:pPr>
                <a:defRPr/>
              </a:pPr>
              <a:t>‹#›</a:t>
            </a:fld>
            <a:endParaRPr lang="en-GB">
              <a:solidFill>
                <a:srgbClr val="000000"/>
              </a:solidFill>
            </a:endParaRPr>
          </a:p>
        </p:txBody>
      </p:sp>
      <p:sp>
        <p:nvSpPr>
          <p:cNvPr id="13" name="Footer Placeholder 12"/>
          <p:cNvSpPr>
            <a:spLocks noGrp="1"/>
          </p:cNvSpPr>
          <p:nvPr>
            <p:ph type="ftr" sz="quarter" idx="16"/>
          </p:nvPr>
        </p:nvSpPr>
        <p:spPr/>
        <p:txBody>
          <a:bodyPr/>
          <a:lstStyle/>
          <a:p>
            <a:r>
              <a:rPr lang="it-IT">
                <a:solidFill>
                  <a:srgbClr val="830051"/>
                </a:solidFill>
              </a:rPr>
              <a:t>Ad uso esclusivo Medical Affairs – riservato – non promozionale</a:t>
            </a:r>
            <a:endParaRPr lang="sv-SE">
              <a:solidFill>
                <a:srgbClr val="830051"/>
              </a:solidFill>
            </a:endParaRPr>
          </a:p>
        </p:txBody>
      </p:sp>
    </p:spTree>
    <p:extLst>
      <p:ext uri="{BB962C8B-B14F-4D97-AF65-F5344CB8AC3E}">
        <p14:creationId xmlns:p14="http://schemas.microsoft.com/office/powerpoint/2010/main" val="20624736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userDrawn="1">
  <p:cSld name="ME_Content ">
    <p:spTree>
      <p:nvGrpSpPr>
        <p:cNvPr id="1" name=""/>
        <p:cNvGrpSpPr/>
        <p:nvPr/>
      </p:nvGrpSpPr>
      <p:grpSpPr>
        <a:xfrm>
          <a:off x="0" y="0"/>
          <a:ext cx="0" cy="0"/>
          <a:chOff x="0" y="0"/>
          <a:chExt cx="0" cy="0"/>
        </a:xfrm>
      </p:grpSpPr>
      <p:sp>
        <p:nvSpPr>
          <p:cNvPr id="5" name="Text Placeholder 2"/>
          <p:cNvSpPr>
            <a:spLocks noGrp="1"/>
          </p:cNvSpPr>
          <p:nvPr>
            <p:ph type="body" sz="quarter" idx="15"/>
          </p:nvPr>
        </p:nvSpPr>
        <p:spPr>
          <a:xfrm>
            <a:off x="414528" y="6161088"/>
            <a:ext cx="11362944" cy="696912"/>
          </a:xfrm>
        </p:spPr>
        <p:txBody>
          <a:bodyPr anchor="b">
            <a:noAutofit/>
          </a:bodyPr>
          <a:lstStyle>
            <a:lvl1pPr marL="0" indent="0">
              <a:lnSpc>
                <a:spcPct val="90000"/>
              </a:lnSpc>
              <a:spcBef>
                <a:spcPts val="0"/>
              </a:spcBef>
              <a:buFontTx/>
              <a:buNone/>
              <a:defRPr sz="1500" b="0">
                <a:solidFill>
                  <a:schemeClr val="tx2"/>
                </a:solidFill>
                <a:latin typeface="Calibri" panose="020F0502020204030204" pitchFamily="34" charset="0"/>
              </a:defRPr>
            </a:lvl1pPr>
          </a:lstStyle>
          <a:p>
            <a:pPr lvl="0"/>
            <a:r>
              <a:rPr lang="en-US" dirty="0"/>
              <a:t>Click to edit Master text styles</a:t>
            </a:r>
          </a:p>
        </p:txBody>
      </p:sp>
      <p:cxnSp>
        <p:nvCxnSpPr>
          <p:cNvPr id="6" name="Straight Connector 5"/>
          <p:cNvCxnSpPr/>
          <p:nvPr userDrawn="1"/>
        </p:nvCxnSpPr>
        <p:spPr>
          <a:xfrm>
            <a:off x="453774" y="1295400"/>
            <a:ext cx="11362945" cy="0"/>
          </a:xfrm>
          <a:prstGeom prst="line">
            <a:avLst/>
          </a:prstGeom>
          <a:ln w="22225">
            <a:solidFill>
              <a:srgbClr val="3894A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14528" y="384048"/>
            <a:ext cx="11362944" cy="868680"/>
          </a:xfrm>
        </p:spPr>
        <p:txBody>
          <a:bodyPr/>
          <a:lstStyle/>
          <a:p>
            <a:r>
              <a:rPr lang="en-US"/>
              <a:t>Click to edit Master title style</a:t>
            </a:r>
          </a:p>
        </p:txBody>
      </p:sp>
      <p:sp>
        <p:nvSpPr>
          <p:cNvPr id="7" name="Content Placeholder 6"/>
          <p:cNvSpPr>
            <a:spLocks noGrp="1"/>
          </p:cNvSpPr>
          <p:nvPr>
            <p:ph sz="quarter" idx="16"/>
          </p:nvPr>
        </p:nvSpPr>
        <p:spPr>
          <a:xfrm>
            <a:off x="414528" y="1609344"/>
            <a:ext cx="11364384" cy="4495800"/>
          </a:xfrm>
        </p:spPr>
        <p:txBody>
          <a:bodyPr/>
          <a:lstStyle>
            <a:lvl1pPr>
              <a:defRPr>
                <a:solidFill>
                  <a:schemeClr val="tx1"/>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buClr>
                <a:srgbClr val="067A80"/>
              </a:buClr>
              <a:defRPr>
                <a:solidFill>
                  <a:schemeClr val="tx2"/>
                </a:solidFill>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79244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970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161731"/>
            <a:ext cx="11208792" cy="908180"/>
          </a:xfrm>
        </p:spPr>
        <p:txBody>
          <a:bodyPr/>
          <a:lstStyle>
            <a:lvl1pPr>
              <a:defRPr>
                <a:solidFill>
                  <a:schemeClr val="accent3"/>
                </a:solidFill>
              </a:defRPr>
            </a:lvl1pPr>
          </a:lstStyle>
          <a:p>
            <a:r>
              <a:rPr lang="en-GB" dirty="0"/>
              <a:t>Click to edit Master title </a:t>
            </a:r>
            <a:br>
              <a:rPr lang="en-GB" dirty="0"/>
            </a:br>
            <a:r>
              <a:rPr lang="en-GB" dirty="0"/>
              <a:t>style</a:t>
            </a:r>
          </a:p>
        </p:txBody>
      </p:sp>
      <p:sp>
        <p:nvSpPr>
          <p:cNvPr id="8" name="Text Placeholder 7"/>
          <p:cNvSpPr>
            <a:spLocks noGrp="1"/>
          </p:cNvSpPr>
          <p:nvPr>
            <p:ph type="body" sz="quarter" idx="10"/>
          </p:nvPr>
        </p:nvSpPr>
        <p:spPr>
          <a:xfrm>
            <a:off x="-1" y="6163733"/>
            <a:ext cx="10244668" cy="694267"/>
          </a:xfrm>
          <a:prstGeom prst="rect">
            <a:avLst/>
          </a:prstGeom>
        </p:spPr>
        <p:txBody>
          <a:bodyPr anchor="b">
            <a:normAutofit/>
          </a:bodyPr>
          <a:lstStyle>
            <a:lvl1pPr marL="0" algn="l" defTabSz="914354" rtl="0" eaLnBrk="1" fontAlgn="base" latinLnBrk="0" hangingPunct="1">
              <a:spcBef>
                <a:spcPct val="0"/>
              </a:spcBef>
              <a:spcAft>
                <a:spcPct val="0"/>
              </a:spcAft>
              <a:buClr>
                <a:schemeClr val="tx2"/>
              </a:buClr>
              <a:defRPr lang="en-US" sz="1067" b="0" kern="0" dirty="0" smtClean="0">
                <a:solidFill>
                  <a:schemeClr val="bg1">
                    <a:lumMod val="50000"/>
                  </a:schemeClr>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3" y="6180269"/>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6" y="1095311"/>
            <a:ext cx="11204788" cy="566272"/>
          </a:xfrm>
          <a:prstGeom prst="rect">
            <a:avLst/>
          </a:prstGeom>
          <a:noFill/>
          <a:ln>
            <a:noFill/>
          </a:ln>
        </p:spPr>
        <p:txBody>
          <a:bodyPr anchor="t">
            <a:noAutofit/>
          </a:bodyPr>
          <a:lstStyle>
            <a:lvl1pPr marL="0" indent="0">
              <a:lnSpc>
                <a:spcPct val="100000"/>
              </a:lnSpc>
              <a:buNone/>
              <a:defRPr sz="1867"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p:nvPr>
        </p:nvSpPr>
        <p:spPr>
          <a:xfrm>
            <a:off x="430604" y="1686984"/>
            <a:ext cx="10443633" cy="4451349"/>
          </a:xfrm>
        </p:spPr>
        <p:txBody>
          <a:bodyPr/>
          <a:lstStyle>
            <a:lvl1pPr>
              <a:spcAft>
                <a:spcPts val="400"/>
              </a:spcAft>
              <a:defRPr sz="2133" b="0">
                <a:solidFill>
                  <a:srgbClr val="4B306A"/>
                </a:solidFill>
              </a:defRPr>
            </a:lvl1pPr>
            <a:lvl2pPr marL="241289" indent="-239173">
              <a:lnSpc>
                <a:spcPct val="100000"/>
              </a:lnSpc>
              <a:spcAft>
                <a:spcPts val="400"/>
              </a:spcAft>
              <a:defRPr sz="2133" b="0">
                <a:solidFill>
                  <a:schemeClr val="tx1"/>
                </a:solidFill>
              </a:defRPr>
            </a:lvl2pPr>
            <a:lvl3pPr marL="666718" indent="-188374">
              <a:lnSpc>
                <a:spcPct val="100000"/>
              </a:lnSpc>
              <a:spcAft>
                <a:spcPts val="400"/>
              </a:spcAft>
              <a:buSzPct val="80000"/>
              <a:buFont typeface="Arial" panose="020B0604020202020204" pitchFamily="34" charset="0"/>
              <a:buChar char="–"/>
              <a:defRPr sz="1867">
                <a:solidFill>
                  <a:schemeClr val="tx1"/>
                </a:solidFill>
              </a:defRPr>
            </a:lvl3pPr>
            <a:lvl4pPr>
              <a:lnSpc>
                <a:spcPct val="100000"/>
              </a:lnSpc>
              <a:spcAft>
                <a:spcPts val="400"/>
              </a:spcAft>
              <a:defRPr>
                <a:solidFill>
                  <a:schemeClr val="tx1"/>
                </a:solidFill>
              </a:defRPr>
            </a:lvl4pPr>
            <a:lvl5pPr>
              <a:lnSpc>
                <a:spcPct val="100000"/>
              </a:lnSpc>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Slide Number Placeholder 3"/>
          <p:cNvSpPr>
            <a:spLocks noGrp="1"/>
          </p:cNvSpPr>
          <p:nvPr>
            <p:ph type="sldNum" sz="quarter" idx="4"/>
          </p:nvPr>
        </p:nvSpPr>
        <p:spPr>
          <a:xfrm>
            <a:off x="10699104" y="6356353"/>
            <a:ext cx="654697" cy="366183"/>
          </a:xfrm>
          <a:prstGeom prst="rect">
            <a:avLst/>
          </a:prstGeom>
        </p:spPr>
        <p:txBody>
          <a:bodyPr vert="horz" lIns="91440" tIns="45720" rIns="91440" bIns="45720" rtlCol="0" anchor="ctr"/>
          <a:lstStyle>
            <a:lvl1pPr algn="r">
              <a:defRPr sz="1067">
                <a:solidFill>
                  <a:schemeClr val="tx1"/>
                </a:solidFill>
              </a:defRPr>
            </a:lvl1pPr>
          </a:lstStyle>
          <a:p>
            <a:fld id="{47E66208-4A1C-594F-8665-CB46850971E6}" type="slidenum">
              <a:rPr lang="en-GB" smtClean="0"/>
              <a:pPr/>
              <a:t>‹#›</a:t>
            </a:fld>
            <a:endParaRPr lang="en-GB"/>
          </a:p>
        </p:txBody>
      </p:sp>
    </p:spTree>
    <p:extLst>
      <p:ext uri="{BB962C8B-B14F-4D97-AF65-F5344CB8AC3E}">
        <p14:creationId xmlns:p14="http://schemas.microsoft.com/office/powerpoint/2010/main" val="7165575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1FE55FE1-14D6-4E0C-911C-D83186A362DD}" type="slidenum">
              <a:rPr lang="en-US" smtClean="0"/>
              <a:t>‹#›</a:t>
            </a:fld>
            <a:endParaRPr lang="en-US"/>
          </a:p>
        </p:txBody>
      </p:sp>
      <p:sp>
        <p:nvSpPr>
          <p:cNvPr id="4" name="Title 3"/>
          <p:cNvSpPr>
            <a:spLocks noGrp="1"/>
          </p:cNvSpPr>
          <p:nvPr>
            <p:ph type="title" hasCustomPrompt="1"/>
          </p:nvPr>
        </p:nvSpPr>
        <p:spPr/>
        <p:txBody>
          <a:bodyPr/>
          <a:lstStyle>
            <a:lvl1pPr>
              <a:defRPr/>
            </a:lvl1pPr>
          </a:lstStyle>
          <a:p>
            <a:r>
              <a:rPr lang="en-US" dirty="0"/>
              <a:t>Click to </a:t>
            </a:r>
            <a:br>
              <a:rPr lang="en-US" dirty="0"/>
            </a:br>
            <a:r>
              <a:rPr lang="en-US" dirty="0"/>
              <a:t>edit Master title style</a:t>
            </a:r>
          </a:p>
        </p:txBody>
      </p:sp>
    </p:spTree>
    <p:custDataLst>
      <p:tags r:id="rId1"/>
    </p:custDataLst>
    <p:extLst>
      <p:ext uri="{BB962C8B-B14F-4D97-AF65-F5344CB8AC3E}">
        <p14:creationId xmlns:p14="http://schemas.microsoft.com/office/powerpoint/2010/main" val="2888682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F3DADC2-1B86-4A4E-8E40-F9A8D04610E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2700068" y="2978332"/>
            <a:ext cx="6791864" cy="500137"/>
          </a:xfrm>
          <a:solidFill>
            <a:schemeClr val="bg1"/>
          </a:solidFill>
        </p:spPr>
        <p:txBody>
          <a:bodyPr wrap="square" anchor="b" anchorCtr="0">
            <a:spAutoFit/>
          </a:bodyPr>
          <a:lstStyle>
            <a:lvl1pPr algn="ctr">
              <a:defRPr sz="2800" b="1">
                <a:solidFill>
                  <a:schemeClr val="accent1"/>
                </a:solidFill>
              </a:defRPr>
            </a:lvl1pPr>
          </a:lstStyle>
          <a:p>
            <a:r>
              <a:rPr lang="en-US" dirty="0"/>
              <a:t>Click to edit Master title style</a:t>
            </a:r>
          </a:p>
        </p:txBody>
      </p:sp>
      <p:sp>
        <p:nvSpPr>
          <p:cNvPr id="3" name="Subtitle 2"/>
          <p:cNvSpPr>
            <a:spLocks noGrp="1"/>
          </p:cNvSpPr>
          <p:nvPr>
            <p:ph type="subTitle" idx="1"/>
          </p:nvPr>
        </p:nvSpPr>
        <p:spPr>
          <a:xfrm>
            <a:off x="2815087" y="3767331"/>
            <a:ext cx="6561827" cy="400110"/>
          </a:xfrm>
        </p:spPr>
        <p:txBody>
          <a:bodyPr wrap="square">
            <a:spAutoFit/>
          </a:bodyPr>
          <a:lstStyle>
            <a:lvl1pPr marL="0" indent="0" algn="ctr">
              <a:buNone/>
              <a:defRPr sz="2000">
                <a:solidFill>
                  <a:schemeClr val="accent5"/>
                </a:solidFill>
                <a:latin typeface="+mj-lt"/>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edit Master subtitle style</a:t>
            </a:r>
          </a:p>
        </p:txBody>
      </p:sp>
    </p:spTree>
    <p:custDataLst>
      <p:tags r:id="rId1"/>
    </p:custDataLst>
    <p:extLst>
      <p:ext uri="{BB962C8B-B14F-4D97-AF65-F5344CB8AC3E}">
        <p14:creationId xmlns:p14="http://schemas.microsoft.com/office/powerpoint/2010/main" val="3592590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120374-FDDF-4AA0-ADBE-E3E764A9D78C}" type="datetimeFigureOut">
              <a:rPr lang="en-US" smtClean="0"/>
              <a:t>4/12/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AB8DAD9-D2FD-43B6-914E-775DB5467988}" type="slidenum">
              <a:rPr lang="en-US" smtClean="0"/>
              <a:t>‹#›</a:t>
            </a:fld>
            <a:endParaRPr lang="en-US"/>
          </a:p>
        </p:txBody>
      </p:sp>
    </p:spTree>
    <p:extLst>
      <p:ext uri="{BB962C8B-B14F-4D97-AF65-F5344CB8AC3E}">
        <p14:creationId xmlns:p14="http://schemas.microsoft.com/office/powerpoint/2010/main" val="3767571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r>
              <a:rPr lang="en-US"/>
              <a:t>Disclaimer here</a:t>
            </a: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30652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r>
              <a:rPr lang="en-US"/>
              <a:t>Disclaimer here</a:t>
            </a:r>
          </a:p>
        </p:txBody>
      </p:sp>
      <p:sp>
        <p:nvSpPr>
          <p:cNvPr id="6" name="Slide Number Placeholder 5"/>
          <p:cNvSpPr>
            <a:spLocks noGrp="1"/>
          </p:cNvSpPr>
          <p:nvPr>
            <p:ph type="sldNum" sz="quarter" idx="12"/>
          </p:nvPr>
        </p:nvSpPr>
        <p:spPr/>
        <p:txBody>
          <a:bodyPr/>
          <a:lstStyle/>
          <a:p>
            <a:fld id="{164910C0-3A31-A24A-A998-462077D8F86D}" type="slidenum">
              <a:rPr lang="en-US" smtClean="0"/>
              <a:pPr/>
              <a:t>‹#›</a:t>
            </a:fld>
            <a:endParaRPr lang="en-US"/>
          </a:p>
        </p:txBody>
      </p:sp>
    </p:spTree>
    <p:extLst>
      <p:ext uri="{BB962C8B-B14F-4D97-AF65-F5344CB8AC3E}">
        <p14:creationId xmlns:p14="http://schemas.microsoft.com/office/powerpoint/2010/main" val="13306213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r>
              <a:rPr lang="en-US"/>
              <a:t>Disclaimer here</a:t>
            </a:r>
          </a:p>
        </p:txBody>
      </p:sp>
      <p:sp>
        <p:nvSpPr>
          <p:cNvPr id="6" name="Slide Number Placeholder 5"/>
          <p:cNvSpPr>
            <a:spLocks noGrp="1"/>
          </p:cNvSpPr>
          <p:nvPr>
            <p:ph type="sldNum" sz="quarter" idx="12"/>
          </p:nvPr>
        </p:nvSpPr>
        <p:spPr/>
        <p:txBody>
          <a:bodyPr/>
          <a:lstStyle/>
          <a:p>
            <a:fld id="{164910C0-3A31-A24A-A998-462077D8F86D}" type="slidenum">
              <a:rPr lang="en-US" smtClean="0"/>
              <a:pPr/>
              <a:t>‹#›</a:t>
            </a:fld>
            <a:endParaRPr lang="en-US"/>
          </a:p>
        </p:txBody>
      </p:sp>
      <p:cxnSp>
        <p:nvCxnSpPr>
          <p:cNvPr id="7" name="Straight Connector 6">
            <a:extLst>
              <a:ext uri="{FF2B5EF4-FFF2-40B4-BE49-F238E27FC236}">
                <a16:creationId xmlns:a16="http://schemas.microsoft.com/office/drawing/2014/main" id="{A809E397-1E88-DD20-EAB4-EB22744CE75C}"/>
              </a:ext>
            </a:extLst>
          </p:cNvPr>
          <p:cNvCxnSpPr/>
          <p:nvPr userDrawn="1"/>
        </p:nvCxnSpPr>
        <p:spPr>
          <a:xfrm>
            <a:off x="1184856" y="3673928"/>
            <a:ext cx="7263685" cy="0"/>
          </a:xfrm>
          <a:prstGeom prst="line">
            <a:avLst/>
          </a:prstGeom>
          <a:ln w="127000" cap="rnd">
            <a:solidFill>
              <a:schemeClr val="bg1"/>
            </a:solidFill>
            <a:prstDash val="sysDot"/>
            <a:roun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4108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r>
              <a:rPr lang="en-US"/>
              <a:t>Disclaimer here</a:t>
            </a:r>
          </a:p>
        </p:txBody>
      </p:sp>
      <p:sp>
        <p:nvSpPr>
          <p:cNvPr id="7" name="Slide Number Placeholder 6"/>
          <p:cNvSpPr>
            <a:spLocks noGrp="1"/>
          </p:cNvSpPr>
          <p:nvPr>
            <p:ph type="sldNum" sz="quarter" idx="12"/>
          </p:nvPr>
        </p:nvSpPr>
        <p:spPr/>
        <p:txBody>
          <a:bodyPr/>
          <a:lstStyle/>
          <a:p>
            <a:fld id="{164910C0-3A31-A24A-A998-462077D8F86D}" type="slidenum">
              <a:rPr lang="en-US" smtClean="0"/>
              <a:t>‹#›</a:t>
            </a:fld>
            <a:endParaRPr lang="en-US"/>
          </a:p>
        </p:txBody>
      </p:sp>
    </p:spTree>
    <p:extLst>
      <p:ext uri="{BB962C8B-B14F-4D97-AF65-F5344CB8AC3E}">
        <p14:creationId xmlns:p14="http://schemas.microsoft.com/office/powerpoint/2010/main" val="35767267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4/12/26</a:t>
            </a:fld>
            <a:endParaRPr lang="en-US" dirty="0"/>
          </a:p>
        </p:txBody>
      </p:sp>
      <p:sp>
        <p:nvSpPr>
          <p:cNvPr id="8" name="Footer Placeholder 7"/>
          <p:cNvSpPr>
            <a:spLocks noGrp="1"/>
          </p:cNvSpPr>
          <p:nvPr>
            <p:ph type="ftr" sz="quarter" idx="11"/>
          </p:nvPr>
        </p:nvSpPr>
        <p:spPr/>
        <p:txBody>
          <a:bodyPr/>
          <a:lstStyle/>
          <a:p>
            <a:r>
              <a:rPr lang="en-US"/>
              <a:t>Footer</a:t>
            </a:r>
          </a:p>
        </p:txBody>
      </p:sp>
      <p:sp>
        <p:nvSpPr>
          <p:cNvPr id="9" name="Slide Number Placeholder 8"/>
          <p:cNvSpPr>
            <a:spLocks noGrp="1"/>
          </p:cNvSpPr>
          <p:nvPr>
            <p:ph type="sldNum" sz="quarter" idx="12"/>
          </p:nvPr>
        </p:nvSpPr>
        <p:spPr/>
        <p:txBody>
          <a:bodyPr/>
          <a:lstStyle/>
          <a:p>
            <a:fld id="{164910C0-3A31-A24A-A998-462077D8F86D}" type="slidenum">
              <a:rPr lang="en-US" smtClean="0"/>
              <a:pPr/>
              <a:t>‹#›</a:t>
            </a:fld>
            <a:endParaRPr lang="en-US"/>
          </a:p>
        </p:txBody>
      </p:sp>
    </p:spTree>
    <p:extLst>
      <p:ext uri="{BB962C8B-B14F-4D97-AF65-F5344CB8AC3E}">
        <p14:creationId xmlns:p14="http://schemas.microsoft.com/office/powerpoint/2010/main" val="1986501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4/12/26</a:t>
            </a:fld>
            <a:endParaRPr lang="en-US" dirty="0"/>
          </a:p>
        </p:txBody>
      </p:sp>
      <p:sp>
        <p:nvSpPr>
          <p:cNvPr id="4" name="Footer Placeholder 3"/>
          <p:cNvSpPr>
            <a:spLocks noGrp="1"/>
          </p:cNvSpPr>
          <p:nvPr>
            <p:ph type="ftr" sz="quarter" idx="11"/>
          </p:nvPr>
        </p:nvSpPr>
        <p:spPr/>
        <p:txBody>
          <a:bodyPr/>
          <a:lstStyle/>
          <a:p>
            <a:r>
              <a:rPr lang="en-US"/>
              <a:t>Disclaimer here</a:t>
            </a:r>
          </a:p>
        </p:txBody>
      </p:sp>
      <p:sp>
        <p:nvSpPr>
          <p:cNvPr id="5" name="Slide Number Placeholder 4"/>
          <p:cNvSpPr>
            <a:spLocks noGrp="1"/>
          </p:cNvSpPr>
          <p:nvPr>
            <p:ph type="sldNum" sz="quarter" idx="12"/>
          </p:nvPr>
        </p:nvSpPr>
        <p:spPr/>
        <p:txBody>
          <a:bodyPr/>
          <a:lstStyle/>
          <a:p>
            <a:fld id="{164910C0-3A31-A24A-A998-462077D8F86D}" type="slidenum">
              <a:rPr lang="en-US" smtClean="0"/>
              <a:t>‹#›</a:t>
            </a:fld>
            <a:endParaRPr lang="en-US"/>
          </a:p>
        </p:txBody>
      </p:sp>
    </p:spTree>
    <p:extLst>
      <p:ext uri="{BB962C8B-B14F-4D97-AF65-F5344CB8AC3E}">
        <p14:creationId xmlns:p14="http://schemas.microsoft.com/office/powerpoint/2010/main" val="38853966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12/26</a:t>
            </a:fld>
            <a:endParaRPr lang="en-US" dirty="0"/>
          </a:p>
        </p:txBody>
      </p:sp>
      <p:sp>
        <p:nvSpPr>
          <p:cNvPr id="3" name="Footer Placeholder 2"/>
          <p:cNvSpPr>
            <a:spLocks noGrp="1"/>
          </p:cNvSpPr>
          <p:nvPr>
            <p:ph type="ftr" sz="quarter" idx="11"/>
          </p:nvPr>
        </p:nvSpPr>
        <p:spPr/>
        <p:txBody>
          <a:bodyPr/>
          <a:lstStyle/>
          <a:p>
            <a:r>
              <a:rPr lang="en-US"/>
              <a:t>Disclaimer here</a:t>
            </a:r>
          </a:p>
        </p:txBody>
      </p:sp>
      <p:sp>
        <p:nvSpPr>
          <p:cNvPr id="4" name="Slide Number Placeholder 3"/>
          <p:cNvSpPr>
            <a:spLocks noGrp="1"/>
          </p:cNvSpPr>
          <p:nvPr>
            <p:ph type="sldNum" sz="quarter" idx="12"/>
          </p:nvPr>
        </p:nvSpPr>
        <p:spPr/>
        <p:txBody>
          <a:bodyPr/>
          <a:lstStyle/>
          <a:p>
            <a:fld id="{164910C0-3A31-A24A-A998-462077D8F86D}" type="slidenum">
              <a:rPr lang="en-US" smtClean="0"/>
              <a:t>‹#›</a:t>
            </a:fld>
            <a:endParaRPr lang="en-US"/>
          </a:p>
        </p:txBody>
      </p:sp>
    </p:spTree>
    <p:extLst>
      <p:ext uri="{BB962C8B-B14F-4D97-AF65-F5344CB8AC3E}">
        <p14:creationId xmlns:p14="http://schemas.microsoft.com/office/powerpoint/2010/main" val="368884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r>
              <a:rPr lang="en-US"/>
              <a:t>Footer</a:t>
            </a:r>
          </a:p>
        </p:txBody>
      </p:sp>
      <p:sp>
        <p:nvSpPr>
          <p:cNvPr id="7" name="Slide Number Placeholder 6"/>
          <p:cNvSpPr>
            <a:spLocks noGrp="1"/>
          </p:cNvSpPr>
          <p:nvPr>
            <p:ph type="sldNum" sz="quarter" idx="12"/>
          </p:nvPr>
        </p:nvSpPr>
        <p:spPr/>
        <p:txBody>
          <a:bodyPr/>
          <a:lstStyle/>
          <a:p>
            <a:fld id="{164910C0-3A31-A24A-A998-462077D8F86D}" type="slidenum">
              <a:rPr lang="en-US" smtClean="0"/>
              <a:pPr/>
              <a:t>‹#›</a:t>
            </a:fld>
            <a:endParaRPr lang="en-US"/>
          </a:p>
        </p:txBody>
      </p:sp>
    </p:spTree>
    <p:extLst>
      <p:ext uri="{BB962C8B-B14F-4D97-AF65-F5344CB8AC3E}">
        <p14:creationId xmlns:p14="http://schemas.microsoft.com/office/powerpoint/2010/main" val="3687097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sldLayout>
</file>

<file path=ppt/slideLayouts/slideLayout3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6</a:t>
            </a:fld>
            <a:endParaRPr lang="en-US" dirty="0"/>
          </a:p>
        </p:txBody>
      </p:sp>
      <p:sp>
        <p:nvSpPr>
          <p:cNvPr id="6" name="Footer Placeholder 5"/>
          <p:cNvSpPr>
            <a:spLocks noGrp="1"/>
          </p:cNvSpPr>
          <p:nvPr>
            <p:ph type="ftr" sz="quarter" idx="11"/>
          </p:nvPr>
        </p:nvSpPr>
        <p:spPr/>
        <p:txBody>
          <a:bodyPr/>
          <a:lstStyle/>
          <a:p>
            <a:r>
              <a:rPr lang="en-US"/>
              <a:t>Footer</a:t>
            </a:r>
          </a:p>
        </p:txBody>
      </p:sp>
      <p:sp>
        <p:nvSpPr>
          <p:cNvPr id="7" name="Slide Number Placeholder 6"/>
          <p:cNvSpPr>
            <a:spLocks noGrp="1"/>
          </p:cNvSpPr>
          <p:nvPr>
            <p:ph type="sldNum" sz="quarter" idx="12"/>
          </p:nvPr>
        </p:nvSpPr>
        <p:spPr/>
        <p:txBody>
          <a:bodyPr/>
          <a:lstStyle/>
          <a:p>
            <a:fld id="{164910C0-3A31-A24A-A998-462077D8F86D}" type="slidenum">
              <a:rPr lang="en-US" smtClean="0"/>
              <a:pPr/>
              <a:t>‹#›</a:t>
            </a:fld>
            <a:endParaRPr lang="en-US"/>
          </a:p>
        </p:txBody>
      </p:sp>
    </p:spTree>
    <p:extLst>
      <p:ext uri="{BB962C8B-B14F-4D97-AF65-F5344CB8AC3E}">
        <p14:creationId xmlns:p14="http://schemas.microsoft.com/office/powerpoint/2010/main" val="17493036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sldLayout>
</file>

<file path=ppt/slideLayouts/slideLayout3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r>
              <a:rPr lang="en-US"/>
              <a:t>Footer</a:t>
            </a:r>
          </a:p>
        </p:txBody>
      </p:sp>
      <p:sp>
        <p:nvSpPr>
          <p:cNvPr id="6" name="Slide Number Placeholder 5"/>
          <p:cNvSpPr>
            <a:spLocks noGrp="1"/>
          </p:cNvSpPr>
          <p:nvPr>
            <p:ph type="sldNum" sz="quarter" idx="12"/>
          </p:nvPr>
        </p:nvSpPr>
        <p:spPr/>
        <p:txBody>
          <a:bodyPr/>
          <a:lstStyle/>
          <a:p>
            <a:fld id="{164910C0-3A31-A24A-A998-462077D8F86D}" type="slidenum">
              <a:rPr lang="en-US" smtClean="0"/>
              <a:pPr/>
              <a:t>‹#›</a:t>
            </a:fld>
            <a:endParaRPr lang="en-US"/>
          </a:p>
        </p:txBody>
      </p:sp>
    </p:spTree>
    <p:extLst>
      <p:ext uri="{BB962C8B-B14F-4D97-AF65-F5344CB8AC3E}">
        <p14:creationId xmlns:p14="http://schemas.microsoft.com/office/powerpoint/2010/main" val="17757609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6</a:t>
            </a:fld>
            <a:endParaRPr lang="en-US" dirty="0"/>
          </a:p>
        </p:txBody>
      </p:sp>
      <p:sp>
        <p:nvSpPr>
          <p:cNvPr id="5" name="Footer Placeholder 4"/>
          <p:cNvSpPr>
            <a:spLocks noGrp="1"/>
          </p:cNvSpPr>
          <p:nvPr>
            <p:ph type="ftr" sz="quarter" idx="11"/>
          </p:nvPr>
        </p:nvSpPr>
        <p:spPr/>
        <p:txBody>
          <a:bodyPr/>
          <a:lstStyle/>
          <a:p>
            <a:r>
              <a:rPr lang="en-US"/>
              <a:t>Footer</a:t>
            </a:r>
          </a:p>
        </p:txBody>
      </p:sp>
      <p:sp>
        <p:nvSpPr>
          <p:cNvPr id="6" name="Slide Number Placeholder 5"/>
          <p:cNvSpPr>
            <a:spLocks noGrp="1"/>
          </p:cNvSpPr>
          <p:nvPr>
            <p:ph type="sldNum" sz="quarter" idx="12"/>
          </p:nvPr>
        </p:nvSpPr>
        <p:spPr/>
        <p:txBody>
          <a:bodyPr/>
          <a:lstStyle/>
          <a:p>
            <a:fld id="{164910C0-3A31-A24A-A998-462077D8F86D}" type="slidenum">
              <a:rPr lang="en-US" smtClean="0"/>
              <a:pPr/>
              <a:t>‹#›</a:t>
            </a:fld>
            <a:endParaRPr lang="en-US"/>
          </a:p>
        </p:txBody>
      </p:sp>
    </p:spTree>
    <p:extLst>
      <p:ext uri="{BB962C8B-B14F-4D97-AF65-F5344CB8AC3E}">
        <p14:creationId xmlns:p14="http://schemas.microsoft.com/office/powerpoint/2010/main" val="3534113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900">
                <a:solidFill>
                  <a:srgbClr val="002557"/>
                </a:solidFill>
              </a:defRPr>
            </a:lvl1pPr>
            <a:lvl2pPr>
              <a:defRPr sz="810">
                <a:solidFill>
                  <a:srgbClr val="002557"/>
                </a:solidFill>
              </a:defRPr>
            </a:lvl2pPr>
            <a:lvl3pPr>
              <a:defRPr sz="810">
                <a:solidFill>
                  <a:srgbClr val="002557"/>
                </a:solidFill>
              </a:defRPr>
            </a:lvl3pPr>
            <a:lvl4pPr>
              <a:defRPr sz="810">
                <a:solidFill>
                  <a:srgbClr val="002557"/>
                </a:solidFill>
              </a:defRPr>
            </a:lvl4pPr>
            <a:lvl5pPr>
              <a:defRPr sz="81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535693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900">
                <a:solidFill>
                  <a:srgbClr val="002557"/>
                </a:solidFill>
              </a:defRPr>
            </a:lvl1pPr>
            <a:lvl2pPr>
              <a:defRPr sz="810">
                <a:solidFill>
                  <a:srgbClr val="002557"/>
                </a:solidFill>
              </a:defRPr>
            </a:lvl2pPr>
            <a:lvl3pPr>
              <a:defRPr sz="810">
                <a:solidFill>
                  <a:srgbClr val="002557"/>
                </a:solidFill>
              </a:defRPr>
            </a:lvl3pPr>
            <a:lvl4pPr>
              <a:defRPr sz="810">
                <a:solidFill>
                  <a:srgbClr val="002557"/>
                </a:solidFill>
              </a:defRPr>
            </a:lvl4pPr>
            <a:lvl5pPr>
              <a:defRPr sz="81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5018605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900">
                <a:solidFill>
                  <a:srgbClr val="002557"/>
                </a:solidFill>
              </a:defRPr>
            </a:lvl1pPr>
            <a:lvl2pPr>
              <a:defRPr sz="810">
                <a:solidFill>
                  <a:srgbClr val="002557"/>
                </a:solidFill>
              </a:defRPr>
            </a:lvl2pPr>
            <a:lvl3pPr>
              <a:defRPr sz="810">
                <a:solidFill>
                  <a:srgbClr val="002557"/>
                </a:solidFill>
              </a:defRPr>
            </a:lvl3pPr>
            <a:lvl4pPr>
              <a:defRPr sz="810">
                <a:solidFill>
                  <a:srgbClr val="002557"/>
                </a:solidFill>
              </a:defRPr>
            </a:lvl4pPr>
            <a:lvl5pPr>
              <a:defRPr sz="81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404655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Subtitle Content Graphic Right">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5D1716F8-8FD0-24A7-3154-BEFA72ED56A2}"/>
              </a:ext>
            </a:extLst>
          </p:cNvPr>
          <p:cNvSpPr txBox="1">
            <a:spLocks/>
          </p:cNvSpPr>
          <p:nvPr userDrawn="1"/>
        </p:nvSpPr>
        <p:spPr>
          <a:xfrm>
            <a:off x="11470191" y="6479495"/>
            <a:ext cx="112210" cy="110800"/>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5C28DEA-9FA6-4293-BC62-A1BE7397C975}" type="slidenum">
              <a:rPr lang="en-US" sz="720" smtClean="0">
                <a:solidFill>
                  <a:schemeClr val="bg1"/>
                </a:solidFill>
              </a:rPr>
              <a:pPr/>
              <a:t>‹#›</a:t>
            </a:fld>
            <a:endParaRPr lang="en-US" sz="720">
              <a:solidFill>
                <a:schemeClr val="bg1"/>
              </a:solidFill>
            </a:endParaRPr>
          </a:p>
        </p:txBody>
      </p:sp>
      <p:sp>
        <p:nvSpPr>
          <p:cNvPr id="12" name="Title 11">
            <a:extLst>
              <a:ext uri="{FF2B5EF4-FFF2-40B4-BE49-F238E27FC236}">
                <a16:creationId xmlns:a16="http://schemas.microsoft.com/office/drawing/2014/main" id="{1886445D-D858-FF0A-E8B9-98E726832B38}"/>
              </a:ext>
            </a:extLst>
          </p:cNvPr>
          <p:cNvSpPr>
            <a:spLocks noGrp="1"/>
          </p:cNvSpPr>
          <p:nvPr>
            <p:ph type="title"/>
          </p:nvPr>
        </p:nvSpPr>
        <p:spPr>
          <a:xfrm>
            <a:off x="609600" y="400051"/>
            <a:ext cx="7797800" cy="781050"/>
          </a:xfrm>
        </p:spPr>
        <p:txBody>
          <a:bodyPr/>
          <a:lstStyle/>
          <a:p>
            <a:r>
              <a:rPr lang="en-US"/>
              <a:t>Click to edit Master title style</a:t>
            </a:r>
          </a:p>
        </p:txBody>
      </p:sp>
      <p:pic>
        <p:nvPicPr>
          <p:cNvPr id="3" name="Picture 2">
            <a:extLst>
              <a:ext uri="{FF2B5EF4-FFF2-40B4-BE49-F238E27FC236}">
                <a16:creationId xmlns:a16="http://schemas.microsoft.com/office/drawing/2014/main" id="{037B62F3-0563-6076-0B83-6892BA40DE23}"/>
              </a:ext>
            </a:extLst>
          </p:cNvPr>
          <p:cNvPicPr>
            <a:picLocks noChangeAspect="1"/>
          </p:cNvPicPr>
          <p:nvPr userDrawn="1"/>
        </p:nvPicPr>
        <p:blipFill>
          <a:blip r:embed="rId2"/>
          <a:srcRect l="56804" t="20436" r="17273" b="21384"/>
          <a:stretch>
            <a:fillRect/>
          </a:stretch>
        </p:blipFill>
        <p:spPr>
          <a:xfrm>
            <a:off x="1" y="1401763"/>
            <a:ext cx="3238500" cy="4611686"/>
          </a:xfrm>
          <a:prstGeom prst="roundRect">
            <a:avLst>
              <a:gd name="adj" fmla="val 5650"/>
            </a:avLst>
          </a:prstGeom>
          <a:solidFill>
            <a:srgbClr val="FFFFFF">
              <a:shade val="85000"/>
            </a:srgbClr>
          </a:solidFill>
          <a:ln>
            <a:noFill/>
          </a:ln>
          <a:effectLst/>
        </p:spPr>
      </p:pic>
      <p:pic>
        <p:nvPicPr>
          <p:cNvPr id="4" name="Picture 3">
            <a:extLst>
              <a:ext uri="{FF2B5EF4-FFF2-40B4-BE49-F238E27FC236}">
                <a16:creationId xmlns:a16="http://schemas.microsoft.com/office/drawing/2014/main" id="{78D10F40-3C65-533A-AA3F-A41BDAD7CC13}"/>
              </a:ext>
            </a:extLst>
          </p:cNvPr>
          <p:cNvPicPr>
            <a:picLocks noChangeAspect="1"/>
          </p:cNvPicPr>
          <p:nvPr userDrawn="1"/>
        </p:nvPicPr>
        <p:blipFill>
          <a:blip r:embed="rId2"/>
          <a:srcRect l="56804" t="20436" r="38316" b="21384"/>
          <a:stretch>
            <a:fillRect/>
          </a:stretch>
        </p:blipFill>
        <p:spPr>
          <a:xfrm>
            <a:off x="0" y="1401764"/>
            <a:ext cx="609600" cy="4611684"/>
          </a:xfrm>
          <a:prstGeom prst="rect">
            <a:avLst/>
          </a:prstGeom>
          <a:solidFill>
            <a:srgbClr val="FFFFFF">
              <a:shade val="85000"/>
            </a:srgbClr>
          </a:solidFill>
          <a:ln>
            <a:noFill/>
          </a:ln>
          <a:effectLst/>
        </p:spPr>
      </p:pic>
      <p:sp>
        <p:nvSpPr>
          <p:cNvPr id="5" name="Text Placeholder 19">
            <a:extLst>
              <a:ext uri="{FF2B5EF4-FFF2-40B4-BE49-F238E27FC236}">
                <a16:creationId xmlns:a16="http://schemas.microsoft.com/office/drawing/2014/main" id="{354F6228-250D-5429-2224-2B3FC94F317B}"/>
              </a:ext>
            </a:extLst>
          </p:cNvPr>
          <p:cNvSpPr>
            <a:spLocks noGrp="1"/>
          </p:cNvSpPr>
          <p:nvPr userDrawn="1">
            <p:ph type="body" sz="quarter" idx="12" hasCustomPrompt="1"/>
          </p:nvPr>
        </p:nvSpPr>
        <p:spPr>
          <a:xfrm>
            <a:off x="2081575" y="6426335"/>
            <a:ext cx="9504000" cy="192040"/>
          </a:xfrm>
        </p:spPr>
        <p:txBody>
          <a:bodyPr anchor="b">
            <a:spAutoFit/>
          </a:bodyPr>
          <a:lstStyle>
            <a:lvl1pPr>
              <a:lnSpc>
                <a:spcPct val="90000"/>
              </a:lnSpc>
              <a:spcBef>
                <a:spcPts val="0"/>
              </a:spcBef>
              <a:spcAft>
                <a:spcPts val="0"/>
              </a:spcAft>
              <a:defRPr sz="720"/>
            </a:lvl1pPr>
          </a:lstStyle>
          <a:p>
            <a:pPr lvl="0"/>
            <a:r>
              <a:rPr lang="en-US"/>
              <a:t>Click to add footnotes</a:t>
            </a:r>
          </a:p>
        </p:txBody>
      </p:sp>
    </p:spTree>
    <p:extLst>
      <p:ext uri="{BB962C8B-B14F-4D97-AF65-F5344CB8AC3E}">
        <p14:creationId xmlns:p14="http://schemas.microsoft.com/office/powerpoint/2010/main" val="1761917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7061">
          <p15:clr>
            <a:srgbClr val="FBAE40"/>
          </p15:clr>
        </p15:guide>
        <p15:guide id="2" pos="7296">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D6883-E93E-C957-4B82-A24196A15DB9}"/>
              </a:ext>
            </a:extLst>
          </p:cNvPr>
          <p:cNvSpPr>
            <a:spLocks noGrp="1"/>
          </p:cNvSpPr>
          <p:nvPr>
            <p:ph type="title"/>
          </p:nvPr>
        </p:nvSpPr>
        <p:spPr>
          <a:xfrm>
            <a:off x="609600" y="400051"/>
            <a:ext cx="10972800" cy="781050"/>
          </a:xfrm>
        </p:spPr>
        <p:txBody>
          <a:bodyPr/>
          <a:lstStyle/>
          <a:p>
            <a:r>
              <a:rPr lang="en-US"/>
              <a:t>Click to edit Master title style</a:t>
            </a:r>
          </a:p>
        </p:txBody>
      </p:sp>
      <p:sp>
        <p:nvSpPr>
          <p:cNvPr id="3" name="Text Placeholder 19">
            <a:extLst>
              <a:ext uri="{FF2B5EF4-FFF2-40B4-BE49-F238E27FC236}">
                <a16:creationId xmlns:a16="http://schemas.microsoft.com/office/drawing/2014/main" id="{34D3D4B9-AE89-F9E5-C481-274673CA5440}"/>
              </a:ext>
            </a:extLst>
          </p:cNvPr>
          <p:cNvSpPr>
            <a:spLocks noGrp="1"/>
          </p:cNvSpPr>
          <p:nvPr>
            <p:ph type="body" sz="quarter" idx="13" hasCustomPrompt="1"/>
          </p:nvPr>
        </p:nvSpPr>
        <p:spPr>
          <a:xfrm>
            <a:off x="2081575" y="6426335"/>
            <a:ext cx="9504000" cy="192040"/>
          </a:xfrm>
        </p:spPr>
        <p:txBody>
          <a:bodyPr anchor="b">
            <a:spAutoFit/>
          </a:bodyPr>
          <a:lstStyle>
            <a:lvl1pPr>
              <a:lnSpc>
                <a:spcPct val="90000"/>
              </a:lnSpc>
              <a:spcBef>
                <a:spcPts val="0"/>
              </a:spcBef>
              <a:spcAft>
                <a:spcPts val="0"/>
              </a:spcAft>
              <a:defRPr sz="720"/>
            </a:lvl1pPr>
          </a:lstStyle>
          <a:p>
            <a:pPr lvl="0"/>
            <a:r>
              <a:rPr lang="en-US"/>
              <a:t>Click to add footnotes</a:t>
            </a:r>
          </a:p>
        </p:txBody>
      </p:sp>
    </p:spTree>
    <p:extLst>
      <p:ext uri="{BB962C8B-B14F-4D97-AF65-F5344CB8AC3E}">
        <p14:creationId xmlns:p14="http://schemas.microsoft.com/office/powerpoint/2010/main" val="3869037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7_Free Content">
    <p:spTree>
      <p:nvGrpSpPr>
        <p:cNvPr id="1" name=""/>
        <p:cNvGrpSpPr/>
        <p:nvPr/>
      </p:nvGrpSpPr>
      <p:grpSpPr>
        <a:xfrm>
          <a:off x="0" y="0"/>
          <a:ext cx="0" cy="0"/>
          <a:chOff x="0" y="0"/>
          <a:chExt cx="0" cy="0"/>
        </a:xfrm>
      </p:grpSpPr>
      <p:pic>
        <p:nvPicPr>
          <p:cNvPr id="6" name="Picture 4" descr="background-title.png">
            <a:extLst>
              <a:ext uri="{FF2B5EF4-FFF2-40B4-BE49-F238E27FC236}">
                <a16:creationId xmlns:a16="http://schemas.microsoft.com/office/drawing/2014/main" id="{3D467BB9-5E4C-4248-93BA-9D2ACC4B38C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647" t="90813" r="3152" b="4472"/>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604DE0C-1B2D-48FE-A3B3-69A3030C6D2E}"/>
              </a:ext>
            </a:extLst>
          </p:cNvPr>
          <p:cNvSpPr txBox="1"/>
          <p:nvPr userDrawn="1"/>
        </p:nvSpPr>
        <p:spPr>
          <a:xfrm>
            <a:off x="6096001" y="6454469"/>
            <a:ext cx="5068649" cy="145553"/>
          </a:xfrm>
          <a:prstGeom prst="rect">
            <a:avLst/>
          </a:prstGeom>
          <a:noFill/>
        </p:spPr>
        <p:txBody>
          <a:bodyPr wrap="square" lIns="0" tIns="0" rIns="81000" bIns="0" rtlCol="0">
            <a:spAutoFit/>
          </a:bodyPr>
          <a:lstStyle/>
          <a:p>
            <a:pPr marL="0" marR="0" lvl="0" indent="0" algn="r" defTabSz="822960" rtl="0" eaLnBrk="1" fontAlgn="auto" latinLnBrk="0" hangingPunct="1">
              <a:lnSpc>
                <a:spcPct val="100000"/>
              </a:lnSpc>
              <a:spcBef>
                <a:spcPts val="0"/>
              </a:spcBef>
              <a:spcAft>
                <a:spcPts val="0"/>
              </a:spcAft>
              <a:buClr>
                <a:srgbClr val="000000"/>
              </a:buClr>
              <a:buSzTx/>
              <a:buFont typeface="Arial"/>
              <a:buNone/>
              <a:tabLst/>
              <a:defRPr/>
            </a:pPr>
            <a:r>
              <a:rPr lang="en-US" sz="900" b="0" i="0">
                <a:solidFill>
                  <a:schemeClr val="tx1">
                    <a:lumMod val="65000"/>
                    <a:lumOff val="35000"/>
                  </a:schemeClr>
                </a:solidFill>
                <a:effectLst/>
                <a:latin typeface="Arial Narrow" panose="020B0606020202030204" pitchFamily="34" charset="0"/>
              </a:rPr>
              <a:t>Content of this </a:t>
            </a:r>
            <a:r>
              <a:rPr lang="en-US" sz="946" b="0" i="0">
                <a:solidFill>
                  <a:schemeClr val="tx1">
                    <a:lumMod val="65000"/>
                    <a:lumOff val="35000"/>
                  </a:schemeClr>
                </a:solidFill>
                <a:effectLst/>
                <a:latin typeface="Arial Narrow" panose="020B0606020202030204" pitchFamily="34" charset="0"/>
              </a:rPr>
              <a:t>presentation</a:t>
            </a:r>
            <a:r>
              <a:rPr lang="en-US" sz="900" b="0" i="0">
                <a:solidFill>
                  <a:schemeClr val="tx1">
                    <a:lumMod val="65000"/>
                    <a:lumOff val="35000"/>
                  </a:schemeClr>
                </a:solidFill>
                <a:effectLst/>
                <a:latin typeface="Arial Narrow" panose="020B0606020202030204" pitchFamily="34" charset="0"/>
              </a:rPr>
              <a:t> is copyright</a:t>
            </a:r>
            <a:r>
              <a:rPr lang="en-CH" sz="900" b="0" i="0">
                <a:solidFill>
                  <a:schemeClr val="tx1">
                    <a:lumMod val="65000"/>
                    <a:lumOff val="35000"/>
                  </a:schemeClr>
                </a:solidFill>
                <a:effectLst/>
                <a:latin typeface="Arial Narrow" panose="020B0606020202030204" pitchFamily="34" charset="0"/>
              </a:rPr>
              <a:t> </a:t>
            </a:r>
            <a:r>
              <a:rPr lang="en-US" sz="9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900" b="0" i="0">
                <a:solidFill>
                  <a:schemeClr val="tx1">
                    <a:lumMod val="65000"/>
                    <a:lumOff val="35000"/>
                  </a:schemeClr>
                </a:solidFill>
                <a:effectLst/>
                <a:latin typeface="Arial Narrow" panose="020B0606020202030204" pitchFamily="34" charset="0"/>
              </a:rPr>
              <a:t>.</a:t>
            </a:r>
            <a:endParaRPr lang="en-US" sz="900" b="0" i="0">
              <a:solidFill>
                <a:schemeClr val="tx1">
                  <a:lumMod val="65000"/>
                  <a:lumOff val="35000"/>
                </a:schemeClr>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15E30E08-721E-42AA-9CF9-BACF4F17DEB6}"/>
              </a:ext>
            </a:extLst>
          </p:cNvPr>
          <p:cNvSpPr txBox="1">
            <a:spLocks noGrp="1"/>
          </p:cNvSpPr>
          <p:nvPr>
            <p:ph type="body" idx="13" hasCustomPrompt="1"/>
          </p:nvPr>
        </p:nvSpPr>
        <p:spPr>
          <a:xfrm>
            <a:off x="608400" y="6402147"/>
            <a:ext cx="2400779" cy="204671"/>
          </a:xfrm>
          <a:prstGeom prst="rect">
            <a:avLst/>
          </a:prstGeom>
          <a:noFill/>
          <a:ln>
            <a:noFill/>
          </a:ln>
        </p:spPr>
        <p:txBody>
          <a:bodyPr spcFirstLastPara="1" vert="horz" wrap="square" lIns="0" tIns="0" rIns="0" bIns="0" anchor="ctr" anchorCtr="0">
            <a:spAutoFit/>
          </a:bodyPr>
          <a:lstStyle>
            <a:lvl1pPr marL="411480" marR="0" lvl="0" indent="-205740" algn="l" rtl="0">
              <a:lnSpc>
                <a:spcPct val="100000"/>
              </a:lnSpc>
              <a:spcBef>
                <a:spcPts val="288"/>
              </a:spcBef>
              <a:spcAft>
                <a:spcPts val="0"/>
              </a:spcAft>
              <a:buClr>
                <a:srgbClr val="05416B"/>
              </a:buClr>
              <a:buSzPts val="1600"/>
              <a:buFont typeface="Noto Sans Symbols"/>
              <a:buNone/>
              <a:defRPr sz="1080" b="1" i="0" u="none" strike="noStrike" cap="none">
                <a:solidFill>
                  <a:schemeClr val="tx1">
                    <a:lumMod val="65000"/>
                    <a:lumOff val="35000"/>
                  </a:schemeClr>
                </a:solidFill>
                <a:latin typeface="Arial Narrow"/>
                <a:ea typeface="Arial Narrow"/>
                <a:cs typeface="Arial Narrow"/>
                <a:sym typeface="Arial Narrow"/>
              </a:defRPr>
            </a:lvl1pPr>
            <a:lvl2pPr marL="822960" marR="0" lvl="1" indent="-297180" algn="l" rtl="0">
              <a:lnSpc>
                <a:spcPct val="100000"/>
              </a:lnSpc>
              <a:spcBef>
                <a:spcPts val="288"/>
              </a:spcBef>
              <a:spcAft>
                <a:spcPts val="0"/>
              </a:spcAft>
              <a:buClr>
                <a:srgbClr val="05416B"/>
              </a:buClr>
              <a:buSzPts val="1600"/>
              <a:buFont typeface="Noto Sans Symbols"/>
              <a:buChar char="◆"/>
              <a:defRPr sz="1440" b="0" i="0" u="none" strike="noStrike" cap="none">
                <a:solidFill>
                  <a:srgbClr val="05416B"/>
                </a:solidFill>
                <a:latin typeface="Arial Narrow"/>
                <a:ea typeface="Arial Narrow"/>
                <a:cs typeface="Arial Narrow"/>
                <a:sym typeface="Arial Narrow"/>
              </a:defRPr>
            </a:lvl2pPr>
            <a:lvl3pPr marL="1234440" marR="0" lvl="2" indent="-297180" algn="l" rtl="0">
              <a:lnSpc>
                <a:spcPct val="100000"/>
              </a:lnSpc>
              <a:spcBef>
                <a:spcPts val="288"/>
              </a:spcBef>
              <a:spcAft>
                <a:spcPts val="0"/>
              </a:spcAft>
              <a:buClr>
                <a:srgbClr val="05416B"/>
              </a:buClr>
              <a:buSzPts val="1600"/>
              <a:buFont typeface="Noto Sans Symbols"/>
              <a:buChar char="◆"/>
              <a:defRPr sz="1440" b="0" i="0" u="none" strike="noStrike" cap="none">
                <a:solidFill>
                  <a:srgbClr val="05416B"/>
                </a:solidFill>
                <a:latin typeface="Arial Narrow"/>
                <a:ea typeface="Arial Narrow"/>
                <a:cs typeface="Arial Narrow"/>
                <a:sym typeface="Arial Narrow"/>
              </a:defRPr>
            </a:lvl3pPr>
            <a:lvl4pPr marL="1645920" marR="0" lvl="3"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4pPr>
            <a:lvl5pPr marL="2057400" marR="0" lvl="4"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5pPr>
            <a:lvl6pPr marL="2468880" marR="0" lvl="5"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6pPr>
            <a:lvl7pPr marL="2880360" marR="0" lvl="6"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7pPr>
            <a:lvl8pPr marL="3291840" marR="0" lvl="7"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8pPr>
            <a:lvl9pPr marL="3703320" marR="0" lvl="8"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8078308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6" y="6527258"/>
            <a:ext cx="4058675" cy="330743"/>
          </a:xfrm>
        </p:spPr>
        <p:txBody>
          <a:bodyPr lIns="0" tIns="0" rIns="0" bIns="0" anchor="t" anchorCtr="0">
            <a:noAutofit/>
          </a:bodyPr>
          <a:lstStyle>
            <a:lvl1pPr marL="0" indent="0">
              <a:spcBef>
                <a:spcPts val="0"/>
              </a:spcBef>
              <a:buFontTx/>
              <a:buNone/>
              <a:defRPr sz="900">
                <a:solidFill>
                  <a:srgbClr val="002557"/>
                </a:solidFill>
              </a:defRPr>
            </a:lvl1pPr>
            <a:lvl2pPr>
              <a:defRPr sz="810">
                <a:solidFill>
                  <a:srgbClr val="002557"/>
                </a:solidFill>
              </a:defRPr>
            </a:lvl2pPr>
            <a:lvl3pPr>
              <a:defRPr sz="810">
                <a:solidFill>
                  <a:srgbClr val="002557"/>
                </a:solidFill>
              </a:defRPr>
            </a:lvl3pPr>
            <a:lvl4pPr>
              <a:defRPr sz="810">
                <a:solidFill>
                  <a:srgbClr val="002557"/>
                </a:solidFill>
              </a:defRPr>
            </a:lvl4pPr>
            <a:lvl5pPr>
              <a:defRPr sz="810">
                <a:solidFill>
                  <a:srgbClr val="002557"/>
                </a:solidFill>
              </a:defRPr>
            </a:lvl5pPr>
          </a:lstStyle>
          <a:p>
            <a:pPr lvl="0"/>
            <a:r>
              <a:rPr lang="en-US"/>
              <a:t>Insert Speaker Name and Title</a:t>
            </a:r>
          </a:p>
        </p:txBody>
      </p:sp>
      <p:sp>
        <p:nvSpPr>
          <p:cNvPr id="3" name="TextBox 2">
            <a:extLst>
              <a:ext uri="{FF2B5EF4-FFF2-40B4-BE49-F238E27FC236}">
                <a16:creationId xmlns:a16="http://schemas.microsoft.com/office/drawing/2014/main" id="{CAFF8E3A-8317-43BC-9EAF-EB79C56799A3}"/>
              </a:ext>
            </a:extLst>
          </p:cNvPr>
          <p:cNvSpPr txBox="1"/>
          <p:nvPr userDrawn="1"/>
        </p:nvSpPr>
        <p:spPr>
          <a:xfrm>
            <a:off x="3761118" y="0"/>
            <a:ext cx="3916393" cy="286232"/>
          </a:xfrm>
          <a:prstGeom prst="rect">
            <a:avLst/>
          </a:prstGeom>
          <a:noFill/>
        </p:spPr>
        <p:txBody>
          <a:bodyPr wrap="square" rtlCol="0">
            <a:spAutoFit/>
          </a:bodyPr>
          <a:lstStyle/>
          <a:p>
            <a:pPr algn="ctr"/>
            <a:r>
              <a:rPr lang="en-US" sz="1260"/>
              <a:t>Confidential – not for distribution</a:t>
            </a:r>
          </a:p>
        </p:txBody>
      </p:sp>
    </p:spTree>
    <p:extLst>
      <p:ext uri="{BB962C8B-B14F-4D97-AF65-F5344CB8AC3E}">
        <p14:creationId xmlns:p14="http://schemas.microsoft.com/office/powerpoint/2010/main" val="2590977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89492" y="1666727"/>
            <a:ext cx="5606509" cy="4085287"/>
          </a:xfrm>
          <a:prstGeom prst="rect">
            <a:avLst/>
          </a:prstGeom>
          <a:solidFill>
            <a:schemeClr val="bg1">
              <a:lumMod val="85000"/>
            </a:schemeClr>
          </a:solidFill>
        </p:spPr>
        <p:txBody>
          <a:bodyPr anchor="ctr"/>
          <a:lstStyle>
            <a:lvl1pPr marL="0" indent="0" algn="ctr">
              <a:buNone/>
              <a:defRPr sz="1920" baseline="0"/>
            </a:lvl1pPr>
          </a:lstStyle>
          <a:p>
            <a:pPr lvl="0"/>
            <a:r>
              <a:rPr lang="en-US"/>
              <a:t>Click to edit Master text styles</a:t>
            </a:r>
          </a:p>
        </p:txBody>
      </p:sp>
      <p:sp>
        <p:nvSpPr>
          <p:cNvPr id="7" name="Text Placeholder 6"/>
          <p:cNvSpPr>
            <a:spLocks noGrp="1"/>
          </p:cNvSpPr>
          <p:nvPr>
            <p:ph type="body" sz="quarter" idx="12"/>
          </p:nvPr>
        </p:nvSpPr>
        <p:spPr>
          <a:xfrm>
            <a:off x="6096000" y="1666727"/>
            <a:ext cx="5606509" cy="4085712"/>
          </a:xfrm>
          <a:prstGeom prst="rect">
            <a:avLst/>
          </a:prstGeom>
        </p:spPr>
        <p:txBody>
          <a:bodyPr>
            <a:noAutofit/>
          </a:bodyPr>
          <a:lstStyle>
            <a:lvl1pPr marL="0" indent="0">
              <a:buNone/>
              <a:defRPr sz="1920" baseline="0">
                <a:solidFill>
                  <a:schemeClr val="tx1">
                    <a:lumMod val="65000"/>
                    <a:lumOff val="35000"/>
                  </a:schemeClr>
                </a:solidFill>
              </a:defRPr>
            </a:lvl1pPr>
          </a:lstStyle>
          <a:p>
            <a:pPr lvl="0"/>
            <a:r>
              <a:rPr lang="en-US"/>
              <a:t>Click to edit Master text styles</a:t>
            </a:r>
          </a:p>
        </p:txBody>
      </p:sp>
      <p:sp>
        <p:nvSpPr>
          <p:cNvPr id="12" name="Title 1">
            <a:extLst>
              <a:ext uri="{FF2B5EF4-FFF2-40B4-BE49-F238E27FC236}">
                <a16:creationId xmlns:a16="http://schemas.microsoft.com/office/drawing/2014/main" id="{C682912B-9D64-B94C-9A5C-32A715E7D1A3}"/>
              </a:ext>
            </a:extLst>
          </p:cNvPr>
          <p:cNvSpPr>
            <a:spLocks noGrp="1"/>
          </p:cNvSpPr>
          <p:nvPr>
            <p:ph type="ctrTitle"/>
          </p:nvPr>
        </p:nvSpPr>
        <p:spPr>
          <a:xfrm>
            <a:off x="480000" y="285748"/>
            <a:ext cx="11213021" cy="576000"/>
          </a:xfrm>
          <a:prstGeom prst="rect">
            <a:avLst/>
          </a:prstGeom>
        </p:spPr>
        <p:txBody>
          <a:bodyPr anchor="t">
            <a:noAutofit/>
          </a:bodyPr>
          <a:lstStyle>
            <a:lvl1pPr algn="l">
              <a:lnSpc>
                <a:spcPct val="80000"/>
              </a:lnSpc>
              <a:defRPr sz="2880" b="1" i="0" cap="all">
                <a:solidFill>
                  <a:srgbClr val="991F6D"/>
                </a:solidFill>
                <a:latin typeface="+mn-lt"/>
                <a:cs typeface="Arial Narrow"/>
              </a:defRPr>
            </a:lvl1pPr>
          </a:lstStyle>
          <a:p>
            <a:endParaRPr lang="en-US"/>
          </a:p>
        </p:txBody>
      </p:sp>
      <p:sp>
        <p:nvSpPr>
          <p:cNvPr id="13" name="Subtitle 2">
            <a:extLst>
              <a:ext uri="{FF2B5EF4-FFF2-40B4-BE49-F238E27FC236}">
                <a16:creationId xmlns:a16="http://schemas.microsoft.com/office/drawing/2014/main" id="{507AD564-F74B-5F48-A178-810FBAC66F63}"/>
              </a:ext>
            </a:extLst>
          </p:cNvPr>
          <p:cNvSpPr>
            <a:spLocks noGrp="1"/>
          </p:cNvSpPr>
          <p:nvPr>
            <p:ph type="subTitle" idx="1"/>
          </p:nvPr>
        </p:nvSpPr>
        <p:spPr>
          <a:xfrm>
            <a:off x="480000" y="861748"/>
            <a:ext cx="11213021" cy="600000"/>
          </a:xfrm>
          <a:prstGeom prst="rect">
            <a:avLst/>
          </a:prstGeom>
        </p:spPr>
        <p:txBody>
          <a:bodyPr anchor="t">
            <a:noAutofit/>
          </a:bodyPr>
          <a:lstStyle>
            <a:lvl1pPr marL="0" indent="0" algn="l">
              <a:buNone/>
              <a:defRPr sz="2160">
                <a:solidFill>
                  <a:srgbClr val="991F6D"/>
                </a:solidFill>
                <a:latin typeface="+mn-lt"/>
                <a:cs typeface="Arial Narrow"/>
              </a:defRPr>
            </a:lvl1pPr>
            <a:lvl2pPr marL="548627" indent="0" algn="ctr">
              <a:buNone/>
              <a:defRPr>
                <a:solidFill>
                  <a:schemeClr val="tx1">
                    <a:tint val="75000"/>
                  </a:schemeClr>
                </a:solidFill>
              </a:defRPr>
            </a:lvl2pPr>
            <a:lvl3pPr marL="1097254" indent="0" algn="ctr">
              <a:buNone/>
              <a:defRPr>
                <a:solidFill>
                  <a:schemeClr val="tx1">
                    <a:tint val="75000"/>
                  </a:schemeClr>
                </a:solidFill>
              </a:defRPr>
            </a:lvl3pPr>
            <a:lvl4pPr marL="1645879" indent="0" algn="ctr">
              <a:buNone/>
              <a:defRPr>
                <a:solidFill>
                  <a:schemeClr val="tx1">
                    <a:tint val="75000"/>
                  </a:schemeClr>
                </a:solidFill>
              </a:defRPr>
            </a:lvl4pPr>
            <a:lvl5pPr marL="2194505" indent="0" algn="ctr">
              <a:buNone/>
              <a:defRPr>
                <a:solidFill>
                  <a:schemeClr val="tx1">
                    <a:tint val="75000"/>
                  </a:schemeClr>
                </a:solidFill>
              </a:defRPr>
            </a:lvl5pPr>
            <a:lvl6pPr marL="2743132" indent="0" algn="ctr">
              <a:buNone/>
              <a:defRPr>
                <a:solidFill>
                  <a:schemeClr val="tx1">
                    <a:tint val="75000"/>
                  </a:schemeClr>
                </a:solidFill>
              </a:defRPr>
            </a:lvl6pPr>
            <a:lvl7pPr marL="3291758" indent="0" algn="ctr">
              <a:buNone/>
              <a:defRPr>
                <a:solidFill>
                  <a:schemeClr val="tx1">
                    <a:tint val="75000"/>
                  </a:schemeClr>
                </a:solidFill>
              </a:defRPr>
            </a:lvl7pPr>
            <a:lvl8pPr marL="3840384" indent="0" algn="ctr">
              <a:buNone/>
              <a:defRPr>
                <a:solidFill>
                  <a:schemeClr val="tx1">
                    <a:tint val="75000"/>
                  </a:schemeClr>
                </a:solidFill>
              </a:defRPr>
            </a:lvl8pPr>
            <a:lvl9pPr marL="4389011" indent="0" algn="ctr">
              <a:buNone/>
              <a:defRPr>
                <a:solidFill>
                  <a:schemeClr val="tx1">
                    <a:tint val="75000"/>
                  </a:schemeClr>
                </a:solidFill>
              </a:defRPr>
            </a:lvl9pPr>
          </a:lstStyle>
          <a:p>
            <a:r>
              <a:rPr lang="en-US"/>
              <a:t>Click to edit Master subtitle style</a:t>
            </a:r>
          </a:p>
        </p:txBody>
      </p:sp>
      <p:sp>
        <p:nvSpPr>
          <p:cNvPr id="14" name="TextBox 4">
            <a:extLst>
              <a:ext uri="{FF2B5EF4-FFF2-40B4-BE49-F238E27FC236}">
                <a16:creationId xmlns:a16="http://schemas.microsoft.com/office/drawing/2014/main" id="{C1853386-09AE-4F73-8711-1D618E943AD9}"/>
              </a:ext>
            </a:extLst>
          </p:cNvPr>
          <p:cNvSpPr txBox="1"/>
          <p:nvPr userDrawn="1"/>
        </p:nvSpPr>
        <p:spPr>
          <a:xfrm>
            <a:off x="610785" y="6569659"/>
            <a:ext cx="6270219" cy="166199"/>
          </a:xfrm>
          <a:prstGeom prst="rect">
            <a:avLst/>
          </a:prstGeom>
          <a:noFill/>
        </p:spPr>
        <p:txBody>
          <a:bodyPr wrap="square" lIns="0" tIns="0" rIns="0" bIns="0" rtlCol="0" anchor="b" anchorCtr="0">
            <a:spAutoFit/>
          </a:bodyPr>
          <a:lstStyle/>
          <a:p>
            <a:pPr marL="0" marR="0" lvl="0" indent="0" algn="l" defTabSz="1097254" rtl="0" eaLnBrk="1" fontAlgn="auto" latinLnBrk="0" hangingPunct="1">
              <a:lnSpc>
                <a:spcPct val="100000"/>
              </a:lnSpc>
              <a:spcBef>
                <a:spcPts val="0"/>
              </a:spcBef>
              <a:spcAft>
                <a:spcPts val="0"/>
              </a:spcAft>
              <a:buClr>
                <a:srgbClr val="000000"/>
              </a:buClr>
              <a:buSzTx/>
              <a:buFont typeface="Arial"/>
              <a:buNone/>
              <a:tabLst/>
              <a:defRPr/>
            </a:pPr>
            <a:r>
              <a:rPr lang="en-US" sz="1080" b="0" i="0">
                <a:solidFill>
                  <a:srgbClr val="E494C3"/>
                </a:solidFill>
                <a:effectLst/>
                <a:latin typeface="Arial Narrow" panose="020B0604020202020204" pitchFamily="34" charset="0"/>
                <a:cs typeface="Arial Narrow" panose="020B0604020202020204" pitchFamily="34" charset="0"/>
              </a:rPr>
              <a:t>Content of this presentation is copyright</a:t>
            </a:r>
            <a:r>
              <a:rPr lang="en-CH" sz="1080" b="0" i="0">
                <a:solidFill>
                  <a:srgbClr val="E494C3"/>
                </a:solidFill>
                <a:effectLst/>
                <a:latin typeface="Arial Narrow" panose="020B0604020202020204" pitchFamily="34" charset="0"/>
                <a:cs typeface="Arial Narrow" panose="020B0604020202020204" pitchFamily="34" charset="0"/>
              </a:rPr>
              <a:t> </a:t>
            </a:r>
            <a:r>
              <a:rPr lang="en-US" sz="1080" b="0" i="0">
                <a:solidFill>
                  <a:srgbClr val="E494C3"/>
                </a:solidFill>
                <a:effectLst/>
                <a:latin typeface="Arial Narrow" panose="020B0604020202020204" pitchFamily="34" charset="0"/>
                <a:cs typeface="Arial Narrow" panose="020B0604020202020204" pitchFamily="34" charset="0"/>
              </a:rPr>
              <a:t>and responsibility of the author. Permission is required for re-use</a:t>
            </a:r>
            <a:r>
              <a:rPr lang="en-CH" sz="1080" b="0" i="0">
                <a:solidFill>
                  <a:srgbClr val="E494C3"/>
                </a:solidFill>
                <a:effectLst/>
                <a:latin typeface="Arial Narrow" panose="020B0604020202020204" pitchFamily="34" charset="0"/>
                <a:cs typeface="Arial Narrow" panose="020B0604020202020204" pitchFamily="34" charset="0"/>
              </a:rPr>
              <a:t>.</a:t>
            </a:r>
            <a:endParaRPr lang="en-US" sz="1080" b="0" i="0">
              <a:solidFill>
                <a:srgbClr val="E494C3"/>
              </a:solidFill>
              <a:effectLst/>
              <a:latin typeface="Arial Narrow" panose="020B0604020202020204" pitchFamily="34" charset="0"/>
              <a:cs typeface="Arial Narrow" panose="020B0604020202020204" pitchFamily="34" charset="0"/>
            </a:endParaRPr>
          </a:p>
        </p:txBody>
      </p:sp>
      <p:sp>
        <p:nvSpPr>
          <p:cNvPr id="15" name="Espace réservé du texte 3">
            <a:extLst>
              <a:ext uri="{FF2B5EF4-FFF2-40B4-BE49-F238E27FC236}">
                <a16:creationId xmlns:a16="http://schemas.microsoft.com/office/drawing/2014/main" id="{B0D22F4A-411F-4B9F-86B1-C3D1349A3841}"/>
              </a:ext>
            </a:extLst>
          </p:cNvPr>
          <p:cNvSpPr>
            <a:spLocks noGrp="1"/>
          </p:cNvSpPr>
          <p:nvPr>
            <p:ph type="body" sz="quarter" idx="14" hasCustomPrompt="1"/>
          </p:nvPr>
        </p:nvSpPr>
        <p:spPr>
          <a:xfrm>
            <a:off x="4756223" y="6216655"/>
            <a:ext cx="2538679" cy="234949"/>
          </a:xfrm>
          <a:prstGeom prst="rect">
            <a:avLst/>
          </a:prstGeom>
        </p:spPr>
        <p:txBody>
          <a:bodyPr lIns="0" bIns="0" anchor="b" anchorCtr="0"/>
          <a:lstStyle>
            <a:lvl1pPr marL="0" indent="0">
              <a:buNone/>
              <a:defRPr sz="1080" b="0" i="0" spc="0">
                <a:solidFill>
                  <a:srgbClr val="E494C3"/>
                </a:solidFill>
                <a:latin typeface="Arial Narrow" panose="020B0604020202020204" pitchFamily="34" charset="0"/>
                <a:cs typeface="Arial Narrow" panose="020B0604020202020204" pitchFamily="34" charset="0"/>
              </a:defRPr>
            </a:lvl1pPr>
          </a:lstStyle>
          <a:p>
            <a:pPr lvl="0"/>
            <a:r>
              <a:rPr lang="en-CH"/>
              <a:t>Add name of presenter here</a:t>
            </a:r>
            <a:endParaRPr lang="fr-FR"/>
          </a:p>
        </p:txBody>
      </p:sp>
      <p:pic>
        <p:nvPicPr>
          <p:cNvPr id="3" name="Picture 2">
            <a:extLst>
              <a:ext uri="{FF2B5EF4-FFF2-40B4-BE49-F238E27FC236}">
                <a16:creationId xmlns:a16="http://schemas.microsoft.com/office/drawing/2014/main" id="{1465025E-8EEB-6F2D-CA37-A0D155BFA7DE}"/>
              </a:ext>
            </a:extLst>
          </p:cNvPr>
          <p:cNvPicPr>
            <a:picLocks noChangeAspect="1"/>
          </p:cNvPicPr>
          <p:nvPr userDrawn="1"/>
        </p:nvPicPr>
        <p:blipFill>
          <a:blip r:embed="rId2"/>
          <a:stretch>
            <a:fillRect/>
          </a:stretch>
        </p:blipFill>
        <p:spPr>
          <a:xfrm>
            <a:off x="624417" y="6214291"/>
            <a:ext cx="4050947" cy="216000"/>
          </a:xfrm>
          <a:prstGeom prst="rect">
            <a:avLst/>
          </a:prstGeom>
        </p:spPr>
      </p:pic>
    </p:spTree>
    <p:extLst>
      <p:ext uri="{BB962C8B-B14F-4D97-AF65-F5344CB8AC3E}">
        <p14:creationId xmlns:p14="http://schemas.microsoft.com/office/powerpoint/2010/main" val="22528999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03">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5" y="0"/>
            <a:ext cx="3549805" cy="1276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1"/>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520" cap="all" baseline="0" dirty="0"/>
            </a:lvl1pPr>
          </a:lstStyle>
          <a:p>
            <a:pPr lvl="0"/>
            <a:r>
              <a:rPr lang="fr-CH"/>
              <a:t>Click to </a:t>
            </a:r>
            <a:r>
              <a:rPr lang="fr-CH" err="1"/>
              <a:t>edit</a:t>
            </a:r>
            <a:r>
              <a:rPr lang="fr-CH"/>
              <a:t> Master </a:t>
            </a:r>
            <a:r>
              <a:rPr lang="fr-CH" err="1"/>
              <a:t>title</a:t>
            </a:r>
            <a:r>
              <a:rPr lang="fr-CH"/>
              <a:t> style</a:t>
            </a:r>
            <a:endParaRPr lang="en-US"/>
          </a:p>
        </p:txBody>
      </p:sp>
      <p:sp>
        <p:nvSpPr>
          <p:cNvPr id="12" name="Text Placeholder 11"/>
          <p:cNvSpPr>
            <a:spLocks noGrp="1"/>
          </p:cNvSpPr>
          <p:nvPr>
            <p:ph type="body" sz="quarter" idx="10"/>
          </p:nvPr>
        </p:nvSpPr>
        <p:spPr>
          <a:xfrm>
            <a:off x="609599" y="1080002"/>
            <a:ext cx="8028000" cy="488795"/>
          </a:xfrm>
        </p:spPr>
        <p:txBody>
          <a:bodyPr>
            <a:noAutofit/>
          </a:bodyPr>
          <a:lstStyle>
            <a:lvl1pPr marL="0" indent="0">
              <a:buNone/>
              <a:defRPr sz="2160" baseline="0">
                <a:solidFill>
                  <a:srgbClr val="81104F"/>
                </a:solidFill>
              </a:defRPr>
            </a:lvl1pPr>
          </a:lstStyle>
          <a:p>
            <a:pPr lvl="0"/>
            <a:r>
              <a:rPr lang="fr-CH"/>
              <a:t>Click to </a:t>
            </a:r>
            <a:r>
              <a:rPr lang="fr-CH" err="1"/>
              <a:t>edit</a:t>
            </a:r>
            <a:r>
              <a:rPr lang="fr-CH"/>
              <a:t> Master </a:t>
            </a:r>
            <a:r>
              <a:rPr lang="fr-CH" err="1"/>
              <a:t>text</a:t>
            </a:r>
            <a:r>
              <a:rPr lang="fr-CH"/>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1" y="6454469"/>
            <a:ext cx="5068649" cy="145553"/>
          </a:xfrm>
          <a:prstGeom prst="rect">
            <a:avLst/>
          </a:prstGeom>
          <a:noFill/>
        </p:spPr>
        <p:txBody>
          <a:bodyPr wrap="square" lIns="0" tIns="0" rIns="81000" bIns="0" rtlCol="0">
            <a:spAutoFit/>
          </a:bodyPr>
          <a:lstStyle/>
          <a:p>
            <a:pPr marL="0" marR="0" lvl="0" indent="0" algn="r" defTabSz="822960" rtl="0" eaLnBrk="1" fontAlgn="auto" latinLnBrk="0" hangingPunct="1">
              <a:lnSpc>
                <a:spcPct val="100000"/>
              </a:lnSpc>
              <a:spcBef>
                <a:spcPts val="0"/>
              </a:spcBef>
              <a:spcAft>
                <a:spcPts val="0"/>
              </a:spcAft>
              <a:buClr>
                <a:srgbClr val="000000"/>
              </a:buClr>
              <a:buSzTx/>
              <a:buFont typeface="Arial"/>
              <a:buNone/>
              <a:tabLst/>
              <a:defRPr/>
            </a:pPr>
            <a:r>
              <a:rPr lang="en-US" sz="900" b="0" i="0">
                <a:solidFill>
                  <a:schemeClr val="tx1">
                    <a:lumMod val="65000"/>
                    <a:lumOff val="35000"/>
                  </a:schemeClr>
                </a:solidFill>
                <a:effectLst/>
                <a:latin typeface="Arial Narrow" panose="020B0606020202030204" pitchFamily="34" charset="0"/>
              </a:rPr>
              <a:t>Content of this </a:t>
            </a:r>
            <a:r>
              <a:rPr lang="en-US" sz="946" b="0" i="0">
                <a:solidFill>
                  <a:schemeClr val="tx1">
                    <a:lumMod val="65000"/>
                    <a:lumOff val="35000"/>
                  </a:schemeClr>
                </a:solidFill>
                <a:effectLst/>
                <a:latin typeface="Arial Narrow" panose="020B0606020202030204" pitchFamily="34" charset="0"/>
              </a:rPr>
              <a:t>presentation</a:t>
            </a:r>
            <a:r>
              <a:rPr lang="en-US" sz="900" b="0" i="0">
                <a:solidFill>
                  <a:schemeClr val="tx1">
                    <a:lumMod val="65000"/>
                    <a:lumOff val="35000"/>
                  </a:schemeClr>
                </a:solidFill>
                <a:effectLst/>
                <a:latin typeface="Arial Narrow" panose="020B0606020202030204" pitchFamily="34" charset="0"/>
              </a:rPr>
              <a:t> is copyright</a:t>
            </a:r>
            <a:r>
              <a:rPr lang="en-CH" sz="900" b="0" i="0">
                <a:solidFill>
                  <a:schemeClr val="tx1">
                    <a:lumMod val="65000"/>
                    <a:lumOff val="35000"/>
                  </a:schemeClr>
                </a:solidFill>
                <a:effectLst/>
                <a:latin typeface="Arial Narrow" panose="020B0606020202030204" pitchFamily="34" charset="0"/>
              </a:rPr>
              <a:t> </a:t>
            </a:r>
            <a:r>
              <a:rPr lang="en-US" sz="9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900" b="0" i="0">
                <a:solidFill>
                  <a:schemeClr val="tx1">
                    <a:lumMod val="65000"/>
                    <a:lumOff val="35000"/>
                  </a:schemeClr>
                </a:solidFill>
                <a:effectLst/>
                <a:latin typeface="Arial Narrow" panose="020B0606020202030204" pitchFamily="34" charset="0"/>
              </a:rPr>
              <a:t>.</a:t>
            </a:r>
            <a:endParaRPr lang="en-US" sz="900" b="0" i="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402147"/>
            <a:ext cx="2400779" cy="204671"/>
          </a:xfrm>
          <a:prstGeom prst="rect">
            <a:avLst/>
          </a:prstGeom>
          <a:noFill/>
          <a:ln>
            <a:noFill/>
          </a:ln>
        </p:spPr>
        <p:txBody>
          <a:bodyPr spcFirstLastPara="1" vert="horz" wrap="square" lIns="0" tIns="0" rIns="0" bIns="0" anchor="ctr" anchorCtr="0">
            <a:spAutoFit/>
          </a:bodyPr>
          <a:lstStyle>
            <a:lvl1pPr marL="411480" marR="0" lvl="0" indent="-205740" algn="l" rtl="0">
              <a:lnSpc>
                <a:spcPct val="100000"/>
              </a:lnSpc>
              <a:spcBef>
                <a:spcPts val="288"/>
              </a:spcBef>
              <a:spcAft>
                <a:spcPts val="0"/>
              </a:spcAft>
              <a:buClr>
                <a:srgbClr val="05416B"/>
              </a:buClr>
              <a:buSzPts val="1600"/>
              <a:buFont typeface="Noto Sans Symbols"/>
              <a:buNone/>
              <a:defRPr sz="1080" b="1" i="0" u="none" strike="noStrike" cap="none">
                <a:solidFill>
                  <a:schemeClr val="tx1">
                    <a:lumMod val="65000"/>
                    <a:lumOff val="35000"/>
                  </a:schemeClr>
                </a:solidFill>
                <a:latin typeface="Arial Narrow"/>
                <a:ea typeface="Arial Narrow"/>
                <a:cs typeface="Arial Narrow"/>
                <a:sym typeface="Arial Narrow"/>
              </a:defRPr>
            </a:lvl1pPr>
            <a:lvl2pPr marL="822960" marR="0" lvl="1" indent="-297180" algn="l" rtl="0">
              <a:lnSpc>
                <a:spcPct val="100000"/>
              </a:lnSpc>
              <a:spcBef>
                <a:spcPts val="288"/>
              </a:spcBef>
              <a:spcAft>
                <a:spcPts val="0"/>
              </a:spcAft>
              <a:buClr>
                <a:srgbClr val="05416B"/>
              </a:buClr>
              <a:buSzPts val="1600"/>
              <a:buFont typeface="Noto Sans Symbols"/>
              <a:buChar char="◆"/>
              <a:defRPr sz="1440" b="0" i="0" u="none" strike="noStrike" cap="none">
                <a:solidFill>
                  <a:srgbClr val="05416B"/>
                </a:solidFill>
                <a:latin typeface="Arial Narrow"/>
                <a:ea typeface="Arial Narrow"/>
                <a:cs typeface="Arial Narrow"/>
                <a:sym typeface="Arial Narrow"/>
              </a:defRPr>
            </a:lvl2pPr>
            <a:lvl3pPr marL="1234440" marR="0" lvl="2" indent="-297180" algn="l" rtl="0">
              <a:lnSpc>
                <a:spcPct val="100000"/>
              </a:lnSpc>
              <a:spcBef>
                <a:spcPts val="288"/>
              </a:spcBef>
              <a:spcAft>
                <a:spcPts val="0"/>
              </a:spcAft>
              <a:buClr>
                <a:srgbClr val="05416B"/>
              </a:buClr>
              <a:buSzPts val="1600"/>
              <a:buFont typeface="Noto Sans Symbols"/>
              <a:buChar char="◆"/>
              <a:defRPr sz="1440" b="0" i="0" u="none" strike="noStrike" cap="none">
                <a:solidFill>
                  <a:srgbClr val="05416B"/>
                </a:solidFill>
                <a:latin typeface="Arial Narrow"/>
                <a:ea typeface="Arial Narrow"/>
                <a:cs typeface="Arial Narrow"/>
                <a:sym typeface="Arial Narrow"/>
              </a:defRPr>
            </a:lvl3pPr>
            <a:lvl4pPr marL="1645920" marR="0" lvl="3"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4pPr>
            <a:lvl5pPr marL="2057400" marR="0" lvl="4"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5pPr>
            <a:lvl6pPr marL="2468880" marR="0" lvl="5"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6pPr>
            <a:lvl7pPr marL="2880360" marR="0" lvl="6"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7pPr>
            <a:lvl8pPr marL="3291840" marR="0" lvl="7"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8pPr>
            <a:lvl9pPr marL="3703320" marR="0" lvl="8"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35752119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5" y="0"/>
            <a:ext cx="3549805" cy="1276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1"/>
            <a:ext cx="8028000" cy="553998"/>
          </a:xfrm>
        </p:spPr>
        <p:txBody>
          <a:bodyPr anchor="b">
            <a:noAutofit/>
          </a:bodyPr>
          <a:lstStyle>
            <a:lvl1pPr>
              <a:defRPr sz="2520" cap="all" baseline="0"/>
            </a:lvl1pPr>
          </a:lstStyle>
          <a:p>
            <a:r>
              <a:rPr lang="fr-CH"/>
              <a:t>Click to </a:t>
            </a:r>
            <a:r>
              <a:rPr lang="fr-CH" err="1"/>
              <a:t>edit</a:t>
            </a:r>
            <a:r>
              <a:rPr lang="fr-CH"/>
              <a:t> Master </a:t>
            </a:r>
            <a:r>
              <a:rPr lang="fr-CH" err="1"/>
              <a:t>title</a:t>
            </a:r>
            <a:r>
              <a:rPr lang="fr-CH"/>
              <a:t> style</a:t>
            </a:r>
            <a:endParaRPr lang="en-US"/>
          </a:p>
        </p:txBody>
      </p:sp>
      <p:sp>
        <p:nvSpPr>
          <p:cNvPr id="12" name="Text Placeholder 11"/>
          <p:cNvSpPr>
            <a:spLocks noGrp="1"/>
          </p:cNvSpPr>
          <p:nvPr>
            <p:ph type="body" sz="quarter" idx="10"/>
          </p:nvPr>
        </p:nvSpPr>
        <p:spPr>
          <a:xfrm>
            <a:off x="608400" y="1080002"/>
            <a:ext cx="8028000" cy="488795"/>
          </a:xfrm>
        </p:spPr>
        <p:txBody>
          <a:bodyPr>
            <a:noAutofit/>
          </a:bodyPr>
          <a:lstStyle>
            <a:lvl1pPr marL="0" indent="0">
              <a:buNone/>
              <a:defRPr sz="2160" baseline="0">
                <a:solidFill>
                  <a:srgbClr val="81104F"/>
                </a:solidFill>
              </a:defRPr>
            </a:lvl1pPr>
          </a:lstStyle>
          <a:p>
            <a:pPr lvl="0"/>
            <a:r>
              <a:rPr lang="fr-CH"/>
              <a:t>Click to </a:t>
            </a:r>
            <a:r>
              <a:rPr lang="fr-CH" err="1"/>
              <a:t>edit</a:t>
            </a:r>
            <a:r>
              <a:rPr lang="fr-CH"/>
              <a:t> Master </a:t>
            </a:r>
            <a:r>
              <a:rPr lang="fr-CH" err="1"/>
              <a:t>text</a:t>
            </a:r>
            <a:r>
              <a:rPr lang="fr-CH"/>
              <a:t> styles</a:t>
            </a:r>
          </a:p>
        </p:txBody>
      </p:sp>
      <p:sp>
        <p:nvSpPr>
          <p:cNvPr id="13" name="Text Placeholder 6"/>
          <p:cNvSpPr>
            <a:spLocks noGrp="1"/>
          </p:cNvSpPr>
          <p:nvPr>
            <p:ph type="body" sz="quarter" idx="12"/>
          </p:nvPr>
        </p:nvSpPr>
        <p:spPr>
          <a:xfrm>
            <a:off x="608400" y="2112964"/>
            <a:ext cx="10982400" cy="4020208"/>
          </a:xfrm>
        </p:spPr>
        <p:txBody>
          <a:bodyPr>
            <a:noAutofit/>
          </a:bodyPr>
          <a:lstStyle>
            <a:lvl1pPr marL="0" indent="0">
              <a:buNone/>
              <a:defRPr baseline="0"/>
            </a:lvl1pPr>
          </a:lstStyle>
          <a:p>
            <a:pPr lvl="0"/>
            <a:r>
              <a:rPr lang="fr-CH"/>
              <a:t>Click to </a:t>
            </a:r>
            <a:r>
              <a:rPr lang="fr-CH" err="1"/>
              <a:t>edit</a:t>
            </a:r>
            <a:r>
              <a:rPr lang="fr-CH"/>
              <a:t> Master </a:t>
            </a:r>
            <a:r>
              <a:rPr lang="fr-CH" err="1"/>
              <a:t>text</a:t>
            </a:r>
            <a:r>
              <a:rPr lang="fr-CH"/>
              <a:t> styles</a:t>
            </a:r>
          </a:p>
        </p:txBody>
      </p:sp>
      <p:pic>
        <p:nvPicPr>
          <p:cNvPr id="8" name="Picture 4" descr="background-title.png"/>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5" y="6342789"/>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1" y="6454469"/>
            <a:ext cx="5068649" cy="145553"/>
          </a:xfrm>
          <a:prstGeom prst="rect">
            <a:avLst/>
          </a:prstGeom>
          <a:noFill/>
        </p:spPr>
        <p:txBody>
          <a:bodyPr wrap="square" lIns="0" tIns="0" rIns="81000" bIns="0" rtlCol="0">
            <a:spAutoFit/>
          </a:bodyPr>
          <a:lstStyle/>
          <a:p>
            <a:pPr marL="0" marR="0" lvl="0" indent="0" algn="r" defTabSz="822960" rtl="0" eaLnBrk="1" fontAlgn="auto" latinLnBrk="0" hangingPunct="1">
              <a:lnSpc>
                <a:spcPct val="100000"/>
              </a:lnSpc>
              <a:spcBef>
                <a:spcPts val="0"/>
              </a:spcBef>
              <a:spcAft>
                <a:spcPts val="0"/>
              </a:spcAft>
              <a:buClr>
                <a:srgbClr val="000000"/>
              </a:buClr>
              <a:buSzTx/>
              <a:buFont typeface="Arial"/>
              <a:buNone/>
              <a:tabLst/>
              <a:defRPr/>
            </a:pPr>
            <a:r>
              <a:rPr lang="en-US" sz="900" b="0" i="0">
                <a:solidFill>
                  <a:schemeClr val="tx1">
                    <a:lumMod val="65000"/>
                    <a:lumOff val="35000"/>
                  </a:schemeClr>
                </a:solidFill>
                <a:effectLst/>
                <a:latin typeface="Arial Narrow" panose="020B0606020202030204" pitchFamily="34" charset="0"/>
              </a:rPr>
              <a:t>Content of this </a:t>
            </a:r>
            <a:r>
              <a:rPr lang="en-US" sz="946" b="0" i="0">
                <a:solidFill>
                  <a:schemeClr val="tx1">
                    <a:lumMod val="65000"/>
                    <a:lumOff val="35000"/>
                  </a:schemeClr>
                </a:solidFill>
                <a:effectLst/>
                <a:latin typeface="Arial Narrow" panose="020B0606020202030204" pitchFamily="34" charset="0"/>
              </a:rPr>
              <a:t>presentation</a:t>
            </a:r>
            <a:r>
              <a:rPr lang="en-US" sz="900" b="0" i="0">
                <a:solidFill>
                  <a:schemeClr val="tx1">
                    <a:lumMod val="65000"/>
                    <a:lumOff val="35000"/>
                  </a:schemeClr>
                </a:solidFill>
                <a:effectLst/>
                <a:latin typeface="Arial Narrow" panose="020B0606020202030204" pitchFamily="34" charset="0"/>
              </a:rPr>
              <a:t> is copyright</a:t>
            </a:r>
            <a:r>
              <a:rPr lang="en-CH" sz="900" b="0" i="0">
                <a:solidFill>
                  <a:schemeClr val="tx1">
                    <a:lumMod val="65000"/>
                    <a:lumOff val="35000"/>
                  </a:schemeClr>
                </a:solidFill>
                <a:effectLst/>
                <a:latin typeface="Arial Narrow" panose="020B0606020202030204" pitchFamily="34" charset="0"/>
              </a:rPr>
              <a:t> </a:t>
            </a:r>
            <a:r>
              <a:rPr lang="en-US" sz="9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900" b="0" i="0">
                <a:solidFill>
                  <a:schemeClr val="tx1">
                    <a:lumMod val="65000"/>
                    <a:lumOff val="35000"/>
                  </a:schemeClr>
                </a:solidFill>
                <a:effectLst/>
                <a:latin typeface="Arial Narrow" panose="020B0606020202030204" pitchFamily="34" charset="0"/>
              </a:rPr>
              <a:t>.</a:t>
            </a:r>
            <a:endParaRPr lang="en-US" sz="900" b="0" i="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402147"/>
            <a:ext cx="2400779" cy="204671"/>
          </a:xfrm>
          <a:prstGeom prst="rect">
            <a:avLst/>
          </a:prstGeom>
          <a:noFill/>
          <a:ln>
            <a:noFill/>
          </a:ln>
        </p:spPr>
        <p:txBody>
          <a:bodyPr spcFirstLastPara="1" vert="horz" wrap="square" lIns="0" tIns="0" rIns="0" bIns="0" anchor="ctr" anchorCtr="0">
            <a:spAutoFit/>
          </a:bodyPr>
          <a:lstStyle>
            <a:lvl1pPr marL="411480" marR="0" lvl="0" indent="-205740" algn="l" rtl="0">
              <a:lnSpc>
                <a:spcPct val="100000"/>
              </a:lnSpc>
              <a:spcBef>
                <a:spcPts val="288"/>
              </a:spcBef>
              <a:spcAft>
                <a:spcPts val="0"/>
              </a:spcAft>
              <a:buClr>
                <a:srgbClr val="05416B"/>
              </a:buClr>
              <a:buSzPts val="1600"/>
              <a:buFont typeface="Noto Sans Symbols"/>
              <a:buNone/>
              <a:defRPr sz="1080" b="1" i="0" u="none" strike="noStrike" cap="none">
                <a:solidFill>
                  <a:schemeClr val="tx1">
                    <a:lumMod val="65000"/>
                    <a:lumOff val="35000"/>
                  </a:schemeClr>
                </a:solidFill>
                <a:latin typeface="Arial Narrow"/>
                <a:ea typeface="Arial Narrow"/>
                <a:cs typeface="Arial Narrow"/>
                <a:sym typeface="Arial Narrow"/>
              </a:defRPr>
            </a:lvl1pPr>
            <a:lvl2pPr marL="822960" marR="0" lvl="1" indent="-297180" algn="l" rtl="0">
              <a:lnSpc>
                <a:spcPct val="100000"/>
              </a:lnSpc>
              <a:spcBef>
                <a:spcPts val="288"/>
              </a:spcBef>
              <a:spcAft>
                <a:spcPts val="0"/>
              </a:spcAft>
              <a:buClr>
                <a:srgbClr val="05416B"/>
              </a:buClr>
              <a:buSzPts val="1600"/>
              <a:buFont typeface="Noto Sans Symbols"/>
              <a:buChar char="◆"/>
              <a:defRPr sz="1440" b="0" i="0" u="none" strike="noStrike" cap="none">
                <a:solidFill>
                  <a:srgbClr val="05416B"/>
                </a:solidFill>
                <a:latin typeface="Arial Narrow"/>
                <a:ea typeface="Arial Narrow"/>
                <a:cs typeface="Arial Narrow"/>
                <a:sym typeface="Arial Narrow"/>
              </a:defRPr>
            </a:lvl2pPr>
            <a:lvl3pPr marL="1234440" marR="0" lvl="2" indent="-297180" algn="l" rtl="0">
              <a:lnSpc>
                <a:spcPct val="100000"/>
              </a:lnSpc>
              <a:spcBef>
                <a:spcPts val="288"/>
              </a:spcBef>
              <a:spcAft>
                <a:spcPts val="0"/>
              </a:spcAft>
              <a:buClr>
                <a:srgbClr val="05416B"/>
              </a:buClr>
              <a:buSzPts val="1600"/>
              <a:buFont typeface="Noto Sans Symbols"/>
              <a:buChar char="◆"/>
              <a:defRPr sz="1440" b="0" i="0" u="none" strike="noStrike" cap="none">
                <a:solidFill>
                  <a:srgbClr val="05416B"/>
                </a:solidFill>
                <a:latin typeface="Arial Narrow"/>
                <a:ea typeface="Arial Narrow"/>
                <a:cs typeface="Arial Narrow"/>
                <a:sym typeface="Arial Narrow"/>
              </a:defRPr>
            </a:lvl3pPr>
            <a:lvl4pPr marL="1645920" marR="0" lvl="3"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4pPr>
            <a:lvl5pPr marL="2057400" marR="0" lvl="4"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5pPr>
            <a:lvl6pPr marL="2468880" marR="0" lvl="5"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6pPr>
            <a:lvl7pPr marL="2880360" marR="0" lvl="6"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7pPr>
            <a:lvl8pPr marL="3291840" marR="0" lvl="7"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8pPr>
            <a:lvl9pPr marL="3703320" marR="0" lvl="8" indent="-297180" algn="l" rtl="0">
              <a:lnSpc>
                <a:spcPct val="100000"/>
              </a:lnSpc>
              <a:spcBef>
                <a:spcPts val="360"/>
              </a:spcBef>
              <a:spcAft>
                <a:spcPts val="0"/>
              </a:spcAft>
              <a:buClr>
                <a:srgbClr val="05416B"/>
              </a:buClr>
              <a:buSzPts val="1600"/>
              <a:buFont typeface="Arial"/>
              <a:buChar char="●"/>
              <a:defRPr sz="144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35003684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900">
                <a:solidFill>
                  <a:srgbClr val="002557"/>
                </a:solidFill>
              </a:defRPr>
            </a:lvl1pPr>
            <a:lvl2pPr>
              <a:defRPr sz="810">
                <a:solidFill>
                  <a:srgbClr val="002557"/>
                </a:solidFill>
              </a:defRPr>
            </a:lvl2pPr>
            <a:lvl3pPr>
              <a:defRPr sz="810">
                <a:solidFill>
                  <a:srgbClr val="002557"/>
                </a:solidFill>
              </a:defRPr>
            </a:lvl3pPr>
            <a:lvl4pPr>
              <a:defRPr sz="810">
                <a:solidFill>
                  <a:srgbClr val="002557"/>
                </a:solidFill>
              </a:defRPr>
            </a:lvl4pPr>
            <a:lvl5pPr>
              <a:defRPr sz="81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676108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D6883-E93E-C957-4B82-A24196A15DB9}"/>
              </a:ext>
            </a:extLst>
          </p:cNvPr>
          <p:cNvSpPr>
            <a:spLocks noGrp="1"/>
          </p:cNvSpPr>
          <p:nvPr>
            <p:ph type="title"/>
          </p:nvPr>
        </p:nvSpPr>
        <p:spPr>
          <a:xfrm>
            <a:off x="609600" y="400051"/>
            <a:ext cx="10972800" cy="781050"/>
          </a:xfrm>
        </p:spPr>
        <p:txBody>
          <a:bodyPr/>
          <a:lstStyle/>
          <a:p>
            <a:r>
              <a:rPr lang="en-US"/>
              <a:t>Click to edit Master title style</a:t>
            </a:r>
          </a:p>
        </p:txBody>
      </p:sp>
      <p:sp>
        <p:nvSpPr>
          <p:cNvPr id="3" name="Text Placeholder 19">
            <a:extLst>
              <a:ext uri="{FF2B5EF4-FFF2-40B4-BE49-F238E27FC236}">
                <a16:creationId xmlns:a16="http://schemas.microsoft.com/office/drawing/2014/main" id="{34D3D4B9-AE89-F9E5-C481-274673CA5440}"/>
              </a:ext>
            </a:extLst>
          </p:cNvPr>
          <p:cNvSpPr>
            <a:spLocks noGrp="1"/>
          </p:cNvSpPr>
          <p:nvPr>
            <p:ph type="body" sz="quarter" idx="13" hasCustomPrompt="1"/>
          </p:nvPr>
        </p:nvSpPr>
        <p:spPr>
          <a:xfrm>
            <a:off x="2081575" y="6426335"/>
            <a:ext cx="9504000" cy="192040"/>
          </a:xfrm>
        </p:spPr>
        <p:txBody>
          <a:bodyPr anchor="b">
            <a:spAutoFit/>
          </a:bodyPr>
          <a:lstStyle>
            <a:lvl1pPr>
              <a:lnSpc>
                <a:spcPct val="90000"/>
              </a:lnSpc>
              <a:spcBef>
                <a:spcPts val="0"/>
              </a:spcBef>
              <a:spcAft>
                <a:spcPts val="0"/>
              </a:spcAft>
              <a:defRPr sz="720"/>
            </a:lvl1pPr>
          </a:lstStyle>
          <a:p>
            <a:pPr lvl="0"/>
            <a:r>
              <a:rPr lang="en-US"/>
              <a:t>Click to add footnotes</a:t>
            </a:r>
          </a:p>
        </p:txBody>
      </p:sp>
    </p:spTree>
    <p:extLst>
      <p:ext uri="{BB962C8B-B14F-4D97-AF65-F5344CB8AC3E}">
        <p14:creationId xmlns:p14="http://schemas.microsoft.com/office/powerpoint/2010/main" val="1009725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AD101D4B-7841-F54C-A5A5-72DBCA0E1632}" type="slidenum">
              <a:rPr lang="en-US" altLang="en-US" smtClean="0"/>
              <a:pPr>
                <a:defRPr/>
              </a:pPr>
              <a:t>‹#›</a:t>
            </a:fld>
            <a:endParaRPr lang="en-US" altLang="en-US"/>
          </a:p>
        </p:txBody>
      </p:sp>
    </p:spTree>
    <p:extLst>
      <p:ext uri="{BB962C8B-B14F-4D97-AF65-F5344CB8AC3E}">
        <p14:creationId xmlns:p14="http://schemas.microsoft.com/office/powerpoint/2010/main" val="2620698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DF64AE30-26AE-D349-B250-7CFC897FD385}" type="slidenum">
              <a:rPr lang="en-US" altLang="en-US" smtClean="0"/>
              <a:pPr>
                <a:defRPr/>
              </a:pPr>
              <a:t>‹#›</a:t>
            </a:fld>
            <a:endParaRPr lang="en-US" altLang="en-US"/>
          </a:p>
        </p:txBody>
      </p:sp>
    </p:spTree>
    <p:extLst>
      <p:ext uri="{BB962C8B-B14F-4D97-AF65-F5344CB8AC3E}">
        <p14:creationId xmlns:p14="http://schemas.microsoft.com/office/powerpoint/2010/main" val="3092731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BCE97DFA-F1AC-3140-9249-79A6C309EF24}" type="slidenum">
              <a:rPr lang="en-US" altLang="en-US" smtClean="0"/>
              <a:pPr>
                <a:defRPr/>
              </a:pPr>
              <a:t>‹#›</a:t>
            </a:fld>
            <a:endParaRPr lang="en-US" altLang="en-US"/>
          </a:p>
        </p:txBody>
      </p:sp>
    </p:spTree>
    <p:extLst>
      <p:ext uri="{BB962C8B-B14F-4D97-AF65-F5344CB8AC3E}">
        <p14:creationId xmlns:p14="http://schemas.microsoft.com/office/powerpoint/2010/main" val="870090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B5AA5AC3-941B-204D-9A00-875CFDE0E1B1}" type="slidenum">
              <a:rPr lang="en-US" altLang="en-US" smtClean="0"/>
              <a:pPr>
                <a:defRPr/>
              </a:pPr>
              <a:t>‹#›</a:t>
            </a:fld>
            <a:endParaRPr lang="en-US" altLang="en-US"/>
          </a:p>
        </p:txBody>
      </p:sp>
    </p:spTree>
    <p:extLst>
      <p:ext uri="{BB962C8B-B14F-4D97-AF65-F5344CB8AC3E}">
        <p14:creationId xmlns:p14="http://schemas.microsoft.com/office/powerpoint/2010/main" val="25881421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endParaRPr lang="en-US"/>
          </a:p>
        </p:txBody>
      </p:sp>
      <p:sp>
        <p:nvSpPr>
          <p:cNvPr id="8" name="Footer Placeholder 7"/>
          <p:cNvSpPr>
            <a:spLocks noGrp="1"/>
          </p:cNvSpPr>
          <p:nvPr>
            <p:ph type="ftr" sz="quarter" idx="11"/>
          </p:nvPr>
        </p:nvSpPr>
        <p:spPr/>
        <p:txBody>
          <a:bodyPr/>
          <a:lstStyle/>
          <a:p>
            <a:pPr>
              <a:defRPr/>
            </a:pPr>
            <a:endParaRPr lang="en-US"/>
          </a:p>
        </p:txBody>
      </p:sp>
      <p:sp>
        <p:nvSpPr>
          <p:cNvPr id="9" name="Slide Number Placeholder 8"/>
          <p:cNvSpPr>
            <a:spLocks noGrp="1"/>
          </p:cNvSpPr>
          <p:nvPr>
            <p:ph type="sldNum" sz="quarter" idx="12"/>
          </p:nvPr>
        </p:nvSpPr>
        <p:spPr/>
        <p:txBody>
          <a:bodyPr/>
          <a:lstStyle/>
          <a:p>
            <a:pPr>
              <a:defRPr/>
            </a:pPr>
            <a:fld id="{6DFA0E7D-DBF7-DA4C-819B-E33021DBD6D0}" type="slidenum">
              <a:rPr lang="en-US" altLang="en-US" smtClean="0"/>
              <a:pPr>
                <a:defRPr/>
              </a:pPr>
              <a:t>‹#›</a:t>
            </a:fld>
            <a:endParaRPr lang="en-US" altLang="en-US"/>
          </a:p>
        </p:txBody>
      </p:sp>
    </p:spTree>
    <p:extLst>
      <p:ext uri="{BB962C8B-B14F-4D97-AF65-F5344CB8AC3E}">
        <p14:creationId xmlns:p14="http://schemas.microsoft.com/office/powerpoint/2010/main" val="2843202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E9E91092-6319-1046-9B21-770DF7EBA84C}" type="slidenum">
              <a:rPr lang="en-US" altLang="en-US" smtClean="0"/>
              <a:pPr>
                <a:defRPr/>
              </a:pPr>
              <a:t>‹#›</a:t>
            </a:fld>
            <a:endParaRPr lang="en-US" altLang="en-US"/>
          </a:p>
        </p:txBody>
      </p:sp>
    </p:spTree>
    <p:extLst>
      <p:ext uri="{BB962C8B-B14F-4D97-AF65-F5344CB8AC3E}">
        <p14:creationId xmlns:p14="http://schemas.microsoft.com/office/powerpoint/2010/main" val="18283179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p:txBody>
          <a:bodyPr/>
          <a:lstStyle/>
          <a:p>
            <a:pPr>
              <a:defRPr/>
            </a:pPr>
            <a:fld id="{4968BDEA-3ADB-8C46-8066-71AF167173F6}" type="slidenum">
              <a:rPr lang="en-US" altLang="en-US" smtClean="0"/>
              <a:pPr>
                <a:defRPr/>
              </a:pPr>
              <a:t>‹#›</a:t>
            </a:fld>
            <a:endParaRPr lang="en-US" altLang="en-US"/>
          </a:p>
        </p:txBody>
      </p:sp>
    </p:spTree>
    <p:extLst>
      <p:ext uri="{BB962C8B-B14F-4D97-AF65-F5344CB8AC3E}">
        <p14:creationId xmlns:p14="http://schemas.microsoft.com/office/powerpoint/2010/main" val="3186125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83D7CE43-F00D-2245-9B58-01A806F7F853}" type="slidenum">
              <a:rPr lang="en-US" altLang="en-US" smtClean="0"/>
              <a:pPr>
                <a:defRPr/>
              </a:pPr>
              <a:t>‹#›</a:t>
            </a:fld>
            <a:endParaRPr lang="en-US" altLang="en-US"/>
          </a:p>
        </p:txBody>
      </p:sp>
    </p:spTree>
    <p:extLst>
      <p:ext uri="{BB962C8B-B14F-4D97-AF65-F5344CB8AC3E}">
        <p14:creationId xmlns:p14="http://schemas.microsoft.com/office/powerpoint/2010/main" val="36494376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5E144584-34FA-BB4B-A983-2488DD5BDBB9}" type="slidenum">
              <a:rPr lang="en-US" altLang="en-US" smtClean="0"/>
              <a:pPr>
                <a:defRPr/>
              </a:pPr>
              <a:t>‹#›</a:t>
            </a:fld>
            <a:endParaRPr lang="en-US" altLang="en-US"/>
          </a:p>
        </p:txBody>
      </p:sp>
    </p:spTree>
    <p:extLst>
      <p:ext uri="{BB962C8B-B14F-4D97-AF65-F5344CB8AC3E}">
        <p14:creationId xmlns:p14="http://schemas.microsoft.com/office/powerpoint/2010/main" val="23863672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AACC02DA-118B-C849-B505-CFC3D7C62211}" type="slidenum">
              <a:rPr lang="en-US" altLang="en-US" smtClean="0"/>
              <a:pPr>
                <a:defRPr/>
              </a:pPr>
              <a:t>‹#›</a:t>
            </a:fld>
            <a:endParaRPr lang="en-US" altLang="en-US"/>
          </a:p>
        </p:txBody>
      </p:sp>
    </p:spTree>
    <p:extLst>
      <p:ext uri="{BB962C8B-B14F-4D97-AF65-F5344CB8AC3E}">
        <p14:creationId xmlns:p14="http://schemas.microsoft.com/office/powerpoint/2010/main" val="1875083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FC86C1A0-7B54-614C-8805-31F96732091D}" type="slidenum">
              <a:rPr lang="en-US" altLang="en-US" smtClean="0"/>
              <a:pPr>
                <a:defRPr/>
              </a:pPr>
              <a:t>‹#›</a:t>
            </a:fld>
            <a:endParaRPr lang="en-US" altLang="en-US"/>
          </a:p>
        </p:txBody>
      </p:sp>
    </p:spTree>
    <p:extLst>
      <p:ext uri="{BB962C8B-B14F-4D97-AF65-F5344CB8AC3E}">
        <p14:creationId xmlns:p14="http://schemas.microsoft.com/office/powerpoint/2010/main" val="4218875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Κενή">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2" name="Slide Number Placeholder 4">
            <a:extLst>
              <a:ext uri="{FF2B5EF4-FFF2-40B4-BE49-F238E27FC236}">
                <a16:creationId xmlns:a16="http://schemas.microsoft.com/office/drawing/2014/main" id="{4CDB160C-BD23-B072-BD92-2B93BF9BD30E}"/>
              </a:ext>
            </a:extLst>
          </p:cNvPr>
          <p:cNvSpPr>
            <a:spLocks noGrp="1"/>
          </p:cNvSpPr>
          <p:nvPr>
            <p:ph type="sldNum" sz="quarter" idx="10"/>
          </p:nvPr>
        </p:nvSpPr>
        <p:spPr/>
        <p:txBody>
          <a:bodyPr/>
          <a:lstStyle>
            <a:lvl1pPr>
              <a:defRPr smtClean="0">
                <a:solidFill>
                  <a:schemeClr val="tx1"/>
                </a:solidFill>
              </a:defRPr>
            </a:lvl1pPr>
          </a:lstStyle>
          <a:p>
            <a:pPr>
              <a:defRPr/>
            </a:pPr>
            <a:fld id="{7BFD54A7-AE48-034F-9554-E315380AF266}" type="slidenum">
              <a:rPr lang="en-US" altLang="en-US"/>
              <a:pPr>
                <a:defRPr/>
              </a:pPr>
              <a:t>‹#›</a:t>
            </a:fld>
            <a:endParaRPr lang="en-US" altLang="en-US"/>
          </a:p>
        </p:txBody>
      </p:sp>
    </p:spTree>
    <p:extLst>
      <p:ext uri="{BB962C8B-B14F-4D97-AF65-F5344CB8AC3E}">
        <p14:creationId xmlns:p14="http://schemas.microsoft.com/office/powerpoint/2010/main" val="10865155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1664700"/>
            <a:ext cx="8534400" cy="3532408"/>
          </a:xfrm>
        </p:spPr>
        <p:txBody>
          <a:bodyPr/>
          <a:lstStyle>
            <a:lvl1pPr marL="0" indent="0" algn="ctr">
              <a:buNone/>
              <a:defRPr/>
            </a:lvl1pPr>
            <a:lvl2pPr marL="609037" indent="0" algn="ctr">
              <a:buNone/>
              <a:defRPr/>
            </a:lvl2pPr>
            <a:lvl3pPr marL="1218072" indent="0" algn="ctr">
              <a:buNone/>
              <a:defRPr/>
            </a:lvl3pPr>
            <a:lvl4pPr marL="1827109" indent="0" algn="ctr">
              <a:buNone/>
              <a:defRPr/>
            </a:lvl4pPr>
            <a:lvl5pPr marL="2436144" indent="0" algn="ctr">
              <a:buNone/>
              <a:defRPr/>
            </a:lvl5pPr>
            <a:lvl6pPr marL="3045181" indent="0" algn="ctr">
              <a:buNone/>
              <a:defRPr/>
            </a:lvl6pPr>
            <a:lvl7pPr marL="3654217" indent="0" algn="ctr">
              <a:buNone/>
              <a:defRPr/>
            </a:lvl7pPr>
            <a:lvl8pPr marL="4263253" indent="0" algn="ctr">
              <a:buNone/>
              <a:defRPr/>
            </a:lvl8pPr>
            <a:lvl9pPr marL="4872289" indent="0" algn="ctr">
              <a:buNone/>
              <a:defRPr/>
            </a:lvl9pPr>
          </a:lstStyle>
          <a:p>
            <a:r>
              <a:rPr lang="en-US" dirty="0"/>
              <a:t>Click to edit Master subtitle style</a:t>
            </a:r>
          </a:p>
        </p:txBody>
      </p:sp>
      <p:sp>
        <p:nvSpPr>
          <p:cNvPr id="6" name="Title 1"/>
          <p:cNvSpPr>
            <a:spLocks noGrp="1"/>
          </p:cNvSpPr>
          <p:nvPr>
            <p:ph type="title"/>
          </p:nvPr>
        </p:nvSpPr>
        <p:spPr>
          <a:xfrm>
            <a:off x="0" y="175944"/>
            <a:ext cx="12192000" cy="1340768"/>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2318891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2881241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488755"/>
            <a:ext cx="5080000" cy="3911364"/>
          </a:xfrm>
        </p:spPr>
        <p:txBody>
          <a:bodyPr/>
          <a:lstStyle>
            <a:lvl1pPr>
              <a:defRPr sz="3729"/>
            </a:lvl1pPr>
            <a:lvl2pPr>
              <a:defRPr sz="3197"/>
            </a:lvl2pPr>
            <a:lvl3pPr>
              <a:defRPr sz="2664"/>
            </a:lvl3pPr>
            <a:lvl4pPr>
              <a:defRPr sz="2397"/>
            </a:lvl4pPr>
            <a:lvl5pPr>
              <a:defRPr sz="2397"/>
            </a:lvl5pPr>
            <a:lvl6pPr>
              <a:defRPr sz="2397"/>
            </a:lvl6pPr>
            <a:lvl7pPr>
              <a:defRPr sz="2397"/>
            </a:lvl7pPr>
            <a:lvl8pPr>
              <a:defRPr sz="2397"/>
            </a:lvl8pPr>
            <a:lvl9pPr>
              <a:defRPr sz="239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88755"/>
            <a:ext cx="5080000" cy="3911364"/>
          </a:xfrm>
        </p:spPr>
        <p:txBody>
          <a:bodyPr/>
          <a:lstStyle>
            <a:lvl1pPr>
              <a:defRPr sz="3729"/>
            </a:lvl1pPr>
            <a:lvl2pPr>
              <a:defRPr sz="3197"/>
            </a:lvl2pPr>
            <a:lvl3pPr>
              <a:defRPr sz="2664"/>
            </a:lvl3pPr>
            <a:lvl4pPr>
              <a:defRPr sz="2397"/>
            </a:lvl4pPr>
            <a:lvl5pPr>
              <a:defRPr sz="2397"/>
            </a:lvl5pPr>
            <a:lvl6pPr>
              <a:defRPr sz="2397"/>
            </a:lvl6pPr>
            <a:lvl7pPr>
              <a:defRPr sz="2397"/>
            </a:lvl7pPr>
            <a:lvl8pPr>
              <a:defRPr sz="2397"/>
            </a:lvl8pPr>
            <a:lvl9pPr>
              <a:defRPr sz="239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6" name="Title 1"/>
          <p:cNvSpPr>
            <a:spLocks noGrp="1"/>
          </p:cNvSpPr>
          <p:nvPr>
            <p:ph type="title"/>
          </p:nvPr>
        </p:nvSpPr>
        <p:spPr>
          <a:xfrm>
            <a:off x="0" y="169797"/>
            <a:ext cx="12192000" cy="926471"/>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2815812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69795"/>
            <a:ext cx="12192000" cy="1340768"/>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389454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3728447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7"/>
          </a:xfrm>
          <a:prstGeom prst="rect">
            <a:avLst/>
          </a:prstGeom>
        </p:spPr>
        <p:txBody>
          <a:bodyPr anchor="b"/>
          <a:lstStyle>
            <a:lvl1pPr algn="l">
              <a:defRPr sz="2664" b="0" i="1"/>
            </a:lvl1pPr>
          </a:lstStyle>
          <a:p>
            <a:r>
              <a:rPr lang="en-US"/>
              <a:t>Click to edit Master title style</a:t>
            </a:r>
            <a:endParaRPr lang="en-US" dirty="0"/>
          </a:p>
        </p:txBody>
      </p:sp>
      <p:sp>
        <p:nvSpPr>
          <p:cNvPr id="3" name="Picture Placeholder 2"/>
          <p:cNvSpPr>
            <a:spLocks noGrp="1"/>
          </p:cNvSpPr>
          <p:nvPr>
            <p:ph type="pic" idx="1"/>
          </p:nvPr>
        </p:nvSpPr>
        <p:spPr>
          <a:xfrm>
            <a:off x="2389717" y="612776"/>
            <a:ext cx="7315200" cy="4114800"/>
          </a:xfrm>
        </p:spPr>
        <p:txBody>
          <a:bodyPr/>
          <a:lstStyle>
            <a:lvl1pPr marL="0" indent="0">
              <a:buNone/>
              <a:defRPr sz="4263"/>
            </a:lvl1pPr>
            <a:lvl2pPr marL="609037" indent="0">
              <a:buNone/>
              <a:defRPr sz="3729"/>
            </a:lvl2pPr>
            <a:lvl3pPr marL="1218072" indent="0">
              <a:buNone/>
              <a:defRPr sz="3197"/>
            </a:lvl3pPr>
            <a:lvl4pPr marL="1827109" indent="0">
              <a:buNone/>
              <a:defRPr sz="2664"/>
            </a:lvl4pPr>
            <a:lvl5pPr marL="2436144" indent="0">
              <a:buNone/>
              <a:defRPr sz="2664"/>
            </a:lvl5pPr>
            <a:lvl6pPr marL="3045181" indent="0">
              <a:buNone/>
              <a:defRPr sz="2664"/>
            </a:lvl6pPr>
            <a:lvl7pPr marL="3654217" indent="0">
              <a:buNone/>
              <a:defRPr sz="2664"/>
            </a:lvl7pPr>
            <a:lvl8pPr marL="4263253" indent="0">
              <a:buNone/>
              <a:defRPr sz="2664"/>
            </a:lvl8pPr>
            <a:lvl9pPr marL="4872289" indent="0">
              <a:buNone/>
              <a:defRPr sz="2664"/>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2389717" y="5367339"/>
            <a:ext cx="7315200" cy="725959"/>
          </a:xfrm>
        </p:spPr>
        <p:txBody>
          <a:bodyPr/>
          <a:lstStyle>
            <a:lvl1pPr marL="0" indent="0">
              <a:buNone/>
              <a:defRPr sz="1865"/>
            </a:lvl1pPr>
            <a:lvl2pPr marL="609037" indent="0">
              <a:buNone/>
              <a:defRPr sz="1599"/>
            </a:lvl2pPr>
            <a:lvl3pPr marL="1218072" indent="0">
              <a:buNone/>
              <a:defRPr sz="1332"/>
            </a:lvl3pPr>
            <a:lvl4pPr marL="1827109" indent="0">
              <a:buNone/>
              <a:defRPr sz="1199"/>
            </a:lvl4pPr>
            <a:lvl5pPr marL="2436144" indent="0">
              <a:buNone/>
              <a:defRPr sz="1199"/>
            </a:lvl5pPr>
            <a:lvl6pPr marL="3045181" indent="0">
              <a:buNone/>
              <a:defRPr sz="1199"/>
            </a:lvl6pPr>
            <a:lvl7pPr marL="3654217" indent="0">
              <a:buNone/>
              <a:defRPr sz="1199"/>
            </a:lvl7pPr>
            <a:lvl8pPr marL="4263253" indent="0">
              <a:buNone/>
              <a:defRPr sz="1199"/>
            </a:lvl8pPr>
            <a:lvl9pPr marL="4872289" indent="0">
              <a:buNone/>
              <a:defRPr sz="1199"/>
            </a:lvl9pPr>
          </a:lstStyle>
          <a:p>
            <a:pPr lvl="0"/>
            <a:r>
              <a:rPr lang="en-US"/>
              <a:t>Click to edit Master text styles</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1204092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340768"/>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831434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845"/>
            <a:ext cx="10515600" cy="1323808"/>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300439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5908E-7EBF-E2F2-E3F2-9DCEB08710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5AA310-ADB5-7425-1F2E-7E725ECF27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53F9C3-C27E-4690-187B-841EC9655F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7519805-0D26-F4C3-5D24-84D30AD73D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42828F-68B2-F6CC-A233-EC9D2B0C5D19}"/>
              </a:ext>
            </a:extLst>
          </p:cNvPr>
          <p:cNvSpPr>
            <a:spLocks noGrp="1"/>
          </p:cNvSpPr>
          <p:nvPr>
            <p:ph type="sldNum" sz="quarter" idx="12"/>
          </p:nvPr>
        </p:nvSpPr>
        <p:spPr/>
        <p:txBody>
          <a:bodyPr/>
          <a:lstStyle/>
          <a:p>
            <a:pPr algn="ctr"/>
            <a:fld id="{00000000-1234-1234-1234-123412341234}" type="slidenum">
              <a:rPr lang="en-US" smtClean="0"/>
              <a:pPr algn="ctr"/>
              <a:t>‹#›</a:t>
            </a:fld>
            <a:endParaRPr lang="en-US"/>
          </a:p>
        </p:txBody>
      </p:sp>
    </p:spTree>
    <p:extLst>
      <p:ext uri="{BB962C8B-B14F-4D97-AF65-F5344CB8AC3E}">
        <p14:creationId xmlns:p14="http://schemas.microsoft.com/office/powerpoint/2010/main" val="19360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53DE5-0546-6C93-892F-DAA6C82297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98C7B5-6537-0013-F66A-518CCB68DB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20043D3-F12A-5773-ADBE-830009D3DC70}"/>
              </a:ext>
            </a:extLst>
          </p:cNvPr>
          <p:cNvSpPr>
            <a:spLocks noGrp="1"/>
          </p:cNvSpPr>
          <p:nvPr>
            <p:ph type="sldNum" sz="quarter" idx="12"/>
          </p:nvPr>
        </p:nvSpPr>
        <p:spPr/>
        <p:txBody>
          <a:bodyPr/>
          <a:lstStyle/>
          <a:p>
            <a:fld id="{2478A694-4FE8-DA46-9C5C-2B890C3272DD}" type="slidenum">
              <a:rPr lang="en-US" smtClean="0"/>
              <a:t>‹#›</a:t>
            </a:fld>
            <a:endParaRPr lang="en-US" dirty="0"/>
          </a:p>
        </p:txBody>
      </p:sp>
      <p:sp>
        <p:nvSpPr>
          <p:cNvPr id="4" name="Footer Placeholder 3">
            <a:extLst>
              <a:ext uri="{FF2B5EF4-FFF2-40B4-BE49-F238E27FC236}">
                <a16:creationId xmlns:a16="http://schemas.microsoft.com/office/drawing/2014/main" id="{CC4F57D1-40B7-D2DB-E188-8F1B74C25C1E}"/>
              </a:ext>
            </a:extLst>
          </p:cNvPr>
          <p:cNvSpPr>
            <a:spLocks noGrp="1"/>
          </p:cNvSpPr>
          <p:nvPr>
            <p:ph type="ftr" sz="quarter" idx="13"/>
          </p:nvPr>
        </p:nvSpPr>
        <p:spPr>
          <a:xfrm>
            <a:off x="219077" y="6065841"/>
            <a:ext cx="9479692" cy="365124"/>
          </a:xfrm>
        </p:spPr>
        <p:txBody>
          <a:bodyPr/>
          <a:lstStyle/>
          <a:p>
            <a:endParaRPr lang="en-US" dirty="0"/>
          </a:p>
        </p:txBody>
      </p:sp>
    </p:spTree>
    <p:extLst>
      <p:ext uri="{BB962C8B-B14F-4D97-AF65-F5344CB8AC3E}">
        <p14:creationId xmlns:p14="http://schemas.microsoft.com/office/powerpoint/2010/main" val="1224310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53DE5-0546-6C93-892F-DAA6C82297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98C7B5-6537-0013-F66A-518CCB68DB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20043D3-F12A-5773-ADBE-830009D3DC70}"/>
              </a:ext>
            </a:extLst>
          </p:cNvPr>
          <p:cNvSpPr>
            <a:spLocks noGrp="1"/>
          </p:cNvSpPr>
          <p:nvPr>
            <p:ph type="sldNum" sz="quarter" idx="12"/>
          </p:nvPr>
        </p:nvSpPr>
        <p:spPr/>
        <p:txBody>
          <a:bodyPr/>
          <a:lstStyle/>
          <a:p>
            <a:fld id="{2478A694-4FE8-DA46-9C5C-2B890C3272DD}" type="slidenum">
              <a:rPr lang="en-US" smtClean="0"/>
              <a:t>‹#›</a:t>
            </a:fld>
            <a:endParaRPr lang="en-US" dirty="0"/>
          </a:p>
        </p:txBody>
      </p:sp>
      <p:sp>
        <p:nvSpPr>
          <p:cNvPr id="4" name="Footer Placeholder 3">
            <a:extLst>
              <a:ext uri="{FF2B5EF4-FFF2-40B4-BE49-F238E27FC236}">
                <a16:creationId xmlns:a16="http://schemas.microsoft.com/office/drawing/2014/main" id="{CC4F57D1-40B7-D2DB-E188-8F1B74C25C1E}"/>
              </a:ext>
            </a:extLst>
          </p:cNvPr>
          <p:cNvSpPr>
            <a:spLocks noGrp="1"/>
          </p:cNvSpPr>
          <p:nvPr>
            <p:ph type="ftr" sz="quarter" idx="13"/>
          </p:nvPr>
        </p:nvSpPr>
        <p:spPr>
          <a:xfrm>
            <a:off x="219077" y="6065841"/>
            <a:ext cx="9479692" cy="365124"/>
          </a:xfrm>
        </p:spPr>
        <p:txBody>
          <a:bodyPr/>
          <a:lstStyle/>
          <a:p>
            <a:endParaRPr lang="en-US" dirty="0"/>
          </a:p>
        </p:txBody>
      </p:sp>
    </p:spTree>
    <p:extLst>
      <p:ext uri="{BB962C8B-B14F-4D97-AF65-F5344CB8AC3E}">
        <p14:creationId xmlns:p14="http://schemas.microsoft.com/office/powerpoint/2010/main" val="2804500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94431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4"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2"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2"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4"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4"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4"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4"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4"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4"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80002"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29"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28"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28"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28"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28"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28"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28"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28"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28"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500433" y="1730103"/>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Arial" panose="020B0604020202020204" pitchFamily="34" charset="0"/>
              <a:buNone/>
              <a:defRPr sz="2132" b="0" i="0" u="none" strike="noStrike" cap="none">
                <a:solidFill>
                  <a:schemeClr val="tx1">
                    <a:lumMod val="75000"/>
                    <a:lumOff val="25000"/>
                  </a:schemeClr>
                </a:solidFill>
                <a:latin typeface="Arial Narrow"/>
                <a:ea typeface="Arial Narrow"/>
                <a:cs typeface="Arial Narrow"/>
                <a:sym typeface="Arial Narrow"/>
              </a:defRPr>
            </a:lvl1pPr>
            <a:lvl2pPr marL="1218072" marR="0" lvl="1" indent="-439860" algn="l" rtl="0">
              <a:lnSpc>
                <a:spcPct val="100000"/>
              </a:lnSpc>
              <a:spcBef>
                <a:spcPts val="427"/>
              </a:spcBef>
              <a:spcAft>
                <a:spcPts val="0"/>
              </a:spcAft>
              <a:buClr>
                <a:srgbClr val="05416B"/>
              </a:buClr>
              <a:buSzPts val="1600"/>
              <a:buFont typeface="Noto Sans Symbols"/>
              <a:buChar char="◆"/>
              <a:defRPr sz="2132" b="0" i="0" u="none" strike="noStrike" cap="none">
                <a:solidFill>
                  <a:srgbClr val="05416B"/>
                </a:solidFill>
                <a:latin typeface="Arial Narrow"/>
                <a:ea typeface="Arial Narrow"/>
                <a:cs typeface="Arial Narrow"/>
                <a:sym typeface="Arial Narrow"/>
              </a:defRPr>
            </a:lvl2pPr>
            <a:lvl3pPr marL="1827109" marR="0" lvl="2" indent="-439860" algn="l" rtl="0">
              <a:lnSpc>
                <a:spcPct val="100000"/>
              </a:lnSpc>
              <a:spcBef>
                <a:spcPts val="427"/>
              </a:spcBef>
              <a:spcAft>
                <a:spcPts val="0"/>
              </a:spcAft>
              <a:buClr>
                <a:srgbClr val="05416B"/>
              </a:buClr>
              <a:buSzPts val="1600"/>
              <a:buFont typeface="Noto Sans Symbols"/>
              <a:buChar char="◆"/>
              <a:defRPr sz="2132" b="0" i="0" u="none" strike="noStrike" cap="none">
                <a:solidFill>
                  <a:srgbClr val="05416B"/>
                </a:solidFill>
                <a:latin typeface="Arial Narrow"/>
                <a:ea typeface="Arial Narrow"/>
                <a:cs typeface="Arial Narrow"/>
                <a:sym typeface="Arial Narrow"/>
              </a:defRPr>
            </a:lvl3pPr>
            <a:lvl4pPr marL="2436144" marR="0" lvl="3" indent="-439860" algn="l" rtl="0">
              <a:lnSpc>
                <a:spcPct val="100000"/>
              </a:lnSpc>
              <a:spcBef>
                <a:spcPts val="533"/>
              </a:spcBef>
              <a:spcAft>
                <a:spcPts val="0"/>
              </a:spcAft>
              <a:buClr>
                <a:srgbClr val="05416B"/>
              </a:buClr>
              <a:buSzPts val="1600"/>
              <a:buFont typeface="Arial"/>
              <a:buChar char="–"/>
              <a:defRPr sz="2132" b="0" i="0" u="none" strike="noStrike" cap="none">
                <a:solidFill>
                  <a:srgbClr val="05416B"/>
                </a:solidFill>
                <a:latin typeface="Arial Narrow"/>
                <a:ea typeface="Arial Narrow"/>
                <a:cs typeface="Arial Narrow"/>
                <a:sym typeface="Arial Narrow"/>
              </a:defRPr>
            </a:lvl4pPr>
            <a:lvl5pPr marL="3045181" marR="0" lvl="4" indent="-439860" algn="l" rtl="0">
              <a:lnSpc>
                <a:spcPct val="100000"/>
              </a:lnSpc>
              <a:spcBef>
                <a:spcPts val="533"/>
              </a:spcBef>
              <a:spcAft>
                <a:spcPts val="0"/>
              </a:spcAft>
              <a:buClr>
                <a:srgbClr val="05416B"/>
              </a:buClr>
              <a:buSzPts val="1600"/>
              <a:buFont typeface="Arial"/>
              <a:buChar char="»"/>
              <a:defRPr sz="2132" b="0" i="0" u="none" strike="noStrike" cap="none">
                <a:solidFill>
                  <a:srgbClr val="05416B"/>
                </a:solidFill>
                <a:latin typeface="Arial Narrow"/>
                <a:ea typeface="Arial Narrow"/>
                <a:cs typeface="Arial Narrow"/>
                <a:sym typeface="Arial Narrow"/>
              </a:defRPr>
            </a:lvl5pPr>
            <a:lvl6pPr marL="3654217" marR="0" lvl="5" indent="-439860" algn="l" rtl="0">
              <a:lnSpc>
                <a:spcPct val="100000"/>
              </a:lnSpc>
              <a:spcBef>
                <a:spcPts val="533"/>
              </a:spcBef>
              <a:spcAft>
                <a:spcPts val="0"/>
              </a:spcAft>
              <a:buClr>
                <a:srgbClr val="05416B"/>
              </a:buClr>
              <a:buSzPts val="1600"/>
              <a:buFont typeface="Arial"/>
              <a:buChar char="•"/>
              <a:defRPr sz="2132" b="0" i="0" u="none" strike="noStrike" cap="none">
                <a:solidFill>
                  <a:srgbClr val="05416B"/>
                </a:solidFill>
                <a:latin typeface="Arial Narrow"/>
                <a:ea typeface="Arial Narrow"/>
                <a:cs typeface="Arial Narrow"/>
                <a:sym typeface="Arial Narrow"/>
              </a:defRPr>
            </a:lvl6pPr>
            <a:lvl7pPr marL="4263253" marR="0" lvl="6" indent="-439860" algn="l" rtl="0">
              <a:lnSpc>
                <a:spcPct val="100000"/>
              </a:lnSpc>
              <a:spcBef>
                <a:spcPts val="533"/>
              </a:spcBef>
              <a:spcAft>
                <a:spcPts val="0"/>
              </a:spcAft>
              <a:buClr>
                <a:srgbClr val="05416B"/>
              </a:buClr>
              <a:buSzPts val="1600"/>
              <a:buFont typeface="Arial"/>
              <a:buChar char="•"/>
              <a:defRPr sz="2132" b="0" i="0" u="none" strike="noStrike" cap="none">
                <a:solidFill>
                  <a:srgbClr val="05416B"/>
                </a:solidFill>
                <a:latin typeface="Arial Narrow"/>
                <a:ea typeface="Arial Narrow"/>
                <a:cs typeface="Arial Narrow"/>
                <a:sym typeface="Arial Narrow"/>
              </a:defRPr>
            </a:lvl7pPr>
            <a:lvl8pPr marL="4872289" marR="0" lvl="7" indent="-439860" algn="l" rtl="0">
              <a:lnSpc>
                <a:spcPct val="100000"/>
              </a:lnSpc>
              <a:spcBef>
                <a:spcPts val="533"/>
              </a:spcBef>
              <a:spcAft>
                <a:spcPts val="0"/>
              </a:spcAft>
              <a:buClr>
                <a:srgbClr val="05416B"/>
              </a:buClr>
              <a:buSzPts val="1600"/>
              <a:buFont typeface="Arial"/>
              <a:buChar char="•"/>
              <a:defRPr sz="2132" b="0" i="0" u="none" strike="noStrike" cap="none">
                <a:solidFill>
                  <a:srgbClr val="05416B"/>
                </a:solidFill>
                <a:latin typeface="Arial Narrow"/>
                <a:ea typeface="Arial Narrow"/>
                <a:cs typeface="Arial Narrow"/>
                <a:sym typeface="Arial Narrow"/>
              </a:defRPr>
            </a:lvl8pPr>
            <a:lvl9pPr marL="5481326" marR="0" lvl="8" indent="-439860" algn="l" rtl="0">
              <a:lnSpc>
                <a:spcPct val="100000"/>
              </a:lnSpc>
              <a:spcBef>
                <a:spcPts val="533"/>
              </a:spcBef>
              <a:spcAft>
                <a:spcPts val="0"/>
              </a:spcAft>
              <a:buClr>
                <a:srgbClr val="05416B"/>
              </a:buClr>
              <a:buSzPts val="1600"/>
              <a:buFont typeface="Arial"/>
              <a:buChar char="●"/>
              <a:defRPr sz="2132" b="0" i="0" u="none" strike="noStrike" cap="none">
                <a:solidFill>
                  <a:srgbClr val="05416B"/>
                </a:solidFill>
                <a:latin typeface="Arial Narrow"/>
                <a:ea typeface="Arial Narrow"/>
                <a:cs typeface="Arial Narrow"/>
                <a:sym typeface="Arial Narrow"/>
              </a:defRPr>
            </a:lvl9pPr>
          </a:lstStyle>
          <a:p>
            <a:endParaRPr/>
          </a:p>
        </p:txBody>
      </p:sp>
      <p:pic>
        <p:nvPicPr>
          <p:cNvPr id="2" name="Picture 1" descr="Logo&#10;&#10;Description automatically generated">
            <a:extLst>
              <a:ext uri="{FF2B5EF4-FFF2-40B4-BE49-F238E27FC236}">
                <a16:creationId xmlns:a16="http://schemas.microsoft.com/office/drawing/2014/main" id="{0CA22DB6-01FE-B574-F4D9-9A33C489CE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265" y="6248188"/>
            <a:ext cx="1843200" cy="316800"/>
          </a:xfrm>
          <a:prstGeom prst="rect">
            <a:avLst/>
          </a:prstGeom>
        </p:spPr>
      </p:pic>
    </p:spTree>
    <p:extLst>
      <p:ext uri="{BB962C8B-B14F-4D97-AF65-F5344CB8AC3E}">
        <p14:creationId xmlns:p14="http://schemas.microsoft.com/office/powerpoint/2010/main" val="2021403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3913">
          <p15:clr>
            <a:srgbClr val="FBAE40"/>
          </p15:clr>
        </p15:guide>
        <p15:guide id="3" orient="horz" pos="4125">
          <p15:clr>
            <a:srgbClr val="FBAE40"/>
          </p15:clr>
        </p15:guide>
        <p15:guide id="4" pos="301">
          <p15:clr>
            <a:srgbClr val="FBAE40"/>
          </p15:clr>
        </p15:guide>
        <p15:guide id="5" pos="7379">
          <p15:clr>
            <a:srgbClr val="FBAE40"/>
          </p15:clr>
        </p15:guide>
        <p15:guide id="6" orient="horz" pos="225">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699A68-EBBD-5FEE-E955-0794CFD8EE86}"/>
              </a:ext>
            </a:extLst>
          </p:cNvPr>
          <p:cNvGraphicFramePr>
            <a:graphicFrameLocks noChangeAspect="1"/>
          </p:cNvGraphicFramePr>
          <p:nvPr userDrawn="1">
            <p:custDataLst>
              <p:tags r:id="rId1"/>
            </p:custDataLst>
            <p:extLst>
              <p:ext uri="{D42A27DB-BD31-4B8C-83A1-F6EECF244321}">
                <p14:modId xmlns:p14="http://schemas.microsoft.com/office/powerpoint/2010/main" val="1057044930"/>
              </p:ext>
            </p:extLst>
          </p:nvPr>
        </p:nvGraphicFramePr>
        <p:xfrm>
          <a:off x="1630" y="1703"/>
          <a:ext cx="1629" cy="1701"/>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think-cell data - do not delete" hidden="1">
                        <a:extLst>
                          <a:ext uri="{FF2B5EF4-FFF2-40B4-BE49-F238E27FC236}">
                            <a16:creationId xmlns:a16="http://schemas.microsoft.com/office/drawing/2014/main" id="{EC699A68-EBBD-5FEE-E955-0794CFD8EE86}"/>
                          </a:ext>
                        </a:extLst>
                      </p:cNvPr>
                      <p:cNvPicPr/>
                      <p:nvPr/>
                    </p:nvPicPr>
                    <p:blipFill>
                      <a:blip r:embed="rId4"/>
                      <a:stretch>
                        <a:fillRect/>
                      </a:stretch>
                    </p:blipFill>
                    <p:spPr>
                      <a:xfrm>
                        <a:off x="1630" y="1703"/>
                        <a:ext cx="1629" cy="1701"/>
                      </a:xfrm>
                      <a:prstGeom prst="rect">
                        <a:avLst/>
                      </a:prstGeom>
                    </p:spPr>
                  </p:pic>
                </p:oleObj>
              </mc:Fallback>
            </mc:AlternateContent>
          </a:graphicData>
        </a:graphic>
      </p:graphicFrame>
      <p:sp>
        <p:nvSpPr>
          <p:cNvPr id="7" name="Rectangle 8">
            <a:extLst>
              <a:ext uri="{FF2B5EF4-FFF2-40B4-BE49-F238E27FC236}">
                <a16:creationId xmlns:a16="http://schemas.microsoft.com/office/drawing/2014/main" id="{E6D826BA-B6B6-9AF8-4756-EB069D72D2B8}"/>
              </a:ext>
            </a:extLst>
          </p:cNvPr>
          <p:cNvSpPr>
            <a:spLocks noGrp="1" noChangeArrowheads="1"/>
          </p:cNvSpPr>
          <p:nvPr>
            <p:ph type="title"/>
          </p:nvPr>
        </p:nvSpPr>
        <p:spPr bwMode="gray">
          <a:xfrm>
            <a:off x="543953" y="225335"/>
            <a:ext cx="9866143" cy="744583"/>
          </a:xfrm>
          <a:prstGeom prst="rect">
            <a:avLst/>
          </a:prstGeom>
        </p:spPr>
        <p:txBody>
          <a:bodyPr vert="horz" lIns="85344" tIns="42672" rIns="85344" bIns="42672" rtlCol="0" anchor="ctr">
            <a:noAutofit/>
          </a:bodyPr>
          <a:lstStyle/>
          <a:p>
            <a:pPr lvl="0" defTabSz="874447" fontAlgn="auto" latinLnBrk="0">
              <a:lnSpc>
                <a:spcPct val="90000"/>
              </a:lnSpc>
              <a:spcAft>
                <a:spcPts val="0"/>
              </a:spcAft>
              <a:buNone/>
            </a:pPr>
            <a:r>
              <a:rPr lang="en-US" dirty="0"/>
              <a:t>Click to edit Master title style</a:t>
            </a:r>
          </a:p>
        </p:txBody>
      </p:sp>
      <p:sp>
        <p:nvSpPr>
          <p:cNvPr id="8" name="Content Placeholder 15">
            <a:extLst>
              <a:ext uri="{FF2B5EF4-FFF2-40B4-BE49-F238E27FC236}">
                <a16:creationId xmlns:a16="http://schemas.microsoft.com/office/drawing/2014/main" id="{1408D87B-7D89-87BB-5C67-0A91A8749FDA}"/>
              </a:ext>
            </a:extLst>
          </p:cNvPr>
          <p:cNvSpPr>
            <a:spLocks noGrp="1"/>
          </p:cNvSpPr>
          <p:nvPr>
            <p:ph sz="quarter" idx="13"/>
          </p:nvPr>
        </p:nvSpPr>
        <p:spPr>
          <a:xfrm>
            <a:off x="609600" y="6118599"/>
            <a:ext cx="10972800" cy="274320"/>
          </a:xfrm>
        </p:spPr>
        <p:txBody>
          <a:bodyPr vert="horz" lIns="0" tIns="0" rIns="0" bIns="0" rtlCol="0" anchor="b" anchorCtr="0">
            <a:normAutofit/>
          </a:bodyPr>
          <a:lstStyle>
            <a:lvl1pPr marL="77641" indent="-77641">
              <a:spcBef>
                <a:spcPts val="0"/>
              </a:spcBef>
              <a:defRPr lang="en-US" sz="819" b="0" i="0" dirty="0" smtClean="0">
                <a:solidFill>
                  <a:srgbClr val="424344"/>
                </a:solidFill>
              </a:defRPr>
            </a:lvl1pPr>
          </a:lstStyle>
          <a:p>
            <a:pPr lvl="0"/>
            <a:r>
              <a:rPr lang="en-US" dirty="0"/>
              <a:t>Click to edit Master text styles</a:t>
            </a:r>
          </a:p>
        </p:txBody>
      </p:sp>
    </p:spTree>
    <p:extLst>
      <p:ext uri="{BB962C8B-B14F-4D97-AF65-F5344CB8AC3E}">
        <p14:creationId xmlns:p14="http://schemas.microsoft.com/office/powerpoint/2010/main" val="2919341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Section Title Slide">
    <p:spTree>
      <p:nvGrpSpPr>
        <p:cNvPr id="1" name=""/>
        <p:cNvGrpSpPr/>
        <p:nvPr/>
      </p:nvGrpSpPr>
      <p:grpSpPr>
        <a:xfrm>
          <a:off x="0" y="0"/>
          <a:ext cx="0" cy="0"/>
          <a:chOff x="0" y="0"/>
          <a:chExt cx="0" cy="0"/>
        </a:xfrm>
      </p:grpSpPr>
      <p:sp>
        <p:nvSpPr>
          <p:cNvPr id="4" name="Rectangle 4">
            <a:extLst>
              <a:ext uri="{FF2B5EF4-FFF2-40B4-BE49-F238E27FC236}">
                <a16:creationId xmlns:a16="http://schemas.microsoft.com/office/drawing/2014/main" id="{597E0D65-BFDF-4F4E-AA93-F57EBE7E9513}"/>
              </a:ext>
            </a:extLst>
          </p:cNvPr>
          <p:cNvSpPr>
            <a:spLocks noChangeArrowheads="1"/>
          </p:cNvSpPr>
          <p:nvPr userDrawn="1"/>
        </p:nvSpPr>
        <p:spPr bwMode="auto">
          <a:xfrm>
            <a:off x="0" y="17183"/>
            <a:ext cx="12192000" cy="6061645"/>
          </a:xfrm>
          <a:prstGeom prst="rect">
            <a:avLst/>
          </a:prstGeom>
          <a:solidFill>
            <a:srgbClr val="2674AE"/>
          </a:solidFill>
          <a:ln>
            <a:noFill/>
          </a:ln>
          <a:effectLst/>
        </p:spPr>
        <p:txBody>
          <a:bodyPr wrap="none" anchor="ctr"/>
          <a:lstStyle/>
          <a:p>
            <a:pPr>
              <a:defRPr/>
            </a:pPr>
            <a:endParaRPr lang="en-US" sz="3200" dirty="0">
              <a:cs typeface="+mn-cs"/>
            </a:endParaRPr>
          </a:p>
        </p:txBody>
      </p:sp>
      <p:sp>
        <p:nvSpPr>
          <p:cNvPr id="5" name="Rectangle 39"/>
          <p:cNvSpPr>
            <a:spLocks noGrp="1" noChangeArrowheads="1"/>
          </p:cNvSpPr>
          <p:nvPr>
            <p:ph type="ctrTitle" sz="quarter"/>
          </p:nvPr>
        </p:nvSpPr>
        <p:spPr>
          <a:xfrm>
            <a:off x="914400" y="2204571"/>
            <a:ext cx="10363200" cy="1143000"/>
          </a:xfrm>
          <a:prstGeom prst="rect">
            <a:avLst/>
          </a:prstGeom>
        </p:spPr>
        <p:txBody>
          <a:bodyPr lIns="91440" tIns="45720" rIns="91440" bIns="45720" anchor="ctr"/>
          <a:lstStyle>
            <a:lvl1pPr marL="0" indent="0">
              <a:tabLst>
                <a:tab pos="831809" algn="l"/>
              </a:tabLst>
              <a:defRPr sz="4800" baseline="0"/>
            </a:lvl1pPr>
          </a:lstStyle>
          <a:p>
            <a:pPr lvl="0"/>
            <a:r>
              <a:rPr lang="en-US" noProof="0" dirty="0"/>
              <a:t>Click to edit Master title style</a:t>
            </a:r>
          </a:p>
        </p:txBody>
      </p:sp>
      <p:sp>
        <p:nvSpPr>
          <p:cNvPr id="3" name="Rectangle 7">
            <a:extLst>
              <a:ext uri="{FF2B5EF4-FFF2-40B4-BE49-F238E27FC236}">
                <a16:creationId xmlns:a16="http://schemas.microsoft.com/office/drawing/2014/main" id="{C1CC3363-A105-1A40-9A3B-B9F690DD11B3}"/>
              </a:ext>
            </a:extLst>
          </p:cNvPr>
          <p:cNvSpPr>
            <a:spLocks noGrp="1" noChangeArrowheads="1"/>
          </p:cNvSpPr>
          <p:nvPr>
            <p:ph type="sldNum" sz="quarter" idx="10"/>
          </p:nvPr>
        </p:nvSpPr>
        <p:spPr>
          <a:ln/>
        </p:spPr>
        <p:txBody>
          <a:bodyPr/>
          <a:lstStyle>
            <a:lvl1pPr>
              <a:defRPr/>
            </a:lvl1pPr>
          </a:lstStyle>
          <a:p>
            <a:fld id="{67136BA2-72B9-934B-A722-83A47D40B47E}" type="slidenum">
              <a:rPr lang="en-US" altLang="en-US"/>
              <a:pPr/>
              <a:t>‹#›</a:t>
            </a:fld>
            <a:endParaRPr lang="en-US" altLang="en-US" dirty="0"/>
          </a:p>
        </p:txBody>
      </p:sp>
    </p:spTree>
    <p:extLst>
      <p:ext uri="{BB962C8B-B14F-4D97-AF65-F5344CB8AC3E}">
        <p14:creationId xmlns:p14="http://schemas.microsoft.com/office/powerpoint/2010/main" val="815727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C0B7E-4626-614A-99D7-29B1AC549318}"/>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55836542-B3A8-684F-81C6-1B4D63FCDAC0}"/>
              </a:ext>
            </a:extLst>
          </p:cNvPr>
          <p:cNvSpPr>
            <a:spLocks noGrp="1"/>
          </p:cNvSpPr>
          <p:nvPr>
            <p:ph type="sldNum" sz="quarter" idx="10"/>
          </p:nvPr>
        </p:nvSpPr>
        <p:spPr/>
        <p:txBody>
          <a:bodyPr/>
          <a:lstStyle/>
          <a:p>
            <a:fld id="{651B757F-C14A-B741-B454-7B185A1C2E7E}" type="slidenum">
              <a:rPr lang="en-US" altLang="en-US" smtClean="0"/>
              <a:pPr/>
              <a:t>‹#›</a:t>
            </a:fld>
            <a:endParaRPr lang="en-US" altLang="en-US" dirty="0"/>
          </a:p>
        </p:txBody>
      </p:sp>
      <p:sp>
        <p:nvSpPr>
          <p:cNvPr id="4" name="Content Placeholder 2">
            <a:extLst>
              <a:ext uri="{FF2B5EF4-FFF2-40B4-BE49-F238E27FC236}">
                <a16:creationId xmlns:a16="http://schemas.microsoft.com/office/drawing/2014/main" id="{D7EE037D-91F8-164B-A68B-CA5A8A91F42A}"/>
              </a:ext>
            </a:extLst>
          </p:cNvPr>
          <p:cNvSpPr>
            <a:spLocks noGrp="1"/>
          </p:cNvSpPr>
          <p:nvPr>
            <p:ph idx="1"/>
          </p:nvPr>
        </p:nvSpPr>
        <p:spPr>
          <a:xfrm>
            <a:off x="878419" y="1600200"/>
            <a:ext cx="10358967" cy="4356099"/>
          </a:xfrm>
        </p:spPr>
        <p:txBody>
          <a:bodyPr/>
          <a:lstStyle>
            <a:lvl1pPr>
              <a:defRPr sz="2667" baseline="0"/>
            </a:lvl1pPr>
            <a:lvl2pPr>
              <a:defRPr sz="2400" baseline="0"/>
            </a:lvl2pPr>
            <a:lvl3pPr>
              <a:defRPr sz="2133" baseline="0"/>
            </a:lvl3pPr>
            <a:lvl4pPr>
              <a:defRPr sz="1867" baseline="0"/>
            </a:lvl4pPr>
            <a:lvl5pPr>
              <a:defRPr sz="16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0840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Title + 2-Column Text">
    <p:spTree>
      <p:nvGrpSpPr>
        <p:cNvPr id="1" name=""/>
        <p:cNvGrpSpPr/>
        <p:nvPr/>
      </p:nvGrpSpPr>
      <p:grpSpPr>
        <a:xfrm>
          <a:off x="0" y="0"/>
          <a:ext cx="0" cy="0"/>
          <a:chOff x="0" y="0"/>
          <a:chExt cx="0" cy="0"/>
        </a:xfrm>
      </p:grpSpPr>
      <p:sp>
        <p:nvSpPr>
          <p:cNvPr id="5" name="Line 5">
            <a:extLst>
              <a:ext uri="{FF2B5EF4-FFF2-40B4-BE49-F238E27FC236}">
                <a16:creationId xmlns:a16="http://schemas.microsoft.com/office/drawing/2014/main" id="{58FCE926-18AC-7D40-BD31-778A9E6CBDEA}"/>
              </a:ext>
            </a:extLst>
          </p:cNvPr>
          <p:cNvSpPr>
            <a:spLocks noChangeShapeType="1"/>
          </p:cNvSpPr>
          <p:nvPr userDrawn="1"/>
        </p:nvSpPr>
        <p:spPr bwMode="auto">
          <a:xfrm flipV="1">
            <a:off x="6089652" y="1695880"/>
            <a:ext cx="0" cy="4133419"/>
          </a:xfrm>
          <a:prstGeom prst="line">
            <a:avLst/>
          </a:prstGeom>
          <a:ln>
            <a:headEnd/>
            <a:tailEnd/>
          </a:ln>
        </p:spPr>
        <p:style>
          <a:lnRef idx="1">
            <a:schemeClr val="accent2"/>
          </a:lnRef>
          <a:fillRef idx="0">
            <a:schemeClr val="accent2"/>
          </a:fillRef>
          <a:effectRef idx="0">
            <a:schemeClr val="accent2"/>
          </a:effectRef>
          <a:fontRef idx="minor">
            <a:schemeClr val="tx1"/>
          </a:fontRef>
        </p:style>
        <p:txBody>
          <a:bodyPr/>
          <a:lstStyle/>
          <a:p>
            <a:pPr>
              <a:defRPr/>
            </a:pPr>
            <a:endParaRPr lang="en-US" sz="2400" dirty="0">
              <a:ln>
                <a:solidFill>
                  <a:schemeClr val="bg2"/>
                </a:solidFill>
              </a:ln>
            </a:endParaRPr>
          </a:p>
        </p:txBody>
      </p:sp>
      <p:sp>
        <p:nvSpPr>
          <p:cNvPr id="3" name="Content Placeholder 2"/>
          <p:cNvSpPr>
            <a:spLocks noGrp="1"/>
          </p:cNvSpPr>
          <p:nvPr>
            <p:ph sz="half" idx="1" hasCustomPrompt="1"/>
          </p:nvPr>
        </p:nvSpPr>
        <p:spPr>
          <a:xfrm>
            <a:off x="903112" y="1600203"/>
            <a:ext cx="5053189" cy="4356100"/>
          </a:xfrm>
        </p:spPr>
        <p:txBody>
          <a:bodyPr/>
          <a:lstStyle>
            <a:lvl1pPr>
              <a:defRPr sz="2667" baseline="0"/>
            </a:lvl1pPr>
            <a:lvl2pPr>
              <a:defRPr sz="2400" baseline="0"/>
            </a:lvl2pPr>
            <a:lvl3pPr>
              <a:defRPr sz="2133" baseline="0"/>
            </a:lvl3pPr>
            <a:lvl4pPr>
              <a:defRPr sz="1867" baseline="0"/>
            </a:lvl4pPr>
            <a:lvl5pPr>
              <a:defRPr sz="1600" baseline="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sz="half" idx="11" hasCustomPrompt="1"/>
          </p:nvPr>
        </p:nvSpPr>
        <p:spPr>
          <a:xfrm>
            <a:off x="6276623" y="1600203"/>
            <a:ext cx="5053189" cy="4356100"/>
          </a:xfrm>
        </p:spPr>
        <p:txBody>
          <a:bodyPr/>
          <a:lstStyle>
            <a:lvl1pPr>
              <a:defRPr sz="2667" baseline="0"/>
            </a:lvl1pPr>
            <a:lvl2pPr>
              <a:defRPr sz="2400" baseline="0"/>
            </a:lvl2pPr>
            <a:lvl3pPr>
              <a:defRPr sz="2133" baseline="0"/>
            </a:lvl3pPr>
            <a:lvl4pPr>
              <a:defRPr sz="1867" baseline="0"/>
            </a:lvl4pPr>
            <a:lvl5pPr>
              <a:defRPr sz="1600" baseline="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a:extLst>
              <a:ext uri="{FF2B5EF4-FFF2-40B4-BE49-F238E27FC236}">
                <a16:creationId xmlns:a16="http://schemas.microsoft.com/office/drawing/2014/main" id="{57F118FF-09A0-5045-8039-32DF652BF26C}"/>
              </a:ext>
            </a:extLst>
          </p:cNvPr>
          <p:cNvSpPr>
            <a:spLocks noGrp="1"/>
          </p:cNvSpPr>
          <p:nvPr>
            <p:ph type="sldNum" sz="quarter" idx="12"/>
          </p:nvPr>
        </p:nvSpPr>
        <p:spPr>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lvl1pPr>
              <a:defRPr/>
            </a:lvl1pPr>
          </a:lstStyle>
          <a:p>
            <a:fld id="{8827A621-76DE-ED4A-A479-E7B00BF5D559}" type="slidenum">
              <a:rPr lang="en-US" altLang="en-US"/>
              <a:pPr/>
              <a:t>‹#›</a:t>
            </a:fld>
            <a:endParaRPr lang="en-US" altLang="en-US" dirty="0"/>
          </a:p>
        </p:txBody>
      </p:sp>
      <p:sp>
        <p:nvSpPr>
          <p:cNvPr id="8" name="Title 1">
            <a:extLst>
              <a:ext uri="{FF2B5EF4-FFF2-40B4-BE49-F238E27FC236}">
                <a16:creationId xmlns:a16="http://schemas.microsoft.com/office/drawing/2014/main" id="{5C72463C-1CE9-A941-8892-375C4617646B}"/>
              </a:ext>
            </a:extLst>
          </p:cNvPr>
          <p:cNvSpPr>
            <a:spLocks noGrp="1"/>
          </p:cNvSpPr>
          <p:nvPr>
            <p:ph type="title"/>
          </p:nvPr>
        </p:nvSpPr>
        <p:spPr>
          <a:xfrm>
            <a:off x="878418" y="225429"/>
            <a:ext cx="10392836" cy="913092"/>
          </a:xfrm>
        </p:spPr>
        <p:txBody>
          <a:bodyPr/>
          <a:lstStyle/>
          <a:p>
            <a:r>
              <a:rPr lang="en-US"/>
              <a:t>Click to edit Master title style</a:t>
            </a:r>
          </a:p>
        </p:txBody>
      </p:sp>
    </p:spTree>
    <p:extLst>
      <p:ext uri="{BB962C8B-B14F-4D97-AF65-F5344CB8AC3E}">
        <p14:creationId xmlns:p14="http://schemas.microsoft.com/office/powerpoint/2010/main" val="34888400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008">
          <p15:clr>
            <a:srgbClr val="FBAE40"/>
          </p15:clr>
        </p15:guide>
        <p15:guide id="2" pos="3840">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Text + Chart">
    <p:spTree>
      <p:nvGrpSpPr>
        <p:cNvPr id="1" name=""/>
        <p:cNvGrpSpPr/>
        <p:nvPr/>
      </p:nvGrpSpPr>
      <p:grpSpPr>
        <a:xfrm>
          <a:off x="0" y="0"/>
          <a:ext cx="0" cy="0"/>
          <a:chOff x="0" y="0"/>
          <a:chExt cx="0" cy="0"/>
        </a:xfrm>
      </p:grpSpPr>
      <p:sp>
        <p:nvSpPr>
          <p:cNvPr id="8" name="Chart Placeholder 7"/>
          <p:cNvSpPr>
            <a:spLocks noGrp="1"/>
          </p:cNvSpPr>
          <p:nvPr>
            <p:ph type="chart" sz="quarter" idx="11"/>
          </p:nvPr>
        </p:nvSpPr>
        <p:spPr>
          <a:xfrm>
            <a:off x="903114" y="1600203"/>
            <a:ext cx="5040489" cy="4356100"/>
          </a:xfrm>
        </p:spPr>
        <p:txBody>
          <a:bodyPr/>
          <a:lstStyle/>
          <a:p>
            <a:pPr lvl="0"/>
            <a:endParaRPr lang="en-US" noProof="0" dirty="0"/>
          </a:p>
        </p:txBody>
      </p:sp>
      <p:sp>
        <p:nvSpPr>
          <p:cNvPr id="6" name="Slide Number Placeholder 4">
            <a:extLst>
              <a:ext uri="{FF2B5EF4-FFF2-40B4-BE49-F238E27FC236}">
                <a16:creationId xmlns:a16="http://schemas.microsoft.com/office/drawing/2014/main" id="{484F98C5-1EAC-F142-8850-2BE261E3D860}"/>
              </a:ext>
            </a:extLst>
          </p:cNvPr>
          <p:cNvSpPr>
            <a:spLocks noGrp="1"/>
          </p:cNvSpPr>
          <p:nvPr>
            <p:ph type="sldNum" sz="quarter" idx="12"/>
          </p:nvPr>
        </p:nvSpPr>
        <p:spPr>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lvl1pPr>
              <a:defRPr/>
            </a:lvl1pPr>
          </a:lstStyle>
          <a:p>
            <a:fld id="{C7A38E5C-EECB-B84D-80F6-5463B0CBA805}" type="slidenum">
              <a:rPr lang="en-US" altLang="en-US"/>
              <a:pPr/>
              <a:t>‹#›</a:t>
            </a:fld>
            <a:endParaRPr lang="en-US" altLang="en-US" dirty="0"/>
          </a:p>
        </p:txBody>
      </p:sp>
      <p:sp>
        <p:nvSpPr>
          <p:cNvPr id="9" name="Title 1">
            <a:extLst>
              <a:ext uri="{FF2B5EF4-FFF2-40B4-BE49-F238E27FC236}">
                <a16:creationId xmlns:a16="http://schemas.microsoft.com/office/drawing/2014/main" id="{8A3C6577-972C-C748-9A9D-FBB174845449}"/>
              </a:ext>
            </a:extLst>
          </p:cNvPr>
          <p:cNvSpPr>
            <a:spLocks noGrp="1"/>
          </p:cNvSpPr>
          <p:nvPr>
            <p:ph type="title"/>
          </p:nvPr>
        </p:nvSpPr>
        <p:spPr>
          <a:xfrm>
            <a:off x="878418" y="225429"/>
            <a:ext cx="10392836" cy="913092"/>
          </a:xfrm>
        </p:spPr>
        <p:txBody>
          <a:bodyPr/>
          <a:lstStyle/>
          <a:p>
            <a:r>
              <a:rPr lang="en-US"/>
              <a:t>Click to edit Master title style</a:t>
            </a:r>
          </a:p>
        </p:txBody>
      </p:sp>
      <p:sp>
        <p:nvSpPr>
          <p:cNvPr id="12" name="Content Placeholder 2">
            <a:extLst>
              <a:ext uri="{FF2B5EF4-FFF2-40B4-BE49-F238E27FC236}">
                <a16:creationId xmlns:a16="http://schemas.microsoft.com/office/drawing/2014/main" id="{FCBC1051-4AEF-CD41-BD0E-85F48EAF035C}"/>
              </a:ext>
            </a:extLst>
          </p:cNvPr>
          <p:cNvSpPr>
            <a:spLocks noGrp="1"/>
          </p:cNvSpPr>
          <p:nvPr>
            <p:ph sz="half" idx="13" hasCustomPrompt="1"/>
          </p:nvPr>
        </p:nvSpPr>
        <p:spPr>
          <a:xfrm>
            <a:off x="6228772" y="1600203"/>
            <a:ext cx="5093280" cy="4356100"/>
          </a:xfrm>
        </p:spPr>
        <p:txBody>
          <a:bodyPr/>
          <a:lstStyle>
            <a:lvl1pPr>
              <a:defRPr sz="2667" baseline="0"/>
            </a:lvl1pPr>
            <a:lvl2pPr>
              <a:defRPr sz="2400" baseline="0"/>
            </a:lvl2pPr>
            <a:lvl3pPr>
              <a:defRPr sz="2133" baseline="0"/>
            </a:lvl3pPr>
            <a:lvl4pPr>
              <a:defRPr sz="1867" baseline="0"/>
            </a:lvl4pPr>
            <a:lvl5pPr>
              <a:defRPr sz="1600" baseline="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Line 5">
            <a:extLst>
              <a:ext uri="{FF2B5EF4-FFF2-40B4-BE49-F238E27FC236}">
                <a16:creationId xmlns:a16="http://schemas.microsoft.com/office/drawing/2014/main" id="{2E34B9BF-FE50-2248-8DA1-0ACFF143ECAF}"/>
              </a:ext>
            </a:extLst>
          </p:cNvPr>
          <p:cNvSpPr>
            <a:spLocks noChangeShapeType="1"/>
          </p:cNvSpPr>
          <p:nvPr userDrawn="1"/>
        </p:nvSpPr>
        <p:spPr bwMode="auto">
          <a:xfrm flipV="1">
            <a:off x="6089652" y="1695880"/>
            <a:ext cx="0" cy="4133419"/>
          </a:xfrm>
          <a:prstGeom prst="line">
            <a:avLst/>
          </a:prstGeom>
          <a:ln>
            <a:headEnd/>
            <a:tailEnd/>
          </a:ln>
        </p:spPr>
        <p:style>
          <a:lnRef idx="1">
            <a:schemeClr val="accent2"/>
          </a:lnRef>
          <a:fillRef idx="0">
            <a:schemeClr val="accent2"/>
          </a:fillRef>
          <a:effectRef idx="0">
            <a:schemeClr val="accent2"/>
          </a:effectRef>
          <a:fontRef idx="minor">
            <a:schemeClr val="tx1"/>
          </a:fontRef>
        </p:style>
        <p:txBody>
          <a:bodyPr/>
          <a:lstStyle/>
          <a:p>
            <a:pPr>
              <a:defRPr/>
            </a:pPr>
            <a:endParaRPr lang="en-US" sz="2400" dirty="0">
              <a:ln>
                <a:solidFill>
                  <a:schemeClr val="bg2"/>
                </a:solidFill>
              </a:ln>
            </a:endParaRPr>
          </a:p>
        </p:txBody>
      </p:sp>
    </p:spTree>
    <p:extLst>
      <p:ext uri="{BB962C8B-B14F-4D97-AF65-F5344CB8AC3E}">
        <p14:creationId xmlns:p14="http://schemas.microsoft.com/office/powerpoint/2010/main" val="32448992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ext + Photo">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6091519" y="4"/>
            <a:ext cx="6100484" cy="6073833"/>
          </a:xfrm>
        </p:spPr>
        <p:txBody>
          <a:bodyPr/>
          <a:lstStyle/>
          <a:p>
            <a:pPr lvl="0"/>
            <a:endParaRPr lang="en-US" noProof="0" dirty="0"/>
          </a:p>
        </p:txBody>
      </p:sp>
      <p:sp>
        <p:nvSpPr>
          <p:cNvPr id="5" name="Rectangle 7">
            <a:extLst>
              <a:ext uri="{FF2B5EF4-FFF2-40B4-BE49-F238E27FC236}">
                <a16:creationId xmlns:a16="http://schemas.microsoft.com/office/drawing/2014/main" id="{F580F79D-3A30-9E4B-AC3F-C604690A5D19}"/>
              </a:ext>
            </a:extLst>
          </p:cNvPr>
          <p:cNvSpPr>
            <a:spLocks noGrp="1" noChangeArrowheads="1"/>
          </p:cNvSpPr>
          <p:nvPr>
            <p:ph type="sldNum" sz="quarter" idx="12"/>
          </p:nvPr>
        </p:nvSpPr>
        <p:spPr>
          <a:ln/>
        </p:spPr>
        <p:txBody>
          <a:bodyPr/>
          <a:lstStyle>
            <a:lvl1pPr>
              <a:defRPr/>
            </a:lvl1pPr>
          </a:lstStyle>
          <a:p>
            <a:fld id="{2D6351A8-0546-1C43-9C42-0838D74ABB91}" type="slidenum">
              <a:rPr lang="en-US" altLang="en-US"/>
              <a:pPr/>
              <a:t>‹#›</a:t>
            </a:fld>
            <a:endParaRPr lang="en-US" altLang="en-US" dirty="0"/>
          </a:p>
        </p:txBody>
      </p:sp>
      <p:sp>
        <p:nvSpPr>
          <p:cNvPr id="8" name="Title 1">
            <a:extLst>
              <a:ext uri="{FF2B5EF4-FFF2-40B4-BE49-F238E27FC236}">
                <a16:creationId xmlns:a16="http://schemas.microsoft.com/office/drawing/2014/main" id="{F3B2DB51-C66D-6648-AE47-16C9A7779D93}"/>
              </a:ext>
            </a:extLst>
          </p:cNvPr>
          <p:cNvSpPr>
            <a:spLocks noGrp="1"/>
          </p:cNvSpPr>
          <p:nvPr>
            <p:ph type="title" hasCustomPrompt="1"/>
          </p:nvPr>
        </p:nvSpPr>
        <p:spPr>
          <a:xfrm>
            <a:off x="878421" y="225429"/>
            <a:ext cx="5077881" cy="913092"/>
          </a:xfrm>
        </p:spPr>
        <p:txBody>
          <a:bodyPr/>
          <a:lstStyle>
            <a:lvl1pPr>
              <a:lnSpc>
                <a:spcPct val="90000"/>
              </a:lnSpc>
              <a:defRPr sz="2933" baseline="0"/>
            </a:lvl1pPr>
          </a:lstStyle>
          <a:p>
            <a:r>
              <a:rPr lang="en-US" dirty="0"/>
              <a:t>Click to edit </a:t>
            </a:r>
            <a:br>
              <a:rPr lang="en-US" dirty="0"/>
            </a:br>
            <a:r>
              <a:rPr lang="en-US" dirty="0"/>
              <a:t>Master title style</a:t>
            </a:r>
          </a:p>
        </p:txBody>
      </p:sp>
      <p:sp>
        <p:nvSpPr>
          <p:cNvPr id="9" name="Content Placeholder 2">
            <a:extLst>
              <a:ext uri="{FF2B5EF4-FFF2-40B4-BE49-F238E27FC236}">
                <a16:creationId xmlns:a16="http://schemas.microsoft.com/office/drawing/2014/main" id="{757E9A79-4EF2-FE4C-AD2A-5AA01B3E4FC8}"/>
              </a:ext>
            </a:extLst>
          </p:cNvPr>
          <p:cNvSpPr>
            <a:spLocks noGrp="1"/>
          </p:cNvSpPr>
          <p:nvPr>
            <p:ph sz="half" idx="1" hasCustomPrompt="1"/>
          </p:nvPr>
        </p:nvSpPr>
        <p:spPr>
          <a:xfrm>
            <a:off x="903112" y="1600203"/>
            <a:ext cx="5053189" cy="4356100"/>
          </a:xfrm>
        </p:spPr>
        <p:txBody>
          <a:bodyPr/>
          <a:lstStyle>
            <a:lvl1pPr>
              <a:defRPr sz="2667" baseline="0"/>
            </a:lvl1pPr>
            <a:lvl2pPr>
              <a:defRPr sz="2400" baseline="0"/>
            </a:lvl2pPr>
            <a:lvl3pPr>
              <a:defRPr sz="2133" baseline="0"/>
            </a:lvl3pPr>
            <a:lvl4pPr>
              <a:defRPr sz="1867" baseline="0"/>
            </a:lvl4pPr>
            <a:lvl5pPr>
              <a:defRPr sz="1600" baseline="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601344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Text + Photo 2">
    <p:spTree>
      <p:nvGrpSpPr>
        <p:cNvPr id="1" name=""/>
        <p:cNvGrpSpPr/>
        <p:nvPr/>
      </p:nvGrpSpPr>
      <p:grpSpPr>
        <a:xfrm>
          <a:off x="0" y="0"/>
          <a:ext cx="0" cy="0"/>
          <a:chOff x="0" y="0"/>
          <a:chExt cx="0" cy="0"/>
        </a:xfrm>
      </p:grpSpPr>
      <p:sp>
        <p:nvSpPr>
          <p:cNvPr id="5" name="Picture Placeholder 6"/>
          <p:cNvSpPr>
            <a:spLocks noGrp="1"/>
          </p:cNvSpPr>
          <p:nvPr>
            <p:ph type="pic" sz="quarter" idx="11"/>
          </p:nvPr>
        </p:nvSpPr>
        <p:spPr>
          <a:xfrm>
            <a:off x="2" y="-1"/>
            <a:ext cx="6100484" cy="6073833"/>
          </a:xfrm>
        </p:spPr>
        <p:txBody>
          <a:bodyPr/>
          <a:lstStyle/>
          <a:p>
            <a:pPr lvl="0"/>
            <a:endParaRPr lang="en-US" noProof="0" dirty="0"/>
          </a:p>
        </p:txBody>
      </p:sp>
      <p:sp>
        <p:nvSpPr>
          <p:cNvPr id="7" name="Rectangle 7">
            <a:extLst>
              <a:ext uri="{FF2B5EF4-FFF2-40B4-BE49-F238E27FC236}">
                <a16:creationId xmlns:a16="http://schemas.microsoft.com/office/drawing/2014/main" id="{4718264B-E894-FD4B-9A29-80F4C8E96E82}"/>
              </a:ext>
            </a:extLst>
          </p:cNvPr>
          <p:cNvSpPr>
            <a:spLocks noGrp="1" noChangeArrowheads="1"/>
          </p:cNvSpPr>
          <p:nvPr>
            <p:ph type="sldNum" sz="quarter" idx="12"/>
          </p:nvPr>
        </p:nvSpPr>
        <p:spPr>
          <a:ln/>
        </p:spPr>
        <p:txBody>
          <a:bodyPr/>
          <a:lstStyle>
            <a:lvl1pPr>
              <a:defRPr/>
            </a:lvl1pPr>
          </a:lstStyle>
          <a:p>
            <a:fld id="{8E2D94FA-48A1-344C-A9EE-808DEC564357}" type="slidenum">
              <a:rPr lang="en-US" altLang="en-US"/>
              <a:pPr/>
              <a:t>‹#›</a:t>
            </a:fld>
            <a:endParaRPr lang="en-US" altLang="en-US" dirty="0"/>
          </a:p>
        </p:txBody>
      </p:sp>
      <p:sp>
        <p:nvSpPr>
          <p:cNvPr id="12" name="Content Placeholder 2">
            <a:extLst>
              <a:ext uri="{FF2B5EF4-FFF2-40B4-BE49-F238E27FC236}">
                <a16:creationId xmlns:a16="http://schemas.microsoft.com/office/drawing/2014/main" id="{A7BCD321-8A41-9041-85C9-62EDEC75A3B0}"/>
              </a:ext>
            </a:extLst>
          </p:cNvPr>
          <p:cNvSpPr>
            <a:spLocks noGrp="1"/>
          </p:cNvSpPr>
          <p:nvPr>
            <p:ph sz="half" idx="13" hasCustomPrompt="1"/>
          </p:nvPr>
        </p:nvSpPr>
        <p:spPr>
          <a:xfrm>
            <a:off x="6389512" y="1600203"/>
            <a:ext cx="5053189" cy="4356100"/>
          </a:xfrm>
        </p:spPr>
        <p:txBody>
          <a:bodyPr/>
          <a:lstStyle>
            <a:lvl1pPr>
              <a:defRPr sz="2667" baseline="0"/>
            </a:lvl1pPr>
            <a:lvl2pPr>
              <a:defRPr sz="2400" baseline="0"/>
            </a:lvl2pPr>
            <a:lvl3pPr>
              <a:defRPr sz="2133" baseline="0"/>
            </a:lvl3pPr>
            <a:lvl4pPr>
              <a:defRPr sz="1867" baseline="0"/>
            </a:lvl4pPr>
            <a:lvl5pPr>
              <a:defRPr sz="1600" baseline="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a:extLst>
              <a:ext uri="{FF2B5EF4-FFF2-40B4-BE49-F238E27FC236}">
                <a16:creationId xmlns:a16="http://schemas.microsoft.com/office/drawing/2014/main" id="{B14B3F9E-01C9-3D4E-8140-315E6F1A09F0}"/>
              </a:ext>
            </a:extLst>
          </p:cNvPr>
          <p:cNvSpPr>
            <a:spLocks noGrp="1"/>
          </p:cNvSpPr>
          <p:nvPr>
            <p:ph type="title" hasCustomPrompt="1"/>
          </p:nvPr>
        </p:nvSpPr>
        <p:spPr>
          <a:xfrm>
            <a:off x="6364821" y="225429"/>
            <a:ext cx="5077881" cy="913092"/>
          </a:xfrm>
        </p:spPr>
        <p:txBody>
          <a:bodyPr/>
          <a:lstStyle>
            <a:lvl1pPr>
              <a:lnSpc>
                <a:spcPct val="90000"/>
              </a:lnSpc>
              <a:defRPr sz="2933" baseline="0"/>
            </a:lvl1pPr>
          </a:lstStyle>
          <a:p>
            <a:r>
              <a:rPr lang="en-US" dirty="0"/>
              <a:t>Click to edit </a:t>
            </a:r>
            <a:br>
              <a:rPr lang="en-US" dirty="0"/>
            </a:br>
            <a:r>
              <a:rPr lang="en-US" dirty="0"/>
              <a:t>Master title style</a:t>
            </a:r>
          </a:p>
        </p:txBody>
      </p:sp>
    </p:spTree>
    <p:extLst>
      <p:ext uri="{BB962C8B-B14F-4D97-AF65-F5344CB8AC3E}">
        <p14:creationId xmlns:p14="http://schemas.microsoft.com/office/powerpoint/2010/main" val="3673109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Text + Inset Photo">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6098691" y="1757254"/>
            <a:ext cx="5178911" cy="3791903"/>
          </a:xfrm>
        </p:spPr>
        <p:txBody>
          <a:bodyPr/>
          <a:lstStyle/>
          <a:p>
            <a:pPr lvl="0"/>
            <a:endParaRPr lang="en-US" noProof="0" dirty="0"/>
          </a:p>
        </p:txBody>
      </p:sp>
      <p:sp>
        <p:nvSpPr>
          <p:cNvPr id="5" name="Rectangle 7">
            <a:extLst>
              <a:ext uri="{FF2B5EF4-FFF2-40B4-BE49-F238E27FC236}">
                <a16:creationId xmlns:a16="http://schemas.microsoft.com/office/drawing/2014/main" id="{C7C9D9B1-AD2F-3A48-8E78-86CCEB8C6D16}"/>
              </a:ext>
            </a:extLst>
          </p:cNvPr>
          <p:cNvSpPr>
            <a:spLocks noGrp="1" noChangeArrowheads="1"/>
          </p:cNvSpPr>
          <p:nvPr>
            <p:ph type="sldNum" sz="quarter" idx="12"/>
          </p:nvPr>
        </p:nvSpPr>
        <p:spPr>
          <a:ln/>
        </p:spPr>
        <p:txBody>
          <a:bodyPr/>
          <a:lstStyle>
            <a:lvl1pPr>
              <a:defRPr/>
            </a:lvl1pPr>
          </a:lstStyle>
          <a:p>
            <a:fld id="{E8164C84-4EBB-174B-B7A6-F8BF343BC3D1}" type="slidenum">
              <a:rPr lang="en-US" altLang="en-US"/>
              <a:pPr/>
              <a:t>‹#›</a:t>
            </a:fld>
            <a:endParaRPr lang="en-US" altLang="en-US" dirty="0"/>
          </a:p>
        </p:txBody>
      </p:sp>
      <p:sp>
        <p:nvSpPr>
          <p:cNvPr id="6" name="Title 1">
            <a:extLst>
              <a:ext uri="{FF2B5EF4-FFF2-40B4-BE49-F238E27FC236}">
                <a16:creationId xmlns:a16="http://schemas.microsoft.com/office/drawing/2014/main" id="{466BA6F2-DFB8-2946-9794-3DFCC1B64339}"/>
              </a:ext>
            </a:extLst>
          </p:cNvPr>
          <p:cNvSpPr>
            <a:spLocks noGrp="1"/>
          </p:cNvSpPr>
          <p:nvPr>
            <p:ph type="title"/>
          </p:nvPr>
        </p:nvSpPr>
        <p:spPr>
          <a:xfrm>
            <a:off x="878418" y="225429"/>
            <a:ext cx="10392836" cy="913092"/>
          </a:xfrm>
        </p:spPr>
        <p:txBody>
          <a:bodyPr/>
          <a:lstStyle/>
          <a:p>
            <a:r>
              <a:rPr lang="en-US"/>
              <a:t>Click to edit Master title style</a:t>
            </a:r>
          </a:p>
        </p:txBody>
      </p:sp>
      <p:sp>
        <p:nvSpPr>
          <p:cNvPr id="9" name="Content Placeholder 2">
            <a:extLst>
              <a:ext uri="{FF2B5EF4-FFF2-40B4-BE49-F238E27FC236}">
                <a16:creationId xmlns:a16="http://schemas.microsoft.com/office/drawing/2014/main" id="{09B3F134-C582-5C47-81CD-2C86606922A6}"/>
              </a:ext>
            </a:extLst>
          </p:cNvPr>
          <p:cNvSpPr>
            <a:spLocks noGrp="1"/>
          </p:cNvSpPr>
          <p:nvPr>
            <p:ph sz="half" idx="1" hasCustomPrompt="1"/>
          </p:nvPr>
        </p:nvSpPr>
        <p:spPr>
          <a:xfrm>
            <a:off x="903112" y="1600203"/>
            <a:ext cx="5053189" cy="4356100"/>
          </a:xfrm>
        </p:spPr>
        <p:txBody>
          <a:bodyPr/>
          <a:lstStyle>
            <a:lvl1pPr>
              <a:defRPr sz="2667" baseline="0"/>
            </a:lvl1pPr>
            <a:lvl2pPr>
              <a:defRPr sz="2400" baseline="0"/>
            </a:lvl2pPr>
            <a:lvl3pPr>
              <a:defRPr sz="2133" baseline="0"/>
            </a:lvl3pPr>
            <a:lvl4pPr>
              <a:defRPr sz="1867" baseline="0"/>
            </a:lvl4pPr>
            <a:lvl5pPr>
              <a:defRPr sz="1600" baseline="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102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sp>
        <p:nvSpPr>
          <p:cNvPr id="11" name="Picture Placeholder 10"/>
          <p:cNvSpPr>
            <a:spLocks noGrp="1"/>
          </p:cNvSpPr>
          <p:nvPr>
            <p:ph type="pic" sz="quarter" idx="11"/>
          </p:nvPr>
        </p:nvSpPr>
        <p:spPr>
          <a:xfrm>
            <a:off x="0" y="376844"/>
            <a:ext cx="12192000" cy="5696989"/>
          </a:xfrm>
        </p:spPr>
        <p:txBody>
          <a:bodyPr/>
          <a:lstStyle/>
          <a:p>
            <a:pPr lvl="0"/>
            <a:endParaRPr lang="en-US" noProof="0" dirty="0"/>
          </a:p>
        </p:txBody>
      </p:sp>
      <p:sp>
        <p:nvSpPr>
          <p:cNvPr id="3" name="Rectangle 7">
            <a:extLst>
              <a:ext uri="{FF2B5EF4-FFF2-40B4-BE49-F238E27FC236}">
                <a16:creationId xmlns:a16="http://schemas.microsoft.com/office/drawing/2014/main" id="{7A172B8F-BAA8-3742-96E2-905C1AB235C4}"/>
              </a:ext>
            </a:extLst>
          </p:cNvPr>
          <p:cNvSpPr>
            <a:spLocks noGrp="1" noChangeArrowheads="1"/>
          </p:cNvSpPr>
          <p:nvPr>
            <p:ph type="sldNum" sz="quarter" idx="12"/>
          </p:nvPr>
        </p:nvSpPr>
        <p:spPr>
          <a:ln/>
        </p:spPr>
        <p:txBody>
          <a:bodyPr/>
          <a:lstStyle>
            <a:lvl1pPr>
              <a:defRPr/>
            </a:lvl1pPr>
          </a:lstStyle>
          <a:p>
            <a:fld id="{3FB7547A-44E5-2742-A218-597A939081B9}" type="slidenum">
              <a:rPr lang="en-US" altLang="en-US"/>
              <a:pPr/>
              <a:t>‹#›</a:t>
            </a:fld>
            <a:endParaRPr lang="en-US" altLang="en-US" dirty="0"/>
          </a:p>
        </p:txBody>
      </p:sp>
    </p:spTree>
    <p:extLst>
      <p:ext uri="{BB962C8B-B14F-4D97-AF65-F5344CB8AC3E}">
        <p14:creationId xmlns:p14="http://schemas.microsoft.com/office/powerpoint/2010/main" val="383139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Photo + Caption">
    <p:spTree>
      <p:nvGrpSpPr>
        <p:cNvPr id="1" name=""/>
        <p:cNvGrpSpPr/>
        <p:nvPr/>
      </p:nvGrpSpPr>
      <p:grpSpPr>
        <a:xfrm>
          <a:off x="0" y="0"/>
          <a:ext cx="0" cy="0"/>
          <a:chOff x="0" y="0"/>
          <a:chExt cx="0" cy="0"/>
        </a:xfrm>
      </p:grpSpPr>
      <p:sp>
        <p:nvSpPr>
          <p:cNvPr id="2" name="Title 1"/>
          <p:cNvSpPr>
            <a:spLocks noGrp="1"/>
          </p:cNvSpPr>
          <p:nvPr>
            <p:ph type="title"/>
          </p:nvPr>
        </p:nvSpPr>
        <p:spPr>
          <a:xfrm>
            <a:off x="912289" y="5612158"/>
            <a:ext cx="10358967" cy="342900"/>
          </a:xfrm>
          <a:prstGeom prst="rect">
            <a:avLst/>
          </a:prstGeom>
        </p:spPr>
        <p:txBody>
          <a:bodyPr/>
          <a:lstStyle>
            <a:lvl1pPr algn="r">
              <a:defRPr sz="2133" b="0" i="0" baseline="0">
                <a:solidFill>
                  <a:schemeClr val="tx1"/>
                </a:solidFill>
              </a:defRPr>
            </a:lvl1pPr>
          </a:lstStyle>
          <a:p>
            <a:r>
              <a:rPr lang="en-US" dirty="0"/>
              <a:t>Click to edit Master title style</a:t>
            </a:r>
          </a:p>
        </p:txBody>
      </p:sp>
      <p:sp>
        <p:nvSpPr>
          <p:cNvPr id="5" name="Picture Placeholder 10"/>
          <p:cNvSpPr>
            <a:spLocks noGrp="1"/>
          </p:cNvSpPr>
          <p:nvPr>
            <p:ph type="pic" sz="quarter" idx="11"/>
          </p:nvPr>
        </p:nvSpPr>
        <p:spPr>
          <a:xfrm>
            <a:off x="0" y="376844"/>
            <a:ext cx="12192000" cy="5120640"/>
          </a:xfrm>
        </p:spPr>
        <p:txBody>
          <a:bodyPr/>
          <a:lstStyle/>
          <a:p>
            <a:pPr lvl="0"/>
            <a:endParaRPr lang="en-US" noProof="0" dirty="0"/>
          </a:p>
        </p:txBody>
      </p:sp>
      <p:sp>
        <p:nvSpPr>
          <p:cNvPr id="4" name="Rectangle 7">
            <a:extLst>
              <a:ext uri="{FF2B5EF4-FFF2-40B4-BE49-F238E27FC236}">
                <a16:creationId xmlns:a16="http://schemas.microsoft.com/office/drawing/2014/main" id="{236EF39E-53EC-9D4C-8CF5-4E0F074CA0F9}"/>
              </a:ext>
            </a:extLst>
          </p:cNvPr>
          <p:cNvSpPr>
            <a:spLocks noGrp="1" noChangeArrowheads="1"/>
          </p:cNvSpPr>
          <p:nvPr>
            <p:ph type="sldNum" sz="quarter" idx="12"/>
          </p:nvPr>
        </p:nvSpPr>
        <p:spPr>
          <a:ln/>
        </p:spPr>
        <p:txBody>
          <a:bodyPr/>
          <a:lstStyle>
            <a:lvl1pPr>
              <a:defRPr/>
            </a:lvl1pPr>
          </a:lstStyle>
          <a:p>
            <a:fld id="{7B362AB2-5FA0-314A-BC43-59CD607A6585}" type="slidenum">
              <a:rPr lang="en-US" altLang="en-US"/>
              <a:pPr/>
              <a:t>‹#›</a:t>
            </a:fld>
            <a:endParaRPr lang="en-US" altLang="en-US" dirty="0"/>
          </a:p>
        </p:txBody>
      </p:sp>
    </p:spTree>
    <p:extLst>
      <p:ext uri="{BB962C8B-B14F-4D97-AF65-F5344CB8AC3E}">
        <p14:creationId xmlns:p14="http://schemas.microsoft.com/office/powerpoint/2010/main" val="3142367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D4305BDC-3002-EB44-84E7-BE4B7228E040}"/>
              </a:ext>
            </a:extLst>
          </p:cNvPr>
          <p:cNvSpPr>
            <a:spLocks noGrp="1" noChangeArrowheads="1"/>
          </p:cNvSpPr>
          <p:nvPr>
            <p:ph type="sldNum" sz="quarter" idx="10"/>
          </p:nvPr>
        </p:nvSpPr>
        <p:spPr>
          <a:ln/>
        </p:spPr>
        <p:txBody>
          <a:bodyPr/>
          <a:lstStyle>
            <a:lvl1pPr>
              <a:defRPr/>
            </a:lvl1pPr>
          </a:lstStyle>
          <a:p>
            <a:fld id="{74FFF898-57C7-8D44-802E-EEEB9DBFAEBA}" type="slidenum">
              <a:rPr lang="en-US" altLang="en-US"/>
              <a:pPr/>
              <a:t>‹#›</a:t>
            </a:fld>
            <a:endParaRPr lang="en-US" altLang="en-US" dirty="0"/>
          </a:p>
        </p:txBody>
      </p:sp>
      <p:sp>
        <p:nvSpPr>
          <p:cNvPr id="4" name="Title 1">
            <a:extLst>
              <a:ext uri="{FF2B5EF4-FFF2-40B4-BE49-F238E27FC236}">
                <a16:creationId xmlns:a16="http://schemas.microsoft.com/office/drawing/2014/main" id="{CA70146B-00DF-5145-9D76-4E70E8014A01}"/>
              </a:ext>
            </a:extLst>
          </p:cNvPr>
          <p:cNvSpPr>
            <a:spLocks noGrp="1"/>
          </p:cNvSpPr>
          <p:nvPr>
            <p:ph type="title"/>
          </p:nvPr>
        </p:nvSpPr>
        <p:spPr>
          <a:xfrm>
            <a:off x="878418" y="225429"/>
            <a:ext cx="10392836" cy="913092"/>
          </a:xfrm>
        </p:spPr>
        <p:txBody>
          <a:bodyPr/>
          <a:lstStyle/>
          <a:p>
            <a:r>
              <a:rPr lang="en-US"/>
              <a:t>Click to edit Master title style</a:t>
            </a:r>
          </a:p>
        </p:txBody>
      </p:sp>
    </p:spTree>
    <p:extLst>
      <p:ext uri="{BB962C8B-B14F-4D97-AF65-F5344CB8AC3E}">
        <p14:creationId xmlns:p14="http://schemas.microsoft.com/office/powerpoint/2010/main" val="1177934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20624" y="1481738"/>
            <a:ext cx="10484443" cy="2180095"/>
          </a:xfrm>
        </p:spPr>
        <p:txBody>
          <a:bodyPr anchor="b">
            <a:normAutofit/>
          </a:bodyPr>
          <a:lstStyle>
            <a:lvl1pPr>
              <a:lnSpc>
                <a:spcPct val="90000"/>
              </a:lnSpc>
              <a:defRPr sz="3200">
                <a:solidFill>
                  <a:srgbClr val="83005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763434"/>
            <a:ext cx="10484443" cy="778935"/>
          </a:xfrm>
          <a:prstGeom prst="rect">
            <a:avLst/>
          </a:prstGeom>
        </p:spPr>
        <p:txBody>
          <a:bodyPr anchor="t">
            <a:normAutofit/>
          </a:bodyPr>
          <a:lstStyle>
            <a:lvl1pPr marL="0" indent="0">
              <a:defRPr sz="2400" b="1" baseline="0">
                <a:solidFill>
                  <a:schemeClr val="accent2"/>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554044"/>
            <a:ext cx="10487483" cy="1028681"/>
          </a:xfrm>
          <a:prstGeom prst="rect">
            <a:avLst/>
          </a:prstGeom>
        </p:spPr>
        <p:txBody>
          <a:bodyPr anchor="b"/>
          <a:lstStyle>
            <a:lvl1pPr marL="4763" indent="-4763">
              <a:defRPr sz="1467">
                <a:solidFill>
                  <a:srgbClr val="4B306A"/>
                </a:solidFill>
              </a:defRPr>
            </a:lvl1pPr>
          </a:lstStyle>
          <a:p>
            <a:pPr lvl="0"/>
            <a:r>
              <a:rPr lang="en-GB"/>
              <a:t>Click to edit Master text styles</a:t>
            </a:r>
          </a:p>
        </p:txBody>
      </p:sp>
      <p:sp>
        <p:nvSpPr>
          <p:cNvPr id="4" name="TextBox 3"/>
          <p:cNvSpPr txBox="1"/>
          <p:nvPr userDrawn="1"/>
        </p:nvSpPr>
        <p:spPr>
          <a:xfrm>
            <a:off x="2539923" y="6590093"/>
            <a:ext cx="7103181" cy="23589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933">
                <a:solidFill>
                  <a:schemeClr val="accent6">
                    <a:lumMod val="50000"/>
                  </a:schemeClr>
                </a:solidFill>
              </a:rPr>
              <a:t>©AstraZeneca 2018 • FOR HEALTHCARE PROFESSIONAL USE ONLY</a:t>
            </a:r>
            <a:endParaRPr lang="en-US" sz="933">
              <a:solidFill>
                <a:schemeClr val="accent6">
                  <a:lumMod val="50000"/>
                </a:schemeClr>
              </a:solidFill>
            </a:endParaRPr>
          </a:p>
        </p:txBody>
      </p:sp>
      <p:sp>
        <p:nvSpPr>
          <p:cNvPr id="7" name="Rectangle 6"/>
          <p:cNvSpPr/>
          <p:nvPr userDrawn="1"/>
        </p:nvSpPr>
        <p:spPr bwMode="auto">
          <a:xfrm>
            <a:off x="10371386" y="6192762"/>
            <a:ext cx="1418077" cy="665239"/>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pic>
        <p:nvPicPr>
          <p:cNvPr id="8" name="Picture 7"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9373725" y="155869"/>
            <a:ext cx="2678400" cy="884732"/>
          </a:xfrm>
          <a:prstGeom prst="rect">
            <a:avLst/>
          </a:prstGeom>
        </p:spPr>
      </p:pic>
      <p:pic>
        <p:nvPicPr>
          <p:cNvPr id="11" name="Picture 10"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03952" y="239495"/>
            <a:ext cx="2200163" cy="890653"/>
          </a:xfrm>
          <a:prstGeom prst="rect">
            <a:avLst/>
          </a:prstGeom>
        </p:spPr>
      </p:pic>
    </p:spTree>
    <p:extLst>
      <p:ext uri="{BB962C8B-B14F-4D97-AF65-F5344CB8AC3E}">
        <p14:creationId xmlns:p14="http://schemas.microsoft.com/office/powerpoint/2010/main" val="2958699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chemeClr val="accent3"/>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chemeClr val="accent2"/>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4" name="TextBox 3"/>
          <p:cNvSpPr txBox="1"/>
          <p:nvPr userDrawn="1"/>
        </p:nvSpPr>
        <p:spPr>
          <a:xfrm>
            <a:off x="430366" y="6581275"/>
            <a:ext cx="7103181" cy="2358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GB" sz="933">
                <a:solidFill>
                  <a:srgbClr val="3F4444"/>
                </a:solidFill>
              </a:rPr>
              <a:t>©AstraZeneca 2018 • FOR HEALTHCARE PROFESSIONAL USE ONLY</a:t>
            </a:r>
            <a:endParaRPr lang="en-US" sz="933">
              <a:solidFill>
                <a:srgbClr val="3F4444"/>
              </a:solidFill>
            </a:endParaRPr>
          </a:p>
        </p:txBody>
      </p:sp>
      <p:pic>
        <p:nvPicPr>
          <p:cNvPr id="8" name="Picture 7"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3934216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rgbClr val="103865"/>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chemeClr val="accent1">
                    <a:lumMod val="60000"/>
                    <a:lumOff val="40000"/>
                  </a:schemeClr>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pic>
        <p:nvPicPr>
          <p:cNvPr id="8" name="Picture 7"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393750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chemeClr val="accent2"/>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rgbClr val="3F4444"/>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4" name="TextBox 3"/>
          <p:cNvSpPr txBox="1"/>
          <p:nvPr userDrawn="1"/>
        </p:nvSpPr>
        <p:spPr>
          <a:xfrm>
            <a:off x="430366" y="6581275"/>
            <a:ext cx="7103181" cy="2358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GB" sz="933">
                <a:solidFill>
                  <a:srgbClr val="3F4444"/>
                </a:solidFill>
              </a:rPr>
              <a:t>©AstraZeneca 2018 • FOR HEALTHCARE PROFESSIONAL USE ONLY</a:t>
            </a:r>
            <a:endParaRPr lang="en-US" sz="933">
              <a:solidFill>
                <a:srgbClr val="3F4444"/>
              </a:solidFill>
            </a:endParaRPr>
          </a:p>
        </p:txBody>
      </p:sp>
      <p:pic>
        <p:nvPicPr>
          <p:cNvPr id="8" name="Picture 7"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075881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chemeClr val="accent1"/>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chemeClr val="accent6"/>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4" name="TextBox 3"/>
          <p:cNvSpPr txBox="1"/>
          <p:nvPr userDrawn="1"/>
        </p:nvSpPr>
        <p:spPr>
          <a:xfrm>
            <a:off x="430366" y="6581275"/>
            <a:ext cx="7103181" cy="2358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GB" sz="933">
                <a:solidFill>
                  <a:srgbClr val="3F4444"/>
                </a:solidFill>
              </a:rPr>
              <a:t>©AstraZeneca 2018 • FOR HEALTHCARE PROFESSIONAL USE ONLY</a:t>
            </a:r>
            <a:endParaRPr lang="en-US" sz="933">
              <a:solidFill>
                <a:srgbClr val="3F4444"/>
              </a:solidFill>
            </a:endParaRPr>
          </a:p>
        </p:txBody>
      </p:sp>
      <p:pic>
        <p:nvPicPr>
          <p:cNvPr id="8" name="Picture 7"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228271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20624" y="759884"/>
            <a:ext cx="10484443" cy="2901949"/>
          </a:xfrm>
        </p:spPr>
        <p:txBody>
          <a:bodyPr anchor="b">
            <a:normAutofit/>
          </a:bodyPr>
          <a:lstStyle>
            <a:lvl1pPr>
              <a:lnSpc>
                <a:spcPct val="90000"/>
              </a:lnSpc>
              <a:defRPr sz="3200">
                <a:solidFill>
                  <a:srgbClr val="83005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763434"/>
            <a:ext cx="10484443" cy="778935"/>
          </a:xfrm>
          <a:prstGeom prst="rect">
            <a:avLst/>
          </a:prstGeom>
        </p:spPr>
        <p:txBody>
          <a:bodyPr anchor="t" anchorCtr="0">
            <a:normAutofit/>
          </a:bodyPr>
          <a:lstStyle>
            <a:lvl1pPr marL="0" indent="0">
              <a:defRPr sz="2400" b="1" baseline="0">
                <a:solidFill>
                  <a:schemeClr val="accent4"/>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542369"/>
            <a:ext cx="10487483" cy="1028681"/>
          </a:xfrm>
          <a:prstGeom prst="rect">
            <a:avLst/>
          </a:prstGeom>
        </p:spPr>
        <p:txBody>
          <a:bodyPr anchor="b"/>
          <a:lstStyle>
            <a:lvl1pPr marL="4763" indent="-4763">
              <a:defRPr sz="1467">
                <a:solidFill>
                  <a:schemeClr val="accent1"/>
                </a:solidFill>
              </a:defRPr>
            </a:lvl1pPr>
          </a:lstStyle>
          <a:p>
            <a:pPr lvl="0"/>
            <a:r>
              <a:rPr lang="en-GB"/>
              <a:t>Click to edit Master text styles</a:t>
            </a:r>
          </a:p>
        </p:txBody>
      </p:sp>
      <p:sp>
        <p:nvSpPr>
          <p:cNvPr id="4" name="Rectangle 3"/>
          <p:cNvSpPr/>
          <p:nvPr userDrawn="1"/>
        </p:nvSpPr>
        <p:spPr bwMode="auto">
          <a:xfrm>
            <a:off x="11278991" y="6192762"/>
            <a:ext cx="510472" cy="665239"/>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
        <p:nvSpPr>
          <p:cNvPr id="8" name="TextBox 7"/>
          <p:cNvSpPr txBox="1"/>
          <p:nvPr userDrawn="1"/>
        </p:nvSpPr>
        <p:spPr>
          <a:xfrm>
            <a:off x="2539923" y="6590093"/>
            <a:ext cx="7103181" cy="23589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933" b="0" i="0" u="none" strike="noStrike" kern="0" cap="none" spc="0" normalizeH="0" baseline="0" noProof="0">
                <a:ln>
                  <a:noFill/>
                </a:ln>
                <a:solidFill>
                  <a:srgbClr val="C7C2BA">
                    <a:lumMod val="50000"/>
                  </a:srgbClr>
                </a:solidFill>
                <a:effectLst/>
                <a:uLnTx/>
                <a:uFillTx/>
              </a:rPr>
              <a:t>©AstraZeneca 2018 • FOR HEALTHCARE PROFESSIONAL USE ONLY</a:t>
            </a:r>
            <a:endParaRPr kumimoji="0" lang="en-US" sz="933" b="0" i="0" u="none" strike="noStrike" kern="0" cap="none" spc="0" normalizeH="0" baseline="0" noProof="0">
              <a:ln>
                <a:noFill/>
              </a:ln>
              <a:solidFill>
                <a:srgbClr val="C7C2BA">
                  <a:lumMod val="50000"/>
                </a:srgbClr>
              </a:solidFill>
              <a:effectLst/>
              <a:uLnTx/>
              <a:uFillTx/>
            </a:endParaRPr>
          </a:p>
        </p:txBody>
      </p:sp>
      <p:sp>
        <p:nvSpPr>
          <p:cNvPr id="9" name="Rectangle 8"/>
          <p:cNvSpPr/>
          <p:nvPr userDrawn="1"/>
        </p:nvSpPr>
        <p:spPr bwMode="auto">
          <a:xfrm>
            <a:off x="10371386" y="6192762"/>
            <a:ext cx="1418077" cy="665239"/>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pic>
        <p:nvPicPr>
          <p:cNvPr id="11" name="Picture 10"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9373725" y="155869"/>
            <a:ext cx="2678400" cy="884732"/>
          </a:xfrm>
          <a:prstGeom prst="rect">
            <a:avLst/>
          </a:prstGeom>
        </p:spPr>
      </p:pic>
      <p:pic>
        <p:nvPicPr>
          <p:cNvPr id="14" name="Picture 13"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03952" y="239495"/>
            <a:ext cx="2200163" cy="890653"/>
          </a:xfrm>
          <a:prstGeom prst="rect">
            <a:avLst/>
          </a:prstGeom>
        </p:spPr>
      </p:pic>
    </p:spTree>
    <p:extLst>
      <p:ext uri="{BB962C8B-B14F-4D97-AF65-F5344CB8AC3E}">
        <p14:creationId xmlns:p14="http://schemas.microsoft.com/office/powerpoint/2010/main" val="7548493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150875"/>
            <a:ext cx="11208792" cy="908180"/>
          </a:xfrm>
        </p:spPr>
        <p:txBody>
          <a:bodyPr/>
          <a:lstStyle>
            <a:lvl1pPr>
              <a:defRPr>
                <a:solidFill>
                  <a:srgbClr val="830051"/>
                </a:solidFill>
              </a:defRPr>
            </a:lvl1pPr>
          </a:lstStyle>
          <a:p>
            <a:r>
              <a:rPr lang="en-GB" dirty="0"/>
              <a:t>Click to edit Master title style</a:t>
            </a:r>
          </a:p>
        </p:txBody>
      </p:sp>
      <p:sp>
        <p:nvSpPr>
          <p:cNvPr id="8" name="Text Placeholder 7"/>
          <p:cNvSpPr>
            <a:spLocks noGrp="1"/>
          </p:cNvSpPr>
          <p:nvPr>
            <p:ph type="body" sz="quarter" idx="10"/>
          </p:nvPr>
        </p:nvSpPr>
        <p:spPr>
          <a:xfrm>
            <a:off x="-1" y="6152877"/>
            <a:ext cx="10244668"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6A6356"/>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2" y="6180268"/>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5" y="1057821"/>
            <a:ext cx="11204788" cy="701273"/>
          </a:xfrm>
          <a:prstGeom prst="rect">
            <a:avLst/>
          </a:prstGeom>
          <a:noFill/>
          <a:ln>
            <a:noFill/>
          </a:ln>
        </p:spPr>
        <p:txBody>
          <a:bodyPr anchor="t">
            <a:noAutofit/>
          </a:bodyPr>
          <a:lstStyle>
            <a:lvl1pPr marL="0" indent="0">
              <a:lnSpc>
                <a:spcPct val="100000"/>
              </a:lnSpc>
              <a:buNone/>
              <a:defRPr sz="2000"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hasCustomPrompt="1"/>
          </p:nvPr>
        </p:nvSpPr>
        <p:spPr>
          <a:xfrm>
            <a:off x="430602" y="1686984"/>
            <a:ext cx="10443633" cy="4451349"/>
          </a:xfrm>
        </p:spPr>
        <p:txBody>
          <a:bodyPr>
            <a:normAutofit/>
          </a:bodyPr>
          <a:lstStyle>
            <a:lvl1pPr>
              <a:spcAft>
                <a:spcPts val="400"/>
              </a:spcAft>
              <a:defRPr sz="2133" b="0">
                <a:solidFill>
                  <a:srgbClr val="4B306A"/>
                </a:solidFill>
              </a:defRPr>
            </a:lvl1pPr>
            <a:lvl2pPr marL="241294" indent="-239178">
              <a:lnSpc>
                <a:spcPct val="100000"/>
              </a:lnSpc>
              <a:spcAft>
                <a:spcPts val="400"/>
              </a:spcAft>
              <a:defRPr sz="2133" b="0">
                <a:solidFill>
                  <a:schemeClr val="tx1"/>
                </a:solidFill>
              </a:defRPr>
            </a:lvl2pPr>
            <a:lvl3pPr marL="666734" indent="-188379">
              <a:lnSpc>
                <a:spcPct val="100000"/>
              </a:lnSpc>
              <a:spcAft>
                <a:spcPts val="400"/>
              </a:spcAft>
              <a:buSzPct val="80000"/>
              <a:buFont typeface="Arial" panose="020B0604020202020204" pitchFamily="34" charset="0"/>
              <a:buChar char="–"/>
              <a:defRPr sz="1600">
                <a:solidFill>
                  <a:schemeClr val="tx1"/>
                </a:solidFill>
              </a:defRPr>
            </a:lvl3pPr>
            <a:lvl4pPr>
              <a:lnSpc>
                <a:spcPct val="100000"/>
              </a:lnSpc>
              <a:spcAft>
                <a:spcPts val="400"/>
              </a:spcAft>
              <a:defRPr sz="1467">
                <a:solidFill>
                  <a:schemeClr val="tx1"/>
                </a:solidFill>
              </a:defRPr>
            </a:lvl4pPr>
            <a:lvl5pPr>
              <a:lnSpc>
                <a:spcPct val="100000"/>
              </a:lnSpc>
              <a:defRPr/>
            </a:lvl5pPr>
          </a:lstStyle>
          <a:p>
            <a:pPr lvl="1"/>
            <a:r>
              <a:rPr lang="en-GB" dirty="0"/>
              <a:t>Second level</a:t>
            </a:r>
          </a:p>
          <a:p>
            <a:pPr lvl="2"/>
            <a:r>
              <a:rPr lang="en-GB" dirty="0"/>
              <a:t>Third level</a:t>
            </a:r>
          </a:p>
          <a:p>
            <a:pPr lvl="3"/>
            <a:r>
              <a:rPr lang="en-GB" dirty="0"/>
              <a:t>Fourth level</a:t>
            </a:r>
          </a:p>
        </p:txBody>
      </p:sp>
      <p:sp>
        <p:nvSpPr>
          <p:cNvPr id="12"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4082991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2"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1" y="6152877"/>
            <a:ext cx="10227735"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6A6356"/>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42341731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11537304" y="6486810"/>
            <a:ext cx="654697" cy="366183"/>
          </a:xfrm>
          <a:prstGeom prst="rect">
            <a:avLst/>
          </a:prstGeom>
        </p:spPr>
        <p:txBody>
          <a:bodyPr/>
          <a:lstStyle/>
          <a:p>
            <a:fld id="{47E66208-4A1C-594F-8665-CB46850971E6}" type="slidenum">
              <a:rPr lang="en-GB" smtClean="0"/>
              <a:pPr/>
              <a:t>‹#›</a:t>
            </a:fld>
            <a:endParaRPr lang="en-GB"/>
          </a:p>
        </p:txBody>
      </p:sp>
      <p:sp>
        <p:nvSpPr>
          <p:cNvPr id="5" name="Content Placeholder 4"/>
          <p:cNvSpPr>
            <a:spLocks noGrp="1"/>
          </p:cNvSpPr>
          <p:nvPr>
            <p:ph sz="quarter" idx="11"/>
          </p:nvPr>
        </p:nvSpPr>
        <p:spPr>
          <a:xfrm>
            <a:off x="412751" y="1051284"/>
            <a:ext cx="11226800" cy="868971"/>
          </a:xfrm>
        </p:spPr>
        <p:txBody>
          <a:bodyPr>
            <a:normAutofit/>
          </a:bodyPr>
          <a:lstStyle>
            <a:lvl1pPr marL="0" indent="0">
              <a:defRPr sz="2000" b="0" i="1">
                <a:solidFill>
                  <a:srgbClr val="4B306A"/>
                </a:solidFill>
              </a:defRPr>
            </a:lvl1pPr>
          </a:lstStyle>
          <a:p>
            <a:pPr lvl="0"/>
            <a:r>
              <a:rPr lang="en-GB" dirty="0"/>
              <a:t>Click to edit Master text styles</a:t>
            </a:r>
          </a:p>
        </p:txBody>
      </p:sp>
      <p:sp>
        <p:nvSpPr>
          <p:cNvPr id="7" name="Content Placeholder 6"/>
          <p:cNvSpPr>
            <a:spLocks noGrp="1"/>
          </p:cNvSpPr>
          <p:nvPr>
            <p:ph sz="quarter" idx="12"/>
          </p:nvPr>
        </p:nvSpPr>
        <p:spPr>
          <a:xfrm>
            <a:off x="-1" y="6559598"/>
            <a:ext cx="8487999" cy="293393"/>
          </a:xfrm>
        </p:spPr>
        <p:txBody>
          <a:bodyPr anchor="b" anchorCtr="0">
            <a:noAutofit/>
          </a:bodyPr>
          <a:lstStyle>
            <a:lvl1pPr>
              <a:defRPr sz="1067" b="0">
                <a:solidFill>
                  <a:srgbClr val="6A6356"/>
                </a:solidFill>
              </a:defRPr>
            </a:lvl1pPr>
          </a:lstStyle>
          <a:p>
            <a:pPr lvl="0"/>
            <a:r>
              <a:rPr lang="en-GB" dirty="0"/>
              <a:t>Click to edit Master text styles</a:t>
            </a:r>
          </a:p>
        </p:txBody>
      </p:sp>
    </p:spTree>
    <p:extLst>
      <p:ext uri="{BB962C8B-B14F-4D97-AF65-F5344CB8AC3E}">
        <p14:creationId xmlns:p14="http://schemas.microsoft.com/office/powerpoint/2010/main" val="9545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424630" y="267992"/>
            <a:ext cx="11687535" cy="672000"/>
          </a:xfrm>
          <a:prstGeom prst="rect">
            <a:avLst/>
          </a:prstGeom>
          <a:noFill/>
          <a:ln w="9525">
            <a:noFill/>
            <a:miter lim="800000"/>
            <a:headEnd/>
            <a:tailEnd/>
          </a:ln>
        </p:spPr>
        <p:txBody>
          <a:bodyPr vert="horz"/>
          <a:lstStyle>
            <a:lvl1pPr algn="l" defTabSz="609585" rtl="0" eaLnBrk="1" latinLnBrk="0" hangingPunct="1">
              <a:lnSpc>
                <a:spcPct val="100000"/>
              </a:lnSpc>
              <a:spcBef>
                <a:spcPct val="0"/>
              </a:spcBef>
              <a:buNone/>
              <a:defRPr lang="en-GB" sz="2667"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425347" y="1682031"/>
            <a:ext cx="9408000" cy="2160000"/>
          </a:xfrm>
          <a:prstGeom prst="rect">
            <a:avLst/>
          </a:prstGeom>
        </p:spPr>
        <p:txBody>
          <a:bodyPr vert="horz">
            <a:normAutofit/>
          </a:bodyPr>
          <a:lstStyle>
            <a:lvl1pPr marL="239178" indent="-239178" algn="l">
              <a:spcBef>
                <a:spcPts val="0"/>
              </a:spcBef>
              <a:buClr>
                <a:srgbClr val="4B306A"/>
              </a:buClr>
              <a:buFont typeface="Arial"/>
              <a:buChar char="•"/>
              <a:defRPr sz="2133" b="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3" name="Content Placeholder 2"/>
          <p:cNvSpPr>
            <a:spLocks noGrp="1"/>
          </p:cNvSpPr>
          <p:nvPr>
            <p:ph sz="quarter" idx="12"/>
          </p:nvPr>
        </p:nvSpPr>
        <p:spPr>
          <a:xfrm>
            <a:off x="1" y="6565851"/>
            <a:ext cx="10020300" cy="281293"/>
          </a:xfrm>
        </p:spPr>
        <p:txBody>
          <a:bodyPr anchor="b" anchorCtr="0">
            <a:normAutofit/>
          </a:bodyPr>
          <a:lstStyle>
            <a:lvl1pPr>
              <a:defRPr sz="1067" b="0">
                <a:solidFill>
                  <a:srgbClr val="6A6356"/>
                </a:solidFill>
              </a:defRPr>
            </a:lvl1pPr>
          </a:lstStyle>
          <a:p>
            <a:pPr lvl="0"/>
            <a:r>
              <a:rPr lang="en-GB" dirty="0"/>
              <a:t>Click to edit Master text styles</a:t>
            </a:r>
          </a:p>
        </p:txBody>
      </p:sp>
      <p:sp>
        <p:nvSpPr>
          <p:cNvPr id="7"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14741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423929" y="1644095"/>
            <a:ext cx="11688232" cy="4230000"/>
          </a:xfrm>
          <a:prstGeom prst="rect">
            <a:avLst/>
          </a:prstGeom>
        </p:spPr>
        <p:txBody>
          <a:bodyPr/>
          <a:lstStyle>
            <a:lvl1pPr marL="239178" indent="-239178">
              <a:lnSpc>
                <a:spcPct val="100000"/>
              </a:lnSpc>
              <a:spcBef>
                <a:spcPts val="0"/>
              </a:spcBef>
              <a:buClr>
                <a:srgbClr val="4B306A"/>
              </a:buClr>
              <a:buFont typeface="Arial"/>
              <a:buChar char="•"/>
              <a:defRPr sz="2133" b="0">
                <a:solidFill>
                  <a:schemeClr val="tx1"/>
                </a:solidFill>
                <a:latin typeface="Arial" pitchFamily="34" charset="0"/>
                <a:cs typeface="Arial" pitchFamily="34" charset="0"/>
              </a:defRPr>
            </a:lvl1pPr>
            <a:lvl2pPr marL="629984" indent="-179996">
              <a:lnSpc>
                <a:spcPct val="100000"/>
              </a:lnSpc>
              <a:spcBef>
                <a:spcPts val="0"/>
              </a:spcBef>
              <a:buClr>
                <a:srgbClr val="4B306A"/>
              </a:buClr>
              <a:buFont typeface="Lucida Grande"/>
              <a:buChar char="–"/>
              <a:defRPr sz="1867" baseline="0">
                <a:solidFill>
                  <a:schemeClr val="tx1"/>
                </a:solidFill>
                <a:latin typeface="Arial" pitchFamily="34" charset="0"/>
                <a:cs typeface="Arial" pitchFamily="34" charset="0"/>
              </a:defRPr>
            </a:lvl2pPr>
            <a:lvl3pPr marL="1075240" indent="-245527">
              <a:buClr>
                <a:srgbClr val="4B306A"/>
              </a:buClr>
              <a:buFont typeface="Arial"/>
              <a:buChar char="•"/>
              <a:defRPr sz="1600" baseline="0">
                <a:latin typeface="Arial" pitchFamily="34" charset="0"/>
                <a:cs typeface="Arial" pitchFamily="34" charset="0"/>
              </a:defRPr>
            </a:lvl3pPr>
            <a:lvl4pPr marL="1316534" indent="-179913">
              <a:buClr>
                <a:srgbClr val="4B306A"/>
              </a:buClr>
              <a:buFont typeface="Arial" panose="020B0604020202020204" pitchFamily="34" charset="0"/>
              <a:buChar char="•"/>
              <a:defRPr sz="16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2"/>
            <a:r>
              <a:rPr lang="en-GB" noProof="0" dirty="0"/>
              <a:t>Third level</a:t>
            </a:r>
          </a:p>
          <a:p>
            <a:pPr lvl="3"/>
            <a:r>
              <a:rPr lang="en-GB" noProof="0" dirty="0"/>
              <a:t>Fourth level</a:t>
            </a:r>
          </a:p>
        </p:txBody>
      </p:sp>
      <p:sp>
        <p:nvSpPr>
          <p:cNvPr id="9" name="Title 8"/>
          <p:cNvSpPr>
            <a:spLocks noGrp="1"/>
          </p:cNvSpPr>
          <p:nvPr>
            <p:ph type="title" hasCustomPrompt="1"/>
          </p:nvPr>
        </p:nvSpPr>
        <p:spPr>
          <a:xfrm>
            <a:off x="424630" y="267992"/>
            <a:ext cx="11687535" cy="672000"/>
          </a:xfrm>
          <a:prstGeom prst="rect">
            <a:avLst/>
          </a:prstGeom>
        </p:spPr>
        <p:txBody>
          <a:bodyPr vert="horz"/>
          <a:lstStyle>
            <a:lvl1pPr algn="l" defTabSz="609585" rtl="0" eaLnBrk="1" latinLnBrk="0" hangingPunct="1">
              <a:lnSpc>
                <a:spcPct val="100000"/>
              </a:lnSpc>
              <a:spcBef>
                <a:spcPct val="0"/>
              </a:spcBef>
              <a:buNone/>
              <a:defRPr lang="en-GB" sz="2667"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
        <p:nvSpPr>
          <p:cNvPr id="3" name="Text Placeholder 2"/>
          <p:cNvSpPr>
            <a:spLocks noGrp="1"/>
          </p:cNvSpPr>
          <p:nvPr>
            <p:ph type="body" sz="quarter" idx="10"/>
          </p:nvPr>
        </p:nvSpPr>
        <p:spPr>
          <a:xfrm>
            <a:off x="423932" y="1056649"/>
            <a:ext cx="11688233" cy="664633"/>
          </a:xfrm>
          <a:prstGeom prst="rect">
            <a:avLst/>
          </a:prstGeom>
        </p:spPr>
        <p:txBody>
          <a:bodyPr>
            <a:normAutofit/>
          </a:bodyPr>
          <a:lstStyle>
            <a:lvl1pPr marL="0" indent="0">
              <a:buFontTx/>
              <a:buNone/>
              <a:defRPr sz="2000" b="0" i="1">
                <a:solidFill>
                  <a:srgbClr val="3C0F53"/>
                </a:solidFill>
              </a:defRPr>
            </a:lvl1pPr>
          </a:lstStyle>
          <a:p>
            <a:pPr lvl="0"/>
            <a:r>
              <a:rPr lang="en-US" dirty="0"/>
              <a:t>Click to edit Master text styles</a:t>
            </a:r>
          </a:p>
        </p:txBody>
      </p:sp>
      <p:sp>
        <p:nvSpPr>
          <p:cNvPr id="4" name="Content Placeholder 3"/>
          <p:cNvSpPr>
            <a:spLocks noGrp="1"/>
          </p:cNvSpPr>
          <p:nvPr>
            <p:ph sz="quarter" idx="11"/>
          </p:nvPr>
        </p:nvSpPr>
        <p:spPr>
          <a:xfrm>
            <a:off x="0" y="6565586"/>
            <a:ext cx="9725379" cy="292415"/>
          </a:xfrm>
        </p:spPr>
        <p:txBody>
          <a:bodyPr>
            <a:normAutofit/>
          </a:bodyPr>
          <a:lstStyle>
            <a:lvl1pPr>
              <a:defRPr sz="1067" b="0">
                <a:solidFill>
                  <a:srgbClr val="6A6356"/>
                </a:solidFill>
              </a:defRPr>
            </a:lvl1pPr>
          </a:lstStyle>
          <a:p>
            <a:pPr lvl="0"/>
            <a:r>
              <a:rPr lang="en-GB" dirty="0"/>
              <a:t>Click to edit Master text styles</a:t>
            </a:r>
          </a:p>
        </p:txBody>
      </p:sp>
      <p:sp>
        <p:nvSpPr>
          <p:cNvPr id="6"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10433855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11537304" y="6486810"/>
            <a:ext cx="654697" cy="366183"/>
          </a:xfrm>
          <a:prstGeom prst="rect">
            <a:avLst/>
          </a:prstGeom>
        </p:spPr>
        <p:txBody>
          <a:bodyPr/>
          <a:lstStyle/>
          <a:p>
            <a:fld id="{47E66208-4A1C-594F-8665-CB46850971E6}" type="slidenum">
              <a:rPr lang="en-GB" smtClean="0"/>
              <a:pPr/>
              <a:t>‹#›</a:t>
            </a:fld>
            <a:endParaRPr lang="en-GB"/>
          </a:p>
        </p:txBody>
      </p:sp>
      <p:sp>
        <p:nvSpPr>
          <p:cNvPr id="5" name="Content Placeholder 4"/>
          <p:cNvSpPr>
            <a:spLocks noGrp="1"/>
          </p:cNvSpPr>
          <p:nvPr>
            <p:ph sz="quarter" idx="11"/>
          </p:nvPr>
        </p:nvSpPr>
        <p:spPr>
          <a:xfrm>
            <a:off x="412751" y="1681192"/>
            <a:ext cx="5524500" cy="4202521"/>
          </a:xfrm>
        </p:spPr>
        <p:txBody>
          <a:bodyPr/>
          <a:lstStyle>
            <a:lvl1pPr marL="239178" indent="-239178">
              <a:buClr>
                <a:srgbClr val="4B306A"/>
              </a:buClr>
              <a:buFont typeface="Arial"/>
              <a:buChar char="•"/>
              <a:defRPr sz="2133" b="0"/>
            </a:lvl1pPr>
            <a:lvl2pPr marL="599002" indent="-239178">
              <a:buClr>
                <a:srgbClr val="4B306A"/>
              </a:buClr>
              <a:buFont typeface="Lucida Grande"/>
              <a:buChar char="–"/>
              <a:tabLst/>
              <a:defRPr sz="1867"/>
            </a:lvl2pPr>
            <a:lvl3pPr marL="836063" indent="-186262">
              <a:buClr>
                <a:srgbClr val="4B306A"/>
              </a:buClr>
              <a:buFont typeface="Arial"/>
              <a:buChar char="•"/>
              <a:defRPr sz="1600"/>
            </a:lvl3pPr>
            <a:lvl4pPr>
              <a:buClr>
                <a:srgbClr val="4B306A"/>
              </a:buClr>
              <a:defRPr/>
            </a:lvl4pPr>
            <a:lvl5pPr>
              <a:buClr>
                <a:srgbClr val="4B306A"/>
              </a:buCl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Content Placeholder 6"/>
          <p:cNvSpPr>
            <a:spLocks noGrp="1"/>
          </p:cNvSpPr>
          <p:nvPr>
            <p:ph sz="quarter" idx="12"/>
          </p:nvPr>
        </p:nvSpPr>
        <p:spPr>
          <a:xfrm>
            <a:off x="6240326" y="1681192"/>
            <a:ext cx="5399225" cy="4202521"/>
          </a:xfrm>
        </p:spPr>
        <p:txBody>
          <a:bodyPr/>
          <a:lstStyle>
            <a:lvl1pPr marL="239178" indent="-239178">
              <a:buClr>
                <a:srgbClr val="4B306A"/>
              </a:buClr>
              <a:buFont typeface="Arial"/>
              <a:buChar char="•"/>
              <a:defRPr sz="2133" b="0"/>
            </a:lvl1pPr>
            <a:lvl2pPr marL="599002" indent="-239178">
              <a:buClr>
                <a:srgbClr val="4B306A"/>
              </a:buClr>
              <a:buFont typeface="Lucida Grande"/>
              <a:buChar char="–"/>
              <a:defRPr sz="1867"/>
            </a:lvl2pPr>
            <a:lvl3pPr marL="836063" indent="-186262">
              <a:buClr>
                <a:srgbClr val="4B306A"/>
              </a:buClr>
              <a:buFont typeface="Arial"/>
              <a:buChar char="•"/>
              <a:defRPr sz="1600"/>
            </a:lvl3pPr>
            <a:lvl4pPr>
              <a:buClr>
                <a:srgbClr val="4B306A"/>
              </a:buClr>
              <a:defRPr/>
            </a:lvl4pPr>
            <a:lvl5pPr>
              <a:buClr>
                <a:srgbClr val="4B306A"/>
              </a:buCl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Content Placeholder 8"/>
          <p:cNvSpPr>
            <a:spLocks noGrp="1"/>
          </p:cNvSpPr>
          <p:nvPr>
            <p:ph sz="quarter" idx="13"/>
          </p:nvPr>
        </p:nvSpPr>
        <p:spPr>
          <a:xfrm>
            <a:off x="-107" y="6556756"/>
            <a:ext cx="9323873" cy="205995"/>
          </a:xfrm>
        </p:spPr>
        <p:txBody>
          <a:bodyPr>
            <a:normAutofit/>
          </a:bodyPr>
          <a:lstStyle>
            <a:lvl1pPr>
              <a:defRPr sz="1067" b="0">
                <a:solidFill>
                  <a:srgbClr val="6A6356"/>
                </a:solidFill>
              </a:defRPr>
            </a:lvl1pPr>
          </a:lstStyle>
          <a:p>
            <a:pPr lvl="0"/>
            <a:r>
              <a:rPr lang="en-GB" dirty="0"/>
              <a:t>Click to edit Master text styles</a:t>
            </a:r>
          </a:p>
        </p:txBody>
      </p:sp>
    </p:spTree>
    <p:extLst>
      <p:ext uri="{BB962C8B-B14F-4D97-AF65-F5344CB8AC3E}">
        <p14:creationId xmlns:p14="http://schemas.microsoft.com/office/powerpoint/2010/main" val="3545900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11537304" y="6486810"/>
            <a:ext cx="654697" cy="366183"/>
          </a:xfrm>
          <a:prstGeom prst="rect">
            <a:avLst/>
          </a:prstGeom>
        </p:spPr>
        <p:txBody>
          <a:bodyPr/>
          <a:lstStyle/>
          <a:p>
            <a:fld id="{47E66208-4A1C-594F-8665-CB46850971E6}" type="slidenum">
              <a:rPr lang="en-GB" smtClean="0"/>
              <a:pPr/>
              <a:t>‹#›</a:t>
            </a:fld>
            <a:endParaRPr lang="en-GB"/>
          </a:p>
        </p:txBody>
      </p:sp>
      <p:sp>
        <p:nvSpPr>
          <p:cNvPr id="5" name="Content Placeholder 4"/>
          <p:cNvSpPr>
            <a:spLocks noGrp="1"/>
          </p:cNvSpPr>
          <p:nvPr>
            <p:ph sz="quarter" idx="11"/>
          </p:nvPr>
        </p:nvSpPr>
        <p:spPr>
          <a:xfrm>
            <a:off x="419101" y="1681631"/>
            <a:ext cx="10477500" cy="3475567"/>
          </a:xfrm>
        </p:spPr>
        <p:txBody>
          <a:bodyPr/>
          <a:lstStyle>
            <a:lvl1pPr>
              <a:defRPr sz="2133" b="0">
                <a:solidFill>
                  <a:srgbClr val="4B306A"/>
                </a:solidFill>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Content Placeholder 6"/>
          <p:cNvSpPr>
            <a:spLocks noGrp="1"/>
          </p:cNvSpPr>
          <p:nvPr>
            <p:ph sz="quarter" idx="12"/>
          </p:nvPr>
        </p:nvSpPr>
        <p:spPr>
          <a:xfrm>
            <a:off x="419101" y="1050952"/>
            <a:ext cx="10996084" cy="597912"/>
          </a:xfrm>
        </p:spPr>
        <p:txBody>
          <a:bodyPr>
            <a:normAutofit/>
          </a:bodyPr>
          <a:lstStyle>
            <a:lvl1pPr marL="0" indent="0">
              <a:defRPr sz="2000" b="0" i="1">
                <a:solidFill>
                  <a:srgbClr val="4B306A"/>
                </a:solidFill>
              </a:defRPr>
            </a:lvl1pPr>
          </a:lstStyle>
          <a:p>
            <a:pPr lvl="0"/>
            <a:r>
              <a:rPr lang="en-GB" dirty="0"/>
              <a:t>Click to edit Master text styles</a:t>
            </a:r>
          </a:p>
        </p:txBody>
      </p:sp>
      <p:sp>
        <p:nvSpPr>
          <p:cNvPr id="9" name="Content Placeholder 8"/>
          <p:cNvSpPr>
            <a:spLocks noGrp="1"/>
          </p:cNvSpPr>
          <p:nvPr>
            <p:ph sz="quarter" idx="13"/>
          </p:nvPr>
        </p:nvSpPr>
        <p:spPr>
          <a:xfrm>
            <a:off x="-1" y="6556757"/>
            <a:ext cx="9084980" cy="290387"/>
          </a:xfrm>
        </p:spPr>
        <p:txBody>
          <a:bodyPr>
            <a:normAutofit/>
          </a:bodyPr>
          <a:lstStyle>
            <a:lvl1pPr>
              <a:defRPr sz="1067" b="0">
                <a:solidFill>
                  <a:srgbClr val="6A6356"/>
                </a:solidFill>
              </a:defRPr>
            </a:lvl1pPr>
          </a:lstStyle>
          <a:p>
            <a:pPr lvl="0"/>
            <a:r>
              <a:rPr lang="en-GB" dirty="0"/>
              <a:t>Click to edit Master text styles</a:t>
            </a:r>
          </a:p>
        </p:txBody>
      </p:sp>
    </p:spTree>
    <p:extLst>
      <p:ext uri="{BB962C8B-B14F-4D97-AF65-F5344CB8AC3E}">
        <p14:creationId xmlns:p14="http://schemas.microsoft.com/office/powerpoint/2010/main" val="1480966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329A9-14ED-3E46-882A-FC857F4A31C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47FBFE-8D71-504E-AE6C-44D834B930AB}"/>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C15AD003-50BA-9B46-B5F2-709B5B8B7E1F}"/>
              </a:ext>
            </a:extLst>
          </p:cNvPr>
          <p:cNvSpPr>
            <a:spLocks noGrp="1"/>
          </p:cNvSpPr>
          <p:nvPr>
            <p:ph type="sldNum" sz="quarter" idx="11"/>
          </p:nvPr>
        </p:nvSpPr>
        <p:spPr/>
        <p:txBody>
          <a:bodyPr/>
          <a:lstStyle/>
          <a:p>
            <a:fld id="{4FF61421-0D1F-374C-A6EF-D3B8E531EC5C}" type="slidenum">
              <a:rPr lang="en-US" smtClean="0"/>
              <a:pPr/>
              <a:t>‹#›</a:t>
            </a:fld>
            <a:endParaRPr lang="en-US"/>
          </a:p>
        </p:txBody>
      </p:sp>
      <p:sp>
        <p:nvSpPr>
          <p:cNvPr id="6" name="Rectangle 5">
            <a:extLst>
              <a:ext uri="{FF2B5EF4-FFF2-40B4-BE49-F238E27FC236}">
                <a16:creationId xmlns:a16="http://schemas.microsoft.com/office/drawing/2014/main" id="{394C9986-3E3B-3645-9507-D821BE68AA82}"/>
              </a:ext>
            </a:extLst>
          </p:cNvPr>
          <p:cNvSpPr>
            <a:spLocks noGrp="1" noChangeArrowheads="1"/>
          </p:cNvSpPr>
          <p:nvPr userDrawn="1"/>
        </p:nvSpPr>
        <p:spPr bwMode="auto">
          <a:xfrm>
            <a:off x="419101" y="4190920"/>
            <a:ext cx="4780844" cy="508000"/>
          </a:xfrm>
          <a:prstGeom prst="rect">
            <a:avLst/>
          </a:prstGeom>
          <a:noFill/>
          <a:ln w="9525">
            <a:noFill/>
            <a:miter lim="800000"/>
            <a:headEnd/>
            <a:tailEnd/>
          </a:ln>
          <a:effectLst/>
        </p:spPr>
        <p:txBody>
          <a:bodyPr anchor="b"/>
          <a:lstStyle/>
          <a:p>
            <a:r>
              <a:rPr lang="en-GB" sz="2133" b="1">
                <a:solidFill>
                  <a:schemeClr val="tx1"/>
                </a:solidFill>
                <a:latin typeface="Arial" pitchFamily="34" charset="0"/>
                <a:cs typeface="Arial" pitchFamily="34" charset="0"/>
              </a:rPr>
              <a:t>Confidentiality Notice </a:t>
            </a:r>
            <a:endParaRPr lang="en-GB" sz="3200">
              <a:solidFill>
                <a:schemeClr val="tx1"/>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C186AA42-3EF3-9647-AC42-ED3B9B1C0DFC}"/>
              </a:ext>
            </a:extLst>
          </p:cNvPr>
          <p:cNvSpPr>
            <a:spLocks noGrp="1" noChangeArrowheads="1"/>
          </p:cNvSpPr>
          <p:nvPr userDrawn="1"/>
        </p:nvSpPr>
        <p:spPr bwMode="auto">
          <a:xfrm>
            <a:off x="419100" y="4643725"/>
            <a:ext cx="11220451" cy="1152000"/>
          </a:xfrm>
          <a:prstGeom prst="rect">
            <a:avLst/>
          </a:prstGeom>
          <a:noFill/>
          <a:ln w="9525">
            <a:noFill/>
            <a:miter lim="800000"/>
            <a:headEnd/>
            <a:tailEnd/>
          </a:ln>
          <a:effectLst/>
        </p:spPr>
        <p:txBody>
          <a:bodyPr/>
          <a:lstStyle/>
          <a:p>
            <a:r>
              <a:rPr lang="en-GB" sz="1400" noProof="0">
                <a:solidFill>
                  <a:schemeClr val="tx1"/>
                </a:solidFill>
                <a:latin typeface="+mn-lt"/>
                <a:cs typeface="Arial"/>
              </a:rPr>
              <a:t>This file is private and may contain confidential and proprietary information. If you have received this file in error, please notify us and remove it from your system and note that you must not copy, distribute or take any action in reliance on it. Any unauthorised use or disclosure of the contents of this file is not permitted and may be unlawful. AstraZeneca PLC, </a:t>
            </a:r>
            <a:r>
              <a:rPr lang="en-US" sz="1400" kern="1200">
                <a:solidFill>
                  <a:schemeClr val="tx1"/>
                </a:solidFill>
                <a:latin typeface="+mn-lt"/>
                <a:ea typeface="+mn-ea"/>
                <a:cs typeface="Arial"/>
              </a:rPr>
              <a:t>1 Francis Crick Avenue</a:t>
            </a:r>
            <a:r>
              <a:rPr lang="en-US" sz="1400" kern="1200" baseline="0">
                <a:solidFill>
                  <a:schemeClr val="tx1"/>
                </a:solidFill>
                <a:latin typeface="+mn-lt"/>
                <a:ea typeface="+mn-ea"/>
                <a:cs typeface="Arial"/>
              </a:rPr>
              <a:t>, </a:t>
            </a:r>
            <a:r>
              <a:rPr lang="en-US" sz="1400" kern="1200">
                <a:solidFill>
                  <a:schemeClr val="tx1"/>
                </a:solidFill>
                <a:latin typeface="+mn-lt"/>
                <a:ea typeface="+mn-ea"/>
                <a:cs typeface="Arial"/>
              </a:rPr>
              <a:t>Cambridge Biomedical Campus, Cambridge, CB2 0AA</a:t>
            </a:r>
            <a:r>
              <a:rPr lang="en-GB" sz="1400" noProof="0">
                <a:solidFill>
                  <a:schemeClr val="tx1"/>
                </a:solidFill>
                <a:latin typeface="+mn-lt"/>
                <a:cs typeface="Arial"/>
              </a:rPr>
              <a:t>, UK, T: +44(0)203 749 5000, www.astrazeneca.com</a:t>
            </a:r>
          </a:p>
        </p:txBody>
      </p:sp>
    </p:spTree>
    <p:extLst>
      <p:ext uri="{BB962C8B-B14F-4D97-AF65-F5344CB8AC3E}">
        <p14:creationId xmlns:p14="http://schemas.microsoft.com/office/powerpoint/2010/main" val="6199942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userDrawn="1">
  <p:cSld name="Slide Title - Blank">
    <p:spTree>
      <p:nvGrpSpPr>
        <p:cNvPr id="1" name=""/>
        <p:cNvGrpSpPr/>
        <p:nvPr/>
      </p:nvGrpSpPr>
      <p:grpSpPr>
        <a:xfrm>
          <a:off x="0" y="0"/>
          <a:ext cx="0" cy="0"/>
          <a:chOff x="0" y="0"/>
          <a:chExt cx="0" cy="0"/>
        </a:xfrm>
      </p:grpSpPr>
      <p:sp>
        <p:nvSpPr>
          <p:cNvPr id="16" name="Title 8"/>
          <p:cNvSpPr>
            <a:spLocks noGrp="1"/>
          </p:cNvSpPr>
          <p:nvPr>
            <p:ph type="title" hasCustomPrompt="1"/>
          </p:nvPr>
        </p:nvSpPr>
        <p:spPr>
          <a:xfrm>
            <a:off x="288002" y="1848643"/>
            <a:ext cx="9097012" cy="672000"/>
          </a:xfrm>
          <a:prstGeom prst="rect">
            <a:avLst/>
          </a:prstGeom>
        </p:spPr>
        <p:txBody>
          <a:bodyPr vert="horz"/>
          <a:lstStyle>
            <a:lvl1pPr algn="l">
              <a:lnSpc>
                <a:spcPct val="90000"/>
              </a:lnSpc>
              <a:defRPr sz="3733" b="1" baseline="0">
                <a:solidFill>
                  <a:schemeClr val="accent1"/>
                </a:solidFill>
                <a:latin typeface="Arial" pitchFamily="34" charset="0"/>
                <a:cs typeface="Arial" pitchFamily="34" charset="0"/>
              </a:defRPr>
            </a:lvl1pPr>
          </a:lstStyle>
          <a:p>
            <a:r>
              <a:rPr lang="en-GB" noProof="0" dirty="0"/>
              <a:t>Click to add presentation title</a:t>
            </a:r>
          </a:p>
        </p:txBody>
      </p:sp>
      <p:sp>
        <p:nvSpPr>
          <p:cNvPr id="10" name="Text Placeholder 29"/>
          <p:cNvSpPr>
            <a:spLocks noGrp="1"/>
          </p:cNvSpPr>
          <p:nvPr>
            <p:ph type="body" sz="quarter" idx="11" hasCustomPrompt="1"/>
          </p:nvPr>
        </p:nvSpPr>
        <p:spPr>
          <a:xfrm>
            <a:off x="287999" y="5951992"/>
            <a:ext cx="8640000" cy="254400"/>
          </a:xfrm>
          <a:prstGeom prst="rect">
            <a:avLst/>
          </a:prstGeom>
        </p:spPr>
        <p:txBody>
          <a:bodyPr vert="horz"/>
          <a:lstStyle>
            <a:lvl1pPr marL="0" indent="0">
              <a:lnSpc>
                <a:spcPts val="1467"/>
              </a:lnSpc>
              <a:spcBef>
                <a:spcPts val="0"/>
              </a:spcBef>
              <a:buNone/>
              <a:defRPr sz="1867" b="1">
                <a:solidFill>
                  <a:srgbClr val="000000"/>
                </a:solidFill>
                <a:latin typeface="Arial" pitchFamily="34" charset="0"/>
                <a:cs typeface="Arial" pitchFamily="34" charset="0"/>
              </a:defRPr>
            </a:lvl1pPr>
          </a:lstStyle>
          <a:p>
            <a:pPr lvl="0"/>
            <a:r>
              <a:rPr lang="en-GB" noProof="0" dirty="0"/>
              <a:t>Click to add speaker title</a:t>
            </a:r>
          </a:p>
        </p:txBody>
      </p:sp>
      <p:sp>
        <p:nvSpPr>
          <p:cNvPr id="12" name="Text Placeholder 29"/>
          <p:cNvSpPr>
            <a:spLocks noGrp="1"/>
          </p:cNvSpPr>
          <p:nvPr>
            <p:ph type="body" sz="quarter" idx="12" hasCustomPrompt="1"/>
          </p:nvPr>
        </p:nvSpPr>
        <p:spPr>
          <a:xfrm>
            <a:off x="287999" y="6226992"/>
            <a:ext cx="8640000" cy="254400"/>
          </a:xfrm>
          <a:prstGeom prst="rect">
            <a:avLst/>
          </a:prstGeom>
        </p:spPr>
        <p:txBody>
          <a:bodyPr vert="horz"/>
          <a:lstStyle>
            <a:lvl1pPr marL="0" indent="0">
              <a:lnSpc>
                <a:spcPts val="1467"/>
              </a:lnSpc>
              <a:spcBef>
                <a:spcPts val="0"/>
              </a:spcBef>
              <a:buNone/>
              <a:defRPr sz="1600">
                <a:solidFill>
                  <a:srgbClr val="000000"/>
                </a:solidFill>
                <a:latin typeface="Arial" pitchFamily="34" charset="0"/>
                <a:cs typeface="Arial" pitchFamily="34" charset="0"/>
              </a:defRPr>
            </a:lvl1pPr>
          </a:lstStyle>
          <a:p>
            <a:pPr lvl="0"/>
            <a:r>
              <a:rPr lang="en-GB" noProof="0" dirty="0"/>
              <a:t>Click to add event title</a:t>
            </a:r>
          </a:p>
        </p:txBody>
      </p:sp>
      <p:sp>
        <p:nvSpPr>
          <p:cNvPr id="13" name="Text Placeholder 29"/>
          <p:cNvSpPr>
            <a:spLocks noGrp="1"/>
          </p:cNvSpPr>
          <p:nvPr>
            <p:ph type="body" sz="quarter" idx="15" hasCustomPrompt="1"/>
          </p:nvPr>
        </p:nvSpPr>
        <p:spPr>
          <a:xfrm>
            <a:off x="9504000" y="5951992"/>
            <a:ext cx="2496000" cy="254400"/>
          </a:xfrm>
          <a:prstGeom prst="rect">
            <a:avLst/>
          </a:prstGeom>
        </p:spPr>
        <p:txBody>
          <a:bodyPr vert="horz"/>
          <a:lstStyle>
            <a:lvl1pPr marL="0" indent="0">
              <a:lnSpc>
                <a:spcPts val="1467"/>
              </a:lnSpc>
              <a:spcBef>
                <a:spcPts val="0"/>
              </a:spcBef>
              <a:buNone/>
              <a:defRPr sz="1600" baseline="0">
                <a:solidFill>
                  <a:srgbClr val="000000"/>
                </a:solidFill>
                <a:latin typeface="Arial" pitchFamily="34" charset="0"/>
                <a:cs typeface="Arial" pitchFamily="34" charset="0"/>
              </a:defRPr>
            </a:lvl1pPr>
          </a:lstStyle>
          <a:p>
            <a:pPr lvl="0"/>
            <a:r>
              <a:rPr lang="en-GB" noProof="0" dirty="0"/>
              <a:t>Confidential statement</a:t>
            </a:r>
          </a:p>
        </p:txBody>
      </p:sp>
      <p:sp>
        <p:nvSpPr>
          <p:cNvPr id="14" name="Text Placeholder 29"/>
          <p:cNvSpPr>
            <a:spLocks noGrp="1"/>
          </p:cNvSpPr>
          <p:nvPr>
            <p:ph type="body" sz="quarter" idx="13" hasCustomPrompt="1"/>
          </p:nvPr>
        </p:nvSpPr>
        <p:spPr>
          <a:xfrm>
            <a:off x="9504000" y="6226992"/>
            <a:ext cx="2496000" cy="254400"/>
          </a:xfrm>
          <a:prstGeom prst="rect">
            <a:avLst/>
          </a:prstGeom>
        </p:spPr>
        <p:txBody>
          <a:bodyPr vert="horz"/>
          <a:lstStyle>
            <a:lvl1pPr marL="0" indent="0">
              <a:lnSpc>
                <a:spcPts val="1467"/>
              </a:lnSpc>
              <a:spcBef>
                <a:spcPts val="0"/>
              </a:spcBef>
              <a:buNone/>
              <a:defRPr sz="1600">
                <a:solidFill>
                  <a:srgbClr val="000000"/>
                </a:solidFill>
                <a:latin typeface="Arial" pitchFamily="34" charset="0"/>
                <a:cs typeface="Arial" pitchFamily="34" charset="0"/>
              </a:defRPr>
            </a:lvl1pPr>
          </a:lstStyle>
          <a:p>
            <a:pPr lvl="0"/>
            <a:r>
              <a:rPr lang="en-GB" noProof="0" dirty="0"/>
              <a:t>00 Month Year</a:t>
            </a:r>
          </a:p>
        </p:txBody>
      </p:sp>
      <p:pic>
        <p:nvPicPr>
          <p:cNvPr id="9" name="Picture 8"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9373725" y="155869"/>
            <a:ext cx="2678400" cy="884732"/>
          </a:xfrm>
          <a:prstGeom prst="rect">
            <a:avLst/>
          </a:prstGeom>
        </p:spPr>
      </p:pic>
      <p:pic>
        <p:nvPicPr>
          <p:cNvPr id="15" name="Picture 14">
            <a:extLst>
              <a:ext uri="{FF2B5EF4-FFF2-40B4-BE49-F238E27FC236}">
                <a16:creationId xmlns:a16="http://schemas.microsoft.com/office/drawing/2014/main" id="{24A785AB-E122-44C8-843E-CB79C8274929}"/>
              </a:ext>
            </a:extLst>
          </p:cNvPr>
          <p:cNvPicPr>
            <a:picLocks noChangeAspect="1"/>
          </p:cNvPicPr>
          <p:nvPr userDrawn="1"/>
        </p:nvPicPr>
        <p:blipFill>
          <a:blip r:embed="rId3"/>
          <a:stretch>
            <a:fillRect/>
          </a:stretch>
        </p:blipFill>
        <p:spPr>
          <a:xfrm>
            <a:off x="6908185" y="243729"/>
            <a:ext cx="2309104" cy="877031"/>
          </a:xfrm>
          <a:prstGeom prst="rect">
            <a:avLst/>
          </a:prstGeom>
        </p:spPr>
      </p:pic>
    </p:spTree>
    <p:extLst>
      <p:ext uri="{BB962C8B-B14F-4D97-AF65-F5344CB8AC3E}">
        <p14:creationId xmlns:p14="http://schemas.microsoft.com/office/powerpoint/2010/main" val="41968042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4" y="198707"/>
            <a:ext cx="11647317" cy="864403"/>
          </a:xfrm>
        </p:spPr>
        <p:txBody>
          <a:bodyPr/>
          <a:lstStyle>
            <a:lvl1pPr>
              <a:defRPr cap="none" baseline="0"/>
            </a:lvl1pPr>
          </a:lstStyle>
          <a:p>
            <a:r>
              <a:rPr lang="en-US" dirty="0"/>
              <a:t>CLICK TO EDIT SLIDE MASTER </a:t>
            </a:r>
          </a:p>
        </p:txBody>
      </p:sp>
      <p:sp>
        <p:nvSpPr>
          <p:cNvPr id="3" name="Content Placeholder 2"/>
          <p:cNvSpPr>
            <a:spLocks noGrp="1"/>
          </p:cNvSpPr>
          <p:nvPr>
            <p:ph idx="1"/>
          </p:nvPr>
        </p:nvSpPr>
        <p:spPr>
          <a:xfrm>
            <a:off x="290684" y="1868643"/>
            <a:ext cx="11647317" cy="4189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790729" y="6499391"/>
            <a:ext cx="8707033" cy="169335"/>
          </a:xfrm>
          <a:prstGeom prst="rect">
            <a:avLst/>
          </a:prstGeom>
        </p:spPr>
        <p:txBody>
          <a:bodyPr lIns="91400" tIns="45702" rIns="91400" bIns="45702"/>
          <a:lstStyle/>
          <a:p>
            <a:r>
              <a:rPr lang="en-US"/>
              <a:t>Proprietary and Confidential ©AstraZeneca 2014 • FOR INTERNAL USE ONLY. This document is not to be shared or distributed outside of AstraZeneca</a:t>
            </a:r>
          </a:p>
        </p:txBody>
      </p:sp>
      <p:sp>
        <p:nvSpPr>
          <p:cNvPr id="6" name="Slide Number Placeholder 5"/>
          <p:cNvSpPr>
            <a:spLocks noGrp="1"/>
          </p:cNvSpPr>
          <p:nvPr>
            <p:ph type="sldNum" sz="quarter" idx="12"/>
          </p:nvPr>
        </p:nvSpPr>
        <p:spPr/>
        <p:txBody>
          <a:bodyPr/>
          <a:lstStyle/>
          <a:p>
            <a:fld id="{F010A110-AE06-9743-A649-DAA2360FF4B9}" type="slidenum">
              <a:rPr lang="en-US" smtClean="0"/>
              <a:pPr/>
              <a:t>‹#›</a:t>
            </a:fld>
            <a:endParaRPr lang="en-US"/>
          </a:p>
        </p:txBody>
      </p:sp>
      <p:sp>
        <p:nvSpPr>
          <p:cNvPr id="7" name="Text Placeholder 2"/>
          <p:cNvSpPr>
            <a:spLocks noGrp="1"/>
          </p:cNvSpPr>
          <p:nvPr>
            <p:ph type="body" idx="13"/>
          </p:nvPr>
        </p:nvSpPr>
        <p:spPr>
          <a:xfrm>
            <a:off x="290684" y="1208006"/>
            <a:ext cx="11647317" cy="580225"/>
          </a:xfrm>
        </p:spPr>
        <p:txBody>
          <a:bodyPr anchor="b">
            <a:normAutofit/>
          </a:bodyPr>
          <a:lstStyle>
            <a:lvl1pPr marL="0" indent="0">
              <a:buNone/>
              <a:defRPr sz="1600" b="1" i="0">
                <a:solidFill>
                  <a:schemeClr val="accent2"/>
                </a:solidFill>
                <a:latin typeface="Arial"/>
                <a:cs typeface="Arial"/>
              </a:defRPr>
            </a:lvl1pPr>
            <a:lvl2pPr marL="456999" indent="0">
              <a:buNone/>
              <a:defRPr sz="2000" b="1"/>
            </a:lvl2pPr>
            <a:lvl3pPr marL="913998" indent="0">
              <a:buNone/>
              <a:defRPr sz="1800" b="1"/>
            </a:lvl3pPr>
            <a:lvl4pPr marL="1370998" indent="0">
              <a:buNone/>
              <a:defRPr sz="1600" b="1"/>
            </a:lvl4pPr>
            <a:lvl5pPr marL="1827996" indent="0">
              <a:buNone/>
              <a:defRPr sz="1600" b="1"/>
            </a:lvl5pPr>
            <a:lvl6pPr marL="2284995" indent="0">
              <a:buNone/>
              <a:defRPr sz="1600" b="1"/>
            </a:lvl6pPr>
            <a:lvl7pPr marL="2741994" indent="0">
              <a:buNone/>
              <a:defRPr sz="1600" b="1"/>
            </a:lvl7pPr>
            <a:lvl8pPr marL="3198992" indent="0">
              <a:buNone/>
              <a:defRPr sz="1600" b="1"/>
            </a:lvl8pPr>
            <a:lvl9pPr marL="3655991" indent="0">
              <a:buNone/>
              <a:defRPr sz="1600" b="1"/>
            </a:lvl9pPr>
          </a:lstStyle>
          <a:p>
            <a:pPr lvl="0"/>
            <a:r>
              <a:rPr lang="en-US" dirty="0"/>
              <a:t>Click to edit Master text styles</a:t>
            </a:r>
          </a:p>
        </p:txBody>
      </p:sp>
    </p:spTree>
    <p:extLst>
      <p:ext uri="{BB962C8B-B14F-4D97-AF65-F5344CB8AC3E}">
        <p14:creationId xmlns:p14="http://schemas.microsoft.com/office/powerpoint/2010/main" val="2695224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userDrawn="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US"/>
              <a:t>Fare clic per modificare stile</a:t>
            </a:r>
            <a:endParaRPr lang="it-IT"/>
          </a:p>
        </p:txBody>
      </p:sp>
      <p:sp>
        <p:nvSpPr>
          <p:cNvPr id="3" name="Segnaposto contenuto 2"/>
          <p:cNvSpPr>
            <a:spLocks noGrp="1"/>
          </p:cNvSpPr>
          <p:nvPr>
            <p:ph idx="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gli</a:t>
            </a:r>
            <a:r>
              <a:rPr lang="en-US" dirty="0"/>
              <a:t> </a:t>
            </a:r>
            <a:r>
              <a:rPr lang="en-US" dirty="0" err="1"/>
              <a:t>stili</a:t>
            </a:r>
            <a:r>
              <a:rPr lang="en-US" dirty="0"/>
              <a:t> del </a:t>
            </a:r>
            <a:r>
              <a:rPr lang="en-US" dirty="0" err="1"/>
              <a:t>testo</a:t>
            </a:r>
            <a:r>
              <a:rPr lang="en-US" dirty="0"/>
              <a:t> </a:t>
            </a:r>
            <a:r>
              <a:rPr lang="en-US" dirty="0" err="1"/>
              <a:t>dello</a:t>
            </a:r>
            <a:r>
              <a:rPr lang="en-US" dirty="0"/>
              <a:t> schema</a:t>
            </a:r>
          </a:p>
          <a:p>
            <a:pPr lvl="1"/>
            <a:r>
              <a:rPr lang="en-US" dirty="0" err="1"/>
              <a:t>Secondo</a:t>
            </a:r>
            <a:r>
              <a:rPr lang="en-US" dirty="0"/>
              <a:t>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err="1"/>
              <a:t>Quinto</a:t>
            </a:r>
            <a:r>
              <a:rPr lang="en-US" dirty="0"/>
              <a:t> </a:t>
            </a:r>
            <a:r>
              <a:rPr lang="en-US" dirty="0" err="1"/>
              <a:t>livello</a:t>
            </a:r>
            <a:endParaRPr lang="it-IT" dirty="0"/>
          </a:p>
        </p:txBody>
      </p:sp>
      <p:sp>
        <p:nvSpPr>
          <p:cNvPr id="4" name="Segnaposto data 3"/>
          <p:cNvSpPr>
            <a:spLocks noGrp="1"/>
          </p:cNvSpPr>
          <p:nvPr>
            <p:ph type="dt" sz="half" idx="10"/>
          </p:nvPr>
        </p:nvSpPr>
        <p:spPr/>
        <p:txBody>
          <a:bodyPr/>
          <a:lstStyle/>
          <a:p>
            <a:pPr fontAlgn="base">
              <a:spcBef>
                <a:spcPct val="0"/>
              </a:spcBef>
              <a:spcAft>
                <a:spcPct val="0"/>
              </a:spcAft>
            </a:pPr>
            <a:fld id="{2086F947-4537-4010-9FDA-DE6CE0E0A95B}" type="datetimeFigureOut">
              <a:rPr lang="en-US" smtClean="0"/>
              <a:pPr fontAlgn="base">
                <a:spcBef>
                  <a:spcPct val="0"/>
                </a:spcBef>
                <a:spcAft>
                  <a:spcPct val="0"/>
                </a:spcAft>
              </a:pPr>
              <a:t>4/12/26</a:t>
            </a:fld>
            <a:endParaRPr lang="en-US"/>
          </a:p>
        </p:txBody>
      </p:sp>
      <p:sp>
        <p:nvSpPr>
          <p:cNvPr id="5" name="Segnaposto piè di pagina 4"/>
          <p:cNvSpPr>
            <a:spLocks noGrp="1"/>
          </p:cNvSpPr>
          <p:nvPr>
            <p:ph type="ftr" sz="quarter" idx="11"/>
          </p:nvPr>
        </p:nvSpPr>
        <p:spPr/>
        <p:txBody>
          <a:bodyPr/>
          <a:lstStyle/>
          <a:p>
            <a:pPr fontAlgn="base">
              <a:spcBef>
                <a:spcPct val="0"/>
              </a:spcBef>
              <a:spcAft>
                <a:spcPct val="0"/>
              </a:spcAft>
            </a:pPr>
            <a:endParaRPr lang="it-IT"/>
          </a:p>
        </p:txBody>
      </p:sp>
      <p:sp>
        <p:nvSpPr>
          <p:cNvPr id="6" name="Segnaposto numero diapositiva 5"/>
          <p:cNvSpPr>
            <a:spLocks noGrp="1"/>
          </p:cNvSpPr>
          <p:nvPr>
            <p:ph type="sldNum" sz="quarter" idx="12"/>
          </p:nvPr>
        </p:nvSpPr>
        <p:spPr/>
        <p:txBody>
          <a:bodyPr/>
          <a:lstStyle/>
          <a:p>
            <a:pPr fontAlgn="base">
              <a:spcBef>
                <a:spcPct val="0"/>
              </a:spcBef>
              <a:spcAft>
                <a:spcPct val="0"/>
              </a:spcAft>
            </a:pPr>
            <a:fld id="{821A7115-F75B-499B-A16D-A042ED475D9B}"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556677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titleOnly">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7EDDE8D4-C476-4EFF-8C0C-EA4B5A02DD56}" type="datetimeFigureOut">
              <a:rPr lang="ru-RU" smtClean="0"/>
              <a:t>12.04.2026</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F283E09F-9A6F-4B56-AD52-BC5B071BA75A}" type="slidenum">
              <a:rPr lang="ru-RU" smtClean="0"/>
              <a:t>‹#›</a:t>
            </a:fld>
            <a:endParaRPr lang="ru-RU"/>
          </a:p>
        </p:txBody>
      </p:sp>
    </p:spTree>
    <p:extLst>
      <p:ext uri="{BB962C8B-B14F-4D97-AF65-F5344CB8AC3E}">
        <p14:creationId xmlns:p14="http://schemas.microsoft.com/office/powerpoint/2010/main" val="29485320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userDrawn="1">
  <p:cSld name="1_Tile and content full pag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76000" y="432005"/>
            <a:ext cx="10972800" cy="276999"/>
          </a:xfrm>
        </p:spPr>
        <p:txBody>
          <a:bodyPr/>
          <a:lstStyle>
            <a:lvl1pPr>
              <a:defRPr sz="3000" baseline="0">
                <a:solidFill>
                  <a:schemeClr val="tx1"/>
                </a:solidFill>
              </a:defRPr>
            </a:lvl1pPr>
          </a:lstStyle>
          <a:p>
            <a:r>
              <a:rPr lang="en-US" dirty="0"/>
              <a:t>CLICK TO EDIT MASTER TITLE STYLE</a:t>
            </a:r>
            <a:endParaRPr lang="en-GB" dirty="0"/>
          </a:p>
        </p:txBody>
      </p:sp>
      <p:sp>
        <p:nvSpPr>
          <p:cNvPr id="12" name="Content Placeholder 2"/>
          <p:cNvSpPr>
            <a:spLocks noGrp="1"/>
          </p:cNvSpPr>
          <p:nvPr>
            <p:ph idx="1"/>
          </p:nvPr>
        </p:nvSpPr>
        <p:spPr>
          <a:xfrm>
            <a:off x="576000" y="1700809"/>
            <a:ext cx="10972800" cy="144039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7744964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5440996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F28BD-74F7-4A82-B506-2A1F2000E92D}"/>
              </a:ext>
            </a:extLst>
          </p:cNvPr>
          <p:cNvSpPr>
            <a:spLocks noGrp="1"/>
          </p:cNvSpPr>
          <p:nvPr>
            <p:ph type="title"/>
          </p:nvPr>
        </p:nvSpPr>
        <p:spPr>
          <a:xfrm>
            <a:off x="1055803" y="347873"/>
            <a:ext cx="10801235" cy="1325563"/>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4150BCA4-3AF7-461B-AB64-459499C06FFA}"/>
              </a:ext>
            </a:extLst>
          </p:cNvPr>
          <p:cNvSpPr>
            <a:spLocks noGrp="1"/>
          </p:cNvSpPr>
          <p:nvPr>
            <p:ph idx="1"/>
          </p:nvPr>
        </p:nvSpPr>
        <p:spPr>
          <a:xfrm>
            <a:off x="1055803" y="1825625"/>
            <a:ext cx="10801235" cy="43513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AFDC7DC4-1100-4E32-8B64-617A78A2D47A}"/>
              </a:ext>
            </a:extLst>
          </p:cNvPr>
          <p:cNvSpPr>
            <a:spLocks noGrp="1"/>
          </p:cNvSpPr>
          <p:nvPr>
            <p:ph type="sldNum" sz="quarter" idx="12"/>
          </p:nvPr>
        </p:nvSpPr>
        <p:spPr/>
        <p:txBody>
          <a:bodyPr/>
          <a:lstStyle/>
          <a:p>
            <a:pPr defTabSz="912768">
              <a:defRPr/>
            </a:pPr>
            <a:fld id="{729EBAF0-93D3-4D3E-ADD9-A2EE90FE682E}" type="slidenum">
              <a:rPr lang="en-GB" sz="1200" smtClean="0">
                <a:solidFill>
                  <a:prstClr val="black">
                    <a:tint val="75000"/>
                  </a:prstClr>
                </a:solidFill>
                <a:latin typeface="Calibri"/>
              </a:rPr>
              <a:pPr defTabSz="912768">
                <a:defRPr/>
              </a:pPr>
              <a:t>‹#›</a:t>
            </a:fld>
            <a:endParaRPr lang="en-GB" sz="1200">
              <a:solidFill>
                <a:prstClr val="black">
                  <a:tint val="75000"/>
                </a:prstClr>
              </a:solidFill>
              <a:latin typeface="Calibri"/>
            </a:endParaRPr>
          </a:p>
        </p:txBody>
      </p:sp>
      <p:sp>
        <p:nvSpPr>
          <p:cNvPr id="8" name="Text Placeholder 7">
            <a:extLst>
              <a:ext uri="{FF2B5EF4-FFF2-40B4-BE49-F238E27FC236}">
                <a16:creationId xmlns:a16="http://schemas.microsoft.com/office/drawing/2014/main" id="{7BB6E02D-31EC-4F55-B6EE-3AF97F633764}"/>
              </a:ext>
            </a:extLst>
          </p:cNvPr>
          <p:cNvSpPr>
            <a:spLocks noGrp="1"/>
          </p:cNvSpPr>
          <p:nvPr>
            <p:ph type="body" sz="quarter" idx="13" hasCustomPrompt="1"/>
          </p:nvPr>
        </p:nvSpPr>
        <p:spPr>
          <a:xfrm>
            <a:off x="1055803" y="6391560"/>
            <a:ext cx="4212000" cy="200055"/>
          </a:xfrm>
        </p:spPr>
        <p:txBody>
          <a:bodyPr wrap="square" bIns="0" anchor="b">
            <a:spAutoFit/>
          </a:bodyPr>
          <a:lstStyle>
            <a:lvl1pPr marL="0" indent="0">
              <a:spcBef>
                <a:spcPts val="0"/>
              </a:spcBef>
              <a:spcAft>
                <a:spcPts val="0"/>
              </a:spcAft>
              <a:buNone/>
              <a:defRPr sz="1000">
                <a:solidFill>
                  <a:schemeClr val="tx2"/>
                </a:solidFill>
              </a:defRPr>
            </a:lvl1pPr>
          </a:lstStyle>
          <a:p>
            <a:pPr lvl="0"/>
            <a:r>
              <a:rPr lang="en-US" dirty="0"/>
              <a:t>Abbreviations</a:t>
            </a:r>
            <a:endParaRPr lang="en-GB" dirty="0"/>
          </a:p>
        </p:txBody>
      </p:sp>
      <p:sp>
        <p:nvSpPr>
          <p:cNvPr id="9" name="Text Placeholder 7">
            <a:extLst>
              <a:ext uri="{FF2B5EF4-FFF2-40B4-BE49-F238E27FC236}">
                <a16:creationId xmlns:a16="http://schemas.microsoft.com/office/drawing/2014/main" id="{6E2911CA-A940-4701-918B-6070B844ECF7}"/>
              </a:ext>
            </a:extLst>
          </p:cNvPr>
          <p:cNvSpPr>
            <a:spLocks noGrp="1"/>
          </p:cNvSpPr>
          <p:nvPr>
            <p:ph type="body" sz="quarter" idx="14" hasCustomPrompt="1"/>
          </p:nvPr>
        </p:nvSpPr>
        <p:spPr>
          <a:xfrm>
            <a:off x="5518816" y="6391560"/>
            <a:ext cx="4212000" cy="200055"/>
          </a:xfrm>
        </p:spPr>
        <p:txBody>
          <a:bodyPr wrap="square" bIns="0" anchor="b">
            <a:spAutoFit/>
          </a:bodyPr>
          <a:lstStyle>
            <a:lvl1pPr marL="0" indent="0" algn="r">
              <a:spcBef>
                <a:spcPts val="0"/>
              </a:spcBef>
              <a:spcAft>
                <a:spcPts val="0"/>
              </a:spcAft>
              <a:buNone/>
              <a:defRPr sz="1000">
                <a:solidFill>
                  <a:schemeClr val="tx2"/>
                </a:solidFill>
              </a:defRPr>
            </a:lvl1pPr>
          </a:lstStyle>
          <a:p>
            <a:pPr lvl="0"/>
            <a:r>
              <a:rPr lang="en-US" dirty="0"/>
              <a:t>References</a:t>
            </a:r>
            <a:endParaRPr lang="en-GB" dirty="0"/>
          </a:p>
        </p:txBody>
      </p:sp>
      <p:sp>
        <p:nvSpPr>
          <p:cNvPr id="4" name="Rectangle 3">
            <a:extLst>
              <a:ext uri="{FF2B5EF4-FFF2-40B4-BE49-F238E27FC236}">
                <a16:creationId xmlns:a16="http://schemas.microsoft.com/office/drawing/2014/main" id="{06071572-0F16-4886-AB99-E49BC06C924D}"/>
              </a:ext>
            </a:extLst>
          </p:cNvPr>
          <p:cNvSpPr/>
          <p:nvPr userDrawn="1"/>
        </p:nvSpPr>
        <p:spPr>
          <a:xfrm>
            <a:off x="0" y="0"/>
            <a:ext cx="843455" cy="6858000"/>
          </a:xfrm>
          <a:prstGeom prst="rect">
            <a:avLst/>
          </a:prstGeom>
          <a:blipFill dpi="0" rotWithShape="1">
            <a:blip r:embed="rId2">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76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DD3B0B2A-B125-4B5A-80FC-A949AC1A0A4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846470" y="6110289"/>
            <a:ext cx="2124271" cy="652460"/>
          </a:xfrm>
          <a:prstGeom prst="rect">
            <a:avLst/>
          </a:prstGeom>
        </p:spPr>
      </p:pic>
    </p:spTree>
    <p:extLst>
      <p:ext uri="{BB962C8B-B14F-4D97-AF65-F5344CB8AC3E}">
        <p14:creationId xmlns:p14="http://schemas.microsoft.com/office/powerpoint/2010/main" val="3514216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userDrawn="1">
  <p:cSld name="TH Content Slide (1-2 line title)">
    <p:spTree>
      <p:nvGrpSpPr>
        <p:cNvPr id="1" name=""/>
        <p:cNvGrpSpPr/>
        <p:nvPr/>
      </p:nvGrpSpPr>
      <p:grpSpPr>
        <a:xfrm>
          <a:off x="0" y="0"/>
          <a:ext cx="0" cy="0"/>
          <a:chOff x="0" y="0"/>
          <a:chExt cx="0" cy="0"/>
        </a:xfrm>
      </p:grpSpPr>
      <p:sp>
        <p:nvSpPr>
          <p:cNvPr id="23" name="Text Placeholder 1"/>
          <p:cNvSpPr>
            <a:spLocks noGrp="1"/>
          </p:cNvSpPr>
          <p:nvPr>
            <p:ph idx="1" hasCustomPrompt="1"/>
          </p:nvPr>
        </p:nvSpPr>
        <p:spPr bwMode="auto">
          <a:xfrm>
            <a:off x="254000" y="1381921"/>
            <a:ext cx="11328403" cy="47521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p:txBody>
      </p:sp>
      <p:sp>
        <p:nvSpPr>
          <p:cNvPr id="6" name="Text Placeholder 2"/>
          <p:cNvSpPr>
            <a:spLocks noGrp="1"/>
          </p:cNvSpPr>
          <p:nvPr>
            <p:ph type="body" sz="quarter" idx="15"/>
          </p:nvPr>
        </p:nvSpPr>
        <p:spPr>
          <a:xfrm>
            <a:off x="253997" y="6161088"/>
            <a:ext cx="11419083" cy="696912"/>
          </a:xfrm>
        </p:spPr>
        <p:txBody>
          <a:bodyPr anchor="b">
            <a:normAutofit/>
          </a:bodyPr>
          <a:lstStyle>
            <a:lvl1pPr marL="0" indent="0">
              <a:lnSpc>
                <a:spcPct val="90000"/>
              </a:lnSpc>
              <a:spcBef>
                <a:spcPts val="0"/>
              </a:spcBef>
              <a:buFontTx/>
              <a:buNone/>
              <a:defRPr sz="1400" b="0"/>
            </a:lvl1pPr>
          </a:lstStyle>
          <a:p>
            <a:pPr lvl="0"/>
            <a:endParaRPr lang="en-US" dirty="0"/>
          </a:p>
        </p:txBody>
      </p:sp>
      <p:sp>
        <p:nvSpPr>
          <p:cNvPr id="8" name="Title Placeholder 10"/>
          <p:cNvSpPr>
            <a:spLocks noGrp="1"/>
          </p:cNvSpPr>
          <p:nvPr>
            <p:ph type="title"/>
          </p:nvPr>
        </p:nvSpPr>
        <p:spPr bwMode="auto">
          <a:xfrm>
            <a:off x="253997" y="78391"/>
            <a:ext cx="11680616" cy="995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nSpc>
                <a:spcPct val="90000"/>
              </a:lnSpc>
              <a:defRPr/>
            </a:lvl1pPr>
          </a:lstStyle>
          <a:p>
            <a:pPr lvl="0"/>
            <a:r>
              <a:rPr lang="en-US" altLang="en-US" dirty="0"/>
              <a:t>Click To Edit Master Title Style</a:t>
            </a:r>
          </a:p>
        </p:txBody>
      </p:sp>
      <p:sp>
        <p:nvSpPr>
          <p:cNvPr id="9" name="Slide Number Placeholder 4"/>
          <p:cNvSpPr>
            <a:spLocks noGrp="1"/>
          </p:cNvSpPr>
          <p:nvPr>
            <p:ph type="sldNum" sz="quarter" idx="4"/>
          </p:nvPr>
        </p:nvSpPr>
        <p:spPr>
          <a:xfrm>
            <a:off x="11656911" y="6326112"/>
            <a:ext cx="632884" cy="365125"/>
          </a:xfrm>
          <a:prstGeom prst="rect">
            <a:avLst/>
          </a:prstGeom>
        </p:spPr>
        <p:txBody>
          <a:bodyPr vert="horz" lIns="91440" tIns="45720" rIns="91440" bIns="45720" rtlCol="0" anchor="ctr"/>
          <a:lstStyle>
            <a:lvl1pPr algn="ctr">
              <a:defRPr sz="1200" b="1">
                <a:solidFill>
                  <a:srgbClr val="345B0E"/>
                </a:solidFill>
                <a:latin typeface="Calibri"/>
                <a:cs typeface="Calibri"/>
              </a:defRPr>
            </a:lvl1pPr>
          </a:lstStyle>
          <a:p>
            <a:pPr>
              <a:defRPr/>
            </a:pPr>
            <a:fld id="{836F82F2-659E-4779-934C-90BE5A398E16}" type="slidenum">
              <a:rPr lang="en-US" smtClean="0"/>
              <a:pPr>
                <a:defRPr/>
              </a:pPr>
              <a:t>‹#›</a:t>
            </a:fld>
            <a:endParaRPr lang="en-US"/>
          </a:p>
        </p:txBody>
      </p:sp>
    </p:spTree>
    <p:extLst>
      <p:ext uri="{BB962C8B-B14F-4D97-AF65-F5344CB8AC3E}">
        <p14:creationId xmlns:p14="http://schemas.microsoft.com/office/powerpoint/2010/main" val="13082384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pos="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userDrawn="1">
  <p:cSld name="Introduc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dirty="0"/>
          </a:p>
        </p:txBody>
      </p:sp>
      <p:sp>
        <p:nvSpPr>
          <p:cNvPr id="7" name="Text Placeholder 6"/>
          <p:cNvSpPr>
            <a:spLocks noGrp="1"/>
          </p:cNvSpPr>
          <p:nvPr>
            <p:ph type="body" sz="quarter" idx="12" hasCustomPrompt="1"/>
          </p:nvPr>
        </p:nvSpPr>
        <p:spPr>
          <a:xfrm>
            <a:off x="412800" y="784803"/>
            <a:ext cx="112224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dirty="0"/>
              <a:t>Click to add Secondary title</a:t>
            </a:r>
            <a:endParaRPr lang="en-GB" dirty="0"/>
          </a:p>
        </p:txBody>
      </p:sp>
      <p:sp>
        <p:nvSpPr>
          <p:cNvPr id="9" name="Text Placeholder 8"/>
          <p:cNvSpPr>
            <a:spLocks noGrp="1"/>
          </p:cNvSpPr>
          <p:nvPr>
            <p:ph type="body" sz="quarter" idx="13"/>
          </p:nvPr>
        </p:nvSpPr>
        <p:spPr>
          <a:xfrm>
            <a:off x="412803" y="1760400"/>
            <a:ext cx="8942400" cy="4424400"/>
          </a:xfrm>
        </p:spPr>
        <p:txBody>
          <a:bodyPr/>
          <a:lstStyle>
            <a:lvl1pPr marL="0" indent="0">
              <a:buNone/>
              <a:defRPr sz="2400" b="1">
                <a:solidFill>
                  <a:schemeClr val="tx1"/>
                </a:solidFill>
                <a:latin typeface="Arial" pitchFamily="34" charset="0"/>
                <a:cs typeface="Arial" pitchFamily="34" charset="0"/>
              </a:defRPr>
            </a:lvl1pPr>
          </a:lstStyle>
          <a:p>
            <a:pPr lvl="0"/>
            <a:r>
              <a:rPr lang="it-IT"/>
              <a:t>Fare clic per modificare stili del testo dello schema</a:t>
            </a:r>
          </a:p>
        </p:txBody>
      </p:sp>
      <p:sp>
        <p:nvSpPr>
          <p:cNvPr id="11" name="Date Placeholder 10"/>
          <p:cNvSpPr>
            <a:spLocks noGrp="1"/>
          </p:cNvSpPr>
          <p:nvPr>
            <p:ph type="dt" sz="half" idx="14"/>
          </p:nvPr>
        </p:nvSpPr>
        <p:spPr/>
        <p:txBody>
          <a:bodyPr/>
          <a:lstStyle/>
          <a:p>
            <a:endParaRPr lang="sv-SE">
              <a:solidFill>
                <a:srgbClr val="000000"/>
              </a:solidFill>
            </a:endParaRPr>
          </a:p>
        </p:txBody>
      </p:sp>
      <p:sp>
        <p:nvSpPr>
          <p:cNvPr id="12" name="Slide Number Placeholder 11"/>
          <p:cNvSpPr>
            <a:spLocks noGrp="1"/>
          </p:cNvSpPr>
          <p:nvPr>
            <p:ph type="sldNum" sz="quarter" idx="15"/>
          </p:nvPr>
        </p:nvSpPr>
        <p:spPr/>
        <p:txBody>
          <a:bodyPr/>
          <a:lstStyle/>
          <a:p>
            <a:pPr>
              <a:defRPr/>
            </a:pPr>
            <a:fld id="{1748D8EB-9301-403A-889B-E8DDB32CFF4A}" type="slidenum">
              <a:rPr lang="en-GB" smtClean="0">
                <a:solidFill>
                  <a:srgbClr val="000000"/>
                </a:solidFill>
              </a:rPr>
              <a:pPr>
                <a:defRPr/>
              </a:pPr>
              <a:t>‹#›</a:t>
            </a:fld>
            <a:endParaRPr lang="en-GB">
              <a:solidFill>
                <a:srgbClr val="000000"/>
              </a:solidFill>
            </a:endParaRPr>
          </a:p>
        </p:txBody>
      </p:sp>
      <p:sp>
        <p:nvSpPr>
          <p:cNvPr id="13" name="Footer Placeholder 12"/>
          <p:cNvSpPr>
            <a:spLocks noGrp="1"/>
          </p:cNvSpPr>
          <p:nvPr>
            <p:ph type="ftr" sz="quarter" idx="16"/>
          </p:nvPr>
        </p:nvSpPr>
        <p:spPr/>
        <p:txBody>
          <a:bodyPr/>
          <a:lstStyle/>
          <a:p>
            <a:r>
              <a:rPr lang="it-IT">
                <a:solidFill>
                  <a:srgbClr val="830051"/>
                </a:solidFill>
              </a:rPr>
              <a:t>Ad uso esclusivo Medical Affairs – riservato – non promozionale</a:t>
            </a:r>
            <a:endParaRPr lang="sv-SE">
              <a:solidFill>
                <a:srgbClr val="830051"/>
              </a:solidFill>
            </a:endParaRPr>
          </a:p>
        </p:txBody>
      </p:sp>
    </p:spTree>
    <p:extLst>
      <p:ext uri="{BB962C8B-B14F-4D97-AF65-F5344CB8AC3E}">
        <p14:creationId xmlns:p14="http://schemas.microsoft.com/office/powerpoint/2010/main" val="24731908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userDrawn="1">
  <p:cSld name="ME_Content ">
    <p:spTree>
      <p:nvGrpSpPr>
        <p:cNvPr id="1" name=""/>
        <p:cNvGrpSpPr/>
        <p:nvPr/>
      </p:nvGrpSpPr>
      <p:grpSpPr>
        <a:xfrm>
          <a:off x="0" y="0"/>
          <a:ext cx="0" cy="0"/>
          <a:chOff x="0" y="0"/>
          <a:chExt cx="0" cy="0"/>
        </a:xfrm>
      </p:grpSpPr>
      <p:sp>
        <p:nvSpPr>
          <p:cNvPr id="5" name="Text Placeholder 2"/>
          <p:cNvSpPr>
            <a:spLocks noGrp="1"/>
          </p:cNvSpPr>
          <p:nvPr>
            <p:ph type="body" sz="quarter" idx="15"/>
          </p:nvPr>
        </p:nvSpPr>
        <p:spPr>
          <a:xfrm>
            <a:off x="414528" y="6161088"/>
            <a:ext cx="11362944" cy="696912"/>
          </a:xfrm>
        </p:spPr>
        <p:txBody>
          <a:bodyPr anchor="b">
            <a:noAutofit/>
          </a:bodyPr>
          <a:lstStyle>
            <a:lvl1pPr marL="0" indent="0">
              <a:lnSpc>
                <a:spcPct val="90000"/>
              </a:lnSpc>
              <a:spcBef>
                <a:spcPts val="0"/>
              </a:spcBef>
              <a:buFontTx/>
              <a:buNone/>
              <a:defRPr sz="1500" b="0">
                <a:solidFill>
                  <a:schemeClr val="tx2"/>
                </a:solidFill>
                <a:latin typeface="Calibri" panose="020F0502020204030204" pitchFamily="34" charset="0"/>
              </a:defRPr>
            </a:lvl1pPr>
          </a:lstStyle>
          <a:p>
            <a:pPr lvl="0"/>
            <a:r>
              <a:rPr lang="en-US" dirty="0"/>
              <a:t>Click to edit Master text styles</a:t>
            </a:r>
          </a:p>
        </p:txBody>
      </p:sp>
      <p:cxnSp>
        <p:nvCxnSpPr>
          <p:cNvPr id="6" name="Straight Connector 5"/>
          <p:cNvCxnSpPr/>
          <p:nvPr userDrawn="1"/>
        </p:nvCxnSpPr>
        <p:spPr>
          <a:xfrm>
            <a:off x="453774" y="1295400"/>
            <a:ext cx="11362945" cy="0"/>
          </a:xfrm>
          <a:prstGeom prst="line">
            <a:avLst/>
          </a:prstGeom>
          <a:ln w="22225">
            <a:solidFill>
              <a:srgbClr val="3894A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14528" y="384048"/>
            <a:ext cx="11362944" cy="868680"/>
          </a:xfrm>
        </p:spPr>
        <p:txBody>
          <a:bodyPr/>
          <a:lstStyle/>
          <a:p>
            <a:r>
              <a:rPr lang="en-US"/>
              <a:t>Click to edit Master title style</a:t>
            </a:r>
          </a:p>
        </p:txBody>
      </p:sp>
      <p:sp>
        <p:nvSpPr>
          <p:cNvPr id="7" name="Content Placeholder 6"/>
          <p:cNvSpPr>
            <a:spLocks noGrp="1"/>
          </p:cNvSpPr>
          <p:nvPr>
            <p:ph sz="quarter" idx="16"/>
          </p:nvPr>
        </p:nvSpPr>
        <p:spPr>
          <a:xfrm>
            <a:off x="414528" y="1609344"/>
            <a:ext cx="11364384" cy="4495800"/>
          </a:xfrm>
        </p:spPr>
        <p:txBody>
          <a:bodyPr/>
          <a:lstStyle>
            <a:lvl1pPr>
              <a:defRPr>
                <a:solidFill>
                  <a:schemeClr val="tx1"/>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buClr>
                <a:srgbClr val="067A80"/>
              </a:buClr>
              <a:defRPr>
                <a:solidFill>
                  <a:schemeClr val="tx2"/>
                </a:solidFill>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6111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47570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161731"/>
            <a:ext cx="11208792" cy="908180"/>
          </a:xfrm>
        </p:spPr>
        <p:txBody>
          <a:bodyPr/>
          <a:lstStyle>
            <a:lvl1pPr>
              <a:defRPr>
                <a:solidFill>
                  <a:schemeClr val="accent3"/>
                </a:solidFill>
              </a:defRPr>
            </a:lvl1pPr>
          </a:lstStyle>
          <a:p>
            <a:r>
              <a:rPr lang="en-GB" dirty="0"/>
              <a:t>Click to edit Master title </a:t>
            </a:r>
            <a:br>
              <a:rPr lang="en-GB" dirty="0"/>
            </a:br>
            <a:r>
              <a:rPr lang="en-GB" dirty="0"/>
              <a:t>style</a:t>
            </a:r>
          </a:p>
        </p:txBody>
      </p:sp>
      <p:sp>
        <p:nvSpPr>
          <p:cNvPr id="8" name="Text Placeholder 7"/>
          <p:cNvSpPr>
            <a:spLocks noGrp="1"/>
          </p:cNvSpPr>
          <p:nvPr>
            <p:ph type="body" sz="quarter" idx="10"/>
          </p:nvPr>
        </p:nvSpPr>
        <p:spPr>
          <a:xfrm>
            <a:off x="-1" y="6163733"/>
            <a:ext cx="10244668" cy="694267"/>
          </a:xfrm>
          <a:prstGeom prst="rect">
            <a:avLst/>
          </a:prstGeom>
        </p:spPr>
        <p:txBody>
          <a:bodyPr anchor="b">
            <a:normAutofit/>
          </a:bodyPr>
          <a:lstStyle>
            <a:lvl1pPr marL="0" algn="l" defTabSz="914354" rtl="0" eaLnBrk="1" fontAlgn="base" latinLnBrk="0" hangingPunct="1">
              <a:spcBef>
                <a:spcPct val="0"/>
              </a:spcBef>
              <a:spcAft>
                <a:spcPct val="0"/>
              </a:spcAft>
              <a:buClr>
                <a:schemeClr val="tx2"/>
              </a:buClr>
              <a:defRPr lang="en-US" sz="1067" b="0" kern="0" dirty="0" smtClean="0">
                <a:solidFill>
                  <a:schemeClr val="bg1">
                    <a:lumMod val="50000"/>
                  </a:schemeClr>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3" y="6180269"/>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6" y="1095311"/>
            <a:ext cx="11204788" cy="566272"/>
          </a:xfrm>
          <a:prstGeom prst="rect">
            <a:avLst/>
          </a:prstGeom>
          <a:noFill/>
          <a:ln>
            <a:noFill/>
          </a:ln>
        </p:spPr>
        <p:txBody>
          <a:bodyPr anchor="t">
            <a:noAutofit/>
          </a:bodyPr>
          <a:lstStyle>
            <a:lvl1pPr marL="0" indent="0">
              <a:lnSpc>
                <a:spcPct val="100000"/>
              </a:lnSpc>
              <a:buNone/>
              <a:defRPr sz="1867"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p:nvPr>
        </p:nvSpPr>
        <p:spPr>
          <a:xfrm>
            <a:off x="430604" y="1686984"/>
            <a:ext cx="10443633" cy="4451349"/>
          </a:xfrm>
        </p:spPr>
        <p:txBody>
          <a:bodyPr/>
          <a:lstStyle>
            <a:lvl1pPr>
              <a:spcAft>
                <a:spcPts val="400"/>
              </a:spcAft>
              <a:defRPr sz="2133" b="0">
                <a:solidFill>
                  <a:srgbClr val="4B306A"/>
                </a:solidFill>
              </a:defRPr>
            </a:lvl1pPr>
            <a:lvl2pPr marL="241289" indent="-239173">
              <a:lnSpc>
                <a:spcPct val="100000"/>
              </a:lnSpc>
              <a:spcAft>
                <a:spcPts val="400"/>
              </a:spcAft>
              <a:defRPr sz="2133" b="0">
                <a:solidFill>
                  <a:schemeClr val="tx1"/>
                </a:solidFill>
              </a:defRPr>
            </a:lvl2pPr>
            <a:lvl3pPr marL="666718" indent="-188374">
              <a:lnSpc>
                <a:spcPct val="100000"/>
              </a:lnSpc>
              <a:spcAft>
                <a:spcPts val="400"/>
              </a:spcAft>
              <a:buSzPct val="80000"/>
              <a:buFont typeface="Arial" panose="020B0604020202020204" pitchFamily="34" charset="0"/>
              <a:buChar char="–"/>
              <a:defRPr sz="1867">
                <a:solidFill>
                  <a:schemeClr val="tx1"/>
                </a:solidFill>
              </a:defRPr>
            </a:lvl3pPr>
            <a:lvl4pPr>
              <a:lnSpc>
                <a:spcPct val="100000"/>
              </a:lnSpc>
              <a:spcAft>
                <a:spcPts val="400"/>
              </a:spcAft>
              <a:defRPr>
                <a:solidFill>
                  <a:schemeClr val="tx1"/>
                </a:solidFill>
              </a:defRPr>
            </a:lvl4pPr>
            <a:lvl5pPr>
              <a:lnSpc>
                <a:spcPct val="100000"/>
              </a:lnSpc>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Slide Number Placeholder 3"/>
          <p:cNvSpPr>
            <a:spLocks noGrp="1"/>
          </p:cNvSpPr>
          <p:nvPr>
            <p:ph type="sldNum" sz="quarter" idx="4"/>
          </p:nvPr>
        </p:nvSpPr>
        <p:spPr>
          <a:xfrm>
            <a:off x="10699104" y="6356353"/>
            <a:ext cx="654697" cy="366183"/>
          </a:xfrm>
          <a:prstGeom prst="rect">
            <a:avLst/>
          </a:prstGeom>
        </p:spPr>
        <p:txBody>
          <a:bodyPr vert="horz" lIns="91440" tIns="45720" rIns="91440" bIns="45720" rtlCol="0" anchor="ctr"/>
          <a:lstStyle>
            <a:lvl1pPr algn="r">
              <a:defRPr sz="1067">
                <a:solidFill>
                  <a:schemeClr val="tx1"/>
                </a:solidFill>
              </a:defRPr>
            </a:lvl1pPr>
          </a:lstStyle>
          <a:p>
            <a:fld id="{47E66208-4A1C-594F-8665-CB46850971E6}" type="slidenum">
              <a:rPr lang="en-GB" smtClean="0"/>
              <a:pPr/>
              <a:t>‹#›</a:t>
            </a:fld>
            <a:endParaRPr lang="en-GB"/>
          </a:p>
        </p:txBody>
      </p:sp>
    </p:spTree>
    <p:extLst>
      <p:ext uri="{BB962C8B-B14F-4D97-AF65-F5344CB8AC3E}">
        <p14:creationId xmlns:p14="http://schemas.microsoft.com/office/powerpoint/2010/main" val="26732078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1FE55FE1-14D6-4E0C-911C-D83186A362DD}" type="slidenum">
              <a:rPr lang="en-US" smtClean="0"/>
              <a:t>‹#›</a:t>
            </a:fld>
            <a:endParaRPr lang="en-US"/>
          </a:p>
        </p:txBody>
      </p:sp>
      <p:sp>
        <p:nvSpPr>
          <p:cNvPr id="4" name="Title 3"/>
          <p:cNvSpPr>
            <a:spLocks noGrp="1"/>
          </p:cNvSpPr>
          <p:nvPr>
            <p:ph type="title" hasCustomPrompt="1"/>
          </p:nvPr>
        </p:nvSpPr>
        <p:spPr/>
        <p:txBody>
          <a:bodyPr/>
          <a:lstStyle>
            <a:lvl1pPr>
              <a:defRPr/>
            </a:lvl1pPr>
          </a:lstStyle>
          <a:p>
            <a:r>
              <a:rPr lang="en-US" dirty="0"/>
              <a:t>Click to </a:t>
            </a:r>
            <a:br>
              <a:rPr lang="en-US" dirty="0"/>
            </a:br>
            <a:r>
              <a:rPr lang="en-US" dirty="0"/>
              <a:t>edit Master title style</a:t>
            </a:r>
          </a:p>
        </p:txBody>
      </p:sp>
    </p:spTree>
    <p:custDataLst>
      <p:tags r:id="rId1"/>
    </p:custDataLst>
    <p:extLst>
      <p:ext uri="{BB962C8B-B14F-4D97-AF65-F5344CB8AC3E}">
        <p14:creationId xmlns:p14="http://schemas.microsoft.com/office/powerpoint/2010/main" val="15237542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F3DADC2-1B86-4A4E-8E40-F9A8D04610E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2700068" y="2978332"/>
            <a:ext cx="6791864" cy="500137"/>
          </a:xfrm>
          <a:solidFill>
            <a:schemeClr val="bg1"/>
          </a:solidFill>
        </p:spPr>
        <p:txBody>
          <a:bodyPr wrap="square" anchor="b" anchorCtr="0">
            <a:spAutoFit/>
          </a:bodyPr>
          <a:lstStyle>
            <a:lvl1pPr algn="ctr">
              <a:defRPr sz="2800" b="1">
                <a:solidFill>
                  <a:schemeClr val="accent1"/>
                </a:solidFill>
              </a:defRPr>
            </a:lvl1pPr>
          </a:lstStyle>
          <a:p>
            <a:r>
              <a:rPr lang="en-US" dirty="0"/>
              <a:t>Click to edit Master title style</a:t>
            </a:r>
          </a:p>
        </p:txBody>
      </p:sp>
      <p:sp>
        <p:nvSpPr>
          <p:cNvPr id="3" name="Subtitle 2"/>
          <p:cNvSpPr>
            <a:spLocks noGrp="1"/>
          </p:cNvSpPr>
          <p:nvPr>
            <p:ph type="subTitle" idx="1"/>
          </p:nvPr>
        </p:nvSpPr>
        <p:spPr>
          <a:xfrm>
            <a:off x="2815087" y="3767331"/>
            <a:ext cx="6561827" cy="400110"/>
          </a:xfrm>
        </p:spPr>
        <p:txBody>
          <a:bodyPr wrap="square">
            <a:spAutoFit/>
          </a:bodyPr>
          <a:lstStyle>
            <a:lvl1pPr marL="0" indent="0" algn="ctr">
              <a:buNone/>
              <a:defRPr sz="2000">
                <a:solidFill>
                  <a:schemeClr val="accent5"/>
                </a:solidFill>
                <a:latin typeface="+mj-lt"/>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edit Master subtitle style</a:t>
            </a:r>
          </a:p>
        </p:txBody>
      </p:sp>
    </p:spTree>
    <p:custDataLst>
      <p:tags r:id="rId1"/>
    </p:custDataLst>
    <p:extLst>
      <p:ext uri="{BB962C8B-B14F-4D97-AF65-F5344CB8AC3E}">
        <p14:creationId xmlns:p14="http://schemas.microsoft.com/office/powerpoint/2010/main" val="68948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120374-FDDF-4AA0-ADBE-E3E764A9D78C}" type="datetimeFigureOut">
              <a:rPr lang="en-US" smtClean="0"/>
              <a:t>4/12/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AB8DAD9-D2FD-43B6-914E-775DB5467988}" type="slidenum">
              <a:rPr lang="en-US" smtClean="0"/>
              <a:t>‹#›</a:t>
            </a:fld>
            <a:endParaRPr lang="en-US"/>
          </a:p>
        </p:txBody>
      </p:sp>
    </p:spTree>
    <p:extLst>
      <p:ext uri="{BB962C8B-B14F-4D97-AF65-F5344CB8AC3E}">
        <p14:creationId xmlns:p14="http://schemas.microsoft.com/office/powerpoint/2010/main" val="34897274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8711851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8470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687678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4/12/2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80851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0552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19635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05007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6269405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097259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01149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667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28008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7192941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36518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249490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709129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0341160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234386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021405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83633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5864267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497359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4259010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544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583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cstate="print">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smtClean="0"/>
              <a:t>4/12/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634708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9" y="132517"/>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3" y="6443190"/>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709035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ENU">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6B45BA9E-9D34-4544-BE4E-F9367B8EDA2E}"/>
              </a:ext>
            </a:extLst>
          </p:cNvPr>
          <p:cNvSpPr>
            <a:spLocks noGrp="1"/>
          </p:cNvSpPr>
          <p:nvPr>
            <p:ph type="dt" sz="half" idx="10"/>
          </p:nvPr>
        </p:nvSpPr>
        <p:spPr/>
        <p:txBody>
          <a:bodyPr/>
          <a:lstStyle/>
          <a:p>
            <a:fld id="{D8CE9675-B111-4F9A-AA99-E3363FE007F7}" type="datetimeFigureOut">
              <a:rPr lang="fr-FR" smtClean="0"/>
              <a:t>12/04/2026</a:t>
            </a:fld>
            <a:endParaRPr lang="fr-FR"/>
          </a:p>
        </p:txBody>
      </p:sp>
      <p:sp>
        <p:nvSpPr>
          <p:cNvPr id="4" name="Espace réservé du pied de page 3">
            <a:extLst>
              <a:ext uri="{FF2B5EF4-FFF2-40B4-BE49-F238E27FC236}">
                <a16:creationId xmlns:a16="http://schemas.microsoft.com/office/drawing/2014/main" id="{CF8D4C32-18C8-4571-84A0-57C74BAD027A}"/>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8695ADBE-937C-4730-A615-DDF223EC8CD2}"/>
              </a:ext>
            </a:extLst>
          </p:cNvPr>
          <p:cNvSpPr>
            <a:spLocks noGrp="1"/>
          </p:cNvSpPr>
          <p:nvPr>
            <p:ph type="sldNum" sz="quarter" idx="12"/>
          </p:nvPr>
        </p:nvSpPr>
        <p:spPr/>
        <p:txBody>
          <a:bodyPr/>
          <a:lstStyle/>
          <a:p>
            <a:fld id="{DFB7D6DD-1896-473B-895C-EDD5464F5474}" type="slidenum">
              <a:rPr lang="fr-FR" smtClean="0"/>
              <a:t>‹#›</a:t>
            </a:fld>
            <a:endParaRPr lang="fr-FR"/>
          </a:p>
        </p:txBody>
      </p:sp>
      <p:pic>
        <p:nvPicPr>
          <p:cNvPr id="7" name="Image 6">
            <a:extLst>
              <a:ext uri="{FF2B5EF4-FFF2-40B4-BE49-F238E27FC236}">
                <a16:creationId xmlns:a16="http://schemas.microsoft.com/office/drawing/2014/main" id="{6114B18D-DDCA-4BAA-A77D-DCE0B77C6A0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29030" y="250765"/>
            <a:ext cx="1218343" cy="1218343"/>
          </a:xfrm>
          <a:prstGeom prst="rect">
            <a:avLst/>
          </a:prstGeom>
        </p:spPr>
      </p:pic>
      <p:cxnSp>
        <p:nvCxnSpPr>
          <p:cNvPr id="6" name="Connecteur droit 5">
            <a:extLst>
              <a:ext uri="{FF2B5EF4-FFF2-40B4-BE49-F238E27FC236}">
                <a16:creationId xmlns:a16="http://schemas.microsoft.com/office/drawing/2014/main" id="{C4B2DB09-EF61-45EB-9CB3-F1458356FD1C}"/>
              </a:ext>
            </a:extLst>
          </p:cNvPr>
          <p:cNvCxnSpPr>
            <a:cxnSpLocks/>
          </p:cNvCxnSpPr>
          <p:nvPr userDrawn="1"/>
        </p:nvCxnSpPr>
        <p:spPr>
          <a:xfrm>
            <a:off x="1438703" y="1321764"/>
            <a:ext cx="10253483" cy="0"/>
          </a:xfrm>
          <a:prstGeom prst="line">
            <a:avLst/>
          </a:prstGeom>
          <a:ln>
            <a:solidFill>
              <a:srgbClr val="DD4885"/>
            </a:solidFill>
          </a:ln>
        </p:spPr>
        <p:style>
          <a:lnRef idx="1">
            <a:schemeClr val="accent1"/>
          </a:lnRef>
          <a:fillRef idx="0">
            <a:schemeClr val="accent1"/>
          </a:fillRef>
          <a:effectRef idx="0">
            <a:schemeClr val="accent1"/>
          </a:effectRef>
          <a:fontRef idx="minor">
            <a:schemeClr val="tx1"/>
          </a:fontRef>
        </p:style>
      </p:cxnSp>
      <p:sp>
        <p:nvSpPr>
          <p:cNvPr id="8" name="Titre 1">
            <a:extLst>
              <a:ext uri="{FF2B5EF4-FFF2-40B4-BE49-F238E27FC236}">
                <a16:creationId xmlns:a16="http://schemas.microsoft.com/office/drawing/2014/main" id="{3217F2F2-BBB4-4DF9-B7F8-ACDAFABC6EBF}"/>
              </a:ext>
            </a:extLst>
          </p:cNvPr>
          <p:cNvSpPr>
            <a:spLocks noGrp="1"/>
          </p:cNvSpPr>
          <p:nvPr>
            <p:ph type="title" hasCustomPrompt="1"/>
          </p:nvPr>
        </p:nvSpPr>
        <p:spPr>
          <a:xfrm>
            <a:off x="1447371" y="486725"/>
            <a:ext cx="10253483" cy="627280"/>
          </a:xfrm>
        </p:spPr>
        <p:txBody>
          <a:bodyPr>
            <a:normAutofit/>
          </a:bodyPr>
          <a:lstStyle>
            <a:lvl1pPr>
              <a:defRPr sz="2400"/>
            </a:lvl1pPr>
          </a:lstStyle>
          <a:p>
            <a:r>
              <a:rPr lang="fr-FR" dirty="0"/>
              <a:t>MODIFIEZ LE STYLE DU TITRE</a:t>
            </a:r>
          </a:p>
        </p:txBody>
      </p:sp>
      <p:sp>
        <p:nvSpPr>
          <p:cNvPr id="10" name="Espace réservé du texte 9">
            <a:extLst>
              <a:ext uri="{FF2B5EF4-FFF2-40B4-BE49-F238E27FC236}">
                <a16:creationId xmlns:a16="http://schemas.microsoft.com/office/drawing/2014/main" id="{DC810B74-8FAF-427C-8A97-8723DF242643}"/>
              </a:ext>
            </a:extLst>
          </p:cNvPr>
          <p:cNvSpPr>
            <a:spLocks noGrp="1"/>
          </p:cNvSpPr>
          <p:nvPr>
            <p:ph type="body" sz="quarter" idx="13"/>
          </p:nvPr>
        </p:nvSpPr>
        <p:spPr>
          <a:xfrm>
            <a:off x="1447802" y="1668463"/>
            <a:ext cx="10253663" cy="4406900"/>
          </a:xfrm>
        </p:spPr>
        <p:txBody>
          <a:bodyPr/>
          <a:lstStyle>
            <a:lvl1pPr marL="228594" indent="-228594">
              <a:buFontTx/>
              <a:buBlip>
                <a:blip r:embed="rId3"/>
              </a:buBlip>
              <a:defRPr/>
            </a:lvl1pPr>
            <a:lvl2pPr marL="685783" indent="-228594">
              <a:buFontTx/>
              <a:buBlip>
                <a:blip r:embed="rId3"/>
              </a:buBlip>
              <a:defRPr/>
            </a:lvl2pPr>
            <a:lvl3pPr marL="1142971" indent="-228594">
              <a:buFontTx/>
              <a:buBlip>
                <a:blip r:embed="rId3"/>
              </a:buBlip>
              <a:defRPr/>
            </a:lvl3pPr>
            <a:lvl4pPr marL="1600160" indent="-228594">
              <a:buFontTx/>
              <a:buBlip>
                <a:blip r:embed="rId3"/>
              </a:buBlip>
              <a:defRPr/>
            </a:lvl4pPr>
            <a:lvl5pPr marL="2057349" indent="-228594">
              <a:buFontTx/>
              <a:buBlip>
                <a:blip r:embed="rId3"/>
              </a:buBlip>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30014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olo immagi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p>
            <a:r>
              <a:rPr lang="it-IT"/>
              <a:t>Fare clic per modificare lo stile del titolo dello schema</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311987" y="6538185"/>
            <a:ext cx="11488948" cy="230832"/>
          </a:xfr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5" name="Segnaposto immagine 4">
            <a:extLst>
              <a:ext uri="{FF2B5EF4-FFF2-40B4-BE49-F238E27FC236}">
                <a16:creationId xmlns:a16="http://schemas.microsoft.com/office/drawing/2014/main" id="{BE77BFF5-9B4A-4237-9C6C-051756793B52}"/>
              </a:ext>
            </a:extLst>
          </p:cNvPr>
          <p:cNvSpPr>
            <a:spLocks noGrp="1"/>
          </p:cNvSpPr>
          <p:nvPr>
            <p:ph type="pic" sz="quarter" idx="11"/>
          </p:nvPr>
        </p:nvSpPr>
        <p:spPr>
          <a:xfrm>
            <a:off x="311989" y="1109633"/>
            <a:ext cx="11488948" cy="5144519"/>
          </a:xfrm>
        </p:spPr>
        <p:txBody>
          <a:bodyPr/>
          <a:lstStyle>
            <a:lvl1pPr marL="0" indent="0" algn="ctr">
              <a:buNone/>
              <a:defRPr/>
            </a:lvl1pPr>
          </a:lstStyle>
          <a:p>
            <a:endParaRPr lang="it-IT" dirty="0"/>
          </a:p>
        </p:txBody>
      </p:sp>
    </p:spTree>
    <p:extLst>
      <p:ext uri="{BB962C8B-B14F-4D97-AF65-F5344CB8AC3E}">
        <p14:creationId xmlns:p14="http://schemas.microsoft.com/office/powerpoint/2010/main" val="18387802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2A6279D-6088-4231-B8DE-9A8BEC53EB09}"/>
              </a:ext>
            </a:extLst>
          </p:cNvPr>
          <p:cNvSpPr>
            <a:spLocks noGrp="1"/>
          </p:cNvSpPr>
          <p:nvPr>
            <p:ph type="ctrTitle"/>
          </p:nvPr>
        </p:nvSpPr>
        <p:spPr>
          <a:xfrm>
            <a:off x="201706" y="2209802"/>
            <a:ext cx="11202415" cy="1219199"/>
          </a:xfrm>
        </p:spPr>
        <p:txBody>
          <a:bodyPr anchor="b"/>
          <a:lstStyle>
            <a:lvl1pPr algn="l">
              <a:defRPr sz="3200">
                <a:solidFill>
                  <a:srgbClr val="003F7D"/>
                </a:solidFill>
              </a:defRPr>
            </a:lvl1pPr>
          </a:lstStyle>
          <a:p>
            <a:r>
              <a:rPr lang="it-IT" dirty="0"/>
              <a:t>Fare clic per modificare lo stile del titolo dello schema</a:t>
            </a:r>
            <a:endParaRPr lang="en-US" dirty="0"/>
          </a:p>
        </p:txBody>
      </p:sp>
      <p:sp>
        <p:nvSpPr>
          <p:cNvPr id="8" name="Subtitle 2">
            <a:extLst>
              <a:ext uri="{FF2B5EF4-FFF2-40B4-BE49-F238E27FC236}">
                <a16:creationId xmlns:a16="http://schemas.microsoft.com/office/drawing/2014/main" id="{998A4ECF-9328-4D43-A748-5EF879C0D872}"/>
              </a:ext>
            </a:extLst>
          </p:cNvPr>
          <p:cNvSpPr>
            <a:spLocks noGrp="1"/>
          </p:cNvSpPr>
          <p:nvPr>
            <p:ph type="subTitle" idx="1"/>
          </p:nvPr>
        </p:nvSpPr>
        <p:spPr>
          <a:xfrm>
            <a:off x="201706" y="3498056"/>
            <a:ext cx="11202415" cy="988219"/>
          </a:xfrm>
        </p:spPr>
        <p:txBody>
          <a:bodyPr>
            <a:noAutofit/>
          </a:bodyPr>
          <a:lstStyle>
            <a:lvl1pPr marL="0" indent="0" algn="l">
              <a:buNone/>
              <a:defRPr sz="2400">
                <a:solidFill>
                  <a:schemeClr val="tx1">
                    <a:lumMod val="65000"/>
                    <a:lumOff val="35000"/>
                  </a:schemeClr>
                </a:solidFill>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it-IT" dirty="0"/>
              <a:t>Fare clic per modificare lo stile del sottotitolo dello schema</a:t>
            </a:r>
            <a:endParaRPr lang="en-US" dirty="0"/>
          </a:p>
        </p:txBody>
      </p:sp>
      <p:cxnSp>
        <p:nvCxnSpPr>
          <p:cNvPr id="9" name="Connettore diritto 8">
            <a:extLst>
              <a:ext uri="{FF2B5EF4-FFF2-40B4-BE49-F238E27FC236}">
                <a16:creationId xmlns:a16="http://schemas.microsoft.com/office/drawing/2014/main" id="{93EBDB29-7BD3-4709-A34C-234F59DC895D}"/>
              </a:ext>
            </a:extLst>
          </p:cNvPr>
          <p:cNvCxnSpPr>
            <a:cxnSpLocks/>
          </p:cNvCxnSpPr>
          <p:nvPr userDrawn="1"/>
        </p:nvCxnSpPr>
        <p:spPr>
          <a:xfrm>
            <a:off x="84351" y="3462831"/>
            <a:ext cx="11547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251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olo e punti elenc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p>
            <a:r>
              <a:rPr lang="it-IT" dirty="0"/>
              <a:t>Fare clic per modificare lo stile del titolo dello schema</a:t>
            </a:r>
          </a:p>
        </p:txBody>
      </p:sp>
      <p:sp>
        <p:nvSpPr>
          <p:cNvPr id="3" name="Segnaposto contenuto 2">
            <a:extLst>
              <a:ext uri="{FF2B5EF4-FFF2-40B4-BE49-F238E27FC236}">
                <a16:creationId xmlns:a16="http://schemas.microsoft.com/office/drawing/2014/main" id="{B8D947B9-3515-4E91-B890-57232D5691C4}"/>
              </a:ext>
            </a:extLst>
          </p:cNvPr>
          <p:cNvSpPr>
            <a:spLocks noGrp="1"/>
          </p:cNvSpPr>
          <p:nvPr>
            <p:ph idx="1"/>
          </p:nvPr>
        </p:nvSpPr>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311987" y="6538185"/>
            <a:ext cx="11488948" cy="230832"/>
          </a:xfr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Tree>
    <p:extLst>
      <p:ext uri="{BB962C8B-B14F-4D97-AF65-F5344CB8AC3E}">
        <p14:creationId xmlns:p14="http://schemas.microsoft.com/office/powerpoint/2010/main" val="13666563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B8D947B9-3515-4E91-B890-57232D5691C4}"/>
              </a:ext>
            </a:extLst>
          </p:cNvPr>
          <p:cNvSpPr>
            <a:spLocks noGrp="1"/>
          </p:cNvSpPr>
          <p:nvPr>
            <p:ph idx="1"/>
          </p:nvPr>
        </p:nvSpPr>
        <p:spPr/>
        <p:txBody>
          <a:bodyPr/>
          <a:lstStyle>
            <a:lvl1pPr marL="0" indent="0">
              <a:buNone/>
              <a:defRPr/>
            </a:lvl1pPr>
            <a:lvl2pPr marL="685783" indent="0">
              <a:buNone/>
              <a:defRPr/>
            </a:lvl2pPr>
            <a:lvl3pPr marL="1142971" indent="0">
              <a:buNone/>
              <a:defRPr/>
            </a:lvl3pPr>
            <a:lvl4pPr marL="1543012" indent="0">
              <a:buNone/>
              <a:defRPr/>
            </a:lvl4pPr>
            <a:lvl5pPr marL="2000201" indent="0">
              <a:buNone/>
              <a:defRPr/>
            </a:lvl5pPr>
          </a:lstStyle>
          <a:p>
            <a:pPr lvl="0"/>
            <a:r>
              <a:rPr lang="it-IT" dirty="0"/>
              <a:t>Fare clic per modificare gli stili del testo dello schema</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311987" y="6538185"/>
            <a:ext cx="11488948" cy="230832"/>
          </a:xfr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Tree>
    <p:extLst>
      <p:ext uri="{BB962C8B-B14F-4D97-AF65-F5344CB8AC3E}">
        <p14:creationId xmlns:p14="http://schemas.microsoft.com/office/powerpoint/2010/main" val="2854526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E22C4E7-555B-4452-B3D8-E52ACA50F1DE}"/>
              </a:ext>
            </a:extLst>
          </p:cNvPr>
          <p:cNvSpPr>
            <a:spLocks noGrp="1"/>
          </p:cNvSpPr>
          <p:nvPr>
            <p:ph type="title"/>
          </p:nvPr>
        </p:nvSpPr>
        <p:spPr/>
        <p:txBody>
          <a:bodyPr/>
          <a:lstStyle/>
          <a:p>
            <a:r>
              <a:rPr lang="it-IT" dirty="0"/>
              <a:t>Fare clic per modificare lo stile del titolo dello schema</a:t>
            </a:r>
          </a:p>
        </p:txBody>
      </p:sp>
      <p:sp>
        <p:nvSpPr>
          <p:cNvPr id="8" name="Content Placeholder 2">
            <a:extLst>
              <a:ext uri="{FF2B5EF4-FFF2-40B4-BE49-F238E27FC236}">
                <a16:creationId xmlns:a16="http://schemas.microsoft.com/office/drawing/2014/main" id="{F91BDA8D-266F-4D59-B123-A1F8408DBFF6}"/>
              </a:ext>
            </a:extLst>
          </p:cNvPr>
          <p:cNvSpPr>
            <a:spLocks noGrp="1"/>
          </p:cNvSpPr>
          <p:nvPr>
            <p:ph sz="half" idx="1"/>
          </p:nvPr>
        </p:nvSpPr>
        <p:spPr>
          <a:xfrm>
            <a:off x="311988" y="1222423"/>
            <a:ext cx="5134237" cy="3263504"/>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9" name="Content Placeholder 3">
            <a:extLst>
              <a:ext uri="{FF2B5EF4-FFF2-40B4-BE49-F238E27FC236}">
                <a16:creationId xmlns:a16="http://schemas.microsoft.com/office/drawing/2014/main" id="{0A31428B-1EDB-4885-A12F-2D7A64BBE836}"/>
              </a:ext>
            </a:extLst>
          </p:cNvPr>
          <p:cNvSpPr>
            <a:spLocks noGrp="1"/>
          </p:cNvSpPr>
          <p:nvPr>
            <p:ph sz="half" idx="2"/>
          </p:nvPr>
        </p:nvSpPr>
        <p:spPr>
          <a:xfrm>
            <a:off x="5867138" y="1222423"/>
            <a:ext cx="5134237" cy="3263504"/>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10" name="Segnaposto contenuto 3">
            <a:extLst>
              <a:ext uri="{FF2B5EF4-FFF2-40B4-BE49-F238E27FC236}">
                <a16:creationId xmlns:a16="http://schemas.microsoft.com/office/drawing/2014/main" id="{6E75DFF0-BC58-47AD-AE9D-902E9C875237}"/>
              </a:ext>
            </a:extLst>
          </p:cNvPr>
          <p:cNvSpPr>
            <a:spLocks noGrp="1"/>
          </p:cNvSpPr>
          <p:nvPr>
            <p:ph sz="quarter" idx="10"/>
          </p:nvPr>
        </p:nvSpPr>
        <p:spPr>
          <a:xfrm>
            <a:off x="311987" y="6538185"/>
            <a:ext cx="11488948" cy="230832"/>
          </a:xfr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Tree>
    <p:extLst>
      <p:ext uri="{BB962C8B-B14F-4D97-AF65-F5344CB8AC3E}">
        <p14:creationId xmlns:p14="http://schemas.microsoft.com/office/powerpoint/2010/main" val="12597793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sto e immagine 01">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B8D947B9-3515-4E91-B890-57232D5691C4}"/>
              </a:ext>
            </a:extLst>
          </p:cNvPr>
          <p:cNvSpPr>
            <a:spLocks noGrp="1"/>
          </p:cNvSpPr>
          <p:nvPr>
            <p:ph idx="1"/>
          </p:nvPr>
        </p:nvSpPr>
        <p:spPr>
          <a:xfrm>
            <a:off x="311988" y="1109633"/>
            <a:ext cx="11488949" cy="1072851"/>
          </a:xfrm>
        </p:spPr>
        <p:txBody>
          <a:bodyPr/>
          <a:lstStyle>
            <a:lvl1pPr marL="0" indent="0" algn="ctr">
              <a:buNone/>
              <a:defRPr/>
            </a:lvl1pPr>
          </a:lstStyle>
          <a:p>
            <a:pPr lvl="0"/>
            <a:r>
              <a:rPr lang="it-IT" dirty="0"/>
              <a:t>Fare clic per modificare gli stili del testo dello schema</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311987" y="6538185"/>
            <a:ext cx="11488948" cy="230832"/>
          </a:xfr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5" name="Segnaposto immagine 4">
            <a:extLst>
              <a:ext uri="{FF2B5EF4-FFF2-40B4-BE49-F238E27FC236}">
                <a16:creationId xmlns:a16="http://schemas.microsoft.com/office/drawing/2014/main" id="{BE77BFF5-9B4A-4237-9C6C-051756793B52}"/>
              </a:ext>
            </a:extLst>
          </p:cNvPr>
          <p:cNvSpPr>
            <a:spLocks noGrp="1"/>
          </p:cNvSpPr>
          <p:nvPr>
            <p:ph type="pic" sz="quarter" idx="11"/>
          </p:nvPr>
        </p:nvSpPr>
        <p:spPr>
          <a:xfrm>
            <a:off x="311988" y="2459038"/>
            <a:ext cx="11489488" cy="3725863"/>
          </a:xfrm>
        </p:spPr>
        <p:txBody>
          <a:bodyPr/>
          <a:lstStyle>
            <a:lvl1pPr marL="0" indent="0" algn="ctr">
              <a:buNone/>
              <a:defRPr/>
            </a:lvl1pPr>
          </a:lstStyle>
          <a:p>
            <a:endParaRPr lang="it-IT" dirty="0"/>
          </a:p>
        </p:txBody>
      </p:sp>
    </p:spTree>
    <p:extLst>
      <p:ext uri="{BB962C8B-B14F-4D97-AF65-F5344CB8AC3E}">
        <p14:creationId xmlns:p14="http://schemas.microsoft.com/office/powerpoint/2010/main" val="645001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sto e immagine 02">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B8D947B9-3515-4E91-B890-57232D5691C4}"/>
              </a:ext>
            </a:extLst>
          </p:cNvPr>
          <p:cNvSpPr>
            <a:spLocks noGrp="1"/>
          </p:cNvSpPr>
          <p:nvPr>
            <p:ph idx="1"/>
          </p:nvPr>
        </p:nvSpPr>
        <p:spPr>
          <a:xfrm>
            <a:off x="6096000" y="1109633"/>
            <a:ext cx="5704936" cy="1072851"/>
          </a:xfrm>
        </p:spPr>
        <p:txBody>
          <a:bodyPr/>
          <a:lstStyle>
            <a:lvl1pPr marL="0" indent="0" algn="l">
              <a:buNone/>
              <a:defRPr/>
            </a:lvl1pPr>
          </a:lstStyle>
          <a:p>
            <a:pPr lvl="0"/>
            <a:r>
              <a:rPr lang="it-IT" dirty="0"/>
              <a:t>Fare clic per modificare gli stili del testo dello schema</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311987" y="6538185"/>
            <a:ext cx="11488948" cy="230832"/>
          </a:xfr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5" name="Segnaposto immagine 4">
            <a:extLst>
              <a:ext uri="{FF2B5EF4-FFF2-40B4-BE49-F238E27FC236}">
                <a16:creationId xmlns:a16="http://schemas.microsoft.com/office/drawing/2014/main" id="{BE77BFF5-9B4A-4237-9C6C-051756793B52}"/>
              </a:ext>
            </a:extLst>
          </p:cNvPr>
          <p:cNvSpPr>
            <a:spLocks noGrp="1"/>
          </p:cNvSpPr>
          <p:nvPr>
            <p:ph type="pic" sz="quarter" idx="11"/>
          </p:nvPr>
        </p:nvSpPr>
        <p:spPr>
          <a:xfrm>
            <a:off x="311988" y="1109633"/>
            <a:ext cx="5566227" cy="5144519"/>
          </a:xfrm>
        </p:spPr>
        <p:txBody>
          <a:bodyPr/>
          <a:lstStyle>
            <a:lvl1pPr marL="0" indent="0" algn="ctr">
              <a:buNone/>
              <a:defRPr/>
            </a:lvl1pPr>
          </a:lstStyle>
          <a:p>
            <a:endParaRPr lang="it-IT" dirty="0"/>
          </a:p>
        </p:txBody>
      </p:sp>
    </p:spTree>
    <p:extLst>
      <p:ext uri="{BB962C8B-B14F-4D97-AF65-F5344CB8AC3E}">
        <p14:creationId xmlns:p14="http://schemas.microsoft.com/office/powerpoint/2010/main" val="15471111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sto e immagine 03">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B8D947B9-3515-4E91-B890-57232D5691C4}"/>
              </a:ext>
            </a:extLst>
          </p:cNvPr>
          <p:cNvSpPr>
            <a:spLocks noGrp="1"/>
          </p:cNvSpPr>
          <p:nvPr>
            <p:ph idx="1"/>
          </p:nvPr>
        </p:nvSpPr>
        <p:spPr>
          <a:xfrm>
            <a:off x="311987" y="1109632"/>
            <a:ext cx="5704936" cy="1072851"/>
          </a:xfrm>
        </p:spPr>
        <p:txBody>
          <a:bodyPr/>
          <a:lstStyle>
            <a:lvl1pPr marL="0" indent="0" algn="l">
              <a:buNone/>
              <a:defRPr/>
            </a:lvl1pPr>
          </a:lstStyle>
          <a:p>
            <a:pPr lvl="0"/>
            <a:r>
              <a:rPr lang="it-IT" dirty="0"/>
              <a:t>Fare clic per modificare gli stili del testo dello schema</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311987" y="6538185"/>
            <a:ext cx="11488948" cy="230832"/>
          </a:xfr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5" name="Segnaposto immagine 4">
            <a:extLst>
              <a:ext uri="{FF2B5EF4-FFF2-40B4-BE49-F238E27FC236}">
                <a16:creationId xmlns:a16="http://schemas.microsoft.com/office/drawing/2014/main" id="{BE77BFF5-9B4A-4237-9C6C-051756793B52}"/>
              </a:ext>
            </a:extLst>
          </p:cNvPr>
          <p:cNvSpPr>
            <a:spLocks noGrp="1"/>
          </p:cNvSpPr>
          <p:nvPr>
            <p:ph type="pic" sz="quarter" idx="11"/>
          </p:nvPr>
        </p:nvSpPr>
        <p:spPr>
          <a:xfrm>
            <a:off x="6234709" y="1109633"/>
            <a:ext cx="5566227" cy="5144519"/>
          </a:xfrm>
        </p:spPr>
        <p:txBody>
          <a:bodyPr/>
          <a:lstStyle>
            <a:lvl1pPr marL="0" indent="0" algn="ctr">
              <a:buNone/>
              <a:defRPr/>
            </a:lvl1pPr>
          </a:lstStyle>
          <a:p>
            <a:endParaRPr lang="it-IT" dirty="0"/>
          </a:p>
        </p:txBody>
      </p:sp>
    </p:spTree>
    <p:extLst>
      <p:ext uri="{BB962C8B-B14F-4D97-AF65-F5344CB8AC3E}">
        <p14:creationId xmlns:p14="http://schemas.microsoft.com/office/powerpoint/2010/main" val="475467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EE80D6B-75F6-4F54-963D-3A45B2DB468A}"/>
              </a:ext>
            </a:extLst>
          </p:cNvPr>
          <p:cNvSpPr>
            <a:spLocks noGrp="1"/>
          </p:cNvSpPr>
          <p:nvPr>
            <p:ph type="title"/>
          </p:nvPr>
        </p:nvSpPr>
        <p:spPr/>
        <p:txBody>
          <a:bodyPr/>
          <a:lstStyle/>
          <a:p>
            <a:r>
              <a:rPr lang="it-IT" dirty="0"/>
              <a:t>Fare clic per modificare lo stile del titolo dello schema</a:t>
            </a:r>
          </a:p>
        </p:txBody>
      </p:sp>
      <p:sp>
        <p:nvSpPr>
          <p:cNvPr id="6" name="Segnaposto contenuto 3">
            <a:extLst>
              <a:ext uri="{FF2B5EF4-FFF2-40B4-BE49-F238E27FC236}">
                <a16:creationId xmlns:a16="http://schemas.microsoft.com/office/drawing/2014/main" id="{C6B0A16C-EACF-4BD5-8824-D32F0BB16B3C}"/>
              </a:ext>
            </a:extLst>
          </p:cNvPr>
          <p:cNvSpPr>
            <a:spLocks noGrp="1"/>
          </p:cNvSpPr>
          <p:nvPr>
            <p:ph sz="quarter" idx="10"/>
          </p:nvPr>
        </p:nvSpPr>
        <p:spPr>
          <a:xfrm>
            <a:off x="311987" y="6538185"/>
            <a:ext cx="11488948" cy="230832"/>
          </a:xfr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Tree>
    <p:extLst>
      <p:ext uri="{BB962C8B-B14F-4D97-AF65-F5344CB8AC3E}">
        <p14:creationId xmlns:p14="http://schemas.microsoft.com/office/powerpoint/2010/main" val="1143226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uota">
    <p:spTree>
      <p:nvGrpSpPr>
        <p:cNvPr id="1" name=""/>
        <p:cNvGrpSpPr/>
        <p:nvPr/>
      </p:nvGrpSpPr>
      <p:grpSpPr>
        <a:xfrm>
          <a:off x="0" y="0"/>
          <a:ext cx="0" cy="0"/>
          <a:chOff x="0" y="0"/>
          <a:chExt cx="0" cy="0"/>
        </a:xfrm>
      </p:grpSpPr>
      <p:sp>
        <p:nvSpPr>
          <p:cNvPr id="5" name="Segnaposto contenuto 3">
            <a:extLst>
              <a:ext uri="{FF2B5EF4-FFF2-40B4-BE49-F238E27FC236}">
                <a16:creationId xmlns:a16="http://schemas.microsoft.com/office/drawing/2014/main" id="{AE5C4A39-1B88-405D-9A8F-D8BD0E136A09}"/>
              </a:ext>
            </a:extLst>
          </p:cNvPr>
          <p:cNvSpPr>
            <a:spLocks noGrp="1"/>
          </p:cNvSpPr>
          <p:nvPr>
            <p:ph sz="quarter" idx="10"/>
          </p:nvPr>
        </p:nvSpPr>
        <p:spPr>
          <a:xfrm>
            <a:off x="311987" y="6538185"/>
            <a:ext cx="11488948" cy="230832"/>
          </a:xfr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6" name="Rettangolo 5">
            <a:extLst>
              <a:ext uri="{FF2B5EF4-FFF2-40B4-BE49-F238E27FC236}">
                <a16:creationId xmlns:a16="http://schemas.microsoft.com/office/drawing/2014/main" id="{A5EA67BC-75E1-4AF7-937D-D7C140C1DD04}"/>
              </a:ext>
            </a:extLst>
          </p:cNvPr>
          <p:cNvSpPr/>
          <p:nvPr userDrawn="1"/>
        </p:nvSpPr>
        <p:spPr>
          <a:xfrm>
            <a:off x="0" y="2"/>
            <a:ext cx="12192000" cy="1397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800"/>
          </a:p>
        </p:txBody>
      </p:sp>
      <p:sp>
        <p:nvSpPr>
          <p:cNvPr id="4" name="Rettangolo 3">
            <a:extLst>
              <a:ext uri="{FF2B5EF4-FFF2-40B4-BE49-F238E27FC236}">
                <a16:creationId xmlns:a16="http://schemas.microsoft.com/office/drawing/2014/main" id="{FC82C13E-0FF9-4FD5-BFAD-58C4F770361F}"/>
              </a:ext>
            </a:extLst>
          </p:cNvPr>
          <p:cNvSpPr/>
          <p:nvPr userDrawn="1"/>
        </p:nvSpPr>
        <p:spPr>
          <a:xfrm>
            <a:off x="0" y="1"/>
            <a:ext cx="12192000" cy="127809"/>
          </a:xfrm>
          <a:prstGeom prst="rect">
            <a:avLst/>
          </a:prstGeom>
          <a:solidFill>
            <a:srgbClr val="0C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800"/>
          </a:p>
        </p:txBody>
      </p:sp>
      <p:cxnSp>
        <p:nvCxnSpPr>
          <p:cNvPr id="7" name="Connettore 1 9">
            <a:extLst>
              <a:ext uri="{FF2B5EF4-FFF2-40B4-BE49-F238E27FC236}">
                <a16:creationId xmlns:a16="http://schemas.microsoft.com/office/drawing/2014/main" id="{78564AA2-AA35-4825-99C9-CD757C3F9437}"/>
              </a:ext>
            </a:extLst>
          </p:cNvPr>
          <p:cNvCxnSpPr>
            <a:cxnSpLocks/>
          </p:cNvCxnSpPr>
          <p:nvPr userDrawn="1"/>
        </p:nvCxnSpPr>
        <p:spPr>
          <a:xfrm>
            <a:off x="0" y="127816"/>
            <a:ext cx="121920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0393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33C3-5B9B-5062-E3B3-EDFCF00DC312}"/>
              </a:ext>
            </a:extLst>
          </p:cNvPr>
          <p:cNvSpPr>
            <a:spLocks noGrp="1"/>
          </p:cNvSpPr>
          <p:nvPr>
            <p:ph type="title"/>
          </p:nvPr>
        </p:nvSpPr>
        <p:spPr>
          <a:xfrm>
            <a:off x="357434" y="355699"/>
            <a:ext cx="11834565" cy="794372"/>
          </a:xfrm>
          <a:prstGeom prst="rect">
            <a:avLst/>
          </a:prstGeom>
        </p:spPr>
        <p:txBody>
          <a:bodyPr>
            <a:noAutofit/>
          </a:bodyPr>
          <a:lstStyle>
            <a:lvl1pPr>
              <a:lnSpc>
                <a:spcPct val="100000"/>
              </a:lnSpc>
              <a:defRPr sz="3000" b="1">
                <a:solidFill>
                  <a:srgbClr val="5D2A84"/>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0BEA3F4-F7BB-DC32-A0DE-4CDD68B3BAA6}"/>
              </a:ext>
            </a:extLst>
          </p:cNvPr>
          <p:cNvSpPr>
            <a:spLocks noGrp="1"/>
          </p:cNvSpPr>
          <p:nvPr>
            <p:ph idx="1"/>
          </p:nvPr>
        </p:nvSpPr>
        <p:spPr>
          <a:xfrm>
            <a:off x="357435" y="1489435"/>
            <a:ext cx="9568992" cy="4027652"/>
          </a:xfrm>
          <a:prstGeom prst="rect">
            <a:avLst/>
          </a:prstGeom>
        </p:spPr>
        <p:txBody>
          <a:bodyPr/>
          <a:lstStyle>
            <a:lvl1pPr>
              <a:lnSpc>
                <a:spcPct val="100000"/>
              </a:lnSpc>
              <a:spcBef>
                <a:spcPts val="0"/>
              </a:spcBef>
              <a:defRPr>
                <a:solidFill>
                  <a:srgbClr val="251607"/>
                </a:solidFill>
                <a:latin typeface="Arial" panose="020B0604020202020204" pitchFamily="34" charset="0"/>
                <a:cs typeface="Arial" panose="020B0604020202020204" pitchFamily="34" charset="0"/>
              </a:defRPr>
            </a:lvl1pPr>
            <a:lvl2pPr>
              <a:lnSpc>
                <a:spcPct val="100000"/>
              </a:lnSpc>
              <a:spcBef>
                <a:spcPts val="0"/>
              </a:spcBef>
              <a:defRPr>
                <a:solidFill>
                  <a:srgbClr val="251607"/>
                </a:solidFill>
                <a:latin typeface="Arial" panose="020B0604020202020204" pitchFamily="34" charset="0"/>
                <a:cs typeface="Arial" panose="020B0604020202020204" pitchFamily="34" charset="0"/>
              </a:defRPr>
            </a:lvl2pPr>
            <a:lvl3pPr>
              <a:lnSpc>
                <a:spcPct val="100000"/>
              </a:lnSpc>
              <a:spcBef>
                <a:spcPts val="0"/>
              </a:spcBef>
              <a:defRPr>
                <a:solidFill>
                  <a:srgbClr val="251607"/>
                </a:solidFill>
                <a:latin typeface="Arial" panose="020B0604020202020204" pitchFamily="34" charset="0"/>
                <a:cs typeface="Arial" panose="020B0604020202020204" pitchFamily="34" charset="0"/>
              </a:defRPr>
            </a:lvl3pPr>
            <a:lvl4pPr>
              <a:lnSpc>
                <a:spcPct val="100000"/>
              </a:lnSpc>
              <a:spcBef>
                <a:spcPts val="0"/>
              </a:spcBef>
              <a:defRPr>
                <a:solidFill>
                  <a:srgbClr val="251607"/>
                </a:solidFill>
                <a:latin typeface="Arial" panose="020B0604020202020204" pitchFamily="34" charset="0"/>
                <a:cs typeface="Arial" panose="020B0604020202020204" pitchFamily="34" charset="0"/>
              </a:defRPr>
            </a:lvl4pPr>
            <a:lvl5pPr>
              <a:lnSpc>
                <a:spcPct val="100000"/>
              </a:lnSpc>
              <a:spcBef>
                <a:spcPts val="0"/>
              </a:spcBef>
              <a:defRPr>
                <a:solidFill>
                  <a:srgbClr val="251607"/>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EEEE254A-EDA4-3177-8007-FD8F7CB5CD9C}"/>
              </a:ext>
            </a:extLst>
          </p:cNvPr>
          <p:cNvSpPr>
            <a:spLocks noGrp="1"/>
          </p:cNvSpPr>
          <p:nvPr>
            <p:ph type="body" sz="quarter" idx="10" hasCustomPrompt="1"/>
          </p:nvPr>
        </p:nvSpPr>
        <p:spPr>
          <a:xfrm>
            <a:off x="357434" y="6437314"/>
            <a:ext cx="11834567" cy="420687"/>
          </a:xfrm>
          <a:prstGeom prst="rect">
            <a:avLst/>
          </a:prstGeom>
        </p:spPr>
        <p:txBody>
          <a:bodyPr anchor="b"/>
          <a:lstStyle>
            <a:lvl1pPr marL="0" indent="0">
              <a:spcBef>
                <a:spcPts val="0"/>
              </a:spcBef>
              <a:buNone/>
              <a:defRPr sz="1000"/>
            </a:lvl1pPr>
          </a:lstStyle>
          <a:p>
            <a:pPr lvl="0"/>
            <a:r>
              <a:rPr lang="en-US"/>
              <a:t>Footnote</a:t>
            </a:r>
            <a:endParaRPr lang="en-GB"/>
          </a:p>
        </p:txBody>
      </p:sp>
    </p:spTree>
    <p:extLst>
      <p:ext uri="{BB962C8B-B14F-4D97-AF65-F5344CB8AC3E}">
        <p14:creationId xmlns:p14="http://schemas.microsoft.com/office/powerpoint/2010/main" val="3454748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551FB21A-0E6D-4C3A-92F2-1A4C404F796E}"/>
              </a:ext>
            </a:extLst>
          </p:cNvPr>
          <p:cNvSpPr>
            <a:spLocks noGrp="1"/>
          </p:cNvSpPr>
          <p:nvPr>
            <p:ph type="body" sz="quarter" idx="10" hasCustomPrompt="1"/>
          </p:nvPr>
        </p:nvSpPr>
        <p:spPr>
          <a:xfrm>
            <a:off x="432825" y="452671"/>
            <a:ext cx="8021219" cy="960109"/>
          </a:xfrm>
          <a:prstGeom prst="rect">
            <a:avLst/>
          </a:prstGeom>
        </p:spPr>
        <p:txBody>
          <a:bodyPr/>
          <a:lstStyle>
            <a:lvl1pPr marL="0" indent="0">
              <a:lnSpc>
                <a:spcPts val="3333"/>
              </a:lnSpc>
              <a:spcBef>
                <a:spcPts val="0"/>
              </a:spcBef>
              <a:buNone/>
              <a:defRPr sz="3467" b="0">
                <a:solidFill>
                  <a:srgbClr val="C1002A"/>
                </a:solidFill>
                <a:latin typeface="+mj-lt"/>
              </a:defRPr>
            </a:lvl1pPr>
            <a:lvl2pPr marL="355582" indent="0">
              <a:buNone/>
              <a:defRPr/>
            </a:lvl2pPr>
            <a:lvl3pPr marL="709048" indent="0">
              <a:buNone/>
              <a:defRPr/>
            </a:lvl3pPr>
            <a:lvl4pPr marL="1079446" indent="0">
              <a:buNone/>
              <a:defRPr/>
            </a:lvl4pPr>
            <a:lvl5pPr marL="1435028" indent="0">
              <a:buNone/>
              <a:defRPr/>
            </a:lvl5pPr>
          </a:lstStyle>
          <a:p>
            <a:pPr lvl="0"/>
            <a:r>
              <a:rPr lang="en-US" dirty="0"/>
              <a:t>First line</a:t>
            </a:r>
            <a:r>
              <a:rPr lang="cs-CZ" dirty="0"/>
              <a:t> o</a:t>
            </a:r>
            <a:r>
              <a:rPr lang="en-US" dirty="0"/>
              <a:t>f the headline</a:t>
            </a:r>
          </a:p>
        </p:txBody>
      </p:sp>
      <p:sp>
        <p:nvSpPr>
          <p:cNvPr id="13" name="Espace réservé du contenu 12">
            <a:extLst>
              <a:ext uri="{FF2B5EF4-FFF2-40B4-BE49-F238E27FC236}">
                <a16:creationId xmlns:a16="http://schemas.microsoft.com/office/drawing/2014/main" id="{861B12CF-C574-4831-92D6-4B1240FED72B}"/>
              </a:ext>
            </a:extLst>
          </p:cNvPr>
          <p:cNvSpPr>
            <a:spLocks noGrp="1"/>
          </p:cNvSpPr>
          <p:nvPr>
            <p:ph sz="quarter" idx="11" hasCustomPrompt="1"/>
          </p:nvPr>
        </p:nvSpPr>
        <p:spPr>
          <a:xfrm>
            <a:off x="431801" y="1604435"/>
            <a:ext cx="10368723" cy="4129617"/>
          </a:xfrm>
          <a:prstGeom prst="rect">
            <a:avLst/>
          </a:prstGeom>
        </p:spPr>
        <p:txBody>
          <a:bodyPr/>
          <a:lstStyle>
            <a:lvl1pPr marL="0" indent="0">
              <a:buNone/>
              <a:defRPr sz="1600">
                <a:solidFill>
                  <a:schemeClr val="tx1">
                    <a:lumMod val="65000"/>
                    <a:lumOff val="35000"/>
                  </a:schemeClr>
                </a:solidFill>
                <a:latin typeface="Verdana Pro" panose="020B0604030504040204" pitchFamily="34" charset="0"/>
              </a:defRPr>
            </a:lvl1pPr>
            <a:lvl2pPr marL="355582" indent="0">
              <a:buNone/>
              <a:defRPr sz="1600">
                <a:solidFill>
                  <a:schemeClr val="tx1">
                    <a:lumMod val="95000"/>
                    <a:lumOff val="5000"/>
                  </a:schemeClr>
                </a:solidFill>
                <a:latin typeface="+mj-lt"/>
              </a:defRPr>
            </a:lvl2pPr>
            <a:lvl3pPr marL="709048" indent="0">
              <a:buNone/>
              <a:defRPr sz="1600">
                <a:solidFill>
                  <a:schemeClr val="tx1">
                    <a:lumMod val="95000"/>
                    <a:lumOff val="5000"/>
                  </a:schemeClr>
                </a:solidFill>
                <a:latin typeface="+mj-lt"/>
              </a:defRPr>
            </a:lvl3pPr>
            <a:lvl4pPr marL="1079446" indent="0">
              <a:buNone/>
              <a:defRPr sz="1600">
                <a:solidFill>
                  <a:schemeClr val="tx1">
                    <a:lumMod val="95000"/>
                    <a:lumOff val="5000"/>
                  </a:schemeClr>
                </a:solidFill>
                <a:latin typeface="+mj-lt"/>
              </a:defRPr>
            </a:lvl4pPr>
            <a:lvl5pPr marL="1435028" indent="0">
              <a:buNone/>
              <a:defRPr sz="1600">
                <a:solidFill>
                  <a:schemeClr val="tx1">
                    <a:lumMod val="95000"/>
                    <a:lumOff val="5000"/>
                  </a:schemeClr>
                </a:solidFill>
                <a:latin typeface="+mj-lt"/>
              </a:defRPr>
            </a:lvl5pPr>
          </a:lstStyle>
          <a:p>
            <a:pPr lvl="0"/>
            <a:r>
              <a:rPr lang="cs-CZ" dirty="0" err="1"/>
              <a:t>Content</a:t>
            </a:r>
            <a:endParaRPr lang="fr-FR" dirty="0"/>
          </a:p>
        </p:txBody>
      </p:sp>
      <p:pic>
        <p:nvPicPr>
          <p:cNvPr id="5" name="Picture 4" descr="Text&#10;&#10;Description automatically generated with medium confidence">
            <a:extLst>
              <a:ext uri="{FF2B5EF4-FFF2-40B4-BE49-F238E27FC236}">
                <a16:creationId xmlns:a16="http://schemas.microsoft.com/office/drawing/2014/main" id="{695B8D64-2182-F37F-CD9E-7F8BDF3B9D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876199" y="5915768"/>
            <a:ext cx="2663133" cy="492517"/>
          </a:xfrm>
          <a:prstGeom prst="rect">
            <a:avLst/>
          </a:prstGeom>
        </p:spPr>
      </p:pic>
      <p:pic>
        <p:nvPicPr>
          <p:cNvPr id="4" name="Picture 3" descr="Text&#10;&#10;Description automatically generated">
            <a:extLst>
              <a:ext uri="{FF2B5EF4-FFF2-40B4-BE49-F238E27FC236}">
                <a16:creationId xmlns:a16="http://schemas.microsoft.com/office/drawing/2014/main" id="{532B0D02-2D37-B625-37A0-B7A51A5A269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876199" y="5890941"/>
            <a:ext cx="2802283" cy="517345"/>
          </a:xfrm>
          <a:prstGeom prst="rect">
            <a:avLst/>
          </a:prstGeom>
        </p:spPr>
      </p:pic>
    </p:spTree>
    <p:extLst>
      <p:ext uri="{BB962C8B-B14F-4D97-AF65-F5344CB8AC3E}">
        <p14:creationId xmlns:p14="http://schemas.microsoft.com/office/powerpoint/2010/main" val="2988322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B5298DA-FF3E-644A-BBA9-14F50E94A1A7}"/>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9C3E963B-35B8-574E-B24D-DB25E3350703}"/>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Text Placeholder 4">
            <a:extLst>
              <a:ext uri="{FF2B5EF4-FFF2-40B4-BE49-F238E27FC236}">
                <a16:creationId xmlns:a16="http://schemas.microsoft.com/office/drawing/2014/main" id="{129A4094-81BF-4A98-C86C-C8C9E2B2079C}"/>
              </a:ext>
            </a:extLst>
          </p:cNvPr>
          <p:cNvSpPr>
            <a:spLocks noGrp="1"/>
          </p:cNvSpPr>
          <p:nvPr>
            <p:ph type="body" sz="quarter" idx="10"/>
          </p:nvPr>
        </p:nvSpPr>
        <p:spPr>
          <a:xfrm>
            <a:off x="2535811" y="6203442"/>
            <a:ext cx="7635711" cy="325629"/>
          </a:xfrm>
        </p:spPr>
        <p:txBody>
          <a:bodyPr>
            <a:noAutofit/>
          </a:bodyPr>
          <a:lstStyle>
            <a:lvl1pPr marL="0" indent="0">
              <a:buNone/>
              <a:defRPr sz="900">
                <a:solidFill>
                  <a:srgbClr val="003E61"/>
                </a:solidFill>
              </a:defRPr>
            </a:lvl1pPr>
            <a:lvl2pPr marL="457189" indent="0">
              <a:buNone/>
              <a:defRPr sz="900"/>
            </a:lvl2pPr>
            <a:lvl3pPr marL="914377" indent="0">
              <a:buNone/>
              <a:defRPr sz="900"/>
            </a:lvl3pPr>
            <a:lvl4pPr marL="1371566" indent="0">
              <a:buNone/>
              <a:defRPr sz="900"/>
            </a:lvl4pPr>
            <a:lvl5pPr marL="1828754" indent="0">
              <a:buNone/>
              <a:defRPr sz="900"/>
            </a:lvl5pPr>
          </a:lstStyle>
          <a:p>
            <a:pPr lvl="0"/>
            <a:r>
              <a:rPr lang="en-US" dirty="0"/>
              <a:t>Click to edit Master text styles</a:t>
            </a:r>
            <a:endParaRPr lang="it-IT" dirty="0"/>
          </a:p>
        </p:txBody>
      </p:sp>
    </p:spTree>
    <p:extLst>
      <p:ext uri="{BB962C8B-B14F-4D97-AF65-F5344CB8AC3E}">
        <p14:creationId xmlns:p14="http://schemas.microsoft.com/office/powerpoint/2010/main" val="17217594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268FF78-2B5C-824C-AE23-D3F49179D367}"/>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F082BA43-A52C-EC42-87AA-293F9A311CEF}"/>
              </a:ext>
            </a:extLst>
          </p:cNvPr>
          <p:cNvSpPr>
            <a:spLocks noGrp="1"/>
          </p:cNvSpPr>
          <p:nvPr>
            <p:ph sz="half" idx="1"/>
          </p:nvPr>
        </p:nvSpPr>
        <p:spPr>
          <a:xfrm>
            <a:off x="838200" y="1825625"/>
            <a:ext cx="5181600" cy="435133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0680D6DB-A468-2442-8165-346AFEB3A7E1}"/>
              </a:ext>
            </a:extLst>
          </p:cNvPr>
          <p:cNvSpPr>
            <a:spLocks noGrp="1"/>
          </p:cNvSpPr>
          <p:nvPr>
            <p:ph sz="half" idx="2"/>
          </p:nvPr>
        </p:nvSpPr>
        <p:spPr>
          <a:xfrm>
            <a:off x="6172200" y="1825625"/>
            <a:ext cx="5181600" cy="435133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Text Placeholder 4">
            <a:extLst>
              <a:ext uri="{FF2B5EF4-FFF2-40B4-BE49-F238E27FC236}">
                <a16:creationId xmlns:a16="http://schemas.microsoft.com/office/drawing/2014/main" id="{3FB71439-A4FF-5003-3BD1-B6C8608DE942}"/>
              </a:ext>
            </a:extLst>
          </p:cNvPr>
          <p:cNvSpPr>
            <a:spLocks noGrp="1"/>
          </p:cNvSpPr>
          <p:nvPr>
            <p:ph type="body" sz="quarter" idx="10"/>
          </p:nvPr>
        </p:nvSpPr>
        <p:spPr>
          <a:xfrm>
            <a:off x="2535811" y="6203442"/>
            <a:ext cx="7635711" cy="325629"/>
          </a:xfrm>
        </p:spPr>
        <p:txBody>
          <a:bodyPr>
            <a:noAutofit/>
          </a:bodyPr>
          <a:lstStyle>
            <a:lvl1pPr marL="0" indent="0">
              <a:buNone/>
              <a:defRPr sz="900">
                <a:solidFill>
                  <a:srgbClr val="003E61"/>
                </a:solidFill>
              </a:defRPr>
            </a:lvl1pPr>
            <a:lvl2pPr marL="457189" indent="0">
              <a:buNone/>
              <a:defRPr sz="900"/>
            </a:lvl2pPr>
            <a:lvl3pPr marL="914377" indent="0">
              <a:buNone/>
              <a:defRPr sz="900"/>
            </a:lvl3pPr>
            <a:lvl4pPr marL="1371566" indent="0">
              <a:buNone/>
              <a:defRPr sz="900"/>
            </a:lvl4pPr>
            <a:lvl5pPr marL="1828754" indent="0">
              <a:buNone/>
              <a:defRPr sz="900"/>
            </a:lvl5pPr>
          </a:lstStyle>
          <a:p>
            <a:pPr lvl="0"/>
            <a:r>
              <a:rPr lang="en-US" dirty="0"/>
              <a:t>Click to edit Master text styles</a:t>
            </a:r>
            <a:endParaRPr lang="it-IT" dirty="0"/>
          </a:p>
        </p:txBody>
      </p:sp>
    </p:spTree>
    <p:extLst>
      <p:ext uri="{BB962C8B-B14F-4D97-AF65-F5344CB8AC3E}">
        <p14:creationId xmlns:p14="http://schemas.microsoft.com/office/powerpoint/2010/main" val="4161425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EACD872-4047-D045-9E87-A1F1EE53270A}"/>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1CDB777D-007E-6B44-A5BE-9A1CC5905B5F}"/>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it-IT"/>
          </a:p>
        </p:txBody>
      </p:sp>
      <p:sp>
        <p:nvSpPr>
          <p:cNvPr id="4" name="Segnaposto testo 3">
            <a:extLst>
              <a:ext uri="{FF2B5EF4-FFF2-40B4-BE49-F238E27FC236}">
                <a16:creationId xmlns:a16="http://schemas.microsoft.com/office/drawing/2014/main" id="{66028C5D-E270-CF4F-BA4B-09635B072E96}"/>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it-IT"/>
              <a:t>Fare clic per modificare gli stili del testo dello schema</a:t>
            </a:r>
          </a:p>
        </p:txBody>
      </p:sp>
      <p:sp>
        <p:nvSpPr>
          <p:cNvPr id="8" name="Text Placeholder 4">
            <a:extLst>
              <a:ext uri="{FF2B5EF4-FFF2-40B4-BE49-F238E27FC236}">
                <a16:creationId xmlns:a16="http://schemas.microsoft.com/office/drawing/2014/main" id="{3864AD52-A466-5EED-24CA-78E8B1064F94}"/>
              </a:ext>
            </a:extLst>
          </p:cNvPr>
          <p:cNvSpPr>
            <a:spLocks noGrp="1"/>
          </p:cNvSpPr>
          <p:nvPr>
            <p:ph type="body" sz="quarter" idx="10"/>
          </p:nvPr>
        </p:nvSpPr>
        <p:spPr>
          <a:xfrm>
            <a:off x="2535811" y="6203442"/>
            <a:ext cx="7635711" cy="325629"/>
          </a:xfrm>
        </p:spPr>
        <p:txBody>
          <a:bodyPr>
            <a:noAutofit/>
          </a:bodyPr>
          <a:lstStyle>
            <a:lvl1pPr marL="0" indent="0">
              <a:buNone/>
              <a:defRPr sz="900">
                <a:solidFill>
                  <a:srgbClr val="003E61"/>
                </a:solidFill>
              </a:defRPr>
            </a:lvl1pPr>
            <a:lvl2pPr marL="457189" indent="0">
              <a:buNone/>
              <a:defRPr sz="900"/>
            </a:lvl2pPr>
            <a:lvl3pPr marL="914377" indent="0">
              <a:buNone/>
              <a:defRPr sz="900"/>
            </a:lvl3pPr>
            <a:lvl4pPr marL="1371566" indent="0">
              <a:buNone/>
              <a:defRPr sz="900"/>
            </a:lvl4pPr>
            <a:lvl5pPr marL="1828754" indent="0">
              <a:buNone/>
              <a:defRPr sz="900"/>
            </a:lvl5pPr>
          </a:lstStyle>
          <a:p>
            <a:pPr lvl="0"/>
            <a:r>
              <a:rPr lang="en-US" dirty="0"/>
              <a:t>Click to edit Master text styles</a:t>
            </a:r>
            <a:endParaRPr lang="it-IT" dirty="0"/>
          </a:p>
        </p:txBody>
      </p:sp>
    </p:spTree>
    <p:extLst>
      <p:ext uri="{BB962C8B-B14F-4D97-AF65-F5344CB8AC3E}">
        <p14:creationId xmlns:p14="http://schemas.microsoft.com/office/powerpoint/2010/main" val="823392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and Content AL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4690CBD-213A-4D1C-A051-535EB041C52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86" y="6705601"/>
            <a:ext cx="12189631" cy="152400"/>
          </a:xfrm>
          <a:prstGeom prst="rect">
            <a:avLst/>
          </a:prstGeom>
        </p:spPr>
      </p:pic>
      <p:sp>
        <p:nvSpPr>
          <p:cNvPr id="15" name="Text Placeholder 4">
            <a:extLst>
              <a:ext uri="{FF2B5EF4-FFF2-40B4-BE49-F238E27FC236}">
                <a16:creationId xmlns:a16="http://schemas.microsoft.com/office/drawing/2014/main" id="{7076149B-8BD0-42D6-A0B5-F60F5D809D10}"/>
              </a:ext>
            </a:extLst>
          </p:cNvPr>
          <p:cNvSpPr>
            <a:spLocks noGrp="1"/>
          </p:cNvSpPr>
          <p:nvPr>
            <p:ph type="body" sz="quarter" idx="10" hasCustomPrompt="1"/>
          </p:nvPr>
        </p:nvSpPr>
        <p:spPr>
          <a:xfrm>
            <a:off x="358775" y="6224131"/>
            <a:ext cx="11461751" cy="404812"/>
          </a:xfrm>
          <a:prstGeom prst="rect">
            <a:avLst/>
          </a:prstGeom>
        </p:spPr>
        <p:txBody>
          <a:bodyPr lIns="0" tIns="36000" bIns="0" anchor="b" anchorCtr="0"/>
          <a:lstStyle>
            <a:lvl1pPr marL="0" indent="0">
              <a:lnSpc>
                <a:spcPct val="90000"/>
              </a:lnSpc>
              <a:spcBef>
                <a:spcPts val="0"/>
              </a:spcBef>
              <a:spcAft>
                <a:spcPts val="0"/>
              </a:spcAft>
              <a:buNone/>
              <a:defRPr sz="800">
                <a:solidFill>
                  <a:schemeClr val="tx1"/>
                </a:solidFill>
              </a:defRPr>
            </a:lvl1pPr>
            <a:lvl2pPr marL="305992" indent="0">
              <a:buNone/>
              <a:defRPr/>
            </a:lvl2pPr>
          </a:lstStyle>
          <a:p>
            <a:pPr lvl="0"/>
            <a:r>
              <a:rPr lang="en-US"/>
              <a:t>Insert footnotes and references</a:t>
            </a:r>
          </a:p>
        </p:txBody>
      </p:sp>
      <p:sp>
        <p:nvSpPr>
          <p:cNvPr id="6" name="Graphic 7">
            <a:extLst>
              <a:ext uri="{FF2B5EF4-FFF2-40B4-BE49-F238E27FC236}">
                <a16:creationId xmlns:a16="http://schemas.microsoft.com/office/drawing/2014/main" id="{09988463-961E-4AD1-9EE7-4787214249D8}"/>
              </a:ext>
            </a:extLst>
          </p:cNvPr>
          <p:cNvSpPr/>
          <p:nvPr userDrawn="1"/>
        </p:nvSpPr>
        <p:spPr>
          <a:xfrm>
            <a:off x="2" y="808422"/>
            <a:ext cx="11839575" cy="212367"/>
          </a:xfrm>
          <a:custGeom>
            <a:avLst/>
            <a:gdLst>
              <a:gd name="connsiteX0" fmla="*/ 11772542 w 11884996"/>
              <a:gd name="connsiteY0" fmla="*/ 14 h 213181"/>
              <a:gd name="connsiteX1" fmla="*/ 11542970 w 11884996"/>
              <a:gd name="connsiteY1" fmla="*/ 89017 h 213181"/>
              <a:gd name="connsiteX2" fmla="*/ 11542970 w 11884996"/>
              <a:gd name="connsiteY2" fmla="*/ 89017 h 213181"/>
              <a:gd name="connsiteX3" fmla="*/ 11534841 w 11884996"/>
              <a:gd name="connsiteY3" fmla="*/ 89017 h 213181"/>
              <a:gd name="connsiteX4" fmla="*/ 11532177 w 11884996"/>
              <a:gd name="connsiteY4" fmla="*/ 89017 h 213181"/>
              <a:gd name="connsiteX5" fmla="*/ 11532177 w 11884996"/>
              <a:gd name="connsiteY5" fmla="*/ 89017 h 213181"/>
              <a:gd name="connsiteX6" fmla="*/ 0 w 11884996"/>
              <a:gd name="connsiteY6" fmla="*/ 89017 h 213181"/>
              <a:gd name="connsiteX7" fmla="*/ 0 w 11884996"/>
              <a:gd name="connsiteY7" fmla="*/ 130854 h 213181"/>
              <a:gd name="connsiteX8" fmla="*/ 11532177 w 11884996"/>
              <a:gd name="connsiteY8" fmla="*/ 130854 h 213181"/>
              <a:gd name="connsiteX9" fmla="*/ 11532177 w 11884996"/>
              <a:gd name="connsiteY9" fmla="*/ 130854 h 213181"/>
              <a:gd name="connsiteX10" fmla="*/ 11541903 w 11884996"/>
              <a:gd name="connsiteY10" fmla="*/ 130988 h 213181"/>
              <a:gd name="connsiteX11" fmla="*/ 11767879 w 11884996"/>
              <a:gd name="connsiteY11" fmla="*/ 226120 h 213181"/>
              <a:gd name="connsiteX12" fmla="*/ 11886062 w 11884996"/>
              <a:gd name="connsiteY12" fmla="*/ 113134 h 213181"/>
              <a:gd name="connsiteX13" fmla="*/ 11772542 w 11884996"/>
              <a:gd name="connsiteY13" fmla="*/ 14 h 2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84996" h="213181">
                <a:moveTo>
                  <a:pt x="11772542" y="14"/>
                </a:moveTo>
                <a:cubicBezTo>
                  <a:pt x="11672745" y="-1318"/>
                  <a:pt x="11671146" y="90217"/>
                  <a:pt x="11542970" y="89017"/>
                </a:cubicBezTo>
                <a:lnTo>
                  <a:pt x="11542970" y="89017"/>
                </a:lnTo>
                <a:lnTo>
                  <a:pt x="11534841" y="89017"/>
                </a:lnTo>
                <a:lnTo>
                  <a:pt x="11532177" y="89017"/>
                </a:lnTo>
                <a:lnTo>
                  <a:pt x="11532177" y="89017"/>
                </a:lnTo>
                <a:lnTo>
                  <a:pt x="0" y="89017"/>
                </a:lnTo>
                <a:lnTo>
                  <a:pt x="0" y="130854"/>
                </a:lnTo>
                <a:lnTo>
                  <a:pt x="11532177" y="130854"/>
                </a:lnTo>
                <a:lnTo>
                  <a:pt x="11532177" y="130854"/>
                </a:lnTo>
                <a:lnTo>
                  <a:pt x="11541903" y="130988"/>
                </a:lnTo>
                <a:cubicBezTo>
                  <a:pt x="11670746" y="132720"/>
                  <a:pt x="11669414" y="224787"/>
                  <a:pt x="11767879" y="226120"/>
                </a:cubicBezTo>
                <a:cubicBezTo>
                  <a:pt x="11832366" y="226919"/>
                  <a:pt x="11885929" y="176555"/>
                  <a:pt x="11886062" y="113134"/>
                </a:cubicBezTo>
                <a:cubicBezTo>
                  <a:pt x="11885929" y="51311"/>
                  <a:pt x="11835431" y="814"/>
                  <a:pt x="11772542" y="14"/>
                </a:cubicBezTo>
                <a:close/>
              </a:path>
            </a:pathLst>
          </a:custGeom>
          <a:gradFill flip="none" rotWithShape="1">
            <a:gsLst>
              <a:gs pos="100000">
                <a:schemeClr val="accent1"/>
              </a:gs>
              <a:gs pos="0">
                <a:schemeClr val="accent2"/>
              </a:gs>
            </a:gsLst>
            <a:lin ang="10800000" scaled="1"/>
            <a:tileRect/>
          </a:gradFill>
          <a:ln w="1323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a:ea typeface="+mn-ea"/>
              <a:cs typeface="+mn-cs"/>
            </a:endParaRPr>
          </a:p>
        </p:txBody>
      </p:sp>
      <p:sp>
        <p:nvSpPr>
          <p:cNvPr id="7" name="Title Placeholder 1">
            <a:extLst>
              <a:ext uri="{FF2B5EF4-FFF2-40B4-BE49-F238E27FC236}">
                <a16:creationId xmlns:a16="http://schemas.microsoft.com/office/drawing/2014/main" id="{655A98F3-B264-43BB-B7FE-5C25F7C664E0}"/>
              </a:ext>
            </a:extLst>
          </p:cNvPr>
          <p:cNvSpPr>
            <a:spLocks noGrp="1"/>
          </p:cNvSpPr>
          <p:nvPr>
            <p:ph type="title"/>
          </p:nvPr>
        </p:nvSpPr>
        <p:spPr>
          <a:xfrm>
            <a:off x="368301" y="3174"/>
            <a:ext cx="11452225" cy="886119"/>
          </a:xfrm>
          <a:prstGeom prst="rect">
            <a:avLst/>
          </a:prstGeom>
        </p:spPr>
        <p:txBody>
          <a:bodyPr vert="horz" lIns="0" tIns="0" rIns="0" bIns="0" rtlCol="0" anchor="ctr">
            <a:noAutofit/>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2586940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3"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2" y="6152877"/>
            <a:ext cx="10227735" cy="694267"/>
          </a:xfrm>
          <a:prstGeom prst="rect">
            <a:avLst/>
          </a:prstGeom>
        </p:spPr>
        <p:txBody>
          <a:bodyPr anchor="b">
            <a:normAutofit/>
          </a:bodyPr>
          <a:lstStyle>
            <a:lvl1pPr marL="0" algn="l" defTabSz="914332" rtl="0" eaLnBrk="1" fontAlgn="base" latinLnBrk="0" hangingPunct="1">
              <a:spcBef>
                <a:spcPct val="0"/>
              </a:spcBef>
              <a:spcAft>
                <a:spcPct val="0"/>
              </a:spcAft>
              <a:buClr>
                <a:schemeClr val="tx2"/>
              </a:buClr>
              <a:defRPr lang="en-US" sz="1067" b="0" kern="0" dirty="0" smtClean="0">
                <a:solidFill>
                  <a:srgbClr val="6A6356"/>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21"/>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392247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 membri del team">
    <p:spTree>
      <p:nvGrpSpPr>
        <p:cNvPr id="1" name=""/>
        <p:cNvGrpSpPr/>
        <p:nvPr/>
      </p:nvGrpSpPr>
      <p:grpSpPr>
        <a:xfrm>
          <a:off x="0" y="0"/>
          <a:ext cx="0" cy="0"/>
          <a:chOff x="0" y="0"/>
          <a:chExt cx="0" cy="0"/>
        </a:xfrm>
      </p:grpSpPr>
      <p:sp>
        <p:nvSpPr>
          <p:cNvPr id="28" name="Figura a mano libera: Forma 27">
            <a:extLst>
              <a:ext uri="{FF2B5EF4-FFF2-40B4-BE49-F238E27FC236}">
                <a16:creationId xmlns:a16="http://schemas.microsoft.com/office/drawing/2014/main" id="{62BA57E2-B9C1-423C-AF9E-43DC6BA4E00E}"/>
              </a:ext>
            </a:extLst>
          </p:cNvPr>
          <p:cNvSpPr/>
          <p:nvPr userDrawn="1"/>
        </p:nvSpPr>
        <p:spPr>
          <a:xfrm rot="10800000" flipH="1">
            <a:off x="10684476" y="0"/>
            <a:ext cx="1507525" cy="6858000"/>
          </a:xfrm>
          <a:custGeom>
            <a:avLst/>
            <a:gdLst>
              <a:gd name="connsiteX0" fmla="*/ 774160 w 8262739"/>
              <a:gd name="connsiteY0" fmla="*/ 294728 h 6858000"/>
              <a:gd name="connsiteX1" fmla="*/ 774822 w 8262739"/>
              <a:gd name="connsiteY1" fmla="*/ 291871 h 6858000"/>
              <a:gd name="connsiteX2" fmla="*/ 758067 w 8262739"/>
              <a:gd name="connsiteY2" fmla="*/ 278466 h 6858000"/>
              <a:gd name="connsiteX3" fmla="*/ 846914 w 8262739"/>
              <a:gd name="connsiteY3" fmla="*/ 92306 h 6858000"/>
              <a:gd name="connsiteX4" fmla="*/ 899364 w 8262739"/>
              <a:gd name="connsiteY4" fmla="*/ 54843 h 6858000"/>
              <a:gd name="connsiteX5" fmla="*/ 901914 w 8262739"/>
              <a:gd name="connsiteY5" fmla="*/ 49997 h 6858000"/>
              <a:gd name="connsiteX6" fmla="*/ 842681 w 8262739"/>
              <a:gd name="connsiteY6" fmla="*/ 92306 h 6858000"/>
              <a:gd name="connsiteX7" fmla="*/ 753834 w 8262739"/>
              <a:gd name="connsiteY7" fmla="*/ 278466 h 6858000"/>
              <a:gd name="connsiteX8" fmla="*/ 674364 w 8262739"/>
              <a:gd name="connsiteY8" fmla="*/ 821039 h 6858000"/>
              <a:gd name="connsiteX9" fmla="*/ 674577 w 8262739"/>
              <a:gd name="connsiteY9" fmla="*/ 820652 h 6858000"/>
              <a:gd name="connsiteX10" fmla="*/ 681911 w 8262739"/>
              <a:gd name="connsiteY10" fmla="*/ 659247 h 6858000"/>
              <a:gd name="connsiteX11" fmla="*/ 719798 w 8262739"/>
              <a:gd name="connsiteY11" fmla="*/ 629253 h 6858000"/>
              <a:gd name="connsiteX12" fmla="*/ 721575 w 8262739"/>
              <a:gd name="connsiteY12" fmla="*/ 628045 h 6858000"/>
              <a:gd name="connsiteX13" fmla="*/ 724221 w 8262739"/>
              <a:gd name="connsiteY13" fmla="*/ 625399 h 6858000"/>
              <a:gd name="connsiteX14" fmla="*/ 758067 w 8262739"/>
              <a:gd name="connsiteY14" fmla="*/ 595781 h 6858000"/>
              <a:gd name="connsiteX15" fmla="*/ 851147 w 8262739"/>
              <a:gd name="connsiteY15" fmla="*/ 422317 h 6858000"/>
              <a:gd name="connsiteX16" fmla="*/ 854319 w 8262739"/>
              <a:gd name="connsiteY16" fmla="*/ 424431 h 6858000"/>
              <a:gd name="connsiteX17" fmla="*/ 855904 w 8262739"/>
              <a:gd name="connsiteY17" fmla="*/ 421259 h 6858000"/>
              <a:gd name="connsiteX18" fmla="*/ 851147 w 8262739"/>
              <a:gd name="connsiteY18" fmla="*/ 418088 h 6858000"/>
              <a:gd name="connsiteX19" fmla="*/ 758067 w 8262739"/>
              <a:gd name="connsiteY19" fmla="*/ 591553 h 6858000"/>
              <a:gd name="connsiteX20" fmla="*/ 724221 w 8262739"/>
              <a:gd name="connsiteY20" fmla="*/ 625399 h 6858000"/>
              <a:gd name="connsiteX21" fmla="*/ 719989 w 8262739"/>
              <a:gd name="connsiteY21" fmla="*/ 629102 h 6858000"/>
              <a:gd name="connsiteX22" fmla="*/ 719798 w 8262739"/>
              <a:gd name="connsiteY22" fmla="*/ 629253 h 6858000"/>
              <a:gd name="connsiteX23" fmla="*/ 681911 w 8262739"/>
              <a:gd name="connsiteY23" fmla="*/ 655019 h 6858000"/>
              <a:gd name="connsiteX24" fmla="*/ 681729 w 8262739"/>
              <a:gd name="connsiteY24" fmla="*/ 659070 h 6858000"/>
              <a:gd name="connsiteX25" fmla="*/ 597990 w 8262739"/>
              <a:gd name="connsiteY25" fmla="*/ 1025570 h 6858000"/>
              <a:gd name="connsiteX26" fmla="*/ 598190 w 8262739"/>
              <a:gd name="connsiteY26" fmla="*/ 1024980 h 6858000"/>
              <a:gd name="connsiteX27" fmla="*/ 595885 w 8262739"/>
              <a:gd name="connsiteY27" fmla="*/ 1024518 h 6858000"/>
              <a:gd name="connsiteX28" fmla="*/ 2119992 w 8262739"/>
              <a:gd name="connsiteY28" fmla="*/ 6660069 h 6858000"/>
              <a:gd name="connsiteX29" fmla="*/ 2120414 w 8262739"/>
              <a:gd name="connsiteY29" fmla="*/ 6658670 h 6858000"/>
              <a:gd name="connsiteX30" fmla="*/ 2111615 w 8262739"/>
              <a:gd name="connsiteY30" fmla="*/ 6649866 h 6858000"/>
              <a:gd name="connsiteX31" fmla="*/ 1743929 w 8262739"/>
              <a:gd name="connsiteY31" fmla="*/ 6858000 h 6858000"/>
              <a:gd name="connsiteX32" fmla="*/ 1672367 w 8262739"/>
              <a:gd name="connsiteY32" fmla="*/ 6858000 h 6858000"/>
              <a:gd name="connsiteX33" fmla="*/ 1638095 w 8262739"/>
              <a:gd name="connsiteY33" fmla="*/ 6819444 h 6858000"/>
              <a:gd name="connsiteX34" fmla="*/ 1663481 w 8262739"/>
              <a:gd name="connsiteY34" fmla="*/ 6785597 h 6858000"/>
              <a:gd name="connsiteX35" fmla="*/ 1901513 w 8262739"/>
              <a:gd name="connsiteY35" fmla="*/ 6858000 h 6858000"/>
              <a:gd name="connsiteX36" fmla="*/ 1795034 w 8262739"/>
              <a:gd name="connsiteY36" fmla="*/ 6858000 h 6858000"/>
              <a:gd name="connsiteX37" fmla="*/ 1731171 w 8262739"/>
              <a:gd name="connsiteY37" fmla="*/ 6781364 h 6858000"/>
              <a:gd name="connsiteX38" fmla="*/ 1698079 w 8262739"/>
              <a:gd name="connsiteY38" fmla="*/ 6745264 h 6858000"/>
              <a:gd name="connsiteX39" fmla="*/ 1793828 w 8262739"/>
              <a:gd name="connsiteY39" fmla="*/ 6858000 h 6858000"/>
              <a:gd name="connsiteX40" fmla="*/ 1748158 w 8262739"/>
              <a:gd name="connsiteY40" fmla="*/ 6858000 h 6858000"/>
              <a:gd name="connsiteX41" fmla="*/ 1667709 w 8262739"/>
              <a:gd name="connsiteY41" fmla="*/ 6785597 h 6858000"/>
              <a:gd name="connsiteX42" fmla="*/ 1574630 w 8262739"/>
              <a:gd name="connsiteY42" fmla="*/ 6671360 h 6858000"/>
              <a:gd name="connsiteX43" fmla="*/ 1485783 w 8262739"/>
              <a:gd name="connsiteY43" fmla="*/ 6552895 h 6858000"/>
              <a:gd name="connsiteX44" fmla="*/ 1595786 w 8262739"/>
              <a:gd name="connsiteY44" fmla="*/ 6624823 h 6858000"/>
              <a:gd name="connsiteX45" fmla="*/ 1601188 w 8262739"/>
              <a:gd name="connsiteY45" fmla="*/ 6631183 h 6858000"/>
              <a:gd name="connsiteX46" fmla="*/ 1651314 w 8262739"/>
              <a:gd name="connsiteY46" fmla="*/ 6642275 h 6858000"/>
              <a:gd name="connsiteX47" fmla="*/ 1765018 w 8262739"/>
              <a:gd name="connsiteY47" fmla="*/ 6747517 h 6858000"/>
              <a:gd name="connsiteX48" fmla="*/ 1848052 w 8262739"/>
              <a:gd name="connsiteY48" fmla="*/ 6814155 h 6858000"/>
              <a:gd name="connsiteX49" fmla="*/ 8262739 w 8262739"/>
              <a:gd name="connsiteY49" fmla="*/ 6858000 h 6858000"/>
              <a:gd name="connsiteX50" fmla="*/ 2188465 w 8262739"/>
              <a:gd name="connsiteY50" fmla="*/ 6858000 h 6858000"/>
              <a:gd name="connsiteX51" fmla="*/ 2116185 w 8262739"/>
              <a:gd name="connsiteY51" fmla="*/ 6794059 h 6858000"/>
              <a:gd name="connsiteX52" fmla="*/ 1976568 w 8262739"/>
              <a:gd name="connsiteY52" fmla="*/ 6679826 h 6858000"/>
              <a:gd name="connsiteX53" fmla="*/ 1773484 w 8262739"/>
              <a:gd name="connsiteY53" fmla="*/ 6455586 h 6858000"/>
              <a:gd name="connsiteX54" fmla="*/ 1759550 w 8262739"/>
              <a:gd name="connsiteY54" fmla="*/ 6412038 h 6858000"/>
              <a:gd name="connsiteX55" fmla="*/ 1718480 w 8262739"/>
              <a:gd name="connsiteY55" fmla="*/ 6370968 h 6858000"/>
              <a:gd name="connsiteX56" fmla="*/ 1578863 w 8262739"/>
              <a:gd name="connsiteY56" fmla="*/ 6218656 h 6858000"/>
              <a:gd name="connsiteX57" fmla="*/ 1561939 w 8262739"/>
              <a:gd name="connsiteY57" fmla="*/ 6142499 h 6858000"/>
              <a:gd name="connsiteX58" fmla="*/ 1506935 w 8262739"/>
              <a:gd name="connsiteY58" fmla="*/ 6066343 h 6858000"/>
              <a:gd name="connsiteX59" fmla="*/ 1500383 w 8262739"/>
              <a:gd name="connsiteY59" fmla="*/ 6056069 h 6858000"/>
              <a:gd name="connsiteX60" fmla="*/ 1435007 w 8262739"/>
              <a:gd name="connsiteY60" fmla="*/ 6011339 h 6858000"/>
              <a:gd name="connsiteX61" fmla="*/ 1308080 w 8262739"/>
              <a:gd name="connsiteY61" fmla="*/ 5829412 h 6858000"/>
              <a:gd name="connsiteX62" fmla="*/ 1236157 w 8262739"/>
              <a:gd name="connsiteY62" fmla="*/ 5660176 h 6858000"/>
              <a:gd name="connsiteX63" fmla="*/ 1227695 w 8262739"/>
              <a:gd name="connsiteY63" fmla="*/ 5660176 h 6858000"/>
              <a:gd name="connsiteX64" fmla="*/ 1130387 w 8262739"/>
              <a:gd name="connsiteY64" fmla="*/ 5474016 h 6858000"/>
              <a:gd name="connsiteX65" fmla="*/ 1037307 w 8262739"/>
              <a:gd name="connsiteY65" fmla="*/ 5287856 h 6858000"/>
              <a:gd name="connsiteX66" fmla="*/ 939994 w 8262739"/>
              <a:gd name="connsiteY66" fmla="*/ 5072083 h 6858000"/>
              <a:gd name="connsiteX67" fmla="*/ 851147 w 8262739"/>
              <a:gd name="connsiteY67" fmla="*/ 4852075 h 6858000"/>
              <a:gd name="connsiteX68" fmla="*/ 898733 w 8262739"/>
              <a:gd name="connsiteY68" fmla="*/ 4922927 h 6858000"/>
              <a:gd name="connsiteX69" fmla="*/ 898752 w 8262739"/>
              <a:gd name="connsiteY69" fmla="*/ 4922958 h 6858000"/>
              <a:gd name="connsiteX70" fmla="*/ 939994 w 8262739"/>
              <a:gd name="connsiteY70" fmla="*/ 5000155 h 6858000"/>
              <a:gd name="connsiteX71" fmla="*/ 1028845 w 8262739"/>
              <a:gd name="connsiteY71" fmla="*/ 5186315 h 6858000"/>
              <a:gd name="connsiteX72" fmla="*/ 1058459 w 8262739"/>
              <a:gd name="connsiteY72" fmla="*/ 5287856 h 6858000"/>
              <a:gd name="connsiteX73" fmla="*/ 1070701 w 8262739"/>
              <a:gd name="connsiteY73" fmla="*/ 5305806 h 6858000"/>
              <a:gd name="connsiteX74" fmla="*/ 1055634 w 8262739"/>
              <a:gd name="connsiteY74" fmla="*/ 5227473 h 6858000"/>
              <a:gd name="connsiteX75" fmla="*/ 1016346 w 8262739"/>
              <a:gd name="connsiteY75" fmla="*/ 5156168 h 6858000"/>
              <a:gd name="connsiteX76" fmla="*/ 952391 w 8262739"/>
              <a:gd name="connsiteY76" fmla="*/ 5012357 h 6858000"/>
              <a:gd name="connsiteX77" fmla="*/ 898752 w 8262739"/>
              <a:gd name="connsiteY77" fmla="*/ 4922958 h 6858000"/>
              <a:gd name="connsiteX78" fmla="*/ 898743 w 8262739"/>
              <a:gd name="connsiteY78" fmla="*/ 4922942 h 6858000"/>
              <a:gd name="connsiteX79" fmla="*/ 898733 w 8262739"/>
              <a:gd name="connsiteY79" fmla="*/ 4922927 h 6858000"/>
              <a:gd name="connsiteX80" fmla="*/ 876528 w 8262739"/>
              <a:gd name="connsiteY80" fmla="*/ 4885918 h 6858000"/>
              <a:gd name="connsiteX81" fmla="*/ 783448 w 8262739"/>
              <a:gd name="connsiteY81" fmla="*/ 4632064 h 6858000"/>
              <a:gd name="connsiteX82" fmla="*/ 703703 w 8262739"/>
              <a:gd name="connsiteY82" fmla="*/ 4371836 h 6858000"/>
              <a:gd name="connsiteX83" fmla="*/ 677518 w 8262739"/>
              <a:gd name="connsiteY83" fmla="*/ 4295977 h 6858000"/>
              <a:gd name="connsiteX84" fmla="*/ 563468 w 8262739"/>
              <a:gd name="connsiteY84" fmla="*/ 3840737 h 6858000"/>
              <a:gd name="connsiteX85" fmla="*/ 513030 w 8262739"/>
              <a:gd name="connsiteY85" fmla="*/ 3510255 h 6858000"/>
              <a:gd name="connsiteX86" fmla="*/ 512670 w 8262739"/>
              <a:gd name="connsiteY86" fmla="*/ 3519338 h 6858000"/>
              <a:gd name="connsiteX87" fmla="*/ 516903 w 8262739"/>
              <a:gd name="connsiteY87" fmla="*/ 3587033 h 6858000"/>
              <a:gd name="connsiteX88" fmla="*/ 538056 w 8262739"/>
              <a:gd name="connsiteY88" fmla="*/ 3743579 h 6858000"/>
              <a:gd name="connsiteX89" fmla="*/ 563441 w 8262739"/>
              <a:gd name="connsiteY89" fmla="*/ 3904353 h 6858000"/>
              <a:gd name="connsiteX90" fmla="*/ 521132 w 8262739"/>
              <a:gd name="connsiteY90" fmla="*/ 3764731 h 6858000"/>
              <a:gd name="connsiteX91" fmla="*/ 491518 w 8262739"/>
              <a:gd name="connsiteY91" fmla="*/ 3587033 h 6858000"/>
              <a:gd name="connsiteX92" fmla="*/ 457671 w 8262739"/>
              <a:gd name="connsiteY92" fmla="*/ 3587033 h 6858000"/>
              <a:gd name="connsiteX93" fmla="*/ 436514 w 8262739"/>
              <a:gd name="connsiteY93" fmla="*/ 3426258 h 6858000"/>
              <a:gd name="connsiteX94" fmla="*/ 406900 w 8262739"/>
              <a:gd name="connsiteY94" fmla="*/ 3324717 h 6858000"/>
              <a:gd name="connsiteX95" fmla="*/ 381515 w 8262739"/>
              <a:gd name="connsiteY95" fmla="*/ 3227408 h 6858000"/>
              <a:gd name="connsiteX96" fmla="*/ 309587 w 8262739"/>
              <a:gd name="connsiteY96" fmla="*/ 3151252 h 6858000"/>
              <a:gd name="connsiteX97" fmla="*/ 288435 w 8262739"/>
              <a:gd name="connsiteY97" fmla="*/ 3151252 h 6858000"/>
              <a:gd name="connsiteX98" fmla="*/ 267278 w 8262739"/>
              <a:gd name="connsiteY98" fmla="*/ 3045477 h 6858000"/>
              <a:gd name="connsiteX99" fmla="*/ 258816 w 8262739"/>
              <a:gd name="connsiteY99" fmla="*/ 2910088 h 6858000"/>
              <a:gd name="connsiteX100" fmla="*/ 275740 w 8262739"/>
              <a:gd name="connsiteY100" fmla="*/ 2719700 h 6858000"/>
              <a:gd name="connsiteX101" fmla="*/ 284202 w 8262739"/>
              <a:gd name="connsiteY101" fmla="*/ 2652006 h 6858000"/>
              <a:gd name="connsiteX102" fmla="*/ 298611 w 8262739"/>
              <a:gd name="connsiteY102" fmla="*/ 2605575 h 6858000"/>
              <a:gd name="connsiteX103" fmla="*/ 291606 w 8262739"/>
              <a:gd name="connsiteY103" fmla="*/ 2499693 h 6858000"/>
              <a:gd name="connsiteX104" fmla="*/ 301125 w 8262739"/>
              <a:gd name="connsiteY104" fmla="*/ 2343147 h 6858000"/>
              <a:gd name="connsiteX105" fmla="*/ 318049 w 8262739"/>
              <a:gd name="connsiteY105" fmla="*/ 2311419 h 6858000"/>
              <a:gd name="connsiteX106" fmla="*/ 318049 w 8262739"/>
              <a:gd name="connsiteY106" fmla="*/ 2292377 h 6858000"/>
              <a:gd name="connsiteX107" fmla="*/ 284202 w 8262739"/>
              <a:gd name="connsiteY107" fmla="*/ 2355842 h 6858000"/>
              <a:gd name="connsiteX108" fmla="*/ 254587 w 8262739"/>
              <a:gd name="connsiteY108" fmla="*/ 2313533 h 6858000"/>
              <a:gd name="connsiteX109" fmla="*/ 199583 w 8262739"/>
              <a:gd name="connsiteY109" fmla="*/ 2237377 h 6858000"/>
              <a:gd name="connsiteX110" fmla="*/ 189536 w 8262739"/>
              <a:gd name="connsiteY110" fmla="*/ 2177087 h 6858000"/>
              <a:gd name="connsiteX111" fmla="*/ 186893 w 8262739"/>
              <a:gd name="connsiteY111" fmla="*/ 2182373 h 6858000"/>
              <a:gd name="connsiteX112" fmla="*/ 169969 w 8262739"/>
              <a:gd name="connsiteY112" fmla="*/ 2351609 h 6858000"/>
              <a:gd name="connsiteX113" fmla="*/ 157274 w 8262739"/>
              <a:gd name="connsiteY113" fmla="*/ 2520845 h 6858000"/>
              <a:gd name="connsiteX114" fmla="*/ 144584 w 8262739"/>
              <a:gd name="connsiteY114" fmla="*/ 2652006 h 6858000"/>
              <a:gd name="connsiteX115" fmla="*/ 144584 w 8262739"/>
              <a:gd name="connsiteY115" fmla="*/ 2922779 h 6858000"/>
              <a:gd name="connsiteX116" fmla="*/ 148813 w 8262739"/>
              <a:gd name="connsiteY116" fmla="*/ 3062401 h 6858000"/>
              <a:gd name="connsiteX117" fmla="*/ 157274 w 8262739"/>
              <a:gd name="connsiteY117" fmla="*/ 3202018 h 6858000"/>
              <a:gd name="connsiteX118" fmla="*/ 119198 w 8262739"/>
              <a:gd name="connsiteY118" fmla="*/ 3333179 h 6858000"/>
              <a:gd name="connsiteX119" fmla="*/ 110737 w 8262739"/>
              <a:gd name="connsiteY119" fmla="*/ 3333179 h 6858000"/>
              <a:gd name="connsiteX120" fmla="*/ 85351 w 8262739"/>
              <a:gd name="connsiteY120" fmla="*/ 3079324 h 6858000"/>
              <a:gd name="connsiteX121" fmla="*/ 85351 w 8262739"/>
              <a:gd name="connsiteY121" fmla="*/ 2817009 h 6858000"/>
              <a:gd name="connsiteX122" fmla="*/ 106504 w 8262739"/>
              <a:gd name="connsiteY122" fmla="*/ 2613925 h 6858000"/>
              <a:gd name="connsiteX123" fmla="*/ 144566 w 8262739"/>
              <a:gd name="connsiteY123" fmla="*/ 2651983 h 6858000"/>
              <a:gd name="connsiteX124" fmla="*/ 110737 w 8262739"/>
              <a:gd name="connsiteY124" fmla="*/ 2609697 h 6858000"/>
              <a:gd name="connsiteX125" fmla="*/ 102275 w 8262739"/>
              <a:gd name="connsiteY125" fmla="*/ 2457384 h 6858000"/>
              <a:gd name="connsiteX126" fmla="*/ 110737 w 8262739"/>
              <a:gd name="connsiteY126" fmla="*/ 2224682 h 6858000"/>
              <a:gd name="connsiteX127" fmla="*/ 114965 w 8262739"/>
              <a:gd name="connsiteY127" fmla="*/ 2161221 h 6858000"/>
              <a:gd name="connsiteX128" fmla="*/ 127660 w 8262739"/>
              <a:gd name="connsiteY128" fmla="*/ 2055446 h 6858000"/>
              <a:gd name="connsiteX129" fmla="*/ 178431 w 8262739"/>
              <a:gd name="connsiteY129" fmla="*/ 1865057 h 6858000"/>
              <a:gd name="connsiteX130" fmla="*/ 203728 w 8262739"/>
              <a:gd name="connsiteY130" fmla="*/ 1738579 h 6858000"/>
              <a:gd name="connsiteX131" fmla="*/ 195355 w 8262739"/>
              <a:gd name="connsiteY131" fmla="*/ 1708512 h 6858000"/>
              <a:gd name="connsiteX132" fmla="*/ 165736 w 8262739"/>
              <a:gd name="connsiteY132" fmla="*/ 1877748 h 6858000"/>
              <a:gd name="connsiteX133" fmla="*/ 114965 w 8262739"/>
              <a:gd name="connsiteY133" fmla="*/ 2068141 h 6858000"/>
              <a:gd name="connsiteX134" fmla="*/ 102275 w 8262739"/>
              <a:gd name="connsiteY134" fmla="*/ 2173911 h 6858000"/>
              <a:gd name="connsiteX135" fmla="*/ 98042 w 8262739"/>
              <a:gd name="connsiteY135" fmla="*/ 2237377 h 6858000"/>
              <a:gd name="connsiteX136" fmla="*/ 89580 w 8262739"/>
              <a:gd name="connsiteY136" fmla="*/ 2470075 h 6858000"/>
              <a:gd name="connsiteX137" fmla="*/ 98042 w 8262739"/>
              <a:gd name="connsiteY137" fmla="*/ 2622387 h 6858000"/>
              <a:gd name="connsiteX138" fmla="*/ 76889 w 8262739"/>
              <a:gd name="connsiteY138" fmla="*/ 2825470 h 6858000"/>
              <a:gd name="connsiteX139" fmla="*/ 76889 w 8262739"/>
              <a:gd name="connsiteY139" fmla="*/ 3087786 h 6858000"/>
              <a:gd name="connsiteX140" fmla="*/ 102275 w 8262739"/>
              <a:gd name="connsiteY140" fmla="*/ 3341640 h 6858000"/>
              <a:gd name="connsiteX141" fmla="*/ 110737 w 8262739"/>
              <a:gd name="connsiteY141" fmla="*/ 3341640 h 6858000"/>
              <a:gd name="connsiteX142" fmla="*/ 165736 w 8262739"/>
              <a:gd name="connsiteY142" fmla="*/ 3582805 h 6858000"/>
              <a:gd name="connsiteX143" fmla="*/ 195355 w 8262739"/>
              <a:gd name="connsiteY143" fmla="*/ 3781654 h 6858000"/>
              <a:gd name="connsiteX144" fmla="*/ 258816 w 8262739"/>
              <a:gd name="connsiteY144" fmla="*/ 3984738 h 6858000"/>
              <a:gd name="connsiteX145" fmla="*/ 358772 w 8262739"/>
              <a:gd name="connsiteY145" fmla="*/ 4421447 h 6858000"/>
              <a:gd name="connsiteX146" fmla="*/ 367496 w 8262739"/>
              <a:gd name="connsiteY146" fmla="*/ 4505141 h 6858000"/>
              <a:gd name="connsiteX147" fmla="*/ 385748 w 8262739"/>
              <a:gd name="connsiteY147" fmla="*/ 4505141 h 6858000"/>
              <a:gd name="connsiteX148" fmla="*/ 478828 w 8262739"/>
              <a:gd name="connsiteY148" fmla="*/ 4729378 h 6858000"/>
              <a:gd name="connsiteX149" fmla="*/ 512675 w 8262739"/>
              <a:gd name="connsiteY149" fmla="*/ 4843614 h 6858000"/>
              <a:gd name="connsiteX150" fmla="*/ 449209 w 8262739"/>
              <a:gd name="connsiteY150" fmla="*/ 4746301 h 6858000"/>
              <a:gd name="connsiteX151" fmla="*/ 381515 w 8262739"/>
              <a:gd name="connsiteY151" fmla="*/ 4593989 h 6858000"/>
              <a:gd name="connsiteX152" fmla="*/ 377286 w 8262739"/>
              <a:gd name="connsiteY152" fmla="*/ 4636297 h 6858000"/>
              <a:gd name="connsiteX153" fmla="*/ 340476 w 8262739"/>
              <a:gd name="connsiteY153" fmla="*/ 4522194 h 6858000"/>
              <a:gd name="connsiteX154" fmla="*/ 313820 w 8262739"/>
              <a:gd name="connsiteY154" fmla="*/ 4526294 h 6858000"/>
              <a:gd name="connsiteX155" fmla="*/ 284202 w 8262739"/>
              <a:gd name="connsiteY155" fmla="*/ 4428985 h 6858000"/>
              <a:gd name="connsiteX156" fmla="*/ 182660 w 8262739"/>
              <a:gd name="connsiteY156" fmla="*/ 4196284 h 6858000"/>
              <a:gd name="connsiteX157" fmla="*/ 119198 w 8262739"/>
              <a:gd name="connsiteY157" fmla="*/ 3988971 h 6858000"/>
              <a:gd name="connsiteX158" fmla="*/ 114965 w 8262739"/>
              <a:gd name="connsiteY158" fmla="*/ 3815502 h 6858000"/>
              <a:gd name="connsiteX159" fmla="*/ 85351 w 8262739"/>
              <a:gd name="connsiteY159" fmla="*/ 3612418 h 6858000"/>
              <a:gd name="connsiteX160" fmla="*/ 64195 w 8262739"/>
              <a:gd name="connsiteY160" fmla="*/ 3409335 h 6858000"/>
              <a:gd name="connsiteX161" fmla="*/ 17657 w 8262739"/>
              <a:gd name="connsiteY161" fmla="*/ 3261255 h 6858000"/>
              <a:gd name="connsiteX162" fmla="*/ 47271 w 8262739"/>
              <a:gd name="connsiteY162" fmla="*/ 2474308 h 6858000"/>
              <a:gd name="connsiteX163" fmla="*/ 76889 w 8262739"/>
              <a:gd name="connsiteY163" fmla="*/ 2271224 h 6858000"/>
              <a:gd name="connsiteX164" fmla="*/ 51504 w 8262739"/>
              <a:gd name="connsiteY164" fmla="*/ 2161221 h 6858000"/>
              <a:gd name="connsiteX165" fmla="*/ 102275 w 8262739"/>
              <a:gd name="connsiteY165" fmla="*/ 1856596 h 6858000"/>
              <a:gd name="connsiteX166" fmla="*/ 114965 w 8262739"/>
              <a:gd name="connsiteY166" fmla="*/ 1784668 h 6858000"/>
              <a:gd name="connsiteX167" fmla="*/ 148813 w 8262739"/>
              <a:gd name="connsiteY167" fmla="*/ 1539276 h 6858000"/>
              <a:gd name="connsiteX168" fmla="*/ 237664 w 8262739"/>
              <a:gd name="connsiteY168" fmla="*/ 1361578 h 6858000"/>
              <a:gd name="connsiteX169" fmla="*/ 216507 w 8262739"/>
              <a:gd name="connsiteY169" fmla="*/ 1602741 h 6858000"/>
              <a:gd name="connsiteX170" fmla="*/ 237655 w 8262739"/>
              <a:gd name="connsiteY170" fmla="*/ 1561405 h 6858000"/>
              <a:gd name="connsiteX171" fmla="*/ 250354 w 8262739"/>
              <a:gd name="connsiteY171" fmla="*/ 1462591 h 6858000"/>
              <a:gd name="connsiteX172" fmla="*/ 254587 w 8262739"/>
              <a:gd name="connsiteY172" fmla="*/ 1353116 h 6858000"/>
              <a:gd name="connsiteX173" fmla="*/ 292663 w 8262739"/>
              <a:gd name="connsiteY173" fmla="*/ 1213494 h 6858000"/>
              <a:gd name="connsiteX174" fmla="*/ 351896 w 8262739"/>
              <a:gd name="connsiteY174" fmla="*/ 1001948 h 6858000"/>
              <a:gd name="connsiteX175" fmla="*/ 423824 w 8262739"/>
              <a:gd name="connsiteY175" fmla="*/ 786174 h 6858000"/>
              <a:gd name="connsiteX176" fmla="*/ 429212 w 8262739"/>
              <a:gd name="connsiteY176" fmla="*/ 780111 h 6858000"/>
              <a:gd name="connsiteX177" fmla="*/ 461904 w 8262739"/>
              <a:gd name="connsiteY177" fmla="*/ 608476 h 6858000"/>
              <a:gd name="connsiteX178" fmla="*/ 508442 w 8262739"/>
              <a:gd name="connsiteY178" fmla="*/ 485778 h 6858000"/>
              <a:gd name="connsiteX179" fmla="*/ 563446 w 8262739"/>
              <a:gd name="connsiteY179" fmla="*/ 384236 h 6858000"/>
              <a:gd name="connsiteX180" fmla="*/ 673449 w 8262739"/>
              <a:gd name="connsiteY180" fmla="*/ 172691 h 6858000"/>
              <a:gd name="connsiteX181" fmla="*/ 717872 w 8262739"/>
              <a:gd name="connsiteY181" fmla="*/ 77497 h 6858000"/>
              <a:gd name="connsiteX182" fmla="*/ 754037 w 8262739"/>
              <a:gd name="connsiteY182" fmla="*/ 0 h 6858000"/>
              <a:gd name="connsiteX183" fmla="*/ 1028695 w 8262739"/>
              <a:gd name="connsiteY183" fmla="*/ 0 h 6858000"/>
              <a:gd name="connsiteX184" fmla="*/ 986532 w 8262739"/>
              <a:gd name="connsiteY184" fmla="*/ 71149 h 6858000"/>
              <a:gd name="connsiteX185" fmla="*/ 859605 w 8262739"/>
              <a:gd name="connsiteY185" fmla="*/ 308080 h 6858000"/>
              <a:gd name="connsiteX186" fmla="*/ 721537 w 8262739"/>
              <a:gd name="connsiteY186" fmla="*/ 525648 h 6858000"/>
              <a:gd name="connsiteX187" fmla="*/ 719987 w 8262739"/>
              <a:gd name="connsiteY187" fmla="*/ 532320 h 6858000"/>
              <a:gd name="connsiteX188" fmla="*/ 673445 w 8262739"/>
              <a:gd name="connsiteY188" fmla="*/ 659247 h 6858000"/>
              <a:gd name="connsiteX189" fmla="*/ 639597 w 8262739"/>
              <a:gd name="connsiteY189" fmla="*/ 718480 h 6858000"/>
              <a:gd name="connsiteX190" fmla="*/ 631136 w 8262739"/>
              <a:gd name="connsiteY190" fmla="*/ 726942 h 6858000"/>
              <a:gd name="connsiteX191" fmla="*/ 593588 w 8262739"/>
              <a:gd name="connsiteY191" fmla="*/ 851755 h 6858000"/>
              <a:gd name="connsiteX192" fmla="*/ 584598 w 8262739"/>
              <a:gd name="connsiteY192" fmla="*/ 925796 h 6858000"/>
              <a:gd name="connsiteX193" fmla="*/ 576136 w 8262739"/>
              <a:gd name="connsiteY193" fmla="*/ 1031567 h 6858000"/>
              <a:gd name="connsiteX194" fmla="*/ 516903 w 8262739"/>
              <a:gd name="connsiteY194" fmla="*/ 1205036 h 6858000"/>
              <a:gd name="connsiteX195" fmla="*/ 461900 w 8262739"/>
              <a:gd name="connsiteY195" fmla="*/ 1378501 h 6858000"/>
              <a:gd name="connsiteX196" fmla="*/ 402667 w 8262739"/>
              <a:gd name="connsiteY196" fmla="*/ 1632355 h 6858000"/>
              <a:gd name="connsiteX197" fmla="*/ 368820 w 8262739"/>
              <a:gd name="connsiteY197" fmla="*/ 1865057 h 6858000"/>
              <a:gd name="connsiteX198" fmla="*/ 347667 w 8262739"/>
              <a:gd name="connsiteY198" fmla="*/ 2097755 h 6858000"/>
              <a:gd name="connsiteX199" fmla="*/ 377281 w 8262739"/>
              <a:gd name="connsiteY199" fmla="*/ 1936981 h 6858000"/>
              <a:gd name="connsiteX200" fmla="*/ 380027 w 8262739"/>
              <a:gd name="connsiteY200" fmla="*/ 1923713 h 6858000"/>
              <a:gd name="connsiteX201" fmla="*/ 385743 w 8262739"/>
              <a:gd name="connsiteY201" fmla="*/ 1860824 h 6858000"/>
              <a:gd name="connsiteX202" fmla="*/ 419590 w 8262739"/>
              <a:gd name="connsiteY202" fmla="*/ 1628127 h 6858000"/>
              <a:gd name="connsiteX203" fmla="*/ 430189 w 8262739"/>
              <a:gd name="connsiteY203" fmla="*/ 1631662 h 6858000"/>
              <a:gd name="connsiteX204" fmla="*/ 431108 w 8262739"/>
              <a:gd name="connsiteY204" fmla="*/ 1627731 h 6858000"/>
              <a:gd name="connsiteX205" fmla="*/ 419595 w 8262739"/>
              <a:gd name="connsiteY205" fmla="*/ 1623894 h 6858000"/>
              <a:gd name="connsiteX206" fmla="*/ 478828 w 8262739"/>
              <a:gd name="connsiteY206" fmla="*/ 1370039 h 6858000"/>
              <a:gd name="connsiteX207" fmla="*/ 533827 w 8262739"/>
              <a:gd name="connsiteY207" fmla="*/ 1196570 h 6858000"/>
              <a:gd name="connsiteX208" fmla="*/ 592789 w 8262739"/>
              <a:gd name="connsiteY208" fmla="*/ 1023900 h 6858000"/>
              <a:gd name="connsiteX209" fmla="*/ 588831 w 8262739"/>
              <a:gd name="connsiteY209" fmla="*/ 1023105 h 6858000"/>
              <a:gd name="connsiteX210" fmla="*/ 597293 w 8262739"/>
              <a:gd name="connsiteY210" fmla="*/ 917335 h 6858000"/>
              <a:gd name="connsiteX211" fmla="*/ 643831 w 8262739"/>
              <a:gd name="connsiteY211" fmla="*/ 718480 h 6858000"/>
              <a:gd name="connsiteX212" fmla="*/ 677678 w 8262739"/>
              <a:gd name="connsiteY212" fmla="*/ 659247 h 6858000"/>
              <a:gd name="connsiteX213" fmla="*/ 678815 w 8262739"/>
              <a:gd name="connsiteY213" fmla="*/ 656156 h 6858000"/>
              <a:gd name="connsiteX214" fmla="*/ 724220 w 8262739"/>
              <a:gd name="connsiteY214" fmla="*/ 532320 h 6858000"/>
              <a:gd name="connsiteX215" fmla="*/ 863838 w 8262739"/>
              <a:gd name="connsiteY215" fmla="*/ 312313 h 6858000"/>
              <a:gd name="connsiteX216" fmla="*/ 990765 w 8262739"/>
              <a:gd name="connsiteY216" fmla="*/ 75382 h 6858000"/>
              <a:gd name="connsiteX217" fmla="*/ 1024614 w 8262739"/>
              <a:gd name="connsiteY217" fmla="*/ 19852 h 6858000"/>
              <a:gd name="connsiteX218" fmla="*/ 1036060 w 8262739"/>
              <a:gd name="connsiteY218" fmla="*/ 0 h 6858000"/>
              <a:gd name="connsiteX219" fmla="*/ 1150037 w 8262739"/>
              <a:gd name="connsiteY219" fmla="*/ 0 h 6858000"/>
              <a:gd name="connsiteX220" fmla="*/ 1075780 w 8262739"/>
              <a:gd name="connsiteY220" fmla="*/ 117164 h 6858000"/>
              <a:gd name="connsiteX221" fmla="*/ 796143 w 8262739"/>
              <a:gd name="connsiteY221" fmla="*/ 655019 h 6858000"/>
              <a:gd name="connsiteX222" fmla="*/ 741139 w 8262739"/>
              <a:gd name="connsiteY222" fmla="*/ 828483 h 6858000"/>
              <a:gd name="connsiteX223" fmla="*/ 690368 w 8262739"/>
              <a:gd name="connsiteY223" fmla="*/ 1006181 h 6858000"/>
              <a:gd name="connsiteX224" fmla="*/ 580365 w 8262739"/>
              <a:gd name="connsiteY224" fmla="*/ 1378501 h 6858000"/>
              <a:gd name="connsiteX225" fmla="*/ 508442 w 8262739"/>
              <a:gd name="connsiteY225" fmla="*/ 1632355 h 6858000"/>
              <a:gd name="connsiteX226" fmla="*/ 474594 w 8262739"/>
              <a:gd name="connsiteY226" fmla="*/ 1822748 h 6858000"/>
              <a:gd name="connsiteX227" fmla="*/ 457671 w 8262739"/>
              <a:gd name="connsiteY227" fmla="*/ 1920057 h 6858000"/>
              <a:gd name="connsiteX228" fmla="*/ 444976 w 8262739"/>
              <a:gd name="connsiteY228" fmla="*/ 2017370 h 6858000"/>
              <a:gd name="connsiteX229" fmla="*/ 406900 w 8262739"/>
              <a:gd name="connsiteY229" fmla="*/ 2279686 h 6858000"/>
              <a:gd name="connsiteX230" fmla="*/ 394205 w 8262739"/>
              <a:gd name="connsiteY230" fmla="*/ 2440460 h 6858000"/>
              <a:gd name="connsiteX231" fmla="*/ 415362 w 8262739"/>
              <a:gd name="connsiteY231" fmla="*/ 2609697 h 6858000"/>
              <a:gd name="connsiteX232" fmla="*/ 425276 w 8262739"/>
              <a:gd name="connsiteY232" fmla="*/ 2517483 h 6858000"/>
              <a:gd name="connsiteX233" fmla="*/ 423824 w 8262739"/>
              <a:gd name="connsiteY233" fmla="*/ 2486998 h 6858000"/>
              <a:gd name="connsiteX234" fmla="*/ 440747 w 8262739"/>
              <a:gd name="connsiteY234" fmla="*/ 2309300 h 6858000"/>
              <a:gd name="connsiteX235" fmla="*/ 478823 w 8262739"/>
              <a:gd name="connsiteY235" fmla="*/ 2046984 h 6858000"/>
              <a:gd name="connsiteX236" fmla="*/ 509024 w 8262739"/>
              <a:gd name="connsiteY236" fmla="*/ 2010743 h 6858000"/>
              <a:gd name="connsiteX237" fmla="*/ 552878 w 8262739"/>
              <a:gd name="connsiteY237" fmla="*/ 1717258 h 6858000"/>
              <a:gd name="connsiteX238" fmla="*/ 550751 w 8262739"/>
              <a:gd name="connsiteY238" fmla="*/ 1666203 h 6858000"/>
              <a:gd name="connsiteX239" fmla="*/ 592549 w 8262739"/>
              <a:gd name="connsiteY239" fmla="*/ 1546374 h 6858000"/>
              <a:gd name="connsiteX240" fmla="*/ 617419 w 8262739"/>
              <a:gd name="connsiteY240" fmla="*/ 1445769 h 6858000"/>
              <a:gd name="connsiteX241" fmla="*/ 609983 w 8262739"/>
              <a:gd name="connsiteY241" fmla="*/ 1463119 h 6858000"/>
              <a:gd name="connsiteX242" fmla="*/ 584598 w 8262739"/>
              <a:gd name="connsiteY242" fmla="*/ 1454657 h 6858000"/>
              <a:gd name="connsiteX243" fmla="*/ 521132 w 8262739"/>
              <a:gd name="connsiteY243" fmla="*/ 1636589 h 6858000"/>
              <a:gd name="connsiteX244" fmla="*/ 525365 w 8262739"/>
              <a:gd name="connsiteY244" fmla="*/ 1738130 h 6858000"/>
              <a:gd name="connsiteX245" fmla="*/ 495747 w 8262739"/>
              <a:gd name="connsiteY245" fmla="*/ 1932752 h 6858000"/>
              <a:gd name="connsiteX246" fmla="*/ 491518 w 8262739"/>
              <a:gd name="connsiteY246" fmla="*/ 1966599 h 6858000"/>
              <a:gd name="connsiteX247" fmla="*/ 449209 w 8262739"/>
              <a:gd name="connsiteY247" fmla="*/ 2017370 h 6858000"/>
              <a:gd name="connsiteX248" fmla="*/ 461900 w 8262739"/>
              <a:gd name="connsiteY248" fmla="*/ 1920057 h 6858000"/>
              <a:gd name="connsiteX249" fmla="*/ 478823 w 8262739"/>
              <a:gd name="connsiteY249" fmla="*/ 1822748 h 6858000"/>
              <a:gd name="connsiteX250" fmla="*/ 512670 w 8262739"/>
              <a:gd name="connsiteY250" fmla="*/ 1632355 h 6858000"/>
              <a:gd name="connsiteX251" fmla="*/ 584598 w 8262739"/>
              <a:gd name="connsiteY251" fmla="*/ 1378501 h 6858000"/>
              <a:gd name="connsiteX252" fmla="*/ 694601 w 8262739"/>
              <a:gd name="connsiteY252" fmla="*/ 1006181 h 6858000"/>
              <a:gd name="connsiteX253" fmla="*/ 745372 w 8262739"/>
              <a:gd name="connsiteY253" fmla="*/ 828483 h 6858000"/>
              <a:gd name="connsiteX254" fmla="*/ 800372 w 8262739"/>
              <a:gd name="connsiteY254" fmla="*/ 655019 h 6858000"/>
              <a:gd name="connsiteX255" fmla="*/ 1078224 w 8262739"/>
              <a:gd name="connsiteY255" fmla="*/ 117164 h 6858000"/>
              <a:gd name="connsiteX256" fmla="*/ 1153691 w 8262739"/>
              <a:gd name="connsiteY256" fmla="*/ 0 h 6858000"/>
              <a:gd name="connsiteX257" fmla="*/ 8262739 w 8262739"/>
              <a:gd name="connsiteY25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8262739" h="6858000">
                <a:moveTo>
                  <a:pt x="774160" y="294728"/>
                </a:moveTo>
                <a:lnTo>
                  <a:pt x="774822" y="291871"/>
                </a:lnTo>
                <a:lnTo>
                  <a:pt x="758067" y="278466"/>
                </a:lnTo>
                <a:cubicBezTo>
                  <a:pt x="796143" y="193848"/>
                  <a:pt x="817300" y="147306"/>
                  <a:pt x="846914" y="92306"/>
                </a:cubicBezTo>
                <a:lnTo>
                  <a:pt x="899364" y="54843"/>
                </a:lnTo>
                <a:lnTo>
                  <a:pt x="901914" y="49997"/>
                </a:lnTo>
                <a:cubicBezTo>
                  <a:pt x="884990" y="62692"/>
                  <a:pt x="863838" y="75382"/>
                  <a:pt x="842681" y="92306"/>
                </a:cubicBezTo>
                <a:cubicBezTo>
                  <a:pt x="813067" y="147310"/>
                  <a:pt x="791910" y="193848"/>
                  <a:pt x="753834" y="278466"/>
                </a:cubicBezTo>
                <a:close/>
                <a:moveTo>
                  <a:pt x="674364" y="821039"/>
                </a:moveTo>
                <a:lnTo>
                  <a:pt x="674577" y="820652"/>
                </a:lnTo>
                <a:lnTo>
                  <a:pt x="681911" y="659247"/>
                </a:lnTo>
                <a:lnTo>
                  <a:pt x="719798" y="629253"/>
                </a:lnTo>
                <a:lnTo>
                  <a:pt x="721575" y="628045"/>
                </a:lnTo>
                <a:lnTo>
                  <a:pt x="724221" y="625399"/>
                </a:lnTo>
                <a:lnTo>
                  <a:pt x="758067" y="595781"/>
                </a:lnTo>
                <a:cubicBezTo>
                  <a:pt x="770758" y="566167"/>
                  <a:pt x="787681" y="532320"/>
                  <a:pt x="851147" y="422317"/>
                </a:cubicBezTo>
                <a:lnTo>
                  <a:pt x="854319" y="424431"/>
                </a:lnTo>
                <a:lnTo>
                  <a:pt x="855904" y="421259"/>
                </a:lnTo>
                <a:lnTo>
                  <a:pt x="851147" y="418088"/>
                </a:lnTo>
                <a:cubicBezTo>
                  <a:pt x="783453" y="528091"/>
                  <a:pt x="770758" y="561939"/>
                  <a:pt x="758067" y="591553"/>
                </a:cubicBezTo>
                <a:lnTo>
                  <a:pt x="724221" y="625399"/>
                </a:lnTo>
                <a:lnTo>
                  <a:pt x="719989" y="629102"/>
                </a:lnTo>
                <a:lnTo>
                  <a:pt x="719798" y="629253"/>
                </a:lnTo>
                <a:lnTo>
                  <a:pt x="681911" y="655019"/>
                </a:lnTo>
                <a:lnTo>
                  <a:pt x="681729" y="659070"/>
                </a:lnTo>
                <a:close/>
                <a:moveTo>
                  <a:pt x="597990" y="1025570"/>
                </a:moveTo>
                <a:lnTo>
                  <a:pt x="598190" y="1024980"/>
                </a:lnTo>
                <a:lnTo>
                  <a:pt x="595885" y="1024518"/>
                </a:lnTo>
                <a:close/>
                <a:moveTo>
                  <a:pt x="2119992" y="6660069"/>
                </a:moveTo>
                <a:lnTo>
                  <a:pt x="2120414" y="6658670"/>
                </a:lnTo>
                <a:lnTo>
                  <a:pt x="2111615" y="6649866"/>
                </a:lnTo>
                <a:close/>
                <a:moveTo>
                  <a:pt x="1743929" y="6858000"/>
                </a:moveTo>
                <a:lnTo>
                  <a:pt x="1672367" y="6858000"/>
                </a:lnTo>
                <a:lnTo>
                  <a:pt x="1638095" y="6819444"/>
                </a:lnTo>
                <a:cubicBezTo>
                  <a:pt x="1642324" y="6810982"/>
                  <a:pt x="1684633" y="6836368"/>
                  <a:pt x="1663481" y="6785597"/>
                </a:cubicBezTo>
                <a:close/>
                <a:moveTo>
                  <a:pt x="1901513" y="6858000"/>
                </a:moveTo>
                <a:lnTo>
                  <a:pt x="1795034" y="6858000"/>
                </a:lnTo>
                <a:lnTo>
                  <a:pt x="1731171" y="6781364"/>
                </a:lnTo>
                <a:lnTo>
                  <a:pt x="1698079" y="6745264"/>
                </a:lnTo>
                <a:lnTo>
                  <a:pt x="1793828" y="6858000"/>
                </a:lnTo>
                <a:lnTo>
                  <a:pt x="1748158" y="6858000"/>
                </a:lnTo>
                <a:lnTo>
                  <a:pt x="1667709" y="6785597"/>
                </a:lnTo>
                <a:cubicBezTo>
                  <a:pt x="1638095" y="6747517"/>
                  <a:pt x="1604248" y="6709441"/>
                  <a:pt x="1574630" y="6671360"/>
                </a:cubicBezTo>
                <a:cubicBezTo>
                  <a:pt x="1545015" y="6633284"/>
                  <a:pt x="1515397" y="6590975"/>
                  <a:pt x="1485783" y="6552895"/>
                </a:cubicBezTo>
                <a:cubicBezTo>
                  <a:pt x="1498473" y="6540204"/>
                  <a:pt x="1540782" y="6561357"/>
                  <a:pt x="1595786" y="6624823"/>
                </a:cubicBezTo>
                <a:lnTo>
                  <a:pt x="1601188" y="6631183"/>
                </a:lnTo>
                <a:lnTo>
                  <a:pt x="1651314" y="6642275"/>
                </a:lnTo>
                <a:cubicBezTo>
                  <a:pt x="1677228" y="6659727"/>
                  <a:pt x="1712133" y="6692517"/>
                  <a:pt x="1765018" y="6747517"/>
                </a:cubicBezTo>
                <a:cubicBezTo>
                  <a:pt x="1792520" y="6770788"/>
                  <a:pt x="1821079" y="6793001"/>
                  <a:pt x="1848052" y="6814155"/>
                </a:cubicBezTo>
                <a:close/>
                <a:moveTo>
                  <a:pt x="8262739" y="6858000"/>
                </a:moveTo>
                <a:lnTo>
                  <a:pt x="2188465" y="6858000"/>
                </a:lnTo>
                <a:lnTo>
                  <a:pt x="2116185" y="6794059"/>
                </a:lnTo>
                <a:cubicBezTo>
                  <a:pt x="2090800" y="6768673"/>
                  <a:pt x="2023105" y="6743288"/>
                  <a:pt x="1976568" y="6679826"/>
                </a:cubicBezTo>
                <a:cubicBezTo>
                  <a:pt x="1904640" y="6603670"/>
                  <a:pt x="1845407" y="6531743"/>
                  <a:pt x="1773484" y="6455586"/>
                </a:cubicBezTo>
                <a:lnTo>
                  <a:pt x="1759550" y="6412038"/>
                </a:lnTo>
                <a:lnTo>
                  <a:pt x="1718480" y="6370968"/>
                </a:lnTo>
                <a:cubicBezTo>
                  <a:pt x="1671943" y="6324431"/>
                  <a:pt x="1625400" y="6273660"/>
                  <a:pt x="1578863" y="6218656"/>
                </a:cubicBezTo>
                <a:cubicBezTo>
                  <a:pt x="1570401" y="6189042"/>
                  <a:pt x="1506935" y="6108652"/>
                  <a:pt x="1561939" y="6142499"/>
                </a:cubicBezTo>
                <a:cubicBezTo>
                  <a:pt x="1540782" y="6117114"/>
                  <a:pt x="1523859" y="6087500"/>
                  <a:pt x="1506935" y="6066343"/>
                </a:cubicBezTo>
                <a:lnTo>
                  <a:pt x="1500383" y="6056069"/>
                </a:lnTo>
                <a:lnTo>
                  <a:pt x="1435007" y="6011339"/>
                </a:lnTo>
                <a:cubicBezTo>
                  <a:pt x="1384237" y="5952106"/>
                  <a:pt x="1341928" y="5888645"/>
                  <a:pt x="1308080" y="5829412"/>
                </a:cubicBezTo>
                <a:cubicBezTo>
                  <a:pt x="1274233" y="5765947"/>
                  <a:pt x="1248848" y="5706714"/>
                  <a:pt x="1236157" y="5660176"/>
                </a:cubicBezTo>
                <a:lnTo>
                  <a:pt x="1227695" y="5660176"/>
                </a:lnTo>
                <a:cubicBezTo>
                  <a:pt x="1193848" y="5600944"/>
                  <a:pt x="1160001" y="5537482"/>
                  <a:pt x="1130387" y="5474016"/>
                </a:cubicBezTo>
                <a:cubicBezTo>
                  <a:pt x="1100768" y="5410555"/>
                  <a:pt x="1066921" y="5351322"/>
                  <a:pt x="1037307" y="5287856"/>
                </a:cubicBezTo>
                <a:cubicBezTo>
                  <a:pt x="1003460" y="5215933"/>
                  <a:pt x="969612" y="5144006"/>
                  <a:pt x="939994" y="5072083"/>
                </a:cubicBezTo>
                <a:cubicBezTo>
                  <a:pt x="910380" y="5000155"/>
                  <a:pt x="880761" y="4923999"/>
                  <a:pt x="851147" y="4852075"/>
                </a:cubicBezTo>
                <a:lnTo>
                  <a:pt x="898733" y="4922927"/>
                </a:lnTo>
                <a:lnTo>
                  <a:pt x="898752" y="4922958"/>
                </a:lnTo>
                <a:lnTo>
                  <a:pt x="939994" y="5000155"/>
                </a:lnTo>
                <a:cubicBezTo>
                  <a:pt x="965379" y="5055159"/>
                  <a:pt x="990765" y="5114392"/>
                  <a:pt x="1028845" y="5186315"/>
                </a:cubicBezTo>
                <a:cubicBezTo>
                  <a:pt x="1045769" y="5211700"/>
                  <a:pt x="1049997" y="5254009"/>
                  <a:pt x="1058459" y="5287856"/>
                </a:cubicBezTo>
                <a:lnTo>
                  <a:pt x="1070701" y="5305806"/>
                </a:lnTo>
                <a:lnTo>
                  <a:pt x="1055634" y="5227473"/>
                </a:lnTo>
                <a:lnTo>
                  <a:pt x="1016346" y="5156168"/>
                </a:lnTo>
                <a:lnTo>
                  <a:pt x="952391" y="5012357"/>
                </a:lnTo>
                <a:lnTo>
                  <a:pt x="898752" y="4922958"/>
                </a:lnTo>
                <a:lnTo>
                  <a:pt x="898743" y="4922942"/>
                </a:lnTo>
                <a:lnTo>
                  <a:pt x="898733" y="4922927"/>
                </a:lnTo>
                <a:lnTo>
                  <a:pt x="876528" y="4885918"/>
                </a:lnTo>
                <a:cubicBezTo>
                  <a:pt x="846914" y="4801300"/>
                  <a:pt x="813067" y="4716683"/>
                  <a:pt x="783448" y="4632064"/>
                </a:cubicBezTo>
                <a:lnTo>
                  <a:pt x="703703" y="4371836"/>
                </a:lnTo>
                <a:lnTo>
                  <a:pt x="677518" y="4295977"/>
                </a:lnTo>
                <a:cubicBezTo>
                  <a:pt x="633148" y="4146823"/>
                  <a:pt x="595032" y="3994972"/>
                  <a:pt x="563468" y="3840737"/>
                </a:cubicBezTo>
                <a:lnTo>
                  <a:pt x="513030" y="3510255"/>
                </a:lnTo>
                <a:lnTo>
                  <a:pt x="512670" y="3519338"/>
                </a:lnTo>
                <a:cubicBezTo>
                  <a:pt x="512670" y="3540495"/>
                  <a:pt x="512670" y="3557419"/>
                  <a:pt x="516903" y="3587033"/>
                </a:cubicBezTo>
                <a:cubicBezTo>
                  <a:pt x="525365" y="3637804"/>
                  <a:pt x="533827" y="3688575"/>
                  <a:pt x="538056" y="3743579"/>
                </a:cubicBezTo>
                <a:cubicBezTo>
                  <a:pt x="546518" y="3798579"/>
                  <a:pt x="554979" y="3853583"/>
                  <a:pt x="563441" y="3904353"/>
                </a:cubicBezTo>
                <a:cubicBezTo>
                  <a:pt x="542289" y="3866273"/>
                  <a:pt x="533827" y="3815502"/>
                  <a:pt x="521132" y="3764731"/>
                </a:cubicBezTo>
                <a:cubicBezTo>
                  <a:pt x="512670" y="3709731"/>
                  <a:pt x="504209" y="3650499"/>
                  <a:pt x="491518" y="3587033"/>
                </a:cubicBezTo>
                <a:cubicBezTo>
                  <a:pt x="470361" y="3587033"/>
                  <a:pt x="466133" y="3587033"/>
                  <a:pt x="457671" y="3587033"/>
                </a:cubicBezTo>
                <a:cubicBezTo>
                  <a:pt x="453438" y="3540495"/>
                  <a:pt x="449209" y="3498186"/>
                  <a:pt x="436514" y="3426258"/>
                </a:cubicBezTo>
                <a:cubicBezTo>
                  <a:pt x="428052" y="3392411"/>
                  <a:pt x="415362" y="3358564"/>
                  <a:pt x="406900" y="3324717"/>
                </a:cubicBezTo>
                <a:cubicBezTo>
                  <a:pt x="398438" y="3290869"/>
                  <a:pt x="389976" y="3257022"/>
                  <a:pt x="381515" y="3227408"/>
                </a:cubicBezTo>
                <a:cubicBezTo>
                  <a:pt x="356129" y="3197790"/>
                  <a:pt x="334972" y="3176637"/>
                  <a:pt x="309587" y="3151252"/>
                </a:cubicBezTo>
                <a:cubicBezTo>
                  <a:pt x="301125" y="3151252"/>
                  <a:pt x="296896" y="3151252"/>
                  <a:pt x="288435" y="3151252"/>
                </a:cubicBezTo>
                <a:cubicBezTo>
                  <a:pt x="279973" y="3125866"/>
                  <a:pt x="271511" y="3087786"/>
                  <a:pt x="267278" y="3045477"/>
                </a:cubicBezTo>
                <a:cubicBezTo>
                  <a:pt x="263049" y="3003168"/>
                  <a:pt x="258816" y="2956630"/>
                  <a:pt x="258816" y="2910088"/>
                </a:cubicBezTo>
                <a:cubicBezTo>
                  <a:pt x="258816" y="2821242"/>
                  <a:pt x="263049" y="2740852"/>
                  <a:pt x="275740" y="2719700"/>
                </a:cubicBezTo>
                <a:cubicBezTo>
                  <a:pt x="279973" y="2694315"/>
                  <a:pt x="279973" y="2673158"/>
                  <a:pt x="284202" y="2652006"/>
                </a:cubicBezTo>
                <a:lnTo>
                  <a:pt x="298611" y="2605575"/>
                </a:lnTo>
                <a:lnTo>
                  <a:pt x="291606" y="2499693"/>
                </a:lnTo>
                <a:cubicBezTo>
                  <a:pt x="292663" y="2446808"/>
                  <a:pt x="296892" y="2391804"/>
                  <a:pt x="301125" y="2343147"/>
                </a:cubicBezTo>
                <a:lnTo>
                  <a:pt x="318049" y="2311419"/>
                </a:lnTo>
                <a:lnTo>
                  <a:pt x="318049" y="2292377"/>
                </a:lnTo>
                <a:cubicBezTo>
                  <a:pt x="309587" y="2317762"/>
                  <a:pt x="296896" y="2334686"/>
                  <a:pt x="284202" y="2355842"/>
                </a:cubicBezTo>
                <a:cubicBezTo>
                  <a:pt x="275740" y="2338919"/>
                  <a:pt x="263049" y="2330457"/>
                  <a:pt x="254587" y="2313533"/>
                </a:cubicBezTo>
                <a:cubicBezTo>
                  <a:pt x="237664" y="2288148"/>
                  <a:pt x="241892" y="2059679"/>
                  <a:pt x="199583" y="2237377"/>
                </a:cubicBezTo>
                <a:lnTo>
                  <a:pt x="189536" y="2177087"/>
                </a:lnTo>
                <a:lnTo>
                  <a:pt x="186893" y="2182373"/>
                </a:lnTo>
                <a:cubicBezTo>
                  <a:pt x="182660" y="2237377"/>
                  <a:pt x="174198" y="2296610"/>
                  <a:pt x="169969" y="2351609"/>
                </a:cubicBezTo>
                <a:cubicBezTo>
                  <a:pt x="165736" y="2406613"/>
                  <a:pt x="157274" y="2465846"/>
                  <a:pt x="157274" y="2520845"/>
                </a:cubicBezTo>
                <a:cubicBezTo>
                  <a:pt x="153046" y="2563154"/>
                  <a:pt x="148813" y="2609697"/>
                  <a:pt x="144584" y="2652006"/>
                </a:cubicBezTo>
                <a:lnTo>
                  <a:pt x="144584" y="2922779"/>
                </a:lnTo>
                <a:cubicBezTo>
                  <a:pt x="144584" y="2969321"/>
                  <a:pt x="144584" y="3015859"/>
                  <a:pt x="148813" y="3062401"/>
                </a:cubicBezTo>
                <a:cubicBezTo>
                  <a:pt x="153046" y="3108938"/>
                  <a:pt x="157274" y="3155481"/>
                  <a:pt x="157274" y="3202018"/>
                </a:cubicBezTo>
                <a:cubicBezTo>
                  <a:pt x="140351" y="3206251"/>
                  <a:pt x="144584" y="3362793"/>
                  <a:pt x="119198" y="3333179"/>
                </a:cubicBezTo>
                <a:cubicBezTo>
                  <a:pt x="114965" y="3333179"/>
                  <a:pt x="114965" y="3333179"/>
                  <a:pt x="110737" y="3333179"/>
                </a:cubicBezTo>
                <a:cubicBezTo>
                  <a:pt x="85351" y="3240099"/>
                  <a:pt x="85351" y="3159709"/>
                  <a:pt x="85351" y="3079324"/>
                </a:cubicBezTo>
                <a:cubicBezTo>
                  <a:pt x="85351" y="2998935"/>
                  <a:pt x="98042" y="2918550"/>
                  <a:pt x="85351" y="2817009"/>
                </a:cubicBezTo>
                <a:cubicBezTo>
                  <a:pt x="89580" y="2745081"/>
                  <a:pt x="98042" y="2681620"/>
                  <a:pt x="106504" y="2613925"/>
                </a:cubicBezTo>
                <a:lnTo>
                  <a:pt x="144566" y="2651983"/>
                </a:lnTo>
                <a:lnTo>
                  <a:pt x="110737" y="2609697"/>
                </a:lnTo>
                <a:cubicBezTo>
                  <a:pt x="102275" y="2567388"/>
                  <a:pt x="102275" y="2520845"/>
                  <a:pt x="102275" y="2457384"/>
                </a:cubicBezTo>
                <a:cubicBezTo>
                  <a:pt x="102275" y="2393918"/>
                  <a:pt x="106504" y="2317762"/>
                  <a:pt x="110737" y="2224682"/>
                </a:cubicBezTo>
                <a:cubicBezTo>
                  <a:pt x="110737" y="2203530"/>
                  <a:pt x="114965" y="2182373"/>
                  <a:pt x="114965" y="2161221"/>
                </a:cubicBezTo>
                <a:cubicBezTo>
                  <a:pt x="119198" y="2127373"/>
                  <a:pt x="123427" y="2089293"/>
                  <a:pt x="127660" y="2055446"/>
                </a:cubicBezTo>
                <a:cubicBezTo>
                  <a:pt x="144584" y="1996213"/>
                  <a:pt x="161508" y="1924290"/>
                  <a:pt x="178431" y="1865057"/>
                </a:cubicBezTo>
                <a:lnTo>
                  <a:pt x="203728" y="1738579"/>
                </a:lnTo>
                <a:lnTo>
                  <a:pt x="195355" y="1708512"/>
                </a:lnTo>
                <a:cubicBezTo>
                  <a:pt x="186893" y="1763516"/>
                  <a:pt x="174198" y="1814287"/>
                  <a:pt x="165736" y="1877748"/>
                </a:cubicBezTo>
                <a:cubicBezTo>
                  <a:pt x="148813" y="1936981"/>
                  <a:pt x="131889" y="2008908"/>
                  <a:pt x="114965" y="2068141"/>
                </a:cubicBezTo>
                <a:cubicBezTo>
                  <a:pt x="110737" y="2101988"/>
                  <a:pt x="106504" y="2140064"/>
                  <a:pt x="102275" y="2173911"/>
                </a:cubicBezTo>
                <a:cubicBezTo>
                  <a:pt x="102275" y="2195068"/>
                  <a:pt x="98042" y="2216220"/>
                  <a:pt x="98042" y="2237377"/>
                </a:cubicBezTo>
                <a:cubicBezTo>
                  <a:pt x="98042" y="2330457"/>
                  <a:pt x="93813" y="2406613"/>
                  <a:pt x="89580" y="2470075"/>
                </a:cubicBezTo>
                <a:cubicBezTo>
                  <a:pt x="89580" y="2533540"/>
                  <a:pt x="93813" y="2580078"/>
                  <a:pt x="98042" y="2622387"/>
                </a:cubicBezTo>
                <a:cubicBezTo>
                  <a:pt x="89580" y="2694315"/>
                  <a:pt x="81118" y="2757776"/>
                  <a:pt x="76889" y="2825470"/>
                </a:cubicBezTo>
                <a:cubicBezTo>
                  <a:pt x="89580" y="2927012"/>
                  <a:pt x="76889" y="3007401"/>
                  <a:pt x="76889" y="3087786"/>
                </a:cubicBezTo>
                <a:cubicBezTo>
                  <a:pt x="76889" y="3168175"/>
                  <a:pt x="76889" y="3248560"/>
                  <a:pt x="102275" y="3341640"/>
                </a:cubicBezTo>
                <a:cubicBezTo>
                  <a:pt x="102275" y="3341640"/>
                  <a:pt x="106504" y="3341640"/>
                  <a:pt x="110737" y="3341640"/>
                </a:cubicBezTo>
                <a:cubicBezTo>
                  <a:pt x="127660" y="3422030"/>
                  <a:pt x="144584" y="3498186"/>
                  <a:pt x="165736" y="3582805"/>
                </a:cubicBezTo>
                <a:cubicBezTo>
                  <a:pt x="169969" y="3637804"/>
                  <a:pt x="182660" y="3688575"/>
                  <a:pt x="195355" y="3781654"/>
                </a:cubicBezTo>
                <a:cubicBezTo>
                  <a:pt x="216507" y="3853583"/>
                  <a:pt x="237664" y="3921276"/>
                  <a:pt x="258816" y="3984738"/>
                </a:cubicBezTo>
                <a:cubicBezTo>
                  <a:pt x="268335" y="4105318"/>
                  <a:pt x="332592" y="4297296"/>
                  <a:pt x="358772" y="4421447"/>
                </a:cubicBezTo>
                <a:lnTo>
                  <a:pt x="367496" y="4505141"/>
                </a:lnTo>
                <a:lnTo>
                  <a:pt x="385748" y="4505141"/>
                </a:lnTo>
                <a:cubicBezTo>
                  <a:pt x="432285" y="4623607"/>
                  <a:pt x="461904" y="4687068"/>
                  <a:pt x="478828" y="4729378"/>
                </a:cubicBezTo>
                <a:cubicBezTo>
                  <a:pt x="499980" y="4771686"/>
                  <a:pt x="508442" y="4801305"/>
                  <a:pt x="512675" y="4843614"/>
                </a:cubicBezTo>
                <a:cubicBezTo>
                  <a:pt x="495751" y="4839381"/>
                  <a:pt x="474594" y="4797072"/>
                  <a:pt x="449209" y="4746301"/>
                </a:cubicBezTo>
                <a:cubicBezTo>
                  <a:pt x="423824" y="4695530"/>
                  <a:pt x="402671" y="4636297"/>
                  <a:pt x="381515" y="4593989"/>
                </a:cubicBezTo>
                <a:cubicBezTo>
                  <a:pt x="360362" y="4538989"/>
                  <a:pt x="398438" y="4691301"/>
                  <a:pt x="377286" y="4636297"/>
                </a:cubicBezTo>
                <a:lnTo>
                  <a:pt x="340476" y="4522194"/>
                </a:lnTo>
                <a:lnTo>
                  <a:pt x="313820" y="4526294"/>
                </a:lnTo>
                <a:cubicBezTo>
                  <a:pt x="301125" y="4492447"/>
                  <a:pt x="292663" y="4458599"/>
                  <a:pt x="284202" y="4428985"/>
                </a:cubicBezTo>
                <a:cubicBezTo>
                  <a:pt x="237664" y="4382443"/>
                  <a:pt x="203817" y="4285134"/>
                  <a:pt x="182660" y="4196284"/>
                </a:cubicBezTo>
                <a:cubicBezTo>
                  <a:pt x="161508" y="4107436"/>
                  <a:pt x="144584" y="4022818"/>
                  <a:pt x="119198" y="3988971"/>
                </a:cubicBezTo>
                <a:cubicBezTo>
                  <a:pt x="98042" y="3912815"/>
                  <a:pt x="98042" y="3832426"/>
                  <a:pt x="114965" y="3815502"/>
                </a:cubicBezTo>
                <a:cubicBezTo>
                  <a:pt x="106504" y="3747807"/>
                  <a:pt x="93813" y="3680113"/>
                  <a:pt x="85351" y="3612418"/>
                </a:cubicBezTo>
                <a:cubicBezTo>
                  <a:pt x="76889" y="3544724"/>
                  <a:pt x="72656" y="3477029"/>
                  <a:pt x="64195" y="3409335"/>
                </a:cubicBezTo>
                <a:cubicBezTo>
                  <a:pt x="47271" y="3358564"/>
                  <a:pt x="30347" y="3316255"/>
                  <a:pt x="17657" y="3261255"/>
                </a:cubicBezTo>
                <a:cubicBezTo>
                  <a:pt x="-7729" y="2973554"/>
                  <a:pt x="-11962" y="2639311"/>
                  <a:pt x="47271" y="2474308"/>
                </a:cubicBezTo>
                <a:cubicBezTo>
                  <a:pt x="51504" y="2402380"/>
                  <a:pt x="55733" y="2313533"/>
                  <a:pt x="76889" y="2271224"/>
                </a:cubicBezTo>
                <a:cubicBezTo>
                  <a:pt x="68428" y="2233144"/>
                  <a:pt x="59966" y="2199297"/>
                  <a:pt x="51504" y="2161221"/>
                </a:cubicBezTo>
                <a:cubicBezTo>
                  <a:pt x="59966" y="2089293"/>
                  <a:pt x="51504" y="1924290"/>
                  <a:pt x="102275" y="1856596"/>
                </a:cubicBezTo>
                <a:cubicBezTo>
                  <a:pt x="106504" y="1826977"/>
                  <a:pt x="110737" y="1805825"/>
                  <a:pt x="114965" y="1784668"/>
                </a:cubicBezTo>
                <a:cubicBezTo>
                  <a:pt x="123427" y="1678898"/>
                  <a:pt x="131889" y="1606970"/>
                  <a:pt x="148813" y="1539276"/>
                </a:cubicBezTo>
                <a:cubicBezTo>
                  <a:pt x="178431" y="1480043"/>
                  <a:pt x="216507" y="1382734"/>
                  <a:pt x="237664" y="1361578"/>
                </a:cubicBezTo>
                <a:cubicBezTo>
                  <a:pt x="258816" y="1408120"/>
                  <a:pt x="208045" y="1526585"/>
                  <a:pt x="216507" y="1602741"/>
                </a:cubicBezTo>
                <a:lnTo>
                  <a:pt x="237655" y="1561405"/>
                </a:lnTo>
                <a:lnTo>
                  <a:pt x="250354" y="1462591"/>
                </a:lnTo>
                <a:cubicBezTo>
                  <a:pt x="258816" y="1417634"/>
                  <a:pt x="265164" y="1376387"/>
                  <a:pt x="254587" y="1353116"/>
                </a:cubicBezTo>
                <a:cubicBezTo>
                  <a:pt x="267278" y="1302345"/>
                  <a:pt x="279973" y="1264264"/>
                  <a:pt x="292663" y="1213494"/>
                </a:cubicBezTo>
                <a:cubicBezTo>
                  <a:pt x="313820" y="1145799"/>
                  <a:pt x="330744" y="1073876"/>
                  <a:pt x="351896" y="1001948"/>
                </a:cubicBezTo>
                <a:cubicBezTo>
                  <a:pt x="373053" y="930025"/>
                  <a:pt x="398438" y="858098"/>
                  <a:pt x="423824" y="786174"/>
                </a:cubicBezTo>
                <a:lnTo>
                  <a:pt x="429212" y="780111"/>
                </a:lnTo>
                <a:lnTo>
                  <a:pt x="461904" y="608476"/>
                </a:lnTo>
                <a:cubicBezTo>
                  <a:pt x="478828" y="574629"/>
                  <a:pt x="495751" y="528087"/>
                  <a:pt x="508442" y="485778"/>
                </a:cubicBezTo>
                <a:cubicBezTo>
                  <a:pt x="525365" y="443469"/>
                  <a:pt x="546522" y="409622"/>
                  <a:pt x="563446" y="384236"/>
                </a:cubicBezTo>
                <a:cubicBezTo>
                  <a:pt x="601522" y="312313"/>
                  <a:pt x="631140" y="240385"/>
                  <a:pt x="673449" y="172691"/>
                </a:cubicBezTo>
                <a:cubicBezTo>
                  <a:pt x="688256" y="138844"/>
                  <a:pt x="703064" y="108171"/>
                  <a:pt x="717872" y="77497"/>
                </a:cubicBezTo>
                <a:lnTo>
                  <a:pt x="754037" y="0"/>
                </a:lnTo>
                <a:lnTo>
                  <a:pt x="1028695" y="0"/>
                </a:lnTo>
                <a:lnTo>
                  <a:pt x="986532" y="71149"/>
                </a:lnTo>
                <a:cubicBezTo>
                  <a:pt x="944223" y="151539"/>
                  <a:pt x="901914" y="231924"/>
                  <a:pt x="859605" y="308080"/>
                </a:cubicBezTo>
                <a:lnTo>
                  <a:pt x="721537" y="525648"/>
                </a:lnTo>
                <a:lnTo>
                  <a:pt x="719987" y="532320"/>
                </a:lnTo>
                <a:cubicBezTo>
                  <a:pt x="703063" y="570400"/>
                  <a:pt x="690368" y="616938"/>
                  <a:pt x="673445" y="659247"/>
                </a:cubicBezTo>
                <a:cubicBezTo>
                  <a:pt x="660754" y="684633"/>
                  <a:pt x="652292" y="701556"/>
                  <a:pt x="639597" y="718480"/>
                </a:cubicBezTo>
                <a:lnTo>
                  <a:pt x="631136" y="726942"/>
                </a:lnTo>
                <a:lnTo>
                  <a:pt x="593588" y="851755"/>
                </a:lnTo>
                <a:cubicBezTo>
                  <a:pt x="586717" y="883487"/>
                  <a:pt x="584598" y="906758"/>
                  <a:pt x="584598" y="925796"/>
                </a:cubicBezTo>
                <a:cubicBezTo>
                  <a:pt x="584598" y="963872"/>
                  <a:pt x="588827" y="989258"/>
                  <a:pt x="576136" y="1031567"/>
                </a:cubicBezTo>
                <a:cubicBezTo>
                  <a:pt x="554979" y="1090800"/>
                  <a:pt x="538056" y="1145803"/>
                  <a:pt x="516903" y="1205036"/>
                </a:cubicBezTo>
                <a:cubicBezTo>
                  <a:pt x="499980" y="1264269"/>
                  <a:pt x="478823" y="1319268"/>
                  <a:pt x="461900" y="1378501"/>
                </a:cubicBezTo>
                <a:cubicBezTo>
                  <a:pt x="440747" y="1467352"/>
                  <a:pt x="423824" y="1547737"/>
                  <a:pt x="402667" y="1632355"/>
                </a:cubicBezTo>
                <a:cubicBezTo>
                  <a:pt x="389976" y="1712745"/>
                  <a:pt x="381515" y="1788901"/>
                  <a:pt x="368820" y="1865057"/>
                </a:cubicBezTo>
                <a:cubicBezTo>
                  <a:pt x="356129" y="1941214"/>
                  <a:pt x="351896" y="2021599"/>
                  <a:pt x="347667" y="2097755"/>
                </a:cubicBezTo>
                <a:cubicBezTo>
                  <a:pt x="360358" y="2038522"/>
                  <a:pt x="368820" y="1983523"/>
                  <a:pt x="377281" y="1936981"/>
                </a:cubicBezTo>
                <a:lnTo>
                  <a:pt x="380027" y="1923713"/>
                </a:lnTo>
                <a:lnTo>
                  <a:pt x="385743" y="1860824"/>
                </a:lnTo>
                <a:cubicBezTo>
                  <a:pt x="398438" y="1784668"/>
                  <a:pt x="406900" y="1704283"/>
                  <a:pt x="419590" y="1628127"/>
                </a:cubicBezTo>
                <a:lnTo>
                  <a:pt x="430189" y="1631662"/>
                </a:lnTo>
                <a:lnTo>
                  <a:pt x="431108" y="1627731"/>
                </a:lnTo>
                <a:lnTo>
                  <a:pt x="419595" y="1623894"/>
                </a:lnTo>
                <a:cubicBezTo>
                  <a:pt x="440747" y="1535042"/>
                  <a:pt x="457671" y="1454657"/>
                  <a:pt x="478828" y="1370039"/>
                </a:cubicBezTo>
                <a:cubicBezTo>
                  <a:pt x="495751" y="1310807"/>
                  <a:pt x="512675" y="1251574"/>
                  <a:pt x="533827" y="1196570"/>
                </a:cubicBezTo>
                <a:lnTo>
                  <a:pt x="592789" y="1023900"/>
                </a:lnTo>
                <a:lnTo>
                  <a:pt x="588831" y="1023105"/>
                </a:lnTo>
                <a:cubicBezTo>
                  <a:pt x="601522" y="980796"/>
                  <a:pt x="597293" y="955411"/>
                  <a:pt x="597293" y="917335"/>
                </a:cubicBezTo>
                <a:cubicBezTo>
                  <a:pt x="597293" y="879254"/>
                  <a:pt x="601522" y="824255"/>
                  <a:pt x="643831" y="718480"/>
                </a:cubicBezTo>
                <a:cubicBezTo>
                  <a:pt x="652292" y="701556"/>
                  <a:pt x="660754" y="680404"/>
                  <a:pt x="677678" y="659247"/>
                </a:cubicBezTo>
                <a:lnTo>
                  <a:pt x="678815" y="656156"/>
                </a:lnTo>
                <a:lnTo>
                  <a:pt x="724220" y="532320"/>
                </a:lnTo>
                <a:cubicBezTo>
                  <a:pt x="770758" y="456164"/>
                  <a:pt x="813067" y="384241"/>
                  <a:pt x="863838" y="312313"/>
                </a:cubicBezTo>
                <a:cubicBezTo>
                  <a:pt x="906147" y="231928"/>
                  <a:pt x="944227" y="151539"/>
                  <a:pt x="990765" y="75382"/>
                </a:cubicBezTo>
                <a:cubicBezTo>
                  <a:pt x="1001343" y="58459"/>
                  <a:pt x="1012979" y="39420"/>
                  <a:pt x="1024614" y="19852"/>
                </a:cubicBezTo>
                <a:lnTo>
                  <a:pt x="1036060" y="0"/>
                </a:lnTo>
                <a:lnTo>
                  <a:pt x="1150037" y="0"/>
                </a:lnTo>
                <a:lnTo>
                  <a:pt x="1075780" y="117164"/>
                </a:lnTo>
                <a:cubicBezTo>
                  <a:pt x="975428" y="298827"/>
                  <a:pt x="897685" y="499531"/>
                  <a:pt x="796143" y="655019"/>
                </a:cubicBezTo>
                <a:cubicBezTo>
                  <a:pt x="779220" y="710018"/>
                  <a:pt x="762296" y="769251"/>
                  <a:pt x="741139" y="828483"/>
                </a:cubicBezTo>
                <a:cubicBezTo>
                  <a:pt x="719987" y="887716"/>
                  <a:pt x="707292" y="946949"/>
                  <a:pt x="690368" y="1006181"/>
                </a:cubicBezTo>
                <a:cubicBezTo>
                  <a:pt x="648059" y="1133109"/>
                  <a:pt x="584598" y="1268497"/>
                  <a:pt x="580365" y="1378501"/>
                </a:cubicBezTo>
                <a:cubicBezTo>
                  <a:pt x="554979" y="1463119"/>
                  <a:pt x="529594" y="1547737"/>
                  <a:pt x="508442" y="1632355"/>
                </a:cubicBezTo>
                <a:cubicBezTo>
                  <a:pt x="495747" y="1695821"/>
                  <a:pt x="487285" y="1759283"/>
                  <a:pt x="474594" y="1822748"/>
                </a:cubicBezTo>
                <a:lnTo>
                  <a:pt x="457671" y="1920057"/>
                </a:lnTo>
                <a:cubicBezTo>
                  <a:pt x="453438" y="1953904"/>
                  <a:pt x="449209" y="1983523"/>
                  <a:pt x="444976" y="2017370"/>
                </a:cubicBezTo>
                <a:cubicBezTo>
                  <a:pt x="432285" y="2106217"/>
                  <a:pt x="415362" y="2190835"/>
                  <a:pt x="406900" y="2279686"/>
                </a:cubicBezTo>
                <a:cubicBezTo>
                  <a:pt x="402667" y="2334686"/>
                  <a:pt x="398438" y="2381228"/>
                  <a:pt x="394205" y="2440460"/>
                </a:cubicBezTo>
                <a:cubicBezTo>
                  <a:pt x="398438" y="2482769"/>
                  <a:pt x="406900" y="2525078"/>
                  <a:pt x="415362" y="2609697"/>
                </a:cubicBezTo>
                <a:lnTo>
                  <a:pt x="425276" y="2517483"/>
                </a:lnTo>
                <a:lnTo>
                  <a:pt x="423824" y="2486998"/>
                </a:lnTo>
                <a:cubicBezTo>
                  <a:pt x="428052" y="2427765"/>
                  <a:pt x="436514" y="2364300"/>
                  <a:pt x="440747" y="2309300"/>
                </a:cubicBezTo>
                <a:cubicBezTo>
                  <a:pt x="449209" y="2220449"/>
                  <a:pt x="466133" y="2135831"/>
                  <a:pt x="478823" y="2046984"/>
                </a:cubicBezTo>
                <a:lnTo>
                  <a:pt x="509024" y="2010743"/>
                </a:lnTo>
                <a:lnTo>
                  <a:pt x="552878" y="1717258"/>
                </a:lnTo>
                <a:lnTo>
                  <a:pt x="550751" y="1666203"/>
                </a:lnTo>
                <a:lnTo>
                  <a:pt x="592549" y="1546374"/>
                </a:lnTo>
                <a:lnTo>
                  <a:pt x="617419" y="1445769"/>
                </a:lnTo>
                <a:lnTo>
                  <a:pt x="609983" y="1463119"/>
                </a:lnTo>
                <a:cubicBezTo>
                  <a:pt x="601522" y="1458891"/>
                  <a:pt x="593060" y="1454657"/>
                  <a:pt x="584598" y="1454657"/>
                </a:cubicBezTo>
                <a:cubicBezTo>
                  <a:pt x="563441" y="1509661"/>
                  <a:pt x="542289" y="1573123"/>
                  <a:pt x="521132" y="1636589"/>
                </a:cubicBezTo>
                <a:cubicBezTo>
                  <a:pt x="521132" y="1666203"/>
                  <a:pt x="521132" y="1700050"/>
                  <a:pt x="525365" y="1738130"/>
                </a:cubicBezTo>
                <a:cubicBezTo>
                  <a:pt x="512670" y="1805825"/>
                  <a:pt x="504209" y="1865057"/>
                  <a:pt x="495747" y="1932752"/>
                </a:cubicBezTo>
                <a:cubicBezTo>
                  <a:pt x="495747" y="1941214"/>
                  <a:pt x="491518" y="1953904"/>
                  <a:pt x="491518" y="1966599"/>
                </a:cubicBezTo>
                <a:cubicBezTo>
                  <a:pt x="474594" y="1983523"/>
                  <a:pt x="466133" y="2000446"/>
                  <a:pt x="449209" y="2017370"/>
                </a:cubicBezTo>
                <a:cubicBezTo>
                  <a:pt x="453438" y="1983523"/>
                  <a:pt x="457671" y="1953904"/>
                  <a:pt x="461900" y="1920057"/>
                </a:cubicBezTo>
                <a:lnTo>
                  <a:pt x="478823" y="1822748"/>
                </a:lnTo>
                <a:cubicBezTo>
                  <a:pt x="491518" y="1759283"/>
                  <a:pt x="499980" y="1695821"/>
                  <a:pt x="512670" y="1632355"/>
                </a:cubicBezTo>
                <a:cubicBezTo>
                  <a:pt x="538056" y="1547737"/>
                  <a:pt x="563441" y="1463119"/>
                  <a:pt x="584598" y="1378501"/>
                </a:cubicBezTo>
                <a:cubicBezTo>
                  <a:pt x="588827" y="1268497"/>
                  <a:pt x="652292" y="1137342"/>
                  <a:pt x="694601" y="1006181"/>
                </a:cubicBezTo>
                <a:cubicBezTo>
                  <a:pt x="711525" y="946949"/>
                  <a:pt x="724216" y="887716"/>
                  <a:pt x="745372" y="828483"/>
                </a:cubicBezTo>
                <a:cubicBezTo>
                  <a:pt x="762296" y="769251"/>
                  <a:pt x="783448" y="714251"/>
                  <a:pt x="800372" y="655019"/>
                </a:cubicBezTo>
                <a:cubicBezTo>
                  <a:pt x="901914" y="499531"/>
                  <a:pt x="977278" y="298827"/>
                  <a:pt x="1078224" y="117164"/>
                </a:cubicBezTo>
                <a:lnTo>
                  <a:pt x="1153691" y="0"/>
                </a:lnTo>
                <a:lnTo>
                  <a:pt x="8262739" y="0"/>
                </a:lnTo>
                <a:close/>
              </a:path>
            </a:pathLst>
          </a:custGeom>
          <a:gradFill flip="none" rotWithShape="1">
            <a:gsLst>
              <a:gs pos="0">
                <a:schemeClr val="accent1">
                  <a:lumMod val="5000"/>
                  <a:lumOff val="95000"/>
                </a:schemeClr>
              </a:gs>
              <a:gs pos="100000">
                <a:schemeClr val="accent1">
                  <a:alpha val="75000"/>
                </a:schemeClr>
              </a:gs>
            </a:gsLst>
            <a:path path="circle">
              <a:fillToRect r="100000" b="100000"/>
            </a:path>
            <a:tileRect l="-100000" t="-100000"/>
          </a:gradFill>
          <a:ln w="9525" cap="flat">
            <a:noFill/>
            <a:prstDash val="solid"/>
            <a:miter/>
          </a:ln>
        </p:spPr>
        <p:txBody>
          <a:bodyPr wrap="square" rtlCol="0" anchor="ctr">
            <a:noAutofit/>
          </a:bodyPr>
          <a:lstStyle/>
          <a:p>
            <a:pPr rtl="0"/>
            <a:endParaRPr lang="it-IT" sz="1800" noProof="0"/>
          </a:p>
        </p:txBody>
      </p:sp>
      <p:sp>
        <p:nvSpPr>
          <p:cNvPr id="4" name="Titolo 3">
            <a:extLst>
              <a:ext uri="{FF2B5EF4-FFF2-40B4-BE49-F238E27FC236}">
                <a16:creationId xmlns:a16="http://schemas.microsoft.com/office/drawing/2014/main" id="{2237E213-4C0E-46AD-9E3B-F87160D09349}"/>
              </a:ext>
            </a:extLst>
          </p:cNvPr>
          <p:cNvSpPr>
            <a:spLocks noGrp="1"/>
          </p:cNvSpPr>
          <p:nvPr>
            <p:ph type="title"/>
          </p:nvPr>
        </p:nvSpPr>
        <p:spPr/>
        <p:txBody>
          <a:bodyPr rtlCol="0"/>
          <a:lstStyle>
            <a:lvl1pPr rtl="0">
              <a:defRPr/>
            </a:lvl1pPr>
          </a:lstStyle>
          <a:p>
            <a:pPr rtl="0"/>
            <a:r>
              <a:rPr lang="it-IT" noProof="0"/>
              <a:t>Fare clic per modificare lo stile del titolo dello schema</a:t>
            </a:r>
          </a:p>
        </p:txBody>
      </p:sp>
      <p:sp>
        <p:nvSpPr>
          <p:cNvPr id="21" name="Segnaposto testo 4">
            <a:extLst>
              <a:ext uri="{FF2B5EF4-FFF2-40B4-BE49-F238E27FC236}">
                <a16:creationId xmlns:a16="http://schemas.microsoft.com/office/drawing/2014/main" id="{50E1C6AD-1A89-47EE-9378-22C17CB6E379}"/>
              </a:ext>
            </a:extLst>
          </p:cNvPr>
          <p:cNvSpPr>
            <a:spLocks noGrp="1"/>
          </p:cNvSpPr>
          <p:nvPr>
            <p:ph type="body" sz="quarter" idx="13" hasCustomPrompt="1"/>
          </p:nvPr>
        </p:nvSpPr>
        <p:spPr>
          <a:xfrm>
            <a:off x="431799" y="1008000"/>
            <a:ext cx="11329200" cy="252000"/>
          </a:xfrm>
        </p:spPr>
        <p:txBody>
          <a:bodyPr rtlCol="0"/>
          <a:lstStyle>
            <a:lvl1pPr marL="0" indent="0">
              <a:buNone/>
              <a:defRPr/>
            </a:lvl1pPr>
            <a:lvl2pPr marL="266687" indent="0">
              <a:buNone/>
              <a:defRPr/>
            </a:lvl2pPr>
            <a:lvl3pPr marL="542898" indent="0">
              <a:buNone/>
              <a:defRPr/>
            </a:lvl3pPr>
            <a:lvl4pPr marL="809585" indent="0">
              <a:buNone/>
              <a:defRPr/>
            </a:lvl4pPr>
            <a:lvl5pPr marL="1076272" indent="0">
              <a:buNone/>
              <a:defRPr/>
            </a:lvl5pPr>
          </a:lstStyle>
          <a:p>
            <a:pPr lvl="0" rtl="0"/>
            <a:r>
              <a:rPr lang="it-IT" noProof="0"/>
              <a:t>Sottotitolo</a:t>
            </a:r>
          </a:p>
        </p:txBody>
      </p:sp>
    </p:spTree>
    <p:extLst>
      <p:ext uri="{BB962C8B-B14F-4D97-AF65-F5344CB8AC3E}">
        <p14:creationId xmlns:p14="http://schemas.microsoft.com/office/powerpoint/2010/main" val="19884757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33433405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4B959C31-8071-4657-BA84-2004C5131029}" type="datetime1">
              <a:rPr lang="en-US" smtClean="0"/>
              <a:t>4/12/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C7432E5-F8E0-41AE-9A6B-AD730338B005}" type="slidenum">
              <a:rPr lang="en-US" smtClean="0"/>
              <a:pPr/>
              <a:t>‹#›</a:t>
            </a:fld>
            <a:endParaRPr lang="en-US"/>
          </a:p>
        </p:txBody>
      </p:sp>
      <p:sp>
        <p:nvSpPr>
          <p:cNvPr id="6" name="Text Placeholder 5"/>
          <p:cNvSpPr>
            <a:spLocks noGrp="1"/>
          </p:cNvSpPr>
          <p:nvPr>
            <p:ph type="body" sz="quarter" idx="13" hasCustomPrompt="1"/>
          </p:nvPr>
        </p:nvSpPr>
        <p:spPr>
          <a:xfrm>
            <a:off x="486230" y="5852160"/>
            <a:ext cx="10058399" cy="1005840"/>
          </a:xfrm>
        </p:spPr>
        <p:txBody>
          <a:bodyPr anchor="b">
            <a:noAutofit/>
          </a:bodyPr>
          <a:lstStyle>
            <a:lvl1pPr marL="0" indent="0">
              <a:spcBef>
                <a:spcPts val="300"/>
              </a:spcBef>
              <a:buNone/>
              <a:defRPr sz="1000"/>
            </a:lvl1pPr>
            <a:lvl2pPr marL="228589" indent="0">
              <a:spcBef>
                <a:spcPts val="300"/>
              </a:spcBef>
              <a:buNone/>
              <a:defRPr sz="1000"/>
            </a:lvl2pPr>
            <a:lvl3pPr marL="457178" indent="0">
              <a:spcBef>
                <a:spcPts val="300"/>
              </a:spcBef>
              <a:buNone/>
              <a:defRPr sz="1000"/>
            </a:lvl3pPr>
            <a:lvl4pPr marL="685766" indent="0">
              <a:spcBef>
                <a:spcPts val="300"/>
              </a:spcBef>
              <a:buNone/>
              <a:defRPr sz="1000"/>
            </a:lvl4pPr>
            <a:lvl5pPr marL="914354" indent="0">
              <a:spcBef>
                <a:spcPts val="300"/>
              </a:spcBef>
              <a:buNone/>
              <a:defRPr sz="1000"/>
            </a:lvl5pPr>
          </a:lstStyle>
          <a:p>
            <a:pPr lvl="0"/>
            <a:r>
              <a:rPr lang="en-US"/>
              <a:t>Reference(s)</a:t>
            </a:r>
          </a:p>
        </p:txBody>
      </p:sp>
      <p:sp>
        <p:nvSpPr>
          <p:cNvPr id="7" name="Rectangle 6"/>
          <p:cNvSpPr/>
          <p:nvPr userDrawn="1"/>
        </p:nvSpPr>
        <p:spPr>
          <a:xfrm>
            <a:off x="193503" y="1028702"/>
            <a:ext cx="11998500"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9865888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3" y="263785"/>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2" y="6152881"/>
            <a:ext cx="10227735" cy="694267"/>
          </a:xfrm>
          <a:prstGeom prst="rect">
            <a:avLst/>
          </a:prstGeom>
        </p:spPr>
        <p:txBody>
          <a:bodyPr anchor="b"/>
          <a:lstStyle>
            <a:lvl1pPr marL="0" algn="l" defTabSz="687072" rtl="0" eaLnBrk="1" fontAlgn="base" latinLnBrk="0" hangingPunct="1">
              <a:spcBef>
                <a:spcPct val="0"/>
              </a:spcBef>
              <a:spcAft>
                <a:spcPct val="0"/>
              </a:spcAft>
              <a:buClr>
                <a:schemeClr val="tx2"/>
              </a:buClr>
              <a:defRPr lang="en-US" sz="801" b="0" kern="0" dirty="0" smtClean="0">
                <a:solidFill>
                  <a:srgbClr val="6A6356"/>
                </a:solidFill>
                <a:latin typeface="+mn-lt"/>
                <a:ea typeface="+mn-ea"/>
                <a:cs typeface="+mn-cs"/>
              </a:defRPr>
            </a:lvl1pPr>
          </a:lstStyle>
          <a:p>
            <a:pPr lvl="0"/>
            <a:r>
              <a:rPr lang="en-GB"/>
              <a:t>Click to edit Master text styles</a:t>
            </a:r>
          </a:p>
        </p:txBody>
      </p:sp>
      <p:sp>
        <p:nvSpPr>
          <p:cNvPr id="4" name="Slide Number Placeholder 4">
            <a:extLst>
              <a:ext uri="{FF2B5EF4-FFF2-40B4-BE49-F238E27FC236}">
                <a16:creationId xmlns:a16="http://schemas.microsoft.com/office/drawing/2014/main" id="{7374F0C6-EC44-4490-9DAC-14E1A8B6B08D}"/>
              </a:ext>
            </a:extLst>
          </p:cNvPr>
          <p:cNvSpPr>
            <a:spLocks noGrp="1"/>
          </p:cNvSpPr>
          <p:nvPr>
            <p:ph type="sldNum" sz="quarter" idx="11"/>
          </p:nvPr>
        </p:nvSpPr>
        <p:spPr/>
        <p:txBody>
          <a:bodyPr/>
          <a:lstStyle>
            <a:lvl1pPr algn="r">
              <a:defRPr sz="703">
                <a:solidFill>
                  <a:schemeClr val="tx1">
                    <a:tint val="75000"/>
                  </a:schemeClr>
                </a:solidFill>
              </a:defRPr>
            </a:lvl1pPr>
          </a:lstStyle>
          <a:p>
            <a:pPr>
              <a:defRPr/>
            </a:pPr>
            <a:fld id="{34C884E2-5BDD-4D60-A643-A48CBDC078D2}" type="slidenum">
              <a:rPr lang="en-US"/>
              <a:pPr>
                <a:defRPr/>
              </a:pPr>
              <a:t>‹#›</a:t>
            </a:fld>
            <a:endParaRPr lang="en-US"/>
          </a:p>
        </p:txBody>
      </p:sp>
    </p:spTree>
    <p:extLst>
      <p:ext uri="{BB962C8B-B14F-4D97-AF65-F5344CB8AC3E}">
        <p14:creationId xmlns:p14="http://schemas.microsoft.com/office/powerpoint/2010/main" val="1605937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15383" y="1117602"/>
            <a:ext cx="11688232" cy="4756495"/>
          </a:xfrm>
          <a:prstGeom prst="rect">
            <a:avLst/>
          </a:prstGeom>
        </p:spPr>
        <p:txBody>
          <a:bodyPr/>
          <a:lstStyle>
            <a:lvl1pPr marL="359815" indent="-359815">
              <a:lnSpc>
                <a:spcPct val="100000"/>
              </a:lnSpc>
              <a:spcBef>
                <a:spcPts val="0"/>
              </a:spcBef>
              <a:buClrTx/>
              <a:buFont typeface="+mj-lt"/>
              <a:buAutoNum type="arabicPeriod"/>
              <a:defRPr sz="1867" b="1">
                <a:solidFill>
                  <a:schemeClr val="bg2"/>
                </a:solidFill>
                <a:latin typeface="Arial" pitchFamily="34" charset="0"/>
                <a:cs typeface="Arial" pitchFamily="34" charset="0"/>
              </a:defRPr>
            </a:lvl1pPr>
            <a:lvl2pPr marL="629968" indent="-179992">
              <a:lnSpc>
                <a:spcPct val="100000"/>
              </a:lnSpc>
              <a:spcBef>
                <a:spcPts val="0"/>
              </a:spcBef>
              <a:buClrTx/>
              <a:buFont typeface="Arial" pitchFamily="34" charset="0"/>
              <a:buChar char="•"/>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68" indent="-179992">
              <a:defRPr sz="1400">
                <a:latin typeface="Arial" pitchFamily="34" charset="0"/>
                <a:cs typeface="Arial" pitchFamily="34" charset="0"/>
              </a:defRPr>
            </a:lvl4pPr>
            <a:lvl5pPr marL="622768">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5" y="192000"/>
            <a:ext cx="11687535" cy="672000"/>
          </a:xfrm>
          <a:prstGeom prst="rect">
            <a:avLst/>
          </a:prstGeom>
        </p:spPr>
        <p:txBody>
          <a:bodyPr vert="horz"/>
          <a:lstStyle>
            <a:lvl1pPr algn="l" defTabSz="609570"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Tree>
    <p:extLst>
      <p:ext uri="{BB962C8B-B14F-4D97-AF65-F5344CB8AC3E}">
        <p14:creationId xmlns:p14="http://schemas.microsoft.com/office/powerpoint/2010/main" val="23568673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7_Free Content" userDrawn="1">
  <p:cSld name="7_Free Content">
    <p:spTree>
      <p:nvGrpSpPr>
        <p:cNvPr id="1" name="Shape 44"/>
        <p:cNvGrpSpPr/>
        <p:nvPr/>
      </p:nvGrpSpPr>
      <p:grpSpPr>
        <a:xfrm>
          <a:off x="0" y="0"/>
          <a:ext cx="0" cy="0"/>
          <a:chOff x="0" y="0"/>
          <a:chExt cx="0" cy="0"/>
        </a:xfrm>
      </p:grpSpPr>
      <p:sp>
        <p:nvSpPr>
          <p:cNvPr id="5" name="TextBox 4">
            <a:extLst>
              <a:ext uri="{FF2B5EF4-FFF2-40B4-BE49-F238E27FC236}">
                <a16:creationId xmlns:a16="http://schemas.microsoft.com/office/drawing/2014/main" id="{6DD915BC-A826-4B8D-BA61-3CF93EB18B7F}"/>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dirty="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dirty="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6" name="Google Shape;17;p14">
            <a:extLst>
              <a:ext uri="{FF2B5EF4-FFF2-40B4-BE49-F238E27FC236}">
                <a16:creationId xmlns:a16="http://schemas.microsoft.com/office/drawing/2014/main" id="{CA33D925-1B71-4CEF-86B3-4EAABC5F0099}"/>
              </a:ext>
            </a:extLst>
          </p:cNvPr>
          <p:cNvSpPr txBox="1">
            <a:spLocks noGrp="1"/>
          </p:cNvSpPr>
          <p:nvPr>
            <p:ph type="body" idx="12" hasCustomPrompt="1"/>
          </p:nvPr>
        </p:nvSpPr>
        <p:spPr>
          <a:xfrm>
            <a:off x="2360388" y="6340050"/>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Arial"/>
              <a:buNone/>
              <a:defRPr sz="1200" b="1" i="0" u="none" strike="noStrike" cap="none">
                <a:solidFill>
                  <a:srgbClr val="D79D41"/>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10" name="Picture 9">
            <a:extLst>
              <a:ext uri="{FF2B5EF4-FFF2-40B4-BE49-F238E27FC236}">
                <a16:creationId xmlns:a16="http://schemas.microsoft.com/office/drawing/2014/main" id="{4886A28A-1E29-4258-9FEB-29F0B81D5D42}"/>
              </a:ext>
            </a:extLst>
          </p:cNvPr>
          <p:cNvPicPr>
            <a:picLocks noChangeAspect="1"/>
          </p:cNvPicPr>
          <p:nvPr userDrawn="1"/>
        </p:nvPicPr>
        <p:blipFill>
          <a:blip r:embed="rId2"/>
          <a:stretch>
            <a:fillRect/>
          </a:stretch>
        </p:blipFill>
        <p:spPr>
          <a:xfrm>
            <a:off x="478367" y="6225716"/>
            <a:ext cx="1659092" cy="333781"/>
          </a:xfrm>
          <a:prstGeom prst="rect">
            <a:avLst/>
          </a:prstGeom>
        </p:spPr>
      </p:pic>
    </p:spTree>
    <p:extLst>
      <p:ext uri="{BB962C8B-B14F-4D97-AF65-F5344CB8AC3E}">
        <p14:creationId xmlns:p14="http://schemas.microsoft.com/office/powerpoint/2010/main" val="28518869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Arial"/>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dirty="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dirty="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70" marR="0" lvl="0" indent="-304784" algn="l" rtl="0">
              <a:lnSpc>
                <a:spcPct val="100000"/>
              </a:lnSpc>
              <a:spcBef>
                <a:spcPts val="427"/>
              </a:spcBef>
              <a:spcAft>
                <a:spcPts val="0"/>
              </a:spcAft>
              <a:buClr>
                <a:srgbClr val="05416B"/>
              </a:buClr>
              <a:buSzPts val="1600"/>
              <a:buFont typeface="Arial"/>
              <a:buNone/>
              <a:defRPr sz="2133" b="0" i="0" u="none" strike="noStrike" cap="none">
                <a:solidFill>
                  <a:srgbClr val="05416B"/>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50"/>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Arial"/>
              <a:buNone/>
              <a:defRPr sz="1200" b="1" i="0" u="none" strike="noStrike" cap="none">
                <a:solidFill>
                  <a:srgbClr val="D79D41"/>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6"/>
            <a:ext cx="1659092" cy="333781"/>
          </a:xfrm>
          <a:prstGeom prst="rect">
            <a:avLst/>
          </a:prstGeom>
        </p:spPr>
      </p:pic>
    </p:spTree>
    <p:extLst>
      <p:ext uri="{BB962C8B-B14F-4D97-AF65-F5344CB8AC3E}">
        <p14:creationId xmlns:p14="http://schemas.microsoft.com/office/powerpoint/2010/main" val="3704534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3913">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12" name="Rectangle 11"/>
          <p:cNvSpPr/>
          <p:nvPr userDrawn="1"/>
        </p:nvSpPr>
        <p:spPr>
          <a:xfrm>
            <a:off x="0" y="1"/>
            <a:ext cx="12192000" cy="5520795"/>
          </a:xfrm>
          <a:prstGeom prst="rect">
            <a:avLst/>
          </a:prstGeom>
          <a:solidFill>
            <a:srgbClr val="103865"/>
          </a:solidFill>
          <a:ln w="9525" cap="flat" cmpd="sng" algn="ctr">
            <a:no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5" y="967398"/>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5" y="3249094"/>
            <a:ext cx="10484443" cy="778935"/>
          </a:xfrm>
          <a:prstGeom prst="rect">
            <a:avLst/>
          </a:prstGeom>
        </p:spPr>
        <p:txBody>
          <a:bodyPr anchor="t">
            <a:normAutofit/>
          </a:bodyPr>
          <a:lstStyle>
            <a:lvl1pPr marL="0" indent="0">
              <a:defRPr sz="2400" b="1" baseline="0">
                <a:solidFill>
                  <a:schemeClr val="accent1"/>
                </a:solidFill>
              </a:defRPr>
            </a:lvl1pPr>
          </a:lstStyle>
          <a:p>
            <a:r>
              <a:rPr lang="en-GB" dirty="0"/>
              <a:t>Click to edit Master subtitle style</a:t>
            </a:r>
          </a:p>
        </p:txBody>
      </p:sp>
      <p:sp>
        <p:nvSpPr>
          <p:cNvPr id="3" name="Text Placeholder 2"/>
          <p:cNvSpPr>
            <a:spLocks noGrp="1"/>
          </p:cNvSpPr>
          <p:nvPr>
            <p:ph type="body" sz="quarter" idx="10"/>
          </p:nvPr>
        </p:nvSpPr>
        <p:spPr>
          <a:xfrm>
            <a:off x="420625" y="4039704"/>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4" name="TextBox 3"/>
          <p:cNvSpPr txBox="1"/>
          <p:nvPr userDrawn="1"/>
        </p:nvSpPr>
        <p:spPr>
          <a:xfrm>
            <a:off x="430367" y="6581276"/>
            <a:ext cx="7103181" cy="235898"/>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GB" sz="933" dirty="0">
                <a:solidFill>
                  <a:srgbClr val="3F4444"/>
                </a:solidFill>
              </a:rPr>
              <a:t>©AstraZeneca 2019 • FOR HEALTHCARE PROFESSIONAL USE ONLY</a:t>
            </a:r>
            <a:endParaRPr lang="en-US" sz="933" dirty="0">
              <a:solidFill>
                <a:srgbClr val="3F4444"/>
              </a:solidFill>
            </a:endParaRPr>
          </a:p>
        </p:txBody>
      </p:sp>
      <p:pic>
        <p:nvPicPr>
          <p:cNvPr id="8" name="Picture 7" descr="AZ_RGB_H_COL.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0985" y="5648715"/>
            <a:ext cx="2200163" cy="890653"/>
          </a:xfrm>
          <a:prstGeom prst="rect">
            <a:avLst/>
          </a:prstGeom>
        </p:spPr>
      </p:pic>
      <p:sp>
        <p:nvSpPr>
          <p:cNvPr id="5" name="Rectangle 4"/>
          <p:cNvSpPr/>
          <p:nvPr userDrawn="1"/>
        </p:nvSpPr>
        <p:spPr bwMode="auto">
          <a:xfrm>
            <a:off x="10363037"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4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320693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3" y="6180269"/>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6" y="1057822"/>
            <a:ext cx="10642588" cy="701273"/>
          </a:xfrm>
          <a:prstGeom prst="rect">
            <a:avLst/>
          </a:prstGeom>
          <a:noFill/>
          <a:ln>
            <a:noFill/>
          </a:ln>
        </p:spPr>
        <p:txBody>
          <a:bodyPr anchor="t">
            <a:noAutofit/>
          </a:bodyPr>
          <a:lstStyle>
            <a:lvl1pPr marL="0" indent="0">
              <a:lnSpc>
                <a:spcPct val="100000"/>
              </a:lnSpc>
              <a:buNone/>
              <a:defRPr sz="1867"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3" name="Footer Placeholder 2">
            <a:extLst>
              <a:ext uri="{FF2B5EF4-FFF2-40B4-BE49-F238E27FC236}">
                <a16:creationId xmlns:a16="http://schemas.microsoft.com/office/drawing/2014/main" id="{34546FE2-B976-0F48-B4F1-FA6620476CC8}"/>
              </a:ext>
            </a:extLst>
          </p:cNvPr>
          <p:cNvSpPr>
            <a:spLocks noGrp="1"/>
          </p:cNvSpPr>
          <p:nvPr>
            <p:ph type="ftr" sz="quarter" idx="13"/>
          </p:nvPr>
        </p:nvSpPr>
        <p:spPr/>
        <p:txBody>
          <a:bodyPr/>
          <a:lstStyle/>
          <a:p>
            <a:endParaRPr lang="en-US"/>
          </a:p>
        </p:txBody>
      </p:sp>
      <p:sp>
        <p:nvSpPr>
          <p:cNvPr id="4" name="Title 3">
            <a:extLst>
              <a:ext uri="{FF2B5EF4-FFF2-40B4-BE49-F238E27FC236}">
                <a16:creationId xmlns:a16="http://schemas.microsoft.com/office/drawing/2014/main" id="{4E5F2D5F-6B61-264E-930C-39CD0E96BBD8}"/>
              </a:ext>
            </a:extLst>
          </p:cNvPr>
          <p:cNvSpPr>
            <a:spLocks noGrp="1"/>
          </p:cNvSpPr>
          <p:nvPr>
            <p:ph type="title"/>
          </p:nvPr>
        </p:nvSpPr>
        <p:spPr/>
        <p:txBody>
          <a:bodyPr/>
          <a:lstStyle/>
          <a:p>
            <a:r>
              <a:rPr lang="en-US"/>
              <a:t>Click to edit Master title style</a:t>
            </a:r>
            <a:endParaRPr lang="en-GB"/>
          </a:p>
        </p:txBody>
      </p:sp>
      <p:sp>
        <p:nvSpPr>
          <p:cNvPr id="8" name="Slide Number Placeholder 4">
            <a:extLst>
              <a:ext uri="{FF2B5EF4-FFF2-40B4-BE49-F238E27FC236}">
                <a16:creationId xmlns:a16="http://schemas.microsoft.com/office/drawing/2014/main" id="{5B07A33B-02D0-B640-AEFE-63404D23273B}"/>
              </a:ext>
            </a:extLst>
          </p:cNvPr>
          <p:cNvSpPr>
            <a:spLocks noGrp="1"/>
          </p:cNvSpPr>
          <p:nvPr>
            <p:ph type="sldNum" sz="quarter" idx="4"/>
          </p:nvPr>
        </p:nvSpPr>
        <p:spPr>
          <a:xfrm>
            <a:off x="11350643" y="6491819"/>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22909798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Blank - 1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A5B899-06FF-0649-A5E1-1E6B81132265}"/>
              </a:ext>
            </a:extLst>
          </p:cNvPr>
          <p:cNvSpPr>
            <a:spLocks noGrp="1"/>
          </p:cNvSpPr>
          <p:nvPr>
            <p:ph type="ftr" sz="quarter" idx="10"/>
          </p:nvPr>
        </p:nvSpPr>
        <p:spPr/>
        <p:txBody>
          <a:bodyPr/>
          <a:lstStyle/>
          <a:p>
            <a:endParaRPr lang="en-US"/>
          </a:p>
        </p:txBody>
      </p:sp>
      <p:sp>
        <p:nvSpPr>
          <p:cNvPr id="5" name="Title 4">
            <a:extLst>
              <a:ext uri="{FF2B5EF4-FFF2-40B4-BE49-F238E27FC236}">
                <a16:creationId xmlns:a16="http://schemas.microsoft.com/office/drawing/2014/main" id="{5CB4152D-D86B-044C-A6A9-63DD50381CEB}"/>
              </a:ext>
            </a:extLst>
          </p:cNvPr>
          <p:cNvSpPr>
            <a:spLocks noGrp="1"/>
          </p:cNvSpPr>
          <p:nvPr>
            <p:ph type="title"/>
          </p:nvPr>
        </p:nvSpPr>
        <p:spPr/>
        <p:txBody>
          <a:bodyPr/>
          <a:lstStyle/>
          <a:p>
            <a:r>
              <a:rPr lang="en-US"/>
              <a:t>Click to edit Master title style</a:t>
            </a:r>
            <a:endParaRPr lang="en-GB"/>
          </a:p>
        </p:txBody>
      </p:sp>
      <p:sp>
        <p:nvSpPr>
          <p:cNvPr id="6" name="Slide Number Placeholder 4">
            <a:extLst>
              <a:ext uri="{FF2B5EF4-FFF2-40B4-BE49-F238E27FC236}">
                <a16:creationId xmlns:a16="http://schemas.microsoft.com/office/drawing/2014/main" id="{ECF9BD86-0FCF-8D41-A1D2-8D0896635FB3}"/>
              </a:ext>
            </a:extLst>
          </p:cNvPr>
          <p:cNvSpPr>
            <a:spLocks noGrp="1"/>
          </p:cNvSpPr>
          <p:nvPr>
            <p:ph type="sldNum" sz="quarter" idx="4"/>
          </p:nvPr>
        </p:nvSpPr>
        <p:spPr>
          <a:xfrm>
            <a:off x="11350643" y="6491819"/>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2747972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3" y="6180269"/>
            <a:ext cx="385755" cy="462289"/>
          </a:xfrm>
          <a:prstGeom prst="rect">
            <a:avLst/>
          </a:prstGeom>
          <a:noFill/>
          <a:ln w="9525">
            <a:noFill/>
            <a:miter lim="800000"/>
            <a:headEnd/>
            <a:tailEnd/>
          </a:ln>
        </p:spPr>
      </p:pic>
      <p:sp>
        <p:nvSpPr>
          <p:cNvPr id="9" name="Content Placeholder 8"/>
          <p:cNvSpPr>
            <a:spLocks noGrp="1"/>
          </p:cNvSpPr>
          <p:nvPr>
            <p:ph sz="quarter" idx="13" hasCustomPrompt="1"/>
          </p:nvPr>
        </p:nvSpPr>
        <p:spPr>
          <a:xfrm>
            <a:off x="430604" y="1185333"/>
            <a:ext cx="10443633" cy="4953000"/>
          </a:xfrm>
        </p:spPr>
        <p:txBody>
          <a:bodyPr>
            <a:normAutofit/>
          </a:bodyPr>
          <a:lstStyle>
            <a:lvl1pPr>
              <a:spcAft>
                <a:spcPts val="400"/>
              </a:spcAft>
              <a:defRPr sz="2133" b="0">
                <a:solidFill>
                  <a:srgbClr val="4B306A"/>
                </a:solidFill>
              </a:defRPr>
            </a:lvl1pPr>
            <a:lvl2pPr marL="241289" indent="-239173">
              <a:lnSpc>
                <a:spcPct val="100000"/>
              </a:lnSpc>
              <a:spcAft>
                <a:spcPts val="400"/>
              </a:spcAft>
              <a:defRPr sz="2133" b="0">
                <a:solidFill>
                  <a:schemeClr val="tx1"/>
                </a:solidFill>
              </a:defRPr>
            </a:lvl2pPr>
            <a:lvl3pPr marL="666718" indent="-188374">
              <a:lnSpc>
                <a:spcPct val="100000"/>
              </a:lnSpc>
              <a:spcAft>
                <a:spcPts val="400"/>
              </a:spcAft>
              <a:buSzPct val="80000"/>
              <a:buFont typeface="Arial" panose="020B0604020202020204" pitchFamily="34" charset="0"/>
              <a:buChar char="–"/>
              <a:defRPr sz="1600">
                <a:solidFill>
                  <a:schemeClr val="tx1"/>
                </a:solidFill>
              </a:defRPr>
            </a:lvl3pPr>
            <a:lvl4pPr>
              <a:lnSpc>
                <a:spcPct val="100000"/>
              </a:lnSpc>
              <a:spcAft>
                <a:spcPts val="400"/>
              </a:spcAft>
              <a:defRPr sz="1467">
                <a:solidFill>
                  <a:schemeClr val="tx1"/>
                </a:solidFill>
              </a:defRPr>
            </a:lvl4pPr>
            <a:lvl5pPr>
              <a:lnSpc>
                <a:spcPct val="100000"/>
              </a:lnSpc>
              <a:defRPr/>
            </a:lvl5pPr>
          </a:lstStyle>
          <a:p>
            <a:pPr lvl="1"/>
            <a:r>
              <a:rPr lang="en-GB" dirty="0"/>
              <a:t>Second level</a:t>
            </a:r>
          </a:p>
          <a:p>
            <a:pPr lvl="2"/>
            <a:r>
              <a:rPr lang="en-GB" dirty="0"/>
              <a:t>Third level</a:t>
            </a:r>
          </a:p>
          <a:p>
            <a:pPr lvl="3"/>
            <a:r>
              <a:rPr lang="en-GB" dirty="0"/>
              <a:t>Fourth level</a:t>
            </a:r>
          </a:p>
        </p:txBody>
      </p:sp>
      <p:sp>
        <p:nvSpPr>
          <p:cNvPr id="3" name="Footer Placeholder 2">
            <a:extLst>
              <a:ext uri="{FF2B5EF4-FFF2-40B4-BE49-F238E27FC236}">
                <a16:creationId xmlns:a16="http://schemas.microsoft.com/office/drawing/2014/main" id="{C9FFE4D6-FF34-9F43-86F9-B1C8D71B0D36}"/>
              </a:ext>
            </a:extLst>
          </p:cNvPr>
          <p:cNvSpPr>
            <a:spLocks noGrp="1"/>
          </p:cNvSpPr>
          <p:nvPr>
            <p:ph type="ftr" sz="quarter" idx="14"/>
          </p:nvPr>
        </p:nvSpPr>
        <p:spPr/>
        <p:txBody>
          <a:bodyPr/>
          <a:lstStyle/>
          <a:p>
            <a:endParaRPr lang="en-US"/>
          </a:p>
        </p:txBody>
      </p:sp>
      <p:sp>
        <p:nvSpPr>
          <p:cNvPr id="4" name="Title 3">
            <a:extLst>
              <a:ext uri="{FF2B5EF4-FFF2-40B4-BE49-F238E27FC236}">
                <a16:creationId xmlns:a16="http://schemas.microsoft.com/office/drawing/2014/main" id="{E14E8764-4D12-E245-BF6B-E4D3EFF72861}"/>
              </a:ext>
            </a:extLst>
          </p:cNvPr>
          <p:cNvSpPr>
            <a:spLocks noGrp="1"/>
          </p:cNvSpPr>
          <p:nvPr>
            <p:ph type="title"/>
          </p:nvPr>
        </p:nvSpPr>
        <p:spPr/>
        <p:txBody>
          <a:bodyPr/>
          <a:lstStyle/>
          <a:p>
            <a:r>
              <a:rPr lang="en-US"/>
              <a:t>Click to edit Master title style</a:t>
            </a:r>
            <a:endParaRPr lang="en-GB"/>
          </a:p>
        </p:txBody>
      </p:sp>
      <p:sp>
        <p:nvSpPr>
          <p:cNvPr id="8" name="Slide Number Placeholder 4">
            <a:extLst>
              <a:ext uri="{FF2B5EF4-FFF2-40B4-BE49-F238E27FC236}">
                <a16:creationId xmlns:a16="http://schemas.microsoft.com/office/drawing/2014/main" id="{0EFE55C4-74AB-7547-9E27-939A4EE2ACE6}"/>
              </a:ext>
            </a:extLst>
          </p:cNvPr>
          <p:cNvSpPr>
            <a:spLocks noGrp="1"/>
          </p:cNvSpPr>
          <p:nvPr>
            <p:ph type="sldNum" sz="quarter" idx="4"/>
          </p:nvPr>
        </p:nvSpPr>
        <p:spPr>
          <a:xfrm>
            <a:off x="11350643" y="6491819"/>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27184733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a:xfrm>
            <a:off x="10137663" y="6456260"/>
            <a:ext cx="1279359" cy="309145"/>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p>
            <a:fld id="{F8E47D07-9D1E-4FE9-B31A-2F5863681021}" type="slidenum">
              <a:rPr lang="en-GB" smtClean="0"/>
              <a:pPr/>
              <a:t>‹#›</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9" y="6200776"/>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2346243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55">
          <p15:clr>
            <a:srgbClr val="A4A3A4"/>
          </p15:clr>
        </p15:guide>
        <p15:guide id="2" pos="1951">
          <p15:clr>
            <a:srgbClr val="A4A3A4"/>
          </p15:clr>
        </p15:guide>
        <p15:guide id="3" pos="3464">
          <p15:clr>
            <a:srgbClr val="A4A3A4"/>
          </p15:clr>
        </p15:guide>
        <p15:guide id="4" pos="3559">
          <p15:clr>
            <a:srgbClr val="A4A3A4"/>
          </p15:clr>
        </p15:guide>
        <p15:guide id="5" pos="5072">
          <p15:clr>
            <a:srgbClr val="A4A3A4"/>
          </p15:clr>
        </p15:guide>
        <p15:guide id="6" pos="5168">
          <p15:clr>
            <a:srgbClr val="A4A3A4"/>
          </p15:clr>
        </p15:guide>
        <p15:guide id="7" pos="6679">
          <p15:clr>
            <a:srgbClr val="A4A3A4"/>
          </p15:clr>
        </p15:guide>
        <p15:guide id="8" pos="6776">
          <p15:clr>
            <a:srgbClr val="A4A3A4"/>
          </p15:clr>
        </p15:guide>
        <p15:guide id="9" pos="8287">
          <p15:clr>
            <a:srgbClr val="A4A3A4"/>
          </p15:clr>
        </p15:guide>
        <p15:guide id="10" pos="8384">
          <p15:clr>
            <a:srgbClr val="A4A3A4"/>
          </p15:clr>
        </p15:guide>
        <p15:guide id="11" orient="horz" pos="1187">
          <p15:clr>
            <a:srgbClr val="C35EA4"/>
          </p15:clr>
        </p15:guide>
        <p15:guide id="12" orient="horz" pos="1308">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3_Title and Text" userDrawn="1">
  <p:cSld name="4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763985"/>
            <a:ext cx="11213200" cy="3916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533"/>
              </a:spcBef>
              <a:spcAft>
                <a:spcPts val="0"/>
              </a:spcAft>
              <a:buClr>
                <a:srgbClr val="05416B"/>
              </a:buClr>
              <a:buSzPts val="700"/>
              <a:buFont typeface="Noto Sans Symbols"/>
              <a:buNone/>
              <a:defRPr sz="18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dirty="0"/>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655"/>
            <a:ext cx="5868680" cy="164212"/>
          </a:xfrm>
          <a:prstGeom prst="rect">
            <a:avLst/>
          </a:prstGeom>
          <a:noFill/>
        </p:spPr>
        <p:txBody>
          <a:bodyPr wrap="square" lIns="0" tIns="0" rIns="0" bIns="0" rtlCol="0" anchor="b" anchorCtr="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067" b="0" i="0" dirty="0">
                <a:solidFill>
                  <a:srgbClr val="D79D41"/>
                </a:solidFill>
                <a:effectLst/>
                <a:latin typeface="Arial Narrow" panose="020B0606020202030204" pitchFamily="34" charset="0"/>
              </a:rPr>
              <a:t>Content of this presentation is copyrighted</a:t>
            </a:r>
            <a:r>
              <a:rPr lang="en-CH" sz="1067" b="0" i="0" dirty="0">
                <a:solidFill>
                  <a:srgbClr val="D79D41"/>
                </a:solidFill>
                <a:effectLst/>
                <a:latin typeface="Arial Narrow" panose="020B0606020202030204" pitchFamily="34" charset="0"/>
              </a:rPr>
              <a:t> </a:t>
            </a:r>
            <a:r>
              <a:rPr lang="en-US" sz="1067" b="0" i="0" dirty="0">
                <a:solidFill>
                  <a:srgbClr val="D79D41"/>
                </a:solidFill>
                <a:effectLst/>
                <a:latin typeface="Arial Narrow" panose="020B0606020202030204" pitchFamily="34" charset="0"/>
              </a:rPr>
              <a:t>and is the responsibility of the author. Permission is required for re-use</a:t>
            </a:r>
            <a:r>
              <a:rPr lang="en-CH" sz="1067" b="0" i="0" dirty="0">
                <a:solidFill>
                  <a:srgbClr val="D79D41"/>
                </a:solidFill>
                <a:effectLst/>
                <a:latin typeface="Arial Narrow" panose="020B0606020202030204" pitchFamily="34" charset="0"/>
              </a:rPr>
              <a:t>.</a:t>
            </a:r>
            <a:endParaRPr lang="en-US" sz="1067"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1"/>
            <a:ext cx="11213020" cy="802051"/>
          </a:xfrm>
          <a:prstGeom prst="rect">
            <a:avLst/>
          </a:prstGeom>
          <a:noFill/>
          <a:ln>
            <a:noFill/>
          </a:ln>
        </p:spPr>
        <p:txBody>
          <a:bodyPr spcFirstLastPara="1" wrap="square" lIns="91425" tIns="2286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200"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1420536"/>
            <a:ext cx="11213200" cy="4597167"/>
          </a:xfrm>
          <a:prstGeom prst="rect">
            <a:avLst/>
          </a:prstGeom>
          <a:noFill/>
          <a:ln>
            <a:noFill/>
          </a:ln>
        </p:spPr>
        <p:txBody>
          <a:bodyPr spcFirstLastPara="1" wrap="square" lIns="91425" tIns="45700" rIns="91425" bIns="45700" anchor="t" anchorCtr="0">
            <a:noAutofit/>
          </a:bodyPr>
          <a:lstStyle>
            <a:lvl1pPr marL="609570" marR="0" lvl="0" indent="-304784"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dirty="0"/>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6"/>
            <a:ext cx="1659092" cy="333781"/>
          </a:xfrm>
          <a:prstGeom prst="rect">
            <a:avLst/>
          </a:prstGeom>
        </p:spPr>
      </p:pic>
    </p:spTree>
    <p:extLst>
      <p:ext uri="{BB962C8B-B14F-4D97-AF65-F5344CB8AC3E}">
        <p14:creationId xmlns:p14="http://schemas.microsoft.com/office/powerpoint/2010/main" val="41965347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3913">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BF361B-4B59-467C-BA42-E935156B314C}"/>
              </a:ext>
            </a:extLst>
          </p:cNvPr>
          <p:cNvSpPr/>
          <p:nvPr userDrawn="1"/>
        </p:nvSpPr>
        <p:spPr>
          <a:xfrm>
            <a:off x="10111667" y="5992429"/>
            <a:ext cx="1873188" cy="7989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pPr>
            <a:endParaRPr lang="fr-FR" sz="3200">
              <a:solidFill>
                <a:prstClr val="white"/>
              </a:solidFill>
            </a:endParaRPr>
          </a:p>
        </p:txBody>
      </p:sp>
      <p:sp>
        <p:nvSpPr>
          <p:cNvPr id="3" name="Espace réservé du contenu 2"/>
          <p:cNvSpPr>
            <a:spLocks noGrp="1"/>
          </p:cNvSpPr>
          <p:nvPr>
            <p:ph idx="1"/>
          </p:nvPr>
        </p:nvSpPr>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2" name="Titre 1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347940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nchor="t" anchorCtr="0"/>
          <a:lstStyle>
            <a:lvl1pPr>
              <a:lnSpc>
                <a:spcPct val="100000"/>
              </a:lnSpc>
              <a:defRPr/>
            </a:lvl1pPr>
          </a:lstStyle>
          <a:p>
            <a:r>
              <a:rPr lang="en-GB"/>
              <a:t>Click to edit Master title style</a:t>
            </a:r>
            <a:endParaRPr lang="en-US" dirty="0"/>
          </a:p>
        </p:txBody>
      </p:sp>
      <p:sp>
        <p:nvSpPr>
          <p:cNvPr id="3" name="Content Placeholder 2"/>
          <p:cNvSpPr>
            <a:spLocks noGrp="1"/>
          </p:cNvSpPr>
          <p:nvPr>
            <p:ph idx="1"/>
          </p:nvPr>
        </p:nvSpPr>
        <p:spPr/>
        <p:txBody>
          <a:bodyPr/>
          <a:lstStyle>
            <a:lvl1pPr>
              <a:lnSpc>
                <a:spcPct val="100000"/>
              </a:lnSpc>
              <a:spcBef>
                <a:spcPts val="800"/>
              </a:spcBef>
              <a:defRPr/>
            </a:lvl1pPr>
            <a:lvl2pPr marL="685750" indent="-228584">
              <a:lnSpc>
                <a:spcPct val="100000"/>
              </a:lnSpc>
              <a:spcBef>
                <a:spcPts val="800"/>
              </a:spcBef>
              <a:buFont typeface="System Font Regular"/>
              <a:buChar char="–"/>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7">
            <a:extLst>
              <a:ext uri="{FF2B5EF4-FFF2-40B4-BE49-F238E27FC236}">
                <a16:creationId xmlns:a16="http://schemas.microsoft.com/office/drawing/2014/main" id="{EC819220-F09C-E34A-92EA-E7BA9BAA3929}"/>
              </a:ext>
            </a:extLst>
          </p:cNvPr>
          <p:cNvSpPr>
            <a:spLocks noGrp="1"/>
          </p:cNvSpPr>
          <p:nvPr>
            <p:ph type="body" sz="quarter" idx="10" hasCustomPrompt="1"/>
          </p:nvPr>
        </p:nvSpPr>
        <p:spPr>
          <a:xfrm>
            <a:off x="107953" y="6441021"/>
            <a:ext cx="11946467" cy="416983"/>
          </a:xfrm>
        </p:spPr>
        <p:txBody>
          <a:bodyPr>
            <a:noAutofit/>
          </a:bodyPr>
          <a:lstStyle>
            <a:lvl1pPr marL="0" indent="0">
              <a:buNone/>
              <a:defRPr sz="1067"/>
            </a:lvl1pPr>
            <a:lvl2pPr marL="457167" indent="0">
              <a:buNone/>
              <a:defRPr sz="1067"/>
            </a:lvl2pPr>
            <a:lvl3pPr marL="914332" indent="0">
              <a:buNone/>
              <a:defRPr sz="1067"/>
            </a:lvl3pPr>
            <a:lvl4pPr marL="1371498" indent="0">
              <a:buNone/>
              <a:defRPr sz="1067"/>
            </a:lvl4pPr>
            <a:lvl5pPr marL="1828664" indent="0">
              <a:buNone/>
              <a:defRPr sz="1067"/>
            </a:lvl5pPr>
          </a:lstStyle>
          <a:p>
            <a:pPr lvl="0"/>
            <a:r>
              <a:rPr lang="en-GB" dirty="0"/>
              <a:t>Click to add refs</a:t>
            </a:r>
            <a:endParaRPr lang="en-US" dirty="0"/>
          </a:p>
        </p:txBody>
      </p:sp>
    </p:spTree>
    <p:extLst>
      <p:ext uri="{BB962C8B-B14F-4D97-AF65-F5344CB8AC3E}">
        <p14:creationId xmlns:p14="http://schemas.microsoft.com/office/powerpoint/2010/main" val="15001817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2" y="1081909"/>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2" y="657966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2647946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0_Blank - 1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A5B899-06FF-0649-A5E1-1E6B81132265}"/>
              </a:ext>
            </a:extLst>
          </p:cNvPr>
          <p:cNvSpPr>
            <a:spLocks noGrp="1"/>
          </p:cNvSpPr>
          <p:nvPr>
            <p:ph type="ftr" sz="quarter" idx="10"/>
          </p:nvPr>
        </p:nvSpPr>
        <p:spPr/>
        <p:txBody>
          <a:bodyPr/>
          <a:lstStyle/>
          <a:p>
            <a:endParaRPr lang="en-US"/>
          </a:p>
        </p:txBody>
      </p:sp>
      <p:sp>
        <p:nvSpPr>
          <p:cNvPr id="5" name="Title 4">
            <a:extLst>
              <a:ext uri="{FF2B5EF4-FFF2-40B4-BE49-F238E27FC236}">
                <a16:creationId xmlns:a16="http://schemas.microsoft.com/office/drawing/2014/main" id="{5CB4152D-D86B-044C-A6A9-63DD50381CEB}"/>
              </a:ext>
            </a:extLst>
          </p:cNvPr>
          <p:cNvSpPr>
            <a:spLocks noGrp="1"/>
          </p:cNvSpPr>
          <p:nvPr>
            <p:ph type="title"/>
          </p:nvPr>
        </p:nvSpPr>
        <p:spPr/>
        <p:txBody>
          <a:bodyPr/>
          <a:lstStyle/>
          <a:p>
            <a:r>
              <a:rPr lang="en-US"/>
              <a:t>Click to edit Master title style</a:t>
            </a:r>
            <a:endParaRPr lang="en-GB"/>
          </a:p>
        </p:txBody>
      </p:sp>
      <p:sp>
        <p:nvSpPr>
          <p:cNvPr id="6" name="Slide Number Placeholder 4">
            <a:extLst>
              <a:ext uri="{FF2B5EF4-FFF2-40B4-BE49-F238E27FC236}">
                <a16:creationId xmlns:a16="http://schemas.microsoft.com/office/drawing/2014/main" id="{ECF9BD86-0FCF-8D41-A1D2-8D0896635FB3}"/>
              </a:ext>
            </a:extLst>
          </p:cNvPr>
          <p:cNvSpPr>
            <a:spLocks noGrp="1"/>
          </p:cNvSpPr>
          <p:nvPr>
            <p:ph type="sldNum" sz="quarter" idx="4"/>
          </p:nvPr>
        </p:nvSpPr>
        <p:spPr>
          <a:xfrm>
            <a:off x="11350643" y="6491819"/>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707487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General Content">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551FB21A-0E6D-4C3A-92F2-1A4C404F796E}"/>
              </a:ext>
            </a:extLst>
          </p:cNvPr>
          <p:cNvSpPr>
            <a:spLocks noGrp="1"/>
          </p:cNvSpPr>
          <p:nvPr>
            <p:ph type="body" sz="quarter" idx="10" hasCustomPrompt="1"/>
          </p:nvPr>
        </p:nvSpPr>
        <p:spPr>
          <a:xfrm>
            <a:off x="432825" y="452671"/>
            <a:ext cx="8021219" cy="960109"/>
          </a:xfrm>
          <a:prstGeom prst="rect">
            <a:avLst/>
          </a:prstGeom>
        </p:spPr>
        <p:txBody>
          <a:bodyPr/>
          <a:lstStyle>
            <a:lvl1pPr marL="0" indent="0">
              <a:lnSpc>
                <a:spcPts val="3333"/>
              </a:lnSpc>
              <a:spcBef>
                <a:spcPts val="0"/>
              </a:spcBef>
              <a:buNone/>
              <a:defRPr sz="3467" b="0">
                <a:solidFill>
                  <a:srgbClr val="C1002A"/>
                </a:solidFill>
                <a:latin typeface="+mj-lt"/>
              </a:defRPr>
            </a:lvl1pPr>
            <a:lvl2pPr marL="355582" indent="0">
              <a:buNone/>
              <a:defRPr/>
            </a:lvl2pPr>
            <a:lvl3pPr marL="709048" indent="0">
              <a:buNone/>
              <a:defRPr/>
            </a:lvl3pPr>
            <a:lvl4pPr marL="1079446" indent="0">
              <a:buNone/>
              <a:defRPr/>
            </a:lvl4pPr>
            <a:lvl5pPr marL="1435028" indent="0">
              <a:buNone/>
              <a:defRPr/>
            </a:lvl5pPr>
          </a:lstStyle>
          <a:p>
            <a:pPr lvl="0"/>
            <a:r>
              <a:rPr lang="en-US" dirty="0"/>
              <a:t>First line</a:t>
            </a:r>
            <a:r>
              <a:rPr lang="cs-CZ" dirty="0"/>
              <a:t> o</a:t>
            </a:r>
            <a:r>
              <a:rPr lang="en-US" dirty="0"/>
              <a:t>f the headline</a:t>
            </a:r>
          </a:p>
        </p:txBody>
      </p:sp>
      <p:sp>
        <p:nvSpPr>
          <p:cNvPr id="13" name="Espace réservé du contenu 12">
            <a:extLst>
              <a:ext uri="{FF2B5EF4-FFF2-40B4-BE49-F238E27FC236}">
                <a16:creationId xmlns:a16="http://schemas.microsoft.com/office/drawing/2014/main" id="{861B12CF-C574-4831-92D6-4B1240FED72B}"/>
              </a:ext>
            </a:extLst>
          </p:cNvPr>
          <p:cNvSpPr>
            <a:spLocks noGrp="1"/>
          </p:cNvSpPr>
          <p:nvPr>
            <p:ph sz="quarter" idx="11" hasCustomPrompt="1"/>
          </p:nvPr>
        </p:nvSpPr>
        <p:spPr>
          <a:xfrm>
            <a:off x="431801" y="1604435"/>
            <a:ext cx="10368723" cy="4129617"/>
          </a:xfrm>
          <a:prstGeom prst="rect">
            <a:avLst/>
          </a:prstGeom>
        </p:spPr>
        <p:txBody>
          <a:bodyPr/>
          <a:lstStyle>
            <a:lvl1pPr marL="0" indent="0">
              <a:buNone/>
              <a:defRPr sz="1600">
                <a:solidFill>
                  <a:schemeClr val="tx1">
                    <a:lumMod val="65000"/>
                    <a:lumOff val="35000"/>
                  </a:schemeClr>
                </a:solidFill>
                <a:latin typeface="Verdana Pro" panose="020B0604030504040204" pitchFamily="34" charset="0"/>
              </a:defRPr>
            </a:lvl1pPr>
            <a:lvl2pPr marL="355582" indent="0">
              <a:buNone/>
              <a:defRPr sz="1600">
                <a:solidFill>
                  <a:schemeClr val="tx1">
                    <a:lumMod val="95000"/>
                    <a:lumOff val="5000"/>
                  </a:schemeClr>
                </a:solidFill>
                <a:latin typeface="+mj-lt"/>
              </a:defRPr>
            </a:lvl2pPr>
            <a:lvl3pPr marL="709048" indent="0">
              <a:buNone/>
              <a:defRPr sz="1600">
                <a:solidFill>
                  <a:schemeClr val="tx1">
                    <a:lumMod val="95000"/>
                    <a:lumOff val="5000"/>
                  </a:schemeClr>
                </a:solidFill>
                <a:latin typeface="+mj-lt"/>
              </a:defRPr>
            </a:lvl3pPr>
            <a:lvl4pPr marL="1079446" indent="0">
              <a:buNone/>
              <a:defRPr sz="1600">
                <a:solidFill>
                  <a:schemeClr val="tx1">
                    <a:lumMod val="95000"/>
                    <a:lumOff val="5000"/>
                  </a:schemeClr>
                </a:solidFill>
                <a:latin typeface="+mj-lt"/>
              </a:defRPr>
            </a:lvl4pPr>
            <a:lvl5pPr marL="1435028" indent="0">
              <a:buNone/>
              <a:defRPr sz="1600">
                <a:solidFill>
                  <a:schemeClr val="tx1">
                    <a:lumMod val="95000"/>
                    <a:lumOff val="5000"/>
                  </a:schemeClr>
                </a:solidFill>
                <a:latin typeface="+mj-lt"/>
              </a:defRPr>
            </a:lvl5pPr>
          </a:lstStyle>
          <a:p>
            <a:pPr lvl="0"/>
            <a:r>
              <a:rPr lang="cs-CZ" dirty="0" err="1"/>
              <a:t>Content</a:t>
            </a:r>
            <a:endParaRPr lang="fr-FR" dirty="0"/>
          </a:p>
        </p:txBody>
      </p:sp>
      <p:pic>
        <p:nvPicPr>
          <p:cNvPr id="5" name="Picture 4" descr="Text&#10;&#10;Description automatically generated with medium confidence">
            <a:extLst>
              <a:ext uri="{FF2B5EF4-FFF2-40B4-BE49-F238E27FC236}">
                <a16:creationId xmlns:a16="http://schemas.microsoft.com/office/drawing/2014/main" id="{695B8D64-2182-F37F-CD9E-7F8BDF3B9D9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876199" y="5915768"/>
            <a:ext cx="2663133" cy="492517"/>
          </a:xfrm>
          <a:prstGeom prst="rect">
            <a:avLst/>
          </a:prstGeom>
        </p:spPr>
      </p:pic>
      <p:pic>
        <p:nvPicPr>
          <p:cNvPr id="4" name="Picture 3" descr="Text&#10;&#10;Description automatically generated">
            <a:extLst>
              <a:ext uri="{FF2B5EF4-FFF2-40B4-BE49-F238E27FC236}">
                <a16:creationId xmlns:a16="http://schemas.microsoft.com/office/drawing/2014/main" id="{532B0D02-2D37-B625-37A0-B7A51A5A269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876199" y="5890941"/>
            <a:ext cx="2802283" cy="517345"/>
          </a:xfrm>
          <a:prstGeom prst="rect">
            <a:avLst/>
          </a:prstGeom>
        </p:spPr>
      </p:pic>
    </p:spTree>
    <p:extLst>
      <p:ext uri="{BB962C8B-B14F-4D97-AF65-F5344CB8AC3E}">
        <p14:creationId xmlns:p14="http://schemas.microsoft.com/office/powerpoint/2010/main" val="2235186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1FE55FE1-14D6-4E0C-911C-D83186A362DD}" type="slidenum">
              <a:rPr lang="en-US" smtClean="0"/>
              <a:t>‹#›</a:t>
            </a:fld>
            <a:endParaRPr lang="en-US"/>
          </a:p>
        </p:txBody>
      </p:sp>
      <p:sp>
        <p:nvSpPr>
          <p:cNvPr id="4" name="Title 3"/>
          <p:cNvSpPr>
            <a:spLocks noGrp="1"/>
          </p:cNvSpPr>
          <p:nvPr>
            <p:ph type="title" hasCustomPrompt="1"/>
          </p:nvPr>
        </p:nvSpPr>
        <p:spPr/>
        <p:txBody>
          <a:bodyPr/>
          <a:lstStyle>
            <a:lvl1pPr>
              <a:defRPr/>
            </a:lvl1pPr>
          </a:lstStyle>
          <a:p>
            <a:r>
              <a:rPr lang="en-US" dirty="0"/>
              <a:t>Click to </a:t>
            </a:r>
            <a:br>
              <a:rPr lang="en-US" dirty="0"/>
            </a:br>
            <a:r>
              <a:rPr lang="en-US" dirty="0"/>
              <a:t>edit Master title style</a:t>
            </a:r>
          </a:p>
        </p:txBody>
      </p:sp>
    </p:spTree>
    <p:custDataLst>
      <p:tags r:id="rId1"/>
    </p:custDataLst>
    <p:extLst>
      <p:ext uri="{BB962C8B-B14F-4D97-AF65-F5344CB8AC3E}">
        <p14:creationId xmlns:p14="http://schemas.microsoft.com/office/powerpoint/2010/main" val="16311526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1FE55FE1-14D6-4E0C-911C-D83186A362DD}" type="slidenum">
              <a:rPr lang="en-US" smtClean="0"/>
              <a:t>‹#›</a:t>
            </a:fld>
            <a:endParaRPr lang="en-US"/>
          </a:p>
        </p:txBody>
      </p:sp>
      <p:sp>
        <p:nvSpPr>
          <p:cNvPr id="4" name="Title 3"/>
          <p:cNvSpPr>
            <a:spLocks noGrp="1"/>
          </p:cNvSpPr>
          <p:nvPr>
            <p:ph type="title" hasCustomPrompt="1"/>
          </p:nvPr>
        </p:nvSpPr>
        <p:spPr/>
        <p:txBody>
          <a:bodyPr/>
          <a:lstStyle>
            <a:lvl1pPr>
              <a:defRPr/>
            </a:lvl1pPr>
          </a:lstStyle>
          <a:p>
            <a:r>
              <a:rPr lang="en-US" dirty="0"/>
              <a:t>Click to </a:t>
            </a:r>
            <a:br>
              <a:rPr lang="en-US" dirty="0"/>
            </a:br>
            <a:r>
              <a:rPr lang="en-US" dirty="0"/>
              <a:t>edit Master title style</a:t>
            </a:r>
          </a:p>
        </p:txBody>
      </p:sp>
    </p:spTree>
    <p:custDataLst>
      <p:tags r:id="rId1"/>
    </p:custDataLst>
    <p:extLst>
      <p:ext uri="{BB962C8B-B14F-4D97-AF65-F5344CB8AC3E}">
        <p14:creationId xmlns:p14="http://schemas.microsoft.com/office/powerpoint/2010/main" val="36039052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26" Type="http://schemas.openxmlformats.org/officeDocument/2006/relationships/slideLayout" Target="../slideLayouts/slideLayout220.xml"/><Relationship Id="rId3" Type="http://schemas.openxmlformats.org/officeDocument/2006/relationships/slideLayout" Target="../slideLayouts/slideLayout197.xml"/><Relationship Id="rId21" Type="http://schemas.openxmlformats.org/officeDocument/2006/relationships/slideLayout" Target="../slideLayouts/slideLayout215.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5" Type="http://schemas.openxmlformats.org/officeDocument/2006/relationships/slideLayout" Target="../slideLayouts/slideLayout219.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24" Type="http://schemas.openxmlformats.org/officeDocument/2006/relationships/slideLayout" Target="../slideLayouts/slideLayout218.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23" Type="http://schemas.openxmlformats.org/officeDocument/2006/relationships/slideLayout" Target="../slideLayouts/slideLayout217.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slideLayout" Target="../slideLayouts/slideLayout216.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theme" Target="../theme/theme11.xml"/><Relationship Id="rId3" Type="http://schemas.openxmlformats.org/officeDocument/2006/relationships/slideLayout" Target="../slideLayouts/slideLayout223.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10" Type="http://schemas.openxmlformats.org/officeDocument/2006/relationships/slideLayout" Target="../slideLayouts/slideLayout230.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2" Type="http://schemas.openxmlformats.org/officeDocument/2006/relationships/slideLayout" Target="../slideLayouts/slideLayout239.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5" Type="http://schemas.openxmlformats.org/officeDocument/2006/relationships/theme" Target="../theme/theme12.x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26" Type="http://schemas.openxmlformats.org/officeDocument/2006/relationships/slideLayout" Target="../slideLayouts/slideLayout277.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5" Type="http://schemas.openxmlformats.org/officeDocument/2006/relationships/slideLayout" Target="../slideLayouts/slideLayout276.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29" Type="http://schemas.openxmlformats.org/officeDocument/2006/relationships/slideLayout" Target="../slideLayouts/slideLayout280.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openxmlformats.org/officeDocument/2006/relationships/slideLayout" Target="../slideLayouts/slideLayout275.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slideLayout" Target="../slideLayouts/slideLayout274.xml"/><Relationship Id="rId28" Type="http://schemas.openxmlformats.org/officeDocument/2006/relationships/slideLayout" Target="../slideLayouts/slideLayout279.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31" Type="http://schemas.openxmlformats.org/officeDocument/2006/relationships/theme" Target="../theme/theme13.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slideLayout" Target="../slideLayouts/slideLayout273.xml"/><Relationship Id="rId27" Type="http://schemas.openxmlformats.org/officeDocument/2006/relationships/slideLayout" Target="../slideLayouts/slideLayout278.xml"/><Relationship Id="rId30" Type="http://schemas.openxmlformats.org/officeDocument/2006/relationships/slideLayout" Target="../slideLayouts/slideLayout28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theme" Target="../theme/theme14.xml"/><Relationship Id="rId3" Type="http://schemas.openxmlformats.org/officeDocument/2006/relationships/slideLayout" Target="../slideLayouts/slideLayout284.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10" Type="http://schemas.openxmlformats.org/officeDocument/2006/relationships/slideLayout" Target="../slideLayouts/slideLayout291.xml"/><Relationship Id="rId19" Type="http://schemas.openxmlformats.org/officeDocument/2006/relationships/image" Target="../media/image45.png"/><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3" Type="http://schemas.openxmlformats.org/officeDocument/2006/relationships/slideLayout" Target="../slideLayouts/slideLayout301.xml"/><Relationship Id="rId21" Type="http://schemas.openxmlformats.org/officeDocument/2006/relationships/slideLayout" Target="../slideLayouts/slideLayout319.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0" Type="http://schemas.openxmlformats.org/officeDocument/2006/relationships/slideLayout" Target="../slideLayouts/slideLayout318.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5" Type="http://schemas.openxmlformats.org/officeDocument/2006/relationships/slideLayout" Target="../slideLayouts/slideLayout303.xml"/><Relationship Id="rId15" Type="http://schemas.openxmlformats.org/officeDocument/2006/relationships/slideLayout" Target="../slideLayouts/slideLayout313.xml"/><Relationship Id="rId23" Type="http://schemas.openxmlformats.org/officeDocument/2006/relationships/theme" Target="../theme/theme15.xml"/><Relationship Id="rId10" Type="http://schemas.openxmlformats.org/officeDocument/2006/relationships/slideLayout" Target="../slideLayouts/slideLayout308.xml"/><Relationship Id="rId19" Type="http://schemas.openxmlformats.org/officeDocument/2006/relationships/slideLayout" Target="../slideLayouts/slideLayout317.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 Id="rId22" Type="http://schemas.openxmlformats.org/officeDocument/2006/relationships/slideLayout" Target="../slideLayouts/slideLayout32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26" Type="http://schemas.openxmlformats.org/officeDocument/2006/relationships/slideLayout" Target="../slideLayouts/slideLayout346.xml"/><Relationship Id="rId3" Type="http://schemas.openxmlformats.org/officeDocument/2006/relationships/slideLayout" Target="../slideLayouts/slideLayout323.xml"/><Relationship Id="rId21" Type="http://schemas.openxmlformats.org/officeDocument/2006/relationships/slideLayout" Target="../slideLayouts/slideLayout341.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slideLayout" Target="../slideLayouts/slideLayout345.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29" Type="http://schemas.openxmlformats.org/officeDocument/2006/relationships/slideLayout" Target="../slideLayouts/slideLayout349.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32" Type="http://schemas.openxmlformats.org/officeDocument/2006/relationships/image" Target="../media/image53.jpeg"/><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28" Type="http://schemas.openxmlformats.org/officeDocument/2006/relationships/slideLayout" Target="../slideLayouts/slideLayout348.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31" Type="http://schemas.openxmlformats.org/officeDocument/2006/relationships/image" Target="../media/image52.png"/><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slideLayout" Target="../slideLayouts/slideLayout342.xml"/><Relationship Id="rId27" Type="http://schemas.openxmlformats.org/officeDocument/2006/relationships/slideLayout" Target="../slideLayouts/slideLayout347.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slideLayout" Target="../slideLayouts/slideLayout362.xml"/><Relationship Id="rId18" Type="http://schemas.openxmlformats.org/officeDocument/2006/relationships/slideLayout" Target="../slideLayouts/slideLayout367.xml"/><Relationship Id="rId3" Type="http://schemas.openxmlformats.org/officeDocument/2006/relationships/slideLayout" Target="../slideLayouts/slideLayout352.xml"/><Relationship Id="rId21" Type="http://schemas.openxmlformats.org/officeDocument/2006/relationships/slideLayout" Target="../slideLayouts/slideLayout370.xml"/><Relationship Id="rId7" Type="http://schemas.openxmlformats.org/officeDocument/2006/relationships/slideLayout" Target="../slideLayouts/slideLayout356.xml"/><Relationship Id="rId12" Type="http://schemas.openxmlformats.org/officeDocument/2006/relationships/slideLayout" Target="../slideLayouts/slideLayout361.xml"/><Relationship Id="rId17" Type="http://schemas.openxmlformats.org/officeDocument/2006/relationships/slideLayout" Target="../slideLayouts/slideLayout366.xml"/><Relationship Id="rId2" Type="http://schemas.openxmlformats.org/officeDocument/2006/relationships/slideLayout" Target="../slideLayouts/slideLayout351.xml"/><Relationship Id="rId16" Type="http://schemas.openxmlformats.org/officeDocument/2006/relationships/slideLayout" Target="../slideLayouts/slideLayout365.xml"/><Relationship Id="rId20" Type="http://schemas.openxmlformats.org/officeDocument/2006/relationships/slideLayout" Target="../slideLayouts/slideLayout369.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24" Type="http://schemas.openxmlformats.org/officeDocument/2006/relationships/theme" Target="../theme/theme17.xml"/><Relationship Id="rId5" Type="http://schemas.openxmlformats.org/officeDocument/2006/relationships/slideLayout" Target="../slideLayouts/slideLayout354.xml"/><Relationship Id="rId15" Type="http://schemas.openxmlformats.org/officeDocument/2006/relationships/slideLayout" Target="../slideLayouts/slideLayout364.xml"/><Relationship Id="rId23" Type="http://schemas.openxmlformats.org/officeDocument/2006/relationships/slideLayout" Target="../slideLayouts/slideLayout372.xml"/><Relationship Id="rId10" Type="http://schemas.openxmlformats.org/officeDocument/2006/relationships/slideLayout" Target="../slideLayouts/slideLayout359.xml"/><Relationship Id="rId19" Type="http://schemas.openxmlformats.org/officeDocument/2006/relationships/slideLayout" Target="../slideLayouts/slideLayout368.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slideLayout" Target="../slideLayouts/slideLayout363.xml"/><Relationship Id="rId22" Type="http://schemas.openxmlformats.org/officeDocument/2006/relationships/slideLayout" Target="../slideLayouts/slideLayout37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theme" Target="../theme/theme18.xml"/><Relationship Id="rId3" Type="http://schemas.openxmlformats.org/officeDocument/2006/relationships/slideLayout" Target="../slideLayouts/slideLayout375.xml"/><Relationship Id="rId7" Type="http://schemas.openxmlformats.org/officeDocument/2006/relationships/slideLayout" Target="../slideLayouts/slideLayout379.xml"/><Relationship Id="rId12" Type="http://schemas.openxmlformats.org/officeDocument/2006/relationships/slideLayout" Target="../slideLayouts/slideLayout384.xml"/><Relationship Id="rId2" Type="http://schemas.openxmlformats.org/officeDocument/2006/relationships/slideLayout" Target="../slideLayouts/slideLayout374.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slideLayout" Target="../slideLayouts/slideLayout383.xml"/><Relationship Id="rId5" Type="http://schemas.openxmlformats.org/officeDocument/2006/relationships/slideLayout" Target="../slideLayouts/slideLayout377.xml"/><Relationship Id="rId10" Type="http://schemas.openxmlformats.org/officeDocument/2006/relationships/slideLayout" Target="../slideLayouts/slideLayout382.xml"/><Relationship Id="rId4" Type="http://schemas.openxmlformats.org/officeDocument/2006/relationships/slideLayout" Target="../slideLayouts/slideLayout376.xml"/><Relationship Id="rId9" Type="http://schemas.openxmlformats.org/officeDocument/2006/relationships/slideLayout" Target="../slideLayouts/slideLayout381.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slideLayout" Target="../slideLayouts/slideLayout397.xml"/><Relationship Id="rId3" Type="http://schemas.openxmlformats.org/officeDocument/2006/relationships/slideLayout" Target="../slideLayouts/slideLayout387.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2" Type="http://schemas.openxmlformats.org/officeDocument/2006/relationships/slideLayout" Target="../slideLayouts/slideLayout386.xml"/><Relationship Id="rId16" Type="http://schemas.openxmlformats.org/officeDocument/2006/relationships/image" Target="../media/image61.emf"/><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5" Type="http://schemas.openxmlformats.org/officeDocument/2006/relationships/slideLayout" Target="../slideLayouts/slideLayout389.xml"/><Relationship Id="rId15" Type="http://schemas.openxmlformats.org/officeDocument/2006/relationships/image" Target="../media/image60.png"/><Relationship Id="rId10" Type="http://schemas.openxmlformats.org/officeDocument/2006/relationships/slideLayout" Target="../slideLayouts/slideLayout394.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5.xml"/><Relationship Id="rId3" Type="http://schemas.openxmlformats.org/officeDocument/2006/relationships/slideLayout" Target="../slideLayouts/slideLayout400.xml"/><Relationship Id="rId7" Type="http://schemas.openxmlformats.org/officeDocument/2006/relationships/slideLayout" Target="../slideLayouts/slideLayout404.xml"/><Relationship Id="rId12" Type="http://schemas.openxmlformats.org/officeDocument/2006/relationships/image" Target="../media/image63.emf"/><Relationship Id="rId2" Type="http://schemas.openxmlformats.org/officeDocument/2006/relationships/slideLayout" Target="../slideLayouts/slideLayout399.xml"/><Relationship Id="rId1" Type="http://schemas.openxmlformats.org/officeDocument/2006/relationships/slideLayout" Target="../slideLayouts/slideLayout398.xml"/><Relationship Id="rId6" Type="http://schemas.openxmlformats.org/officeDocument/2006/relationships/slideLayout" Target="../slideLayouts/slideLayout403.xml"/><Relationship Id="rId11" Type="http://schemas.openxmlformats.org/officeDocument/2006/relationships/theme" Target="../theme/theme20.xml"/><Relationship Id="rId5" Type="http://schemas.openxmlformats.org/officeDocument/2006/relationships/slideLayout" Target="../slideLayouts/slideLayout402.xml"/><Relationship Id="rId10" Type="http://schemas.openxmlformats.org/officeDocument/2006/relationships/slideLayout" Target="../slideLayouts/slideLayout407.xml"/><Relationship Id="rId4" Type="http://schemas.openxmlformats.org/officeDocument/2006/relationships/slideLayout" Target="../slideLayouts/slideLayout401.xml"/><Relationship Id="rId9" Type="http://schemas.openxmlformats.org/officeDocument/2006/relationships/slideLayout" Target="../slideLayouts/slideLayout40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slideLayout" Target="../slideLayouts/slideLayout425.xml"/><Relationship Id="rId26" Type="http://schemas.openxmlformats.org/officeDocument/2006/relationships/slideLayout" Target="../slideLayouts/slideLayout433.xml"/><Relationship Id="rId3" Type="http://schemas.openxmlformats.org/officeDocument/2006/relationships/slideLayout" Target="../slideLayouts/slideLayout410.xml"/><Relationship Id="rId21" Type="http://schemas.openxmlformats.org/officeDocument/2006/relationships/slideLayout" Target="../slideLayouts/slideLayout428.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5" Type="http://schemas.openxmlformats.org/officeDocument/2006/relationships/slideLayout" Target="../slideLayouts/slideLayout432.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20" Type="http://schemas.openxmlformats.org/officeDocument/2006/relationships/slideLayout" Target="../slideLayouts/slideLayout427.xml"/><Relationship Id="rId29" Type="http://schemas.openxmlformats.org/officeDocument/2006/relationships/slideLayout" Target="../slideLayouts/slideLayout436.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24" Type="http://schemas.openxmlformats.org/officeDocument/2006/relationships/slideLayout" Target="../slideLayouts/slideLayout431.xml"/><Relationship Id="rId32" Type="http://schemas.openxmlformats.org/officeDocument/2006/relationships/image" Target="../media/image65.jpg"/><Relationship Id="rId5" Type="http://schemas.openxmlformats.org/officeDocument/2006/relationships/slideLayout" Target="../slideLayouts/slideLayout412.xml"/><Relationship Id="rId15" Type="http://schemas.openxmlformats.org/officeDocument/2006/relationships/slideLayout" Target="../slideLayouts/slideLayout422.xml"/><Relationship Id="rId23" Type="http://schemas.openxmlformats.org/officeDocument/2006/relationships/slideLayout" Target="../slideLayouts/slideLayout430.xml"/><Relationship Id="rId28" Type="http://schemas.openxmlformats.org/officeDocument/2006/relationships/slideLayout" Target="../slideLayouts/slideLayout435.xml"/><Relationship Id="rId10" Type="http://schemas.openxmlformats.org/officeDocument/2006/relationships/slideLayout" Target="../slideLayouts/slideLayout417.xml"/><Relationship Id="rId19" Type="http://schemas.openxmlformats.org/officeDocument/2006/relationships/slideLayout" Target="../slideLayouts/slideLayout426.xml"/><Relationship Id="rId31" Type="http://schemas.openxmlformats.org/officeDocument/2006/relationships/image" Target="../media/image64.png"/><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 Id="rId22" Type="http://schemas.openxmlformats.org/officeDocument/2006/relationships/slideLayout" Target="../slideLayouts/slideLayout429.xml"/><Relationship Id="rId27" Type="http://schemas.openxmlformats.org/officeDocument/2006/relationships/slideLayout" Target="../slideLayouts/slideLayout434.xml"/><Relationship Id="rId30"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44.xml"/><Relationship Id="rId13" Type="http://schemas.openxmlformats.org/officeDocument/2006/relationships/slideLayout" Target="../slideLayouts/slideLayout449.xml"/><Relationship Id="rId18" Type="http://schemas.openxmlformats.org/officeDocument/2006/relationships/slideLayout" Target="../slideLayouts/slideLayout454.xml"/><Relationship Id="rId26" Type="http://schemas.openxmlformats.org/officeDocument/2006/relationships/theme" Target="../theme/theme22.xml"/><Relationship Id="rId3" Type="http://schemas.openxmlformats.org/officeDocument/2006/relationships/slideLayout" Target="../slideLayouts/slideLayout439.xml"/><Relationship Id="rId21" Type="http://schemas.openxmlformats.org/officeDocument/2006/relationships/slideLayout" Target="../slideLayouts/slideLayout457.xml"/><Relationship Id="rId7" Type="http://schemas.openxmlformats.org/officeDocument/2006/relationships/slideLayout" Target="../slideLayouts/slideLayout443.xml"/><Relationship Id="rId12" Type="http://schemas.openxmlformats.org/officeDocument/2006/relationships/slideLayout" Target="../slideLayouts/slideLayout448.xml"/><Relationship Id="rId17" Type="http://schemas.openxmlformats.org/officeDocument/2006/relationships/slideLayout" Target="../slideLayouts/slideLayout453.xml"/><Relationship Id="rId25" Type="http://schemas.openxmlformats.org/officeDocument/2006/relationships/slideLayout" Target="../slideLayouts/slideLayout461.xml"/><Relationship Id="rId2" Type="http://schemas.openxmlformats.org/officeDocument/2006/relationships/slideLayout" Target="../slideLayouts/slideLayout438.xml"/><Relationship Id="rId16" Type="http://schemas.openxmlformats.org/officeDocument/2006/relationships/slideLayout" Target="../slideLayouts/slideLayout452.xml"/><Relationship Id="rId20" Type="http://schemas.openxmlformats.org/officeDocument/2006/relationships/slideLayout" Target="../slideLayouts/slideLayout456.xml"/><Relationship Id="rId1" Type="http://schemas.openxmlformats.org/officeDocument/2006/relationships/slideLayout" Target="../slideLayouts/slideLayout437.xml"/><Relationship Id="rId6" Type="http://schemas.openxmlformats.org/officeDocument/2006/relationships/slideLayout" Target="../slideLayouts/slideLayout442.xml"/><Relationship Id="rId11" Type="http://schemas.openxmlformats.org/officeDocument/2006/relationships/slideLayout" Target="../slideLayouts/slideLayout447.xml"/><Relationship Id="rId24" Type="http://schemas.openxmlformats.org/officeDocument/2006/relationships/slideLayout" Target="../slideLayouts/slideLayout460.xml"/><Relationship Id="rId5" Type="http://schemas.openxmlformats.org/officeDocument/2006/relationships/slideLayout" Target="../slideLayouts/slideLayout441.xml"/><Relationship Id="rId15" Type="http://schemas.openxmlformats.org/officeDocument/2006/relationships/slideLayout" Target="../slideLayouts/slideLayout451.xml"/><Relationship Id="rId23" Type="http://schemas.openxmlformats.org/officeDocument/2006/relationships/slideLayout" Target="../slideLayouts/slideLayout459.xml"/><Relationship Id="rId10" Type="http://schemas.openxmlformats.org/officeDocument/2006/relationships/slideLayout" Target="../slideLayouts/slideLayout446.xml"/><Relationship Id="rId19" Type="http://schemas.openxmlformats.org/officeDocument/2006/relationships/slideLayout" Target="../slideLayouts/slideLayout455.xml"/><Relationship Id="rId4" Type="http://schemas.openxmlformats.org/officeDocument/2006/relationships/slideLayout" Target="../slideLayouts/slideLayout440.xml"/><Relationship Id="rId9" Type="http://schemas.openxmlformats.org/officeDocument/2006/relationships/slideLayout" Target="../slideLayouts/slideLayout445.xml"/><Relationship Id="rId14" Type="http://schemas.openxmlformats.org/officeDocument/2006/relationships/slideLayout" Target="../slideLayouts/slideLayout450.xml"/><Relationship Id="rId22" Type="http://schemas.openxmlformats.org/officeDocument/2006/relationships/slideLayout" Target="../slideLayouts/slideLayout458.xml"/><Relationship Id="rId27" Type="http://schemas.openxmlformats.org/officeDocument/2006/relationships/image" Target="../media/image45.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4.xml"/><Relationship Id="rId7" Type="http://schemas.openxmlformats.org/officeDocument/2006/relationships/image" Target="../media/image3.png"/><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3.xml"/><Relationship Id="rId5" Type="http://schemas.openxmlformats.org/officeDocument/2006/relationships/slideLayout" Target="../slideLayouts/slideLayout46.xml"/><Relationship Id="rId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50" Type="http://schemas.openxmlformats.org/officeDocument/2006/relationships/slideLayout" Target="../slideLayouts/slideLayout96.xml"/><Relationship Id="rId55" Type="http://schemas.openxmlformats.org/officeDocument/2006/relationships/slideLayout" Target="../slideLayouts/slideLayout101.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3" Type="http://schemas.openxmlformats.org/officeDocument/2006/relationships/slideLayout" Target="../slideLayouts/slideLayout99.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slideLayout" Target="../slideLayouts/slideLayout98.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56" Type="http://schemas.openxmlformats.org/officeDocument/2006/relationships/theme" Target="../theme/theme4.xml"/><Relationship Id="rId8" Type="http://schemas.openxmlformats.org/officeDocument/2006/relationships/slideLayout" Target="../slideLayouts/slideLayout54.xml"/><Relationship Id="rId51" Type="http://schemas.openxmlformats.org/officeDocument/2006/relationships/slideLayout" Target="../slideLayouts/slideLayout97.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54" Type="http://schemas.openxmlformats.org/officeDocument/2006/relationships/slideLayout" Target="../slideLayouts/slideLayout100.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slideLayout" Target="../slideLayouts/slideLayout9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theme" Target="../theme/theme5.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tags" Target="../tags/tag11.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6.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image" Target="../media/image22.sv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theme" Target="../theme/theme7.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image" Target="../media/image25.jp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theme" Target="../theme/theme8.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image" Target="../media/image26.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theme" Target="../theme/theme9.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print">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12/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723313442"/>
      </p:ext>
    </p:extLst>
  </p:cSld>
  <p:clrMap bg1="lt1" tx1="dk1" bg2="lt2" tx2="dk2" accent1="accent1" accent2="accent2" accent3="accent3" accent4="accent4" accent5="accent5" accent6="accent6" hlink="hlink" folHlink="folHlink"/>
  <p:sldLayoutIdLst>
    <p:sldLayoutId id="2147485327" r:id="rId1"/>
    <p:sldLayoutId id="2147485328" r:id="rId2"/>
    <p:sldLayoutId id="2147485329" r:id="rId3"/>
    <p:sldLayoutId id="2147485330" r:id="rId4"/>
    <p:sldLayoutId id="2147485331" r:id="rId5"/>
    <p:sldLayoutId id="2147485332" r:id="rId6"/>
    <p:sldLayoutId id="2147485333" r:id="rId7"/>
    <p:sldLayoutId id="2147485334" r:id="rId8"/>
    <p:sldLayoutId id="2147485335" r:id="rId9"/>
    <p:sldLayoutId id="2147485336" r:id="rId10"/>
    <p:sldLayoutId id="2147485337" r:id="rId11"/>
    <p:sldLayoutId id="2147485338" r:id="rId12"/>
    <p:sldLayoutId id="2147485550" r:id="rId13"/>
    <p:sldLayoutId id="2147485551" r:id="rId14"/>
    <p:sldLayoutId id="2147485552" r:id="rId15"/>
    <p:sldLayoutId id="2147485553" r:id="rId16"/>
    <p:sldLayoutId id="2147485554" r:id="rId17"/>
    <p:sldLayoutId id="2147485555" r:id="rId18"/>
    <p:sldLayoutId id="2147485556" r:id="rId19"/>
    <p:sldLayoutId id="2147485557" r:id="rId20"/>
    <p:sldLayoutId id="2147485558" r:id="rId21"/>
    <p:sldLayoutId id="2147485559" r:id="rId22"/>
    <p:sldLayoutId id="2147485560" r:id="rId23"/>
    <p:sldLayoutId id="2147485561" r:id="rId24"/>
    <p:sldLayoutId id="2147485562" r:id="rId25"/>
    <p:sldLayoutId id="2147485563" r:id="rId2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764DE79-268F-4C1A-8933-263129D2AF90}" type="datetimeFigureOut">
              <a:rPr lang="en-US" dirty="0"/>
              <a:t>4/12/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879352734"/>
      </p:ext>
    </p:extLst>
  </p:cSld>
  <p:clrMap bg1="lt1" tx1="dk1" bg2="lt2" tx2="dk2" accent1="accent1" accent2="accent2" accent3="accent3" accent4="accent4" accent5="accent5" accent6="accent6" hlink="hlink" folHlink="folHlink"/>
  <p:sldLayoutIdLst>
    <p:sldLayoutId id="2147485353" r:id="rId1"/>
    <p:sldLayoutId id="2147485354" r:id="rId2"/>
    <p:sldLayoutId id="2147485355" r:id="rId3"/>
    <p:sldLayoutId id="2147485356" r:id="rId4"/>
    <p:sldLayoutId id="2147485357" r:id="rId5"/>
    <p:sldLayoutId id="2147485358" r:id="rId6"/>
    <p:sldLayoutId id="2147485359" r:id="rId7"/>
    <p:sldLayoutId id="2147485360" r:id="rId8"/>
    <p:sldLayoutId id="2147485361" r:id="rId9"/>
    <p:sldLayoutId id="2147485362" r:id="rId10"/>
    <p:sldLayoutId id="2147485363" r:id="rId11"/>
    <p:sldLayoutId id="2147485364" r:id="rId12"/>
    <p:sldLayoutId id="2147485365" r:id="rId13"/>
    <p:sldLayoutId id="2147485366" r:id="rId14"/>
    <p:sldLayoutId id="2147485367" r:id="rId15"/>
    <p:sldLayoutId id="2147485368" r:id="rId16"/>
    <p:sldLayoutId id="2147485369"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764DE79-268F-4C1A-8933-263129D2AF90}" type="datetimeFigureOut">
              <a:rPr lang="en-US" dirty="0"/>
              <a:t>4/12/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8F63A3B-78C7-47BE-AE5E-E10140E04643}" type="slidenum">
              <a:rPr lang="en-US" dirty="0"/>
              <a:t>‹#›</a:t>
            </a:fld>
            <a:endParaRPr lang="en-US" dirty="0"/>
          </a:p>
        </p:txBody>
      </p:sp>
      <p:sp>
        <p:nvSpPr>
          <p:cNvPr id="7" name="TextBox 6">
            <a:extLst>
              <a:ext uri="{FF2B5EF4-FFF2-40B4-BE49-F238E27FC236}">
                <a16:creationId xmlns:a16="http://schemas.microsoft.com/office/drawing/2014/main" id="{40474FD6-7D07-738C-C2F9-493C3D64EC9A}"/>
              </a:ext>
            </a:extLst>
          </p:cNvPr>
          <p:cNvSpPr txBox="1"/>
          <p:nvPr userDrawn="1"/>
        </p:nvSpPr>
        <p:spPr>
          <a:xfrm>
            <a:off x="0" y="6611781"/>
            <a:ext cx="12192000" cy="246221"/>
          </a:xfrm>
          <a:prstGeom prst="rect">
            <a:avLst/>
          </a:prstGeom>
          <a:noFill/>
        </p:spPr>
        <p:txBody>
          <a:bodyPr wrap="square" rtlCol="0" anchor="b">
            <a:spAutoFit/>
          </a:bodyPr>
          <a:lstStyle/>
          <a:p>
            <a:pPr marL="0" marR="0">
              <a:spcBef>
                <a:spcPts val="0"/>
              </a:spcBef>
              <a:spcAft>
                <a:spcPts val="0"/>
              </a:spcAft>
              <a:tabLst>
                <a:tab pos="2971726" algn="ctr"/>
                <a:tab pos="5943451" algn="r"/>
              </a:tabLst>
            </a:pPr>
            <a:endParaRPr lang="en-US" sz="1000" i="1" kern="100" dirty="0">
              <a:solidFill>
                <a:schemeClr val="tx1"/>
              </a:solidFill>
              <a:effectLst/>
              <a:latin typeface="Calibri" panose="020F0502020204030204" pitchFamily="34" charset="0"/>
              <a:ea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568479132"/>
      </p:ext>
    </p:extLst>
  </p:cSld>
  <p:clrMap bg1="lt1" tx1="dk1" bg2="lt2" tx2="dk2" accent1="accent1" accent2="accent2" accent3="accent3" accent4="accent4" accent5="accent5" accent6="accent6" hlink="hlink" folHlink="folHlink"/>
  <p:sldLayoutIdLst>
    <p:sldLayoutId id="2147485371" r:id="rId1"/>
    <p:sldLayoutId id="2147485372" r:id="rId2"/>
    <p:sldLayoutId id="2147485373" r:id="rId3"/>
    <p:sldLayoutId id="2147485374" r:id="rId4"/>
    <p:sldLayoutId id="2147485375" r:id="rId5"/>
    <p:sldLayoutId id="2147485376" r:id="rId6"/>
    <p:sldLayoutId id="2147485377" r:id="rId7"/>
    <p:sldLayoutId id="2147485378" r:id="rId8"/>
    <p:sldLayoutId id="2147485379" r:id="rId9"/>
    <p:sldLayoutId id="2147485380" r:id="rId10"/>
    <p:sldLayoutId id="2147485381" r:id="rId11"/>
    <p:sldLayoutId id="2147485382" r:id="rId12"/>
    <p:sldLayoutId id="2147485383" r:id="rId13"/>
    <p:sldLayoutId id="2147485384"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Tree>
    <p:extLst>
      <p:ext uri="{BB962C8B-B14F-4D97-AF65-F5344CB8AC3E}">
        <p14:creationId xmlns:p14="http://schemas.microsoft.com/office/powerpoint/2010/main" val="4276662573"/>
      </p:ext>
    </p:extLst>
  </p:cSld>
  <p:clrMap bg1="lt1" tx1="dk1" bg2="dk2" tx2="lt2" accent1="accent1" accent2="accent2" accent3="accent3" accent4="accent4" accent5="accent5" accent6="accent6" hlink="hlink" folHlink="folHlink"/>
  <p:sldLayoutIdLst>
    <p:sldLayoutId id="2147485386" r:id="rId1"/>
    <p:sldLayoutId id="2147485387" r:id="rId2"/>
    <p:sldLayoutId id="2147485388" r:id="rId3"/>
    <p:sldLayoutId id="2147485389" r:id="rId4"/>
    <p:sldLayoutId id="2147485390" r:id="rId5"/>
    <p:sldLayoutId id="2147485391" r:id="rId6"/>
    <p:sldLayoutId id="2147485392" r:id="rId7"/>
    <p:sldLayoutId id="2147485393" r:id="rId8"/>
    <p:sldLayoutId id="2147485394" r:id="rId9"/>
    <p:sldLayoutId id="2147485395" r:id="rId10"/>
    <p:sldLayoutId id="2147485396" r:id="rId11"/>
    <p:sldLayoutId id="2147485397" r:id="rId12"/>
    <p:sldLayoutId id="2147485398" r:id="rId13"/>
    <p:sldLayoutId id="2147485399" r:id="rId14"/>
    <p:sldLayoutId id="2147485400" r:id="rId15"/>
    <p:sldLayoutId id="2147485401" r:id="rId16"/>
    <p:sldLayoutId id="2147485402" r:id="rId17"/>
    <p:sldLayoutId id="2147485403" r:id="rId18"/>
    <p:sldLayoutId id="2147485404" r:id="rId19"/>
    <p:sldLayoutId id="2147485405" r:id="rId20"/>
    <p:sldLayoutId id="2147485406" r:id="rId21"/>
    <p:sldLayoutId id="2147485407" r:id="rId22"/>
    <p:sldLayoutId id="2147485408" r:id="rId23"/>
    <p:sldLayoutId id="2147485409" r:id="rId24"/>
    <p:sldLayoutId id="2147485410" r:id="rId25"/>
    <p:sldLayoutId id="2147485411" r:id="rId26"/>
    <p:sldLayoutId id="2147485412" r:id="rId27"/>
    <p:sldLayoutId id="2147485413" r:id="rId28"/>
    <p:sldLayoutId id="2147485414" r:id="rId29"/>
    <p:sldLayoutId id="2147485415" r:id="rId3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409641716"/>
      </p:ext>
    </p:extLst>
  </p:cSld>
  <p:clrMap bg1="lt1" tx1="dk1" bg2="lt2" tx2="dk2" accent1="accent1" accent2="accent2" accent3="accent3" accent4="accent4" accent5="accent5" accent6="accent6" hlink="hlink" folHlink="folHlink"/>
  <p:sldLayoutIdLst>
    <p:sldLayoutId id="2147485417" r:id="rId1"/>
    <p:sldLayoutId id="2147485418" r:id="rId2"/>
    <p:sldLayoutId id="2147485419" r:id="rId3"/>
    <p:sldLayoutId id="2147485420" r:id="rId4"/>
    <p:sldLayoutId id="2147485421" r:id="rId5"/>
    <p:sldLayoutId id="2147485422" r:id="rId6"/>
    <p:sldLayoutId id="2147485423" r:id="rId7"/>
    <p:sldLayoutId id="2147485424" r:id="rId8"/>
    <p:sldLayoutId id="2147485425" r:id="rId9"/>
    <p:sldLayoutId id="2147485426" r:id="rId10"/>
    <p:sldLayoutId id="2147485427" r:id="rId11"/>
    <p:sldLayoutId id="2147485428" r:id="rId12"/>
    <p:sldLayoutId id="2147485429" r:id="rId13"/>
    <p:sldLayoutId id="2147485430" r:id="rId14"/>
    <p:sldLayoutId id="2147485431" r:id="rId15"/>
    <p:sldLayoutId id="2147485432" r:id="rId16"/>
    <p:sldLayoutId id="2147485433"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338561"/>
      </p:ext>
    </p:extLst>
  </p:cSld>
  <p:clrMap bg1="lt1" tx1="dk1" bg2="lt2" tx2="dk2" accent1="accent1" accent2="accent2" accent3="accent3" accent4="accent4" accent5="accent5" accent6="accent6" hlink="hlink" folHlink="folHlink"/>
  <p:sldLayoutIdLst>
    <p:sldLayoutId id="2147485435" r:id="rId1"/>
    <p:sldLayoutId id="2147485436" r:id="rId2"/>
    <p:sldLayoutId id="2147485437" r:id="rId3"/>
    <p:sldLayoutId id="2147485438" r:id="rId4"/>
    <p:sldLayoutId id="2147485439" r:id="rId5"/>
    <p:sldLayoutId id="2147485440" r:id="rId6"/>
    <p:sldLayoutId id="2147485441" r:id="rId7"/>
    <p:sldLayoutId id="2147485442" r:id="rId8"/>
    <p:sldLayoutId id="2147485443" r:id="rId9"/>
    <p:sldLayoutId id="2147485444" r:id="rId10"/>
    <p:sldLayoutId id="2147485445" r:id="rId11"/>
    <p:sldLayoutId id="2147485446" r:id="rId12"/>
    <p:sldLayoutId id="2147485447" r:id="rId13"/>
    <p:sldLayoutId id="2147485448" r:id="rId14"/>
    <p:sldLayoutId id="2147485449" r:id="rId15"/>
    <p:sldLayoutId id="2147485450" r:id="rId16"/>
    <p:sldLayoutId id="2147485451" r:id="rId17"/>
    <p:sldLayoutId id="2147485452" r:id="rId18"/>
    <p:sldLayoutId id="2147485453" r:id="rId19"/>
    <p:sldLayoutId id="2147485454" r:id="rId20"/>
    <p:sldLayoutId id="2147485455" r:id="rId21"/>
    <p:sldLayoutId id="2147485456" r:id="rId2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j-cs"/>
        </a:defRPr>
      </a:lvl1pPr>
      <a:lvl2pPr algn="ctr" defTabSz="457200" rtl="0" eaLnBrk="1" fontAlgn="base" hangingPunct="1">
        <a:spcBef>
          <a:spcPct val="0"/>
        </a:spcBef>
        <a:spcAft>
          <a:spcPct val="0"/>
        </a:spcAft>
        <a:defRPr sz="4400">
          <a:solidFill>
            <a:schemeClr val="tx1"/>
          </a:solidFill>
          <a:latin typeface="Calibri" charset="0"/>
          <a:ea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419100" y="263784"/>
            <a:ext cx="11220451" cy="690561"/>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bodyPr>
          <a:lstStyle/>
          <a:p>
            <a:pPr lvl="0"/>
            <a:r>
              <a:rPr lang="en-GB" dirty="0"/>
              <a:t>Click to edit Master title style</a:t>
            </a:r>
          </a:p>
        </p:txBody>
      </p:sp>
      <p:sp>
        <p:nvSpPr>
          <p:cNvPr id="2" name="Text Placeholder 1"/>
          <p:cNvSpPr>
            <a:spLocks noGrp="1"/>
          </p:cNvSpPr>
          <p:nvPr>
            <p:ph type="body" idx="1"/>
          </p:nvPr>
        </p:nvSpPr>
        <p:spPr>
          <a:xfrm>
            <a:off x="427938" y="1677890"/>
            <a:ext cx="11211613" cy="4438649"/>
          </a:xfrm>
          <a:prstGeom prst="rect">
            <a:avLst/>
          </a:prstGeom>
        </p:spPr>
        <p:txBody>
          <a:bodyPr vert="horz" lIns="91440" tIns="45720" rIns="91440" bIns="45720" rtlCol="0">
            <a:normAutofit/>
          </a:bodyPr>
          <a:lstStyle/>
          <a:p>
            <a:pPr lvl="1"/>
            <a:r>
              <a:rPr lang="en-US" dirty="0"/>
              <a:t>Second level</a:t>
            </a:r>
          </a:p>
          <a:p>
            <a:pPr lvl="2"/>
            <a:r>
              <a:rPr lang="en-US" dirty="0"/>
              <a:t>Third level</a:t>
            </a:r>
          </a:p>
          <a:p>
            <a:pPr lvl="3"/>
            <a:r>
              <a:rPr lang="en-US" dirty="0"/>
              <a:t>Fourth level</a:t>
            </a:r>
          </a:p>
        </p:txBody>
      </p:sp>
      <p:sp>
        <p:nvSpPr>
          <p:cNvPr id="6" name="Footer Placeholder 5"/>
          <p:cNvSpPr>
            <a:spLocks noGrp="1"/>
          </p:cNvSpPr>
          <p:nvPr>
            <p:ph type="ftr" sz="quarter" idx="3"/>
          </p:nvPr>
        </p:nvSpPr>
        <p:spPr>
          <a:xfrm>
            <a:off x="-1" y="6459349"/>
            <a:ext cx="9772255" cy="366183"/>
          </a:xfrm>
          <a:prstGeom prst="rect">
            <a:avLst/>
          </a:prstGeom>
        </p:spPr>
        <p:txBody>
          <a:bodyPr vert="horz" lIns="91440" tIns="45720" rIns="91440" bIns="45720" rtlCol="0" anchor="b" anchorCtr="0"/>
          <a:lstStyle>
            <a:lvl1pPr algn="l">
              <a:defRPr sz="1067">
                <a:solidFill>
                  <a:srgbClr val="6A6356"/>
                </a:solidFill>
              </a:defRPr>
            </a:lvl1pPr>
          </a:lstStyle>
          <a:p>
            <a:endParaRPr lang="en-US"/>
          </a:p>
        </p:txBody>
      </p:sp>
      <p:pic>
        <p:nvPicPr>
          <p:cNvPr id="3" name="Picture 2" descr="AstraZeneca logo gold bit.png"/>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1350644" y="6205995"/>
            <a:ext cx="407440" cy="511088"/>
          </a:xfrm>
          <a:prstGeom prst="rect">
            <a:avLst/>
          </a:prstGeom>
        </p:spPr>
      </p:pic>
      <p:sp>
        <p:nvSpPr>
          <p:cNvPr id="5"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pic>
        <p:nvPicPr>
          <p:cNvPr id="13" name="Picture 12" descr="msd_lg_rgb_tl_dkgry.jpg"/>
          <p:cNvPicPr>
            <a:picLocks noChangeAspect="1"/>
          </p:cNvPicPr>
          <p:nvPr userDrawn="1"/>
        </p:nvPicPr>
        <p:blipFill rotWithShape="1">
          <a:blip r:embed="rId32" cstate="print">
            <a:extLst>
              <a:ext uri="{28A0092B-C50C-407E-A947-70E740481C1C}">
                <a14:useLocalDpi xmlns:a14="http://schemas.microsoft.com/office/drawing/2010/main" val="0"/>
              </a:ext>
            </a:extLst>
          </a:blip>
          <a:srcRect l="10782" t="21232" r="55307" b="22068"/>
          <a:stretch/>
        </p:blipFill>
        <p:spPr>
          <a:xfrm>
            <a:off x="10460805" y="6169487"/>
            <a:ext cx="651696" cy="593861"/>
          </a:xfrm>
          <a:prstGeom prst="rect">
            <a:avLst/>
          </a:prstGeom>
        </p:spPr>
      </p:pic>
    </p:spTree>
    <p:extLst>
      <p:ext uri="{BB962C8B-B14F-4D97-AF65-F5344CB8AC3E}">
        <p14:creationId xmlns:p14="http://schemas.microsoft.com/office/powerpoint/2010/main" val="2596238230"/>
      </p:ext>
    </p:extLst>
  </p:cSld>
  <p:clrMap bg1="lt1" tx1="dk1" bg2="lt2" tx2="dk2" accent1="accent1" accent2="accent2" accent3="accent3" accent4="accent4" accent5="accent5" accent6="accent6" hlink="hlink" folHlink="folHlink"/>
  <p:sldLayoutIdLst>
    <p:sldLayoutId id="2147485458" r:id="rId1"/>
    <p:sldLayoutId id="2147485459" r:id="rId2"/>
    <p:sldLayoutId id="2147485460" r:id="rId3"/>
    <p:sldLayoutId id="2147485461" r:id="rId4"/>
    <p:sldLayoutId id="2147485462" r:id="rId5"/>
    <p:sldLayoutId id="2147485463" r:id="rId6"/>
    <p:sldLayoutId id="2147485464" r:id="rId7"/>
    <p:sldLayoutId id="2147485465" r:id="rId8"/>
    <p:sldLayoutId id="2147485466" r:id="rId9"/>
    <p:sldLayoutId id="2147485467" r:id="rId10"/>
    <p:sldLayoutId id="2147485468" r:id="rId11"/>
    <p:sldLayoutId id="2147485469" r:id="rId12"/>
    <p:sldLayoutId id="2147485470" r:id="rId13"/>
    <p:sldLayoutId id="2147485471" r:id="rId14"/>
    <p:sldLayoutId id="2147485472" r:id="rId15"/>
    <p:sldLayoutId id="2147485473" r:id="rId16"/>
    <p:sldLayoutId id="2147485474" r:id="rId17"/>
    <p:sldLayoutId id="2147485475" r:id="rId18"/>
    <p:sldLayoutId id="2147485476" r:id="rId19"/>
    <p:sldLayoutId id="2147485477" r:id="rId20"/>
    <p:sldLayoutId id="2147485478" r:id="rId21"/>
    <p:sldLayoutId id="2147485479" r:id="rId22"/>
    <p:sldLayoutId id="2147485480" r:id="rId23"/>
    <p:sldLayoutId id="2147485481" r:id="rId24"/>
    <p:sldLayoutId id="2147485482" r:id="rId25"/>
    <p:sldLayoutId id="2147485483" r:id="rId26"/>
    <p:sldLayoutId id="2147485484" r:id="rId27"/>
    <p:sldLayoutId id="2147485485" r:id="rId28"/>
    <p:sldLayoutId id="2147485486" r:id="rId2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eaLnBrk="1" fontAlgn="base" hangingPunct="1">
        <a:spcBef>
          <a:spcPct val="0"/>
        </a:spcBef>
        <a:spcAft>
          <a:spcPct val="0"/>
        </a:spcAft>
        <a:defRPr sz="2667" b="1">
          <a:solidFill>
            <a:schemeClr val="accent3"/>
          </a:solidFill>
          <a:latin typeface="+mj-lt"/>
          <a:ea typeface="+mj-ea"/>
          <a:cs typeface="+mj-cs"/>
        </a:defRPr>
      </a:lvl1pPr>
      <a:lvl2pPr algn="l" rtl="0" eaLnBrk="1" fontAlgn="base" hangingPunct="1">
        <a:spcBef>
          <a:spcPct val="0"/>
        </a:spcBef>
        <a:spcAft>
          <a:spcPct val="0"/>
        </a:spcAft>
        <a:defRPr sz="2800" b="1">
          <a:solidFill>
            <a:schemeClr val="tx2"/>
          </a:solidFill>
          <a:latin typeface="Arial" charset="0"/>
        </a:defRPr>
      </a:lvl2pPr>
      <a:lvl3pPr algn="l" rtl="0" eaLnBrk="1" fontAlgn="base" hangingPunct="1">
        <a:spcBef>
          <a:spcPct val="0"/>
        </a:spcBef>
        <a:spcAft>
          <a:spcPct val="0"/>
        </a:spcAft>
        <a:defRPr sz="2800" b="1">
          <a:solidFill>
            <a:schemeClr val="tx2"/>
          </a:solidFill>
          <a:latin typeface="Arial" charset="0"/>
        </a:defRPr>
      </a:lvl3pPr>
      <a:lvl4pPr algn="l" rtl="0" eaLnBrk="1" fontAlgn="base" hangingPunct="1">
        <a:spcBef>
          <a:spcPct val="0"/>
        </a:spcBef>
        <a:spcAft>
          <a:spcPct val="0"/>
        </a:spcAft>
        <a:defRPr sz="2800" b="1">
          <a:solidFill>
            <a:schemeClr val="tx2"/>
          </a:solidFill>
          <a:latin typeface="Arial" charset="0"/>
        </a:defRPr>
      </a:lvl4pPr>
      <a:lvl5pPr algn="l" rtl="0" eaLnBrk="1" fontAlgn="base" hangingPunct="1">
        <a:spcBef>
          <a:spcPct val="0"/>
        </a:spcBef>
        <a:spcAft>
          <a:spcPct val="0"/>
        </a:spcAft>
        <a:defRPr sz="2800" b="1">
          <a:solidFill>
            <a:schemeClr val="tx2"/>
          </a:solidFill>
          <a:latin typeface="Arial" charset="0"/>
        </a:defRPr>
      </a:lvl5pPr>
      <a:lvl6pPr marL="457189" algn="l" rtl="0" eaLnBrk="1" fontAlgn="base" hangingPunct="1">
        <a:spcBef>
          <a:spcPct val="0"/>
        </a:spcBef>
        <a:spcAft>
          <a:spcPct val="0"/>
        </a:spcAft>
        <a:defRPr sz="2800" b="1">
          <a:solidFill>
            <a:schemeClr val="tx2"/>
          </a:solidFill>
          <a:latin typeface="Arial" charset="0"/>
        </a:defRPr>
      </a:lvl6pPr>
      <a:lvl7pPr marL="914377" algn="l" rtl="0" eaLnBrk="1" fontAlgn="base" hangingPunct="1">
        <a:spcBef>
          <a:spcPct val="0"/>
        </a:spcBef>
        <a:spcAft>
          <a:spcPct val="0"/>
        </a:spcAft>
        <a:defRPr sz="2800" b="1">
          <a:solidFill>
            <a:schemeClr val="tx2"/>
          </a:solidFill>
          <a:latin typeface="Arial" charset="0"/>
        </a:defRPr>
      </a:lvl7pPr>
      <a:lvl8pPr marL="1371566" algn="l" rtl="0" eaLnBrk="1" fontAlgn="base" hangingPunct="1">
        <a:spcBef>
          <a:spcPct val="0"/>
        </a:spcBef>
        <a:spcAft>
          <a:spcPct val="0"/>
        </a:spcAft>
        <a:defRPr sz="2800" b="1">
          <a:solidFill>
            <a:schemeClr val="tx2"/>
          </a:solidFill>
          <a:latin typeface="Arial" charset="0"/>
        </a:defRPr>
      </a:lvl8pPr>
      <a:lvl9pPr marL="1828754" algn="l" rtl="0" eaLnBrk="1" fontAlgn="base" hangingPunct="1">
        <a:spcBef>
          <a:spcPct val="0"/>
        </a:spcBef>
        <a:spcAft>
          <a:spcPct val="0"/>
        </a:spcAft>
        <a:defRPr sz="2800" b="1">
          <a:solidFill>
            <a:schemeClr val="tx2"/>
          </a:solidFill>
          <a:latin typeface="Arial" charset="0"/>
        </a:defRPr>
      </a:lvl9pPr>
    </p:titleStyle>
    <p:bodyStyle>
      <a:lvl1pPr marL="342891" marR="0" indent="-342891" algn="l" defTabSz="1219170" rtl="0" eaLnBrk="1" fontAlgn="base" latinLnBrk="0" hangingPunct="1">
        <a:lnSpc>
          <a:spcPct val="100000"/>
        </a:lnSpc>
        <a:spcBef>
          <a:spcPct val="0"/>
        </a:spcBef>
        <a:spcAft>
          <a:spcPts val="400"/>
        </a:spcAft>
        <a:buClr>
          <a:srgbClr val="7AB800"/>
        </a:buClr>
        <a:buSzTx/>
        <a:buFontTx/>
        <a:buNone/>
        <a:tabLst/>
        <a:defRPr sz="1867" b="1">
          <a:solidFill>
            <a:srgbClr val="000000"/>
          </a:solidFill>
          <a:latin typeface="+mn-lt"/>
          <a:ea typeface="+mn-ea"/>
          <a:cs typeface="+mn-cs"/>
        </a:defRPr>
      </a:lvl1pPr>
      <a:lvl2pPr marL="241294" indent="-239178" algn="l" rtl="0" eaLnBrk="1" fontAlgn="base" hangingPunct="1">
        <a:lnSpc>
          <a:spcPct val="100000"/>
        </a:lnSpc>
        <a:spcBef>
          <a:spcPct val="0"/>
        </a:spcBef>
        <a:spcAft>
          <a:spcPts val="400"/>
        </a:spcAft>
        <a:buClr>
          <a:srgbClr val="4B306A"/>
        </a:buClr>
        <a:buFont typeface="Arial" panose="020B0604020202020204" pitchFamily="34" charset="0"/>
        <a:buChar char="•"/>
        <a:defRPr sz="2133" b="0">
          <a:solidFill>
            <a:schemeClr val="tx1"/>
          </a:solidFill>
          <a:latin typeface="+mn-lt"/>
        </a:defRPr>
      </a:lvl2pPr>
      <a:lvl3pPr marL="673083" indent="-186262" algn="l" rtl="0" eaLnBrk="1" fontAlgn="base" hangingPunct="1">
        <a:lnSpc>
          <a:spcPct val="100000"/>
        </a:lnSpc>
        <a:spcBef>
          <a:spcPct val="0"/>
        </a:spcBef>
        <a:spcAft>
          <a:spcPts val="400"/>
        </a:spcAft>
        <a:buClr>
          <a:srgbClr val="4B306A"/>
        </a:buClr>
        <a:buSzPct val="75000"/>
        <a:buFont typeface="Arial" pitchFamily="34" charset="0"/>
        <a:buChar char="–"/>
        <a:defRPr sz="1867">
          <a:solidFill>
            <a:schemeClr val="tx1"/>
          </a:solidFill>
          <a:latin typeface="+mn-lt"/>
        </a:defRPr>
      </a:lvl3pPr>
      <a:lvl4pPr marL="954593" indent="-171446" algn="l" rtl="0" eaLnBrk="1" fontAlgn="base" hangingPunct="1">
        <a:lnSpc>
          <a:spcPct val="100000"/>
        </a:lnSpc>
        <a:spcBef>
          <a:spcPct val="0"/>
        </a:spcBef>
        <a:spcAft>
          <a:spcPts val="400"/>
        </a:spcAft>
        <a:buClr>
          <a:srgbClr val="4B306A"/>
        </a:buClr>
        <a:buSzPct val="100000"/>
        <a:buChar char="•"/>
        <a:defRPr sz="1600">
          <a:solidFill>
            <a:schemeClr val="tx1"/>
          </a:solidFill>
          <a:latin typeface="+mn-lt"/>
        </a:defRPr>
      </a:lvl4pPr>
      <a:lvl5pPr marL="1435064" indent="-175680" algn="l" rtl="0" eaLnBrk="1" fontAlgn="base" hangingPunct="1">
        <a:lnSpc>
          <a:spcPct val="100000"/>
        </a:lnSpc>
        <a:spcBef>
          <a:spcPct val="0"/>
        </a:spcBef>
        <a:spcAft>
          <a:spcPct val="0"/>
        </a:spcAft>
        <a:buClr>
          <a:srgbClr val="7AB800"/>
        </a:buClr>
        <a:buChar char="•"/>
        <a:defRPr sz="1467">
          <a:solidFill>
            <a:schemeClr val="tx1"/>
          </a:solidFill>
          <a:latin typeface="+mn-lt"/>
        </a:defRPr>
      </a:lvl5pPr>
      <a:lvl6pPr marL="1620798" indent="-176209" algn="l" rtl="0" eaLnBrk="1" fontAlgn="base" hangingPunct="1">
        <a:spcBef>
          <a:spcPct val="0"/>
        </a:spcBef>
        <a:spcAft>
          <a:spcPct val="0"/>
        </a:spcAft>
        <a:buChar char="•"/>
        <a:defRPr sz="1467">
          <a:solidFill>
            <a:schemeClr val="tx1"/>
          </a:solidFill>
          <a:latin typeface="+mn-lt"/>
        </a:defRPr>
      </a:lvl6pPr>
      <a:lvl7pPr marL="2077987" indent="-176209" algn="l" rtl="0" eaLnBrk="1" fontAlgn="base" hangingPunct="1">
        <a:spcBef>
          <a:spcPct val="0"/>
        </a:spcBef>
        <a:spcAft>
          <a:spcPct val="0"/>
        </a:spcAft>
        <a:buChar char="•"/>
        <a:defRPr sz="1467">
          <a:solidFill>
            <a:schemeClr val="tx1"/>
          </a:solidFill>
          <a:latin typeface="+mn-lt"/>
        </a:defRPr>
      </a:lvl7pPr>
      <a:lvl8pPr marL="2535175" indent="-176209" algn="l" rtl="0" eaLnBrk="1" fontAlgn="base" hangingPunct="1">
        <a:spcBef>
          <a:spcPct val="0"/>
        </a:spcBef>
        <a:spcAft>
          <a:spcPct val="0"/>
        </a:spcAft>
        <a:buChar char="•"/>
        <a:defRPr sz="1467">
          <a:solidFill>
            <a:schemeClr val="tx1"/>
          </a:solidFill>
          <a:latin typeface="+mn-lt"/>
        </a:defRPr>
      </a:lvl8pPr>
      <a:lvl9pPr marL="2992364" indent="-176209" algn="l" rtl="0" eaLnBrk="1" fontAlgn="base" hangingPunct="1">
        <a:spcBef>
          <a:spcPct val="0"/>
        </a:spcBef>
        <a:spcAft>
          <a:spcPct val="0"/>
        </a:spcAft>
        <a:buChar char="•"/>
        <a:defRPr sz="1467">
          <a:solidFill>
            <a:schemeClr val="tx1"/>
          </a:solidFill>
          <a:latin typeface="+mn-lt"/>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pPr>
              <a:defRPr/>
            </a:pPr>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pPr>
              <a:defRPr/>
            </a:pPr>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pPr>
              <a:defRPr/>
            </a:pPr>
            <a:fld id="{82FF9234-6FE5-1D4C-9B35-FB69F090CB42}" type="slidenum">
              <a:rPr lang="en-US" altLang="en-US" smtClean="0"/>
              <a:pPr>
                <a:defRPr/>
              </a:pPr>
              <a:t>‹#›</a:t>
            </a:fld>
            <a:endParaRPr lang="en-US" altLang="en-US"/>
          </a:p>
        </p:txBody>
      </p:sp>
    </p:spTree>
    <p:extLst>
      <p:ext uri="{BB962C8B-B14F-4D97-AF65-F5344CB8AC3E}">
        <p14:creationId xmlns:p14="http://schemas.microsoft.com/office/powerpoint/2010/main" val="2963149542"/>
      </p:ext>
    </p:extLst>
  </p:cSld>
  <p:clrMap bg1="lt1" tx1="dk1" bg2="lt2" tx2="dk2" accent1="accent1" accent2="accent2" accent3="accent3" accent4="accent4" accent5="accent5" accent6="accent6" hlink="hlink" folHlink="folHlink"/>
  <p:sldLayoutIdLst>
    <p:sldLayoutId id="2147485488" r:id="rId1"/>
    <p:sldLayoutId id="2147485489" r:id="rId2"/>
    <p:sldLayoutId id="2147485490" r:id="rId3"/>
    <p:sldLayoutId id="2147485491" r:id="rId4"/>
    <p:sldLayoutId id="2147485492" r:id="rId5"/>
    <p:sldLayoutId id="2147485493" r:id="rId6"/>
    <p:sldLayoutId id="2147485494" r:id="rId7"/>
    <p:sldLayoutId id="2147485495" r:id="rId8"/>
    <p:sldLayoutId id="2147485496" r:id="rId9"/>
    <p:sldLayoutId id="2147485497" r:id="rId10"/>
    <p:sldLayoutId id="2147485498" r:id="rId11"/>
    <p:sldLayoutId id="2147485499" r:id="rId12"/>
    <p:sldLayoutId id="2147485500" r:id="rId13"/>
    <p:sldLayoutId id="2147485501" r:id="rId14"/>
    <p:sldLayoutId id="2147485502" r:id="rId15"/>
    <p:sldLayoutId id="2147485503" r:id="rId16"/>
    <p:sldLayoutId id="2147485504" r:id="rId17"/>
    <p:sldLayoutId id="2147485505" r:id="rId18"/>
    <p:sldLayoutId id="2147485506" r:id="rId19"/>
    <p:sldLayoutId id="2147485507" r:id="rId20"/>
    <p:sldLayoutId id="2147485508" r:id="rId21"/>
    <p:sldLayoutId id="2147485509" r:id="rId22"/>
    <p:sldLayoutId id="2147485510" r:id="rId2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82FF9234-6FE5-1D4C-9B35-FB69F090CB42}" type="slidenum">
              <a:rPr lang="en-US" altLang="en-US" smtClean="0"/>
              <a:pPr>
                <a:defRPr/>
              </a:pPr>
              <a:t>‹#›</a:t>
            </a:fld>
            <a:endParaRPr lang="en-US" altLang="en-US"/>
          </a:p>
        </p:txBody>
      </p:sp>
    </p:spTree>
    <p:extLst>
      <p:ext uri="{BB962C8B-B14F-4D97-AF65-F5344CB8AC3E}">
        <p14:creationId xmlns:p14="http://schemas.microsoft.com/office/powerpoint/2010/main" val="2833934699"/>
      </p:ext>
    </p:extLst>
  </p:cSld>
  <p:clrMap bg1="lt1" tx1="dk1" bg2="lt2" tx2="dk2" accent1="accent1" accent2="accent2" accent3="accent3" accent4="accent4" accent5="accent5" accent6="accent6" hlink="hlink" folHlink="folHlink"/>
  <p:sldLayoutIdLst>
    <p:sldLayoutId id="2147485512" r:id="rId1"/>
    <p:sldLayoutId id="2147485513" r:id="rId2"/>
    <p:sldLayoutId id="2147485514" r:id="rId3"/>
    <p:sldLayoutId id="2147485515" r:id="rId4"/>
    <p:sldLayoutId id="2147485516" r:id="rId5"/>
    <p:sldLayoutId id="2147485517" r:id="rId6"/>
    <p:sldLayoutId id="2147485518" r:id="rId7"/>
    <p:sldLayoutId id="2147485519" r:id="rId8"/>
    <p:sldLayoutId id="2147485520" r:id="rId9"/>
    <p:sldLayoutId id="2147485521" r:id="rId10"/>
    <p:sldLayoutId id="2147485522" r:id="rId11"/>
    <p:sldLayoutId id="2147485523"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73C5563-7704-2745-9658-B3F5CE1770D7}"/>
              </a:ext>
            </a:extLst>
          </p:cNvPr>
          <p:cNvPicPr>
            <a:picLocks noChangeAspect="1"/>
          </p:cNvPicPr>
          <p:nvPr userDrawn="1"/>
        </p:nvPicPr>
        <p:blipFill>
          <a:blip r:embed="rId15"/>
          <a:srcRect/>
          <a:stretch/>
        </p:blipFill>
        <p:spPr>
          <a:xfrm>
            <a:off x="2" y="-10379"/>
            <a:ext cx="12213903" cy="6863964"/>
          </a:xfrm>
          <a:prstGeom prst="rect">
            <a:avLst/>
          </a:prstGeom>
        </p:spPr>
      </p:pic>
      <p:sp>
        <p:nvSpPr>
          <p:cNvPr id="1028" name="Rectangle 3"/>
          <p:cNvSpPr>
            <a:spLocks noGrp="1" noChangeArrowheads="1"/>
          </p:cNvSpPr>
          <p:nvPr>
            <p:ph type="body" idx="1"/>
          </p:nvPr>
        </p:nvSpPr>
        <p:spPr bwMode="auto">
          <a:xfrm>
            <a:off x="914400" y="1828801"/>
            <a:ext cx="10363200" cy="3653135"/>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
          </p:nvPr>
        </p:nvSpPr>
        <p:spPr>
          <a:xfrm>
            <a:off x="3863510" y="6119510"/>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5" name="TextBox 4"/>
          <p:cNvSpPr txBox="1"/>
          <p:nvPr userDrawn="1"/>
        </p:nvSpPr>
        <p:spPr>
          <a:xfrm>
            <a:off x="9163051" y="7917469"/>
            <a:ext cx="269626" cy="461217"/>
          </a:xfrm>
          <a:prstGeom prst="rect">
            <a:avLst/>
          </a:prstGeom>
          <a:noFill/>
        </p:spPr>
        <p:txBody>
          <a:bodyPr wrap="none" rtlCol="0">
            <a:spAutoFit/>
          </a:bodyPr>
          <a:lstStyle/>
          <a:p>
            <a:r>
              <a:rPr lang="en-US" sz="2397" dirty="0"/>
              <a:t> </a:t>
            </a:r>
          </a:p>
        </p:txBody>
      </p:sp>
      <p:pic>
        <p:nvPicPr>
          <p:cNvPr id="6" name="Picture 5">
            <a:extLst>
              <a:ext uri="{FF2B5EF4-FFF2-40B4-BE49-F238E27FC236}">
                <a16:creationId xmlns:a16="http://schemas.microsoft.com/office/drawing/2014/main" id="{953D009E-6153-234E-A3F7-30E2F33789AD}"/>
              </a:ext>
            </a:extLst>
          </p:cNvPr>
          <p:cNvPicPr>
            <a:picLocks noChangeAspect="1"/>
          </p:cNvPicPr>
          <p:nvPr userDrawn="1"/>
        </p:nvPicPr>
        <p:blipFill>
          <a:blip r:embed="rId16"/>
          <a:srcRect/>
          <a:stretch/>
        </p:blipFill>
        <p:spPr>
          <a:xfrm>
            <a:off x="426378" y="5814441"/>
            <a:ext cx="2417684" cy="924512"/>
          </a:xfrm>
          <a:prstGeom prst="rect">
            <a:avLst/>
          </a:prstGeom>
        </p:spPr>
      </p:pic>
      <p:cxnSp>
        <p:nvCxnSpPr>
          <p:cNvPr id="8" name="Straight Connector 7">
            <a:extLst>
              <a:ext uri="{FF2B5EF4-FFF2-40B4-BE49-F238E27FC236}">
                <a16:creationId xmlns:a16="http://schemas.microsoft.com/office/drawing/2014/main" id="{5F391403-AA08-384C-BF6A-9AE5185F6540}"/>
              </a:ext>
            </a:extLst>
          </p:cNvPr>
          <p:cNvCxnSpPr/>
          <p:nvPr userDrawn="1"/>
        </p:nvCxnSpPr>
        <p:spPr>
          <a:xfrm>
            <a:off x="0" y="5740827"/>
            <a:ext cx="12192000" cy="0"/>
          </a:xfrm>
          <a:prstGeom prst="line">
            <a:avLst/>
          </a:prstGeom>
          <a:ln w="28575">
            <a:solidFill>
              <a:srgbClr val="00376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7807062"/>
      </p:ext>
    </p:extLst>
  </p:cSld>
  <p:clrMap bg1="lt1" tx1="dk1" bg2="lt2" tx2="dk2" accent1="accent1" accent2="accent2" accent3="accent3" accent4="accent4" accent5="accent5" accent6="accent6" hlink="hlink" folHlink="folHlink"/>
  <p:sldLayoutIdLst>
    <p:sldLayoutId id="2147485525" r:id="rId1"/>
    <p:sldLayoutId id="2147485526" r:id="rId2"/>
    <p:sldLayoutId id="2147485527" r:id="rId3"/>
    <p:sldLayoutId id="2147485528" r:id="rId4"/>
    <p:sldLayoutId id="2147485529" r:id="rId5"/>
    <p:sldLayoutId id="2147485530" r:id="rId6"/>
    <p:sldLayoutId id="2147485531" r:id="rId7"/>
    <p:sldLayoutId id="2147485532" r:id="rId8"/>
    <p:sldLayoutId id="2147485533" r:id="rId9"/>
    <p:sldLayoutId id="2147485534" r:id="rId10"/>
    <p:sldLayoutId id="2147485535" r:id="rId11"/>
    <p:sldLayoutId id="2147485536" r:id="rId12"/>
    <p:sldLayoutId id="2147485537"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1" fontAlgn="base" hangingPunct="1">
        <a:spcBef>
          <a:spcPct val="0"/>
        </a:spcBef>
        <a:spcAft>
          <a:spcPct val="0"/>
        </a:spcAft>
        <a:defRPr sz="4796" i="0">
          <a:solidFill>
            <a:schemeClr val="bg1"/>
          </a:solidFill>
          <a:latin typeface="+mn-lt"/>
          <a:ea typeface="+mj-ea"/>
          <a:cs typeface="+mj-cs"/>
        </a:defRPr>
      </a:lvl1pPr>
      <a:lvl2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5pPr>
      <a:lvl6pPr marL="609037"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6pPr>
      <a:lvl7pPr marL="1218072"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7pPr>
      <a:lvl8pPr marL="1827109"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8pPr>
      <a:lvl9pPr marL="2436144"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9pPr>
    </p:titleStyle>
    <p:bodyStyle>
      <a:lvl1pPr marL="456777" indent="-456777" algn="l" rtl="0" eaLnBrk="1" fontAlgn="base" hangingPunct="1">
        <a:spcBef>
          <a:spcPct val="20000"/>
        </a:spcBef>
        <a:spcAft>
          <a:spcPct val="0"/>
        </a:spcAft>
        <a:buChar char="•"/>
        <a:defRPr sz="3197">
          <a:solidFill>
            <a:schemeClr val="tx1"/>
          </a:solidFill>
          <a:latin typeface="+mn-lt"/>
          <a:ea typeface="+mn-ea"/>
          <a:cs typeface="+mn-cs"/>
        </a:defRPr>
      </a:lvl1pPr>
      <a:lvl2pPr marL="989683" indent="-380648" algn="l" rtl="0" eaLnBrk="1" fontAlgn="base" hangingPunct="1">
        <a:spcBef>
          <a:spcPct val="20000"/>
        </a:spcBef>
        <a:spcAft>
          <a:spcPct val="0"/>
        </a:spcAft>
        <a:buChar char="–"/>
        <a:defRPr sz="2664">
          <a:solidFill>
            <a:schemeClr val="tx1"/>
          </a:solidFill>
          <a:latin typeface="+mn-lt"/>
          <a:ea typeface="+mn-ea"/>
        </a:defRPr>
      </a:lvl2pPr>
      <a:lvl3pPr marL="1522590" indent="-304518" algn="l" rtl="0" eaLnBrk="1" fontAlgn="base" hangingPunct="1">
        <a:spcBef>
          <a:spcPct val="20000"/>
        </a:spcBef>
        <a:spcAft>
          <a:spcPct val="0"/>
        </a:spcAft>
        <a:buChar char="•"/>
        <a:defRPr>
          <a:solidFill>
            <a:schemeClr val="tx1"/>
          </a:solidFill>
          <a:latin typeface="+mn-lt"/>
          <a:ea typeface="+mn-ea"/>
        </a:defRPr>
      </a:lvl3pPr>
      <a:lvl4pPr marL="2131627" indent="-304518" algn="l" rtl="0" eaLnBrk="1" fontAlgn="base" hangingPunct="1">
        <a:spcBef>
          <a:spcPct val="20000"/>
        </a:spcBef>
        <a:spcAft>
          <a:spcPct val="0"/>
        </a:spcAft>
        <a:defRPr sz="2664">
          <a:solidFill>
            <a:schemeClr val="tx1"/>
          </a:solidFill>
          <a:latin typeface="+mn-lt"/>
          <a:ea typeface="+mn-ea"/>
        </a:defRPr>
      </a:lvl4pPr>
      <a:lvl5pPr marL="2740662" indent="-304518" algn="l" rtl="0" eaLnBrk="1" fontAlgn="base" hangingPunct="1">
        <a:spcBef>
          <a:spcPct val="20000"/>
        </a:spcBef>
        <a:spcAft>
          <a:spcPct val="0"/>
        </a:spcAft>
        <a:buChar char="»"/>
        <a:defRPr sz="2664">
          <a:solidFill>
            <a:schemeClr val="tx1"/>
          </a:solidFill>
          <a:latin typeface="+mn-lt"/>
          <a:ea typeface="+mn-ea"/>
        </a:defRPr>
      </a:lvl5pPr>
      <a:lvl6pPr marL="3349699" indent="-304518" algn="l" rtl="0" eaLnBrk="1" fontAlgn="base" hangingPunct="1">
        <a:spcBef>
          <a:spcPct val="20000"/>
        </a:spcBef>
        <a:spcAft>
          <a:spcPct val="0"/>
        </a:spcAft>
        <a:buChar char="»"/>
        <a:defRPr sz="2664">
          <a:solidFill>
            <a:schemeClr val="tx1"/>
          </a:solidFill>
          <a:latin typeface="+mn-lt"/>
          <a:ea typeface="+mn-ea"/>
        </a:defRPr>
      </a:lvl6pPr>
      <a:lvl7pPr marL="3958734" indent="-304518" algn="l" rtl="0" eaLnBrk="1" fontAlgn="base" hangingPunct="1">
        <a:spcBef>
          <a:spcPct val="20000"/>
        </a:spcBef>
        <a:spcAft>
          <a:spcPct val="0"/>
        </a:spcAft>
        <a:buChar char="»"/>
        <a:defRPr sz="2664">
          <a:solidFill>
            <a:schemeClr val="tx1"/>
          </a:solidFill>
          <a:latin typeface="+mn-lt"/>
          <a:ea typeface="+mn-ea"/>
        </a:defRPr>
      </a:lvl7pPr>
      <a:lvl8pPr marL="4567771" indent="-304518" algn="l" rtl="0" eaLnBrk="1" fontAlgn="base" hangingPunct="1">
        <a:spcBef>
          <a:spcPct val="20000"/>
        </a:spcBef>
        <a:spcAft>
          <a:spcPct val="0"/>
        </a:spcAft>
        <a:buChar char="»"/>
        <a:defRPr sz="2664">
          <a:solidFill>
            <a:schemeClr val="tx1"/>
          </a:solidFill>
          <a:latin typeface="+mn-lt"/>
          <a:ea typeface="+mn-ea"/>
        </a:defRPr>
      </a:lvl8pPr>
      <a:lvl9pPr marL="5176807" indent="-304518" algn="l" rtl="0" eaLnBrk="1" fontAlgn="base" hangingPunct="1">
        <a:spcBef>
          <a:spcPct val="20000"/>
        </a:spcBef>
        <a:spcAft>
          <a:spcPct val="0"/>
        </a:spcAft>
        <a:buChar char="»"/>
        <a:defRPr sz="2664">
          <a:solidFill>
            <a:schemeClr val="tx1"/>
          </a:solidFill>
          <a:latin typeface="+mn-lt"/>
          <a:ea typeface="+mn-ea"/>
        </a:defRPr>
      </a:lvl9pPr>
    </p:bodyStyle>
    <p:otherStyle>
      <a:defPPr>
        <a:defRPr lang="en-US"/>
      </a:defPPr>
      <a:lvl1pPr marL="0" algn="l" defTabSz="609037" rtl="0" eaLnBrk="1" latinLnBrk="0" hangingPunct="1">
        <a:defRPr sz="2397" kern="1200">
          <a:solidFill>
            <a:schemeClr val="tx1"/>
          </a:solidFill>
          <a:latin typeface="+mn-lt"/>
          <a:ea typeface="+mn-ea"/>
          <a:cs typeface="+mn-cs"/>
        </a:defRPr>
      </a:lvl1pPr>
      <a:lvl2pPr marL="609037" algn="l" defTabSz="609037" rtl="0" eaLnBrk="1" latinLnBrk="0" hangingPunct="1">
        <a:defRPr sz="2397" kern="1200">
          <a:solidFill>
            <a:schemeClr val="tx1"/>
          </a:solidFill>
          <a:latin typeface="+mn-lt"/>
          <a:ea typeface="+mn-ea"/>
          <a:cs typeface="+mn-cs"/>
        </a:defRPr>
      </a:lvl2pPr>
      <a:lvl3pPr marL="1218072" algn="l" defTabSz="609037" rtl="0" eaLnBrk="1" latinLnBrk="0" hangingPunct="1">
        <a:defRPr sz="2397" kern="1200">
          <a:solidFill>
            <a:schemeClr val="tx1"/>
          </a:solidFill>
          <a:latin typeface="+mn-lt"/>
          <a:ea typeface="+mn-ea"/>
          <a:cs typeface="+mn-cs"/>
        </a:defRPr>
      </a:lvl3pPr>
      <a:lvl4pPr marL="1827109" algn="l" defTabSz="609037" rtl="0" eaLnBrk="1" latinLnBrk="0" hangingPunct="1">
        <a:defRPr sz="2397" kern="1200">
          <a:solidFill>
            <a:schemeClr val="tx1"/>
          </a:solidFill>
          <a:latin typeface="+mn-lt"/>
          <a:ea typeface="+mn-ea"/>
          <a:cs typeface="+mn-cs"/>
        </a:defRPr>
      </a:lvl4pPr>
      <a:lvl5pPr marL="2436144" algn="l" defTabSz="609037" rtl="0" eaLnBrk="1" latinLnBrk="0" hangingPunct="1">
        <a:defRPr sz="2397" kern="1200">
          <a:solidFill>
            <a:schemeClr val="tx1"/>
          </a:solidFill>
          <a:latin typeface="+mn-lt"/>
          <a:ea typeface="+mn-ea"/>
          <a:cs typeface="+mn-cs"/>
        </a:defRPr>
      </a:lvl5pPr>
      <a:lvl6pPr marL="3045181" algn="l" defTabSz="609037" rtl="0" eaLnBrk="1" latinLnBrk="0" hangingPunct="1">
        <a:defRPr sz="2397" kern="1200">
          <a:solidFill>
            <a:schemeClr val="tx1"/>
          </a:solidFill>
          <a:latin typeface="+mn-lt"/>
          <a:ea typeface="+mn-ea"/>
          <a:cs typeface="+mn-cs"/>
        </a:defRPr>
      </a:lvl6pPr>
      <a:lvl7pPr marL="3654217" algn="l" defTabSz="609037" rtl="0" eaLnBrk="1" latinLnBrk="0" hangingPunct="1">
        <a:defRPr sz="2397" kern="1200">
          <a:solidFill>
            <a:schemeClr val="tx1"/>
          </a:solidFill>
          <a:latin typeface="+mn-lt"/>
          <a:ea typeface="+mn-ea"/>
          <a:cs typeface="+mn-cs"/>
        </a:defRPr>
      </a:lvl7pPr>
      <a:lvl8pPr marL="4263253" algn="l" defTabSz="609037" rtl="0" eaLnBrk="1" latinLnBrk="0" hangingPunct="1">
        <a:defRPr sz="2397" kern="1200">
          <a:solidFill>
            <a:schemeClr val="tx1"/>
          </a:solidFill>
          <a:latin typeface="+mn-lt"/>
          <a:ea typeface="+mn-ea"/>
          <a:cs typeface="+mn-cs"/>
        </a:defRPr>
      </a:lvl8pPr>
      <a:lvl9pPr marL="4872289" algn="l" defTabSz="609037" rtl="0" eaLnBrk="1" latinLnBrk="0" hangingPunct="1">
        <a:defRPr sz="23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02" name="Rectangle 6">
            <a:extLst>
              <a:ext uri="{FF2B5EF4-FFF2-40B4-BE49-F238E27FC236}">
                <a16:creationId xmlns:a16="http://schemas.microsoft.com/office/drawing/2014/main" id="{87F25ACB-BF68-754B-BC7C-EF26E79EA3D9}"/>
              </a:ext>
            </a:extLst>
          </p:cNvPr>
          <p:cNvSpPr>
            <a:spLocks noGrp="1" noChangeArrowheads="1"/>
          </p:cNvSpPr>
          <p:nvPr>
            <p:ph type="body" idx="1"/>
          </p:nvPr>
        </p:nvSpPr>
        <p:spPr bwMode="auto">
          <a:xfrm>
            <a:off x="878419" y="1600200"/>
            <a:ext cx="10358967" cy="4356099"/>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03" name="Rectangle 7">
            <a:extLst>
              <a:ext uri="{FF2B5EF4-FFF2-40B4-BE49-F238E27FC236}">
                <a16:creationId xmlns:a16="http://schemas.microsoft.com/office/drawing/2014/main" id="{112A6B38-02E0-034C-8A80-48B4B326F543}"/>
              </a:ext>
            </a:extLst>
          </p:cNvPr>
          <p:cNvSpPr>
            <a:spLocks noGrp="1" noChangeArrowheads="1"/>
          </p:cNvSpPr>
          <p:nvPr>
            <p:ph type="sldNum" sz="quarter" idx="4"/>
          </p:nvPr>
        </p:nvSpPr>
        <p:spPr bwMode="auto">
          <a:xfrm>
            <a:off x="9596967" y="6551084"/>
            <a:ext cx="2438400" cy="294216"/>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ctr" anchorCtr="0" compatLnSpc="1">
            <a:prstTxWarp prst="textNoShape">
              <a:avLst/>
            </a:prstTxWarp>
          </a:bodyPr>
          <a:lstStyle>
            <a:lvl1pPr>
              <a:defRPr sz="1333" baseline="0"/>
            </a:lvl1pPr>
          </a:lstStyle>
          <a:p>
            <a:fld id="{651B757F-C14A-B741-B454-7B185A1C2E7E}" type="slidenum">
              <a:rPr lang="en-US" altLang="en-US" smtClean="0"/>
              <a:pPr/>
              <a:t>‹#›</a:t>
            </a:fld>
            <a:endParaRPr lang="en-US" altLang="en-US" dirty="0"/>
          </a:p>
        </p:txBody>
      </p:sp>
      <p:sp>
        <p:nvSpPr>
          <p:cNvPr id="4105" name="Rectangle 9">
            <a:extLst>
              <a:ext uri="{FF2B5EF4-FFF2-40B4-BE49-F238E27FC236}">
                <a16:creationId xmlns:a16="http://schemas.microsoft.com/office/drawing/2014/main" id="{763268D3-9AD6-B444-8968-84936FADB11D}"/>
              </a:ext>
            </a:extLst>
          </p:cNvPr>
          <p:cNvSpPr>
            <a:spLocks noChangeArrowheads="1"/>
          </p:cNvSpPr>
          <p:nvPr userDrawn="1"/>
        </p:nvSpPr>
        <p:spPr bwMode="auto">
          <a:xfrm>
            <a:off x="0" y="6072291"/>
            <a:ext cx="12192000" cy="59267"/>
          </a:xfrm>
          <a:prstGeom prst="rect">
            <a:avLst/>
          </a:prstGeom>
          <a:solidFill>
            <a:schemeClr val="folHlink"/>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r>
              <a:rPr lang="en-US" sz="2400" dirty="0">
                <a:latin typeface="Arial" charset="0"/>
                <a:ea typeface="ＭＳ Ｐゴシック" charset="0"/>
              </a:rPr>
              <a:t> </a:t>
            </a:r>
          </a:p>
        </p:txBody>
      </p:sp>
      <p:pic>
        <p:nvPicPr>
          <p:cNvPr id="3" name="Picture 2">
            <a:extLst>
              <a:ext uri="{FF2B5EF4-FFF2-40B4-BE49-F238E27FC236}">
                <a16:creationId xmlns:a16="http://schemas.microsoft.com/office/drawing/2014/main" id="{DBE738E6-98B0-A44E-A83C-89B7F2515605}"/>
              </a:ext>
            </a:extLst>
          </p:cNvPr>
          <p:cNvPicPr>
            <a:picLocks noChangeAspect="1"/>
          </p:cNvPicPr>
          <p:nvPr userDrawn="1"/>
        </p:nvPicPr>
        <p:blipFill>
          <a:blip r:embed="rId12"/>
          <a:stretch>
            <a:fillRect/>
          </a:stretch>
        </p:blipFill>
        <p:spPr>
          <a:xfrm>
            <a:off x="725327" y="6176871"/>
            <a:ext cx="1889063" cy="610712"/>
          </a:xfrm>
          <a:prstGeom prst="rect">
            <a:avLst/>
          </a:prstGeom>
        </p:spPr>
      </p:pic>
      <p:sp>
        <p:nvSpPr>
          <p:cNvPr id="13" name="Rectangle 4">
            <a:extLst>
              <a:ext uri="{FF2B5EF4-FFF2-40B4-BE49-F238E27FC236}">
                <a16:creationId xmlns:a16="http://schemas.microsoft.com/office/drawing/2014/main" id="{FDB1A346-1094-EE4E-B594-1E3E11D8A2F0}"/>
              </a:ext>
            </a:extLst>
          </p:cNvPr>
          <p:cNvSpPr>
            <a:spLocks noChangeArrowheads="1"/>
          </p:cNvSpPr>
          <p:nvPr userDrawn="1"/>
        </p:nvSpPr>
        <p:spPr bwMode="auto">
          <a:xfrm>
            <a:off x="0" y="0"/>
            <a:ext cx="12192000" cy="1371600"/>
          </a:xfrm>
          <a:prstGeom prst="rect">
            <a:avLst/>
          </a:prstGeom>
          <a:solidFill>
            <a:srgbClr val="2774AE"/>
          </a:solidFill>
          <a:ln>
            <a:noFill/>
          </a:ln>
          <a:effectLst/>
        </p:spPr>
        <p:txBody>
          <a:bodyPr wrap="none" anchor="ctr"/>
          <a:lstStyle/>
          <a:p>
            <a:pPr>
              <a:defRPr/>
            </a:pPr>
            <a:endParaRPr lang="en-US" sz="3200" dirty="0">
              <a:cs typeface="+mn-cs"/>
            </a:endParaRPr>
          </a:p>
        </p:txBody>
      </p:sp>
      <p:sp>
        <p:nvSpPr>
          <p:cNvPr id="14" name="Rectangle 5">
            <a:extLst>
              <a:ext uri="{FF2B5EF4-FFF2-40B4-BE49-F238E27FC236}">
                <a16:creationId xmlns:a16="http://schemas.microsoft.com/office/drawing/2014/main" id="{CF6F2A9C-495F-0948-9280-F79A64D57FD7}"/>
              </a:ext>
            </a:extLst>
          </p:cNvPr>
          <p:cNvSpPr>
            <a:spLocks noGrp="1" noChangeArrowheads="1"/>
          </p:cNvSpPr>
          <p:nvPr>
            <p:ph type="title"/>
          </p:nvPr>
        </p:nvSpPr>
        <p:spPr bwMode="auto">
          <a:xfrm>
            <a:off x="878418" y="225429"/>
            <a:ext cx="10392836" cy="913092"/>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110806344"/>
      </p:ext>
    </p:extLst>
  </p:cSld>
  <p:clrMap bg1="lt1" tx1="dk1" bg2="lt2" tx2="dk2" accent1="accent1" accent2="accent2" accent3="accent3" accent4="accent4" accent5="accent5" accent6="accent6" hlink="hlink" folHlink="folHlink"/>
  <p:sldLayoutIdLst>
    <p:sldLayoutId id="2147485539" r:id="rId1"/>
    <p:sldLayoutId id="2147485540" r:id="rId2"/>
    <p:sldLayoutId id="2147485541" r:id="rId3"/>
    <p:sldLayoutId id="2147485542" r:id="rId4"/>
    <p:sldLayoutId id="2147485543" r:id="rId5"/>
    <p:sldLayoutId id="2147485544" r:id="rId6"/>
    <p:sldLayoutId id="2147485545" r:id="rId7"/>
    <p:sldLayoutId id="2147485546" r:id="rId8"/>
    <p:sldLayoutId id="2147485547" r:id="rId9"/>
    <p:sldLayoutId id="2147485548" r:id="rId1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eaLnBrk="0" fontAlgn="base" hangingPunct="0">
        <a:lnSpc>
          <a:spcPct val="90000"/>
        </a:lnSpc>
        <a:spcBef>
          <a:spcPct val="0"/>
        </a:spcBef>
        <a:spcAft>
          <a:spcPct val="0"/>
        </a:spcAft>
        <a:defRPr sz="3200" b="1" i="0" baseline="0">
          <a:solidFill>
            <a:schemeClr val="bg1"/>
          </a:solidFill>
          <a:latin typeface="Arial" panose="020B0604020202020204" pitchFamily="34" charset="0"/>
          <a:ea typeface="+mj-ea"/>
          <a:cs typeface="ＭＳ Ｐゴシック" charset="0"/>
        </a:defRPr>
      </a:lvl1pPr>
      <a:lvl2pPr algn="l" rtl="0" eaLnBrk="0" fontAlgn="base" hangingPunct="0">
        <a:spcBef>
          <a:spcPct val="0"/>
        </a:spcBef>
        <a:spcAft>
          <a:spcPct val="0"/>
        </a:spcAft>
        <a:defRPr sz="4267">
          <a:solidFill>
            <a:schemeClr val="tx1"/>
          </a:solidFill>
          <a:latin typeface="Times" charset="0"/>
          <a:ea typeface="ＭＳ Ｐゴシック" charset="0"/>
          <a:cs typeface="ＭＳ Ｐゴシック" charset="0"/>
        </a:defRPr>
      </a:lvl2pPr>
      <a:lvl3pPr algn="l" rtl="0" eaLnBrk="0" fontAlgn="base" hangingPunct="0">
        <a:spcBef>
          <a:spcPct val="0"/>
        </a:spcBef>
        <a:spcAft>
          <a:spcPct val="0"/>
        </a:spcAft>
        <a:defRPr sz="4267">
          <a:solidFill>
            <a:schemeClr val="tx1"/>
          </a:solidFill>
          <a:latin typeface="Times" charset="0"/>
          <a:ea typeface="ＭＳ Ｐゴシック" charset="0"/>
          <a:cs typeface="ＭＳ Ｐゴシック" charset="0"/>
        </a:defRPr>
      </a:lvl3pPr>
      <a:lvl4pPr algn="l" rtl="0" eaLnBrk="0" fontAlgn="base" hangingPunct="0">
        <a:spcBef>
          <a:spcPct val="0"/>
        </a:spcBef>
        <a:spcAft>
          <a:spcPct val="0"/>
        </a:spcAft>
        <a:defRPr sz="4267">
          <a:solidFill>
            <a:schemeClr val="tx1"/>
          </a:solidFill>
          <a:latin typeface="Times" charset="0"/>
          <a:ea typeface="ＭＳ Ｐゴシック" charset="0"/>
          <a:cs typeface="ＭＳ Ｐゴシック" charset="0"/>
        </a:defRPr>
      </a:lvl4pPr>
      <a:lvl5pPr algn="l" rtl="0" eaLnBrk="0" fontAlgn="base" hangingPunct="0">
        <a:spcBef>
          <a:spcPct val="0"/>
        </a:spcBef>
        <a:spcAft>
          <a:spcPct val="0"/>
        </a:spcAft>
        <a:defRPr sz="4267">
          <a:solidFill>
            <a:schemeClr val="tx1"/>
          </a:solidFill>
          <a:latin typeface="Times" charset="0"/>
          <a:ea typeface="ＭＳ Ｐゴシック" charset="0"/>
          <a:cs typeface="ＭＳ Ｐゴシック" charset="0"/>
        </a:defRPr>
      </a:lvl5pPr>
      <a:lvl6pPr marL="609570" algn="l" rtl="0" fontAlgn="base">
        <a:spcBef>
          <a:spcPct val="0"/>
        </a:spcBef>
        <a:spcAft>
          <a:spcPct val="0"/>
        </a:spcAft>
        <a:defRPr sz="4267">
          <a:solidFill>
            <a:schemeClr val="tx1"/>
          </a:solidFill>
          <a:latin typeface="Arial" charset="0"/>
          <a:ea typeface="ＭＳ Ｐゴシック" charset="0"/>
        </a:defRPr>
      </a:lvl6pPr>
      <a:lvl7pPr marL="1219139" algn="l" rtl="0" fontAlgn="base">
        <a:spcBef>
          <a:spcPct val="0"/>
        </a:spcBef>
        <a:spcAft>
          <a:spcPct val="0"/>
        </a:spcAft>
        <a:defRPr sz="4267">
          <a:solidFill>
            <a:schemeClr val="tx1"/>
          </a:solidFill>
          <a:latin typeface="Arial" charset="0"/>
          <a:ea typeface="ＭＳ Ｐゴシック" charset="0"/>
        </a:defRPr>
      </a:lvl7pPr>
      <a:lvl8pPr marL="1828709" algn="l" rtl="0" fontAlgn="base">
        <a:spcBef>
          <a:spcPct val="0"/>
        </a:spcBef>
        <a:spcAft>
          <a:spcPct val="0"/>
        </a:spcAft>
        <a:defRPr sz="4267">
          <a:solidFill>
            <a:schemeClr val="tx1"/>
          </a:solidFill>
          <a:latin typeface="Arial" charset="0"/>
          <a:ea typeface="ＭＳ Ｐゴシック" charset="0"/>
        </a:defRPr>
      </a:lvl8pPr>
      <a:lvl9pPr marL="2438278" algn="l" rtl="0" fontAlgn="base">
        <a:spcBef>
          <a:spcPct val="0"/>
        </a:spcBef>
        <a:spcAft>
          <a:spcPct val="0"/>
        </a:spcAft>
        <a:defRPr sz="4267">
          <a:solidFill>
            <a:schemeClr val="tx1"/>
          </a:solidFill>
          <a:latin typeface="Arial" charset="0"/>
          <a:ea typeface="ＭＳ Ｐゴシック" charset="0"/>
        </a:defRPr>
      </a:lvl9pPr>
    </p:titleStyle>
    <p:bodyStyle>
      <a:lvl1pPr marL="234939" indent="-234939" algn="l" rtl="0" eaLnBrk="0" fontAlgn="base" hangingPunct="0">
        <a:lnSpc>
          <a:spcPts val="3733"/>
        </a:lnSpc>
        <a:spcBef>
          <a:spcPct val="0"/>
        </a:spcBef>
        <a:spcAft>
          <a:spcPct val="30000"/>
        </a:spcAft>
        <a:buChar char="•"/>
        <a:defRPr sz="3200" baseline="0">
          <a:solidFill>
            <a:srgbClr val="2774AE"/>
          </a:solidFill>
          <a:latin typeface="+mn-lt"/>
          <a:ea typeface="+mn-ea"/>
          <a:cs typeface="ＭＳ Ｐゴシック" charset="0"/>
        </a:defRPr>
      </a:lvl1pPr>
      <a:lvl2pPr marL="685767" indent="-152392" algn="l" rtl="0" eaLnBrk="0" fontAlgn="base" hangingPunct="0">
        <a:lnSpc>
          <a:spcPts val="2933"/>
        </a:lnSpc>
        <a:spcBef>
          <a:spcPct val="10000"/>
        </a:spcBef>
        <a:spcAft>
          <a:spcPct val="30000"/>
        </a:spcAft>
        <a:buSzPct val="80000"/>
        <a:buChar char="•"/>
        <a:defRPr sz="2667">
          <a:solidFill>
            <a:schemeClr val="tx1"/>
          </a:solidFill>
          <a:latin typeface="+mn-lt"/>
          <a:ea typeface="+mn-ea"/>
          <a:cs typeface="ＭＳ Ｐゴシック" charset="0"/>
        </a:defRPr>
      </a:lvl2pPr>
      <a:lvl3pPr marL="1140826" indent="-156625" algn="l" rtl="0" eaLnBrk="0" fontAlgn="base" hangingPunct="0">
        <a:lnSpc>
          <a:spcPts val="2667"/>
        </a:lnSpc>
        <a:spcBef>
          <a:spcPct val="10000"/>
        </a:spcBef>
        <a:spcAft>
          <a:spcPct val="30000"/>
        </a:spcAft>
        <a:buSzPct val="80000"/>
        <a:buChar char="•"/>
        <a:defRPr>
          <a:solidFill>
            <a:schemeClr val="accent2"/>
          </a:solidFill>
          <a:latin typeface="+mn-lt"/>
          <a:ea typeface="+mn-ea"/>
          <a:cs typeface="ＭＳ Ｐゴシック" charset="0"/>
        </a:defRPr>
      </a:lvl3pPr>
      <a:lvl4pPr marL="1600121" indent="-152392" algn="l" rtl="0" eaLnBrk="0" fontAlgn="base" hangingPunct="0">
        <a:lnSpc>
          <a:spcPts val="2400"/>
        </a:lnSpc>
        <a:spcBef>
          <a:spcPct val="10000"/>
        </a:spcBef>
        <a:spcAft>
          <a:spcPct val="30000"/>
        </a:spcAft>
        <a:buSzPct val="80000"/>
        <a:buChar char="•"/>
        <a:defRPr sz="2133">
          <a:solidFill>
            <a:schemeClr val="accent2"/>
          </a:solidFill>
          <a:latin typeface="+mn-lt"/>
          <a:ea typeface="+mn-ea"/>
          <a:cs typeface="ＭＳ Ｐゴシック" charset="0"/>
        </a:defRPr>
      </a:lvl4pPr>
      <a:lvl5pPr marL="2057298" indent="-152392" algn="l" rtl="0" eaLnBrk="0" fontAlgn="base" hangingPunct="0">
        <a:lnSpc>
          <a:spcPts val="2133"/>
        </a:lnSpc>
        <a:spcBef>
          <a:spcPct val="10000"/>
        </a:spcBef>
        <a:spcAft>
          <a:spcPct val="30000"/>
        </a:spcAft>
        <a:buSzPct val="80000"/>
        <a:buChar char="•"/>
        <a:defRPr sz="1867">
          <a:solidFill>
            <a:schemeClr val="accent2"/>
          </a:solidFill>
          <a:latin typeface="+mn-lt"/>
          <a:ea typeface="+mn-ea"/>
          <a:cs typeface="ＭＳ Ｐゴシック" charset="0"/>
        </a:defRPr>
      </a:lvl5pPr>
      <a:lvl6pPr marL="2666868" indent="-152392" algn="l" rtl="0" fontAlgn="base">
        <a:lnSpc>
          <a:spcPts val="2133"/>
        </a:lnSpc>
        <a:spcBef>
          <a:spcPct val="10000"/>
        </a:spcBef>
        <a:spcAft>
          <a:spcPct val="30000"/>
        </a:spcAft>
        <a:buSzPct val="80000"/>
        <a:buChar char="•"/>
        <a:defRPr sz="1867">
          <a:solidFill>
            <a:schemeClr val="accent2"/>
          </a:solidFill>
          <a:latin typeface="+mn-lt"/>
          <a:ea typeface="+mn-ea"/>
        </a:defRPr>
      </a:lvl6pPr>
      <a:lvl7pPr marL="3276437" indent="-152392" algn="l" rtl="0" fontAlgn="base">
        <a:lnSpc>
          <a:spcPts val="2133"/>
        </a:lnSpc>
        <a:spcBef>
          <a:spcPct val="10000"/>
        </a:spcBef>
        <a:spcAft>
          <a:spcPct val="30000"/>
        </a:spcAft>
        <a:buSzPct val="80000"/>
        <a:buChar char="•"/>
        <a:defRPr sz="1867">
          <a:solidFill>
            <a:schemeClr val="accent2"/>
          </a:solidFill>
          <a:latin typeface="+mn-lt"/>
          <a:ea typeface="+mn-ea"/>
        </a:defRPr>
      </a:lvl7pPr>
      <a:lvl8pPr marL="3886007" indent="-152392" algn="l" rtl="0" fontAlgn="base">
        <a:lnSpc>
          <a:spcPts val="2133"/>
        </a:lnSpc>
        <a:spcBef>
          <a:spcPct val="10000"/>
        </a:spcBef>
        <a:spcAft>
          <a:spcPct val="30000"/>
        </a:spcAft>
        <a:buSzPct val="80000"/>
        <a:buChar char="•"/>
        <a:defRPr sz="1867">
          <a:solidFill>
            <a:schemeClr val="accent2"/>
          </a:solidFill>
          <a:latin typeface="+mn-lt"/>
          <a:ea typeface="+mn-ea"/>
        </a:defRPr>
      </a:lvl8pPr>
      <a:lvl9pPr marL="4495576" indent="-152392" algn="l" rtl="0" fontAlgn="base">
        <a:lnSpc>
          <a:spcPts val="2133"/>
        </a:lnSpc>
        <a:spcBef>
          <a:spcPct val="10000"/>
        </a:spcBef>
        <a:spcAft>
          <a:spcPct val="30000"/>
        </a:spcAft>
        <a:buSzPct val="80000"/>
        <a:buChar char="•"/>
        <a:defRPr sz="1867">
          <a:solidFill>
            <a:schemeClr val="accent2"/>
          </a:solidFill>
          <a:latin typeface="+mn-lt"/>
          <a:ea typeface="+mn-ea"/>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39"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7"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8">
          <p15:clr>
            <a:srgbClr val="F26B43"/>
          </p15:clr>
        </p15:guide>
        <p15:guide id="2" pos="3840">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419100" y="263784"/>
            <a:ext cx="11220451" cy="690561"/>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bodyPr>
          <a:lstStyle/>
          <a:p>
            <a:pPr lvl="0"/>
            <a:r>
              <a:rPr lang="en-GB" dirty="0"/>
              <a:t>Click to edit Master title style</a:t>
            </a:r>
          </a:p>
        </p:txBody>
      </p:sp>
      <p:sp>
        <p:nvSpPr>
          <p:cNvPr id="2" name="Text Placeholder 1"/>
          <p:cNvSpPr>
            <a:spLocks noGrp="1"/>
          </p:cNvSpPr>
          <p:nvPr>
            <p:ph type="body" idx="1"/>
          </p:nvPr>
        </p:nvSpPr>
        <p:spPr>
          <a:xfrm>
            <a:off x="427938" y="1677890"/>
            <a:ext cx="11211613" cy="4438649"/>
          </a:xfrm>
          <a:prstGeom prst="rect">
            <a:avLst/>
          </a:prstGeom>
        </p:spPr>
        <p:txBody>
          <a:bodyPr vert="horz" lIns="91440" tIns="45720" rIns="91440" bIns="45720" rtlCol="0">
            <a:normAutofit/>
          </a:bodyPr>
          <a:lstStyle/>
          <a:p>
            <a:pPr lvl="1"/>
            <a:r>
              <a:rPr lang="en-US" dirty="0"/>
              <a:t>Second level</a:t>
            </a:r>
          </a:p>
          <a:p>
            <a:pPr lvl="2"/>
            <a:r>
              <a:rPr lang="en-US" dirty="0"/>
              <a:t>Third level</a:t>
            </a:r>
          </a:p>
          <a:p>
            <a:pPr lvl="3"/>
            <a:r>
              <a:rPr lang="en-US" dirty="0"/>
              <a:t>Fourth level</a:t>
            </a:r>
          </a:p>
        </p:txBody>
      </p:sp>
      <p:sp>
        <p:nvSpPr>
          <p:cNvPr id="6" name="Footer Placeholder 5"/>
          <p:cNvSpPr>
            <a:spLocks noGrp="1"/>
          </p:cNvSpPr>
          <p:nvPr>
            <p:ph type="ftr" sz="quarter" idx="3"/>
          </p:nvPr>
        </p:nvSpPr>
        <p:spPr>
          <a:xfrm>
            <a:off x="-1" y="6459349"/>
            <a:ext cx="9772255" cy="366183"/>
          </a:xfrm>
          <a:prstGeom prst="rect">
            <a:avLst/>
          </a:prstGeom>
        </p:spPr>
        <p:txBody>
          <a:bodyPr vert="horz" lIns="91440" tIns="45720" rIns="91440" bIns="45720" rtlCol="0" anchor="b" anchorCtr="0"/>
          <a:lstStyle>
            <a:lvl1pPr algn="l">
              <a:defRPr sz="1067">
                <a:solidFill>
                  <a:srgbClr val="6A6356"/>
                </a:solidFill>
              </a:defRPr>
            </a:lvl1pPr>
          </a:lstStyle>
          <a:p>
            <a:endParaRPr lang="en-US"/>
          </a:p>
        </p:txBody>
      </p:sp>
      <p:pic>
        <p:nvPicPr>
          <p:cNvPr id="3" name="Picture 2" descr="AstraZeneca logo gold bit.png"/>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350644" y="6205995"/>
            <a:ext cx="407440" cy="511088"/>
          </a:xfrm>
          <a:prstGeom prst="rect">
            <a:avLst/>
          </a:prstGeom>
        </p:spPr>
      </p:pic>
      <p:sp>
        <p:nvSpPr>
          <p:cNvPr id="5"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pic>
        <p:nvPicPr>
          <p:cNvPr id="13" name="Picture 12" descr="msd_lg_rgb_tl_dkgry.jpg"/>
          <p:cNvPicPr>
            <a:picLocks noChangeAspect="1"/>
          </p:cNvPicPr>
          <p:nvPr userDrawn="1"/>
        </p:nvPicPr>
        <p:blipFill rotWithShape="1">
          <a:blip r:embed="rId32">
            <a:extLst>
              <a:ext uri="{28A0092B-C50C-407E-A947-70E740481C1C}">
                <a14:useLocalDpi xmlns:a14="http://schemas.microsoft.com/office/drawing/2010/main" val="0"/>
              </a:ext>
            </a:extLst>
          </a:blip>
          <a:srcRect l="10782" t="21232" r="55307" b="22068"/>
          <a:stretch/>
        </p:blipFill>
        <p:spPr>
          <a:xfrm>
            <a:off x="10460805" y="6169487"/>
            <a:ext cx="651696" cy="593861"/>
          </a:xfrm>
          <a:prstGeom prst="rect">
            <a:avLst/>
          </a:prstGeom>
        </p:spPr>
      </p:pic>
    </p:spTree>
    <p:extLst>
      <p:ext uri="{BB962C8B-B14F-4D97-AF65-F5344CB8AC3E}">
        <p14:creationId xmlns:p14="http://schemas.microsoft.com/office/powerpoint/2010/main" val="3750183606"/>
      </p:ext>
    </p:extLst>
  </p:cSld>
  <p:clrMap bg1="lt1" tx1="dk1" bg2="lt2" tx2="dk2" accent1="accent1" accent2="accent2" accent3="accent3" accent4="accent4" accent5="accent5" accent6="accent6" hlink="hlink" folHlink="folHlink"/>
  <p:sldLayoutIdLst>
    <p:sldLayoutId id="2147485788" r:id="rId1"/>
    <p:sldLayoutId id="2147485789" r:id="rId2"/>
    <p:sldLayoutId id="2147485790" r:id="rId3"/>
    <p:sldLayoutId id="2147485791" r:id="rId4"/>
    <p:sldLayoutId id="2147485792" r:id="rId5"/>
    <p:sldLayoutId id="2147485793" r:id="rId6"/>
    <p:sldLayoutId id="2147485794" r:id="rId7"/>
    <p:sldLayoutId id="2147485795" r:id="rId8"/>
    <p:sldLayoutId id="2147485796" r:id="rId9"/>
    <p:sldLayoutId id="2147485797" r:id="rId10"/>
    <p:sldLayoutId id="2147485798" r:id="rId11"/>
    <p:sldLayoutId id="2147485799" r:id="rId12"/>
    <p:sldLayoutId id="2147485800" r:id="rId13"/>
    <p:sldLayoutId id="2147485801" r:id="rId14"/>
    <p:sldLayoutId id="2147485802" r:id="rId15"/>
    <p:sldLayoutId id="2147485803" r:id="rId16"/>
    <p:sldLayoutId id="2147485804" r:id="rId17"/>
    <p:sldLayoutId id="2147485805" r:id="rId18"/>
    <p:sldLayoutId id="2147485806" r:id="rId19"/>
    <p:sldLayoutId id="2147485807" r:id="rId20"/>
    <p:sldLayoutId id="2147485808" r:id="rId21"/>
    <p:sldLayoutId id="2147485809" r:id="rId22"/>
    <p:sldLayoutId id="2147485810" r:id="rId23"/>
    <p:sldLayoutId id="2147485811" r:id="rId24"/>
    <p:sldLayoutId id="2147485812" r:id="rId25"/>
    <p:sldLayoutId id="2147485813" r:id="rId26"/>
    <p:sldLayoutId id="2147485814" r:id="rId27"/>
    <p:sldLayoutId id="2147485815" r:id="rId28"/>
    <p:sldLayoutId id="2147485816" r:id="rId2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eaLnBrk="1" fontAlgn="base" hangingPunct="1">
        <a:spcBef>
          <a:spcPct val="0"/>
        </a:spcBef>
        <a:spcAft>
          <a:spcPct val="0"/>
        </a:spcAft>
        <a:defRPr sz="2667" b="1">
          <a:solidFill>
            <a:schemeClr val="accent3"/>
          </a:solidFill>
          <a:latin typeface="+mj-lt"/>
          <a:ea typeface="+mj-ea"/>
          <a:cs typeface="+mj-cs"/>
        </a:defRPr>
      </a:lvl1pPr>
      <a:lvl2pPr algn="l" rtl="0" eaLnBrk="1" fontAlgn="base" hangingPunct="1">
        <a:spcBef>
          <a:spcPct val="0"/>
        </a:spcBef>
        <a:spcAft>
          <a:spcPct val="0"/>
        </a:spcAft>
        <a:defRPr sz="2800" b="1">
          <a:solidFill>
            <a:schemeClr val="tx2"/>
          </a:solidFill>
          <a:latin typeface="Arial" charset="0"/>
        </a:defRPr>
      </a:lvl2pPr>
      <a:lvl3pPr algn="l" rtl="0" eaLnBrk="1" fontAlgn="base" hangingPunct="1">
        <a:spcBef>
          <a:spcPct val="0"/>
        </a:spcBef>
        <a:spcAft>
          <a:spcPct val="0"/>
        </a:spcAft>
        <a:defRPr sz="2800" b="1">
          <a:solidFill>
            <a:schemeClr val="tx2"/>
          </a:solidFill>
          <a:latin typeface="Arial" charset="0"/>
        </a:defRPr>
      </a:lvl3pPr>
      <a:lvl4pPr algn="l" rtl="0" eaLnBrk="1" fontAlgn="base" hangingPunct="1">
        <a:spcBef>
          <a:spcPct val="0"/>
        </a:spcBef>
        <a:spcAft>
          <a:spcPct val="0"/>
        </a:spcAft>
        <a:defRPr sz="2800" b="1">
          <a:solidFill>
            <a:schemeClr val="tx2"/>
          </a:solidFill>
          <a:latin typeface="Arial" charset="0"/>
        </a:defRPr>
      </a:lvl4pPr>
      <a:lvl5pPr algn="l" rtl="0" eaLnBrk="1" fontAlgn="base" hangingPunct="1">
        <a:spcBef>
          <a:spcPct val="0"/>
        </a:spcBef>
        <a:spcAft>
          <a:spcPct val="0"/>
        </a:spcAft>
        <a:defRPr sz="2800" b="1">
          <a:solidFill>
            <a:schemeClr val="tx2"/>
          </a:solidFill>
          <a:latin typeface="Arial" charset="0"/>
        </a:defRPr>
      </a:lvl5pPr>
      <a:lvl6pPr marL="457189" algn="l" rtl="0" eaLnBrk="1" fontAlgn="base" hangingPunct="1">
        <a:spcBef>
          <a:spcPct val="0"/>
        </a:spcBef>
        <a:spcAft>
          <a:spcPct val="0"/>
        </a:spcAft>
        <a:defRPr sz="2800" b="1">
          <a:solidFill>
            <a:schemeClr val="tx2"/>
          </a:solidFill>
          <a:latin typeface="Arial" charset="0"/>
        </a:defRPr>
      </a:lvl6pPr>
      <a:lvl7pPr marL="914377" algn="l" rtl="0" eaLnBrk="1" fontAlgn="base" hangingPunct="1">
        <a:spcBef>
          <a:spcPct val="0"/>
        </a:spcBef>
        <a:spcAft>
          <a:spcPct val="0"/>
        </a:spcAft>
        <a:defRPr sz="2800" b="1">
          <a:solidFill>
            <a:schemeClr val="tx2"/>
          </a:solidFill>
          <a:latin typeface="Arial" charset="0"/>
        </a:defRPr>
      </a:lvl7pPr>
      <a:lvl8pPr marL="1371566" algn="l" rtl="0" eaLnBrk="1" fontAlgn="base" hangingPunct="1">
        <a:spcBef>
          <a:spcPct val="0"/>
        </a:spcBef>
        <a:spcAft>
          <a:spcPct val="0"/>
        </a:spcAft>
        <a:defRPr sz="2800" b="1">
          <a:solidFill>
            <a:schemeClr val="tx2"/>
          </a:solidFill>
          <a:latin typeface="Arial" charset="0"/>
        </a:defRPr>
      </a:lvl8pPr>
      <a:lvl9pPr marL="1828754" algn="l" rtl="0" eaLnBrk="1" fontAlgn="base" hangingPunct="1">
        <a:spcBef>
          <a:spcPct val="0"/>
        </a:spcBef>
        <a:spcAft>
          <a:spcPct val="0"/>
        </a:spcAft>
        <a:defRPr sz="2800" b="1">
          <a:solidFill>
            <a:schemeClr val="tx2"/>
          </a:solidFill>
          <a:latin typeface="Arial" charset="0"/>
        </a:defRPr>
      </a:lvl9pPr>
    </p:titleStyle>
    <p:bodyStyle>
      <a:lvl1pPr marL="342891" marR="0" indent="-342891" algn="l" defTabSz="1219170" rtl="0" eaLnBrk="1" fontAlgn="base" latinLnBrk="0" hangingPunct="1">
        <a:lnSpc>
          <a:spcPct val="100000"/>
        </a:lnSpc>
        <a:spcBef>
          <a:spcPct val="0"/>
        </a:spcBef>
        <a:spcAft>
          <a:spcPts val="400"/>
        </a:spcAft>
        <a:buClr>
          <a:srgbClr val="7AB800"/>
        </a:buClr>
        <a:buSzTx/>
        <a:buFontTx/>
        <a:buNone/>
        <a:tabLst/>
        <a:defRPr sz="1867" b="1">
          <a:solidFill>
            <a:srgbClr val="000000"/>
          </a:solidFill>
          <a:latin typeface="+mn-lt"/>
          <a:ea typeface="+mn-ea"/>
          <a:cs typeface="+mn-cs"/>
        </a:defRPr>
      </a:lvl1pPr>
      <a:lvl2pPr marL="241294" indent="-239178" algn="l" rtl="0" eaLnBrk="1" fontAlgn="base" hangingPunct="1">
        <a:lnSpc>
          <a:spcPct val="100000"/>
        </a:lnSpc>
        <a:spcBef>
          <a:spcPct val="0"/>
        </a:spcBef>
        <a:spcAft>
          <a:spcPts val="400"/>
        </a:spcAft>
        <a:buClr>
          <a:srgbClr val="4B306A"/>
        </a:buClr>
        <a:buFont typeface="Arial" panose="020B0604020202020204" pitchFamily="34" charset="0"/>
        <a:buChar char="•"/>
        <a:defRPr sz="2133" b="0">
          <a:solidFill>
            <a:schemeClr val="tx1"/>
          </a:solidFill>
          <a:latin typeface="+mn-lt"/>
        </a:defRPr>
      </a:lvl2pPr>
      <a:lvl3pPr marL="673083" indent="-186262" algn="l" rtl="0" eaLnBrk="1" fontAlgn="base" hangingPunct="1">
        <a:lnSpc>
          <a:spcPct val="100000"/>
        </a:lnSpc>
        <a:spcBef>
          <a:spcPct val="0"/>
        </a:spcBef>
        <a:spcAft>
          <a:spcPts val="400"/>
        </a:spcAft>
        <a:buClr>
          <a:srgbClr val="4B306A"/>
        </a:buClr>
        <a:buSzPct val="75000"/>
        <a:buFont typeface="Arial" pitchFamily="34" charset="0"/>
        <a:buChar char="–"/>
        <a:defRPr sz="1867">
          <a:solidFill>
            <a:schemeClr val="tx1"/>
          </a:solidFill>
          <a:latin typeface="+mn-lt"/>
        </a:defRPr>
      </a:lvl3pPr>
      <a:lvl4pPr marL="954593" indent="-171446" algn="l" rtl="0" eaLnBrk="1" fontAlgn="base" hangingPunct="1">
        <a:lnSpc>
          <a:spcPct val="100000"/>
        </a:lnSpc>
        <a:spcBef>
          <a:spcPct val="0"/>
        </a:spcBef>
        <a:spcAft>
          <a:spcPts val="400"/>
        </a:spcAft>
        <a:buClr>
          <a:srgbClr val="4B306A"/>
        </a:buClr>
        <a:buSzPct val="100000"/>
        <a:buChar char="•"/>
        <a:defRPr sz="1600">
          <a:solidFill>
            <a:schemeClr val="tx1"/>
          </a:solidFill>
          <a:latin typeface="+mn-lt"/>
        </a:defRPr>
      </a:lvl4pPr>
      <a:lvl5pPr marL="1435064" indent="-175680" algn="l" rtl="0" eaLnBrk="1" fontAlgn="base" hangingPunct="1">
        <a:lnSpc>
          <a:spcPct val="100000"/>
        </a:lnSpc>
        <a:spcBef>
          <a:spcPct val="0"/>
        </a:spcBef>
        <a:spcAft>
          <a:spcPct val="0"/>
        </a:spcAft>
        <a:buClr>
          <a:srgbClr val="7AB800"/>
        </a:buClr>
        <a:buChar char="•"/>
        <a:defRPr sz="1467">
          <a:solidFill>
            <a:schemeClr val="tx1"/>
          </a:solidFill>
          <a:latin typeface="+mn-lt"/>
        </a:defRPr>
      </a:lvl5pPr>
      <a:lvl6pPr marL="1620798" indent="-176209" algn="l" rtl="0" eaLnBrk="1" fontAlgn="base" hangingPunct="1">
        <a:spcBef>
          <a:spcPct val="0"/>
        </a:spcBef>
        <a:spcAft>
          <a:spcPct val="0"/>
        </a:spcAft>
        <a:buChar char="•"/>
        <a:defRPr sz="1467">
          <a:solidFill>
            <a:schemeClr val="tx1"/>
          </a:solidFill>
          <a:latin typeface="+mn-lt"/>
        </a:defRPr>
      </a:lvl6pPr>
      <a:lvl7pPr marL="2077987" indent="-176209" algn="l" rtl="0" eaLnBrk="1" fontAlgn="base" hangingPunct="1">
        <a:spcBef>
          <a:spcPct val="0"/>
        </a:spcBef>
        <a:spcAft>
          <a:spcPct val="0"/>
        </a:spcAft>
        <a:buChar char="•"/>
        <a:defRPr sz="1467">
          <a:solidFill>
            <a:schemeClr val="tx1"/>
          </a:solidFill>
          <a:latin typeface="+mn-lt"/>
        </a:defRPr>
      </a:lvl7pPr>
      <a:lvl8pPr marL="2535175" indent="-176209" algn="l" rtl="0" eaLnBrk="1" fontAlgn="base" hangingPunct="1">
        <a:spcBef>
          <a:spcPct val="0"/>
        </a:spcBef>
        <a:spcAft>
          <a:spcPct val="0"/>
        </a:spcAft>
        <a:buChar char="•"/>
        <a:defRPr sz="1467">
          <a:solidFill>
            <a:schemeClr val="tx1"/>
          </a:solidFill>
          <a:latin typeface="+mn-lt"/>
        </a:defRPr>
      </a:lvl8pPr>
      <a:lvl9pPr marL="2992364" indent="-176209" algn="l" rtl="0" eaLnBrk="1" fontAlgn="base" hangingPunct="1">
        <a:spcBef>
          <a:spcPct val="0"/>
        </a:spcBef>
        <a:spcAft>
          <a:spcPct val="0"/>
        </a:spcAft>
        <a:buChar char="•"/>
        <a:defRPr sz="1467">
          <a:solidFill>
            <a:schemeClr val="tx1"/>
          </a:solidFill>
          <a:latin typeface="+mn-lt"/>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214530524"/>
      </p:ext>
    </p:extLst>
  </p:cSld>
  <p:clrMap bg1="lt1" tx1="dk1" bg2="lt2" tx2="dk2" accent1="accent1" accent2="accent2" accent3="accent3" accent4="accent4" accent5="accent5" accent6="accent6" hlink="hlink" folHlink="folHlink"/>
  <p:sldLayoutIdLst>
    <p:sldLayoutId id="2147485818" r:id="rId1"/>
    <p:sldLayoutId id="2147485819" r:id="rId2"/>
    <p:sldLayoutId id="2147485820" r:id="rId3"/>
    <p:sldLayoutId id="2147485821" r:id="rId4"/>
    <p:sldLayoutId id="2147485822" r:id="rId5"/>
    <p:sldLayoutId id="2147485823" r:id="rId6"/>
    <p:sldLayoutId id="2147485824" r:id="rId7"/>
    <p:sldLayoutId id="2147485825" r:id="rId8"/>
    <p:sldLayoutId id="2147485826" r:id="rId9"/>
    <p:sldLayoutId id="2147485827" r:id="rId10"/>
    <p:sldLayoutId id="2147485828" r:id="rId11"/>
    <p:sldLayoutId id="2147485829" r:id="rId12"/>
    <p:sldLayoutId id="2147485830" r:id="rId13"/>
    <p:sldLayoutId id="2147485831" r:id="rId14"/>
    <p:sldLayoutId id="2147485832" r:id="rId15"/>
    <p:sldLayoutId id="2147485833" r:id="rId16"/>
    <p:sldLayoutId id="2147485834" r:id="rId17"/>
    <p:sldLayoutId id="2147485835" r:id="rId18"/>
    <p:sldLayoutId id="2147485836" r:id="rId19"/>
    <p:sldLayoutId id="2147485837" r:id="rId20"/>
    <p:sldLayoutId id="2147485838" r:id="rId21"/>
    <p:sldLayoutId id="2147485839" r:id="rId22"/>
    <p:sldLayoutId id="2147485840" r:id="rId23"/>
    <p:sldLayoutId id="2147485841" r:id="rId24"/>
    <p:sldLayoutId id="2147485842"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 id="2147485780" r:id="rId14"/>
    <p:sldLayoutId id="2147485781" r:id="rId15"/>
    <p:sldLayoutId id="2147485782" r:id="rId16"/>
    <p:sldLayoutId id="2147485783" r:id="rId17"/>
    <p:sldLayoutId id="2147485315" r:id="rId18"/>
    <p:sldLayoutId id="2147485316" r:id="rId19"/>
    <p:sldLayoutId id="2147485317" r:id="rId20"/>
    <p:sldLayoutId id="2147485318" r:id="rId21"/>
    <p:sldLayoutId id="2147485319" r:id="rId22"/>
    <p:sldLayoutId id="2147485320" r:id="rId23"/>
    <p:sldLayoutId id="2147485321" r:id="rId24"/>
    <p:sldLayoutId id="2147485322" r:id="rId25"/>
    <p:sldLayoutId id="2147485323" r:id="rId26"/>
    <p:sldLayoutId id="2147485324" r:id="rId27"/>
    <p:sldLayoutId id="2147485325" r:id="rId28"/>
    <p:sldLayoutId id="2147485279" r:id="rId29"/>
    <p:sldLayoutId id="2147485280" r:id="rId30"/>
    <p:sldLayoutId id="2147485281" r:id="rId31"/>
    <p:sldLayoutId id="2147485282" r:id="rId32"/>
    <p:sldLayoutId id="2147485283" r:id="rId33"/>
    <p:sldLayoutId id="2147485284" r:id="rId34"/>
    <p:sldLayoutId id="2147485285" r:id="rId35"/>
    <p:sldLayoutId id="2147485286" r:id="rId36"/>
    <p:sldLayoutId id="2147485287" r:id="rId37"/>
    <p:sldLayoutId id="2147485288" r:id="rId38"/>
    <p:sldLayoutId id="2147485289" r:id="rId39"/>
    <p:sldLayoutId id="2147485290" r:id="rId40"/>
    <p:sldLayoutId id="2147485291" r:id="rId41"/>
    <p:sldLayoutId id="2147485292" r:id="rId42"/>
    <p:sldLayoutId id="2147485293" r:id="rId43"/>
    <p:sldLayoutId id="2147485294" r:id="rId44"/>
    <p:sldLayoutId id="2147485295" r:id="rId45"/>
    <p:sldLayoutId id="2147485296" r:id="rId46"/>
    <p:sldLayoutId id="2147485297" r:id="rId47"/>
    <p:sldLayoutId id="2147485298" r:id="rId48"/>
    <p:sldLayoutId id="2147485299" r:id="rId49"/>
    <p:sldLayoutId id="2147485300" r:id="rId50"/>
    <p:sldLayoutId id="2147485301" r:id="rId51"/>
    <p:sldLayoutId id="2147485564" r:id="rId52"/>
    <p:sldLayoutId id="2147485566" r:id="rId53"/>
    <p:sldLayoutId id="2147485567" r:id="rId54"/>
    <p:sldLayoutId id="2147485568" r:id="rId5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cstate="print">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854219884"/>
      </p:ext>
    </p:extLst>
  </p:cSld>
  <p:clrMap bg1="lt1" tx1="dk1" bg2="lt2" tx2="dk2" accent1="accent1" accent2="accent2" accent3="accent3" accent4="accent4" accent5="accent5" accent6="accent6" hlink="hlink" folHlink="folHlink"/>
  <p:sldLayoutIdLst>
    <p:sldLayoutId id="2147485033" r:id="rId1"/>
    <p:sldLayoutId id="2147485034" r:id="rId2"/>
    <p:sldLayoutId id="2147485035" r:id="rId3"/>
    <p:sldLayoutId id="2147485036" r:id="rId4"/>
    <p:sldLayoutId id="2147485037" r:id="rId5"/>
    <p:sldLayoutId id="2147485038" r:id="rId6"/>
    <p:sldLayoutId id="2147485039" r:id="rId7"/>
    <p:sldLayoutId id="2147485040" r:id="rId8"/>
    <p:sldLayoutId id="2147485041" r:id="rId9"/>
    <p:sldLayoutId id="2147485042" r:id="rId10"/>
    <p:sldLayoutId id="2147485043" r:id="rId11"/>
    <p:sldLayoutId id="2147485044" r:id="rId12"/>
    <p:sldLayoutId id="2147485045" r:id="rId13"/>
    <p:sldLayoutId id="2147485046" r:id="rId14"/>
    <p:sldLayoutId id="2147485047" r:id="rId15"/>
    <p:sldLayoutId id="2147485048" r:id="rId16"/>
    <p:sldLayoutId id="2147485049" r:id="rId17"/>
    <p:sldLayoutId id="2147485050" r:id="rId18"/>
    <p:sldLayoutId id="2147485051" r:id="rId19"/>
    <p:sldLayoutId id="2147485052" r:id="rId20"/>
    <p:sldLayoutId id="2147485053" r:id="rId21"/>
    <p:sldLayoutId id="2147485054" r:id="rId22"/>
    <p:sldLayoutId id="2147485055" r:id="rId23"/>
    <p:sldLayoutId id="2147485056" r:id="rId24"/>
    <p:sldLayoutId id="2147485057"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9" y="404813"/>
            <a:ext cx="11376025" cy="1007427"/>
          </a:xfrm>
          <a:prstGeom prst="rect">
            <a:avLst/>
          </a:prstGeom>
        </p:spPr>
        <p:txBody>
          <a:bodyPr vert="horz" lIns="0" tIns="0" rIns="0" bIns="0" rtlCol="0" anchor="t">
            <a:normAutofit/>
          </a:bodyPr>
          <a:lstStyle/>
          <a:p>
            <a:r>
              <a:rPr lang="en-US" dirty="0"/>
              <a:t>Click to enter title here</a:t>
            </a:r>
            <a:endParaRPr lang="en-GB" dirty="0"/>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6260"/>
            <a:ext cx="1279359"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1">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1" y="6456260"/>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1">
                <a:solidFill>
                  <a:schemeClr val="tx1"/>
                </a:solidFill>
              </a:defRPr>
            </a:lvl1pPr>
          </a:lstStyle>
          <a:p>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9"/>
          </a:xfrm>
          <a:prstGeom prst="rect">
            <a:avLst/>
          </a:prstGeom>
          <a:blipFill>
            <a:blip>
              <a:extLst>
                <a:ext uri="{96DAC541-7B7A-43D3-8B79-37D633B846F1}">
                  <asvg:svgBlip xmlns:asvg="http://schemas.microsoft.com/office/drawing/2016/SVG/main" r:embed="rId27"/>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600" dirty="0"/>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9" y="1557339"/>
            <a:ext cx="11376025" cy="4636800"/>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use the Paste and Match Formatting shortcut (</a:t>
            </a:r>
            <a:r>
              <a:rPr lang="en-US" dirty="0" err="1"/>
              <a:t>Cmd</a:t>
            </a:r>
            <a:r>
              <a:rPr lang="en-US" dirty="0"/>
              <a:t> + Option + Shift + V).</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a:extLst>
              <a:ext uri="{FF2B5EF4-FFF2-40B4-BE49-F238E27FC236}">
                <a16:creationId xmlns:a16="http://schemas.microsoft.com/office/drawing/2014/main" id="{3A7038DD-DDDB-3A3D-44FF-1F43F72B3508}"/>
              </a:ext>
            </a:extLst>
          </p:cNvPr>
          <p:cNvSpPr txBox="1"/>
          <p:nvPr userDrawn="1">
            <p:extLst>
              <p:ext uri="{1162E1C5-73C7-4A58-AE30-91384D911F3F}">
                <p184:classification xmlns:p184="http://schemas.microsoft.com/office/powerpoint/2018/4/main" val="hdr"/>
              </p:ext>
            </p:extLst>
          </p:nvPr>
        </p:nvSpPr>
        <p:spPr>
          <a:xfrm>
            <a:off x="1" y="1"/>
            <a:ext cx="1528763" cy="184666"/>
          </a:xfrm>
          <a:prstGeom prst="rect">
            <a:avLst/>
          </a:prstGeom>
        </p:spPr>
        <p:txBody>
          <a:bodyPr horzOverflow="overflow" lIns="0" tIns="0" rIns="0" bIns="0">
            <a:spAutoFit/>
          </a:bodyPr>
          <a:lstStyle/>
          <a:p>
            <a:pPr algn="l"/>
            <a:r>
              <a:rPr lang="en-GB" sz="1200">
                <a:solidFill>
                  <a:srgbClr val="00B294"/>
                </a:solidFill>
                <a:latin typeface="Calibri" panose="020F0502020204030204" pitchFamily="34" charset="0"/>
                <a:cs typeface="Calibri" panose="020F0502020204030204" pitchFamily="34" charset="0"/>
              </a:rPr>
              <a:t>Proprietario-Proprietary</a:t>
            </a:r>
          </a:p>
        </p:txBody>
      </p:sp>
    </p:spTree>
    <p:custDataLst>
      <p:tags r:id="rId26"/>
    </p:custDataLst>
    <p:extLst>
      <p:ext uri="{BB962C8B-B14F-4D97-AF65-F5344CB8AC3E}">
        <p14:creationId xmlns:p14="http://schemas.microsoft.com/office/powerpoint/2010/main" val="3650610165"/>
      </p:ext>
    </p:extLst>
  </p:cSld>
  <p:clrMap bg1="lt1" tx1="dk1" bg2="lt2" tx2="dk2" accent1="accent1" accent2="accent2" accent3="accent3" accent4="accent4" accent5="accent5" accent6="accent6" hlink="hlink" folHlink="folHlink"/>
  <p:sldLayoutIdLst>
    <p:sldLayoutId id="2147485206" r:id="rId1"/>
    <p:sldLayoutId id="2147485207" r:id="rId2"/>
    <p:sldLayoutId id="2147485208" r:id="rId3"/>
    <p:sldLayoutId id="2147485209" r:id="rId4"/>
    <p:sldLayoutId id="2147485210" r:id="rId5"/>
    <p:sldLayoutId id="2147485211" r:id="rId6"/>
    <p:sldLayoutId id="2147485212" r:id="rId7"/>
    <p:sldLayoutId id="2147485213" r:id="rId8"/>
    <p:sldLayoutId id="2147485214" r:id="rId9"/>
    <p:sldLayoutId id="2147485215" r:id="rId10"/>
    <p:sldLayoutId id="2147485216" r:id="rId11"/>
    <p:sldLayoutId id="2147485217" r:id="rId12"/>
    <p:sldLayoutId id="2147485340" r:id="rId13"/>
    <p:sldLayoutId id="2147485341" r:id="rId14"/>
    <p:sldLayoutId id="2147485342" r:id="rId15"/>
    <p:sldLayoutId id="2147485343" r:id="rId16"/>
    <p:sldLayoutId id="2147485344" r:id="rId17"/>
    <p:sldLayoutId id="2147485345" r:id="rId18"/>
    <p:sldLayoutId id="2147485346" r:id="rId19"/>
    <p:sldLayoutId id="2147485347" r:id="rId20"/>
    <p:sldLayoutId id="2147485348" r:id="rId21"/>
    <p:sldLayoutId id="2147485349" r:id="rId22"/>
    <p:sldLayoutId id="2147485350" r:id="rId23"/>
    <p:sldLayoutId id="2147485351"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p:txStyles>
    <p:titleStyle>
      <a:lvl1pPr algn="l" defTabSz="914377"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594" indent="-228594" algn="l" defTabSz="914377"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788" marR="0" indent="-228594" algn="l" defTabSz="914377"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183" indent="-228594" algn="l" defTabSz="914377"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21577" indent="-228594" algn="l" defTabSz="914377"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51971" indent="-228594" algn="l" defTabSz="914377"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3">
          <p15:clr>
            <a:srgbClr val="C35EA4"/>
          </p15:clr>
        </p15:guide>
        <p15:guide id="2" pos="9897">
          <p15:clr>
            <a:srgbClr val="C35EA4"/>
          </p15:clr>
        </p15:guide>
        <p15:guide id="3" orient="horz" pos="5208">
          <p15:clr>
            <a:srgbClr val="C35EA4"/>
          </p15:clr>
        </p15:guide>
        <p15:guide id="4" orient="horz" pos="340">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12/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pic>
        <p:nvPicPr>
          <p:cNvPr id="7" name="Immagine 4">
            <a:extLst>
              <a:ext uri="{FF2B5EF4-FFF2-40B4-BE49-F238E27FC236}">
                <a16:creationId xmlns:a16="http://schemas.microsoft.com/office/drawing/2014/main" id="{66F4D0DE-BAE9-3110-A627-55BB3D798993}"/>
              </a:ext>
            </a:extLst>
          </p:cNvPr>
          <p:cNvPicPr>
            <a:picLocks noChangeAspect="1"/>
          </p:cNvPicPr>
          <p:nvPr userDrawn="1"/>
        </p:nvPicPr>
        <p:blipFill>
          <a:blip r:embed="rId14"/>
          <a:srcRect/>
          <a:stretch/>
        </p:blipFill>
        <p:spPr>
          <a:xfrm>
            <a:off x="0" y="0"/>
            <a:ext cx="12192000" cy="6858000"/>
          </a:xfrm>
          <a:prstGeom prst="rect">
            <a:avLst/>
          </a:prstGeom>
        </p:spPr>
      </p:pic>
    </p:spTree>
    <p:extLst>
      <p:ext uri="{BB962C8B-B14F-4D97-AF65-F5344CB8AC3E}">
        <p14:creationId xmlns:p14="http://schemas.microsoft.com/office/powerpoint/2010/main" val="1595439379"/>
      </p:ext>
    </p:extLst>
  </p:cSld>
  <p:clrMap bg1="lt1" tx1="dk1" bg2="lt2" tx2="dk2" accent1="accent1" accent2="accent2" accent3="accent3" accent4="accent4" accent5="accent5" accent6="accent6" hlink="hlink" folHlink="folHlink"/>
  <p:sldLayoutIdLst>
    <p:sldLayoutId id="2147485219" r:id="rId1"/>
    <p:sldLayoutId id="2147485220" r:id="rId2"/>
    <p:sldLayoutId id="2147485221" r:id="rId3"/>
    <p:sldLayoutId id="2147485222" r:id="rId4"/>
    <p:sldLayoutId id="2147485223" r:id="rId5"/>
    <p:sldLayoutId id="2147485224" r:id="rId6"/>
    <p:sldLayoutId id="2147485225" r:id="rId7"/>
    <p:sldLayoutId id="2147485226" r:id="rId8"/>
    <p:sldLayoutId id="2147485227" r:id="rId9"/>
    <p:sldLayoutId id="2147485228" r:id="rId10"/>
    <p:sldLayoutId id="2147485229" r:id="rId11"/>
    <p:sldLayoutId id="2147485230"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12/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pic>
        <p:nvPicPr>
          <p:cNvPr id="7" name="Immagine 4">
            <a:extLst>
              <a:ext uri="{FF2B5EF4-FFF2-40B4-BE49-F238E27FC236}">
                <a16:creationId xmlns:a16="http://schemas.microsoft.com/office/drawing/2014/main" id="{8A07AFE2-7330-EF4F-E036-5FAE641B22FD}"/>
              </a:ext>
            </a:extLst>
          </p:cNvPr>
          <p:cNvPicPr>
            <a:picLocks noChangeAspect="1"/>
          </p:cNvPicPr>
          <p:nvPr userDrawn="1"/>
        </p:nvPicPr>
        <p:blipFill>
          <a:blip r:embed="rId14"/>
          <a:srcRect/>
          <a:stretch/>
        </p:blipFill>
        <p:spPr>
          <a:xfrm>
            <a:off x="0" y="0"/>
            <a:ext cx="12192000" cy="6858000"/>
          </a:xfrm>
          <a:prstGeom prst="rect">
            <a:avLst/>
          </a:prstGeom>
        </p:spPr>
      </p:pic>
    </p:spTree>
    <p:extLst>
      <p:ext uri="{BB962C8B-B14F-4D97-AF65-F5344CB8AC3E}">
        <p14:creationId xmlns:p14="http://schemas.microsoft.com/office/powerpoint/2010/main" val="3590268160"/>
      </p:ext>
    </p:extLst>
  </p:cSld>
  <p:clrMap bg1="lt1" tx1="dk1" bg2="lt2" tx2="dk2" accent1="accent1" accent2="accent2" accent3="accent3" accent4="accent4" accent5="accent5" accent6="accent6" hlink="hlink" folHlink="folHlink"/>
  <p:sldLayoutIdLst>
    <p:sldLayoutId id="2147485232" r:id="rId1"/>
    <p:sldLayoutId id="2147485233" r:id="rId2"/>
    <p:sldLayoutId id="2147485234" r:id="rId3"/>
    <p:sldLayoutId id="2147485235" r:id="rId4"/>
    <p:sldLayoutId id="2147485236" r:id="rId5"/>
    <p:sldLayoutId id="2147485237" r:id="rId6"/>
    <p:sldLayoutId id="2147485238" r:id="rId7"/>
    <p:sldLayoutId id="2147485239" r:id="rId8"/>
    <p:sldLayoutId id="2147485240" r:id="rId9"/>
    <p:sldLayoutId id="2147485241" r:id="rId10"/>
    <p:sldLayoutId id="2147485242" r:id="rId11"/>
    <p:sldLayoutId id="2147485243"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9"/>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p:cNvSpPr>
            <a:spLocks noGrp="1"/>
          </p:cNvSpPr>
          <p:nvPr>
            <p:ph type="sldNum" sz="quarter" idx="4"/>
          </p:nvPr>
        </p:nvSpPr>
        <p:spPr>
          <a:xfrm>
            <a:off x="605367" y="6253164"/>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000000"/>
                </a:solidFill>
                <a:latin typeface="Arial Narrow" panose="020B0606020202030204" pitchFamily="34" charset="0"/>
                <a:ea typeface="MS PGothic" panose="020B0600070205080204" pitchFamily="34" charset="-128"/>
              </a:defRPr>
            </a:lvl1pPr>
          </a:lstStyle>
          <a:p>
            <a:pPr>
              <a:defRPr/>
            </a:pPr>
            <a:fld id="{5E7506D9-11D1-4EDF-8D7F-95F25EAFBD39}" type="slidenum">
              <a:rPr lang="en-US" altLang="en-US"/>
              <a:pPr>
                <a:defRPr/>
              </a:pPr>
              <a:t>‹#›</a:t>
            </a:fld>
            <a:endParaRPr lang="en-US" altLang="en-US"/>
          </a:p>
        </p:txBody>
      </p:sp>
    </p:spTree>
    <p:extLst>
      <p:ext uri="{BB962C8B-B14F-4D97-AF65-F5344CB8AC3E}">
        <p14:creationId xmlns:p14="http://schemas.microsoft.com/office/powerpoint/2010/main" val="2262869456"/>
      </p:ext>
    </p:extLst>
  </p:cSld>
  <p:clrMap bg1="lt1" tx1="dk1" bg2="lt2" tx2="dk2" accent1="accent1" accent2="accent2" accent3="accent3" accent4="accent4" accent5="accent5" accent6="accent6" hlink="hlink" folHlink="folHlink"/>
  <p:sldLayoutIdLst>
    <p:sldLayoutId id="2147485245" r:id="rId1"/>
    <p:sldLayoutId id="2147485246" r:id="rId2"/>
    <p:sldLayoutId id="2147485247" r:id="rId3"/>
    <p:sldLayoutId id="2147485248" r:id="rId4"/>
    <p:sldLayoutId id="2147485249" r:id="rId5"/>
    <p:sldLayoutId id="2147485250" r:id="rId6"/>
    <p:sldLayoutId id="2147485251" r:id="rId7"/>
    <p:sldLayoutId id="2147485252" r:id="rId8"/>
    <p:sldLayoutId id="2147485253" r:id="rId9"/>
    <p:sldLayoutId id="2147485254" r:id="rId10"/>
    <p:sldLayoutId id="2147485255" r:id="rId11"/>
    <p:sldLayoutId id="2147485256" r:id="rId12"/>
    <p:sldLayoutId id="2147485257" r:id="rId13"/>
    <p:sldLayoutId id="2147485258" r:id="rId14"/>
    <p:sldLayoutId id="2147485259" r:id="rId15"/>
    <p:sldLayoutId id="2147485260" r:id="rId16"/>
    <p:sldLayoutId id="2147485261" r:id="rId17"/>
    <p:sldLayoutId id="2147485262" r:id="rId18"/>
    <p:sldLayoutId id="2147485263" r:id="rId19"/>
    <p:sldLayoutId id="2147485264"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algn="l" defTabSz="457189" rtl="0" eaLnBrk="0" fontAlgn="base" hangingPunct="0">
        <a:spcBef>
          <a:spcPct val="0"/>
        </a:spcBef>
        <a:spcAft>
          <a:spcPct val="0"/>
        </a:spcAft>
        <a:defRPr sz="4000" b="1" kern="1200">
          <a:solidFill>
            <a:srgbClr val="81104F"/>
          </a:solidFill>
          <a:latin typeface="Arial Narrow"/>
          <a:ea typeface="MS PGothic" pitchFamily="34" charset="-128"/>
          <a:cs typeface="Arial Narrow"/>
        </a:defRPr>
      </a:lvl1pPr>
      <a:lvl2pPr algn="l" defTabSz="457189"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189"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189"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189"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189" algn="l" defTabSz="457189" rtl="0" fontAlgn="base">
        <a:spcBef>
          <a:spcPct val="0"/>
        </a:spcBef>
        <a:spcAft>
          <a:spcPct val="0"/>
        </a:spcAft>
        <a:defRPr sz="4000" b="1">
          <a:solidFill>
            <a:srgbClr val="81104F"/>
          </a:solidFill>
          <a:latin typeface="Arial Narrow" charset="0"/>
          <a:ea typeface="ＭＳ Ｐゴシック" charset="0"/>
        </a:defRPr>
      </a:lvl6pPr>
      <a:lvl7pPr marL="914377" algn="l" defTabSz="457189" rtl="0" fontAlgn="base">
        <a:spcBef>
          <a:spcPct val="0"/>
        </a:spcBef>
        <a:spcAft>
          <a:spcPct val="0"/>
        </a:spcAft>
        <a:defRPr sz="4000" b="1">
          <a:solidFill>
            <a:srgbClr val="81104F"/>
          </a:solidFill>
          <a:latin typeface="Arial Narrow" charset="0"/>
          <a:ea typeface="ＭＳ Ｐゴシック" charset="0"/>
        </a:defRPr>
      </a:lvl7pPr>
      <a:lvl8pPr marL="1371566" algn="l" defTabSz="457189" rtl="0" fontAlgn="base">
        <a:spcBef>
          <a:spcPct val="0"/>
        </a:spcBef>
        <a:spcAft>
          <a:spcPct val="0"/>
        </a:spcAft>
        <a:defRPr sz="4000" b="1">
          <a:solidFill>
            <a:srgbClr val="81104F"/>
          </a:solidFill>
          <a:latin typeface="Arial Narrow" charset="0"/>
          <a:ea typeface="ＭＳ Ｐゴシック" charset="0"/>
        </a:defRPr>
      </a:lvl8pPr>
      <a:lvl9pPr marL="1828754" algn="l" defTabSz="457189" rtl="0" fontAlgn="base">
        <a:spcBef>
          <a:spcPct val="0"/>
        </a:spcBef>
        <a:spcAft>
          <a:spcPct val="0"/>
        </a:spcAft>
        <a:defRPr sz="4000" b="1">
          <a:solidFill>
            <a:srgbClr val="81104F"/>
          </a:solidFill>
          <a:latin typeface="Arial Narrow" charset="0"/>
          <a:ea typeface="ＭＳ Ｐゴシック" charset="0"/>
        </a:defRPr>
      </a:lvl9pPr>
    </p:titleStyle>
    <p:bodyStyle>
      <a:lvl1pPr marL="342891" indent="-342891" algn="l" defTabSz="457189" rtl="0" eaLnBrk="0" fontAlgn="base" hangingPunct="0">
        <a:spcBef>
          <a:spcPct val="20000"/>
        </a:spcBef>
        <a:spcAft>
          <a:spcPct val="0"/>
        </a:spcAft>
        <a:buClr>
          <a:srgbClr val="000000"/>
        </a:buClr>
        <a:buSzPct val="35000"/>
        <a:buFont typeface="Wingdings" panose="05000000000000000000" pitchFamily="2" charset="2"/>
        <a:buChar char="u"/>
        <a:defRPr sz="2000" kern="1200">
          <a:solidFill>
            <a:schemeClr val="tx1"/>
          </a:solidFill>
          <a:latin typeface="Arial Narrow"/>
          <a:ea typeface="MS PGothic" pitchFamily="34" charset="-128"/>
          <a:cs typeface="Arial Narrow"/>
        </a:defRPr>
      </a:lvl1pPr>
      <a:lvl2pPr marL="742932" indent="-285744" algn="l" defTabSz="457189" rtl="0" eaLnBrk="0" fontAlgn="base" hangingPunct="0">
        <a:spcBef>
          <a:spcPct val="20000"/>
        </a:spcBef>
        <a:spcAft>
          <a:spcPct val="0"/>
        </a:spcAft>
        <a:buClr>
          <a:srgbClr val="1C4F27"/>
        </a:buClr>
        <a:buSzPct val="35000"/>
        <a:buFont typeface="Wingdings" panose="05000000000000000000" pitchFamily="2" charset="2"/>
        <a:buChar char="u"/>
        <a:defRPr sz="2000" kern="1200">
          <a:solidFill>
            <a:srgbClr val="1C4F27"/>
          </a:solidFill>
          <a:latin typeface="Arial Narrow"/>
          <a:ea typeface="MS PGothic" pitchFamily="34" charset="-128"/>
          <a:cs typeface="Arial Narrow"/>
        </a:defRPr>
      </a:lvl2pPr>
      <a:lvl3pPr marL="1142971" indent="-228594" algn="l" defTabSz="457189" rtl="0" eaLnBrk="0" fontAlgn="base" hangingPunct="0">
        <a:spcBef>
          <a:spcPct val="20000"/>
        </a:spcBef>
        <a:spcAft>
          <a:spcPct val="0"/>
        </a:spcAft>
        <a:buClr>
          <a:srgbClr val="6B7E26"/>
        </a:buClr>
        <a:buSzPct val="35000"/>
        <a:buFont typeface="Wingdings" panose="05000000000000000000" pitchFamily="2" charset="2"/>
        <a:buChar char="u"/>
        <a:defRPr sz="2000" kern="1200">
          <a:solidFill>
            <a:srgbClr val="6B7E26"/>
          </a:solidFill>
          <a:latin typeface="Arial Narrow"/>
          <a:ea typeface="MS PGothic" pitchFamily="34" charset="-128"/>
          <a:cs typeface="Arial Narrow"/>
        </a:defRPr>
      </a:lvl3pPr>
      <a:lvl4pPr marL="1600160"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349"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3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8" Type="http://schemas.openxmlformats.org/officeDocument/2006/relationships/image" Target="../media/image175.svg"/><Relationship Id="rId13" Type="http://schemas.openxmlformats.org/officeDocument/2006/relationships/hyperlink" Target="https://clinicaltrials.gov/study/NCT06906341" TargetMode="External"/><Relationship Id="rId3" Type="http://schemas.openxmlformats.org/officeDocument/2006/relationships/image" Target="../media/image171.svg"/><Relationship Id="rId7" Type="http://schemas.openxmlformats.org/officeDocument/2006/relationships/image" Target="../media/image174.png"/><Relationship Id="rId12" Type="http://schemas.openxmlformats.org/officeDocument/2006/relationships/image" Target="../media/image148.png"/><Relationship Id="rId2" Type="http://schemas.openxmlformats.org/officeDocument/2006/relationships/notesSlide" Target="../notesSlides/notesSlide33.xml"/><Relationship Id="rId1" Type="http://schemas.openxmlformats.org/officeDocument/2006/relationships/slideLayout" Target="../slideLayouts/slideLayout365.xml"/><Relationship Id="rId6" Type="http://schemas.openxmlformats.org/officeDocument/2006/relationships/image" Target="../media/image173.svg"/><Relationship Id="rId11" Type="http://schemas.openxmlformats.org/officeDocument/2006/relationships/image" Target="../media/image178.svg"/><Relationship Id="rId5" Type="http://schemas.openxmlformats.org/officeDocument/2006/relationships/image" Target="../media/image172.svg"/><Relationship Id="rId10" Type="http://schemas.openxmlformats.org/officeDocument/2006/relationships/image" Target="../media/image177.svg"/><Relationship Id="rId4" Type="http://schemas.openxmlformats.org/officeDocument/2006/relationships/image" Target="../media/image170.svg"/><Relationship Id="rId9" Type="http://schemas.openxmlformats.org/officeDocument/2006/relationships/image" Target="../media/image176.svg"/></Relationships>
</file>

<file path=ppt/slides/_rels/slide101.xml.rels><?xml version="1.0" encoding="UTF-8" standalone="yes"?>
<Relationships xmlns="http://schemas.openxmlformats.org/package/2006/relationships"><Relationship Id="rId8" Type="http://schemas.openxmlformats.org/officeDocument/2006/relationships/image" Target="../media/image175.svg"/><Relationship Id="rId13" Type="http://schemas.openxmlformats.org/officeDocument/2006/relationships/hyperlink" Target="https://clinicaltrials.gov/study/NCT06906341" TargetMode="External"/><Relationship Id="rId3" Type="http://schemas.openxmlformats.org/officeDocument/2006/relationships/image" Target="../media/image171.svg"/><Relationship Id="rId7" Type="http://schemas.openxmlformats.org/officeDocument/2006/relationships/image" Target="../media/image174.png"/><Relationship Id="rId12" Type="http://schemas.openxmlformats.org/officeDocument/2006/relationships/image" Target="../media/image148.png"/><Relationship Id="rId2" Type="http://schemas.openxmlformats.org/officeDocument/2006/relationships/notesSlide" Target="../notesSlides/notesSlide34.xml"/><Relationship Id="rId1" Type="http://schemas.openxmlformats.org/officeDocument/2006/relationships/slideLayout" Target="../slideLayouts/slideLayout365.xml"/><Relationship Id="rId6" Type="http://schemas.openxmlformats.org/officeDocument/2006/relationships/image" Target="../media/image173.svg"/><Relationship Id="rId11" Type="http://schemas.openxmlformats.org/officeDocument/2006/relationships/image" Target="../media/image178.svg"/><Relationship Id="rId5" Type="http://schemas.openxmlformats.org/officeDocument/2006/relationships/image" Target="../media/image172.svg"/><Relationship Id="rId10" Type="http://schemas.openxmlformats.org/officeDocument/2006/relationships/image" Target="../media/image177.svg"/><Relationship Id="rId4" Type="http://schemas.openxmlformats.org/officeDocument/2006/relationships/image" Target="../media/image170.svg"/><Relationship Id="rId9" Type="http://schemas.openxmlformats.org/officeDocument/2006/relationships/image" Target="../media/image176.svg"/></Relationships>
</file>

<file path=ppt/slides/_rels/slide102.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351.xml"/></Relationships>
</file>

<file path=ppt/slides/_rels/slide103.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image" Target="../media/image179.png"/><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image" Target="../media/image122.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35.xml"/><Relationship Id="rId1" Type="http://schemas.openxmlformats.org/officeDocument/2006/relationships/slideLayout" Target="../slideLayouts/slideLayout385.xml"/><Relationship Id="rId4" Type="http://schemas.openxmlformats.org/officeDocument/2006/relationships/image" Target="../media/image181.png"/></Relationships>
</file>

<file path=ppt/slides/_rels/slide1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6.xml"/><Relationship Id="rId1" Type="http://schemas.openxmlformats.org/officeDocument/2006/relationships/slideLayout" Target="../slideLayouts/slideLayout40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7.xml"/><Relationship Id="rId1" Type="http://schemas.openxmlformats.org/officeDocument/2006/relationships/slideLayout" Target="../slideLayouts/slideLayout40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8.xml"/></Relationships>
</file>

<file path=ppt/slides/_rels/slide1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9.xml"/><Relationship Id="rId1" Type="http://schemas.openxmlformats.org/officeDocument/2006/relationships/slideLayout" Target="../slideLayouts/slideLayout218.xml"/></Relationships>
</file>

<file path=ppt/slides/_rels/slide118.xml.rels><?xml version="1.0" encoding="UTF-8" standalone="yes"?>
<Relationships xmlns="http://schemas.openxmlformats.org/package/2006/relationships"><Relationship Id="rId3" Type="http://schemas.microsoft.com/office/2007/relationships/hdphoto" Target="../media/hdphoto29.wdp"/><Relationship Id="rId2" Type="http://schemas.openxmlformats.org/officeDocument/2006/relationships/image" Target="../media/image182.png"/><Relationship Id="rId1" Type="http://schemas.openxmlformats.org/officeDocument/2006/relationships/slideLayout" Target="../slideLayouts/slideLayout21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8.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xml"/><Relationship Id="rId1" Type="http://schemas.openxmlformats.org/officeDocument/2006/relationships/slideLayout" Target="../slideLayouts/slideLayout461.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08.xml"/></Relationships>
</file>

<file path=ppt/slides/_rels/slide121.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10.xml"/></Relationships>
</file>

<file path=ppt/slides/_rels/slide122.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10.xml"/></Relationships>
</file>

<file path=ppt/slides/_rels/slide12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42.xml"/><Relationship Id="rId1" Type="http://schemas.openxmlformats.org/officeDocument/2006/relationships/slideLayout" Target="../slideLayouts/slideLayout210.xml"/><Relationship Id="rId4" Type="http://schemas.microsoft.com/office/2007/relationships/hdphoto" Target="../media/hdphoto30.wdp"/></Relationships>
</file>

<file path=ppt/slides/_rels/slide124.xml.rels><?xml version="1.0" encoding="UTF-8" standalone="yes"?>
<Relationships xmlns="http://schemas.openxmlformats.org/package/2006/relationships"><Relationship Id="rId2" Type="http://schemas.openxmlformats.org/officeDocument/2006/relationships/image" Target="../media/image185.emf"/><Relationship Id="rId1" Type="http://schemas.openxmlformats.org/officeDocument/2006/relationships/slideLayout" Target="../slideLayouts/slideLayout213.xml"/></Relationships>
</file>

<file path=ppt/slides/_rels/slide12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43.xml"/><Relationship Id="rId1" Type="http://schemas.openxmlformats.org/officeDocument/2006/relationships/slideLayout" Target="../slideLayouts/slideLayout218.xml"/><Relationship Id="rId5" Type="http://schemas.openxmlformats.org/officeDocument/2006/relationships/image" Target="../media/image188.png"/><Relationship Id="rId4" Type="http://schemas.openxmlformats.org/officeDocument/2006/relationships/image" Target="../media/image187.png"/></Relationships>
</file>

<file path=ppt/slides/_rels/slide126.xml.rels><?xml version="1.0" encoding="UTF-8" standalone="yes"?>
<Relationships xmlns="http://schemas.openxmlformats.org/package/2006/relationships"><Relationship Id="rId3" Type="http://schemas.openxmlformats.org/officeDocument/2006/relationships/image" Target="../media/image189.emf"/><Relationship Id="rId2" Type="http://schemas.openxmlformats.org/officeDocument/2006/relationships/notesSlide" Target="../notesSlides/notesSlide44.xml"/><Relationship Id="rId1" Type="http://schemas.openxmlformats.org/officeDocument/2006/relationships/slideLayout" Target="../slideLayouts/slideLayout210.xml"/><Relationship Id="rId4" Type="http://schemas.openxmlformats.org/officeDocument/2006/relationships/image" Target="../media/image190.emf"/></Relationships>
</file>

<file path=ppt/slides/_rels/slide127.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emf"/><Relationship Id="rId1" Type="http://schemas.openxmlformats.org/officeDocument/2006/relationships/slideLayout" Target="../slideLayouts/slideLayout213.xml"/><Relationship Id="rId4" Type="http://schemas.microsoft.com/office/2007/relationships/hdphoto" Target="../media/hdphoto31.wdp"/></Relationships>
</file>

<file path=ppt/slides/_rels/slide12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45.xml"/><Relationship Id="rId1" Type="http://schemas.openxmlformats.org/officeDocument/2006/relationships/slideLayout" Target="../slideLayouts/slideLayout218.xml"/></Relationships>
</file>

<file path=ppt/slides/_rels/slide129.xml.rels><?xml version="1.0" encoding="UTF-8" standalone="yes"?>
<Relationships xmlns="http://schemas.openxmlformats.org/package/2006/relationships"><Relationship Id="rId3" Type="http://schemas.microsoft.com/office/2007/relationships/hdphoto" Target="../media/hdphoto32.wdp"/><Relationship Id="rId2" Type="http://schemas.openxmlformats.org/officeDocument/2006/relationships/image" Target="../media/image194.png"/><Relationship Id="rId1" Type="http://schemas.openxmlformats.org/officeDocument/2006/relationships/slideLayout" Target="../slideLayouts/slideLayout210.xml"/></Relationships>
</file>

<file path=ppt/slides/_rels/slide13.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jpeg"/><Relationship Id="rId2" Type="http://schemas.openxmlformats.org/officeDocument/2006/relationships/notesSlide" Target="../notesSlides/notesSlide4.xml"/><Relationship Id="rId1" Type="http://schemas.openxmlformats.org/officeDocument/2006/relationships/slideLayout" Target="../slideLayouts/slideLayout107.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18.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18.xml"/></Relationships>
</file>

<file path=ppt/slides/_rels/slide132.xml.rels><?xml version="1.0" encoding="UTF-8" standalone="yes"?>
<Relationships xmlns="http://schemas.openxmlformats.org/package/2006/relationships"><Relationship Id="rId3" Type="http://schemas.openxmlformats.org/officeDocument/2006/relationships/hyperlink" Target="http://www.uptodate.com/contents/atovaquone-drug-information?source=see_link" TargetMode="External"/><Relationship Id="rId2" Type="http://schemas.openxmlformats.org/officeDocument/2006/relationships/hyperlink" Target="http://www.uptodate.com/contents/trimethoprim-sulfamethoxazole-co-trimoxazole-drug-information?source=see_link" TargetMode="External"/><Relationship Id="rId1" Type="http://schemas.openxmlformats.org/officeDocument/2006/relationships/slideLayout" Target="../slideLayouts/slideLayout208.xml"/><Relationship Id="rId5" Type="http://schemas.openxmlformats.org/officeDocument/2006/relationships/hyperlink" Target="http://www.uptodate.com/contents/prednisone-drug-information?source=see_link" TargetMode="External"/><Relationship Id="rId4" Type="http://schemas.openxmlformats.org/officeDocument/2006/relationships/hyperlink" Target="http://www.uptodate.com/contents/pentamidine-drug-information?source=see_link"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6.xml"/><Relationship Id="rId1" Type="http://schemas.openxmlformats.org/officeDocument/2006/relationships/tags" Target="../tags/tag55.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6.xml"/><Relationship Id="rId1" Type="http://schemas.openxmlformats.org/officeDocument/2006/relationships/tags" Target="../tags/tag56.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xml"/><Relationship Id="rId1" Type="http://schemas.openxmlformats.org/officeDocument/2006/relationships/slideLayout" Target="../slideLayouts/slideLayout107.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47.xml"/></Relationships>
</file>

<file path=ppt/slides/_rels/slide1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6.xml"/><Relationship Id="rId1" Type="http://schemas.openxmlformats.org/officeDocument/2006/relationships/tags" Target="../tags/tag48.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87.png"/><Relationship Id="rId2" Type="http://schemas.openxmlformats.org/officeDocument/2006/relationships/slideLayout" Target="../slideLayouts/slideLayout178.xml"/><Relationship Id="rId1" Type="http://schemas.openxmlformats.org/officeDocument/2006/relationships/tags" Target="../tags/tag49.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8.png"/><Relationship Id="rId1" Type="http://schemas.openxmlformats.org/officeDocument/2006/relationships/slideLayout" Target="../slideLayouts/slideLayout178.xml"/><Relationship Id="rId4" Type="http://schemas.openxmlformats.org/officeDocument/2006/relationships/image" Target="../media/image89.png"/></Relationships>
</file>

<file path=ppt/slides/_rels/slide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0.png"/><Relationship Id="rId1" Type="http://schemas.openxmlformats.org/officeDocument/2006/relationships/slideLayout" Target="../slideLayouts/slideLayout60.xml"/></Relationships>
</file>

<file path=ppt/slides/_rels/slide2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26.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notesSlide" Target="../notesSlides/notesSlide10.xml"/><Relationship Id="rId1" Type="http://schemas.openxmlformats.org/officeDocument/2006/relationships/slideLayout" Target="../slideLayouts/slideLayout61.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svg"/></Relationships>
</file>

<file path=ppt/slides/_rels/slide2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62.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28.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60.xml"/></Relationships>
</file>

<file path=ppt/slides/_rels/slide2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3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2.xml"/><Relationship Id="rId1" Type="http://schemas.openxmlformats.org/officeDocument/2006/relationships/slideLayout" Target="../slideLayouts/slideLayout200.xml"/><Relationship Id="rId4" Type="http://schemas.openxmlformats.org/officeDocument/2006/relationships/image" Target="../media/image104.png"/></Relationships>
</file>

<file path=ppt/slides/_rels/slide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2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3.xml"/></Relationships>
</file>

<file path=ppt/slides/_rels/slide3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3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2.xml"/></Relationships>
</file>

<file path=ppt/slides/_rels/slide36.xml.rels><?xml version="1.0" encoding="UTF-8" standalone="yes"?>
<Relationships xmlns="http://schemas.openxmlformats.org/package/2006/relationships"><Relationship Id="rId3" Type="http://schemas.openxmlformats.org/officeDocument/2006/relationships/image" Target="../media/image109.svg"/><Relationship Id="rId2" Type="http://schemas.openxmlformats.org/officeDocument/2006/relationships/image" Target="../media/image108.svg"/><Relationship Id="rId1" Type="http://schemas.openxmlformats.org/officeDocument/2006/relationships/slideLayout" Target="../slideLayouts/slideLayout249.xml"/><Relationship Id="rId5" Type="http://schemas.openxmlformats.org/officeDocument/2006/relationships/image" Target="../media/image111.png"/><Relationship Id="rId4" Type="http://schemas.openxmlformats.org/officeDocument/2006/relationships/image" Target="../media/image110.svg"/></Relationships>
</file>

<file path=ppt/slides/_rels/slide3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2.png"/><Relationship Id="rId1" Type="http://schemas.openxmlformats.org/officeDocument/2006/relationships/slideLayout" Target="../slideLayouts/slideLayout268.xml"/><Relationship Id="rId6" Type="http://schemas.openxmlformats.org/officeDocument/2006/relationships/image" Target="../media/image114.jpeg"/><Relationship Id="rId5" Type="http://schemas.microsoft.com/office/2007/relationships/hdphoto" Target="../media/hdphoto4.wdp"/><Relationship Id="rId4" Type="http://schemas.openxmlformats.org/officeDocument/2006/relationships/image" Target="../media/image113.png"/></Relationships>
</file>

<file path=ppt/slides/_rels/slide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15.png"/><Relationship Id="rId1" Type="http://schemas.openxmlformats.org/officeDocument/2006/relationships/slideLayout" Target="../slideLayouts/slideLayout178.xml"/><Relationship Id="rId5" Type="http://schemas.microsoft.com/office/2007/relationships/hdphoto" Target="../media/hdphoto6.wdp"/><Relationship Id="rId4" Type="http://schemas.openxmlformats.org/officeDocument/2006/relationships/image" Target="../media/image116.png"/></Relationships>
</file>

<file path=ppt/slides/_rels/slide3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249.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1.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2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46.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image" Target="../media/image122.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99.xml"/></Relationships>
</file>

<file path=ppt/slides/_rels/slide5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24.png"/><Relationship Id="rId1" Type="http://schemas.openxmlformats.org/officeDocument/2006/relationships/slideLayout" Target="../slideLayouts/slideLayout436.xml"/><Relationship Id="rId4" Type="http://schemas.microsoft.com/office/2007/relationships/hdphoto" Target="../media/hdphoto8.wdp"/></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27.png"/><Relationship Id="rId2" Type="http://schemas.openxmlformats.org/officeDocument/2006/relationships/slideLayout" Target="../slideLayouts/slideLayout319.xml"/><Relationship Id="rId1" Type="http://schemas.openxmlformats.org/officeDocument/2006/relationships/tags" Target="../tags/tag50.xml"/><Relationship Id="rId6" Type="http://schemas.openxmlformats.org/officeDocument/2006/relationships/image" Target="../media/image126.png"/><Relationship Id="rId5" Type="http://schemas.openxmlformats.org/officeDocument/2006/relationships/image" Target="../media/image125.emf"/><Relationship Id="rId4" Type="http://schemas.openxmlformats.org/officeDocument/2006/relationships/oleObject" Target="../embeddings/oleObject2.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36.xml"/><Relationship Id="rId1" Type="http://schemas.openxmlformats.org/officeDocument/2006/relationships/tags" Target="../tags/tag51.xml"/><Relationship Id="rId6" Type="http://schemas.microsoft.com/office/2007/relationships/hdphoto" Target="../media/hdphoto9.wdp"/><Relationship Id="rId5" Type="http://schemas.openxmlformats.org/officeDocument/2006/relationships/image" Target="../media/image129.png"/><Relationship Id="rId4" Type="http://schemas.openxmlformats.org/officeDocument/2006/relationships/image" Target="../media/image128.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36.xml"/><Relationship Id="rId1" Type="http://schemas.openxmlformats.org/officeDocument/2006/relationships/tags" Target="../tags/tag52.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36.xml"/><Relationship Id="rId1" Type="http://schemas.openxmlformats.org/officeDocument/2006/relationships/tags" Target="../tags/tag53.xml"/><Relationship Id="rId5" Type="http://schemas.microsoft.com/office/2007/relationships/hdphoto" Target="../media/hdphoto10.wdp"/><Relationship Id="rId4" Type="http://schemas.openxmlformats.org/officeDocument/2006/relationships/image" Target="../media/image130.png"/></Relationships>
</file>

<file path=ppt/slides/_rels/slide58.xml.rels><?xml version="1.0" encoding="UTF-8" standalone="yes"?>
<Relationships xmlns="http://schemas.openxmlformats.org/package/2006/relationships"><Relationship Id="rId3" Type="http://schemas.openxmlformats.org/officeDocument/2006/relationships/image" Target="../media/image131.svg"/><Relationship Id="rId2" Type="http://schemas.openxmlformats.org/officeDocument/2006/relationships/notesSlide" Target="../notesSlides/notesSlide22.xml"/><Relationship Id="rId1" Type="http://schemas.openxmlformats.org/officeDocument/2006/relationships/slideLayout" Target="../slideLayouts/slideLayout436.xml"/><Relationship Id="rId4" Type="http://schemas.openxmlformats.org/officeDocument/2006/relationships/image" Target="../media/image132.png"/></Relationships>
</file>

<file path=ppt/slides/_rels/slide59.xml.rels><?xml version="1.0" encoding="UTF-8" standalone="yes"?>
<Relationships xmlns="http://schemas.openxmlformats.org/package/2006/relationships"><Relationship Id="rId3" Type="http://schemas.microsoft.com/office/2007/relationships/hdphoto" Target="../media/hdphoto11.wdp"/><Relationship Id="rId7" Type="http://schemas.openxmlformats.org/officeDocument/2006/relationships/image" Target="../media/image136.png"/><Relationship Id="rId2" Type="http://schemas.openxmlformats.org/officeDocument/2006/relationships/image" Target="../media/image133.png"/><Relationship Id="rId1" Type="http://schemas.openxmlformats.org/officeDocument/2006/relationships/slideLayout" Target="../slideLayouts/slideLayout436.xml"/><Relationship Id="rId6" Type="http://schemas.openxmlformats.org/officeDocument/2006/relationships/image" Target="../media/image135.png"/><Relationship Id="rId5" Type="http://schemas.microsoft.com/office/2007/relationships/hdphoto" Target="../media/hdphoto12.wdp"/><Relationship Id="rId4" Type="http://schemas.openxmlformats.org/officeDocument/2006/relationships/image" Target="../media/image134.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60.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137.png"/><Relationship Id="rId1" Type="http://schemas.openxmlformats.org/officeDocument/2006/relationships/slideLayout" Target="../slideLayouts/slideLayout436.xml"/></Relationships>
</file>

<file path=ppt/slides/_rels/slide61.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138.png"/><Relationship Id="rId1" Type="http://schemas.openxmlformats.org/officeDocument/2006/relationships/slideLayout" Target="../slideLayouts/slideLayout436.xml"/></Relationships>
</file>

<file path=ppt/slides/_rels/slide62.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chart" Target="../charts/chart1.xml"/><Relationship Id="rId1" Type="http://schemas.openxmlformats.org/officeDocument/2006/relationships/slideLayout" Target="../slideLayouts/slideLayout436.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63.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9.png"/><Relationship Id="rId7" Type="http://schemas.openxmlformats.org/officeDocument/2006/relationships/hyperlink" Target="https://en.wikipedia.org/wiki/United_States_at_the_Universiade" TargetMode="External"/><Relationship Id="rId2" Type="http://schemas.openxmlformats.org/officeDocument/2006/relationships/notesSlide" Target="../notesSlides/notesSlide23.xml"/><Relationship Id="rId1" Type="http://schemas.openxmlformats.org/officeDocument/2006/relationships/slideLayout" Target="../slideLayouts/slideLayout436.xml"/><Relationship Id="rId6" Type="http://schemas.openxmlformats.org/officeDocument/2006/relationships/image" Target="../media/image141.png"/><Relationship Id="rId11" Type="http://schemas.openxmlformats.org/officeDocument/2006/relationships/hyperlink" Target="https://www.publicdomainpictures.net/view-image.php?image=331752&amp;picture=navrh-vlajky-tema-brazilie" TargetMode="External"/><Relationship Id="rId5" Type="http://schemas.microsoft.com/office/2007/relationships/hdphoto" Target="../media/hdphoto15.wdp"/><Relationship Id="rId10" Type="http://schemas.openxmlformats.org/officeDocument/2006/relationships/image" Target="../media/image143.jpeg"/><Relationship Id="rId4" Type="http://schemas.openxmlformats.org/officeDocument/2006/relationships/image" Target="../media/image140.png"/><Relationship Id="rId9" Type="http://schemas.openxmlformats.org/officeDocument/2006/relationships/hyperlink" Target="https://openclipart.org/detail/121669" TargetMode="Externa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3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13.xml"/></Relationships>
</file>

<file path=ppt/slides/_rels/slide6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4.xml"/><Relationship Id="rId1" Type="http://schemas.openxmlformats.org/officeDocument/2006/relationships/slideLayout" Target="../slideLayouts/slideLayout434.xml"/><Relationship Id="rId4" Type="http://schemas.microsoft.com/office/2007/relationships/hdphoto" Target="../media/hdphoto16.wdp"/></Relationships>
</file>

<file path=ppt/slides/_rels/slide67.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145.png"/><Relationship Id="rId1" Type="http://schemas.openxmlformats.org/officeDocument/2006/relationships/slideLayout" Target="../slideLayouts/slideLayout434.xml"/></Relationships>
</file>

<file path=ppt/slides/_rels/slide68.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146.png"/><Relationship Id="rId1" Type="http://schemas.openxmlformats.org/officeDocument/2006/relationships/slideLayout" Target="../slideLayouts/slideLayout43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20.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image" Target="../media/image147.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351.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55.xml"/><Relationship Id="rId1" Type="http://schemas.openxmlformats.org/officeDocument/2006/relationships/tags" Target="../tags/tag54.xml"/><Relationship Id="rId4" Type="http://schemas.openxmlformats.org/officeDocument/2006/relationships/image" Target="../media/image148.png"/></Relationships>
</file>

<file path=ppt/slides/_rels/slide8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6.xml"/><Relationship Id="rId1" Type="http://schemas.openxmlformats.org/officeDocument/2006/relationships/slideLayout" Target="../slideLayouts/slideLayout351.xml"/></Relationships>
</file>

<file path=ppt/slides/_rels/slide84.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351.xml"/></Relationships>
</file>

<file path=ppt/slides/_rels/slide8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8.png"/><Relationship Id="rId1" Type="http://schemas.openxmlformats.org/officeDocument/2006/relationships/slideLayout" Target="../slideLayouts/slideLayout351.xml"/><Relationship Id="rId4" Type="http://schemas.microsoft.com/office/2007/relationships/hdphoto" Target="../media/hdphoto19.wdp"/></Relationships>
</file>

<file path=ppt/slides/_rels/slide86.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48.png"/><Relationship Id="rId1" Type="http://schemas.openxmlformats.org/officeDocument/2006/relationships/slideLayout" Target="../slideLayouts/slideLayout351.xml"/><Relationship Id="rId4" Type="http://schemas.microsoft.com/office/2007/relationships/hdphoto" Target="../media/hdphoto20.wdp"/></Relationships>
</file>

<file path=ppt/slides/_rels/slide8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48.png"/><Relationship Id="rId1" Type="http://schemas.openxmlformats.org/officeDocument/2006/relationships/slideLayout" Target="../slideLayouts/slideLayout351.xml"/><Relationship Id="rId4" Type="http://schemas.microsoft.com/office/2007/relationships/hdphoto" Target="../media/hdphoto21.wdp"/></Relationships>
</file>

<file path=ppt/slides/_rels/slide8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48.png"/><Relationship Id="rId1" Type="http://schemas.openxmlformats.org/officeDocument/2006/relationships/slideLayout" Target="../slideLayouts/slideLayout351.xml"/><Relationship Id="rId4" Type="http://schemas.microsoft.com/office/2007/relationships/hdphoto" Target="../media/hdphoto22.wdp"/></Relationships>
</file>

<file path=ppt/slides/_rels/slide89.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48.png"/><Relationship Id="rId1" Type="http://schemas.openxmlformats.org/officeDocument/2006/relationships/slideLayout" Target="../slideLayouts/slideLayout351.xml"/><Relationship Id="rId4" Type="http://schemas.microsoft.com/office/2007/relationships/hdphoto" Target="../media/hdphoto23.wdp"/></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6.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74.xml"/></Relationships>
</file>

<file path=ppt/slides/_rels/slide9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7.xml"/><Relationship Id="rId1" Type="http://schemas.openxmlformats.org/officeDocument/2006/relationships/slideLayout" Target="../slideLayouts/slideLayout350.xml"/><Relationship Id="rId4" Type="http://schemas.openxmlformats.org/officeDocument/2006/relationships/image" Target="../media/image148.png"/></Relationships>
</file>

<file path=ppt/slides/_rels/slide9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48.png"/><Relationship Id="rId1" Type="http://schemas.openxmlformats.org/officeDocument/2006/relationships/slideLayout" Target="../slideLayouts/slideLayout351.xml"/><Relationship Id="rId4" Type="http://schemas.microsoft.com/office/2007/relationships/hdphoto" Target="../media/hdphoto24.wdp"/></Relationships>
</file>

<file path=ppt/slides/_rels/slide93.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148.png"/><Relationship Id="rId3" Type="http://schemas.openxmlformats.org/officeDocument/2006/relationships/image" Target="../media/image157.png"/><Relationship Id="rId7" Type="http://schemas.openxmlformats.org/officeDocument/2006/relationships/image" Target="../media/image161.png"/><Relationship Id="rId12" Type="http://schemas.openxmlformats.org/officeDocument/2006/relationships/hyperlink" Target="https://clinicaltrials.gov/study/NCT05257408" TargetMode="External"/><Relationship Id="rId2" Type="http://schemas.openxmlformats.org/officeDocument/2006/relationships/notesSlide" Target="../notesSlides/notesSlide28.xml"/><Relationship Id="rId1" Type="http://schemas.openxmlformats.org/officeDocument/2006/relationships/slideLayout" Target="../slideLayouts/slideLayout361.xml"/><Relationship Id="rId6" Type="http://schemas.openxmlformats.org/officeDocument/2006/relationships/image" Target="../media/image160.png"/><Relationship Id="rId11" Type="http://schemas.openxmlformats.org/officeDocument/2006/relationships/image" Target="../media/image165.png"/><Relationship Id="rId5" Type="http://schemas.openxmlformats.org/officeDocument/2006/relationships/image" Target="../media/image159.png"/><Relationship Id="rId10" Type="http://schemas.openxmlformats.org/officeDocument/2006/relationships/image" Target="../media/image164.png"/><Relationship Id="rId4" Type="http://schemas.openxmlformats.org/officeDocument/2006/relationships/image" Target="../media/image158.png"/><Relationship Id="rId9" Type="http://schemas.openxmlformats.org/officeDocument/2006/relationships/image" Target="../media/image163.png"/></Relationships>
</file>

<file path=ppt/slides/_rels/slide9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29.xml"/><Relationship Id="rId1" Type="http://schemas.openxmlformats.org/officeDocument/2006/relationships/slideLayout" Target="../slideLayouts/slideLayout361.xml"/><Relationship Id="rId5" Type="http://schemas.openxmlformats.org/officeDocument/2006/relationships/image" Target="../media/image148.png"/><Relationship Id="rId4" Type="http://schemas.microsoft.com/office/2007/relationships/hdphoto" Target="../media/hdphoto25.wdp"/></Relationships>
</file>

<file path=ppt/slides/_rels/slide95.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0.xml"/><Relationship Id="rId1" Type="http://schemas.openxmlformats.org/officeDocument/2006/relationships/slideLayout" Target="../slideLayouts/slideLayout363.xml"/><Relationship Id="rId5" Type="http://schemas.openxmlformats.org/officeDocument/2006/relationships/image" Target="../media/image148.png"/><Relationship Id="rId4" Type="http://schemas.microsoft.com/office/2007/relationships/hdphoto" Target="../media/hdphoto26.wdp"/></Relationships>
</file>

<file path=ppt/slides/_rels/slide96.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48.png"/><Relationship Id="rId1" Type="http://schemas.openxmlformats.org/officeDocument/2006/relationships/slideLayout" Target="../slideLayouts/slideLayout351.xml"/><Relationship Id="rId4" Type="http://schemas.microsoft.com/office/2007/relationships/hdphoto" Target="../media/hdphoto27.wdp"/></Relationships>
</file>

<file path=ppt/slides/_rels/slide9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1.xml"/><Relationship Id="rId1" Type="http://schemas.openxmlformats.org/officeDocument/2006/relationships/slideLayout" Target="../slideLayouts/slideLayout363.xml"/><Relationship Id="rId4" Type="http://schemas.microsoft.com/office/2007/relationships/hdphoto" Target="../media/hdphoto28.wdp"/></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51.xml"/></Relationships>
</file>

<file path=ppt/slides/_rels/slide99.xml.rels><?xml version="1.0" encoding="UTF-8" standalone="yes"?>
<Relationships xmlns="http://schemas.openxmlformats.org/package/2006/relationships"><Relationship Id="rId3" Type="http://schemas.openxmlformats.org/officeDocument/2006/relationships/image" Target="../media/image170.svg"/><Relationship Id="rId2" Type="http://schemas.openxmlformats.org/officeDocument/2006/relationships/notesSlide" Target="../notesSlides/notesSlide32.xml"/><Relationship Id="rId1" Type="http://schemas.openxmlformats.org/officeDocument/2006/relationships/slideLayout" Target="../slideLayouts/slideLayout364.xml"/><Relationship Id="rId4" Type="http://schemas.openxmlformats.org/officeDocument/2006/relationships/image" Target="../media/image1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CB22E-18BC-F77D-ADF9-6D3137382C2A}"/>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1CDE3E8-16EB-5B74-9DA7-C1B56A37D578}"/>
              </a:ext>
            </a:extLst>
          </p:cNvPr>
          <p:cNvSpPr>
            <a:spLocks noGrp="1" noChangeArrowheads="1"/>
          </p:cNvSpPr>
          <p:nvPr>
            <p:ph type="title"/>
          </p:nvPr>
        </p:nvSpPr>
        <p:spPr>
          <a:xfrm>
            <a:off x="-26623" y="237003"/>
            <a:ext cx="12192000" cy="1143000"/>
          </a:xfrm>
        </p:spPr>
        <p:txBody>
          <a:bodyPr wrap="square" anchor="ctr">
            <a:noAutofit/>
          </a:bodyPr>
          <a:lstStyle/>
          <a:p>
            <a:r>
              <a:rPr lang="en-US" sz="3600" dirty="0"/>
              <a:t>Expert Second Opinion: Investigators Provide Perspectives </a:t>
            </a:r>
            <a:br>
              <a:rPr lang="en-US" sz="3600" dirty="0"/>
            </a:br>
            <a:r>
              <a:rPr lang="en-US" sz="3600" dirty="0"/>
              <a:t>on the Best-Practice Management of Ovarian Cancer</a:t>
            </a:r>
          </a:p>
        </p:txBody>
      </p:sp>
      <p:sp>
        <p:nvSpPr>
          <p:cNvPr id="12" name="Text Box 3">
            <a:extLst>
              <a:ext uri="{FF2B5EF4-FFF2-40B4-BE49-F238E27FC236}">
                <a16:creationId xmlns:a16="http://schemas.microsoft.com/office/drawing/2014/main" id="{2F56A43C-DA9A-84CF-A952-C13C76013275}"/>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hannon N Westin, MD, MPH, FASCO, FACOG</a:t>
            </a:r>
          </a:p>
        </p:txBody>
      </p:sp>
      <p:sp>
        <p:nvSpPr>
          <p:cNvPr id="13" name="Text Box 7">
            <a:extLst>
              <a:ext uri="{FF2B5EF4-FFF2-40B4-BE49-F238E27FC236}">
                <a16:creationId xmlns:a16="http://schemas.microsoft.com/office/drawing/2014/main" id="{3B78579E-6AC8-6799-392E-E45B7DB95239}"/>
              </a:ext>
            </a:extLst>
          </p:cNvPr>
          <p:cNvSpPr txBox="1">
            <a:spLocks noChangeArrowheads="1"/>
          </p:cNvSpPr>
          <p:nvPr/>
        </p:nvSpPr>
        <p:spPr bwMode="auto">
          <a:xfrm>
            <a:off x="4652364" y="362669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51AA5B6F-B665-10CB-15D7-A904BDF1F58F}"/>
              </a:ext>
            </a:extLst>
          </p:cNvPr>
          <p:cNvSpPr txBox="1">
            <a:spLocks noChangeArrowheads="1"/>
          </p:cNvSpPr>
          <p:nvPr/>
        </p:nvSpPr>
        <p:spPr bwMode="auto">
          <a:xfrm>
            <a:off x="0" y="251460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April 12,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1:30 PM – 3:00 PM AS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39430B22-A2C9-AD66-FD31-E18160539014}"/>
              </a:ext>
            </a:extLst>
          </p:cNvPr>
          <p:cNvSpPr txBox="1">
            <a:spLocks noChangeArrowheads="1"/>
          </p:cNvSpPr>
          <p:nvPr/>
        </p:nvSpPr>
        <p:spPr bwMode="auto">
          <a:xfrm>
            <a:off x="0" y="1447800"/>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lvl="0">
              <a:lnSpc>
                <a:spcPts val="3220"/>
              </a:lnSpc>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n Independent CME Symposium During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lang="en-US" sz="2800" b="0" i="1" dirty="0">
                <a:solidFill>
                  <a:srgbClr val="015593"/>
                </a:solidFill>
              </a:rPr>
              <a:t>SGO 2026 Annual </a:t>
            </a: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Meeting on Women’s Cancer®</a:t>
            </a:r>
          </a:p>
        </p:txBody>
      </p:sp>
      <p:sp>
        <p:nvSpPr>
          <p:cNvPr id="9" name="Text Box 6">
            <a:extLst>
              <a:ext uri="{FF2B5EF4-FFF2-40B4-BE49-F238E27FC236}">
                <a16:creationId xmlns:a16="http://schemas.microsoft.com/office/drawing/2014/main" id="{ED9D3808-AA64-D828-00A9-9EB755EA9129}"/>
              </a:ext>
            </a:extLst>
          </p:cNvPr>
          <p:cNvSpPr txBox="1">
            <a:spLocks noChangeArrowheads="1"/>
          </p:cNvSpPr>
          <p:nvPr/>
        </p:nvSpPr>
        <p:spPr bwMode="auto">
          <a:xfrm>
            <a:off x="157372" y="423258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icoletta Colombo,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Gottfried E Konecny,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lexander B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lawaiye</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462349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921161" cy="1501346"/>
          </a:xfrm>
        </p:spPr>
        <p:txBody>
          <a:bodyPr/>
          <a:lstStyle/>
          <a:p>
            <a:pPr marL="98425" indent="0">
              <a:buNone/>
            </a:pPr>
            <a:r>
              <a:rPr lang="en-US" sz="2500" b="0" dirty="0"/>
              <a:t>This activity is supported by educational grants from AstraZeneca Pharmaceuticals LP, </a:t>
            </a:r>
            <a:r>
              <a:rPr lang="en-US" sz="2500" b="0" dirty="0" err="1"/>
              <a:t>Corcept</a:t>
            </a:r>
            <a:r>
              <a:rPr lang="en-US" sz="2500" b="0" dirty="0"/>
              <a:t> Therapeutics Inc, and Merck.</a:t>
            </a:r>
          </a:p>
        </p:txBody>
      </p:sp>
      <p:sp>
        <p:nvSpPr>
          <p:cNvPr id="4" name="Title 1">
            <a:extLst>
              <a:ext uri="{FF2B5EF4-FFF2-40B4-BE49-F238E27FC236}">
                <a16:creationId xmlns:a16="http://schemas.microsoft.com/office/drawing/2014/main" id="{2633A3B0-DD8B-70C0-AA17-433483881EB3}"/>
              </a:ext>
            </a:extLst>
          </p:cNvPr>
          <p:cNvSpPr txBox="1">
            <a:spLocks/>
          </p:cNvSpPr>
          <p:nvPr/>
        </p:nvSpPr>
        <p:spPr bwMode="auto">
          <a:xfrm>
            <a:off x="912286" y="2758114"/>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defRPr/>
            </a:pPr>
            <a:r>
              <a:rPr lang="en-US" kern="0"/>
              <a:t>Research To Practice CME Planning Committee Members, </a:t>
            </a:r>
            <a:br>
              <a:rPr lang="en-US" kern="0"/>
            </a:br>
            <a:r>
              <a:rPr lang="en-US" kern="0"/>
              <a:t>Staff and Reviewers</a:t>
            </a:r>
            <a:endParaRPr lang="en-US" kern="0" dirty="0"/>
          </a:p>
        </p:txBody>
      </p:sp>
      <p:sp>
        <p:nvSpPr>
          <p:cNvPr id="5" name="Content Placeholder 2">
            <a:extLst>
              <a:ext uri="{FF2B5EF4-FFF2-40B4-BE49-F238E27FC236}">
                <a16:creationId xmlns:a16="http://schemas.microsoft.com/office/drawing/2014/main" id="{E1209744-5CE3-00C1-634E-D6BC46E1889C}"/>
              </a:ext>
            </a:extLst>
          </p:cNvPr>
          <p:cNvSpPr txBox="1">
            <a:spLocks/>
          </p:cNvSpPr>
          <p:nvPr/>
        </p:nvSpPr>
        <p:spPr bwMode="auto">
          <a:xfrm>
            <a:off x="1051639" y="4087894"/>
            <a:ext cx="9220825" cy="15013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lvl="0" indent="0">
              <a:buNone/>
              <a:defRPr/>
            </a:pPr>
            <a:r>
              <a:rPr lang="en-US" sz="2500" b="0" kern="0" dirty="0"/>
              <a:t>Planners, scientific staff and independent reviewers for Research To Practice have no relevant </a:t>
            </a:r>
            <a:r>
              <a:rPr lang="en-US" sz="2500" b="0" kern="0"/>
              <a:t>financial relationships to </a:t>
            </a:r>
            <a:r>
              <a:rPr lang="en-US" sz="2500" b="0" kern="0" dirty="0"/>
              <a:t>disclose.</a:t>
            </a:r>
          </a:p>
        </p:txBody>
      </p:sp>
    </p:spTree>
    <p:extLst>
      <p:ext uri="{BB962C8B-B14F-4D97-AF65-F5344CB8AC3E}">
        <p14:creationId xmlns:p14="http://schemas.microsoft.com/office/powerpoint/2010/main" val="319867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E319D-586B-E991-AA32-285441134796}"/>
            </a:ext>
          </a:extLst>
        </p:cNvPr>
        <p:cNvGrpSpPr/>
        <p:nvPr/>
      </p:nvGrpSpPr>
      <p:grpSpPr>
        <a:xfrm>
          <a:off x="0" y="0"/>
          <a:ext cx="0" cy="0"/>
          <a:chOff x="0" y="0"/>
          <a:chExt cx="0" cy="0"/>
        </a:xfrm>
      </p:grpSpPr>
      <p:grpSp>
        <p:nvGrpSpPr>
          <p:cNvPr id="4613" name="Group 4612">
            <a:extLst>
              <a:ext uri="{FF2B5EF4-FFF2-40B4-BE49-F238E27FC236}">
                <a16:creationId xmlns:a16="http://schemas.microsoft.com/office/drawing/2014/main" id="{A5B9D857-2CCD-ACA0-3818-C6F19F579533}"/>
              </a:ext>
            </a:extLst>
          </p:cNvPr>
          <p:cNvGrpSpPr>
            <a:grpSpLocks noChangeAspect="1"/>
          </p:cNvGrpSpPr>
          <p:nvPr/>
        </p:nvGrpSpPr>
        <p:grpSpPr>
          <a:xfrm>
            <a:off x="1343804" y="3543693"/>
            <a:ext cx="989423" cy="641520"/>
            <a:chOff x="815781" y="3336098"/>
            <a:chExt cx="1101783" cy="714372"/>
          </a:xfrm>
        </p:grpSpPr>
        <p:sp>
          <p:nvSpPr>
            <p:cNvPr id="3172" name="Freeform: Shape 3171">
              <a:extLst>
                <a:ext uri="{FF2B5EF4-FFF2-40B4-BE49-F238E27FC236}">
                  <a16:creationId xmlns:a16="http://schemas.microsoft.com/office/drawing/2014/main" id="{8FCEF11B-54D1-233A-53CA-F059ADF7CF8F}"/>
                </a:ext>
              </a:extLst>
            </p:cNvPr>
            <p:cNvSpPr/>
            <p:nvPr/>
          </p:nvSpPr>
          <p:spPr>
            <a:xfrm>
              <a:off x="1591112" y="3649237"/>
              <a:ext cx="187463" cy="131713"/>
            </a:xfrm>
            <a:custGeom>
              <a:avLst/>
              <a:gdLst>
                <a:gd name="connsiteX0" fmla="*/ 1479095 w 1797323"/>
                <a:gd name="connsiteY0" fmla="*/ 3705 h 1262816"/>
                <a:gd name="connsiteX1" fmla="*/ 1505961 w 1797323"/>
                <a:gd name="connsiteY1" fmla="*/ 19567 h 1262816"/>
                <a:gd name="connsiteX2" fmla="*/ 1520232 w 1797323"/>
                <a:gd name="connsiteY2" fmla="*/ 19073 h 1262816"/>
                <a:gd name="connsiteX3" fmla="*/ 1529919 w 1797323"/>
                <a:gd name="connsiteY3" fmla="*/ 24287 h 1262816"/>
                <a:gd name="connsiteX4" fmla="*/ 1533486 w 1797323"/>
                <a:gd name="connsiteY4" fmla="*/ 32245 h 1262816"/>
                <a:gd name="connsiteX5" fmla="*/ 1541445 w 1797323"/>
                <a:gd name="connsiteY5" fmla="*/ 37460 h 1262816"/>
                <a:gd name="connsiteX6" fmla="*/ 1542241 w 1797323"/>
                <a:gd name="connsiteY6" fmla="*/ 44677 h 1262816"/>
                <a:gd name="connsiteX7" fmla="*/ 1549348 w 1797323"/>
                <a:gd name="connsiteY7" fmla="*/ 53898 h 1262816"/>
                <a:gd name="connsiteX8" fmla="*/ 1551791 w 1797323"/>
                <a:gd name="connsiteY8" fmla="*/ 64272 h 1262816"/>
                <a:gd name="connsiteX9" fmla="*/ 1556072 w 1797323"/>
                <a:gd name="connsiteY9" fmla="*/ 69266 h 1262816"/>
                <a:gd name="connsiteX10" fmla="*/ 1556264 w 1797323"/>
                <a:gd name="connsiteY10" fmla="*/ 78212 h 1262816"/>
                <a:gd name="connsiteX11" fmla="*/ 1567022 w 1797323"/>
                <a:gd name="connsiteY11" fmla="*/ 104009 h 1262816"/>
                <a:gd name="connsiteX12" fmla="*/ 1568641 w 1797323"/>
                <a:gd name="connsiteY12" fmla="*/ 118032 h 1262816"/>
                <a:gd name="connsiteX13" fmla="*/ 1579207 w 1797323"/>
                <a:gd name="connsiteY13" fmla="*/ 135760 h 1262816"/>
                <a:gd name="connsiteX14" fmla="*/ 1581238 w 1797323"/>
                <a:gd name="connsiteY14" fmla="*/ 151842 h 1262816"/>
                <a:gd name="connsiteX15" fmla="*/ 1587028 w 1797323"/>
                <a:gd name="connsiteY15" fmla="*/ 158730 h 1262816"/>
                <a:gd name="connsiteX16" fmla="*/ 1586809 w 1797323"/>
                <a:gd name="connsiteY16" fmla="*/ 172946 h 1262816"/>
                <a:gd name="connsiteX17" fmla="*/ 1590952 w 1797323"/>
                <a:gd name="connsiteY17" fmla="*/ 181508 h 1262816"/>
                <a:gd name="connsiteX18" fmla="*/ 1604783 w 1797323"/>
                <a:gd name="connsiteY18" fmla="*/ 188753 h 1262816"/>
                <a:gd name="connsiteX19" fmla="*/ 1621579 w 1797323"/>
                <a:gd name="connsiteY19" fmla="*/ 188533 h 1262816"/>
                <a:gd name="connsiteX20" fmla="*/ 1633104 w 1797323"/>
                <a:gd name="connsiteY20" fmla="*/ 196684 h 1262816"/>
                <a:gd name="connsiteX21" fmla="*/ 1643148 w 1797323"/>
                <a:gd name="connsiteY21" fmla="*/ 195586 h 1262816"/>
                <a:gd name="connsiteX22" fmla="*/ 1662935 w 1797323"/>
                <a:gd name="connsiteY22" fmla="*/ 215894 h 1262816"/>
                <a:gd name="connsiteX23" fmla="*/ 1676876 w 1797323"/>
                <a:gd name="connsiteY23" fmla="*/ 220257 h 1262816"/>
                <a:gd name="connsiteX24" fmla="*/ 1676437 w 1797323"/>
                <a:gd name="connsiteY24" fmla="*/ 230905 h 1262816"/>
                <a:gd name="connsiteX25" fmla="*/ 1682529 w 1797323"/>
                <a:gd name="connsiteY25" fmla="*/ 243529 h 1262816"/>
                <a:gd name="connsiteX26" fmla="*/ 1680691 w 1797323"/>
                <a:gd name="connsiteY26" fmla="*/ 255686 h 1262816"/>
                <a:gd name="connsiteX27" fmla="*/ 1689994 w 1797323"/>
                <a:gd name="connsiteY27" fmla="*/ 270286 h 1262816"/>
                <a:gd name="connsiteX28" fmla="*/ 1714692 w 1797323"/>
                <a:gd name="connsiteY28" fmla="*/ 272372 h 1262816"/>
                <a:gd name="connsiteX29" fmla="*/ 1731844 w 1797323"/>
                <a:gd name="connsiteY29" fmla="*/ 269819 h 1262816"/>
                <a:gd name="connsiteX30" fmla="*/ 1738815 w 1797323"/>
                <a:gd name="connsiteY30" fmla="*/ 261010 h 1262816"/>
                <a:gd name="connsiteX31" fmla="*/ 1750094 w 1797323"/>
                <a:gd name="connsiteY31" fmla="*/ 253655 h 1262816"/>
                <a:gd name="connsiteX32" fmla="*/ 1763020 w 1797323"/>
                <a:gd name="connsiteY32" fmla="*/ 252064 h 1262816"/>
                <a:gd name="connsiteX33" fmla="*/ 1783410 w 1797323"/>
                <a:gd name="connsiteY33" fmla="*/ 242184 h 1262816"/>
                <a:gd name="connsiteX34" fmla="*/ 1796198 w 1797323"/>
                <a:gd name="connsiteY34" fmla="*/ 242569 h 1262816"/>
                <a:gd name="connsiteX35" fmla="*/ 1797021 w 1797323"/>
                <a:gd name="connsiteY35" fmla="*/ 246877 h 1262816"/>
                <a:gd name="connsiteX36" fmla="*/ 1794607 w 1797323"/>
                <a:gd name="connsiteY36" fmla="*/ 258238 h 1262816"/>
                <a:gd name="connsiteX37" fmla="*/ 1797323 w 1797323"/>
                <a:gd name="connsiteY37" fmla="*/ 272070 h 1262816"/>
                <a:gd name="connsiteX38" fmla="*/ 1792548 w 1797323"/>
                <a:gd name="connsiteY38" fmla="*/ 280248 h 1262816"/>
                <a:gd name="connsiteX39" fmla="*/ 1783382 w 1797323"/>
                <a:gd name="connsiteY39" fmla="*/ 288536 h 1262816"/>
                <a:gd name="connsiteX40" fmla="*/ 1773640 w 1797323"/>
                <a:gd name="connsiteY40" fmla="*/ 322867 h 1262816"/>
                <a:gd name="connsiteX41" fmla="*/ 1773201 w 1797323"/>
                <a:gd name="connsiteY41" fmla="*/ 332581 h 1262816"/>
                <a:gd name="connsiteX42" fmla="*/ 1762196 w 1797323"/>
                <a:gd name="connsiteY42" fmla="*/ 350858 h 1262816"/>
                <a:gd name="connsiteX43" fmla="*/ 1759260 w 1797323"/>
                <a:gd name="connsiteY43" fmla="*/ 359805 h 1262816"/>
                <a:gd name="connsiteX44" fmla="*/ 1752756 w 1797323"/>
                <a:gd name="connsiteY44" fmla="*/ 367214 h 1262816"/>
                <a:gd name="connsiteX45" fmla="*/ 1748365 w 1797323"/>
                <a:gd name="connsiteY45" fmla="*/ 382253 h 1262816"/>
                <a:gd name="connsiteX46" fmla="*/ 1742904 w 1797323"/>
                <a:gd name="connsiteY46" fmla="*/ 384092 h 1262816"/>
                <a:gd name="connsiteX47" fmla="*/ 1714720 w 1797323"/>
                <a:gd name="connsiteY47" fmla="*/ 373993 h 1262816"/>
                <a:gd name="connsiteX48" fmla="*/ 1702783 w 1797323"/>
                <a:gd name="connsiteY48" fmla="*/ 386727 h 1262816"/>
                <a:gd name="connsiteX49" fmla="*/ 1688979 w 1797323"/>
                <a:gd name="connsiteY49" fmla="*/ 392709 h 1262816"/>
                <a:gd name="connsiteX50" fmla="*/ 1696416 w 1797323"/>
                <a:gd name="connsiteY50" fmla="*/ 421634 h 1262816"/>
                <a:gd name="connsiteX51" fmla="*/ 1694961 w 1797323"/>
                <a:gd name="connsiteY51" fmla="*/ 443396 h 1262816"/>
                <a:gd name="connsiteX52" fmla="*/ 1696800 w 1797323"/>
                <a:gd name="connsiteY52" fmla="*/ 452397 h 1262816"/>
                <a:gd name="connsiteX53" fmla="*/ 1691503 w 1797323"/>
                <a:gd name="connsiteY53" fmla="*/ 470043 h 1262816"/>
                <a:gd name="connsiteX54" fmla="*/ 1673912 w 1797323"/>
                <a:gd name="connsiteY54" fmla="*/ 478331 h 1262816"/>
                <a:gd name="connsiteX55" fmla="*/ 1676327 w 1797323"/>
                <a:gd name="connsiteY55" fmla="*/ 482887 h 1262816"/>
                <a:gd name="connsiteX56" fmla="*/ 1677892 w 1797323"/>
                <a:gd name="connsiteY56" fmla="*/ 491614 h 1262816"/>
                <a:gd name="connsiteX57" fmla="*/ 1674654 w 1797323"/>
                <a:gd name="connsiteY57" fmla="*/ 485548 h 1262816"/>
                <a:gd name="connsiteX58" fmla="*/ 1670893 w 1797323"/>
                <a:gd name="connsiteY58" fmla="*/ 482887 h 1262816"/>
                <a:gd name="connsiteX59" fmla="*/ 1667820 w 1797323"/>
                <a:gd name="connsiteY59" fmla="*/ 480746 h 1262816"/>
                <a:gd name="connsiteX60" fmla="*/ 1665597 w 1797323"/>
                <a:gd name="connsiteY60" fmla="*/ 472349 h 1262816"/>
                <a:gd name="connsiteX61" fmla="*/ 1657199 w 1797323"/>
                <a:gd name="connsiteY61" fmla="*/ 469165 h 1262816"/>
                <a:gd name="connsiteX62" fmla="*/ 1652452 w 1797323"/>
                <a:gd name="connsiteY62" fmla="*/ 482914 h 1262816"/>
                <a:gd name="connsiteX63" fmla="*/ 1649790 w 1797323"/>
                <a:gd name="connsiteY63" fmla="*/ 490598 h 1262816"/>
                <a:gd name="connsiteX64" fmla="*/ 1641008 w 1797323"/>
                <a:gd name="connsiteY64" fmla="*/ 492190 h 1262816"/>
                <a:gd name="connsiteX65" fmla="*/ 1639307 w 1797323"/>
                <a:gd name="connsiteY65" fmla="*/ 492519 h 1262816"/>
                <a:gd name="connsiteX66" fmla="*/ 1633818 w 1797323"/>
                <a:gd name="connsiteY66" fmla="*/ 499380 h 1262816"/>
                <a:gd name="connsiteX67" fmla="*/ 1627781 w 1797323"/>
                <a:gd name="connsiteY67" fmla="*/ 506954 h 1262816"/>
                <a:gd name="connsiteX68" fmla="*/ 1609257 w 1797323"/>
                <a:gd name="connsiteY68" fmla="*/ 506817 h 1262816"/>
                <a:gd name="connsiteX69" fmla="*/ 1605689 w 1797323"/>
                <a:gd name="connsiteY69" fmla="*/ 508683 h 1262816"/>
                <a:gd name="connsiteX70" fmla="*/ 1604152 w 1797323"/>
                <a:gd name="connsiteY70" fmla="*/ 509451 h 1262816"/>
                <a:gd name="connsiteX71" fmla="*/ 1604097 w 1797323"/>
                <a:gd name="connsiteY71" fmla="*/ 516367 h 1262816"/>
                <a:gd name="connsiteX72" fmla="*/ 1607253 w 1797323"/>
                <a:gd name="connsiteY72" fmla="*/ 521142 h 1262816"/>
                <a:gd name="connsiteX73" fmla="*/ 1608488 w 1797323"/>
                <a:gd name="connsiteY73" fmla="*/ 522981 h 1262816"/>
                <a:gd name="connsiteX74" fmla="*/ 1606348 w 1797323"/>
                <a:gd name="connsiteY74" fmla="*/ 529759 h 1262816"/>
                <a:gd name="connsiteX75" fmla="*/ 1604317 w 1797323"/>
                <a:gd name="connsiteY75" fmla="*/ 531515 h 1262816"/>
                <a:gd name="connsiteX76" fmla="*/ 1579646 w 1797323"/>
                <a:gd name="connsiteY76" fmla="*/ 528497 h 1262816"/>
                <a:gd name="connsiteX77" fmla="*/ 1575831 w 1797323"/>
                <a:gd name="connsiteY77" fmla="*/ 526219 h 1262816"/>
                <a:gd name="connsiteX78" fmla="*/ 1573937 w 1797323"/>
                <a:gd name="connsiteY78" fmla="*/ 522981 h 1262816"/>
                <a:gd name="connsiteX79" fmla="*/ 1572950 w 1797323"/>
                <a:gd name="connsiteY79" fmla="*/ 521142 h 1262816"/>
                <a:gd name="connsiteX80" fmla="*/ 1571523 w 1797323"/>
                <a:gd name="connsiteY80" fmla="*/ 518480 h 1262816"/>
                <a:gd name="connsiteX81" fmla="*/ 1568394 w 1797323"/>
                <a:gd name="connsiteY81" fmla="*/ 517026 h 1262816"/>
                <a:gd name="connsiteX82" fmla="*/ 1561835 w 1797323"/>
                <a:gd name="connsiteY82" fmla="*/ 521142 h 1262816"/>
                <a:gd name="connsiteX83" fmla="*/ 1558899 w 1797323"/>
                <a:gd name="connsiteY83" fmla="*/ 522981 h 1262816"/>
                <a:gd name="connsiteX84" fmla="*/ 1556456 w 1797323"/>
                <a:gd name="connsiteY84" fmla="*/ 533162 h 1262816"/>
                <a:gd name="connsiteX85" fmla="*/ 1541747 w 1797323"/>
                <a:gd name="connsiteY85" fmla="*/ 551055 h 1262816"/>
                <a:gd name="connsiteX86" fmla="*/ 1532965 w 1797323"/>
                <a:gd name="connsiteY86" fmla="*/ 552921 h 1262816"/>
                <a:gd name="connsiteX87" fmla="*/ 1524485 w 1797323"/>
                <a:gd name="connsiteY87" fmla="*/ 560852 h 1262816"/>
                <a:gd name="connsiteX88" fmla="*/ 1518860 w 1797323"/>
                <a:gd name="connsiteY88" fmla="*/ 561868 h 1262816"/>
                <a:gd name="connsiteX89" fmla="*/ 1507224 w 1797323"/>
                <a:gd name="connsiteY89" fmla="*/ 570045 h 1262816"/>
                <a:gd name="connsiteX90" fmla="*/ 1494929 w 1797323"/>
                <a:gd name="connsiteY90" fmla="*/ 580803 h 1262816"/>
                <a:gd name="connsiteX91" fmla="*/ 1493310 w 1797323"/>
                <a:gd name="connsiteY91" fmla="*/ 585963 h 1262816"/>
                <a:gd name="connsiteX92" fmla="*/ 1490456 w 1797323"/>
                <a:gd name="connsiteY92" fmla="*/ 592906 h 1262816"/>
                <a:gd name="connsiteX93" fmla="*/ 1488590 w 1797323"/>
                <a:gd name="connsiteY93" fmla="*/ 591671 h 1262816"/>
                <a:gd name="connsiteX94" fmla="*/ 1471740 w 1797323"/>
                <a:gd name="connsiteY94" fmla="*/ 593427 h 1262816"/>
                <a:gd name="connsiteX95" fmla="*/ 1451021 w 1797323"/>
                <a:gd name="connsiteY95" fmla="*/ 600754 h 1262816"/>
                <a:gd name="connsiteX96" fmla="*/ 1434527 w 1797323"/>
                <a:gd name="connsiteY96" fmla="*/ 609948 h 1262816"/>
                <a:gd name="connsiteX97" fmla="*/ 1413177 w 1797323"/>
                <a:gd name="connsiteY97" fmla="*/ 627566 h 1262816"/>
                <a:gd name="connsiteX98" fmla="*/ 1402776 w 1797323"/>
                <a:gd name="connsiteY98" fmla="*/ 630201 h 1262816"/>
                <a:gd name="connsiteX99" fmla="*/ 1402501 w 1797323"/>
                <a:gd name="connsiteY99" fmla="*/ 627154 h 1262816"/>
                <a:gd name="connsiteX100" fmla="*/ 1409801 w 1797323"/>
                <a:gd name="connsiteY100" fmla="*/ 621227 h 1262816"/>
                <a:gd name="connsiteX101" fmla="*/ 1412601 w 1797323"/>
                <a:gd name="connsiteY101" fmla="*/ 615217 h 1262816"/>
                <a:gd name="connsiteX102" fmla="*/ 1411640 w 1797323"/>
                <a:gd name="connsiteY102" fmla="*/ 611210 h 1262816"/>
                <a:gd name="connsiteX103" fmla="*/ 1406892 w 1797323"/>
                <a:gd name="connsiteY103" fmla="*/ 606270 h 1262816"/>
                <a:gd name="connsiteX104" fmla="*/ 1406947 w 1797323"/>
                <a:gd name="connsiteY104" fmla="*/ 600782 h 1262816"/>
                <a:gd name="connsiteX105" fmla="*/ 1421272 w 1797323"/>
                <a:gd name="connsiteY105" fmla="*/ 582889 h 1262816"/>
                <a:gd name="connsiteX106" fmla="*/ 1428544 w 1797323"/>
                <a:gd name="connsiteY106" fmla="*/ 566368 h 1262816"/>
                <a:gd name="connsiteX107" fmla="*/ 1426404 w 1797323"/>
                <a:gd name="connsiteY107" fmla="*/ 560331 h 1262816"/>
                <a:gd name="connsiteX108" fmla="*/ 1420394 w 1797323"/>
                <a:gd name="connsiteY108" fmla="*/ 554869 h 1262816"/>
                <a:gd name="connsiteX109" fmla="*/ 1401568 w 1797323"/>
                <a:gd name="connsiteY109" fmla="*/ 552592 h 1262816"/>
                <a:gd name="connsiteX110" fmla="*/ 1391469 w 1797323"/>
                <a:gd name="connsiteY110" fmla="*/ 558958 h 1262816"/>
                <a:gd name="connsiteX111" fmla="*/ 1374866 w 1797323"/>
                <a:gd name="connsiteY111" fmla="*/ 578937 h 1262816"/>
                <a:gd name="connsiteX112" fmla="*/ 1350771 w 1797323"/>
                <a:gd name="connsiteY112" fmla="*/ 593948 h 1262816"/>
                <a:gd name="connsiteX113" fmla="*/ 1343170 w 1797323"/>
                <a:gd name="connsiteY113" fmla="*/ 607560 h 1262816"/>
                <a:gd name="connsiteX114" fmla="*/ 1337763 w 1797323"/>
                <a:gd name="connsiteY114" fmla="*/ 613323 h 1262816"/>
                <a:gd name="connsiteX115" fmla="*/ 1318772 w 1797323"/>
                <a:gd name="connsiteY115" fmla="*/ 619882 h 1262816"/>
                <a:gd name="connsiteX116" fmla="*/ 1305902 w 1797323"/>
                <a:gd name="connsiteY116" fmla="*/ 618674 h 1262816"/>
                <a:gd name="connsiteX117" fmla="*/ 1297916 w 1797323"/>
                <a:gd name="connsiteY117" fmla="*/ 626386 h 1262816"/>
                <a:gd name="connsiteX118" fmla="*/ 1295336 w 1797323"/>
                <a:gd name="connsiteY118" fmla="*/ 636046 h 1262816"/>
                <a:gd name="connsiteX119" fmla="*/ 1298273 w 1797323"/>
                <a:gd name="connsiteY119" fmla="*/ 645404 h 1262816"/>
                <a:gd name="connsiteX120" fmla="*/ 1310321 w 1797323"/>
                <a:gd name="connsiteY120" fmla="*/ 655256 h 1262816"/>
                <a:gd name="connsiteX121" fmla="*/ 1330984 w 1797323"/>
                <a:gd name="connsiteY121" fmla="*/ 659372 h 1262816"/>
                <a:gd name="connsiteX122" fmla="*/ 1335623 w 1797323"/>
                <a:gd name="connsiteY122" fmla="*/ 669609 h 1262816"/>
                <a:gd name="connsiteX123" fmla="*/ 1336803 w 1797323"/>
                <a:gd name="connsiteY123" fmla="*/ 683989 h 1262816"/>
                <a:gd name="connsiteX124" fmla="*/ 1343115 w 1797323"/>
                <a:gd name="connsiteY124" fmla="*/ 690658 h 1262816"/>
                <a:gd name="connsiteX125" fmla="*/ 1357357 w 1797323"/>
                <a:gd name="connsiteY125" fmla="*/ 690493 h 1262816"/>
                <a:gd name="connsiteX126" fmla="*/ 1375278 w 1797323"/>
                <a:gd name="connsiteY126" fmla="*/ 674932 h 1262816"/>
                <a:gd name="connsiteX127" fmla="*/ 1388341 w 1797323"/>
                <a:gd name="connsiteY127" fmla="*/ 669993 h 1262816"/>
                <a:gd name="connsiteX128" fmla="*/ 1394817 w 1797323"/>
                <a:gd name="connsiteY128" fmla="*/ 671722 h 1262816"/>
                <a:gd name="connsiteX129" fmla="*/ 1408813 w 1797323"/>
                <a:gd name="connsiteY129" fmla="*/ 680037 h 1262816"/>
                <a:gd name="connsiteX130" fmla="*/ 1427062 w 1797323"/>
                <a:gd name="connsiteY130" fmla="*/ 680723 h 1262816"/>
                <a:gd name="connsiteX131" fmla="*/ 1438863 w 1797323"/>
                <a:gd name="connsiteY131" fmla="*/ 687556 h 1262816"/>
                <a:gd name="connsiteX132" fmla="*/ 1437848 w 1797323"/>
                <a:gd name="connsiteY132" fmla="*/ 696338 h 1262816"/>
                <a:gd name="connsiteX133" fmla="*/ 1435131 w 1797323"/>
                <a:gd name="connsiteY133" fmla="*/ 700647 h 1262816"/>
                <a:gd name="connsiteX134" fmla="*/ 1420586 w 1797323"/>
                <a:gd name="connsiteY134" fmla="*/ 701937 h 1262816"/>
                <a:gd name="connsiteX135" fmla="*/ 1396793 w 1797323"/>
                <a:gd name="connsiteY135" fmla="*/ 711597 h 1262816"/>
                <a:gd name="connsiteX136" fmla="*/ 1381836 w 1797323"/>
                <a:gd name="connsiteY136" fmla="*/ 729187 h 1262816"/>
                <a:gd name="connsiteX137" fmla="*/ 1371409 w 1797323"/>
                <a:gd name="connsiteY137" fmla="*/ 731136 h 1262816"/>
                <a:gd name="connsiteX138" fmla="*/ 1366825 w 1797323"/>
                <a:gd name="connsiteY138" fmla="*/ 740631 h 1262816"/>
                <a:gd name="connsiteX139" fmla="*/ 1353104 w 1797323"/>
                <a:gd name="connsiteY139" fmla="*/ 754819 h 1262816"/>
                <a:gd name="connsiteX140" fmla="*/ 1343801 w 1797323"/>
                <a:gd name="connsiteY140" fmla="*/ 773370 h 1262816"/>
                <a:gd name="connsiteX141" fmla="*/ 1348000 w 1797323"/>
                <a:gd name="connsiteY141" fmla="*/ 782207 h 1262816"/>
                <a:gd name="connsiteX142" fmla="*/ 1372231 w 1797323"/>
                <a:gd name="connsiteY142" fmla="*/ 799332 h 1262816"/>
                <a:gd name="connsiteX143" fmla="*/ 1391853 w 1797323"/>
                <a:gd name="connsiteY143" fmla="*/ 852571 h 1262816"/>
                <a:gd name="connsiteX144" fmla="*/ 1416085 w 1797323"/>
                <a:gd name="connsiteY144" fmla="*/ 880810 h 1262816"/>
                <a:gd name="connsiteX145" fmla="*/ 1414137 w 1797323"/>
                <a:gd name="connsiteY145" fmla="*/ 892116 h 1262816"/>
                <a:gd name="connsiteX146" fmla="*/ 1392375 w 1797323"/>
                <a:gd name="connsiteY146" fmla="*/ 884514 h 1262816"/>
                <a:gd name="connsiteX147" fmla="*/ 1413616 w 1797323"/>
                <a:gd name="connsiteY147" fmla="*/ 901694 h 1262816"/>
                <a:gd name="connsiteX148" fmla="*/ 1417293 w 1797323"/>
                <a:gd name="connsiteY148" fmla="*/ 907594 h 1262816"/>
                <a:gd name="connsiteX149" fmla="*/ 1417211 w 1797323"/>
                <a:gd name="connsiteY149" fmla="*/ 914016 h 1262816"/>
                <a:gd name="connsiteX150" fmla="*/ 1380821 w 1797323"/>
                <a:gd name="connsiteY150" fmla="*/ 935915 h 1262816"/>
                <a:gd name="connsiteX151" fmla="*/ 1386941 w 1797323"/>
                <a:gd name="connsiteY151" fmla="*/ 940196 h 1262816"/>
                <a:gd name="connsiteX152" fmla="*/ 1402913 w 1797323"/>
                <a:gd name="connsiteY152" fmla="*/ 938248 h 1262816"/>
                <a:gd name="connsiteX153" fmla="*/ 1415591 w 1797323"/>
                <a:gd name="connsiteY153" fmla="*/ 945136 h 1262816"/>
                <a:gd name="connsiteX154" fmla="*/ 1420339 w 1797323"/>
                <a:gd name="connsiteY154" fmla="*/ 945328 h 1262816"/>
                <a:gd name="connsiteX155" fmla="*/ 1422425 w 1797323"/>
                <a:gd name="connsiteY155" fmla="*/ 951832 h 1262816"/>
                <a:gd name="connsiteX156" fmla="*/ 1421300 w 1797323"/>
                <a:gd name="connsiteY156" fmla="*/ 957568 h 1262816"/>
                <a:gd name="connsiteX157" fmla="*/ 1422342 w 1797323"/>
                <a:gd name="connsiteY157" fmla="*/ 969643 h 1262816"/>
                <a:gd name="connsiteX158" fmla="*/ 1419873 w 1797323"/>
                <a:gd name="connsiteY158" fmla="*/ 973704 h 1262816"/>
                <a:gd name="connsiteX159" fmla="*/ 1412601 w 1797323"/>
                <a:gd name="connsiteY159" fmla="*/ 975790 h 1262816"/>
                <a:gd name="connsiteX160" fmla="*/ 1409060 w 1797323"/>
                <a:gd name="connsiteY160" fmla="*/ 1003013 h 1262816"/>
                <a:gd name="connsiteX161" fmla="*/ 1404011 w 1797323"/>
                <a:gd name="connsiteY161" fmla="*/ 1006992 h 1262816"/>
                <a:gd name="connsiteX162" fmla="*/ 1398632 w 1797323"/>
                <a:gd name="connsiteY162" fmla="*/ 1006992 h 1262816"/>
                <a:gd name="connsiteX163" fmla="*/ 1395229 w 1797323"/>
                <a:gd name="connsiteY163" fmla="*/ 1009462 h 1262816"/>
                <a:gd name="connsiteX164" fmla="*/ 1375278 w 1797323"/>
                <a:gd name="connsiteY164" fmla="*/ 1044590 h 1262816"/>
                <a:gd name="connsiteX165" fmla="*/ 1376430 w 1797323"/>
                <a:gd name="connsiteY165" fmla="*/ 1048980 h 1262816"/>
                <a:gd name="connsiteX166" fmla="*/ 1372451 w 1797323"/>
                <a:gd name="connsiteY166" fmla="*/ 1048349 h 1262816"/>
                <a:gd name="connsiteX167" fmla="*/ 1366249 w 1797323"/>
                <a:gd name="connsiteY167" fmla="*/ 1054908 h 1262816"/>
                <a:gd name="connsiteX168" fmla="*/ 1356891 w 1797323"/>
                <a:gd name="connsiteY168" fmla="*/ 1057680 h 1262816"/>
                <a:gd name="connsiteX169" fmla="*/ 1357796 w 1797323"/>
                <a:gd name="connsiteY169" fmla="*/ 1064870 h 1262816"/>
                <a:gd name="connsiteX170" fmla="*/ 1351403 w 1797323"/>
                <a:gd name="connsiteY170" fmla="*/ 1094536 h 1262816"/>
                <a:gd name="connsiteX171" fmla="*/ 1344597 w 1797323"/>
                <a:gd name="connsiteY171" fmla="*/ 1098240 h 1262816"/>
                <a:gd name="connsiteX172" fmla="*/ 1341523 w 1797323"/>
                <a:gd name="connsiteY172" fmla="*/ 1103592 h 1262816"/>
                <a:gd name="connsiteX173" fmla="*/ 1334690 w 1797323"/>
                <a:gd name="connsiteY173" fmla="*/ 1107050 h 1262816"/>
                <a:gd name="connsiteX174" fmla="*/ 1324975 w 1797323"/>
                <a:gd name="connsiteY174" fmla="*/ 1122226 h 1262816"/>
                <a:gd name="connsiteX175" fmla="*/ 1309030 w 1797323"/>
                <a:gd name="connsiteY175" fmla="*/ 1128922 h 1262816"/>
                <a:gd name="connsiteX176" fmla="*/ 1304228 w 1797323"/>
                <a:gd name="connsiteY176" fmla="*/ 1139240 h 1262816"/>
                <a:gd name="connsiteX177" fmla="*/ 1288503 w 1797323"/>
                <a:gd name="connsiteY177" fmla="*/ 1153867 h 1262816"/>
                <a:gd name="connsiteX178" fmla="*/ 1280161 w 1797323"/>
                <a:gd name="connsiteY178" fmla="*/ 1157572 h 1262816"/>
                <a:gd name="connsiteX179" fmla="*/ 1278294 w 1797323"/>
                <a:gd name="connsiteY179" fmla="*/ 1161085 h 1262816"/>
                <a:gd name="connsiteX180" fmla="*/ 1273025 w 1797323"/>
                <a:gd name="connsiteY180" fmla="*/ 1161222 h 1262816"/>
                <a:gd name="connsiteX181" fmla="*/ 1257602 w 1797323"/>
                <a:gd name="connsiteY181" fmla="*/ 1177633 h 1262816"/>
                <a:gd name="connsiteX182" fmla="*/ 1245253 w 1797323"/>
                <a:gd name="connsiteY182" fmla="*/ 1182079 h 1262816"/>
                <a:gd name="connsiteX183" fmla="*/ 1232355 w 1797323"/>
                <a:gd name="connsiteY183" fmla="*/ 1184082 h 1262816"/>
                <a:gd name="connsiteX184" fmla="*/ 1223984 w 1797323"/>
                <a:gd name="connsiteY184" fmla="*/ 1183451 h 1262816"/>
                <a:gd name="connsiteX185" fmla="*/ 1215065 w 1797323"/>
                <a:gd name="connsiteY185" fmla="*/ 1186771 h 1262816"/>
                <a:gd name="connsiteX186" fmla="*/ 1207793 w 1797323"/>
                <a:gd name="connsiteY186" fmla="*/ 1186634 h 1262816"/>
                <a:gd name="connsiteX187" fmla="*/ 1201893 w 1797323"/>
                <a:gd name="connsiteY187" fmla="*/ 1190422 h 1262816"/>
                <a:gd name="connsiteX188" fmla="*/ 1195609 w 1797323"/>
                <a:gd name="connsiteY188" fmla="*/ 1190422 h 1262816"/>
                <a:gd name="connsiteX189" fmla="*/ 1189818 w 1797323"/>
                <a:gd name="connsiteY189" fmla="*/ 1192068 h 1262816"/>
                <a:gd name="connsiteX190" fmla="*/ 1181009 w 1797323"/>
                <a:gd name="connsiteY190" fmla="*/ 1185592 h 1262816"/>
                <a:gd name="connsiteX191" fmla="*/ 1178320 w 1797323"/>
                <a:gd name="connsiteY191" fmla="*/ 1185482 h 1262816"/>
                <a:gd name="connsiteX192" fmla="*/ 1174972 w 1797323"/>
                <a:gd name="connsiteY192" fmla="*/ 1201454 h 1262816"/>
                <a:gd name="connsiteX193" fmla="*/ 1167672 w 1797323"/>
                <a:gd name="connsiteY193" fmla="*/ 1207134 h 1262816"/>
                <a:gd name="connsiteX194" fmla="*/ 1161497 w 1797323"/>
                <a:gd name="connsiteY194" fmla="*/ 1203594 h 1262816"/>
                <a:gd name="connsiteX195" fmla="*/ 1157490 w 1797323"/>
                <a:gd name="connsiteY195" fmla="*/ 1210427 h 1262816"/>
                <a:gd name="connsiteX196" fmla="*/ 1152990 w 1797323"/>
                <a:gd name="connsiteY196" fmla="*/ 1210729 h 1262816"/>
                <a:gd name="connsiteX197" fmla="*/ 1147693 w 1797323"/>
                <a:gd name="connsiteY197" fmla="*/ 1214160 h 1262816"/>
                <a:gd name="connsiteX198" fmla="*/ 1142836 w 1797323"/>
                <a:gd name="connsiteY198" fmla="*/ 1213446 h 1262816"/>
                <a:gd name="connsiteX199" fmla="*/ 1138747 w 1797323"/>
                <a:gd name="connsiteY199" fmla="*/ 1216136 h 1262816"/>
                <a:gd name="connsiteX200" fmla="*/ 1132270 w 1797323"/>
                <a:gd name="connsiteY200" fmla="*/ 1215340 h 1262816"/>
                <a:gd name="connsiteX201" fmla="*/ 1127084 w 1797323"/>
                <a:gd name="connsiteY201" fmla="*/ 1219621 h 1262816"/>
                <a:gd name="connsiteX202" fmla="*/ 1123543 w 1797323"/>
                <a:gd name="connsiteY202" fmla="*/ 1218029 h 1262816"/>
                <a:gd name="connsiteX203" fmla="*/ 1117534 w 1797323"/>
                <a:gd name="connsiteY203" fmla="*/ 1222749 h 1262816"/>
                <a:gd name="connsiteX204" fmla="*/ 1102632 w 1797323"/>
                <a:gd name="connsiteY204" fmla="*/ 1224039 h 1262816"/>
                <a:gd name="connsiteX205" fmla="*/ 1093630 w 1797323"/>
                <a:gd name="connsiteY205" fmla="*/ 1228293 h 1262816"/>
                <a:gd name="connsiteX206" fmla="*/ 1086083 w 1797323"/>
                <a:gd name="connsiteY206" fmla="*/ 1239407 h 1262816"/>
                <a:gd name="connsiteX207" fmla="*/ 1077137 w 1797323"/>
                <a:gd name="connsiteY207" fmla="*/ 1241795 h 1262816"/>
                <a:gd name="connsiteX208" fmla="*/ 1081913 w 1797323"/>
                <a:gd name="connsiteY208" fmla="*/ 1246597 h 1262816"/>
                <a:gd name="connsiteX209" fmla="*/ 1085452 w 1797323"/>
                <a:gd name="connsiteY209" fmla="*/ 1255022 h 1262816"/>
                <a:gd name="connsiteX210" fmla="*/ 1083531 w 1797323"/>
                <a:gd name="connsiteY210" fmla="*/ 1259935 h 1262816"/>
                <a:gd name="connsiteX211" fmla="*/ 1077604 w 1797323"/>
                <a:gd name="connsiteY211" fmla="*/ 1262816 h 1262816"/>
                <a:gd name="connsiteX212" fmla="*/ 1070414 w 1797323"/>
                <a:gd name="connsiteY212" fmla="*/ 1261691 h 1262816"/>
                <a:gd name="connsiteX213" fmla="*/ 1067999 w 1797323"/>
                <a:gd name="connsiteY213" fmla="*/ 1258727 h 1262816"/>
                <a:gd name="connsiteX214" fmla="*/ 1061989 w 1797323"/>
                <a:gd name="connsiteY214" fmla="*/ 1241164 h 1262816"/>
                <a:gd name="connsiteX215" fmla="*/ 1064266 w 1797323"/>
                <a:gd name="connsiteY215" fmla="*/ 1231339 h 1262816"/>
                <a:gd name="connsiteX216" fmla="*/ 1067697 w 1797323"/>
                <a:gd name="connsiteY216" fmla="*/ 1226015 h 1262816"/>
                <a:gd name="connsiteX217" fmla="*/ 1062181 w 1797323"/>
                <a:gd name="connsiteY217" fmla="*/ 1223161 h 1262816"/>
                <a:gd name="connsiteX218" fmla="*/ 1058805 w 1797323"/>
                <a:gd name="connsiteY218" fmla="*/ 1218715 h 1262816"/>
                <a:gd name="connsiteX219" fmla="*/ 1056033 w 1797323"/>
                <a:gd name="connsiteY219" fmla="*/ 1223381 h 1262816"/>
                <a:gd name="connsiteX220" fmla="*/ 1047307 w 1797323"/>
                <a:gd name="connsiteY220" fmla="*/ 1225850 h 1262816"/>
                <a:gd name="connsiteX221" fmla="*/ 1044946 w 1797323"/>
                <a:gd name="connsiteY221" fmla="*/ 1225192 h 1262816"/>
                <a:gd name="connsiteX222" fmla="*/ 1043492 w 1797323"/>
                <a:gd name="connsiteY222" fmla="*/ 1221075 h 1262816"/>
                <a:gd name="connsiteX223" fmla="*/ 1030457 w 1797323"/>
                <a:gd name="connsiteY223" fmla="*/ 1216959 h 1262816"/>
                <a:gd name="connsiteX224" fmla="*/ 1025901 w 1797323"/>
                <a:gd name="connsiteY224" fmla="*/ 1220472 h 1262816"/>
                <a:gd name="connsiteX225" fmla="*/ 1023377 w 1797323"/>
                <a:gd name="connsiteY225" fmla="*/ 1219292 h 1262816"/>
                <a:gd name="connsiteX226" fmla="*/ 1012893 w 1797323"/>
                <a:gd name="connsiteY226" fmla="*/ 1222338 h 1262816"/>
                <a:gd name="connsiteX227" fmla="*/ 1006581 w 1797323"/>
                <a:gd name="connsiteY227" fmla="*/ 1219264 h 1262816"/>
                <a:gd name="connsiteX228" fmla="*/ 993903 w 1797323"/>
                <a:gd name="connsiteY228" fmla="*/ 1219950 h 1262816"/>
                <a:gd name="connsiteX229" fmla="*/ 982596 w 1797323"/>
                <a:gd name="connsiteY229" fmla="*/ 1210263 h 1262816"/>
                <a:gd name="connsiteX230" fmla="*/ 975077 w 1797323"/>
                <a:gd name="connsiteY230" fmla="*/ 1206558 h 1262816"/>
                <a:gd name="connsiteX231" fmla="*/ 970329 w 1797323"/>
                <a:gd name="connsiteY231" fmla="*/ 1194016 h 1262816"/>
                <a:gd name="connsiteX232" fmla="*/ 971427 w 1797323"/>
                <a:gd name="connsiteY232" fmla="*/ 1190257 h 1262816"/>
                <a:gd name="connsiteX233" fmla="*/ 974830 w 1797323"/>
                <a:gd name="connsiteY233" fmla="*/ 1187156 h 1262816"/>
                <a:gd name="connsiteX234" fmla="*/ 974830 w 1797323"/>
                <a:gd name="connsiteY234" fmla="*/ 1181448 h 1262816"/>
                <a:gd name="connsiteX235" fmla="*/ 969533 w 1797323"/>
                <a:gd name="connsiteY235" fmla="*/ 1178731 h 1262816"/>
                <a:gd name="connsiteX236" fmla="*/ 962865 w 1797323"/>
                <a:gd name="connsiteY236" fmla="*/ 1179938 h 1262816"/>
                <a:gd name="connsiteX237" fmla="*/ 956965 w 1797323"/>
                <a:gd name="connsiteY237" fmla="*/ 1176865 h 1262816"/>
                <a:gd name="connsiteX238" fmla="*/ 949912 w 1797323"/>
                <a:gd name="connsiteY238" fmla="*/ 1177880 h 1262816"/>
                <a:gd name="connsiteX239" fmla="*/ 941103 w 1797323"/>
                <a:gd name="connsiteY239" fmla="*/ 1172940 h 1262816"/>
                <a:gd name="connsiteX240" fmla="*/ 933061 w 1797323"/>
                <a:gd name="connsiteY240" fmla="*/ 1164954 h 1262816"/>
                <a:gd name="connsiteX241" fmla="*/ 920822 w 1797323"/>
                <a:gd name="connsiteY241" fmla="*/ 1171102 h 1262816"/>
                <a:gd name="connsiteX242" fmla="*/ 918928 w 1797323"/>
                <a:gd name="connsiteY242" fmla="*/ 1177798 h 1262816"/>
                <a:gd name="connsiteX243" fmla="*/ 916019 w 1797323"/>
                <a:gd name="connsiteY243" fmla="*/ 1180817 h 1262816"/>
                <a:gd name="connsiteX244" fmla="*/ 906085 w 1797323"/>
                <a:gd name="connsiteY244" fmla="*/ 1185097 h 1262816"/>
                <a:gd name="connsiteX245" fmla="*/ 901529 w 1797323"/>
                <a:gd name="connsiteY245" fmla="*/ 1182298 h 1262816"/>
                <a:gd name="connsiteX246" fmla="*/ 898401 w 1797323"/>
                <a:gd name="connsiteY246" fmla="*/ 1182847 h 1262816"/>
                <a:gd name="connsiteX247" fmla="*/ 893901 w 1797323"/>
                <a:gd name="connsiteY247" fmla="*/ 1190751 h 1262816"/>
                <a:gd name="connsiteX248" fmla="*/ 885228 w 1797323"/>
                <a:gd name="connsiteY248" fmla="*/ 1184192 h 1262816"/>
                <a:gd name="connsiteX249" fmla="*/ 880398 w 1797323"/>
                <a:gd name="connsiteY249" fmla="*/ 1187705 h 1262816"/>
                <a:gd name="connsiteX250" fmla="*/ 875212 w 1797323"/>
                <a:gd name="connsiteY250" fmla="*/ 1183451 h 1262816"/>
                <a:gd name="connsiteX251" fmla="*/ 866073 w 1797323"/>
                <a:gd name="connsiteY251" fmla="*/ 1192699 h 1262816"/>
                <a:gd name="connsiteX252" fmla="*/ 850596 w 1797323"/>
                <a:gd name="connsiteY252" fmla="*/ 1184137 h 1262816"/>
                <a:gd name="connsiteX253" fmla="*/ 843378 w 1797323"/>
                <a:gd name="connsiteY253" fmla="*/ 1193358 h 1262816"/>
                <a:gd name="connsiteX254" fmla="*/ 839975 w 1797323"/>
                <a:gd name="connsiteY254" fmla="*/ 1195252 h 1262816"/>
                <a:gd name="connsiteX255" fmla="*/ 836764 w 1797323"/>
                <a:gd name="connsiteY255" fmla="*/ 1193825 h 1262816"/>
                <a:gd name="connsiteX256" fmla="*/ 831934 w 1797323"/>
                <a:gd name="connsiteY256" fmla="*/ 1195361 h 1262816"/>
                <a:gd name="connsiteX257" fmla="*/ 828119 w 1797323"/>
                <a:gd name="connsiteY257" fmla="*/ 1192617 h 1262816"/>
                <a:gd name="connsiteX258" fmla="*/ 823235 w 1797323"/>
                <a:gd name="connsiteY258" fmla="*/ 1199779 h 1262816"/>
                <a:gd name="connsiteX259" fmla="*/ 824442 w 1797323"/>
                <a:gd name="connsiteY259" fmla="*/ 1208644 h 1262816"/>
                <a:gd name="connsiteX260" fmla="*/ 828449 w 1797323"/>
                <a:gd name="connsiteY260" fmla="*/ 1212815 h 1262816"/>
                <a:gd name="connsiteX261" fmla="*/ 830205 w 1797323"/>
                <a:gd name="connsiteY261" fmla="*/ 1219923 h 1262816"/>
                <a:gd name="connsiteX262" fmla="*/ 828038 w 1797323"/>
                <a:gd name="connsiteY262" fmla="*/ 1228156 h 1262816"/>
                <a:gd name="connsiteX263" fmla="*/ 831028 w 1797323"/>
                <a:gd name="connsiteY263" fmla="*/ 1234275 h 1262816"/>
                <a:gd name="connsiteX264" fmla="*/ 827955 w 1797323"/>
                <a:gd name="connsiteY264" fmla="*/ 1234769 h 1262816"/>
                <a:gd name="connsiteX265" fmla="*/ 821533 w 1797323"/>
                <a:gd name="connsiteY265" fmla="*/ 1231778 h 1262816"/>
                <a:gd name="connsiteX266" fmla="*/ 814535 w 1797323"/>
                <a:gd name="connsiteY266" fmla="*/ 1233315 h 1262816"/>
                <a:gd name="connsiteX267" fmla="*/ 812532 w 1797323"/>
                <a:gd name="connsiteY267" fmla="*/ 1222969 h 1262816"/>
                <a:gd name="connsiteX268" fmla="*/ 810639 w 1797323"/>
                <a:gd name="connsiteY268" fmla="*/ 1221789 h 1262816"/>
                <a:gd name="connsiteX269" fmla="*/ 808333 w 1797323"/>
                <a:gd name="connsiteY269" fmla="*/ 1216273 h 1262816"/>
                <a:gd name="connsiteX270" fmla="*/ 794914 w 1797323"/>
                <a:gd name="connsiteY270" fmla="*/ 1224423 h 1262816"/>
                <a:gd name="connsiteX271" fmla="*/ 783196 w 1797323"/>
                <a:gd name="connsiteY271" fmla="*/ 1223655 h 1262816"/>
                <a:gd name="connsiteX272" fmla="*/ 781137 w 1797323"/>
                <a:gd name="connsiteY272" fmla="*/ 1222118 h 1262816"/>
                <a:gd name="connsiteX273" fmla="*/ 780561 w 1797323"/>
                <a:gd name="connsiteY273" fmla="*/ 1218221 h 1262816"/>
                <a:gd name="connsiteX274" fmla="*/ 776527 w 1797323"/>
                <a:gd name="connsiteY274" fmla="*/ 1215367 h 1262816"/>
                <a:gd name="connsiteX275" fmla="*/ 775018 w 1797323"/>
                <a:gd name="connsiteY275" fmla="*/ 1206668 h 1262816"/>
                <a:gd name="connsiteX276" fmla="*/ 754380 w 1797323"/>
                <a:gd name="connsiteY276" fmla="*/ 1203237 h 1262816"/>
                <a:gd name="connsiteX277" fmla="*/ 755450 w 1797323"/>
                <a:gd name="connsiteY277" fmla="*/ 1196322 h 1262816"/>
                <a:gd name="connsiteX278" fmla="*/ 758305 w 1797323"/>
                <a:gd name="connsiteY278" fmla="*/ 1191272 h 1262816"/>
                <a:gd name="connsiteX279" fmla="*/ 757921 w 1797323"/>
                <a:gd name="connsiteY279" fmla="*/ 1184356 h 1262816"/>
                <a:gd name="connsiteX280" fmla="*/ 762476 w 1797323"/>
                <a:gd name="connsiteY280" fmla="*/ 1177084 h 1262816"/>
                <a:gd name="connsiteX281" fmla="*/ 759704 w 1797323"/>
                <a:gd name="connsiteY281" fmla="*/ 1172803 h 1262816"/>
                <a:gd name="connsiteX282" fmla="*/ 753584 w 1797323"/>
                <a:gd name="connsiteY282" fmla="*/ 1172913 h 1262816"/>
                <a:gd name="connsiteX283" fmla="*/ 745187 w 1797323"/>
                <a:gd name="connsiteY283" fmla="*/ 1169098 h 1262816"/>
                <a:gd name="connsiteX284" fmla="*/ 743101 w 1797323"/>
                <a:gd name="connsiteY284" fmla="*/ 1155624 h 1262816"/>
                <a:gd name="connsiteX285" fmla="*/ 738875 w 1797323"/>
                <a:gd name="connsiteY285" fmla="*/ 1148022 h 1262816"/>
                <a:gd name="connsiteX286" fmla="*/ 742607 w 1797323"/>
                <a:gd name="connsiteY286" fmla="*/ 1140420 h 1262816"/>
                <a:gd name="connsiteX287" fmla="*/ 724001 w 1797323"/>
                <a:gd name="connsiteY287" fmla="*/ 1140777 h 1262816"/>
                <a:gd name="connsiteX288" fmla="*/ 709127 w 1797323"/>
                <a:gd name="connsiteY288" fmla="*/ 1147665 h 1262816"/>
                <a:gd name="connsiteX289" fmla="*/ 705806 w 1797323"/>
                <a:gd name="connsiteY289" fmla="*/ 1146568 h 1262816"/>
                <a:gd name="connsiteX290" fmla="*/ 710582 w 1797323"/>
                <a:gd name="connsiteY290" fmla="*/ 1136716 h 1262816"/>
                <a:gd name="connsiteX291" fmla="*/ 708797 w 1797323"/>
                <a:gd name="connsiteY291" fmla="*/ 1131090 h 1262816"/>
                <a:gd name="connsiteX292" fmla="*/ 705120 w 1797323"/>
                <a:gd name="connsiteY292" fmla="*/ 1127989 h 1262816"/>
                <a:gd name="connsiteX293" fmla="*/ 705724 w 1797323"/>
                <a:gd name="connsiteY293" fmla="*/ 1120908 h 1262816"/>
                <a:gd name="connsiteX294" fmla="*/ 711268 w 1797323"/>
                <a:gd name="connsiteY294" fmla="*/ 1116600 h 1262816"/>
                <a:gd name="connsiteX295" fmla="*/ 710169 w 1797323"/>
                <a:gd name="connsiteY295" fmla="*/ 1110837 h 1262816"/>
                <a:gd name="connsiteX296" fmla="*/ 713024 w 1797323"/>
                <a:gd name="connsiteY296" fmla="*/ 1104744 h 1262816"/>
                <a:gd name="connsiteX297" fmla="*/ 719967 w 1797323"/>
                <a:gd name="connsiteY297" fmla="*/ 1100957 h 1262816"/>
                <a:gd name="connsiteX298" fmla="*/ 723864 w 1797323"/>
                <a:gd name="connsiteY298" fmla="*/ 1092642 h 1262816"/>
                <a:gd name="connsiteX299" fmla="*/ 729106 w 1797323"/>
                <a:gd name="connsiteY299" fmla="*/ 1092285 h 1262816"/>
                <a:gd name="connsiteX300" fmla="*/ 732782 w 1797323"/>
                <a:gd name="connsiteY300" fmla="*/ 1085973 h 1262816"/>
                <a:gd name="connsiteX301" fmla="*/ 737997 w 1797323"/>
                <a:gd name="connsiteY301" fmla="*/ 1083010 h 1262816"/>
                <a:gd name="connsiteX302" fmla="*/ 736185 w 1797323"/>
                <a:gd name="connsiteY302" fmla="*/ 1076259 h 1262816"/>
                <a:gd name="connsiteX303" fmla="*/ 738820 w 1797323"/>
                <a:gd name="connsiteY303" fmla="*/ 1073212 h 1262816"/>
                <a:gd name="connsiteX304" fmla="*/ 740659 w 1797323"/>
                <a:gd name="connsiteY304" fmla="*/ 1057268 h 1262816"/>
                <a:gd name="connsiteX305" fmla="*/ 737887 w 1797323"/>
                <a:gd name="connsiteY305" fmla="*/ 1028124 h 1262816"/>
                <a:gd name="connsiteX306" fmla="*/ 732892 w 1797323"/>
                <a:gd name="connsiteY306" fmla="*/ 1025846 h 1262816"/>
                <a:gd name="connsiteX307" fmla="*/ 727816 w 1797323"/>
                <a:gd name="connsiteY307" fmla="*/ 1027767 h 1262816"/>
                <a:gd name="connsiteX308" fmla="*/ 721449 w 1797323"/>
                <a:gd name="connsiteY308" fmla="*/ 1008063 h 1262816"/>
                <a:gd name="connsiteX309" fmla="*/ 716509 w 1797323"/>
                <a:gd name="connsiteY309" fmla="*/ 1002465 h 1262816"/>
                <a:gd name="connsiteX310" fmla="*/ 711487 w 1797323"/>
                <a:gd name="connsiteY310" fmla="*/ 1000571 h 1262816"/>
                <a:gd name="connsiteX311" fmla="*/ 708358 w 1797323"/>
                <a:gd name="connsiteY311" fmla="*/ 996125 h 1262816"/>
                <a:gd name="connsiteX312" fmla="*/ 704763 w 1797323"/>
                <a:gd name="connsiteY312" fmla="*/ 996647 h 1262816"/>
                <a:gd name="connsiteX313" fmla="*/ 702952 w 1797323"/>
                <a:gd name="connsiteY313" fmla="*/ 1002766 h 1262816"/>
                <a:gd name="connsiteX314" fmla="*/ 698946 w 1797323"/>
                <a:gd name="connsiteY314" fmla="*/ 1006252 h 1262816"/>
                <a:gd name="connsiteX315" fmla="*/ 692689 w 1797323"/>
                <a:gd name="connsiteY315" fmla="*/ 1001916 h 1262816"/>
                <a:gd name="connsiteX316" fmla="*/ 683989 w 1797323"/>
                <a:gd name="connsiteY316" fmla="*/ 1001120 h 1262816"/>
                <a:gd name="connsiteX317" fmla="*/ 678528 w 1797323"/>
                <a:gd name="connsiteY317" fmla="*/ 998623 h 1262816"/>
                <a:gd name="connsiteX318" fmla="*/ 669856 w 1797323"/>
                <a:gd name="connsiteY318" fmla="*/ 1000214 h 1262816"/>
                <a:gd name="connsiteX319" fmla="*/ 670103 w 1797323"/>
                <a:gd name="connsiteY319" fmla="*/ 995412 h 1262816"/>
                <a:gd name="connsiteX320" fmla="*/ 676579 w 1797323"/>
                <a:gd name="connsiteY320" fmla="*/ 985916 h 1262816"/>
                <a:gd name="connsiteX321" fmla="*/ 673039 w 1797323"/>
                <a:gd name="connsiteY321" fmla="*/ 979083 h 1262816"/>
                <a:gd name="connsiteX322" fmla="*/ 664724 w 1797323"/>
                <a:gd name="connsiteY322" fmla="*/ 981278 h 1262816"/>
                <a:gd name="connsiteX323" fmla="*/ 664285 w 1797323"/>
                <a:gd name="connsiteY323" fmla="*/ 977217 h 1262816"/>
                <a:gd name="connsiteX324" fmla="*/ 668841 w 1797323"/>
                <a:gd name="connsiteY324" fmla="*/ 971893 h 1262816"/>
                <a:gd name="connsiteX325" fmla="*/ 660909 w 1797323"/>
                <a:gd name="connsiteY325" fmla="*/ 965471 h 1262816"/>
                <a:gd name="connsiteX326" fmla="*/ 649686 w 1797323"/>
                <a:gd name="connsiteY326" fmla="*/ 972167 h 1262816"/>
                <a:gd name="connsiteX327" fmla="*/ 637610 w 1797323"/>
                <a:gd name="connsiteY327" fmla="*/ 976394 h 1262816"/>
                <a:gd name="connsiteX328" fmla="*/ 625206 w 1797323"/>
                <a:gd name="connsiteY328" fmla="*/ 973814 h 1262816"/>
                <a:gd name="connsiteX329" fmla="*/ 620239 w 1797323"/>
                <a:gd name="connsiteY329" fmla="*/ 970548 h 1262816"/>
                <a:gd name="connsiteX330" fmla="*/ 614284 w 1797323"/>
                <a:gd name="connsiteY330" fmla="*/ 972442 h 1262816"/>
                <a:gd name="connsiteX331" fmla="*/ 602758 w 1797323"/>
                <a:gd name="connsiteY331" fmla="*/ 980922 h 1262816"/>
                <a:gd name="connsiteX332" fmla="*/ 596583 w 1797323"/>
                <a:gd name="connsiteY332" fmla="*/ 987837 h 1262816"/>
                <a:gd name="connsiteX333" fmla="*/ 580118 w 1797323"/>
                <a:gd name="connsiteY333" fmla="*/ 992503 h 1262816"/>
                <a:gd name="connsiteX334" fmla="*/ 576797 w 1797323"/>
                <a:gd name="connsiteY334" fmla="*/ 1000653 h 1262816"/>
                <a:gd name="connsiteX335" fmla="*/ 564118 w 1797323"/>
                <a:gd name="connsiteY335" fmla="*/ 1008145 h 1262816"/>
                <a:gd name="connsiteX336" fmla="*/ 560249 w 1797323"/>
                <a:gd name="connsiteY336" fmla="*/ 1015829 h 1262816"/>
                <a:gd name="connsiteX337" fmla="*/ 554212 w 1797323"/>
                <a:gd name="connsiteY337" fmla="*/ 1019013 h 1262816"/>
                <a:gd name="connsiteX338" fmla="*/ 549738 w 1797323"/>
                <a:gd name="connsiteY338" fmla="*/ 1018546 h 1262816"/>
                <a:gd name="connsiteX339" fmla="*/ 548558 w 1797323"/>
                <a:gd name="connsiteY339" fmla="*/ 1018436 h 1262816"/>
                <a:gd name="connsiteX340" fmla="*/ 540764 w 1797323"/>
                <a:gd name="connsiteY340" fmla="*/ 1021839 h 1262816"/>
                <a:gd name="connsiteX341" fmla="*/ 531104 w 1797323"/>
                <a:gd name="connsiteY341" fmla="*/ 1021208 h 1262816"/>
                <a:gd name="connsiteX342" fmla="*/ 528525 w 1797323"/>
                <a:gd name="connsiteY342" fmla="*/ 1016214 h 1262816"/>
                <a:gd name="connsiteX343" fmla="*/ 522871 w 1797323"/>
                <a:gd name="connsiteY343" fmla="*/ 1012810 h 1262816"/>
                <a:gd name="connsiteX344" fmla="*/ 518151 w 1797323"/>
                <a:gd name="connsiteY344" fmla="*/ 1014896 h 1262816"/>
                <a:gd name="connsiteX345" fmla="*/ 513706 w 1797323"/>
                <a:gd name="connsiteY345" fmla="*/ 1016845 h 1262816"/>
                <a:gd name="connsiteX346" fmla="*/ 504430 w 1797323"/>
                <a:gd name="connsiteY346" fmla="*/ 1011493 h 1262816"/>
                <a:gd name="connsiteX347" fmla="*/ 489089 w 1797323"/>
                <a:gd name="connsiteY347" fmla="*/ 1008447 h 1262816"/>
                <a:gd name="connsiteX348" fmla="*/ 476713 w 1797323"/>
                <a:gd name="connsiteY348" fmla="*/ 1006005 h 1262816"/>
                <a:gd name="connsiteX349" fmla="*/ 470647 w 1797323"/>
                <a:gd name="connsiteY349" fmla="*/ 1008941 h 1262816"/>
                <a:gd name="connsiteX350" fmla="*/ 458408 w 1797323"/>
                <a:gd name="connsiteY350" fmla="*/ 1024282 h 1262816"/>
                <a:gd name="connsiteX351" fmla="*/ 456926 w 1797323"/>
                <a:gd name="connsiteY351" fmla="*/ 1035835 h 1262816"/>
                <a:gd name="connsiteX352" fmla="*/ 453962 w 1797323"/>
                <a:gd name="connsiteY352" fmla="*/ 1038195 h 1262816"/>
                <a:gd name="connsiteX353" fmla="*/ 451136 w 1797323"/>
                <a:gd name="connsiteY353" fmla="*/ 1037290 h 1262816"/>
                <a:gd name="connsiteX354" fmla="*/ 446937 w 1797323"/>
                <a:gd name="connsiteY354" fmla="*/ 1028974 h 1262816"/>
                <a:gd name="connsiteX355" fmla="*/ 449626 w 1797323"/>
                <a:gd name="connsiteY355" fmla="*/ 1018217 h 1262816"/>
                <a:gd name="connsiteX356" fmla="*/ 447101 w 1797323"/>
                <a:gd name="connsiteY356" fmla="*/ 1011603 h 1262816"/>
                <a:gd name="connsiteX357" fmla="*/ 441695 w 1797323"/>
                <a:gd name="connsiteY357" fmla="*/ 1009984 h 1262816"/>
                <a:gd name="connsiteX358" fmla="*/ 428851 w 1797323"/>
                <a:gd name="connsiteY358" fmla="*/ 1014951 h 1262816"/>
                <a:gd name="connsiteX359" fmla="*/ 427946 w 1797323"/>
                <a:gd name="connsiteY359" fmla="*/ 1017064 h 1262816"/>
                <a:gd name="connsiteX360" fmla="*/ 419658 w 1797323"/>
                <a:gd name="connsiteY360" fmla="*/ 1015308 h 1262816"/>
                <a:gd name="connsiteX361" fmla="*/ 417847 w 1797323"/>
                <a:gd name="connsiteY361" fmla="*/ 1016900 h 1262816"/>
                <a:gd name="connsiteX362" fmla="*/ 415212 w 1797323"/>
                <a:gd name="connsiteY362" fmla="*/ 1019205 h 1262816"/>
                <a:gd name="connsiteX363" fmla="*/ 400476 w 1797323"/>
                <a:gd name="connsiteY363" fmla="*/ 1018903 h 1262816"/>
                <a:gd name="connsiteX364" fmla="*/ 382583 w 1797323"/>
                <a:gd name="connsiteY364" fmla="*/ 1009709 h 1262816"/>
                <a:gd name="connsiteX365" fmla="*/ 377314 w 1797323"/>
                <a:gd name="connsiteY365" fmla="*/ 1015665 h 1262816"/>
                <a:gd name="connsiteX366" fmla="*/ 371852 w 1797323"/>
                <a:gd name="connsiteY366" fmla="*/ 1012810 h 1262816"/>
                <a:gd name="connsiteX367" fmla="*/ 369740 w 1797323"/>
                <a:gd name="connsiteY367" fmla="*/ 1008721 h 1262816"/>
                <a:gd name="connsiteX368" fmla="*/ 367791 w 1797323"/>
                <a:gd name="connsiteY368" fmla="*/ 1010889 h 1262816"/>
                <a:gd name="connsiteX369" fmla="*/ 368066 w 1797323"/>
                <a:gd name="connsiteY369" fmla="*/ 1015280 h 1262816"/>
                <a:gd name="connsiteX370" fmla="*/ 366172 w 1797323"/>
                <a:gd name="connsiteY370" fmla="*/ 1015939 h 1262816"/>
                <a:gd name="connsiteX371" fmla="*/ 360875 w 1797323"/>
                <a:gd name="connsiteY371" fmla="*/ 1007542 h 1262816"/>
                <a:gd name="connsiteX372" fmla="*/ 356347 w 1797323"/>
                <a:gd name="connsiteY372" fmla="*/ 1001202 h 1262816"/>
                <a:gd name="connsiteX373" fmla="*/ 354179 w 1797323"/>
                <a:gd name="connsiteY373" fmla="*/ 1003041 h 1262816"/>
                <a:gd name="connsiteX374" fmla="*/ 349624 w 1797323"/>
                <a:gd name="connsiteY374" fmla="*/ 1002025 h 1262816"/>
                <a:gd name="connsiteX375" fmla="*/ 345233 w 1797323"/>
                <a:gd name="connsiteY375" fmla="*/ 1003480 h 1262816"/>
                <a:gd name="connsiteX376" fmla="*/ 339854 w 1797323"/>
                <a:gd name="connsiteY376" fmla="*/ 1001476 h 1262816"/>
                <a:gd name="connsiteX377" fmla="*/ 339223 w 1797323"/>
                <a:gd name="connsiteY377" fmla="*/ 998101 h 1262816"/>
                <a:gd name="connsiteX378" fmla="*/ 341226 w 1797323"/>
                <a:gd name="connsiteY378" fmla="*/ 993491 h 1262816"/>
                <a:gd name="connsiteX379" fmla="*/ 339360 w 1797323"/>
                <a:gd name="connsiteY379" fmla="*/ 990801 h 1262816"/>
                <a:gd name="connsiteX380" fmla="*/ 331429 w 1797323"/>
                <a:gd name="connsiteY380" fmla="*/ 993683 h 1262816"/>
                <a:gd name="connsiteX381" fmla="*/ 324623 w 1797323"/>
                <a:gd name="connsiteY381" fmla="*/ 989155 h 1262816"/>
                <a:gd name="connsiteX382" fmla="*/ 319437 w 1797323"/>
                <a:gd name="connsiteY382" fmla="*/ 988331 h 1262816"/>
                <a:gd name="connsiteX383" fmla="*/ 317735 w 1797323"/>
                <a:gd name="connsiteY383" fmla="*/ 984681 h 1262816"/>
                <a:gd name="connsiteX384" fmla="*/ 313564 w 1797323"/>
                <a:gd name="connsiteY384" fmla="*/ 982760 h 1262816"/>
                <a:gd name="connsiteX385" fmla="*/ 311643 w 1797323"/>
                <a:gd name="connsiteY385" fmla="*/ 972030 h 1262816"/>
                <a:gd name="connsiteX386" fmla="*/ 308843 w 1797323"/>
                <a:gd name="connsiteY386" fmla="*/ 969999 h 1262816"/>
                <a:gd name="connsiteX387" fmla="*/ 303520 w 1797323"/>
                <a:gd name="connsiteY387" fmla="*/ 969204 h 1262816"/>
                <a:gd name="connsiteX388" fmla="*/ 293860 w 1797323"/>
                <a:gd name="connsiteY388" fmla="*/ 973128 h 1262816"/>
                <a:gd name="connsiteX389" fmla="*/ 283898 w 1797323"/>
                <a:gd name="connsiteY389" fmla="*/ 960120 h 1262816"/>
                <a:gd name="connsiteX390" fmla="*/ 271219 w 1797323"/>
                <a:gd name="connsiteY390" fmla="*/ 955702 h 1262816"/>
                <a:gd name="connsiteX391" fmla="*/ 264112 w 1797323"/>
                <a:gd name="connsiteY391" fmla="*/ 948018 h 1262816"/>
                <a:gd name="connsiteX392" fmla="*/ 253354 w 1797323"/>
                <a:gd name="connsiteY392" fmla="*/ 943133 h 1262816"/>
                <a:gd name="connsiteX393" fmla="*/ 250088 w 1797323"/>
                <a:gd name="connsiteY393" fmla="*/ 934543 h 1262816"/>
                <a:gd name="connsiteX394" fmla="*/ 236641 w 1797323"/>
                <a:gd name="connsiteY394" fmla="*/ 931058 h 1262816"/>
                <a:gd name="connsiteX395" fmla="*/ 230906 w 1797323"/>
                <a:gd name="connsiteY395" fmla="*/ 932183 h 1262816"/>
                <a:gd name="connsiteX396" fmla="*/ 229671 w 1797323"/>
                <a:gd name="connsiteY396" fmla="*/ 938467 h 1262816"/>
                <a:gd name="connsiteX397" fmla="*/ 224045 w 1797323"/>
                <a:gd name="connsiteY397" fmla="*/ 945383 h 1262816"/>
                <a:gd name="connsiteX398" fmla="*/ 221767 w 1797323"/>
                <a:gd name="connsiteY398" fmla="*/ 944423 h 1262816"/>
                <a:gd name="connsiteX399" fmla="*/ 219242 w 1797323"/>
                <a:gd name="connsiteY399" fmla="*/ 939044 h 1262816"/>
                <a:gd name="connsiteX400" fmla="*/ 218474 w 1797323"/>
                <a:gd name="connsiteY400" fmla="*/ 937178 h 1262816"/>
                <a:gd name="connsiteX401" fmla="*/ 213946 w 1797323"/>
                <a:gd name="connsiteY401" fmla="*/ 935202 h 1262816"/>
                <a:gd name="connsiteX402" fmla="*/ 208018 w 1797323"/>
                <a:gd name="connsiteY402" fmla="*/ 930893 h 1262816"/>
                <a:gd name="connsiteX403" fmla="*/ 195147 w 1797323"/>
                <a:gd name="connsiteY403" fmla="*/ 926118 h 1262816"/>
                <a:gd name="connsiteX404" fmla="*/ 194681 w 1797323"/>
                <a:gd name="connsiteY404" fmla="*/ 923099 h 1262816"/>
                <a:gd name="connsiteX405" fmla="*/ 196026 w 1797323"/>
                <a:gd name="connsiteY405" fmla="*/ 921617 h 1262816"/>
                <a:gd name="connsiteX406" fmla="*/ 195861 w 1797323"/>
                <a:gd name="connsiteY406" fmla="*/ 920273 h 1262816"/>
                <a:gd name="connsiteX407" fmla="*/ 194077 w 1797323"/>
                <a:gd name="connsiteY407" fmla="*/ 918709 h 1262816"/>
                <a:gd name="connsiteX408" fmla="*/ 190976 w 1797323"/>
                <a:gd name="connsiteY408" fmla="*/ 918709 h 1262816"/>
                <a:gd name="connsiteX409" fmla="*/ 188534 w 1797323"/>
                <a:gd name="connsiteY409" fmla="*/ 916184 h 1262816"/>
                <a:gd name="connsiteX410" fmla="*/ 187353 w 1797323"/>
                <a:gd name="connsiteY410" fmla="*/ 916129 h 1262816"/>
                <a:gd name="connsiteX411" fmla="*/ 183100 w 1797323"/>
                <a:gd name="connsiteY411" fmla="*/ 912561 h 1262816"/>
                <a:gd name="connsiteX412" fmla="*/ 176513 w 1797323"/>
                <a:gd name="connsiteY412" fmla="*/ 913632 h 1262816"/>
                <a:gd name="connsiteX413" fmla="*/ 171738 w 1797323"/>
                <a:gd name="connsiteY413" fmla="*/ 909625 h 1262816"/>
                <a:gd name="connsiteX414" fmla="*/ 162106 w 1797323"/>
                <a:gd name="connsiteY414" fmla="*/ 897001 h 1262816"/>
                <a:gd name="connsiteX415" fmla="*/ 156041 w 1797323"/>
                <a:gd name="connsiteY415" fmla="*/ 902462 h 1262816"/>
                <a:gd name="connsiteX416" fmla="*/ 152803 w 1797323"/>
                <a:gd name="connsiteY416" fmla="*/ 900377 h 1262816"/>
                <a:gd name="connsiteX417" fmla="*/ 151732 w 1797323"/>
                <a:gd name="connsiteY417" fmla="*/ 894915 h 1262816"/>
                <a:gd name="connsiteX418" fmla="*/ 153928 w 1797323"/>
                <a:gd name="connsiteY418" fmla="*/ 891046 h 1262816"/>
                <a:gd name="connsiteX419" fmla="*/ 150855 w 1797323"/>
                <a:gd name="connsiteY419" fmla="*/ 885448 h 1262816"/>
                <a:gd name="connsiteX420" fmla="*/ 152556 w 1797323"/>
                <a:gd name="connsiteY420" fmla="*/ 879493 h 1262816"/>
                <a:gd name="connsiteX421" fmla="*/ 149482 w 1797323"/>
                <a:gd name="connsiteY421" fmla="*/ 873592 h 1262816"/>
                <a:gd name="connsiteX422" fmla="*/ 143884 w 1797323"/>
                <a:gd name="connsiteY422" fmla="*/ 869009 h 1262816"/>
                <a:gd name="connsiteX423" fmla="*/ 141716 w 1797323"/>
                <a:gd name="connsiteY423" fmla="*/ 859212 h 1262816"/>
                <a:gd name="connsiteX424" fmla="*/ 151596 w 1797323"/>
                <a:gd name="connsiteY424" fmla="*/ 853559 h 1262816"/>
                <a:gd name="connsiteX425" fmla="*/ 153818 w 1797323"/>
                <a:gd name="connsiteY425" fmla="*/ 861655 h 1262816"/>
                <a:gd name="connsiteX426" fmla="*/ 158209 w 1797323"/>
                <a:gd name="connsiteY426" fmla="*/ 865057 h 1262816"/>
                <a:gd name="connsiteX427" fmla="*/ 166826 w 1797323"/>
                <a:gd name="connsiteY427" fmla="*/ 859130 h 1262816"/>
                <a:gd name="connsiteX428" fmla="*/ 174620 w 1797323"/>
                <a:gd name="connsiteY428" fmla="*/ 856193 h 1262816"/>
                <a:gd name="connsiteX429" fmla="*/ 175690 w 1797323"/>
                <a:gd name="connsiteY429" fmla="*/ 853367 h 1262816"/>
                <a:gd name="connsiteX430" fmla="*/ 170394 w 1797323"/>
                <a:gd name="connsiteY430" fmla="*/ 843762 h 1262816"/>
                <a:gd name="connsiteX431" fmla="*/ 170723 w 1797323"/>
                <a:gd name="connsiteY431" fmla="*/ 836709 h 1262816"/>
                <a:gd name="connsiteX432" fmla="*/ 163698 w 1797323"/>
                <a:gd name="connsiteY432" fmla="*/ 835858 h 1262816"/>
                <a:gd name="connsiteX433" fmla="*/ 157852 w 1797323"/>
                <a:gd name="connsiteY433" fmla="*/ 829135 h 1262816"/>
                <a:gd name="connsiteX434" fmla="*/ 157029 w 1797323"/>
                <a:gd name="connsiteY434" fmla="*/ 822384 h 1262816"/>
                <a:gd name="connsiteX435" fmla="*/ 161310 w 1797323"/>
                <a:gd name="connsiteY435" fmla="*/ 819502 h 1262816"/>
                <a:gd name="connsiteX436" fmla="*/ 157111 w 1797323"/>
                <a:gd name="connsiteY436" fmla="*/ 807400 h 1262816"/>
                <a:gd name="connsiteX437" fmla="*/ 171162 w 1797323"/>
                <a:gd name="connsiteY437" fmla="*/ 806384 h 1262816"/>
                <a:gd name="connsiteX438" fmla="*/ 175717 w 1797323"/>
                <a:gd name="connsiteY438" fmla="*/ 797658 h 1262816"/>
                <a:gd name="connsiteX439" fmla="*/ 175334 w 1797323"/>
                <a:gd name="connsiteY439" fmla="*/ 791291 h 1262816"/>
                <a:gd name="connsiteX440" fmla="*/ 180246 w 1797323"/>
                <a:gd name="connsiteY440" fmla="*/ 791291 h 1262816"/>
                <a:gd name="connsiteX441" fmla="*/ 185377 w 1797323"/>
                <a:gd name="connsiteY441" fmla="*/ 784732 h 1262816"/>
                <a:gd name="connsiteX442" fmla="*/ 190016 w 1797323"/>
                <a:gd name="connsiteY442" fmla="*/ 782893 h 1262816"/>
                <a:gd name="connsiteX443" fmla="*/ 193693 w 1797323"/>
                <a:gd name="connsiteY443" fmla="*/ 776444 h 1262816"/>
                <a:gd name="connsiteX444" fmla="*/ 198194 w 1797323"/>
                <a:gd name="connsiteY444" fmla="*/ 754901 h 1262816"/>
                <a:gd name="connsiteX445" fmla="*/ 195257 w 1797323"/>
                <a:gd name="connsiteY445" fmla="*/ 752020 h 1262816"/>
                <a:gd name="connsiteX446" fmla="*/ 189604 w 1797323"/>
                <a:gd name="connsiteY446" fmla="*/ 755725 h 1262816"/>
                <a:gd name="connsiteX447" fmla="*/ 186393 w 1797323"/>
                <a:gd name="connsiteY447" fmla="*/ 750620 h 1262816"/>
                <a:gd name="connsiteX448" fmla="*/ 179944 w 1797323"/>
                <a:gd name="connsiteY448" fmla="*/ 747080 h 1262816"/>
                <a:gd name="connsiteX449" fmla="*/ 176020 w 1797323"/>
                <a:gd name="connsiteY449" fmla="*/ 740823 h 1262816"/>
                <a:gd name="connsiteX450" fmla="*/ 169214 w 1797323"/>
                <a:gd name="connsiteY450" fmla="*/ 736130 h 1262816"/>
                <a:gd name="connsiteX451" fmla="*/ 151403 w 1797323"/>
                <a:gd name="connsiteY451" fmla="*/ 738161 h 1262816"/>
                <a:gd name="connsiteX452" fmla="*/ 127775 w 1797323"/>
                <a:gd name="connsiteY452" fmla="*/ 753667 h 1262816"/>
                <a:gd name="connsiteX453" fmla="*/ 119844 w 1797323"/>
                <a:gd name="connsiteY453" fmla="*/ 754956 h 1262816"/>
                <a:gd name="connsiteX454" fmla="*/ 106040 w 1797323"/>
                <a:gd name="connsiteY454" fmla="*/ 752294 h 1262816"/>
                <a:gd name="connsiteX455" fmla="*/ 93389 w 1797323"/>
                <a:gd name="connsiteY455" fmla="*/ 747135 h 1262816"/>
                <a:gd name="connsiteX456" fmla="*/ 88559 w 1797323"/>
                <a:gd name="connsiteY456" fmla="*/ 742991 h 1262816"/>
                <a:gd name="connsiteX457" fmla="*/ 87434 w 1797323"/>
                <a:gd name="connsiteY457" fmla="*/ 738710 h 1262816"/>
                <a:gd name="connsiteX458" fmla="*/ 81863 w 1797323"/>
                <a:gd name="connsiteY458" fmla="*/ 741235 h 1262816"/>
                <a:gd name="connsiteX459" fmla="*/ 76209 w 1797323"/>
                <a:gd name="connsiteY459" fmla="*/ 740933 h 1262816"/>
                <a:gd name="connsiteX460" fmla="*/ 74426 w 1797323"/>
                <a:gd name="connsiteY460" fmla="*/ 735554 h 1262816"/>
                <a:gd name="connsiteX461" fmla="*/ 69815 w 1797323"/>
                <a:gd name="connsiteY461" fmla="*/ 731932 h 1262816"/>
                <a:gd name="connsiteX462" fmla="*/ 71874 w 1797323"/>
                <a:gd name="connsiteY462" fmla="*/ 727403 h 1262816"/>
                <a:gd name="connsiteX463" fmla="*/ 71654 w 1797323"/>
                <a:gd name="connsiteY463" fmla="*/ 721119 h 1262816"/>
                <a:gd name="connsiteX464" fmla="*/ 69843 w 1797323"/>
                <a:gd name="connsiteY464" fmla="*/ 714560 h 1262816"/>
                <a:gd name="connsiteX465" fmla="*/ 66632 w 1797323"/>
                <a:gd name="connsiteY465" fmla="*/ 710636 h 1262816"/>
                <a:gd name="connsiteX466" fmla="*/ 61637 w 1797323"/>
                <a:gd name="connsiteY466" fmla="*/ 707672 h 1262816"/>
                <a:gd name="connsiteX467" fmla="*/ 55298 w 1797323"/>
                <a:gd name="connsiteY467" fmla="*/ 708331 h 1262816"/>
                <a:gd name="connsiteX468" fmla="*/ 53047 w 1797323"/>
                <a:gd name="connsiteY468" fmla="*/ 700976 h 1262816"/>
                <a:gd name="connsiteX469" fmla="*/ 45363 w 1797323"/>
                <a:gd name="connsiteY469" fmla="*/ 698232 h 1262816"/>
                <a:gd name="connsiteX470" fmla="*/ 39052 w 1797323"/>
                <a:gd name="connsiteY470" fmla="*/ 700153 h 1262816"/>
                <a:gd name="connsiteX471" fmla="*/ 36582 w 1797323"/>
                <a:gd name="connsiteY471" fmla="*/ 697079 h 1262816"/>
                <a:gd name="connsiteX472" fmla="*/ 28898 w 1797323"/>
                <a:gd name="connsiteY472" fmla="*/ 697518 h 1262816"/>
                <a:gd name="connsiteX473" fmla="*/ 26208 w 1797323"/>
                <a:gd name="connsiteY473" fmla="*/ 694088 h 1262816"/>
                <a:gd name="connsiteX474" fmla="*/ 27389 w 1797323"/>
                <a:gd name="connsiteY474" fmla="*/ 690136 h 1262816"/>
                <a:gd name="connsiteX475" fmla="*/ 38475 w 1797323"/>
                <a:gd name="connsiteY475" fmla="*/ 690026 h 1262816"/>
                <a:gd name="connsiteX476" fmla="*/ 43909 w 1797323"/>
                <a:gd name="connsiteY476" fmla="*/ 686706 h 1262816"/>
                <a:gd name="connsiteX477" fmla="*/ 45034 w 1797323"/>
                <a:gd name="connsiteY477" fmla="*/ 683001 h 1262816"/>
                <a:gd name="connsiteX478" fmla="*/ 39656 w 1797323"/>
                <a:gd name="connsiteY478" fmla="*/ 675975 h 1262816"/>
                <a:gd name="connsiteX479" fmla="*/ 40452 w 1797323"/>
                <a:gd name="connsiteY479" fmla="*/ 669526 h 1262816"/>
                <a:gd name="connsiteX480" fmla="*/ 35868 w 1797323"/>
                <a:gd name="connsiteY480" fmla="*/ 655146 h 1262816"/>
                <a:gd name="connsiteX481" fmla="*/ 36389 w 1797323"/>
                <a:gd name="connsiteY481" fmla="*/ 643922 h 1262816"/>
                <a:gd name="connsiteX482" fmla="*/ 21516 w 1797323"/>
                <a:gd name="connsiteY482" fmla="*/ 637144 h 1262816"/>
                <a:gd name="connsiteX483" fmla="*/ 16713 w 1797323"/>
                <a:gd name="connsiteY483" fmla="*/ 637391 h 1262816"/>
                <a:gd name="connsiteX484" fmla="*/ 12761 w 1797323"/>
                <a:gd name="connsiteY484" fmla="*/ 641150 h 1262816"/>
                <a:gd name="connsiteX485" fmla="*/ 7931 w 1797323"/>
                <a:gd name="connsiteY485" fmla="*/ 639559 h 1262816"/>
                <a:gd name="connsiteX486" fmla="*/ 4583 w 1797323"/>
                <a:gd name="connsiteY486" fmla="*/ 629542 h 1262816"/>
                <a:gd name="connsiteX487" fmla="*/ 6559 w 1797323"/>
                <a:gd name="connsiteY487" fmla="*/ 623889 h 1262816"/>
                <a:gd name="connsiteX488" fmla="*/ 0 w 1797323"/>
                <a:gd name="connsiteY488" fmla="*/ 614695 h 1262816"/>
                <a:gd name="connsiteX489" fmla="*/ 2223 w 1797323"/>
                <a:gd name="connsiteY489" fmla="*/ 606380 h 1262816"/>
                <a:gd name="connsiteX490" fmla="*/ 7081 w 1797323"/>
                <a:gd name="connsiteY490" fmla="*/ 606243 h 1262816"/>
                <a:gd name="connsiteX491" fmla="*/ 9441 w 1797323"/>
                <a:gd name="connsiteY491" fmla="*/ 603251 h 1262816"/>
                <a:gd name="connsiteX492" fmla="*/ 10099 w 1797323"/>
                <a:gd name="connsiteY492" fmla="*/ 599135 h 1262816"/>
                <a:gd name="connsiteX493" fmla="*/ 7931 w 1797323"/>
                <a:gd name="connsiteY493" fmla="*/ 593619 h 1262816"/>
                <a:gd name="connsiteX494" fmla="*/ 12487 w 1797323"/>
                <a:gd name="connsiteY494" fmla="*/ 583575 h 1262816"/>
                <a:gd name="connsiteX495" fmla="*/ 22723 w 1797323"/>
                <a:gd name="connsiteY495" fmla="*/ 581956 h 1262816"/>
                <a:gd name="connsiteX496" fmla="*/ 33426 w 1797323"/>
                <a:gd name="connsiteY496" fmla="*/ 572982 h 1262816"/>
                <a:gd name="connsiteX497" fmla="*/ 37926 w 1797323"/>
                <a:gd name="connsiteY497" fmla="*/ 572817 h 1262816"/>
                <a:gd name="connsiteX498" fmla="*/ 36088 w 1797323"/>
                <a:gd name="connsiteY498" fmla="*/ 568783 h 1262816"/>
                <a:gd name="connsiteX499" fmla="*/ 37048 w 1797323"/>
                <a:gd name="connsiteY499" fmla="*/ 566478 h 1262816"/>
                <a:gd name="connsiteX500" fmla="*/ 45281 w 1797323"/>
                <a:gd name="connsiteY500" fmla="*/ 568536 h 1262816"/>
                <a:gd name="connsiteX501" fmla="*/ 58509 w 1797323"/>
                <a:gd name="connsiteY501" fmla="*/ 561099 h 1262816"/>
                <a:gd name="connsiteX502" fmla="*/ 62159 w 1797323"/>
                <a:gd name="connsiteY502" fmla="*/ 567548 h 1262816"/>
                <a:gd name="connsiteX503" fmla="*/ 61198 w 1797323"/>
                <a:gd name="connsiteY503" fmla="*/ 571390 h 1262816"/>
                <a:gd name="connsiteX504" fmla="*/ 62515 w 1797323"/>
                <a:gd name="connsiteY504" fmla="*/ 574382 h 1262816"/>
                <a:gd name="connsiteX505" fmla="*/ 68224 w 1797323"/>
                <a:gd name="connsiteY505" fmla="*/ 574162 h 1262816"/>
                <a:gd name="connsiteX506" fmla="*/ 71352 w 1797323"/>
                <a:gd name="connsiteY506" fmla="*/ 571061 h 1262816"/>
                <a:gd name="connsiteX507" fmla="*/ 79228 w 1797323"/>
                <a:gd name="connsiteY507" fmla="*/ 568948 h 1262816"/>
                <a:gd name="connsiteX508" fmla="*/ 82466 w 1797323"/>
                <a:gd name="connsiteY508" fmla="*/ 571088 h 1262816"/>
                <a:gd name="connsiteX509" fmla="*/ 86144 w 1797323"/>
                <a:gd name="connsiteY509" fmla="*/ 567850 h 1262816"/>
                <a:gd name="connsiteX510" fmla="*/ 90150 w 1797323"/>
                <a:gd name="connsiteY510" fmla="*/ 556763 h 1262816"/>
                <a:gd name="connsiteX511" fmla="*/ 96408 w 1797323"/>
                <a:gd name="connsiteY511" fmla="*/ 546746 h 1262816"/>
                <a:gd name="connsiteX512" fmla="*/ 101485 w 1797323"/>
                <a:gd name="connsiteY512" fmla="*/ 545182 h 1262816"/>
                <a:gd name="connsiteX513" fmla="*/ 118993 w 1797323"/>
                <a:gd name="connsiteY513" fmla="*/ 547158 h 1262816"/>
                <a:gd name="connsiteX514" fmla="*/ 127089 w 1797323"/>
                <a:gd name="connsiteY514" fmla="*/ 544359 h 1262816"/>
                <a:gd name="connsiteX515" fmla="*/ 133346 w 1797323"/>
                <a:gd name="connsiteY515" fmla="*/ 545045 h 1262816"/>
                <a:gd name="connsiteX516" fmla="*/ 140673 w 1797323"/>
                <a:gd name="connsiteY516" fmla="*/ 536648 h 1262816"/>
                <a:gd name="connsiteX517" fmla="*/ 142813 w 1797323"/>
                <a:gd name="connsiteY517" fmla="*/ 530665 h 1262816"/>
                <a:gd name="connsiteX518" fmla="*/ 156919 w 1797323"/>
                <a:gd name="connsiteY518" fmla="*/ 522844 h 1262816"/>
                <a:gd name="connsiteX519" fmla="*/ 160212 w 1797323"/>
                <a:gd name="connsiteY519" fmla="*/ 521005 h 1262816"/>
                <a:gd name="connsiteX520" fmla="*/ 171683 w 1797323"/>
                <a:gd name="connsiteY520" fmla="*/ 514638 h 1262816"/>
                <a:gd name="connsiteX521" fmla="*/ 179011 w 1797323"/>
                <a:gd name="connsiteY521" fmla="*/ 515791 h 1262816"/>
                <a:gd name="connsiteX522" fmla="*/ 183347 w 1797323"/>
                <a:gd name="connsiteY522" fmla="*/ 508519 h 1262816"/>
                <a:gd name="connsiteX523" fmla="*/ 184088 w 1797323"/>
                <a:gd name="connsiteY523" fmla="*/ 507228 h 1262816"/>
                <a:gd name="connsiteX524" fmla="*/ 195395 w 1797323"/>
                <a:gd name="connsiteY524" fmla="*/ 505472 h 1262816"/>
                <a:gd name="connsiteX525" fmla="*/ 195888 w 1797323"/>
                <a:gd name="connsiteY525" fmla="*/ 499188 h 1262816"/>
                <a:gd name="connsiteX526" fmla="*/ 195586 w 1797323"/>
                <a:gd name="connsiteY526" fmla="*/ 491998 h 1262816"/>
                <a:gd name="connsiteX527" fmla="*/ 195230 w 1797323"/>
                <a:gd name="connsiteY527" fmla="*/ 482750 h 1262816"/>
                <a:gd name="connsiteX528" fmla="*/ 195120 w 1797323"/>
                <a:gd name="connsiteY528" fmla="*/ 479950 h 1262816"/>
                <a:gd name="connsiteX529" fmla="*/ 203325 w 1797323"/>
                <a:gd name="connsiteY529" fmla="*/ 472650 h 1262816"/>
                <a:gd name="connsiteX530" fmla="*/ 202392 w 1797323"/>
                <a:gd name="connsiteY530" fmla="*/ 466284 h 1262816"/>
                <a:gd name="connsiteX531" fmla="*/ 210433 w 1797323"/>
                <a:gd name="connsiteY531" fmla="*/ 460768 h 1262816"/>
                <a:gd name="connsiteX532" fmla="*/ 209610 w 1797323"/>
                <a:gd name="connsiteY532" fmla="*/ 447348 h 1262816"/>
                <a:gd name="connsiteX533" fmla="*/ 200746 w 1797323"/>
                <a:gd name="connsiteY533" fmla="*/ 420344 h 1262816"/>
                <a:gd name="connsiteX534" fmla="*/ 199181 w 1797323"/>
                <a:gd name="connsiteY534" fmla="*/ 407309 h 1262816"/>
                <a:gd name="connsiteX535" fmla="*/ 201459 w 1797323"/>
                <a:gd name="connsiteY535" fmla="*/ 397182 h 1262816"/>
                <a:gd name="connsiteX536" fmla="*/ 196519 w 1797323"/>
                <a:gd name="connsiteY536" fmla="*/ 393505 h 1262816"/>
                <a:gd name="connsiteX537" fmla="*/ 189302 w 1797323"/>
                <a:gd name="connsiteY537" fmla="*/ 393505 h 1262816"/>
                <a:gd name="connsiteX538" fmla="*/ 187381 w 1797323"/>
                <a:gd name="connsiteY538" fmla="*/ 388675 h 1262816"/>
                <a:gd name="connsiteX539" fmla="*/ 192348 w 1797323"/>
                <a:gd name="connsiteY539" fmla="*/ 384449 h 1262816"/>
                <a:gd name="connsiteX540" fmla="*/ 237218 w 1797323"/>
                <a:gd name="connsiteY540" fmla="*/ 371962 h 1262816"/>
                <a:gd name="connsiteX541" fmla="*/ 246219 w 1797323"/>
                <a:gd name="connsiteY541" fmla="*/ 378631 h 1262816"/>
                <a:gd name="connsiteX542" fmla="*/ 254424 w 1797323"/>
                <a:gd name="connsiteY542" fmla="*/ 377012 h 1262816"/>
                <a:gd name="connsiteX543" fmla="*/ 262465 w 1797323"/>
                <a:gd name="connsiteY543" fmla="*/ 379317 h 1262816"/>
                <a:gd name="connsiteX544" fmla="*/ 264633 w 1797323"/>
                <a:gd name="connsiteY544" fmla="*/ 369355 h 1262816"/>
                <a:gd name="connsiteX545" fmla="*/ 257169 w 1797323"/>
                <a:gd name="connsiteY545" fmla="*/ 364031 h 1262816"/>
                <a:gd name="connsiteX546" fmla="*/ 256345 w 1797323"/>
                <a:gd name="connsiteY546" fmla="*/ 359750 h 1262816"/>
                <a:gd name="connsiteX547" fmla="*/ 278410 w 1797323"/>
                <a:gd name="connsiteY547" fmla="*/ 293311 h 1262816"/>
                <a:gd name="connsiteX548" fmla="*/ 282690 w 1797323"/>
                <a:gd name="connsiteY548" fmla="*/ 292652 h 1262816"/>
                <a:gd name="connsiteX549" fmla="*/ 306429 w 1797323"/>
                <a:gd name="connsiteY549" fmla="*/ 302421 h 1262816"/>
                <a:gd name="connsiteX550" fmla="*/ 325364 w 1797323"/>
                <a:gd name="connsiteY550" fmla="*/ 302037 h 1262816"/>
                <a:gd name="connsiteX551" fmla="*/ 330551 w 1797323"/>
                <a:gd name="connsiteY551" fmla="*/ 308020 h 1262816"/>
                <a:gd name="connsiteX552" fmla="*/ 342543 w 1797323"/>
                <a:gd name="connsiteY552" fmla="*/ 299924 h 1262816"/>
                <a:gd name="connsiteX553" fmla="*/ 350475 w 1797323"/>
                <a:gd name="connsiteY553" fmla="*/ 298305 h 1262816"/>
                <a:gd name="connsiteX554" fmla="*/ 355963 w 1797323"/>
                <a:gd name="connsiteY554" fmla="*/ 289002 h 1262816"/>
                <a:gd name="connsiteX555" fmla="*/ 352231 w 1797323"/>
                <a:gd name="connsiteY555" fmla="*/ 260626 h 1262816"/>
                <a:gd name="connsiteX556" fmla="*/ 357665 w 1797323"/>
                <a:gd name="connsiteY556" fmla="*/ 242569 h 1262816"/>
                <a:gd name="connsiteX557" fmla="*/ 381869 w 1797323"/>
                <a:gd name="connsiteY557" fmla="*/ 233567 h 1262816"/>
                <a:gd name="connsiteX558" fmla="*/ 387083 w 1797323"/>
                <a:gd name="connsiteY558" fmla="*/ 225828 h 1262816"/>
                <a:gd name="connsiteX559" fmla="*/ 387386 w 1797323"/>
                <a:gd name="connsiteY559" fmla="*/ 214439 h 1262816"/>
                <a:gd name="connsiteX560" fmla="*/ 390733 w 1797323"/>
                <a:gd name="connsiteY560" fmla="*/ 209637 h 1262816"/>
                <a:gd name="connsiteX561" fmla="*/ 397923 w 1797323"/>
                <a:gd name="connsiteY561" fmla="*/ 207469 h 1262816"/>
                <a:gd name="connsiteX562" fmla="*/ 403741 w 1797323"/>
                <a:gd name="connsiteY562" fmla="*/ 209115 h 1262816"/>
                <a:gd name="connsiteX563" fmla="*/ 418835 w 1797323"/>
                <a:gd name="connsiteY563" fmla="*/ 205356 h 1262816"/>
                <a:gd name="connsiteX564" fmla="*/ 420701 w 1797323"/>
                <a:gd name="connsiteY564" fmla="*/ 211366 h 1262816"/>
                <a:gd name="connsiteX565" fmla="*/ 418039 w 1797323"/>
                <a:gd name="connsiteY565" fmla="*/ 218665 h 1262816"/>
                <a:gd name="connsiteX566" fmla="*/ 425175 w 1797323"/>
                <a:gd name="connsiteY566" fmla="*/ 225856 h 1262816"/>
                <a:gd name="connsiteX567" fmla="*/ 425010 w 1797323"/>
                <a:gd name="connsiteY567" fmla="*/ 233018 h 1262816"/>
                <a:gd name="connsiteX568" fmla="*/ 438676 w 1797323"/>
                <a:gd name="connsiteY568" fmla="*/ 240895 h 1262816"/>
                <a:gd name="connsiteX569" fmla="*/ 443067 w 1797323"/>
                <a:gd name="connsiteY569" fmla="*/ 249814 h 1262816"/>
                <a:gd name="connsiteX570" fmla="*/ 455334 w 1797323"/>
                <a:gd name="connsiteY570" fmla="*/ 258156 h 1262816"/>
                <a:gd name="connsiteX571" fmla="*/ 469302 w 1797323"/>
                <a:gd name="connsiteY571" fmla="*/ 257964 h 1262816"/>
                <a:gd name="connsiteX572" fmla="*/ 475999 w 1797323"/>
                <a:gd name="connsiteY572" fmla="*/ 264935 h 1262816"/>
                <a:gd name="connsiteX573" fmla="*/ 483299 w 1797323"/>
                <a:gd name="connsiteY573" fmla="*/ 264441 h 1262816"/>
                <a:gd name="connsiteX574" fmla="*/ 489034 w 1797323"/>
                <a:gd name="connsiteY574" fmla="*/ 270670 h 1262816"/>
                <a:gd name="connsiteX575" fmla="*/ 492547 w 1797323"/>
                <a:gd name="connsiteY575" fmla="*/ 274485 h 1262816"/>
                <a:gd name="connsiteX576" fmla="*/ 498722 w 1797323"/>
                <a:gd name="connsiteY576" fmla="*/ 292350 h 1262816"/>
                <a:gd name="connsiteX577" fmla="*/ 509617 w 1797323"/>
                <a:gd name="connsiteY577" fmla="*/ 305276 h 1262816"/>
                <a:gd name="connsiteX578" fmla="*/ 513211 w 1797323"/>
                <a:gd name="connsiteY578" fmla="*/ 316198 h 1262816"/>
                <a:gd name="connsiteX579" fmla="*/ 513211 w 1797323"/>
                <a:gd name="connsiteY579" fmla="*/ 322757 h 1262816"/>
                <a:gd name="connsiteX580" fmla="*/ 510110 w 1797323"/>
                <a:gd name="connsiteY580" fmla="*/ 332197 h 1262816"/>
                <a:gd name="connsiteX581" fmla="*/ 512333 w 1797323"/>
                <a:gd name="connsiteY581" fmla="*/ 342900 h 1262816"/>
                <a:gd name="connsiteX582" fmla="*/ 505253 w 1797323"/>
                <a:gd name="connsiteY582" fmla="*/ 354234 h 1262816"/>
                <a:gd name="connsiteX583" fmla="*/ 503167 w 1797323"/>
                <a:gd name="connsiteY583" fmla="*/ 362055 h 1262816"/>
                <a:gd name="connsiteX584" fmla="*/ 509534 w 1797323"/>
                <a:gd name="connsiteY584" fmla="*/ 376490 h 1262816"/>
                <a:gd name="connsiteX585" fmla="*/ 518124 w 1797323"/>
                <a:gd name="connsiteY585" fmla="*/ 378192 h 1262816"/>
                <a:gd name="connsiteX586" fmla="*/ 528525 w 1797323"/>
                <a:gd name="connsiteY586" fmla="*/ 380250 h 1262816"/>
                <a:gd name="connsiteX587" fmla="*/ 549738 w 1797323"/>
                <a:gd name="connsiteY587" fmla="*/ 384449 h 1262816"/>
                <a:gd name="connsiteX588" fmla="*/ 553470 w 1797323"/>
                <a:gd name="connsiteY588" fmla="*/ 385107 h 1262816"/>
                <a:gd name="connsiteX589" fmla="*/ 566533 w 1797323"/>
                <a:gd name="connsiteY589" fmla="*/ 384037 h 1262816"/>
                <a:gd name="connsiteX590" fmla="*/ 587527 w 1797323"/>
                <a:gd name="connsiteY590" fmla="*/ 387824 h 1262816"/>
                <a:gd name="connsiteX591" fmla="*/ 605722 w 1797323"/>
                <a:gd name="connsiteY591" fmla="*/ 398472 h 1262816"/>
                <a:gd name="connsiteX592" fmla="*/ 622819 w 1797323"/>
                <a:gd name="connsiteY592" fmla="*/ 413127 h 1262816"/>
                <a:gd name="connsiteX593" fmla="*/ 630777 w 1797323"/>
                <a:gd name="connsiteY593" fmla="*/ 416282 h 1262816"/>
                <a:gd name="connsiteX594" fmla="*/ 641644 w 1797323"/>
                <a:gd name="connsiteY594" fmla="*/ 415459 h 1262816"/>
                <a:gd name="connsiteX595" fmla="*/ 640245 w 1797323"/>
                <a:gd name="connsiteY595" fmla="*/ 425174 h 1262816"/>
                <a:gd name="connsiteX596" fmla="*/ 646091 w 1797323"/>
                <a:gd name="connsiteY596" fmla="*/ 428522 h 1262816"/>
                <a:gd name="connsiteX597" fmla="*/ 653143 w 1797323"/>
                <a:gd name="connsiteY597" fmla="*/ 447266 h 1262816"/>
                <a:gd name="connsiteX598" fmla="*/ 657205 w 1797323"/>
                <a:gd name="connsiteY598" fmla="*/ 457447 h 1262816"/>
                <a:gd name="connsiteX599" fmla="*/ 668923 w 1797323"/>
                <a:gd name="connsiteY599" fmla="*/ 470400 h 1262816"/>
                <a:gd name="connsiteX600" fmla="*/ 672408 w 1797323"/>
                <a:gd name="connsiteY600" fmla="*/ 477865 h 1262816"/>
                <a:gd name="connsiteX601" fmla="*/ 695131 w 1797323"/>
                <a:gd name="connsiteY601" fmla="*/ 476438 h 1262816"/>
                <a:gd name="connsiteX602" fmla="*/ 724111 w 1797323"/>
                <a:gd name="connsiteY602" fmla="*/ 481789 h 1262816"/>
                <a:gd name="connsiteX603" fmla="*/ 733963 w 1797323"/>
                <a:gd name="connsiteY603" fmla="*/ 482667 h 1262816"/>
                <a:gd name="connsiteX604" fmla="*/ 760637 w 1797323"/>
                <a:gd name="connsiteY604" fmla="*/ 485082 h 1262816"/>
                <a:gd name="connsiteX605" fmla="*/ 774908 w 1797323"/>
                <a:gd name="connsiteY605" fmla="*/ 482667 h 1262816"/>
                <a:gd name="connsiteX606" fmla="*/ 787175 w 1797323"/>
                <a:gd name="connsiteY606" fmla="*/ 480581 h 1262816"/>
                <a:gd name="connsiteX607" fmla="*/ 801967 w 1797323"/>
                <a:gd name="connsiteY607" fmla="*/ 481240 h 1262816"/>
                <a:gd name="connsiteX608" fmla="*/ 807757 w 1797323"/>
                <a:gd name="connsiteY608" fmla="*/ 482667 h 1262816"/>
                <a:gd name="connsiteX609" fmla="*/ 828257 w 1797323"/>
                <a:gd name="connsiteY609" fmla="*/ 487717 h 1262816"/>
                <a:gd name="connsiteX610" fmla="*/ 832401 w 1797323"/>
                <a:gd name="connsiteY610" fmla="*/ 491943 h 1262816"/>
                <a:gd name="connsiteX611" fmla="*/ 839234 w 1797323"/>
                <a:gd name="connsiteY611" fmla="*/ 498447 h 1262816"/>
                <a:gd name="connsiteX612" fmla="*/ 856962 w 1797323"/>
                <a:gd name="connsiteY612" fmla="*/ 502289 h 1262816"/>
                <a:gd name="connsiteX613" fmla="*/ 878477 w 1797323"/>
                <a:gd name="connsiteY613" fmla="*/ 512717 h 1262816"/>
                <a:gd name="connsiteX614" fmla="*/ 891650 w 1797323"/>
                <a:gd name="connsiteY614" fmla="*/ 515599 h 1262816"/>
                <a:gd name="connsiteX615" fmla="*/ 908034 w 1797323"/>
                <a:gd name="connsiteY615" fmla="*/ 513403 h 1262816"/>
                <a:gd name="connsiteX616" fmla="*/ 911217 w 1797323"/>
                <a:gd name="connsiteY616" fmla="*/ 520785 h 1262816"/>
                <a:gd name="connsiteX617" fmla="*/ 922908 w 1797323"/>
                <a:gd name="connsiteY617" fmla="*/ 523146 h 1262816"/>
                <a:gd name="connsiteX618" fmla="*/ 945987 w 1797323"/>
                <a:gd name="connsiteY618" fmla="*/ 509506 h 1262816"/>
                <a:gd name="connsiteX619" fmla="*/ 990746 w 1797323"/>
                <a:gd name="connsiteY619" fmla="*/ 491943 h 1262816"/>
                <a:gd name="connsiteX620" fmla="*/ 994479 w 1797323"/>
                <a:gd name="connsiteY620" fmla="*/ 490488 h 1262816"/>
                <a:gd name="connsiteX621" fmla="*/ 1036851 w 1797323"/>
                <a:gd name="connsiteY621" fmla="*/ 491778 h 1262816"/>
                <a:gd name="connsiteX622" fmla="*/ 1053619 w 1797323"/>
                <a:gd name="connsiteY622" fmla="*/ 489583 h 1262816"/>
                <a:gd name="connsiteX623" fmla="*/ 1070386 w 1797323"/>
                <a:gd name="connsiteY623" fmla="*/ 482695 h 1262816"/>
                <a:gd name="connsiteX624" fmla="*/ 1080567 w 1797323"/>
                <a:gd name="connsiteY624" fmla="*/ 478496 h 1262816"/>
                <a:gd name="connsiteX625" fmla="*/ 1100189 w 1797323"/>
                <a:gd name="connsiteY625" fmla="*/ 455910 h 1262816"/>
                <a:gd name="connsiteX626" fmla="*/ 1117725 w 1797323"/>
                <a:gd name="connsiteY626" fmla="*/ 447266 h 1262816"/>
                <a:gd name="connsiteX627" fmla="*/ 1128236 w 1797323"/>
                <a:gd name="connsiteY627" fmla="*/ 438786 h 1262816"/>
                <a:gd name="connsiteX628" fmla="*/ 1126589 w 1797323"/>
                <a:gd name="connsiteY628" fmla="*/ 431596 h 1262816"/>
                <a:gd name="connsiteX629" fmla="*/ 1117972 w 1797323"/>
                <a:gd name="connsiteY629" fmla="*/ 422567 h 1262816"/>
                <a:gd name="connsiteX630" fmla="*/ 1112786 w 1797323"/>
                <a:gd name="connsiteY630" fmla="*/ 412413 h 1262816"/>
                <a:gd name="connsiteX631" fmla="*/ 1117780 w 1797323"/>
                <a:gd name="connsiteY631" fmla="*/ 397923 h 1262816"/>
                <a:gd name="connsiteX632" fmla="*/ 1124394 w 1797323"/>
                <a:gd name="connsiteY632" fmla="*/ 385931 h 1262816"/>
                <a:gd name="connsiteX633" fmla="*/ 1130102 w 1797323"/>
                <a:gd name="connsiteY633" fmla="*/ 382363 h 1262816"/>
                <a:gd name="connsiteX634" fmla="*/ 1142067 w 1797323"/>
                <a:gd name="connsiteY634" fmla="*/ 382994 h 1262816"/>
                <a:gd name="connsiteX635" fmla="*/ 1154389 w 1797323"/>
                <a:gd name="connsiteY635" fmla="*/ 392435 h 1262816"/>
                <a:gd name="connsiteX636" fmla="*/ 1176892 w 1797323"/>
                <a:gd name="connsiteY636" fmla="*/ 396304 h 1262816"/>
                <a:gd name="connsiteX637" fmla="*/ 1190861 w 1797323"/>
                <a:gd name="connsiteY637" fmla="*/ 387989 h 1262816"/>
                <a:gd name="connsiteX638" fmla="*/ 1201290 w 1797323"/>
                <a:gd name="connsiteY638" fmla="*/ 377698 h 1262816"/>
                <a:gd name="connsiteX639" fmla="*/ 1204665 w 1797323"/>
                <a:gd name="connsiteY639" fmla="*/ 370618 h 1262816"/>
                <a:gd name="connsiteX640" fmla="*/ 1208809 w 1797323"/>
                <a:gd name="connsiteY640" fmla="*/ 368504 h 1262816"/>
                <a:gd name="connsiteX641" fmla="*/ 1227854 w 1797323"/>
                <a:gd name="connsiteY641" fmla="*/ 369684 h 1262816"/>
                <a:gd name="connsiteX642" fmla="*/ 1238145 w 1797323"/>
                <a:gd name="connsiteY642" fmla="*/ 366528 h 1262816"/>
                <a:gd name="connsiteX643" fmla="*/ 1254172 w 1797323"/>
                <a:gd name="connsiteY643" fmla="*/ 355085 h 1262816"/>
                <a:gd name="connsiteX644" fmla="*/ 1256011 w 1797323"/>
                <a:gd name="connsiteY644" fmla="*/ 344464 h 1262816"/>
                <a:gd name="connsiteX645" fmla="*/ 1264628 w 1797323"/>
                <a:gd name="connsiteY645" fmla="*/ 331895 h 1262816"/>
                <a:gd name="connsiteX646" fmla="*/ 1272257 w 1797323"/>
                <a:gd name="connsiteY646" fmla="*/ 328245 h 1262816"/>
                <a:gd name="connsiteX647" fmla="*/ 1285813 w 1797323"/>
                <a:gd name="connsiteY647" fmla="*/ 328575 h 1262816"/>
                <a:gd name="connsiteX648" fmla="*/ 1290918 w 1797323"/>
                <a:gd name="connsiteY648" fmla="*/ 319135 h 1262816"/>
                <a:gd name="connsiteX649" fmla="*/ 1298190 w 1797323"/>
                <a:gd name="connsiteY649" fmla="*/ 321549 h 1262816"/>
                <a:gd name="connsiteX650" fmla="*/ 1314629 w 1797323"/>
                <a:gd name="connsiteY650" fmla="*/ 312905 h 1262816"/>
                <a:gd name="connsiteX651" fmla="*/ 1328432 w 1797323"/>
                <a:gd name="connsiteY651" fmla="*/ 314195 h 1262816"/>
                <a:gd name="connsiteX652" fmla="*/ 1331808 w 1797323"/>
                <a:gd name="connsiteY652" fmla="*/ 311423 h 1262816"/>
                <a:gd name="connsiteX653" fmla="*/ 1339108 w 1797323"/>
                <a:gd name="connsiteY653" fmla="*/ 315924 h 1262816"/>
                <a:gd name="connsiteX654" fmla="*/ 1357083 w 1797323"/>
                <a:gd name="connsiteY654" fmla="*/ 317817 h 1262816"/>
                <a:gd name="connsiteX655" fmla="*/ 1362133 w 1797323"/>
                <a:gd name="connsiteY655" fmla="*/ 314003 h 1262816"/>
                <a:gd name="connsiteX656" fmla="*/ 1362709 w 1797323"/>
                <a:gd name="connsiteY656" fmla="*/ 306895 h 1262816"/>
                <a:gd name="connsiteX657" fmla="*/ 1357110 w 1797323"/>
                <a:gd name="connsiteY657" fmla="*/ 294655 h 1262816"/>
                <a:gd name="connsiteX658" fmla="*/ 1351732 w 1797323"/>
                <a:gd name="connsiteY658" fmla="*/ 288590 h 1262816"/>
                <a:gd name="connsiteX659" fmla="*/ 1345310 w 1797323"/>
                <a:gd name="connsiteY659" fmla="*/ 280632 h 1262816"/>
                <a:gd name="connsiteX660" fmla="*/ 1340315 w 1797323"/>
                <a:gd name="connsiteY660" fmla="*/ 278409 h 1262816"/>
                <a:gd name="connsiteX661" fmla="*/ 1338340 w 1797323"/>
                <a:gd name="connsiteY661" fmla="*/ 272701 h 1262816"/>
                <a:gd name="connsiteX662" fmla="*/ 1328872 w 1797323"/>
                <a:gd name="connsiteY662" fmla="*/ 267514 h 1262816"/>
                <a:gd name="connsiteX663" fmla="*/ 1322944 w 1797323"/>
                <a:gd name="connsiteY663" fmla="*/ 258842 h 1262816"/>
                <a:gd name="connsiteX664" fmla="*/ 1311638 w 1797323"/>
                <a:gd name="connsiteY664" fmla="*/ 255576 h 1262816"/>
                <a:gd name="connsiteX665" fmla="*/ 1300002 w 1797323"/>
                <a:gd name="connsiteY665" fmla="*/ 257333 h 1262816"/>
                <a:gd name="connsiteX666" fmla="*/ 1287378 w 1797323"/>
                <a:gd name="connsiteY666" fmla="*/ 272317 h 1262816"/>
                <a:gd name="connsiteX667" fmla="*/ 1278294 w 1797323"/>
                <a:gd name="connsiteY667" fmla="*/ 265044 h 1262816"/>
                <a:gd name="connsiteX668" fmla="*/ 1270857 w 1797323"/>
                <a:gd name="connsiteY668" fmla="*/ 262218 h 1262816"/>
                <a:gd name="connsiteX669" fmla="*/ 1253898 w 1797323"/>
                <a:gd name="connsiteY669" fmla="*/ 263535 h 1262816"/>
                <a:gd name="connsiteX670" fmla="*/ 1245253 w 1797323"/>
                <a:gd name="connsiteY670" fmla="*/ 270917 h 1262816"/>
                <a:gd name="connsiteX671" fmla="*/ 1235209 w 1797323"/>
                <a:gd name="connsiteY671" fmla="*/ 261696 h 1262816"/>
                <a:gd name="connsiteX672" fmla="*/ 1233919 w 1797323"/>
                <a:gd name="connsiteY672" fmla="*/ 252338 h 1262816"/>
                <a:gd name="connsiteX673" fmla="*/ 1241301 w 1797323"/>
                <a:gd name="connsiteY673" fmla="*/ 246493 h 1262816"/>
                <a:gd name="connsiteX674" fmla="*/ 1241603 w 1797323"/>
                <a:gd name="connsiteY674" fmla="*/ 234692 h 1262816"/>
                <a:gd name="connsiteX675" fmla="*/ 1248683 w 1797323"/>
                <a:gd name="connsiteY675" fmla="*/ 223057 h 1262816"/>
                <a:gd name="connsiteX676" fmla="*/ 1249616 w 1797323"/>
                <a:gd name="connsiteY676" fmla="*/ 217486 h 1262816"/>
                <a:gd name="connsiteX677" fmla="*/ 1268607 w 1797323"/>
                <a:gd name="connsiteY677" fmla="*/ 175168 h 1262816"/>
                <a:gd name="connsiteX678" fmla="*/ 1280627 w 1797323"/>
                <a:gd name="connsiteY678" fmla="*/ 182908 h 1262816"/>
                <a:gd name="connsiteX679" fmla="*/ 1299892 w 1797323"/>
                <a:gd name="connsiteY679" fmla="*/ 188862 h 1262816"/>
                <a:gd name="connsiteX680" fmla="*/ 1308893 w 1797323"/>
                <a:gd name="connsiteY680" fmla="*/ 184362 h 1262816"/>
                <a:gd name="connsiteX681" fmla="*/ 1323328 w 1797323"/>
                <a:gd name="connsiteY681" fmla="*/ 171958 h 1262816"/>
                <a:gd name="connsiteX682" fmla="*/ 1340398 w 1797323"/>
                <a:gd name="connsiteY682" fmla="*/ 165865 h 1262816"/>
                <a:gd name="connsiteX683" fmla="*/ 1345255 w 1797323"/>
                <a:gd name="connsiteY683" fmla="*/ 156672 h 1262816"/>
                <a:gd name="connsiteX684" fmla="*/ 1341989 w 1797323"/>
                <a:gd name="connsiteY684" fmla="*/ 149948 h 1262816"/>
                <a:gd name="connsiteX685" fmla="*/ 1343718 w 1797323"/>
                <a:gd name="connsiteY685" fmla="*/ 142676 h 1262816"/>
                <a:gd name="connsiteX686" fmla="*/ 1357055 w 1797323"/>
                <a:gd name="connsiteY686" fmla="*/ 118279 h 1262816"/>
                <a:gd name="connsiteX687" fmla="*/ 1366660 w 1797323"/>
                <a:gd name="connsiteY687" fmla="*/ 94020 h 1262816"/>
                <a:gd name="connsiteX688" fmla="*/ 1382935 w 1797323"/>
                <a:gd name="connsiteY688" fmla="*/ 78487 h 1262816"/>
                <a:gd name="connsiteX689" fmla="*/ 1386804 w 1797323"/>
                <a:gd name="connsiteY689" fmla="*/ 69211 h 1262816"/>
                <a:gd name="connsiteX690" fmla="*/ 1383593 w 1797323"/>
                <a:gd name="connsiteY690" fmla="*/ 48464 h 1262816"/>
                <a:gd name="connsiteX691" fmla="*/ 1378242 w 1797323"/>
                <a:gd name="connsiteY691" fmla="*/ 44979 h 1262816"/>
                <a:gd name="connsiteX692" fmla="*/ 1368280 w 1797323"/>
                <a:gd name="connsiteY692" fmla="*/ 45089 h 1262816"/>
                <a:gd name="connsiteX693" fmla="*/ 1366853 w 1797323"/>
                <a:gd name="connsiteY693" fmla="*/ 41302 h 1262816"/>
                <a:gd name="connsiteX694" fmla="*/ 1368197 w 1797323"/>
                <a:gd name="connsiteY694" fmla="*/ 36417 h 1262816"/>
                <a:gd name="connsiteX695" fmla="*/ 1392128 w 1797323"/>
                <a:gd name="connsiteY695" fmla="*/ 13118 h 1262816"/>
                <a:gd name="connsiteX696" fmla="*/ 1432085 w 1797323"/>
                <a:gd name="connsiteY696" fmla="*/ 3320 h 1262816"/>
                <a:gd name="connsiteX697" fmla="*/ 1448633 w 1797323"/>
                <a:gd name="connsiteY697" fmla="*/ 3677 h 1262816"/>
                <a:gd name="connsiteX698" fmla="*/ 1464275 w 1797323"/>
                <a:gd name="connsiteY698" fmla="*/ 0 h 1262816"/>
                <a:gd name="connsiteX699" fmla="*/ 1478930 w 1797323"/>
                <a:gd name="connsiteY699" fmla="*/ 3513 h 126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Lst>
              <a:rect l="l" t="t" r="r" b="b"/>
              <a:pathLst>
                <a:path w="1797323" h="1262816">
                  <a:moveTo>
                    <a:pt x="1479095" y="3705"/>
                  </a:moveTo>
                  <a:lnTo>
                    <a:pt x="1505961" y="19567"/>
                  </a:lnTo>
                  <a:lnTo>
                    <a:pt x="1520232" y="19073"/>
                  </a:lnTo>
                  <a:lnTo>
                    <a:pt x="1529919" y="24287"/>
                  </a:lnTo>
                  <a:lnTo>
                    <a:pt x="1533486" y="32245"/>
                  </a:lnTo>
                  <a:lnTo>
                    <a:pt x="1541445" y="37460"/>
                  </a:lnTo>
                  <a:lnTo>
                    <a:pt x="1542241" y="44677"/>
                  </a:lnTo>
                  <a:lnTo>
                    <a:pt x="1549348" y="53898"/>
                  </a:lnTo>
                  <a:lnTo>
                    <a:pt x="1551791" y="64272"/>
                  </a:lnTo>
                  <a:lnTo>
                    <a:pt x="1556072" y="69266"/>
                  </a:lnTo>
                  <a:lnTo>
                    <a:pt x="1556264" y="78212"/>
                  </a:lnTo>
                  <a:lnTo>
                    <a:pt x="1567022" y="104009"/>
                  </a:lnTo>
                  <a:lnTo>
                    <a:pt x="1568641" y="118032"/>
                  </a:lnTo>
                  <a:lnTo>
                    <a:pt x="1579207" y="135760"/>
                  </a:lnTo>
                  <a:lnTo>
                    <a:pt x="1581238" y="151842"/>
                  </a:lnTo>
                  <a:lnTo>
                    <a:pt x="1587028" y="158730"/>
                  </a:lnTo>
                  <a:lnTo>
                    <a:pt x="1586809" y="172946"/>
                  </a:lnTo>
                  <a:lnTo>
                    <a:pt x="1590952" y="181508"/>
                  </a:lnTo>
                  <a:lnTo>
                    <a:pt x="1604783" y="188753"/>
                  </a:lnTo>
                  <a:lnTo>
                    <a:pt x="1621579" y="188533"/>
                  </a:lnTo>
                  <a:lnTo>
                    <a:pt x="1633104" y="196684"/>
                  </a:lnTo>
                  <a:lnTo>
                    <a:pt x="1643148" y="195586"/>
                  </a:lnTo>
                  <a:lnTo>
                    <a:pt x="1662935" y="215894"/>
                  </a:lnTo>
                  <a:lnTo>
                    <a:pt x="1676876" y="220257"/>
                  </a:lnTo>
                  <a:lnTo>
                    <a:pt x="1676437" y="230905"/>
                  </a:lnTo>
                  <a:lnTo>
                    <a:pt x="1682529" y="243529"/>
                  </a:lnTo>
                  <a:lnTo>
                    <a:pt x="1680691" y="255686"/>
                  </a:lnTo>
                  <a:lnTo>
                    <a:pt x="1689994" y="270286"/>
                  </a:lnTo>
                  <a:lnTo>
                    <a:pt x="1714692" y="272372"/>
                  </a:lnTo>
                  <a:lnTo>
                    <a:pt x="1731844" y="269819"/>
                  </a:lnTo>
                  <a:lnTo>
                    <a:pt x="1738815" y="261010"/>
                  </a:lnTo>
                  <a:lnTo>
                    <a:pt x="1750094" y="253655"/>
                  </a:lnTo>
                  <a:lnTo>
                    <a:pt x="1763020" y="252064"/>
                  </a:lnTo>
                  <a:lnTo>
                    <a:pt x="1783410" y="242184"/>
                  </a:lnTo>
                  <a:lnTo>
                    <a:pt x="1796198" y="242569"/>
                  </a:lnTo>
                  <a:lnTo>
                    <a:pt x="1797021" y="246877"/>
                  </a:lnTo>
                  <a:lnTo>
                    <a:pt x="1794607" y="258238"/>
                  </a:lnTo>
                  <a:lnTo>
                    <a:pt x="1797323" y="272070"/>
                  </a:lnTo>
                  <a:lnTo>
                    <a:pt x="1792548" y="280248"/>
                  </a:lnTo>
                  <a:lnTo>
                    <a:pt x="1783382" y="288536"/>
                  </a:lnTo>
                  <a:lnTo>
                    <a:pt x="1773640" y="322867"/>
                  </a:lnTo>
                  <a:lnTo>
                    <a:pt x="1773201" y="332581"/>
                  </a:lnTo>
                  <a:lnTo>
                    <a:pt x="1762196" y="350858"/>
                  </a:lnTo>
                  <a:lnTo>
                    <a:pt x="1759260" y="359805"/>
                  </a:lnTo>
                  <a:lnTo>
                    <a:pt x="1752756" y="367214"/>
                  </a:lnTo>
                  <a:lnTo>
                    <a:pt x="1748365" y="382253"/>
                  </a:lnTo>
                  <a:lnTo>
                    <a:pt x="1742904" y="384092"/>
                  </a:lnTo>
                  <a:lnTo>
                    <a:pt x="1714720" y="373993"/>
                  </a:lnTo>
                  <a:lnTo>
                    <a:pt x="1702783" y="386727"/>
                  </a:lnTo>
                  <a:lnTo>
                    <a:pt x="1688979" y="392709"/>
                  </a:lnTo>
                  <a:lnTo>
                    <a:pt x="1696416" y="421634"/>
                  </a:lnTo>
                  <a:lnTo>
                    <a:pt x="1694961" y="443396"/>
                  </a:lnTo>
                  <a:lnTo>
                    <a:pt x="1696800" y="452397"/>
                  </a:lnTo>
                  <a:lnTo>
                    <a:pt x="1691503" y="470043"/>
                  </a:lnTo>
                  <a:lnTo>
                    <a:pt x="1673912" y="478331"/>
                  </a:lnTo>
                  <a:lnTo>
                    <a:pt x="1676327" y="482887"/>
                  </a:lnTo>
                  <a:lnTo>
                    <a:pt x="1677892" y="491614"/>
                  </a:lnTo>
                  <a:lnTo>
                    <a:pt x="1674654" y="485548"/>
                  </a:lnTo>
                  <a:lnTo>
                    <a:pt x="1670893" y="482887"/>
                  </a:lnTo>
                  <a:lnTo>
                    <a:pt x="1667820" y="480746"/>
                  </a:lnTo>
                  <a:lnTo>
                    <a:pt x="1665597" y="472349"/>
                  </a:lnTo>
                  <a:lnTo>
                    <a:pt x="1657199" y="469165"/>
                  </a:lnTo>
                  <a:lnTo>
                    <a:pt x="1652452" y="482914"/>
                  </a:lnTo>
                  <a:lnTo>
                    <a:pt x="1649790" y="490598"/>
                  </a:lnTo>
                  <a:lnTo>
                    <a:pt x="1641008" y="492190"/>
                  </a:lnTo>
                  <a:lnTo>
                    <a:pt x="1639307" y="492519"/>
                  </a:lnTo>
                  <a:lnTo>
                    <a:pt x="1633818" y="499380"/>
                  </a:lnTo>
                  <a:lnTo>
                    <a:pt x="1627781" y="506954"/>
                  </a:lnTo>
                  <a:lnTo>
                    <a:pt x="1609257" y="506817"/>
                  </a:lnTo>
                  <a:lnTo>
                    <a:pt x="1605689" y="508683"/>
                  </a:lnTo>
                  <a:lnTo>
                    <a:pt x="1604152" y="509451"/>
                  </a:lnTo>
                  <a:lnTo>
                    <a:pt x="1604097" y="516367"/>
                  </a:lnTo>
                  <a:lnTo>
                    <a:pt x="1607253" y="521142"/>
                  </a:lnTo>
                  <a:lnTo>
                    <a:pt x="1608488" y="522981"/>
                  </a:lnTo>
                  <a:lnTo>
                    <a:pt x="1606348" y="529759"/>
                  </a:lnTo>
                  <a:lnTo>
                    <a:pt x="1604317" y="531515"/>
                  </a:lnTo>
                  <a:lnTo>
                    <a:pt x="1579646" y="528497"/>
                  </a:lnTo>
                  <a:lnTo>
                    <a:pt x="1575831" y="526219"/>
                  </a:lnTo>
                  <a:lnTo>
                    <a:pt x="1573937" y="522981"/>
                  </a:lnTo>
                  <a:lnTo>
                    <a:pt x="1572950" y="521142"/>
                  </a:lnTo>
                  <a:lnTo>
                    <a:pt x="1571523" y="518480"/>
                  </a:lnTo>
                  <a:lnTo>
                    <a:pt x="1568394" y="517026"/>
                  </a:lnTo>
                  <a:lnTo>
                    <a:pt x="1561835" y="521142"/>
                  </a:lnTo>
                  <a:lnTo>
                    <a:pt x="1558899" y="522981"/>
                  </a:lnTo>
                  <a:lnTo>
                    <a:pt x="1556456" y="533162"/>
                  </a:lnTo>
                  <a:lnTo>
                    <a:pt x="1541747" y="551055"/>
                  </a:lnTo>
                  <a:lnTo>
                    <a:pt x="1532965" y="552921"/>
                  </a:lnTo>
                  <a:lnTo>
                    <a:pt x="1524485" y="560852"/>
                  </a:lnTo>
                  <a:lnTo>
                    <a:pt x="1518860" y="561868"/>
                  </a:lnTo>
                  <a:lnTo>
                    <a:pt x="1507224" y="570045"/>
                  </a:lnTo>
                  <a:lnTo>
                    <a:pt x="1494929" y="580803"/>
                  </a:lnTo>
                  <a:lnTo>
                    <a:pt x="1493310" y="585963"/>
                  </a:lnTo>
                  <a:lnTo>
                    <a:pt x="1490456" y="592906"/>
                  </a:lnTo>
                  <a:lnTo>
                    <a:pt x="1488590" y="591671"/>
                  </a:lnTo>
                  <a:lnTo>
                    <a:pt x="1471740" y="593427"/>
                  </a:lnTo>
                  <a:lnTo>
                    <a:pt x="1451021" y="600754"/>
                  </a:lnTo>
                  <a:lnTo>
                    <a:pt x="1434527" y="609948"/>
                  </a:lnTo>
                  <a:lnTo>
                    <a:pt x="1413177" y="627566"/>
                  </a:lnTo>
                  <a:lnTo>
                    <a:pt x="1402776" y="630201"/>
                  </a:lnTo>
                  <a:lnTo>
                    <a:pt x="1402501" y="627154"/>
                  </a:lnTo>
                  <a:lnTo>
                    <a:pt x="1409801" y="621227"/>
                  </a:lnTo>
                  <a:lnTo>
                    <a:pt x="1412601" y="615217"/>
                  </a:lnTo>
                  <a:lnTo>
                    <a:pt x="1411640" y="611210"/>
                  </a:lnTo>
                  <a:lnTo>
                    <a:pt x="1406892" y="606270"/>
                  </a:lnTo>
                  <a:lnTo>
                    <a:pt x="1406947" y="600782"/>
                  </a:lnTo>
                  <a:lnTo>
                    <a:pt x="1421272" y="582889"/>
                  </a:lnTo>
                  <a:lnTo>
                    <a:pt x="1428544" y="566368"/>
                  </a:lnTo>
                  <a:lnTo>
                    <a:pt x="1426404" y="560331"/>
                  </a:lnTo>
                  <a:lnTo>
                    <a:pt x="1420394" y="554869"/>
                  </a:lnTo>
                  <a:lnTo>
                    <a:pt x="1401568" y="552592"/>
                  </a:lnTo>
                  <a:lnTo>
                    <a:pt x="1391469" y="558958"/>
                  </a:lnTo>
                  <a:lnTo>
                    <a:pt x="1374866" y="578937"/>
                  </a:lnTo>
                  <a:lnTo>
                    <a:pt x="1350771" y="593948"/>
                  </a:lnTo>
                  <a:lnTo>
                    <a:pt x="1343170" y="607560"/>
                  </a:lnTo>
                  <a:lnTo>
                    <a:pt x="1337763" y="613323"/>
                  </a:lnTo>
                  <a:lnTo>
                    <a:pt x="1318772" y="619882"/>
                  </a:lnTo>
                  <a:lnTo>
                    <a:pt x="1305902" y="618674"/>
                  </a:lnTo>
                  <a:lnTo>
                    <a:pt x="1297916" y="626386"/>
                  </a:lnTo>
                  <a:lnTo>
                    <a:pt x="1295336" y="636046"/>
                  </a:lnTo>
                  <a:lnTo>
                    <a:pt x="1298273" y="645404"/>
                  </a:lnTo>
                  <a:lnTo>
                    <a:pt x="1310321" y="655256"/>
                  </a:lnTo>
                  <a:lnTo>
                    <a:pt x="1330984" y="659372"/>
                  </a:lnTo>
                  <a:lnTo>
                    <a:pt x="1335623" y="669609"/>
                  </a:lnTo>
                  <a:lnTo>
                    <a:pt x="1336803" y="683989"/>
                  </a:lnTo>
                  <a:lnTo>
                    <a:pt x="1343115" y="690658"/>
                  </a:lnTo>
                  <a:lnTo>
                    <a:pt x="1357357" y="690493"/>
                  </a:lnTo>
                  <a:lnTo>
                    <a:pt x="1375278" y="674932"/>
                  </a:lnTo>
                  <a:lnTo>
                    <a:pt x="1388341" y="669993"/>
                  </a:lnTo>
                  <a:lnTo>
                    <a:pt x="1394817" y="671722"/>
                  </a:lnTo>
                  <a:lnTo>
                    <a:pt x="1408813" y="680037"/>
                  </a:lnTo>
                  <a:lnTo>
                    <a:pt x="1427062" y="680723"/>
                  </a:lnTo>
                  <a:lnTo>
                    <a:pt x="1438863" y="687556"/>
                  </a:lnTo>
                  <a:lnTo>
                    <a:pt x="1437848" y="696338"/>
                  </a:lnTo>
                  <a:lnTo>
                    <a:pt x="1435131" y="700647"/>
                  </a:lnTo>
                  <a:lnTo>
                    <a:pt x="1420586" y="701937"/>
                  </a:lnTo>
                  <a:lnTo>
                    <a:pt x="1396793" y="711597"/>
                  </a:lnTo>
                  <a:lnTo>
                    <a:pt x="1381836" y="729187"/>
                  </a:lnTo>
                  <a:lnTo>
                    <a:pt x="1371409" y="731136"/>
                  </a:lnTo>
                  <a:lnTo>
                    <a:pt x="1366825" y="740631"/>
                  </a:lnTo>
                  <a:lnTo>
                    <a:pt x="1353104" y="754819"/>
                  </a:lnTo>
                  <a:lnTo>
                    <a:pt x="1343801" y="773370"/>
                  </a:lnTo>
                  <a:lnTo>
                    <a:pt x="1348000" y="782207"/>
                  </a:lnTo>
                  <a:lnTo>
                    <a:pt x="1372231" y="799332"/>
                  </a:lnTo>
                  <a:lnTo>
                    <a:pt x="1391853" y="852571"/>
                  </a:lnTo>
                  <a:lnTo>
                    <a:pt x="1416085" y="880810"/>
                  </a:lnTo>
                  <a:lnTo>
                    <a:pt x="1414137" y="892116"/>
                  </a:lnTo>
                  <a:lnTo>
                    <a:pt x="1392375" y="884514"/>
                  </a:lnTo>
                  <a:lnTo>
                    <a:pt x="1413616" y="901694"/>
                  </a:lnTo>
                  <a:lnTo>
                    <a:pt x="1417293" y="907594"/>
                  </a:lnTo>
                  <a:lnTo>
                    <a:pt x="1417211" y="914016"/>
                  </a:lnTo>
                  <a:lnTo>
                    <a:pt x="1380821" y="935915"/>
                  </a:lnTo>
                  <a:lnTo>
                    <a:pt x="1386941" y="940196"/>
                  </a:lnTo>
                  <a:lnTo>
                    <a:pt x="1402913" y="938248"/>
                  </a:lnTo>
                  <a:lnTo>
                    <a:pt x="1415591" y="945136"/>
                  </a:lnTo>
                  <a:lnTo>
                    <a:pt x="1420339" y="945328"/>
                  </a:lnTo>
                  <a:lnTo>
                    <a:pt x="1422425" y="951832"/>
                  </a:lnTo>
                  <a:lnTo>
                    <a:pt x="1421300" y="957568"/>
                  </a:lnTo>
                  <a:lnTo>
                    <a:pt x="1422342" y="969643"/>
                  </a:lnTo>
                  <a:lnTo>
                    <a:pt x="1419873" y="973704"/>
                  </a:lnTo>
                  <a:lnTo>
                    <a:pt x="1412601" y="975790"/>
                  </a:lnTo>
                  <a:lnTo>
                    <a:pt x="1409060" y="1003013"/>
                  </a:lnTo>
                  <a:lnTo>
                    <a:pt x="1404011" y="1006992"/>
                  </a:lnTo>
                  <a:lnTo>
                    <a:pt x="1398632" y="1006992"/>
                  </a:lnTo>
                  <a:cubicBezTo>
                    <a:pt x="1398632" y="1006992"/>
                    <a:pt x="1395229" y="1009462"/>
                    <a:pt x="1395229" y="1009462"/>
                  </a:cubicBezTo>
                  <a:lnTo>
                    <a:pt x="1375278" y="1044590"/>
                  </a:lnTo>
                  <a:lnTo>
                    <a:pt x="1376430" y="1048980"/>
                  </a:lnTo>
                  <a:lnTo>
                    <a:pt x="1372451" y="1048349"/>
                  </a:lnTo>
                  <a:lnTo>
                    <a:pt x="1366249" y="1054908"/>
                  </a:lnTo>
                  <a:lnTo>
                    <a:pt x="1356891" y="1057680"/>
                  </a:lnTo>
                  <a:lnTo>
                    <a:pt x="1357796" y="1064870"/>
                  </a:lnTo>
                  <a:lnTo>
                    <a:pt x="1351403" y="1094536"/>
                  </a:lnTo>
                  <a:lnTo>
                    <a:pt x="1344597" y="1098240"/>
                  </a:lnTo>
                  <a:lnTo>
                    <a:pt x="1341523" y="1103592"/>
                  </a:lnTo>
                  <a:lnTo>
                    <a:pt x="1334690" y="1107050"/>
                  </a:lnTo>
                  <a:lnTo>
                    <a:pt x="1324975" y="1122226"/>
                  </a:lnTo>
                  <a:lnTo>
                    <a:pt x="1309030" y="1128922"/>
                  </a:lnTo>
                  <a:lnTo>
                    <a:pt x="1304228" y="1139240"/>
                  </a:lnTo>
                  <a:lnTo>
                    <a:pt x="1288503" y="1153867"/>
                  </a:lnTo>
                  <a:lnTo>
                    <a:pt x="1280161" y="1157572"/>
                  </a:lnTo>
                  <a:lnTo>
                    <a:pt x="1278294" y="1161085"/>
                  </a:lnTo>
                  <a:lnTo>
                    <a:pt x="1273025" y="1161222"/>
                  </a:lnTo>
                  <a:lnTo>
                    <a:pt x="1257602" y="1177633"/>
                  </a:lnTo>
                  <a:lnTo>
                    <a:pt x="1245253" y="1182079"/>
                  </a:lnTo>
                  <a:lnTo>
                    <a:pt x="1232355" y="1184082"/>
                  </a:lnTo>
                  <a:lnTo>
                    <a:pt x="1223984" y="1183451"/>
                  </a:lnTo>
                  <a:lnTo>
                    <a:pt x="1215065" y="1186771"/>
                  </a:lnTo>
                  <a:lnTo>
                    <a:pt x="1207793" y="1186634"/>
                  </a:lnTo>
                  <a:lnTo>
                    <a:pt x="1201893" y="1190422"/>
                  </a:lnTo>
                  <a:lnTo>
                    <a:pt x="1195609" y="1190422"/>
                  </a:lnTo>
                  <a:cubicBezTo>
                    <a:pt x="1195609" y="1190422"/>
                    <a:pt x="1189818" y="1192068"/>
                    <a:pt x="1189818" y="1192068"/>
                  </a:cubicBezTo>
                  <a:lnTo>
                    <a:pt x="1181009" y="1185592"/>
                  </a:lnTo>
                  <a:lnTo>
                    <a:pt x="1178320" y="1185482"/>
                  </a:lnTo>
                  <a:lnTo>
                    <a:pt x="1174972" y="1201454"/>
                  </a:lnTo>
                  <a:lnTo>
                    <a:pt x="1167672" y="1207134"/>
                  </a:lnTo>
                  <a:lnTo>
                    <a:pt x="1161497" y="1203594"/>
                  </a:lnTo>
                  <a:lnTo>
                    <a:pt x="1157490" y="1210427"/>
                  </a:lnTo>
                  <a:lnTo>
                    <a:pt x="1152990" y="1210729"/>
                  </a:lnTo>
                  <a:lnTo>
                    <a:pt x="1147693" y="1214160"/>
                  </a:lnTo>
                  <a:lnTo>
                    <a:pt x="1142836" y="1213446"/>
                  </a:lnTo>
                  <a:lnTo>
                    <a:pt x="1138747" y="1216136"/>
                  </a:lnTo>
                  <a:lnTo>
                    <a:pt x="1132270" y="1215340"/>
                  </a:lnTo>
                  <a:lnTo>
                    <a:pt x="1127084" y="1219621"/>
                  </a:lnTo>
                  <a:lnTo>
                    <a:pt x="1123543" y="1218029"/>
                  </a:lnTo>
                  <a:lnTo>
                    <a:pt x="1117534" y="1222749"/>
                  </a:lnTo>
                  <a:lnTo>
                    <a:pt x="1102632" y="1224039"/>
                  </a:lnTo>
                  <a:lnTo>
                    <a:pt x="1093630" y="1228293"/>
                  </a:lnTo>
                  <a:lnTo>
                    <a:pt x="1086083" y="1239407"/>
                  </a:lnTo>
                  <a:lnTo>
                    <a:pt x="1077137" y="1241795"/>
                  </a:lnTo>
                  <a:lnTo>
                    <a:pt x="1081913" y="1246597"/>
                  </a:lnTo>
                  <a:lnTo>
                    <a:pt x="1085452" y="1255022"/>
                  </a:lnTo>
                  <a:lnTo>
                    <a:pt x="1083531" y="1259935"/>
                  </a:lnTo>
                  <a:lnTo>
                    <a:pt x="1077604" y="1262816"/>
                  </a:lnTo>
                  <a:lnTo>
                    <a:pt x="1070414" y="1261691"/>
                  </a:lnTo>
                  <a:lnTo>
                    <a:pt x="1067999" y="1258727"/>
                  </a:lnTo>
                  <a:lnTo>
                    <a:pt x="1061989" y="1241164"/>
                  </a:lnTo>
                  <a:lnTo>
                    <a:pt x="1064266" y="1231339"/>
                  </a:lnTo>
                  <a:lnTo>
                    <a:pt x="1067697" y="1226015"/>
                  </a:lnTo>
                  <a:lnTo>
                    <a:pt x="1062181" y="1223161"/>
                  </a:lnTo>
                  <a:lnTo>
                    <a:pt x="1058805" y="1218715"/>
                  </a:lnTo>
                  <a:lnTo>
                    <a:pt x="1056033" y="1223381"/>
                  </a:lnTo>
                  <a:lnTo>
                    <a:pt x="1047307" y="1225850"/>
                  </a:lnTo>
                  <a:lnTo>
                    <a:pt x="1044946" y="1225192"/>
                  </a:lnTo>
                  <a:lnTo>
                    <a:pt x="1043492" y="1221075"/>
                  </a:lnTo>
                  <a:lnTo>
                    <a:pt x="1030457" y="1216959"/>
                  </a:lnTo>
                  <a:lnTo>
                    <a:pt x="1025901" y="1220472"/>
                  </a:lnTo>
                  <a:lnTo>
                    <a:pt x="1023377" y="1219292"/>
                  </a:lnTo>
                  <a:lnTo>
                    <a:pt x="1012893" y="1222338"/>
                  </a:lnTo>
                  <a:lnTo>
                    <a:pt x="1006581" y="1219264"/>
                  </a:lnTo>
                  <a:lnTo>
                    <a:pt x="993903" y="1219950"/>
                  </a:lnTo>
                  <a:lnTo>
                    <a:pt x="982596" y="1210263"/>
                  </a:lnTo>
                  <a:lnTo>
                    <a:pt x="975077" y="1206558"/>
                  </a:lnTo>
                  <a:lnTo>
                    <a:pt x="970329" y="1194016"/>
                  </a:lnTo>
                  <a:lnTo>
                    <a:pt x="971427" y="1190257"/>
                  </a:lnTo>
                  <a:lnTo>
                    <a:pt x="974830" y="1187156"/>
                  </a:lnTo>
                  <a:lnTo>
                    <a:pt x="974830" y="1181448"/>
                  </a:lnTo>
                  <a:lnTo>
                    <a:pt x="969533" y="1178731"/>
                  </a:lnTo>
                  <a:lnTo>
                    <a:pt x="962865" y="1179938"/>
                  </a:lnTo>
                  <a:lnTo>
                    <a:pt x="956965" y="1176865"/>
                  </a:lnTo>
                  <a:lnTo>
                    <a:pt x="949912" y="1177880"/>
                  </a:lnTo>
                  <a:lnTo>
                    <a:pt x="941103" y="1172940"/>
                  </a:lnTo>
                  <a:lnTo>
                    <a:pt x="933061" y="1164954"/>
                  </a:lnTo>
                  <a:lnTo>
                    <a:pt x="920822" y="1171102"/>
                  </a:lnTo>
                  <a:lnTo>
                    <a:pt x="918928" y="1177798"/>
                  </a:lnTo>
                  <a:lnTo>
                    <a:pt x="916019" y="1180817"/>
                  </a:lnTo>
                  <a:lnTo>
                    <a:pt x="906085" y="1185097"/>
                  </a:lnTo>
                  <a:lnTo>
                    <a:pt x="901529" y="1182298"/>
                  </a:lnTo>
                  <a:lnTo>
                    <a:pt x="898401" y="1182847"/>
                  </a:lnTo>
                  <a:lnTo>
                    <a:pt x="893901" y="1190751"/>
                  </a:lnTo>
                  <a:lnTo>
                    <a:pt x="885228" y="1184192"/>
                  </a:lnTo>
                  <a:lnTo>
                    <a:pt x="880398" y="1187705"/>
                  </a:lnTo>
                  <a:lnTo>
                    <a:pt x="875212" y="1183451"/>
                  </a:lnTo>
                  <a:lnTo>
                    <a:pt x="866073" y="1192699"/>
                  </a:lnTo>
                  <a:lnTo>
                    <a:pt x="850596" y="1184137"/>
                  </a:lnTo>
                  <a:lnTo>
                    <a:pt x="843378" y="1193358"/>
                  </a:lnTo>
                  <a:lnTo>
                    <a:pt x="839975" y="1195252"/>
                  </a:lnTo>
                  <a:lnTo>
                    <a:pt x="836764" y="1193825"/>
                  </a:lnTo>
                  <a:lnTo>
                    <a:pt x="831934" y="1195361"/>
                  </a:lnTo>
                  <a:lnTo>
                    <a:pt x="828119" y="1192617"/>
                  </a:lnTo>
                  <a:lnTo>
                    <a:pt x="823235" y="1199779"/>
                  </a:lnTo>
                  <a:lnTo>
                    <a:pt x="824442" y="1208644"/>
                  </a:lnTo>
                  <a:lnTo>
                    <a:pt x="828449" y="1212815"/>
                  </a:lnTo>
                  <a:lnTo>
                    <a:pt x="830205" y="1219923"/>
                  </a:lnTo>
                  <a:lnTo>
                    <a:pt x="828038" y="1228156"/>
                  </a:lnTo>
                  <a:lnTo>
                    <a:pt x="831028" y="1234275"/>
                  </a:lnTo>
                  <a:lnTo>
                    <a:pt x="827955" y="1234769"/>
                  </a:lnTo>
                  <a:lnTo>
                    <a:pt x="821533" y="1231778"/>
                  </a:lnTo>
                  <a:lnTo>
                    <a:pt x="814535" y="1233315"/>
                  </a:lnTo>
                  <a:lnTo>
                    <a:pt x="812532" y="1222969"/>
                  </a:lnTo>
                  <a:lnTo>
                    <a:pt x="810639" y="1221789"/>
                  </a:lnTo>
                  <a:lnTo>
                    <a:pt x="808333" y="1216273"/>
                  </a:lnTo>
                  <a:lnTo>
                    <a:pt x="794914" y="1224423"/>
                  </a:lnTo>
                  <a:lnTo>
                    <a:pt x="783196" y="1223655"/>
                  </a:lnTo>
                  <a:lnTo>
                    <a:pt x="781137" y="1222118"/>
                  </a:lnTo>
                  <a:lnTo>
                    <a:pt x="780561" y="1218221"/>
                  </a:lnTo>
                  <a:lnTo>
                    <a:pt x="776527" y="1215367"/>
                  </a:lnTo>
                  <a:lnTo>
                    <a:pt x="775018" y="1206668"/>
                  </a:lnTo>
                  <a:lnTo>
                    <a:pt x="754380" y="1203237"/>
                  </a:lnTo>
                  <a:lnTo>
                    <a:pt x="755450" y="1196322"/>
                  </a:lnTo>
                  <a:lnTo>
                    <a:pt x="758305" y="1191272"/>
                  </a:lnTo>
                  <a:lnTo>
                    <a:pt x="757921" y="1184356"/>
                  </a:lnTo>
                  <a:lnTo>
                    <a:pt x="762476" y="1177084"/>
                  </a:lnTo>
                  <a:lnTo>
                    <a:pt x="759704" y="1172803"/>
                  </a:lnTo>
                  <a:lnTo>
                    <a:pt x="753584" y="1172913"/>
                  </a:lnTo>
                  <a:lnTo>
                    <a:pt x="745187" y="1169098"/>
                  </a:lnTo>
                  <a:lnTo>
                    <a:pt x="743101" y="1155624"/>
                  </a:lnTo>
                  <a:lnTo>
                    <a:pt x="738875" y="1148022"/>
                  </a:lnTo>
                  <a:lnTo>
                    <a:pt x="742607" y="1140420"/>
                  </a:lnTo>
                  <a:lnTo>
                    <a:pt x="724001" y="1140777"/>
                  </a:lnTo>
                  <a:lnTo>
                    <a:pt x="709127" y="1147665"/>
                  </a:lnTo>
                  <a:lnTo>
                    <a:pt x="705806" y="1146568"/>
                  </a:lnTo>
                  <a:lnTo>
                    <a:pt x="710582" y="1136716"/>
                  </a:lnTo>
                  <a:lnTo>
                    <a:pt x="708797" y="1131090"/>
                  </a:lnTo>
                  <a:lnTo>
                    <a:pt x="705120" y="1127989"/>
                  </a:lnTo>
                  <a:lnTo>
                    <a:pt x="705724" y="1120908"/>
                  </a:lnTo>
                  <a:lnTo>
                    <a:pt x="711268" y="1116600"/>
                  </a:lnTo>
                  <a:lnTo>
                    <a:pt x="710169" y="1110837"/>
                  </a:lnTo>
                  <a:lnTo>
                    <a:pt x="713024" y="1104744"/>
                  </a:lnTo>
                  <a:lnTo>
                    <a:pt x="719967" y="1100957"/>
                  </a:lnTo>
                  <a:lnTo>
                    <a:pt x="723864" y="1092642"/>
                  </a:lnTo>
                  <a:lnTo>
                    <a:pt x="729106" y="1092285"/>
                  </a:lnTo>
                  <a:lnTo>
                    <a:pt x="732782" y="1085973"/>
                  </a:lnTo>
                  <a:lnTo>
                    <a:pt x="737997" y="1083010"/>
                  </a:lnTo>
                  <a:lnTo>
                    <a:pt x="736185" y="1076259"/>
                  </a:lnTo>
                  <a:lnTo>
                    <a:pt x="738820" y="1073212"/>
                  </a:lnTo>
                  <a:lnTo>
                    <a:pt x="740659" y="1057268"/>
                  </a:lnTo>
                  <a:lnTo>
                    <a:pt x="737887" y="1028124"/>
                  </a:lnTo>
                  <a:lnTo>
                    <a:pt x="732892" y="1025846"/>
                  </a:lnTo>
                  <a:lnTo>
                    <a:pt x="727816" y="1027767"/>
                  </a:lnTo>
                  <a:lnTo>
                    <a:pt x="721449" y="1008063"/>
                  </a:lnTo>
                  <a:lnTo>
                    <a:pt x="716509" y="1002465"/>
                  </a:lnTo>
                  <a:lnTo>
                    <a:pt x="711487" y="1000571"/>
                  </a:lnTo>
                  <a:lnTo>
                    <a:pt x="708358" y="996125"/>
                  </a:lnTo>
                  <a:lnTo>
                    <a:pt x="704763" y="996647"/>
                  </a:lnTo>
                  <a:lnTo>
                    <a:pt x="702952" y="1002766"/>
                  </a:lnTo>
                  <a:lnTo>
                    <a:pt x="698946" y="1006252"/>
                  </a:lnTo>
                  <a:lnTo>
                    <a:pt x="692689" y="1001916"/>
                  </a:lnTo>
                  <a:lnTo>
                    <a:pt x="683989" y="1001120"/>
                  </a:lnTo>
                  <a:lnTo>
                    <a:pt x="678528" y="998623"/>
                  </a:lnTo>
                  <a:lnTo>
                    <a:pt x="669856" y="1000214"/>
                  </a:lnTo>
                  <a:lnTo>
                    <a:pt x="670103" y="995412"/>
                  </a:lnTo>
                  <a:lnTo>
                    <a:pt x="676579" y="985916"/>
                  </a:lnTo>
                  <a:lnTo>
                    <a:pt x="673039" y="979083"/>
                  </a:lnTo>
                  <a:lnTo>
                    <a:pt x="664724" y="981278"/>
                  </a:lnTo>
                  <a:lnTo>
                    <a:pt x="664285" y="977217"/>
                  </a:lnTo>
                  <a:lnTo>
                    <a:pt x="668841" y="971893"/>
                  </a:lnTo>
                  <a:lnTo>
                    <a:pt x="660909" y="965471"/>
                  </a:lnTo>
                  <a:lnTo>
                    <a:pt x="649686" y="972167"/>
                  </a:lnTo>
                  <a:lnTo>
                    <a:pt x="637610" y="976394"/>
                  </a:lnTo>
                  <a:lnTo>
                    <a:pt x="625206" y="973814"/>
                  </a:lnTo>
                  <a:lnTo>
                    <a:pt x="620239" y="970548"/>
                  </a:lnTo>
                  <a:lnTo>
                    <a:pt x="614284" y="972442"/>
                  </a:lnTo>
                  <a:lnTo>
                    <a:pt x="602758" y="980922"/>
                  </a:lnTo>
                  <a:lnTo>
                    <a:pt x="596583" y="987837"/>
                  </a:lnTo>
                  <a:lnTo>
                    <a:pt x="580118" y="992503"/>
                  </a:lnTo>
                  <a:lnTo>
                    <a:pt x="576797" y="1000653"/>
                  </a:lnTo>
                  <a:lnTo>
                    <a:pt x="564118" y="1008145"/>
                  </a:lnTo>
                  <a:lnTo>
                    <a:pt x="560249" y="1015829"/>
                  </a:lnTo>
                  <a:lnTo>
                    <a:pt x="554212" y="1019013"/>
                  </a:lnTo>
                  <a:lnTo>
                    <a:pt x="549738" y="1018546"/>
                  </a:lnTo>
                  <a:lnTo>
                    <a:pt x="548558" y="1018436"/>
                  </a:lnTo>
                  <a:lnTo>
                    <a:pt x="540764" y="1021839"/>
                  </a:lnTo>
                  <a:lnTo>
                    <a:pt x="531104" y="1021208"/>
                  </a:lnTo>
                  <a:lnTo>
                    <a:pt x="528525" y="1016214"/>
                  </a:lnTo>
                  <a:lnTo>
                    <a:pt x="522871" y="1012810"/>
                  </a:lnTo>
                  <a:lnTo>
                    <a:pt x="518151" y="1014896"/>
                  </a:lnTo>
                  <a:lnTo>
                    <a:pt x="513706" y="1016845"/>
                  </a:lnTo>
                  <a:lnTo>
                    <a:pt x="504430" y="1011493"/>
                  </a:lnTo>
                  <a:lnTo>
                    <a:pt x="489089" y="1008447"/>
                  </a:lnTo>
                  <a:lnTo>
                    <a:pt x="476713" y="1006005"/>
                  </a:lnTo>
                  <a:lnTo>
                    <a:pt x="470647" y="1008941"/>
                  </a:lnTo>
                  <a:lnTo>
                    <a:pt x="458408" y="1024282"/>
                  </a:lnTo>
                  <a:lnTo>
                    <a:pt x="456926" y="1035835"/>
                  </a:lnTo>
                  <a:lnTo>
                    <a:pt x="453962" y="1038195"/>
                  </a:lnTo>
                  <a:lnTo>
                    <a:pt x="451136" y="1037290"/>
                  </a:lnTo>
                  <a:lnTo>
                    <a:pt x="446937" y="1028974"/>
                  </a:lnTo>
                  <a:lnTo>
                    <a:pt x="449626" y="1018217"/>
                  </a:lnTo>
                  <a:lnTo>
                    <a:pt x="447101" y="1011603"/>
                  </a:lnTo>
                  <a:lnTo>
                    <a:pt x="441695" y="1009984"/>
                  </a:lnTo>
                  <a:lnTo>
                    <a:pt x="428851" y="1014951"/>
                  </a:lnTo>
                  <a:lnTo>
                    <a:pt x="427946" y="1017064"/>
                  </a:lnTo>
                  <a:lnTo>
                    <a:pt x="419658" y="1015308"/>
                  </a:lnTo>
                  <a:lnTo>
                    <a:pt x="417847" y="1016900"/>
                  </a:lnTo>
                  <a:lnTo>
                    <a:pt x="415212" y="1019205"/>
                  </a:lnTo>
                  <a:lnTo>
                    <a:pt x="400476" y="1018903"/>
                  </a:lnTo>
                  <a:lnTo>
                    <a:pt x="382583" y="1009709"/>
                  </a:lnTo>
                  <a:lnTo>
                    <a:pt x="377314" y="1015665"/>
                  </a:lnTo>
                  <a:lnTo>
                    <a:pt x="371852" y="1012810"/>
                  </a:lnTo>
                  <a:lnTo>
                    <a:pt x="369740" y="1008721"/>
                  </a:lnTo>
                  <a:lnTo>
                    <a:pt x="367791" y="1010889"/>
                  </a:lnTo>
                  <a:lnTo>
                    <a:pt x="368066" y="1015280"/>
                  </a:lnTo>
                  <a:lnTo>
                    <a:pt x="366172" y="1015939"/>
                  </a:lnTo>
                  <a:lnTo>
                    <a:pt x="360875" y="1007542"/>
                  </a:lnTo>
                  <a:lnTo>
                    <a:pt x="356347" y="1001202"/>
                  </a:lnTo>
                  <a:lnTo>
                    <a:pt x="354179" y="1003041"/>
                  </a:lnTo>
                  <a:lnTo>
                    <a:pt x="349624" y="1002025"/>
                  </a:lnTo>
                  <a:lnTo>
                    <a:pt x="345233" y="1003480"/>
                  </a:lnTo>
                  <a:lnTo>
                    <a:pt x="339854" y="1001476"/>
                  </a:lnTo>
                  <a:lnTo>
                    <a:pt x="339223" y="998101"/>
                  </a:lnTo>
                  <a:lnTo>
                    <a:pt x="341226" y="993491"/>
                  </a:lnTo>
                  <a:lnTo>
                    <a:pt x="339360" y="990801"/>
                  </a:lnTo>
                  <a:lnTo>
                    <a:pt x="331429" y="993683"/>
                  </a:lnTo>
                  <a:lnTo>
                    <a:pt x="324623" y="989155"/>
                  </a:lnTo>
                  <a:lnTo>
                    <a:pt x="319437" y="988331"/>
                  </a:lnTo>
                  <a:lnTo>
                    <a:pt x="317735" y="984681"/>
                  </a:lnTo>
                  <a:lnTo>
                    <a:pt x="313564" y="982760"/>
                  </a:lnTo>
                  <a:lnTo>
                    <a:pt x="311643" y="972030"/>
                  </a:lnTo>
                  <a:lnTo>
                    <a:pt x="308843" y="969999"/>
                  </a:lnTo>
                  <a:lnTo>
                    <a:pt x="303520" y="969204"/>
                  </a:lnTo>
                  <a:lnTo>
                    <a:pt x="293860" y="973128"/>
                  </a:lnTo>
                  <a:lnTo>
                    <a:pt x="283898" y="960120"/>
                  </a:lnTo>
                  <a:lnTo>
                    <a:pt x="271219" y="955702"/>
                  </a:lnTo>
                  <a:lnTo>
                    <a:pt x="264112" y="948018"/>
                  </a:lnTo>
                  <a:lnTo>
                    <a:pt x="253354" y="943133"/>
                  </a:lnTo>
                  <a:lnTo>
                    <a:pt x="250088" y="934543"/>
                  </a:lnTo>
                  <a:lnTo>
                    <a:pt x="236641" y="931058"/>
                  </a:lnTo>
                  <a:lnTo>
                    <a:pt x="230906" y="932183"/>
                  </a:lnTo>
                  <a:lnTo>
                    <a:pt x="229671" y="938467"/>
                  </a:lnTo>
                  <a:lnTo>
                    <a:pt x="224045" y="945383"/>
                  </a:lnTo>
                  <a:lnTo>
                    <a:pt x="221767" y="944423"/>
                  </a:lnTo>
                  <a:lnTo>
                    <a:pt x="219242" y="939044"/>
                  </a:lnTo>
                  <a:lnTo>
                    <a:pt x="218474" y="937178"/>
                  </a:lnTo>
                  <a:lnTo>
                    <a:pt x="213946" y="935202"/>
                  </a:lnTo>
                  <a:lnTo>
                    <a:pt x="208018" y="930893"/>
                  </a:lnTo>
                  <a:lnTo>
                    <a:pt x="195147" y="926118"/>
                  </a:lnTo>
                  <a:lnTo>
                    <a:pt x="194681" y="923099"/>
                  </a:lnTo>
                  <a:lnTo>
                    <a:pt x="196026" y="921617"/>
                  </a:lnTo>
                  <a:lnTo>
                    <a:pt x="195861" y="920273"/>
                  </a:lnTo>
                  <a:lnTo>
                    <a:pt x="194077" y="918709"/>
                  </a:lnTo>
                  <a:lnTo>
                    <a:pt x="190976" y="918709"/>
                  </a:lnTo>
                  <a:lnTo>
                    <a:pt x="188534" y="916184"/>
                  </a:lnTo>
                  <a:lnTo>
                    <a:pt x="187353" y="916129"/>
                  </a:lnTo>
                  <a:lnTo>
                    <a:pt x="183100" y="912561"/>
                  </a:lnTo>
                  <a:lnTo>
                    <a:pt x="176513" y="913632"/>
                  </a:lnTo>
                  <a:lnTo>
                    <a:pt x="171738" y="909625"/>
                  </a:lnTo>
                  <a:lnTo>
                    <a:pt x="162106" y="897001"/>
                  </a:lnTo>
                  <a:lnTo>
                    <a:pt x="156041" y="902462"/>
                  </a:lnTo>
                  <a:lnTo>
                    <a:pt x="152803" y="900377"/>
                  </a:lnTo>
                  <a:lnTo>
                    <a:pt x="151732" y="894915"/>
                  </a:lnTo>
                  <a:lnTo>
                    <a:pt x="153928" y="891046"/>
                  </a:lnTo>
                  <a:lnTo>
                    <a:pt x="150855" y="885448"/>
                  </a:lnTo>
                  <a:lnTo>
                    <a:pt x="152556" y="879493"/>
                  </a:lnTo>
                  <a:lnTo>
                    <a:pt x="149482" y="873592"/>
                  </a:lnTo>
                  <a:lnTo>
                    <a:pt x="143884" y="869009"/>
                  </a:lnTo>
                  <a:lnTo>
                    <a:pt x="141716" y="859212"/>
                  </a:lnTo>
                  <a:lnTo>
                    <a:pt x="151596" y="853559"/>
                  </a:lnTo>
                  <a:lnTo>
                    <a:pt x="153818" y="861655"/>
                  </a:lnTo>
                  <a:lnTo>
                    <a:pt x="158209" y="865057"/>
                  </a:lnTo>
                  <a:lnTo>
                    <a:pt x="166826" y="859130"/>
                  </a:lnTo>
                  <a:lnTo>
                    <a:pt x="174620" y="856193"/>
                  </a:lnTo>
                  <a:lnTo>
                    <a:pt x="175690" y="853367"/>
                  </a:lnTo>
                  <a:lnTo>
                    <a:pt x="170394" y="843762"/>
                  </a:lnTo>
                  <a:lnTo>
                    <a:pt x="170723" y="836709"/>
                  </a:lnTo>
                  <a:lnTo>
                    <a:pt x="163698" y="835858"/>
                  </a:lnTo>
                  <a:lnTo>
                    <a:pt x="157852" y="829135"/>
                  </a:lnTo>
                  <a:lnTo>
                    <a:pt x="157029" y="822384"/>
                  </a:lnTo>
                  <a:lnTo>
                    <a:pt x="161310" y="819502"/>
                  </a:lnTo>
                  <a:lnTo>
                    <a:pt x="157111" y="807400"/>
                  </a:lnTo>
                  <a:lnTo>
                    <a:pt x="171162" y="806384"/>
                  </a:lnTo>
                  <a:lnTo>
                    <a:pt x="175717" y="797658"/>
                  </a:lnTo>
                  <a:lnTo>
                    <a:pt x="175334" y="791291"/>
                  </a:lnTo>
                  <a:lnTo>
                    <a:pt x="180246" y="791291"/>
                  </a:lnTo>
                  <a:cubicBezTo>
                    <a:pt x="180246" y="791291"/>
                    <a:pt x="185377" y="784732"/>
                    <a:pt x="185377" y="784732"/>
                  </a:cubicBezTo>
                  <a:lnTo>
                    <a:pt x="190016" y="782893"/>
                  </a:lnTo>
                  <a:lnTo>
                    <a:pt x="193693" y="776444"/>
                  </a:lnTo>
                  <a:lnTo>
                    <a:pt x="198194" y="754901"/>
                  </a:lnTo>
                  <a:lnTo>
                    <a:pt x="195257" y="752020"/>
                  </a:lnTo>
                  <a:lnTo>
                    <a:pt x="189604" y="755725"/>
                  </a:lnTo>
                  <a:lnTo>
                    <a:pt x="186393" y="750620"/>
                  </a:lnTo>
                  <a:lnTo>
                    <a:pt x="179944" y="747080"/>
                  </a:lnTo>
                  <a:lnTo>
                    <a:pt x="176020" y="740823"/>
                  </a:lnTo>
                  <a:lnTo>
                    <a:pt x="169214" y="736130"/>
                  </a:lnTo>
                  <a:lnTo>
                    <a:pt x="151403" y="738161"/>
                  </a:lnTo>
                  <a:lnTo>
                    <a:pt x="127775" y="753667"/>
                  </a:lnTo>
                  <a:lnTo>
                    <a:pt x="119844" y="754956"/>
                  </a:lnTo>
                  <a:lnTo>
                    <a:pt x="106040" y="752294"/>
                  </a:lnTo>
                  <a:lnTo>
                    <a:pt x="93389" y="747135"/>
                  </a:lnTo>
                  <a:lnTo>
                    <a:pt x="88559" y="742991"/>
                  </a:lnTo>
                  <a:lnTo>
                    <a:pt x="87434" y="738710"/>
                  </a:lnTo>
                  <a:lnTo>
                    <a:pt x="81863" y="741235"/>
                  </a:lnTo>
                  <a:lnTo>
                    <a:pt x="76209" y="740933"/>
                  </a:lnTo>
                  <a:lnTo>
                    <a:pt x="74426" y="735554"/>
                  </a:lnTo>
                  <a:lnTo>
                    <a:pt x="69815" y="731932"/>
                  </a:lnTo>
                  <a:lnTo>
                    <a:pt x="71874" y="727403"/>
                  </a:lnTo>
                  <a:lnTo>
                    <a:pt x="71654" y="721119"/>
                  </a:lnTo>
                  <a:lnTo>
                    <a:pt x="69843" y="714560"/>
                  </a:lnTo>
                  <a:lnTo>
                    <a:pt x="66632" y="710636"/>
                  </a:lnTo>
                  <a:lnTo>
                    <a:pt x="61637" y="707672"/>
                  </a:lnTo>
                  <a:lnTo>
                    <a:pt x="55298" y="708331"/>
                  </a:lnTo>
                  <a:lnTo>
                    <a:pt x="53047" y="700976"/>
                  </a:lnTo>
                  <a:lnTo>
                    <a:pt x="45363" y="698232"/>
                  </a:lnTo>
                  <a:lnTo>
                    <a:pt x="39052" y="700153"/>
                  </a:lnTo>
                  <a:lnTo>
                    <a:pt x="36582" y="697079"/>
                  </a:lnTo>
                  <a:lnTo>
                    <a:pt x="28898" y="697518"/>
                  </a:lnTo>
                  <a:lnTo>
                    <a:pt x="26208" y="694088"/>
                  </a:lnTo>
                  <a:lnTo>
                    <a:pt x="27389" y="690136"/>
                  </a:lnTo>
                  <a:lnTo>
                    <a:pt x="38475" y="690026"/>
                  </a:lnTo>
                  <a:lnTo>
                    <a:pt x="43909" y="686706"/>
                  </a:lnTo>
                  <a:lnTo>
                    <a:pt x="45034" y="683001"/>
                  </a:lnTo>
                  <a:lnTo>
                    <a:pt x="39656" y="675975"/>
                  </a:lnTo>
                  <a:lnTo>
                    <a:pt x="40452" y="669526"/>
                  </a:lnTo>
                  <a:lnTo>
                    <a:pt x="35868" y="655146"/>
                  </a:lnTo>
                  <a:lnTo>
                    <a:pt x="36389" y="643922"/>
                  </a:lnTo>
                  <a:lnTo>
                    <a:pt x="21516" y="637144"/>
                  </a:lnTo>
                  <a:lnTo>
                    <a:pt x="16713" y="637391"/>
                  </a:lnTo>
                  <a:lnTo>
                    <a:pt x="12761" y="641150"/>
                  </a:lnTo>
                  <a:lnTo>
                    <a:pt x="7931" y="639559"/>
                  </a:lnTo>
                  <a:lnTo>
                    <a:pt x="4583" y="629542"/>
                  </a:lnTo>
                  <a:lnTo>
                    <a:pt x="6559" y="623889"/>
                  </a:lnTo>
                  <a:lnTo>
                    <a:pt x="0" y="614695"/>
                  </a:lnTo>
                  <a:lnTo>
                    <a:pt x="2223" y="606380"/>
                  </a:lnTo>
                  <a:lnTo>
                    <a:pt x="7081" y="606243"/>
                  </a:lnTo>
                  <a:lnTo>
                    <a:pt x="9441" y="603251"/>
                  </a:lnTo>
                  <a:lnTo>
                    <a:pt x="10099" y="599135"/>
                  </a:lnTo>
                  <a:lnTo>
                    <a:pt x="7931" y="593619"/>
                  </a:lnTo>
                  <a:lnTo>
                    <a:pt x="12487" y="583575"/>
                  </a:lnTo>
                  <a:lnTo>
                    <a:pt x="22723" y="581956"/>
                  </a:lnTo>
                  <a:lnTo>
                    <a:pt x="33426" y="572982"/>
                  </a:lnTo>
                  <a:lnTo>
                    <a:pt x="37926" y="572817"/>
                  </a:lnTo>
                  <a:lnTo>
                    <a:pt x="36088" y="568783"/>
                  </a:lnTo>
                  <a:lnTo>
                    <a:pt x="37048" y="566478"/>
                  </a:lnTo>
                  <a:lnTo>
                    <a:pt x="45281" y="568536"/>
                  </a:lnTo>
                  <a:lnTo>
                    <a:pt x="58509" y="561099"/>
                  </a:lnTo>
                  <a:lnTo>
                    <a:pt x="62159" y="567548"/>
                  </a:lnTo>
                  <a:lnTo>
                    <a:pt x="61198" y="571390"/>
                  </a:lnTo>
                  <a:lnTo>
                    <a:pt x="62515" y="574382"/>
                  </a:lnTo>
                  <a:lnTo>
                    <a:pt x="68224" y="574162"/>
                  </a:lnTo>
                  <a:lnTo>
                    <a:pt x="71352" y="571061"/>
                  </a:lnTo>
                  <a:lnTo>
                    <a:pt x="79228" y="568948"/>
                  </a:lnTo>
                  <a:lnTo>
                    <a:pt x="82466" y="571088"/>
                  </a:lnTo>
                  <a:lnTo>
                    <a:pt x="86144" y="567850"/>
                  </a:lnTo>
                  <a:lnTo>
                    <a:pt x="90150" y="556763"/>
                  </a:lnTo>
                  <a:lnTo>
                    <a:pt x="96408" y="546746"/>
                  </a:lnTo>
                  <a:lnTo>
                    <a:pt x="101485" y="545182"/>
                  </a:lnTo>
                  <a:lnTo>
                    <a:pt x="118993" y="547158"/>
                  </a:lnTo>
                  <a:lnTo>
                    <a:pt x="127089" y="544359"/>
                  </a:lnTo>
                  <a:lnTo>
                    <a:pt x="133346" y="545045"/>
                  </a:lnTo>
                  <a:lnTo>
                    <a:pt x="140673" y="536648"/>
                  </a:lnTo>
                  <a:lnTo>
                    <a:pt x="142813" y="530665"/>
                  </a:lnTo>
                  <a:lnTo>
                    <a:pt x="156919" y="522844"/>
                  </a:lnTo>
                  <a:lnTo>
                    <a:pt x="160212" y="521005"/>
                  </a:lnTo>
                  <a:lnTo>
                    <a:pt x="171683" y="514638"/>
                  </a:lnTo>
                  <a:lnTo>
                    <a:pt x="179011" y="515791"/>
                  </a:lnTo>
                  <a:lnTo>
                    <a:pt x="183347" y="508519"/>
                  </a:lnTo>
                  <a:lnTo>
                    <a:pt x="184088" y="507228"/>
                  </a:lnTo>
                  <a:lnTo>
                    <a:pt x="195395" y="505472"/>
                  </a:lnTo>
                  <a:lnTo>
                    <a:pt x="195888" y="499188"/>
                  </a:lnTo>
                  <a:lnTo>
                    <a:pt x="195586" y="491998"/>
                  </a:lnTo>
                  <a:lnTo>
                    <a:pt x="195230" y="482750"/>
                  </a:lnTo>
                  <a:lnTo>
                    <a:pt x="195120" y="479950"/>
                  </a:lnTo>
                  <a:lnTo>
                    <a:pt x="203325" y="472650"/>
                  </a:lnTo>
                  <a:lnTo>
                    <a:pt x="202392" y="466284"/>
                  </a:lnTo>
                  <a:lnTo>
                    <a:pt x="210433" y="460768"/>
                  </a:lnTo>
                  <a:lnTo>
                    <a:pt x="209610" y="447348"/>
                  </a:lnTo>
                  <a:lnTo>
                    <a:pt x="200746" y="420344"/>
                  </a:lnTo>
                  <a:lnTo>
                    <a:pt x="199181" y="407309"/>
                  </a:lnTo>
                  <a:lnTo>
                    <a:pt x="201459" y="397182"/>
                  </a:lnTo>
                  <a:lnTo>
                    <a:pt x="196519" y="393505"/>
                  </a:lnTo>
                  <a:lnTo>
                    <a:pt x="189302" y="393505"/>
                  </a:lnTo>
                  <a:cubicBezTo>
                    <a:pt x="189302" y="393505"/>
                    <a:pt x="187381" y="388675"/>
                    <a:pt x="187381" y="388675"/>
                  </a:cubicBezTo>
                  <a:lnTo>
                    <a:pt x="192348" y="384449"/>
                  </a:lnTo>
                  <a:lnTo>
                    <a:pt x="237218" y="371962"/>
                  </a:lnTo>
                  <a:lnTo>
                    <a:pt x="246219" y="378631"/>
                  </a:lnTo>
                  <a:lnTo>
                    <a:pt x="254424" y="377012"/>
                  </a:lnTo>
                  <a:lnTo>
                    <a:pt x="262465" y="379317"/>
                  </a:lnTo>
                  <a:lnTo>
                    <a:pt x="264633" y="369355"/>
                  </a:lnTo>
                  <a:lnTo>
                    <a:pt x="257169" y="364031"/>
                  </a:lnTo>
                  <a:lnTo>
                    <a:pt x="256345" y="359750"/>
                  </a:lnTo>
                  <a:lnTo>
                    <a:pt x="278410" y="293311"/>
                  </a:lnTo>
                  <a:lnTo>
                    <a:pt x="282690" y="292652"/>
                  </a:lnTo>
                  <a:lnTo>
                    <a:pt x="306429" y="302421"/>
                  </a:lnTo>
                  <a:lnTo>
                    <a:pt x="325364" y="302037"/>
                  </a:lnTo>
                  <a:lnTo>
                    <a:pt x="330551" y="308020"/>
                  </a:lnTo>
                  <a:lnTo>
                    <a:pt x="342543" y="299924"/>
                  </a:lnTo>
                  <a:lnTo>
                    <a:pt x="350475" y="298305"/>
                  </a:lnTo>
                  <a:lnTo>
                    <a:pt x="355963" y="289002"/>
                  </a:lnTo>
                  <a:lnTo>
                    <a:pt x="352231" y="260626"/>
                  </a:lnTo>
                  <a:lnTo>
                    <a:pt x="357665" y="242569"/>
                  </a:lnTo>
                  <a:lnTo>
                    <a:pt x="381869" y="233567"/>
                  </a:lnTo>
                  <a:lnTo>
                    <a:pt x="387083" y="225828"/>
                  </a:lnTo>
                  <a:lnTo>
                    <a:pt x="387386" y="214439"/>
                  </a:lnTo>
                  <a:lnTo>
                    <a:pt x="390733" y="209637"/>
                  </a:lnTo>
                  <a:lnTo>
                    <a:pt x="397923" y="207469"/>
                  </a:lnTo>
                  <a:lnTo>
                    <a:pt x="403741" y="209115"/>
                  </a:lnTo>
                  <a:lnTo>
                    <a:pt x="418835" y="205356"/>
                  </a:lnTo>
                  <a:lnTo>
                    <a:pt x="420701" y="211366"/>
                  </a:lnTo>
                  <a:lnTo>
                    <a:pt x="418039" y="218665"/>
                  </a:lnTo>
                  <a:lnTo>
                    <a:pt x="425175" y="225856"/>
                  </a:lnTo>
                  <a:lnTo>
                    <a:pt x="425010" y="233018"/>
                  </a:lnTo>
                  <a:lnTo>
                    <a:pt x="438676" y="240895"/>
                  </a:lnTo>
                  <a:lnTo>
                    <a:pt x="443067" y="249814"/>
                  </a:lnTo>
                  <a:lnTo>
                    <a:pt x="455334" y="258156"/>
                  </a:lnTo>
                  <a:lnTo>
                    <a:pt x="469302" y="257964"/>
                  </a:lnTo>
                  <a:lnTo>
                    <a:pt x="475999" y="264935"/>
                  </a:lnTo>
                  <a:lnTo>
                    <a:pt x="483299" y="264441"/>
                  </a:lnTo>
                  <a:lnTo>
                    <a:pt x="489034" y="270670"/>
                  </a:lnTo>
                  <a:lnTo>
                    <a:pt x="492547" y="274485"/>
                  </a:lnTo>
                  <a:lnTo>
                    <a:pt x="498722" y="292350"/>
                  </a:lnTo>
                  <a:lnTo>
                    <a:pt x="509617" y="305276"/>
                  </a:lnTo>
                  <a:lnTo>
                    <a:pt x="513211" y="316198"/>
                  </a:lnTo>
                  <a:lnTo>
                    <a:pt x="513211" y="322757"/>
                  </a:lnTo>
                  <a:cubicBezTo>
                    <a:pt x="513211" y="322757"/>
                    <a:pt x="510110" y="332197"/>
                    <a:pt x="510110" y="332197"/>
                  </a:cubicBezTo>
                  <a:lnTo>
                    <a:pt x="512333" y="342900"/>
                  </a:lnTo>
                  <a:lnTo>
                    <a:pt x="505253" y="354234"/>
                  </a:lnTo>
                  <a:lnTo>
                    <a:pt x="503167" y="362055"/>
                  </a:lnTo>
                  <a:lnTo>
                    <a:pt x="509534" y="376490"/>
                  </a:lnTo>
                  <a:lnTo>
                    <a:pt x="518124" y="378192"/>
                  </a:lnTo>
                  <a:lnTo>
                    <a:pt x="528525" y="380250"/>
                  </a:lnTo>
                  <a:lnTo>
                    <a:pt x="549738" y="384449"/>
                  </a:lnTo>
                  <a:lnTo>
                    <a:pt x="553470" y="385107"/>
                  </a:lnTo>
                  <a:lnTo>
                    <a:pt x="566533" y="384037"/>
                  </a:lnTo>
                  <a:lnTo>
                    <a:pt x="587527" y="387824"/>
                  </a:lnTo>
                  <a:lnTo>
                    <a:pt x="605722" y="398472"/>
                  </a:lnTo>
                  <a:lnTo>
                    <a:pt x="622819" y="413127"/>
                  </a:lnTo>
                  <a:lnTo>
                    <a:pt x="630777" y="416282"/>
                  </a:lnTo>
                  <a:lnTo>
                    <a:pt x="641644" y="415459"/>
                  </a:lnTo>
                  <a:lnTo>
                    <a:pt x="640245" y="425174"/>
                  </a:lnTo>
                  <a:lnTo>
                    <a:pt x="646091" y="428522"/>
                  </a:lnTo>
                  <a:lnTo>
                    <a:pt x="653143" y="447266"/>
                  </a:lnTo>
                  <a:lnTo>
                    <a:pt x="657205" y="457447"/>
                  </a:lnTo>
                  <a:lnTo>
                    <a:pt x="668923" y="470400"/>
                  </a:lnTo>
                  <a:lnTo>
                    <a:pt x="672408" y="477865"/>
                  </a:lnTo>
                  <a:lnTo>
                    <a:pt x="695131" y="476438"/>
                  </a:lnTo>
                  <a:lnTo>
                    <a:pt x="724111" y="481789"/>
                  </a:lnTo>
                  <a:lnTo>
                    <a:pt x="733963" y="482667"/>
                  </a:lnTo>
                  <a:lnTo>
                    <a:pt x="760637" y="485082"/>
                  </a:lnTo>
                  <a:lnTo>
                    <a:pt x="774908" y="482667"/>
                  </a:lnTo>
                  <a:lnTo>
                    <a:pt x="787175" y="480581"/>
                  </a:lnTo>
                  <a:lnTo>
                    <a:pt x="801967" y="481240"/>
                  </a:lnTo>
                  <a:lnTo>
                    <a:pt x="807757" y="482667"/>
                  </a:lnTo>
                  <a:lnTo>
                    <a:pt x="828257" y="487717"/>
                  </a:lnTo>
                  <a:lnTo>
                    <a:pt x="832401" y="491943"/>
                  </a:lnTo>
                  <a:lnTo>
                    <a:pt x="839234" y="498447"/>
                  </a:lnTo>
                  <a:lnTo>
                    <a:pt x="856962" y="502289"/>
                  </a:lnTo>
                  <a:lnTo>
                    <a:pt x="878477" y="512717"/>
                  </a:lnTo>
                  <a:lnTo>
                    <a:pt x="891650" y="515599"/>
                  </a:lnTo>
                  <a:lnTo>
                    <a:pt x="908034" y="513403"/>
                  </a:lnTo>
                  <a:lnTo>
                    <a:pt x="911217" y="520785"/>
                  </a:lnTo>
                  <a:lnTo>
                    <a:pt x="922908" y="523146"/>
                  </a:lnTo>
                  <a:lnTo>
                    <a:pt x="945987" y="509506"/>
                  </a:lnTo>
                  <a:lnTo>
                    <a:pt x="990746" y="491943"/>
                  </a:lnTo>
                  <a:lnTo>
                    <a:pt x="994479" y="490488"/>
                  </a:lnTo>
                  <a:lnTo>
                    <a:pt x="1036851" y="491778"/>
                  </a:lnTo>
                  <a:lnTo>
                    <a:pt x="1053619" y="489583"/>
                  </a:lnTo>
                  <a:lnTo>
                    <a:pt x="1070386" y="482695"/>
                  </a:lnTo>
                  <a:lnTo>
                    <a:pt x="1080567" y="478496"/>
                  </a:lnTo>
                  <a:lnTo>
                    <a:pt x="1100189" y="455910"/>
                  </a:lnTo>
                  <a:lnTo>
                    <a:pt x="1117725" y="447266"/>
                  </a:lnTo>
                  <a:lnTo>
                    <a:pt x="1128236" y="438786"/>
                  </a:lnTo>
                  <a:lnTo>
                    <a:pt x="1126589" y="431596"/>
                  </a:lnTo>
                  <a:lnTo>
                    <a:pt x="1117972" y="422567"/>
                  </a:lnTo>
                  <a:lnTo>
                    <a:pt x="1112786" y="412413"/>
                  </a:lnTo>
                  <a:lnTo>
                    <a:pt x="1117780" y="397923"/>
                  </a:lnTo>
                  <a:lnTo>
                    <a:pt x="1124394" y="385931"/>
                  </a:lnTo>
                  <a:lnTo>
                    <a:pt x="1130102" y="382363"/>
                  </a:lnTo>
                  <a:lnTo>
                    <a:pt x="1142067" y="382994"/>
                  </a:lnTo>
                  <a:lnTo>
                    <a:pt x="1154389" y="392435"/>
                  </a:lnTo>
                  <a:lnTo>
                    <a:pt x="1176892" y="396304"/>
                  </a:lnTo>
                  <a:lnTo>
                    <a:pt x="1190861" y="387989"/>
                  </a:lnTo>
                  <a:lnTo>
                    <a:pt x="1201290" y="377698"/>
                  </a:lnTo>
                  <a:lnTo>
                    <a:pt x="1204665" y="370618"/>
                  </a:lnTo>
                  <a:lnTo>
                    <a:pt x="1208809" y="368504"/>
                  </a:lnTo>
                  <a:lnTo>
                    <a:pt x="1227854" y="369684"/>
                  </a:lnTo>
                  <a:lnTo>
                    <a:pt x="1238145" y="366528"/>
                  </a:lnTo>
                  <a:lnTo>
                    <a:pt x="1254172" y="355085"/>
                  </a:lnTo>
                  <a:lnTo>
                    <a:pt x="1256011" y="344464"/>
                  </a:lnTo>
                  <a:lnTo>
                    <a:pt x="1264628" y="331895"/>
                  </a:lnTo>
                  <a:lnTo>
                    <a:pt x="1272257" y="328245"/>
                  </a:lnTo>
                  <a:lnTo>
                    <a:pt x="1285813" y="328575"/>
                  </a:lnTo>
                  <a:lnTo>
                    <a:pt x="1290918" y="319135"/>
                  </a:lnTo>
                  <a:lnTo>
                    <a:pt x="1298190" y="321549"/>
                  </a:lnTo>
                  <a:lnTo>
                    <a:pt x="1314629" y="312905"/>
                  </a:lnTo>
                  <a:lnTo>
                    <a:pt x="1328432" y="314195"/>
                  </a:lnTo>
                  <a:lnTo>
                    <a:pt x="1331808" y="311423"/>
                  </a:lnTo>
                  <a:lnTo>
                    <a:pt x="1339108" y="315924"/>
                  </a:lnTo>
                  <a:lnTo>
                    <a:pt x="1357083" y="317817"/>
                  </a:lnTo>
                  <a:lnTo>
                    <a:pt x="1362133" y="314003"/>
                  </a:lnTo>
                  <a:lnTo>
                    <a:pt x="1362709" y="306895"/>
                  </a:lnTo>
                  <a:lnTo>
                    <a:pt x="1357110" y="294655"/>
                  </a:lnTo>
                  <a:lnTo>
                    <a:pt x="1351732" y="288590"/>
                  </a:lnTo>
                  <a:lnTo>
                    <a:pt x="1345310" y="280632"/>
                  </a:lnTo>
                  <a:lnTo>
                    <a:pt x="1340315" y="278409"/>
                  </a:lnTo>
                  <a:lnTo>
                    <a:pt x="1338340" y="272701"/>
                  </a:lnTo>
                  <a:lnTo>
                    <a:pt x="1328872" y="267514"/>
                  </a:lnTo>
                  <a:lnTo>
                    <a:pt x="1322944" y="258842"/>
                  </a:lnTo>
                  <a:lnTo>
                    <a:pt x="1311638" y="255576"/>
                  </a:lnTo>
                  <a:lnTo>
                    <a:pt x="1300002" y="257333"/>
                  </a:lnTo>
                  <a:lnTo>
                    <a:pt x="1287378" y="272317"/>
                  </a:lnTo>
                  <a:lnTo>
                    <a:pt x="1278294" y="265044"/>
                  </a:lnTo>
                  <a:lnTo>
                    <a:pt x="1270857" y="262218"/>
                  </a:lnTo>
                  <a:lnTo>
                    <a:pt x="1253898" y="263535"/>
                  </a:lnTo>
                  <a:lnTo>
                    <a:pt x="1245253" y="270917"/>
                  </a:lnTo>
                  <a:lnTo>
                    <a:pt x="1235209" y="261696"/>
                  </a:lnTo>
                  <a:lnTo>
                    <a:pt x="1233919" y="252338"/>
                  </a:lnTo>
                  <a:lnTo>
                    <a:pt x="1241301" y="246493"/>
                  </a:lnTo>
                  <a:lnTo>
                    <a:pt x="1241603" y="234692"/>
                  </a:lnTo>
                  <a:lnTo>
                    <a:pt x="1248683" y="223057"/>
                  </a:lnTo>
                  <a:lnTo>
                    <a:pt x="1249616" y="217486"/>
                  </a:lnTo>
                  <a:lnTo>
                    <a:pt x="1268607" y="175168"/>
                  </a:lnTo>
                  <a:lnTo>
                    <a:pt x="1280627" y="182908"/>
                  </a:lnTo>
                  <a:lnTo>
                    <a:pt x="1299892" y="188862"/>
                  </a:lnTo>
                  <a:lnTo>
                    <a:pt x="1308893" y="184362"/>
                  </a:lnTo>
                  <a:lnTo>
                    <a:pt x="1323328" y="171958"/>
                  </a:lnTo>
                  <a:lnTo>
                    <a:pt x="1340398" y="165865"/>
                  </a:lnTo>
                  <a:lnTo>
                    <a:pt x="1345255" y="156672"/>
                  </a:lnTo>
                  <a:lnTo>
                    <a:pt x="1341989" y="149948"/>
                  </a:lnTo>
                  <a:lnTo>
                    <a:pt x="1343718" y="142676"/>
                  </a:lnTo>
                  <a:lnTo>
                    <a:pt x="1357055" y="118279"/>
                  </a:lnTo>
                  <a:lnTo>
                    <a:pt x="1366660" y="94020"/>
                  </a:lnTo>
                  <a:lnTo>
                    <a:pt x="1382935" y="78487"/>
                  </a:lnTo>
                  <a:lnTo>
                    <a:pt x="1386804" y="69211"/>
                  </a:lnTo>
                  <a:lnTo>
                    <a:pt x="1383593" y="48464"/>
                  </a:lnTo>
                  <a:lnTo>
                    <a:pt x="1378242" y="44979"/>
                  </a:lnTo>
                  <a:lnTo>
                    <a:pt x="1368280" y="45089"/>
                  </a:lnTo>
                  <a:lnTo>
                    <a:pt x="1366853" y="41302"/>
                  </a:lnTo>
                  <a:lnTo>
                    <a:pt x="1368197" y="36417"/>
                  </a:lnTo>
                  <a:lnTo>
                    <a:pt x="1392128" y="13118"/>
                  </a:lnTo>
                  <a:lnTo>
                    <a:pt x="1432085" y="3320"/>
                  </a:lnTo>
                  <a:lnTo>
                    <a:pt x="1448633" y="3677"/>
                  </a:lnTo>
                  <a:lnTo>
                    <a:pt x="1464275" y="0"/>
                  </a:lnTo>
                  <a:lnTo>
                    <a:pt x="1478930" y="35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7" name="Freeform: Shape 3176">
              <a:extLst>
                <a:ext uri="{FF2B5EF4-FFF2-40B4-BE49-F238E27FC236}">
                  <a16:creationId xmlns:a16="http://schemas.microsoft.com/office/drawing/2014/main" id="{6DF24DDB-37FF-C5D4-0158-D142403710BC}"/>
                </a:ext>
              </a:extLst>
            </p:cNvPr>
            <p:cNvSpPr/>
            <p:nvPr/>
          </p:nvSpPr>
          <p:spPr>
            <a:xfrm>
              <a:off x="1738608" y="3742827"/>
              <a:ext cx="678" cy="458"/>
            </a:xfrm>
            <a:custGeom>
              <a:avLst/>
              <a:gdLst>
                <a:gd name="connsiteX0" fmla="*/ 6504 w 6504"/>
                <a:gd name="connsiteY0" fmla="*/ 1756 h 4390"/>
                <a:gd name="connsiteX1" fmla="*/ 5516 w 6504"/>
                <a:gd name="connsiteY1" fmla="*/ 4391 h 4390"/>
                <a:gd name="connsiteX2" fmla="*/ 2662 w 6504"/>
                <a:gd name="connsiteY2" fmla="*/ 3513 h 4390"/>
                <a:gd name="connsiteX3" fmla="*/ 0 w 6504"/>
                <a:gd name="connsiteY3" fmla="*/ 686 h 4390"/>
                <a:gd name="connsiteX4" fmla="*/ 1509 w 6504"/>
                <a:gd name="connsiteY4" fmla="*/ 0 h 4390"/>
                <a:gd name="connsiteX5" fmla="*/ 3266 w 6504"/>
                <a:gd name="connsiteY5" fmla="*/ 1647 h 4390"/>
                <a:gd name="connsiteX6" fmla="*/ 6504 w 6504"/>
                <a:gd name="connsiteY6" fmla="*/ 1784 h 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4" h="4390">
                  <a:moveTo>
                    <a:pt x="6504" y="1756"/>
                  </a:moveTo>
                  <a:lnTo>
                    <a:pt x="5516" y="4391"/>
                  </a:lnTo>
                  <a:lnTo>
                    <a:pt x="2662" y="3513"/>
                  </a:lnTo>
                  <a:lnTo>
                    <a:pt x="0" y="686"/>
                  </a:lnTo>
                  <a:lnTo>
                    <a:pt x="1509" y="0"/>
                  </a:lnTo>
                  <a:lnTo>
                    <a:pt x="3266" y="1647"/>
                  </a:lnTo>
                  <a:lnTo>
                    <a:pt x="6504"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2" name="Freeform: Shape 3181">
              <a:extLst>
                <a:ext uri="{FF2B5EF4-FFF2-40B4-BE49-F238E27FC236}">
                  <a16:creationId xmlns:a16="http://schemas.microsoft.com/office/drawing/2014/main" id="{1A8BD926-1B9E-4E79-74EE-1DA8DD4DCA4B}"/>
                </a:ext>
              </a:extLst>
            </p:cNvPr>
            <p:cNvSpPr/>
            <p:nvPr/>
          </p:nvSpPr>
          <p:spPr>
            <a:xfrm>
              <a:off x="1737231" y="3712475"/>
              <a:ext cx="401" cy="489"/>
            </a:xfrm>
            <a:custGeom>
              <a:avLst/>
              <a:gdLst>
                <a:gd name="connsiteX0" fmla="*/ 3842 w 3841"/>
                <a:gd name="connsiteY0" fmla="*/ 2086 h 4692"/>
                <a:gd name="connsiteX1" fmla="*/ 2360 w 3841"/>
                <a:gd name="connsiteY1" fmla="*/ 4693 h 4692"/>
                <a:gd name="connsiteX2" fmla="*/ 0 w 3841"/>
                <a:gd name="connsiteY2" fmla="*/ 2141 h 4692"/>
                <a:gd name="connsiteX3" fmla="*/ 1619 w 3841"/>
                <a:gd name="connsiteY3" fmla="*/ 0 h 4692"/>
                <a:gd name="connsiteX4" fmla="*/ 3842 w 3841"/>
                <a:gd name="connsiteY4" fmla="*/ 2086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1" h="4692">
                  <a:moveTo>
                    <a:pt x="3842" y="2086"/>
                  </a:moveTo>
                  <a:lnTo>
                    <a:pt x="2360" y="4693"/>
                  </a:lnTo>
                  <a:lnTo>
                    <a:pt x="0" y="2141"/>
                  </a:lnTo>
                  <a:lnTo>
                    <a:pt x="1619" y="0"/>
                  </a:lnTo>
                  <a:lnTo>
                    <a:pt x="3842"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8" name="Freeform: Shape 3187">
              <a:extLst>
                <a:ext uri="{FF2B5EF4-FFF2-40B4-BE49-F238E27FC236}">
                  <a16:creationId xmlns:a16="http://schemas.microsoft.com/office/drawing/2014/main" id="{5FE449F7-6559-0FFE-F453-097B7DDA367E}"/>
                </a:ext>
              </a:extLst>
            </p:cNvPr>
            <p:cNvSpPr/>
            <p:nvPr/>
          </p:nvSpPr>
          <p:spPr>
            <a:xfrm>
              <a:off x="1740417" y="3746176"/>
              <a:ext cx="432" cy="369"/>
            </a:xfrm>
            <a:custGeom>
              <a:avLst/>
              <a:gdLst>
                <a:gd name="connsiteX0" fmla="*/ 4144 w 4143"/>
                <a:gd name="connsiteY0" fmla="*/ 1893 h 3539"/>
                <a:gd name="connsiteX1" fmla="*/ 2333 w 4143"/>
                <a:gd name="connsiteY1" fmla="*/ 3540 h 3539"/>
                <a:gd name="connsiteX2" fmla="*/ 0 w 4143"/>
                <a:gd name="connsiteY2" fmla="*/ 2881 h 3539"/>
                <a:gd name="connsiteX3" fmla="*/ 631 w 4143"/>
                <a:gd name="connsiteY3" fmla="*/ 0 h 3539"/>
                <a:gd name="connsiteX4" fmla="*/ 4116 w 4143"/>
                <a:gd name="connsiteY4" fmla="*/ 1893 h 3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 h="3539">
                  <a:moveTo>
                    <a:pt x="4144" y="1893"/>
                  </a:moveTo>
                  <a:lnTo>
                    <a:pt x="2333" y="3540"/>
                  </a:lnTo>
                  <a:lnTo>
                    <a:pt x="0" y="2881"/>
                  </a:lnTo>
                  <a:lnTo>
                    <a:pt x="631" y="0"/>
                  </a:lnTo>
                  <a:lnTo>
                    <a:pt x="4116" y="1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0" name="Freeform: Shape 3189">
              <a:extLst>
                <a:ext uri="{FF2B5EF4-FFF2-40B4-BE49-F238E27FC236}">
                  <a16:creationId xmlns:a16="http://schemas.microsoft.com/office/drawing/2014/main" id="{E417FEBD-EE17-F907-1C22-8FC01936D382}"/>
                </a:ext>
              </a:extLst>
            </p:cNvPr>
            <p:cNvSpPr/>
            <p:nvPr/>
          </p:nvSpPr>
          <p:spPr>
            <a:xfrm>
              <a:off x="1740477" y="3713471"/>
              <a:ext cx="366" cy="475"/>
            </a:xfrm>
            <a:custGeom>
              <a:avLst/>
              <a:gdLst>
                <a:gd name="connsiteX0" fmla="*/ 3513 w 3512"/>
                <a:gd name="connsiteY0" fmla="*/ 3540 h 4555"/>
                <a:gd name="connsiteX1" fmla="*/ 1921 w 3512"/>
                <a:gd name="connsiteY1" fmla="*/ 4555 h 4555"/>
                <a:gd name="connsiteX2" fmla="*/ 0 w 3512"/>
                <a:gd name="connsiteY2" fmla="*/ 2113 h 4555"/>
                <a:gd name="connsiteX3" fmla="*/ 3266 w 3512"/>
                <a:gd name="connsiteY3" fmla="*/ 0 h 4555"/>
                <a:gd name="connsiteX4" fmla="*/ 3513 w 3512"/>
                <a:gd name="connsiteY4" fmla="*/ 3540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4555">
                  <a:moveTo>
                    <a:pt x="3513" y="3540"/>
                  </a:moveTo>
                  <a:lnTo>
                    <a:pt x="1921" y="4555"/>
                  </a:lnTo>
                  <a:lnTo>
                    <a:pt x="0" y="2113"/>
                  </a:lnTo>
                  <a:lnTo>
                    <a:pt x="3266" y="0"/>
                  </a:lnTo>
                  <a:lnTo>
                    <a:pt x="3513"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 name="Freeform: Shape 3286">
              <a:extLst>
                <a:ext uri="{FF2B5EF4-FFF2-40B4-BE49-F238E27FC236}">
                  <a16:creationId xmlns:a16="http://schemas.microsoft.com/office/drawing/2014/main" id="{AEC05CD5-1288-DEA2-069D-A0EDE492C602}"/>
                </a:ext>
              </a:extLst>
            </p:cNvPr>
            <p:cNvSpPr/>
            <p:nvPr/>
          </p:nvSpPr>
          <p:spPr>
            <a:xfrm>
              <a:off x="1084382" y="3350407"/>
              <a:ext cx="93063" cy="123086"/>
            </a:xfrm>
            <a:custGeom>
              <a:avLst/>
              <a:gdLst>
                <a:gd name="connsiteX0" fmla="*/ 433050 w 892253"/>
                <a:gd name="connsiteY0" fmla="*/ 33892 h 1180102"/>
                <a:gd name="connsiteX1" fmla="*/ 445564 w 892253"/>
                <a:gd name="connsiteY1" fmla="*/ 2305 h 1180102"/>
                <a:gd name="connsiteX2" fmla="*/ 503332 w 892253"/>
                <a:gd name="connsiteY2" fmla="*/ 0 h 1180102"/>
                <a:gd name="connsiteX3" fmla="*/ 523338 w 892253"/>
                <a:gd name="connsiteY3" fmla="*/ 54474 h 1180102"/>
                <a:gd name="connsiteX4" fmla="*/ 536867 w 892253"/>
                <a:gd name="connsiteY4" fmla="*/ 71626 h 1180102"/>
                <a:gd name="connsiteX5" fmla="*/ 539035 w 892253"/>
                <a:gd name="connsiteY5" fmla="*/ 61939 h 1180102"/>
                <a:gd name="connsiteX6" fmla="*/ 538075 w 892253"/>
                <a:gd name="connsiteY6" fmla="*/ 26428 h 1180102"/>
                <a:gd name="connsiteX7" fmla="*/ 550753 w 892253"/>
                <a:gd name="connsiteY7" fmla="*/ 8315 h 1180102"/>
                <a:gd name="connsiteX8" fmla="*/ 578224 w 892253"/>
                <a:gd name="connsiteY8" fmla="*/ 5818 h 1180102"/>
                <a:gd name="connsiteX9" fmla="*/ 594827 w 892253"/>
                <a:gd name="connsiteY9" fmla="*/ 30462 h 1180102"/>
                <a:gd name="connsiteX10" fmla="*/ 609728 w 892253"/>
                <a:gd name="connsiteY10" fmla="*/ 9578 h 1180102"/>
                <a:gd name="connsiteX11" fmla="*/ 636842 w 892253"/>
                <a:gd name="connsiteY11" fmla="*/ 3595 h 1180102"/>
                <a:gd name="connsiteX12" fmla="*/ 714999 w 892253"/>
                <a:gd name="connsiteY12" fmla="*/ 62652 h 1180102"/>
                <a:gd name="connsiteX13" fmla="*/ 709785 w 892253"/>
                <a:gd name="connsiteY13" fmla="*/ 91275 h 1180102"/>
                <a:gd name="connsiteX14" fmla="*/ 710554 w 892253"/>
                <a:gd name="connsiteY14" fmla="*/ 100386 h 1180102"/>
                <a:gd name="connsiteX15" fmla="*/ 782536 w 892253"/>
                <a:gd name="connsiteY15" fmla="*/ 61802 h 1180102"/>
                <a:gd name="connsiteX16" fmla="*/ 800018 w 892253"/>
                <a:gd name="connsiteY16" fmla="*/ 77966 h 1180102"/>
                <a:gd name="connsiteX17" fmla="*/ 819036 w 892253"/>
                <a:gd name="connsiteY17" fmla="*/ 75907 h 1180102"/>
                <a:gd name="connsiteX18" fmla="*/ 841731 w 892253"/>
                <a:gd name="connsiteY18" fmla="*/ 141276 h 1180102"/>
                <a:gd name="connsiteX19" fmla="*/ 880426 w 892253"/>
                <a:gd name="connsiteY19" fmla="*/ 151046 h 1180102"/>
                <a:gd name="connsiteX20" fmla="*/ 889015 w 892253"/>
                <a:gd name="connsiteY20" fmla="*/ 164027 h 1180102"/>
                <a:gd name="connsiteX21" fmla="*/ 892254 w 892253"/>
                <a:gd name="connsiteY21" fmla="*/ 185268 h 1180102"/>
                <a:gd name="connsiteX22" fmla="*/ 887369 w 892253"/>
                <a:gd name="connsiteY22" fmla="*/ 212765 h 1180102"/>
                <a:gd name="connsiteX23" fmla="*/ 869805 w 892253"/>
                <a:gd name="connsiteY23" fmla="*/ 239687 h 1180102"/>
                <a:gd name="connsiteX24" fmla="*/ 810913 w 892253"/>
                <a:gd name="connsiteY24" fmla="*/ 302147 h 1180102"/>
                <a:gd name="connsiteX25" fmla="*/ 715933 w 892253"/>
                <a:gd name="connsiteY25" fmla="*/ 336341 h 1180102"/>
                <a:gd name="connsiteX26" fmla="*/ 708084 w 892253"/>
                <a:gd name="connsiteY26" fmla="*/ 360683 h 1180102"/>
                <a:gd name="connsiteX27" fmla="*/ 667688 w 892253"/>
                <a:gd name="connsiteY27" fmla="*/ 398362 h 1180102"/>
                <a:gd name="connsiteX28" fmla="*/ 666892 w 892253"/>
                <a:gd name="connsiteY28" fmla="*/ 403165 h 1180102"/>
                <a:gd name="connsiteX29" fmla="*/ 781878 w 892253"/>
                <a:gd name="connsiteY29" fmla="*/ 350804 h 1180102"/>
                <a:gd name="connsiteX30" fmla="*/ 792087 w 892253"/>
                <a:gd name="connsiteY30" fmla="*/ 349788 h 1180102"/>
                <a:gd name="connsiteX31" fmla="*/ 794776 w 892253"/>
                <a:gd name="connsiteY31" fmla="*/ 358652 h 1180102"/>
                <a:gd name="connsiteX32" fmla="*/ 787778 w 892253"/>
                <a:gd name="connsiteY32" fmla="*/ 381704 h 1180102"/>
                <a:gd name="connsiteX33" fmla="*/ 755615 w 892253"/>
                <a:gd name="connsiteY33" fmla="*/ 408544 h 1180102"/>
                <a:gd name="connsiteX34" fmla="*/ 732426 w 892253"/>
                <a:gd name="connsiteY34" fmla="*/ 447046 h 1180102"/>
                <a:gd name="connsiteX35" fmla="*/ 702431 w 892253"/>
                <a:gd name="connsiteY35" fmla="*/ 475148 h 1180102"/>
                <a:gd name="connsiteX36" fmla="*/ 670514 w 892253"/>
                <a:gd name="connsiteY36" fmla="*/ 520703 h 1180102"/>
                <a:gd name="connsiteX37" fmla="*/ 648725 w 892253"/>
                <a:gd name="connsiteY37" fmla="*/ 562856 h 1180102"/>
                <a:gd name="connsiteX38" fmla="*/ 627484 w 892253"/>
                <a:gd name="connsiteY38" fmla="*/ 563130 h 1180102"/>
                <a:gd name="connsiteX39" fmla="*/ 624959 w 892253"/>
                <a:gd name="connsiteY39" fmla="*/ 587609 h 1180102"/>
                <a:gd name="connsiteX40" fmla="*/ 616342 w 892253"/>
                <a:gd name="connsiteY40" fmla="*/ 602209 h 1180102"/>
                <a:gd name="connsiteX41" fmla="*/ 610991 w 892253"/>
                <a:gd name="connsiteY41" fmla="*/ 633055 h 1180102"/>
                <a:gd name="connsiteX42" fmla="*/ 590436 w 892253"/>
                <a:gd name="connsiteY42" fmla="*/ 674164 h 1180102"/>
                <a:gd name="connsiteX43" fmla="*/ 559864 w 892253"/>
                <a:gd name="connsiteY43" fmla="*/ 682068 h 1180102"/>
                <a:gd name="connsiteX44" fmla="*/ 541889 w 892253"/>
                <a:gd name="connsiteY44" fmla="*/ 662803 h 1180102"/>
                <a:gd name="connsiteX45" fmla="*/ 515928 w 892253"/>
                <a:gd name="connsiteY45" fmla="*/ 654597 h 1180102"/>
                <a:gd name="connsiteX46" fmla="*/ 531845 w 892253"/>
                <a:gd name="connsiteY46" fmla="*/ 674658 h 1180102"/>
                <a:gd name="connsiteX47" fmla="*/ 537498 w 892253"/>
                <a:gd name="connsiteY47" fmla="*/ 699549 h 1180102"/>
                <a:gd name="connsiteX48" fmla="*/ 529979 w 892253"/>
                <a:gd name="connsiteY48" fmla="*/ 712557 h 1180102"/>
                <a:gd name="connsiteX49" fmla="*/ 494111 w 892253"/>
                <a:gd name="connsiteY49" fmla="*/ 719637 h 1180102"/>
                <a:gd name="connsiteX50" fmla="*/ 483408 w 892253"/>
                <a:gd name="connsiteY50" fmla="*/ 729983 h 1180102"/>
                <a:gd name="connsiteX51" fmla="*/ 460191 w 892253"/>
                <a:gd name="connsiteY51" fmla="*/ 724001 h 1180102"/>
                <a:gd name="connsiteX52" fmla="*/ 439993 w 892253"/>
                <a:gd name="connsiteY52" fmla="*/ 735143 h 1180102"/>
                <a:gd name="connsiteX53" fmla="*/ 426601 w 892253"/>
                <a:gd name="connsiteY53" fmla="*/ 723534 h 1180102"/>
                <a:gd name="connsiteX54" fmla="*/ 423967 w 892253"/>
                <a:gd name="connsiteY54" fmla="*/ 742936 h 1180102"/>
                <a:gd name="connsiteX55" fmla="*/ 491751 w 892253"/>
                <a:gd name="connsiteY55" fmla="*/ 758195 h 1180102"/>
                <a:gd name="connsiteX56" fmla="*/ 495950 w 892253"/>
                <a:gd name="connsiteY56" fmla="*/ 770846 h 1180102"/>
                <a:gd name="connsiteX57" fmla="*/ 479017 w 892253"/>
                <a:gd name="connsiteY57" fmla="*/ 782838 h 1180102"/>
                <a:gd name="connsiteX58" fmla="*/ 456733 w 892253"/>
                <a:gd name="connsiteY58" fmla="*/ 766043 h 1180102"/>
                <a:gd name="connsiteX59" fmla="*/ 444988 w 892253"/>
                <a:gd name="connsiteY59" fmla="*/ 769474 h 1180102"/>
                <a:gd name="connsiteX60" fmla="*/ 446387 w 892253"/>
                <a:gd name="connsiteY60" fmla="*/ 787202 h 1180102"/>
                <a:gd name="connsiteX61" fmla="*/ 463457 w 892253"/>
                <a:gd name="connsiteY61" fmla="*/ 796478 h 1180102"/>
                <a:gd name="connsiteX62" fmla="*/ 492492 w 892253"/>
                <a:gd name="connsiteY62" fmla="*/ 845573 h 1180102"/>
                <a:gd name="connsiteX63" fmla="*/ 488979 w 892253"/>
                <a:gd name="connsiteY63" fmla="*/ 856962 h 1180102"/>
                <a:gd name="connsiteX64" fmla="*/ 473858 w 892253"/>
                <a:gd name="connsiteY64" fmla="*/ 868817 h 1180102"/>
                <a:gd name="connsiteX65" fmla="*/ 475422 w 892253"/>
                <a:gd name="connsiteY65" fmla="*/ 896507 h 1180102"/>
                <a:gd name="connsiteX66" fmla="*/ 462908 w 892253"/>
                <a:gd name="connsiteY66" fmla="*/ 912314 h 1180102"/>
                <a:gd name="connsiteX67" fmla="*/ 462195 w 892253"/>
                <a:gd name="connsiteY67" fmla="*/ 931250 h 1180102"/>
                <a:gd name="connsiteX68" fmla="*/ 459094 w 892253"/>
                <a:gd name="connsiteY68" fmla="*/ 940581 h 1180102"/>
                <a:gd name="connsiteX69" fmla="*/ 430718 w 892253"/>
                <a:gd name="connsiteY69" fmla="*/ 952573 h 1180102"/>
                <a:gd name="connsiteX70" fmla="*/ 397512 w 892253"/>
                <a:gd name="connsiteY70" fmla="*/ 952820 h 1180102"/>
                <a:gd name="connsiteX71" fmla="*/ 399515 w 892253"/>
                <a:gd name="connsiteY71" fmla="*/ 998348 h 1180102"/>
                <a:gd name="connsiteX72" fmla="*/ 390184 w 892253"/>
                <a:gd name="connsiteY72" fmla="*/ 1021290 h 1180102"/>
                <a:gd name="connsiteX73" fmla="*/ 378466 w 892253"/>
                <a:gd name="connsiteY73" fmla="*/ 1031691 h 1180102"/>
                <a:gd name="connsiteX74" fmla="*/ 342214 w 892253"/>
                <a:gd name="connsiteY74" fmla="*/ 1037509 h 1180102"/>
                <a:gd name="connsiteX75" fmla="*/ 295643 w 892253"/>
                <a:gd name="connsiteY75" fmla="*/ 1013826 h 1180102"/>
                <a:gd name="connsiteX76" fmla="*/ 293118 w 892253"/>
                <a:gd name="connsiteY76" fmla="*/ 1045824 h 1180102"/>
                <a:gd name="connsiteX77" fmla="*/ 311615 w 892253"/>
                <a:gd name="connsiteY77" fmla="*/ 1042367 h 1180102"/>
                <a:gd name="connsiteX78" fmla="*/ 361452 w 892253"/>
                <a:gd name="connsiteY78" fmla="*/ 1053261 h 1180102"/>
                <a:gd name="connsiteX79" fmla="*/ 363867 w 892253"/>
                <a:gd name="connsiteY79" fmla="*/ 1065913 h 1180102"/>
                <a:gd name="connsiteX80" fmla="*/ 354673 w 892253"/>
                <a:gd name="connsiteY80" fmla="*/ 1092505 h 1180102"/>
                <a:gd name="connsiteX81" fmla="*/ 362467 w 892253"/>
                <a:gd name="connsiteY81" fmla="*/ 1104278 h 1180102"/>
                <a:gd name="connsiteX82" fmla="*/ 377121 w 892253"/>
                <a:gd name="connsiteY82" fmla="*/ 1084711 h 1180102"/>
                <a:gd name="connsiteX83" fmla="*/ 390733 w 892253"/>
                <a:gd name="connsiteY83" fmla="*/ 1077576 h 1180102"/>
                <a:gd name="connsiteX84" fmla="*/ 398692 w 892253"/>
                <a:gd name="connsiteY84" fmla="*/ 1083284 h 1180102"/>
                <a:gd name="connsiteX85" fmla="*/ 402808 w 892253"/>
                <a:gd name="connsiteY85" fmla="*/ 1099832 h 1180102"/>
                <a:gd name="connsiteX86" fmla="*/ 400420 w 892253"/>
                <a:gd name="connsiteY86" fmla="*/ 1119701 h 1180102"/>
                <a:gd name="connsiteX87" fmla="*/ 390678 w 892253"/>
                <a:gd name="connsiteY87" fmla="*/ 1136524 h 1180102"/>
                <a:gd name="connsiteX88" fmla="*/ 376628 w 892253"/>
                <a:gd name="connsiteY88" fmla="*/ 1136880 h 1180102"/>
                <a:gd name="connsiteX89" fmla="*/ 357747 w 892253"/>
                <a:gd name="connsiteY89" fmla="*/ 1160728 h 1180102"/>
                <a:gd name="connsiteX90" fmla="*/ 319985 w 892253"/>
                <a:gd name="connsiteY90" fmla="*/ 1180103 h 1180102"/>
                <a:gd name="connsiteX91" fmla="*/ 314607 w 892253"/>
                <a:gd name="connsiteY91" fmla="*/ 1171952 h 1180102"/>
                <a:gd name="connsiteX92" fmla="*/ 312493 w 892253"/>
                <a:gd name="connsiteY92" fmla="*/ 1150986 h 1180102"/>
                <a:gd name="connsiteX93" fmla="*/ 302696 w 892253"/>
                <a:gd name="connsiteY93" fmla="*/ 1140503 h 1180102"/>
                <a:gd name="connsiteX94" fmla="*/ 282663 w 892253"/>
                <a:gd name="connsiteY94" fmla="*/ 1136496 h 1180102"/>
                <a:gd name="connsiteX95" fmla="*/ 272920 w 892253"/>
                <a:gd name="connsiteY95" fmla="*/ 1148983 h 1180102"/>
                <a:gd name="connsiteX96" fmla="*/ 263096 w 892253"/>
                <a:gd name="connsiteY96" fmla="*/ 1151809 h 1180102"/>
                <a:gd name="connsiteX97" fmla="*/ 246932 w 892253"/>
                <a:gd name="connsiteY97" fmla="*/ 1132517 h 1180102"/>
                <a:gd name="connsiteX98" fmla="*/ 237903 w 892253"/>
                <a:gd name="connsiteY98" fmla="*/ 1146074 h 1180102"/>
                <a:gd name="connsiteX99" fmla="*/ 219160 w 892253"/>
                <a:gd name="connsiteY99" fmla="*/ 1136963 h 1180102"/>
                <a:gd name="connsiteX100" fmla="*/ 207716 w 892253"/>
                <a:gd name="connsiteY100" fmla="*/ 1144482 h 1180102"/>
                <a:gd name="connsiteX101" fmla="*/ 198468 w 892253"/>
                <a:gd name="connsiteY101" fmla="*/ 1138362 h 1180102"/>
                <a:gd name="connsiteX102" fmla="*/ 196629 w 892253"/>
                <a:gd name="connsiteY102" fmla="*/ 1158615 h 1180102"/>
                <a:gd name="connsiteX103" fmla="*/ 189219 w 892253"/>
                <a:gd name="connsiteY103" fmla="*/ 1164735 h 1180102"/>
                <a:gd name="connsiteX104" fmla="*/ 162161 w 892253"/>
                <a:gd name="connsiteY104" fmla="*/ 1155898 h 1180102"/>
                <a:gd name="connsiteX105" fmla="*/ 152857 w 892253"/>
                <a:gd name="connsiteY105" fmla="*/ 1143714 h 1180102"/>
                <a:gd name="connsiteX106" fmla="*/ 140426 w 892253"/>
                <a:gd name="connsiteY106" fmla="*/ 1153154 h 1180102"/>
                <a:gd name="connsiteX107" fmla="*/ 123548 w 892253"/>
                <a:gd name="connsiteY107" fmla="*/ 1140009 h 1180102"/>
                <a:gd name="connsiteX108" fmla="*/ 115809 w 892253"/>
                <a:gd name="connsiteY108" fmla="*/ 1152468 h 1180102"/>
                <a:gd name="connsiteX109" fmla="*/ 101759 w 892253"/>
                <a:gd name="connsiteY109" fmla="*/ 1150272 h 1180102"/>
                <a:gd name="connsiteX110" fmla="*/ 90589 w 892253"/>
                <a:gd name="connsiteY110" fmla="*/ 1119975 h 1180102"/>
                <a:gd name="connsiteX111" fmla="*/ 86281 w 892253"/>
                <a:gd name="connsiteY111" fmla="*/ 1139817 h 1180102"/>
                <a:gd name="connsiteX112" fmla="*/ 76978 w 892253"/>
                <a:gd name="connsiteY112" fmla="*/ 1145333 h 1180102"/>
                <a:gd name="connsiteX113" fmla="*/ 66522 w 892253"/>
                <a:gd name="connsiteY113" fmla="*/ 1133313 h 1180102"/>
                <a:gd name="connsiteX114" fmla="*/ 63942 w 892253"/>
                <a:gd name="connsiteY114" fmla="*/ 1114020 h 1180102"/>
                <a:gd name="connsiteX115" fmla="*/ 65891 w 892253"/>
                <a:gd name="connsiteY115" fmla="*/ 1099146 h 1180102"/>
                <a:gd name="connsiteX116" fmla="*/ 74508 w 892253"/>
                <a:gd name="connsiteY116" fmla="*/ 1082379 h 1180102"/>
                <a:gd name="connsiteX117" fmla="*/ 93498 w 892253"/>
                <a:gd name="connsiteY117" fmla="*/ 1064788 h 1180102"/>
                <a:gd name="connsiteX118" fmla="*/ 119158 w 892253"/>
                <a:gd name="connsiteY118" fmla="*/ 1060177 h 1180102"/>
                <a:gd name="connsiteX119" fmla="*/ 127610 w 892253"/>
                <a:gd name="connsiteY119" fmla="*/ 1047087 h 1180102"/>
                <a:gd name="connsiteX120" fmla="*/ 126540 w 892253"/>
                <a:gd name="connsiteY120" fmla="*/ 1032240 h 1180102"/>
                <a:gd name="connsiteX121" fmla="*/ 117044 w 892253"/>
                <a:gd name="connsiteY121" fmla="*/ 1022470 h 1180102"/>
                <a:gd name="connsiteX122" fmla="*/ 106506 w 892253"/>
                <a:gd name="connsiteY122" fmla="*/ 993875 h 1180102"/>
                <a:gd name="connsiteX123" fmla="*/ 106342 w 892253"/>
                <a:gd name="connsiteY123" fmla="*/ 979111 h 1180102"/>
                <a:gd name="connsiteX124" fmla="*/ 111336 w 892253"/>
                <a:gd name="connsiteY124" fmla="*/ 965718 h 1180102"/>
                <a:gd name="connsiteX125" fmla="*/ 128872 w 892253"/>
                <a:gd name="connsiteY125" fmla="*/ 957870 h 1180102"/>
                <a:gd name="connsiteX126" fmla="*/ 152748 w 892253"/>
                <a:gd name="connsiteY126" fmla="*/ 966844 h 1180102"/>
                <a:gd name="connsiteX127" fmla="*/ 163862 w 892253"/>
                <a:gd name="connsiteY127" fmla="*/ 982568 h 1180102"/>
                <a:gd name="connsiteX128" fmla="*/ 177254 w 892253"/>
                <a:gd name="connsiteY128" fmla="*/ 1014841 h 1180102"/>
                <a:gd name="connsiteX129" fmla="*/ 204478 w 892253"/>
                <a:gd name="connsiteY129" fmla="*/ 1030841 h 1180102"/>
                <a:gd name="connsiteX130" fmla="*/ 232524 w 892253"/>
                <a:gd name="connsiteY130" fmla="*/ 1019671 h 1180102"/>
                <a:gd name="connsiteX131" fmla="*/ 253573 w 892253"/>
                <a:gd name="connsiteY131" fmla="*/ 982129 h 1180102"/>
                <a:gd name="connsiteX132" fmla="*/ 260708 w 892253"/>
                <a:gd name="connsiteY132" fmla="*/ 956690 h 1180102"/>
                <a:gd name="connsiteX133" fmla="*/ 258211 w 892253"/>
                <a:gd name="connsiteY133" fmla="*/ 952052 h 1180102"/>
                <a:gd name="connsiteX134" fmla="*/ 243803 w 892253"/>
                <a:gd name="connsiteY134" fmla="*/ 986630 h 1180102"/>
                <a:gd name="connsiteX135" fmla="*/ 231646 w 892253"/>
                <a:gd name="connsiteY135" fmla="*/ 1003452 h 1180102"/>
                <a:gd name="connsiteX136" fmla="*/ 195806 w 892253"/>
                <a:gd name="connsiteY136" fmla="*/ 1010176 h 1180102"/>
                <a:gd name="connsiteX137" fmla="*/ 184252 w 892253"/>
                <a:gd name="connsiteY137" fmla="*/ 956937 h 1180102"/>
                <a:gd name="connsiteX138" fmla="*/ 192622 w 892253"/>
                <a:gd name="connsiteY138" fmla="*/ 929329 h 1180102"/>
                <a:gd name="connsiteX139" fmla="*/ 194104 w 892253"/>
                <a:gd name="connsiteY139" fmla="*/ 898922 h 1180102"/>
                <a:gd name="connsiteX140" fmla="*/ 175910 w 892253"/>
                <a:gd name="connsiteY140" fmla="*/ 923099 h 1180102"/>
                <a:gd name="connsiteX141" fmla="*/ 167869 w 892253"/>
                <a:gd name="connsiteY141" fmla="*/ 921014 h 1180102"/>
                <a:gd name="connsiteX142" fmla="*/ 162133 w 892253"/>
                <a:gd name="connsiteY142" fmla="*/ 904493 h 1180102"/>
                <a:gd name="connsiteX143" fmla="*/ 143088 w 892253"/>
                <a:gd name="connsiteY143" fmla="*/ 919587 h 1180102"/>
                <a:gd name="connsiteX144" fmla="*/ 125552 w 892253"/>
                <a:gd name="connsiteY144" fmla="*/ 909954 h 1180102"/>
                <a:gd name="connsiteX145" fmla="*/ 126155 w 892253"/>
                <a:gd name="connsiteY145" fmla="*/ 876639 h 1180102"/>
                <a:gd name="connsiteX146" fmla="*/ 143829 w 892253"/>
                <a:gd name="connsiteY146" fmla="*/ 834349 h 1180102"/>
                <a:gd name="connsiteX147" fmla="*/ 194296 w 892253"/>
                <a:gd name="connsiteY147" fmla="*/ 808360 h 1180102"/>
                <a:gd name="connsiteX148" fmla="*/ 228051 w 892253"/>
                <a:gd name="connsiteY148" fmla="*/ 818432 h 1180102"/>
                <a:gd name="connsiteX149" fmla="*/ 262492 w 892253"/>
                <a:gd name="connsiteY149" fmla="*/ 844475 h 1180102"/>
                <a:gd name="connsiteX150" fmla="*/ 264358 w 892253"/>
                <a:gd name="connsiteY150" fmla="*/ 839947 h 1180102"/>
                <a:gd name="connsiteX151" fmla="*/ 265154 w 892253"/>
                <a:gd name="connsiteY151" fmla="*/ 823975 h 1180102"/>
                <a:gd name="connsiteX152" fmla="*/ 270314 w 892253"/>
                <a:gd name="connsiteY152" fmla="*/ 814508 h 1180102"/>
                <a:gd name="connsiteX153" fmla="*/ 209363 w 892253"/>
                <a:gd name="connsiteY153" fmla="*/ 785116 h 1180102"/>
                <a:gd name="connsiteX154" fmla="*/ 209363 w 892253"/>
                <a:gd name="connsiteY154" fmla="*/ 777707 h 1180102"/>
                <a:gd name="connsiteX155" fmla="*/ 218940 w 892253"/>
                <a:gd name="connsiteY155" fmla="*/ 768156 h 1180102"/>
                <a:gd name="connsiteX156" fmla="*/ 190976 w 892253"/>
                <a:gd name="connsiteY156" fmla="*/ 696914 h 1180102"/>
                <a:gd name="connsiteX157" fmla="*/ 156013 w 892253"/>
                <a:gd name="connsiteY157" fmla="*/ 663461 h 1180102"/>
                <a:gd name="connsiteX158" fmla="*/ 150827 w 892253"/>
                <a:gd name="connsiteY158" fmla="*/ 618098 h 1180102"/>
                <a:gd name="connsiteX159" fmla="*/ 154394 w 892253"/>
                <a:gd name="connsiteY159" fmla="*/ 589420 h 1180102"/>
                <a:gd name="connsiteX160" fmla="*/ 227887 w 892253"/>
                <a:gd name="connsiteY160" fmla="*/ 591012 h 1180102"/>
                <a:gd name="connsiteX161" fmla="*/ 273277 w 892253"/>
                <a:gd name="connsiteY161" fmla="*/ 648615 h 1180102"/>
                <a:gd name="connsiteX162" fmla="*/ 294875 w 892253"/>
                <a:gd name="connsiteY162" fmla="*/ 691069 h 1180102"/>
                <a:gd name="connsiteX163" fmla="*/ 318339 w 892253"/>
                <a:gd name="connsiteY163" fmla="*/ 697189 h 1180102"/>
                <a:gd name="connsiteX164" fmla="*/ 317790 w 892253"/>
                <a:gd name="connsiteY164" fmla="*/ 690109 h 1180102"/>
                <a:gd name="connsiteX165" fmla="*/ 300117 w 892253"/>
                <a:gd name="connsiteY165" fmla="*/ 673588 h 1180102"/>
                <a:gd name="connsiteX166" fmla="*/ 289276 w 892253"/>
                <a:gd name="connsiteY166" fmla="*/ 640903 h 1180102"/>
                <a:gd name="connsiteX167" fmla="*/ 272948 w 892253"/>
                <a:gd name="connsiteY167" fmla="*/ 616095 h 1180102"/>
                <a:gd name="connsiteX168" fmla="*/ 267240 w 892253"/>
                <a:gd name="connsiteY168" fmla="*/ 590875 h 1180102"/>
                <a:gd name="connsiteX169" fmla="*/ 335298 w 892253"/>
                <a:gd name="connsiteY169" fmla="*/ 541670 h 1180102"/>
                <a:gd name="connsiteX170" fmla="*/ 370425 w 892253"/>
                <a:gd name="connsiteY170" fmla="*/ 531845 h 1180102"/>
                <a:gd name="connsiteX171" fmla="*/ 375585 w 892253"/>
                <a:gd name="connsiteY171" fmla="*/ 511839 h 1180102"/>
                <a:gd name="connsiteX172" fmla="*/ 392572 w 892253"/>
                <a:gd name="connsiteY172" fmla="*/ 490900 h 1180102"/>
                <a:gd name="connsiteX173" fmla="*/ 378768 w 892253"/>
                <a:gd name="connsiteY173" fmla="*/ 460960 h 1180102"/>
                <a:gd name="connsiteX174" fmla="*/ 388071 w 892253"/>
                <a:gd name="connsiteY174" fmla="*/ 417133 h 1180102"/>
                <a:gd name="connsiteX175" fmla="*/ 369794 w 892253"/>
                <a:gd name="connsiteY175" fmla="*/ 437386 h 1180102"/>
                <a:gd name="connsiteX176" fmla="*/ 351517 w 892253"/>
                <a:gd name="connsiteY176" fmla="*/ 483600 h 1180102"/>
                <a:gd name="connsiteX177" fmla="*/ 313454 w 892253"/>
                <a:gd name="connsiteY177" fmla="*/ 514830 h 1180102"/>
                <a:gd name="connsiteX178" fmla="*/ 258211 w 892253"/>
                <a:gd name="connsiteY178" fmla="*/ 532449 h 1180102"/>
                <a:gd name="connsiteX179" fmla="*/ 248661 w 892253"/>
                <a:gd name="connsiteY179" fmla="*/ 512607 h 1180102"/>
                <a:gd name="connsiteX180" fmla="*/ 238534 w 892253"/>
                <a:gd name="connsiteY180" fmla="*/ 506103 h 1180102"/>
                <a:gd name="connsiteX181" fmla="*/ 222810 w 892253"/>
                <a:gd name="connsiteY181" fmla="*/ 536044 h 1180102"/>
                <a:gd name="connsiteX182" fmla="*/ 189027 w 892253"/>
                <a:gd name="connsiteY182" fmla="*/ 540435 h 1180102"/>
                <a:gd name="connsiteX183" fmla="*/ 154285 w 892253"/>
                <a:gd name="connsiteY183" fmla="*/ 511619 h 1180102"/>
                <a:gd name="connsiteX184" fmla="*/ 166030 w 892253"/>
                <a:gd name="connsiteY184" fmla="*/ 465927 h 1180102"/>
                <a:gd name="connsiteX185" fmla="*/ 124756 w 892253"/>
                <a:gd name="connsiteY185" fmla="*/ 516340 h 1180102"/>
                <a:gd name="connsiteX186" fmla="*/ 92840 w 892253"/>
                <a:gd name="connsiteY186" fmla="*/ 499160 h 1180102"/>
                <a:gd name="connsiteX187" fmla="*/ 87159 w 892253"/>
                <a:gd name="connsiteY187" fmla="*/ 482283 h 1180102"/>
                <a:gd name="connsiteX188" fmla="*/ 103789 w 892253"/>
                <a:gd name="connsiteY188" fmla="*/ 454867 h 1180102"/>
                <a:gd name="connsiteX189" fmla="*/ 147094 w 892253"/>
                <a:gd name="connsiteY189" fmla="*/ 448720 h 1180102"/>
                <a:gd name="connsiteX190" fmla="*/ 156974 w 892253"/>
                <a:gd name="connsiteY190" fmla="*/ 427095 h 1180102"/>
                <a:gd name="connsiteX191" fmla="*/ 136803 w 892253"/>
                <a:gd name="connsiteY191" fmla="*/ 439335 h 1180102"/>
                <a:gd name="connsiteX192" fmla="*/ 53322 w 892253"/>
                <a:gd name="connsiteY192" fmla="*/ 446360 h 1180102"/>
                <a:gd name="connsiteX193" fmla="*/ 45720 w 892253"/>
                <a:gd name="connsiteY193" fmla="*/ 428028 h 1180102"/>
                <a:gd name="connsiteX194" fmla="*/ 54804 w 892253"/>
                <a:gd name="connsiteY194" fmla="*/ 402616 h 1180102"/>
                <a:gd name="connsiteX195" fmla="*/ 56615 w 892253"/>
                <a:gd name="connsiteY195" fmla="*/ 381348 h 1180102"/>
                <a:gd name="connsiteX196" fmla="*/ 34853 w 892253"/>
                <a:gd name="connsiteY196" fmla="*/ 369218 h 1180102"/>
                <a:gd name="connsiteX197" fmla="*/ 41549 w 892253"/>
                <a:gd name="connsiteY197" fmla="*/ 337384 h 1180102"/>
                <a:gd name="connsiteX198" fmla="*/ 39710 w 892253"/>
                <a:gd name="connsiteY198" fmla="*/ 325035 h 1180102"/>
                <a:gd name="connsiteX199" fmla="*/ 23903 w 892253"/>
                <a:gd name="connsiteY199" fmla="*/ 336314 h 1180102"/>
                <a:gd name="connsiteX200" fmla="*/ 10538 w 892253"/>
                <a:gd name="connsiteY200" fmla="*/ 345754 h 1180102"/>
                <a:gd name="connsiteX201" fmla="*/ 0 w 892253"/>
                <a:gd name="connsiteY201" fmla="*/ 326681 h 1180102"/>
                <a:gd name="connsiteX202" fmla="*/ 3815 w 892253"/>
                <a:gd name="connsiteY202" fmla="*/ 309365 h 1180102"/>
                <a:gd name="connsiteX203" fmla="*/ 23930 w 892253"/>
                <a:gd name="connsiteY203" fmla="*/ 284199 h 1180102"/>
                <a:gd name="connsiteX204" fmla="*/ 39216 w 892253"/>
                <a:gd name="connsiteY204" fmla="*/ 265730 h 1180102"/>
                <a:gd name="connsiteX205" fmla="*/ 101045 w 892253"/>
                <a:gd name="connsiteY205" fmla="*/ 231866 h 1180102"/>
                <a:gd name="connsiteX206" fmla="*/ 132248 w 892253"/>
                <a:gd name="connsiteY206" fmla="*/ 252448 h 1180102"/>
                <a:gd name="connsiteX207" fmla="*/ 149866 w 892253"/>
                <a:gd name="connsiteY207" fmla="*/ 248853 h 1180102"/>
                <a:gd name="connsiteX208" fmla="*/ 152336 w 892253"/>
                <a:gd name="connsiteY208" fmla="*/ 237958 h 1180102"/>
                <a:gd name="connsiteX209" fmla="*/ 150196 w 892253"/>
                <a:gd name="connsiteY209" fmla="*/ 206701 h 1180102"/>
                <a:gd name="connsiteX210" fmla="*/ 151074 w 892253"/>
                <a:gd name="connsiteY210" fmla="*/ 196272 h 1180102"/>
                <a:gd name="connsiteX211" fmla="*/ 171848 w 892253"/>
                <a:gd name="connsiteY211" fmla="*/ 159828 h 1180102"/>
                <a:gd name="connsiteX212" fmla="*/ 203517 w 892253"/>
                <a:gd name="connsiteY212" fmla="*/ 155135 h 1180102"/>
                <a:gd name="connsiteX213" fmla="*/ 220916 w 892253"/>
                <a:gd name="connsiteY213" fmla="*/ 176266 h 1180102"/>
                <a:gd name="connsiteX214" fmla="*/ 261696 w 892253"/>
                <a:gd name="connsiteY214" fmla="*/ 191415 h 1180102"/>
                <a:gd name="connsiteX215" fmla="*/ 271192 w 892253"/>
                <a:gd name="connsiteY215" fmla="*/ 124289 h 1180102"/>
                <a:gd name="connsiteX216" fmla="*/ 282745 w 892253"/>
                <a:gd name="connsiteY216" fmla="*/ 91275 h 1180102"/>
                <a:gd name="connsiteX217" fmla="*/ 353960 w 892253"/>
                <a:gd name="connsiteY217" fmla="*/ 39737 h 1180102"/>
                <a:gd name="connsiteX218" fmla="*/ 394081 w 892253"/>
                <a:gd name="connsiteY218" fmla="*/ 40780 h 1180102"/>
                <a:gd name="connsiteX219" fmla="*/ 418286 w 892253"/>
                <a:gd name="connsiteY219" fmla="*/ 57713 h 1180102"/>
                <a:gd name="connsiteX220" fmla="*/ 447211 w 892253"/>
                <a:gd name="connsiteY220" fmla="*/ 100963 h 1180102"/>
                <a:gd name="connsiteX221" fmla="*/ 433160 w 892253"/>
                <a:gd name="connsiteY221" fmla="*/ 34112 h 118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892253" h="1180102">
                  <a:moveTo>
                    <a:pt x="433050" y="33892"/>
                  </a:moveTo>
                  <a:lnTo>
                    <a:pt x="445564" y="2305"/>
                  </a:lnTo>
                  <a:lnTo>
                    <a:pt x="503332" y="0"/>
                  </a:lnTo>
                  <a:lnTo>
                    <a:pt x="523338" y="54474"/>
                  </a:lnTo>
                  <a:lnTo>
                    <a:pt x="536867" y="71626"/>
                  </a:lnTo>
                  <a:lnTo>
                    <a:pt x="539035" y="61939"/>
                  </a:lnTo>
                  <a:lnTo>
                    <a:pt x="538075" y="26428"/>
                  </a:lnTo>
                  <a:lnTo>
                    <a:pt x="550753" y="8315"/>
                  </a:lnTo>
                  <a:lnTo>
                    <a:pt x="578224" y="5818"/>
                  </a:lnTo>
                  <a:lnTo>
                    <a:pt x="594827" y="30462"/>
                  </a:lnTo>
                  <a:lnTo>
                    <a:pt x="609728" y="9578"/>
                  </a:lnTo>
                  <a:lnTo>
                    <a:pt x="636842" y="3595"/>
                  </a:lnTo>
                  <a:lnTo>
                    <a:pt x="714999" y="62652"/>
                  </a:lnTo>
                  <a:lnTo>
                    <a:pt x="709785" y="91275"/>
                  </a:lnTo>
                  <a:lnTo>
                    <a:pt x="710554" y="100386"/>
                  </a:lnTo>
                  <a:lnTo>
                    <a:pt x="782536" y="61802"/>
                  </a:lnTo>
                  <a:lnTo>
                    <a:pt x="800018" y="77966"/>
                  </a:lnTo>
                  <a:lnTo>
                    <a:pt x="819036" y="75907"/>
                  </a:lnTo>
                  <a:lnTo>
                    <a:pt x="841731" y="141276"/>
                  </a:lnTo>
                  <a:lnTo>
                    <a:pt x="880426" y="151046"/>
                  </a:lnTo>
                  <a:lnTo>
                    <a:pt x="889015" y="164027"/>
                  </a:lnTo>
                  <a:lnTo>
                    <a:pt x="892254" y="185268"/>
                  </a:lnTo>
                  <a:lnTo>
                    <a:pt x="887369" y="212765"/>
                  </a:lnTo>
                  <a:lnTo>
                    <a:pt x="869805" y="239687"/>
                  </a:lnTo>
                  <a:lnTo>
                    <a:pt x="810913" y="302147"/>
                  </a:lnTo>
                  <a:lnTo>
                    <a:pt x="715933" y="336341"/>
                  </a:lnTo>
                  <a:lnTo>
                    <a:pt x="708084" y="360683"/>
                  </a:lnTo>
                  <a:lnTo>
                    <a:pt x="667688" y="398362"/>
                  </a:lnTo>
                  <a:lnTo>
                    <a:pt x="666892" y="403165"/>
                  </a:lnTo>
                  <a:lnTo>
                    <a:pt x="781878" y="350804"/>
                  </a:lnTo>
                  <a:lnTo>
                    <a:pt x="792087" y="349788"/>
                  </a:lnTo>
                  <a:lnTo>
                    <a:pt x="794776" y="358652"/>
                  </a:lnTo>
                  <a:lnTo>
                    <a:pt x="787778" y="381704"/>
                  </a:lnTo>
                  <a:lnTo>
                    <a:pt x="755615" y="408544"/>
                  </a:lnTo>
                  <a:lnTo>
                    <a:pt x="732426" y="447046"/>
                  </a:lnTo>
                  <a:lnTo>
                    <a:pt x="702431" y="475148"/>
                  </a:lnTo>
                  <a:lnTo>
                    <a:pt x="670514" y="520703"/>
                  </a:lnTo>
                  <a:lnTo>
                    <a:pt x="648725" y="562856"/>
                  </a:lnTo>
                  <a:lnTo>
                    <a:pt x="627484" y="563130"/>
                  </a:lnTo>
                  <a:lnTo>
                    <a:pt x="624959" y="587609"/>
                  </a:lnTo>
                  <a:lnTo>
                    <a:pt x="616342" y="602209"/>
                  </a:lnTo>
                  <a:lnTo>
                    <a:pt x="610991" y="633055"/>
                  </a:lnTo>
                  <a:lnTo>
                    <a:pt x="590436" y="674164"/>
                  </a:lnTo>
                  <a:lnTo>
                    <a:pt x="559864" y="682068"/>
                  </a:lnTo>
                  <a:lnTo>
                    <a:pt x="541889" y="662803"/>
                  </a:lnTo>
                  <a:lnTo>
                    <a:pt x="515928" y="654597"/>
                  </a:lnTo>
                  <a:lnTo>
                    <a:pt x="531845" y="674658"/>
                  </a:lnTo>
                  <a:lnTo>
                    <a:pt x="537498" y="699549"/>
                  </a:lnTo>
                  <a:lnTo>
                    <a:pt x="529979" y="712557"/>
                  </a:lnTo>
                  <a:lnTo>
                    <a:pt x="494111" y="719637"/>
                  </a:lnTo>
                  <a:lnTo>
                    <a:pt x="483408" y="729983"/>
                  </a:lnTo>
                  <a:lnTo>
                    <a:pt x="460191" y="724001"/>
                  </a:lnTo>
                  <a:lnTo>
                    <a:pt x="439993" y="735143"/>
                  </a:lnTo>
                  <a:lnTo>
                    <a:pt x="426601" y="723534"/>
                  </a:lnTo>
                  <a:lnTo>
                    <a:pt x="423967" y="742936"/>
                  </a:lnTo>
                  <a:lnTo>
                    <a:pt x="491751" y="758195"/>
                  </a:lnTo>
                  <a:lnTo>
                    <a:pt x="495950" y="770846"/>
                  </a:lnTo>
                  <a:lnTo>
                    <a:pt x="479017" y="782838"/>
                  </a:lnTo>
                  <a:lnTo>
                    <a:pt x="456733" y="766043"/>
                  </a:lnTo>
                  <a:lnTo>
                    <a:pt x="444988" y="769474"/>
                  </a:lnTo>
                  <a:lnTo>
                    <a:pt x="446387" y="787202"/>
                  </a:lnTo>
                  <a:lnTo>
                    <a:pt x="463457" y="796478"/>
                  </a:lnTo>
                  <a:lnTo>
                    <a:pt x="492492" y="845573"/>
                  </a:lnTo>
                  <a:lnTo>
                    <a:pt x="488979" y="856962"/>
                  </a:lnTo>
                  <a:lnTo>
                    <a:pt x="473858" y="868817"/>
                  </a:lnTo>
                  <a:lnTo>
                    <a:pt x="475422" y="896507"/>
                  </a:lnTo>
                  <a:lnTo>
                    <a:pt x="462908" y="912314"/>
                  </a:lnTo>
                  <a:lnTo>
                    <a:pt x="462195" y="931250"/>
                  </a:lnTo>
                  <a:lnTo>
                    <a:pt x="459094" y="940581"/>
                  </a:lnTo>
                  <a:lnTo>
                    <a:pt x="430718" y="952573"/>
                  </a:lnTo>
                  <a:lnTo>
                    <a:pt x="397512" y="952820"/>
                  </a:lnTo>
                  <a:lnTo>
                    <a:pt x="399515" y="998348"/>
                  </a:lnTo>
                  <a:lnTo>
                    <a:pt x="390184" y="1021290"/>
                  </a:lnTo>
                  <a:lnTo>
                    <a:pt x="378466" y="1031691"/>
                  </a:lnTo>
                  <a:lnTo>
                    <a:pt x="342214" y="1037509"/>
                  </a:lnTo>
                  <a:lnTo>
                    <a:pt x="295643" y="1013826"/>
                  </a:lnTo>
                  <a:lnTo>
                    <a:pt x="293118" y="1045824"/>
                  </a:lnTo>
                  <a:lnTo>
                    <a:pt x="311615" y="1042367"/>
                  </a:lnTo>
                  <a:lnTo>
                    <a:pt x="361452" y="1053261"/>
                  </a:lnTo>
                  <a:lnTo>
                    <a:pt x="363867" y="1065913"/>
                  </a:lnTo>
                  <a:lnTo>
                    <a:pt x="354673" y="1092505"/>
                  </a:lnTo>
                  <a:lnTo>
                    <a:pt x="362467" y="1104278"/>
                  </a:lnTo>
                  <a:lnTo>
                    <a:pt x="377121" y="1084711"/>
                  </a:lnTo>
                  <a:lnTo>
                    <a:pt x="390733" y="1077576"/>
                  </a:lnTo>
                  <a:lnTo>
                    <a:pt x="398692" y="1083284"/>
                  </a:lnTo>
                  <a:lnTo>
                    <a:pt x="402808" y="1099832"/>
                  </a:lnTo>
                  <a:lnTo>
                    <a:pt x="400420" y="1119701"/>
                  </a:lnTo>
                  <a:lnTo>
                    <a:pt x="390678" y="1136524"/>
                  </a:lnTo>
                  <a:lnTo>
                    <a:pt x="376628" y="1136880"/>
                  </a:lnTo>
                  <a:lnTo>
                    <a:pt x="357747" y="1160728"/>
                  </a:lnTo>
                  <a:lnTo>
                    <a:pt x="319985" y="1180103"/>
                  </a:lnTo>
                  <a:lnTo>
                    <a:pt x="314607" y="1171952"/>
                  </a:lnTo>
                  <a:lnTo>
                    <a:pt x="312493" y="1150986"/>
                  </a:lnTo>
                  <a:lnTo>
                    <a:pt x="302696" y="1140503"/>
                  </a:lnTo>
                  <a:lnTo>
                    <a:pt x="282663" y="1136496"/>
                  </a:lnTo>
                  <a:lnTo>
                    <a:pt x="272920" y="1148983"/>
                  </a:lnTo>
                  <a:lnTo>
                    <a:pt x="263096" y="1151809"/>
                  </a:lnTo>
                  <a:lnTo>
                    <a:pt x="246932" y="1132517"/>
                  </a:lnTo>
                  <a:lnTo>
                    <a:pt x="237903" y="1146074"/>
                  </a:lnTo>
                  <a:lnTo>
                    <a:pt x="219160" y="1136963"/>
                  </a:lnTo>
                  <a:lnTo>
                    <a:pt x="207716" y="1144482"/>
                  </a:lnTo>
                  <a:lnTo>
                    <a:pt x="198468" y="1138362"/>
                  </a:lnTo>
                  <a:lnTo>
                    <a:pt x="196629" y="1158615"/>
                  </a:lnTo>
                  <a:lnTo>
                    <a:pt x="189219" y="1164735"/>
                  </a:lnTo>
                  <a:lnTo>
                    <a:pt x="162161" y="1155898"/>
                  </a:lnTo>
                  <a:lnTo>
                    <a:pt x="152857" y="1143714"/>
                  </a:lnTo>
                  <a:lnTo>
                    <a:pt x="140426" y="1153154"/>
                  </a:lnTo>
                  <a:lnTo>
                    <a:pt x="123548" y="1140009"/>
                  </a:lnTo>
                  <a:lnTo>
                    <a:pt x="115809" y="1152468"/>
                  </a:lnTo>
                  <a:lnTo>
                    <a:pt x="101759" y="1150272"/>
                  </a:lnTo>
                  <a:lnTo>
                    <a:pt x="90589" y="1119975"/>
                  </a:lnTo>
                  <a:lnTo>
                    <a:pt x="86281" y="1139817"/>
                  </a:lnTo>
                  <a:lnTo>
                    <a:pt x="76978" y="1145333"/>
                  </a:lnTo>
                  <a:lnTo>
                    <a:pt x="66522" y="1133313"/>
                  </a:lnTo>
                  <a:lnTo>
                    <a:pt x="63942" y="1114020"/>
                  </a:lnTo>
                  <a:lnTo>
                    <a:pt x="65891" y="1099146"/>
                  </a:lnTo>
                  <a:lnTo>
                    <a:pt x="74508" y="1082379"/>
                  </a:lnTo>
                  <a:lnTo>
                    <a:pt x="93498" y="1064788"/>
                  </a:lnTo>
                  <a:lnTo>
                    <a:pt x="119158" y="1060177"/>
                  </a:lnTo>
                  <a:lnTo>
                    <a:pt x="127610" y="1047087"/>
                  </a:lnTo>
                  <a:lnTo>
                    <a:pt x="126540" y="1032240"/>
                  </a:lnTo>
                  <a:lnTo>
                    <a:pt x="117044" y="1022470"/>
                  </a:lnTo>
                  <a:lnTo>
                    <a:pt x="106506" y="993875"/>
                  </a:lnTo>
                  <a:lnTo>
                    <a:pt x="106342" y="979111"/>
                  </a:lnTo>
                  <a:lnTo>
                    <a:pt x="111336" y="965718"/>
                  </a:lnTo>
                  <a:lnTo>
                    <a:pt x="128872" y="957870"/>
                  </a:lnTo>
                  <a:lnTo>
                    <a:pt x="152748" y="966844"/>
                  </a:lnTo>
                  <a:lnTo>
                    <a:pt x="163862" y="982568"/>
                  </a:lnTo>
                  <a:lnTo>
                    <a:pt x="177254" y="1014841"/>
                  </a:lnTo>
                  <a:lnTo>
                    <a:pt x="204478" y="1030841"/>
                  </a:lnTo>
                  <a:lnTo>
                    <a:pt x="232524" y="1019671"/>
                  </a:lnTo>
                  <a:lnTo>
                    <a:pt x="253573" y="982129"/>
                  </a:lnTo>
                  <a:lnTo>
                    <a:pt x="260708" y="956690"/>
                  </a:lnTo>
                  <a:lnTo>
                    <a:pt x="258211" y="952052"/>
                  </a:lnTo>
                  <a:lnTo>
                    <a:pt x="243803" y="986630"/>
                  </a:lnTo>
                  <a:lnTo>
                    <a:pt x="231646" y="1003452"/>
                  </a:lnTo>
                  <a:lnTo>
                    <a:pt x="195806" y="1010176"/>
                  </a:lnTo>
                  <a:lnTo>
                    <a:pt x="184252" y="956937"/>
                  </a:lnTo>
                  <a:lnTo>
                    <a:pt x="192622" y="929329"/>
                  </a:lnTo>
                  <a:lnTo>
                    <a:pt x="194104" y="898922"/>
                  </a:lnTo>
                  <a:lnTo>
                    <a:pt x="175910" y="923099"/>
                  </a:lnTo>
                  <a:lnTo>
                    <a:pt x="167869" y="921014"/>
                  </a:lnTo>
                  <a:lnTo>
                    <a:pt x="162133" y="904493"/>
                  </a:lnTo>
                  <a:lnTo>
                    <a:pt x="143088" y="919587"/>
                  </a:lnTo>
                  <a:lnTo>
                    <a:pt x="125552" y="909954"/>
                  </a:lnTo>
                  <a:lnTo>
                    <a:pt x="126155" y="876639"/>
                  </a:lnTo>
                  <a:lnTo>
                    <a:pt x="143829" y="834349"/>
                  </a:lnTo>
                  <a:lnTo>
                    <a:pt x="194296" y="808360"/>
                  </a:lnTo>
                  <a:lnTo>
                    <a:pt x="228051" y="818432"/>
                  </a:lnTo>
                  <a:lnTo>
                    <a:pt x="262492" y="844475"/>
                  </a:lnTo>
                  <a:lnTo>
                    <a:pt x="264358" y="839947"/>
                  </a:lnTo>
                  <a:lnTo>
                    <a:pt x="265154" y="823975"/>
                  </a:lnTo>
                  <a:lnTo>
                    <a:pt x="270314" y="814508"/>
                  </a:lnTo>
                  <a:lnTo>
                    <a:pt x="209363" y="785116"/>
                  </a:lnTo>
                  <a:lnTo>
                    <a:pt x="209363" y="777707"/>
                  </a:lnTo>
                  <a:cubicBezTo>
                    <a:pt x="209363" y="777707"/>
                    <a:pt x="218940" y="768156"/>
                    <a:pt x="218940" y="768156"/>
                  </a:cubicBezTo>
                  <a:lnTo>
                    <a:pt x="190976" y="696914"/>
                  </a:lnTo>
                  <a:lnTo>
                    <a:pt x="156013" y="663461"/>
                  </a:lnTo>
                  <a:lnTo>
                    <a:pt x="150827" y="618098"/>
                  </a:lnTo>
                  <a:lnTo>
                    <a:pt x="154394" y="589420"/>
                  </a:lnTo>
                  <a:lnTo>
                    <a:pt x="227887" y="591012"/>
                  </a:lnTo>
                  <a:lnTo>
                    <a:pt x="273277" y="648615"/>
                  </a:lnTo>
                  <a:lnTo>
                    <a:pt x="294875" y="691069"/>
                  </a:lnTo>
                  <a:lnTo>
                    <a:pt x="318339" y="697189"/>
                  </a:lnTo>
                  <a:lnTo>
                    <a:pt x="317790" y="690109"/>
                  </a:lnTo>
                  <a:lnTo>
                    <a:pt x="300117" y="673588"/>
                  </a:lnTo>
                  <a:lnTo>
                    <a:pt x="289276" y="640903"/>
                  </a:lnTo>
                  <a:lnTo>
                    <a:pt x="272948" y="616095"/>
                  </a:lnTo>
                  <a:lnTo>
                    <a:pt x="267240" y="590875"/>
                  </a:lnTo>
                  <a:lnTo>
                    <a:pt x="335298" y="541670"/>
                  </a:lnTo>
                  <a:lnTo>
                    <a:pt x="370425" y="531845"/>
                  </a:lnTo>
                  <a:lnTo>
                    <a:pt x="375585" y="511839"/>
                  </a:lnTo>
                  <a:lnTo>
                    <a:pt x="392572" y="490900"/>
                  </a:lnTo>
                  <a:lnTo>
                    <a:pt x="378768" y="460960"/>
                  </a:lnTo>
                  <a:lnTo>
                    <a:pt x="388071" y="417133"/>
                  </a:lnTo>
                  <a:lnTo>
                    <a:pt x="369794" y="437386"/>
                  </a:lnTo>
                  <a:lnTo>
                    <a:pt x="351517" y="483600"/>
                  </a:lnTo>
                  <a:lnTo>
                    <a:pt x="313454" y="514830"/>
                  </a:lnTo>
                  <a:lnTo>
                    <a:pt x="258211" y="532449"/>
                  </a:lnTo>
                  <a:lnTo>
                    <a:pt x="248661" y="512607"/>
                  </a:lnTo>
                  <a:lnTo>
                    <a:pt x="238534" y="506103"/>
                  </a:lnTo>
                  <a:lnTo>
                    <a:pt x="222810" y="536044"/>
                  </a:lnTo>
                  <a:lnTo>
                    <a:pt x="189027" y="540435"/>
                  </a:lnTo>
                  <a:lnTo>
                    <a:pt x="154285" y="511619"/>
                  </a:lnTo>
                  <a:lnTo>
                    <a:pt x="166030" y="465927"/>
                  </a:lnTo>
                  <a:lnTo>
                    <a:pt x="124756" y="516340"/>
                  </a:lnTo>
                  <a:lnTo>
                    <a:pt x="92840" y="499160"/>
                  </a:lnTo>
                  <a:lnTo>
                    <a:pt x="87159" y="482283"/>
                  </a:lnTo>
                  <a:lnTo>
                    <a:pt x="103789" y="454867"/>
                  </a:lnTo>
                  <a:lnTo>
                    <a:pt x="147094" y="448720"/>
                  </a:lnTo>
                  <a:lnTo>
                    <a:pt x="156974" y="427095"/>
                  </a:lnTo>
                  <a:lnTo>
                    <a:pt x="136803" y="439335"/>
                  </a:lnTo>
                  <a:lnTo>
                    <a:pt x="53322" y="446360"/>
                  </a:lnTo>
                  <a:lnTo>
                    <a:pt x="45720" y="428028"/>
                  </a:lnTo>
                  <a:lnTo>
                    <a:pt x="54804" y="402616"/>
                  </a:lnTo>
                  <a:lnTo>
                    <a:pt x="56615" y="381348"/>
                  </a:lnTo>
                  <a:lnTo>
                    <a:pt x="34853" y="369218"/>
                  </a:lnTo>
                  <a:lnTo>
                    <a:pt x="41549" y="337384"/>
                  </a:lnTo>
                  <a:lnTo>
                    <a:pt x="39710" y="325035"/>
                  </a:lnTo>
                  <a:lnTo>
                    <a:pt x="23903" y="336314"/>
                  </a:lnTo>
                  <a:lnTo>
                    <a:pt x="10538" y="345754"/>
                  </a:lnTo>
                  <a:lnTo>
                    <a:pt x="0" y="326681"/>
                  </a:lnTo>
                  <a:lnTo>
                    <a:pt x="3815" y="309365"/>
                  </a:lnTo>
                  <a:lnTo>
                    <a:pt x="23930" y="284199"/>
                  </a:lnTo>
                  <a:lnTo>
                    <a:pt x="39216" y="265730"/>
                  </a:lnTo>
                  <a:lnTo>
                    <a:pt x="101045" y="231866"/>
                  </a:lnTo>
                  <a:lnTo>
                    <a:pt x="132248" y="252448"/>
                  </a:lnTo>
                  <a:lnTo>
                    <a:pt x="149866" y="248853"/>
                  </a:lnTo>
                  <a:lnTo>
                    <a:pt x="152336" y="237958"/>
                  </a:lnTo>
                  <a:lnTo>
                    <a:pt x="150196" y="206701"/>
                  </a:lnTo>
                  <a:lnTo>
                    <a:pt x="151074" y="196272"/>
                  </a:lnTo>
                  <a:lnTo>
                    <a:pt x="171848" y="159828"/>
                  </a:lnTo>
                  <a:lnTo>
                    <a:pt x="203517" y="155135"/>
                  </a:lnTo>
                  <a:lnTo>
                    <a:pt x="220916" y="176266"/>
                  </a:lnTo>
                  <a:lnTo>
                    <a:pt x="261696" y="191415"/>
                  </a:lnTo>
                  <a:lnTo>
                    <a:pt x="271192" y="124289"/>
                  </a:lnTo>
                  <a:lnTo>
                    <a:pt x="282745" y="91275"/>
                  </a:lnTo>
                  <a:lnTo>
                    <a:pt x="353960" y="39737"/>
                  </a:lnTo>
                  <a:lnTo>
                    <a:pt x="394081" y="40780"/>
                  </a:lnTo>
                  <a:lnTo>
                    <a:pt x="418286" y="57713"/>
                  </a:lnTo>
                  <a:lnTo>
                    <a:pt x="447211" y="100963"/>
                  </a:lnTo>
                  <a:lnTo>
                    <a:pt x="433160" y="341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 name="Freeform: Shape 3289">
              <a:extLst>
                <a:ext uri="{FF2B5EF4-FFF2-40B4-BE49-F238E27FC236}">
                  <a16:creationId xmlns:a16="http://schemas.microsoft.com/office/drawing/2014/main" id="{00A04C80-E68B-9E50-DB6B-49CD2E1C37F0}"/>
                </a:ext>
              </a:extLst>
            </p:cNvPr>
            <p:cNvSpPr/>
            <p:nvPr/>
          </p:nvSpPr>
          <p:spPr>
            <a:xfrm>
              <a:off x="1069178" y="3390766"/>
              <a:ext cx="35021" cy="55197"/>
            </a:xfrm>
            <a:custGeom>
              <a:avLst/>
              <a:gdLst>
                <a:gd name="connsiteX0" fmla="*/ 77252 w 335764"/>
                <a:gd name="connsiteY0" fmla="*/ 14490 h 529210"/>
                <a:gd name="connsiteX1" fmla="*/ 79777 w 335764"/>
                <a:gd name="connsiteY1" fmla="*/ 0 h 529210"/>
                <a:gd name="connsiteX2" fmla="*/ 97697 w 335764"/>
                <a:gd name="connsiteY2" fmla="*/ 357 h 529210"/>
                <a:gd name="connsiteX3" fmla="*/ 136666 w 335764"/>
                <a:gd name="connsiteY3" fmla="*/ 40314 h 529210"/>
                <a:gd name="connsiteX4" fmla="*/ 169598 w 335764"/>
                <a:gd name="connsiteY4" fmla="*/ 125305 h 529210"/>
                <a:gd name="connsiteX5" fmla="*/ 174592 w 335764"/>
                <a:gd name="connsiteY5" fmla="*/ 138038 h 529210"/>
                <a:gd name="connsiteX6" fmla="*/ 184088 w 335764"/>
                <a:gd name="connsiteY6" fmla="*/ 146106 h 529210"/>
                <a:gd name="connsiteX7" fmla="*/ 214961 w 335764"/>
                <a:gd name="connsiteY7" fmla="*/ 161584 h 529210"/>
                <a:gd name="connsiteX8" fmla="*/ 222727 w 335764"/>
                <a:gd name="connsiteY8" fmla="*/ 201980 h 529210"/>
                <a:gd name="connsiteX9" fmla="*/ 234610 w 335764"/>
                <a:gd name="connsiteY9" fmla="*/ 219352 h 529210"/>
                <a:gd name="connsiteX10" fmla="*/ 238013 w 335764"/>
                <a:gd name="connsiteY10" fmla="*/ 215126 h 529210"/>
                <a:gd name="connsiteX11" fmla="*/ 237739 w 335764"/>
                <a:gd name="connsiteY11" fmla="*/ 193336 h 529210"/>
                <a:gd name="connsiteX12" fmla="*/ 240181 w 335764"/>
                <a:gd name="connsiteY12" fmla="*/ 178517 h 529210"/>
                <a:gd name="connsiteX13" fmla="*/ 258348 w 335764"/>
                <a:gd name="connsiteY13" fmla="*/ 178407 h 529210"/>
                <a:gd name="connsiteX14" fmla="*/ 262602 w 335764"/>
                <a:gd name="connsiteY14" fmla="*/ 197315 h 529210"/>
                <a:gd name="connsiteX15" fmla="*/ 261641 w 335764"/>
                <a:gd name="connsiteY15" fmla="*/ 224264 h 529210"/>
                <a:gd name="connsiteX16" fmla="*/ 272070 w 335764"/>
                <a:gd name="connsiteY16" fmla="*/ 235461 h 529210"/>
                <a:gd name="connsiteX17" fmla="*/ 278958 w 335764"/>
                <a:gd name="connsiteY17" fmla="*/ 258046 h 529210"/>
                <a:gd name="connsiteX18" fmla="*/ 278162 w 335764"/>
                <a:gd name="connsiteY18" fmla="*/ 308679 h 529210"/>
                <a:gd name="connsiteX19" fmla="*/ 294107 w 335764"/>
                <a:gd name="connsiteY19" fmla="*/ 304123 h 529210"/>
                <a:gd name="connsiteX20" fmla="*/ 311423 w 335764"/>
                <a:gd name="connsiteY20" fmla="*/ 321028 h 529210"/>
                <a:gd name="connsiteX21" fmla="*/ 320781 w 335764"/>
                <a:gd name="connsiteY21" fmla="*/ 315814 h 529210"/>
                <a:gd name="connsiteX22" fmla="*/ 335765 w 335764"/>
                <a:gd name="connsiteY22" fmla="*/ 358433 h 529210"/>
                <a:gd name="connsiteX23" fmla="*/ 328191 w 335764"/>
                <a:gd name="connsiteY23" fmla="*/ 377176 h 529210"/>
                <a:gd name="connsiteX24" fmla="*/ 284584 w 335764"/>
                <a:gd name="connsiteY24" fmla="*/ 407995 h 529210"/>
                <a:gd name="connsiteX25" fmla="*/ 264331 w 335764"/>
                <a:gd name="connsiteY25" fmla="*/ 452535 h 529210"/>
                <a:gd name="connsiteX26" fmla="*/ 256811 w 335764"/>
                <a:gd name="connsiteY26" fmla="*/ 445948 h 529210"/>
                <a:gd name="connsiteX27" fmla="*/ 249868 w 335764"/>
                <a:gd name="connsiteY27" fmla="*/ 420811 h 529210"/>
                <a:gd name="connsiteX28" fmla="*/ 248030 w 335764"/>
                <a:gd name="connsiteY28" fmla="*/ 439335 h 529210"/>
                <a:gd name="connsiteX29" fmla="*/ 249347 w 335764"/>
                <a:gd name="connsiteY29" fmla="*/ 486564 h 529210"/>
                <a:gd name="connsiteX30" fmla="*/ 244325 w 335764"/>
                <a:gd name="connsiteY30" fmla="*/ 498611 h 529210"/>
                <a:gd name="connsiteX31" fmla="*/ 234089 w 335764"/>
                <a:gd name="connsiteY31" fmla="*/ 478441 h 529210"/>
                <a:gd name="connsiteX32" fmla="*/ 231619 w 335764"/>
                <a:gd name="connsiteY32" fmla="*/ 503579 h 529210"/>
                <a:gd name="connsiteX33" fmla="*/ 225197 w 335764"/>
                <a:gd name="connsiteY33" fmla="*/ 523310 h 529210"/>
                <a:gd name="connsiteX34" fmla="*/ 215921 w 335764"/>
                <a:gd name="connsiteY34" fmla="*/ 516532 h 529210"/>
                <a:gd name="connsiteX35" fmla="*/ 195723 w 335764"/>
                <a:gd name="connsiteY35" fmla="*/ 477645 h 529210"/>
                <a:gd name="connsiteX36" fmla="*/ 195147 w 335764"/>
                <a:gd name="connsiteY36" fmla="*/ 486152 h 529210"/>
                <a:gd name="connsiteX37" fmla="*/ 199977 w 335764"/>
                <a:gd name="connsiteY37" fmla="*/ 515269 h 529210"/>
                <a:gd name="connsiteX38" fmla="*/ 184060 w 335764"/>
                <a:gd name="connsiteY38" fmla="*/ 518233 h 529210"/>
                <a:gd name="connsiteX39" fmla="*/ 175251 w 335764"/>
                <a:gd name="connsiteY39" fmla="*/ 529210 h 529210"/>
                <a:gd name="connsiteX40" fmla="*/ 169570 w 335764"/>
                <a:gd name="connsiteY40" fmla="*/ 527619 h 529210"/>
                <a:gd name="connsiteX41" fmla="*/ 128543 w 335764"/>
                <a:gd name="connsiteY41" fmla="*/ 515407 h 529210"/>
                <a:gd name="connsiteX42" fmla="*/ 117346 w 335764"/>
                <a:gd name="connsiteY42" fmla="*/ 495895 h 529210"/>
                <a:gd name="connsiteX43" fmla="*/ 115068 w 335764"/>
                <a:gd name="connsiteY43" fmla="*/ 472376 h 529210"/>
                <a:gd name="connsiteX44" fmla="*/ 96325 w 335764"/>
                <a:gd name="connsiteY44" fmla="*/ 462277 h 529210"/>
                <a:gd name="connsiteX45" fmla="*/ 80463 w 335764"/>
                <a:gd name="connsiteY45" fmla="*/ 419219 h 529210"/>
                <a:gd name="connsiteX46" fmla="*/ 94322 w 335764"/>
                <a:gd name="connsiteY46" fmla="*/ 384888 h 529210"/>
                <a:gd name="connsiteX47" fmla="*/ 117730 w 335764"/>
                <a:gd name="connsiteY47" fmla="*/ 373334 h 529210"/>
                <a:gd name="connsiteX48" fmla="*/ 119789 w 335764"/>
                <a:gd name="connsiteY48" fmla="*/ 357335 h 529210"/>
                <a:gd name="connsiteX49" fmla="*/ 117264 w 335764"/>
                <a:gd name="connsiteY49" fmla="*/ 342433 h 529210"/>
                <a:gd name="connsiteX50" fmla="*/ 104366 w 335764"/>
                <a:gd name="connsiteY50" fmla="*/ 337274 h 529210"/>
                <a:gd name="connsiteX51" fmla="*/ 79667 w 335764"/>
                <a:gd name="connsiteY51" fmla="*/ 358268 h 529210"/>
                <a:gd name="connsiteX52" fmla="*/ 64409 w 335764"/>
                <a:gd name="connsiteY52" fmla="*/ 344958 h 529210"/>
                <a:gd name="connsiteX53" fmla="*/ 39875 w 335764"/>
                <a:gd name="connsiteY53" fmla="*/ 354344 h 529210"/>
                <a:gd name="connsiteX54" fmla="*/ 30983 w 335764"/>
                <a:gd name="connsiteY54" fmla="*/ 343147 h 529210"/>
                <a:gd name="connsiteX55" fmla="*/ 29035 w 335764"/>
                <a:gd name="connsiteY55" fmla="*/ 332142 h 529210"/>
                <a:gd name="connsiteX56" fmla="*/ 41713 w 335764"/>
                <a:gd name="connsiteY56" fmla="*/ 302449 h 529210"/>
                <a:gd name="connsiteX57" fmla="*/ 16274 w 335764"/>
                <a:gd name="connsiteY57" fmla="*/ 292981 h 529210"/>
                <a:gd name="connsiteX58" fmla="*/ 4638 w 335764"/>
                <a:gd name="connsiteY58" fmla="*/ 270588 h 529210"/>
                <a:gd name="connsiteX59" fmla="*/ 0 w 335764"/>
                <a:gd name="connsiteY59" fmla="*/ 238205 h 529210"/>
                <a:gd name="connsiteX60" fmla="*/ 4226 w 335764"/>
                <a:gd name="connsiteY60" fmla="*/ 225225 h 529210"/>
                <a:gd name="connsiteX61" fmla="*/ 28431 w 335764"/>
                <a:gd name="connsiteY61" fmla="*/ 235543 h 529210"/>
                <a:gd name="connsiteX62" fmla="*/ 50276 w 335764"/>
                <a:gd name="connsiteY62" fmla="*/ 230631 h 529210"/>
                <a:gd name="connsiteX63" fmla="*/ 48574 w 335764"/>
                <a:gd name="connsiteY63" fmla="*/ 222398 h 529210"/>
                <a:gd name="connsiteX64" fmla="*/ 18799 w 335764"/>
                <a:gd name="connsiteY64" fmla="*/ 205548 h 529210"/>
                <a:gd name="connsiteX65" fmla="*/ 15368 w 335764"/>
                <a:gd name="connsiteY65" fmla="*/ 192019 h 529210"/>
                <a:gd name="connsiteX66" fmla="*/ 21872 w 335764"/>
                <a:gd name="connsiteY66" fmla="*/ 175745 h 529210"/>
                <a:gd name="connsiteX67" fmla="*/ 24424 w 335764"/>
                <a:gd name="connsiteY67" fmla="*/ 149647 h 529210"/>
                <a:gd name="connsiteX68" fmla="*/ 29638 w 335764"/>
                <a:gd name="connsiteY68" fmla="*/ 128845 h 529210"/>
                <a:gd name="connsiteX69" fmla="*/ 54776 w 335764"/>
                <a:gd name="connsiteY69" fmla="*/ 130876 h 529210"/>
                <a:gd name="connsiteX70" fmla="*/ 52636 w 335764"/>
                <a:gd name="connsiteY70" fmla="*/ 113833 h 529210"/>
                <a:gd name="connsiteX71" fmla="*/ 41192 w 335764"/>
                <a:gd name="connsiteY71" fmla="*/ 92785 h 529210"/>
                <a:gd name="connsiteX72" fmla="*/ 45116 w 335764"/>
                <a:gd name="connsiteY72" fmla="*/ 67949 h 529210"/>
                <a:gd name="connsiteX73" fmla="*/ 65781 w 335764"/>
                <a:gd name="connsiteY73" fmla="*/ 65644 h 529210"/>
                <a:gd name="connsiteX74" fmla="*/ 93828 w 335764"/>
                <a:gd name="connsiteY74" fmla="*/ 39216 h 529210"/>
                <a:gd name="connsiteX75" fmla="*/ 92455 w 335764"/>
                <a:gd name="connsiteY75" fmla="*/ 28733 h 529210"/>
                <a:gd name="connsiteX76" fmla="*/ 77197 w 335764"/>
                <a:gd name="connsiteY76" fmla="*/ 14600 h 5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35764" h="529210">
                  <a:moveTo>
                    <a:pt x="77252" y="14490"/>
                  </a:moveTo>
                  <a:lnTo>
                    <a:pt x="79777" y="0"/>
                  </a:lnTo>
                  <a:lnTo>
                    <a:pt x="97697" y="357"/>
                  </a:lnTo>
                  <a:lnTo>
                    <a:pt x="136666" y="40314"/>
                  </a:lnTo>
                  <a:lnTo>
                    <a:pt x="169598" y="125305"/>
                  </a:lnTo>
                  <a:lnTo>
                    <a:pt x="174592" y="138038"/>
                  </a:lnTo>
                  <a:lnTo>
                    <a:pt x="184088" y="146106"/>
                  </a:lnTo>
                  <a:lnTo>
                    <a:pt x="214961" y="161584"/>
                  </a:lnTo>
                  <a:lnTo>
                    <a:pt x="222727" y="201980"/>
                  </a:lnTo>
                  <a:lnTo>
                    <a:pt x="234610" y="219352"/>
                  </a:lnTo>
                  <a:lnTo>
                    <a:pt x="238013" y="215126"/>
                  </a:lnTo>
                  <a:lnTo>
                    <a:pt x="237739" y="193336"/>
                  </a:lnTo>
                  <a:lnTo>
                    <a:pt x="240181" y="178517"/>
                  </a:lnTo>
                  <a:lnTo>
                    <a:pt x="258348" y="178407"/>
                  </a:lnTo>
                  <a:lnTo>
                    <a:pt x="262602" y="197315"/>
                  </a:lnTo>
                  <a:lnTo>
                    <a:pt x="261641" y="224264"/>
                  </a:lnTo>
                  <a:lnTo>
                    <a:pt x="272070" y="235461"/>
                  </a:lnTo>
                  <a:lnTo>
                    <a:pt x="278958" y="258046"/>
                  </a:lnTo>
                  <a:lnTo>
                    <a:pt x="278162" y="308679"/>
                  </a:lnTo>
                  <a:lnTo>
                    <a:pt x="294107" y="304123"/>
                  </a:lnTo>
                  <a:lnTo>
                    <a:pt x="311423" y="321028"/>
                  </a:lnTo>
                  <a:lnTo>
                    <a:pt x="320781" y="315814"/>
                  </a:lnTo>
                  <a:lnTo>
                    <a:pt x="335765" y="358433"/>
                  </a:lnTo>
                  <a:lnTo>
                    <a:pt x="328191" y="377176"/>
                  </a:lnTo>
                  <a:lnTo>
                    <a:pt x="284584" y="407995"/>
                  </a:lnTo>
                  <a:lnTo>
                    <a:pt x="264331" y="452535"/>
                  </a:lnTo>
                  <a:lnTo>
                    <a:pt x="256811" y="445948"/>
                  </a:lnTo>
                  <a:lnTo>
                    <a:pt x="249868" y="420811"/>
                  </a:lnTo>
                  <a:lnTo>
                    <a:pt x="248030" y="439335"/>
                  </a:lnTo>
                  <a:lnTo>
                    <a:pt x="249347" y="486564"/>
                  </a:lnTo>
                  <a:lnTo>
                    <a:pt x="244325" y="498611"/>
                  </a:lnTo>
                  <a:lnTo>
                    <a:pt x="234089" y="478441"/>
                  </a:lnTo>
                  <a:lnTo>
                    <a:pt x="231619" y="503579"/>
                  </a:lnTo>
                  <a:lnTo>
                    <a:pt x="225197" y="523310"/>
                  </a:lnTo>
                  <a:lnTo>
                    <a:pt x="215921" y="516532"/>
                  </a:lnTo>
                  <a:lnTo>
                    <a:pt x="195723" y="477645"/>
                  </a:lnTo>
                  <a:lnTo>
                    <a:pt x="195147" y="486152"/>
                  </a:lnTo>
                  <a:lnTo>
                    <a:pt x="199977" y="515269"/>
                  </a:lnTo>
                  <a:lnTo>
                    <a:pt x="184060" y="518233"/>
                  </a:lnTo>
                  <a:lnTo>
                    <a:pt x="175251" y="529210"/>
                  </a:lnTo>
                  <a:lnTo>
                    <a:pt x="169570" y="527619"/>
                  </a:lnTo>
                  <a:lnTo>
                    <a:pt x="128543" y="515407"/>
                  </a:lnTo>
                  <a:lnTo>
                    <a:pt x="117346" y="495895"/>
                  </a:lnTo>
                  <a:lnTo>
                    <a:pt x="115068" y="472376"/>
                  </a:lnTo>
                  <a:lnTo>
                    <a:pt x="96325" y="462277"/>
                  </a:lnTo>
                  <a:lnTo>
                    <a:pt x="80463" y="419219"/>
                  </a:lnTo>
                  <a:lnTo>
                    <a:pt x="94322" y="384888"/>
                  </a:lnTo>
                  <a:lnTo>
                    <a:pt x="117730" y="373334"/>
                  </a:lnTo>
                  <a:lnTo>
                    <a:pt x="119789" y="357335"/>
                  </a:lnTo>
                  <a:lnTo>
                    <a:pt x="117264" y="342433"/>
                  </a:lnTo>
                  <a:lnTo>
                    <a:pt x="104366" y="337274"/>
                  </a:lnTo>
                  <a:lnTo>
                    <a:pt x="79667" y="358268"/>
                  </a:lnTo>
                  <a:lnTo>
                    <a:pt x="64409" y="344958"/>
                  </a:lnTo>
                  <a:lnTo>
                    <a:pt x="39875" y="354344"/>
                  </a:lnTo>
                  <a:lnTo>
                    <a:pt x="30983" y="343147"/>
                  </a:lnTo>
                  <a:lnTo>
                    <a:pt x="29035" y="332142"/>
                  </a:lnTo>
                  <a:lnTo>
                    <a:pt x="41713" y="302449"/>
                  </a:lnTo>
                  <a:lnTo>
                    <a:pt x="16274" y="292981"/>
                  </a:lnTo>
                  <a:lnTo>
                    <a:pt x="4638" y="270588"/>
                  </a:lnTo>
                  <a:lnTo>
                    <a:pt x="0" y="238205"/>
                  </a:lnTo>
                  <a:lnTo>
                    <a:pt x="4226" y="225225"/>
                  </a:lnTo>
                  <a:lnTo>
                    <a:pt x="28431" y="235543"/>
                  </a:lnTo>
                  <a:lnTo>
                    <a:pt x="50276" y="230631"/>
                  </a:lnTo>
                  <a:lnTo>
                    <a:pt x="48574" y="222398"/>
                  </a:lnTo>
                  <a:lnTo>
                    <a:pt x="18799" y="205548"/>
                  </a:lnTo>
                  <a:lnTo>
                    <a:pt x="15368" y="192019"/>
                  </a:lnTo>
                  <a:lnTo>
                    <a:pt x="21872" y="175745"/>
                  </a:lnTo>
                  <a:lnTo>
                    <a:pt x="24424" y="149647"/>
                  </a:lnTo>
                  <a:lnTo>
                    <a:pt x="29638" y="128845"/>
                  </a:lnTo>
                  <a:lnTo>
                    <a:pt x="54776" y="130876"/>
                  </a:lnTo>
                  <a:lnTo>
                    <a:pt x="52636" y="113833"/>
                  </a:lnTo>
                  <a:lnTo>
                    <a:pt x="41192" y="92785"/>
                  </a:lnTo>
                  <a:lnTo>
                    <a:pt x="45116" y="67949"/>
                  </a:lnTo>
                  <a:lnTo>
                    <a:pt x="65781" y="65644"/>
                  </a:lnTo>
                  <a:lnTo>
                    <a:pt x="93828" y="39216"/>
                  </a:lnTo>
                  <a:lnTo>
                    <a:pt x="92455" y="28733"/>
                  </a:lnTo>
                  <a:lnTo>
                    <a:pt x="77197" y="146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6" name="Freeform: Shape 3585">
              <a:extLst>
                <a:ext uri="{FF2B5EF4-FFF2-40B4-BE49-F238E27FC236}">
                  <a16:creationId xmlns:a16="http://schemas.microsoft.com/office/drawing/2014/main" id="{1BA9FE13-D1CE-D229-B899-F75F580BD92F}"/>
                </a:ext>
              </a:extLst>
            </p:cNvPr>
            <p:cNvSpPr/>
            <p:nvPr/>
          </p:nvSpPr>
          <p:spPr>
            <a:xfrm>
              <a:off x="1142502" y="3336098"/>
              <a:ext cx="187016" cy="277786"/>
            </a:xfrm>
            <a:custGeom>
              <a:avLst/>
              <a:gdLst>
                <a:gd name="connsiteX0" fmla="*/ 1250220 w 1793041"/>
                <a:gd name="connsiteY0" fmla="*/ 5132 h 2663313"/>
                <a:gd name="connsiteX1" fmla="*/ 1289518 w 1793041"/>
                <a:gd name="connsiteY1" fmla="*/ 34139 h 2663313"/>
                <a:gd name="connsiteX2" fmla="*/ 1311308 w 1793041"/>
                <a:gd name="connsiteY2" fmla="*/ 21954 h 2663313"/>
                <a:gd name="connsiteX3" fmla="*/ 1343334 w 1793041"/>
                <a:gd name="connsiteY3" fmla="*/ 33618 h 2663313"/>
                <a:gd name="connsiteX4" fmla="*/ 1368691 w 1793041"/>
                <a:gd name="connsiteY4" fmla="*/ 85430 h 2663313"/>
                <a:gd name="connsiteX5" fmla="*/ 1347505 w 1793041"/>
                <a:gd name="connsiteY5" fmla="*/ 107522 h 2663313"/>
                <a:gd name="connsiteX6" fmla="*/ 1228073 w 1793041"/>
                <a:gd name="connsiteY6" fmla="*/ 115974 h 2663313"/>
                <a:gd name="connsiteX7" fmla="*/ 1173791 w 1793041"/>
                <a:gd name="connsiteY7" fmla="*/ 150552 h 2663313"/>
                <a:gd name="connsiteX8" fmla="*/ 1190641 w 1793041"/>
                <a:gd name="connsiteY8" fmla="*/ 170393 h 2663313"/>
                <a:gd name="connsiteX9" fmla="*/ 1217508 w 1793041"/>
                <a:gd name="connsiteY9" fmla="*/ 140234 h 2663313"/>
                <a:gd name="connsiteX10" fmla="*/ 1257273 w 1793041"/>
                <a:gd name="connsiteY10" fmla="*/ 125332 h 2663313"/>
                <a:gd name="connsiteX11" fmla="*/ 1344980 w 1793041"/>
                <a:gd name="connsiteY11" fmla="*/ 134333 h 2663313"/>
                <a:gd name="connsiteX12" fmla="*/ 1409362 w 1793041"/>
                <a:gd name="connsiteY12" fmla="*/ 112105 h 2663313"/>
                <a:gd name="connsiteX13" fmla="*/ 1419625 w 1793041"/>
                <a:gd name="connsiteY13" fmla="*/ 138313 h 2663313"/>
                <a:gd name="connsiteX14" fmla="*/ 1420366 w 1793041"/>
                <a:gd name="connsiteY14" fmla="*/ 175086 h 2663313"/>
                <a:gd name="connsiteX15" fmla="*/ 1422534 w 1793041"/>
                <a:gd name="connsiteY15" fmla="*/ 184966 h 2663313"/>
                <a:gd name="connsiteX16" fmla="*/ 1451706 w 1793041"/>
                <a:gd name="connsiteY16" fmla="*/ 177199 h 2663313"/>
                <a:gd name="connsiteX17" fmla="*/ 1465894 w 1793041"/>
                <a:gd name="connsiteY17" fmla="*/ 197178 h 2663313"/>
                <a:gd name="connsiteX18" fmla="*/ 1506757 w 1793041"/>
                <a:gd name="connsiteY18" fmla="*/ 204560 h 2663313"/>
                <a:gd name="connsiteX19" fmla="*/ 1532828 w 1793041"/>
                <a:gd name="connsiteY19" fmla="*/ 254314 h 2663313"/>
                <a:gd name="connsiteX20" fmla="*/ 1503711 w 1793041"/>
                <a:gd name="connsiteY20" fmla="*/ 320232 h 2663313"/>
                <a:gd name="connsiteX21" fmla="*/ 1429862 w 1793041"/>
                <a:gd name="connsiteY21" fmla="*/ 351846 h 2663313"/>
                <a:gd name="connsiteX22" fmla="*/ 1259002 w 1793041"/>
                <a:gd name="connsiteY22" fmla="*/ 358625 h 2663313"/>
                <a:gd name="connsiteX23" fmla="*/ 1179362 w 1793041"/>
                <a:gd name="connsiteY23" fmla="*/ 447458 h 2663313"/>
                <a:gd name="connsiteX24" fmla="*/ 1183698 w 1793041"/>
                <a:gd name="connsiteY24" fmla="*/ 458737 h 2663313"/>
                <a:gd name="connsiteX25" fmla="*/ 1216849 w 1793041"/>
                <a:gd name="connsiteY25" fmla="*/ 427616 h 2663313"/>
                <a:gd name="connsiteX26" fmla="*/ 1255846 w 1793041"/>
                <a:gd name="connsiteY26" fmla="*/ 408077 h 2663313"/>
                <a:gd name="connsiteX27" fmla="*/ 1345255 w 1793041"/>
                <a:gd name="connsiteY27" fmla="*/ 385272 h 2663313"/>
                <a:gd name="connsiteX28" fmla="*/ 1403708 w 1793041"/>
                <a:gd name="connsiteY28" fmla="*/ 391776 h 2663313"/>
                <a:gd name="connsiteX29" fmla="*/ 1410816 w 1793041"/>
                <a:gd name="connsiteY29" fmla="*/ 419521 h 2663313"/>
                <a:gd name="connsiteX30" fmla="*/ 1406261 w 1793041"/>
                <a:gd name="connsiteY30" fmla="*/ 441942 h 2663313"/>
                <a:gd name="connsiteX31" fmla="*/ 1370310 w 1793041"/>
                <a:gd name="connsiteY31" fmla="*/ 475312 h 2663313"/>
                <a:gd name="connsiteX32" fmla="*/ 1365151 w 1793041"/>
                <a:gd name="connsiteY32" fmla="*/ 489446 h 2663313"/>
                <a:gd name="connsiteX33" fmla="*/ 1368389 w 1793041"/>
                <a:gd name="connsiteY33" fmla="*/ 501109 h 2663313"/>
                <a:gd name="connsiteX34" fmla="*/ 1443062 w 1793041"/>
                <a:gd name="connsiteY34" fmla="*/ 453578 h 2663313"/>
                <a:gd name="connsiteX35" fmla="*/ 1454945 w 1793041"/>
                <a:gd name="connsiteY35" fmla="*/ 407199 h 2663313"/>
                <a:gd name="connsiteX36" fmla="*/ 1465922 w 1793041"/>
                <a:gd name="connsiteY36" fmla="*/ 389800 h 2663313"/>
                <a:gd name="connsiteX37" fmla="*/ 1506784 w 1793041"/>
                <a:gd name="connsiteY37" fmla="*/ 387413 h 2663313"/>
                <a:gd name="connsiteX38" fmla="*/ 1516362 w 1793041"/>
                <a:gd name="connsiteY38" fmla="*/ 423665 h 2663313"/>
                <a:gd name="connsiteX39" fmla="*/ 1515154 w 1793041"/>
                <a:gd name="connsiteY39" fmla="*/ 461316 h 2663313"/>
                <a:gd name="connsiteX40" fmla="*/ 1507855 w 1793041"/>
                <a:gd name="connsiteY40" fmla="*/ 501850 h 2663313"/>
                <a:gd name="connsiteX41" fmla="*/ 1459802 w 1793041"/>
                <a:gd name="connsiteY41" fmla="*/ 599986 h 2663313"/>
                <a:gd name="connsiteX42" fmla="*/ 1450060 w 1793041"/>
                <a:gd name="connsiteY42" fmla="*/ 629954 h 2663313"/>
                <a:gd name="connsiteX43" fmla="*/ 1450416 w 1793041"/>
                <a:gd name="connsiteY43" fmla="*/ 642550 h 2663313"/>
                <a:gd name="connsiteX44" fmla="*/ 1471602 w 1793041"/>
                <a:gd name="connsiteY44" fmla="*/ 605804 h 2663313"/>
                <a:gd name="connsiteX45" fmla="*/ 1526543 w 1793041"/>
                <a:gd name="connsiteY45" fmla="*/ 535385 h 2663313"/>
                <a:gd name="connsiteX46" fmla="*/ 1556209 w 1793041"/>
                <a:gd name="connsiteY46" fmla="*/ 463073 h 2663313"/>
                <a:gd name="connsiteX47" fmla="*/ 1566912 w 1793041"/>
                <a:gd name="connsiteY47" fmla="*/ 474352 h 2663313"/>
                <a:gd name="connsiteX48" fmla="*/ 1575008 w 1793041"/>
                <a:gd name="connsiteY48" fmla="*/ 509040 h 2663313"/>
                <a:gd name="connsiteX49" fmla="*/ 1596084 w 1793041"/>
                <a:gd name="connsiteY49" fmla="*/ 500752 h 2663313"/>
                <a:gd name="connsiteX50" fmla="*/ 1624899 w 1793041"/>
                <a:gd name="connsiteY50" fmla="*/ 514227 h 2663313"/>
                <a:gd name="connsiteX51" fmla="*/ 1662578 w 1793041"/>
                <a:gd name="connsiteY51" fmla="*/ 454291 h 2663313"/>
                <a:gd name="connsiteX52" fmla="*/ 1735494 w 1793041"/>
                <a:gd name="connsiteY52" fmla="*/ 446607 h 2663313"/>
                <a:gd name="connsiteX53" fmla="*/ 1782723 w 1793041"/>
                <a:gd name="connsiteY53" fmla="*/ 484451 h 2663313"/>
                <a:gd name="connsiteX54" fmla="*/ 1793042 w 1793041"/>
                <a:gd name="connsiteY54" fmla="*/ 516916 h 2663313"/>
                <a:gd name="connsiteX55" fmla="*/ 1784068 w 1793041"/>
                <a:gd name="connsiteY55" fmla="*/ 545539 h 2663313"/>
                <a:gd name="connsiteX56" fmla="*/ 1748694 w 1793041"/>
                <a:gd name="connsiteY56" fmla="*/ 586237 h 2663313"/>
                <a:gd name="connsiteX57" fmla="*/ 1721690 w 1793041"/>
                <a:gd name="connsiteY57" fmla="*/ 599876 h 2663313"/>
                <a:gd name="connsiteX58" fmla="*/ 1715515 w 1793041"/>
                <a:gd name="connsiteY58" fmla="*/ 627401 h 2663313"/>
                <a:gd name="connsiteX59" fmla="*/ 1708380 w 1793041"/>
                <a:gd name="connsiteY59" fmla="*/ 637775 h 2663313"/>
                <a:gd name="connsiteX60" fmla="*/ 1676821 w 1793041"/>
                <a:gd name="connsiteY60" fmla="*/ 657314 h 2663313"/>
                <a:gd name="connsiteX61" fmla="*/ 1632473 w 1793041"/>
                <a:gd name="connsiteY61" fmla="*/ 646557 h 2663313"/>
                <a:gd name="connsiteX62" fmla="*/ 1608735 w 1793041"/>
                <a:gd name="connsiteY62" fmla="*/ 665904 h 2663313"/>
                <a:gd name="connsiteX63" fmla="*/ 1590184 w 1793041"/>
                <a:gd name="connsiteY63" fmla="*/ 667002 h 2663313"/>
                <a:gd name="connsiteX64" fmla="*/ 1591199 w 1793041"/>
                <a:gd name="connsiteY64" fmla="*/ 675207 h 2663313"/>
                <a:gd name="connsiteX65" fmla="*/ 1611946 w 1793041"/>
                <a:gd name="connsiteY65" fmla="*/ 682864 h 2663313"/>
                <a:gd name="connsiteX66" fmla="*/ 1642929 w 1793041"/>
                <a:gd name="connsiteY66" fmla="*/ 678830 h 2663313"/>
                <a:gd name="connsiteX67" fmla="*/ 1655635 w 1793041"/>
                <a:gd name="connsiteY67" fmla="*/ 704022 h 2663313"/>
                <a:gd name="connsiteX68" fmla="*/ 1641941 w 1793041"/>
                <a:gd name="connsiteY68" fmla="*/ 734731 h 2663313"/>
                <a:gd name="connsiteX69" fmla="*/ 1586643 w 1793041"/>
                <a:gd name="connsiteY69" fmla="*/ 731794 h 2663313"/>
                <a:gd name="connsiteX70" fmla="*/ 1569217 w 1793041"/>
                <a:gd name="connsiteY70" fmla="*/ 753282 h 2663313"/>
                <a:gd name="connsiteX71" fmla="*/ 1560792 w 1793041"/>
                <a:gd name="connsiteY71" fmla="*/ 737777 h 2663313"/>
                <a:gd name="connsiteX72" fmla="*/ 1543229 w 1793041"/>
                <a:gd name="connsiteY72" fmla="*/ 773371 h 2663313"/>
                <a:gd name="connsiteX73" fmla="*/ 1539743 w 1793041"/>
                <a:gd name="connsiteY73" fmla="*/ 802707 h 2663313"/>
                <a:gd name="connsiteX74" fmla="*/ 1546714 w 1793041"/>
                <a:gd name="connsiteY74" fmla="*/ 802872 h 2663313"/>
                <a:gd name="connsiteX75" fmla="*/ 1560024 w 1793041"/>
                <a:gd name="connsiteY75" fmla="*/ 777103 h 2663313"/>
                <a:gd name="connsiteX76" fmla="*/ 1578164 w 1793041"/>
                <a:gd name="connsiteY76" fmla="*/ 763134 h 2663313"/>
                <a:gd name="connsiteX77" fmla="*/ 1612659 w 1793041"/>
                <a:gd name="connsiteY77" fmla="*/ 757728 h 2663313"/>
                <a:gd name="connsiteX78" fmla="*/ 1619383 w 1793041"/>
                <a:gd name="connsiteY78" fmla="*/ 773535 h 2663313"/>
                <a:gd name="connsiteX79" fmla="*/ 1605963 w 1793041"/>
                <a:gd name="connsiteY79" fmla="*/ 813355 h 2663313"/>
                <a:gd name="connsiteX80" fmla="*/ 1579920 w 1793041"/>
                <a:gd name="connsiteY80" fmla="*/ 814782 h 2663313"/>
                <a:gd name="connsiteX81" fmla="*/ 1567104 w 1793041"/>
                <a:gd name="connsiteY81" fmla="*/ 833196 h 2663313"/>
                <a:gd name="connsiteX82" fmla="*/ 1562960 w 1793041"/>
                <a:gd name="connsiteY82" fmla="*/ 871068 h 2663313"/>
                <a:gd name="connsiteX83" fmla="*/ 1571742 w 1793041"/>
                <a:gd name="connsiteY83" fmla="*/ 895245 h 2663313"/>
                <a:gd name="connsiteX84" fmla="*/ 1574733 w 1793041"/>
                <a:gd name="connsiteY84" fmla="*/ 916184 h 2663313"/>
                <a:gd name="connsiteX85" fmla="*/ 1568366 w 1793041"/>
                <a:gd name="connsiteY85" fmla="*/ 969725 h 2663313"/>
                <a:gd name="connsiteX86" fmla="*/ 1561094 w 1793041"/>
                <a:gd name="connsiteY86" fmla="*/ 973430 h 2663313"/>
                <a:gd name="connsiteX87" fmla="*/ 1530632 w 1793041"/>
                <a:gd name="connsiteY87" fmla="*/ 957842 h 2663313"/>
                <a:gd name="connsiteX88" fmla="*/ 1520341 w 1793041"/>
                <a:gd name="connsiteY88" fmla="*/ 967749 h 2663313"/>
                <a:gd name="connsiteX89" fmla="*/ 1512437 w 1793041"/>
                <a:gd name="connsiteY89" fmla="*/ 1059738 h 2663313"/>
                <a:gd name="connsiteX90" fmla="*/ 1503354 w 1793041"/>
                <a:gd name="connsiteY90" fmla="*/ 1090584 h 2663313"/>
                <a:gd name="connsiteX91" fmla="*/ 1498305 w 1793041"/>
                <a:gd name="connsiteY91" fmla="*/ 1125080 h 2663313"/>
                <a:gd name="connsiteX92" fmla="*/ 1507059 w 1793041"/>
                <a:gd name="connsiteY92" fmla="*/ 1128483 h 2663313"/>
                <a:gd name="connsiteX93" fmla="*/ 1515648 w 1793041"/>
                <a:gd name="connsiteY93" fmla="*/ 1106556 h 2663313"/>
                <a:gd name="connsiteX94" fmla="*/ 1526708 w 1793041"/>
                <a:gd name="connsiteY94" fmla="*/ 1090584 h 2663313"/>
                <a:gd name="connsiteX95" fmla="*/ 1565320 w 1793041"/>
                <a:gd name="connsiteY95" fmla="*/ 1103784 h 2663313"/>
                <a:gd name="connsiteX96" fmla="*/ 1571605 w 1793041"/>
                <a:gd name="connsiteY96" fmla="*/ 1132544 h 2663313"/>
                <a:gd name="connsiteX97" fmla="*/ 1559640 w 1793041"/>
                <a:gd name="connsiteY97" fmla="*/ 1142094 h 2663313"/>
                <a:gd name="connsiteX98" fmla="*/ 1544958 w 1793041"/>
                <a:gd name="connsiteY98" fmla="*/ 1135563 h 2663313"/>
                <a:gd name="connsiteX99" fmla="*/ 1543009 w 1793041"/>
                <a:gd name="connsiteY99" fmla="*/ 1142232 h 2663313"/>
                <a:gd name="connsiteX100" fmla="*/ 1549403 w 1793041"/>
                <a:gd name="connsiteY100" fmla="*/ 1165037 h 2663313"/>
                <a:gd name="connsiteX101" fmla="*/ 1565787 w 1793041"/>
                <a:gd name="connsiteY101" fmla="*/ 1183616 h 2663313"/>
                <a:gd name="connsiteX102" fmla="*/ 1574925 w 1793041"/>
                <a:gd name="connsiteY102" fmla="*/ 1185948 h 2663313"/>
                <a:gd name="connsiteX103" fmla="*/ 1584613 w 1793041"/>
                <a:gd name="connsiteY103" fmla="*/ 1178237 h 2663313"/>
                <a:gd name="connsiteX104" fmla="*/ 1594355 w 1793041"/>
                <a:gd name="connsiteY104" fmla="*/ 1183122 h 2663313"/>
                <a:gd name="connsiteX105" fmla="*/ 1599185 w 1793041"/>
                <a:gd name="connsiteY105" fmla="*/ 1199862 h 2663313"/>
                <a:gd name="connsiteX106" fmla="*/ 1598910 w 1793041"/>
                <a:gd name="connsiteY106" fmla="*/ 1218084 h 2663313"/>
                <a:gd name="connsiteX107" fmla="*/ 1582033 w 1793041"/>
                <a:gd name="connsiteY107" fmla="*/ 1239956 h 2663313"/>
                <a:gd name="connsiteX108" fmla="*/ 1553712 w 1793041"/>
                <a:gd name="connsiteY108" fmla="*/ 1225302 h 2663313"/>
                <a:gd name="connsiteX109" fmla="*/ 1533294 w 1793041"/>
                <a:gd name="connsiteY109" fmla="*/ 1223573 h 2663313"/>
                <a:gd name="connsiteX110" fmla="*/ 1515264 w 1793041"/>
                <a:gd name="connsiteY110" fmla="*/ 1243963 h 2663313"/>
                <a:gd name="connsiteX111" fmla="*/ 1508980 w 1793041"/>
                <a:gd name="connsiteY111" fmla="*/ 1263941 h 2663313"/>
                <a:gd name="connsiteX112" fmla="*/ 1485900 w 1793041"/>
                <a:gd name="connsiteY112" fmla="*/ 1239078 h 2663313"/>
                <a:gd name="connsiteX113" fmla="*/ 1476570 w 1793041"/>
                <a:gd name="connsiteY113" fmla="*/ 1255434 h 2663313"/>
                <a:gd name="connsiteX114" fmla="*/ 1480521 w 1793041"/>
                <a:gd name="connsiteY114" fmla="*/ 1265451 h 2663313"/>
                <a:gd name="connsiteX115" fmla="*/ 1493639 w 1793041"/>
                <a:gd name="connsiteY115" fmla="*/ 1274589 h 2663313"/>
                <a:gd name="connsiteX116" fmla="*/ 1503628 w 1793041"/>
                <a:gd name="connsiteY116" fmla="*/ 1303871 h 2663313"/>
                <a:gd name="connsiteX117" fmla="*/ 1513700 w 1793041"/>
                <a:gd name="connsiteY117" fmla="*/ 1299233 h 2663313"/>
                <a:gd name="connsiteX118" fmla="*/ 1521247 w 1793041"/>
                <a:gd name="connsiteY118" fmla="*/ 1282877 h 2663313"/>
                <a:gd name="connsiteX119" fmla="*/ 1526296 w 1793041"/>
                <a:gd name="connsiteY119" fmla="*/ 1300331 h 2663313"/>
                <a:gd name="connsiteX120" fmla="*/ 1538591 w 1793041"/>
                <a:gd name="connsiteY120" fmla="*/ 1297751 h 2663313"/>
                <a:gd name="connsiteX121" fmla="*/ 1548937 w 1793041"/>
                <a:gd name="connsiteY121" fmla="*/ 1315946 h 2663313"/>
                <a:gd name="connsiteX122" fmla="*/ 1551352 w 1793041"/>
                <a:gd name="connsiteY122" fmla="*/ 1329777 h 2663313"/>
                <a:gd name="connsiteX123" fmla="*/ 1547839 w 1793041"/>
                <a:gd name="connsiteY123" fmla="*/ 1346517 h 2663313"/>
                <a:gd name="connsiteX124" fmla="*/ 1557663 w 1793041"/>
                <a:gd name="connsiteY124" fmla="*/ 1365892 h 2663313"/>
                <a:gd name="connsiteX125" fmla="*/ 1563591 w 1793041"/>
                <a:gd name="connsiteY125" fmla="*/ 1391661 h 2663313"/>
                <a:gd name="connsiteX126" fmla="*/ 1565018 w 1793041"/>
                <a:gd name="connsiteY126" fmla="*/ 1414192 h 2663313"/>
                <a:gd name="connsiteX127" fmla="*/ 1563125 w 1793041"/>
                <a:gd name="connsiteY127" fmla="*/ 1426376 h 2663313"/>
                <a:gd name="connsiteX128" fmla="*/ 1553712 w 1793041"/>
                <a:gd name="connsiteY128" fmla="*/ 1434225 h 2663313"/>
                <a:gd name="connsiteX129" fmla="*/ 1541116 w 1793041"/>
                <a:gd name="connsiteY129" fmla="*/ 1422232 h 2663313"/>
                <a:gd name="connsiteX130" fmla="*/ 1521082 w 1793041"/>
                <a:gd name="connsiteY130" fmla="*/ 1420531 h 2663313"/>
                <a:gd name="connsiteX131" fmla="*/ 1519820 w 1793041"/>
                <a:gd name="connsiteY131" fmla="*/ 1424894 h 2663313"/>
                <a:gd name="connsiteX132" fmla="*/ 1525336 w 1793041"/>
                <a:gd name="connsiteY132" fmla="*/ 1440098 h 2663313"/>
                <a:gd name="connsiteX133" fmla="*/ 1531867 w 1793041"/>
                <a:gd name="connsiteY133" fmla="*/ 1484994 h 2663313"/>
                <a:gd name="connsiteX134" fmla="*/ 1535298 w 1793041"/>
                <a:gd name="connsiteY134" fmla="*/ 1464851 h 2663313"/>
                <a:gd name="connsiteX135" fmla="*/ 1542735 w 1793041"/>
                <a:gd name="connsiteY135" fmla="*/ 1459857 h 2663313"/>
                <a:gd name="connsiteX136" fmla="*/ 1550336 w 1793041"/>
                <a:gd name="connsiteY136" fmla="*/ 1471383 h 2663313"/>
                <a:gd name="connsiteX137" fmla="*/ 1549870 w 1793041"/>
                <a:gd name="connsiteY137" fmla="*/ 1488589 h 2663313"/>
                <a:gd name="connsiteX138" fmla="*/ 1552065 w 1793041"/>
                <a:gd name="connsiteY138" fmla="*/ 1496905 h 2663313"/>
                <a:gd name="connsiteX139" fmla="*/ 1578959 w 1793041"/>
                <a:gd name="connsiteY139" fmla="*/ 1501378 h 2663313"/>
                <a:gd name="connsiteX140" fmla="*/ 1580277 w 1793041"/>
                <a:gd name="connsiteY140" fmla="*/ 1508239 h 2663313"/>
                <a:gd name="connsiteX141" fmla="*/ 1569931 w 1793041"/>
                <a:gd name="connsiteY141" fmla="*/ 1529644 h 2663313"/>
                <a:gd name="connsiteX142" fmla="*/ 1562109 w 1793041"/>
                <a:gd name="connsiteY142" fmla="*/ 1537410 h 2663313"/>
                <a:gd name="connsiteX143" fmla="*/ 1546988 w 1793041"/>
                <a:gd name="connsiteY143" fmla="*/ 1535874 h 2663313"/>
                <a:gd name="connsiteX144" fmla="*/ 1534858 w 1793041"/>
                <a:gd name="connsiteY144" fmla="*/ 1524238 h 2663313"/>
                <a:gd name="connsiteX145" fmla="*/ 1533569 w 1793041"/>
                <a:gd name="connsiteY145" fmla="*/ 1528519 h 2663313"/>
                <a:gd name="connsiteX146" fmla="*/ 1534310 w 1793041"/>
                <a:gd name="connsiteY146" fmla="*/ 1541774 h 2663313"/>
                <a:gd name="connsiteX147" fmla="*/ 1531538 w 1793041"/>
                <a:gd name="connsiteY147" fmla="*/ 1546878 h 2663313"/>
                <a:gd name="connsiteX148" fmla="*/ 1514414 w 1793041"/>
                <a:gd name="connsiteY148" fmla="*/ 1553767 h 2663313"/>
                <a:gd name="connsiteX149" fmla="*/ 1491828 w 1793041"/>
                <a:gd name="connsiteY149" fmla="*/ 1541308 h 2663313"/>
                <a:gd name="connsiteX150" fmla="*/ 1486230 w 1793041"/>
                <a:gd name="connsiteY150" fmla="*/ 1553163 h 2663313"/>
                <a:gd name="connsiteX151" fmla="*/ 1491361 w 1793041"/>
                <a:gd name="connsiteY151" fmla="*/ 1567241 h 2663313"/>
                <a:gd name="connsiteX152" fmla="*/ 1503601 w 1793041"/>
                <a:gd name="connsiteY152" fmla="*/ 1565347 h 2663313"/>
                <a:gd name="connsiteX153" fmla="*/ 1535105 w 1793041"/>
                <a:gd name="connsiteY153" fmla="*/ 1583103 h 2663313"/>
                <a:gd name="connsiteX154" fmla="*/ 1535517 w 1793041"/>
                <a:gd name="connsiteY154" fmla="*/ 1596495 h 2663313"/>
                <a:gd name="connsiteX155" fmla="*/ 1528272 w 1793041"/>
                <a:gd name="connsiteY155" fmla="*/ 1620179 h 2663313"/>
                <a:gd name="connsiteX156" fmla="*/ 1506483 w 1793041"/>
                <a:gd name="connsiteY156" fmla="*/ 1623746 h 2663313"/>
                <a:gd name="connsiteX157" fmla="*/ 1476652 w 1793041"/>
                <a:gd name="connsiteY157" fmla="*/ 1641118 h 2663313"/>
                <a:gd name="connsiteX158" fmla="*/ 1438945 w 1793041"/>
                <a:gd name="connsiteY158" fmla="*/ 1616227 h 2663313"/>
                <a:gd name="connsiteX159" fmla="*/ 1425690 w 1793041"/>
                <a:gd name="connsiteY159" fmla="*/ 1592214 h 2663313"/>
                <a:gd name="connsiteX160" fmla="*/ 1410624 w 1793041"/>
                <a:gd name="connsiteY160" fmla="*/ 1615239 h 2663313"/>
                <a:gd name="connsiteX161" fmla="*/ 1392567 w 1793041"/>
                <a:gd name="connsiteY161" fmla="*/ 1626024 h 2663313"/>
                <a:gd name="connsiteX162" fmla="*/ 1377775 w 1793041"/>
                <a:gd name="connsiteY162" fmla="*/ 1641831 h 2663313"/>
                <a:gd name="connsiteX163" fmla="*/ 1363011 w 1793041"/>
                <a:gd name="connsiteY163" fmla="*/ 1641502 h 2663313"/>
                <a:gd name="connsiteX164" fmla="*/ 1358702 w 1793041"/>
                <a:gd name="connsiteY164" fmla="*/ 1647649 h 2663313"/>
                <a:gd name="connsiteX165" fmla="*/ 1361556 w 1793041"/>
                <a:gd name="connsiteY165" fmla="*/ 1653275 h 2663313"/>
                <a:gd name="connsiteX166" fmla="*/ 1377006 w 1793041"/>
                <a:gd name="connsiteY166" fmla="*/ 1655004 h 2663313"/>
                <a:gd name="connsiteX167" fmla="*/ 1398138 w 1793041"/>
                <a:gd name="connsiteY167" fmla="*/ 1632528 h 2663313"/>
                <a:gd name="connsiteX168" fmla="*/ 1430191 w 1793041"/>
                <a:gd name="connsiteY168" fmla="*/ 1634202 h 2663313"/>
                <a:gd name="connsiteX169" fmla="*/ 1448550 w 1793041"/>
                <a:gd name="connsiteY169" fmla="*/ 1645646 h 2663313"/>
                <a:gd name="connsiteX170" fmla="*/ 1463918 w 1793041"/>
                <a:gd name="connsiteY170" fmla="*/ 1666502 h 2663313"/>
                <a:gd name="connsiteX171" fmla="*/ 1486312 w 1793041"/>
                <a:gd name="connsiteY171" fmla="*/ 1681376 h 2663313"/>
                <a:gd name="connsiteX172" fmla="*/ 1487711 w 1793041"/>
                <a:gd name="connsiteY172" fmla="*/ 1688265 h 2663313"/>
                <a:gd name="connsiteX173" fmla="*/ 1486833 w 1793041"/>
                <a:gd name="connsiteY173" fmla="*/ 1696113 h 2663313"/>
                <a:gd name="connsiteX174" fmla="*/ 1478875 w 1793041"/>
                <a:gd name="connsiteY174" fmla="*/ 1706816 h 2663313"/>
                <a:gd name="connsiteX175" fmla="*/ 1480576 w 1793041"/>
                <a:gd name="connsiteY175" fmla="*/ 1719412 h 2663313"/>
                <a:gd name="connsiteX176" fmla="*/ 1476515 w 1793041"/>
                <a:gd name="connsiteY176" fmla="*/ 1732228 h 2663313"/>
                <a:gd name="connsiteX177" fmla="*/ 1481564 w 1793041"/>
                <a:gd name="connsiteY177" fmla="*/ 1746910 h 2663313"/>
                <a:gd name="connsiteX178" fmla="*/ 1477997 w 1793041"/>
                <a:gd name="connsiteY178" fmla="*/ 1751795 h 2663313"/>
                <a:gd name="connsiteX179" fmla="*/ 1467513 w 1793041"/>
                <a:gd name="connsiteY179" fmla="*/ 1748502 h 2663313"/>
                <a:gd name="connsiteX180" fmla="*/ 1426569 w 1793041"/>
                <a:gd name="connsiteY180" fmla="*/ 1714116 h 2663313"/>
                <a:gd name="connsiteX181" fmla="*/ 1419708 w 1793041"/>
                <a:gd name="connsiteY181" fmla="*/ 1698034 h 2663313"/>
                <a:gd name="connsiteX182" fmla="*/ 1415097 w 1793041"/>
                <a:gd name="connsiteY182" fmla="*/ 1676052 h 2663313"/>
                <a:gd name="connsiteX183" fmla="*/ 1407139 w 1793041"/>
                <a:gd name="connsiteY183" fmla="*/ 1667381 h 2663313"/>
                <a:gd name="connsiteX184" fmla="*/ 1401211 w 1793041"/>
                <a:gd name="connsiteY184" fmla="*/ 1667765 h 2663313"/>
                <a:gd name="connsiteX185" fmla="*/ 1366413 w 1793041"/>
                <a:gd name="connsiteY185" fmla="*/ 1699022 h 2663313"/>
                <a:gd name="connsiteX186" fmla="*/ 1401458 w 1793041"/>
                <a:gd name="connsiteY186" fmla="*/ 1684258 h 2663313"/>
                <a:gd name="connsiteX187" fmla="*/ 1406617 w 1793041"/>
                <a:gd name="connsiteY187" fmla="*/ 1714555 h 2663313"/>
                <a:gd name="connsiteX188" fmla="*/ 1394488 w 1793041"/>
                <a:gd name="connsiteY188" fmla="*/ 1728414 h 2663313"/>
                <a:gd name="connsiteX189" fmla="*/ 1392512 w 1793041"/>
                <a:gd name="connsiteY189" fmla="*/ 1740845 h 2663313"/>
                <a:gd name="connsiteX190" fmla="*/ 1413039 w 1793041"/>
                <a:gd name="connsiteY190" fmla="*/ 1733902 h 2663313"/>
                <a:gd name="connsiteX191" fmla="*/ 1464385 w 1793041"/>
                <a:gd name="connsiteY191" fmla="*/ 1774271 h 2663313"/>
                <a:gd name="connsiteX192" fmla="*/ 1466333 w 1793041"/>
                <a:gd name="connsiteY192" fmla="*/ 1794194 h 2663313"/>
                <a:gd name="connsiteX193" fmla="*/ 1481345 w 1793041"/>
                <a:gd name="connsiteY193" fmla="*/ 1800369 h 2663313"/>
                <a:gd name="connsiteX194" fmla="*/ 1478052 w 1793041"/>
                <a:gd name="connsiteY194" fmla="*/ 1816039 h 2663313"/>
                <a:gd name="connsiteX195" fmla="*/ 1479396 w 1793041"/>
                <a:gd name="connsiteY195" fmla="*/ 1826248 h 2663313"/>
                <a:gd name="connsiteX196" fmla="*/ 1495807 w 1793041"/>
                <a:gd name="connsiteY196" fmla="*/ 1817987 h 2663313"/>
                <a:gd name="connsiteX197" fmla="*/ 1497316 w 1793041"/>
                <a:gd name="connsiteY197" fmla="*/ 1906134 h 2663313"/>
                <a:gd name="connsiteX198" fmla="*/ 1492349 w 1793041"/>
                <a:gd name="connsiteY198" fmla="*/ 1909565 h 2663313"/>
                <a:gd name="connsiteX199" fmla="*/ 1483650 w 1793041"/>
                <a:gd name="connsiteY199" fmla="*/ 1906409 h 2663313"/>
                <a:gd name="connsiteX200" fmla="*/ 1474841 w 1793041"/>
                <a:gd name="connsiteY200" fmla="*/ 1887363 h 2663313"/>
                <a:gd name="connsiteX201" fmla="*/ 1467047 w 1793041"/>
                <a:gd name="connsiteY201" fmla="*/ 1906189 h 2663313"/>
                <a:gd name="connsiteX202" fmla="*/ 1448495 w 1793041"/>
                <a:gd name="connsiteY202" fmla="*/ 1904186 h 2663313"/>
                <a:gd name="connsiteX203" fmla="*/ 1432030 w 1793041"/>
                <a:gd name="connsiteY203" fmla="*/ 1889147 h 2663313"/>
                <a:gd name="connsiteX204" fmla="*/ 1421162 w 1793041"/>
                <a:gd name="connsiteY204" fmla="*/ 1855749 h 2663313"/>
                <a:gd name="connsiteX205" fmla="*/ 1410103 w 1793041"/>
                <a:gd name="connsiteY205" fmla="*/ 1834728 h 2663313"/>
                <a:gd name="connsiteX206" fmla="*/ 1397232 w 1793041"/>
                <a:gd name="connsiteY206" fmla="*/ 1829980 h 2663313"/>
                <a:gd name="connsiteX207" fmla="*/ 1376128 w 1793041"/>
                <a:gd name="connsiteY207" fmla="*/ 1812417 h 2663313"/>
                <a:gd name="connsiteX208" fmla="*/ 1346215 w 1793041"/>
                <a:gd name="connsiteY208" fmla="*/ 1808382 h 2663313"/>
                <a:gd name="connsiteX209" fmla="*/ 1322285 w 1793041"/>
                <a:gd name="connsiteY209" fmla="*/ 1782010 h 2663313"/>
                <a:gd name="connsiteX210" fmla="*/ 1314958 w 1793041"/>
                <a:gd name="connsiteY210" fmla="*/ 1779924 h 2663313"/>
                <a:gd name="connsiteX211" fmla="*/ 1313421 w 1793041"/>
                <a:gd name="connsiteY211" fmla="*/ 1782723 h 2663313"/>
                <a:gd name="connsiteX212" fmla="*/ 1337050 w 1793041"/>
                <a:gd name="connsiteY212" fmla="*/ 1815051 h 2663313"/>
                <a:gd name="connsiteX213" fmla="*/ 1373960 w 1793041"/>
                <a:gd name="connsiteY213" fmla="*/ 1819716 h 2663313"/>
                <a:gd name="connsiteX214" fmla="*/ 1382907 w 1793041"/>
                <a:gd name="connsiteY214" fmla="*/ 1833740 h 2663313"/>
                <a:gd name="connsiteX215" fmla="*/ 1371024 w 1793041"/>
                <a:gd name="connsiteY215" fmla="*/ 1854048 h 2663313"/>
                <a:gd name="connsiteX216" fmla="*/ 1352335 w 1793041"/>
                <a:gd name="connsiteY216" fmla="*/ 1864778 h 2663313"/>
                <a:gd name="connsiteX217" fmla="*/ 1319404 w 1793041"/>
                <a:gd name="connsiteY217" fmla="*/ 1863708 h 2663313"/>
                <a:gd name="connsiteX218" fmla="*/ 1315123 w 1793041"/>
                <a:gd name="connsiteY218" fmla="*/ 1870568 h 2663313"/>
                <a:gd name="connsiteX219" fmla="*/ 1310924 w 1793041"/>
                <a:gd name="connsiteY219" fmla="*/ 1888681 h 2663313"/>
                <a:gd name="connsiteX220" fmla="*/ 1303157 w 1793041"/>
                <a:gd name="connsiteY220" fmla="*/ 1905860 h 2663313"/>
                <a:gd name="connsiteX221" fmla="*/ 1304612 w 1793041"/>
                <a:gd name="connsiteY221" fmla="*/ 1909976 h 2663313"/>
                <a:gd name="connsiteX222" fmla="*/ 1313586 w 1793041"/>
                <a:gd name="connsiteY222" fmla="*/ 1911156 h 2663313"/>
                <a:gd name="connsiteX223" fmla="*/ 1327197 w 1793041"/>
                <a:gd name="connsiteY223" fmla="*/ 1877347 h 2663313"/>
                <a:gd name="connsiteX224" fmla="*/ 1340535 w 1793041"/>
                <a:gd name="connsiteY224" fmla="*/ 1876715 h 2663313"/>
                <a:gd name="connsiteX225" fmla="*/ 1378433 w 1793041"/>
                <a:gd name="connsiteY225" fmla="*/ 1858823 h 2663313"/>
                <a:gd name="connsiteX226" fmla="*/ 1388148 w 1793041"/>
                <a:gd name="connsiteY226" fmla="*/ 1871474 h 2663313"/>
                <a:gd name="connsiteX227" fmla="*/ 1389438 w 1793041"/>
                <a:gd name="connsiteY227" fmla="*/ 1881161 h 2663313"/>
                <a:gd name="connsiteX228" fmla="*/ 1386310 w 1793041"/>
                <a:gd name="connsiteY228" fmla="*/ 1891809 h 2663313"/>
                <a:gd name="connsiteX229" fmla="*/ 1367539 w 1793041"/>
                <a:gd name="connsiteY229" fmla="*/ 1904652 h 2663313"/>
                <a:gd name="connsiteX230" fmla="*/ 1354256 w 1793041"/>
                <a:gd name="connsiteY230" fmla="*/ 1906628 h 2663313"/>
                <a:gd name="connsiteX231" fmla="*/ 1351320 w 1793041"/>
                <a:gd name="connsiteY231" fmla="*/ 1918072 h 2663313"/>
                <a:gd name="connsiteX232" fmla="*/ 1313970 w 1793041"/>
                <a:gd name="connsiteY232" fmla="*/ 1942194 h 2663313"/>
                <a:gd name="connsiteX233" fmla="*/ 1331780 w 1793041"/>
                <a:gd name="connsiteY233" fmla="*/ 1947930 h 2663313"/>
                <a:gd name="connsiteX234" fmla="*/ 1346215 w 1793041"/>
                <a:gd name="connsiteY234" fmla="*/ 1931986 h 2663313"/>
                <a:gd name="connsiteX235" fmla="*/ 1365892 w 1793041"/>
                <a:gd name="connsiteY235" fmla="*/ 1929955 h 2663313"/>
                <a:gd name="connsiteX236" fmla="*/ 1393582 w 1793041"/>
                <a:gd name="connsiteY236" fmla="*/ 1915163 h 2663313"/>
                <a:gd name="connsiteX237" fmla="*/ 1400882 w 1793041"/>
                <a:gd name="connsiteY237" fmla="*/ 1921969 h 2663313"/>
                <a:gd name="connsiteX238" fmla="*/ 1435103 w 1793041"/>
                <a:gd name="connsiteY238" fmla="*/ 1934812 h 2663313"/>
                <a:gd name="connsiteX239" fmla="*/ 1474484 w 1793041"/>
                <a:gd name="connsiteY239" fmla="*/ 1941728 h 2663313"/>
                <a:gd name="connsiteX240" fmla="*/ 1476021 w 1793041"/>
                <a:gd name="connsiteY240" fmla="*/ 1947656 h 2663313"/>
                <a:gd name="connsiteX241" fmla="*/ 1464275 w 1793041"/>
                <a:gd name="connsiteY241" fmla="*/ 1955806 h 2663313"/>
                <a:gd name="connsiteX242" fmla="*/ 1450416 w 1793041"/>
                <a:gd name="connsiteY242" fmla="*/ 1975757 h 2663313"/>
                <a:gd name="connsiteX243" fmla="*/ 1403215 w 1793041"/>
                <a:gd name="connsiteY243" fmla="*/ 2012915 h 2663313"/>
                <a:gd name="connsiteX244" fmla="*/ 1392896 w 1793041"/>
                <a:gd name="connsiteY244" fmla="*/ 2027789 h 2663313"/>
                <a:gd name="connsiteX245" fmla="*/ 1363889 w 1793041"/>
                <a:gd name="connsiteY245" fmla="*/ 2051912 h 2663313"/>
                <a:gd name="connsiteX246" fmla="*/ 1324645 w 1793041"/>
                <a:gd name="connsiteY246" fmla="*/ 2069804 h 2663313"/>
                <a:gd name="connsiteX247" fmla="*/ 1310567 w 1793041"/>
                <a:gd name="connsiteY247" fmla="*/ 2071725 h 2663313"/>
                <a:gd name="connsiteX248" fmla="*/ 1273519 w 1793041"/>
                <a:gd name="connsiteY248" fmla="*/ 2090332 h 2663313"/>
                <a:gd name="connsiteX249" fmla="*/ 1258892 w 1793041"/>
                <a:gd name="connsiteY249" fmla="*/ 2086078 h 2663313"/>
                <a:gd name="connsiteX250" fmla="*/ 1249205 w 1793041"/>
                <a:gd name="connsiteY250" fmla="*/ 2098729 h 2663313"/>
                <a:gd name="connsiteX251" fmla="*/ 1241548 w 1793041"/>
                <a:gd name="connsiteY251" fmla="*/ 2098180 h 2663313"/>
                <a:gd name="connsiteX252" fmla="*/ 1234166 w 1793041"/>
                <a:gd name="connsiteY252" fmla="*/ 2103916 h 2663313"/>
                <a:gd name="connsiteX253" fmla="*/ 1211992 w 1793041"/>
                <a:gd name="connsiteY253" fmla="*/ 2105425 h 2663313"/>
                <a:gd name="connsiteX254" fmla="*/ 1198655 w 1793041"/>
                <a:gd name="connsiteY254" fmla="*/ 2097439 h 2663313"/>
                <a:gd name="connsiteX255" fmla="*/ 1192151 w 1793041"/>
                <a:gd name="connsiteY255" fmla="*/ 2084816 h 2663313"/>
                <a:gd name="connsiteX256" fmla="*/ 1180679 w 1793041"/>
                <a:gd name="connsiteY256" fmla="*/ 2072686 h 2663313"/>
                <a:gd name="connsiteX257" fmla="*/ 1181311 w 1793041"/>
                <a:gd name="connsiteY257" fmla="*/ 2078559 h 2663313"/>
                <a:gd name="connsiteX258" fmla="*/ 1189818 w 1793041"/>
                <a:gd name="connsiteY258" fmla="*/ 2097851 h 2663313"/>
                <a:gd name="connsiteX259" fmla="*/ 1189049 w 1793041"/>
                <a:gd name="connsiteY259" fmla="*/ 2116101 h 2663313"/>
                <a:gd name="connsiteX260" fmla="*/ 1161908 w 1793041"/>
                <a:gd name="connsiteY260" fmla="*/ 2140058 h 2663313"/>
                <a:gd name="connsiteX261" fmla="*/ 1147199 w 1793041"/>
                <a:gd name="connsiteY261" fmla="*/ 2181772 h 2663313"/>
                <a:gd name="connsiteX262" fmla="*/ 1131255 w 1793041"/>
                <a:gd name="connsiteY262" fmla="*/ 2212151 h 2663313"/>
                <a:gd name="connsiteX263" fmla="*/ 1123406 w 1793041"/>
                <a:gd name="connsiteY263" fmla="*/ 2219725 h 2663313"/>
                <a:gd name="connsiteX264" fmla="*/ 1115612 w 1793041"/>
                <a:gd name="connsiteY264" fmla="*/ 2234600 h 2663313"/>
                <a:gd name="connsiteX265" fmla="*/ 1094947 w 1793041"/>
                <a:gd name="connsiteY265" fmla="*/ 2244753 h 2663313"/>
                <a:gd name="connsiteX266" fmla="*/ 1071841 w 1793041"/>
                <a:gd name="connsiteY266" fmla="*/ 2268272 h 2663313"/>
                <a:gd name="connsiteX267" fmla="*/ 1062867 w 1793041"/>
                <a:gd name="connsiteY267" fmla="*/ 2268546 h 2663313"/>
                <a:gd name="connsiteX268" fmla="*/ 1047224 w 1793041"/>
                <a:gd name="connsiteY268" fmla="*/ 2292916 h 2663313"/>
                <a:gd name="connsiteX269" fmla="*/ 1046236 w 1793041"/>
                <a:gd name="connsiteY269" fmla="*/ 2289924 h 2663313"/>
                <a:gd name="connsiteX270" fmla="*/ 1047801 w 1793041"/>
                <a:gd name="connsiteY270" fmla="*/ 2279716 h 2663313"/>
                <a:gd name="connsiteX271" fmla="*/ 1046456 w 1793041"/>
                <a:gd name="connsiteY271" fmla="*/ 2276697 h 2663313"/>
                <a:gd name="connsiteX272" fmla="*/ 1033612 w 1793041"/>
                <a:gd name="connsiteY272" fmla="*/ 2289513 h 2663313"/>
                <a:gd name="connsiteX273" fmla="*/ 1025654 w 1793041"/>
                <a:gd name="connsiteY273" fmla="*/ 2288223 h 2663313"/>
                <a:gd name="connsiteX274" fmla="*/ 1027493 w 1793041"/>
                <a:gd name="connsiteY274" fmla="*/ 2267998 h 2663313"/>
                <a:gd name="connsiteX275" fmla="*/ 1033969 w 1793041"/>
                <a:gd name="connsiteY275" fmla="*/ 2249007 h 2663313"/>
                <a:gd name="connsiteX276" fmla="*/ 1026121 w 1793041"/>
                <a:gd name="connsiteY276" fmla="*/ 2243710 h 2663313"/>
                <a:gd name="connsiteX277" fmla="*/ 1019232 w 1793041"/>
                <a:gd name="connsiteY277" fmla="*/ 2270687 h 2663313"/>
                <a:gd name="connsiteX278" fmla="*/ 1012234 w 1793041"/>
                <a:gd name="connsiteY278" fmla="*/ 2287153 h 2663313"/>
                <a:gd name="connsiteX279" fmla="*/ 998129 w 1793041"/>
                <a:gd name="connsiteY279" fmla="*/ 2294013 h 2663313"/>
                <a:gd name="connsiteX280" fmla="*/ 971509 w 1793041"/>
                <a:gd name="connsiteY280" fmla="*/ 2293547 h 2663313"/>
                <a:gd name="connsiteX281" fmla="*/ 965938 w 1793041"/>
                <a:gd name="connsiteY281" fmla="*/ 2300243 h 2663313"/>
                <a:gd name="connsiteX282" fmla="*/ 962508 w 1793041"/>
                <a:gd name="connsiteY282" fmla="*/ 2317093 h 2663313"/>
                <a:gd name="connsiteX283" fmla="*/ 954906 w 1793041"/>
                <a:gd name="connsiteY283" fmla="*/ 2328948 h 2663313"/>
                <a:gd name="connsiteX284" fmla="*/ 940663 w 1793041"/>
                <a:gd name="connsiteY284" fmla="*/ 2328345 h 2663313"/>
                <a:gd name="connsiteX285" fmla="*/ 931552 w 1793041"/>
                <a:gd name="connsiteY285" fmla="*/ 2334711 h 2663313"/>
                <a:gd name="connsiteX286" fmla="*/ 931881 w 1793041"/>
                <a:gd name="connsiteY286" fmla="*/ 2341984 h 2663313"/>
                <a:gd name="connsiteX287" fmla="*/ 940855 w 1793041"/>
                <a:gd name="connsiteY287" fmla="*/ 2347527 h 2663313"/>
                <a:gd name="connsiteX288" fmla="*/ 947003 w 1793041"/>
                <a:gd name="connsiteY288" fmla="*/ 2362017 h 2663313"/>
                <a:gd name="connsiteX289" fmla="*/ 948018 w 1793041"/>
                <a:gd name="connsiteY289" fmla="*/ 2364569 h 2663313"/>
                <a:gd name="connsiteX290" fmla="*/ 939346 w 1793041"/>
                <a:gd name="connsiteY290" fmla="*/ 2385892 h 2663313"/>
                <a:gd name="connsiteX291" fmla="*/ 942392 w 1793041"/>
                <a:gd name="connsiteY291" fmla="*/ 2404801 h 2663313"/>
                <a:gd name="connsiteX292" fmla="*/ 942502 w 1793041"/>
                <a:gd name="connsiteY292" fmla="*/ 2419840 h 2663313"/>
                <a:gd name="connsiteX293" fmla="*/ 940800 w 1793041"/>
                <a:gd name="connsiteY293" fmla="*/ 2425410 h 2663313"/>
                <a:gd name="connsiteX294" fmla="*/ 933226 w 1793041"/>
                <a:gd name="connsiteY294" fmla="*/ 2441794 h 2663313"/>
                <a:gd name="connsiteX295" fmla="*/ 924993 w 1793041"/>
                <a:gd name="connsiteY295" fmla="*/ 2445224 h 2663313"/>
                <a:gd name="connsiteX296" fmla="*/ 923511 w 1793041"/>
                <a:gd name="connsiteY296" fmla="*/ 2459632 h 2663313"/>
                <a:gd name="connsiteX297" fmla="*/ 915278 w 1793041"/>
                <a:gd name="connsiteY297" fmla="*/ 2465697 h 2663313"/>
                <a:gd name="connsiteX298" fmla="*/ 913028 w 1793041"/>
                <a:gd name="connsiteY298" fmla="*/ 2475027 h 2663313"/>
                <a:gd name="connsiteX299" fmla="*/ 905866 w 1793041"/>
                <a:gd name="connsiteY299" fmla="*/ 2484660 h 2663313"/>
                <a:gd name="connsiteX300" fmla="*/ 896480 w 1793041"/>
                <a:gd name="connsiteY300" fmla="*/ 2491027 h 2663313"/>
                <a:gd name="connsiteX301" fmla="*/ 886683 w 1793041"/>
                <a:gd name="connsiteY301" fmla="*/ 2491301 h 2663313"/>
                <a:gd name="connsiteX302" fmla="*/ 889619 w 1793041"/>
                <a:gd name="connsiteY302" fmla="*/ 2502470 h 2663313"/>
                <a:gd name="connsiteX303" fmla="*/ 888192 w 1793041"/>
                <a:gd name="connsiteY303" fmla="*/ 2511774 h 2663313"/>
                <a:gd name="connsiteX304" fmla="*/ 891211 w 1793041"/>
                <a:gd name="connsiteY304" fmla="*/ 2520418 h 2663313"/>
                <a:gd name="connsiteX305" fmla="*/ 893955 w 1793041"/>
                <a:gd name="connsiteY305" fmla="*/ 2539326 h 2663313"/>
                <a:gd name="connsiteX306" fmla="*/ 885887 w 1793041"/>
                <a:gd name="connsiteY306" fmla="*/ 2574096 h 2663313"/>
                <a:gd name="connsiteX307" fmla="*/ 880563 w 1793041"/>
                <a:gd name="connsiteY307" fmla="*/ 2588532 h 2663313"/>
                <a:gd name="connsiteX308" fmla="*/ 875925 w 1793041"/>
                <a:gd name="connsiteY308" fmla="*/ 2612654 h 2663313"/>
                <a:gd name="connsiteX309" fmla="*/ 863988 w 1793041"/>
                <a:gd name="connsiteY309" fmla="*/ 2629120 h 2663313"/>
                <a:gd name="connsiteX310" fmla="*/ 867610 w 1793041"/>
                <a:gd name="connsiteY310" fmla="*/ 2641743 h 2663313"/>
                <a:gd name="connsiteX311" fmla="*/ 867034 w 1793041"/>
                <a:gd name="connsiteY311" fmla="*/ 2650443 h 2663313"/>
                <a:gd name="connsiteX312" fmla="*/ 853202 w 1793041"/>
                <a:gd name="connsiteY312" fmla="*/ 2662161 h 2663313"/>
                <a:gd name="connsiteX313" fmla="*/ 840606 w 1793041"/>
                <a:gd name="connsiteY313" fmla="*/ 2663314 h 2663313"/>
                <a:gd name="connsiteX314" fmla="*/ 807098 w 1793041"/>
                <a:gd name="connsiteY314" fmla="*/ 2647040 h 2663313"/>
                <a:gd name="connsiteX315" fmla="*/ 804272 w 1793041"/>
                <a:gd name="connsiteY315" fmla="*/ 2640399 h 2663313"/>
                <a:gd name="connsiteX316" fmla="*/ 803503 w 1793041"/>
                <a:gd name="connsiteY316" fmla="*/ 2624948 h 2663313"/>
                <a:gd name="connsiteX317" fmla="*/ 797987 w 1793041"/>
                <a:gd name="connsiteY317" fmla="*/ 2621573 h 2663313"/>
                <a:gd name="connsiteX318" fmla="*/ 788163 w 1793041"/>
                <a:gd name="connsiteY318" fmla="*/ 2622067 h 2663313"/>
                <a:gd name="connsiteX319" fmla="*/ 779024 w 1793041"/>
                <a:gd name="connsiteY319" fmla="*/ 2614822 h 2663313"/>
                <a:gd name="connsiteX320" fmla="*/ 769666 w 1793041"/>
                <a:gd name="connsiteY320" fmla="*/ 2611995 h 2663313"/>
                <a:gd name="connsiteX321" fmla="*/ 766290 w 1793041"/>
                <a:gd name="connsiteY321" fmla="*/ 2602363 h 2663313"/>
                <a:gd name="connsiteX322" fmla="*/ 757152 w 1793041"/>
                <a:gd name="connsiteY322" fmla="*/ 2606479 h 2663313"/>
                <a:gd name="connsiteX323" fmla="*/ 752953 w 1793041"/>
                <a:gd name="connsiteY323" fmla="*/ 2606095 h 2663313"/>
                <a:gd name="connsiteX324" fmla="*/ 743458 w 1793041"/>
                <a:gd name="connsiteY324" fmla="*/ 2605519 h 2663313"/>
                <a:gd name="connsiteX325" fmla="*/ 729270 w 1793041"/>
                <a:gd name="connsiteY325" fmla="*/ 2610678 h 2663313"/>
                <a:gd name="connsiteX326" fmla="*/ 722519 w 1793041"/>
                <a:gd name="connsiteY326" fmla="*/ 2607879 h 2663313"/>
                <a:gd name="connsiteX327" fmla="*/ 706986 w 1793041"/>
                <a:gd name="connsiteY327" fmla="*/ 2576402 h 2663313"/>
                <a:gd name="connsiteX328" fmla="*/ 693621 w 1793041"/>
                <a:gd name="connsiteY328" fmla="*/ 2563531 h 2663313"/>
                <a:gd name="connsiteX329" fmla="*/ 690328 w 1793041"/>
                <a:gd name="connsiteY329" fmla="*/ 2552142 h 2663313"/>
                <a:gd name="connsiteX330" fmla="*/ 684785 w 1793041"/>
                <a:gd name="connsiteY330" fmla="*/ 2548218 h 2663313"/>
                <a:gd name="connsiteX331" fmla="*/ 680613 w 1793041"/>
                <a:gd name="connsiteY331" fmla="*/ 2524123 h 2663313"/>
                <a:gd name="connsiteX332" fmla="*/ 664806 w 1793041"/>
                <a:gd name="connsiteY332" fmla="*/ 2511609 h 2663313"/>
                <a:gd name="connsiteX333" fmla="*/ 653061 w 1793041"/>
                <a:gd name="connsiteY333" fmla="*/ 2480379 h 2663313"/>
                <a:gd name="connsiteX334" fmla="*/ 635579 w 1793041"/>
                <a:gd name="connsiteY334" fmla="*/ 2457491 h 2663313"/>
                <a:gd name="connsiteX335" fmla="*/ 624767 w 1793041"/>
                <a:gd name="connsiteY335" fmla="*/ 2430762 h 2663313"/>
                <a:gd name="connsiteX336" fmla="*/ 623093 w 1793041"/>
                <a:gd name="connsiteY336" fmla="*/ 2405789 h 2663313"/>
                <a:gd name="connsiteX337" fmla="*/ 619909 w 1793041"/>
                <a:gd name="connsiteY337" fmla="*/ 2391875 h 2663313"/>
                <a:gd name="connsiteX338" fmla="*/ 627539 w 1793041"/>
                <a:gd name="connsiteY338" fmla="*/ 2375876 h 2663313"/>
                <a:gd name="connsiteX339" fmla="*/ 627895 w 1793041"/>
                <a:gd name="connsiteY339" fmla="*/ 2386387 h 2663313"/>
                <a:gd name="connsiteX340" fmla="*/ 629542 w 1793041"/>
                <a:gd name="connsiteY340" fmla="*/ 2387951 h 2663313"/>
                <a:gd name="connsiteX341" fmla="*/ 642221 w 1793041"/>
                <a:gd name="connsiteY341" fmla="*/ 2377056 h 2663313"/>
                <a:gd name="connsiteX342" fmla="*/ 642934 w 1793041"/>
                <a:gd name="connsiteY342" fmla="*/ 2372473 h 2663313"/>
                <a:gd name="connsiteX343" fmla="*/ 639723 w 1793041"/>
                <a:gd name="connsiteY343" fmla="*/ 2368247 h 2663313"/>
                <a:gd name="connsiteX344" fmla="*/ 644937 w 1793041"/>
                <a:gd name="connsiteY344" fmla="*/ 2362017 h 2663313"/>
                <a:gd name="connsiteX345" fmla="*/ 649877 w 1793041"/>
                <a:gd name="connsiteY345" fmla="*/ 2358998 h 2663313"/>
                <a:gd name="connsiteX346" fmla="*/ 654762 w 1793041"/>
                <a:gd name="connsiteY346" fmla="*/ 2362017 h 2663313"/>
                <a:gd name="connsiteX347" fmla="*/ 661980 w 1793041"/>
                <a:gd name="connsiteY347" fmla="*/ 2366463 h 2663313"/>
                <a:gd name="connsiteX348" fmla="*/ 661294 w 1793041"/>
                <a:gd name="connsiteY348" fmla="*/ 2362017 h 2663313"/>
                <a:gd name="connsiteX349" fmla="*/ 660855 w 1793041"/>
                <a:gd name="connsiteY349" fmla="*/ 2359108 h 2663313"/>
                <a:gd name="connsiteX350" fmla="*/ 648697 w 1793041"/>
                <a:gd name="connsiteY350" fmla="*/ 2349860 h 2663313"/>
                <a:gd name="connsiteX351" fmla="*/ 636348 w 1793041"/>
                <a:gd name="connsiteY351" fmla="*/ 2358779 h 2663313"/>
                <a:gd name="connsiteX352" fmla="*/ 629816 w 1793041"/>
                <a:gd name="connsiteY352" fmla="*/ 2358038 h 2663313"/>
                <a:gd name="connsiteX353" fmla="*/ 627621 w 1793041"/>
                <a:gd name="connsiteY353" fmla="*/ 2362045 h 2663313"/>
                <a:gd name="connsiteX354" fmla="*/ 614942 w 1793041"/>
                <a:gd name="connsiteY354" fmla="*/ 2384932 h 2663313"/>
                <a:gd name="connsiteX355" fmla="*/ 606984 w 1793041"/>
                <a:gd name="connsiteY355" fmla="*/ 2391683 h 2663313"/>
                <a:gd name="connsiteX356" fmla="*/ 603993 w 1793041"/>
                <a:gd name="connsiteY356" fmla="*/ 2381090 h 2663313"/>
                <a:gd name="connsiteX357" fmla="*/ 604651 w 1793041"/>
                <a:gd name="connsiteY357" fmla="*/ 2362045 h 2663313"/>
                <a:gd name="connsiteX358" fmla="*/ 604761 w 1793041"/>
                <a:gd name="connsiteY358" fmla="*/ 2348131 h 2663313"/>
                <a:gd name="connsiteX359" fmla="*/ 601523 w 1793041"/>
                <a:gd name="connsiteY359" fmla="*/ 2327412 h 2663313"/>
                <a:gd name="connsiteX360" fmla="*/ 588240 w 1793041"/>
                <a:gd name="connsiteY360" fmla="*/ 2308586 h 2663313"/>
                <a:gd name="connsiteX361" fmla="*/ 585276 w 1793041"/>
                <a:gd name="connsiteY361" fmla="*/ 2314898 h 2663313"/>
                <a:gd name="connsiteX362" fmla="*/ 585002 w 1793041"/>
                <a:gd name="connsiteY362" fmla="*/ 2305704 h 2663313"/>
                <a:gd name="connsiteX363" fmla="*/ 574875 w 1793041"/>
                <a:gd name="connsiteY363" fmla="*/ 2297663 h 2663313"/>
                <a:gd name="connsiteX364" fmla="*/ 562142 w 1793041"/>
                <a:gd name="connsiteY364" fmla="*/ 2255648 h 2663313"/>
                <a:gd name="connsiteX365" fmla="*/ 560468 w 1793041"/>
                <a:gd name="connsiteY365" fmla="*/ 2231004 h 2663313"/>
                <a:gd name="connsiteX366" fmla="*/ 564502 w 1793041"/>
                <a:gd name="connsiteY366" fmla="*/ 2208391 h 2663313"/>
                <a:gd name="connsiteX367" fmla="*/ 553964 w 1793041"/>
                <a:gd name="connsiteY367" fmla="*/ 2181772 h 2663313"/>
                <a:gd name="connsiteX368" fmla="*/ 556955 w 1793041"/>
                <a:gd name="connsiteY368" fmla="*/ 2137836 h 2663313"/>
                <a:gd name="connsiteX369" fmla="*/ 564337 w 1793041"/>
                <a:gd name="connsiteY369" fmla="*/ 2110200 h 2663313"/>
                <a:gd name="connsiteX370" fmla="*/ 570457 w 1793041"/>
                <a:gd name="connsiteY370" fmla="*/ 2113795 h 2663313"/>
                <a:gd name="connsiteX371" fmla="*/ 581929 w 1793041"/>
                <a:gd name="connsiteY371" fmla="*/ 2098537 h 2663313"/>
                <a:gd name="connsiteX372" fmla="*/ 580968 w 1793041"/>
                <a:gd name="connsiteY372" fmla="*/ 2090880 h 2663313"/>
                <a:gd name="connsiteX373" fmla="*/ 574903 w 1793041"/>
                <a:gd name="connsiteY373" fmla="*/ 2083059 h 2663313"/>
                <a:gd name="connsiteX374" fmla="*/ 579184 w 1793041"/>
                <a:gd name="connsiteY374" fmla="*/ 2073976 h 2663313"/>
                <a:gd name="connsiteX375" fmla="*/ 578992 w 1793041"/>
                <a:gd name="connsiteY375" fmla="*/ 2063849 h 2663313"/>
                <a:gd name="connsiteX376" fmla="*/ 580693 w 1793041"/>
                <a:gd name="connsiteY376" fmla="*/ 2058909 h 2663313"/>
                <a:gd name="connsiteX377" fmla="*/ 596775 w 1793041"/>
                <a:gd name="connsiteY377" fmla="*/ 2057702 h 2663313"/>
                <a:gd name="connsiteX378" fmla="*/ 616369 w 1793041"/>
                <a:gd name="connsiteY378" fmla="*/ 2069256 h 2663313"/>
                <a:gd name="connsiteX379" fmla="*/ 627978 w 1793041"/>
                <a:gd name="connsiteY379" fmla="*/ 2068432 h 2663313"/>
                <a:gd name="connsiteX380" fmla="*/ 634125 w 1793041"/>
                <a:gd name="connsiteY380" fmla="*/ 2061736 h 2663313"/>
                <a:gd name="connsiteX381" fmla="*/ 635332 w 1793041"/>
                <a:gd name="connsiteY381" fmla="*/ 2056275 h 2663313"/>
                <a:gd name="connsiteX382" fmla="*/ 632917 w 1793041"/>
                <a:gd name="connsiteY382" fmla="*/ 2045572 h 2663313"/>
                <a:gd name="connsiteX383" fmla="*/ 635470 w 1793041"/>
                <a:gd name="connsiteY383" fmla="*/ 2031329 h 2663313"/>
                <a:gd name="connsiteX384" fmla="*/ 653033 w 1793041"/>
                <a:gd name="connsiteY384" fmla="*/ 2018102 h 2663313"/>
                <a:gd name="connsiteX385" fmla="*/ 650865 w 1793041"/>
                <a:gd name="connsiteY385" fmla="*/ 2013875 h 2663313"/>
                <a:gd name="connsiteX386" fmla="*/ 641809 w 1793041"/>
                <a:gd name="connsiteY386" fmla="*/ 2014918 h 2663313"/>
                <a:gd name="connsiteX387" fmla="*/ 638763 w 1793041"/>
                <a:gd name="connsiteY387" fmla="*/ 2009402 h 2663313"/>
                <a:gd name="connsiteX388" fmla="*/ 643099 w 1793041"/>
                <a:gd name="connsiteY388" fmla="*/ 1982947 h 2663313"/>
                <a:gd name="connsiteX389" fmla="*/ 651277 w 1793041"/>
                <a:gd name="connsiteY389" fmla="*/ 1968046 h 2663313"/>
                <a:gd name="connsiteX390" fmla="*/ 651908 w 1793041"/>
                <a:gd name="connsiteY390" fmla="*/ 1959484 h 2663313"/>
                <a:gd name="connsiteX391" fmla="*/ 646859 w 1793041"/>
                <a:gd name="connsiteY391" fmla="*/ 1951086 h 2663313"/>
                <a:gd name="connsiteX392" fmla="*/ 599739 w 1793041"/>
                <a:gd name="connsiteY392" fmla="*/ 1943704 h 2663313"/>
                <a:gd name="connsiteX393" fmla="*/ 577126 w 1793041"/>
                <a:gd name="connsiteY393" fmla="*/ 1923753 h 2663313"/>
                <a:gd name="connsiteX394" fmla="*/ 549985 w 1793041"/>
                <a:gd name="connsiteY394" fmla="*/ 1911513 h 2663313"/>
                <a:gd name="connsiteX395" fmla="*/ 539804 w 1793041"/>
                <a:gd name="connsiteY395" fmla="*/ 1890794 h 2663313"/>
                <a:gd name="connsiteX396" fmla="*/ 550314 w 1793041"/>
                <a:gd name="connsiteY396" fmla="*/ 1878856 h 2663313"/>
                <a:gd name="connsiteX397" fmla="*/ 578800 w 1793041"/>
                <a:gd name="connsiteY397" fmla="*/ 1883412 h 2663313"/>
                <a:gd name="connsiteX398" fmla="*/ 614586 w 1793041"/>
                <a:gd name="connsiteY398" fmla="*/ 1906930 h 2663313"/>
                <a:gd name="connsiteX399" fmla="*/ 617467 w 1793041"/>
                <a:gd name="connsiteY399" fmla="*/ 1906930 h 2663313"/>
                <a:gd name="connsiteX400" fmla="*/ 619882 w 1793041"/>
                <a:gd name="connsiteY400" fmla="*/ 1900124 h 2663313"/>
                <a:gd name="connsiteX401" fmla="*/ 625453 w 1793041"/>
                <a:gd name="connsiteY401" fmla="*/ 1909373 h 2663313"/>
                <a:gd name="connsiteX402" fmla="*/ 637583 w 1793041"/>
                <a:gd name="connsiteY402" fmla="*/ 1910278 h 2663313"/>
                <a:gd name="connsiteX403" fmla="*/ 634811 w 1793041"/>
                <a:gd name="connsiteY403" fmla="*/ 1899027 h 2663313"/>
                <a:gd name="connsiteX404" fmla="*/ 634646 w 1793041"/>
                <a:gd name="connsiteY404" fmla="*/ 1877539 h 2663313"/>
                <a:gd name="connsiteX405" fmla="*/ 627319 w 1793041"/>
                <a:gd name="connsiteY405" fmla="*/ 1868236 h 2663313"/>
                <a:gd name="connsiteX406" fmla="*/ 623724 w 1793041"/>
                <a:gd name="connsiteY406" fmla="*/ 1854926 h 2663313"/>
                <a:gd name="connsiteX407" fmla="*/ 613214 w 1793041"/>
                <a:gd name="connsiteY407" fmla="*/ 1847599 h 2663313"/>
                <a:gd name="connsiteX408" fmla="*/ 610250 w 1793041"/>
                <a:gd name="connsiteY408" fmla="*/ 1837609 h 2663313"/>
                <a:gd name="connsiteX409" fmla="*/ 603965 w 1793041"/>
                <a:gd name="connsiteY409" fmla="*/ 1835524 h 2663313"/>
                <a:gd name="connsiteX410" fmla="*/ 603252 w 1793041"/>
                <a:gd name="connsiteY410" fmla="*/ 1826467 h 2663313"/>
                <a:gd name="connsiteX411" fmla="*/ 598010 w 1793041"/>
                <a:gd name="connsiteY411" fmla="*/ 1828004 h 2663313"/>
                <a:gd name="connsiteX412" fmla="*/ 586402 w 1793041"/>
                <a:gd name="connsiteY412" fmla="*/ 1843372 h 2663313"/>
                <a:gd name="connsiteX413" fmla="*/ 580501 w 1793041"/>
                <a:gd name="connsiteY413" fmla="*/ 1842521 h 2663313"/>
                <a:gd name="connsiteX414" fmla="*/ 577702 w 1793041"/>
                <a:gd name="connsiteY414" fmla="*/ 1836292 h 2663313"/>
                <a:gd name="connsiteX415" fmla="*/ 579267 w 1793041"/>
                <a:gd name="connsiteY415" fmla="*/ 1827016 h 2663313"/>
                <a:gd name="connsiteX416" fmla="*/ 583575 w 1793041"/>
                <a:gd name="connsiteY416" fmla="*/ 1819963 h 2663313"/>
                <a:gd name="connsiteX417" fmla="*/ 604706 w 1793041"/>
                <a:gd name="connsiteY417" fmla="*/ 1808273 h 2663313"/>
                <a:gd name="connsiteX418" fmla="*/ 606215 w 1793041"/>
                <a:gd name="connsiteY418" fmla="*/ 1802345 h 2663313"/>
                <a:gd name="connsiteX419" fmla="*/ 589311 w 1793041"/>
                <a:gd name="connsiteY419" fmla="*/ 1800479 h 2663313"/>
                <a:gd name="connsiteX420" fmla="*/ 570814 w 1793041"/>
                <a:gd name="connsiteY420" fmla="*/ 1806379 h 2663313"/>
                <a:gd name="connsiteX421" fmla="*/ 569305 w 1793041"/>
                <a:gd name="connsiteY421" fmla="*/ 1799765 h 2663313"/>
                <a:gd name="connsiteX422" fmla="*/ 572515 w 1793041"/>
                <a:gd name="connsiteY422" fmla="*/ 1784809 h 2663313"/>
                <a:gd name="connsiteX423" fmla="*/ 566204 w 1793041"/>
                <a:gd name="connsiteY423" fmla="*/ 1776000 h 2663313"/>
                <a:gd name="connsiteX424" fmla="*/ 544880 w 1793041"/>
                <a:gd name="connsiteY424" fmla="*/ 1819716 h 2663313"/>
                <a:gd name="connsiteX425" fmla="*/ 525972 w 1793041"/>
                <a:gd name="connsiteY425" fmla="*/ 1825452 h 2663313"/>
                <a:gd name="connsiteX426" fmla="*/ 504731 w 1793041"/>
                <a:gd name="connsiteY426" fmla="*/ 1811401 h 2663313"/>
                <a:gd name="connsiteX427" fmla="*/ 501987 w 1793041"/>
                <a:gd name="connsiteY427" fmla="*/ 1796198 h 2663313"/>
                <a:gd name="connsiteX428" fmla="*/ 505884 w 1793041"/>
                <a:gd name="connsiteY428" fmla="*/ 1782696 h 2663313"/>
                <a:gd name="connsiteX429" fmla="*/ 501219 w 1793041"/>
                <a:gd name="connsiteY429" fmla="*/ 1784480 h 2663313"/>
                <a:gd name="connsiteX430" fmla="*/ 498749 w 1793041"/>
                <a:gd name="connsiteY430" fmla="*/ 1779924 h 2663313"/>
                <a:gd name="connsiteX431" fmla="*/ 507338 w 1793041"/>
                <a:gd name="connsiteY431" fmla="*/ 1774847 h 2663313"/>
                <a:gd name="connsiteX432" fmla="*/ 508628 w 1793041"/>
                <a:gd name="connsiteY432" fmla="*/ 1762580 h 2663313"/>
                <a:gd name="connsiteX433" fmla="*/ 513102 w 1793041"/>
                <a:gd name="connsiteY433" fmla="*/ 1748145 h 2663313"/>
                <a:gd name="connsiteX434" fmla="*/ 507009 w 1793041"/>
                <a:gd name="connsiteY434" fmla="*/ 1744632 h 2663313"/>
                <a:gd name="connsiteX435" fmla="*/ 506131 w 1793041"/>
                <a:gd name="connsiteY435" fmla="*/ 1712387 h 2663313"/>
                <a:gd name="connsiteX436" fmla="*/ 493452 w 1793041"/>
                <a:gd name="connsiteY436" fmla="*/ 1711838 h 2663313"/>
                <a:gd name="connsiteX437" fmla="*/ 489638 w 1793041"/>
                <a:gd name="connsiteY437" fmla="*/ 1696635 h 2663313"/>
                <a:gd name="connsiteX438" fmla="*/ 499627 w 1793041"/>
                <a:gd name="connsiteY438" fmla="*/ 1695043 h 2663313"/>
                <a:gd name="connsiteX439" fmla="*/ 508683 w 1793041"/>
                <a:gd name="connsiteY439" fmla="*/ 1685795 h 2663313"/>
                <a:gd name="connsiteX440" fmla="*/ 522404 w 1793041"/>
                <a:gd name="connsiteY440" fmla="*/ 1686206 h 2663313"/>
                <a:gd name="connsiteX441" fmla="*/ 525314 w 1793041"/>
                <a:gd name="connsiteY441" fmla="*/ 1678934 h 2663313"/>
                <a:gd name="connsiteX442" fmla="*/ 504869 w 1793041"/>
                <a:gd name="connsiteY442" fmla="*/ 1668917 h 2663313"/>
                <a:gd name="connsiteX443" fmla="*/ 504237 w 1793041"/>
                <a:gd name="connsiteY443" fmla="*/ 1660410 h 2663313"/>
                <a:gd name="connsiteX444" fmla="*/ 506927 w 1793041"/>
                <a:gd name="connsiteY444" fmla="*/ 1638538 h 2663313"/>
                <a:gd name="connsiteX445" fmla="*/ 501301 w 1793041"/>
                <a:gd name="connsiteY445" fmla="*/ 1623307 h 2663313"/>
                <a:gd name="connsiteX446" fmla="*/ 495648 w 1793041"/>
                <a:gd name="connsiteY446" fmla="*/ 1626765 h 2663313"/>
                <a:gd name="connsiteX447" fmla="*/ 492327 w 1793041"/>
                <a:gd name="connsiteY447" fmla="*/ 1622127 h 2663313"/>
                <a:gd name="connsiteX448" fmla="*/ 491723 w 1793041"/>
                <a:gd name="connsiteY448" fmla="*/ 1614059 h 2663313"/>
                <a:gd name="connsiteX449" fmla="*/ 495126 w 1793041"/>
                <a:gd name="connsiteY449" fmla="*/ 1620288 h 2663313"/>
                <a:gd name="connsiteX450" fmla="*/ 497981 w 1793041"/>
                <a:gd name="connsiteY450" fmla="*/ 1614498 h 2663313"/>
                <a:gd name="connsiteX451" fmla="*/ 494605 w 1793041"/>
                <a:gd name="connsiteY451" fmla="*/ 1587220 h 2663313"/>
                <a:gd name="connsiteX452" fmla="*/ 483930 w 1793041"/>
                <a:gd name="connsiteY452" fmla="*/ 1546851 h 2663313"/>
                <a:gd name="connsiteX453" fmla="*/ 476932 w 1793041"/>
                <a:gd name="connsiteY453" fmla="*/ 1539688 h 2663313"/>
                <a:gd name="connsiteX454" fmla="*/ 477233 w 1793041"/>
                <a:gd name="connsiteY454" fmla="*/ 1526488 h 2663313"/>
                <a:gd name="connsiteX455" fmla="*/ 471662 w 1793041"/>
                <a:gd name="connsiteY455" fmla="*/ 1515539 h 2663313"/>
                <a:gd name="connsiteX456" fmla="*/ 474791 w 1793041"/>
                <a:gd name="connsiteY456" fmla="*/ 1510489 h 2663313"/>
                <a:gd name="connsiteX457" fmla="*/ 474846 w 1793041"/>
                <a:gd name="connsiteY457" fmla="*/ 1504891 h 2663313"/>
                <a:gd name="connsiteX458" fmla="*/ 464445 w 1793041"/>
                <a:gd name="connsiteY458" fmla="*/ 1490648 h 2663313"/>
                <a:gd name="connsiteX459" fmla="*/ 459286 w 1793041"/>
                <a:gd name="connsiteY459" fmla="*/ 1471849 h 2663313"/>
                <a:gd name="connsiteX460" fmla="*/ 432337 w 1793041"/>
                <a:gd name="connsiteY460" fmla="*/ 1446163 h 2663313"/>
                <a:gd name="connsiteX461" fmla="*/ 424653 w 1793041"/>
                <a:gd name="connsiteY461" fmla="*/ 1422425 h 2663313"/>
                <a:gd name="connsiteX462" fmla="*/ 422101 w 1793041"/>
                <a:gd name="connsiteY462" fmla="*/ 1393307 h 2663313"/>
                <a:gd name="connsiteX463" fmla="*/ 414416 w 1793041"/>
                <a:gd name="connsiteY463" fmla="*/ 1376924 h 2663313"/>
                <a:gd name="connsiteX464" fmla="*/ 342516 w 1793041"/>
                <a:gd name="connsiteY464" fmla="*/ 1322971 h 2663313"/>
                <a:gd name="connsiteX465" fmla="*/ 317872 w 1793041"/>
                <a:gd name="connsiteY465" fmla="*/ 1321242 h 2663313"/>
                <a:gd name="connsiteX466" fmla="*/ 277641 w 1793041"/>
                <a:gd name="connsiteY466" fmla="*/ 1299782 h 2663313"/>
                <a:gd name="connsiteX467" fmla="*/ 257717 w 1793041"/>
                <a:gd name="connsiteY467" fmla="*/ 1323273 h 2663313"/>
                <a:gd name="connsiteX468" fmla="*/ 244901 w 1793041"/>
                <a:gd name="connsiteY468" fmla="*/ 1306094 h 2663313"/>
                <a:gd name="connsiteX469" fmla="*/ 226926 w 1793041"/>
                <a:gd name="connsiteY469" fmla="*/ 1326209 h 2663313"/>
                <a:gd name="connsiteX470" fmla="*/ 213973 w 1793041"/>
                <a:gd name="connsiteY470" fmla="*/ 1331204 h 2663313"/>
                <a:gd name="connsiteX471" fmla="*/ 207716 w 1793041"/>
                <a:gd name="connsiteY471" fmla="*/ 1327993 h 2663313"/>
                <a:gd name="connsiteX472" fmla="*/ 200334 w 1793041"/>
                <a:gd name="connsiteY472" fmla="*/ 1309744 h 2663313"/>
                <a:gd name="connsiteX473" fmla="*/ 183374 w 1793041"/>
                <a:gd name="connsiteY473" fmla="*/ 1320968 h 2663313"/>
                <a:gd name="connsiteX474" fmla="*/ 173989 w 1793041"/>
                <a:gd name="connsiteY474" fmla="*/ 1317922 h 2663313"/>
                <a:gd name="connsiteX475" fmla="*/ 173001 w 1793041"/>
                <a:gd name="connsiteY475" fmla="*/ 1322312 h 2663313"/>
                <a:gd name="connsiteX476" fmla="*/ 175278 w 1793041"/>
                <a:gd name="connsiteY476" fmla="*/ 1339437 h 2663313"/>
                <a:gd name="connsiteX477" fmla="*/ 173193 w 1793041"/>
                <a:gd name="connsiteY477" fmla="*/ 1345365 h 2663313"/>
                <a:gd name="connsiteX478" fmla="*/ 128351 w 1793041"/>
                <a:gd name="connsiteY478" fmla="*/ 1327938 h 2663313"/>
                <a:gd name="connsiteX479" fmla="*/ 102390 w 1793041"/>
                <a:gd name="connsiteY479" fmla="*/ 1288283 h 2663313"/>
                <a:gd name="connsiteX480" fmla="*/ 111995 w 1793041"/>
                <a:gd name="connsiteY480" fmla="*/ 1272009 h 2663313"/>
                <a:gd name="connsiteX481" fmla="*/ 132248 w 1793041"/>
                <a:gd name="connsiteY481" fmla="*/ 1263447 h 2663313"/>
                <a:gd name="connsiteX482" fmla="*/ 132248 w 1793041"/>
                <a:gd name="connsiteY482" fmla="*/ 1255653 h 2663313"/>
                <a:gd name="connsiteX483" fmla="*/ 99261 w 1793041"/>
                <a:gd name="connsiteY483" fmla="*/ 1253897 h 2663313"/>
                <a:gd name="connsiteX484" fmla="*/ 85403 w 1793041"/>
                <a:gd name="connsiteY484" fmla="*/ 1242838 h 2663313"/>
                <a:gd name="connsiteX485" fmla="*/ 78267 w 1793041"/>
                <a:gd name="connsiteY485" fmla="*/ 1227552 h 2663313"/>
                <a:gd name="connsiteX486" fmla="*/ 61527 w 1793041"/>
                <a:gd name="connsiteY486" fmla="*/ 1233836 h 2663313"/>
                <a:gd name="connsiteX487" fmla="*/ 50248 w 1793041"/>
                <a:gd name="connsiteY487" fmla="*/ 1206421 h 2663313"/>
                <a:gd name="connsiteX488" fmla="*/ 59414 w 1793041"/>
                <a:gd name="connsiteY488" fmla="*/ 1189241 h 2663313"/>
                <a:gd name="connsiteX489" fmla="*/ 109415 w 1793041"/>
                <a:gd name="connsiteY489" fmla="*/ 1187320 h 2663313"/>
                <a:gd name="connsiteX490" fmla="*/ 128763 w 1793041"/>
                <a:gd name="connsiteY490" fmla="*/ 1166656 h 2663313"/>
                <a:gd name="connsiteX491" fmla="*/ 175580 w 1793041"/>
                <a:gd name="connsiteY491" fmla="*/ 1169867 h 2663313"/>
                <a:gd name="connsiteX492" fmla="*/ 188177 w 1793041"/>
                <a:gd name="connsiteY492" fmla="*/ 1139734 h 2663313"/>
                <a:gd name="connsiteX493" fmla="*/ 175471 w 1793041"/>
                <a:gd name="connsiteY493" fmla="*/ 1123543 h 2663313"/>
                <a:gd name="connsiteX494" fmla="*/ 138011 w 1793041"/>
                <a:gd name="connsiteY494" fmla="*/ 1142753 h 2663313"/>
                <a:gd name="connsiteX495" fmla="*/ 120941 w 1793041"/>
                <a:gd name="connsiteY495" fmla="*/ 1132627 h 2663313"/>
                <a:gd name="connsiteX496" fmla="*/ 111226 w 1793041"/>
                <a:gd name="connsiteY496" fmla="*/ 1144866 h 2663313"/>
                <a:gd name="connsiteX497" fmla="*/ 84470 w 1793041"/>
                <a:gd name="connsiteY497" fmla="*/ 1141902 h 2663313"/>
                <a:gd name="connsiteX498" fmla="*/ 78322 w 1793041"/>
                <a:gd name="connsiteY498" fmla="*/ 1122528 h 2663313"/>
                <a:gd name="connsiteX499" fmla="*/ 64546 w 1793041"/>
                <a:gd name="connsiteY499" fmla="*/ 1105925 h 2663313"/>
                <a:gd name="connsiteX500" fmla="*/ 44183 w 1793041"/>
                <a:gd name="connsiteY500" fmla="*/ 1106364 h 2663313"/>
                <a:gd name="connsiteX501" fmla="*/ 13996 w 1793041"/>
                <a:gd name="connsiteY501" fmla="*/ 1081885 h 2663313"/>
                <a:gd name="connsiteX502" fmla="*/ 1811 w 1793041"/>
                <a:gd name="connsiteY502" fmla="*/ 1060753 h 2663313"/>
                <a:gd name="connsiteX503" fmla="*/ 0 w 1793041"/>
                <a:gd name="connsiteY503" fmla="*/ 1035780 h 2663313"/>
                <a:gd name="connsiteX504" fmla="*/ 15862 w 1793041"/>
                <a:gd name="connsiteY504" fmla="*/ 999501 h 2663313"/>
                <a:gd name="connsiteX505" fmla="*/ 52060 w 1793041"/>
                <a:gd name="connsiteY505" fmla="*/ 988249 h 2663313"/>
                <a:gd name="connsiteX506" fmla="*/ 92977 w 1793041"/>
                <a:gd name="connsiteY506" fmla="*/ 962837 h 2663313"/>
                <a:gd name="connsiteX507" fmla="*/ 111967 w 1793041"/>
                <a:gd name="connsiteY507" fmla="*/ 935174 h 2663313"/>
                <a:gd name="connsiteX508" fmla="*/ 126594 w 1793041"/>
                <a:gd name="connsiteY508" fmla="*/ 923923 h 2663313"/>
                <a:gd name="connsiteX509" fmla="*/ 196958 w 1793041"/>
                <a:gd name="connsiteY509" fmla="*/ 904960 h 2663313"/>
                <a:gd name="connsiteX510" fmla="*/ 217787 w 1793041"/>
                <a:gd name="connsiteY510" fmla="*/ 876913 h 2663313"/>
                <a:gd name="connsiteX511" fmla="*/ 233128 w 1793041"/>
                <a:gd name="connsiteY511" fmla="*/ 836160 h 2663313"/>
                <a:gd name="connsiteX512" fmla="*/ 232222 w 1793041"/>
                <a:gd name="connsiteY512" fmla="*/ 802433 h 2663313"/>
                <a:gd name="connsiteX513" fmla="*/ 236010 w 1793041"/>
                <a:gd name="connsiteY513" fmla="*/ 781933 h 2663313"/>
                <a:gd name="connsiteX514" fmla="*/ 237793 w 1793041"/>
                <a:gd name="connsiteY514" fmla="*/ 755780 h 2663313"/>
                <a:gd name="connsiteX515" fmla="*/ 202063 w 1793041"/>
                <a:gd name="connsiteY515" fmla="*/ 762970 h 2663313"/>
                <a:gd name="connsiteX516" fmla="*/ 174263 w 1793041"/>
                <a:gd name="connsiteY516" fmla="*/ 756081 h 2663313"/>
                <a:gd name="connsiteX517" fmla="*/ 160843 w 1793041"/>
                <a:gd name="connsiteY517" fmla="*/ 740357 h 2663313"/>
                <a:gd name="connsiteX518" fmla="*/ 158209 w 1793041"/>
                <a:gd name="connsiteY518" fmla="*/ 721531 h 2663313"/>
                <a:gd name="connsiteX519" fmla="*/ 179395 w 1793041"/>
                <a:gd name="connsiteY519" fmla="*/ 671749 h 2663313"/>
                <a:gd name="connsiteX520" fmla="*/ 212354 w 1793041"/>
                <a:gd name="connsiteY520" fmla="*/ 636156 h 2663313"/>
                <a:gd name="connsiteX521" fmla="*/ 229259 w 1793041"/>
                <a:gd name="connsiteY521" fmla="*/ 598449 h 2663313"/>
                <a:gd name="connsiteX522" fmla="*/ 244792 w 1793041"/>
                <a:gd name="connsiteY522" fmla="*/ 579047 h 2663313"/>
                <a:gd name="connsiteX523" fmla="*/ 261669 w 1793041"/>
                <a:gd name="connsiteY523" fmla="*/ 579349 h 2663313"/>
                <a:gd name="connsiteX524" fmla="*/ 274896 w 1793041"/>
                <a:gd name="connsiteY524" fmla="*/ 557312 h 2663313"/>
                <a:gd name="connsiteX525" fmla="*/ 303025 w 1793041"/>
                <a:gd name="connsiteY525" fmla="*/ 567795 h 2663313"/>
                <a:gd name="connsiteX526" fmla="*/ 316665 w 1793041"/>
                <a:gd name="connsiteY526" fmla="*/ 558465 h 2663313"/>
                <a:gd name="connsiteX527" fmla="*/ 325501 w 1793041"/>
                <a:gd name="connsiteY527" fmla="*/ 495401 h 2663313"/>
                <a:gd name="connsiteX528" fmla="*/ 322263 w 1793041"/>
                <a:gd name="connsiteY528" fmla="*/ 447869 h 2663313"/>
                <a:gd name="connsiteX529" fmla="*/ 340211 w 1793041"/>
                <a:gd name="connsiteY529" fmla="*/ 421359 h 2663313"/>
                <a:gd name="connsiteX530" fmla="*/ 377533 w 1793041"/>
                <a:gd name="connsiteY530" fmla="*/ 424598 h 2663313"/>
                <a:gd name="connsiteX531" fmla="*/ 401710 w 1793041"/>
                <a:gd name="connsiteY531" fmla="*/ 462277 h 2663313"/>
                <a:gd name="connsiteX532" fmla="*/ 401985 w 1793041"/>
                <a:gd name="connsiteY532" fmla="*/ 448912 h 2663313"/>
                <a:gd name="connsiteX533" fmla="*/ 389608 w 1793041"/>
                <a:gd name="connsiteY533" fmla="*/ 398417 h 2663313"/>
                <a:gd name="connsiteX534" fmla="*/ 419356 w 1793041"/>
                <a:gd name="connsiteY534" fmla="*/ 360518 h 2663313"/>
                <a:gd name="connsiteX535" fmla="*/ 484506 w 1793041"/>
                <a:gd name="connsiteY535" fmla="*/ 344519 h 2663313"/>
                <a:gd name="connsiteX536" fmla="*/ 510028 w 1793041"/>
                <a:gd name="connsiteY536" fmla="*/ 323278 h 2663313"/>
                <a:gd name="connsiteX537" fmla="*/ 521472 w 1793041"/>
                <a:gd name="connsiteY537" fmla="*/ 336945 h 2663313"/>
                <a:gd name="connsiteX538" fmla="*/ 531571 w 1793041"/>
                <a:gd name="connsiteY538" fmla="*/ 378027 h 2663313"/>
                <a:gd name="connsiteX539" fmla="*/ 533409 w 1793041"/>
                <a:gd name="connsiteY539" fmla="*/ 411425 h 2663313"/>
                <a:gd name="connsiteX540" fmla="*/ 530473 w 1793041"/>
                <a:gd name="connsiteY540" fmla="*/ 450449 h 2663313"/>
                <a:gd name="connsiteX541" fmla="*/ 531433 w 1793041"/>
                <a:gd name="connsiteY541" fmla="*/ 462469 h 2663313"/>
                <a:gd name="connsiteX542" fmla="*/ 546801 w 1793041"/>
                <a:gd name="connsiteY542" fmla="*/ 441256 h 2663313"/>
                <a:gd name="connsiteX543" fmla="*/ 560166 w 1793041"/>
                <a:gd name="connsiteY543" fmla="*/ 404619 h 2663313"/>
                <a:gd name="connsiteX544" fmla="*/ 611622 w 1793041"/>
                <a:gd name="connsiteY544" fmla="*/ 441969 h 2663313"/>
                <a:gd name="connsiteX545" fmla="*/ 630640 w 1793041"/>
                <a:gd name="connsiteY545" fmla="*/ 410876 h 2663313"/>
                <a:gd name="connsiteX546" fmla="*/ 619553 w 1793041"/>
                <a:gd name="connsiteY546" fmla="*/ 345507 h 2663313"/>
                <a:gd name="connsiteX547" fmla="*/ 617714 w 1793041"/>
                <a:gd name="connsiteY547" fmla="*/ 324376 h 2663313"/>
                <a:gd name="connsiteX548" fmla="*/ 618400 w 1793041"/>
                <a:gd name="connsiteY548" fmla="*/ 308349 h 2663313"/>
                <a:gd name="connsiteX549" fmla="*/ 644169 w 1793041"/>
                <a:gd name="connsiteY549" fmla="*/ 294545 h 2663313"/>
                <a:gd name="connsiteX550" fmla="*/ 668401 w 1793041"/>
                <a:gd name="connsiteY550" fmla="*/ 309529 h 2663313"/>
                <a:gd name="connsiteX551" fmla="*/ 690795 w 1793041"/>
                <a:gd name="connsiteY551" fmla="*/ 344876 h 2663313"/>
                <a:gd name="connsiteX552" fmla="*/ 753063 w 1793041"/>
                <a:gd name="connsiteY552" fmla="*/ 410053 h 2663313"/>
                <a:gd name="connsiteX553" fmla="*/ 766922 w 1793041"/>
                <a:gd name="connsiteY553" fmla="*/ 435383 h 2663313"/>
                <a:gd name="connsiteX554" fmla="*/ 789754 w 1793041"/>
                <a:gd name="connsiteY554" fmla="*/ 441640 h 2663313"/>
                <a:gd name="connsiteX555" fmla="*/ 791209 w 1793041"/>
                <a:gd name="connsiteY555" fmla="*/ 437853 h 2663313"/>
                <a:gd name="connsiteX556" fmla="*/ 790495 w 1793041"/>
                <a:gd name="connsiteY556" fmla="*/ 426464 h 2663313"/>
                <a:gd name="connsiteX557" fmla="*/ 778640 w 1793041"/>
                <a:gd name="connsiteY557" fmla="*/ 383625 h 2663313"/>
                <a:gd name="connsiteX558" fmla="*/ 753090 w 1793041"/>
                <a:gd name="connsiteY558" fmla="*/ 351462 h 2663313"/>
                <a:gd name="connsiteX559" fmla="*/ 738189 w 1793041"/>
                <a:gd name="connsiteY559" fmla="*/ 331731 h 2663313"/>
                <a:gd name="connsiteX560" fmla="*/ 731054 w 1793041"/>
                <a:gd name="connsiteY560" fmla="*/ 295094 h 2663313"/>
                <a:gd name="connsiteX561" fmla="*/ 753090 w 1793041"/>
                <a:gd name="connsiteY561" fmla="*/ 266801 h 2663313"/>
                <a:gd name="connsiteX562" fmla="*/ 789425 w 1793041"/>
                <a:gd name="connsiteY562" fmla="*/ 294024 h 2663313"/>
                <a:gd name="connsiteX563" fmla="*/ 812450 w 1793041"/>
                <a:gd name="connsiteY563" fmla="*/ 343065 h 2663313"/>
                <a:gd name="connsiteX564" fmla="*/ 823674 w 1793041"/>
                <a:gd name="connsiteY564" fmla="*/ 350008 h 2663313"/>
                <a:gd name="connsiteX565" fmla="*/ 827461 w 1793041"/>
                <a:gd name="connsiteY565" fmla="*/ 338619 h 2663313"/>
                <a:gd name="connsiteX566" fmla="*/ 823070 w 1793041"/>
                <a:gd name="connsiteY566" fmla="*/ 317707 h 2663313"/>
                <a:gd name="connsiteX567" fmla="*/ 797932 w 1793041"/>
                <a:gd name="connsiteY567" fmla="*/ 255329 h 2663313"/>
                <a:gd name="connsiteX568" fmla="*/ 873620 w 1793041"/>
                <a:gd name="connsiteY568" fmla="*/ 239220 h 2663313"/>
                <a:gd name="connsiteX569" fmla="*/ 892665 w 1793041"/>
                <a:gd name="connsiteY569" fmla="*/ 287575 h 2663313"/>
                <a:gd name="connsiteX570" fmla="*/ 894751 w 1793041"/>
                <a:gd name="connsiteY570" fmla="*/ 254945 h 2663313"/>
                <a:gd name="connsiteX571" fmla="*/ 903780 w 1793041"/>
                <a:gd name="connsiteY571" fmla="*/ 248935 h 2663313"/>
                <a:gd name="connsiteX572" fmla="*/ 925679 w 1793041"/>
                <a:gd name="connsiteY572" fmla="*/ 276845 h 2663313"/>
                <a:gd name="connsiteX573" fmla="*/ 936876 w 1793041"/>
                <a:gd name="connsiteY573" fmla="*/ 275226 h 2663313"/>
                <a:gd name="connsiteX574" fmla="*/ 952216 w 1793041"/>
                <a:gd name="connsiteY574" fmla="*/ 318146 h 2663313"/>
                <a:gd name="connsiteX575" fmla="*/ 951668 w 1793041"/>
                <a:gd name="connsiteY575" fmla="*/ 297811 h 2663313"/>
                <a:gd name="connsiteX576" fmla="*/ 940773 w 1793041"/>
                <a:gd name="connsiteY576" fmla="*/ 250280 h 2663313"/>
                <a:gd name="connsiteX577" fmla="*/ 895821 w 1793041"/>
                <a:gd name="connsiteY577" fmla="*/ 226322 h 2663313"/>
                <a:gd name="connsiteX578" fmla="*/ 803531 w 1793041"/>
                <a:gd name="connsiteY578" fmla="*/ 209884 h 2663313"/>
                <a:gd name="connsiteX579" fmla="*/ 796395 w 1793041"/>
                <a:gd name="connsiteY579" fmla="*/ 196574 h 2663313"/>
                <a:gd name="connsiteX580" fmla="*/ 792416 w 1793041"/>
                <a:gd name="connsiteY580" fmla="*/ 167210 h 2663313"/>
                <a:gd name="connsiteX581" fmla="*/ 804601 w 1793041"/>
                <a:gd name="connsiteY581" fmla="*/ 142210 h 2663313"/>
                <a:gd name="connsiteX582" fmla="*/ 828202 w 1793041"/>
                <a:gd name="connsiteY582" fmla="*/ 142374 h 2663313"/>
                <a:gd name="connsiteX583" fmla="*/ 863905 w 1793041"/>
                <a:gd name="connsiteY583" fmla="*/ 110678 h 2663313"/>
                <a:gd name="connsiteX584" fmla="*/ 887945 w 1793041"/>
                <a:gd name="connsiteY584" fmla="*/ 139246 h 2663313"/>
                <a:gd name="connsiteX585" fmla="*/ 950268 w 1793041"/>
                <a:gd name="connsiteY585" fmla="*/ 144679 h 2663313"/>
                <a:gd name="connsiteX586" fmla="*/ 953726 w 1793041"/>
                <a:gd name="connsiteY586" fmla="*/ 154120 h 2663313"/>
                <a:gd name="connsiteX587" fmla="*/ 955016 w 1793041"/>
                <a:gd name="connsiteY587" fmla="*/ 182770 h 2663313"/>
                <a:gd name="connsiteX588" fmla="*/ 979687 w 1793041"/>
                <a:gd name="connsiteY588" fmla="*/ 211777 h 2663313"/>
                <a:gd name="connsiteX589" fmla="*/ 980593 w 1793041"/>
                <a:gd name="connsiteY589" fmla="*/ 202831 h 2663313"/>
                <a:gd name="connsiteX590" fmla="*/ 976970 w 1793041"/>
                <a:gd name="connsiteY590" fmla="*/ 179505 h 2663313"/>
                <a:gd name="connsiteX591" fmla="*/ 978809 w 1793041"/>
                <a:gd name="connsiteY591" fmla="*/ 136254 h 2663313"/>
                <a:gd name="connsiteX592" fmla="*/ 975077 w 1793041"/>
                <a:gd name="connsiteY592" fmla="*/ 99097 h 2663313"/>
                <a:gd name="connsiteX593" fmla="*/ 974583 w 1793041"/>
                <a:gd name="connsiteY593" fmla="*/ 72861 h 2663313"/>
                <a:gd name="connsiteX594" fmla="*/ 991103 w 1793041"/>
                <a:gd name="connsiteY594" fmla="*/ 59743 h 2663313"/>
                <a:gd name="connsiteX595" fmla="*/ 1001641 w 1793041"/>
                <a:gd name="connsiteY595" fmla="*/ 35621 h 2663313"/>
                <a:gd name="connsiteX596" fmla="*/ 1026587 w 1793041"/>
                <a:gd name="connsiteY596" fmla="*/ 47421 h 2663313"/>
                <a:gd name="connsiteX597" fmla="*/ 1042202 w 1793041"/>
                <a:gd name="connsiteY597" fmla="*/ 24781 h 2663313"/>
                <a:gd name="connsiteX598" fmla="*/ 1086934 w 1793041"/>
                <a:gd name="connsiteY598" fmla="*/ 11060 h 2663313"/>
                <a:gd name="connsiteX599" fmla="*/ 1112237 w 1793041"/>
                <a:gd name="connsiteY599" fmla="*/ 20637 h 2663313"/>
                <a:gd name="connsiteX600" fmla="*/ 1144592 w 1793041"/>
                <a:gd name="connsiteY600" fmla="*/ 0 h 2663313"/>
                <a:gd name="connsiteX601" fmla="*/ 1250275 w 1793041"/>
                <a:gd name="connsiteY601" fmla="*/ 4912 h 26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Lst>
              <a:rect l="l" t="t" r="r" b="b"/>
              <a:pathLst>
                <a:path w="1793041" h="2663313">
                  <a:moveTo>
                    <a:pt x="1250220" y="5132"/>
                  </a:moveTo>
                  <a:lnTo>
                    <a:pt x="1289518" y="34139"/>
                  </a:lnTo>
                  <a:lnTo>
                    <a:pt x="1311308" y="21954"/>
                  </a:lnTo>
                  <a:lnTo>
                    <a:pt x="1343334" y="33618"/>
                  </a:lnTo>
                  <a:lnTo>
                    <a:pt x="1368691" y="85430"/>
                  </a:lnTo>
                  <a:lnTo>
                    <a:pt x="1347505" y="107522"/>
                  </a:lnTo>
                  <a:lnTo>
                    <a:pt x="1228073" y="115974"/>
                  </a:lnTo>
                  <a:lnTo>
                    <a:pt x="1173791" y="150552"/>
                  </a:lnTo>
                  <a:lnTo>
                    <a:pt x="1190641" y="170393"/>
                  </a:lnTo>
                  <a:lnTo>
                    <a:pt x="1217508" y="140234"/>
                  </a:lnTo>
                  <a:lnTo>
                    <a:pt x="1257273" y="125332"/>
                  </a:lnTo>
                  <a:lnTo>
                    <a:pt x="1344980" y="134333"/>
                  </a:lnTo>
                  <a:lnTo>
                    <a:pt x="1409362" y="112105"/>
                  </a:lnTo>
                  <a:lnTo>
                    <a:pt x="1419625" y="138313"/>
                  </a:lnTo>
                  <a:lnTo>
                    <a:pt x="1420366" y="175086"/>
                  </a:lnTo>
                  <a:lnTo>
                    <a:pt x="1422534" y="184966"/>
                  </a:lnTo>
                  <a:lnTo>
                    <a:pt x="1451706" y="177199"/>
                  </a:lnTo>
                  <a:lnTo>
                    <a:pt x="1465894" y="197178"/>
                  </a:lnTo>
                  <a:lnTo>
                    <a:pt x="1506757" y="204560"/>
                  </a:lnTo>
                  <a:lnTo>
                    <a:pt x="1532828" y="254314"/>
                  </a:lnTo>
                  <a:lnTo>
                    <a:pt x="1503711" y="320232"/>
                  </a:lnTo>
                  <a:lnTo>
                    <a:pt x="1429862" y="351846"/>
                  </a:lnTo>
                  <a:lnTo>
                    <a:pt x="1259002" y="358625"/>
                  </a:lnTo>
                  <a:lnTo>
                    <a:pt x="1179362" y="447458"/>
                  </a:lnTo>
                  <a:lnTo>
                    <a:pt x="1183698" y="458737"/>
                  </a:lnTo>
                  <a:lnTo>
                    <a:pt x="1216849" y="427616"/>
                  </a:lnTo>
                  <a:lnTo>
                    <a:pt x="1255846" y="408077"/>
                  </a:lnTo>
                  <a:lnTo>
                    <a:pt x="1345255" y="385272"/>
                  </a:lnTo>
                  <a:lnTo>
                    <a:pt x="1403708" y="391776"/>
                  </a:lnTo>
                  <a:lnTo>
                    <a:pt x="1410816" y="419521"/>
                  </a:lnTo>
                  <a:lnTo>
                    <a:pt x="1406261" y="441942"/>
                  </a:lnTo>
                  <a:lnTo>
                    <a:pt x="1370310" y="475312"/>
                  </a:lnTo>
                  <a:lnTo>
                    <a:pt x="1365151" y="489446"/>
                  </a:lnTo>
                  <a:lnTo>
                    <a:pt x="1368389" y="501109"/>
                  </a:lnTo>
                  <a:lnTo>
                    <a:pt x="1443062" y="453578"/>
                  </a:lnTo>
                  <a:lnTo>
                    <a:pt x="1454945" y="407199"/>
                  </a:lnTo>
                  <a:lnTo>
                    <a:pt x="1465922" y="389800"/>
                  </a:lnTo>
                  <a:lnTo>
                    <a:pt x="1506784" y="387413"/>
                  </a:lnTo>
                  <a:lnTo>
                    <a:pt x="1516362" y="423665"/>
                  </a:lnTo>
                  <a:lnTo>
                    <a:pt x="1515154" y="461316"/>
                  </a:lnTo>
                  <a:lnTo>
                    <a:pt x="1507855" y="501850"/>
                  </a:lnTo>
                  <a:lnTo>
                    <a:pt x="1459802" y="599986"/>
                  </a:lnTo>
                  <a:lnTo>
                    <a:pt x="1450060" y="629954"/>
                  </a:lnTo>
                  <a:lnTo>
                    <a:pt x="1450416" y="642550"/>
                  </a:lnTo>
                  <a:lnTo>
                    <a:pt x="1471602" y="605804"/>
                  </a:lnTo>
                  <a:lnTo>
                    <a:pt x="1526543" y="535385"/>
                  </a:lnTo>
                  <a:lnTo>
                    <a:pt x="1556209" y="463073"/>
                  </a:lnTo>
                  <a:lnTo>
                    <a:pt x="1566912" y="474352"/>
                  </a:lnTo>
                  <a:lnTo>
                    <a:pt x="1575008" y="509040"/>
                  </a:lnTo>
                  <a:lnTo>
                    <a:pt x="1596084" y="500752"/>
                  </a:lnTo>
                  <a:lnTo>
                    <a:pt x="1624899" y="514227"/>
                  </a:lnTo>
                  <a:lnTo>
                    <a:pt x="1662578" y="454291"/>
                  </a:lnTo>
                  <a:lnTo>
                    <a:pt x="1735494" y="446607"/>
                  </a:lnTo>
                  <a:lnTo>
                    <a:pt x="1782723" y="484451"/>
                  </a:lnTo>
                  <a:lnTo>
                    <a:pt x="1793042" y="516916"/>
                  </a:lnTo>
                  <a:lnTo>
                    <a:pt x="1784068" y="545539"/>
                  </a:lnTo>
                  <a:lnTo>
                    <a:pt x="1748694" y="586237"/>
                  </a:lnTo>
                  <a:lnTo>
                    <a:pt x="1721690" y="599876"/>
                  </a:lnTo>
                  <a:lnTo>
                    <a:pt x="1715515" y="627401"/>
                  </a:lnTo>
                  <a:lnTo>
                    <a:pt x="1708380" y="637775"/>
                  </a:lnTo>
                  <a:lnTo>
                    <a:pt x="1676821" y="657314"/>
                  </a:lnTo>
                  <a:lnTo>
                    <a:pt x="1632473" y="646557"/>
                  </a:lnTo>
                  <a:lnTo>
                    <a:pt x="1608735" y="665904"/>
                  </a:lnTo>
                  <a:lnTo>
                    <a:pt x="1590184" y="667002"/>
                  </a:lnTo>
                  <a:lnTo>
                    <a:pt x="1591199" y="675207"/>
                  </a:lnTo>
                  <a:lnTo>
                    <a:pt x="1611946" y="682864"/>
                  </a:lnTo>
                  <a:lnTo>
                    <a:pt x="1642929" y="678830"/>
                  </a:lnTo>
                  <a:lnTo>
                    <a:pt x="1655635" y="704022"/>
                  </a:lnTo>
                  <a:lnTo>
                    <a:pt x="1641941" y="734731"/>
                  </a:lnTo>
                  <a:lnTo>
                    <a:pt x="1586643" y="731794"/>
                  </a:lnTo>
                  <a:lnTo>
                    <a:pt x="1569217" y="753282"/>
                  </a:lnTo>
                  <a:lnTo>
                    <a:pt x="1560792" y="737777"/>
                  </a:lnTo>
                  <a:lnTo>
                    <a:pt x="1543229" y="773371"/>
                  </a:lnTo>
                  <a:lnTo>
                    <a:pt x="1539743" y="802707"/>
                  </a:lnTo>
                  <a:lnTo>
                    <a:pt x="1546714" y="802872"/>
                  </a:lnTo>
                  <a:lnTo>
                    <a:pt x="1560024" y="777103"/>
                  </a:lnTo>
                  <a:lnTo>
                    <a:pt x="1578164" y="763134"/>
                  </a:lnTo>
                  <a:lnTo>
                    <a:pt x="1612659" y="757728"/>
                  </a:lnTo>
                  <a:lnTo>
                    <a:pt x="1619383" y="773535"/>
                  </a:lnTo>
                  <a:lnTo>
                    <a:pt x="1605963" y="813355"/>
                  </a:lnTo>
                  <a:lnTo>
                    <a:pt x="1579920" y="814782"/>
                  </a:lnTo>
                  <a:lnTo>
                    <a:pt x="1567104" y="833196"/>
                  </a:lnTo>
                  <a:lnTo>
                    <a:pt x="1562960" y="871068"/>
                  </a:lnTo>
                  <a:lnTo>
                    <a:pt x="1571742" y="895245"/>
                  </a:lnTo>
                  <a:lnTo>
                    <a:pt x="1574733" y="916184"/>
                  </a:lnTo>
                  <a:lnTo>
                    <a:pt x="1568366" y="969725"/>
                  </a:lnTo>
                  <a:lnTo>
                    <a:pt x="1561094" y="973430"/>
                  </a:lnTo>
                  <a:lnTo>
                    <a:pt x="1530632" y="957842"/>
                  </a:lnTo>
                  <a:lnTo>
                    <a:pt x="1520341" y="967749"/>
                  </a:lnTo>
                  <a:lnTo>
                    <a:pt x="1512437" y="1059738"/>
                  </a:lnTo>
                  <a:lnTo>
                    <a:pt x="1503354" y="1090584"/>
                  </a:lnTo>
                  <a:lnTo>
                    <a:pt x="1498305" y="1125080"/>
                  </a:lnTo>
                  <a:lnTo>
                    <a:pt x="1507059" y="1128483"/>
                  </a:lnTo>
                  <a:lnTo>
                    <a:pt x="1515648" y="1106556"/>
                  </a:lnTo>
                  <a:lnTo>
                    <a:pt x="1526708" y="1090584"/>
                  </a:lnTo>
                  <a:lnTo>
                    <a:pt x="1565320" y="1103784"/>
                  </a:lnTo>
                  <a:lnTo>
                    <a:pt x="1571605" y="1132544"/>
                  </a:lnTo>
                  <a:lnTo>
                    <a:pt x="1559640" y="1142094"/>
                  </a:lnTo>
                  <a:lnTo>
                    <a:pt x="1544958" y="1135563"/>
                  </a:lnTo>
                  <a:lnTo>
                    <a:pt x="1543009" y="1142232"/>
                  </a:lnTo>
                  <a:lnTo>
                    <a:pt x="1549403" y="1165037"/>
                  </a:lnTo>
                  <a:lnTo>
                    <a:pt x="1565787" y="1183616"/>
                  </a:lnTo>
                  <a:lnTo>
                    <a:pt x="1574925" y="1185948"/>
                  </a:lnTo>
                  <a:lnTo>
                    <a:pt x="1584613" y="1178237"/>
                  </a:lnTo>
                  <a:lnTo>
                    <a:pt x="1594355" y="1183122"/>
                  </a:lnTo>
                  <a:lnTo>
                    <a:pt x="1599185" y="1199862"/>
                  </a:lnTo>
                  <a:lnTo>
                    <a:pt x="1598910" y="1218084"/>
                  </a:lnTo>
                  <a:lnTo>
                    <a:pt x="1582033" y="1239956"/>
                  </a:lnTo>
                  <a:lnTo>
                    <a:pt x="1553712" y="1225302"/>
                  </a:lnTo>
                  <a:lnTo>
                    <a:pt x="1533294" y="1223573"/>
                  </a:lnTo>
                  <a:lnTo>
                    <a:pt x="1515264" y="1243963"/>
                  </a:lnTo>
                  <a:lnTo>
                    <a:pt x="1508980" y="1263941"/>
                  </a:lnTo>
                  <a:lnTo>
                    <a:pt x="1485900" y="1239078"/>
                  </a:lnTo>
                  <a:lnTo>
                    <a:pt x="1476570" y="1255434"/>
                  </a:lnTo>
                  <a:lnTo>
                    <a:pt x="1480521" y="1265451"/>
                  </a:lnTo>
                  <a:lnTo>
                    <a:pt x="1493639" y="1274589"/>
                  </a:lnTo>
                  <a:lnTo>
                    <a:pt x="1503628" y="1303871"/>
                  </a:lnTo>
                  <a:lnTo>
                    <a:pt x="1513700" y="1299233"/>
                  </a:lnTo>
                  <a:lnTo>
                    <a:pt x="1521247" y="1282877"/>
                  </a:lnTo>
                  <a:lnTo>
                    <a:pt x="1526296" y="1300331"/>
                  </a:lnTo>
                  <a:lnTo>
                    <a:pt x="1538591" y="1297751"/>
                  </a:lnTo>
                  <a:lnTo>
                    <a:pt x="1548937" y="1315946"/>
                  </a:lnTo>
                  <a:lnTo>
                    <a:pt x="1551352" y="1329777"/>
                  </a:lnTo>
                  <a:lnTo>
                    <a:pt x="1547839" y="1346517"/>
                  </a:lnTo>
                  <a:lnTo>
                    <a:pt x="1557663" y="1365892"/>
                  </a:lnTo>
                  <a:lnTo>
                    <a:pt x="1563591" y="1391661"/>
                  </a:lnTo>
                  <a:lnTo>
                    <a:pt x="1565018" y="1414192"/>
                  </a:lnTo>
                  <a:lnTo>
                    <a:pt x="1563125" y="1426376"/>
                  </a:lnTo>
                  <a:lnTo>
                    <a:pt x="1553712" y="1434225"/>
                  </a:lnTo>
                  <a:lnTo>
                    <a:pt x="1541116" y="1422232"/>
                  </a:lnTo>
                  <a:lnTo>
                    <a:pt x="1521082" y="1420531"/>
                  </a:lnTo>
                  <a:lnTo>
                    <a:pt x="1519820" y="1424894"/>
                  </a:lnTo>
                  <a:lnTo>
                    <a:pt x="1525336" y="1440098"/>
                  </a:lnTo>
                  <a:lnTo>
                    <a:pt x="1531867" y="1484994"/>
                  </a:lnTo>
                  <a:lnTo>
                    <a:pt x="1535298" y="1464851"/>
                  </a:lnTo>
                  <a:lnTo>
                    <a:pt x="1542735" y="1459857"/>
                  </a:lnTo>
                  <a:lnTo>
                    <a:pt x="1550336" y="1471383"/>
                  </a:lnTo>
                  <a:lnTo>
                    <a:pt x="1549870" y="1488589"/>
                  </a:lnTo>
                  <a:lnTo>
                    <a:pt x="1552065" y="1496905"/>
                  </a:lnTo>
                  <a:lnTo>
                    <a:pt x="1578959" y="1501378"/>
                  </a:lnTo>
                  <a:lnTo>
                    <a:pt x="1580277" y="1508239"/>
                  </a:lnTo>
                  <a:lnTo>
                    <a:pt x="1569931" y="1529644"/>
                  </a:lnTo>
                  <a:lnTo>
                    <a:pt x="1562109" y="1537410"/>
                  </a:lnTo>
                  <a:lnTo>
                    <a:pt x="1546988" y="1535874"/>
                  </a:lnTo>
                  <a:lnTo>
                    <a:pt x="1534858" y="1524238"/>
                  </a:lnTo>
                  <a:lnTo>
                    <a:pt x="1533569" y="1528519"/>
                  </a:lnTo>
                  <a:lnTo>
                    <a:pt x="1534310" y="1541774"/>
                  </a:lnTo>
                  <a:lnTo>
                    <a:pt x="1531538" y="1546878"/>
                  </a:lnTo>
                  <a:lnTo>
                    <a:pt x="1514414" y="1553767"/>
                  </a:lnTo>
                  <a:lnTo>
                    <a:pt x="1491828" y="1541308"/>
                  </a:lnTo>
                  <a:lnTo>
                    <a:pt x="1486230" y="1553163"/>
                  </a:lnTo>
                  <a:lnTo>
                    <a:pt x="1491361" y="1567241"/>
                  </a:lnTo>
                  <a:lnTo>
                    <a:pt x="1503601" y="1565347"/>
                  </a:lnTo>
                  <a:lnTo>
                    <a:pt x="1535105" y="1583103"/>
                  </a:lnTo>
                  <a:lnTo>
                    <a:pt x="1535517" y="1596495"/>
                  </a:lnTo>
                  <a:lnTo>
                    <a:pt x="1528272" y="1620179"/>
                  </a:lnTo>
                  <a:lnTo>
                    <a:pt x="1506483" y="1623746"/>
                  </a:lnTo>
                  <a:lnTo>
                    <a:pt x="1476652" y="1641118"/>
                  </a:lnTo>
                  <a:lnTo>
                    <a:pt x="1438945" y="1616227"/>
                  </a:lnTo>
                  <a:lnTo>
                    <a:pt x="1425690" y="1592214"/>
                  </a:lnTo>
                  <a:lnTo>
                    <a:pt x="1410624" y="1615239"/>
                  </a:lnTo>
                  <a:lnTo>
                    <a:pt x="1392567" y="1626024"/>
                  </a:lnTo>
                  <a:lnTo>
                    <a:pt x="1377775" y="1641831"/>
                  </a:lnTo>
                  <a:lnTo>
                    <a:pt x="1363011" y="1641502"/>
                  </a:lnTo>
                  <a:lnTo>
                    <a:pt x="1358702" y="1647649"/>
                  </a:lnTo>
                  <a:lnTo>
                    <a:pt x="1361556" y="1653275"/>
                  </a:lnTo>
                  <a:lnTo>
                    <a:pt x="1377006" y="1655004"/>
                  </a:lnTo>
                  <a:lnTo>
                    <a:pt x="1398138" y="1632528"/>
                  </a:lnTo>
                  <a:lnTo>
                    <a:pt x="1430191" y="1634202"/>
                  </a:lnTo>
                  <a:lnTo>
                    <a:pt x="1448550" y="1645646"/>
                  </a:lnTo>
                  <a:lnTo>
                    <a:pt x="1463918" y="1666502"/>
                  </a:lnTo>
                  <a:lnTo>
                    <a:pt x="1486312" y="1681376"/>
                  </a:lnTo>
                  <a:lnTo>
                    <a:pt x="1487711" y="1688265"/>
                  </a:lnTo>
                  <a:lnTo>
                    <a:pt x="1486833" y="1696113"/>
                  </a:lnTo>
                  <a:lnTo>
                    <a:pt x="1478875" y="1706816"/>
                  </a:lnTo>
                  <a:lnTo>
                    <a:pt x="1480576" y="1719412"/>
                  </a:lnTo>
                  <a:lnTo>
                    <a:pt x="1476515" y="1732228"/>
                  </a:lnTo>
                  <a:lnTo>
                    <a:pt x="1481564" y="1746910"/>
                  </a:lnTo>
                  <a:lnTo>
                    <a:pt x="1477997" y="1751795"/>
                  </a:lnTo>
                  <a:lnTo>
                    <a:pt x="1467513" y="1748502"/>
                  </a:lnTo>
                  <a:lnTo>
                    <a:pt x="1426569" y="1714116"/>
                  </a:lnTo>
                  <a:lnTo>
                    <a:pt x="1419708" y="1698034"/>
                  </a:lnTo>
                  <a:lnTo>
                    <a:pt x="1415097" y="1676052"/>
                  </a:lnTo>
                  <a:lnTo>
                    <a:pt x="1407139" y="1667381"/>
                  </a:lnTo>
                  <a:lnTo>
                    <a:pt x="1401211" y="1667765"/>
                  </a:lnTo>
                  <a:lnTo>
                    <a:pt x="1366413" y="1699022"/>
                  </a:lnTo>
                  <a:lnTo>
                    <a:pt x="1401458" y="1684258"/>
                  </a:lnTo>
                  <a:lnTo>
                    <a:pt x="1406617" y="1714555"/>
                  </a:lnTo>
                  <a:lnTo>
                    <a:pt x="1394488" y="1728414"/>
                  </a:lnTo>
                  <a:lnTo>
                    <a:pt x="1392512" y="1740845"/>
                  </a:lnTo>
                  <a:lnTo>
                    <a:pt x="1413039" y="1733902"/>
                  </a:lnTo>
                  <a:lnTo>
                    <a:pt x="1464385" y="1774271"/>
                  </a:lnTo>
                  <a:lnTo>
                    <a:pt x="1466333" y="1794194"/>
                  </a:lnTo>
                  <a:lnTo>
                    <a:pt x="1481345" y="1800369"/>
                  </a:lnTo>
                  <a:lnTo>
                    <a:pt x="1478052" y="1816039"/>
                  </a:lnTo>
                  <a:lnTo>
                    <a:pt x="1479396" y="1826248"/>
                  </a:lnTo>
                  <a:lnTo>
                    <a:pt x="1495807" y="1817987"/>
                  </a:lnTo>
                  <a:lnTo>
                    <a:pt x="1497316" y="1906134"/>
                  </a:lnTo>
                  <a:lnTo>
                    <a:pt x="1492349" y="1909565"/>
                  </a:lnTo>
                  <a:lnTo>
                    <a:pt x="1483650" y="1906409"/>
                  </a:lnTo>
                  <a:lnTo>
                    <a:pt x="1474841" y="1887363"/>
                  </a:lnTo>
                  <a:lnTo>
                    <a:pt x="1467047" y="1906189"/>
                  </a:lnTo>
                  <a:lnTo>
                    <a:pt x="1448495" y="1904186"/>
                  </a:lnTo>
                  <a:lnTo>
                    <a:pt x="1432030" y="1889147"/>
                  </a:lnTo>
                  <a:lnTo>
                    <a:pt x="1421162" y="1855749"/>
                  </a:lnTo>
                  <a:lnTo>
                    <a:pt x="1410103" y="1834728"/>
                  </a:lnTo>
                  <a:lnTo>
                    <a:pt x="1397232" y="1829980"/>
                  </a:lnTo>
                  <a:lnTo>
                    <a:pt x="1376128" y="1812417"/>
                  </a:lnTo>
                  <a:lnTo>
                    <a:pt x="1346215" y="1808382"/>
                  </a:lnTo>
                  <a:lnTo>
                    <a:pt x="1322285" y="1782010"/>
                  </a:lnTo>
                  <a:lnTo>
                    <a:pt x="1314958" y="1779924"/>
                  </a:lnTo>
                  <a:lnTo>
                    <a:pt x="1313421" y="1782723"/>
                  </a:lnTo>
                  <a:lnTo>
                    <a:pt x="1337050" y="1815051"/>
                  </a:lnTo>
                  <a:lnTo>
                    <a:pt x="1373960" y="1819716"/>
                  </a:lnTo>
                  <a:lnTo>
                    <a:pt x="1382907" y="1833740"/>
                  </a:lnTo>
                  <a:lnTo>
                    <a:pt x="1371024" y="1854048"/>
                  </a:lnTo>
                  <a:lnTo>
                    <a:pt x="1352335" y="1864778"/>
                  </a:lnTo>
                  <a:lnTo>
                    <a:pt x="1319404" y="1863708"/>
                  </a:lnTo>
                  <a:lnTo>
                    <a:pt x="1315123" y="1870568"/>
                  </a:lnTo>
                  <a:lnTo>
                    <a:pt x="1310924" y="1888681"/>
                  </a:lnTo>
                  <a:lnTo>
                    <a:pt x="1303157" y="1905860"/>
                  </a:lnTo>
                  <a:lnTo>
                    <a:pt x="1304612" y="1909976"/>
                  </a:lnTo>
                  <a:lnTo>
                    <a:pt x="1313586" y="1911156"/>
                  </a:lnTo>
                  <a:lnTo>
                    <a:pt x="1327197" y="1877347"/>
                  </a:lnTo>
                  <a:lnTo>
                    <a:pt x="1340535" y="1876715"/>
                  </a:lnTo>
                  <a:lnTo>
                    <a:pt x="1378433" y="1858823"/>
                  </a:lnTo>
                  <a:lnTo>
                    <a:pt x="1388148" y="1871474"/>
                  </a:lnTo>
                  <a:lnTo>
                    <a:pt x="1389438" y="1881161"/>
                  </a:lnTo>
                  <a:lnTo>
                    <a:pt x="1386310" y="1891809"/>
                  </a:lnTo>
                  <a:lnTo>
                    <a:pt x="1367539" y="1904652"/>
                  </a:lnTo>
                  <a:lnTo>
                    <a:pt x="1354256" y="1906628"/>
                  </a:lnTo>
                  <a:lnTo>
                    <a:pt x="1351320" y="1918072"/>
                  </a:lnTo>
                  <a:lnTo>
                    <a:pt x="1313970" y="1942194"/>
                  </a:lnTo>
                  <a:lnTo>
                    <a:pt x="1331780" y="1947930"/>
                  </a:lnTo>
                  <a:lnTo>
                    <a:pt x="1346215" y="1931986"/>
                  </a:lnTo>
                  <a:lnTo>
                    <a:pt x="1365892" y="1929955"/>
                  </a:lnTo>
                  <a:lnTo>
                    <a:pt x="1393582" y="1915163"/>
                  </a:lnTo>
                  <a:lnTo>
                    <a:pt x="1400882" y="1921969"/>
                  </a:lnTo>
                  <a:lnTo>
                    <a:pt x="1435103" y="1934812"/>
                  </a:lnTo>
                  <a:lnTo>
                    <a:pt x="1474484" y="1941728"/>
                  </a:lnTo>
                  <a:lnTo>
                    <a:pt x="1476021" y="1947656"/>
                  </a:lnTo>
                  <a:lnTo>
                    <a:pt x="1464275" y="1955806"/>
                  </a:lnTo>
                  <a:lnTo>
                    <a:pt x="1450416" y="1975757"/>
                  </a:lnTo>
                  <a:lnTo>
                    <a:pt x="1403215" y="2012915"/>
                  </a:lnTo>
                  <a:lnTo>
                    <a:pt x="1392896" y="2027789"/>
                  </a:lnTo>
                  <a:lnTo>
                    <a:pt x="1363889" y="2051912"/>
                  </a:lnTo>
                  <a:lnTo>
                    <a:pt x="1324645" y="2069804"/>
                  </a:lnTo>
                  <a:lnTo>
                    <a:pt x="1310567" y="2071725"/>
                  </a:lnTo>
                  <a:lnTo>
                    <a:pt x="1273519" y="2090332"/>
                  </a:lnTo>
                  <a:lnTo>
                    <a:pt x="1258892" y="2086078"/>
                  </a:lnTo>
                  <a:lnTo>
                    <a:pt x="1249205" y="2098729"/>
                  </a:lnTo>
                  <a:lnTo>
                    <a:pt x="1241548" y="2098180"/>
                  </a:lnTo>
                  <a:lnTo>
                    <a:pt x="1234166" y="2103916"/>
                  </a:lnTo>
                  <a:lnTo>
                    <a:pt x="1211992" y="2105425"/>
                  </a:lnTo>
                  <a:lnTo>
                    <a:pt x="1198655" y="2097439"/>
                  </a:lnTo>
                  <a:lnTo>
                    <a:pt x="1192151" y="2084816"/>
                  </a:lnTo>
                  <a:lnTo>
                    <a:pt x="1180679" y="2072686"/>
                  </a:lnTo>
                  <a:lnTo>
                    <a:pt x="1181311" y="2078559"/>
                  </a:lnTo>
                  <a:lnTo>
                    <a:pt x="1189818" y="2097851"/>
                  </a:lnTo>
                  <a:lnTo>
                    <a:pt x="1189049" y="2116101"/>
                  </a:lnTo>
                  <a:lnTo>
                    <a:pt x="1161908" y="2140058"/>
                  </a:lnTo>
                  <a:lnTo>
                    <a:pt x="1147199" y="2181772"/>
                  </a:lnTo>
                  <a:lnTo>
                    <a:pt x="1131255" y="2212151"/>
                  </a:lnTo>
                  <a:lnTo>
                    <a:pt x="1123406" y="2219725"/>
                  </a:lnTo>
                  <a:lnTo>
                    <a:pt x="1115612" y="2234600"/>
                  </a:lnTo>
                  <a:lnTo>
                    <a:pt x="1094947" y="2244753"/>
                  </a:lnTo>
                  <a:lnTo>
                    <a:pt x="1071841" y="2268272"/>
                  </a:lnTo>
                  <a:lnTo>
                    <a:pt x="1062867" y="2268546"/>
                  </a:lnTo>
                  <a:lnTo>
                    <a:pt x="1047224" y="2292916"/>
                  </a:lnTo>
                  <a:lnTo>
                    <a:pt x="1046236" y="2289924"/>
                  </a:lnTo>
                  <a:lnTo>
                    <a:pt x="1047801" y="2279716"/>
                  </a:lnTo>
                  <a:lnTo>
                    <a:pt x="1046456" y="2276697"/>
                  </a:lnTo>
                  <a:lnTo>
                    <a:pt x="1033612" y="2289513"/>
                  </a:lnTo>
                  <a:lnTo>
                    <a:pt x="1025654" y="2288223"/>
                  </a:lnTo>
                  <a:lnTo>
                    <a:pt x="1027493" y="2267998"/>
                  </a:lnTo>
                  <a:lnTo>
                    <a:pt x="1033969" y="2249007"/>
                  </a:lnTo>
                  <a:lnTo>
                    <a:pt x="1026121" y="2243710"/>
                  </a:lnTo>
                  <a:lnTo>
                    <a:pt x="1019232" y="2270687"/>
                  </a:lnTo>
                  <a:lnTo>
                    <a:pt x="1012234" y="2287153"/>
                  </a:lnTo>
                  <a:lnTo>
                    <a:pt x="998129" y="2294013"/>
                  </a:lnTo>
                  <a:lnTo>
                    <a:pt x="971509" y="2293547"/>
                  </a:lnTo>
                  <a:lnTo>
                    <a:pt x="965938" y="2300243"/>
                  </a:lnTo>
                  <a:lnTo>
                    <a:pt x="962508" y="2317093"/>
                  </a:lnTo>
                  <a:lnTo>
                    <a:pt x="954906" y="2328948"/>
                  </a:lnTo>
                  <a:lnTo>
                    <a:pt x="940663" y="2328345"/>
                  </a:lnTo>
                  <a:lnTo>
                    <a:pt x="931552" y="2334711"/>
                  </a:lnTo>
                  <a:lnTo>
                    <a:pt x="931881" y="2341984"/>
                  </a:lnTo>
                  <a:lnTo>
                    <a:pt x="940855" y="2347527"/>
                  </a:lnTo>
                  <a:lnTo>
                    <a:pt x="947003" y="2362017"/>
                  </a:lnTo>
                  <a:lnTo>
                    <a:pt x="948018" y="2364569"/>
                  </a:lnTo>
                  <a:lnTo>
                    <a:pt x="939346" y="2385892"/>
                  </a:lnTo>
                  <a:lnTo>
                    <a:pt x="942392" y="2404801"/>
                  </a:lnTo>
                  <a:lnTo>
                    <a:pt x="942502" y="2419840"/>
                  </a:lnTo>
                  <a:lnTo>
                    <a:pt x="940800" y="2425410"/>
                  </a:lnTo>
                  <a:lnTo>
                    <a:pt x="933226" y="2441794"/>
                  </a:lnTo>
                  <a:lnTo>
                    <a:pt x="924993" y="2445224"/>
                  </a:lnTo>
                  <a:lnTo>
                    <a:pt x="923511" y="2459632"/>
                  </a:lnTo>
                  <a:lnTo>
                    <a:pt x="915278" y="2465697"/>
                  </a:lnTo>
                  <a:lnTo>
                    <a:pt x="913028" y="2475027"/>
                  </a:lnTo>
                  <a:lnTo>
                    <a:pt x="905866" y="2484660"/>
                  </a:lnTo>
                  <a:lnTo>
                    <a:pt x="896480" y="2491027"/>
                  </a:lnTo>
                  <a:lnTo>
                    <a:pt x="886683" y="2491301"/>
                  </a:lnTo>
                  <a:lnTo>
                    <a:pt x="889619" y="2502470"/>
                  </a:lnTo>
                  <a:lnTo>
                    <a:pt x="888192" y="2511774"/>
                  </a:lnTo>
                  <a:lnTo>
                    <a:pt x="891211" y="2520418"/>
                  </a:lnTo>
                  <a:lnTo>
                    <a:pt x="893955" y="2539326"/>
                  </a:lnTo>
                  <a:lnTo>
                    <a:pt x="885887" y="2574096"/>
                  </a:lnTo>
                  <a:lnTo>
                    <a:pt x="880563" y="2588532"/>
                  </a:lnTo>
                  <a:lnTo>
                    <a:pt x="875925" y="2612654"/>
                  </a:lnTo>
                  <a:lnTo>
                    <a:pt x="863988" y="2629120"/>
                  </a:lnTo>
                  <a:lnTo>
                    <a:pt x="867610" y="2641743"/>
                  </a:lnTo>
                  <a:lnTo>
                    <a:pt x="867034" y="2650443"/>
                  </a:lnTo>
                  <a:lnTo>
                    <a:pt x="853202" y="2662161"/>
                  </a:lnTo>
                  <a:lnTo>
                    <a:pt x="840606" y="2663314"/>
                  </a:lnTo>
                  <a:lnTo>
                    <a:pt x="807098" y="2647040"/>
                  </a:lnTo>
                  <a:lnTo>
                    <a:pt x="804272" y="2640399"/>
                  </a:lnTo>
                  <a:lnTo>
                    <a:pt x="803503" y="2624948"/>
                  </a:lnTo>
                  <a:lnTo>
                    <a:pt x="797987" y="2621573"/>
                  </a:lnTo>
                  <a:lnTo>
                    <a:pt x="788163" y="2622067"/>
                  </a:lnTo>
                  <a:lnTo>
                    <a:pt x="779024" y="2614822"/>
                  </a:lnTo>
                  <a:lnTo>
                    <a:pt x="769666" y="2611995"/>
                  </a:lnTo>
                  <a:lnTo>
                    <a:pt x="766290" y="2602363"/>
                  </a:lnTo>
                  <a:lnTo>
                    <a:pt x="757152" y="2606479"/>
                  </a:lnTo>
                  <a:lnTo>
                    <a:pt x="752953" y="2606095"/>
                  </a:lnTo>
                  <a:lnTo>
                    <a:pt x="743458" y="2605519"/>
                  </a:lnTo>
                  <a:lnTo>
                    <a:pt x="729270" y="2610678"/>
                  </a:lnTo>
                  <a:lnTo>
                    <a:pt x="722519" y="2607879"/>
                  </a:lnTo>
                  <a:lnTo>
                    <a:pt x="706986" y="2576402"/>
                  </a:lnTo>
                  <a:lnTo>
                    <a:pt x="693621" y="2563531"/>
                  </a:lnTo>
                  <a:lnTo>
                    <a:pt x="690328" y="2552142"/>
                  </a:lnTo>
                  <a:lnTo>
                    <a:pt x="684785" y="2548218"/>
                  </a:lnTo>
                  <a:lnTo>
                    <a:pt x="680613" y="2524123"/>
                  </a:lnTo>
                  <a:lnTo>
                    <a:pt x="664806" y="2511609"/>
                  </a:lnTo>
                  <a:lnTo>
                    <a:pt x="653061" y="2480379"/>
                  </a:lnTo>
                  <a:lnTo>
                    <a:pt x="635579" y="2457491"/>
                  </a:lnTo>
                  <a:lnTo>
                    <a:pt x="624767" y="2430762"/>
                  </a:lnTo>
                  <a:lnTo>
                    <a:pt x="623093" y="2405789"/>
                  </a:lnTo>
                  <a:lnTo>
                    <a:pt x="619909" y="2391875"/>
                  </a:lnTo>
                  <a:lnTo>
                    <a:pt x="627539" y="2375876"/>
                  </a:lnTo>
                  <a:lnTo>
                    <a:pt x="627895" y="2386387"/>
                  </a:lnTo>
                  <a:lnTo>
                    <a:pt x="629542" y="2387951"/>
                  </a:lnTo>
                  <a:lnTo>
                    <a:pt x="642221" y="2377056"/>
                  </a:lnTo>
                  <a:lnTo>
                    <a:pt x="642934" y="2372473"/>
                  </a:lnTo>
                  <a:lnTo>
                    <a:pt x="639723" y="2368247"/>
                  </a:lnTo>
                  <a:lnTo>
                    <a:pt x="644937" y="2362017"/>
                  </a:lnTo>
                  <a:lnTo>
                    <a:pt x="649877" y="2358998"/>
                  </a:lnTo>
                  <a:lnTo>
                    <a:pt x="654762" y="2362017"/>
                  </a:lnTo>
                  <a:lnTo>
                    <a:pt x="661980" y="2366463"/>
                  </a:lnTo>
                  <a:lnTo>
                    <a:pt x="661294" y="2362017"/>
                  </a:lnTo>
                  <a:lnTo>
                    <a:pt x="660855" y="2359108"/>
                  </a:lnTo>
                  <a:lnTo>
                    <a:pt x="648697" y="2349860"/>
                  </a:lnTo>
                  <a:lnTo>
                    <a:pt x="636348" y="2358779"/>
                  </a:lnTo>
                  <a:lnTo>
                    <a:pt x="629816" y="2358038"/>
                  </a:lnTo>
                  <a:lnTo>
                    <a:pt x="627621" y="2362045"/>
                  </a:lnTo>
                  <a:lnTo>
                    <a:pt x="614942" y="2384932"/>
                  </a:lnTo>
                  <a:lnTo>
                    <a:pt x="606984" y="2391683"/>
                  </a:lnTo>
                  <a:lnTo>
                    <a:pt x="603993" y="2381090"/>
                  </a:lnTo>
                  <a:lnTo>
                    <a:pt x="604651" y="2362045"/>
                  </a:lnTo>
                  <a:lnTo>
                    <a:pt x="604761" y="2348131"/>
                  </a:lnTo>
                  <a:lnTo>
                    <a:pt x="601523" y="2327412"/>
                  </a:lnTo>
                  <a:lnTo>
                    <a:pt x="588240" y="2308586"/>
                  </a:lnTo>
                  <a:lnTo>
                    <a:pt x="585276" y="2314898"/>
                  </a:lnTo>
                  <a:lnTo>
                    <a:pt x="585002" y="2305704"/>
                  </a:lnTo>
                  <a:lnTo>
                    <a:pt x="574875" y="2297663"/>
                  </a:lnTo>
                  <a:lnTo>
                    <a:pt x="562142" y="2255648"/>
                  </a:lnTo>
                  <a:lnTo>
                    <a:pt x="560468" y="2231004"/>
                  </a:lnTo>
                  <a:lnTo>
                    <a:pt x="564502" y="2208391"/>
                  </a:lnTo>
                  <a:lnTo>
                    <a:pt x="553964" y="2181772"/>
                  </a:lnTo>
                  <a:lnTo>
                    <a:pt x="556955" y="2137836"/>
                  </a:lnTo>
                  <a:lnTo>
                    <a:pt x="564337" y="2110200"/>
                  </a:lnTo>
                  <a:lnTo>
                    <a:pt x="570457" y="2113795"/>
                  </a:lnTo>
                  <a:lnTo>
                    <a:pt x="581929" y="2098537"/>
                  </a:lnTo>
                  <a:lnTo>
                    <a:pt x="580968" y="2090880"/>
                  </a:lnTo>
                  <a:lnTo>
                    <a:pt x="574903" y="2083059"/>
                  </a:lnTo>
                  <a:lnTo>
                    <a:pt x="579184" y="2073976"/>
                  </a:lnTo>
                  <a:lnTo>
                    <a:pt x="578992" y="2063849"/>
                  </a:lnTo>
                  <a:lnTo>
                    <a:pt x="580693" y="2058909"/>
                  </a:lnTo>
                  <a:lnTo>
                    <a:pt x="596775" y="2057702"/>
                  </a:lnTo>
                  <a:lnTo>
                    <a:pt x="616369" y="2069256"/>
                  </a:lnTo>
                  <a:lnTo>
                    <a:pt x="627978" y="2068432"/>
                  </a:lnTo>
                  <a:lnTo>
                    <a:pt x="634125" y="2061736"/>
                  </a:lnTo>
                  <a:lnTo>
                    <a:pt x="635332" y="2056275"/>
                  </a:lnTo>
                  <a:lnTo>
                    <a:pt x="632917" y="2045572"/>
                  </a:lnTo>
                  <a:lnTo>
                    <a:pt x="635470" y="2031329"/>
                  </a:lnTo>
                  <a:lnTo>
                    <a:pt x="653033" y="2018102"/>
                  </a:lnTo>
                  <a:lnTo>
                    <a:pt x="650865" y="2013875"/>
                  </a:lnTo>
                  <a:lnTo>
                    <a:pt x="641809" y="2014918"/>
                  </a:lnTo>
                  <a:lnTo>
                    <a:pt x="638763" y="2009402"/>
                  </a:lnTo>
                  <a:lnTo>
                    <a:pt x="643099" y="1982947"/>
                  </a:lnTo>
                  <a:lnTo>
                    <a:pt x="651277" y="1968046"/>
                  </a:lnTo>
                  <a:lnTo>
                    <a:pt x="651908" y="1959484"/>
                  </a:lnTo>
                  <a:lnTo>
                    <a:pt x="646859" y="1951086"/>
                  </a:lnTo>
                  <a:lnTo>
                    <a:pt x="599739" y="1943704"/>
                  </a:lnTo>
                  <a:lnTo>
                    <a:pt x="577126" y="1923753"/>
                  </a:lnTo>
                  <a:lnTo>
                    <a:pt x="549985" y="1911513"/>
                  </a:lnTo>
                  <a:lnTo>
                    <a:pt x="539804" y="1890794"/>
                  </a:lnTo>
                  <a:lnTo>
                    <a:pt x="550314" y="1878856"/>
                  </a:lnTo>
                  <a:lnTo>
                    <a:pt x="578800" y="1883412"/>
                  </a:lnTo>
                  <a:lnTo>
                    <a:pt x="614586" y="1906930"/>
                  </a:lnTo>
                  <a:lnTo>
                    <a:pt x="617467" y="1906930"/>
                  </a:lnTo>
                  <a:cubicBezTo>
                    <a:pt x="617467" y="1906930"/>
                    <a:pt x="619882" y="1900124"/>
                    <a:pt x="619882" y="1900124"/>
                  </a:cubicBezTo>
                  <a:lnTo>
                    <a:pt x="625453" y="1909373"/>
                  </a:lnTo>
                  <a:lnTo>
                    <a:pt x="637583" y="1910278"/>
                  </a:lnTo>
                  <a:lnTo>
                    <a:pt x="634811" y="1899027"/>
                  </a:lnTo>
                  <a:lnTo>
                    <a:pt x="634646" y="1877539"/>
                  </a:lnTo>
                  <a:lnTo>
                    <a:pt x="627319" y="1868236"/>
                  </a:lnTo>
                  <a:lnTo>
                    <a:pt x="623724" y="1854926"/>
                  </a:lnTo>
                  <a:lnTo>
                    <a:pt x="613214" y="1847599"/>
                  </a:lnTo>
                  <a:lnTo>
                    <a:pt x="610250" y="1837609"/>
                  </a:lnTo>
                  <a:lnTo>
                    <a:pt x="603965" y="1835524"/>
                  </a:lnTo>
                  <a:lnTo>
                    <a:pt x="603252" y="1826467"/>
                  </a:lnTo>
                  <a:lnTo>
                    <a:pt x="598010" y="1828004"/>
                  </a:lnTo>
                  <a:lnTo>
                    <a:pt x="586402" y="1843372"/>
                  </a:lnTo>
                  <a:lnTo>
                    <a:pt x="580501" y="1842521"/>
                  </a:lnTo>
                  <a:lnTo>
                    <a:pt x="577702" y="1836292"/>
                  </a:lnTo>
                  <a:lnTo>
                    <a:pt x="579267" y="1827016"/>
                  </a:lnTo>
                  <a:lnTo>
                    <a:pt x="583575" y="1819963"/>
                  </a:lnTo>
                  <a:lnTo>
                    <a:pt x="604706" y="1808273"/>
                  </a:lnTo>
                  <a:lnTo>
                    <a:pt x="606215" y="1802345"/>
                  </a:lnTo>
                  <a:lnTo>
                    <a:pt x="589311" y="1800479"/>
                  </a:lnTo>
                  <a:lnTo>
                    <a:pt x="570814" y="1806379"/>
                  </a:lnTo>
                  <a:lnTo>
                    <a:pt x="569305" y="1799765"/>
                  </a:lnTo>
                  <a:lnTo>
                    <a:pt x="572515" y="1784809"/>
                  </a:lnTo>
                  <a:lnTo>
                    <a:pt x="566204" y="1776000"/>
                  </a:lnTo>
                  <a:lnTo>
                    <a:pt x="544880" y="1819716"/>
                  </a:lnTo>
                  <a:lnTo>
                    <a:pt x="525972" y="1825452"/>
                  </a:lnTo>
                  <a:lnTo>
                    <a:pt x="504731" y="1811401"/>
                  </a:lnTo>
                  <a:lnTo>
                    <a:pt x="501987" y="1796198"/>
                  </a:lnTo>
                  <a:lnTo>
                    <a:pt x="505884" y="1782696"/>
                  </a:lnTo>
                  <a:lnTo>
                    <a:pt x="501219" y="1784480"/>
                  </a:lnTo>
                  <a:lnTo>
                    <a:pt x="498749" y="1779924"/>
                  </a:lnTo>
                  <a:lnTo>
                    <a:pt x="507338" y="1774847"/>
                  </a:lnTo>
                  <a:lnTo>
                    <a:pt x="508628" y="1762580"/>
                  </a:lnTo>
                  <a:lnTo>
                    <a:pt x="513102" y="1748145"/>
                  </a:lnTo>
                  <a:lnTo>
                    <a:pt x="507009" y="1744632"/>
                  </a:lnTo>
                  <a:lnTo>
                    <a:pt x="506131" y="1712387"/>
                  </a:lnTo>
                  <a:lnTo>
                    <a:pt x="493452" y="1711838"/>
                  </a:lnTo>
                  <a:lnTo>
                    <a:pt x="489638" y="1696635"/>
                  </a:lnTo>
                  <a:lnTo>
                    <a:pt x="499627" y="1695043"/>
                  </a:lnTo>
                  <a:lnTo>
                    <a:pt x="508683" y="1685795"/>
                  </a:lnTo>
                  <a:lnTo>
                    <a:pt x="522404" y="1686206"/>
                  </a:lnTo>
                  <a:lnTo>
                    <a:pt x="525314" y="1678934"/>
                  </a:lnTo>
                  <a:lnTo>
                    <a:pt x="504869" y="1668917"/>
                  </a:lnTo>
                  <a:lnTo>
                    <a:pt x="504237" y="1660410"/>
                  </a:lnTo>
                  <a:lnTo>
                    <a:pt x="506927" y="1638538"/>
                  </a:lnTo>
                  <a:lnTo>
                    <a:pt x="501301" y="1623307"/>
                  </a:lnTo>
                  <a:lnTo>
                    <a:pt x="495648" y="1626765"/>
                  </a:lnTo>
                  <a:lnTo>
                    <a:pt x="492327" y="1622127"/>
                  </a:lnTo>
                  <a:lnTo>
                    <a:pt x="491723" y="1614059"/>
                  </a:lnTo>
                  <a:lnTo>
                    <a:pt x="495126" y="1620288"/>
                  </a:lnTo>
                  <a:lnTo>
                    <a:pt x="497981" y="1614498"/>
                  </a:lnTo>
                  <a:lnTo>
                    <a:pt x="494605" y="1587220"/>
                  </a:lnTo>
                  <a:lnTo>
                    <a:pt x="483930" y="1546851"/>
                  </a:lnTo>
                  <a:lnTo>
                    <a:pt x="476932" y="1539688"/>
                  </a:lnTo>
                  <a:lnTo>
                    <a:pt x="477233" y="1526488"/>
                  </a:lnTo>
                  <a:lnTo>
                    <a:pt x="471662" y="1515539"/>
                  </a:lnTo>
                  <a:lnTo>
                    <a:pt x="474791" y="1510489"/>
                  </a:lnTo>
                  <a:lnTo>
                    <a:pt x="474846" y="1504891"/>
                  </a:lnTo>
                  <a:lnTo>
                    <a:pt x="464445" y="1490648"/>
                  </a:lnTo>
                  <a:lnTo>
                    <a:pt x="459286" y="1471849"/>
                  </a:lnTo>
                  <a:lnTo>
                    <a:pt x="432337" y="1446163"/>
                  </a:lnTo>
                  <a:lnTo>
                    <a:pt x="424653" y="1422425"/>
                  </a:lnTo>
                  <a:lnTo>
                    <a:pt x="422101" y="1393307"/>
                  </a:lnTo>
                  <a:lnTo>
                    <a:pt x="414416" y="1376924"/>
                  </a:lnTo>
                  <a:lnTo>
                    <a:pt x="342516" y="1322971"/>
                  </a:lnTo>
                  <a:lnTo>
                    <a:pt x="317872" y="1321242"/>
                  </a:lnTo>
                  <a:lnTo>
                    <a:pt x="277641" y="1299782"/>
                  </a:lnTo>
                  <a:lnTo>
                    <a:pt x="257717" y="1323273"/>
                  </a:lnTo>
                  <a:lnTo>
                    <a:pt x="244901" y="1306094"/>
                  </a:lnTo>
                  <a:lnTo>
                    <a:pt x="226926" y="1326209"/>
                  </a:lnTo>
                  <a:lnTo>
                    <a:pt x="213973" y="1331204"/>
                  </a:lnTo>
                  <a:lnTo>
                    <a:pt x="207716" y="1327993"/>
                  </a:lnTo>
                  <a:lnTo>
                    <a:pt x="200334" y="1309744"/>
                  </a:lnTo>
                  <a:lnTo>
                    <a:pt x="183374" y="1320968"/>
                  </a:lnTo>
                  <a:lnTo>
                    <a:pt x="173989" y="1317922"/>
                  </a:lnTo>
                  <a:lnTo>
                    <a:pt x="173001" y="1322312"/>
                  </a:lnTo>
                  <a:lnTo>
                    <a:pt x="175278" y="1339437"/>
                  </a:lnTo>
                  <a:lnTo>
                    <a:pt x="173193" y="1345365"/>
                  </a:lnTo>
                  <a:lnTo>
                    <a:pt x="128351" y="1327938"/>
                  </a:lnTo>
                  <a:lnTo>
                    <a:pt x="102390" y="1288283"/>
                  </a:lnTo>
                  <a:lnTo>
                    <a:pt x="111995" y="1272009"/>
                  </a:lnTo>
                  <a:lnTo>
                    <a:pt x="132248" y="1263447"/>
                  </a:lnTo>
                  <a:lnTo>
                    <a:pt x="132248" y="1255653"/>
                  </a:lnTo>
                  <a:cubicBezTo>
                    <a:pt x="132248" y="1255653"/>
                    <a:pt x="99261" y="1253897"/>
                    <a:pt x="99261" y="1253897"/>
                  </a:cubicBezTo>
                  <a:lnTo>
                    <a:pt x="85403" y="1242838"/>
                  </a:lnTo>
                  <a:lnTo>
                    <a:pt x="78267" y="1227552"/>
                  </a:lnTo>
                  <a:lnTo>
                    <a:pt x="61527" y="1233836"/>
                  </a:lnTo>
                  <a:lnTo>
                    <a:pt x="50248" y="1206421"/>
                  </a:lnTo>
                  <a:lnTo>
                    <a:pt x="59414" y="1189241"/>
                  </a:lnTo>
                  <a:lnTo>
                    <a:pt x="109415" y="1187320"/>
                  </a:lnTo>
                  <a:lnTo>
                    <a:pt x="128763" y="1166656"/>
                  </a:lnTo>
                  <a:lnTo>
                    <a:pt x="175580" y="1169867"/>
                  </a:lnTo>
                  <a:lnTo>
                    <a:pt x="188177" y="1139734"/>
                  </a:lnTo>
                  <a:lnTo>
                    <a:pt x="175471" y="1123543"/>
                  </a:lnTo>
                  <a:lnTo>
                    <a:pt x="138011" y="1142753"/>
                  </a:lnTo>
                  <a:lnTo>
                    <a:pt x="120941" y="1132627"/>
                  </a:lnTo>
                  <a:lnTo>
                    <a:pt x="111226" y="1144866"/>
                  </a:lnTo>
                  <a:lnTo>
                    <a:pt x="84470" y="1141902"/>
                  </a:lnTo>
                  <a:lnTo>
                    <a:pt x="78322" y="1122528"/>
                  </a:lnTo>
                  <a:lnTo>
                    <a:pt x="64546" y="1105925"/>
                  </a:lnTo>
                  <a:lnTo>
                    <a:pt x="44183" y="1106364"/>
                  </a:lnTo>
                  <a:lnTo>
                    <a:pt x="13996" y="1081885"/>
                  </a:lnTo>
                  <a:lnTo>
                    <a:pt x="1811" y="1060753"/>
                  </a:lnTo>
                  <a:lnTo>
                    <a:pt x="0" y="1035780"/>
                  </a:lnTo>
                  <a:lnTo>
                    <a:pt x="15862" y="999501"/>
                  </a:lnTo>
                  <a:lnTo>
                    <a:pt x="52060" y="988249"/>
                  </a:lnTo>
                  <a:lnTo>
                    <a:pt x="92977" y="962837"/>
                  </a:lnTo>
                  <a:lnTo>
                    <a:pt x="111967" y="935174"/>
                  </a:lnTo>
                  <a:lnTo>
                    <a:pt x="126594" y="923923"/>
                  </a:lnTo>
                  <a:lnTo>
                    <a:pt x="196958" y="904960"/>
                  </a:lnTo>
                  <a:lnTo>
                    <a:pt x="217787" y="876913"/>
                  </a:lnTo>
                  <a:lnTo>
                    <a:pt x="233128" y="836160"/>
                  </a:lnTo>
                  <a:lnTo>
                    <a:pt x="232222" y="802433"/>
                  </a:lnTo>
                  <a:lnTo>
                    <a:pt x="236010" y="781933"/>
                  </a:lnTo>
                  <a:lnTo>
                    <a:pt x="237793" y="755780"/>
                  </a:lnTo>
                  <a:lnTo>
                    <a:pt x="202063" y="762970"/>
                  </a:lnTo>
                  <a:lnTo>
                    <a:pt x="174263" y="756081"/>
                  </a:lnTo>
                  <a:lnTo>
                    <a:pt x="160843" y="740357"/>
                  </a:lnTo>
                  <a:lnTo>
                    <a:pt x="158209" y="721531"/>
                  </a:lnTo>
                  <a:lnTo>
                    <a:pt x="179395" y="671749"/>
                  </a:lnTo>
                  <a:lnTo>
                    <a:pt x="212354" y="636156"/>
                  </a:lnTo>
                  <a:lnTo>
                    <a:pt x="229259" y="598449"/>
                  </a:lnTo>
                  <a:lnTo>
                    <a:pt x="244792" y="579047"/>
                  </a:lnTo>
                  <a:lnTo>
                    <a:pt x="261669" y="579349"/>
                  </a:lnTo>
                  <a:lnTo>
                    <a:pt x="274896" y="557312"/>
                  </a:lnTo>
                  <a:lnTo>
                    <a:pt x="303025" y="567795"/>
                  </a:lnTo>
                  <a:lnTo>
                    <a:pt x="316665" y="558465"/>
                  </a:lnTo>
                  <a:lnTo>
                    <a:pt x="325501" y="495401"/>
                  </a:lnTo>
                  <a:lnTo>
                    <a:pt x="322263" y="447869"/>
                  </a:lnTo>
                  <a:lnTo>
                    <a:pt x="340211" y="421359"/>
                  </a:lnTo>
                  <a:lnTo>
                    <a:pt x="377533" y="424598"/>
                  </a:lnTo>
                  <a:lnTo>
                    <a:pt x="401710" y="462277"/>
                  </a:lnTo>
                  <a:lnTo>
                    <a:pt x="401985" y="448912"/>
                  </a:lnTo>
                  <a:lnTo>
                    <a:pt x="389608" y="398417"/>
                  </a:lnTo>
                  <a:lnTo>
                    <a:pt x="419356" y="360518"/>
                  </a:lnTo>
                  <a:lnTo>
                    <a:pt x="484506" y="344519"/>
                  </a:lnTo>
                  <a:lnTo>
                    <a:pt x="510028" y="323278"/>
                  </a:lnTo>
                  <a:lnTo>
                    <a:pt x="521472" y="336945"/>
                  </a:lnTo>
                  <a:lnTo>
                    <a:pt x="531571" y="378027"/>
                  </a:lnTo>
                  <a:lnTo>
                    <a:pt x="533409" y="411425"/>
                  </a:lnTo>
                  <a:lnTo>
                    <a:pt x="530473" y="450449"/>
                  </a:lnTo>
                  <a:lnTo>
                    <a:pt x="531433" y="462469"/>
                  </a:lnTo>
                  <a:lnTo>
                    <a:pt x="546801" y="441256"/>
                  </a:lnTo>
                  <a:lnTo>
                    <a:pt x="560166" y="404619"/>
                  </a:lnTo>
                  <a:lnTo>
                    <a:pt x="611622" y="441969"/>
                  </a:lnTo>
                  <a:lnTo>
                    <a:pt x="630640" y="410876"/>
                  </a:lnTo>
                  <a:lnTo>
                    <a:pt x="619553" y="345507"/>
                  </a:lnTo>
                  <a:lnTo>
                    <a:pt x="617714" y="324376"/>
                  </a:lnTo>
                  <a:lnTo>
                    <a:pt x="618400" y="308349"/>
                  </a:lnTo>
                  <a:lnTo>
                    <a:pt x="644169" y="294545"/>
                  </a:lnTo>
                  <a:lnTo>
                    <a:pt x="668401" y="309529"/>
                  </a:lnTo>
                  <a:lnTo>
                    <a:pt x="690795" y="344876"/>
                  </a:lnTo>
                  <a:lnTo>
                    <a:pt x="753063" y="410053"/>
                  </a:lnTo>
                  <a:lnTo>
                    <a:pt x="766922" y="435383"/>
                  </a:lnTo>
                  <a:lnTo>
                    <a:pt x="789754" y="441640"/>
                  </a:lnTo>
                  <a:lnTo>
                    <a:pt x="791209" y="437853"/>
                  </a:lnTo>
                  <a:lnTo>
                    <a:pt x="790495" y="426464"/>
                  </a:lnTo>
                  <a:lnTo>
                    <a:pt x="778640" y="383625"/>
                  </a:lnTo>
                  <a:lnTo>
                    <a:pt x="753090" y="351462"/>
                  </a:lnTo>
                  <a:lnTo>
                    <a:pt x="738189" y="331731"/>
                  </a:lnTo>
                  <a:lnTo>
                    <a:pt x="731054" y="295094"/>
                  </a:lnTo>
                  <a:lnTo>
                    <a:pt x="753090" y="266801"/>
                  </a:lnTo>
                  <a:lnTo>
                    <a:pt x="789425" y="294024"/>
                  </a:lnTo>
                  <a:lnTo>
                    <a:pt x="812450" y="343065"/>
                  </a:lnTo>
                  <a:lnTo>
                    <a:pt x="823674" y="350008"/>
                  </a:lnTo>
                  <a:lnTo>
                    <a:pt x="827461" y="338619"/>
                  </a:lnTo>
                  <a:lnTo>
                    <a:pt x="823070" y="317707"/>
                  </a:lnTo>
                  <a:lnTo>
                    <a:pt x="797932" y="255329"/>
                  </a:lnTo>
                  <a:lnTo>
                    <a:pt x="873620" y="239220"/>
                  </a:lnTo>
                  <a:lnTo>
                    <a:pt x="892665" y="287575"/>
                  </a:lnTo>
                  <a:lnTo>
                    <a:pt x="894751" y="254945"/>
                  </a:lnTo>
                  <a:lnTo>
                    <a:pt x="903780" y="248935"/>
                  </a:lnTo>
                  <a:lnTo>
                    <a:pt x="925679" y="276845"/>
                  </a:lnTo>
                  <a:lnTo>
                    <a:pt x="936876" y="275226"/>
                  </a:lnTo>
                  <a:lnTo>
                    <a:pt x="952216" y="318146"/>
                  </a:lnTo>
                  <a:lnTo>
                    <a:pt x="951668" y="297811"/>
                  </a:lnTo>
                  <a:lnTo>
                    <a:pt x="940773" y="250280"/>
                  </a:lnTo>
                  <a:lnTo>
                    <a:pt x="895821" y="226322"/>
                  </a:lnTo>
                  <a:lnTo>
                    <a:pt x="803531" y="209884"/>
                  </a:lnTo>
                  <a:lnTo>
                    <a:pt x="796395" y="196574"/>
                  </a:lnTo>
                  <a:lnTo>
                    <a:pt x="792416" y="167210"/>
                  </a:lnTo>
                  <a:lnTo>
                    <a:pt x="804601" y="142210"/>
                  </a:lnTo>
                  <a:lnTo>
                    <a:pt x="828202" y="142374"/>
                  </a:lnTo>
                  <a:lnTo>
                    <a:pt x="863905" y="110678"/>
                  </a:lnTo>
                  <a:lnTo>
                    <a:pt x="887945" y="139246"/>
                  </a:lnTo>
                  <a:lnTo>
                    <a:pt x="950268" y="144679"/>
                  </a:lnTo>
                  <a:lnTo>
                    <a:pt x="953726" y="154120"/>
                  </a:lnTo>
                  <a:lnTo>
                    <a:pt x="955016" y="182770"/>
                  </a:lnTo>
                  <a:lnTo>
                    <a:pt x="979687" y="211777"/>
                  </a:lnTo>
                  <a:lnTo>
                    <a:pt x="980593" y="202831"/>
                  </a:lnTo>
                  <a:lnTo>
                    <a:pt x="976970" y="179505"/>
                  </a:lnTo>
                  <a:lnTo>
                    <a:pt x="978809" y="136254"/>
                  </a:lnTo>
                  <a:lnTo>
                    <a:pt x="975077" y="99097"/>
                  </a:lnTo>
                  <a:lnTo>
                    <a:pt x="974583" y="72861"/>
                  </a:lnTo>
                  <a:lnTo>
                    <a:pt x="991103" y="59743"/>
                  </a:lnTo>
                  <a:lnTo>
                    <a:pt x="1001641" y="35621"/>
                  </a:lnTo>
                  <a:lnTo>
                    <a:pt x="1026587" y="47421"/>
                  </a:lnTo>
                  <a:lnTo>
                    <a:pt x="1042202" y="24781"/>
                  </a:lnTo>
                  <a:lnTo>
                    <a:pt x="1086934" y="11060"/>
                  </a:lnTo>
                  <a:lnTo>
                    <a:pt x="1112237" y="20637"/>
                  </a:lnTo>
                  <a:lnTo>
                    <a:pt x="1144592" y="0"/>
                  </a:lnTo>
                  <a:lnTo>
                    <a:pt x="1250275" y="49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8" name="Freeform: Shape 3587">
              <a:extLst>
                <a:ext uri="{FF2B5EF4-FFF2-40B4-BE49-F238E27FC236}">
                  <a16:creationId xmlns:a16="http://schemas.microsoft.com/office/drawing/2014/main" id="{8589C29B-6D2F-A51F-AB1B-213C3B878970}"/>
                </a:ext>
              </a:extLst>
            </p:cNvPr>
            <p:cNvSpPr/>
            <p:nvPr/>
          </p:nvSpPr>
          <p:spPr>
            <a:xfrm>
              <a:off x="1199145" y="3370369"/>
              <a:ext cx="5811" cy="8679"/>
            </a:xfrm>
            <a:custGeom>
              <a:avLst/>
              <a:gdLst>
                <a:gd name="connsiteX0" fmla="*/ 55627 w 55709"/>
                <a:gd name="connsiteY0" fmla="*/ 79118 h 83207"/>
                <a:gd name="connsiteX1" fmla="*/ 50358 w 55709"/>
                <a:gd name="connsiteY1" fmla="*/ 83207 h 83207"/>
                <a:gd name="connsiteX2" fmla="*/ 41905 w 55709"/>
                <a:gd name="connsiteY2" fmla="*/ 79365 h 83207"/>
                <a:gd name="connsiteX3" fmla="*/ 5324 w 55709"/>
                <a:gd name="connsiteY3" fmla="*/ 48711 h 83207"/>
                <a:gd name="connsiteX4" fmla="*/ 0 w 55709"/>
                <a:gd name="connsiteY4" fmla="*/ 24342 h 83207"/>
                <a:gd name="connsiteX5" fmla="*/ 384 w 55709"/>
                <a:gd name="connsiteY5" fmla="*/ 21049 h 83207"/>
                <a:gd name="connsiteX6" fmla="*/ 11115 w 55709"/>
                <a:gd name="connsiteY6" fmla="*/ 0 h 83207"/>
                <a:gd name="connsiteX7" fmla="*/ 21268 w 55709"/>
                <a:gd name="connsiteY7" fmla="*/ 10236 h 83207"/>
                <a:gd name="connsiteX8" fmla="*/ 27169 w 55709"/>
                <a:gd name="connsiteY8" fmla="*/ 32575 h 83207"/>
                <a:gd name="connsiteX9" fmla="*/ 41905 w 55709"/>
                <a:gd name="connsiteY9" fmla="*/ 44485 h 83207"/>
                <a:gd name="connsiteX10" fmla="*/ 55709 w 55709"/>
                <a:gd name="connsiteY10" fmla="*/ 71736 h 83207"/>
                <a:gd name="connsiteX11" fmla="*/ 55627 w 55709"/>
                <a:gd name="connsiteY11" fmla="*/ 79146 h 83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709" h="83207">
                  <a:moveTo>
                    <a:pt x="55627" y="79118"/>
                  </a:moveTo>
                  <a:lnTo>
                    <a:pt x="50358" y="83207"/>
                  </a:lnTo>
                  <a:lnTo>
                    <a:pt x="41905" y="79365"/>
                  </a:lnTo>
                  <a:lnTo>
                    <a:pt x="5324" y="48711"/>
                  </a:lnTo>
                  <a:lnTo>
                    <a:pt x="0" y="24342"/>
                  </a:lnTo>
                  <a:lnTo>
                    <a:pt x="384" y="21049"/>
                  </a:lnTo>
                  <a:lnTo>
                    <a:pt x="11115" y="0"/>
                  </a:lnTo>
                  <a:lnTo>
                    <a:pt x="21268" y="10236"/>
                  </a:lnTo>
                  <a:lnTo>
                    <a:pt x="27169" y="32575"/>
                  </a:lnTo>
                  <a:lnTo>
                    <a:pt x="41905" y="44485"/>
                  </a:lnTo>
                  <a:lnTo>
                    <a:pt x="55709" y="71736"/>
                  </a:lnTo>
                  <a:lnTo>
                    <a:pt x="55627" y="791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0" name="Freeform: Shape 3589">
              <a:extLst>
                <a:ext uri="{FF2B5EF4-FFF2-40B4-BE49-F238E27FC236}">
                  <a16:creationId xmlns:a16="http://schemas.microsoft.com/office/drawing/2014/main" id="{364B0340-2507-CD11-3F77-9F39479F23F3}"/>
                </a:ext>
              </a:extLst>
            </p:cNvPr>
            <p:cNvSpPr/>
            <p:nvPr/>
          </p:nvSpPr>
          <p:spPr>
            <a:xfrm>
              <a:off x="1238001" y="3345103"/>
              <a:ext cx="6357" cy="5914"/>
            </a:xfrm>
            <a:custGeom>
              <a:avLst/>
              <a:gdLst>
                <a:gd name="connsiteX0" fmla="*/ 60896 w 60950"/>
                <a:gd name="connsiteY0" fmla="*/ 50495 h 56697"/>
                <a:gd name="connsiteX1" fmla="*/ 59057 w 60950"/>
                <a:gd name="connsiteY1" fmla="*/ 56697 h 56697"/>
                <a:gd name="connsiteX2" fmla="*/ 53459 w 60950"/>
                <a:gd name="connsiteY2" fmla="*/ 53788 h 56697"/>
                <a:gd name="connsiteX3" fmla="*/ 10511 w 60950"/>
                <a:gd name="connsiteY3" fmla="*/ 21954 h 56697"/>
                <a:gd name="connsiteX4" fmla="*/ 1235 w 60950"/>
                <a:gd name="connsiteY4" fmla="*/ 21213 h 56697"/>
                <a:gd name="connsiteX5" fmla="*/ 0 w 60950"/>
                <a:gd name="connsiteY5" fmla="*/ 11307 h 56697"/>
                <a:gd name="connsiteX6" fmla="*/ 1509 w 60950"/>
                <a:gd name="connsiteY6" fmla="*/ 1043 h 56697"/>
                <a:gd name="connsiteX7" fmla="*/ 10538 w 60950"/>
                <a:gd name="connsiteY7" fmla="*/ 0 h 56697"/>
                <a:gd name="connsiteX8" fmla="*/ 53486 w 60950"/>
                <a:gd name="connsiteY8" fmla="*/ 39490 h 56697"/>
                <a:gd name="connsiteX9" fmla="*/ 59002 w 60950"/>
                <a:gd name="connsiteY9" fmla="*/ 40917 h 56697"/>
                <a:gd name="connsiteX10" fmla="*/ 60951 w 60950"/>
                <a:gd name="connsiteY10" fmla="*/ 50468 h 5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50" h="56697">
                  <a:moveTo>
                    <a:pt x="60896" y="50495"/>
                  </a:moveTo>
                  <a:lnTo>
                    <a:pt x="59057" y="56697"/>
                  </a:lnTo>
                  <a:lnTo>
                    <a:pt x="53459" y="53788"/>
                  </a:lnTo>
                  <a:lnTo>
                    <a:pt x="10511" y="21954"/>
                  </a:lnTo>
                  <a:lnTo>
                    <a:pt x="1235" y="21213"/>
                  </a:lnTo>
                  <a:lnTo>
                    <a:pt x="0" y="11307"/>
                  </a:lnTo>
                  <a:lnTo>
                    <a:pt x="1509" y="1043"/>
                  </a:lnTo>
                  <a:lnTo>
                    <a:pt x="10538" y="0"/>
                  </a:lnTo>
                  <a:lnTo>
                    <a:pt x="53486" y="39490"/>
                  </a:lnTo>
                  <a:lnTo>
                    <a:pt x="59002" y="40917"/>
                  </a:lnTo>
                  <a:lnTo>
                    <a:pt x="60951" y="504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2" name="Freeform: Shape 3591">
              <a:extLst>
                <a:ext uri="{FF2B5EF4-FFF2-40B4-BE49-F238E27FC236}">
                  <a16:creationId xmlns:a16="http://schemas.microsoft.com/office/drawing/2014/main" id="{9272D6BA-E3AC-EF26-AB9F-07B2FC13FD9F}"/>
                </a:ext>
              </a:extLst>
            </p:cNvPr>
            <p:cNvSpPr/>
            <p:nvPr/>
          </p:nvSpPr>
          <p:spPr>
            <a:xfrm>
              <a:off x="1220008" y="3352737"/>
              <a:ext cx="4877" cy="5876"/>
            </a:xfrm>
            <a:custGeom>
              <a:avLst/>
              <a:gdLst>
                <a:gd name="connsiteX0" fmla="*/ 9934 w 46762"/>
                <a:gd name="connsiteY0" fmla="*/ 55901 h 56340"/>
                <a:gd name="connsiteX1" fmla="*/ 7821 w 46762"/>
                <a:gd name="connsiteY1" fmla="*/ 56340 h 56340"/>
                <a:gd name="connsiteX2" fmla="*/ 0 w 46762"/>
                <a:gd name="connsiteY2" fmla="*/ 25714 h 56340"/>
                <a:gd name="connsiteX3" fmla="*/ 3952 w 46762"/>
                <a:gd name="connsiteY3" fmla="*/ 8288 h 56340"/>
                <a:gd name="connsiteX4" fmla="*/ 7821 w 46762"/>
                <a:gd name="connsiteY4" fmla="*/ 5434 h 56340"/>
                <a:gd name="connsiteX5" fmla="*/ 9934 w 46762"/>
                <a:gd name="connsiteY5" fmla="*/ 4610 h 56340"/>
                <a:gd name="connsiteX6" fmla="*/ 21598 w 46762"/>
                <a:gd name="connsiteY6" fmla="*/ 0 h 56340"/>
                <a:gd name="connsiteX7" fmla="*/ 42756 w 46762"/>
                <a:gd name="connsiteY7" fmla="*/ 22750 h 56340"/>
                <a:gd name="connsiteX8" fmla="*/ 46763 w 46762"/>
                <a:gd name="connsiteY8" fmla="*/ 42729 h 56340"/>
                <a:gd name="connsiteX9" fmla="*/ 45446 w 46762"/>
                <a:gd name="connsiteY9" fmla="*/ 48684 h 56340"/>
                <a:gd name="connsiteX10" fmla="*/ 9934 w 46762"/>
                <a:gd name="connsiteY10" fmla="*/ 55929 h 5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62" h="56340">
                  <a:moveTo>
                    <a:pt x="9934" y="55901"/>
                  </a:moveTo>
                  <a:lnTo>
                    <a:pt x="7821" y="56340"/>
                  </a:lnTo>
                  <a:lnTo>
                    <a:pt x="0" y="25714"/>
                  </a:lnTo>
                  <a:lnTo>
                    <a:pt x="3952" y="8288"/>
                  </a:lnTo>
                  <a:lnTo>
                    <a:pt x="7821" y="5434"/>
                  </a:lnTo>
                  <a:lnTo>
                    <a:pt x="9934" y="4610"/>
                  </a:lnTo>
                  <a:lnTo>
                    <a:pt x="21598" y="0"/>
                  </a:lnTo>
                  <a:lnTo>
                    <a:pt x="42756" y="22750"/>
                  </a:lnTo>
                  <a:lnTo>
                    <a:pt x="46763" y="42729"/>
                  </a:lnTo>
                  <a:lnTo>
                    <a:pt x="45446" y="48684"/>
                  </a:lnTo>
                  <a:lnTo>
                    <a:pt x="9934" y="559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3" name="Freeform: Shape 3592">
              <a:extLst>
                <a:ext uri="{FF2B5EF4-FFF2-40B4-BE49-F238E27FC236}">
                  <a16:creationId xmlns:a16="http://schemas.microsoft.com/office/drawing/2014/main" id="{FD11F8B1-51B7-090E-AFB5-4A0FC1CAB72D}"/>
                </a:ext>
              </a:extLst>
            </p:cNvPr>
            <p:cNvSpPr/>
            <p:nvPr/>
          </p:nvSpPr>
          <p:spPr>
            <a:xfrm>
              <a:off x="1305300" y="3373972"/>
              <a:ext cx="2940" cy="6829"/>
            </a:xfrm>
            <a:custGeom>
              <a:avLst/>
              <a:gdLst>
                <a:gd name="connsiteX0" fmla="*/ 28184 w 28183"/>
                <a:gd name="connsiteY0" fmla="*/ 58371 h 65478"/>
                <a:gd name="connsiteX1" fmla="*/ 27937 w 28183"/>
                <a:gd name="connsiteY1" fmla="*/ 65479 h 65478"/>
                <a:gd name="connsiteX2" fmla="*/ 15588 w 28183"/>
                <a:gd name="connsiteY2" fmla="*/ 63777 h 65478"/>
                <a:gd name="connsiteX3" fmla="*/ 960 w 28183"/>
                <a:gd name="connsiteY3" fmla="*/ 26126 h 65478"/>
                <a:gd name="connsiteX4" fmla="*/ 0 w 28183"/>
                <a:gd name="connsiteY4" fmla="*/ 17234 h 65478"/>
                <a:gd name="connsiteX5" fmla="*/ 1537 w 28183"/>
                <a:gd name="connsiteY5" fmla="*/ 8151 h 65478"/>
                <a:gd name="connsiteX6" fmla="*/ 9386 w 28183"/>
                <a:gd name="connsiteY6" fmla="*/ 0 h 65478"/>
                <a:gd name="connsiteX7" fmla="*/ 13886 w 28183"/>
                <a:gd name="connsiteY7" fmla="*/ 8151 h 65478"/>
                <a:gd name="connsiteX8" fmla="*/ 28184 w 28183"/>
                <a:gd name="connsiteY8" fmla="*/ 58399 h 6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83" h="65478">
                  <a:moveTo>
                    <a:pt x="28184" y="58371"/>
                  </a:moveTo>
                  <a:lnTo>
                    <a:pt x="27937" y="65479"/>
                  </a:lnTo>
                  <a:lnTo>
                    <a:pt x="15588" y="63777"/>
                  </a:lnTo>
                  <a:lnTo>
                    <a:pt x="960" y="26126"/>
                  </a:lnTo>
                  <a:lnTo>
                    <a:pt x="0" y="17234"/>
                  </a:lnTo>
                  <a:lnTo>
                    <a:pt x="1537" y="8151"/>
                  </a:lnTo>
                  <a:lnTo>
                    <a:pt x="9386" y="0"/>
                  </a:lnTo>
                  <a:lnTo>
                    <a:pt x="13886" y="8151"/>
                  </a:lnTo>
                  <a:lnTo>
                    <a:pt x="28184" y="583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0" name="Freeform: Shape 3599">
              <a:extLst>
                <a:ext uri="{FF2B5EF4-FFF2-40B4-BE49-F238E27FC236}">
                  <a16:creationId xmlns:a16="http://schemas.microsoft.com/office/drawing/2014/main" id="{EDDA98E6-4A82-DD0A-6814-588BBB7DE145}"/>
                </a:ext>
              </a:extLst>
            </p:cNvPr>
            <p:cNvSpPr/>
            <p:nvPr/>
          </p:nvSpPr>
          <p:spPr>
            <a:xfrm>
              <a:off x="1309905" y="3382811"/>
              <a:ext cx="2381" cy="3692"/>
            </a:xfrm>
            <a:custGeom>
              <a:avLst/>
              <a:gdLst>
                <a:gd name="connsiteX0" fmla="*/ 22833 w 22832"/>
                <a:gd name="connsiteY0" fmla="*/ 34853 h 35401"/>
                <a:gd name="connsiteX1" fmla="*/ 18881 w 22832"/>
                <a:gd name="connsiteY1" fmla="*/ 35401 h 35401"/>
                <a:gd name="connsiteX2" fmla="*/ 13447 w 22832"/>
                <a:gd name="connsiteY2" fmla="*/ 31889 h 35401"/>
                <a:gd name="connsiteX3" fmla="*/ 412 w 22832"/>
                <a:gd name="connsiteY3" fmla="*/ 9934 h 35401"/>
                <a:gd name="connsiteX4" fmla="*/ 0 w 22832"/>
                <a:gd name="connsiteY4" fmla="*/ 6641 h 35401"/>
                <a:gd name="connsiteX5" fmla="*/ 522 w 22832"/>
                <a:gd name="connsiteY5" fmla="*/ 2717 h 35401"/>
                <a:gd name="connsiteX6" fmla="*/ 6065 w 22832"/>
                <a:gd name="connsiteY6" fmla="*/ 0 h 35401"/>
                <a:gd name="connsiteX7" fmla="*/ 14161 w 22832"/>
                <a:gd name="connsiteY7" fmla="*/ 3815 h 35401"/>
                <a:gd name="connsiteX8" fmla="*/ 18689 w 22832"/>
                <a:gd name="connsiteY8" fmla="*/ 15670 h 35401"/>
                <a:gd name="connsiteX9" fmla="*/ 21159 w 22832"/>
                <a:gd name="connsiteY9" fmla="*/ 18250 h 35401"/>
                <a:gd name="connsiteX10" fmla="*/ 22805 w 22832"/>
                <a:gd name="connsiteY10" fmla="*/ 34853 h 3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32" h="35401">
                  <a:moveTo>
                    <a:pt x="22833" y="34853"/>
                  </a:moveTo>
                  <a:lnTo>
                    <a:pt x="18881" y="35401"/>
                  </a:lnTo>
                  <a:lnTo>
                    <a:pt x="13447" y="31889"/>
                  </a:lnTo>
                  <a:lnTo>
                    <a:pt x="412" y="9934"/>
                  </a:lnTo>
                  <a:lnTo>
                    <a:pt x="0" y="6641"/>
                  </a:lnTo>
                  <a:lnTo>
                    <a:pt x="522" y="2717"/>
                  </a:lnTo>
                  <a:lnTo>
                    <a:pt x="6065" y="0"/>
                  </a:lnTo>
                  <a:lnTo>
                    <a:pt x="14161" y="3815"/>
                  </a:lnTo>
                  <a:lnTo>
                    <a:pt x="18689" y="15670"/>
                  </a:lnTo>
                  <a:lnTo>
                    <a:pt x="21159" y="18250"/>
                  </a:lnTo>
                  <a:lnTo>
                    <a:pt x="22805" y="348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2" name="Freeform: Shape 3601">
              <a:extLst>
                <a:ext uri="{FF2B5EF4-FFF2-40B4-BE49-F238E27FC236}">
                  <a16:creationId xmlns:a16="http://schemas.microsoft.com/office/drawing/2014/main" id="{299E7959-6237-7BBA-959D-AA35E0193774}"/>
                </a:ext>
              </a:extLst>
            </p:cNvPr>
            <p:cNvSpPr/>
            <p:nvPr/>
          </p:nvSpPr>
          <p:spPr>
            <a:xfrm>
              <a:off x="1214584" y="3357405"/>
              <a:ext cx="3057" cy="3246"/>
            </a:xfrm>
            <a:custGeom>
              <a:avLst/>
              <a:gdLst>
                <a:gd name="connsiteX0" fmla="*/ 29309 w 29308"/>
                <a:gd name="connsiteY0" fmla="*/ 27388 h 31120"/>
                <a:gd name="connsiteX1" fmla="*/ 19539 w 29308"/>
                <a:gd name="connsiteY1" fmla="*/ 31120 h 31120"/>
                <a:gd name="connsiteX2" fmla="*/ 4418 w 29308"/>
                <a:gd name="connsiteY2" fmla="*/ 27278 h 31120"/>
                <a:gd name="connsiteX3" fmla="*/ 1784 w 29308"/>
                <a:gd name="connsiteY3" fmla="*/ 25001 h 31120"/>
                <a:gd name="connsiteX4" fmla="*/ 0 w 29308"/>
                <a:gd name="connsiteY4" fmla="*/ 8892 h 31120"/>
                <a:gd name="connsiteX5" fmla="*/ 1207 w 29308"/>
                <a:gd name="connsiteY5" fmla="*/ 2689 h 31120"/>
                <a:gd name="connsiteX6" fmla="*/ 7821 w 29308"/>
                <a:gd name="connsiteY6" fmla="*/ 0 h 31120"/>
                <a:gd name="connsiteX7" fmla="*/ 19265 w 29308"/>
                <a:gd name="connsiteY7" fmla="*/ 8178 h 31120"/>
                <a:gd name="connsiteX8" fmla="*/ 29254 w 29308"/>
                <a:gd name="connsiteY8" fmla="*/ 18936 h 31120"/>
                <a:gd name="connsiteX9" fmla="*/ 29309 w 29308"/>
                <a:gd name="connsiteY9" fmla="*/ 27443 h 3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308" h="31120">
                  <a:moveTo>
                    <a:pt x="29309" y="27388"/>
                  </a:moveTo>
                  <a:lnTo>
                    <a:pt x="19539" y="31120"/>
                  </a:lnTo>
                  <a:lnTo>
                    <a:pt x="4418" y="27278"/>
                  </a:lnTo>
                  <a:lnTo>
                    <a:pt x="1784" y="25001"/>
                  </a:lnTo>
                  <a:lnTo>
                    <a:pt x="0" y="8892"/>
                  </a:lnTo>
                  <a:lnTo>
                    <a:pt x="1207" y="2689"/>
                  </a:lnTo>
                  <a:lnTo>
                    <a:pt x="7821" y="0"/>
                  </a:lnTo>
                  <a:lnTo>
                    <a:pt x="19265" y="8178"/>
                  </a:lnTo>
                  <a:lnTo>
                    <a:pt x="29254" y="18936"/>
                  </a:lnTo>
                  <a:lnTo>
                    <a:pt x="29309" y="274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3" name="Freeform: Shape 3602">
              <a:extLst>
                <a:ext uri="{FF2B5EF4-FFF2-40B4-BE49-F238E27FC236}">
                  <a16:creationId xmlns:a16="http://schemas.microsoft.com/office/drawing/2014/main" id="{3398B278-2312-D35D-8C3D-20637E897B39}"/>
                </a:ext>
              </a:extLst>
            </p:cNvPr>
            <p:cNvSpPr/>
            <p:nvPr/>
          </p:nvSpPr>
          <p:spPr>
            <a:xfrm>
              <a:off x="1213130" y="3365998"/>
              <a:ext cx="2296" cy="3861"/>
            </a:xfrm>
            <a:custGeom>
              <a:avLst/>
              <a:gdLst>
                <a:gd name="connsiteX0" fmla="*/ 22009 w 22009"/>
                <a:gd name="connsiteY0" fmla="*/ 20225 h 37020"/>
                <a:gd name="connsiteX1" fmla="*/ 18936 w 22009"/>
                <a:gd name="connsiteY1" fmla="*/ 37021 h 37020"/>
                <a:gd name="connsiteX2" fmla="*/ 14902 w 22009"/>
                <a:gd name="connsiteY2" fmla="*/ 31669 h 37020"/>
                <a:gd name="connsiteX3" fmla="*/ 10072 w 22009"/>
                <a:gd name="connsiteY3" fmla="*/ 18332 h 37020"/>
                <a:gd name="connsiteX4" fmla="*/ 494 w 22009"/>
                <a:gd name="connsiteY4" fmla="*/ 8782 h 37020"/>
                <a:gd name="connsiteX5" fmla="*/ 0 w 22009"/>
                <a:gd name="connsiteY5" fmla="*/ 4226 h 37020"/>
                <a:gd name="connsiteX6" fmla="*/ 768 w 22009"/>
                <a:gd name="connsiteY6" fmla="*/ 0 h 37020"/>
                <a:gd name="connsiteX7" fmla="*/ 12404 w 22009"/>
                <a:gd name="connsiteY7" fmla="*/ 4803 h 37020"/>
                <a:gd name="connsiteX8" fmla="*/ 18551 w 22009"/>
                <a:gd name="connsiteY8" fmla="*/ 10566 h 37020"/>
                <a:gd name="connsiteX9" fmla="*/ 21954 w 22009"/>
                <a:gd name="connsiteY9" fmla="*/ 20225 h 3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09" h="37020">
                  <a:moveTo>
                    <a:pt x="22009" y="20225"/>
                  </a:moveTo>
                  <a:lnTo>
                    <a:pt x="18936" y="37021"/>
                  </a:lnTo>
                  <a:lnTo>
                    <a:pt x="14902" y="31669"/>
                  </a:lnTo>
                  <a:lnTo>
                    <a:pt x="10072" y="18332"/>
                  </a:lnTo>
                  <a:lnTo>
                    <a:pt x="494" y="8782"/>
                  </a:lnTo>
                  <a:lnTo>
                    <a:pt x="0" y="4226"/>
                  </a:lnTo>
                  <a:lnTo>
                    <a:pt x="768" y="0"/>
                  </a:lnTo>
                  <a:lnTo>
                    <a:pt x="12404" y="4803"/>
                  </a:lnTo>
                  <a:lnTo>
                    <a:pt x="18551" y="10566"/>
                  </a:lnTo>
                  <a:lnTo>
                    <a:pt x="21954" y="202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4" name="Freeform: Shape 3603">
              <a:extLst>
                <a:ext uri="{FF2B5EF4-FFF2-40B4-BE49-F238E27FC236}">
                  <a16:creationId xmlns:a16="http://schemas.microsoft.com/office/drawing/2014/main" id="{FCF0A99A-0FD7-C371-E5F3-4D0646F500E6}"/>
                </a:ext>
              </a:extLst>
            </p:cNvPr>
            <p:cNvSpPr/>
            <p:nvPr/>
          </p:nvSpPr>
          <p:spPr>
            <a:xfrm>
              <a:off x="1310355" y="3373543"/>
              <a:ext cx="1317" cy="5742"/>
            </a:xfrm>
            <a:custGeom>
              <a:avLst/>
              <a:gdLst>
                <a:gd name="connsiteX0" fmla="*/ 12624 w 12623"/>
                <a:gd name="connsiteY0" fmla="*/ 44046 h 55050"/>
                <a:gd name="connsiteX1" fmla="*/ 12404 w 12623"/>
                <a:gd name="connsiteY1" fmla="*/ 55051 h 55050"/>
                <a:gd name="connsiteX2" fmla="*/ 8535 w 12623"/>
                <a:gd name="connsiteY2" fmla="*/ 53431 h 55050"/>
                <a:gd name="connsiteX3" fmla="*/ 8068 w 12623"/>
                <a:gd name="connsiteY3" fmla="*/ 44320 h 55050"/>
                <a:gd name="connsiteX4" fmla="*/ 3540 w 12623"/>
                <a:gd name="connsiteY4" fmla="*/ 27525 h 55050"/>
                <a:gd name="connsiteX5" fmla="*/ 1290 w 12623"/>
                <a:gd name="connsiteY5" fmla="*/ 27306 h 55050"/>
                <a:gd name="connsiteX6" fmla="*/ 0 w 12623"/>
                <a:gd name="connsiteY6" fmla="*/ 16548 h 55050"/>
                <a:gd name="connsiteX7" fmla="*/ 247 w 12623"/>
                <a:gd name="connsiteY7" fmla="*/ 0 h 55050"/>
                <a:gd name="connsiteX8" fmla="*/ 2360 w 12623"/>
                <a:gd name="connsiteY8" fmla="*/ 1372 h 55050"/>
                <a:gd name="connsiteX9" fmla="*/ 5296 w 12623"/>
                <a:gd name="connsiteY9" fmla="*/ 21598 h 55050"/>
                <a:gd name="connsiteX10" fmla="*/ 9550 w 12623"/>
                <a:gd name="connsiteY10" fmla="*/ 37652 h 55050"/>
                <a:gd name="connsiteX11" fmla="*/ 12624 w 12623"/>
                <a:gd name="connsiteY11" fmla="*/ 44073 h 5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23" h="55050">
                  <a:moveTo>
                    <a:pt x="12624" y="44046"/>
                  </a:moveTo>
                  <a:lnTo>
                    <a:pt x="12404" y="55051"/>
                  </a:lnTo>
                  <a:lnTo>
                    <a:pt x="8535" y="53431"/>
                  </a:lnTo>
                  <a:lnTo>
                    <a:pt x="8068" y="44320"/>
                  </a:lnTo>
                  <a:lnTo>
                    <a:pt x="3540" y="27525"/>
                  </a:lnTo>
                  <a:lnTo>
                    <a:pt x="1290" y="27306"/>
                  </a:lnTo>
                  <a:lnTo>
                    <a:pt x="0" y="16548"/>
                  </a:lnTo>
                  <a:lnTo>
                    <a:pt x="247" y="0"/>
                  </a:lnTo>
                  <a:lnTo>
                    <a:pt x="2360" y="1372"/>
                  </a:lnTo>
                  <a:lnTo>
                    <a:pt x="5296" y="21598"/>
                  </a:lnTo>
                  <a:lnTo>
                    <a:pt x="9550" y="37652"/>
                  </a:lnTo>
                  <a:lnTo>
                    <a:pt x="12624" y="440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5" name="Freeform: Shape 3604">
              <a:extLst>
                <a:ext uri="{FF2B5EF4-FFF2-40B4-BE49-F238E27FC236}">
                  <a16:creationId xmlns:a16="http://schemas.microsoft.com/office/drawing/2014/main" id="{6276F1A7-8E36-F902-77D0-91CB7407057C}"/>
                </a:ext>
              </a:extLst>
            </p:cNvPr>
            <p:cNvSpPr/>
            <p:nvPr/>
          </p:nvSpPr>
          <p:spPr>
            <a:xfrm>
              <a:off x="1241209" y="3342784"/>
              <a:ext cx="1966" cy="3486"/>
            </a:xfrm>
            <a:custGeom>
              <a:avLst/>
              <a:gdLst>
                <a:gd name="connsiteX0" fmla="*/ 18826 w 18853"/>
                <a:gd name="connsiteY0" fmla="*/ 32685 h 33425"/>
                <a:gd name="connsiteX1" fmla="*/ 15286 w 18853"/>
                <a:gd name="connsiteY1" fmla="*/ 33426 h 33425"/>
                <a:gd name="connsiteX2" fmla="*/ 439 w 18853"/>
                <a:gd name="connsiteY2" fmla="*/ 22448 h 33425"/>
                <a:gd name="connsiteX3" fmla="*/ 0 w 18853"/>
                <a:gd name="connsiteY3" fmla="*/ 18497 h 33425"/>
                <a:gd name="connsiteX4" fmla="*/ 2360 w 18853"/>
                <a:gd name="connsiteY4" fmla="*/ 961 h 33425"/>
                <a:gd name="connsiteX5" fmla="*/ 8508 w 18853"/>
                <a:gd name="connsiteY5" fmla="*/ 0 h 33425"/>
                <a:gd name="connsiteX6" fmla="*/ 13831 w 18853"/>
                <a:gd name="connsiteY6" fmla="*/ 4665 h 33425"/>
                <a:gd name="connsiteX7" fmla="*/ 14710 w 18853"/>
                <a:gd name="connsiteY7" fmla="*/ 15176 h 33425"/>
                <a:gd name="connsiteX8" fmla="*/ 18854 w 18853"/>
                <a:gd name="connsiteY8" fmla="*/ 23491 h 33425"/>
                <a:gd name="connsiteX9" fmla="*/ 18854 w 18853"/>
                <a:gd name="connsiteY9" fmla="*/ 32630 h 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53" h="33425">
                  <a:moveTo>
                    <a:pt x="18826" y="32685"/>
                  </a:moveTo>
                  <a:lnTo>
                    <a:pt x="15286" y="33426"/>
                  </a:lnTo>
                  <a:lnTo>
                    <a:pt x="439" y="22448"/>
                  </a:lnTo>
                  <a:lnTo>
                    <a:pt x="0" y="18497"/>
                  </a:lnTo>
                  <a:lnTo>
                    <a:pt x="2360" y="961"/>
                  </a:lnTo>
                  <a:lnTo>
                    <a:pt x="8508" y="0"/>
                  </a:lnTo>
                  <a:lnTo>
                    <a:pt x="13831" y="4665"/>
                  </a:lnTo>
                  <a:lnTo>
                    <a:pt x="14710" y="15176"/>
                  </a:lnTo>
                  <a:lnTo>
                    <a:pt x="18854" y="23491"/>
                  </a:lnTo>
                  <a:lnTo>
                    <a:pt x="18854" y="326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2" name="Freeform: Shape 3611">
              <a:extLst>
                <a:ext uri="{FF2B5EF4-FFF2-40B4-BE49-F238E27FC236}">
                  <a16:creationId xmlns:a16="http://schemas.microsoft.com/office/drawing/2014/main" id="{9CDE692C-45BB-620F-19ED-ECADB2806FA5}"/>
                </a:ext>
              </a:extLst>
            </p:cNvPr>
            <p:cNvSpPr/>
            <p:nvPr/>
          </p:nvSpPr>
          <p:spPr>
            <a:xfrm>
              <a:off x="1218840" y="3356535"/>
              <a:ext cx="1148" cy="2407"/>
            </a:xfrm>
            <a:custGeom>
              <a:avLst/>
              <a:gdLst>
                <a:gd name="connsiteX0" fmla="*/ 11005 w 11004"/>
                <a:gd name="connsiteY0" fmla="*/ 14161 h 23079"/>
                <a:gd name="connsiteX1" fmla="*/ 10867 w 11004"/>
                <a:gd name="connsiteY1" fmla="*/ 23080 h 23079"/>
                <a:gd name="connsiteX2" fmla="*/ 8068 w 11004"/>
                <a:gd name="connsiteY2" fmla="*/ 22174 h 23079"/>
                <a:gd name="connsiteX3" fmla="*/ 521 w 11004"/>
                <a:gd name="connsiteY3" fmla="*/ 9056 h 23079"/>
                <a:gd name="connsiteX4" fmla="*/ 0 w 11004"/>
                <a:gd name="connsiteY4" fmla="*/ 4144 h 23079"/>
                <a:gd name="connsiteX5" fmla="*/ 604 w 11004"/>
                <a:gd name="connsiteY5" fmla="*/ 0 h 23079"/>
                <a:gd name="connsiteX6" fmla="*/ 10977 w 11004"/>
                <a:gd name="connsiteY6" fmla="*/ 14161 h 2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04" h="23079">
                  <a:moveTo>
                    <a:pt x="11005" y="14161"/>
                  </a:moveTo>
                  <a:lnTo>
                    <a:pt x="10867" y="23080"/>
                  </a:lnTo>
                  <a:lnTo>
                    <a:pt x="8068" y="22174"/>
                  </a:lnTo>
                  <a:lnTo>
                    <a:pt x="521" y="9056"/>
                  </a:lnTo>
                  <a:lnTo>
                    <a:pt x="0" y="4144"/>
                  </a:lnTo>
                  <a:lnTo>
                    <a:pt x="604" y="0"/>
                  </a:lnTo>
                  <a:lnTo>
                    <a:pt x="10977" y="141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5" name="Freeform: Shape 3614">
              <a:extLst>
                <a:ext uri="{FF2B5EF4-FFF2-40B4-BE49-F238E27FC236}">
                  <a16:creationId xmlns:a16="http://schemas.microsoft.com/office/drawing/2014/main" id="{79738D5E-A4ED-8C38-CBAE-E5D0DD32BA37}"/>
                </a:ext>
              </a:extLst>
            </p:cNvPr>
            <p:cNvSpPr/>
            <p:nvPr/>
          </p:nvSpPr>
          <p:spPr>
            <a:xfrm>
              <a:off x="1202531" y="3371445"/>
              <a:ext cx="1053" cy="2130"/>
            </a:xfrm>
            <a:custGeom>
              <a:avLst/>
              <a:gdLst>
                <a:gd name="connsiteX0" fmla="*/ 9632 w 10098"/>
                <a:gd name="connsiteY0" fmla="*/ 6669 h 20417"/>
                <a:gd name="connsiteX1" fmla="*/ 10099 w 10098"/>
                <a:gd name="connsiteY1" fmla="*/ 20418 h 20417"/>
                <a:gd name="connsiteX2" fmla="*/ 2607 w 10098"/>
                <a:gd name="connsiteY2" fmla="*/ 18908 h 20417"/>
                <a:gd name="connsiteX3" fmla="*/ 0 w 10098"/>
                <a:gd name="connsiteY3" fmla="*/ 8370 h 20417"/>
                <a:gd name="connsiteX4" fmla="*/ 2250 w 10098"/>
                <a:gd name="connsiteY4" fmla="*/ 0 h 20417"/>
                <a:gd name="connsiteX5" fmla="*/ 9632 w 10098"/>
                <a:gd name="connsiteY5" fmla="*/ 6669 h 2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8" h="20417">
                  <a:moveTo>
                    <a:pt x="9632" y="6669"/>
                  </a:moveTo>
                  <a:lnTo>
                    <a:pt x="10099" y="20418"/>
                  </a:lnTo>
                  <a:lnTo>
                    <a:pt x="2607" y="18908"/>
                  </a:lnTo>
                  <a:lnTo>
                    <a:pt x="0" y="8370"/>
                  </a:lnTo>
                  <a:lnTo>
                    <a:pt x="2250" y="0"/>
                  </a:lnTo>
                  <a:lnTo>
                    <a:pt x="9632" y="66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0" name="Freeform: Shape 3629">
              <a:extLst>
                <a:ext uri="{FF2B5EF4-FFF2-40B4-BE49-F238E27FC236}">
                  <a16:creationId xmlns:a16="http://schemas.microsoft.com/office/drawing/2014/main" id="{94981B36-32D7-17A0-E8A3-955ED11BD38F}"/>
                </a:ext>
              </a:extLst>
            </p:cNvPr>
            <p:cNvSpPr/>
            <p:nvPr/>
          </p:nvSpPr>
          <p:spPr>
            <a:xfrm>
              <a:off x="1235259" y="3347487"/>
              <a:ext cx="973" cy="1288"/>
            </a:xfrm>
            <a:custGeom>
              <a:avLst/>
              <a:gdLst>
                <a:gd name="connsiteX0" fmla="*/ 6751 w 9330"/>
                <a:gd name="connsiteY0" fmla="*/ 11993 h 12349"/>
                <a:gd name="connsiteX1" fmla="*/ 494 w 9330"/>
                <a:gd name="connsiteY1" fmla="*/ 12349 h 12349"/>
                <a:gd name="connsiteX2" fmla="*/ 0 w 9330"/>
                <a:gd name="connsiteY2" fmla="*/ 6175 h 12349"/>
                <a:gd name="connsiteX3" fmla="*/ 741 w 9330"/>
                <a:gd name="connsiteY3" fmla="*/ 0 h 12349"/>
                <a:gd name="connsiteX4" fmla="*/ 6723 w 9330"/>
                <a:gd name="connsiteY4" fmla="*/ 1400 h 12349"/>
                <a:gd name="connsiteX5" fmla="*/ 9138 w 9330"/>
                <a:gd name="connsiteY5" fmla="*/ 1948 h 12349"/>
                <a:gd name="connsiteX6" fmla="*/ 9331 w 9330"/>
                <a:gd name="connsiteY6" fmla="*/ 11828 h 12349"/>
                <a:gd name="connsiteX7" fmla="*/ 6723 w 9330"/>
                <a:gd name="connsiteY7" fmla="*/ 11965 h 12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30" h="12349">
                  <a:moveTo>
                    <a:pt x="6751" y="11993"/>
                  </a:moveTo>
                  <a:lnTo>
                    <a:pt x="494" y="12349"/>
                  </a:lnTo>
                  <a:lnTo>
                    <a:pt x="0" y="6175"/>
                  </a:lnTo>
                  <a:lnTo>
                    <a:pt x="741" y="0"/>
                  </a:lnTo>
                  <a:lnTo>
                    <a:pt x="6723" y="1400"/>
                  </a:lnTo>
                  <a:lnTo>
                    <a:pt x="9138" y="1948"/>
                  </a:lnTo>
                  <a:lnTo>
                    <a:pt x="9331" y="11828"/>
                  </a:lnTo>
                  <a:lnTo>
                    <a:pt x="6723" y="119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8" name="Freeform: Shape 3637">
              <a:extLst>
                <a:ext uri="{FF2B5EF4-FFF2-40B4-BE49-F238E27FC236}">
                  <a16:creationId xmlns:a16="http://schemas.microsoft.com/office/drawing/2014/main" id="{7CEBA38C-4A39-B565-9E86-A199E08E0685}"/>
                </a:ext>
              </a:extLst>
            </p:cNvPr>
            <p:cNvSpPr/>
            <p:nvPr/>
          </p:nvSpPr>
          <p:spPr>
            <a:xfrm>
              <a:off x="1209383" y="3359085"/>
              <a:ext cx="538" cy="1829"/>
            </a:xfrm>
            <a:custGeom>
              <a:avLst/>
              <a:gdLst>
                <a:gd name="connsiteX0" fmla="*/ 5159 w 5159"/>
                <a:gd name="connsiteY0" fmla="*/ 12047 h 17536"/>
                <a:gd name="connsiteX1" fmla="*/ 1345 w 5159"/>
                <a:gd name="connsiteY1" fmla="*/ 17536 h 17536"/>
                <a:gd name="connsiteX2" fmla="*/ 0 w 5159"/>
                <a:gd name="connsiteY2" fmla="*/ 6394 h 17536"/>
                <a:gd name="connsiteX3" fmla="*/ 4885 w 5159"/>
                <a:gd name="connsiteY3" fmla="*/ 0 h 17536"/>
                <a:gd name="connsiteX4" fmla="*/ 5159 w 5159"/>
                <a:gd name="connsiteY4" fmla="*/ 12047 h 17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9" h="17536">
                  <a:moveTo>
                    <a:pt x="5159" y="12047"/>
                  </a:moveTo>
                  <a:lnTo>
                    <a:pt x="1345" y="17536"/>
                  </a:lnTo>
                  <a:lnTo>
                    <a:pt x="0" y="6394"/>
                  </a:lnTo>
                  <a:lnTo>
                    <a:pt x="4885" y="0"/>
                  </a:lnTo>
                  <a:lnTo>
                    <a:pt x="5159" y="120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0" name="Freeform: Shape 3639">
              <a:extLst>
                <a:ext uri="{FF2B5EF4-FFF2-40B4-BE49-F238E27FC236}">
                  <a16:creationId xmlns:a16="http://schemas.microsoft.com/office/drawing/2014/main" id="{BB20CC29-C775-9922-EDCB-D0B837A8F88E}"/>
                </a:ext>
              </a:extLst>
            </p:cNvPr>
            <p:cNvSpPr/>
            <p:nvPr/>
          </p:nvSpPr>
          <p:spPr>
            <a:xfrm>
              <a:off x="1223394" y="3350384"/>
              <a:ext cx="426" cy="2318"/>
            </a:xfrm>
            <a:custGeom>
              <a:avLst/>
              <a:gdLst>
                <a:gd name="connsiteX0" fmla="*/ 4089 w 4088"/>
                <a:gd name="connsiteY0" fmla="*/ 0 h 22228"/>
                <a:gd name="connsiteX1" fmla="*/ 4089 w 4088"/>
                <a:gd name="connsiteY1" fmla="*/ 22229 h 22228"/>
                <a:gd name="connsiteX2" fmla="*/ 0 w 4088"/>
                <a:gd name="connsiteY2" fmla="*/ 11773 h 22228"/>
                <a:gd name="connsiteX3" fmla="*/ 467 w 4088"/>
                <a:gd name="connsiteY3" fmla="*/ 4418 h 22228"/>
                <a:gd name="connsiteX4" fmla="*/ 4089 w 4088"/>
                <a:gd name="connsiteY4" fmla="*/ 0 h 22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22228">
                  <a:moveTo>
                    <a:pt x="4089" y="0"/>
                  </a:moveTo>
                  <a:lnTo>
                    <a:pt x="4089" y="22229"/>
                  </a:lnTo>
                  <a:cubicBezTo>
                    <a:pt x="4089" y="22229"/>
                    <a:pt x="0" y="11773"/>
                    <a:pt x="0" y="11773"/>
                  </a:cubicBezTo>
                  <a:lnTo>
                    <a:pt x="467" y="4418"/>
                  </a:lnTo>
                  <a:lnTo>
                    <a:pt x="4089"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5" name="Freeform: Shape 3864">
              <a:extLst>
                <a:ext uri="{FF2B5EF4-FFF2-40B4-BE49-F238E27FC236}">
                  <a16:creationId xmlns:a16="http://schemas.microsoft.com/office/drawing/2014/main" id="{F4E68261-9F34-68EF-6C75-BC4A24DEB966}"/>
                </a:ext>
              </a:extLst>
            </p:cNvPr>
            <p:cNvSpPr/>
            <p:nvPr/>
          </p:nvSpPr>
          <p:spPr>
            <a:xfrm>
              <a:off x="1752416" y="3735038"/>
              <a:ext cx="2344" cy="1374"/>
            </a:xfrm>
            <a:custGeom>
              <a:avLst/>
              <a:gdLst>
                <a:gd name="connsiteX0" fmla="*/ 13255 w 22476"/>
                <a:gd name="connsiteY0" fmla="*/ 11608 h 13172"/>
                <a:gd name="connsiteX1" fmla="*/ 9166 w 22476"/>
                <a:gd name="connsiteY1" fmla="*/ 12075 h 13172"/>
                <a:gd name="connsiteX2" fmla="*/ 4857 w 22476"/>
                <a:gd name="connsiteY2" fmla="*/ 11663 h 13172"/>
                <a:gd name="connsiteX3" fmla="*/ 3184 w 22476"/>
                <a:gd name="connsiteY3" fmla="*/ 13172 h 13172"/>
                <a:gd name="connsiteX4" fmla="*/ 0 w 22476"/>
                <a:gd name="connsiteY4" fmla="*/ 9907 h 13172"/>
                <a:gd name="connsiteX5" fmla="*/ 0 w 22476"/>
                <a:gd name="connsiteY5" fmla="*/ 8178 h 13172"/>
                <a:gd name="connsiteX6" fmla="*/ 4446 w 22476"/>
                <a:gd name="connsiteY6" fmla="*/ 3540 h 13172"/>
                <a:gd name="connsiteX7" fmla="*/ 10236 w 22476"/>
                <a:gd name="connsiteY7" fmla="*/ 1784 h 13172"/>
                <a:gd name="connsiteX8" fmla="*/ 17728 w 22476"/>
                <a:gd name="connsiteY8" fmla="*/ 0 h 13172"/>
                <a:gd name="connsiteX9" fmla="*/ 22037 w 22476"/>
                <a:gd name="connsiteY9" fmla="*/ 2278 h 13172"/>
                <a:gd name="connsiteX10" fmla="*/ 22476 w 22476"/>
                <a:gd name="connsiteY10" fmla="*/ 4226 h 13172"/>
                <a:gd name="connsiteX11" fmla="*/ 19732 w 22476"/>
                <a:gd name="connsiteY11" fmla="*/ 9166 h 13172"/>
                <a:gd name="connsiteX12" fmla="*/ 14353 w 22476"/>
                <a:gd name="connsiteY12" fmla="*/ 10620 h 13172"/>
                <a:gd name="connsiteX13" fmla="*/ 13200 w 22476"/>
                <a:gd name="connsiteY13" fmla="*/ 11581 h 1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76" h="13172">
                  <a:moveTo>
                    <a:pt x="13255" y="11608"/>
                  </a:moveTo>
                  <a:lnTo>
                    <a:pt x="9166" y="12075"/>
                  </a:lnTo>
                  <a:lnTo>
                    <a:pt x="4857" y="11663"/>
                  </a:lnTo>
                  <a:lnTo>
                    <a:pt x="3184" y="13172"/>
                  </a:lnTo>
                  <a:lnTo>
                    <a:pt x="0" y="9907"/>
                  </a:lnTo>
                  <a:lnTo>
                    <a:pt x="0" y="8178"/>
                  </a:lnTo>
                  <a:cubicBezTo>
                    <a:pt x="0" y="8178"/>
                    <a:pt x="4446" y="3540"/>
                    <a:pt x="4446" y="3540"/>
                  </a:cubicBezTo>
                  <a:lnTo>
                    <a:pt x="10236" y="1784"/>
                  </a:lnTo>
                  <a:lnTo>
                    <a:pt x="17728" y="0"/>
                  </a:lnTo>
                  <a:lnTo>
                    <a:pt x="22037" y="2278"/>
                  </a:lnTo>
                  <a:lnTo>
                    <a:pt x="22476" y="4226"/>
                  </a:lnTo>
                  <a:lnTo>
                    <a:pt x="19732" y="9166"/>
                  </a:lnTo>
                  <a:lnTo>
                    <a:pt x="14353" y="10620"/>
                  </a:lnTo>
                  <a:lnTo>
                    <a:pt x="13200" y="115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6" name="Freeform: Shape 3865">
              <a:extLst>
                <a:ext uri="{FF2B5EF4-FFF2-40B4-BE49-F238E27FC236}">
                  <a16:creationId xmlns:a16="http://schemas.microsoft.com/office/drawing/2014/main" id="{66384303-CEC5-D3ED-A8DC-B13348556F52}"/>
                </a:ext>
              </a:extLst>
            </p:cNvPr>
            <p:cNvSpPr/>
            <p:nvPr/>
          </p:nvSpPr>
          <p:spPr>
            <a:xfrm>
              <a:off x="1752073" y="3729211"/>
              <a:ext cx="884" cy="512"/>
            </a:xfrm>
            <a:custGeom>
              <a:avLst/>
              <a:gdLst>
                <a:gd name="connsiteX0" fmla="*/ 8453 w 8480"/>
                <a:gd name="connsiteY0" fmla="*/ 1509 h 4912"/>
                <a:gd name="connsiteX1" fmla="*/ 6175 w 8480"/>
                <a:gd name="connsiteY1" fmla="*/ 3897 h 4912"/>
                <a:gd name="connsiteX2" fmla="*/ 2882 w 8480"/>
                <a:gd name="connsiteY2" fmla="*/ 4912 h 4912"/>
                <a:gd name="connsiteX3" fmla="*/ 0 w 8480"/>
                <a:gd name="connsiteY3" fmla="*/ 1921 h 4912"/>
                <a:gd name="connsiteX4" fmla="*/ 1811 w 8480"/>
                <a:gd name="connsiteY4" fmla="*/ 137 h 4912"/>
                <a:gd name="connsiteX5" fmla="*/ 3375 w 8480"/>
                <a:gd name="connsiteY5" fmla="*/ 1866 h 4912"/>
                <a:gd name="connsiteX6" fmla="*/ 6339 w 8480"/>
                <a:gd name="connsiteY6" fmla="*/ 0 h 4912"/>
                <a:gd name="connsiteX7" fmla="*/ 8480 w 8480"/>
                <a:gd name="connsiteY7" fmla="*/ 1509 h 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80" h="4912">
                  <a:moveTo>
                    <a:pt x="8453" y="1509"/>
                  </a:moveTo>
                  <a:lnTo>
                    <a:pt x="6175" y="3897"/>
                  </a:lnTo>
                  <a:lnTo>
                    <a:pt x="2882" y="4912"/>
                  </a:lnTo>
                  <a:lnTo>
                    <a:pt x="0" y="1921"/>
                  </a:lnTo>
                  <a:lnTo>
                    <a:pt x="1811" y="137"/>
                  </a:lnTo>
                  <a:lnTo>
                    <a:pt x="3375" y="1866"/>
                  </a:lnTo>
                  <a:lnTo>
                    <a:pt x="6339" y="0"/>
                  </a:lnTo>
                  <a:lnTo>
                    <a:pt x="8480" y="15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7" name="Freeform: Shape 3866">
              <a:extLst>
                <a:ext uri="{FF2B5EF4-FFF2-40B4-BE49-F238E27FC236}">
                  <a16:creationId xmlns:a16="http://schemas.microsoft.com/office/drawing/2014/main" id="{63DACA02-CF21-4774-C613-B5D1A63AAA5B}"/>
                </a:ext>
              </a:extLst>
            </p:cNvPr>
            <p:cNvSpPr/>
            <p:nvPr/>
          </p:nvSpPr>
          <p:spPr>
            <a:xfrm>
              <a:off x="1753424" y="3732597"/>
              <a:ext cx="461" cy="452"/>
            </a:xfrm>
            <a:custGeom>
              <a:avLst/>
              <a:gdLst>
                <a:gd name="connsiteX0" fmla="*/ 4391 w 4418"/>
                <a:gd name="connsiteY0" fmla="*/ 1756 h 4335"/>
                <a:gd name="connsiteX1" fmla="*/ 659 w 4418"/>
                <a:gd name="connsiteY1" fmla="*/ 4336 h 4335"/>
                <a:gd name="connsiteX2" fmla="*/ 0 w 4418"/>
                <a:gd name="connsiteY2" fmla="*/ 2772 h 4335"/>
                <a:gd name="connsiteX3" fmla="*/ 2662 w 4418"/>
                <a:gd name="connsiteY3" fmla="*/ 0 h 4335"/>
                <a:gd name="connsiteX4" fmla="*/ 4419 w 4418"/>
                <a:gd name="connsiteY4" fmla="*/ 1756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4335">
                  <a:moveTo>
                    <a:pt x="4391" y="1756"/>
                  </a:moveTo>
                  <a:lnTo>
                    <a:pt x="659" y="4336"/>
                  </a:lnTo>
                  <a:lnTo>
                    <a:pt x="0" y="2772"/>
                  </a:lnTo>
                  <a:lnTo>
                    <a:pt x="2662" y="0"/>
                  </a:lnTo>
                  <a:lnTo>
                    <a:pt x="4419"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8" name="Freeform: Shape 3867">
              <a:extLst>
                <a:ext uri="{FF2B5EF4-FFF2-40B4-BE49-F238E27FC236}">
                  <a16:creationId xmlns:a16="http://schemas.microsoft.com/office/drawing/2014/main" id="{F6943574-C83A-DB11-D65B-8737D6EB70A1}"/>
                </a:ext>
              </a:extLst>
            </p:cNvPr>
            <p:cNvSpPr/>
            <p:nvPr/>
          </p:nvSpPr>
          <p:spPr>
            <a:xfrm>
              <a:off x="1751955" y="3730001"/>
              <a:ext cx="358" cy="541"/>
            </a:xfrm>
            <a:custGeom>
              <a:avLst/>
              <a:gdLst>
                <a:gd name="connsiteX0" fmla="*/ 3403 w 3430"/>
                <a:gd name="connsiteY0" fmla="*/ 3320 h 5186"/>
                <a:gd name="connsiteX1" fmla="*/ 1948 w 3430"/>
                <a:gd name="connsiteY1" fmla="*/ 5187 h 5186"/>
                <a:gd name="connsiteX2" fmla="*/ 0 w 3430"/>
                <a:gd name="connsiteY2" fmla="*/ 714 h 5186"/>
                <a:gd name="connsiteX3" fmla="*/ 1674 w 3430"/>
                <a:gd name="connsiteY3" fmla="*/ 0 h 5186"/>
                <a:gd name="connsiteX4" fmla="*/ 3430 w 3430"/>
                <a:gd name="connsiteY4" fmla="*/ 3320 h 5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5186">
                  <a:moveTo>
                    <a:pt x="3403" y="3320"/>
                  </a:moveTo>
                  <a:lnTo>
                    <a:pt x="1948" y="5187"/>
                  </a:lnTo>
                  <a:lnTo>
                    <a:pt x="0" y="714"/>
                  </a:lnTo>
                  <a:lnTo>
                    <a:pt x="1674" y="0"/>
                  </a:lnTo>
                  <a:lnTo>
                    <a:pt x="3430" y="33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9" name="Freeform: Shape 3868">
              <a:extLst>
                <a:ext uri="{FF2B5EF4-FFF2-40B4-BE49-F238E27FC236}">
                  <a16:creationId xmlns:a16="http://schemas.microsoft.com/office/drawing/2014/main" id="{FDB729E8-1419-6EB9-E9BC-4E503CEA4040}"/>
                </a:ext>
              </a:extLst>
            </p:cNvPr>
            <p:cNvSpPr/>
            <p:nvPr/>
          </p:nvSpPr>
          <p:spPr>
            <a:xfrm>
              <a:off x="1751563" y="3730536"/>
              <a:ext cx="389" cy="458"/>
            </a:xfrm>
            <a:custGeom>
              <a:avLst/>
              <a:gdLst>
                <a:gd name="connsiteX0" fmla="*/ 3733 w 3732"/>
                <a:gd name="connsiteY0" fmla="*/ 2772 h 4390"/>
                <a:gd name="connsiteX1" fmla="*/ 2662 w 3732"/>
                <a:gd name="connsiteY1" fmla="*/ 4391 h 4390"/>
                <a:gd name="connsiteX2" fmla="*/ 1016 w 3732"/>
                <a:gd name="connsiteY2" fmla="*/ 3924 h 4390"/>
                <a:gd name="connsiteX3" fmla="*/ 0 w 3732"/>
                <a:gd name="connsiteY3" fmla="*/ 1400 h 4390"/>
                <a:gd name="connsiteX4" fmla="*/ 440 w 3732"/>
                <a:gd name="connsiteY4" fmla="*/ 0 h 4390"/>
                <a:gd name="connsiteX5" fmla="*/ 3733 w 3732"/>
                <a:gd name="connsiteY5" fmla="*/ 2772 h 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2" h="4390">
                  <a:moveTo>
                    <a:pt x="3733" y="2772"/>
                  </a:moveTo>
                  <a:lnTo>
                    <a:pt x="2662" y="4391"/>
                  </a:lnTo>
                  <a:lnTo>
                    <a:pt x="1016" y="3924"/>
                  </a:lnTo>
                  <a:lnTo>
                    <a:pt x="0" y="1400"/>
                  </a:lnTo>
                  <a:lnTo>
                    <a:pt x="440" y="0"/>
                  </a:lnTo>
                  <a:lnTo>
                    <a:pt x="3733"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0" name="Freeform: Shape 3869">
              <a:extLst>
                <a:ext uri="{FF2B5EF4-FFF2-40B4-BE49-F238E27FC236}">
                  <a16:creationId xmlns:a16="http://schemas.microsoft.com/office/drawing/2014/main" id="{7616F95D-124A-71BA-5E79-781E93535EE8}"/>
                </a:ext>
              </a:extLst>
            </p:cNvPr>
            <p:cNvSpPr/>
            <p:nvPr/>
          </p:nvSpPr>
          <p:spPr>
            <a:xfrm>
              <a:off x="1757062" y="3730914"/>
              <a:ext cx="375" cy="447"/>
            </a:xfrm>
            <a:custGeom>
              <a:avLst/>
              <a:gdLst>
                <a:gd name="connsiteX0" fmla="*/ 3403 w 3595"/>
                <a:gd name="connsiteY0" fmla="*/ 3540 h 4281"/>
                <a:gd name="connsiteX1" fmla="*/ 906 w 3595"/>
                <a:gd name="connsiteY1" fmla="*/ 4281 h 4281"/>
                <a:gd name="connsiteX2" fmla="*/ 0 w 3595"/>
                <a:gd name="connsiteY2" fmla="*/ 3266 h 4281"/>
                <a:gd name="connsiteX3" fmla="*/ 2388 w 3595"/>
                <a:gd name="connsiteY3" fmla="*/ 0 h 4281"/>
                <a:gd name="connsiteX4" fmla="*/ 3595 w 3595"/>
                <a:gd name="connsiteY4" fmla="*/ 549 h 4281"/>
                <a:gd name="connsiteX5" fmla="*/ 3403 w 3595"/>
                <a:gd name="connsiteY5" fmla="*/ 3568 h 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5" h="4281">
                  <a:moveTo>
                    <a:pt x="3403" y="3540"/>
                  </a:moveTo>
                  <a:lnTo>
                    <a:pt x="906" y="4281"/>
                  </a:lnTo>
                  <a:lnTo>
                    <a:pt x="0" y="3266"/>
                  </a:lnTo>
                  <a:lnTo>
                    <a:pt x="2388" y="0"/>
                  </a:lnTo>
                  <a:lnTo>
                    <a:pt x="3595" y="549"/>
                  </a:lnTo>
                  <a:lnTo>
                    <a:pt x="3403" y="35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1" name="Freeform: Shape 3870">
              <a:extLst>
                <a:ext uri="{FF2B5EF4-FFF2-40B4-BE49-F238E27FC236}">
                  <a16:creationId xmlns:a16="http://schemas.microsoft.com/office/drawing/2014/main" id="{58F381DA-3636-786E-1F8D-D50B40C66DB2}"/>
                </a:ext>
              </a:extLst>
            </p:cNvPr>
            <p:cNvSpPr/>
            <p:nvPr/>
          </p:nvSpPr>
          <p:spPr>
            <a:xfrm>
              <a:off x="1750819" y="3719582"/>
              <a:ext cx="404" cy="401"/>
            </a:xfrm>
            <a:custGeom>
              <a:avLst/>
              <a:gdLst>
                <a:gd name="connsiteX0" fmla="*/ 3128 w 3869"/>
                <a:gd name="connsiteY0" fmla="*/ 0 h 3842"/>
                <a:gd name="connsiteX1" fmla="*/ 3869 w 3869"/>
                <a:gd name="connsiteY1" fmla="*/ 3842 h 3842"/>
                <a:gd name="connsiteX2" fmla="*/ 0 w 3869"/>
                <a:gd name="connsiteY2" fmla="*/ 3238 h 3842"/>
                <a:gd name="connsiteX3" fmla="*/ 795 w 3869"/>
                <a:gd name="connsiteY3" fmla="*/ 1372 h 3842"/>
                <a:gd name="connsiteX4" fmla="*/ 3101 w 3869"/>
                <a:gd name="connsiteY4" fmla="*/ 0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3842">
                  <a:moveTo>
                    <a:pt x="3128" y="0"/>
                  </a:moveTo>
                  <a:lnTo>
                    <a:pt x="3869" y="3842"/>
                  </a:lnTo>
                  <a:lnTo>
                    <a:pt x="0" y="3238"/>
                  </a:lnTo>
                  <a:lnTo>
                    <a:pt x="795" y="1372"/>
                  </a:lnTo>
                  <a:lnTo>
                    <a:pt x="3101"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2" name="Freeform: Shape 3871">
              <a:extLst>
                <a:ext uri="{FF2B5EF4-FFF2-40B4-BE49-F238E27FC236}">
                  <a16:creationId xmlns:a16="http://schemas.microsoft.com/office/drawing/2014/main" id="{74751052-8E28-6D3B-B1EE-6DA9C4E8E986}"/>
                </a:ext>
              </a:extLst>
            </p:cNvPr>
            <p:cNvSpPr/>
            <p:nvPr/>
          </p:nvSpPr>
          <p:spPr>
            <a:xfrm>
              <a:off x="1752897" y="3723829"/>
              <a:ext cx="289" cy="532"/>
            </a:xfrm>
            <a:custGeom>
              <a:avLst/>
              <a:gdLst>
                <a:gd name="connsiteX0" fmla="*/ 2772 w 2771"/>
                <a:gd name="connsiteY0" fmla="*/ 3485 h 5104"/>
                <a:gd name="connsiteX1" fmla="*/ 2195 w 2771"/>
                <a:gd name="connsiteY1" fmla="*/ 5104 h 5104"/>
                <a:gd name="connsiteX2" fmla="*/ 631 w 2771"/>
                <a:gd name="connsiteY2" fmla="*/ 4199 h 5104"/>
                <a:gd name="connsiteX3" fmla="*/ 0 w 2771"/>
                <a:gd name="connsiteY3" fmla="*/ 0 h 5104"/>
                <a:gd name="connsiteX4" fmla="*/ 1427 w 2771"/>
                <a:gd name="connsiteY4" fmla="*/ 0 h 5104"/>
                <a:gd name="connsiteX5" fmla="*/ 2772 w 2771"/>
                <a:gd name="connsiteY5" fmla="*/ 3485 h 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 h="5104">
                  <a:moveTo>
                    <a:pt x="2772" y="3485"/>
                  </a:moveTo>
                  <a:lnTo>
                    <a:pt x="2195" y="5104"/>
                  </a:lnTo>
                  <a:lnTo>
                    <a:pt x="631" y="4199"/>
                  </a:lnTo>
                  <a:lnTo>
                    <a:pt x="0" y="0"/>
                  </a:lnTo>
                  <a:lnTo>
                    <a:pt x="1427" y="0"/>
                  </a:lnTo>
                  <a:lnTo>
                    <a:pt x="2772"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3" name="Freeform: Shape 3872">
              <a:extLst>
                <a:ext uri="{FF2B5EF4-FFF2-40B4-BE49-F238E27FC236}">
                  <a16:creationId xmlns:a16="http://schemas.microsoft.com/office/drawing/2014/main" id="{F3694B5F-3A81-85AE-7220-E786AA98512B}"/>
                </a:ext>
              </a:extLst>
            </p:cNvPr>
            <p:cNvSpPr/>
            <p:nvPr/>
          </p:nvSpPr>
          <p:spPr>
            <a:xfrm>
              <a:off x="1753464" y="3720938"/>
              <a:ext cx="395" cy="378"/>
            </a:xfrm>
            <a:custGeom>
              <a:avLst/>
              <a:gdLst>
                <a:gd name="connsiteX0" fmla="*/ 3375 w 3786"/>
                <a:gd name="connsiteY0" fmla="*/ 3348 h 3622"/>
                <a:gd name="connsiteX1" fmla="*/ 960 w 3786"/>
                <a:gd name="connsiteY1" fmla="*/ 3622 h 3622"/>
                <a:gd name="connsiteX2" fmla="*/ 0 w 3786"/>
                <a:gd name="connsiteY2" fmla="*/ 2058 h 3622"/>
                <a:gd name="connsiteX3" fmla="*/ 384 w 3786"/>
                <a:gd name="connsiteY3" fmla="*/ 0 h 3622"/>
                <a:gd name="connsiteX4" fmla="*/ 3787 w 3786"/>
                <a:gd name="connsiteY4" fmla="*/ 1784 h 3622"/>
                <a:gd name="connsiteX5" fmla="*/ 3375 w 3786"/>
                <a:gd name="connsiteY5" fmla="*/ 3375 h 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6" h="3622">
                  <a:moveTo>
                    <a:pt x="3375" y="3348"/>
                  </a:moveTo>
                  <a:lnTo>
                    <a:pt x="960" y="3622"/>
                  </a:lnTo>
                  <a:lnTo>
                    <a:pt x="0" y="2058"/>
                  </a:lnTo>
                  <a:lnTo>
                    <a:pt x="384" y="0"/>
                  </a:lnTo>
                  <a:lnTo>
                    <a:pt x="3787" y="1784"/>
                  </a:lnTo>
                  <a:lnTo>
                    <a:pt x="3375" y="33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4" name="Freeform: Shape 3873">
              <a:extLst>
                <a:ext uri="{FF2B5EF4-FFF2-40B4-BE49-F238E27FC236}">
                  <a16:creationId xmlns:a16="http://schemas.microsoft.com/office/drawing/2014/main" id="{03EA6534-50A2-2222-CB5A-13A242B12145}"/>
                </a:ext>
              </a:extLst>
            </p:cNvPr>
            <p:cNvSpPr/>
            <p:nvPr/>
          </p:nvSpPr>
          <p:spPr>
            <a:xfrm>
              <a:off x="1752207" y="3730894"/>
              <a:ext cx="404" cy="323"/>
            </a:xfrm>
            <a:custGeom>
              <a:avLst/>
              <a:gdLst>
                <a:gd name="connsiteX0" fmla="*/ 3870 w 3869"/>
                <a:gd name="connsiteY0" fmla="*/ 2031 h 3101"/>
                <a:gd name="connsiteX1" fmla="*/ 1455 w 3869"/>
                <a:gd name="connsiteY1" fmla="*/ 3101 h 3101"/>
                <a:gd name="connsiteX2" fmla="*/ 0 w 3869"/>
                <a:gd name="connsiteY2" fmla="*/ 2826 h 3101"/>
                <a:gd name="connsiteX3" fmla="*/ 192 w 3869"/>
                <a:gd name="connsiteY3" fmla="*/ 878 h 3101"/>
                <a:gd name="connsiteX4" fmla="*/ 1455 w 3869"/>
                <a:gd name="connsiteY4" fmla="*/ 0 h 3101"/>
                <a:gd name="connsiteX5" fmla="*/ 2744 w 3869"/>
                <a:gd name="connsiteY5" fmla="*/ 0 h 3101"/>
                <a:gd name="connsiteX6" fmla="*/ 3870 w 3869"/>
                <a:gd name="connsiteY6" fmla="*/ 2031 h 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9" h="3101">
                  <a:moveTo>
                    <a:pt x="3870" y="2031"/>
                  </a:moveTo>
                  <a:lnTo>
                    <a:pt x="1455" y="3101"/>
                  </a:lnTo>
                  <a:lnTo>
                    <a:pt x="0" y="2826"/>
                  </a:lnTo>
                  <a:lnTo>
                    <a:pt x="192" y="878"/>
                  </a:lnTo>
                  <a:lnTo>
                    <a:pt x="1455" y="0"/>
                  </a:lnTo>
                  <a:lnTo>
                    <a:pt x="2744" y="0"/>
                  </a:lnTo>
                  <a:lnTo>
                    <a:pt x="387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5" name="Freeform: Shape 3874">
              <a:extLst>
                <a:ext uri="{FF2B5EF4-FFF2-40B4-BE49-F238E27FC236}">
                  <a16:creationId xmlns:a16="http://schemas.microsoft.com/office/drawing/2014/main" id="{B7260DCF-CE6E-1272-9792-438C1F84B69C}"/>
                </a:ext>
              </a:extLst>
            </p:cNvPr>
            <p:cNvSpPr/>
            <p:nvPr/>
          </p:nvSpPr>
          <p:spPr>
            <a:xfrm>
              <a:off x="1747688" y="3718288"/>
              <a:ext cx="375" cy="341"/>
            </a:xfrm>
            <a:custGeom>
              <a:avLst/>
              <a:gdLst>
                <a:gd name="connsiteX0" fmla="*/ 2553 w 3595"/>
                <a:gd name="connsiteY0" fmla="*/ 3266 h 3265"/>
                <a:gd name="connsiteX1" fmla="*/ 0 w 3595"/>
                <a:gd name="connsiteY1" fmla="*/ 3266 h 3265"/>
                <a:gd name="connsiteX2" fmla="*/ 55 w 3595"/>
                <a:gd name="connsiteY2" fmla="*/ 878 h 3265"/>
                <a:gd name="connsiteX3" fmla="*/ 2443 w 3595"/>
                <a:gd name="connsiteY3" fmla="*/ 0 h 3265"/>
                <a:gd name="connsiteX4" fmla="*/ 3595 w 3595"/>
                <a:gd name="connsiteY4" fmla="*/ 1262 h 3265"/>
                <a:gd name="connsiteX5" fmla="*/ 2553 w 3595"/>
                <a:gd name="connsiteY5" fmla="*/ 3266 h 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5" h="3265">
                  <a:moveTo>
                    <a:pt x="2553" y="3266"/>
                  </a:moveTo>
                  <a:lnTo>
                    <a:pt x="0" y="3266"/>
                  </a:lnTo>
                  <a:lnTo>
                    <a:pt x="55" y="878"/>
                  </a:lnTo>
                  <a:lnTo>
                    <a:pt x="2443" y="0"/>
                  </a:lnTo>
                  <a:lnTo>
                    <a:pt x="3595" y="1262"/>
                  </a:lnTo>
                  <a:lnTo>
                    <a:pt x="2553"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3896" name="Graphic 33">
              <a:extLst>
                <a:ext uri="{FF2B5EF4-FFF2-40B4-BE49-F238E27FC236}">
                  <a16:creationId xmlns:a16="http://schemas.microsoft.com/office/drawing/2014/main" id="{1F210640-837B-1C4F-3F17-AE4241BDE8A6}"/>
                </a:ext>
              </a:extLst>
            </p:cNvPr>
            <p:cNvGrpSpPr/>
            <p:nvPr/>
          </p:nvGrpSpPr>
          <p:grpSpPr>
            <a:xfrm>
              <a:off x="1746886" y="3698177"/>
              <a:ext cx="19369" cy="34002"/>
              <a:chOff x="-2629179" y="3474939"/>
              <a:chExt cx="185706" cy="325995"/>
            </a:xfrm>
            <a:solidFill>
              <a:schemeClr val="bg2">
                <a:lumMod val="40000"/>
                <a:lumOff val="60000"/>
              </a:schemeClr>
            </a:solidFill>
          </p:grpSpPr>
          <p:sp>
            <p:nvSpPr>
              <p:cNvPr id="4606" name="Freeform: Shape 4605">
                <a:extLst>
                  <a:ext uri="{FF2B5EF4-FFF2-40B4-BE49-F238E27FC236}">
                    <a16:creationId xmlns:a16="http://schemas.microsoft.com/office/drawing/2014/main" id="{92C65714-55FB-87A3-D0E4-3A1247276548}"/>
                  </a:ext>
                </a:extLst>
              </p:cNvPr>
              <p:cNvSpPr/>
              <p:nvPr/>
            </p:nvSpPr>
            <p:spPr>
              <a:xfrm>
                <a:off x="-2575775" y="3644399"/>
                <a:ext cx="98602" cy="156534"/>
              </a:xfrm>
              <a:custGeom>
                <a:avLst/>
                <a:gdLst>
                  <a:gd name="connsiteX0" fmla="*/ 64271 w 98602"/>
                  <a:gd name="connsiteY0" fmla="*/ 55 h 156534"/>
                  <a:gd name="connsiteX1" fmla="*/ 76813 w 98602"/>
                  <a:gd name="connsiteY1" fmla="*/ 25220 h 156534"/>
                  <a:gd name="connsiteX2" fmla="*/ 92593 w 98602"/>
                  <a:gd name="connsiteY2" fmla="*/ 52279 h 156534"/>
                  <a:gd name="connsiteX3" fmla="*/ 96270 w 98602"/>
                  <a:gd name="connsiteY3" fmla="*/ 69870 h 156534"/>
                  <a:gd name="connsiteX4" fmla="*/ 95556 w 98602"/>
                  <a:gd name="connsiteY4" fmla="*/ 91879 h 156534"/>
                  <a:gd name="connsiteX5" fmla="*/ 98602 w 98602"/>
                  <a:gd name="connsiteY5" fmla="*/ 98685 h 156534"/>
                  <a:gd name="connsiteX6" fmla="*/ 95721 w 98602"/>
                  <a:gd name="connsiteY6" fmla="*/ 113257 h 156534"/>
                  <a:gd name="connsiteX7" fmla="*/ 88531 w 98602"/>
                  <a:gd name="connsiteY7" fmla="*/ 126128 h 156534"/>
                  <a:gd name="connsiteX8" fmla="*/ 82494 w 98602"/>
                  <a:gd name="connsiteY8" fmla="*/ 129613 h 156534"/>
                  <a:gd name="connsiteX9" fmla="*/ 73986 w 98602"/>
                  <a:gd name="connsiteY9" fmla="*/ 129256 h 156534"/>
                  <a:gd name="connsiteX10" fmla="*/ 68964 w 98602"/>
                  <a:gd name="connsiteY10" fmla="*/ 131589 h 156534"/>
                  <a:gd name="connsiteX11" fmla="*/ 68827 w 98602"/>
                  <a:gd name="connsiteY11" fmla="*/ 135294 h 156534"/>
                  <a:gd name="connsiteX12" fmla="*/ 72916 w 98602"/>
                  <a:gd name="connsiteY12" fmla="*/ 137105 h 156534"/>
                  <a:gd name="connsiteX13" fmla="*/ 72065 w 98602"/>
                  <a:gd name="connsiteY13" fmla="*/ 139904 h 156534"/>
                  <a:gd name="connsiteX14" fmla="*/ 68086 w 98602"/>
                  <a:gd name="connsiteY14" fmla="*/ 139520 h 156534"/>
                  <a:gd name="connsiteX15" fmla="*/ 65561 w 98602"/>
                  <a:gd name="connsiteY15" fmla="*/ 140069 h 156534"/>
                  <a:gd name="connsiteX16" fmla="*/ 63723 w 98602"/>
                  <a:gd name="connsiteY16" fmla="*/ 137572 h 156534"/>
                  <a:gd name="connsiteX17" fmla="*/ 61390 w 98602"/>
                  <a:gd name="connsiteY17" fmla="*/ 136721 h 156534"/>
                  <a:gd name="connsiteX18" fmla="*/ 51894 w 98602"/>
                  <a:gd name="connsiteY18" fmla="*/ 141057 h 156534"/>
                  <a:gd name="connsiteX19" fmla="*/ 47833 w 98602"/>
                  <a:gd name="connsiteY19" fmla="*/ 136666 h 156534"/>
                  <a:gd name="connsiteX20" fmla="*/ 45281 w 98602"/>
                  <a:gd name="connsiteY20" fmla="*/ 135843 h 156534"/>
                  <a:gd name="connsiteX21" fmla="*/ 44046 w 98602"/>
                  <a:gd name="connsiteY21" fmla="*/ 136803 h 156534"/>
                  <a:gd name="connsiteX22" fmla="*/ 44814 w 98602"/>
                  <a:gd name="connsiteY22" fmla="*/ 139849 h 156534"/>
                  <a:gd name="connsiteX23" fmla="*/ 43333 w 98602"/>
                  <a:gd name="connsiteY23" fmla="*/ 142566 h 156534"/>
                  <a:gd name="connsiteX24" fmla="*/ 39710 w 98602"/>
                  <a:gd name="connsiteY24" fmla="*/ 140481 h 156534"/>
                  <a:gd name="connsiteX25" fmla="*/ 37762 w 98602"/>
                  <a:gd name="connsiteY25" fmla="*/ 141414 h 156534"/>
                  <a:gd name="connsiteX26" fmla="*/ 35813 w 98602"/>
                  <a:gd name="connsiteY26" fmla="*/ 151376 h 156534"/>
                  <a:gd name="connsiteX27" fmla="*/ 29089 w 98602"/>
                  <a:gd name="connsiteY27" fmla="*/ 152254 h 156534"/>
                  <a:gd name="connsiteX28" fmla="*/ 31038 w 98602"/>
                  <a:gd name="connsiteY28" fmla="*/ 145914 h 156534"/>
                  <a:gd name="connsiteX29" fmla="*/ 30077 w 98602"/>
                  <a:gd name="connsiteY29" fmla="*/ 144131 h 156534"/>
                  <a:gd name="connsiteX30" fmla="*/ 25138 w 98602"/>
                  <a:gd name="connsiteY30" fmla="*/ 147177 h 156534"/>
                  <a:gd name="connsiteX31" fmla="*/ 20692 w 98602"/>
                  <a:gd name="connsiteY31" fmla="*/ 154037 h 156534"/>
                  <a:gd name="connsiteX32" fmla="*/ 17508 w 98602"/>
                  <a:gd name="connsiteY32" fmla="*/ 153050 h 156534"/>
                  <a:gd name="connsiteX33" fmla="*/ 14517 w 98602"/>
                  <a:gd name="connsiteY33" fmla="*/ 156535 h 156534"/>
                  <a:gd name="connsiteX34" fmla="*/ 11471 w 98602"/>
                  <a:gd name="connsiteY34" fmla="*/ 156013 h 156534"/>
                  <a:gd name="connsiteX35" fmla="*/ 7766 w 98602"/>
                  <a:gd name="connsiteY35" fmla="*/ 151321 h 156534"/>
                  <a:gd name="connsiteX36" fmla="*/ 3238 w 98602"/>
                  <a:gd name="connsiteY36" fmla="*/ 153406 h 156534"/>
                  <a:gd name="connsiteX37" fmla="*/ 82 w 98602"/>
                  <a:gd name="connsiteY37" fmla="*/ 152967 h 156534"/>
                  <a:gd name="connsiteX38" fmla="*/ 3375 w 98602"/>
                  <a:gd name="connsiteY38" fmla="*/ 145393 h 156534"/>
                  <a:gd name="connsiteX39" fmla="*/ 7766 w 98602"/>
                  <a:gd name="connsiteY39" fmla="*/ 143143 h 156534"/>
                  <a:gd name="connsiteX40" fmla="*/ 4693 w 98602"/>
                  <a:gd name="connsiteY40" fmla="*/ 134553 h 156534"/>
                  <a:gd name="connsiteX41" fmla="*/ 6285 w 98602"/>
                  <a:gd name="connsiteY41" fmla="*/ 129805 h 156534"/>
                  <a:gd name="connsiteX42" fmla="*/ 6531 w 98602"/>
                  <a:gd name="connsiteY42" fmla="*/ 122588 h 156534"/>
                  <a:gd name="connsiteX43" fmla="*/ 9961 w 98602"/>
                  <a:gd name="connsiteY43" fmla="*/ 114959 h 156534"/>
                  <a:gd name="connsiteX44" fmla="*/ 11005 w 98602"/>
                  <a:gd name="connsiteY44" fmla="*/ 108400 h 156534"/>
                  <a:gd name="connsiteX45" fmla="*/ 14023 w 98602"/>
                  <a:gd name="connsiteY45" fmla="*/ 101265 h 156534"/>
                  <a:gd name="connsiteX46" fmla="*/ 10922 w 98602"/>
                  <a:gd name="connsiteY46" fmla="*/ 89080 h 156534"/>
                  <a:gd name="connsiteX47" fmla="*/ 8507 w 98602"/>
                  <a:gd name="connsiteY47" fmla="*/ 75056 h 156534"/>
                  <a:gd name="connsiteX48" fmla="*/ 0 w 98602"/>
                  <a:gd name="connsiteY48" fmla="*/ 68690 h 156534"/>
                  <a:gd name="connsiteX49" fmla="*/ 1591 w 98602"/>
                  <a:gd name="connsiteY49" fmla="*/ 65314 h 156534"/>
                  <a:gd name="connsiteX50" fmla="*/ 5598 w 98602"/>
                  <a:gd name="connsiteY50" fmla="*/ 62598 h 156534"/>
                  <a:gd name="connsiteX51" fmla="*/ 16822 w 98602"/>
                  <a:gd name="connsiteY51" fmla="*/ 59359 h 156534"/>
                  <a:gd name="connsiteX52" fmla="*/ 16164 w 98602"/>
                  <a:gd name="connsiteY52" fmla="*/ 53404 h 156534"/>
                  <a:gd name="connsiteX53" fmla="*/ 16438 w 98602"/>
                  <a:gd name="connsiteY53" fmla="*/ 48464 h 156534"/>
                  <a:gd name="connsiteX54" fmla="*/ 14133 w 98602"/>
                  <a:gd name="connsiteY54" fmla="*/ 42399 h 156534"/>
                  <a:gd name="connsiteX55" fmla="*/ 12459 w 98602"/>
                  <a:gd name="connsiteY55" fmla="*/ 41164 h 156534"/>
                  <a:gd name="connsiteX56" fmla="*/ 8919 w 98602"/>
                  <a:gd name="connsiteY56" fmla="*/ 43497 h 156534"/>
                  <a:gd name="connsiteX57" fmla="*/ 8013 w 98602"/>
                  <a:gd name="connsiteY57" fmla="*/ 40643 h 156534"/>
                  <a:gd name="connsiteX58" fmla="*/ 10538 w 98602"/>
                  <a:gd name="connsiteY58" fmla="*/ 40780 h 156534"/>
                  <a:gd name="connsiteX59" fmla="*/ 11060 w 98602"/>
                  <a:gd name="connsiteY59" fmla="*/ 40012 h 156534"/>
                  <a:gd name="connsiteX60" fmla="*/ 6778 w 98602"/>
                  <a:gd name="connsiteY60" fmla="*/ 36691 h 156534"/>
                  <a:gd name="connsiteX61" fmla="*/ 4857 w 98602"/>
                  <a:gd name="connsiteY61" fmla="*/ 33563 h 156534"/>
                  <a:gd name="connsiteX62" fmla="*/ 11389 w 98602"/>
                  <a:gd name="connsiteY62" fmla="*/ 31395 h 156534"/>
                  <a:gd name="connsiteX63" fmla="*/ 14545 w 98602"/>
                  <a:gd name="connsiteY63" fmla="*/ 29254 h 156534"/>
                  <a:gd name="connsiteX64" fmla="*/ 14846 w 98602"/>
                  <a:gd name="connsiteY64" fmla="*/ 25714 h 156534"/>
                  <a:gd name="connsiteX65" fmla="*/ 28239 w 98602"/>
                  <a:gd name="connsiteY65" fmla="*/ 11718 h 156534"/>
                  <a:gd name="connsiteX66" fmla="*/ 41082 w 98602"/>
                  <a:gd name="connsiteY66" fmla="*/ 10758 h 156534"/>
                  <a:gd name="connsiteX67" fmla="*/ 56779 w 98602"/>
                  <a:gd name="connsiteY67" fmla="*/ 10895 h 156534"/>
                  <a:gd name="connsiteX68" fmla="*/ 61280 w 98602"/>
                  <a:gd name="connsiteY68" fmla="*/ 7712 h 156534"/>
                  <a:gd name="connsiteX69" fmla="*/ 64409 w 98602"/>
                  <a:gd name="connsiteY69" fmla="*/ 0 h 15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8602" h="156534">
                    <a:moveTo>
                      <a:pt x="64271" y="55"/>
                    </a:moveTo>
                    <a:lnTo>
                      <a:pt x="76813" y="25220"/>
                    </a:lnTo>
                    <a:lnTo>
                      <a:pt x="92593" y="52279"/>
                    </a:lnTo>
                    <a:lnTo>
                      <a:pt x="96270" y="69870"/>
                    </a:lnTo>
                    <a:lnTo>
                      <a:pt x="95556" y="91879"/>
                    </a:lnTo>
                    <a:lnTo>
                      <a:pt x="98602" y="98685"/>
                    </a:lnTo>
                    <a:lnTo>
                      <a:pt x="95721" y="113257"/>
                    </a:lnTo>
                    <a:lnTo>
                      <a:pt x="88531" y="126128"/>
                    </a:lnTo>
                    <a:lnTo>
                      <a:pt x="82494" y="129613"/>
                    </a:lnTo>
                    <a:lnTo>
                      <a:pt x="73986" y="129256"/>
                    </a:lnTo>
                    <a:lnTo>
                      <a:pt x="68964" y="131589"/>
                    </a:lnTo>
                    <a:lnTo>
                      <a:pt x="68827" y="135294"/>
                    </a:lnTo>
                    <a:lnTo>
                      <a:pt x="72916" y="137105"/>
                    </a:lnTo>
                    <a:lnTo>
                      <a:pt x="72065" y="139904"/>
                    </a:lnTo>
                    <a:lnTo>
                      <a:pt x="68086" y="139520"/>
                    </a:lnTo>
                    <a:lnTo>
                      <a:pt x="65561" y="140069"/>
                    </a:lnTo>
                    <a:lnTo>
                      <a:pt x="63723" y="137572"/>
                    </a:lnTo>
                    <a:lnTo>
                      <a:pt x="61390" y="136721"/>
                    </a:lnTo>
                    <a:lnTo>
                      <a:pt x="51894" y="141057"/>
                    </a:lnTo>
                    <a:lnTo>
                      <a:pt x="47833" y="136666"/>
                    </a:lnTo>
                    <a:lnTo>
                      <a:pt x="45281" y="135843"/>
                    </a:lnTo>
                    <a:lnTo>
                      <a:pt x="44046" y="136803"/>
                    </a:lnTo>
                    <a:lnTo>
                      <a:pt x="44814" y="139849"/>
                    </a:lnTo>
                    <a:lnTo>
                      <a:pt x="43333" y="142566"/>
                    </a:lnTo>
                    <a:lnTo>
                      <a:pt x="39710" y="140481"/>
                    </a:lnTo>
                    <a:lnTo>
                      <a:pt x="37762" y="141414"/>
                    </a:lnTo>
                    <a:lnTo>
                      <a:pt x="35813" y="151376"/>
                    </a:lnTo>
                    <a:lnTo>
                      <a:pt x="29089" y="152254"/>
                    </a:lnTo>
                    <a:lnTo>
                      <a:pt x="31038" y="145914"/>
                    </a:lnTo>
                    <a:lnTo>
                      <a:pt x="30077" y="144131"/>
                    </a:lnTo>
                    <a:lnTo>
                      <a:pt x="25138" y="147177"/>
                    </a:lnTo>
                    <a:lnTo>
                      <a:pt x="20692" y="154037"/>
                    </a:lnTo>
                    <a:lnTo>
                      <a:pt x="17508" y="153050"/>
                    </a:lnTo>
                    <a:lnTo>
                      <a:pt x="14517" y="156535"/>
                    </a:lnTo>
                    <a:lnTo>
                      <a:pt x="11471" y="156013"/>
                    </a:lnTo>
                    <a:lnTo>
                      <a:pt x="7766" y="151321"/>
                    </a:lnTo>
                    <a:lnTo>
                      <a:pt x="3238" y="153406"/>
                    </a:lnTo>
                    <a:lnTo>
                      <a:pt x="82" y="152967"/>
                    </a:lnTo>
                    <a:lnTo>
                      <a:pt x="3375" y="145393"/>
                    </a:lnTo>
                    <a:lnTo>
                      <a:pt x="7766" y="143143"/>
                    </a:lnTo>
                    <a:lnTo>
                      <a:pt x="4693" y="134553"/>
                    </a:lnTo>
                    <a:lnTo>
                      <a:pt x="6285" y="129805"/>
                    </a:lnTo>
                    <a:lnTo>
                      <a:pt x="6531" y="122588"/>
                    </a:lnTo>
                    <a:lnTo>
                      <a:pt x="9961" y="114959"/>
                    </a:lnTo>
                    <a:lnTo>
                      <a:pt x="11005" y="108400"/>
                    </a:lnTo>
                    <a:lnTo>
                      <a:pt x="14023" y="101265"/>
                    </a:lnTo>
                    <a:lnTo>
                      <a:pt x="10922" y="89080"/>
                    </a:lnTo>
                    <a:lnTo>
                      <a:pt x="8507" y="75056"/>
                    </a:lnTo>
                    <a:lnTo>
                      <a:pt x="0" y="68690"/>
                    </a:lnTo>
                    <a:lnTo>
                      <a:pt x="1591" y="65314"/>
                    </a:lnTo>
                    <a:lnTo>
                      <a:pt x="5598" y="62598"/>
                    </a:lnTo>
                    <a:lnTo>
                      <a:pt x="16822" y="59359"/>
                    </a:lnTo>
                    <a:lnTo>
                      <a:pt x="16164" y="53404"/>
                    </a:lnTo>
                    <a:lnTo>
                      <a:pt x="16438" y="48464"/>
                    </a:lnTo>
                    <a:lnTo>
                      <a:pt x="14133" y="42399"/>
                    </a:lnTo>
                    <a:lnTo>
                      <a:pt x="12459" y="41164"/>
                    </a:lnTo>
                    <a:lnTo>
                      <a:pt x="8919" y="43497"/>
                    </a:lnTo>
                    <a:lnTo>
                      <a:pt x="8013" y="40643"/>
                    </a:lnTo>
                    <a:lnTo>
                      <a:pt x="10538" y="40780"/>
                    </a:lnTo>
                    <a:lnTo>
                      <a:pt x="11060" y="40012"/>
                    </a:lnTo>
                    <a:lnTo>
                      <a:pt x="6778" y="36691"/>
                    </a:lnTo>
                    <a:lnTo>
                      <a:pt x="4857" y="33563"/>
                    </a:lnTo>
                    <a:lnTo>
                      <a:pt x="11389" y="31395"/>
                    </a:lnTo>
                    <a:lnTo>
                      <a:pt x="14545" y="29254"/>
                    </a:lnTo>
                    <a:lnTo>
                      <a:pt x="14846" y="25714"/>
                    </a:lnTo>
                    <a:lnTo>
                      <a:pt x="28239" y="11718"/>
                    </a:lnTo>
                    <a:lnTo>
                      <a:pt x="41082" y="10758"/>
                    </a:lnTo>
                    <a:lnTo>
                      <a:pt x="56779" y="10895"/>
                    </a:lnTo>
                    <a:lnTo>
                      <a:pt x="61280" y="7712"/>
                    </a:lnTo>
                    <a:lnTo>
                      <a:pt x="64409" y="0"/>
                    </a:lnTo>
                  </a:path>
                </a:pathLst>
              </a:custGeom>
              <a:solidFill>
                <a:srgbClr val="156168"/>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7" name="Freeform: Shape 4606">
                <a:extLst>
                  <a:ext uri="{FF2B5EF4-FFF2-40B4-BE49-F238E27FC236}">
                    <a16:creationId xmlns:a16="http://schemas.microsoft.com/office/drawing/2014/main" id="{259887B4-61D3-E97B-C70A-FA74B482BA22}"/>
                  </a:ext>
                </a:extLst>
              </p:cNvPr>
              <p:cNvSpPr/>
              <p:nvPr/>
            </p:nvSpPr>
            <p:spPr>
              <a:xfrm>
                <a:off x="-2629179" y="3474939"/>
                <a:ext cx="185706" cy="201486"/>
              </a:xfrm>
              <a:custGeom>
                <a:avLst/>
                <a:gdLst>
                  <a:gd name="connsiteX0" fmla="*/ 184499 w 185706"/>
                  <a:gd name="connsiteY0" fmla="*/ 22476 h 201486"/>
                  <a:gd name="connsiteX1" fmla="*/ 185706 w 185706"/>
                  <a:gd name="connsiteY1" fmla="*/ 27662 h 201486"/>
                  <a:gd name="connsiteX2" fmla="*/ 178379 w 185706"/>
                  <a:gd name="connsiteY2" fmla="*/ 26043 h 201486"/>
                  <a:gd name="connsiteX3" fmla="*/ 174482 w 185706"/>
                  <a:gd name="connsiteY3" fmla="*/ 30215 h 201486"/>
                  <a:gd name="connsiteX4" fmla="*/ 166990 w 185706"/>
                  <a:gd name="connsiteY4" fmla="*/ 38228 h 201486"/>
                  <a:gd name="connsiteX5" fmla="*/ 166194 w 185706"/>
                  <a:gd name="connsiteY5" fmla="*/ 39518 h 201486"/>
                  <a:gd name="connsiteX6" fmla="*/ 158428 w 185706"/>
                  <a:gd name="connsiteY6" fmla="*/ 52004 h 201486"/>
                  <a:gd name="connsiteX7" fmla="*/ 157275 w 185706"/>
                  <a:gd name="connsiteY7" fmla="*/ 53843 h 201486"/>
                  <a:gd name="connsiteX8" fmla="*/ 155958 w 185706"/>
                  <a:gd name="connsiteY8" fmla="*/ 55956 h 201486"/>
                  <a:gd name="connsiteX9" fmla="*/ 156507 w 185706"/>
                  <a:gd name="connsiteY9" fmla="*/ 60237 h 201486"/>
                  <a:gd name="connsiteX10" fmla="*/ 159663 w 185706"/>
                  <a:gd name="connsiteY10" fmla="*/ 64107 h 201486"/>
                  <a:gd name="connsiteX11" fmla="*/ 157797 w 185706"/>
                  <a:gd name="connsiteY11" fmla="*/ 71269 h 201486"/>
                  <a:gd name="connsiteX12" fmla="*/ 157577 w 185706"/>
                  <a:gd name="connsiteY12" fmla="*/ 83756 h 201486"/>
                  <a:gd name="connsiteX13" fmla="*/ 143252 w 185706"/>
                  <a:gd name="connsiteY13" fmla="*/ 90507 h 201486"/>
                  <a:gd name="connsiteX14" fmla="*/ 139547 w 185706"/>
                  <a:gd name="connsiteY14" fmla="*/ 97258 h 201486"/>
                  <a:gd name="connsiteX15" fmla="*/ 126402 w 185706"/>
                  <a:gd name="connsiteY15" fmla="*/ 105216 h 201486"/>
                  <a:gd name="connsiteX16" fmla="*/ 125633 w 185706"/>
                  <a:gd name="connsiteY16" fmla="*/ 109415 h 201486"/>
                  <a:gd name="connsiteX17" fmla="*/ 115947 w 185706"/>
                  <a:gd name="connsiteY17" fmla="*/ 116523 h 201486"/>
                  <a:gd name="connsiteX18" fmla="*/ 105628 w 185706"/>
                  <a:gd name="connsiteY18" fmla="*/ 117044 h 201486"/>
                  <a:gd name="connsiteX19" fmla="*/ 102499 w 185706"/>
                  <a:gd name="connsiteY19" fmla="*/ 121408 h 201486"/>
                  <a:gd name="connsiteX20" fmla="*/ 94266 w 185706"/>
                  <a:gd name="connsiteY20" fmla="*/ 125332 h 201486"/>
                  <a:gd name="connsiteX21" fmla="*/ 92428 w 185706"/>
                  <a:gd name="connsiteY21" fmla="*/ 128763 h 201486"/>
                  <a:gd name="connsiteX22" fmla="*/ 93910 w 185706"/>
                  <a:gd name="connsiteY22" fmla="*/ 132934 h 201486"/>
                  <a:gd name="connsiteX23" fmla="*/ 92620 w 185706"/>
                  <a:gd name="connsiteY23" fmla="*/ 138450 h 201486"/>
                  <a:gd name="connsiteX24" fmla="*/ 89052 w 185706"/>
                  <a:gd name="connsiteY24" fmla="*/ 140453 h 201486"/>
                  <a:gd name="connsiteX25" fmla="*/ 89162 w 185706"/>
                  <a:gd name="connsiteY25" fmla="*/ 143911 h 201486"/>
                  <a:gd name="connsiteX26" fmla="*/ 89354 w 185706"/>
                  <a:gd name="connsiteY26" fmla="*/ 147698 h 201486"/>
                  <a:gd name="connsiteX27" fmla="*/ 94376 w 185706"/>
                  <a:gd name="connsiteY27" fmla="*/ 149454 h 201486"/>
                  <a:gd name="connsiteX28" fmla="*/ 99755 w 185706"/>
                  <a:gd name="connsiteY28" fmla="*/ 151046 h 201486"/>
                  <a:gd name="connsiteX29" fmla="*/ 106342 w 185706"/>
                  <a:gd name="connsiteY29" fmla="*/ 159499 h 201486"/>
                  <a:gd name="connsiteX30" fmla="*/ 116385 w 185706"/>
                  <a:gd name="connsiteY30" fmla="*/ 166030 h 201486"/>
                  <a:gd name="connsiteX31" fmla="*/ 117758 w 185706"/>
                  <a:gd name="connsiteY31" fmla="*/ 169543 h 201486"/>
                  <a:gd name="connsiteX32" fmla="*/ 114629 w 185706"/>
                  <a:gd name="connsiteY32" fmla="*/ 177254 h 201486"/>
                  <a:gd name="connsiteX33" fmla="*/ 110128 w 185706"/>
                  <a:gd name="connsiteY33" fmla="*/ 180438 h 201486"/>
                  <a:gd name="connsiteX34" fmla="*/ 94431 w 185706"/>
                  <a:gd name="connsiteY34" fmla="*/ 180300 h 201486"/>
                  <a:gd name="connsiteX35" fmla="*/ 81588 w 185706"/>
                  <a:gd name="connsiteY35" fmla="*/ 181261 h 201486"/>
                  <a:gd name="connsiteX36" fmla="*/ 68195 w 185706"/>
                  <a:gd name="connsiteY36" fmla="*/ 195257 h 201486"/>
                  <a:gd name="connsiteX37" fmla="*/ 67894 w 185706"/>
                  <a:gd name="connsiteY37" fmla="*/ 198797 h 201486"/>
                  <a:gd name="connsiteX38" fmla="*/ 65122 w 185706"/>
                  <a:gd name="connsiteY38" fmla="*/ 200416 h 201486"/>
                  <a:gd name="connsiteX39" fmla="*/ 58371 w 185706"/>
                  <a:gd name="connsiteY39" fmla="*/ 197617 h 201486"/>
                  <a:gd name="connsiteX40" fmla="*/ 54529 w 185706"/>
                  <a:gd name="connsiteY40" fmla="*/ 198385 h 201486"/>
                  <a:gd name="connsiteX41" fmla="*/ 51785 w 185706"/>
                  <a:gd name="connsiteY41" fmla="*/ 200937 h 201486"/>
                  <a:gd name="connsiteX42" fmla="*/ 49287 w 185706"/>
                  <a:gd name="connsiteY42" fmla="*/ 198385 h 201486"/>
                  <a:gd name="connsiteX43" fmla="*/ 45665 w 185706"/>
                  <a:gd name="connsiteY43" fmla="*/ 197782 h 201486"/>
                  <a:gd name="connsiteX44" fmla="*/ 41686 w 185706"/>
                  <a:gd name="connsiteY44" fmla="*/ 192952 h 201486"/>
                  <a:gd name="connsiteX45" fmla="*/ 38777 w 185706"/>
                  <a:gd name="connsiteY45" fmla="*/ 192293 h 201486"/>
                  <a:gd name="connsiteX46" fmla="*/ 36663 w 185706"/>
                  <a:gd name="connsiteY46" fmla="*/ 199208 h 201486"/>
                  <a:gd name="connsiteX47" fmla="*/ 32382 w 185706"/>
                  <a:gd name="connsiteY47" fmla="*/ 201486 h 201486"/>
                  <a:gd name="connsiteX48" fmla="*/ 31422 w 185706"/>
                  <a:gd name="connsiteY48" fmla="*/ 197343 h 201486"/>
                  <a:gd name="connsiteX49" fmla="*/ 28266 w 185706"/>
                  <a:gd name="connsiteY49" fmla="*/ 198413 h 201486"/>
                  <a:gd name="connsiteX50" fmla="*/ 20911 w 185706"/>
                  <a:gd name="connsiteY50" fmla="*/ 195174 h 201486"/>
                  <a:gd name="connsiteX51" fmla="*/ 23217 w 185706"/>
                  <a:gd name="connsiteY51" fmla="*/ 189905 h 201486"/>
                  <a:gd name="connsiteX52" fmla="*/ 11141 w 185706"/>
                  <a:gd name="connsiteY52" fmla="*/ 188122 h 201486"/>
                  <a:gd name="connsiteX53" fmla="*/ 19374 w 185706"/>
                  <a:gd name="connsiteY53" fmla="*/ 172177 h 201486"/>
                  <a:gd name="connsiteX54" fmla="*/ 28321 w 185706"/>
                  <a:gd name="connsiteY54" fmla="*/ 167430 h 201486"/>
                  <a:gd name="connsiteX55" fmla="*/ 23683 w 185706"/>
                  <a:gd name="connsiteY55" fmla="*/ 160843 h 201486"/>
                  <a:gd name="connsiteX56" fmla="*/ 30571 w 185706"/>
                  <a:gd name="connsiteY56" fmla="*/ 144432 h 201486"/>
                  <a:gd name="connsiteX57" fmla="*/ 30296 w 185706"/>
                  <a:gd name="connsiteY57" fmla="*/ 135870 h 201486"/>
                  <a:gd name="connsiteX58" fmla="*/ 14353 w 185706"/>
                  <a:gd name="connsiteY58" fmla="*/ 128241 h 201486"/>
                  <a:gd name="connsiteX59" fmla="*/ 8672 w 185706"/>
                  <a:gd name="connsiteY59" fmla="*/ 131260 h 201486"/>
                  <a:gd name="connsiteX60" fmla="*/ 5022 w 185706"/>
                  <a:gd name="connsiteY60" fmla="*/ 124756 h 201486"/>
                  <a:gd name="connsiteX61" fmla="*/ 109 w 185706"/>
                  <a:gd name="connsiteY61" fmla="*/ 120777 h 201486"/>
                  <a:gd name="connsiteX62" fmla="*/ 0 w 185706"/>
                  <a:gd name="connsiteY62" fmla="*/ 116797 h 201486"/>
                  <a:gd name="connsiteX63" fmla="*/ 1619 w 185706"/>
                  <a:gd name="connsiteY63" fmla="*/ 111638 h 201486"/>
                  <a:gd name="connsiteX64" fmla="*/ 13913 w 185706"/>
                  <a:gd name="connsiteY64" fmla="*/ 100880 h 201486"/>
                  <a:gd name="connsiteX65" fmla="*/ 25549 w 185706"/>
                  <a:gd name="connsiteY65" fmla="*/ 92702 h 201486"/>
                  <a:gd name="connsiteX66" fmla="*/ 31175 w 185706"/>
                  <a:gd name="connsiteY66" fmla="*/ 91687 h 201486"/>
                  <a:gd name="connsiteX67" fmla="*/ 39655 w 185706"/>
                  <a:gd name="connsiteY67" fmla="*/ 83756 h 201486"/>
                  <a:gd name="connsiteX68" fmla="*/ 48437 w 185706"/>
                  <a:gd name="connsiteY68" fmla="*/ 81890 h 201486"/>
                  <a:gd name="connsiteX69" fmla="*/ 63146 w 185706"/>
                  <a:gd name="connsiteY69" fmla="*/ 63997 h 201486"/>
                  <a:gd name="connsiteX70" fmla="*/ 65588 w 185706"/>
                  <a:gd name="connsiteY70" fmla="*/ 53816 h 201486"/>
                  <a:gd name="connsiteX71" fmla="*/ 68525 w 185706"/>
                  <a:gd name="connsiteY71" fmla="*/ 51977 h 201486"/>
                  <a:gd name="connsiteX72" fmla="*/ 75084 w 185706"/>
                  <a:gd name="connsiteY72" fmla="*/ 47861 h 201486"/>
                  <a:gd name="connsiteX73" fmla="*/ 78212 w 185706"/>
                  <a:gd name="connsiteY73" fmla="*/ 49315 h 201486"/>
                  <a:gd name="connsiteX74" fmla="*/ 79640 w 185706"/>
                  <a:gd name="connsiteY74" fmla="*/ 51977 h 201486"/>
                  <a:gd name="connsiteX75" fmla="*/ 80627 w 185706"/>
                  <a:gd name="connsiteY75" fmla="*/ 53816 h 201486"/>
                  <a:gd name="connsiteX76" fmla="*/ 82521 w 185706"/>
                  <a:gd name="connsiteY76" fmla="*/ 57054 h 201486"/>
                  <a:gd name="connsiteX77" fmla="*/ 86336 w 185706"/>
                  <a:gd name="connsiteY77" fmla="*/ 59332 h 201486"/>
                  <a:gd name="connsiteX78" fmla="*/ 111007 w 185706"/>
                  <a:gd name="connsiteY78" fmla="*/ 62350 h 201486"/>
                  <a:gd name="connsiteX79" fmla="*/ 113037 w 185706"/>
                  <a:gd name="connsiteY79" fmla="*/ 60594 h 201486"/>
                  <a:gd name="connsiteX80" fmla="*/ 115178 w 185706"/>
                  <a:gd name="connsiteY80" fmla="*/ 53816 h 201486"/>
                  <a:gd name="connsiteX81" fmla="*/ 113943 w 185706"/>
                  <a:gd name="connsiteY81" fmla="*/ 51977 h 201486"/>
                  <a:gd name="connsiteX82" fmla="*/ 110787 w 185706"/>
                  <a:gd name="connsiteY82" fmla="*/ 47202 h 201486"/>
                  <a:gd name="connsiteX83" fmla="*/ 110842 w 185706"/>
                  <a:gd name="connsiteY83" fmla="*/ 40286 h 201486"/>
                  <a:gd name="connsiteX84" fmla="*/ 112379 w 185706"/>
                  <a:gd name="connsiteY84" fmla="*/ 39518 h 201486"/>
                  <a:gd name="connsiteX85" fmla="*/ 115947 w 185706"/>
                  <a:gd name="connsiteY85" fmla="*/ 37652 h 201486"/>
                  <a:gd name="connsiteX86" fmla="*/ 134471 w 185706"/>
                  <a:gd name="connsiteY86" fmla="*/ 37789 h 201486"/>
                  <a:gd name="connsiteX87" fmla="*/ 140508 w 185706"/>
                  <a:gd name="connsiteY87" fmla="*/ 30215 h 201486"/>
                  <a:gd name="connsiteX88" fmla="*/ 145997 w 185706"/>
                  <a:gd name="connsiteY88" fmla="*/ 23354 h 201486"/>
                  <a:gd name="connsiteX89" fmla="*/ 147698 w 185706"/>
                  <a:gd name="connsiteY89" fmla="*/ 23025 h 201486"/>
                  <a:gd name="connsiteX90" fmla="*/ 156480 w 185706"/>
                  <a:gd name="connsiteY90" fmla="*/ 21433 h 201486"/>
                  <a:gd name="connsiteX91" fmla="*/ 159142 w 185706"/>
                  <a:gd name="connsiteY91" fmla="*/ 13749 h 201486"/>
                  <a:gd name="connsiteX92" fmla="*/ 163889 w 185706"/>
                  <a:gd name="connsiteY92" fmla="*/ 0 h 201486"/>
                  <a:gd name="connsiteX93" fmla="*/ 172286 w 185706"/>
                  <a:gd name="connsiteY93" fmla="*/ 3183 h 201486"/>
                  <a:gd name="connsiteX94" fmla="*/ 174509 w 185706"/>
                  <a:gd name="connsiteY94" fmla="*/ 11581 h 201486"/>
                  <a:gd name="connsiteX95" fmla="*/ 177583 w 185706"/>
                  <a:gd name="connsiteY95" fmla="*/ 13721 h 201486"/>
                  <a:gd name="connsiteX96" fmla="*/ 181343 w 185706"/>
                  <a:gd name="connsiteY96" fmla="*/ 16383 h 201486"/>
                  <a:gd name="connsiteX97" fmla="*/ 184582 w 185706"/>
                  <a:gd name="connsiteY97" fmla="*/ 22449 h 20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85706" h="201486">
                    <a:moveTo>
                      <a:pt x="184499" y="22476"/>
                    </a:moveTo>
                    <a:lnTo>
                      <a:pt x="185706" y="27662"/>
                    </a:lnTo>
                    <a:lnTo>
                      <a:pt x="178379" y="26043"/>
                    </a:lnTo>
                    <a:lnTo>
                      <a:pt x="174482" y="30215"/>
                    </a:lnTo>
                    <a:lnTo>
                      <a:pt x="166990" y="38228"/>
                    </a:lnTo>
                    <a:lnTo>
                      <a:pt x="166194" y="39518"/>
                    </a:lnTo>
                    <a:lnTo>
                      <a:pt x="158428" y="52004"/>
                    </a:lnTo>
                    <a:lnTo>
                      <a:pt x="157275" y="53843"/>
                    </a:lnTo>
                    <a:lnTo>
                      <a:pt x="155958" y="55956"/>
                    </a:lnTo>
                    <a:lnTo>
                      <a:pt x="156507" y="60237"/>
                    </a:lnTo>
                    <a:lnTo>
                      <a:pt x="159663" y="64107"/>
                    </a:lnTo>
                    <a:lnTo>
                      <a:pt x="157797" y="71269"/>
                    </a:lnTo>
                    <a:lnTo>
                      <a:pt x="157577" y="83756"/>
                    </a:lnTo>
                    <a:lnTo>
                      <a:pt x="143252" y="90507"/>
                    </a:lnTo>
                    <a:lnTo>
                      <a:pt x="139547" y="97258"/>
                    </a:lnTo>
                    <a:lnTo>
                      <a:pt x="126402" y="105216"/>
                    </a:lnTo>
                    <a:lnTo>
                      <a:pt x="125633" y="109415"/>
                    </a:lnTo>
                    <a:lnTo>
                      <a:pt x="115947" y="116523"/>
                    </a:lnTo>
                    <a:lnTo>
                      <a:pt x="105628" y="117044"/>
                    </a:lnTo>
                    <a:lnTo>
                      <a:pt x="102499" y="121408"/>
                    </a:lnTo>
                    <a:lnTo>
                      <a:pt x="94266" y="125332"/>
                    </a:lnTo>
                    <a:lnTo>
                      <a:pt x="92428" y="128763"/>
                    </a:lnTo>
                    <a:lnTo>
                      <a:pt x="93910" y="132934"/>
                    </a:lnTo>
                    <a:lnTo>
                      <a:pt x="92620" y="138450"/>
                    </a:lnTo>
                    <a:lnTo>
                      <a:pt x="89052" y="140453"/>
                    </a:lnTo>
                    <a:lnTo>
                      <a:pt x="89162" y="143911"/>
                    </a:lnTo>
                    <a:lnTo>
                      <a:pt x="89354" y="147698"/>
                    </a:lnTo>
                    <a:lnTo>
                      <a:pt x="94376" y="149454"/>
                    </a:lnTo>
                    <a:lnTo>
                      <a:pt x="99755" y="151046"/>
                    </a:lnTo>
                    <a:lnTo>
                      <a:pt x="106342" y="159499"/>
                    </a:lnTo>
                    <a:lnTo>
                      <a:pt x="116385" y="166030"/>
                    </a:lnTo>
                    <a:lnTo>
                      <a:pt x="117758" y="169543"/>
                    </a:lnTo>
                    <a:lnTo>
                      <a:pt x="114629" y="177254"/>
                    </a:lnTo>
                    <a:lnTo>
                      <a:pt x="110128" y="180438"/>
                    </a:lnTo>
                    <a:lnTo>
                      <a:pt x="94431" y="180300"/>
                    </a:lnTo>
                    <a:lnTo>
                      <a:pt x="81588" y="181261"/>
                    </a:lnTo>
                    <a:lnTo>
                      <a:pt x="68195" y="195257"/>
                    </a:lnTo>
                    <a:lnTo>
                      <a:pt x="67894" y="198797"/>
                    </a:lnTo>
                    <a:lnTo>
                      <a:pt x="65122" y="200416"/>
                    </a:lnTo>
                    <a:lnTo>
                      <a:pt x="58371" y="197617"/>
                    </a:lnTo>
                    <a:lnTo>
                      <a:pt x="54529" y="198385"/>
                    </a:lnTo>
                    <a:lnTo>
                      <a:pt x="51785" y="200937"/>
                    </a:lnTo>
                    <a:lnTo>
                      <a:pt x="49287" y="198385"/>
                    </a:lnTo>
                    <a:lnTo>
                      <a:pt x="45665" y="197782"/>
                    </a:lnTo>
                    <a:lnTo>
                      <a:pt x="41686" y="192952"/>
                    </a:lnTo>
                    <a:lnTo>
                      <a:pt x="38777" y="192293"/>
                    </a:lnTo>
                    <a:lnTo>
                      <a:pt x="36663" y="199208"/>
                    </a:lnTo>
                    <a:lnTo>
                      <a:pt x="32382" y="201486"/>
                    </a:lnTo>
                    <a:lnTo>
                      <a:pt x="31422" y="197343"/>
                    </a:lnTo>
                    <a:lnTo>
                      <a:pt x="28266" y="198413"/>
                    </a:lnTo>
                    <a:lnTo>
                      <a:pt x="20911" y="195174"/>
                    </a:lnTo>
                    <a:lnTo>
                      <a:pt x="23217" y="189905"/>
                    </a:lnTo>
                    <a:lnTo>
                      <a:pt x="11141" y="188122"/>
                    </a:lnTo>
                    <a:lnTo>
                      <a:pt x="19374" y="172177"/>
                    </a:lnTo>
                    <a:lnTo>
                      <a:pt x="28321" y="167430"/>
                    </a:lnTo>
                    <a:lnTo>
                      <a:pt x="23683" y="160843"/>
                    </a:lnTo>
                    <a:lnTo>
                      <a:pt x="30571" y="144432"/>
                    </a:lnTo>
                    <a:lnTo>
                      <a:pt x="30296" y="135870"/>
                    </a:lnTo>
                    <a:lnTo>
                      <a:pt x="14353" y="128241"/>
                    </a:lnTo>
                    <a:lnTo>
                      <a:pt x="8672" y="131260"/>
                    </a:lnTo>
                    <a:lnTo>
                      <a:pt x="5022" y="124756"/>
                    </a:lnTo>
                    <a:lnTo>
                      <a:pt x="109" y="120777"/>
                    </a:lnTo>
                    <a:lnTo>
                      <a:pt x="0" y="116797"/>
                    </a:lnTo>
                    <a:lnTo>
                      <a:pt x="1619" y="111638"/>
                    </a:lnTo>
                    <a:lnTo>
                      <a:pt x="13913" y="100880"/>
                    </a:lnTo>
                    <a:lnTo>
                      <a:pt x="25549" y="92702"/>
                    </a:lnTo>
                    <a:lnTo>
                      <a:pt x="31175" y="91687"/>
                    </a:lnTo>
                    <a:lnTo>
                      <a:pt x="39655" y="83756"/>
                    </a:lnTo>
                    <a:lnTo>
                      <a:pt x="48437" y="81890"/>
                    </a:lnTo>
                    <a:lnTo>
                      <a:pt x="63146" y="63997"/>
                    </a:lnTo>
                    <a:lnTo>
                      <a:pt x="65588" y="53816"/>
                    </a:lnTo>
                    <a:lnTo>
                      <a:pt x="68525" y="51977"/>
                    </a:lnTo>
                    <a:lnTo>
                      <a:pt x="75084" y="47861"/>
                    </a:lnTo>
                    <a:lnTo>
                      <a:pt x="78212" y="49315"/>
                    </a:lnTo>
                    <a:lnTo>
                      <a:pt x="79640" y="51977"/>
                    </a:lnTo>
                    <a:lnTo>
                      <a:pt x="80627" y="53816"/>
                    </a:lnTo>
                    <a:lnTo>
                      <a:pt x="82521" y="57054"/>
                    </a:lnTo>
                    <a:lnTo>
                      <a:pt x="86336" y="59332"/>
                    </a:lnTo>
                    <a:lnTo>
                      <a:pt x="111007" y="62350"/>
                    </a:lnTo>
                    <a:lnTo>
                      <a:pt x="113037" y="60594"/>
                    </a:lnTo>
                    <a:lnTo>
                      <a:pt x="115178" y="53816"/>
                    </a:lnTo>
                    <a:lnTo>
                      <a:pt x="113943" y="51977"/>
                    </a:lnTo>
                    <a:lnTo>
                      <a:pt x="110787" y="47202"/>
                    </a:lnTo>
                    <a:lnTo>
                      <a:pt x="110842" y="40286"/>
                    </a:lnTo>
                    <a:lnTo>
                      <a:pt x="112379" y="39518"/>
                    </a:lnTo>
                    <a:lnTo>
                      <a:pt x="115947" y="37652"/>
                    </a:lnTo>
                    <a:lnTo>
                      <a:pt x="134471" y="37789"/>
                    </a:lnTo>
                    <a:lnTo>
                      <a:pt x="140508" y="30215"/>
                    </a:lnTo>
                    <a:lnTo>
                      <a:pt x="145997" y="23354"/>
                    </a:lnTo>
                    <a:lnTo>
                      <a:pt x="147698" y="23025"/>
                    </a:lnTo>
                    <a:lnTo>
                      <a:pt x="156480" y="21433"/>
                    </a:lnTo>
                    <a:lnTo>
                      <a:pt x="159142" y="13749"/>
                    </a:lnTo>
                    <a:lnTo>
                      <a:pt x="163889" y="0"/>
                    </a:lnTo>
                    <a:lnTo>
                      <a:pt x="172286" y="3183"/>
                    </a:lnTo>
                    <a:lnTo>
                      <a:pt x="174509" y="11581"/>
                    </a:lnTo>
                    <a:lnTo>
                      <a:pt x="177583" y="13721"/>
                    </a:lnTo>
                    <a:lnTo>
                      <a:pt x="181343" y="16383"/>
                    </a:lnTo>
                    <a:lnTo>
                      <a:pt x="184582" y="22449"/>
                    </a:lnTo>
                  </a:path>
                </a:pathLst>
              </a:custGeom>
              <a:solidFill>
                <a:srgbClr val="156168"/>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sp>
          <p:nvSpPr>
            <p:cNvPr id="3897" name="Freeform: Shape 3896">
              <a:extLst>
                <a:ext uri="{FF2B5EF4-FFF2-40B4-BE49-F238E27FC236}">
                  <a16:creationId xmlns:a16="http://schemas.microsoft.com/office/drawing/2014/main" id="{893BE28B-461A-A60C-A44B-350AC644AE4C}"/>
                </a:ext>
              </a:extLst>
            </p:cNvPr>
            <p:cNvSpPr/>
            <p:nvPr/>
          </p:nvSpPr>
          <p:spPr>
            <a:xfrm>
              <a:off x="1749720" y="3719107"/>
              <a:ext cx="346" cy="572"/>
            </a:xfrm>
            <a:custGeom>
              <a:avLst/>
              <a:gdLst>
                <a:gd name="connsiteX0" fmla="*/ 3320 w 3320"/>
                <a:gd name="connsiteY0" fmla="*/ 2196 h 5488"/>
                <a:gd name="connsiteX1" fmla="*/ 1592 w 3320"/>
                <a:gd name="connsiteY1" fmla="*/ 5489 h 5488"/>
                <a:gd name="connsiteX2" fmla="*/ 0 w 3320"/>
                <a:gd name="connsiteY2" fmla="*/ 2799 h 5488"/>
                <a:gd name="connsiteX3" fmla="*/ 2388 w 3320"/>
                <a:gd name="connsiteY3" fmla="*/ 0 h 5488"/>
                <a:gd name="connsiteX4" fmla="*/ 3293 w 3320"/>
                <a:gd name="connsiteY4" fmla="*/ 2168 h 5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0" h="5488">
                  <a:moveTo>
                    <a:pt x="3320" y="2196"/>
                  </a:moveTo>
                  <a:lnTo>
                    <a:pt x="1592" y="5489"/>
                  </a:lnTo>
                  <a:lnTo>
                    <a:pt x="0" y="2799"/>
                  </a:lnTo>
                  <a:lnTo>
                    <a:pt x="2388" y="0"/>
                  </a:lnTo>
                  <a:lnTo>
                    <a:pt x="3293"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8" name="Freeform: Shape 3897">
              <a:extLst>
                <a:ext uri="{FF2B5EF4-FFF2-40B4-BE49-F238E27FC236}">
                  <a16:creationId xmlns:a16="http://schemas.microsoft.com/office/drawing/2014/main" id="{CCB25E35-8689-AC65-A1CF-A477484009B4}"/>
                </a:ext>
              </a:extLst>
            </p:cNvPr>
            <p:cNvSpPr/>
            <p:nvPr/>
          </p:nvSpPr>
          <p:spPr>
            <a:xfrm>
              <a:off x="1748269" y="3711936"/>
              <a:ext cx="418" cy="475"/>
            </a:xfrm>
            <a:custGeom>
              <a:avLst/>
              <a:gdLst>
                <a:gd name="connsiteX0" fmla="*/ 3979 w 4006"/>
                <a:gd name="connsiteY0" fmla="*/ 1948 h 4555"/>
                <a:gd name="connsiteX1" fmla="*/ 2086 w 4006"/>
                <a:gd name="connsiteY1" fmla="*/ 4555 h 4555"/>
                <a:gd name="connsiteX2" fmla="*/ 0 w 4006"/>
                <a:gd name="connsiteY2" fmla="*/ 2552 h 4555"/>
                <a:gd name="connsiteX3" fmla="*/ 2251 w 4006"/>
                <a:gd name="connsiteY3" fmla="*/ 0 h 4555"/>
                <a:gd name="connsiteX4" fmla="*/ 4007 w 4006"/>
                <a:gd name="connsiteY4" fmla="*/ 1948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4555">
                  <a:moveTo>
                    <a:pt x="3979" y="1948"/>
                  </a:moveTo>
                  <a:lnTo>
                    <a:pt x="2086" y="4555"/>
                  </a:lnTo>
                  <a:lnTo>
                    <a:pt x="0" y="2552"/>
                  </a:lnTo>
                  <a:lnTo>
                    <a:pt x="2251" y="0"/>
                  </a:lnTo>
                  <a:lnTo>
                    <a:pt x="4007" y="1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9" name="Freeform: Shape 3898">
              <a:extLst>
                <a:ext uri="{FF2B5EF4-FFF2-40B4-BE49-F238E27FC236}">
                  <a16:creationId xmlns:a16="http://schemas.microsoft.com/office/drawing/2014/main" id="{C40288A2-1A1D-BAA1-6CAD-B27BFDBCB7FE}"/>
                </a:ext>
              </a:extLst>
            </p:cNvPr>
            <p:cNvSpPr/>
            <p:nvPr/>
          </p:nvSpPr>
          <p:spPr>
            <a:xfrm>
              <a:off x="1756429" y="3712847"/>
              <a:ext cx="406" cy="472"/>
            </a:xfrm>
            <a:custGeom>
              <a:avLst/>
              <a:gdLst>
                <a:gd name="connsiteX0" fmla="*/ 3897 w 3897"/>
                <a:gd name="connsiteY0" fmla="*/ 2799 h 4528"/>
                <a:gd name="connsiteX1" fmla="*/ 1729 w 3897"/>
                <a:gd name="connsiteY1" fmla="*/ 4528 h 4528"/>
                <a:gd name="connsiteX2" fmla="*/ 0 w 3897"/>
                <a:gd name="connsiteY2" fmla="*/ 2525 h 4528"/>
                <a:gd name="connsiteX3" fmla="*/ 2854 w 3897"/>
                <a:gd name="connsiteY3" fmla="*/ 0 h 4528"/>
                <a:gd name="connsiteX4" fmla="*/ 3897 w 3897"/>
                <a:gd name="connsiteY4" fmla="*/ 2827 h 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7" h="4528">
                  <a:moveTo>
                    <a:pt x="3897" y="2799"/>
                  </a:moveTo>
                  <a:lnTo>
                    <a:pt x="1729" y="4528"/>
                  </a:lnTo>
                  <a:lnTo>
                    <a:pt x="0" y="2525"/>
                  </a:lnTo>
                  <a:lnTo>
                    <a:pt x="2854" y="0"/>
                  </a:lnTo>
                  <a:lnTo>
                    <a:pt x="3897" y="2827"/>
                  </a:lnTo>
                </a:path>
              </a:pathLst>
            </a:custGeom>
            <a:solidFill>
              <a:srgbClr val="156168"/>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0" name="Freeform: Shape 3899">
              <a:extLst>
                <a:ext uri="{FF2B5EF4-FFF2-40B4-BE49-F238E27FC236}">
                  <a16:creationId xmlns:a16="http://schemas.microsoft.com/office/drawing/2014/main" id="{52FE647D-F4CD-23CF-C6A3-73FF6105AE11}"/>
                </a:ext>
              </a:extLst>
            </p:cNvPr>
            <p:cNvSpPr/>
            <p:nvPr/>
          </p:nvSpPr>
          <p:spPr>
            <a:xfrm>
              <a:off x="1762967" y="3704271"/>
              <a:ext cx="38158" cy="39898"/>
            </a:xfrm>
            <a:custGeom>
              <a:avLst/>
              <a:gdLst>
                <a:gd name="connsiteX0" fmla="*/ 347510 w 365842"/>
                <a:gd name="connsiteY0" fmla="*/ 5818 h 382527"/>
                <a:gd name="connsiteX1" fmla="*/ 346934 w 365842"/>
                <a:gd name="connsiteY1" fmla="*/ 22558 h 382527"/>
                <a:gd name="connsiteX2" fmla="*/ 348334 w 365842"/>
                <a:gd name="connsiteY2" fmla="*/ 32081 h 382527"/>
                <a:gd name="connsiteX3" fmla="*/ 358351 w 365842"/>
                <a:gd name="connsiteY3" fmla="*/ 46626 h 382527"/>
                <a:gd name="connsiteX4" fmla="*/ 363427 w 365842"/>
                <a:gd name="connsiteY4" fmla="*/ 61308 h 382527"/>
                <a:gd name="connsiteX5" fmla="*/ 365843 w 365842"/>
                <a:gd name="connsiteY5" fmla="*/ 75935 h 382527"/>
                <a:gd name="connsiteX6" fmla="*/ 360985 w 365842"/>
                <a:gd name="connsiteY6" fmla="*/ 92291 h 382527"/>
                <a:gd name="connsiteX7" fmla="*/ 354948 w 365842"/>
                <a:gd name="connsiteY7" fmla="*/ 97066 h 382527"/>
                <a:gd name="connsiteX8" fmla="*/ 350612 w 365842"/>
                <a:gd name="connsiteY8" fmla="*/ 107933 h 382527"/>
                <a:gd name="connsiteX9" fmla="*/ 349925 w 365842"/>
                <a:gd name="connsiteY9" fmla="*/ 121682 h 382527"/>
                <a:gd name="connsiteX10" fmla="*/ 344657 w 365842"/>
                <a:gd name="connsiteY10" fmla="*/ 119514 h 382527"/>
                <a:gd name="connsiteX11" fmla="*/ 339168 w 365842"/>
                <a:gd name="connsiteY11" fmla="*/ 120557 h 382527"/>
                <a:gd name="connsiteX12" fmla="*/ 333871 w 365842"/>
                <a:gd name="connsiteY12" fmla="*/ 128982 h 382527"/>
                <a:gd name="connsiteX13" fmla="*/ 333103 w 365842"/>
                <a:gd name="connsiteY13" fmla="*/ 135952 h 382527"/>
                <a:gd name="connsiteX14" fmla="*/ 336231 w 365842"/>
                <a:gd name="connsiteY14" fmla="*/ 153269 h 382527"/>
                <a:gd name="connsiteX15" fmla="*/ 335381 w 365842"/>
                <a:gd name="connsiteY15" fmla="*/ 165591 h 382527"/>
                <a:gd name="connsiteX16" fmla="*/ 333981 w 365842"/>
                <a:gd name="connsiteY16" fmla="*/ 171409 h 382527"/>
                <a:gd name="connsiteX17" fmla="*/ 329810 w 365842"/>
                <a:gd name="connsiteY17" fmla="*/ 175745 h 382527"/>
                <a:gd name="connsiteX18" fmla="*/ 326873 w 365842"/>
                <a:gd name="connsiteY18" fmla="*/ 183209 h 382527"/>
                <a:gd name="connsiteX19" fmla="*/ 323114 w 365842"/>
                <a:gd name="connsiteY19" fmla="*/ 199977 h 382527"/>
                <a:gd name="connsiteX20" fmla="*/ 330194 w 365842"/>
                <a:gd name="connsiteY20" fmla="*/ 217348 h 382527"/>
                <a:gd name="connsiteX21" fmla="*/ 320287 w 365842"/>
                <a:gd name="connsiteY21" fmla="*/ 224072 h 382527"/>
                <a:gd name="connsiteX22" fmla="*/ 316061 w 365842"/>
                <a:gd name="connsiteY22" fmla="*/ 237382 h 382527"/>
                <a:gd name="connsiteX23" fmla="*/ 302751 w 365842"/>
                <a:gd name="connsiteY23" fmla="*/ 246520 h 382527"/>
                <a:gd name="connsiteX24" fmla="*/ 300802 w 365842"/>
                <a:gd name="connsiteY24" fmla="*/ 244929 h 382527"/>
                <a:gd name="connsiteX25" fmla="*/ 300857 w 365842"/>
                <a:gd name="connsiteY25" fmla="*/ 233046 h 382527"/>
                <a:gd name="connsiteX26" fmla="*/ 307663 w 365842"/>
                <a:gd name="connsiteY26" fmla="*/ 223358 h 382527"/>
                <a:gd name="connsiteX27" fmla="*/ 305276 w 365842"/>
                <a:gd name="connsiteY27" fmla="*/ 220394 h 382527"/>
                <a:gd name="connsiteX28" fmla="*/ 299979 w 365842"/>
                <a:gd name="connsiteY28" fmla="*/ 221355 h 382527"/>
                <a:gd name="connsiteX29" fmla="*/ 295835 w 365842"/>
                <a:gd name="connsiteY29" fmla="*/ 229944 h 382527"/>
                <a:gd name="connsiteX30" fmla="*/ 296329 w 365842"/>
                <a:gd name="connsiteY30" fmla="*/ 236558 h 382527"/>
                <a:gd name="connsiteX31" fmla="*/ 288206 w 365842"/>
                <a:gd name="connsiteY31" fmla="*/ 233073 h 382527"/>
                <a:gd name="connsiteX32" fmla="*/ 282059 w 365842"/>
                <a:gd name="connsiteY32" fmla="*/ 235598 h 382527"/>
                <a:gd name="connsiteX33" fmla="*/ 279480 w 365842"/>
                <a:gd name="connsiteY33" fmla="*/ 240922 h 382527"/>
                <a:gd name="connsiteX34" fmla="*/ 279480 w 365842"/>
                <a:gd name="connsiteY34" fmla="*/ 249072 h 382527"/>
                <a:gd name="connsiteX35" fmla="*/ 276022 w 365842"/>
                <a:gd name="connsiteY35" fmla="*/ 254890 h 382527"/>
                <a:gd name="connsiteX36" fmla="*/ 272728 w 365842"/>
                <a:gd name="connsiteY36" fmla="*/ 256894 h 382527"/>
                <a:gd name="connsiteX37" fmla="*/ 269627 w 365842"/>
                <a:gd name="connsiteY37" fmla="*/ 254040 h 382527"/>
                <a:gd name="connsiteX38" fmla="*/ 269901 w 365842"/>
                <a:gd name="connsiteY38" fmla="*/ 246465 h 382527"/>
                <a:gd name="connsiteX39" fmla="*/ 272152 w 365842"/>
                <a:gd name="connsiteY39" fmla="*/ 241910 h 382527"/>
                <a:gd name="connsiteX40" fmla="*/ 269325 w 365842"/>
                <a:gd name="connsiteY40" fmla="*/ 239906 h 382527"/>
                <a:gd name="connsiteX41" fmla="*/ 263068 w 365842"/>
                <a:gd name="connsiteY41" fmla="*/ 241718 h 382527"/>
                <a:gd name="connsiteX42" fmla="*/ 250664 w 365842"/>
                <a:gd name="connsiteY42" fmla="*/ 257360 h 382527"/>
                <a:gd name="connsiteX43" fmla="*/ 233896 w 365842"/>
                <a:gd name="connsiteY43" fmla="*/ 255631 h 382527"/>
                <a:gd name="connsiteX44" fmla="*/ 222371 w 365842"/>
                <a:gd name="connsiteY44" fmla="*/ 257717 h 382527"/>
                <a:gd name="connsiteX45" fmla="*/ 221986 w 365842"/>
                <a:gd name="connsiteY45" fmla="*/ 256564 h 382527"/>
                <a:gd name="connsiteX46" fmla="*/ 225609 w 365842"/>
                <a:gd name="connsiteY46" fmla="*/ 253326 h 382527"/>
                <a:gd name="connsiteX47" fmla="*/ 225416 w 365842"/>
                <a:gd name="connsiteY47" fmla="*/ 252174 h 382527"/>
                <a:gd name="connsiteX48" fmla="*/ 217156 w 365842"/>
                <a:gd name="connsiteY48" fmla="*/ 249923 h 382527"/>
                <a:gd name="connsiteX49" fmla="*/ 214412 w 365842"/>
                <a:gd name="connsiteY49" fmla="*/ 252887 h 382527"/>
                <a:gd name="connsiteX50" fmla="*/ 212738 w 365842"/>
                <a:gd name="connsiteY50" fmla="*/ 244133 h 382527"/>
                <a:gd name="connsiteX51" fmla="*/ 209664 w 365842"/>
                <a:gd name="connsiteY51" fmla="*/ 242870 h 382527"/>
                <a:gd name="connsiteX52" fmla="*/ 204944 w 365842"/>
                <a:gd name="connsiteY52" fmla="*/ 251405 h 382527"/>
                <a:gd name="connsiteX53" fmla="*/ 204478 w 365842"/>
                <a:gd name="connsiteY53" fmla="*/ 255823 h 382527"/>
                <a:gd name="connsiteX54" fmla="*/ 213616 w 365842"/>
                <a:gd name="connsiteY54" fmla="*/ 263343 h 382527"/>
                <a:gd name="connsiteX55" fmla="*/ 213890 w 365842"/>
                <a:gd name="connsiteY55" fmla="*/ 268090 h 382527"/>
                <a:gd name="connsiteX56" fmla="*/ 207140 w 365842"/>
                <a:gd name="connsiteY56" fmla="*/ 268667 h 382527"/>
                <a:gd name="connsiteX57" fmla="*/ 198440 w 365842"/>
                <a:gd name="connsiteY57" fmla="*/ 273085 h 382527"/>
                <a:gd name="connsiteX58" fmla="*/ 183593 w 365842"/>
                <a:gd name="connsiteY58" fmla="*/ 296768 h 382527"/>
                <a:gd name="connsiteX59" fmla="*/ 171957 w 365842"/>
                <a:gd name="connsiteY59" fmla="*/ 294847 h 382527"/>
                <a:gd name="connsiteX60" fmla="*/ 169296 w 365842"/>
                <a:gd name="connsiteY60" fmla="*/ 289167 h 382527"/>
                <a:gd name="connsiteX61" fmla="*/ 165097 w 365842"/>
                <a:gd name="connsiteY61" fmla="*/ 286367 h 382527"/>
                <a:gd name="connsiteX62" fmla="*/ 161584 w 365842"/>
                <a:gd name="connsiteY62" fmla="*/ 282580 h 382527"/>
                <a:gd name="connsiteX63" fmla="*/ 163834 w 365842"/>
                <a:gd name="connsiteY63" fmla="*/ 273936 h 382527"/>
                <a:gd name="connsiteX64" fmla="*/ 161337 w 365842"/>
                <a:gd name="connsiteY64" fmla="*/ 269600 h 382527"/>
                <a:gd name="connsiteX65" fmla="*/ 171381 w 365842"/>
                <a:gd name="connsiteY65" fmla="*/ 260653 h 382527"/>
                <a:gd name="connsiteX66" fmla="*/ 171957 w 365842"/>
                <a:gd name="connsiteY66" fmla="*/ 256317 h 382527"/>
                <a:gd name="connsiteX67" fmla="*/ 168198 w 365842"/>
                <a:gd name="connsiteY67" fmla="*/ 254396 h 382527"/>
                <a:gd name="connsiteX68" fmla="*/ 159032 w 365842"/>
                <a:gd name="connsiteY68" fmla="*/ 256509 h 382527"/>
                <a:gd name="connsiteX69" fmla="*/ 148521 w 365842"/>
                <a:gd name="connsiteY69" fmla="*/ 252064 h 382527"/>
                <a:gd name="connsiteX70" fmla="*/ 140151 w 365842"/>
                <a:gd name="connsiteY70" fmla="*/ 253298 h 382527"/>
                <a:gd name="connsiteX71" fmla="*/ 127500 w 365842"/>
                <a:gd name="connsiteY71" fmla="*/ 262821 h 382527"/>
                <a:gd name="connsiteX72" fmla="*/ 123329 w 365842"/>
                <a:gd name="connsiteY72" fmla="*/ 263562 h 382527"/>
                <a:gd name="connsiteX73" fmla="*/ 119377 w 365842"/>
                <a:gd name="connsiteY73" fmla="*/ 261724 h 382527"/>
                <a:gd name="connsiteX74" fmla="*/ 104064 w 365842"/>
                <a:gd name="connsiteY74" fmla="*/ 268996 h 382527"/>
                <a:gd name="connsiteX75" fmla="*/ 101073 w 365842"/>
                <a:gd name="connsiteY75" fmla="*/ 277613 h 382527"/>
                <a:gd name="connsiteX76" fmla="*/ 103240 w 365842"/>
                <a:gd name="connsiteY76" fmla="*/ 281043 h 382527"/>
                <a:gd name="connsiteX77" fmla="*/ 105793 w 365842"/>
                <a:gd name="connsiteY77" fmla="*/ 281510 h 382527"/>
                <a:gd name="connsiteX78" fmla="*/ 116688 w 365842"/>
                <a:gd name="connsiteY78" fmla="*/ 278903 h 382527"/>
                <a:gd name="connsiteX79" fmla="*/ 120173 w 365842"/>
                <a:gd name="connsiteY79" fmla="*/ 269957 h 382527"/>
                <a:gd name="connsiteX80" fmla="*/ 133620 w 365842"/>
                <a:gd name="connsiteY80" fmla="*/ 266060 h 382527"/>
                <a:gd name="connsiteX81" fmla="*/ 146738 w 365842"/>
                <a:gd name="connsiteY81" fmla="*/ 273058 h 382527"/>
                <a:gd name="connsiteX82" fmla="*/ 149317 w 365842"/>
                <a:gd name="connsiteY82" fmla="*/ 285846 h 382527"/>
                <a:gd name="connsiteX83" fmla="*/ 140810 w 365842"/>
                <a:gd name="connsiteY83" fmla="*/ 292954 h 382527"/>
                <a:gd name="connsiteX84" fmla="*/ 134526 w 365842"/>
                <a:gd name="connsiteY84" fmla="*/ 304507 h 382527"/>
                <a:gd name="connsiteX85" fmla="*/ 122533 w 365842"/>
                <a:gd name="connsiteY85" fmla="*/ 296741 h 382527"/>
                <a:gd name="connsiteX86" fmla="*/ 109580 w 365842"/>
                <a:gd name="connsiteY86" fmla="*/ 301406 h 382527"/>
                <a:gd name="connsiteX87" fmla="*/ 100743 w 365842"/>
                <a:gd name="connsiteY87" fmla="*/ 315896 h 382527"/>
                <a:gd name="connsiteX88" fmla="*/ 99234 w 365842"/>
                <a:gd name="connsiteY88" fmla="*/ 323415 h 382527"/>
                <a:gd name="connsiteX89" fmla="*/ 90452 w 365842"/>
                <a:gd name="connsiteY89" fmla="*/ 321577 h 382527"/>
                <a:gd name="connsiteX90" fmla="*/ 90562 w 365842"/>
                <a:gd name="connsiteY90" fmla="*/ 317927 h 382527"/>
                <a:gd name="connsiteX91" fmla="*/ 85018 w 365842"/>
                <a:gd name="connsiteY91" fmla="*/ 313893 h 382527"/>
                <a:gd name="connsiteX92" fmla="*/ 85512 w 365842"/>
                <a:gd name="connsiteY92" fmla="*/ 306456 h 382527"/>
                <a:gd name="connsiteX93" fmla="*/ 82247 w 365842"/>
                <a:gd name="connsiteY93" fmla="*/ 302778 h 382527"/>
                <a:gd name="connsiteX94" fmla="*/ 81643 w 365842"/>
                <a:gd name="connsiteY94" fmla="*/ 299265 h 382527"/>
                <a:gd name="connsiteX95" fmla="*/ 89437 w 365842"/>
                <a:gd name="connsiteY95" fmla="*/ 289880 h 382527"/>
                <a:gd name="connsiteX96" fmla="*/ 92208 w 365842"/>
                <a:gd name="connsiteY96" fmla="*/ 281455 h 382527"/>
                <a:gd name="connsiteX97" fmla="*/ 100057 w 365842"/>
                <a:gd name="connsiteY97" fmla="*/ 274210 h 382527"/>
                <a:gd name="connsiteX98" fmla="*/ 99426 w 365842"/>
                <a:gd name="connsiteY98" fmla="*/ 270725 h 382527"/>
                <a:gd name="connsiteX99" fmla="*/ 97258 w 365842"/>
                <a:gd name="connsiteY99" fmla="*/ 271850 h 382527"/>
                <a:gd name="connsiteX100" fmla="*/ 93471 w 365842"/>
                <a:gd name="connsiteY100" fmla="*/ 270039 h 382527"/>
                <a:gd name="connsiteX101" fmla="*/ 85266 w 365842"/>
                <a:gd name="connsiteY101" fmla="*/ 275911 h 382527"/>
                <a:gd name="connsiteX102" fmla="*/ 82630 w 365842"/>
                <a:gd name="connsiteY102" fmla="*/ 272344 h 382527"/>
                <a:gd name="connsiteX103" fmla="*/ 83701 w 365842"/>
                <a:gd name="connsiteY103" fmla="*/ 268118 h 382527"/>
                <a:gd name="connsiteX104" fmla="*/ 81067 w 365842"/>
                <a:gd name="connsiteY104" fmla="*/ 268173 h 382527"/>
                <a:gd name="connsiteX105" fmla="*/ 77197 w 365842"/>
                <a:gd name="connsiteY105" fmla="*/ 276268 h 382527"/>
                <a:gd name="connsiteX106" fmla="*/ 78761 w 365842"/>
                <a:gd name="connsiteY106" fmla="*/ 281181 h 382527"/>
                <a:gd name="connsiteX107" fmla="*/ 81670 w 365842"/>
                <a:gd name="connsiteY107" fmla="*/ 283184 h 382527"/>
                <a:gd name="connsiteX108" fmla="*/ 81067 w 365842"/>
                <a:gd name="connsiteY108" fmla="*/ 284803 h 382527"/>
                <a:gd name="connsiteX109" fmla="*/ 72944 w 365842"/>
                <a:gd name="connsiteY109" fmla="*/ 283843 h 382527"/>
                <a:gd name="connsiteX110" fmla="*/ 64189 w 365842"/>
                <a:gd name="connsiteY110" fmla="*/ 278766 h 382527"/>
                <a:gd name="connsiteX111" fmla="*/ 48492 w 365842"/>
                <a:gd name="connsiteY111" fmla="*/ 281702 h 382527"/>
                <a:gd name="connsiteX112" fmla="*/ 42482 w 365842"/>
                <a:gd name="connsiteY112" fmla="*/ 279424 h 382527"/>
                <a:gd name="connsiteX113" fmla="*/ 41713 w 365842"/>
                <a:gd name="connsiteY113" fmla="*/ 286779 h 382527"/>
                <a:gd name="connsiteX114" fmla="*/ 44403 w 365842"/>
                <a:gd name="connsiteY114" fmla="*/ 292295 h 382527"/>
                <a:gd name="connsiteX115" fmla="*/ 52498 w 365842"/>
                <a:gd name="connsiteY115" fmla="*/ 294408 h 382527"/>
                <a:gd name="connsiteX116" fmla="*/ 58700 w 365842"/>
                <a:gd name="connsiteY116" fmla="*/ 291472 h 382527"/>
                <a:gd name="connsiteX117" fmla="*/ 61719 w 365842"/>
                <a:gd name="connsiteY117" fmla="*/ 293777 h 382527"/>
                <a:gd name="connsiteX118" fmla="*/ 61857 w 365842"/>
                <a:gd name="connsiteY118" fmla="*/ 299540 h 382527"/>
                <a:gd name="connsiteX119" fmla="*/ 58014 w 365842"/>
                <a:gd name="connsiteY119" fmla="*/ 304233 h 382527"/>
                <a:gd name="connsiteX120" fmla="*/ 65643 w 365842"/>
                <a:gd name="connsiteY120" fmla="*/ 306950 h 382527"/>
                <a:gd name="connsiteX121" fmla="*/ 69925 w 365842"/>
                <a:gd name="connsiteY121" fmla="*/ 319107 h 382527"/>
                <a:gd name="connsiteX122" fmla="*/ 63284 w 365842"/>
                <a:gd name="connsiteY122" fmla="*/ 329069 h 382527"/>
                <a:gd name="connsiteX123" fmla="*/ 55572 w 365842"/>
                <a:gd name="connsiteY123" fmla="*/ 350858 h 382527"/>
                <a:gd name="connsiteX124" fmla="*/ 54474 w 365842"/>
                <a:gd name="connsiteY124" fmla="*/ 362275 h 382527"/>
                <a:gd name="connsiteX125" fmla="*/ 50715 w 365842"/>
                <a:gd name="connsiteY125" fmla="*/ 369986 h 382527"/>
                <a:gd name="connsiteX126" fmla="*/ 43470 w 365842"/>
                <a:gd name="connsiteY126" fmla="*/ 370068 h 382527"/>
                <a:gd name="connsiteX127" fmla="*/ 41741 w 365842"/>
                <a:gd name="connsiteY127" fmla="*/ 377423 h 382527"/>
                <a:gd name="connsiteX128" fmla="*/ 32849 w 365842"/>
                <a:gd name="connsiteY128" fmla="*/ 382528 h 382527"/>
                <a:gd name="connsiteX129" fmla="*/ 34578 w 365842"/>
                <a:gd name="connsiteY129" fmla="*/ 372291 h 382527"/>
                <a:gd name="connsiteX130" fmla="*/ 31121 w 365842"/>
                <a:gd name="connsiteY130" fmla="*/ 365595 h 382527"/>
                <a:gd name="connsiteX131" fmla="*/ 27937 w 365842"/>
                <a:gd name="connsiteY131" fmla="*/ 367955 h 382527"/>
                <a:gd name="connsiteX132" fmla="*/ 30380 w 365842"/>
                <a:gd name="connsiteY132" fmla="*/ 375145 h 382527"/>
                <a:gd name="connsiteX133" fmla="*/ 29007 w 365842"/>
                <a:gd name="connsiteY133" fmla="*/ 378246 h 382527"/>
                <a:gd name="connsiteX134" fmla="*/ 17701 w 365842"/>
                <a:gd name="connsiteY134" fmla="*/ 373225 h 382527"/>
                <a:gd name="connsiteX135" fmla="*/ 16905 w 365842"/>
                <a:gd name="connsiteY135" fmla="*/ 370755 h 382527"/>
                <a:gd name="connsiteX136" fmla="*/ 20198 w 365842"/>
                <a:gd name="connsiteY136" fmla="*/ 368422 h 382527"/>
                <a:gd name="connsiteX137" fmla="*/ 21021 w 365842"/>
                <a:gd name="connsiteY137" fmla="*/ 363482 h 382527"/>
                <a:gd name="connsiteX138" fmla="*/ 17673 w 365842"/>
                <a:gd name="connsiteY138" fmla="*/ 356951 h 382527"/>
                <a:gd name="connsiteX139" fmla="*/ 17262 w 365842"/>
                <a:gd name="connsiteY139" fmla="*/ 348498 h 382527"/>
                <a:gd name="connsiteX140" fmla="*/ 11910 w 365842"/>
                <a:gd name="connsiteY140" fmla="*/ 340402 h 382527"/>
                <a:gd name="connsiteX141" fmla="*/ 11746 w 365842"/>
                <a:gd name="connsiteY141" fmla="*/ 337439 h 382527"/>
                <a:gd name="connsiteX142" fmla="*/ 14243 w 365842"/>
                <a:gd name="connsiteY142" fmla="*/ 331621 h 382527"/>
                <a:gd name="connsiteX143" fmla="*/ 19320 w 365842"/>
                <a:gd name="connsiteY143" fmla="*/ 333240 h 382527"/>
                <a:gd name="connsiteX144" fmla="*/ 23903 w 365842"/>
                <a:gd name="connsiteY144" fmla="*/ 331923 h 382527"/>
                <a:gd name="connsiteX145" fmla="*/ 23162 w 365842"/>
                <a:gd name="connsiteY145" fmla="*/ 335792 h 382527"/>
                <a:gd name="connsiteX146" fmla="*/ 18826 w 365842"/>
                <a:gd name="connsiteY146" fmla="*/ 337082 h 382527"/>
                <a:gd name="connsiteX147" fmla="*/ 16081 w 365842"/>
                <a:gd name="connsiteY147" fmla="*/ 340869 h 382527"/>
                <a:gd name="connsiteX148" fmla="*/ 19100 w 365842"/>
                <a:gd name="connsiteY148" fmla="*/ 345095 h 382527"/>
                <a:gd name="connsiteX149" fmla="*/ 21845 w 365842"/>
                <a:gd name="connsiteY149" fmla="*/ 344794 h 382527"/>
                <a:gd name="connsiteX150" fmla="*/ 29364 w 365842"/>
                <a:gd name="connsiteY150" fmla="*/ 330057 h 382527"/>
                <a:gd name="connsiteX151" fmla="*/ 27882 w 365842"/>
                <a:gd name="connsiteY151" fmla="*/ 327120 h 382527"/>
                <a:gd name="connsiteX152" fmla="*/ 29309 w 365842"/>
                <a:gd name="connsiteY152" fmla="*/ 323059 h 382527"/>
                <a:gd name="connsiteX153" fmla="*/ 23519 w 365842"/>
                <a:gd name="connsiteY153" fmla="*/ 311670 h 382527"/>
                <a:gd name="connsiteX154" fmla="*/ 20198 w 365842"/>
                <a:gd name="connsiteY154" fmla="*/ 309475 h 382527"/>
                <a:gd name="connsiteX155" fmla="*/ 17152 w 365842"/>
                <a:gd name="connsiteY155" fmla="*/ 311313 h 382527"/>
                <a:gd name="connsiteX156" fmla="*/ 16603 w 365842"/>
                <a:gd name="connsiteY156" fmla="*/ 318997 h 382527"/>
                <a:gd name="connsiteX157" fmla="*/ 21433 w 365842"/>
                <a:gd name="connsiteY157" fmla="*/ 320973 h 382527"/>
                <a:gd name="connsiteX158" fmla="*/ 21570 w 365842"/>
                <a:gd name="connsiteY158" fmla="*/ 325611 h 382527"/>
                <a:gd name="connsiteX159" fmla="*/ 17756 w 365842"/>
                <a:gd name="connsiteY159" fmla="*/ 327779 h 382527"/>
                <a:gd name="connsiteX160" fmla="*/ 16740 w 365842"/>
                <a:gd name="connsiteY160" fmla="*/ 323635 h 382527"/>
                <a:gd name="connsiteX161" fmla="*/ 14353 w 365842"/>
                <a:gd name="connsiteY161" fmla="*/ 323141 h 382527"/>
                <a:gd name="connsiteX162" fmla="*/ 6504 w 365842"/>
                <a:gd name="connsiteY162" fmla="*/ 327038 h 382527"/>
                <a:gd name="connsiteX163" fmla="*/ 1701 w 365842"/>
                <a:gd name="connsiteY163" fmla="*/ 317158 h 382527"/>
                <a:gd name="connsiteX164" fmla="*/ 3266 w 365842"/>
                <a:gd name="connsiteY164" fmla="*/ 310599 h 382527"/>
                <a:gd name="connsiteX165" fmla="*/ 0 w 365842"/>
                <a:gd name="connsiteY165" fmla="*/ 306319 h 382527"/>
                <a:gd name="connsiteX166" fmla="*/ 549 w 365842"/>
                <a:gd name="connsiteY166" fmla="*/ 302504 h 382527"/>
                <a:gd name="connsiteX167" fmla="*/ 6257 w 365842"/>
                <a:gd name="connsiteY167" fmla="*/ 302421 h 382527"/>
                <a:gd name="connsiteX168" fmla="*/ 7986 w 365842"/>
                <a:gd name="connsiteY168" fmla="*/ 296302 h 382527"/>
                <a:gd name="connsiteX169" fmla="*/ 12761 w 365842"/>
                <a:gd name="connsiteY169" fmla="*/ 297921 h 382527"/>
                <a:gd name="connsiteX170" fmla="*/ 17756 w 365842"/>
                <a:gd name="connsiteY170" fmla="*/ 292981 h 382527"/>
                <a:gd name="connsiteX171" fmla="*/ 23299 w 365842"/>
                <a:gd name="connsiteY171" fmla="*/ 292679 h 382527"/>
                <a:gd name="connsiteX172" fmla="*/ 26345 w 365842"/>
                <a:gd name="connsiteY172" fmla="*/ 285599 h 382527"/>
                <a:gd name="connsiteX173" fmla="*/ 38063 w 365842"/>
                <a:gd name="connsiteY173" fmla="*/ 282169 h 382527"/>
                <a:gd name="connsiteX174" fmla="*/ 39875 w 365842"/>
                <a:gd name="connsiteY174" fmla="*/ 266883 h 382527"/>
                <a:gd name="connsiteX175" fmla="*/ 53075 w 365842"/>
                <a:gd name="connsiteY175" fmla="*/ 263645 h 382527"/>
                <a:gd name="connsiteX176" fmla="*/ 58893 w 365842"/>
                <a:gd name="connsiteY176" fmla="*/ 256921 h 382527"/>
                <a:gd name="connsiteX177" fmla="*/ 66357 w 365842"/>
                <a:gd name="connsiteY177" fmla="*/ 253518 h 382527"/>
                <a:gd name="connsiteX178" fmla="*/ 88065 w 365842"/>
                <a:gd name="connsiteY178" fmla="*/ 233814 h 382527"/>
                <a:gd name="connsiteX179" fmla="*/ 93690 w 365842"/>
                <a:gd name="connsiteY179" fmla="*/ 226569 h 382527"/>
                <a:gd name="connsiteX180" fmla="*/ 102335 w 365842"/>
                <a:gd name="connsiteY180" fmla="*/ 223057 h 382527"/>
                <a:gd name="connsiteX181" fmla="*/ 111172 w 365842"/>
                <a:gd name="connsiteY181" fmla="*/ 226624 h 382527"/>
                <a:gd name="connsiteX182" fmla="*/ 130628 w 365842"/>
                <a:gd name="connsiteY182" fmla="*/ 224868 h 382527"/>
                <a:gd name="connsiteX183" fmla="*/ 164383 w 365842"/>
                <a:gd name="connsiteY183" fmla="*/ 216745 h 382527"/>
                <a:gd name="connsiteX184" fmla="*/ 166744 w 365842"/>
                <a:gd name="connsiteY184" fmla="*/ 218391 h 382527"/>
                <a:gd name="connsiteX185" fmla="*/ 167485 w 365842"/>
                <a:gd name="connsiteY185" fmla="*/ 224429 h 382527"/>
                <a:gd name="connsiteX186" fmla="*/ 172067 w 365842"/>
                <a:gd name="connsiteY186" fmla="*/ 222562 h 382527"/>
                <a:gd name="connsiteX187" fmla="*/ 175114 w 365842"/>
                <a:gd name="connsiteY187" fmla="*/ 225526 h 382527"/>
                <a:gd name="connsiteX188" fmla="*/ 178873 w 365842"/>
                <a:gd name="connsiteY188" fmla="*/ 225773 h 382527"/>
                <a:gd name="connsiteX189" fmla="*/ 190125 w 365842"/>
                <a:gd name="connsiteY189" fmla="*/ 217815 h 382527"/>
                <a:gd name="connsiteX190" fmla="*/ 188725 w 365842"/>
                <a:gd name="connsiteY190" fmla="*/ 205987 h 382527"/>
                <a:gd name="connsiteX191" fmla="*/ 209554 w 365842"/>
                <a:gd name="connsiteY191" fmla="*/ 178078 h 382527"/>
                <a:gd name="connsiteX192" fmla="*/ 210625 w 365842"/>
                <a:gd name="connsiteY192" fmla="*/ 172314 h 382527"/>
                <a:gd name="connsiteX193" fmla="*/ 208814 w 365842"/>
                <a:gd name="connsiteY193" fmla="*/ 164109 h 382527"/>
                <a:gd name="connsiteX194" fmla="*/ 211832 w 365842"/>
                <a:gd name="connsiteY194" fmla="*/ 157495 h 382527"/>
                <a:gd name="connsiteX195" fmla="*/ 223770 w 365842"/>
                <a:gd name="connsiteY195" fmla="*/ 152391 h 382527"/>
                <a:gd name="connsiteX196" fmla="*/ 227447 w 365842"/>
                <a:gd name="connsiteY196" fmla="*/ 152995 h 382527"/>
                <a:gd name="connsiteX197" fmla="*/ 224346 w 365842"/>
                <a:gd name="connsiteY197" fmla="*/ 159416 h 382527"/>
                <a:gd name="connsiteX198" fmla="*/ 215756 w 365842"/>
                <a:gd name="connsiteY198" fmla="*/ 163752 h 382527"/>
                <a:gd name="connsiteX199" fmla="*/ 214631 w 365842"/>
                <a:gd name="connsiteY199" fmla="*/ 166277 h 382527"/>
                <a:gd name="connsiteX200" fmla="*/ 219105 w 365842"/>
                <a:gd name="connsiteY200" fmla="*/ 168994 h 382527"/>
                <a:gd name="connsiteX201" fmla="*/ 219159 w 365842"/>
                <a:gd name="connsiteY201" fmla="*/ 177721 h 382527"/>
                <a:gd name="connsiteX202" fmla="*/ 226405 w 365842"/>
                <a:gd name="connsiteY202" fmla="*/ 179559 h 382527"/>
                <a:gd name="connsiteX203" fmla="*/ 232579 w 365842"/>
                <a:gd name="connsiteY203" fmla="*/ 172918 h 382527"/>
                <a:gd name="connsiteX204" fmla="*/ 254040 w 365842"/>
                <a:gd name="connsiteY204" fmla="*/ 164246 h 382527"/>
                <a:gd name="connsiteX205" fmla="*/ 261284 w 365842"/>
                <a:gd name="connsiteY205" fmla="*/ 158840 h 382527"/>
                <a:gd name="connsiteX206" fmla="*/ 267980 w 365842"/>
                <a:gd name="connsiteY206" fmla="*/ 150442 h 382527"/>
                <a:gd name="connsiteX207" fmla="*/ 272783 w 365842"/>
                <a:gd name="connsiteY207" fmla="*/ 140728 h 382527"/>
                <a:gd name="connsiteX208" fmla="*/ 286504 w 365842"/>
                <a:gd name="connsiteY208" fmla="*/ 130958 h 382527"/>
                <a:gd name="connsiteX209" fmla="*/ 292295 w 365842"/>
                <a:gd name="connsiteY209" fmla="*/ 114025 h 382527"/>
                <a:gd name="connsiteX210" fmla="*/ 299595 w 365842"/>
                <a:gd name="connsiteY210" fmla="*/ 101951 h 382527"/>
                <a:gd name="connsiteX211" fmla="*/ 307334 w 365842"/>
                <a:gd name="connsiteY211" fmla="*/ 76154 h 382527"/>
                <a:gd name="connsiteX212" fmla="*/ 305824 w 365842"/>
                <a:gd name="connsiteY212" fmla="*/ 64957 h 382527"/>
                <a:gd name="connsiteX213" fmla="*/ 298442 w 365842"/>
                <a:gd name="connsiteY213" fmla="*/ 61554 h 382527"/>
                <a:gd name="connsiteX214" fmla="*/ 303135 w 365842"/>
                <a:gd name="connsiteY214" fmla="*/ 57109 h 382527"/>
                <a:gd name="connsiteX215" fmla="*/ 306099 w 365842"/>
                <a:gd name="connsiteY215" fmla="*/ 49397 h 382527"/>
                <a:gd name="connsiteX216" fmla="*/ 303492 w 365842"/>
                <a:gd name="connsiteY216" fmla="*/ 33837 h 382527"/>
                <a:gd name="connsiteX217" fmla="*/ 313591 w 365842"/>
                <a:gd name="connsiteY217" fmla="*/ 25824 h 382527"/>
                <a:gd name="connsiteX218" fmla="*/ 316857 w 365842"/>
                <a:gd name="connsiteY218" fmla="*/ 11060 h 382527"/>
                <a:gd name="connsiteX219" fmla="*/ 323937 w 365842"/>
                <a:gd name="connsiteY219" fmla="*/ 13227 h 382527"/>
                <a:gd name="connsiteX220" fmla="*/ 327916 w 365842"/>
                <a:gd name="connsiteY220" fmla="*/ 24918 h 382527"/>
                <a:gd name="connsiteX221" fmla="*/ 332554 w 365842"/>
                <a:gd name="connsiteY221" fmla="*/ 20610 h 382527"/>
                <a:gd name="connsiteX222" fmla="*/ 337604 w 365842"/>
                <a:gd name="connsiteY222" fmla="*/ 23656 h 382527"/>
                <a:gd name="connsiteX223" fmla="*/ 340348 w 365842"/>
                <a:gd name="connsiteY223" fmla="*/ 22832 h 382527"/>
                <a:gd name="connsiteX224" fmla="*/ 342900 w 365842"/>
                <a:gd name="connsiteY224" fmla="*/ 15423 h 382527"/>
                <a:gd name="connsiteX225" fmla="*/ 341857 w 365842"/>
                <a:gd name="connsiteY225" fmla="*/ 11142 h 382527"/>
                <a:gd name="connsiteX226" fmla="*/ 331621 w 365842"/>
                <a:gd name="connsiteY226" fmla="*/ 13749 h 382527"/>
                <a:gd name="connsiteX227" fmla="*/ 329590 w 365842"/>
                <a:gd name="connsiteY227" fmla="*/ 12459 h 382527"/>
                <a:gd name="connsiteX228" fmla="*/ 330496 w 365842"/>
                <a:gd name="connsiteY228" fmla="*/ 4994 h 382527"/>
                <a:gd name="connsiteX229" fmla="*/ 333240 w 365842"/>
                <a:gd name="connsiteY229" fmla="*/ 0 h 382527"/>
                <a:gd name="connsiteX230" fmla="*/ 347647 w 365842"/>
                <a:gd name="connsiteY230" fmla="*/ 5681 h 38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365842" h="382527">
                  <a:moveTo>
                    <a:pt x="347510" y="5818"/>
                  </a:moveTo>
                  <a:lnTo>
                    <a:pt x="346934" y="22558"/>
                  </a:lnTo>
                  <a:lnTo>
                    <a:pt x="348334" y="32081"/>
                  </a:lnTo>
                  <a:lnTo>
                    <a:pt x="358351" y="46626"/>
                  </a:lnTo>
                  <a:lnTo>
                    <a:pt x="363427" y="61308"/>
                  </a:lnTo>
                  <a:lnTo>
                    <a:pt x="365843" y="75935"/>
                  </a:lnTo>
                  <a:lnTo>
                    <a:pt x="360985" y="92291"/>
                  </a:lnTo>
                  <a:lnTo>
                    <a:pt x="354948" y="97066"/>
                  </a:lnTo>
                  <a:lnTo>
                    <a:pt x="350612" y="107933"/>
                  </a:lnTo>
                  <a:lnTo>
                    <a:pt x="349925" y="121682"/>
                  </a:lnTo>
                  <a:lnTo>
                    <a:pt x="344657" y="119514"/>
                  </a:lnTo>
                  <a:lnTo>
                    <a:pt x="339168" y="120557"/>
                  </a:lnTo>
                  <a:lnTo>
                    <a:pt x="333871" y="128982"/>
                  </a:lnTo>
                  <a:lnTo>
                    <a:pt x="333103" y="135952"/>
                  </a:lnTo>
                  <a:lnTo>
                    <a:pt x="336231" y="153269"/>
                  </a:lnTo>
                  <a:lnTo>
                    <a:pt x="335381" y="165591"/>
                  </a:lnTo>
                  <a:lnTo>
                    <a:pt x="333981" y="171409"/>
                  </a:lnTo>
                  <a:lnTo>
                    <a:pt x="329810" y="175745"/>
                  </a:lnTo>
                  <a:lnTo>
                    <a:pt x="326873" y="183209"/>
                  </a:lnTo>
                  <a:lnTo>
                    <a:pt x="323114" y="199977"/>
                  </a:lnTo>
                  <a:lnTo>
                    <a:pt x="330194" y="217348"/>
                  </a:lnTo>
                  <a:lnTo>
                    <a:pt x="320287" y="224072"/>
                  </a:lnTo>
                  <a:lnTo>
                    <a:pt x="316061" y="237382"/>
                  </a:lnTo>
                  <a:lnTo>
                    <a:pt x="302751" y="246520"/>
                  </a:lnTo>
                  <a:lnTo>
                    <a:pt x="300802" y="244929"/>
                  </a:lnTo>
                  <a:lnTo>
                    <a:pt x="300857" y="233046"/>
                  </a:lnTo>
                  <a:lnTo>
                    <a:pt x="307663" y="223358"/>
                  </a:lnTo>
                  <a:lnTo>
                    <a:pt x="305276" y="220394"/>
                  </a:lnTo>
                  <a:lnTo>
                    <a:pt x="299979" y="221355"/>
                  </a:lnTo>
                  <a:lnTo>
                    <a:pt x="295835" y="229944"/>
                  </a:lnTo>
                  <a:lnTo>
                    <a:pt x="296329" y="236558"/>
                  </a:lnTo>
                  <a:lnTo>
                    <a:pt x="288206" y="233073"/>
                  </a:lnTo>
                  <a:lnTo>
                    <a:pt x="282059" y="235598"/>
                  </a:lnTo>
                  <a:lnTo>
                    <a:pt x="279480" y="240922"/>
                  </a:lnTo>
                  <a:lnTo>
                    <a:pt x="279480" y="249072"/>
                  </a:lnTo>
                  <a:cubicBezTo>
                    <a:pt x="279480" y="249072"/>
                    <a:pt x="276022" y="254890"/>
                    <a:pt x="276022" y="254890"/>
                  </a:cubicBezTo>
                  <a:lnTo>
                    <a:pt x="272728" y="256894"/>
                  </a:lnTo>
                  <a:lnTo>
                    <a:pt x="269627" y="254040"/>
                  </a:lnTo>
                  <a:lnTo>
                    <a:pt x="269901" y="246465"/>
                  </a:lnTo>
                  <a:lnTo>
                    <a:pt x="272152" y="241910"/>
                  </a:lnTo>
                  <a:lnTo>
                    <a:pt x="269325" y="239906"/>
                  </a:lnTo>
                  <a:lnTo>
                    <a:pt x="263068" y="241718"/>
                  </a:lnTo>
                  <a:lnTo>
                    <a:pt x="250664" y="257360"/>
                  </a:lnTo>
                  <a:lnTo>
                    <a:pt x="233896" y="255631"/>
                  </a:lnTo>
                  <a:lnTo>
                    <a:pt x="222371" y="257717"/>
                  </a:lnTo>
                  <a:lnTo>
                    <a:pt x="221986" y="256564"/>
                  </a:lnTo>
                  <a:lnTo>
                    <a:pt x="225609" y="253326"/>
                  </a:lnTo>
                  <a:lnTo>
                    <a:pt x="225416" y="252174"/>
                  </a:lnTo>
                  <a:lnTo>
                    <a:pt x="217156" y="249923"/>
                  </a:lnTo>
                  <a:lnTo>
                    <a:pt x="214412" y="252887"/>
                  </a:lnTo>
                  <a:lnTo>
                    <a:pt x="212738" y="244133"/>
                  </a:lnTo>
                  <a:lnTo>
                    <a:pt x="209664" y="242870"/>
                  </a:lnTo>
                  <a:lnTo>
                    <a:pt x="204944" y="251405"/>
                  </a:lnTo>
                  <a:lnTo>
                    <a:pt x="204478" y="255823"/>
                  </a:lnTo>
                  <a:lnTo>
                    <a:pt x="213616" y="263343"/>
                  </a:lnTo>
                  <a:lnTo>
                    <a:pt x="213890" y="268090"/>
                  </a:lnTo>
                  <a:lnTo>
                    <a:pt x="207140" y="268667"/>
                  </a:lnTo>
                  <a:lnTo>
                    <a:pt x="198440" y="273085"/>
                  </a:lnTo>
                  <a:lnTo>
                    <a:pt x="183593" y="296768"/>
                  </a:lnTo>
                  <a:lnTo>
                    <a:pt x="171957" y="294847"/>
                  </a:lnTo>
                  <a:lnTo>
                    <a:pt x="169296" y="289167"/>
                  </a:lnTo>
                  <a:lnTo>
                    <a:pt x="165097" y="286367"/>
                  </a:lnTo>
                  <a:lnTo>
                    <a:pt x="161584" y="282580"/>
                  </a:lnTo>
                  <a:lnTo>
                    <a:pt x="163834" y="273936"/>
                  </a:lnTo>
                  <a:lnTo>
                    <a:pt x="161337" y="269600"/>
                  </a:lnTo>
                  <a:lnTo>
                    <a:pt x="171381" y="260653"/>
                  </a:lnTo>
                  <a:lnTo>
                    <a:pt x="171957" y="256317"/>
                  </a:lnTo>
                  <a:lnTo>
                    <a:pt x="168198" y="254396"/>
                  </a:lnTo>
                  <a:lnTo>
                    <a:pt x="159032" y="256509"/>
                  </a:lnTo>
                  <a:lnTo>
                    <a:pt x="148521" y="252064"/>
                  </a:lnTo>
                  <a:lnTo>
                    <a:pt x="140151" y="253298"/>
                  </a:lnTo>
                  <a:lnTo>
                    <a:pt x="127500" y="262821"/>
                  </a:lnTo>
                  <a:lnTo>
                    <a:pt x="123329" y="263562"/>
                  </a:lnTo>
                  <a:lnTo>
                    <a:pt x="119377" y="261724"/>
                  </a:lnTo>
                  <a:lnTo>
                    <a:pt x="104064" y="268996"/>
                  </a:lnTo>
                  <a:lnTo>
                    <a:pt x="101073" y="277613"/>
                  </a:lnTo>
                  <a:lnTo>
                    <a:pt x="103240" y="281043"/>
                  </a:lnTo>
                  <a:lnTo>
                    <a:pt x="105793" y="281510"/>
                  </a:lnTo>
                  <a:lnTo>
                    <a:pt x="116688" y="278903"/>
                  </a:lnTo>
                  <a:lnTo>
                    <a:pt x="120173" y="269957"/>
                  </a:lnTo>
                  <a:lnTo>
                    <a:pt x="133620" y="266060"/>
                  </a:lnTo>
                  <a:lnTo>
                    <a:pt x="146738" y="273058"/>
                  </a:lnTo>
                  <a:lnTo>
                    <a:pt x="149317" y="285846"/>
                  </a:lnTo>
                  <a:lnTo>
                    <a:pt x="140810" y="292954"/>
                  </a:lnTo>
                  <a:lnTo>
                    <a:pt x="134526" y="304507"/>
                  </a:lnTo>
                  <a:lnTo>
                    <a:pt x="122533" y="296741"/>
                  </a:lnTo>
                  <a:lnTo>
                    <a:pt x="109580" y="301406"/>
                  </a:lnTo>
                  <a:lnTo>
                    <a:pt x="100743" y="315896"/>
                  </a:lnTo>
                  <a:lnTo>
                    <a:pt x="99234" y="323415"/>
                  </a:lnTo>
                  <a:lnTo>
                    <a:pt x="90452" y="321577"/>
                  </a:lnTo>
                  <a:lnTo>
                    <a:pt x="90562" y="317927"/>
                  </a:lnTo>
                  <a:lnTo>
                    <a:pt x="85018" y="313893"/>
                  </a:lnTo>
                  <a:lnTo>
                    <a:pt x="85512" y="306456"/>
                  </a:lnTo>
                  <a:lnTo>
                    <a:pt x="82247" y="302778"/>
                  </a:lnTo>
                  <a:lnTo>
                    <a:pt x="81643" y="299265"/>
                  </a:lnTo>
                  <a:lnTo>
                    <a:pt x="89437" y="289880"/>
                  </a:lnTo>
                  <a:lnTo>
                    <a:pt x="92208" y="281455"/>
                  </a:lnTo>
                  <a:lnTo>
                    <a:pt x="100057" y="274210"/>
                  </a:lnTo>
                  <a:lnTo>
                    <a:pt x="99426" y="270725"/>
                  </a:lnTo>
                  <a:lnTo>
                    <a:pt x="97258" y="271850"/>
                  </a:lnTo>
                  <a:lnTo>
                    <a:pt x="93471" y="270039"/>
                  </a:lnTo>
                  <a:lnTo>
                    <a:pt x="85266" y="275911"/>
                  </a:lnTo>
                  <a:lnTo>
                    <a:pt x="82630" y="272344"/>
                  </a:lnTo>
                  <a:lnTo>
                    <a:pt x="83701" y="268118"/>
                  </a:lnTo>
                  <a:lnTo>
                    <a:pt x="81067" y="268173"/>
                  </a:lnTo>
                  <a:lnTo>
                    <a:pt x="77197" y="276268"/>
                  </a:lnTo>
                  <a:lnTo>
                    <a:pt x="78761" y="281181"/>
                  </a:lnTo>
                  <a:lnTo>
                    <a:pt x="81670" y="283184"/>
                  </a:lnTo>
                  <a:lnTo>
                    <a:pt x="81067" y="284803"/>
                  </a:lnTo>
                  <a:lnTo>
                    <a:pt x="72944" y="283843"/>
                  </a:lnTo>
                  <a:lnTo>
                    <a:pt x="64189" y="278766"/>
                  </a:lnTo>
                  <a:lnTo>
                    <a:pt x="48492" y="281702"/>
                  </a:lnTo>
                  <a:lnTo>
                    <a:pt x="42482" y="279424"/>
                  </a:lnTo>
                  <a:lnTo>
                    <a:pt x="41713" y="286779"/>
                  </a:lnTo>
                  <a:lnTo>
                    <a:pt x="44403" y="292295"/>
                  </a:lnTo>
                  <a:lnTo>
                    <a:pt x="52498" y="294408"/>
                  </a:lnTo>
                  <a:lnTo>
                    <a:pt x="58700" y="291472"/>
                  </a:lnTo>
                  <a:lnTo>
                    <a:pt x="61719" y="293777"/>
                  </a:lnTo>
                  <a:lnTo>
                    <a:pt x="61857" y="299540"/>
                  </a:lnTo>
                  <a:lnTo>
                    <a:pt x="58014" y="304233"/>
                  </a:lnTo>
                  <a:lnTo>
                    <a:pt x="65643" y="306950"/>
                  </a:lnTo>
                  <a:lnTo>
                    <a:pt x="69925" y="319107"/>
                  </a:lnTo>
                  <a:lnTo>
                    <a:pt x="63284" y="329069"/>
                  </a:lnTo>
                  <a:lnTo>
                    <a:pt x="55572" y="350858"/>
                  </a:lnTo>
                  <a:lnTo>
                    <a:pt x="54474" y="362275"/>
                  </a:lnTo>
                  <a:lnTo>
                    <a:pt x="50715" y="369986"/>
                  </a:lnTo>
                  <a:lnTo>
                    <a:pt x="43470" y="370068"/>
                  </a:lnTo>
                  <a:lnTo>
                    <a:pt x="41741" y="377423"/>
                  </a:lnTo>
                  <a:lnTo>
                    <a:pt x="32849" y="382528"/>
                  </a:lnTo>
                  <a:lnTo>
                    <a:pt x="34578" y="372291"/>
                  </a:lnTo>
                  <a:lnTo>
                    <a:pt x="31121" y="365595"/>
                  </a:lnTo>
                  <a:lnTo>
                    <a:pt x="27937" y="367955"/>
                  </a:lnTo>
                  <a:lnTo>
                    <a:pt x="30380" y="375145"/>
                  </a:lnTo>
                  <a:lnTo>
                    <a:pt x="29007" y="378246"/>
                  </a:lnTo>
                  <a:lnTo>
                    <a:pt x="17701" y="373225"/>
                  </a:lnTo>
                  <a:lnTo>
                    <a:pt x="16905" y="370755"/>
                  </a:lnTo>
                  <a:lnTo>
                    <a:pt x="20198" y="368422"/>
                  </a:lnTo>
                  <a:lnTo>
                    <a:pt x="21021" y="363482"/>
                  </a:lnTo>
                  <a:lnTo>
                    <a:pt x="17673" y="356951"/>
                  </a:lnTo>
                  <a:lnTo>
                    <a:pt x="17262" y="348498"/>
                  </a:lnTo>
                  <a:lnTo>
                    <a:pt x="11910" y="340402"/>
                  </a:lnTo>
                  <a:lnTo>
                    <a:pt x="11746" y="337439"/>
                  </a:lnTo>
                  <a:lnTo>
                    <a:pt x="14243" y="331621"/>
                  </a:lnTo>
                  <a:lnTo>
                    <a:pt x="19320" y="333240"/>
                  </a:lnTo>
                  <a:lnTo>
                    <a:pt x="23903" y="331923"/>
                  </a:lnTo>
                  <a:lnTo>
                    <a:pt x="23162" y="335792"/>
                  </a:lnTo>
                  <a:lnTo>
                    <a:pt x="18826" y="337082"/>
                  </a:lnTo>
                  <a:lnTo>
                    <a:pt x="16081" y="340869"/>
                  </a:lnTo>
                  <a:lnTo>
                    <a:pt x="19100" y="345095"/>
                  </a:lnTo>
                  <a:lnTo>
                    <a:pt x="21845" y="344794"/>
                  </a:lnTo>
                  <a:lnTo>
                    <a:pt x="29364" y="330057"/>
                  </a:lnTo>
                  <a:lnTo>
                    <a:pt x="27882" y="327120"/>
                  </a:lnTo>
                  <a:lnTo>
                    <a:pt x="29309" y="323059"/>
                  </a:lnTo>
                  <a:lnTo>
                    <a:pt x="23519" y="311670"/>
                  </a:lnTo>
                  <a:lnTo>
                    <a:pt x="20198" y="309475"/>
                  </a:lnTo>
                  <a:lnTo>
                    <a:pt x="17152" y="311313"/>
                  </a:lnTo>
                  <a:lnTo>
                    <a:pt x="16603" y="318997"/>
                  </a:lnTo>
                  <a:lnTo>
                    <a:pt x="21433" y="320973"/>
                  </a:lnTo>
                  <a:lnTo>
                    <a:pt x="21570" y="325611"/>
                  </a:lnTo>
                  <a:lnTo>
                    <a:pt x="17756" y="327779"/>
                  </a:lnTo>
                  <a:lnTo>
                    <a:pt x="16740" y="323635"/>
                  </a:lnTo>
                  <a:lnTo>
                    <a:pt x="14353" y="323141"/>
                  </a:lnTo>
                  <a:lnTo>
                    <a:pt x="6504" y="327038"/>
                  </a:lnTo>
                  <a:lnTo>
                    <a:pt x="1701" y="317158"/>
                  </a:lnTo>
                  <a:lnTo>
                    <a:pt x="3266" y="310599"/>
                  </a:lnTo>
                  <a:lnTo>
                    <a:pt x="0" y="306319"/>
                  </a:lnTo>
                  <a:lnTo>
                    <a:pt x="549" y="302504"/>
                  </a:lnTo>
                  <a:lnTo>
                    <a:pt x="6257" y="302421"/>
                  </a:lnTo>
                  <a:lnTo>
                    <a:pt x="7986" y="296302"/>
                  </a:lnTo>
                  <a:lnTo>
                    <a:pt x="12761" y="297921"/>
                  </a:lnTo>
                  <a:lnTo>
                    <a:pt x="17756" y="292981"/>
                  </a:lnTo>
                  <a:lnTo>
                    <a:pt x="23299" y="292679"/>
                  </a:lnTo>
                  <a:lnTo>
                    <a:pt x="26345" y="285599"/>
                  </a:lnTo>
                  <a:lnTo>
                    <a:pt x="38063" y="282169"/>
                  </a:lnTo>
                  <a:lnTo>
                    <a:pt x="39875" y="266883"/>
                  </a:lnTo>
                  <a:lnTo>
                    <a:pt x="53075" y="263645"/>
                  </a:lnTo>
                  <a:lnTo>
                    <a:pt x="58893" y="256921"/>
                  </a:lnTo>
                  <a:lnTo>
                    <a:pt x="66357" y="253518"/>
                  </a:lnTo>
                  <a:lnTo>
                    <a:pt x="88065" y="233814"/>
                  </a:lnTo>
                  <a:lnTo>
                    <a:pt x="93690" y="226569"/>
                  </a:lnTo>
                  <a:lnTo>
                    <a:pt x="102335" y="223057"/>
                  </a:lnTo>
                  <a:lnTo>
                    <a:pt x="111172" y="226624"/>
                  </a:lnTo>
                  <a:lnTo>
                    <a:pt x="130628" y="224868"/>
                  </a:lnTo>
                  <a:lnTo>
                    <a:pt x="164383" y="216745"/>
                  </a:lnTo>
                  <a:lnTo>
                    <a:pt x="166744" y="218391"/>
                  </a:lnTo>
                  <a:lnTo>
                    <a:pt x="167485" y="224429"/>
                  </a:lnTo>
                  <a:lnTo>
                    <a:pt x="172067" y="222562"/>
                  </a:lnTo>
                  <a:lnTo>
                    <a:pt x="175114" y="225526"/>
                  </a:lnTo>
                  <a:lnTo>
                    <a:pt x="178873" y="225773"/>
                  </a:lnTo>
                  <a:lnTo>
                    <a:pt x="190125" y="217815"/>
                  </a:lnTo>
                  <a:lnTo>
                    <a:pt x="188725" y="205987"/>
                  </a:lnTo>
                  <a:lnTo>
                    <a:pt x="209554" y="178078"/>
                  </a:lnTo>
                  <a:lnTo>
                    <a:pt x="210625" y="172314"/>
                  </a:lnTo>
                  <a:lnTo>
                    <a:pt x="208814" y="164109"/>
                  </a:lnTo>
                  <a:lnTo>
                    <a:pt x="211832" y="157495"/>
                  </a:lnTo>
                  <a:lnTo>
                    <a:pt x="223770" y="152391"/>
                  </a:lnTo>
                  <a:lnTo>
                    <a:pt x="227447" y="152995"/>
                  </a:lnTo>
                  <a:lnTo>
                    <a:pt x="224346" y="159416"/>
                  </a:lnTo>
                  <a:lnTo>
                    <a:pt x="215756" y="163752"/>
                  </a:lnTo>
                  <a:lnTo>
                    <a:pt x="214631" y="166277"/>
                  </a:lnTo>
                  <a:lnTo>
                    <a:pt x="219105" y="168994"/>
                  </a:lnTo>
                  <a:lnTo>
                    <a:pt x="219159" y="177721"/>
                  </a:lnTo>
                  <a:lnTo>
                    <a:pt x="226405" y="179559"/>
                  </a:lnTo>
                  <a:lnTo>
                    <a:pt x="232579" y="172918"/>
                  </a:lnTo>
                  <a:lnTo>
                    <a:pt x="254040" y="164246"/>
                  </a:lnTo>
                  <a:lnTo>
                    <a:pt x="261284" y="158840"/>
                  </a:lnTo>
                  <a:lnTo>
                    <a:pt x="267980" y="150442"/>
                  </a:lnTo>
                  <a:lnTo>
                    <a:pt x="272783" y="140728"/>
                  </a:lnTo>
                  <a:lnTo>
                    <a:pt x="286504" y="130958"/>
                  </a:lnTo>
                  <a:lnTo>
                    <a:pt x="292295" y="114025"/>
                  </a:lnTo>
                  <a:lnTo>
                    <a:pt x="299595" y="101951"/>
                  </a:lnTo>
                  <a:lnTo>
                    <a:pt x="307334" y="76154"/>
                  </a:lnTo>
                  <a:lnTo>
                    <a:pt x="305824" y="64957"/>
                  </a:lnTo>
                  <a:lnTo>
                    <a:pt x="298442" y="61554"/>
                  </a:lnTo>
                  <a:lnTo>
                    <a:pt x="303135" y="57109"/>
                  </a:lnTo>
                  <a:lnTo>
                    <a:pt x="306099" y="49397"/>
                  </a:lnTo>
                  <a:lnTo>
                    <a:pt x="303492" y="33837"/>
                  </a:lnTo>
                  <a:lnTo>
                    <a:pt x="313591" y="25824"/>
                  </a:lnTo>
                  <a:lnTo>
                    <a:pt x="316857" y="11060"/>
                  </a:lnTo>
                  <a:lnTo>
                    <a:pt x="323937" y="13227"/>
                  </a:lnTo>
                  <a:lnTo>
                    <a:pt x="327916" y="24918"/>
                  </a:lnTo>
                  <a:lnTo>
                    <a:pt x="332554" y="20610"/>
                  </a:lnTo>
                  <a:lnTo>
                    <a:pt x="337604" y="23656"/>
                  </a:lnTo>
                  <a:lnTo>
                    <a:pt x="340348" y="22832"/>
                  </a:lnTo>
                  <a:lnTo>
                    <a:pt x="342900" y="15423"/>
                  </a:lnTo>
                  <a:lnTo>
                    <a:pt x="341857" y="11142"/>
                  </a:lnTo>
                  <a:lnTo>
                    <a:pt x="331621" y="13749"/>
                  </a:lnTo>
                  <a:lnTo>
                    <a:pt x="329590" y="12459"/>
                  </a:lnTo>
                  <a:lnTo>
                    <a:pt x="330496" y="4994"/>
                  </a:lnTo>
                  <a:lnTo>
                    <a:pt x="333240" y="0"/>
                  </a:lnTo>
                  <a:lnTo>
                    <a:pt x="347647" y="56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1" name="Freeform: Shape 3900">
              <a:extLst>
                <a:ext uri="{FF2B5EF4-FFF2-40B4-BE49-F238E27FC236}">
                  <a16:creationId xmlns:a16="http://schemas.microsoft.com/office/drawing/2014/main" id="{BDB75FBC-1F87-3062-F16A-143FE554A66F}"/>
                </a:ext>
              </a:extLst>
            </p:cNvPr>
            <p:cNvSpPr/>
            <p:nvPr/>
          </p:nvSpPr>
          <p:spPr>
            <a:xfrm>
              <a:off x="1794389" y="3687730"/>
              <a:ext cx="17357" cy="16951"/>
            </a:xfrm>
            <a:custGeom>
              <a:avLst/>
              <a:gdLst>
                <a:gd name="connsiteX0" fmla="*/ 106479 w 166413"/>
                <a:gd name="connsiteY0" fmla="*/ 45665 h 162517"/>
                <a:gd name="connsiteX1" fmla="*/ 137187 w 166413"/>
                <a:gd name="connsiteY1" fmla="*/ 59963 h 162517"/>
                <a:gd name="connsiteX2" fmla="*/ 145585 w 166413"/>
                <a:gd name="connsiteY2" fmla="*/ 59497 h 162517"/>
                <a:gd name="connsiteX3" fmla="*/ 156699 w 166413"/>
                <a:gd name="connsiteY3" fmla="*/ 53980 h 162517"/>
                <a:gd name="connsiteX4" fmla="*/ 155985 w 166413"/>
                <a:gd name="connsiteY4" fmla="*/ 70583 h 162517"/>
                <a:gd name="connsiteX5" fmla="*/ 161337 w 166413"/>
                <a:gd name="connsiteY5" fmla="*/ 84689 h 162517"/>
                <a:gd name="connsiteX6" fmla="*/ 166414 w 166413"/>
                <a:gd name="connsiteY6" fmla="*/ 88037 h 162517"/>
                <a:gd name="connsiteX7" fmla="*/ 151101 w 166413"/>
                <a:gd name="connsiteY7" fmla="*/ 98246 h 162517"/>
                <a:gd name="connsiteX8" fmla="*/ 130162 w 166413"/>
                <a:gd name="connsiteY8" fmla="*/ 100386 h 162517"/>
                <a:gd name="connsiteX9" fmla="*/ 121819 w 166413"/>
                <a:gd name="connsiteY9" fmla="*/ 104036 h 162517"/>
                <a:gd name="connsiteX10" fmla="*/ 112818 w 166413"/>
                <a:gd name="connsiteY10" fmla="*/ 113861 h 162517"/>
                <a:gd name="connsiteX11" fmla="*/ 106753 w 166413"/>
                <a:gd name="connsiteY11" fmla="*/ 120502 h 162517"/>
                <a:gd name="connsiteX12" fmla="*/ 105765 w 166413"/>
                <a:gd name="connsiteY12" fmla="*/ 123137 h 162517"/>
                <a:gd name="connsiteX13" fmla="*/ 99672 w 166413"/>
                <a:gd name="connsiteY13" fmla="*/ 139136 h 162517"/>
                <a:gd name="connsiteX14" fmla="*/ 71105 w 166413"/>
                <a:gd name="connsiteY14" fmla="*/ 123137 h 162517"/>
                <a:gd name="connsiteX15" fmla="*/ 57136 w 166413"/>
                <a:gd name="connsiteY15" fmla="*/ 115288 h 162517"/>
                <a:gd name="connsiteX16" fmla="*/ 50193 w 166413"/>
                <a:gd name="connsiteY16" fmla="*/ 115370 h 162517"/>
                <a:gd name="connsiteX17" fmla="*/ 37953 w 166413"/>
                <a:gd name="connsiteY17" fmla="*/ 123137 h 162517"/>
                <a:gd name="connsiteX18" fmla="*/ 34386 w 166413"/>
                <a:gd name="connsiteY18" fmla="*/ 125387 h 162517"/>
                <a:gd name="connsiteX19" fmla="*/ 31861 w 166413"/>
                <a:gd name="connsiteY19" fmla="*/ 123137 h 162517"/>
                <a:gd name="connsiteX20" fmla="*/ 25824 w 166413"/>
                <a:gd name="connsiteY20" fmla="*/ 118005 h 162517"/>
                <a:gd name="connsiteX21" fmla="*/ 20994 w 166413"/>
                <a:gd name="connsiteY21" fmla="*/ 117401 h 162517"/>
                <a:gd name="connsiteX22" fmla="*/ 14764 w 166413"/>
                <a:gd name="connsiteY22" fmla="*/ 123137 h 162517"/>
                <a:gd name="connsiteX23" fmla="*/ 14819 w 166413"/>
                <a:gd name="connsiteY23" fmla="*/ 128927 h 162517"/>
                <a:gd name="connsiteX24" fmla="*/ 20061 w 166413"/>
                <a:gd name="connsiteY24" fmla="*/ 133345 h 162517"/>
                <a:gd name="connsiteX25" fmla="*/ 27113 w 166413"/>
                <a:gd name="connsiteY25" fmla="*/ 135678 h 162517"/>
                <a:gd name="connsiteX26" fmla="*/ 37404 w 166413"/>
                <a:gd name="connsiteY26" fmla="*/ 146683 h 162517"/>
                <a:gd name="connsiteX27" fmla="*/ 33041 w 166413"/>
                <a:gd name="connsiteY27" fmla="*/ 149564 h 162517"/>
                <a:gd name="connsiteX28" fmla="*/ 24095 w 166413"/>
                <a:gd name="connsiteY28" fmla="*/ 147973 h 162517"/>
                <a:gd name="connsiteX29" fmla="*/ 19567 w 166413"/>
                <a:gd name="connsiteY29" fmla="*/ 152117 h 162517"/>
                <a:gd name="connsiteX30" fmla="*/ 17783 w 166413"/>
                <a:gd name="connsiteY30" fmla="*/ 153955 h 162517"/>
                <a:gd name="connsiteX31" fmla="*/ 16795 w 166413"/>
                <a:gd name="connsiteY31" fmla="*/ 157605 h 162517"/>
                <a:gd name="connsiteX32" fmla="*/ 9879 w 166413"/>
                <a:gd name="connsiteY32" fmla="*/ 162517 h 162517"/>
                <a:gd name="connsiteX33" fmla="*/ 6092 w 166413"/>
                <a:gd name="connsiteY33" fmla="*/ 160788 h 162517"/>
                <a:gd name="connsiteX34" fmla="*/ 4445 w 166413"/>
                <a:gd name="connsiteY34" fmla="*/ 156398 h 162517"/>
                <a:gd name="connsiteX35" fmla="*/ 5269 w 166413"/>
                <a:gd name="connsiteY35" fmla="*/ 153955 h 162517"/>
                <a:gd name="connsiteX36" fmla="*/ 5680 w 166413"/>
                <a:gd name="connsiteY36" fmla="*/ 152117 h 162517"/>
                <a:gd name="connsiteX37" fmla="*/ 7602 w 166413"/>
                <a:gd name="connsiteY37" fmla="*/ 141441 h 162517"/>
                <a:gd name="connsiteX38" fmla="*/ 0 w 166413"/>
                <a:gd name="connsiteY38" fmla="*/ 128241 h 162517"/>
                <a:gd name="connsiteX39" fmla="*/ 384 w 166413"/>
                <a:gd name="connsiteY39" fmla="*/ 123137 h 162517"/>
                <a:gd name="connsiteX40" fmla="*/ 878 w 166413"/>
                <a:gd name="connsiteY40" fmla="*/ 116688 h 162517"/>
                <a:gd name="connsiteX41" fmla="*/ 3814 w 166413"/>
                <a:gd name="connsiteY41" fmla="*/ 113861 h 162517"/>
                <a:gd name="connsiteX42" fmla="*/ 16631 w 166413"/>
                <a:gd name="connsiteY42" fmla="*/ 101539 h 162517"/>
                <a:gd name="connsiteX43" fmla="*/ 17453 w 166413"/>
                <a:gd name="connsiteY43" fmla="*/ 87269 h 162517"/>
                <a:gd name="connsiteX44" fmla="*/ 21103 w 166413"/>
                <a:gd name="connsiteY44" fmla="*/ 86610 h 162517"/>
                <a:gd name="connsiteX45" fmla="*/ 36472 w 166413"/>
                <a:gd name="connsiteY45" fmla="*/ 91522 h 162517"/>
                <a:gd name="connsiteX46" fmla="*/ 44457 w 166413"/>
                <a:gd name="connsiteY46" fmla="*/ 85430 h 162517"/>
                <a:gd name="connsiteX47" fmla="*/ 45692 w 166413"/>
                <a:gd name="connsiteY47" fmla="*/ 70803 h 162517"/>
                <a:gd name="connsiteX48" fmla="*/ 52306 w 166413"/>
                <a:gd name="connsiteY48" fmla="*/ 57136 h 162517"/>
                <a:gd name="connsiteX49" fmla="*/ 55846 w 166413"/>
                <a:gd name="connsiteY49" fmla="*/ 37624 h 162517"/>
                <a:gd name="connsiteX50" fmla="*/ 52965 w 166413"/>
                <a:gd name="connsiteY50" fmla="*/ 7245 h 162517"/>
                <a:gd name="connsiteX51" fmla="*/ 55956 w 166413"/>
                <a:gd name="connsiteY51" fmla="*/ 631 h 162517"/>
                <a:gd name="connsiteX52" fmla="*/ 61417 w 166413"/>
                <a:gd name="connsiteY52" fmla="*/ 0 h 162517"/>
                <a:gd name="connsiteX53" fmla="*/ 87982 w 166413"/>
                <a:gd name="connsiteY53" fmla="*/ 29584 h 162517"/>
                <a:gd name="connsiteX54" fmla="*/ 106533 w 166413"/>
                <a:gd name="connsiteY54" fmla="*/ 45638 h 16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66413" h="162517">
                  <a:moveTo>
                    <a:pt x="106479" y="45665"/>
                  </a:moveTo>
                  <a:lnTo>
                    <a:pt x="137187" y="59963"/>
                  </a:lnTo>
                  <a:lnTo>
                    <a:pt x="145585" y="59497"/>
                  </a:lnTo>
                  <a:lnTo>
                    <a:pt x="156699" y="53980"/>
                  </a:lnTo>
                  <a:lnTo>
                    <a:pt x="155985" y="70583"/>
                  </a:lnTo>
                  <a:lnTo>
                    <a:pt x="161337" y="84689"/>
                  </a:lnTo>
                  <a:lnTo>
                    <a:pt x="166414" y="88037"/>
                  </a:lnTo>
                  <a:lnTo>
                    <a:pt x="151101" y="98246"/>
                  </a:lnTo>
                  <a:lnTo>
                    <a:pt x="130162" y="100386"/>
                  </a:lnTo>
                  <a:lnTo>
                    <a:pt x="121819" y="104036"/>
                  </a:lnTo>
                  <a:lnTo>
                    <a:pt x="112818" y="113861"/>
                  </a:lnTo>
                  <a:lnTo>
                    <a:pt x="106753" y="120502"/>
                  </a:lnTo>
                  <a:lnTo>
                    <a:pt x="105765" y="123137"/>
                  </a:lnTo>
                  <a:lnTo>
                    <a:pt x="99672" y="139136"/>
                  </a:lnTo>
                  <a:lnTo>
                    <a:pt x="71105" y="123137"/>
                  </a:lnTo>
                  <a:lnTo>
                    <a:pt x="57136" y="115288"/>
                  </a:lnTo>
                  <a:lnTo>
                    <a:pt x="50193" y="115370"/>
                  </a:lnTo>
                  <a:lnTo>
                    <a:pt x="37953" y="123137"/>
                  </a:lnTo>
                  <a:lnTo>
                    <a:pt x="34386" y="125387"/>
                  </a:lnTo>
                  <a:lnTo>
                    <a:pt x="31861" y="123137"/>
                  </a:lnTo>
                  <a:lnTo>
                    <a:pt x="25824" y="118005"/>
                  </a:lnTo>
                  <a:lnTo>
                    <a:pt x="20994" y="117401"/>
                  </a:lnTo>
                  <a:lnTo>
                    <a:pt x="14764" y="123137"/>
                  </a:lnTo>
                  <a:lnTo>
                    <a:pt x="14819" y="128927"/>
                  </a:lnTo>
                  <a:lnTo>
                    <a:pt x="20061" y="133345"/>
                  </a:lnTo>
                  <a:lnTo>
                    <a:pt x="27113" y="135678"/>
                  </a:lnTo>
                  <a:lnTo>
                    <a:pt x="37404" y="146683"/>
                  </a:lnTo>
                  <a:lnTo>
                    <a:pt x="33041" y="149564"/>
                  </a:lnTo>
                  <a:lnTo>
                    <a:pt x="24095" y="147973"/>
                  </a:lnTo>
                  <a:lnTo>
                    <a:pt x="19567" y="152117"/>
                  </a:lnTo>
                  <a:lnTo>
                    <a:pt x="17783" y="153955"/>
                  </a:lnTo>
                  <a:lnTo>
                    <a:pt x="16795" y="157605"/>
                  </a:lnTo>
                  <a:lnTo>
                    <a:pt x="9879" y="162517"/>
                  </a:lnTo>
                  <a:lnTo>
                    <a:pt x="6092" y="160788"/>
                  </a:lnTo>
                  <a:lnTo>
                    <a:pt x="4445" y="156398"/>
                  </a:lnTo>
                  <a:lnTo>
                    <a:pt x="5269" y="153955"/>
                  </a:lnTo>
                  <a:lnTo>
                    <a:pt x="5680" y="152117"/>
                  </a:lnTo>
                  <a:lnTo>
                    <a:pt x="7602" y="141441"/>
                  </a:lnTo>
                  <a:lnTo>
                    <a:pt x="0" y="128241"/>
                  </a:lnTo>
                  <a:lnTo>
                    <a:pt x="384" y="123137"/>
                  </a:lnTo>
                  <a:lnTo>
                    <a:pt x="878" y="116688"/>
                  </a:lnTo>
                  <a:lnTo>
                    <a:pt x="3814" y="113861"/>
                  </a:lnTo>
                  <a:lnTo>
                    <a:pt x="16631" y="101539"/>
                  </a:lnTo>
                  <a:lnTo>
                    <a:pt x="17453" y="87269"/>
                  </a:lnTo>
                  <a:lnTo>
                    <a:pt x="21103" y="86610"/>
                  </a:lnTo>
                  <a:lnTo>
                    <a:pt x="36472" y="91522"/>
                  </a:lnTo>
                  <a:lnTo>
                    <a:pt x="44457" y="85430"/>
                  </a:lnTo>
                  <a:lnTo>
                    <a:pt x="45692" y="70803"/>
                  </a:lnTo>
                  <a:lnTo>
                    <a:pt x="52306" y="57136"/>
                  </a:lnTo>
                  <a:lnTo>
                    <a:pt x="55846" y="37624"/>
                  </a:lnTo>
                  <a:lnTo>
                    <a:pt x="52965" y="7245"/>
                  </a:lnTo>
                  <a:lnTo>
                    <a:pt x="55956" y="631"/>
                  </a:lnTo>
                  <a:lnTo>
                    <a:pt x="61417" y="0"/>
                  </a:lnTo>
                  <a:lnTo>
                    <a:pt x="87982" y="29584"/>
                  </a:lnTo>
                  <a:lnTo>
                    <a:pt x="106533" y="456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2" name="Freeform: Shape 3901">
              <a:extLst>
                <a:ext uri="{FF2B5EF4-FFF2-40B4-BE49-F238E27FC236}">
                  <a16:creationId xmlns:a16="http://schemas.microsoft.com/office/drawing/2014/main" id="{CCB4CB9E-6F17-3AF2-8B2D-0E29B62CADE1}"/>
                </a:ext>
              </a:extLst>
            </p:cNvPr>
            <p:cNvSpPr/>
            <p:nvPr/>
          </p:nvSpPr>
          <p:spPr>
            <a:xfrm>
              <a:off x="1789372" y="3717003"/>
              <a:ext cx="1113" cy="2029"/>
            </a:xfrm>
            <a:custGeom>
              <a:avLst/>
              <a:gdLst>
                <a:gd name="connsiteX0" fmla="*/ 6806 w 10675"/>
                <a:gd name="connsiteY0" fmla="*/ 7657 h 19456"/>
                <a:gd name="connsiteX1" fmla="*/ 7602 w 10675"/>
                <a:gd name="connsiteY1" fmla="*/ 9578 h 19456"/>
                <a:gd name="connsiteX2" fmla="*/ 10675 w 10675"/>
                <a:gd name="connsiteY2" fmla="*/ 9001 h 19456"/>
                <a:gd name="connsiteX3" fmla="*/ 8672 w 10675"/>
                <a:gd name="connsiteY3" fmla="*/ 15039 h 19456"/>
                <a:gd name="connsiteX4" fmla="*/ 4473 w 10675"/>
                <a:gd name="connsiteY4" fmla="*/ 18524 h 19456"/>
                <a:gd name="connsiteX5" fmla="*/ 1207 w 10675"/>
                <a:gd name="connsiteY5" fmla="*/ 19457 h 19456"/>
                <a:gd name="connsiteX6" fmla="*/ 0 w 10675"/>
                <a:gd name="connsiteY6" fmla="*/ 18853 h 19456"/>
                <a:gd name="connsiteX7" fmla="*/ 2168 w 10675"/>
                <a:gd name="connsiteY7" fmla="*/ 17015 h 19456"/>
                <a:gd name="connsiteX8" fmla="*/ 3678 w 10675"/>
                <a:gd name="connsiteY8" fmla="*/ 13804 h 19456"/>
                <a:gd name="connsiteX9" fmla="*/ 2113 w 10675"/>
                <a:gd name="connsiteY9" fmla="*/ 12102 h 19456"/>
                <a:gd name="connsiteX10" fmla="*/ 878 w 10675"/>
                <a:gd name="connsiteY10" fmla="*/ 13255 h 19456"/>
                <a:gd name="connsiteX11" fmla="*/ 384 w 10675"/>
                <a:gd name="connsiteY11" fmla="*/ 11334 h 19456"/>
                <a:gd name="connsiteX12" fmla="*/ 1180 w 10675"/>
                <a:gd name="connsiteY12" fmla="*/ 8452 h 19456"/>
                <a:gd name="connsiteX13" fmla="*/ 3540 w 10675"/>
                <a:gd name="connsiteY13" fmla="*/ 4665 h 19456"/>
                <a:gd name="connsiteX14" fmla="*/ 6476 w 10675"/>
                <a:gd name="connsiteY14" fmla="*/ 2333 h 19456"/>
                <a:gd name="connsiteX15" fmla="*/ 7629 w 10675"/>
                <a:gd name="connsiteY15" fmla="*/ 0 h 19456"/>
                <a:gd name="connsiteX16" fmla="*/ 9193 w 10675"/>
                <a:gd name="connsiteY16" fmla="*/ 0 h 19456"/>
                <a:gd name="connsiteX17" fmla="*/ 8453 w 10675"/>
                <a:gd name="connsiteY17" fmla="*/ 4281 h 19456"/>
                <a:gd name="connsiteX18" fmla="*/ 6778 w 10675"/>
                <a:gd name="connsiteY18" fmla="*/ 7657 h 1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675" h="19456">
                  <a:moveTo>
                    <a:pt x="6806" y="7657"/>
                  </a:moveTo>
                  <a:lnTo>
                    <a:pt x="7602" y="9578"/>
                  </a:lnTo>
                  <a:lnTo>
                    <a:pt x="10675" y="9001"/>
                  </a:lnTo>
                  <a:lnTo>
                    <a:pt x="8672" y="15039"/>
                  </a:lnTo>
                  <a:lnTo>
                    <a:pt x="4473" y="18524"/>
                  </a:lnTo>
                  <a:lnTo>
                    <a:pt x="1207" y="19457"/>
                  </a:lnTo>
                  <a:lnTo>
                    <a:pt x="0" y="18853"/>
                  </a:lnTo>
                  <a:lnTo>
                    <a:pt x="2168" y="17015"/>
                  </a:lnTo>
                  <a:lnTo>
                    <a:pt x="3678" y="13804"/>
                  </a:lnTo>
                  <a:lnTo>
                    <a:pt x="2113" y="12102"/>
                  </a:lnTo>
                  <a:lnTo>
                    <a:pt x="878" y="13255"/>
                  </a:lnTo>
                  <a:lnTo>
                    <a:pt x="384" y="11334"/>
                  </a:lnTo>
                  <a:lnTo>
                    <a:pt x="1180" y="8452"/>
                  </a:lnTo>
                  <a:lnTo>
                    <a:pt x="3540" y="4665"/>
                  </a:lnTo>
                  <a:lnTo>
                    <a:pt x="6476" y="2333"/>
                  </a:lnTo>
                  <a:lnTo>
                    <a:pt x="7629" y="0"/>
                  </a:lnTo>
                  <a:lnTo>
                    <a:pt x="9193" y="0"/>
                  </a:lnTo>
                  <a:cubicBezTo>
                    <a:pt x="9193" y="0"/>
                    <a:pt x="8453" y="4281"/>
                    <a:pt x="8453" y="4281"/>
                  </a:cubicBezTo>
                  <a:lnTo>
                    <a:pt x="6778" y="76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3" name="Freeform: Shape 3902">
              <a:extLst>
                <a:ext uri="{FF2B5EF4-FFF2-40B4-BE49-F238E27FC236}">
                  <a16:creationId xmlns:a16="http://schemas.microsoft.com/office/drawing/2014/main" id="{BA900EFC-CD0B-A558-C981-CAD324A7C7FD}"/>
                </a:ext>
              </a:extLst>
            </p:cNvPr>
            <p:cNvSpPr/>
            <p:nvPr/>
          </p:nvSpPr>
          <p:spPr>
            <a:xfrm>
              <a:off x="1778549" y="3731203"/>
              <a:ext cx="1047" cy="1491"/>
            </a:xfrm>
            <a:custGeom>
              <a:avLst/>
              <a:gdLst>
                <a:gd name="connsiteX0" fmla="*/ 7355 w 10043"/>
                <a:gd name="connsiteY0" fmla="*/ 11993 h 14297"/>
                <a:gd name="connsiteX1" fmla="*/ 1921 w 10043"/>
                <a:gd name="connsiteY1" fmla="*/ 14298 h 14297"/>
                <a:gd name="connsiteX2" fmla="*/ 0 w 10043"/>
                <a:gd name="connsiteY2" fmla="*/ 10977 h 14297"/>
                <a:gd name="connsiteX3" fmla="*/ 5160 w 10043"/>
                <a:gd name="connsiteY3" fmla="*/ 3870 h 14297"/>
                <a:gd name="connsiteX4" fmla="*/ 9440 w 10043"/>
                <a:gd name="connsiteY4" fmla="*/ 0 h 14297"/>
                <a:gd name="connsiteX5" fmla="*/ 10044 w 10043"/>
                <a:gd name="connsiteY5" fmla="*/ 1070 h 14297"/>
                <a:gd name="connsiteX6" fmla="*/ 6641 w 10043"/>
                <a:gd name="connsiteY6" fmla="*/ 7218 h 14297"/>
                <a:gd name="connsiteX7" fmla="*/ 7355 w 10043"/>
                <a:gd name="connsiteY7" fmla="*/ 11993 h 1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3" h="14297">
                  <a:moveTo>
                    <a:pt x="7355" y="11993"/>
                  </a:moveTo>
                  <a:lnTo>
                    <a:pt x="1921" y="14298"/>
                  </a:lnTo>
                  <a:lnTo>
                    <a:pt x="0" y="10977"/>
                  </a:lnTo>
                  <a:lnTo>
                    <a:pt x="5160" y="3870"/>
                  </a:lnTo>
                  <a:lnTo>
                    <a:pt x="9440" y="0"/>
                  </a:lnTo>
                  <a:lnTo>
                    <a:pt x="10044" y="1070"/>
                  </a:lnTo>
                  <a:lnTo>
                    <a:pt x="6641" y="7218"/>
                  </a:lnTo>
                  <a:lnTo>
                    <a:pt x="7355" y="119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4" name="Freeform: Shape 3903">
              <a:extLst>
                <a:ext uri="{FF2B5EF4-FFF2-40B4-BE49-F238E27FC236}">
                  <a16:creationId xmlns:a16="http://schemas.microsoft.com/office/drawing/2014/main" id="{981031AA-3E48-B96F-BE49-30DB1DABA6CF}"/>
                </a:ext>
              </a:extLst>
            </p:cNvPr>
            <p:cNvSpPr/>
            <p:nvPr/>
          </p:nvSpPr>
          <p:spPr>
            <a:xfrm>
              <a:off x="1766811" y="3745025"/>
              <a:ext cx="701" cy="1669"/>
            </a:xfrm>
            <a:custGeom>
              <a:avLst/>
              <a:gdLst>
                <a:gd name="connsiteX0" fmla="*/ 3266 w 6723"/>
                <a:gd name="connsiteY0" fmla="*/ 15066 h 15999"/>
                <a:gd name="connsiteX1" fmla="*/ 823 w 6723"/>
                <a:gd name="connsiteY1" fmla="*/ 15999 h 15999"/>
                <a:gd name="connsiteX2" fmla="*/ 0 w 6723"/>
                <a:gd name="connsiteY2" fmla="*/ 12294 h 15999"/>
                <a:gd name="connsiteX3" fmla="*/ 2937 w 6723"/>
                <a:gd name="connsiteY3" fmla="*/ 8013 h 15999"/>
                <a:gd name="connsiteX4" fmla="*/ 2634 w 6723"/>
                <a:gd name="connsiteY4" fmla="*/ 5049 h 15999"/>
                <a:gd name="connsiteX5" fmla="*/ 5242 w 6723"/>
                <a:gd name="connsiteY5" fmla="*/ 0 h 15999"/>
                <a:gd name="connsiteX6" fmla="*/ 6723 w 6723"/>
                <a:gd name="connsiteY6" fmla="*/ 1043 h 15999"/>
                <a:gd name="connsiteX7" fmla="*/ 6449 w 6723"/>
                <a:gd name="connsiteY7" fmla="*/ 4199 h 15999"/>
                <a:gd name="connsiteX8" fmla="*/ 5132 w 6723"/>
                <a:gd name="connsiteY8" fmla="*/ 8590 h 15999"/>
                <a:gd name="connsiteX9" fmla="*/ 3705 w 6723"/>
                <a:gd name="connsiteY9" fmla="*/ 10181 h 15999"/>
                <a:gd name="connsiteX10" fmla="*/ 3266 w 6723"/>
                <a:gd name="connsiteY10" fmla="*/ 15011 h 1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23" h="15999">
                  <a:moveTo>
                    <a:pt x="3266" y="15066"/>
                  </a:moveTo>
                  <a:lnTo>
                    <a:pt x="823" y="15999"/>
                  </a:lnTo>
                  <a:lnTo>
                    <a:pt x="0" y="12294"/>
                  </a:lnTo>
                  <a:lnTo>
                    <a:pt x="2937" y="8013"/>
                  </a:lnTo>
                  <a:lnTo>
                    <a:pt x="2634" y="5049"/>
                  </a:lnTo>
                  <a:lnTo>
                    <a:pt x="5242" y="0"/>
                  </a:lnTo>
                  <a:lnTo>
                    <a:pt x="6723" y="1043"/>
                  </a:lnTo>
                  <a:lnTo>
                    <a:pt x="6449" y="4199"/>
                  </a:lnTo>
                  <a:lnTo>
                    <a:pt x="5132" y="8590"/>
                  </a:lnTo>
                  <a:lnTo>
                    <a:pt x="3705" y="10181"/>
                  </a:lnTo>
                  <a:lnTo>
                    <a:pt x="3266" y="150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5" name="Freeform: Shape 3904">
              <a:extLst>
                <a:ext uri="{FF2B5EF4-FFF2-40B4-BE49-F238E27FC236}">
                  <a16:creationId xmlns:a16="http://schemas.microsoft.com/office/drawing/2014/main" id="{90DB9C32-CAEB-0204-D1C2-CA852116934C}"/>
                </a:ext>
              </a:extLst>
            </p:cNvPr>
            <p:cNvSpPr/>
            <p:nvPr/>
          </p:nvSpPr>
          <p:spPr>
            <a:xfrm>
              <a:off x="1765342" y="3746284"/>
              <a:ext cx="927" cy="819"/>
            </a:xfrm>
            <a:custGeom>
              <a:avLst/>
              <a:gdLst>
                <a:gd name="connsiteX0" fmla="*/ 6916 w 8891"/>
                <a:gd name="connsiteY0" fmla="*/ 7135 h 7848"/>
                <a:gd name="connsiteX1" fmla="*/ 2277 w 8891"/>
                <a:gd name="connsiteY1" fmla="*/ 7849 h 7848"/>
                <a:gd name="connsiteX2" fmla="*/ 0 w 8891"/>
                <a:gd name="connsiteY2" fmla="*/ 3128 h 7848"/>
                <a:gd name="connsiteX3" fmla="*/ 2908 w 8891"/>
                <a:gd name="connsiteY3" fmla="*/ 0 h 7848"/>
                <a:gd name="connsiteX4" fmla="*/ 8891 w 8891"/>
                <a:gd name="connsiteY4" fmla="*/ 2634 h 7848"/>
                <a:gd name="connsiteX5" fmla="*/ 8672 w 8891"/>
                <a:gd name="connsiteY5" fmla="*/ 4885 h 7848"/>
                <a:gd name="connsiteX6" fmla="*/ 6916 w 8891"/>
                <a:gd name="connsiteY6" fmla="*/ 7135 h 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91" h="7848">
                  <a:moveTo>
                    <a:pt x="6916" y="7135"/>
                  </a:moveTo>
                  <a:lnTo>
                    <a:pt x="2277" y="7849"/>
                  </a:lnTo>
                  <a:lnTo>
                    <a:pt x="0" y="3128"/>
                  </a:lnTo>
                  <a:lnTo>
                    <a:pt x="2908" y="0"/>
                  </a:lnTo>
                  <a:lnTo>
                    <a:pt x="8891" y="2634"/>
                  </a:lnTo>
                  <a:lnTo>
                    <a:pt x="8672" y="4885"/>
                  </a:lnTo>
                  <a:lnTo>
                    <a:pt x="6916" y="71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6" name="Freeform: Shape 3905">
              <a:extLst>
                <a:ext uri="{FF2B5EF4-FFF2-40B4-BE49-F238E27FC236}">
                  <a16:creationId xmlns:a16="http://schemas.microsoft.com/office/drawing/2014/main" id="{3A2CC94F-7564-F134-0C30-887C1A2ED97B}"/>
                </a:ext>
              </a:extLst>
            </p:cNvPr>
            <p:cNvSpPr/>
            <p:nvPr/>
          </p:nvSpPr>
          <p:spPr>
            <a:xfrm>
              <a:off x="1760050" y="3737715"/>
              <a:ext cx="819" cy="913"/>
            </a:xfrm>
            <a:custGeom>
              <a:avLst/>
              <a:gdLst>
                <a:gd name="connsiteX0" fmla="*/ 6586 w 7848"/>
                <a:gd name="connsiteY0" fmla="*/ 6339 h 8754"/>
                <a:gd name="connsiteX1" fmla="*/ 2881 w 7848"/>
                <a:gd name="connsiteY1" fmla="*/ 8754 h 8754"/>
                <a:gd name="connsiteX2" fmla="*/ 686 w 7848"/>
                <a:gd name="connsiteY2" fmla="*/ 7492 h 8754"/>
                <a:gd name="connsiteX3" fmla="*/ 0 w 7848"/>
                <a:gd name="connsiteY3" fmla="*/ 4171 h 8754"/>
                <a:gd name="connsiteX4" fmla="*/ 2908 w 7848"/>
                <a:gd name="connsiteY4" fmla="*/ 2772 h 8754"/>
                <a:gd name="connsiteX5" fmla="*/ 7848 w 7848"/>
                <a:gd name="connsiteY5" fmla="*/ 0 h 8754"/>
                <a:gd name="connsiteX6" fmla="*/ 6614 w 7848"/>
                <a:gd name="connsiteY6" fmla="*/ 6339 h 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8" h="8754">
                  <a:moveTo>
                    <a:pt x="6586" y="6339"/>
                  </a:moveTo>
                  <a:lnTo>
                    <a:pt x="2881" y="8754"/>
                  </a:lnTo>
                  <a:lnTo>
                    <a:pt x="686" y="7492"/>
                  </a:lnTo>
                  <a:lnTo>
                    <a:pt x="0" y="4171"/>
                  </a:lnTo>
                  <a:lnTo>
                    <a:pt x="2908" y="2772"/>
                  </a:lnTo>
                  <a:lnTo>
                    <a:pt x="7848" y="0"/>
                  </a:lnTo>
                  <a:lnTo>
                    <a:pt x="6614" y="63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7" name="Freeform: Shape 3906">
              <a:extLst>
                <a:ext uri="{FF2B5EF4-FFF2-40B4-BE49-F238E27FC236}">
                  <a16:creationId xmlns:a16="http://schemas.microsoft.com/office/drawing/2014/main" id="{9AB23F19-419E-E2C0-57F5-0C8CF5E2A394}"/>
                </a:ext>
              </a:extLst>
            </p:cNvPr>
            <p:cNvSpPr/>
            <p:nvPr/>
          </p:nvSpPr>
          <p:spPr>
            <a:xfrm>
              <a:off x="1761985" y="3730891"/>
              <a:ext cx="590" cy="1211"/>
            </a:xfrm>
            <a:custGeom>
              <a:avLst/>
              <a:gdLst>
                <a:gd name="connsiteX0" fmla="*/ 5653 w 5652"/>
                <a:gd name="connsiteY0" fmla="*/ 3705 h 11608"/>
                <a:gd name="connsiteX1" fmla="*/ 1784 w 5652"/>
                <a:gd name="connsiteY1" fmla="*/ 11608 h 11608"/>
                <a:gd name="connsiteX2" fmla="*/ 0 w 5652"/>
                <a:gd name="connsiteY2" fmla="*/ 10209 h 11608"/>
                <a:gd name="connsiteX3" fmla="*/ 1152 w 5652"/>
                <a:gd name="connsiteY3" fmla="*/ 2305 h 11608"/>
                <a:gd name="connsiteX4" fmla="*/ 5049 w 5652"/>
                <a:gd name="connsiteY4" fmla="*/ 0 h 11608"/>
                <a:gd name="connsiteX5" fmla="*/ 5653 w 5652"/>
                <a:gd name="connsiteY5" fmla="*/ 3705 h 11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2" h="11608">
                  <a:moveTo>
                    <a:pt x="5653" y="3705"/>
                  </a:moveTo>
                  <a:lnTo>
                    <a:pt x="1784" y="11608"/>
                  </a:lnTo>
                  <a:lnTo>
                    <a:pt x="0" y="10209"/>
                  </a:lnTo>
                  <a:lnTo>
                    <a:pt x="1152" y="2305"/>
                  </a:lnTo>
                  <a:lnTo>
                    <a:pt x="5049" y="0"/>
                  </a:lnTo>
                  <a:lnTo>
                    <a:pt x="5653"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8" name="Freeform: Shape 3907">
              <a:extLst>
                <a:ext uri="{FF2B5EF4-FFF2-40B4-BE49-F238E27FC236}">
                  <a16:creationId xmlns:a16="http://schemas.microsoft.com/office/drawing/2014/main" id="{6A118830-E81F-0D22-3278-4ED5F28D51E4}"/>
                </a:ext>
              </a:extLst>
            </p:cNvPr>
            <p:cNvSpPr/>
            <p:nvPr/>
          </p:nvSpPr>
          <p:spPr>
            <a:xfrm>
              <a:off x="1773938" y="3724637"/>
              <a:ext cx="647" cy="695"/>
            </a:xfrm>
            <a:custGeom>
              <a:avLst/>
              <a:gdLst>
                <a:gd name="connsiteX0" fmla="*/ 4418 w 6202"/>
                <a:gd name="connsiteY0" fmla="*/ 6614 h 6668"/>
                <a:gd name="connsiteX1" fmla="*/ 2277 w 6202"/>
                <a:gd name="connsiteY1" fmla="*/ 6668 h 6668"/>
                <a:gd name="connsiteX2" fmla="*/ 192 w 6202"/>
                <a:gd name="connsiteY2" fmla="*/ 4940 h 6668"/>
                <a:gd name="connsiteX3" fmla="*/ 0 w 6202"/>
                <a:gd name="connsiteY3" fmla="*/ 3348 h 6668"/>
                <a:gd name="connsiteX4" fmla="*/ 1400 w 6202"/>
                <a:gd name="connsiteY4" fmla="*/ 823 h 6668"/>
                <a:gd name="connsiteX5" fmla="*/ 3046 w 6202"/>
                <a:gd name="connsiteY5" fmla="*/ 0 h 6668"/>
                <a:gd name="connsiteX6" fmla="*/ 6202 w 6202"/>
                <a:gd name="connsiteY6" fmla="*/ 2991 h 6668"/>
                <a:gd name="connsiteX7" fmla="*/ 4418 w 6202"/>
                <a:gd name="connsiteY7" fmla="*/ 6614 h 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02" h="6668">
                  <a:moveTo>
                    <a:pt x="4418" y="6614"/>
                  </a:moveTo>
                  <a:lnTo>
                    <a:pt x="2277" y="6668"/>
                  </a:lnTo>
                  <a:lnTo>
                    <a:pt x="192" y="4940"/>
                  </a:lnTo>
                  <a:lnTo>
                    <a:pt x="0" y="3348"/>
                  </a:lnTo>
                  <a:lnTo>
                    <a:pt x="1400" y="823"/>
                  </a:lnTo>
                  <a:lnTo>
                    <a:pt x="3046" y="0"/>
                  </a:lnTo>
                  <a:lnTo>
                    <a:pt x="6202" y="2991"/>
                  </a:lnTo>
                  <a:lnTo>
                    <a:pt x="4418" y="66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9" name="Freeform: Shape 3908">
              <a:extLst>
                <a:ext uri="{FF2B5EF4-FFF2-40B4-BE49-F238E27FC236}">
                  <a16:creationId xmlns:a16="http://schemas.microsoft.com/office/drawing/2014/main" id="{E75BD93F-C080-0E5E-8F87-4522054F7611}"/>
                </a:ext>
              </a:extLst>
            </p:cNvPr>
            <p:cNvSpPr/>
            <p:nvPr/>
          </p:nvSpPr>
          <p:spPr>
            <a:xfrm>
              <a:off x="1760883" y="3736936"/>
              <a:ext cx="584" cy="727"/>
            </a:xfrm>
            <a:custGeom>
              <a:avLst/>
              <a:gdLst>
                <a:gd name="connsiteX0" fmla="*/ 5296 w 5598"/>
                <a:gd name="connsiteY0" fmla="*/ 6861 h 6970"/>
                <a:gd name="connsiteX1" fmla="*/ 604 w 5598"/>
                <a:gd name="connsiteY1" fmla="*/ 6970 h 6970"/>
                <a:gd name="connsiteX2" fmla="*/ 0 w 5598"/>
                <a:gd name="connsiteY2" fmla="*/ 4857 h 6970"/>
                <a:gd name="connsiteX3" fmla="*/ 4995 w 5598"/>
                <a:gd name="connsiteY3" fmla="*/ 0 h 6970"/>
                <a:gd name="connsiteX4" fmla="*/ 5598 w 5598"/>
                <a:gd name="connsiteY4" fmla="*/ 3567 h 6970"/>
                <a:gd name="connsiteX5" fmla="*/ 5324 w 5598"/>
                <a:gd name="connsiteY5" fmla="*/ 6861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8" h="6970">
                  <a:moveTo>
                    <a:pt x="5296" y="6861"/>
                  </a:moveTo>
                  <a:lnTo>
                    <a:pt x="604" y="6970"/>
                  </a:lnTo>
                  <a:lnTo>
                    <a:pt x="0" y="4857"/>
                  </a:lnTo>
                  <a:lnTo>
                    <a:pt x="4995" y="0"/>
                  </a:lnTo>
                  <a:lnTo>
                    <a:pt x="5598" y="3567"/>
                  </a:lnTo>
                  <a:lnTo>
                    <a:pt x="5324" y="68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0" name="Freeform: Shape 3909">
              <a:extLst>
                <a:ext uri="{FF2B5EF4-FFF2-40B4-BE49-F238E27FC236}">
                  <a16:creationId xmlns:a16="http://schemas.microsoft.com/office/drawing/2014/main" id="{545ECA17-6444-CD78-243F-59A47019B4EF}"/>
                </a:ext>
              </a:extLst>
            </p:cNvPr>
            <p:cNvSpPr/>
            <p:nvPr/>
          </p:nvSpPr>
          <p:spPr>
            <a:xfrm>
              <a:off x="1761641" y="3732296"/>
              <a:ext cx="467" cy="850"/>
            </a:xfrm>
            <a:custGeom>
              <a:avLst/>
              <a:gdLst>
                <a:gd name="connsiteX0" fmla="*/ 3266 w 4473"/>
                <a:gd name="connsiteY0" fmla="*/ 6367 h 8150"/>
                <a:gd name="connsiteX1" fmla="*/ 1345 w 4473"/>
                <a:gd name="connsiteY1" fmla="*/ 8151 h 8150"/>
                <a:gd name="connsiteX2" fmla="*/ 0 w 4473"/>
                <a:gd name="connsiteY2" fmla="*/ 6065 h 8150"/>
                <a:gd name="connsiteX3" fmla="*/ 823 w 4473"/>
                <a:gd name="connsiteY3" fmla="*/ 961 h 8150"/>
                <a:gd name="connsiteX4" fmla="*/ 2525 w 4473"/>
                <a:gd name="connsiteY4" fmla="*/ 0 h 8150"/>
                <a:gd name="connsiteX5" fmla="*/ 4474 w 4473"/>
                <a:gd name="connsiteY5" fmla="*/ 1345 h 8150"/>
                <a:gd name="connsiteX6" fmla="*/ 3266 w 4473"/>
                <a:gd name="connsiteY6" fmla="*/ 6394 h 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3" h="8150">
                  <a:moveTo>
                    <a:pt x="3266" y="6367"/>
                  </a:moveTo>
                  <a:lnTo>
                    <a:pt x="1345" y="8151"/>
                  </a:lnTo>
                  <a:lnTo>
                    <a:pt x="0" y="6065"/>
                  </a:lnTo>
                  <a:lnTo>
                    <a:pt x="823" y="961"/>
                  </a:lnTo>
                  <a:lnTo>
                    <a:pt x="2525" y="0"/>
                  </a:lnTo>
                  <a:lnTo>
                    <a:pt x="4474" y="1345"/>
                  </a:lnTo>
                  <a:lnTo>
                    <a:pt x="3266" y="63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1" name="Freeform: Shape 3910">
              <a:extLst>
                <a:ext uri="{FF2B5EF4-FFF2-40B4-BE49-F238E27FC236}">
                  <a16:creationId xmlns:a16="http://schemas.microsoft.com/office/drawing/2014/main" id="{E575F482-27F4-3BB2-8A13-6FC58F64538C}"/>
                </a:ext>
              </a:extLst>
            </p:cNvPr>
            <p:cNvSpPr/>
            <p:nvPr/>
          </p:nvSpPr>
          <p:spPr>
            <a:xfrm>
              <a:off x="1762277" y="3735794"/>
              <a:ext cx="492" cy="572"/>
            </a:xfrm>
            <a:custGeom>
              <a:avLst/>
              <a:gdLst>
                <a:gd name="connsiteX0" fmla="*/ 4720 w 4720"/>
                <a:gd name="connsiteY0" fmla="*/ 1756 h 5488"/>
                <a:gd name="connsiteX1" fmla="*/ 2662 w 4720"/>
                <a:gd name="connsiteY1" fmla="*/ 5489 h 5488"/>
                <a:gd name="connsiteX2" fmla="*/ 0 w 4720"/>
                <a:gd name="connsiteY2" fmla="*/ 5324 h 5488"/>
                <a:gd name="connsiteX3" fmla="*/ 1948 w 4720"/>
                <a:gd name="connsiteY3" fmla="*/ 2442 h 5488"/>
                <a:gd name="connsiteX4" fmla="*/ 1866 w 4720"/>
                <a:gd name="connsiteY4" fmla="*/ 412 h 5488"/>
                <a:gd name="connsiteX5" fmla="*/ 3924 w 4720"/>
                <a:gd name="connsiteY5" fmla="*/ 0 h 5488"/>
                <a:gd name="connsiteX6" fmla="*/ 4693 w 4720"/>
                <a:gd name="connsiteY6" fmla="*/ 1756 h 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0" h="5488">
                  <a:moveTo>
                    <a:pt x="4720" y="1756"/>
                  </a:moveTo>
                  <a:lnTo>
                    <a:pt x="2662" y="5489"/>
                  </a:lnTo>
                  <a:lnTo>
                    <a:pt x="0" y="5324"/>
                  </a:lnTo>
                  <a:lnTo>
                    <a:pt x="1948" y="2442"/>
                  </a:lnTo>
                  <a:lnTo>
                    <a:pt x="1866" y="412"/>
                  </a:lnTo>
                  <a:lnTo>
                    <a:pt x="3924" y="0"/>
                  </a:lnTo>
                  <a:lnTo>
                    <a:pt x="4693"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2" name="Freeform: Shape 3911">
              <a:extLst>
                <a:ext uri="{FF2B5EF4-FFF2-40B4-BE49-F238E27FC236}">
                  <a16:creationId xmlns:a16="http://schemas.microsoft.com/office/drawing/2014/main" id="{43E3AC46-7BE2-F7E8-425F-D8ABFC186006}"/>
                </a:ext>
              </a:extLst>
            </p:cNvPr>
            <p:cNvSpPr/>
            <p:nvPr/>
          </p:nvSpPr>
          <p:spPr>
            <a:xfrm>
              <a:off x="1773222" y="3725409"/>
              <a:ext cx="635" cy="438"/>
            </a:xfrm>
            <a:custGeom>
              <a:avLst/>
              <a:gdLst>
                <a:gd name="connsiteX0" fmla="*/ 6092 w 6092"/>
                <a:gd name="connsiteY0" fmla="*/ 1811 h 4198"/>
                <a:gd name="connsiteX1" fmla="*/ 1811 w 6092"/>
                <a:gd name="connsiteY1" fmla="*/ 4199 h 4198"/>
                <a:gd name="connsiteX2" fmla="*/ 0 w 6092"/>
                <a:gd name="connsiteY2" fmla="*/ 2333 h 4198"/>
                <a:gd name="connsiteX3" fmla="*/ 2058 w 6092"/>
                <a:gd name="connsiteY3" fmla="*/ 274 h 4198"/>
                <a:gd name="connsiteX4" fmla="*/ 3869 w 6092"/>
                <a:gd name="connsiteY4" fmla="*/ 0 h 4198"/>
                <a:gd name="connsiteX5" fmla="*/ 6065 w 6092"/>
                <a:gd name="connsiteY5" fmla="*/ 1839 h 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2" h="4198">
                  <a:moveTo>
                    <a:pt x="6092" y="1811"/>
                  </a:moveTo>
                  <a:lnTo>
                    <a:pt x="1811" y="4199"/>
                  </a:lnTo>
                  <a:lnTo>
                    <a:pt x="0" y="2333"/>
                  </a:lnTo>
                  <a:lnTo>
                    <a:pt x="2058" y="274"/>
                  </a:lnTo>
                  <a:lnTo>
                    <a:pt x="3869" y="0"/>
                  </a:lnTo>
                  <a:lnTo>
                    <a:pt x="6065"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3" name="Freeform: Shape 3912">
              <a:extLst>
                <a:ext uri="{FF2B5EF4-FFF2-40B4-BE49-F238E27FC236}">
                  <a16:creationId xmlns:a16="http://schemas.microsoft.com/office/drawing/2014/main" id="{72D0C858-E69C-E98A-6A78-14AB8306554B}"/>
                </a:ext>
              </a:extLst>
            </p:cNvPr>
            <p:cNvSpPr/>
            <p:nvPr/>
          </p:nvSpPr>
          <p:spPr>
            <a:xfrm>
              <a:off x="1776989" y="3731386"/>
              <a:ext cx="561" cy="349"/>
            </a:xfrm>
            <a:custGeom>
              <a:avLst/>
              <a:gdLst>
                <a:gd name="connsiteX0" fmla="*/ 4912 w 5378"/>
                <a:gd name="connsiteY0" fmla="*/ 3293 h 3347"/>
                <a:gd name="connsiteX1" fmla="*/ 2552 w 5378"/>
                <a:gd name="connsiteY1" fmla="*/ 3348 h 3347"/>
                <a:gd name="connsiteX2" fmla="*/ 0 w 5378"/>
                <a:gd name="connsiteY2" fmla="*/ 2141 h 3347"/>
                <a:gd name="connsiteX3" fmla="*/ 686 w 5378"/>
                <a:gd name="connsiteY3" fmla="*/ 1125 h 3347"/>
                <a:gd name="connsiteX4" fmla="*/ 4473 w 5378"/>
                <a:gd name="connsiteY4" fmla="*/ 0 h 3347"/>
                <a:gd name="connsiteX5" fmla="*/ 5379 w 5378"/>
                <a:gd name="connsiteY5" fmla="*/ 2141 h 3347"/>
                <a:gd name="connsiteX6" fmla="*/ 4885 w 5378"/>
                <a:gd name="connsiteY6" fmla="*/ 3293 h 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8" h="3347">
                  <a:moveTo>
                    <a:pt x="4912" y="3293"/>
                  </a:moveTo>
                  <a:lnTo>
                    <a:pt x="2552" y="3348"/>
                  </a:lnTo>
                  <a:lnTo>
                    <a:pt x="0" y="2141"/>
                  </a:lnTo>
                  <a:lnTo>
                    <a:pt x="686" y="1125"/>
                  </a:lnTo>
                  <a:lnTo>
                    <a:pt x="4473" y="0"/>
                  </a:lnTo>
                  <a:lnTo>
                    <a:pt x="5379" y="2141"/>
                  </a:lnTo>
                  <a:lnTo>
                    <a:pt x="4885" y="32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4" name="Freeform: Shape 3913">
              <a:extLst>
                <a:ext uri="{FF2B5EF4-FFF2-40B4-BE49-F238E27FC236}">
                  <a16:creationId xmlns:a16="http://schemas.microsoft.com/office/drawing/2014/main" id="{4F33D9CB-E3B5-6180-11C4-98AB4D48AD6B}"/>
                </a:ext>
              </a:extLst>
            </p:cNvPr>
            <p:cNvSpPr/>
            <p:nvPr/>
          </p:nvSpPr>
          <p:spPr>
            <a:xfrm>
              <a:off x="1763571" y="3741132"/>
              <a:ext cx="426" cy="438"/>
            </a:xfrm>
            <a:custGeom>
              <a:avLst/>
              <a:gdLst>
                <a:gd name="connsiteX0" fmla="*/ 4089 w 4088"/>
                <a:gd name="connsiteY0" fmla="*/ 2470 h 4198"/>
                <a:gd name="connsiteX1" fmla="*/ 2525 w 4088"/>
                <a:gd name="connsiteY1" fmla="*/ 4199 h 4198"/>
                <a:gd name="connsiteX2" fmla="*/ 0 w 4088"/>
                <a:gd name="connsiteY2" fmla="*/ 2085 h 4198"/>
                <a:gd name="connsiteX3" fmla="*/ 686 w 4088"/>
                <a:gd name="connsiteY3" fmla="*/ 0 h 4198"/>
                <a:gd name="connsiteX4" fmla="*/ 4062 w 4088"/>
                <a:gd name="connsiteY4" fmla="*/ 2497 h 4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4198">
                  <a:moveTo>
                    <a:pt x="4089" y="2470"/>
                  </a:moveTo>
                  <a:lnTo>
                    <a:pt x="2525" y="4199"/>
                  </a:lnTo>
                  <a:lnTo>
                    <a:pt x="0" y="2085"/>
                  </a:lnTo>
                  <a:lnTo>
                    <a:pt x="686" y="0"/>
                  </a:lnTo>
                  <a:lnTo>
                    <a:pt x="4062"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5" name="Freeform: Shape 3914">
              <a:extLst>
                <a:ext uri="{FF2B5EF4-FFF2-40B4-BE49-F238E27FC236}">
                  <a16:creationId xmlns:a16="http://schemas.microsoft.com/office/drawing/2014/main" id="{A9D8002E-60F6-949C-DCAC-3E74721D5FAD}"/>
                </a:ext>
              </a:extLst>
            </p:cNvPr>
            <p:cNvSpPr/>
            <p:nvPr/>
          </p:nvSpPr>
          <p:spPr>
            <a:xfrm>
              <a:off x="1765242" y="3738399"/>
              <a:ext cx="452" cy="406"/>
            </a:xfrm>
            <a:custGeom>
              <a:avLst/>
              <a:gdLst>
                <a:gd name="connsiteX0" fmla="*/ 4336 w 4336"/>
                <a:gd name="connsiteY0" fmla="*/ 2086 h 3897"/>
                <a:gd name="connsiteX1" fmla="*/ 2882 w 4336"/>
                <a:gd name="connsiteY1" fmla="*/ 3897 h 3897"/>
                <a:gd name="connsiteX2" fmla="*/ 0 w 4336"/>
                <a:gd name="connsiteY2" fmla="*/ 2717 h 3897"/>
                <a:gd name="connsiteX3" fmla="*/ 3293 w 4336"/>
                <a:gd name="connsiteY3" fmla="*/ 0 h 3897"/>
                <a:gd name="connsiteX4" fmla="*/ 4309 w 4336"/>
                <a:gd name="connsiteY4" fmla="*/ 2086 h 3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3897">
                  <a:moveTo>
                    <a:pt x="4336" y="2086"/>
                  </a:moveTo>
                  <a:lnTo>
                    <a:pt x="2882" y="3897"/>
                  </a:lnTo>
                  <a:lnTo>
                    <a:pt x="0" y="2717"/>
                  </a:lnTo>
                  <a:lnTo>
                    <a:pt x="3293" y="0"/>
                  </a:lnTo>
                  <a:lnTo>
                    <a:pt x="4309"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6" name="Freeform: Shape 3915">
              <a:extLst>
                <a:ext uri="{FF2B5EF4-FFF2-40B4-BE49-F238E27FC236}">
                  <a16:creationId xmlns:a16="http://schemas.microsoft.com/office/drawing/2014/main" id="{EE6E5225-4D8F-F403-4496-0255ABF2F2A7}"/>
                </a:ext>
              </a:extLst>
            </p:cNvPr>
            <p:cNvSpPr/>
            <p:nvPr/>
          </p:nvSpPr>
          <p:spPr>
            <a:xfrm>
              <a:off x="1764673" y="3746153"/>
              <a:ext cx="464" cy="375"/>
            </a:xfrm>
            <a:custGeom>
              <a:avLst/>
              <a:gdLst>
                <a:gd name="connsiteX0" fmla="*/ 4446 w 4446"/>
                <a:gd name="connsiteY0" fmla="*/ 1949 h 3595"/>
                <a:gd name="connsiteX1" fmla="*/ 1345 w 4446"/>
                <a:gd name="connsiteY1" fmla="*/ 3595 h 3595"/>
                <a:gd name="connsiteX2" fmla="*/ 0 w 4446"/>
                <a:gd name="connsiteY2" fmla="*/ 1729 h 3595"/>
                <a:gd name="connsiteX3" fmla="*/ 2141 w 4446"/>
                <a:gd name="connsiteY3" fmla="*/ 0 h 3595"/>
                <a:gd name="connsiteX4" fmla="*/ 4446 w 4446"/>
                <a:gd name="connsiteY4" fmla="*/ 1949 h 3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6" h="3595">
                  <a:moveTo>
                    <a:pt x="4446" y="1949"/>
                  </a:moveTo>
                  <a:lnTo>
                    <a:pt x="1345" y="3595"/>
                  </a:lnTo>
                  <a:lnTo>
                    <a:pt x="0" y="1729"/>
                  </a:lnTo>
                  <a:lnTo>
                    <a:pt x="2141" y="0"/>
                  </a:lnTo>
                  <a:lnTo>
                    <a:pt x="4446" y="19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7" name="Freeform: Shape 3916">
              <a:extLst>
                <a:ext uri="{FF2B5EF4-FFF2-40B4-BE49-F238E27FC236}">
                  <a16:creationId xmlns:a16="http://schemas.microsoft.com/office/drawing/2014/main" id="{2010F860-14FF-0BA2-6558-4807D6E1E369}"/>
                </a:ext>
              </a:extLst>
            </p:cNvPr>
            <p:cNvSpPr/>
            <p:nvPr/>
          </p:nvSpPr>
          <p:spPr>
            <a:xfrm>
              <a:off x="1792867" y="3730427"/>
              <a:ext cx="343" cy="498"/>
            </a:xfrm>
            <a:custGeom>
              <a:avLst/>
              <a:gdLst>
                <a:gd name="connsiteX0" fmla="*/ 3293 w 3293"/>
                <a:gd name="connsiteY0" fmla="*/ 2195 h 4775"/>
                <a:gd name="connsiteX1" fmla="*/ 3128 w 3293"/>
                <a:gd name="connsiteY1" fmla="*/ 4775 h 4775"/>
                <a:gd name="connsiteX2" fmla="*/ 357 w 3293"/>
                <a:gd name="connsiteY2" fmla="*/ 3952 h 4775"/>
                <a:gd name="connsiteX3" fmla="*/ 0 w 3293"/>
                <a:gd name="connsiteY3" fmla="*/ 1756 h 4775"/>
                <a:gd name="connsiteX4" fmla="*/ 686 w 3293"/>
                <a:gd name="connsiteY4" fmla="*/ 0 h 4775"/>
                <a:gd name="connsiteX5" fmla="*/ 3266 w 3293"/>
                <a:gd name="connsiteY5" fmla="*/ 2195 h 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93" h="4775">
                  <a:moveTo>
                    <a:pt x="3293" y="2195"/>
                  </a:moveTo>
                  <a:lnTo>
                    <a:pt x="3128" y="4775"/>
                  </a:lnTo>
                  <a:lnTo>
                    <a:pt x="357" y="3952"/>
                  </a:lnTo>
                  <a:lnTo>
                    <a:pt x="0" y="1756"/>
                  </a:lnTo>
                  <a:lnTo>
                    <a:pt x="686" y="0"/>
                  </a:lnTo>
                  <a:lnTo>
                    <a:pt x="3266" y="21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8" name="Freeform: Shape 3917">
              <a:extLst>
                <a:ext uri="{FF2B5EF4-FFF2-40B4-BE49-F238E27FC236}">
                  <a16:creationId xmlns:a16="http://schemas.microsoft.com/office/drawing/2014/main" id="{8EA8B6DB-3D33-4E12-A94F-067A18E1591E}"/>
                </a:ext>
              </a:extLst>
            </p:cNvPr>
            <p:cNvSpPr/>
            <p:nvPr/>
          </p:nvSpPr>
          <p:spPr>
            <a:xfrm>
              <a:off x="1763113" y="3741713"/>
              <a:ext cx="300" cy="478"/>
            </a:xfrm>
            <a:custGeom>
              <a:avLst/>
              <a:gdLst>
                <a:gd name="connsiteX0" fmla="*/ 2882 w 2881"/>
                <a:gd name="connsiteY0" fmla="*/ 3183 h 4583"/>
                <a:gd name="connsiteX1" fmla="*/ 1948 w 2881"/>
                <a:gd name="connsiteY1" fmla="*/ 4583 h 4583"/>
                <a:gd name="connsiteX2" fmla="*/ 0 w 2881"/>
                <a:gd name="connsiteY2" fmla="*/ 3266 h 4583"/>
                <a:gd name="connsiteX3" fmla="*/ 1866 w 2881"/>
                <a:gd name="connsiteY3" fmla="*/ 82 h 4583"/>
                <a:gd name="connsiteX4" fmla="*/ 2882 w 2881"/>
                <a:gd name="connsiteY4" fmla="*/ 0 h 4583"/>
                <a:gd name="connsiteX5" fmla="*/ 2882 w 2881"/>
                <a:gd name="connsiteY5" fmla="*/ 3183 h 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 h="4583">
                  <a:moveTo>
                    <a:pt x="2882" y="3183"/>
                  </a:moveTo>
                  <a:lnTo>
                    <a:pt x="1948" y="4583"/>
                  </a:lnTo>
                  <a:lnTo>
                    <a:pt x="0" y="3266"/>
                  </a:lnTo>
                  <a:lnTo>
                    <a:pt x="1866" y="82"/>
                  </a:lnTo>
                  <a:lnTo>
                    <a:pt x="2882" y="0"/>
                  </a:lnTo>
                  <a:lnTo>
                    <a:pt x="2882" y="31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9" name="Freeform: Shape 3918">
              <a:extLst>
                <a:ext uri="{FF2B5EF4-FFF2-40B4-BE49-F238E27FC236}">
                  <a16:creationId xmlns:a16="http://schemas.microsoft.com/office/drawing/2014/main" id="{177BE4EB-8C00-E217-8DC4-6D4960FB7DA6}"/>
                </a:ext>
              </a:extLst>
            </p:cNvPr>
            <p:cNvSpPr/>
            <p:nvPr/>
          </p:nvSpPr>
          <p:spPr>
            <a:xfrm>
              <a:off x="1772052" y="3733304"/>
              <a:ext cx="323" cy="426"/>
            </a:xfrm>
            <a:custGeom>
              <a:avLst/>
              <a:gdLst>
                <a:gd name="connsiteX0" fmla="*/ 3046 w 3100"/>
                <a:gd name="connsiteY0" fmla="*/ 0 h 4088"/>
                <a:gd name="connsiteX1" fmla="*/ 3101 w 3100"/>
                <a:gd name="connsiteY1" fmla="*/ 4089 h 4088"/>
                <a:gd name="connsiteX2" fmla="*/ 0 w 3100"/>
                <a:gd name="connsiteY2" fmla="*/ 2882 h 4088"/>
                <a:gd name="connsiteX3" fmla="*/ 686 w 3100"/>
                <a:gd name="connsiteY3" fmla="*/ 878 h 4088"/>
                <a:gd name="connsiteX4" fmla="*/ 3046 w 3100"/>
                <a:gd name="connsiteY4" fmla="*/ 27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 h="4088">
                  <a:moveTo>
                    <a:pt x="3046" y="0"/>
                  </a:moveTo>
                  <a:lnTo>
                    <a:pt x="3101" y="4089"/>
                  </a:lnTo>
                  <a:lnTo>
                    <a:pt x="0" y="2882"/>
                  </a:lnTo>
                  <a:lnTo>
                    <a:pt x="686" y="878"/>
                  </a:lnTo>
                  <a:lnTo>
                    <a:pt x="3046"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0" name="Freeform: Shape 3919">
              <a:extLst>
                <a:ext uri="{FF2B5EF4-FFF2-40B4-BE49-F238E27FC236}">
                  <a16:creationId xmlns:a16="http://schemas.microsoft.com/office/drawing/2014/main" id="{4DF3C35F-B8A7-51AD-0B59-1493F89377E5}"/>
                </a:ext>
              </a:extLst>
            </p:cNvPr>
            <p:cNvSpPr/>
            <p:nvPr/>
          </p:nvSpPr>
          <p:spPr>
            <a:xfrm>
              <a:off x="1763184" y="3734008"/>
              <a:ext cx="292" cy="444"/>
            </a:xfrm>
            <a:custGeom>
              <a:avLst/>
              <a:gdLst>
                <a:gd name="connsiteX0" fmla="*/ 2799 w 2799"/>
                <a:gd name="connsiteY0" fmla="*/ 3815 h 4253"/>
                <a:gd name="connsiteX1" fmla="*/ 192 w 2799"/>
                <a:gd name="connsiteY1" fmla="*/ 4253 h 4253"/>
                <a:gd name="connsiteX2" fmla="*/ 0 w 2799"/>
                <a:gd name="connsiteY2" fmla="*/ 1180 h 4253"/>
                <a:gd name="connsiteX3" fmla="*/ 2662 w 2799"/>
                <a:gd name="connsiteY3" fmla="*/ 0 h 4253"/>
                <a:gd name="connsiteX4" fmla="*/ 2799 w 2799"/>
                <a:gd name="connsiteY4" fmla="*/ 3842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9" h="4253">
                  <a:moveTo>
                    <a:pt x="2799" y="3815"/>
                  </a:moveTo>
                  <a:lnTo>
                    <a:pt x="192" y="4253"/>
                  </a:lnTo>
                  <a:lnTo>
                    <a:pt x="0" y="1180"/>
                  </a:lnTo>
                  <a:lnTo>
                    <a:pt x="2662" y="0"/>
                  </a:lnTo>
                  <a:lnTo>
                    <a:pt x="2799" y="38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1" name="Freeform: Shape 3920">
              <a:extLst>
                <a:ext uri="{FF2B5EF4-FFF2-40B4-BE49-F238E27FC236}">
                  <a16:creationId xmlns:a16="http://schemas.microsoft.com/office/drawing/2014/main" id="{3B65D42A-FA1D-1CCF-0808-9610767BCAA3}"/>
                </a:ext>
              </a:extLst>
            </p:cNvPr>
            <p:cNvSpPr/>
            <p:nvPr/>
          </p:nvSpPr>
          <p:spPr>
            <a:xfrm>
              <a:off x="1770537" y="3735559"/>
              <a:ext cx="395" cy="312"/>
            </a:xfrm>
            <a:custGeom>
              <a:avLst/>
              <a:gdLst>
                <a:gd name="connsiteX0" fmla="*/ 3430 w 3787"/>
                <a:gd name="connsiteY0" fmla="*/ 2415 h 2991"/>
                <a:gd name="connsiteX1" fmla="*/ 0 w 3787"/>
                <a:gd name="connsiteY1" fmla="*/ 2992 h 2991"/>
                <a:gd name="connsiteX2" fmla="*/ 741 w 3787"/>
                <a:gd name="connsiteY2" fmla="*/ 110 h 2991"/>
                <a:gd name="connsiteX3" fmla="*/ 3787 w 3787"/>
                <a:gd name="connsiteY3" fmla="*/ 0 h 2991"/>
                <a:gd name="connsiteX4" fmla="*/ 3430 w 3787"/>
                <a:gd name="connsiteY4" fmla="*/ 2415 h 2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2991">
                  <a:moveTo>
                    <a:pt x="3430" y="2415"/>
                  </a:moveTo>
                  <a:lnTo>
                    <a:pt x="0" y="2992"/>
                  </a:lnTo>
                  <a:lnTo>
                    <a:pt x="741" y="110"/>
                  </a:lnTo>
                  <a:lnTo>
                    <a:pt x="3787" y="0"/>
                  </a:lnTo>
                  <a:lnTo>
                    <a:pt x="3430"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6" name="Freeform: Shape 3945">
              <a:extLst>
                <a:ext uri="{FF2B5EF4-FFF2-40B4-BE49-F238E27FC236}">
                  <a16:creationId xmlns:a16="http://schemas.microsoft.com/office/drawing/2014/main" id="{739C74E5-D568-2D50-01EB-6C051C81A4B1}"/>
                </a:ext>
              </a:extLst>
            </p:cNvPr>
            <p:cNvSpPr/>
            <p:nvPr/>
          </p:nvSpPr>
          <p:spPr>
            <a:xfrm>
              <a:off x="1634734" y="3656444"/>
              <a:ext cx="98530" cy="47383"/>
            </a:xfrm>
            <a:custGeom>
              <a:avLst/>
              <a:gdLst>
                <a:gd name="connsiteX0" fmla="*/ 850568 w 944669"/>
                <a:gd name="connsiteY0" fmla="*/ 106314 h 454291"/>
                <a:gd name="connsiteX1" fmla="*/ 831577 w 944669"/>
                <a:gd name="connsiteY1" fmla="*/ 148631 h 454291"/>
                <a:gd name="connsiteX2" fmla="*/ 830644 w 944669"/>
                <a:gd name="connsiteY2" fmla="*/ 154202 h 454291"/>
                <a:gd name="connsiteX3" fmla="*/ 823563 w 944669"/>
                <a:gd name="connsiteY3" fmla="*/ 165838 h 454291"/>
                <a:gd name="connsiteX4" fmla="*/ 823262 w 944669"/>
                <a:gd name="connsiteY4" fmla="*/ 177639 h 454291"/>
                <a:gd name="connsiteX5" fmla="*/ 815880 w 944669"/>
                <a:gd name="connsiteY5" fmla="*/ 183484 h 454291"/>
                <a:gd name="connsiteX6" fmla="*/ 817170 w 944669"/>
                <a:gd name="connsiteY6" fmla="*/ 192842 h 454291"/>
                <a:gd name="connsiteX7" fmla="*/ 827214 w 944669"/>
                <a:gd name="connsiteY7" fmla="*/ 202063 h 454291"/>
                <a:gd name="connsiteX8" fmla="*/ 835858 w 944669"/>
                <a:gd name="connsiteY8" fmla="*/ 194681 h 454291"/>
                <a:gd name="connsiteX9" fmla="*/ 852818 w 944669"/>
                <a:gd name="connsiteY9" fmla="*/ 193363 h 454291"/>
                <a:gd name="connsiteX10" fmla="*/ 860255 w 944669"/>
                <a:gd name="connsiteY10" fmla="*/ 196190 h 454291"/>
                <a:gd name="connsiteX11" fmla="*/ 869339 w 944669"/>
                <a:gd name="connsiteY11" fmla="*/ 203462 h 454291"/>
                <a:gd name="connsiteX12" fmla="*/ 881962 w 944669"/>
                <a:gd name="connsiteY12" fmla="*/ 188479 h 454291"/>
                <a:gd name="connsiteX13" fmla="*/ 893598 w 944669"/>
                <a:gd name="connsiteY13" fmla="*/ 186722 h 454291"/>
                <a:gd name="connsiteX14" fmla="*/ 904905 w 944669"/>
                <a:gd name="connsiteY14" fmla="*/ 189988 h 454291"/>
                <a:gd name="connsiteX15" fmla="*/ 910832 w 944669"/>
                <a:gd name="connsiteY15" fmla="*/ 198660 h 454291"/>
                <a:gd name="connsiteX16" fmla="*/ 920300 w 944669"/>
                <a:gd name="connsiteY16" fmla="*/ 203847 h 454291"/>
                <a:gd name="connsiteX17" fmla="*/ 922276 w 944669"/>
                <a:gd name="connsiteY17" fmla="*/ 209555 h 454291"/>
                <a:gd name="connsiteX18" fmla="*/ 927271 w 944669"/>
                <a:gd name="connsiteY18" fmla="*/ 211778 h 454291"/>
                <a:gd name="connsiteX19" fmla="*/ 933692 w 944669"/>
                <a:gd name="connsiteY19" fmla="*/ 219736 h 454291"/>
                <a:gd name="connsiteX20" fmla="*/ 939071 w 944669"/>
                <a:gd name="connsiteY20" fmla="*/ 225801 h 454291"/>
                <a:gd name="connsiteX21" fmla="*/ 944670 w 944669"/>
                <a:gd name="connsiteY21" fmla="*/ 238041 h 454291"/>
                <a:gd name="connsiteX22" fmla="*/ 944093 w 944669"/>
                <a:gd name="connsiteY22" fmla="*/ 245148 h 454291"/>
                <a:gd name="connsiteX23" fmla="*/ 939044 w 944669"/>
                <a:gd name="connsiteY23" fmla="*/ 248963 h 454291"/>
                <a:gd name="connsiteX24" fmla="*/ 921068 w 944669"/>
                <a:gd name="connsiteY24" fmla="*/ 247069 h 454291"/>
                <a:gd name="connsiteX25" fmla="*/ 913769 w 944669"/>
                <a:gd name="connsiteY25" fmla="*/ 242569 h 454291"/>
                <a:gd name="connsiteX26" fmla="*/ 910393 w 944669"/>
                <a:gd name="connsiteY26" fmla="*/ 245340 h 454291"/>
                <a:gd name="connsiteX27" fmla="*/ 896589 w 944669"/>
                <a:gd name="connsiteY27" fmla="*/ 244051 h 454291"/>
                <a:gd name="connsiteX28" fmla="*/ 880151 w 944669"/>
                <a:gd name="connsiteY28" fmla="*/ 252695 h 454291"/>
                <a:gd name="connsiteX29" fmla="*/ 872879 w 944669"/>
                <a:gd name="connsiteY29" fmla="*/ 250280 h 454291"/>
                <a:gd name="connsiteX30" fmla="*/ 867774 w 944669"/>
                <a:gd name="connsiteY30" fmla="*/ 259720 h 454291"/>
                <a:gd name="connsiteX31" fmla="*/ 854218 w 944669"/>
                <a:gd name="connsiteY31" fmla="*/ 259391 h 454291"/>
                <a:gd name="connsiteX32" fmla="*/ 846588 w 944669"/>
                <a:gd name="connsiteY32" fmla="*/ 263041 h 454291"/>
                <a:gd name="connsiteX33" fmla="*/ 837971 w 944669"/>
                <a:gd name="connsiteY33" fmla="*/ 275610 h 454291"/>
                <a:gd name="connsiteX34" fmla="*/ 836132 w 944669"/>
                <a:gd name="connsiteY34" fmla="*/ 286230 h 454291"/>
                <a:gd name="connsiteX35" fmla="*/ 820106 w 944669"/>
                <a:gd name="connsiteY35" fmla="*/ 297674 h 454291"/>
                <a:gd name="connsiteX36" fmla="*/ 809815 w 944669"/>
                <a:gd name="connsiteY36" fmla="*/ 300830 h 454291"/>
                <a:gd name="connsiteX37" fmla="*/ 790769 w 944669"/>
                <a:gd name="connsiteY37" fmla="*/ 299650 h 454291"/>
                <a:gd name="connsiteX38" fmla="*/ 786625 w 944669"/>
                <a:gd name="connsiteY38" fmla="*/ 301763 h 454291"/>
                <a:gd name="connsiteX39" fmla="*/ 783250 w 944669"/>
                <a:gd name="connsiteY39" fmla="*/ 308843 h 454291"/>
                <a:gd name="connsiteX40" fmla="*/ 772821 w 944669"/>
                <a:gd name="connsiteY40" fmla="*/ 319135 h 454291"/>
                <a:gd name="connsiteX41" fmla="*/ 758853 w 944669"/>
                <a:gd name="connsiteY41" fmla="*/ 327450 h 454291"/>
                <a:gd name="connsiteX42" fmla="*/ 736350 w 944669"/>
                <a:gd name="connsiteY42" fmla="*/ 323580 h 454291"/>
                <a:gd name="connsiteX43" fmla="*/ 724028 w 944669"/>
                <a:gd name="connsiteY43" fmla="*/ 314140 h 454291"/>
                <a:gd name="connsiteX44" fmla="*/ 712063 w 944669"/>
                <a:gd name="connsiteY44" fmla="*/ 313509 h 454291"/>
                <a:gd name="connsiteX45" fmla="*/ 706355 w 944669"/>
                <a:gd name="connsiteY45" fmla="*/ 317076 h 454291"/>
                <a:gd name="connsiteX46" fmla="*/ 699741 w 944669"/>
                <a:gd name="connsiteY46" fmla="*/ 329069 h 454291"/>
                <a:gd name="connsiteX47" fmla="*/ 694746 w 944669"/>
                <a:gd name="connsiteY47" fmla="*/ 343559 h 454291"/>
                <a:gd name="connsiteX48" fmla="*/ 699933 w 944669"/>
                <a:gd name="connsiteY48" fmla="*/ 353713 h 454291"/>
                <a:gd name="connsiteX49" fmla="*/ 708550 w 944669"/>
                <a:gd name="connsiteY49" fmla="*/ 362741 h 454291"/>
                <a:gd name="connsiteX50" fmla="*/ 710197 w 944669"/>
                <a:gd name="connsiteY50" fmla="*/ 369931 h 454291"/>
                <a:gd name="connsiteX51" fmla="*/ 699686 w 944669"/>
                <a:gd name="connsiteY51" fmla="*/ 378411 h 454291"/>
                <a:gd name="connsiteX52" fmla="*/ 682150 w 944669"/>
                <a:gd name="connsiteY52" fmla="*/ 387056 h 454291"/>
                <a:gd name="connsiteX53" fmla="*/ 662528 w 944669"/>
                <a:gd name="connsiteY53" fmla="*/ 409641 h 454291"/>
                <a:gd name="connsiteX54" fmla="*/ 652347 w 944669"/>
                <a:gd name="connsiteY54" fmla="*/ 413840 h 454291"/>
                <a:gd name="connsiteX55" fmla="*/ 635579 w 944669"/>
                <a:gd name="connsiteY55" fmla="*/ 420728 h 454291"/>
                <a:gd name="connsiteX56" fmla="*/ 618812 w 944669"/>
                <a:gd name="connsiteY56" fmla="*/ 422924 h 454291"/>
                <a:gd name="connsiteX57" fmla="*/ 576440 w 944669"/>
                <a:gd name="connsiteY57" fmla="*/ 421634 h 454291"/>
                <a:gd name="connsiteX58" fmla="*/ 572707 w 944669"/>
                <a:gd name="connsiteY58" fmla="*/ 423089 h 454291"/>
                <a:gd name="connsiteX59" fmla="*/ 527948 w 944669"/>
                <a:gd name="connsiteY59" fmla="*/ 440652 h 454291"/>
                <a:gd name="connsiteX60" fmla="*/ 504868 w 944669"/>
                <a:gd name="connsiteY60" fmla="*/ 454291 h 454291"/>
                <a:gd name="connsiteX61" fmla="*/ 493178 w 944669"/>
                <a:gd name="connsiteY61" fmla="*/ 451931 h 454291"/>
                <a:gd name="connsiteX62" fmla="*/ 489995 w 944669"/>
                <a:gd name="connsiteY62" fmla="*/ 444549 h 454291"/>
                <a:gd name="connsiteX63" fmla="*/ 473611 w 944669"/>
                <a:gd name="connsiteY63" fmla="*/ 446744 h 454291"/>
                <a:gd name="connsiteX64" fmla="*/ 460438 w 944669"/>
                <a:gd name="connsiteY64" fmla="*/ 443863 h 454291"/>
                <a:gd name="connsiteX65" fmla="*/ 438923 w 944669"/>
                <a:gd name="connsiteY65" fmla="*/ 433435 h 454291"/>
                <a:gd name="connsiteX66" fmla="*/ 421195 w 944669"/>
                <a:gd name="connsiteY66" fmla="*/ 429592 h 454291"/>
                <a:gd name="connsiteX67" fmla="*/ 414362 w 944669"/>
                <a:gd name="connsiteY67" fmla="*/ 423089 h 454291"/>
                <a:gd name="connsiteX68" fmla="*/ 410218 w 944669"/>
                <a:gd name="connsiteY68" fmla="*/ 418862 h 454291"/>
                <a:gd name="connsiteX69" fmla="*/ 389718 w 944669"/>
                <a:gd name="connsiteY69" fmla="*/ 413813 h 454291"/>
                <a:gd name="connsiteX70" fmla="*/ 383927 w 944669"/>
                <a:gd name="connsiteY70" fmla="*/ 412386 h 454291"/>
                <a:gd name="connsiteX71" fmla="*/ 369136 w 944669"/>
                <a:gd name="connsiteY71" fmla="*/ 411727 h 454291"/>
                <a:gd name="connsiteX72" fmla="*/ 356869 w 944669"/>
                <a:gd name="connsiteY72" fmla="*/ 413813 h 454291"/>
                <a:gd name="connsiteX73" fmla="*/ 342598 w 944669"/>
                <a:gd name="connsiteY73" fmla="*/ 416228 h 454291"/>
                <a:gd name="connsiteX74" fmla="*/ 315923 w 944669"/>
                <a:gd name="connsiteY74" fmla="*/ 413813 h 454291"/>
                <a:gd name="connsiteX75" fmla="*/ 306072 w 944669"/>
                <a:gd name="connsiteY75" fmla="*/ 412935 h 454291"/>
                <a:gd name="connsiteX76" fmla="*/ 277092 w 944669"/>
                <a:gd name="connsiteY76" fmla="*/ 407583 h 454291"/>
                <a:gd name="connsiteX77" fmla="*/ 254369 w 944669"/>
                <a:gd name="connsiteY77" fmla="*/ 409010 h 454291"/>
                <a:gd name="connsiteX78" fmla="*/ 250883 w 944669"/>
                <a:gd name="connsiteY78" fmla="*/ 401546 h 454291"/>
                <a:gd name="connsiteX79" fmla="*/ 239165 w 944669"/>
                <a:gd name="connsiteY79" fmla="*/ 388593 h 454291"/>
                <a:gd name="connsiteX80" fmla="*/ 235104 w 944669"/>
                <a:gd name="connsiteY80" fmla="*/ 378411 h 454291"/>
                <a:gd name="connsiteX81" fmla="*/ 228051 w 944669"/>
                <a:gd name="connsiteY81" fmla="*/ 359668 h 454291"/>
                <a:gd name="connsiteX82" fmla="*/ 222206 w 944669"/>
                <a:gd name="connsiteY82" fmla="*/ 356320 h 454291"/>
                <a:gd name="connsiteX83" fmla="*/ 223605 w 944669"/>
                <a:gd name="connsiteY83" fmla="*/ 346605 h 454291"/>
                <a:gd name="connsiteX84" fmla="*/ 212738 w 944669"/>
                <a:gd name="connsiteY84" fmla="*/ 347428 h 454291"/>
                <a:gd name="connsiteX85" fmla="*/ 204779 w 944669"/>
                <a:gd name="connsiteY85" fmla="*/ 344272 h 454291"/>
                <a:gd name="connsiteX86" fmla="*/ 187682 w 944669"/>
                <a:gd name="connsiteY86" fmla="*/ 329618 h 454291"/>
                <a:gd name="connsiteX87" fmla="*/ 169488 w 944669"/>
                <a:gd name="connsiteY87" fmla="*/ 318970 h 454291"/>
                <a:gd name="connsiteX88" fmla="*/ 148494 w 944669"/>
                <a:gd name="connsiteY88" fmla="*/ 315183 h 454291"/>
                <a:gd name="connsiteX89" fmla="*/ 135431 w 944669"/>
                <a:gd name="connsiteY89" fmla="*/ 316253 h 454291"/>
                <a:gd name="connsiteX90" fmla="*/ 131699 w 944669"/>
                <a:gd name="connsiteY90" fmla="*/ 315594 h 454291"/>
                <a:gd name="connsiteX91" fmla="*/ 110485 w 944669"/>
                <a:gd name="connsiteY91" fmla="*/ 311396 h 454291"/>
                <a:gd name="connsiteX92" fmla="*/ 100084 w 944669"/>
                <a:gd name="connsiteY92" fmla="*/ 309338 h 454291"/>
                <a:gd name="connsiteX93" fmla="*/ 91495 w 944669"/>
                <a:gd name="connsiteY93" fmla="*/ 307636 h 454291"/>
                <a:gd name="connsiteX94" fmla="*/ 85128 w 944669"/>
                <a:gd name="connsiteY94" fmla="*/ 293201 h 454291"/>
                <a:gd name="connsiteX95" fmla="*/ 87214 w 944669"/>
                <a:gd name="connsiteY95" fmla="*/ 285380 h 454291"/>
                <a:gd name="connsiteX96" fmla="*/ 94294 w 944669"/>
                <a:gd name="connsiteY96" fmla="*/ 274046 h 454291"/>
                <a:gd name="connsiteX97" fmla="*/ 92071 w 944669"/>
                <a:gd name="connsiteY97" fmla="*/ 263343 h 454291"/>
                <a:gd name="connsiteX98" fmla="*/ 95145 w 944669"/>
                <a:gd name="connsiteY98" fmla="*/ 253902 h 454291"/>
                <a:gd name="connsiteX99" fmla="*/ 95145 w 944669"/>
                <a:gd name="connsiteY99" fmla="*/ 247344 h 454291"/>
                <a:gd name="connsiteX100" fmla="*/ 91577 w 944669"/>
                <a:gd name="connsiteY100" fmla="*/ 236421 h 454291"/>
                <a:gd name="connsiteX101" fmla="*/ 80682 w 944669"/>
                <a:gd name="connsiteY101" fmla="*/ 223496 h 454291"/>
                <a:gd name="connsiteX102" fmla="*/ 74507 w 944669"/>
                <a:gd name="connsiteY102" fmla="*/ 205630 h 454291"/>
                <a:gd name="connsiteX103" fmla="*/ 70995 w 944669"/>
                <a:gd name="connsiteY103" fmla="*/ 201816 h 454291"/>
                <a:gd name="connsiteX104" fmla="*/ 65259 w 944669"/>
                <a:gd name="connsiteY104" fmla="*/ 195586 h 454291"/>
                <a:gd name="connsiteX105" fmla="*/ 57959 w 944669"/>
                <a:gd name="connsiteY105" fmla="*/ 196080 h 454291"/>
                <a:gd name="connsiteX106" fmla="*/ 51263 w 944669"/>
                <a:gd name="connsiteY106" fmla="*/ 189110 h 454291"/>
                <a:gd name="connsiteX107" fmla="*/ 37295 w 944669"/>
                <a:gd name="connsiteY107" fmla="*/ 189302 h 454291"/>
                <a:gd name="connsiteX108" fmla="*/ 25028 w 944669"/>
                <a:gd name="connsiteY108" fmla="*/ 180959 h 454291"/>
                <a:gd name="connsiteX109" fmla="*/ 20637 w 944669"/>
                <a:gd name="connsiteY109" fmla="*/ 172040 h 454291"/>
                <a:gd name="connsiteX110" fmla="*/ 6971 w 944669"/>
                <a:gd name="connsiteY110" fmla="*/ 164164 h 454291"/>
                <a:gd name="connsiteX111" fmla="*/ 7135 w 944669"/>
                <a:gd name="connsiteY111" fmla="*/ 157002 h 454291"/>
                <a:gd name="connsiteX112" fmla="*/ 0 w 944669"/>
                <a:gd name="connsiteY112" fmla="*/ 149811 h 454291"/>
                <a:gd name="connsiteX113" fmla="*/ 2662 w 944669"/>
                <a:gd name="connsiteY113" fmla="*/ 142512 h 454291"/>
                <a:gd name="connsiteX114" fmla="*/ 796 w 944669"/>
                <a:gd name="connsiteY114" fmla="*/ 136502 h 454291"/>
                <a:gd name="connsiteX115" fmla="*/ 9358 w 944669"/>
                <a:gd name="connsiteY115" fmla="*/ 133153 h 454291"/>
                <a:gd name="connsiteX116" fmla="*/ 10126 w 944669"/>
                <a:gd name="connsiteY116" fmla="*/ 127363 h 454291"/>
                <a:gd name="connsiteX117" fmla="*/ 13776 w 944669"/>
                <a:gd name="connsiteY117" fmla="*/ 122945 h 454291"/>
                <a:gd name="connsiteX118" fmla="*/ 29117 w 944669"/>
                <a:gd name="connsiteY118" fmla="*/ 123686 h 454291"/>
                <a:gd name="connsiteX119" fmla="*/ 32547 w 944669"/>
                <a:gd name="connsiteY119" fmla="*/ 121024 h 454291"/>
                <a:gd name="connsiteX120" fmla="*/ 38996 w 944669"/>
                <a:gd name="connsiteY120" fmla="*/ 121079 h 454291"/>
                <a:gd name="connsiteX121" fmla="*/ 42619 w 944669"/>
                <a:gd name="connsiteY121" fmla="*/ 116166 h 454291"/>
                <a:gd name="connsiteX122" fmla="*/ 46323 w 944669"/>
                <a:gd name="connsiteY122" fmla="*/ 116989 h 454291"/>
                <a:gd name="connsiteX123" fmla="*/ 55270 w 944669"/>
                <a:gd name="connsiteY123" fmla="*/ 112160 h 454291"/>
                <a:gd name="connsiteX124" fmla="*/ 56395 w 944669"/>
                <a:gd name="connsiteY124" fmla="*/ 109223 h 454291"/>
                <a:gd name="connsiteX125" fmla="*/ 53925 w 944669"/>
                <a:gd name="connsiteY125" fmla="*/ 104091 h 454291"/>
                <a:gd name="connsiteX126" fmla="*/ 55215 w 944669"/>
                <a:gd name="connsiteY126" fmla="*/ 101978 h 454291"/>
                <a:gd name="connsiteX127" fmla="*/ 63201 w 944669"/>
                <a:gd name="connsiteY127" fmla="*/ 100222 h 454291"/>
                <a:gd name="connsiteX128" fmla="*/ 67263 w 944669"/>
                <a:gd name="connsiteY128" fmla="*/ 95117 h 454291"/>
                <a:gd name="connsiteX129" fmla="*/ 70995 w 944669"/>
                <a:gd name="connsiteY129" fmla="*/ 93581 h 454291"/>
                <a:gd name="connsiteX130" fmla="*/ 84140 w 944669"/>
                <a:gd name="connsiteY130" fmla="*/ 88202 h 454291"/>
                <a:gd name="connsiteX131" fmla="*/ 92894 w 944669"/>
                <a:gd name="connsiteY131" fmla="*/ 80024 h 454291"/>
                <a:gd name="connsiteX132" fmla="*/ 100057 w 944669"/>
                <a:gd name="connsiteY132" fmla="*/ 78597 h 454291"/>
                <a:gd name="connsiteX133" fmla="*/ 106067 w 944669"/>
                <a:gd name="connsiteY133" fmla="*/ 77389 h 454291"/>
                <a:gd name="connsiteX134" fmla="*/ 110431 w 944669"/>
                <a:gd name="connsiteY134" fmla="*/ 73081 h 454291"/>
                <a:gd name="connsiteX135" fmla="*/ 116688 w 944669"/>
                <a:gd name="connsiteY135" fmla="*/ 66851 h 454291"/>
                <a:gd name="connsiteX136" fmla="*/ 129503 w 944669"/>
                <a:gd name="connsiteY136" fmla="*/ 66769 h 454291"/>
                <a:gd name="connsiteX137" fmla="*/ 131644 w 944669"/>
                <a:gd name="connsiteY137" fmla="*/ 63531 h 454291"/>
                <a:gd name="connsiteX138" fmla="*/ 134416 w 944669"/>
                <a:gd name="connsiteY138" fmla="*/ 59359 h 454291"/>
                <a:gd name="connsiteX139" fmla="*/ 142511 w 944669"/>
                <a:gd name="connsiteY139" fmla="*/ 66000 h 454291"/>
                <a:gd name="connsiteX140" fmla="*/ 152226 w 944669"/>
                <a:gd name="connsiteY140" fmla="*/ 64189 h 454291"/>
                <a:gd name="connsiteX141" fmla="*/ 153488 w 944669"/>
                <a:gd name="connsiteY141" fmla="*/ 70474 h 454291"/>
                <a:gd name="connsiteX142" fmla="*/ 156425 w 944669"/>
                <a:gd name="connsiteY142" fmla="*/ 72861 h 454291"/>
                <a:gd name="connsiteX143" fmla="*/ 189439 w 944669"/>
                <a:gd name="connsiteY143" fmla="*/ 73520 h 454291"/>
                <a:gd name="connsiteX144" fmla="*/ 192128 w 944669"/>
                <a:gd name="connsiteY144" fmla="*/ 77362 h 454291"/>
                <a:gd name="connsiteX145" fmla="*/ 195037 w 944669"/>
                <a:gd name="connsiteY145" fmla="*/ 88998 h 454291"/>
                <a:gd name="connsiteX146" fmla="*/ 201843 w 944669"/>
                <a:gd name="connsiteY146" fmla="*/ 97203 h 454291"/>
                <a:gd name="connsiteX147" fmla="*/ 209829 w 944669"/>
                <a:gd name="connsiteY147" fmla="*/ 97093 h 454291"/>
                <a:gd name="connsiteX148" fmla="*/ 215839 w 944669"/>
                <a:gd name="connsiteY148" fmla="*/ 101265 h 454291"/>
                <a:gd name="connsiteX149" fmla="*/ 224594 w 944669"/>
                <a:gd name="connsiteY149" fmla="*/ 102500 h 454291"/>
                <a:gd name="connsiteX150" fmla="*/ 236861 w 944669"/>
                <a:gd name="connsiteY150" fmla="*/ 98219 h 454291"/>
                <a:gd name="connsiteX151" fmla="*/ 246685 w 944669"/>
                <a:gd name="connsiteY151" fmla="*/ 99399 h 454291"/>
                <a:gd name="connsiteX152" fmla="*/ 253875 w 944669"/>
                <a:gd name="connsiteY152" fmla="*/ 103076 h 454291"/>
                <a:gd name="connsiteX153" fmla="*/ 259226 w 944669"/>
                <a:gd name="connsiteY153" fmla="*/ 101429 h 454291"/>
                <a:gd name="connsiteX154" fmla="*/ 269024 w 944669"/>
                <a:gd name="connsiteY154" fmla="*/ 103241 h 454291"/>
                <a:gd name="connsiteX155" fmla="*/ 276817 w 944669"/>
                <a:gd name="connsiteY155" fmla="*/ 109223 h 454291"/>
                <a:gd name="connsiteX156" fmla="*/ 281263 w 944669"/>
                <a:gd name="connsiteY156" fmla="*/ 109552 h 454291"/>
                <a:gd name="connsiteX157" fmla="*/ 289386 w 944669"/>
                <a:gd name="connsiteY157" fmla="*/ 102116 h 454291"/>
                <a:gd name="connsiteX158" fmla="*/ 297509 w 944669"/>
                <a:gd name="connsiteY158" fmla="*/ 99755 h 454291"/>
                <a:gd name="connsiteX159" fmla="*/ 306923 w 944669"/>
                <a:gd name="connsiteY159" fmla="*/ 87571 h 454291"/>
                <a:gd name="connsiteX160" fmla="*/ 308459 w 944669"/>
                <a:gd name="connsiteY160" fmla="*/ 74782 h 454291"/>
                <a:gd name="connsiteX161" fmla="*/ 301159 w 944669"/>
                <a:gd name="connsiteY161" fmla="*/ 68059 h 454291"/>
                <a:gd name="connsiteX162" fmla="*/ 299211 w 944669"/>
                <a:gd name="connsiteY162" fmla="*/ 58865 h 454291"/>
                <a:gd name="connsiteX163" fmla="*/ 296109 w 944669"/>
                <a:gd name="connsiteY163" fmla="*/ 53487 h 454291"/>
                <a:gd name="connsiteX164" fmla="*/ 298442 w 944669"/>
                <a:gd name="connsiteY164" fmla="*/ 39875 h 454291"/>
                <a:gd name="connsiteX165" fmla="*/ 301324 w 944669"/>
                <a:gd name="connsiteY165" fmla="*/ 33728 h 454291"/>
                <a:gd name="connsiteX166" fmla="*/ 306593 w 944669"/>
                <a:gd name="connsiteY166" fmla="*/ 30023 h 454291"/>
                <a:gd name="connsiteX167" fmla="*/ 310737 w 944669"/>
                <a:gd name="connsiteY167" fmla="*/ 19155 h 454291"/>
                <a:gd name="connsiteX168" fmla="*/ 320836 w 944669"/>
                <a:gd name="connsiteY168" fmla="*/ 13118 h 454291"/>
                <a:gd name="connsiteX169" fmla="*/ 327889 w 944669"/>
                <a:gd name="connsiteY169" fmla="*/ 0 h 454291"/>
                <a:gd name="connsiteX170" fmla="*/ 358131 w 944669"/>
                <a:gd name="connsiteY170" fmla="*/ 16850 h 454291"/>
                <a:gd name="connsiteX171" fmla="*/ 375283 w 944669"/>
                <a:gd name="connsiteY171" fmla="*/ 18469 h 454291"/>
                <a:gd name="connsiteX172" fmla="*/ 398088 w 944669"/>
                <a:gd name="connsiteY172" fmla="*/ 30133 h 454291"/>
                <a:gd name="connsiteX173" fmla="*/ 420207 w 944669"/>
                <a:gd name="connsiteY173" fmla="*/ 35456 h 454291"/>
                <a:gd name="connsiteX174" fmla="*/ 423198 w 944669"/>
                <a:gd name="connsiteY174" fmla="*/ 39573 h 454291"/>
                <a:gd name="connsiteX175" fmla="*/ 424570 w 944669"/>
                <a:gd name="connsiteY175" fmla="*/ 58371 h 454291"/>
                <a:gd name="connsiteX176" fmla="*/ 427726 w 944669"/>
                <a:gd name="connsiteY176" fmla="*/ 71681 h 454291"/>
                <a:gd name="connsiteX177" fmla="*/ 444329 w 944669"/>
                <a:gd name="connsiteY177" fmla="*/ 84223 h 454291"/>
                <a:gd name="connsiteX178" fmla="*/ 466668 w 944669"/>
                <a:gd name="connsiteY178" fmla="*/ 92209 h 454291"/>
                <a:gd name="connsiteX179" fmla="*/ 479374 w 944669"/>
                <a:gd name="connsiteY179" fmla="*/ 91495 h 454291"/>
                <a:gd name="connsiteX180" fmla="*/ 489171 w 944669"/>
                <a:gd name="connsiteY180" fmla="*/ 85540 h 454291"/>
                <a:gd name="connsiteX181" fmla="*/ 516559 w 944669"/>
                <a:gd name="connsiteY181" fmla="*/ 77801 h 454291"/>
                <a:gd name="connsiteX182" fmla="*/ 534397 w 944669"/>
                <a:gd name="connsiteY182" fmla="*/ 80353 h 454291"/>
                <a:gd name="connsiteX183" fmla="*/ 543344 w 944669"/>
                <a:gd name="connsiteY183" fmla="*/ 85183 h 454291"/>
                <a:gd name="connsiteX184" fmla="*/ 555583 w 944669"/>
                <a:gd name="connsiteY184" fmla="*/ 84525 h 454291"/>
                <a:gd name="connsiteX185" fmla="*/ 562746 w 944669"/>
                <a:gd name="connsiteY185" fmla="*/ 88806 h 454291"/>
                <a:gd name="connsiteX186" fmla="*/ 570265 w 944669"/>
                <a:gd name="connsiteY186" fmla="*/ 98465 h 454291"/>
                <a:gd name="connsiteX187" fmla="*/ 591972 w 944669"/>
                <a:gd name="connsiteY187" fmla="*/ 103652 h 454291"/>
                <a:gd name="connsiteX188" fmla="*/ 595375 w 944669"/>
                <a:gd name="connsiteY188" fmla="*/ 116496 h 454291"/>
                <a:gd name="connsiteX189" fmla="*/ 610826 w 944669"/>
                <a:gd name="connsiteY189" fmla="*/ 129064 h 454291"/>
                <a:gd name="connsiteX190" fmla="*/ 629487 w 944669"/>
                <a:gd name="connsiteY190" fmla="*/ 128927 h 454291"/>
                <a:gd name="connsiteX191" fmla="*/ 641891 w 944669"/>
                <a:gd name="connsiteY191" fmla="*/ 134580 h 454291"/>
                <a:gd name="connsiteX192" fmla="*/ 658028 w 944669"/>
                <a:gd name="connsiteY192" fmla="*/ 136831 h 454291"/>
                <a:gd name="connsiteX193" fmla="*/ 665437 w 944669"/>
                <a:gd name="connsiteY193" fmla="*/ 134306 h 454291"/>
                <a:gd name="connsiteX194" fmla="*/ 675646 w 944669"/>
                <a:gd name="connsiteY194" fmla="*/ 137545 h 454291"/>
                <a:gd name="connsiteX195" fmla="*/ 694060 w 944669"/>
                <a:gd name="connsiteY195" fmla="*/ 128571 h 454291"/>
                <a:gd name="connsiteX196" fmla="*/ 710883 w 944669"/>
                <a:gd name="connsiteY196" fmla="*/ 126430 h 454291"/>
                <a:gd name="connsiteX197" fmla="*/ 726251 w 944669"/>
                <a:gd name="connsiteY197" fmla="*/ 120667 h 454291"/>
                <a:gd name="connsiteX198" fmla="*/ 735966 w 944669"/>
                <a:gd name="connsiteY198" fmla="*/ 121133 h 454291"/>
                <a:gd name="connsiteX199" fmla="*/ 742799 w 944669"/>
                <a:gd name="connsiteY199" fmla="*/ 117044 h 454291"/>
                <a:gd name="connsiteX200" fmla="*/ 748205 w 944669"/>
                <a:gd name="connsiteY200" fmla="*/ 107275 h 454291"/>
                <a:gd name="connsiteX201" fmla="*/ 757536 w 944669"/>
                <a:gd name="connsiteY201" fmla="*/ 99646 h 454291"/>
                <a:gd name="connsiteX202" fmla="*/ 777954 w 944669"/>
                <a:gd name="connsiteY202" fmla="*/ 88010 h 454291"/>
                <a:gd name="connsiteX203" fmla="*/ 798234 w 944669"/>
                <a:gd name="connsiteY203" fmla="*/ 90782 h 454291"/>
                <a:gd name="connsiteX204" fmla="*/ 812092 w 944669"/>
                <a:gd name="connsiteY204" fmla="*/ 103350 h 454291"/>
                <a:gd name="connsiteX205" fmla="*/ 822603 w 944669"/>
                <a:gd name="connsiteY205" fmla="*/ 103872 h 454291"/>
                <a:gd name="connsiteX206" fmla="*/ 835831 w 944669"/>
                <a:gd name="connsiteY206" fmla="*/ 98630 h 454291"/>
                <a:gd name="connsiteX207" fmla="*/ 846122 w 944669"/>
                <a:gd name="connsiteY207" fmla="*/ 102143 h 454291"/>
                <a:gd name="connsiteX208" fmla="*/ 850595 w 944669"/>
                <a:gd name="connsiteY208" fmla="*/ 106314 h 45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944669" h="454291">
                  <a:moveTo>
                    <a:pt x="850568" y="106314"/>
                  </a:moveTo>
                  <a:lnTo>
                    <a:pt x="831577" y="148631"/>
                  </a:lnTo>
                  <a:lnTo>
                    <a:pt x="830644" y="154202"/>
                  </a:lnTo>
                  <a:lnTo>
                    <a:pt x="823563" y="165838"/>
                  </a:lnTo>
                  <a:lnTo>
                    <a:pt x="823262" y="177639"/>
                  </a:lnTo>
                  <a:lnTo>
                    <a:pt x="815880" y="183484"/>
                  </a:lnTo>
                  <a:lnTo>
                    <a:pt x="817170" y="192842"/>
                  </a:lnTo>
                  <a:lnTo>
                    <a:pt x="827214" y="202063"/>
                  </a:lnTo>
                  <a:lnTo>
                    <a:pt x="835858" y="194681"/>
                  </a:lnTo>
                  <a:lnTo>
                    <a:pt x="852818" y="193363"/>
                  </a:lnTo>
                  <a:lnTo>
                    <a:pt x="860255" y="196190"/>
                  </a:lnTo>
                  <a:lnTo>
                    <a:pt x="869339" y="203462"/>
                  </a:lnTo>
                  <a:lnTo>
                    <a:pt x="881962" y="188479"/>
                  </a:lnTo>
                  <a:lnTo>
                    <a:pt x="893598" y="186722"/>
                  </a:lnTo>
                  <a:lnTo>
                    <a:pt x="904905" y="189988"/>
                  </a:lnTo>
                  <a:lnTo>
                    <a:pt x="910832" y="198660"/>
                  </a:lnTo>
                  <a:lnTo>
                    <a:pt x="920300" y="203847"/>
                  </a:lnTo>
                  <a:lnTo>
                    <a:pt x="922276" y="209555"/>
                  </a:lnTo>
                  <a:lnTo>
                    <a:pt x="927271" y="211778"/>
                  </a:lnTo>
                  <a:lnTo>
                    <a:pt x="933692" y="219736"/>
                  </a:lnTo>
                  <a:lnTo>
                    <a:pt x="939071" y="225801"/>
                  </a:lnTo>
                  <a:lnTo>
                    <a:pt x="944670" y="238041"/>
                  </a:lnTo>
                  <a:lnTo>
                    <a:pt x="944093" y="245148"/>
                  </a:lnTo>
                  <a:lnTo>
                    <a:pt x="939044" y="248963"/>
                  </a:lnTo>
                  <a:lnTo>
                    <a:pt x="921068" y="247069"/>
                  </a:lnTo>
                  <a:lnTo>
                    <a:pt x="913769" y="242569"/>
                  </a:lnTo>
                  <a:lnTo>
                    <a:pt x="910393" y="245340"/>
                  </a:lnTo>
                  <a:lnTo>
                    <a:pt x="896589" y="244051"/>
                  </a:lnTo>
                  <a:lnTo>
                    <a:pt x="880151" y="252695"/>
                  </a:lnTo>
                  <a:lnTo>
                    <a:pt x="872879" y="250280"/>
                  </a:lnTo>
                  <a:lnTo>
                    <a:pt x="867774" y="259720"/>
                  </a:lnTo>
                  <a:lnTo>
                    <a:pt x="854218" y="259391"/>
                  </a:lnTo>
                  <a:lnTo>
                    <a:pt x="846588" y="263041"/>
                  </a:lnTo>
                  <a:lnTo>
                    <a:pt x="837971" y="275610"/>
                  </a:lnTo>
                  <a:lnTo>
                    <a:pt x="836132" y="286230"/>
                  </a:lnTo>
                  <a:lnTo>
                    <a:pt x="820106" y="297674"/>
                  </a:lnTo>
                  <a:lnTo>
                    <a:pt x="809815" y="300830"/>
                  </a:lnTo>
                  <a:lnTo>
                    <a:pt x="790769" y="299650"/>
                  </a:lnTo>
                  <a:lnTo>
                    <a:pt x="786625" y="301763"/>
                  </a:lnTo>
                  <a:lnTo>
                    <a:pt x="783250" y="308843"/>
                  </a:lnTo>
                  <a:lnTo>
                    <a:pt x="772821" y="319135"/>
                  </a:lnTo>
                  <a:lnTo>
                    <a:pt x="758853" y="327450"/>
                  </a:lnTo>
                  <a:lnTo>
                    <a:pt x="736350" y="323580"/>
                  </a:lnTo>
                  <a:lnTo>
                    <a:pt x="724028" y="314140"/>
                  </a:lnTo>
                  <a:lnTo>
                    <a:pt x="712063" y="313509"/>
                  </a:lnTo>
                  <a:lnTo>
                    <a:pt x="706355" y="317076"/>
                  </a:lnTo>
                  <a:lnTo>
                    <a:pt x="699741" y="329069"/>
                  </a:lnTo>
                  <a:lnTo>
                    <a:pt x="694746" y="343559"/>
                  </a:lnTo>
                  <a:lnTo>
                    <a:pt x="699933" y="353713"/>
                  </a:lnTo>
                  <a:lnTo>
                    <a:pt x="708550" y="362741"/>
                  </a:lnTo>
                  <a:lnTo>
                    <a:pt x="710197" y="369931"/>
                  </a:lnTo>
                  <a:lnTo>
                    <a:pt x="699686" y="378411"/>
                  </a:lnTo>
                  <a:lnTo>
                    <a:pt x="682150" y="387056"/>
                  </a:lnTo>
                  <a:lnTo>
                    <a:pt x="662528" y="409641"/>
                  </a:lnTo>
                  <a:lnTo>
                    <a:pt x="652347" y="413840"/>
                  </a:lnTo>
                  <a:lnTo>
                    <a:pt x="635579" y="420728"/>
                  </a:lnTo>
                  <a:lnTo>
                    <a:pt x="618812" y="422924"/>
                  </a:lnTo>
                  <a:lnTo>
                    <a:pt x="576440" y="421634"/>
                  </a:lnTo>
                  <a:lnTo>
                    <a:pt x="572707" y="423089"/>
                  </a:lnTo>
                  <a:lnTo>
                    <a:pt x="527948" y="440652"/>
                  </a:lnTo>
                  <a:lnTo>
                    <a:pt x="504868" y="454291"/>
                  </a:lnTo>
                  <a:lnTo>
                    <a:pt x="493178" y="451931"/>
                  </a:lnTo>
                  <a:lnTo>
                    <a:pt x="489995" y="444549"/>
                  </a:lnTo>
                  <a:lnTo>
                    <a:pt x="473611" y="446744"/>
                  </a:lnTo>
                  <a:lnTo>
                    <a:pt x="460438" y="443863"/>
                  </a:lnTo>
                  <a:lnTo>
                    <a:pt x="438923" y="433435"/>
                  </a:lnTo>
                  <a:lnTo>
                    <a:pt x="421195" y="429592"/>
                  </a:lnTo>
                  <a:lnTo>
                    <a:pt x="414362" y="423089"/>
                  </a:lnTo>
                  <a:lnTo>
                    <a:pt x="410218" y="418862"/>
                  </a:lnTo>
                  <a:lnTo>
                    <a:pt x="389718" y="413813"/>
                  </a:lnTo>
                  <a:lnTo>
                    <a:pt x="383927" y="412386"/>
                  </a:lnTo>
                  <a:lnTo>
                    <a:pt x="369136" y="411727"/>
                  </a:lnTo>
                  <a:lnTo>
                    <a:pt x="356869" y="413813"/>
                  </a:lnTo>
                  <a:lnTo>
                    <a:pt x="342598" y="416228"/>
                  </a:lnTo>
                  <a:lnTo>
                    <a:pt x="315923" y="413813"/>
                  </a:lnTo>
                  <a:lnTo>
                    <a:pt x="306072" y="412935"/>
                  </a:lnTo>
                  <a:lnTo>
                    <a:pt x="277092" y="407583"/>
                  </a:lnTo>
                  <a:lnTo>
                    <a:pt x="254369" y="409010"/>
                  </a:lnTo>
                  <a:lnTo>
                    <a:pt x="250883" y="401546"/>
                  </a:lnTo>
                  <a:lnTo>
                    <a:pt x="239165" y="388593"/>
                  </a:lnTo>
                  <a:lnTo>
                    <a:pt x="235104" y="378411"/>
                  </a:lnTo>
                  <a:lnTo>
                    <a:pt x="228051" y="359668"/>
                  </a:lnTo>
                  <a:lnTo>
                    <a:pt x="222206" y="356320"/>
                  </a:lnTo>
                  <a:lnTo>
                    <a:pt x="223605" y="346605"/>
                  </a:lnTo>
                  <a:lnTo>
                    <a:pt x="212738" y="347428"/>
                  </a:lnTo>
                  <a:lnTo>
                    <a:pt x="204779" y="344272"/>
                  </a:lnTo>
                  <a:lnTo>
                    <a:pt x="187682" y="329618"/>
                  </a:lnTo>
                  <a:lnTo>
                    <a:pt x="169488" y="318970"/>
                  </a:lnTo>
                  <a:lnTo>
                    <a:pt x="148494" y="315183"/>
                  </a:lnTo>
                  <a:lnTo>
                    <a:pt x="135431" y="316253"/>
                  </a:lnTo>
                  <a:lnTo>
                    <a:pt x="131699" y="315594"/>
                  </a:lnTo>
                  <a:lnTo>
                    <a:pt x="110485" y="311396"/>
                  </a:lnTo>
                  <a:lnTo>
                    <a:pt x="100084" y="309338"/>
                  </a:lnTo>
                  <a:lnTo>
                    <a:pt x="91495" y="307636"/>
                  </a:lnTo>
                  <a:lnTo>
                    <a:pt x="85128" y="293201"/>
                  </a:lnTo>
                  <a:lnTo>
                    <a:pt x="87214" y="285380"/>
                  </a:lnTo>
                  <a:lnTo>
                    <a:pt x="94294" y="274046"/>
                  </a:lnTo>
                  <a:lnTo>
                    <a:pt x="92071" y="263343"/>
                  </a:lnTo>
                  <a:lnTo>
                    <a:pt x="95145" y="253902"/>
                  </a:lnTo>
                  <a:lnTo>
                    <a:pt x="95145" y="247344"/>
                  </a:lnTo>
                  <a:cubicBezTo>
                    <a:pt x="95145" y="247344"/>
                    <a:pt x="91577" y="236421"/>
                    <a:pt x="91577" y="236421"/>
                  </a:cubicBezTo>
                  <a:lnTo>
                    <a:pt x="80682" y="223496"/>
                  </a:lnTo>
                  <a:lnTo>
                    <a:pt x="74507" y="205630"/>
                  </a:lnTo>
                  <a:lnTo>
                    <a:pt x="70995" y="201816"/>
                  </a:lnTo>
                  <a:lnTo>
                    <a:pt x="65259" y="195586"/>
                  </a:lnTo>
                  <a:lnTo>
                    <a:pt x="57959" y="196080"/>
                  </a:lnTo>
                  <a:lnTo>
                    <a:pt x="51263" y="189110"/>
                  </a:lnTo>
                  <a:lnTo>
                    <a:pt x="37295" y="189302"/>
                  </a:lnTo>
                  <a:lnTo>
                    <a:pt x="25028" y="180959"/>
                  </a:lnTo>
                  <a:lnTo>
                    <a:pt x="20637" y="172040"/>
                  </a:lnTo>
                  <a:lnTo>
                    <a:pt x="6971" y="164164"/>
                  </a:lnTo>
                  <a:lnTo>
                    <a:pt x="7135" y="157002"/>
                  </a:lnTo>
                  <a:lnTo>
                    <a:pt x="0" y="149811"/>
                  </a:lnTo>
                  <a:lnTo>
                    <a:pt x="2662" y="142512"/>
                  </a:lnTo>
                  <a:lnTo>
                    <a:pt x="796" y="136502"/>
                  </a:lnTo>
                  <a:lnTo>
                    <a:pt x="9358" y="133153"/>
                  </a:lnTo>
                  <a:lnTo>
                    <a:pt x="10126" y="127363"/>
                  </a:lnTo>
                  <a:lnTo>
                    <a:pt x="13776" y="122945"/>
                  </a:lnTo>
                  <a:lnTo>
                    <a:pt x="29117" y="123686"/>
                  </a:lnTo>
                  <a:lnTo>
                    <a:pt x="32547" y="121024"/>
                  </a:lnTo>
                  <a:lnTo>
                    <a:pt x="38996" y="121079"/>
                  </a:lnTo>
                  <a:lnTo>
                    <a:pt x="42619" y="116166"/>
                  </a:lnTo>
                  <a:lnTo>
                    <a:pt x="46323" y="116989"/>
                  </a:lnTo>
                  <a:lnTo>
                    <a:pt x="55270" y="112160"/>
                  </a:lnTo>
                  <a:lnTo>
                    <a:pt x="56395" y="109223"/>
                  </a:lnTo>
                  <a:lnTo>
                    <a:pt x="53925" y="104091"/>
                  </a:lnTo>
                  <a:lnTo>
                    <a:pt x="55215" y="101978"/>
                  </a:lnTo>
                  <a:lnTo>
                    <a:pt x="63201" y="100222"/>
                  </a:lnTo>
                  <a:lnTo>
                    <a:pt x="67263" y="95117"/>
                  </a:lnTo>
                  <a:lnTo>
                    <a:pt x="70995" y="93581"/>
                  </a:lnTo>
                  <a:lnTo>
                    <a:pt x="84140" y="88202"/>
                  </a:lnTo>
                  <a:lnTo>
                    <a:pt x="92894" y="80024"/>
                  </a:lnTo>
                  <a:lnTo>
                    <a:pt x="100057" y="78597"/>
                  </a:lnTo>
                  <a:lnTo>
                    <a:pt x="106067" y="77389"/>
                  </a:lnTo>
                  <a:lnTo>
                    <a:pt x="110431" y="73081"/>
                  </a:lnTo>
                  <a:lnTo>
                    <a:pt x="116688" y="66851"/>
                  </a:lnTo>
                  <a:lnTo>
                    <a:pt x="129503" y="66769"/>
                  </a:lnTo>
                  <a:lnTo>
                    <a:pt x="131644" y="63531"/>
                  </a:lnTo>
                  <a:lnTo>
                    <a:pt x="134416" y="59359"/>
                  </a:lnTo>
                  <a:lnTo>
                    <a:pt x="142511" y="66000"/>
                  </a:lnTo>
                  <a:lnTo>
                    <a:pt x="152226" y="64189"/>
                  </a:lnTo>
                  <a:lnTo>
                    <a:pt x="153488" y="70474"/>
                  </a:lnTo>
                  <a:lnTo>
                    <a:pt x="156425" y="72861"/>
                  </a:lnTo>
                  <a:lnTo>
                    <a:pt x="189439" y="73520"/>
                  </a:lnTo>
                  <a:lnTo>
                    <a:pt x="192128" y="77362"/>
                  </a:lnTo>
                  <a:lnTo>
                    <a:pt x="195037" y="88998"/>
                  </a:lnTo>
                  <a:lnTo>
                    <a:pt x="201843" y="97203"/>
                  </a:lnTo>
                  <a:lnTo>
                    <a:pt x="209829" y="97093"/>
                  </a:lnTo>
                  <a:lnTo>
                    <a:pt x="215839" y="101265"/>
                  </a:lnTo>
                  <a:lnTo>
                    <a:pt x="224594" y="102500"/>
                  </a:lnTo>
                  <a:lnTo>
                    <a:pt x="236861" y="98219"/>
                  </a:lnTo>
                  <a:lnTo>
                    <a:pt x="246685" y="99399"/>
                  </a:lnTo>
                  <a:lnTo>
                    <a:pt x="253875" y="103076"/>
                  </a:lnTo>
                  <a:lnTo>
                    <a:pt x="259226" y="101429"/>
                  </a:lnTo>
                  <a:lnTo>
                    <a:pt x="269024" y="103241"/>
                  </a:lnTo>
                  <a:lnTo>
                    <a:pt x="276817" y="109223"/>
                  </a:lnTo>
                  <a:lnTo>
                    <a:pt x="281263" y="109552"/>
                  </a:lnTo>
                  <a:lnTo>
                    <a:pt x="289386" y="102116"/>
                  </a:lnTo>
                  <a:lnTo>
                    <a:pt x="297509" y="99755"/>
                  </a:lnTo>
                  <a:lnTo>
                    <a:pt x="306923" y="87571"/>
                  </a:lnTo>
                  <a:lnTo>
                    <a:pt x="308459" y="74782"/>
                  </a:lnTo>
                  <a:lnTo>
                    <a:pt x="301159" y="68059"/>
                  </a:lnTo>
                  <a:lnTo>
                    <a:pt x="299211" y="58865"/>
                  </a:lnTo>
                  <a:lnTo>
                    <a:pt x="296109" y="53487"/>
                  </a:lnTo>
                  <a:lnTo>
                    <a:pt x="298442" y="39875"/>
                  </a:lnTo>
                  <a:lnTo>
                    <a:pt x="301324" y="33728"/>
                  </a:lnTo>
                  <a:lnTo>
                    <a:pt x="306593" y="30023"/>
                  </a:lnTo>
                  <a:lnTo>
                    <a:pt x="310737" y="19155"/>
                  </a:lnTo>
                  <a:lnTo>
                    <a:pt x="320836" y="13118"/>
                  </a:lnTo>
                  <a:lnTo>
                    <a:pt x="327889" y="0"/>
                  </a:lnTo>
                  <a:lnTo>
                    <a:pt x="358131" y="16850"/>
                  </a:lnTo>
                  <a:lnTo>
                    <a:pt x="375283" y="18469"/>
                  </a:lnTo>
                  <a:lnTo>
                    <a:pt x="398088" y="30133"/>
                  </a:lnTo>
                  <a:lnTo>
                    <a:pt x="420207" y="35456"/>
                  </a:lnTo>
                  <a:lnTo>
                    <a:pt x="423198" y="39573"/>
                  </a:lnTo>
                  <a:lnTo>
                    <a:pt x="424570" y="58371"/>
                  </a:lnTo>
                  <a:lnTo>
                    <a:pt x="427726" y="71681"/>
                  </a:lnTo>
                  <a:lnTo>
                    <a:pt x="444329" y="84223"/>
                  </a:lnTo>
                  <a:lnTo>
                    <a:pt x="466668" y="92209"/>
                  </a:lnTo>
                  <a:lnTo>
                    <a:pt x="479374" y="91495"/>
                  </a:lnTo>
                  <a:lnTo>
                    <a:pt x="489171" y="85540"/>
                  </a:lnTo>
                  <a:lnTo>
                    <a:pt x="516559" y="77801"/>
                  </a:lnTo>
                  <a:lnTo>
                    <a:pt x="534397" y="80353"/>
                  </a:lnTo>
                  <a:lnTo>
                    <a:pt x="543344" y="85183"/>
                  </a:lnTo>
                  <a:lnTo>
                    <a:pt x="555583" y="84525"/>
                  </a:lnTo>
                  <a:lnTo>
                    <a:pt x="562746" y="88806"/>
                  </a:lnTo>
                  <a:lnTo>
                    <a:pt x="570265" y="98465"/>
                  </a:lnTo>
                  <a:lnTo>
                    <a:pt x="591972" y="103652"/>
                  </a:lnTo>
                  <a:lnTo>
                    <a:pt x="595375" y="116496"/>
                  </a:lnTo>
                  <a:lnTo>
                    <a:pt x="610826" y="129064"/>
                  </a:lnTo>
                  <a:lnTo>
                    <a:pt x="629487" y="128927"/>
                  </a:lnTo>
                  <a:lnTo>
                    <a:pt x="641891" y="134580"/>
                  </a:lnTo>
                  <a:lnTo>
                    <a:pt x="658028" y="136831"/>
                  </a:lnTo>
                  <a:lnTo>
                    <a:pt x="665437" y="134306"/>
                  </a:lnTo>
                  <a:lnTo>
                    <a:pt x="675646" y="137545"/>
                  </a:lnTo>
                  <a:lnTo>
                    <a:pt x="694060" y="128571"/>
                  </a:lnTo>
                  <a:lnTo>
                    <a:pt x="710883" y="126430"/>
                  </a:lnTo>
                  <a:lnTo>
                    <a:pt x="726251" y="120667"/>
                  </a:lnTo>
                  <a:lnTo>
                    <a:pt x="735966" y="121133"/>
                  </a:lnTo>
                  <a:lnTo>
                    <a:pt x="742799" y="117044"/>
                  </a:lnTo>
                  <a:lnTo>
                    <a:pt x="748205" y="107275"/>
                  </a:lnTo>
                  <a:lnTo>
                    <a:pt x="757536" y="99646"/>
                  </a:lnTo>
                  <a:lnTo>
                    <a:pt x="777954" y="88010"/>
                  </a:lnTo>
                  <a:lnTo>
                    <a:pt x="798234" y="90782"/>
                  </a:lnTo>
                  <a:lnTo>
                    <a:pt x="812092" y="103350"/>
                  </a:lnTo>
                  <a:lnTo>
                    <a:pt x="822603" y="103872"/>
                  </a:lnTo>
                  <a:lnTo>
                    <a:pt x="835831" y="98630"/>
                  </a:lnTo>
                  <a:lnTo>
                    <a:pt x="846122" y="102143"/>
                  </a:lnTo>
                  <a:lnTo>
                    <a:pt x="850595" y="1063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7" name="Freeform: Shape 4296">
              <a:extLst>
                <a:ext uri="{FF2B5EF4-FFF2-40B4-BE49-F238E27FC236}">
                  <a16:creationId xmlns:a16="http://schemas.microsoft.com/office/drawing/2014/main" id="{B15547F1-24A9-D57D-C274-87CAD6447A07}"/>
                </a:ext>
              </a:extLst>
            </p:cNvPr>
            <p:cNvSpPr/>
            <p:nvPr/>
          </p:nvSpPr>
          <p:spPr>
            <a:xfrm>
              <a:off x="1449347" y="3452752"/>
              <a:ext cx="468206" cy="252655"/>
            </a:xfrm>
            <a:custGeom>
              <a:avLst/>
              <a:gdLst>
                <a:gd name="connsiteX0" fmla="*/ 2283887 w 4488985"/>
                <a:gd name="connsiteY0" fmla="*/ 81286 h 2422364"/>
                <a:gd name="connsiteX1" fmla="*/ 2314843 w 4488985"/>
                <a:gd name="connsiteY1" fmla="*/ 93635 h 2422364"/>
                <a:gd name="connsiteX2" fmla="*/ 2337702 w 4488985"/>
                <a:gd name="connsiteY2" fmla="*/ 91714 h 2422364"/>
                <a:gd name="connsiteX3" fmla="*/ 2348927 w 4488985"/>
                <a:gd name="connsiteY3" fmla="*/ 104640 h 2422364"/>
                <a:gd name="connsiteX4" fmla="*/ 2347170 w 4488985"/>
                <a:gd name="connsiteY4" fmla="*/ 120749 h 2422364"/>
                <a:gd name="connsiteX5" fmla="*/ 2336001 w 4488985"/>
                <a:gd name="connsiteY5" fmla="*/ 145036 h 2422364"/>
                <a:gd name="connsiteX6" fmla="*/ 2336961 w 4488985"/>
                <a:gd name="connsiteY6" fmla="*/ 157715 h 2422364"/>
                <a:gd name="connsiteX7" fmla="*/ 2363993 w 4488985"/>
                <a:gd name="connsiteY7" fmla="*/ 153708 h 2422364"/>
                <a:gd name="connsiteX8" fmla="*/ 2382132 w 4488985"/>
                <a:gd name="connsiteY8" fmla="*/ 130272 h 2422364"/>
                <a:gd name="connsiteX9" fmla="*/ 2464571 w 4488985"/>
                <a:gd name="connsiteY9" fmla="*/ 128680 h 2422364"/>
                <a:gd name="connsiteX10" fmla="*/ 2502086 w 4488985"/>
                <a:gd name="connsiteY10" fmla="*/ 151650 h 2422364"/>
                <a:gd name="connsiteX11" fmla="*/ 2514572 w 4488985"/>
                <a:gd name="connsiteY11" fmla="*/ 198715 h 2422364"/>
                <a:gd name="connsiteX12" fmla="*/ 2528376 w 4488985"/>
                <a:gd name="connsiteY12" fmla="*/ 201322 h 2422364"/>
                <a:gd name="connsiteX13" fmla="*/ 2541110 w 4488985"/>
                <a:gd name="connsiteY13" fmla="*/ 240401 h 2422364"/>
                <a:gd name="connsiteX14" fmla="*/ 2535676 w 4488985"/>
                <a:gd name="connsiteY14" fmla="*/ 299842 h 2422364"/>
                <a:gd name="connsiteX15" fmla="*/ 2515753 w 4488985"/>
                <a:gd name="connsiteY15" fmla="*/ 337000 h 2422364"/>
                <a:gd name="connsiteX16" fmla="*/ 2435783 w 4488985"/>
                <a:gd name="connsiteY16" fmla="*/ 407226 h 2422364"/>
                <a:gd name="connsiteX17" fmla="*/ 2421678 w 4488985"/>
                <a:gd name="connsiteY17" fmla="*/ 430690 h 2422364"/>
                <a:gd name="connsiteX18" fmla="*/ 2400876 w 4488985"/>
                <a:gd name="connsiteY18" fmla="*/ 450120 h 2422364"/>
                <a:gd name="connsiteX19" fmla="*/ 2378373 w 4488985"/>
                <a:gd name="connsiteY19" fmla="*/ 479539 h 2422364"/>
                <a:gd name="connsiteX20" fmla="*/ 2345469 w 4488985"/>
                <a:gd name="connsiteY20" fmla="*/ 491092 h 2422364"/>
                <a:gd name="connsiteX21" fmla="*/ 2334766 w 4488985"/>
                <a:gd name="connsiteY21" fmla="*/ 516367 h 2422364"/>
                <a:gd name="connsiteX22" fmla="*/ 2315858 w 4488985"/>
                <a:gd name="connsiteY22" fmla="*/ 535166 h 2422364"/>
                <a:gd name="connsiteX23" fmla="*/ 2312098 w 4488985"/>
                <a:gd name="connsiteY23" fmla="*/ 547240 h 2422364"/>
                <a:gd name="connsiteX24" fmla="*/ 2312812 w 4488985"/>
                <a:gd name="connsiteY24" fmla="*/ 555034 h 2422364"/>
                <a:gd name="connsiteX25" fmla="*/ 2327110 w 4488985"/>
                <a:gd name="connsiteY25" fmla="*/ 537581 h 2422364"/>
                <a:gd name="connsiteX26" fmla="*/ 2374284 w 4488985"/>
                <a:gd name="connsiteY26" fmla="*/ 533080 h 2422364"/>
                <a:gd name="connsiteX27" fmla="*/ 2389652 w 4488985"/>
                <a:gd name="connsiteY27" fmla="*/ 520237 h 2422364"/>
                <a:gd name="connsiteX28" fmla="*/ 2424971 w 4488985"/>
                <a:gd name="connsiteY28" fmla="*/ 505445 h 2422364"/>
                <a:gd name="connsiteX29" fmla="*/ 2446130 w 4488985"/>
                <a:gd name="connsiteY29" fmla="*/ 481322 h 2422364"/>
                <a:gd name="connsiteX30" fmla="*/ 2444319 w 4488985"/>
                <a:gd name="connsiteY30" fmla="*/ 475532 h 2422364"/>
                <a:gd name="connsiteX31" fmla="*/ 2427523 w 4488985"/>
                <a:gd name="connsiteY31" fmla="*/ 480636 h 2422364"/>
                <a:gd name="connsiteX32" fmla="*/ 2424258 w 4488985"/>
                <a:gd name="connsiteY32" fmla="*/ 476575 h 2422364"/>
                <a:gd name="connsiteX33" fmla="*/ 2436524 w 4488985"/>
                <a:gd name="connsiteY33" fmla="*/ 451574 h 2422364"/>
                <a:gd name="connsiteX34" fmla="*/ 2465971 w 4488985"/>
                <a:gd name="connsiteY34" fmla="*/ 452205 h 2422364"/>
                <a:gd name="connsiteX35" fmla="*/ 2475768 w 4488985"/>
                <a:gd name="connsiteY35" fmla="*/ 468397 h 2422364"/>
                <a:gd name="connsiteX36" fmla="*/ 2497777 w 4488985"/>
                <a:gd name="connsiteY36" fmla="*/ 478660 h 2422364"/>
                <a:gd name="connsiteX37" fmla="*/ 2511444 w 4488985"/>
                <a:gd name="connsiteY37" fmla="*/ 475065 h 2422364"/>
                <a:gd name="connsiteX38" fmla="*/ 2518881 w 4488985"/>
                <a:gd name="connsiteY38" fmla="*/ 463622 h 2422364"/>
                <a:gd name="connsiteX39" fmla="*/ 2526428 w 4488985"/>
                <a:gd name="connsiteY39" fmla="*/ 478633 h 2422364"/>
                <a:gd name="connsiteX40" fmla="*/ 2529419 w 4488985"/>
                <a:gd name="connsiteY40" fmla="*/ 506844 h 2422364"/>
                <a:gd name="connsiteX41" fmla="*/ 2535374 w 4488985"/>
                <a:gd name="connsiteY41" fmla="*/ 517684 h 2422364"/>
                <a:gd name="connsiteX42" fmla="*/ 2542976 w 4488985"/>
                <a:gd name="connsiteY42" fmla="*/ 499023 h 2422364"/>
                <a:gd name="connsiteX43" fmla="*/ 2593471 w 4488985"/>
                <a:gd name="connsiteY43" fmla="*/ 481926 h 2422364"/>
                <a:gd name="connsiteX44" fmla="*/ 2677227 w 4488985"/>
                <a:gd name="connsiteY44" fmla="*/ 495126 h 2422364"/>
                <a:gd name="connsiteX45" fmla="*/ 2684719 w 4488985"/>
                <a:gd name="connsiteY45" fmla="*/ 505225 h 2422364"/>
                <a:gd name="connsiteX46" fmla="*/ 2680959 w 4488985"/>
                <a:gd name="connsiteY46" fmla="*/ 520785 h 2422364"/>
                <a:gd name="connsiteX47" fmla="*/ 2685241 w 4488985"/>
                <a:gd name="connsiteY47" fmla="*/ 532449 h 2422364"/>
                <a:gd name="connsiteX48" fmla="*/ 2707222 w 4488985"/>
                <a:gd name="connsiteY48" fmla="*/ 542163 h 2422364"/>
                <a:gd name="connsiteX49" fmla="*/ 2725115 w 4488985"/>
                <a:gd name="connsiteY49" fmla="*/ 538843 h 2422364"/>
                <a:gd name="connsiteX50" fmla="*/ 2739303 w 4488985"/>
                <a:gd name="connsiteY50" fmla="*/ 552729 h 2422364"/>
                <a:gd name="connsiteX51" fmla="*/ 2757910 w 4488985"/>
                <a:gd name="connsiteY51" fmla="*/ 558108 h 2422364"/>
                <a:gd name="connsiteX52" fmla="*/ 2792707 w 4488985"/>
                <a:gd name="connsiteY52" fmla="*/ 550616 h 2422364"/>
                <a:gd name="connsiteX53" fmla="*/ 2820452 w 4488985"/>
                <a:gd name="connsiteY53" fmla="*/ 554623 h 2422364"/>
                <a:gd name="connsiteX54" fmla="*/ 2828246 w 4488985"/>
                <a:gd name="connsiteY54" fmla="*/ 538376 h 2422364"/>
                <a:gd name="connsiteX55" fmla="*/ 2826022 w 4488985"/>
                <a:gd name="connsiteY55" fmla="*/ 510632 h 2422364"/>
                <a:gd name="connsiteX56" fmla="*/ 2829728 w 4488985"/>
                <a:gd name="connsiteY56" fmla="*/ 487964 h 2422364"/>
                <a:gd name="connsiteX57" fmla="*/ 2834805 w 4488985"/>
                <a:gd name="connsiteY57" fmla="*/ 480115 h 2422364"/>
                <a:gd name="connsiteX58" fmla="*/ 2840183 w 4488985"/>
                <a:gd name="connsiteY58" fmla="*/ 482063 h 2422364"/>
                <a:gd name="connsiteX59" fmla="*/ 2842132 w 4488985"/>
                <a:gd name="connsiteY59" fmla="*/ 475312 h 2422364"/>
                <a:gd name="connsiteX60" fmla="*/ 2845480 w 4488985"/>
                <a:gd name="connsiteY60" fmla="*/ 482036 h 2422364"/>
                <a:gd name="connsiteX61" fmla="*/ 2857939 w 4488985"/>
                <a:gd name="connsiteY61" fmla="*/ 475367 h 2422364"/>
                <a:gd name="connsiteX62" fmla="*/ 2883406 w 4488985"/>
                <a:gd name="connsiteY62" fmla="*/ 494550 h 2422364"/>
                <a:gd name="connsiteX63" fmla="*/ 2908379 w 4488985"/>
                <a:gd name="connsiteY63" fmla="*/ 500340 h 2422364"/>
                <a:gd name="connsiteX64" fmla="*/ 2918561 w 4488985"/>
                <a:gd name="connsiteY64" fmla="*/ 509424 h 2422364"/>
                <a:gd name="connsiteX65" fmla="*/ 2935987 w 4488985"/>
                <a:gd name="connsiteY65" fmla="*/ 501411 h 2422364"/>
                <a:gd name="connsiteX66" fmla="*/ 2953248 w 4488985"/>
                <a:gd name="connsiteY66" fmla="*/ 502975 h 2422364"/>
                <a:gd name="connsiteX67" fmla="*/ 2995675 w 4488985"/>
                <a:gd name="connsiteY67" fmla="*/ 547487 h 2422364"/>
                <a:gd name="connsiteX68" fmla="*/ 3000039 w 4488985"/>
                <a:gd name="connsiteY68" fmla="*/ 581654 h 2422364"/>
                <a:gd name="connsiteX69" fmla="*/ 2994523 w 4488985"/>
                <a:gd name="connsiteY69" fmla="*/ 599931 h 2422364"/>
                <a:gd name="connsiteX70" fmla="*/ 3000066 w 4488985"/>
                <a:gd name="connsiteY70" fmla="*/ 615107 h 2422364"/>
                <a:gd name="connsiteX71" fmla="*/ 3000450 w 4488985"/>
                <a:gd name="connsiteY71" fmla="*/ 628883 h 2422364"/>
                <a:gd name="connsiteX72" fmla="*/ 2986427 w 4488985"/>
                <a:gd name="connsiteY72" fmla="*/ 646365 h 2422364"/>
                <a:gd name="connsiteX73" fmla="*/ 2981844 w 4488985"/>
                <a:gd name="connsiteY73" fmla="*/ 667605 h 2422364"/>
                <a:gd name="connsiteX74" fmla="*/ 3011482 w 4488985"/>
                <a:gd name="connsiteY74" fmla="*/ 725702 h 2422364"/>
                <a:gd name="connsiteX75" fmla="*/ 3028964 w 4488985"/>
                <a:gd name="connsiteY75" fmla="*/ 748754 h 2422364"/>
                <a:gd name="connsiteX76" fmla="*/ 3048475 w 4488985"/>
                <a:gd name="connsiteY76" fmla="*/ 762942 h 2422364"/>
                <a:gd name="connsiteX77" fmla="*/ 3057532 w 4488985"/>
                <a:gd name="connsiteY77" fmla="*/ 761296 h 2422364"/>
                <a:gd name="connsiteX78" fmla="*/ 3066423 w 4488985"/>
                <a:gd name="connsiteY78" fmla="*/ 748452 h 2422364"/>
                <a:gd name="connsiteX79" fmla="*/ 3085688 w 4488985"/>
                <a:gd name="connsiteY79" fmla="*/ 686129 h 2422364"/>
                <a:gd name="connsiteX80" fmla="*/ 3097873 w 4488985"/>
                <a:gd name="connsiteY80" fmla="*/ 664614 h 2422364"/>
                <a:gd name="connsiteX81" fmla="*/ 3112857 w 4488985"/>
                <a:gd name="connsiteY81" fmla="*/ 687447 h 2422364"/>
                <a:gd name="connsiteX82" fmla="*/ 3136814 w 4488985"/>
                <a:gd name="connsiteY82" fmla="*/ 705367 h 2422364"/>
                <a:gd name="connsiteX83" fmla="*/ 3158275 w 4488985"/>
                <a:gd name="connsiteY83" fmla="*/ 704489 h 2422364"/>
                <a:gd name="connsiteX84" fmla="*/ 3180394 w 4488985"/>
                <a:gd name="connsiteY84" fmla="*/ 693621 h 2422364"/>
                <a:gd name="connsiteX85" fmla="*/ 3190301 w 4488985"/>
                <a:gd name="connsiteY85" fmla="*/ 688654 h 2422364"/>
                <a:gd name="connsiteX86" fmla="*/ 3199055 w 4488985"/>
                <a:gd name="connsiteY86" fmla="*/ 691069 h 2422364"/>
                <a:gd name="connsiteX87" fmla="*/ 3223946 w 4488985"/>
                <a:gd name="connsiteY87" fmla="*/ 699329 h 2422364"/>
                <a:gd name="connsiteX88" fmla="*/ 3232371 w 4488985"/>
                <a:gd name="connsiteY88" fmla="*/ 692661 h 2422364"/>
                <a:gd name="connsiteX89" fmla="*/ 3246778 w 4488985"/>
                <a:gd name="connsiteY89" fmla="*/ 692386 h 2422364"/>
                <a:gd name="connsiteX90" fmla="*/ 3248864 w 4488985"/>
                <a:gd name="connsiteY90" fmla="*/ 698945 h 2422364"/>
                <a:gd name="connsiteX91" fmla="*/ 3239863 w 4488985"/>
                <a:gd name="connsiteY91" fmla="*/ 702650 h 2422364"/>
                <a:gd name="connsiteX92" fmla="*/ 3237832 w 4488985"/>
                <a:gd name="connsiteY92" fmla="*/ 707974 h 2422364"/>
                <a:gd name="connsiteX93" fmla="*/ 3243156 w 4488985"/>
                <a:gd name="connsiteY93" fmla="*/ 718046 h 2422364"/>
                <a:gd name="connsiteX94" fmla="*/ 3251883 w 4488985"/>
                <a:gd name="connsiteY94" fmla="*/ 721311 h 2422364"/>
                <a:gd name="connsiteX95" fmla="*/ 3255588 w 4488985"/>
                <a:gd name="connsiteY95" fmla="*/ 717963 h 2422364"/>
                <a:gd name="connsiteX96" fmla="*/ 3258140 w 4488985"/>
                <a:gd name="connsiteY96" fmla="*/ 698012 h 2422364"/>
                <a:gd name="connsiteX97" fmla="*/ 3274551 w 4488985"/>
                <a:gd name="connsiteY97" fmla="*/ 684126 h 2422364"/>
                <a:gd name="connsiteX98" fmla="*/ 3292361 w 4488985"/>
                <a:gd name="connsiteY98" fmla="*/ 702101 h 2422364"/>
                <a:gd name="connsiteX99" fmla="*/ 3306357 w 4488985"/>
                <a:gd name="connsiteY99" fmla="*/ 699384 h 2422364"/>
                <a:gd name="connsiteX100" fmla="*/ 3309046 w 4488985"/>
                <a:gd name="connsiteY100" fmla="*/ 691398 h 2422364"/>
                <a:gd name="connsiteX101" fmla="*/ 3306165 w 4488985"/>
                <a:gd name="connsiteY101" fmla="*/ 659784 h 2422364"/>
                <a:gd name="connsiteX102" fmla="*/ 3309211 w 4488985"/>
                <a:gd name="connsiteY102" fmla="*/ 636705 h 2422364"/>
                <a:gd name="connsiteX103" fmla="*/ 3293404 w 4488985"/>
                <a:gd name="connsiteY103" fmla="*/ 632835 h 2422364"/>
                <a:gd name="connsiteX104" fmla="*/ 3291566 w 4488985"/>
                <a:gd name="connsiteY104" fmla="*/ 629103 h 2422364"/>
                <a:gd name="connsiteX105" fmla="*/ 3291949 w 4488985"/>
                <a:gd name="connsiteY105" fmla="*/ 623285 h 2422364"/>
                <a:gd name="connsiteX106" fmla="*/ 3304711 w 4488985"/>
                <a:gd name="connsiteY106" fmla="*/ 604843 h 2422364"/>
                <a:gd name="connsiteX107" fmla="*/ 3339811 w 4488985"/>
                <a:gd name="connsiteY107" fmla="*/ 598229 h 2422364"/>
                <a:gd name="connsiteX108" fmla="*/ 3343515 w 4488985"/>
                <a:gd name="connsiteY108" fmla="*/ 588240 h 2422364"/>
                <a:gd name="connsiteX109" fmla="*/ 3341539 w 4488985"/>
                <a:gd name="connsiteY109" fmla="*/ 570814 h 2422364"/>
                <a:gd name="connsiteX110" fmla="*/ 3348153 w 4488985"/>
                <a:gd name="connsiteY110" fmla="*/ 568207 h 2422364"/>
                <a:gd name="connsiteX111" fmla="*/ 3369064 w 4488985"/>
                <a:gd name="connsiteY111" fmla="*/ 578333 h 2422364"/>
                <a:gd name="connsiteX112" fmla="*/ 3466871 w 4488985"/>
                <a:gd name="connsiteY112" fmla="*/ 595485 h 2422364"/>
                <a:gd name="connsiteX113" fmla="*/ 3520934 w 4488985"/>
                <a:gd name="connsiteY113" fmla="*/ 620403 h 2422364"/>
                <a:gd name="connsiteX114" fmla="*/ 3558970 w 4488985"/>
                <a:gd name="connsiteY114" fmla="*/ 620458 h 2422364"/>
                <a:gd name="connsiteX115" fmla="*/ 3582434 w 4488985"/>
                <a:gd name="connsiteY115" fmla="*/ 629487 h 2422364"/>
                <a:gd name="connsiteX116" fmla="*/ 3598817 w 4488985"/>
                <a:gd name="connsiteY116" fmla="*/ 642907 h 2422364"/>
                <a:gd name="connsiteX117" fmla="*/ 3605952 w 4488985"/>
                <a:gd name="connsiteY117" fmla="*/ 660223 h 2422364"/>
                <a:gd name="connsiteX118" fmla="*/ 3598213 w 4488985"/>
                <a:gd name="connsiteY118" fmla="*/ 670158 h 2422364"/>
                <a:gd name="connsiteX119" fmla="*/ 3586742 w 4488985"/>
                <a:gd name="connsiteY119" fmla="*/ 667331 h 2422364"/>
                <a:gd name="connsiteX120" fmla="*/ 3584162 w 4488985"/>
                <a:gd name="connsiteY120" fmla="*/ 671804 h 2422364"/>
                <a:gd name="connsiteX121" fmla="*/ 3584684 w 4488985"/>
                <a:gd name="connsiteY121" fmla="*/ 677101 h 2422364"/>
                <a:gd name="connsiteX122" fmla="*/ 3605239 w 4488985"/>
                <a:gd name="connsiteY122" fmla="*/ 683687 h 2422364"/>
                <a:gd name="connsiteX123" fmla="*/ 3630569 w 4488985"/>
                <a:gd name="connsiteY123" fmla="*/ 706849 h 2422364"/>
                <a:gd name="connsiteX124" fmla="*/ 3649449 w 4488985"/>
                <a:gd name="connsiteY124" fmla="*/ 713737 h 2422364"/>
                <a:gd name="connsiteX125" fmla="*/ 3669565 w 4488985"/>
                <a:gd name="connsiteY125" fmla="*/ 748809 h 2422364"/>
                <a:gd name="connsiteX126" fmla="*/ 3680817 w 4488985"/>
                <a:gd name="connsiteY126" fmla="*/ 757097 h 2422364"/>
                <a:gd name="connsiteX127" fmla="*/ 3718139 w 4488985"/>
                <a:gd name="connsiteY127" fmla="*/ 754270 h 2422364"/>
                <a:gd name="connsiteX128" fmla="*/ 3778130 w 4488985"/>
                <a:gd name="connsiteY128" fmla="*/ 737036 h 2422364"/>
                <a:gd name="connsiteX129" fmla="*/ 3805243 w 4488985"/>
                <a:gd name="connsiteY129" fmla="*/ 735444 h 2422364"/>
                <a:gd name="connsiteX130" fmla="*/ 3842840 w 4488985"/>
                <a:gd name="connsiteY130" fmla="*/ 742470 h 2422364"/>
                <a:gd name="connsiteX131" fmla="*/ 3867923 w 4488985"/>
                <a:gd name="connsiteY131" fmla="*/ 754435 h 2422364"/>
                <a:gd name="connsiteX132" fmla="*/ 3892045 w 4488985"/>
                <a:gd name="connsiteY132" fmla="*/ 777844 h 2422364"/>
                <a:gd name="connsiteX133" fmla="*/ 3899482 w 4488985"/>
                <a:gd name="connsiteY133" fmla="*/ 793486 h 2422364"/>
                <a:gd name="connsiteX134" fmla="*/ 3901568 w 4488985"/>
                <a:gd name="connsiteY134" fmla="*/ 812504 h 2422364"/>
                <a:gd name="connsiteX135" fmla="*/ 3897808 w 4488985"/>
                <a:gd name="connsiteY135" fmla="*/ 846863 h 2422364"/>
                <a:gd name="connsiteX136" fmla="*/ 3926102 w 4488985"/>
                <a:gd name="connsiteY136" fmla="*/ 865552 h 2422364"/>
                <a:gd name="connsiteX137" fmla="*/ 3933182 w 4488985"/>
                <a:gd name="connsiteY137" fmla="*/ 881743 h 2422364"/>
                <a:gd name="connsiteX138" fmla="*/ 3943665 w 4488985"/>
                <a:gd name="connsiteY138" fmla="*/ 869476 h 2422364"/>
                <a:gd name="connsiteX139" fmla="*/ 3953161 w 4488985"/>
                <a:gd name="connsiteY139" fmla="*/ 874937 h 2422364"/>
                <a:gd name="connsiteX140" fmla="*/ 3973002 w 4488985"/>
                <a:gd name="connsiteY140" fmla="*/ 861545 h 2422364"/>
                <a:gd name="connsiteX141" fmla="*/ 4018036 w 4488985"/>
                <a:gd name="connsiteY141" fmla="*/ 854767 h 2422364"/>
                <a:gd name="connsiteX142" fmla="*/ 4044354 w 4488985"/>
                <a:gd name="connsiteY142" fmla="*/ 868241 h 2422364"/>
                <a:gd name="connsiteX143" fmla="*/ 4102780 w 4488985"/>
                <a:gd name="connsiteY143" fmla="*/ 874004 h 2422364"/>
                <a:gd name="connsiteX144" fmla="*/ 4125366 w 4488985"/>
                <a:gd name="connsiteY144" fmla="*/ 854574 h 2422364"/>
                <a:gd name="connsiteX145" fmla="*/ 4136672 w 4488985"/>
                <a:gd name="connsiteY145" fmla="*/ 838136 h 2422364"/>
                <a:gd name="connsiteX146" fmla="*/ 4148445 w 4488985"/>
                <a:gd name="connsiteY146" fmla="*/ 832785 h 2422364"/>
                <a:gd name="connsiteX147" fmla="*/ 4170783 w 4488985"/>
                <a:gd name="connsiteY147" fmla="*/ 840963 h 2422364"/>
                <a:gd name="connsiteX148" fmla="*/ 4175422 w 4488985"/>
                <a:gd name="connsiteY148" fmla="*/ 850403 h 2422364"/>
                <a:gd name="connsiteX149" fmla="*/ 4172568 w 4488985"/>
                <a:gd name="connsiteY149" fmla="*/ 861902 h 2422364"/>
                <a:gd name="connsiteX150" fmla="*/ 4167710 w 4488985"/>
                <a:gd name="connsiteY150" fmla="*/ 866759 h 2422364"/>
                <a:gd name="connsiteX151" fmla="*/ 4139416 w 4488985"/>
                <a:gd name="connsiteY151" fmla="*/ 858718 h 2422364"/>
                <a:gd name="connsiteX152" fmla="*/ 4146003 w 4488985"/>
                <a:gd name="connsiteY152" fmla="*/ 891897 h 2422364"/>
                <a:gd name="connsiteX153" fmla="*/ 4172951 w 4488985"/>
                <a:gd name="connsiteY153" fmla="*/ 909460 h 2422364"/>
                <a:gd name="connsiteX154" fmla="*/ 4184725 w 4488985"/>
                <a:gd name="connsiteY154" fmla="*/ 931085 h 2422364"/>
                <a:gd name="connsiteX155" fmla="*/ 4199462 w 4488985"/>
                <a:gd name="connsiteY155" fmla="*/ 931085 h 2422364"/>
                <a:gd name="connsiteX156" fmla="*/ 4222624 w 4488985"/>
                <a:gd name="connsiteY156" fmla="*/ 908225 h 2422364"/>
                <a:gd name="connsiteX157" fmla="*/ 4215845 w 4488985"/>
                <a:gd name="connsiteY157" fmla="*/ 875733 h 2422364"/>
                <a:gd name="connsiteX158" fmla="*/ 4206213 w 4488985"/>
                <a:gd name="connsiteY158" fmla="*/ 862752 h 2422364"/>
                <a:gd name="connsiteX159" fmla="*/ 4210878 w 4488985"/>
                <a:gd name="connsiteY159" fmla="*/ 849196 h 2422364"/>
                <a:gd name="connsiteX160" fmla="*/ 4213815 w 4488985"/>
                <a:gd name="connsiteY160" fmla="*/ 828888 h 2422364"/>
                <a:gd name="connsiteX161" fmla="*/ 4218480 w 4488985"/>
                <a:gd name="connsiteY161" fmla="*/ 823481 h 2422364"/>
                <a:gd name="connsiteX162" fmla="*/ 4310139 w 4488985"/>
                <a:gd name="connsiteY162" fmla="*/ 845710 h 2422364"/>
                <a:gd name="connsiteX163" fmla="*/ 4373533 w 4488985"/>
                <a:gd name="connsiteY163" fmla="*/ 844036 h 2422364"/>
                <a:gd name="connsiteX164" fmla="*/ 4400207 w 4488985"/>
                <a:gd name="connsiteY164" fmla="*/ 862615 h 2422364"/>
                <a:gd name="connsiteX165" fmla="*/ 4454297 w 4488985"/>
                <a:gd name="connsiteY165" fmla="*/ 884185 h 2422364"/>
                <a:gd name="connsiteX166" fmla="*/ 4472574 w 4488985"/>
                <a:gd name="connsiteY166" fmla="*/ 898867 h 2422364"/>
                <a:gd name="connsiteX167" fmla="*/ 4487174 w 4488985"/>
                <a:gd name="connsiteY167" fmla="*/ 926036 h 2422364"/>
                <a:gd name="connsiteX168" fmla="*/ 4488985 w 4488985"/>
                <a:gd name="connsiteY168" fmla="*/ 1039403 h 2422364"/>
                <a:gd name="connsiteX169" fmla="*/ 4486570 w 4488985"/>
                <a:gd name="connsiteY169" fmla="*/ 1212184 h 2422364"/>
                <a:gd name="connsiteX170" fmla="*/ 4473754 w 4488985"/>
                <a:gd name="connsiteY170" fmla="*/ 1230214 h 2422364"/>
                <a:gd name="connsiteX171" fmla="*/ 4454160 w 4488985"/>
                <a:gd name="connsiteY171" fmla="*/ 1240148 h 2422364"/>
                <a:gd name="connsiteX172" fmla="*/ 4424961 w 4488985"/>
                <a:gd name="connsiteY172" fmla="*/ 1237761 h 2422364"/>
                <a:gd name="connsiteX173" fmla="*/ 4412611 w 4488985"/>
                <a:gd name="connsiteY173" fmla="*/ 1226646 h 2422364"/>
                <a:gd name="connsiteX174" fmla="*/ 4403775 w 4488985"/>
                <a:gd name="connsiteY174" fmla="*/ 1231586 h 2422364"/>
                <a:gd name="connsiteX175" fmla="*/ 4383439 w 4488985"/>
                <a:gd name="connsiteY175" fmla="*/ 1234687 h 2422364"/>
                <a:gd name="connsiteX176" fmla="*/ 4385909 w 4488985"/>
                <a:gd name="connsiteY176" fmla="*/ 1241164 h 2422364"/>
                <a:gd name="connsiteX177" fmla="*/ 4392688 w 4488985"/>
                <a:gd name="connsiteY177" fmla="*/ 1244841 h 2422364"/>
                <a:gd name="connsiteX178" fmla="*/ 4412419 w 4488985"/>
                <a:gd name="connsiteY178" fmla="*/ 1238694 h 2422364"/>
                <a:gd name="connsiteX179" fmla="*/ 4416563 w 4488985"/>
                <a:gd name="connsiteY179" fmla="*/ 1254254 h 2422364"/>
                <a:gd name="connsiteX180" fmla="*/ 4422545 w 4488985"/>
                <a:gd name="connsiteY180" fmla="*/ 1264024 h 2422364"/>
                <a:gd name="connsiteX181" fmla="*/ 4431684 w 4488985"/>
                <a:gd name="connsiteY181" fmla="*/ 1269979 h 2422364"/>
                <a:gd name="connsiteX182" fmla="*/ 4442414 w 4488985"/>
                <a:gd name="connsiteY182" fmla="*/ 1271351 h 2422364"/>
                <a:gd name="connsiteX183" fmla="*/ 4449467 w 4488985"/>
                <a:gd name="connsiteY183" fmla="*/ 1287871 h 2422364"/>
                <a:gd name="connsiteX184" fmla="*/ 4450565 w 4488985"/>
                <a:gd name="connsiteY184" fmla="*/ 1292701 h 2422364"/>
                <a:gd name="connsiteX185" fmla="*/ 4457151 w 4488985"/>
                <a:gd name="connsiteY185" fmla="*/ 1321764 h 2422364"/>
                <a:gd name="connsiteX186" fmla="*/ 4461405 w 4488985"/>
                <a:gd name="connsiteY186" fmla="*/ 1329722 h 2422364"/>
                <a:gd name="connsiteX187" fmla="*/ 4465576 w 4488985"/>
                <a:gd name="connsiteY187" fmla="*/ 1336336 h 2422364"/>
                <a:gd name="connsiteX188" fmla="*/ 4469912 w 4488985"/>
                <a:gd name="connsiteY188" fmla="*/ 1343142 h 2422364"/>
                <a:gd name="connsiteX189" fmla="*/ 4469912 w 4488985"/>
                <a:gd name="connsiteY189" fmla="*/ 1353954 h 2422364"/>
                <a:gd name="connsiteX190" fmla="*/ 4476224 w 4488985"/>
                <a:gd name="connsiteY190" fmla="*/ 1368856 h 2422364"/>
                <a:gd name="connsiteX191" fmla="*/ 4472876 w 4488985"/>
                <a:gd name="connsiteY191" fmla="*/ 1380107 h 2422364"/>
                <a:gd name="connsiteX192" fmla="*/ 4462475 w 4488985"/>
                <a:gd name="connsiteY192" fmla="*/ 1394213 h 2422364"/>
                <a:gd name="connsiteX193" fmla="*/ 4431547 w 4488985"/>
                <a:gd name="connsiteY193" fmla="*/ 1382550 h 2422364"/>
                <a:gd name="connsiteX194" fmla="*/ 4404433 w 4488985"/>
                <a:gd name="connsiteY194" fmla="*/ 1382193 h 2422364"/>
                <a:gd name="connsiteX195" fmla="*/ 4362308 w 4488985"/>
                <a:gd name="connsiteY195" fmla="*/ 1403900 h 2422364"/>
                <a:gd name="connsiteX196" fmla="*/ 4333137 w 4488985"/>
                <a:gd name="connsiteY196" fmla="*/ 1423906 h 2422364"/>
                <a:gd name="connsiteX197" fmla="*/ 4317027 w 4488985"/>
                <a:gd name="connsiteY197" fmla="*/ 1426788 h 2422364"/>
                <a:gd name="connsiteX198" fmla="*/ 4307971 w 4488985"/>
                <a:gd name="connsiteY198" fmla="*/ 1434609 h 2422364"/>
                <a:gd name="connsiteX199" fmla="*/ 4300726 w 4488985"/>
                <a:gd name="connsiteY199" fmla="*/ 1434445 h 2422364"/>
                <a:gd name="connsiteX200" fmla="*/ 4290710 w 4488985"/>
                <a:gd name="connsiteY200" fmla="*/ 1449072 h 2422364"/>
                <a:gd name="connsiteX201" fmla="*/ 4279458 w 4488985"/>
                <a:gd name="connsiteY201" fmla="*/ 1451541 h 2422364"/>
                <a:gd name="connsiteX202" fmla="*/ 4278168 w 4488985"/>
                <a:gd name="connsiteY202" fmla="*/ 1460570 h 2422364"/>
                <a:gd name="connsiteX203" fmla="*/ 4267081 w 4488985"/>
                <a:gd name="connsiteY203" fmla="*/ 1465620 h 2422364"/>
                <a:gd name="connsiteX204" fmla="*/ 4264858 w 4488985"/>
                <a:gd name="connsiteY204" fmla="*/ 1473276 h 2422364"/>
                <a:gd name="connsiteX205" fmla="*/ 4260028 w 4488985"/>
                <a:gd name="connsiteY205" fmla="*/ 1475938 h 2422364"/>
                <a:gd name="connsiteX206" fmla="*/ 4255583 w 4488985"/>
                <a:gd name="connsiteY206" fmla="*/ 1483759 h 2422364"/>
                <a:gd name="connsiteX207" fmla="*/ 4245648 w 4488985"/>
                <a:gd name="connsiteY207" fmla="*/ 1488096 h 2422364"/>
                <a:gd name="connsiteX208" fmla="*/ 4216805 w 4488985"/>
                <a:gd name="connsiteY208" fmla="*/ 1512547 h 2422364"/>
                <a:gd name="connsiteX209" fmla="*/ 4204923 w 4488985"/>
                <a:gd name="connsiteY209" fmla="*/ 1537685 h 2422364"/>
                <a:gd name="connsiteX210" fmla="*/ 4195071 w 4488985"/>
                <a:gd name="connsiteY210" fmla="*/ 1531702 h 2422364"/>
                <a:gd name="connsiteX211" fmla="*/ 4182090 w 4488985"/>
                <a:gd name="connsiteY211" fmla="*/ 1510407 h 2422364"/>
                <a:gd name="connsiteX212" fmla="*/ 4168039 w 4488985"/>
                <a:gd name="connsiteY212" fmla="*/ 1503656 h 2422364"/>
                <a:gd name="connsiteX213" fmla="*/ 4147979 w 4488985"/>
                <a:gd name="connsiteY213" fmla="*/ 1501625 h 2422364"/>
                <a:gd name="connsiteX214" fmla="*/ 4110272 w 4488985"/>
                <a:gd name="connsiteY214" fmla="*/ 1515758 h 2422364"/>
                <a:gd name="connsiteX215" fmla="*/ 4085079 w 4488985"/>
                <a:gd name="connsiteY215" fmla="*/ 1544738 h 2422364"/>
                <a:gd name="connsiteX216" fmla="*/ 4082198 w 4488985"/>
                <a:gd name="connsiteY216" fmla="*/ 1541774 h 2422364"/>
                <a:gd name="connsiteX217" fmla="*/ 4086232 w 4488985"/>
                <a:gd name="connsiteY217" fmla="*/ 1516554 h 2422364"/>
                <a:gd name="connsiteX218" fmla="*/ 4084695 w 4488985"/>
                <a:gd name="connsiteY218" fmla="*/ 1510901 h 2422364"/>
                <a:gd name="connsiteX219" fmla="*/ 4056786 w 4488985"/>
                <a:gd name="connsiteY219" fmla="*/ 1529699 h 2422364"/>
                <a:gd name="connsiteX220" fmla="*/ 4047372 w 4488985"/>
                <a:gd name="connsiteY220" fmla="*/ 1545369 h 2422364"/>
                <a:gd name="connsiteX221" fmla="*/ 4031840 w 4488985"/>
                <a:gd name="connsiteY221" fmla="*/ 1532471 h 2422364"/>
                <a:gd name="connsiteX222" fmla="*/ 4015484 w 4488985"/>
                <a:gd name="connsiteY222" fmla="*/ 1537164 h 2422364"/>
                <a:gd name="connsiteX223" fmla="*/ 4004644 w 4488985"/>
                <a:gd name="connsiteY223" fmla="*/ 1545287 h 2422364"/>
                <a:gd name="connsiteX224" fmla="*/ 3997509 w 4488985"/>
                <a:gd name="connsiteY224" fmla="*/ 1562192 h 2422364"/>
                <a:gd name="connsiteX225" fmla="*/ 3997509 w 4488985"/>
                <a:gd name="connsiteY225" fmla="*/ 1575392 h 2422364"/>
                <a:gd name="connsiteX226" fmla="*/ 3992679 w 4488985"/>
                <a:gd name="connsiteY226" fmla="*/ 1585957 h 2422364"/>
                <a:gd name="connsiteX227" fmla="*/ 3989138 w 4488985"/>
                <a:gd name="connsiteY227" fmla="*/ 1588345 h 2422364"/>
                <a:gd name="connsiteX228" fmla="*/ 3987108 w 4488985"/>
                <a:gd name="connsiteY228" fmla="*/ 1598855 h 2422364"/>
                <a:gd name="connsiteX229" fmla="*/ 3969818 w 4488985"/>
                <a:gd name="connsiteY229" fmla="*/ 1619465 h 2422364"/>
                <a:gd name="connsiteX230" fmla="*/ 3964852 w 4488985"/>
                <a:gd name="connsiteY230" fmla="*/ 1629893 h 2422364"/>
                <a:gd name="connsiteX231" fmla="*/ 3961119 w 4488985"/>
                <a:gd name="connsiteY231" fmla="*/ 1646222 h 2422364"/>
                <a:gd name="connsiteX232" fmla="*/ 3963260 w 4488985"/>
                <a:gd name="connsiteY232" fmla="*/ 1656293 h 2422364"/>
                <a:gd name="connsiteX233" fmla="*/ 3967459 w 4488985"/>
                <a:gd name="connsiteY233" fmla="*/ 1660684 h 2422364"/>
                <a:gd name="connsiteX234" fmla="*/ 3972645 w 4488985"/>
                <a:gd name="connsiteY234" fmla="*/ 1661343 h 2422364"/>
                <a:gd name="connsiteX235" fmla="*/ 3980577 w 4488985"/>
                <a:gd name="connsiteY235" fmla="*/ 1655223 h 2422364"/>
                <a:gd name="connsiteX236" fmla="*/ 3995779 w 4488985"/>
                <a:gd name="connsiteY236" fmla="*/ 1665048 h 2422364"/>
                <a:gd name="connsiteX237" fmla="*/ 3992185 w 4488985"/>
                <a:gd name="connsiteY237" fmla="*/ 1677150 h 2422364"/>
                <a:gd name="connsiteX238" fmla="*/ 3984336 w 4488985"/>
                <a:gd name="connsiteY238" fmla="*/ 1688621 h 2422364"/>
                <a:gd name="connsiteX239" fmla="*/ 3983787 w 4488985"/>
                <a:gd name="connsiteY239" fmla="*/ 1709094 h 2422364"/>
                <a:gd name="connsiteX240" fmla="*/ 3987163 w 4488985"/>
                <a:gd name="connsiteY240" fmla="*/ 1719577 h 2422364"/>
                <a:gd name="connsiteX241" fmla="*/ 3996191 w 4488985"/>
                <a:gd name="connsiteY241" fmla="*/ 1723721 h 2422364"/>
                <a:gd name="connsiteX242" fmla="*/ 3997646 w 4488985"/>
                <a:gd name="connsiteY242" fmla="*/ 1748667 h 2422364"/>
                <a:gd name="connsiteX243" fmla="*/ 3990154 w 4488985"/>
                <a:gd name="connsiteY243" fmla="*/ 1755912 h 2422364"/>
                <a:gd name="connsiteX244" fmla="*/ 3976597 w 4488985"/>
                <a:gd name="connsiteY244" fmla="*/ 1748310 h 2422364"/>
                <a:gd name="connsiteX245" fmla="*/ 3963287 w 4488985"/>
                <a:gd name="connsiteY245" fmla="*/ 1755665 h 2422364"/>
                <a:gd name="connsiteX246" fmla="*/ 3954561 w 4488985"/>
                <a:gd name="connsiteY246" fmla="*/ 1775972 h 2422364"/>
                <a:gd name="connsiteX247" fmla="*/ 3952776 w 4488985"/>
                <a:gd name="connsiteY247" fmla="*/ 1787224 h 2422364"/>
                <a:gd name="connsiteX248" fmla="*/ 3955219 w 4488985"/>
                <a:gd name="connsiteY248" fmla="*/ 1803141 h 2422364"/>
                <a:gd name="connsiteX249" fmla="*/ 3961613 w 4488985"/>
                <a:gd name="connsiteY249" fmla="*/ 1816780 h 2422364"/>
                <a:gd name="connsiteX250" fmla="*/ 3960680 w 4488985"/>
                <a:gd name="connsiteY250" fmla="*/ 1824272 h 2422364"/>
                <a:gd name="connsiteX251" fmla="*/ 3948605 w 4488985"/>
                <a:gd name="connsiteY251" fmla="*/ 1835057 h 2422364"/>
                <a:gd name="connsiteX252" fmla="*/ 3925114 w 4488985"/>
                <a:gd name="connsiteY252" fmla="*/ 1834398 h 2422364"/>
                <a:gd name="connsiteX253" fmla="*/ 3904230 w 4488985"/>
                <a:gd name="connsiteY253" fmla="*/ 1851688 h 2422364"/>
                <a:gd name="connsiteX254" fmla="*/ 3900361 w 4488985"/>
                <a:gd name="connsiteY254" fmla="*/ 1858521 h 2422364"/>
                <a:gd name="connsiteX255" fmla="*/ 3897507 w 4488985"/>
                <a:gd name="connsiteY255" fmla="*/ 1870623 h 2422364"/>
                <a:gd name="connsiteX256" fmla="*/ 3899729 w 4488985"/>
                <a:gd name="connsiteY256" fmla="*/ 1901881 h 2422364"/>
                <a:gd name="connsiteX257" fmla="*/ 3888176 w 4488985"/>
                <a:gd name="connsiteY257" fmla="*/ 1900015 h 2422364"/>
                <a:gd name="connsiteX258" fmla="*/ 3865014 w 4488985"/>
                <a:gd name="connsiteY258" fmla="*/ 1913297 h 2422364"/>
                <a:gd name="connsiteX259" fmla="*/ 3857220 w 4488985"/>
                <a:gd name="connsiteY259" fmla="*/ 1911349 h 2422364"/>
                <a:gd name="connsiteX260" fmla="*/ 3858647 w 4488985"/>
                <a:gd name="connsiteY260" fmla="*/ 1919389 h 2422364"/>
                <a:gd name="connsiteX261" fmla="*/ 3856891 w 4488985"/>
                <a:gd name="connsiteY261" fmla="*/ 1931656 h 2422364"/>
                <a:gd name="connsiteX262" fmla="*/ 3857632 w 4488985"/>
                <a:gd name="connsiteY262" fmla="*/ 1943402 h 2422364"/>
                <a:gd name="connsiteX263" fmla="*/ 3849700 w 4488985"/>
                <a:gd name="connsiteY263" fmla="*/ 1960719 h 2422364"/>
                <a:gd name="connsiteX264" fmla="*/ 3838943 w 4488985"/>
                <a:gd name="connsiteY264" fmla="*/ 1976196 h 2422364"/>
                <a:gd name="connsiteX265" fmla="*/ 3807246 w 4488985"/>
                <a:gd name="connsiteY265" fmla="*/ 2005505 h 2422364"/>
                <a:gd name="connsiteX266" fmla="*/ 3799013 w 4488985"/>
                <a:gd name="connsiteY266" fmla="*/ 1987311 h 2422364"/>
                <a:gd name="connsiteX267" fmla="*/ 3796709 w 4488985"/>
                <a:gd name="connsiteY267" fmla="*/ 1955175 h 2422364"/>
                <a:gd name="connsiteX268" fmla="*/ 3787295 w 4488985"/>
                <a:gd name="connsiteY268" fmla="*/ 1915273 h 2422364"/>
                <a:gd name="connsiteX269" fmla="*/ 3771845 w 4488985"/>
                <a:gd name="connsiteY269" fmla="*/ 1813404 h 2422364"/>
                <a:gd name="connsiteX270" fmla="*/ 3770445 w 4488985"/>
                <a:gd name="connsiteY270" fmla="*/ 1790737 h 2422364"/>
                <a:gd name="connsiteX271" fmla="*/ 3773080 w 4488985"/>
                <a:gd name="connsiteY271" fmla="*/ 1764336 h 2422364"/>
                <a:gd name="connsiteX272" fmla="*/ 3783646 w 4488985"/>
                <a:gd name="connsiteY272" fmla="*/ 1722980 h 2422364"/>
                <a:gd name="connsiteX273" fmla="*/ 3803898 w 4488985"/>
                <a:gd name="connsiteY273" fmla="*/ 1698775 h 2422364"/>
                <a:gd name="connsiteX274" fmla="*/ 3809579 w 4488985"/>
                <a:gd name="connsiteY274" fmla="*/ 1688210 h 2422364"/>
                <a:gd name="connsiteX275" fmla="*/ 3811363 w 4488985"/>
                <a:gd name="connsiteY275" fmla="*/ 1678605 h 2422364"/>
                <a:gd name="connsiteX276" fmla="*/ 3810732 w 4488985"/>
                <a:gd name="connsiteY276" fmla="*/ 1662084 h 2422364"/>
                <a:gd name="connsiteX277" fmla="*/ 3823191 w 4488985"/>
                <a:gd name="connsiteY277" fmla="*/ 1661700 h 2422364"/>
                <a:gd name="connsiteX278" fmla="*/ 3834086 w 4488985"/>
                <a:gd name="connsiteY278" fmla="*/ 1651326 h 2422364"/>
                <a:gd name="connsiteX279" fmla="*/ 3852417 w 4488985"/>
                <a:gd name="connsiteY279" fmla="*/ 1645344 h 2422364"/>
                <a:gd name="connsiteX280" fmla="*/ 3875168 w 4488985"/>
                <a:gd name="connsiteY280" fmla="*/ 1624185 h 2422364"/>
                <a:gd name="connsiteX281" fmla="*/ 3890316 w 4488985"/>
                <a:gd name="connsiteY281" fmla="*/ 1604344 h 2422364"/>
                <a:gd name="connsiteX282" fmla="*/ 3897918 w 4488985"/>
                <a:gd name="connsiteY282" fmla="*/ 1587549 h 2422364"/>
                <a:gd name="connsiteX283" fmla="*/ 3916387 w 4488985"/>
                <a:gd name="connsiteY283" fmla="*/ 1563920 h 2422364"/>
                <a:gd name="connsiteX284" fmla="*/ 3928023 w 4488985"/>
                <a:gd name="connsiteY284" fmla="*/ 1556236 h 2422364"/>
                <a:gd name="connsiteX285" fmla="*/ 3954011 w 4488985"/>
                <a:gd name="connsiteY285" fmla="*/ 1526955 h 2422364"/>
                <a:gd name="connsiteX286" fmla="*/ 3961092 w 4488985"/>
                <a:gd name="connsiteY286" fmla="*/ 1511614 h 2422364"/>
                <a:gd name="connsiteX287" fmla="*/ 3989496 w 4488985"/>
                <a:gd name="connsiteY287" fmla="*/ 1491197 h 2422364"/>
                <a:gd name="connsiteX288" fmla="*/ 4008349 w 4488985"/>
                <a:gd name="connsiteY288" fmla="*/ 1484720 h 2422364"/>
                <a:gd name="connsiteX289" fmla="*/ 4007114 w 4488985"/>
                <a:gd name="connsiteY289" fmla="*/ 1474758 h 2422364"/>
                <a:gd name="connsiteX290" fmla="*/ 4017322 w 4488985"/>
                <a:gd name="connsiteY290" fmla="*/ 1457853 h 2422364"/>
                <a:gd name="connsiteX291" fmla="*/ 4013837 w 4488985"/>
                <a:gd name="connsiteY291" fmla="*/ 1445504 h 2422364"/>
                <a:gd name="connsiteX292" fmla="*/ 4020039 w 4488985"/>
                <a:gd name="connsiteY292" fmla="*/ 1430410 h 2422364"/>
                <a:gd name="connsiteX293" fmla="*/ 4024238 w 4488985"/>
                <a:gd name="connsiteY293" fmla="*/ 1400607 h 2422364"/>
                <a:gd name="connsiteX294" fmla="*/ 4034749 w 4488985"/>
                <a:gd name="connsiteY294" fmla="*/ 1388971 h 2422364"/>
                <a:gd name="connsiteX295" fmla="*/ 4046220 w 4488985"/>
                <a:gd name="connsiteY295" fmla="*/ 1386776 h 2422364"/>
                <a:gd name="connsiteX296" fmla="*/ 4046988 w 4488985"/>
                <a:gd name="connsiteY296" fmla="*/ 1383702 h 2422364"/>
                <a:gd name="connsiteX297" fmla="*/ 4032882 w 4488985"/>
                <a:gd name="connsiteY297" fmla="*/ 1373219 h 2422364"/>
                <a:gd name="connsiteX298" fmla="*/ 3999787 w 4488985"/>
                <a:gd name="connsiteY298" fmla="*/ 1382989 h 2422364"/>
                <a:gd name="connsiteX299" fmla="*/ 3993365 w 4488985"/>
                <a:gd name="connsiteY299" fmla="*/ 1402775 h 2422364"/>
                <a:gd name="connsiteX300" fmla="*/ 3991114 w 4488985"/>
                <a:gd name="connsiteY300" fmla="*/ 1422397 h 2422364"/>
                <a:gd name="connsiteX301" fmla="*/ 3996191 w 4488985"/>
                <a:gd name="connsiteY301" fmla="*/ 1432825 h 2422364"/>
                <a:gd name="connsiteX302" fmla="*/ 3994957 w 4488985"/>
                <a:gd name="connsiteY302" fmla="*/ 1438945 h 2422364"/>
                <a:gd name="connsiteX303" fmla="*/ 3990483 w 4488985"/>
                <a:gd name="connsiteY303" fmla="*/ 1441799 h 2422364"/>
                <a:gd name="connsiteX304" fmla="*/ 3983293 w 4488985"/>
                <a:gd name="connsiteY304" fmla="*/ 1435076 h 2422364"/>
                <a:gd name="connsiteX305" fmla="*/ 3972508 w 4488985"/>
                <a:gd name="connsiteY305" fmla="*/ 1437710 h 2422364"/>
                <a:gd name="connsiteX306" fmla="*/ 3932798 w 4488985"/>
                <a:gd name="connsiteY306" fmla="*/ 1478957 h 2422364"/>
                <a:gd name="connsiteX307" fmla="*/ 3924126 w 4488985"/>
                <a:gd name="connsiteY307" fmla="*/ 1491224 h 2422364"/>
                <a:gd name="connsiteX308" fmla="*/ 3909170 w 4488985"/>
                <a:gd name="connsiteY308" fmla="*/ 1499018 h 2422364"/>
                <a:gd name="connsiteX309" fmla="*/ 3907139 w 4488985"/>
                <a:gd name="connsiteY309" fmla="*/ 1494792 h 2422364"/>
                <a:gd name="connsiteX310" fmla="*/ 3910185 w 4488985"/>
                <a:gd name="connsiteY310" fmla="*/ 1478298 h 2422364"/>
                <a:gd name="connsiteX311" fmla="*/ 3899592 w 4488985"/>
                <a:gd name="connsiteY311" fmla="*/ 1475829 h 2422364"/>
                <a:gd name="connsiteX312" fmla="*/ 3897287 w 4488985"/>
                <a:gd name="connsiteY312" fmla="*/ 1459857 h 2422364"/>
                <a:gd name="connsiteX313" fmla="*/ 3908730 w 4488985"/>
                <a:gd name="connsiteY313" fmla="*/ 1441635 h 2422364"/>
                <a:gd name="connsiteX314" fmla="*/ 3911502 w 4488985"/>
                <a:gd name="connsiteY314" fmla="*/ 1431590 h 2422364"/>
                <a:gd name="connsiteX315" fmla="*/ 3910295 w 4488985"/>
                <a:gd name="connsiteY315" fmla="*/ 1423165 h 2422364"/>
                <a:gd name="connsiteX316" fmla="*/ 3891579 w 4488985"/>
                <a:gd name="connsiteY316" fmla="*/ 1433841 h 2422364"/>
                <a:gd name="connsiteX317" fmla="*/ 3876979 w 4488985"/>
                <a:gd name="connsiteY317" fmla="*/ 1421107 h 2422364"/>
                <a:gd name="connsiteX318" fmla="*/ 3844212 w 4488985"/>
                <a:gd name="connsiteY318" fmla="*/ 1430712 h 2422364"/>
                <a:gd name="connsiteX319" fmla="*/ 3830490 w 4488985"/>
                <a:gd name="connsiteY319" fmla="*/ 1429971 h 2422364"/>
                <a:gd name="connsiteX320" fmla="*/ 3808180 w 4488985"/>
                <a:gd name="connsiteY320" fmla="*/ 1443418 h 2422364"/>
                <a:gd name="connsiteX321" fmla="*/ 3800002 w 4488985"/>
                <a:gd name="connsiteY321" fmla="*/ 1464385 h 2422364"/>
                <a:gd name="connsiteX322" fmla="*/ 3783782 w 4488985"/>
                <a:gd name="connsiteY322" fmla="*/ 1480082 h 2422364"/>
                <a:gd name="connsiteX323" fmla="*/ 3776428 w 4488985"/>
                <a:gd name="connsiteY323" fmla="*/ 1496136 h 2422364"/>
                <a:gd name="connsiteX324" fmla="*/ 3741575 w 4488985"/>
                <a:gd name="connsiteY324" fmla="*/ 1528656 h 2422364"/>
                <a:gd name="connsiteX325" fmla="*/ 3736993 w 4488985"/>
                <a:gd name="connsiteY325" fmla="*/ 1540594 h 2422364"/>
                <a:gd name="connsiteX326" fmla="*/ 3732382 w 4488985"/>
                <a:gd name="connsiteY326" fmla="*/ 1546302 h 2422364"/>
                <a:gd name="connsiteX327" fmla="*/ 3730296 w 4488985"/>
                <a:gd name="connsiteY327" fmla="*/ 1564552 h 2422364"/>
                <a:gd name="connsiteX328" fmla="*/ 3752991 w 4488985"/>
                <a:gd name="connsiteY328" fmla="*/ 1567927 h 2422364"/>
                <a:gd name="connsiteX329" fmla="*/ 3758261 w 4488985"/>
                <a:gd name="connsiteY329" fmla="*/ 1576928 h 2422364"/>
                <a:gd name="connsiteX330" fmla="*/ 3757438 w 4488985"/>
                <a:gd name="connsiteY330" fmla="*/ 1581319 h 2422364"/>
                <a:gd name="connsiteX331" fmla="*/ 3754309 w 4488985"/>
                <a:gd name="connsiteY331" fmla="*/ 1583762 h 2422364"/>
                <a:gd name="connsiteX332" fmla="*/ 3738145 w 4488985"/>
                <a:gd name="connsiteY332" fmla="*/ 1583679 h 2422364"/>
                <a:gd name="connsiteX333" fmla="*/ 3726344 w 4488985"/>
                <a:gd name="connsiteY333" fmla="*/ 1589909 h 2422364"/>
                <a:gd name="connsiteX334" fmla="*/ 3709193 w 4488985"/>
                <a:gd name="connsiteY334" fmla="*/ 1583158 h 2422364"/>
                <a:gd name="connsiteX335" fmla="*/ 3691382 w 4488985"/>
                <a:gd name="connsiteY335" fmla="*/ 1597209 h 2422364"/>
                <a:gd name="connsiteX336" fmla="*/ 3677194 w 4488985"/>
                <a:gd name="connsiteY336" fmla="*/ 1593504 h 2422364"/>
                <a:gd name="connsiteX337" fmla="*/ 3665805 w 4488985"/>
                <a:gd name="connsiteY337" fmla="*/ 1600255 h 2422364"/>
                <a:gd name="connsiteX338" fmla="*/ 3650053 w 4488985"/>
                <a:gd name="connsiteY338" fmla="*/ 1602066 h 2422364"/>
                <a:gd name="connsiteX339" fmla="*/ 3643823 w 4488985"/>
                <a:gd name="connsiteY339" fmla="*/ 1589854 h 2422364"/>
                <a:gd name="connsiteX340" fmla="*/ 3651261 w 4488985"/>
                <a:gd name="connsiteY340" fmla="*/ 1585546 h 2422364"/>
                <a:gd name="connsiteX341" fmla="*/ 3665997 w 4488985"/>
                <a:gd name="connsiteY341" fmla="*/ 1585189 h 2422364"/>
                <a:gd name="connsiteX342" fmla="*/ 3668659 w 4488985"/>
                <a:gd name="connsiteY342" fmla="*/ 1580716 h 2422364"/>
                <a:gd name="connsiteX343" fmla="*/ 3659329 w 4488985"/>
                <a:gd name="connsiteY343" fmla="*/ 1575145 h 2422364"/>
                <a:gd name="connsiteX344" fmla="*/ 3647528 w 4488985"/>
                <a:gd name="connsiteY344" fmla="*/ 1561780 h 2422364"/>
                <a:gd name="connsiteX345" fmla="*/ 3637731 w 4488985"/>
                <a:gd name="connsiteY345" fmla="*/ 1562301 h 2422364"/>
                <a:gd name="connsiteX346" fmla="*/ 3630953 w 4488985"/>
                <a:gd name="connsiteY346" fmla="*/ 1566720 h 2422364"/>
                <a:gd name="connsiteX347" fmla="*/ 3623873 w 4488985"/>
                <a:gd name="connsiteY347" fmla="*/ 1561149 h 2422364"/>
                <a:gd name="connsiteX348" fmla="*/ 3596814 w 4488985"/>
                <a:gd name="connsiteY348" fmla="*/ 1551845 h 2422364"/>
                <a:gd name="connsiteX349" fmla="*/ 3583778 w 4488985"/>
                <a:gd name="connsiteY349" fmla="*/ 1557060 h 2422364"/>
                <a:gd name="connsiteX350" fmla="*/ 3580650 w 4488985"/>
                <a:gd name="connsiteY350" fmla="*/ 1566034 h 2422364"/>
                <a:gd name="connsiteX351" fmla="*/ 3572526 w 4488985"/>
                <a:gd name="connsiteY351" fmla="*/ 1567653 h 2422364"/>
                <a:gd name="connsiteX352" fmla="*/ 3571731 w 4488985"/>
                <a:gd name="connsiteY352" fmla="*/ 1570781 h 2422364"/>
                <a:gd name="connsiteX353" fmla="*/ 3574063 w 4488985"/>
                <a:gd name="connsiteY353" fmla="*/ 1575858 h 2422364"/>
                <a:gd name="connsiteX354" fmla="*/ 3570935 w 4488985"/>
                <a:gd name="connsiteY354" fmla="*/ 1579481 h 2422364"/>
                <a:gd name="connsiteX355" fmla="*/ 3563937 w 4488985"/>
                <a:gd name="connsiteY355" fmla="*/ 1579042 h 2422364"/>
                <a:gd name="connsiteX356" fmla="*/ 3554497 w 4488985"/>
                <a:gd name="connsiteY356" fmla="*/ 1572044 h 2422364"/>
                <a:gd name="connsiteX357" fmla="*/ 3534025 w 4488985"/>
                <a:gd name="connsiteY357" fmla="*/ 1577862 h 2422364"/>
                <a:gd name="connsiteX358" fmla="*/ 3505154 w 4488985"/>
                <a:gd name="connsiteY358" fmla="*/ 1569272 h 2422364"/>
                <a:gd name="connsiteX359" fmla="*/ 3500324 w 4488985"/>
                <a:gd name="connsiteY359" fmla="*/ 1572428 h 2422364"/>
                <a:gd name="connsiteX360" fmla="*/ 3496922 w 4488985"/>
                <a:gd name="connsiteY360" fmla="*/ 1582115 h 2422364"/>
                <a:gd name="connsiteX361" fmla="*/ 3492942 w 4488985"/>
                <a:gd name="connsiteY361" fmla="*/ 1584091 h 2422364"/>
                <a:gd name="connsiteX362" fmla="*/ 3487700 w 4488985"/>
                <a:gd name="connsiteY362" fmla="*/ 1581319 h 2422364"/>
                <a:gd name="connsiteX363" fmla="*/ 3485615 w 4488985"/>
                <a:gd name="connsiteY363" fmla="*/ 1572812 h 2422364"/>
                <a:gd name="connsiteX364" fmla="*/ 3480867 w 4488985"/>
                <a:gd name="connsiteY364" fmla="*/ 1571577 h 2422364"/>
                <a:gd name="connsiteX365" fmla="*/ 3404795 w 4488985"/>
                <a:gd name="connsiteY365" fmla="*/ 1575172 h 2422364"/>
                <a:gd name="connsiteX366" fmla="*/ 3379026 w 4488985"/>
                <a:gd name="connsiteY366" fmla="*/ 1588948 h 2422364"/>
                <a:gd name="connsiteX367" fmla="*/ 3358691 w 4488985"/>
                <a:gd name="connsiteY367" fmla="*/ 1615733 h 2422364"/>
                <a:gd name="connsiteX368" fmla="*/ 3337697 w 4488985"/>
                <a:gd name="connsiteY368" fmla="*/ 1633132 h 2422364"/>
                <a:gd name="connsiteX369" fmla="*/ 3325321 w 4488985"/>
                <a:gd name="connsiteY369" fmla="*/ 1659230 h 2422364"/>
                <a:gd name="connsiteX370" fmla="*/ 3314481 w 4488985"/>
                <a:gd name="connsiteY370" fmla="*/ 1666694 h 2422364"/>
                <a:gd name="connsiteX371" fmla="*/ 3305095 w 4488985"/>
                <a:gd name="connsiteY371" fmla="*/ 1679318 h 2422364"/>
                <a:gd name="connsiteX372" fmla="*/ 3287586 w 4488985"/>
                <a:gd name="connsiteY372" fmla="*/ 1693177 h 2422364"/>
                <a:gd name="connsiteX373" fmla="*/ 3267828 w 4488985"/>
                <a:gd name="connsiteY373" fmla="*/ 1714390 h 2422364"/>
                <a:gd name="connsiteX374" fmla="*/ 3244610 w 4488985"/>
                <a:gd name="connsiteY374" fmla="*/ 1750835 h 2422364"/>
                <a:gd name="connsiteX375" fmla="*/ 3209593 w 4488985"/>
                <a:gd name="connsiteY375" fmla="*/ 1781379 h 2422364"/>
                <a:gd name="connsiteX376" fmla="*/ 3201059 w 4488985"/>
                <a:gd name="connsiteY376" fmla="*/ 1792328 h 2422364"/>
                <a:gd name="connsiteX377" fmla="*/ 3199384 w 4488985"/>
                <a:gd name="connsiteY377" fmla="*/ 1794469 h 2422364"/>
                <a:gd name="connsiteX378" fmla="*/ 3180723 w 4488985"/>
                <a:gd name="connsiteY378" fmla="*/ 1809124 h 2422364"/>
                <a:gd name="connsiteX379" fmla="*/ 3179790 w 4488985"/>
                <a:gd name="connsiteY379" fmla="*/ 1809865 h 2422364"/>
                <a:gd name="connsiteX380" fmla="*/ 3173561 w 4488985"/>
                <a:gd name="connsiteY380" fmla="*/ 1819222 h 2422364"/>
                <a:gd name="connsiteX381" fmla="*/ 3176442 w 4488985"/>
                <a:gd name="connsiteY381" fmla="*/ 1825123 h 2422364"/>
                <a:gd name="connsiteX382" fmla="*/ 3180723 w 4488985"/>
                <a:gd name="connsiteY382" fmla="*/ 1827428 h 2422364"/>
                <a:gd name="connsiteX383" fmla="*/ 3188188 w 4488985"/>
                <a:gd name="connsiteY383" fmla="*/ 1831435 h 2422364"/>
                <a:gd name="connsiteX384" fmla="*/ 3199384 w 4488985"/>
                <a:gd name="connsiteY384" fmla="*/ 1832203 h 2422364"/>
                <a:gd name="connsiteX385" fmla="*/ 3217936 w 4488985"/>
                <a:gd name="connsiteY385" fmla="*/ 1832834 h 2422364"/>
                <a:gd name="connsiteX386" fmla="*/ 3218375 w 4488985"/>
                <a:gd name="connsiteY386" fmla="*/ 1852099 h 2422364"/>
                <a:gd name="connsiteX387" fmla="*/ 3216893 w 4488985"/>
                <a:gd name="connsiteY387" fmla="*/ 1863680 h 2422364"/>
                <a:gd name="connsiteX388" fmla="*/ 3218567 w 4488985"/>
                <a:gd name="connsiteY388" fmla="*/ 1869361 h 2422364"/>
                <a:gd name="connsiteX389" fmla="*/ 3228529 w 4488985"/>
                <a:gd name="connsiteY389" fmla="*/ 1868483 h 2422364"/>
                <a:gd name="connsiteX390" fmla="*/ 3236515 w 4488985"/>
                <a:gd name="connsiteY390" fmla="*/ 1861540 h 2422364"/>
                <a:gd name="connsiteX391" fmla="*/ 3244391 w 4488985"/>
                <a:gd name="connsiteY391" fmla="*/ 1864586 h 2422364"/>
                <a:gd name="connsiteX392" fmla="*/ 3236268 w 4488985"/>
                <a:gd name="connsiteY392" fmla="*/ 1878527 h 2422364"/>
                <a:gd name="connsiteX393" fmla="*/ 3238217 w 4488985"/>
                <a:gd name="connsiteY393" fmla="*/ 1883247 h 2422364"/>
                <a:gd name="connsiteX394" fmla="*/ 3252459 w 4488985"/>
                <a:gd name="connsiteY394" fmla="*/ 1880777 h 2422364"/>
                <a:gd name="connsiteX395" fmla="*/ 3268212 w 4488985"/>
                <a:gd name="connsiteY395" fmla="*/ 1866232 h 2422364"/>
                <a:gd name="connsiteX396" fmla="*/ 3269254 w 4488985"/>
                <a:gd name="connsiteY396" fmla="*/ 1870815 h 2422364"/>
                <a:gd name="connsiteX397" fmla="*/ 3265522 w 4488985"/>
                <a:gd name="connsiteY397" fmla="*/ 1881051 h 2422364"/>
                <a:gd name="connsiteX398" fmla="*/ 3268788 w 4488985"/>
                <a:gd name="connsiteY398" fmla="*/ 1881436 h 2422364"/>
                <a:gd name="connsiteX399" fmla="*/ 3274029 w 4488985"/>
                <a:gd name="connsiteY399" fmla="*/ 1869964 h 2422364"/>
                <a:gd name="connsiteX400" fmla="*/ 3275127 w 4488985"/>
                <a:gd name="connsiteY400" fmla="*/ 1855337 h 2422364"/>
                <a:gd name="connsiteX401" fmla="*/ 3277514 w 4488985"/>
                <a:gd name="connsiteY401" fmla="*/ 1849437 h 2422364"/>
                <a:gd name="connsiteX402" fmla="*/ 3307729 w 4488985"/>
                <a:gd name="connsiteY402" fmla="*/ 1850480 h 2422364"/>
                <a:gd name="connsiteX403" fmla="*/ 3319201 w 4488985"/>
                <a:gd name="connsiteY403" fmla="*/ 1862171 h 2422364"/>
                <a:gd name="connsiteX404" fmla="*/ 3327077 w 4488985"/>
                <a:gd name="connsiteY404" fmla="*/ 1875673 h 2422364"/>
                <a:gd name="connsiteX405" fmla="*/ 3352654 w 4488985"/>
                <a:gd name="connsiteY405" fmla="*/ 1897462 h 2422364"/>
                <a:gd name="connsiteX406" fmla="*/ 3352983 w 4488985"/>
                <a:gd name="connsiteY406" fmla="*/ 1901606 h 2422364"/>
                <a:gd name="connsiteX407" fmla="*/ 3351117 w 4488985"/>
                <a:gd name="connsiteY407" fmla="*/ 1905448 h 2422364"/>
                <a:gd name="connsiteX408" fmla="*/ 3342033 w 4488985"/>
                <a:gd name="connsiteY408" fmla="*/ 1910855 h 2422364"/>
                <a:gd name="connsiteX409" fmla="*/ 3348427 w 4488985"/>
                <a:gd name="connsiteY409" fmla="*/ 1924439 h 2422364"/>
                <a:gd name="connsiteX410" fmla="*/ 3347824 w 4488985"/>
                <a:gd name="connsiteY410" fmla="*/ 1938819 h 2422364"/>
                <a:gd name="connsiteX411" fmla="*/ 3354739 w 4488985"/>
                <a:gd name="connsiteY411" fmla="*/ 1951690 h 2422364"/>
                <a:gd name="connsiteX412" fmla="*/ 3351172 w 4488985"/>
                <a:gd name="connsiteY412" fmla="*/ 1963600 h 2422364"/>
                <a:gd name="connsiteX413" fmla="*/ 3337916 w 4488985"/>
                <a:gd name="connsiteY413" fmla="*/ 1982096 h 2422364"/>
                <a:gd name="connsiteX414" fmla="*/ 3327625 w 4488985"/>
                <a:gd name="connsiteY414" fmla="*/ 2016510 h 2422364"/>
                <a:gd name="connsiteX415" fmla="*/ 3327625 w 4488985"/>
                <a:gd name="connsiteY415" fmla="*/ 2036845 h 2422364"/>
                <a:gd name="connsiteX416" fmla="*/ 3330096 w 4488985"/>
                <a:gd name="connsiteY416" fmla="*/ 2049140 h 2422364"/>
                <a:gd name="connsiteX417" fmla="*/ 3326994 w 4488985"/>
                <a:gd name="connsiteY417" fmla="*/ 2057839 h 2422364"/>
                <a:gd name="connsiteX418" fmla="*/ 3327379 w 4488985"/>
                <a:gd name="connsiteY418" fmla="*/ 2072960 h 2422364"/>
                <a:gd name="connsiteX419" fmla="*/ 3323839 w 4488985"/>
                <a:gd name="connsiteY419" fmla="*/ 2086984 h 2422364"/>
                <a:gd name="connsiteX420" fmla="*/ 3322604 w 4488985"/>
                <a:gd name="connsiteY420" fmla="*/ 2100239 h 2422364"/>
                <a:gd name="connsiteX421" fmla="*/ 3316511 w 4488985"/>
                <a:gd name="connsiteY421" fmla="*/ 2121150 h 2422364"/>
                <a:gd name="connsiteX422" fmla="*/ 3293185 w 4488985"/>
                <a:gd name="connsiteY422" fmla="*/ 2149993 h 2422364"/>
                <a:gd name="connsiteX423" fmla="*/ 3283580 w 4488985"/>
                <a:gd name="connsiteY423" fmla="*/ 2169944 h 2422364"/>
                <a:gd name="connsiteX424" fmla="*/ 3270873 w 4488985"/>
                <a:gd name="connsiteY424" fmla="*/ 2186272 h 2422364"/>
                <a:gd name="connsiteX425" fmla="*/ 3262723 w 4488985"/>
                <a:gd name="connsiteY425" fmla="*/ 2206635 h 2422364"/>
                <a:gd name="connsiteX426" fmla="*/ 3246340 w 4488985"/>
                <a:gd name="connsiteY426" fmla="*/ 2233941 h 2422364"/>
                <a:gd name="connsiteX427" fmla="*/ 3219939 w 4488985"/>
                <a:gd name="connsiteY427" fmla="*/ 2262399 h 2422364"/>
                <a:gd name="connsiteX428" fmla="*/ 3199384 w 4488985"/>
                <a:gd name="connsiteY428" fmla="*/ 2290281 h 2422364"/>
                <a:gd name="connsiteX429" fmla="*/ 3190960 w 4488985"/>
                <a:gd name="connsiteY429" fmla="*/ 2297746 h 2422364"/>
                <a:gd name="connsiteX430" fmla="*/ 3180723 w 4488985"/>
                <a:gd name="connsiteY430" fmla="*/ 2316050 h 2422364"/>
                <a:gd name="connsiteX431" fmla="*/ 3168676 w 4488985"/>
                <a:gd name="connsiteY431" fmla="*/ 2331638 h 2422364"/>
                <a:gd name="connsiteX432" fmla="*/ 3133988 w 4488985"/>
                <a:gd name="connsiteY432" fmla="*/ 2356227 h 2422364"/>
                <a:gd name="connsiteX433" fmla="*/ 3110031 w 4488985"/>
                <a:gd name="connsiteY433" fmla="*/ 2363417 h 2422364"/>
                <a:gd name="connsiteX434" fmla="*/ 3098834 w 4488985"/>
                <a:gd name="connsiteY434" fmla="*/ 2357818 h 2422364"/>
                <a:gd name="connsiteX435" fmla="*/ 3089201 w 4488985"/>
                <a:gd name="connsiteY435" fmla="*/ 2356117 h 2422364"/>
                <a:gd name="connsiteX436" fmla="*/ 3086731 w 4488985"/>
                <a:gd name="connsiteY436" fmla="*/ 2343658 h 2422364"/>
                <a:gd name="connsiteX437" fmla="*/ 3077483 w 4488985"/>
                <a:gd name="connsiteY437" fmla="*/ 2347170 h 2422364"/>
                <a:gd name="connsiteX438" fmla="*/ 3076248 w 4488985"/>
                <a:gd name="connsiteY438" fmla="*/ 2341408 h 2422364"/>
                <a:gd name="connsiteX439" fmla="*/ 3073559 w 4488985"/>
                <a:gd name="connsiteY439" fmla="*/ 2340694 h 2422364"/>
                <a:gd name="connsiteX440" fmla="*/ 3062142 w 4488985"/>
                <a:gd name="connsiteY440" fmla="*/ 2353016 h 2422364"/>
                <a:gd name="connsiteX441" fmla="*/ 3054321 w 4488985"/>
                <a:gd name="connsiteY441" fmla="*/ 2365255 h 2422364"/>
                <a:gd name="connsiteX442" fmla="*/ 3041834 w 4488985"/>
                <a:gd name="connsiteY442" fmla="*/ 2366930 h 2422364"/>
                <a:gd name="connsiteX443" fmla="*/ 3042658 w 4488985"/>
                <a:gd name="connsiteY443" fmla="*/ 2372583 h 2422364"/>
                <a:gd name="connsiteX444" fmla="*/ 3040901 w 4488985"/>
                <a:gd name="connsiteY444" fmla="*/ 2376178 h 2422364"/>
                <a:gd name="connsiteX445" fmla="*/ 3038651 w 4488985"/>
                <a:gd name="connsiteY445" fmla="*/ 2380816 h 2422364"/>
                <a:gd name="connsiteX446" fmla="*/ 3037443 w 4488985"/>
                <a:gd name="connsiteY446" fmla="*/ 2375629 h 2422364"/>
                <a:gd name="connsiteX447" fmla="*/ 3035880 w 4488985"/>
                <a:gd name="connsiteY447" fmla="*/ 2366902 h 2422364"/>
                <a:gd name="connsiteX448" fmla="*/ 3033464 w 4488985"/>
                <a:gd name="connsiteY448" fmla="*/ 2362347 h 2422364"/>
                <a:gd name="connsiteX449" fmla="*/ 3051055 w 4488985"/>
                <a:gd name="connsiteY449" fmla="*/ 2354059 h 2422364"/>
                <a:gd name="connsiteX450" fmla="*/ 3056352 w 4488985"/>
                <a:gd name="connsiteY450" fmla="*/ 2336413 h 2422364"/>
                <a:gd name="connsiteX451" fmla="*/ 3054513 w 4488985"/>
                <a:gd name="connsiteY451" fmla="*/ 2327412 h 2422364"/>
                <a:gd name="connsiteX452" fmla="*/ 3055967 w 4488985"/>
                <a:gd name="connsiteY452" fmla="*/ 2305649 h 2422364"/>
                <a:gd name="connsiteX453" fmla="*/ 3048530 w 4488985"/>
                <a:gd name="connsiteY453" fmla="*/ 2276725 h 2422364"/>
                <a:gd name="connsiteX454" fmla="*/ 3062334 w 4488985"/>
                <a:gd name="connsiteY454" fmla="*/ 2270742 h 2422364"/>
                <a:gd name="connsiteX455" fmla="*/ 3074272 w 4488985"/>
                <a:gd name="connsiteY455" fmla="*/ 2258008 h 2422364"/>
                <a:gd name="connsiteX456" fmla="*/ 3102456 w 4488985"/>
                <a:gd name="connsiteY456" fmla="*/ 2268107 h 2422364"/>
                <a:gd name="connsiteX457" fmla="*/ 3107917 w 4488985"/>
                <a:gd name="connsiteY457" fmla="*/ 2266269 h 2422364"/>
                <a:gd name="connsiteX458" fmla="*/ 3112308 w 4488985"/>
                <a:gd name="connsiteY458" fmla="*/ 2251230 h 2422364"/>
                <a:gd name="connsiteX459" fmla="*/ 3118812 w 4488985"/>
                <a:gd name="connsiteY459" fmla="*/ 2243820 h 2422364"/>
                <a:gd name="connsiteX460" fmla="*/ 3121748 w 4488985"/>
                <a:gd name="connsiteY460" fmla="*/ 2234874 h 2422364"/>
                <a:gd name="connsiteX461" fmla="*/ 3132753 w 4488985"/>
                <a:gd name="connsiteY461" fmla="*/ 2216597 h 2422364"/>
                <a:gd name="connsiteX462" fmla="*/ 3133192 w 4488985"/>
                <a:gd name="connsiteY462" fmla="*/ 2206882 h 2422364"/>
                <a:gd name="connsiteX463" fmla="*/ 3142935 w 4488985"/>
                <a:gd name="connsiteY463" fmla="*/ 2172551 h 2422364"/>
                <a:gd name="connsiteX464" fmla="*/ 3152100 w 4488985"/>
                <a:gd name="connsiteY464" fmla="*/ 2164263 h 2422364"/>
                <a:gd name="connsiteX465" fmla="*/ 3156875 w 4488985"/>
                <a:gd name="connsiteY465" fmla="*/ 2156085 h 2422364"/>
                <a:gd name="connsiteX466" fmla="*/ 3154158 w 4488985"/>
                <a:gd name="connsiteY466" fmla="*/ 2142254 h 2422364"/>
                <a:gd name="connsiteX467" fmla="*/ 3156574 w 4488985"/>
                <a:gd name="connsiteY467" fmla="*/ 2130893 h 2422364"/>
                <a:gd name="connsiteX468" fmla="*/ 3155750 w 4488985"/>
                <a:gd name="connsiteY468" fmla="*/ 2126584 h 2422364"/>
                <a:gd name="connsiteX469" fmla="*/ 3142962 w 4488985"/>
                <a:gd name="connsiteY469" fmla="*/ 2126200 h 2422364"/>
                <a:gd name="connsiteX470" fmla="*/ 3122571 w 4488985"/>
                <a:gd name="connsiteY470" fmla="*/ 2136079 h 2422364"/>
                <a:gd name="connsiteX471" fmla="*/ 3109646 w 4488985"/>
                <a:gd name="connsiteY471" fmla="*/ 2137671 h 2422364"/>
                <a:gd name="connsiteX472" fmla="*/ 3098367 w 4488985"/>
                <a:gd name="connsiteY472" fmla="*/ 2145025 h 2422364"/>
                <a:gd name="connsiteX473" fmla="*/ 3091397 w 4488985"/>
                <a:gd name="connsiteY473" fmla="*/ 2153835 h 2422364"/>
                <a:gd name="connsiteX474" fmla="*/ 3074245 w 4488985"/>
                <a:gd name="connsiteY474" fmla="*/ 2156387 h 2422364"/>
                <a:gd name="connsiteX475" fmla="*/ 3049546 w 4488985"/>
                <a:gd name="connsiteY475" fmla="*/ 2154301 h 2422364"/>
                <a:gd name="connsiteX476" fmla="*/ 3040243 w 4488985"/>
                <a:gd name="connsiteY476" fmla="*/ 2139702 h 2422364"/>
                <a:gd name="connsiteX477" fmla="*/ 3042082 w 4488985"/>
                <a:gd name="connsiteY477" fmla="*/ 2127544 h 2422364"/>
                <a:gd name="connsiteX478" fmla="*/ 3035989 w 4488985"/>
                <a:gd name="connsiteY478" fmla="*/ 2114921 h 2422364"/>
                <a:gd name="connsiteX479" fmla="*/ 3036428 w 4488985"/>
                <a:gd name="connsiteY479" fmla="*/ 2104273 h 2422364"/>
                <a:gd name="connsiteX480" fmla="*/ 3022487 w 4488985"/>
                <a:gd name="connsiteY480" fmla="*/ 2099909 h 2422364"/>
                <a:gd name="connsiteX481" fmla="*/ 3002701 w 4488985"/>
                <a:gd name="connsiteY481" fmla="*/ 2079601 h 2422364"/>
                <a:gd name="connsiteX482" fmla="*/ 2992657 w 4488985"/>
                <a:gd name="connsiteY482" fmla="*/ 2080699 h 2422364"/>
                <a:gd name="connsiteX483" fmla="*/ 2981130 w 4488985"/>
                <a:gd name="connsiteY483" fmla="*/ 2072549 h 2422364"/>
                <a:gd name="connsiteX484" fmla="*/ 2964335 w 4488985"/>
                <a:gd name="connsiteY484" fmla="*/ 2072768 h 2422364"/>
                <a:gd name="connsiteX485" fmla="*/ 2950504 w 4488985"/>
                <a:gd name="connsiteY485" fmla="*/ 2065523 h 2422364"/>
                <a:gd name="connsiteX486" fmla="*/ 2946360 w 4488985"/>
                <a:gd name="connsiteY486" fmla="*/ 2056961 h 2422364"/>
                <a:gd name="connsiteX487" fmla="*/ 2946580 w 4488985"/>
                <a:gd name="connsiteY487" fmla="*/ 2042746 h 2422364"/>
                <a:gd name="connsiteX488" fmla="*/ 2940789 w 4488985"/>
                <a:gd name="connsiteY488" fmla="*/ 2035857 h 2422364"/>
                <a:gd name="connsiteX489" fmla="*/ 2938758 w 4488985"/>
                <a:gd name="connsiteY489" fmla="*/ 2019776 h 2422364"/>
                <a:gd name="connsiteX490" fmla="*/ 2928193 w 4488985"/>
                <a:gd name="connsiteY490" fmla="*/ 2002047 h 2422364"/>
                <a:gd name="connsiteX491" fmla="*/ 2926574 w 4488985"/>
                <a:gd name="connsiteY491" fmla="*/ 1988024 h 2422364"/>
                <a:gd name="connsiteX492" fmla="*/ 2915817 w 4488985"/>
                <a:gd name="connsiteY492" fmla="*/ 1962228 h 2422364"/>
                <a:gd name="connsiteX493" fmla="*/ 2915624 w 4488985"/>
                <a:gd name="connsiteY493" fmla="*/ 1953281 h 2422364"/>
                <a:gd name="connsiteX494" fmla="*/ 2911343 w 4488985"/>
                <a:gd name="connsiteY494" fmla="*/ 1948287 h 2422364"/>
                <a:gd name="connsiteX495" fmla="*/ 2908901 w 4488985"/>
                <a:gd name="connsiteY495" fmla="*/ 1937913 h 2422364"/>
                <a:gd name="connsiteX496" fmla="*/ 2901793 w 4488985"/>
                <a:gd name="connsiteY496" fmla="*/ 1928692 h 2422364"/>
                <a:gd name="connsiteX497" fmla="*/ 2900997 w 4488985"/>
                <a:gd name="connsiteY497" fmla="*/ 1921475 h 2422364"/>
                <a:gd name="connsiteX498" fmla="*/ 2893039 w 4488985"/>
                <a:gd name="connsiteY498" fmla="*/ 1916261 h 2422364"/>
                <a:gd name="connsiteX499" fmla="*/ 2889471 w 4488985"/>
                <a:gd name="connsiteY499" fmla="*/ 1908303 h 2422364"/>
                <a:gd name="connsiteX500" fmla="*/ 2879784 w 4488985"/>
                <a:gd name="connsiteY500" fmla="*/ 1903088 h 2422364"/>
                <a:gd name="connsiteX501" fmla="*/ 2865513 w 4488985"/>
                <a:gd name="connsiteY501" fmla="*/ 1903582 h 2422364"/>
                <a:gd name="connsiteX502" fmla="*/ 2838647 w 4488985"/>
                <a:gd name="connsiteY502" fmla="*/ 1887720 h 2422364"/>
                <a:gd name="connsiteX503" fmla="*/ 2823992 w 4488985"/>
                <a:gd name="connsiteY503" fmla="*/ 1884208 h 2422364"/>
                <a:gd name="connsiteX504" fmla="*/ 2808349 w 4488985"/>
                <a:gd name="connsiteY504" fmla="*/ 1887885 h 2422364"/>
                <a:gd name="connsiteX505" fmla="*/ 2791801 w 4488985"/>
                <a:gd name="connsiteY505" fmla="*/ 1887528 h 2422364"/>
                <a:gd name="connsiteX506" fmla="*/ 2751845 w 4488985"/>
                <a:gd name="connsiteY506" fmla="*/ 1897325 h 2422364"/>
                <a:gd name="connsiteX507" fmla="*/ 2727914 w 4488985"/>
                <a:gd name="connsiteY507" fmla="*/ 1920624 h 2422364"/>
                <a:gd name="connsiteX508" fmla="*/ 2726569 w 4488985"/>
                <a:gd name="connsiteY508" fmla="*/ 1925509 h 2422364"/>
                <a:gd name="connsiteX509" fmla="*/ 2727996 w 4488985"/>
                <a:gd name="connsiteY509" fmla="*/ 1929296 h 2422364"/>
                <a:gd name="connsiteX510" fmla="*/ 2737958 w 4488985"/>
                <a:gd name="connsiteY510" fmla="*/ 1929187 h 2422364"/>
                <a:gd name="connsiteX511" fmla="*/ 2743310 w 4488985"/>
                <a:gd name="connsiteY511" fmla="*/ 1932672 h 2422364"/>
                <a:gd name="connsiteX512" fmla="*/ 2746520 w 4488985"/>
                <a:gd name="connsiteY512" fmla="*/ 1953419 h 2422364"/>
                <a:gd name="connsiteX513" fmla="*/ 2742651 w 4488985"/>
                <a:gd name="connsiteY513" fmla="*/ 1962694 h 2422364"/>
                <a:gd name="connsiteX514" fmla="*/ 2726378 w 4488985"/>
                <a:gd name="connsiteY514" fmla="*/ 1978227 h 2422364"/>
                <a:gd name="connsiteX515" fmla="*/ 2716773 w 4488985"/>
                <a:gd name="connsiteY515" fmla="*/ 2002487 h 2422364"/>
                <a:gd name="connsiteX516" fmla="*/ 2703435 w 4488985"/>
                <a:gd name="connsiteY516" fmla="*/ 2026884 h 2422364"/>
                <a:gd name="connsiteX517" fmla="*/ 2701706 w 4488985"/>
                <a:gd name="connsiteY517" fmla="*/ 2034156 h 2422364"/>
                <a:gd name="connsiteX518" fmla="*/ 2704972 w 4488985"/>
                <a:gd name="connsiteY518" fmla="*/ 2040879 h 2422364"/>
                <a:gd name="connsiteX519" fmla="*/ 2700114 w 4488985"/>
                <a:gd name="connsiteY519" fmla="*/ 2050073 h 2422364"/>
                <a:gd name="connsiteX520" fmla="*/ 2683045 w 4488985"/>
                <a:gd name="connsiteY520" fmla="*/ 2056165 h 2422364"/>
                <a:gd name="connsiteX521" fmla="*/ 2668610 w 4488985"/>
                <a:gd name="connsiteY521" fmla="*/ 2068569 h 2422364"/>
                <a:gd name="connsiteX522" fmla="*/ 2659609 w 4488985"/>
                <a:gd name="connsiteY522" fmla="*/ 2073070 h 2422364"/>
                <a:gd name="connsiteX523" fmla="*/ 2640344 w 4488985"/>
                <a:gd name="connsiteY523" fmla="*/ 2067115 h 2422364"/>
                <a:gd name="connsiteX524" fmla="*/ 2628324 w 4488985"/>
                <a:gd name="connsiteY524" fmla="*/ 2059376 h 2422364"/>
                <a:gd name="connsiteX525" fmla="*/ 2623850 w 4488985"/>
                <a:gd name="connsiteY525" fmla="*/ 2055205 h 2422364"/>
                <a:gd name="connsiteX526" fmla="*/ 2613559 w 4488985"/>
                <a:gd name="connsiteY526" fmla="*/ 2051692 h 2422364"/>
                <a:gd name="connsiteX527" fmla="*/ 2600331 w 4488985"/>
                <a:gd name="connsiteY527" fmla="*/ 2056933 h 2422364"/>
                <a:gd name="connsiteX528" fmla="*/ 2589821 w 4488985"/>
                <a:gd name="connsiteY528" fmla="*/ 2056412 h 2422364"/>
                <a:gd name="connsiteX529" fmla="*/ 2575962 w 4488985"/>
                <a:gd name="connsiteY529" fmla="*/ 2043843 h 2422364"/>
                <a:gd name="connsiteX530" fmla="*/ 2555682 w 4488985"/>
                <a:gd name="connsiteY530" fmla="*/ 2041072 h 2422364"/>
                <a:gd name="connsiteX531" fmla="*/ 2535264 w 4488985"/>
                <a:gd name="connsiteY531" fmla="*/ 2052707 h 2422364"/>
                <a:gd name="connsiteX532" fmla="*/ 2525934 w 4488985"/>
                <a:gd name="connsiteY532" fmla="*/ 2060336 h 2422364"/>
                <a:gd name="connsiteX533" fmla="*/ 2520528 w 4488985"/>
                <a:gd name="connsiteY533" fmla="*/ 2070106 h 2422364"/>
                <a:gd name="connsiteX534" fmla="*/ 2513694 w 4488985"/>
                <a:gd name="connsiteY534" fmla="*/ 2074195 h 2422364"/>
                <a:gd name="connsiteX535" fmla="*/ 2503980 w 4488985"/>
                <a:gd name="connsiteY535" fmla="*/ 2073729 h 2422364"/>
                <a:gd name="connsiteX536" fmla="*/ 2488611 w 4488985"/>
                <a:gd name="connsiteY536" fmla="*/ 2079492 h 2422364"/>
                <a:gd name="connsiteX537" fmla="*/ 2471789 w 4488985"/>
                <a:gd name="connsiteY537" fmla="*/ 2081632 h 2422364"/>
                <a:gd name="connsiteX538" fmla="*/ 2453375 w 4488985"/>
                <a:gd name="connsiteY538" fmla="*/ 2090606 h 2422364"/>
                <a:gd name="connsiteX539" fmla="*/ 2443166 w 4488985"/>
                <a:gd name="connsiteY539" fmla="*/ 2087368 h 2422364"/>
                <a:gd name="connsiteX540" fmla="*/ 2435756 w 4488985"/>
                <a:gd name="connsiteY540" fmla="*/ 2089892 h 2422364"/>
                <a:gd name="connsiteX541" fmla="*/ 2419620 w 4488985"/>
                <a:gd name="connsiteY541" fmla="*/ 2087642 h 2422364"/>
                <a:gd name="connsiteX542" fmla="*/ 2407216 w 4488985"/>
                <a:gd name="connsiteY542" fmla="*/ 2081989 h 2422364"/>
                <a:gd name="connsiteX543" fmla="*/ 2388554 w 4488985"/>
                <a:gd name="connsiteY543" fmla="*/ 2082126 h 2422364"/>
                <a:gd name="connsiteX544" fmla="*/ 2373104 w 4488985"/>
                <a:gd name="connsiteY544" fmla="*/ 2069557 h 2422364"/>
                <a:gd name="connsiteX545" fmla="*/ 2369701 w 4488985"/>
                <a:gd name="connsiteY545" fmla="*/ 2056714 h 2422364"/>
                <a:gd name="connsiteX546" fmla="*/ 2347993 w 4488985"/>
                <a:gd name="connsiteY546" fmla="*/ 2051527 h 2422364"/>
                <a:gd name="connsiteX547" fmla="*/ 2340474 w 4488985"/>
                <a:gd name="connsiteY547" fmla="*/ 2041867 h 2422364"/>
                <a:gd name="connsiteX548" fmla="*/ 2333312 w 4488985"/>
                <a:gd name="connsiteY548" fmla="*/ 2037586 h 2422364"/>
                <a:gd name="connsiteX549" fmla="*/ 2321072 w 4488985"/>
                <a:gd name="connsiteY549" fmla="*/ 2038245 h 2422364"/>
                <a:gd name="connsiteX550" fmla="*/ 2312126 w 4488985"/>
                <a:gd name="connsiteY550" fmla="*/ 2033415 h 2422364"/>
                <a:gd name="connsiteX551" fmla="*/ 2294288 w 4488985"/>
                <a:gd name="connsiteY551" fmla="*/ 2030863 h 2422364"/>
                <a:gd name="connsiteX552" fmla="*/ 2266899 w 4488985"/>
                <a:gd name="connsiteY552" fmla="*/ 2038602 h 2422364"/>
                <a:gd name="connsiteX553" fmla="*/ 2257103 w 4488985"/>
                <a:gd name="connsiteY553" fmla="*/ 2044557 h 2422364"/>
                <a:gd name="connsiteX554" fmla="*/ 2244396 w 4488985"/>
                <a:gd name="connsiteY554" fmla="*/ 2045270 h 2422364"/>
                <a:gd name="connsiteX555" fmla="*/ 2222058 w 4488985"/>
                <a:gd name="connsiteY555" fmla="*/ 2037285 h 2422364"/>
                <a:gd name="connsiteX556" fmla="*/ 2205455 w 4488985"/>
                <a:gd name="connsiteY556" fmla="*/ 2024743 h 2422364"/>
                <a:gd name="connsiteX557" fmla="*/ 2202299 w 4488985"/>
                <a:gd name="connsiteY557" fmla="*/ 2011433 h 2422364"/>
                <a:gd name="connsiteX558" fmla="*/ 2200927 w 4488985"/>
                <a:gd name="connsiteY558" fmla="*/ 1992635 h 2422364"/>
                <a:gd name="connsiteX559" fmla="*/ 2197935 w 4488985"/>
                <a:gd name="connsiteY559" fmla="*/ 1988518 h 2422364"/>
                <a:gd name="connsiteX560" fmla="*/ 2175816 w 4488985"/>
                <a:gd name="connsiteY560" fmla="*/ 1983194 h 2422364"/>
                <a:gd name="connsiteX561" fmla="*/ 2153011 w 4488985"/>
                <a:gd name="connsiteY561" fmla="*/ 1971531 h 2422364"/>
                <a:gd name="connsiteX562" fmla="*/ 2135859 w 4488985"/>
                <a:gd name="connsiteY562" fmla="*/ 1969912 h 2422364"/>
                <a:gd name="connsiteX563" fmla="*/ 2105618 w 4488985"/>
                <a:gd name="connsiteY563" fmla="*/ 1953062 h 2422364"/>
                <a:gd name="connsiteX564" fmla="*/ 2098564 w 4488985"/>
                <a:gd name="connsiteY564" fmla="*/ 1966180 h 2422364"/>
                <a:gd name="connsiteX565" fmla="*/ 2088466 w 4488985"/>
                <a:gd name="connsiteY565" fmla="*/ 1972217 h 2422364"/>
                <a:gd name="connsiteX566" fmla="*/ 2084322 w 4488985"/>
                <a:gd name="connsiteY566" fmla="*/ 1983085 h 2422364"/>
                <a:gd name="connsiteX567" fmla="*/ 2079052 w 4488985"/>
                <a:gd name="connsiteY567" fmla="*/ 1986789 h 2422364"/>
                <a:gd name="connsiteX568" fmla="*/ 2076171 w 4488985"/>
                <a:gd name="connsiteY568" fmla="*/ 1992937 h 2422364"/>
                <a:gd name="connsiteX569" fmla="*/ 2073838 w 4488985"/>
                <a:gd name="connsiteY569" fmla="*/ 2006548 h 2422364"/>
                <a:gd name="connsiteX570" fmla="*/ 2076939 w 4488985"/>
                <a:gd name="connsiteY570" fmla="*/ 2011927 h 2422364"/>
                <a:gd name="connsiteX571" fmla="*/ 2078887 w 4488985"/>
                <a:gd name="connsiteY571" fmla="*/ 2021121 h 2422364"/>
                <a:gd name="connsiteX572" fmla="*/ 2086188 w 4488985"/>
                <a:gd name="connsiteY572" fmla="*/ 2027844 h 2422364"/>
                <a:gd name="connsiteX573" fmla="*/ 2084651 w 4488985"/>
                <a:gd name="connsiteY573" fmla="*/ 2040632 h 2422364"/>
                <a:gd name="connsiteX574" fmla="*/ 2075238 w 4488985"/>
                <a:gd name="connsiteY574" fmla="*/ 2052817 h 2422364"/>
                <a:gd name="connsiteX575" fmla="*/ 2067115 w 4488985"/>
                <a:gd name="connsiteY575" fmla="*/ 2055177 h 2422364"/>
                <a:gd name="connsiteX576" fmla="*/ 2058991 w 4488985"/>
                <a:gd name="connsiteY576" fmla="*/ 2062614 h 2422364"/>
                <a:gd name="connsiteX577" fmla="*/ 2054546 w 4488985"/>
                <a:gd name="connsiteY577" fmla="*/ 2062285 h 2422364"/>
                <a:gd name="connsiteX578" fmla="*/ 2046752 w 4488985"/>
                <a:gd name="connsiteY578" fmla="*/ 2056302 h 2422364"/>
                <a:gd name="connsiteX579" fmla="*/ 2036955 w 4488985"/>
                <a:gd name="connsiteY579" fmla="*/ 2054491 h 2422364"/>
                <a:gd name="connsiteX580" fmla="*/ 2031603 w 4488985"/>
                <a:gd name="connsiteY580" fmla="*/ 2056138 h 2422364"/>
                <a:gd name="connsiteX581" fmla="*/ 2024413 w 4488985"/>
                <a:gd name="connsiteY581" fmla="*/ 2052460 h 2422364"/>
                <a:gd name="connsiteX582" fmla="*/ 2014589 w 4488985"/>
                <a:gd name="connsiteY582" fmla="*/ 2051280 h 2422364"/>
                <a:gd name="connsiteX583" fmla="*/ 2002322 w 4488985"/>
                <a:gd name="connsiteY583" fmla="*/ 2055561 h 2422364"/>
                <a:gd name="connsiteX584" fmla="*/ 1993568 w 4488985"/>
                <a:gd name="connsiteY584" fmla="*/ 2054326 h 2422364"/>
                <a:gd name="connsiteX585" fmla="*/ 1987558 w 4488985"/>
                <a:gd name="connsiteY585" fmla="*/ 2050155 h 2422364"/>
                <a:gd name="connsiteX586" fmla="*/ 1979571 w 4488985"/>
                <a:gd name="connsiteY586" fmla="*/ 2050265 h 2422364"/>
                <a:gd name="connsiteX587" fmla="*/ 1972766 w 4488985"/>
                <a:gd name="connsiteY587" fmla="*/ 2042060 h 2422364"/>
                <a:gd name="connsiteX588" fmla="*/ 1969856 w 4488985"/>
                <a:gd name="connsiteY588" fmla="*/ 2030424 h 2422364"/>
                <a:gd name="connsiteX589" fmla="*/ 1967167 w 4488985"/>
                <a:gd name="connsiteY589" fmla="*/ 2026582 h 2422364"/>
                <a:gd name="connsiteX590" fmla="*/ 1934153 w 4488985"/>
                <a:gd name="connsiteY590" fmla="*/ 2025923 h 2422364"/>
                <a:gd name="connsiteX591" fmla="*/ 1931217 w 4488985"/>
                <a:gd name="connsiteY591" fmla="*/ 2023536 h 2422364"/>
                <a:gd name="connsiteX592" fmla="*/ 1929955 w 4488985"/>
                <a:gd name="connsiteY592" fmla="*/ 2017251 h 2422364"/>
                <a:gd name="connsiteX593" fmla="*/ 1920240 w 4488985"/>
                <a:gd name="connsiteY593" fmla="*/ 2019062 h 2422364"/>
                <a:gd name="connsiteX594" fmla="*/ 1912144 w 4488985"/>
                <a:gd name="connsiteY594" fmla="*/ 2012421 h 2422364"/>
                <a:gd name="connsiteX595" fmla="*/ 1909373 w 4488985"/>
                <a:gd name="connsiteY595" fmla="*/ 2016592 h 2422364"/>
                <a:gd name="connsiteX596" fmla="*/ 1907232 w 4488985"/>
                <a:gd name="connsiteY596" fmla="*/ 2019830 h 2422364"/>
                <a:gd name="connsiteX597" fmla="*/ 1894416 w 4488985"/>
                <a:gd name="connsiteY597" fmla="*/ 2019913 h 2422364"/>
                <a:gd name="connsiteX598" fmla="*/ 1888159 w 4488985"/>
                <a:gd name="connsiteY598" fmla="*/ 2026143 h 2422364"/>
                <a:gd name="connsiteX599" fmla="*/ 1883796 w 4488985"/>
                <a:gd name="connsiteY599" fmla="*/ 2030451 h 2422364"/>
                <a:gd name="connsiteX600" fmla="*/ 1877786 w 4488985"/>
                <a:gd name="connsiteY600" fmla="*/ 2031659 h 2422364"/>
                <a:gd name="connsiteX601" fmla="*/ 1870623 w 4488985"/>
                <a:gd name="connsiteY601" fmla="*/ 2033086 h 2422364"/>
                <a:gd name="connsiteX602" fmla="*/ 1861869 w 4488985"/>
                <a:gd name="connsiteY602" fmla="*/ 2041264 h 2422364"/>
                <a:gd name="connsiteX603" fmla="*/ 1848723 w 4488985"/>
                <a:gd name="connsiteY603" fmla="*/ 2046642 h 2422364"/>
                <a:gd name="connsiteX604" fmla="*/ 1844991 w 4488985"/>
                <a:gd name="connsiteY604" fmla="*/ 2048179 h 2422364"/>
                <a:gd name="connsiteX605" fmla="*/ 1840929 w 4488985"/>
                <a:gd name="connsiteY605" fmla="*/ 2053284 h 2422364"/>
                <a:gd name="connsiteX606" fmla="*/ 1832944 w 4488985"/>
                <a:gd name="connsiteY606" fmla="*/ 2055040 h 2422364"/>
                <a:gd name="connsiteX607" fmla="*/ 1831654 w 4488985"/>
                <a:gd name="connsiteY607" fmla="*/ 2057153 h 2422364"/>
                <a:gd name="connsiteX608" fmla="*/ 1834124 w 4488985"/>
                <a:gd name="connsiteY608" fmla="*/ 2062285 h 2422364"/>
                <a:gd name="connsiteX609" fmla="*/ 1832999 w 4488985"/>
                <a:gd name="connsiteY609" fmla="*/ 2065221 h 2422364"/>
                <a:gd name="connsiteX610" fmla="*/ 1824052 w 4488985"/>
                <a:gd name="connsiteY610" fmla="*/ 2070051 h 2422364"/>
                <a:gd name="connsiteX611" fmla="*/ 1820347 w 4488985"/>
                <a:gd name="connsiteY611" fmla="*/ 2069228 h 2422364"/>
                <a:gd name="connsiteX612" fmla="*/ 1816725 w 4488985"/>
                <a:gd name="connsiteY612" fmla="*/ 2074140 h 2422364"/>
                <a:gd name="connsiteX613" fmla="*/ 1810276 w 4488985"/>
                <a:gd name="connsiteY613" fmla="*/ 2074085 h 2422364"/>
                <a:gd name="connsiteX614" fmla="*/ 1806845 w 4488985"/>
                <a:gd name="connsiteY614" fmla="*/ 2076748 h 2422364"/>
                <a:gd name="connsiteX615" fmla="*/ 1791505 w 4488985"/>
                <a:gd name="connsiteY615" fmla="*/ 2076007 h 2422364"/>
                <a:gd name="connsiteX616" fmla="*/ 1787855 w 4488985"/>
                <a:gd name="connsiteY616" fmla="*/ 2080425 h 2422364"/>
                <a:gd name="connsiteX617" fmla="*/ 1787087 w 4488985"/>
                <a:gd name="connsiteY617" fmla="*/ 2086215 h 2422364"/>
                <a:gd name="connsiteX618" fmla="*/ 1778524 w 4488985"/>
                <a:gd name="connsiteY618" fmla="*/ 2089563 h 2422364"/>
                <a:gd name="connsiteX619" fmla="*/ 1763430 w 4488985"/>
                <a:gd name="connsiteY619" fmla="*/ 2093323 h 2422364"/>
                <a:gd name="connsiteX620" fmla="*/ 1747239 w 4488985"/>
                <a:gd name="connsiteY620" fmla="*/ 2074497 h 2422364"/>
                <a:gd name="connsiteX621" fmla="*/ 1744769 w 4488985"/>
                <a:gd name="connsiteY621" fmla="*/ 2063822 h 2422364"/>
                <a:gd name="connsiteX622" fmla="*/ 1728002 w 4488985"/>
                <a:gd name="connsiteY622" fmla="*/ 2074497 h 2422364"/>
                <a:gd name="connsiteX623" fmla="*/ 1704758 w 4488985"/>
                <a:gd name="connsiteY623" fmla="*/ 2069530 h 2422364"/>
                <a:gd name="connsiteX624" fmla="*/ 1694000 w 4488985"/>
                <a:gd name="connsiteY624" fmla="*/ 2051170 h 2422364"/>
                <a:gd name="connsiteX625" fmla="*/ 1676793 w 4488985"/>
                <a:gd name="connsiteY625" fmla="*/ 2040440 h 2422364"/>
                <a:gd name="connsiteX626" fmla="*/ 1670728 w 4488985"/>
                <a:gd name="connsiteY626" fmla="*/ 2026993 h 2422364"/>
                <a:gd name="connsiteX627" fmla="*/ 1663428 w 4488985"/>
                <a:gd name="connsiteY627" fmla="*/ 2016592 h 2422364"/>
                <a:gd name="connsiteX628" fmla="*/ 1649432 w 4488985"/>
                <a:gd name="connsiteY628" fmla="*/ 2007564 h 2422364"/>
                <a:gd name="connsiteX629" fmla="*/ 1639333 w 4488985"/>
                <a:gd name="connsiteY629" fmla="*/ 2007344 h 2422364"/>
                <a:gd name="connsiteX630" fmla="*/ 1620617 w 4488985"/>
                <a:gd name="connsiteY630" fmla="*/ 2016675 h 2422364"/>
                <a:gd name="connsiteX631" fmla="*/ 1596687 w 4488985"/>
                <a:gd name="connsiteY631" fmla="*/ 2016812 h 2422364"/>
                <a:gd name="connsiteX632" fmla="*/ 1582417 w 4488985"/>
                <a:gd name="connsiteY632" fmla="*/ 2006384 h 2422364"/>
                <a:gd name="connsiteX633" fmla="*/ 1578575 w 4488985"/>
                <a:gd name="connsiteY633" fmla="*/ 1997657 h 2422364"/>
                <a:gd name="connsiteX634" fmla="*/ 1569464 w 4488985"/>
                <a:gd name="connsiteY634" fmla="*/ 1994171 h 2422364"/>
                <a:gd name="connsiteX635" fmla="*/ 1563097 w 4488985"/>
                <a:gd name="connsiteY635" fmla="*/ 1998398 h 2422364"/>
                <a:gd name="connsiteX636" fmla="*/ 1557636 w 4488985"/>
                <a:gd name="connsiteY636" fmla="*/ 2009594 h 2422364"/>
                <a:gd name="connsiteX637" fmla="*/ 1549677 w 4488985"/>
                <a:gd name="connsiteY637" fmla="*/ 2011735 h 2422364"/>
                <a:gd name="connsiteX638" fmla="*/ 1523799 w 4488985"/>
                <a:gd name="connsiteY638" fmla="*/ 1962091 h 2422364"/>
                <a:gd name="connsiteX639" fmla="*/ 1491389 w 4488985"/>
                <a:gd name="connsiteY639" fmla="*/ 1904872 h 2422364"/>
                <a:gd name="connsiteX640" fmla="*/ 1482277 w 4488985"/>
                <a:gd name="connsiteY640" fmla="*/ 1892825 h 2422364"/>
                <a:gd name="connsiteX641" fmla="*/ 1446931 w 4488985"/>
                <a:gd name="connsiteY641" fmla="*/ 1858630 h 2422364"/>
                <a:gd name="connsiteX642" fmla="*/ 1446821 w 4488985"/>
                <a:gd name="connsiteY642" fmla="*/ 1854130 h 2422364"/>
                <a:gd name="connsiteX643" fmla="*/ 1453133 w 4488985"/>
                <a:gd name="connsiteY643" fmla="*/ 1849053 h 2422364"/>
                <a:gd name="connsiteX644" fmla="*/ 1453627 w 4488985"/>
                <a:gd name="connsiteY644" fmla="*/ 1842000 h 2422364"/>
                <a:gd name="connsiteX645" fmla="*/ 1438835 w 4488985"/>
                <a:gd name="connsiteY645" fmla="*/ 1844909 h 2422364"/>
                <a:gd name="connsiteX646" fmla="*/ 1419213 w 4488985"/>
                <a:gd name="connsiteY646" fmla="*/ 1854624 h 2422364"/>
                <a:gd name="connsiteX647" fmla="*/ 1410239 w 4488985"/>
                <a:gd name="connsiteY647" fmla="*/ 1864997 h 2422364"/>
                <a:gd name="connsiteX648" fmla="*/ 1389246 w 4488985"/>
                <a:gd name="connsiteY648" fmla="*/ 1876990 h 2422364"/>
                <a:gd name="connsiteX649" fmla="*/ 1382632 w 4488985"/>
                <a:gd name="connsiteY649" fmla="*/ 1884399 h 2422364"/>
                <a:gd name="connsiteX650" fmla="*/ 1368526 w 4488985"/>
                <a:gd name="connsiteY650" fmla="*/ 1880612 h 2422364"/>
                <a:gd name="connsiteX651" fmla="*/ 1355271 w 4488985"/>
                <a:gd name="connsiteY651" fmla="*/ 1885470 h 2422364"/>
                <a:gd name="connsiteX652" fmla="*/ 1352417 w 4488985"/>
                <a:gd name="connsiteY652" fmla="*/ 1882698 h 2422364"/>
                <a:gd name="connsiteX653" fmla="*/ 1351978 w 4488985"/>
                <a:gd name="connsiteY653" fmla="*/ 1878060 h 2422364"/>
                <a:gd name="connsiteX654" fmla="*/ 1360815 w 4488985"/>
                <a:gd name="connsiteY654" fmla="*/ 1865711 h 2422364"/>
                <a:gd name="connsiteX655" fmla="*/ 1360870 w 4488985"/>
                <a:gd name="connsiteY655" fmla="*/ 1860991 h 2422364"/>
                <a:gd name="connsiteX656" fmla="*/ 1349920 w 4488985"/>
                <a:gd name="connsiteY656" fmla="*/ 1862033 h 2422364"/>
                <a:gd name="connsiteX657" fmla="*/ 1333838 w 4488985"/>
                <a:gd name="connsiteY657" fmla="*/ 1856024 h 2422364"/>
                <a:gd name="connsiteX658" fmla="*/ 1330490 w 4488985"/>
                <a:gd name="connsiteY658" fmla="*/ 1862143 h 2422364"/>
                <a:gd name="connsiteX659" fmla="*/ 1328075 w 4488985"/>
                <a:gd name="connsiteY659" fmla="*/ 1862774 h 2422364"/>
                <a:gd name="connsiteX660" fmla="*/ 1322752 w 4488985"/>
                <a:gd name="connsiteY660" fmla="*/ 1851633 h 2422364"/>
                <a:gd name="connsiteX661" fmla="*/ 1317922 w 4488985"/>
                <a:gd name="connsiteY661" fmla="*/ 1846364 h 2422364"/>
                <a:gd name="connsiteX662" fmla="*/ 1314052 w 4488985"/>
                <a:gd name="connsiteY662" fmla="*/ 1850864 h 2422364"/>
                <a:gd name="connsiteX663" fmla="*/ 1301511 w 4488985"/>
                <a:gd name="connsiteY663" fmla="*/ 1854240 h 2422364"/>
                <a:gd name="connsiteX664" fmla="*/ 1289106 w 4488985"/>
                <a:gd name="connsiteY664" fmla="*/ 1852154 h 2422364"/>
                <a:gd name="connsiteX665" fmla="*/ 1286911 w 4488985"/>
                <a:gd name="connsiteY665" fmla="*/ 1846117 h 2422364"/>
                <a:gd name="connsiteX666" fmla="*/ 1289380 w 4488985"/>
                <a:gd name="connsiteY666" fmla="*/ 1838789 h 2422364"/>
                <a:gd name="connsiteX667" fmla="*/ 1290012 w 4488985"/>
                <a:gd name="connsiteY667" fmla="*/ 1828827 h 2422364"/>
                <a:gd name="connsiteX668" fmla="*/ 1282437 w 4488985"/>
                <a:gd name="connsiteY668" fmla="*/ 1806050 h 2422364"/>
                <a:gd name="connsiteX669" fmla="*/ 1277635 w 4488985"/>
                <a:gd name="connsiteY669" fmla="*/ 1798283 h 2422364"/>
                <a:gd name="connsiteX670" fmla="*/ 1269293 w 4488985"/>
                <a:gd name="connsiteY670" fmla="*/ 1797104 h 2422364"/>
                <a:gd name="connsiteX671" fmla="*/ 1258370 w 4488985"/>
                <a:gd name="connsiteY671" fmla="*/ 1801247 h 2422364"/>
                <a:gd name="connsiteX672" fmla="*/ 1244978 w 4488985"/>
                <a:gd name="connsiteY672" fmla="*/ 1794057 h 2422364"/>
                <a:gd name="connsiteX673" fmla="*/ 1226454 w 4488985"/>
                <a:gd name="connsiteY673" fmla="*/ 1790517 h 2422364"/>
                <a:gd name="connsiteX674" fmla="*/ 1204719 w 4488985"/>
                <a:gd name="connsiteY674" fmla="*/ 1802098 h 2422364"/>
                <a:gd name="connsiteX675" fmla="*/ 1196760 w 4488985"/>
                <a:gd name="connsiteY675" fmla="*/ 1812581 h 2422364"/>
                <a:gd name="connsiteX676" fmla="*/ 1142918 w 4488985"/>
                <a:gd name="connsiteY676" fmla="*/ 1828114 h 2422364"/>
                <a:gd name="connsiteX677" fmla="*/ 1122555 w 4488985"/>
                <a:gd name="connsiteY677" fmla="*/ 1829706 h 2422364"/>
                <a:gd name="connsiteX678" fmla="*/ 1109711 w 4488985"/>
                <a:gd name="connsiteY678" fmla="*/ 1842165 h 2422364"/>
                <a:gd name="connsiteX679" fmla="*/ 1095331 w 4488985"/>
                <a:gd name="connsiteY679" fmla="*/ 1841945 h 2422364"/>
                <a:gd name="connsiteX680" fmla="*/ 1059354 w 4488985"/>
                <a:gd name="connsiteY680" fmla="*/ 1850288 h 2422364"/>
                <a:gd name="connsiteX681" fmla="*/ 1034929 w 4488985"/>
                <a:gd name="connsiteY681" fmla="*/ 1862912 h 2422364"/>
                <a:gd name="connsiteX682" fmla="*/ 1028261 w 4488985"/>
                <a:gd name="connsiteY682" fmla="*/ 1859893 h 2422364"/>
                <a:gd name="connsiteX683" fmla="*/ 1015390 w 4488985"/>
                <a:gd name="connsiteY683" fmla="*/ 1862253 h 2422364"/>
                <a:gd name="connsiteX684" fmla="*/ 1002190 w 4488985"/>
                <a:gd name="connsiteY684" fmla="*/ 1859070 h 2422364"/>
                <a:gd name="connsiteX685" fmla="*/ 995384 w 4488985"/>
                <a:gd name="connsiteY685" fmla="*/ 1863351 h 2422364"/>
                <a:gd name="connsiteX686" fmla="*/ 991323 w 4488985"/>
                <a:gd name="connsiteY686" fmla="*/ 1878719 h 2422364"/>
                <a:gd name="connsiteX687" fmla="*/ 1000488 w 4488985"/>
                <a:gd name="connsiteY687" fmla="*/ 1884894 h 2422364"/>
                <a:gd name="connsiteX688" fmla="*/ 997360 w 4488985"/>
                <a:gd name="connsiteY688" fmla="*/ 1889696 h 2422364"/>
                <a:gd name="connsiteX689" fmla="*/ 997360 w 4488985"/>
                <a:gd name="connsiteY689" fmla="*/ 1894471 h 2422364"/>
                <a:gd name="connsiteX690" fmla="*/ 1012755 w 4488985"/>
                <a:gd name="connsiteY690" fmla="*/ 1901195 h 2422364"/>
                <a:gd name="connsiteX691" fmla="*/ 1020193 w 4488985"/>
                <a:gd name="connsiteY691" fmla="*/ 1908549 h 2422364"/>
                <a:gd name="connsiteX692" fmla="*/ 1017284 w 4488985"/>
                <a:gd name="connsiteY692" fmla="*/ 1911184 h 2422364"/>
                <a:gd name="connsiteX693" fmla="*/ 1003260 w 4488985"/>
                <a:gd name="connsiteY693" fmla="*/ 1910141 h 2422364"/>
                <a:gd name="connsiteX694" fmla="*/ 990911 w 4488985"/>
                <a:gd name="connsiteY694" fmla="*/ 1914285 h 2422364"/>
                <a:gd name="connsiteX695" fmla="*/ 983721 w 4488985"/>
                <a:gd name="connsiteY695" fmla="*/ 1925427 h 2422364"/>
                <a:gd name="connsiteX696" fmla="*/ 987865 w 4488985"/>
                <a:gd name="connsiteY696" fmla="*/ 1936678 h 2422364"/>
                <a:gd name="connsiteX697" fmla="*/ 988002 w 4488985"/>
                <a:gd name="connsiteY697" fmla="*/ 1943484 h 2422364"/>
                <a:gd name="connsiteX698" fmla="*/ 965005 w 4488985"/>
                <a:gd name="connsiteY698" fmla="*/ 1961405 h 2422364"/>
                <a:gd name="connsiteX699" fmla="*/ 976092 w 4488985"/>
                <a:gd name="connsiteY699" fmla="*/ 1975099 h 2422364"/>
                <a:gd name="connsiteX700" fmla="*/ 1004632 w 4488985"/>
                <a:gd name="connsiteY700" fmla="*/ 1990137 h 2422364"/>
                <a:gd name="connsiteX701" fmla="*/ 1001860 w 4488985"/>
                <a:gd name="connsiteY701" fmla="*/ 2012257 h 2422364"/>
                <a:gd name="connsiteX702" fmla="*/ 991075 w 4488985"/>
                <a:gd name="connsiteY702" fmla="*/ 2019501 h 2422364"/>
                <a:gd name="connsiteX703" fmla="*/ 973183 w 4488985"/>
                <a:gd name="connsiteY703" fmla="*/ 2020434 h 2422364"/>
                <a:gd name="connsiteX704" fmla="*/ 962837 w 4488985"/>
                <a:gd name="connsiteY704" fmla="*/ 2015796 h 2422364"/>
                <a:gd name="connsiteX705" fmla="*/ 954385 w 4488985"/>
                <a:gd name="connsiteY705" fmla="*/ 2024139 h 2422364"/>
                <a:gd name="connsiteX706" fmla="*/ 946810 w 4488985"/>
                <a:gd name="connsiteY706" fmla="*/ 2026005 h 2422364"/>
                <a:gd name="connsiteX707" fmla="*/ 924773 w 4488985"/>
                <a:gd name="connsiteY707" fmla="*/ 2016483 h 2422364"/>
                <a:gd name="connsiteX708" fmla="*/ 916568 w 4488985"/>
                <a:gd name="connsiteY708" fmla="*/ 2004600 h 2422364"/>
                <a:gd name="connsiteX709" fmla="*/ 907155 w 4488985"/>
                <a:gd name="connsiteY709" fmla="*/ 2000675 h 2422364"/>
                <a:gd name="connsiteX710" fmla="*/ 897001 w 4488985"/>
                <a:gd name="connsiteY710" fmla="*/ 2001718 h 2422364"/>
                <a:gd name="connsiteX711" fmla="*/ 887753 w 4488985"/>
                <a:gd name="connsiteY711" fmla="*/ 2009594 h 2422364"/>
                <a:gd name="connsiteX712" fmla="*/ 874800 w 4488985"/>
                <a:gd name="connsiteY712" fmla="*/ 2003118 h 2422364"/>
                <a:gd name="connsiteX713" fmla="*/ 857621 w 4488985"/>
                <a:gd name="connsiteY713" fmla="*/ 2004929 h 2422364"/>
                <a:gd name="connsiteX714" fmla="*/ 843186 w 4488985"/>
                <a:gd name="connsiteY714" fmla="*/ 2018568 h 2422364"/>
                <a:gd name="connsiteX715" fmla="*/ 833223 w 4488985"/>
                <a:gd name="connsiteY715" fmla="*/ 2023892 h 2422364"/>
                <a:gd name="connsiteX716" fmla="*/ 822685 w 4488985"/>
                <a:gd name="connsiteY716" fmla="*/ 2020133 h 2422364"/>
                <a:gd name="connsiteX717" fmla="*/ 814535 w 4488985"/>
                <a:gd name="connsiteY717" fmla="*/ 2012640 h 2422364"/>
                <a:gd name="connsiteX718" fmla="*/ 808635 w 4488985"/>
                <a:gd name="connsiteY718" fmla="*/ 2012311 h 2422364"/>
                <a:gd name="connsiteX719" fmla="*/ 805012 w 4488985"/>
                <a:gd name="connsiteY719" fmla="*/ 2015138 h 2422364"/>
                <a:gd name="connsiteX720" fmla="*/ 802460 w 4488985"/>
                <a:gd name="connsiteY720" fmla="*/ 2023124 h 2422364"/>
                <a:gd name="connsiteX721" fmla="*/ 799743 w 4488985"/>
                <a:gd name="connsiteY721" fmla="*/ 2024578 h 2422364"/>
                <a:gd name="connsiteX722" fmla="*/ 792608 w 4488985"/>
                <a:gd name="connsiteY722" fmla="*/ 2008744 h 2422364"/>
                <a:gd name="connsiteX723" fmla="*/ 766811 w 4488985"/>
                <a:gd name="connsiteY723" fmla="*/ 1984676 h 2422364"/>
                <a:gd name="connsiteX724" fmla="*/ 744034 w 4488985"/>
                <a:gd name="connsiteY724" fmla="*/ 1983386 h 2422364"/>
                <a:gd name="connsiteX725" fmla="*/ 731383 w 4488985"/>
                <a:gd name="connsiteY725" fmla="*/ 1972985 h 2422364"/>
                <a:gd name="connsiteX726" fmla="*/ 722079 w 4488985"/>
                <a:gd name="connsiteY726" fmla="*/ 1975538 h 2422364"/>
                <a:gd name="connsiteX727" fmla="*/ 714670 w 4488985"/>
                <a:gd name="connsiteY727" fmla="*/ 1981795 h 2422364"/>
                <a:gd name="connsiteX728" fmla="*/ 709099 w 4488985"/>
                <a:gd name="connsiteY728" fmla="*/ 1982289 h 2422364"/>
                <a:gd name="connsiteX729" fmla="*/ 702266 w 4488985"/>
                <a:gd name="connsiteY729" fmla="*/ 1975291 h 2422364"/>
                <a:gd name="connsiteX730" fmla="*/ 691892 w 4488985"/>
                <a:gd name="connsiteY730" fmla="*/ 1972766 h 2422364"/>
                <a:gd name="connsiteX731" fmla="*/ 681931 w 4488985"/>
                <a:gd name="connsiteY731" fmla="*/ 1979572 h 2422364"/>
                <a:gd name="connsiteX732" fmla="*/ 673094 w 4488985"/>
                <a:gd name="connsiteY732" fmla="*/ 1991482 h 2422364"/>
                <a:gd name="connsiteX733" fmla="*/ 651194 w 4488985"/>
                <a:gd name="connsiteY733" fmla="*/ 2001718 h 2422364"/>
                <a:gd name="connsiteX734" fmla="*/ 643153 w 4488985"/>
                <a:gd name="connsiteY734" fmla="*/ 2015193 h 2422364"/>
                <a:gd name="connsiteX735" fmla="*/ 626962 w 4488985"/>
                <a:gd name="connsiteY735" fmla="*/ 2024167 h 2422364"/>
                <a:gd name="connsiteX736" fmla="*/ 630941 w 4488985"/>
                <a:gd name="connsiteY736" fmla="*/ 2047987 h 2422364"/>
                <a:gd name="connsiteX737" fmla="*/ 625700 w 4488985"/>
                <a:gd name="connsiteY737" fmla="*/ 2056522 h 2422364"/>
                <a:gd name="connsiteX738" fmla="*/ 616589 w 4488985"/>
                <a:gd name="connsiteY738" fmla="*/ 2058031 h 2422364"/>
                <a:gd name="connsiteX739" fmla="*/ 601275 w 4488985"/>
                <a:gd name="connsiteY739" fmla="*/ 2037998 h 2422364"/>
                <a:gd name="connsiteX740" fmla="*/ 592384 w 4488985"/>
                <a:gd name="connsiteY740" fmla="*/ 2034787 h 2422364"/>
                <a:gd name="connsiteX741" fmla="*/ 588185 w 4488985"/>
                <a:gd name="connsiteY741" fmla="*/ 2039507 h 2422364"/>
                <a:gd name="connsiteX742" fmla="*/ 583794 w 4488985"/>
                <a:gd name="connsiteY742" fmla="*/ 2052433 h 2422364"/>
                <a:gd name="connsiteX743" fmla="*/ 574875 w 4488985"/>
                <a:gd name="connsiteY743" fmla="*/ 2063547 h 2422364"/>
                <a:gd name="connsiteX744" fmla="*/ 572735 w 4488985"/>
                <a:gd name="connsiteY744" fmla="*/ 2080315 h 2422364"/>
                <a:gd name="connsiteX745" fmla="*/ 577125 w 4488985"/>
                <a:gd name="connsiteY745" fmla="*/ 2092253 h 2422364"/>
                <a:gd name="connsiteX746" fmla="*/ 570237 w 4488985"/>
                <a:gd name="connsiteY746" fmla="*/ 2104602 h 2422364"/>
                <a:gd name="connsiteX747" fmla="*/ 565929 w 4488985"/>
                <a:gd name="connsiteY747" fmla="*/ 2120080 h 2422364"/>
                <a:gd name="connsiteX748" fmla="*/ 579458 w 4488985"/>
                <a:gd name="connsiteY748" fmla="*/ 2133609 h 2422364"/>
                <a:gd name="connsiteX749" fmla="*/ 580830 w 4488985"/>
                <a:gd name="connsiteY749" fmla="*/ 2145273 h 2422364"/>
                <a:gd name="connsiteX750" fmla="*/ 585276 w 4488985"/>
                <a:gd name="connsiteY750" fmla="*/ 2153094 h 2422364"/>
                <a:gd name="connsiteX751" fmla="*/ 606764 w 4488985"/>
                <a:gd name="connsiteY751" fmla="*/ 2153341 h 2422364"/>
                <a:gd name="connsiteX752" fmla="*/ 624135 w 4488985"/>
                <a:gd name="connsiteY752" fmla="*/ 2169505 h 2422364"/>
                <a:gd name="connsiteX753" fmla="*/ 634948 w 4488985"/>
                <a:gd name="connsiteY753" fmla="*/ 2194423 h 2422364"/>
                <a:gd name="connsiteX754" fmla="*/ 632258 w 4488985"/>
                <a:gd name="connsiteY754" fmla="*/ 2197908 h 2422364"/>
                <a:gd name="connsiteX755" fmla="*/ 625508 w 4488985"/>
                <a:gd name="connsiteY755" fmla="*/ 2197414 h 2422364"/>
                <a:gd name="connsiteX756" fmla="*/ 624053 w 4488985"/>
                <a:gd name="connsiteY756" fmla="*/ 2200186 h 2422364"/>
                <a:gd name="connsiteX757" fmla="*/ 642907 w 4488985"/>
                <a:gd name="connsiteY757" fmla="*/ 2214292 h 2422364"/>
                <a:gd name="connsiteX758" fmla="*/ 633905 w 4488985"/>
                <a:gd name="connsiteY758" fmla="*/ 2229907 h 2422364"/>
                <a:gd name="connsiteX759" fmla="*/ 632231 w 4488985"/>
                <a:gd name="connsiteY759" fmla="*/ 2229440 h 2422364"/>
                <a:gd name="connsiteX760" fmla="*/ 634124 w 4488985"/>
                <a:gd name="connsiteY760" fmla="*/ 2224747 h 2422364"/>
                <a:gd name="connsiteX761" fmla="*/ 627922 w 4488985"/>
                <a:gd name="connsiteY761" fmla="*/ 2225790 h 2422364"/>
                <a:gd name="connsiteX762" fmla="*/ 628307 w 4488985"/>
                <a:gd name="connsiteY762" fmla="*/ 2233804 h 2422364"/>
                <a:gd name="connsiteX763" fmla="*/ 622270 w 4488985"/>
                <a:gd name="connsiteY763" fmla="*/ 2231334 h 2422364"/>
                <a:gd name="connsiteX764" fmla="*/ 618208 w 4488985"/>
                <a:gd name="connsiteY764" fmla="*/ 2237975 h 2422364"/>
                <a:gd name="connsiteX765" fmla="*/ 615683 w 4488985"/>
                <a:gd name="connsiteY765" fmla="*/ 2236767 h 2422364"/>
                <a:gd name="connsiteX766" fmla="*/ 601605 w 4488985"/>
                <a:gd name="connsiteY766" fmla="*/ 2243601 h 2422364"/>
                <a:gd name="connsiteX767" fmla="*/ 596665 w 4488985"/>
                <a:gd name="connsiteY767" fmla="*/ 2242421 h 2422364"/>
                <a:gd name="connsiteX768" fmla="*/ 580666 w 4488985"/>
                <a:gd name="connsiteY768" fmla="*/ 2276121 h 2422364"/>
                <a:gd name="connsiteX769" fmla="*/ 576165 w 4488985"/>
                <a:gd name="connsiteY769" fmla="*/ 2279963 h 2422364"/>
                <a:gd name="connsiteX770" fmla="*/ 571555 w 4488985"/>
                <a:gd name="connsiteY770" fmla="*/ 2283915 h 2422364"/>
                <a:gd name="connsiteX771" fmla="*/ 569359 w 4488985"/>
                <a:gd name="connsiteY771" fmla="*/ 2291406 h 2422364"/>
                <a:gd name="connsiteX772" fmla="*/ 570622 w 4488985"/>
                <a:gd name="connsiteY772" fmla="*/ 2294645 h 2422364"/>
                <a:gd name="connsiteX773" fmla="*/ 576165 w 4488985"/>
                <a:gd name="connsiteY773" fmla="*/ 2296785 h 2422364"/>
                <a:gd name="connsiteX774" fmla="*/ 577592 w 4488985"/>
                <a:gd name="connsiteY774" fmla="*/ 2297361 h 2422364"/>
                <a:gd name="connsiteX775" fmla="*/ 584864 w 4488985"/>
                <a:gd name="connsiteY775" fmla="*/ 2304168 h 2422364"/>
                <a:gd name="connsiteX776" fmla="*/ 592137 w 4488985"/>
                <a:gd name="connsiteY776" fmla="*/ 2318822 h 2422364"/>
                <a:gd name="connsiteX777" fmla="*/ 597296 w 4488985"/>
                <a:gd name="connsiteY777" fmla="*/ 2317038 h 2422364"/>
                <a:gd name="connsiteX778" fmla="*/ 593262 w 4488985"/>
                <a:gd name="connsiteY778" fmla="*/ 2331446 h 2422364"/>
                <a:gd name="connsiteX779" fmla="*/ 592494 w 4488985"/>
                <a:gd name="connsiteY779" fmla="*/ 2334300 h 2422364"/>
                <a:gd name="connsiteX780" fmla="*/ 593866 w 4488985"/>
                <a:gd name="connsiteY780" fmla="*/ 2340886 h 2422364"/>
                <a:gd name="connsiteX781" fmla="*/ 591863 w 4488985"/>
                <a:gd name="connsiteY781" fmla="*/ 2350464 h 2422364"/>
                <a:gd name="connsiteX782" fmla="*/ 597571 w 4488985"/>
                <a:gd name="connsiteY782" fmla="*/ 2357846 h 2422364"/>
                <a:gd name="connsiteX783" fmla="*/ 600397 w 4488985"/>
                <a:gd name="connsiteY783" fmla="*/ 2366875 h 2422364"/>
                <a:gd name="connsiteX784" fmla="*/ 610469 w 4488985"/>
                <a:gd name="connsiteY784" fmla="*/ 2379471 h 2422364"/>
                <a:gd name="connsiteX785" fmla="*/ 618619 w 4488985"/>
                <a:gd name="connsiteY785" fmla="*/ 2393714 h 2422364"/>
                <a:gd name="connsiteX786" fmla="*/ 622544 w 4488985"/>
                <a:gd name="connsiteY786" fmla="*/ 2396650 h 2422364"/>
                <a:gd name="connsiteX787" fmla="*/ 624273 w 4488985"/>
                <a:gd name="connsiteY787" fmla="*/ 2398763 h 2422364"/>
                <a:gd name="connsiteX788" fmla="*/ 619607 w 4488985"/>
                <a:gd name="connsiteY788" fmla="*/ 2405295 h 2422364"/>
                <a:gd name="connsiteX789" fmla="*/ 619251 w 4488985"/>
                <a:gd name="connsiteY789" fmla="*/ 2405542 h 2422364"/>
                <a:gd name="connsiteX790" fmla="*/ 618729 w 4488985"/>
                <a:gd name="connsiteY790" fmla="*/ 2406996 h 2422364"/>
                <a:gd name="connsiteX791" fmla="*/ 609097 w 4488985"/>
                <a:gd name="connsiteY791" fmla="*/ 2412704 h 2422364"/>
                <a:gd name="connsiteX792" fmla="*/ 601660 w 4488985"/>
                <a:gd name="connsiteY792" fmla="*/ 2422364 h 2422364"/>
                <a:gd name="connsiteX793" fmla="*/ 588432 w 4488985"/>
                <a:gd name="connsiteY793" fmla="*/ 2419401 h 2422364"/>
                <a:gd name="connsiteX794" fmla="*/ 576083 w 4488985"/>
                <a:gd name="connsiteY794" fmla="*/ 2405130 h 2422364"/>
                <a:gd name="connsiteX795" fmla="*/ 571198 w 4488985"/>
                <a:gd name="connsiteY795" fmla="*/ 2399504 h 2422364"/>
                <a:gd name="connsiteX796" fmla="*/ 560769 w 4488985"/>
                <a:gd name="connsiteY796" fmla="*/ 2395827 h 2422364"/>
                <a:gd name="connsiteX797" fmla="*/ 554924 w 4488985"/>
                <a:gd name="connsiteY797" fmla="*/ 2392671 h 2422364"/>
                <a:gd name="connsiteX798" fmla="*/ 537964 w 4488985"/>
                <a:gd name="connsiteY798" fmla="*/ 2383368 h 2422364"/>
                <a:gd name="connsiteX799" fmla="*/ 540763 w 4488985"/>
                <a:gd name="connsiteY799" fmla="*/ 2378950 h 2422364"/>
                <a:gd name="connsiteX800" fmla="*/ 540763 w 4488985"/>
                <a:gd name="connsiteY800" fmla="*/ 2376178 h 2422364"/>
                <a:gd name="connsiteX801" fmla="*/ 540763 w 4488985"/>
                <a:gd name="connsiteY801" fmla="*/ 2372583 h 2422364"/>
                <a:gd name="connsiteX802" fmla="*/ 537388 w 4488985"/>
                <a:gd name="connsiteY802" fmla="*/ 2371979 h 2422364"/>
                <a:gd name="connsiteX803" fmla="*/ 529347 w 4488985"/>
                <a:gd name="connsiteY803" fmla="*/ 2370607 h 2422364"/>
                <a:gd name="connsiteX804" fmla="*/ 526027 w 4488985"/>
                <a:gd name="connsiteY804" fmla="*/ 2366902 h 2422364"/>
                <a:gd name="connsiteX805" fmla="*/ 523886 w 4488985"/>
                <a:gd name="connsiteY805" fmla="*/ 2364515 h 2422364"/>
                <a:gd name="connsiteX806" fmla="*/ 517245 w 4488985"/>
                <a:gd name="connsiteY806" fmla="*/ 2362511 h 2422364"/>
                <a:gd name="connsiteX807" fmla="*/ 513568 w 4488985"/>
                <a:gd name="connsiteY807" fmla="*/ 2366820 h 2422364"/>
                <a:gd name="connsiteX808" fmla="*/ 510384 w 4488985"/>
                <a:gd name="connsiteY808" fmla="*/ 2362676 h 2422364"/>
                <a:gd name="connsiteX809" fmla="*/ 506323 w 4488985"/>
                <a:gd name="connsiteY809" fmla="*/ 2362045 h 2422364"/>
                <a:gd name="connsiteX810" fmla="*/ 496306 w 4488985"/>
                <a:gd name="connsiteY810" fmla="*/ 2366079 h 2422364"/>
                <a:gd name="connsiteX811" fmla="*/ 496306 w 4488985"/>
                <a:gd name="connsiteY811" fmla="*/ 2366875 h 2422364"/>
                <a:gd name="connsiteX812" fmla="*/ 494303 w 4488985"/>
                <a:gd name="connsiteY812" fmla="*/ 2366875 h 2422364"/>
                <a:gd name="connsiteX813" fmla="*/ 487552 w 4488985"/>
                <a:gd name="connsiteY813" fmla="*/ 2369482 h 2422364"/>
                <a:gd name="connsiteX814" fmla="*/ 483929 w 4488985"/>
                <a:gd name="connsiteY814" fmla="*/ 2368082 h 2422364"/>
                <a:gd name="connsiteX815" fmla="*/ 483133 w 4488985"/>
                <a:gd name="connsiteY815" fmla="*/ 2366875 h 2422364"/>
                <a:gd name="connsiteX816" fmla="*/ 481267 w 4488985"/>
                <a:gd name="connsiteY816" fmla="*/ 2361194 h 2422364"/>
                <a:gd name="connsiteX817" fmla="*/ 467848 w 4488985"/>
                <a:gd name="connsiteY817" fmla="*/ 2355184 h 2422364"/>
                <a:gd name="connsiteX818" fmla="*/ 465954 w 4488985"/>
                <a:gd name="connsiteY818" fmla="*/ 2354333 h 2422364"/>
                <a:gd name="connsiteX819" fmla="*/ 455581 w 4488985"/>
                <a:gd name="connsiteY819" fmla="*/ 2345524 h 2422364"/>
                <a:gd name="connsiteX820" fmla="*/ 449351 w 4488985"/>
                <a:gd name="connsiteY820" fmla="*/ 2345716 h 2422364"/>
                <a:gd name="connsiteX821" fmla="*/ 444604 w 4488985"/>
                <a:gd name="connsiteY821" fmla="*/ 2343576 h 2422364"/>
                <a:gd name="connsiteX822" fmla="*/ 442765 w 4488985"/>
                <a:gd name="connsiteY822" fmla="*/ 2342752 h 2422364"/>
                <a:gd name="connsiteX823" fmla="*/ 420344 w 4488985"/>
                <a:gd name="connsiteY823" fmla="*/ 2342835 h 2422364"/>
                <a:gd name="connsiteX824" fmla="*/ 394383 w 4488985"/>
                <a:gd name="connsiteY824" fmla="*/ 2331501 h 2422364"/>
                <a:gd name="connsiteX825" fmla="*/ 390788 w 4488985"/>
                <a:gd name="connsiteY825" fmla="*/ 2329936 h 2422364"/>
                <a:gd name="connsiteX826" fmla="*/ 376819 w 4488985"/>
                <a:gd name="connsiteY826" fmla="*/ 2329415 h 2422364"/>
                <a:gd name="connsiteX827" fmla="*/ 375529 w 4488985"/>
                <a:gd name="connsiteY827" fmla="*/ 2331473 h 2422364"/>
                <a:gd name="connsiteX828" fmla="*/ 372346 w 4488985"/>
                <a:gd name="connsiteY828" fmla="*/ 2336605 h 2422364"/>
                <a:gd name="connsiteX829" fmla="*/ 367105 w 4488985"/>
                <a:gd name="connsiteY829" fmla="*/ 2331473 h 2422364"/>
                <a:gd name="connsiteX830" fmla="*/ 335874 w 4488985"/>
                <a:gd name="connsiteY830" fmla="*/ 2300710 h 2422364"/>
                <a:gd name="connsiteX831" fmla="*/ 320342 w 4488985"/>
                <a:gd name="connsiteY831" fmla="*/ 2294453 h 2422364"/>
                <a:gd name="connsiteX832" fmla="*/ 308706 w 4488985"/>
                <a:gd name="connsiteY832" fmla="*/ 2283530 h 2422364"/>
                <a:gd name="connsiteX833" fmla="*/ 299457 w 4488985"/>
                <a:gd name="connsiteY833" fmla="*/ 2282570 h 2422364"/>
                <a:gd name="connsiteX834" fmla="*/ 290566 w 4488985"/>
                <a:gd name="connsiteY834" fmla="*/ 2271483 h 2422364"/>
                <a:gd name="connsiteX835" fmla="*/ 276351 w 4488985"/>
                <a:gd name="connsiteY835" fmla="*/ 2263222 h 2422364"/>
                <a:gd name="connsiteX836" fmla="*/ 279644 w 4488985"/>
                <a:gd name="connsiteY836" fmla="*/ 2258941 h 2422364"/>
                <a:gd name="connsiteX837" fmla="*/ 279973 w 4488985"/>
                <a:gd name="connsiteY837" fmla="*/ 2253508 h 2422364"/>
                <a:gd name="connsiteX838" fmla="*/ 291225 w 4488985"/>
                <a:gd name="connsiteY838" fmla="*/ 2256197 h 2422364"/>
                <a:gd name="connsiteX839" fmla="*/ 298607 w 4488985"/>
                <a:gd name="connsiteY839" fmla="*/ 2253617 h 2422364"/>
                <a:gd name="connsiteX840" fmla="*/ 302531 w 4488985"/>
                <a:gd name="connsiteY840" fmla="*/ 2243409 h 2422364"/>
                <a:gd name="connsiteX841" fmla="*/ 311862 w 4488985"/>
                <a:gd name="connsiteY841" fmla="*/ 2229605 h 2422364"/>
                <a:gd name="connsiteX842" fmla="*/ 317570 w 4488985"/>
                <a:gd name="connsiteY842" fmla="*/ 2226394 h 2422364"/>
                <a:gd name="connsiteX843" fmla="*/ 319518 w 4488985"/>
                <a:gd name="connsiteY843" fmla="*/ 2217420 h 2422364"/>
                <a:gd name="connsiteX844" fmla="*/ 310187 w 4488985"/>
                <a:gd name="connsiteY844" fmla="*/ 2208666 h 2422364"/>
                <a:gd name="connsiteX845" fmla="*/ 308541 w 4488985"/>
                <a:gd name="connsiteY845" fmla="*/ 2201476 h 2422364"/>
                <a:gd name="connsiteX846" fmla="*/ 320452 w 4488985"/>
                <a:gd name="connsiteY846" fmla="*/ 2198265 h 2422364"/>
                <a:gd name="connsiteX847" fmla="*/ 328218 w 4488985"/>
                <a:gd name="connsiteY847" fmla="*/ 2199445 h 2422364"/>
                <a:gd name="connsiteX848" fmla="*/ 326900 w 4488985"/>
                <a:gd name="connsiteY848" fmla="*/ 2194807 h 2422364"/>
                <a:gd name="connsiteX849" fmla="*/ 327971 w 4488985"/>
                <a:gd name="connsiteY849" fmla="*/ 2192447 h 2422364"/>
                <a:gd name="connsiteX850" fmla="*/ 350035 w 4488985"/>
                <a:gd name="connsiteY850" fmla="*/ 2181525 h 2422364"/>
                <a:gd name="connsiteX851" fmla="*/ 348800 w 4488985"/>
                <a:gd name="connsiteY851" fmla="*/ 2175981 h 2422364"/>
                <a:gd name="connsiteX852" fmla="*/ 346193 w 4488985"/>
                <a:gd name="connsiteY852" fmla="*/ 2174197 h 2422364"/>
                <a:gd name="connsiteX853" fmla="*/ 331237 w 4488985"/>
                <a:gd name="connsiteY853" fmla="*/ 2179768 h 2422364"/>
                <a:gd name="connsiteX854" fmla="*/ 319957 w 4488985"/>
                <a:gd name="connsiteY854" fmla="*/ 2180509 h 2422364"/>
                <a:gd name="connsiteX855" fmla="*/ 321988 w 4488985"/>
                <a:gd name="connsiteY855" fmla="*/ 2174472 h 2422364"/>
                <a:gd name="connsiteX856" fmla="*/ 320726 w 4488985"/>
                <a:gd name="connsiteY856" fmla="*/ 2170191 h 2422364"/>
                <a:gd name="connsiteX857" fmla="*/ 322564 w 4488985"/>
                <a:gd name="connsiteY857" fmla="*/ 2162123 h 2422364"/>
                <a:gd name="connsiteX858" fmla="*/ 326873 w 4488985"/>
                <a:gd name="connsiteY858" fmla="*/ 2157869 h 2422364"/>
                <a:gd name="connsiteX859" fmla="*/ 334996 w 4488985"/>
                <a:gd name="connsiteY859" fmla="*/ 2155097 h 2422364"/>
                <a:gd name="connsiteX860" fmla="*/ 339579 w 4488985"/>
                <a:gd name="connsiteY860" fmla="*/ 2148346 h 2422364"/>
                <a:gd name="connsiteX861" fmla="*/ 359832 w 4488985"/>
                <a:gd name="connsiteY861" fmla="*/ 2149554 h 2422364"/>
                <a:gd name="connsiteX862" fmla="*/ 365485 w 4488985"/>
                <a:gd name="connsiteY862" fmla="*/ 2146919 h 2422364"/>
                <a:gd name="connsiteX863" fmla="*/ 371303 w 4488985"/>
                <a:gd name="connsiteY863" fmla="*/ 2131057 h 2422364"/>
                <a:gd name="connsiteX864" fmla="*/ 363427 w 4488985"/>
                <a:gd name="connsiteY864" fmla="*/ 2112176 h 2422364"/>
                <a:gd name="connsiteX865" fmla="*/ 366171 w 4488985"/>
                <a:gd name="connsiteY865" fmla="*/ 2106413 h 2422364"/>
                <a:gd name="connsiteX866" fmla="*/ 370672 w 4488985"/>
                <a:gd name="connsiteY866" fmla="*/ 2105974 h 2422364"/>
                <a:gd name="connsiteX867" fmla="*/ 371907 w 4488985"/>
                <a:gd name="connsiteY867" fmla="*/ 2103587 h 2422364"/>
                <a:gd name="connsiteX868" fmla="*/ 366555 w 4488985"/>
                <a:gd name="connsiteY868" fmla="*/ 2101419 h 2422364"/>
                <a:gd name="connsiteX869" fmla="*/ 364058 w 4488985"/>
                <a:gd name="connsiteY869" fmla="*/ 2097439 h 2422364"/>
                <a:gd name="connsiteX870" fmla="*/ 370370 w 4488985"/>
                <a:gd name="connsiteY870" fmla="*/ 2094009 h 2422364"/>
                <a:gd name="connsiteX871" fmla="*/ 377039 w 4488985"/>
                <a:gd name="connsiteY871" fmla="*/ 2086325 h 2422364"/>
                <a:gd name="connsiteX872" fmla="*/ 376984 w 4488985"/>
                <a:gd name="connsiteY872" fmla="*/ 2082154 h 2422364"/>
                <a:gd name="connsiteX873" fmla="*/ 373801 w 4488985"/>
                <a:gd name="connsiteY873" fmla="*/ 2076555 h 2422364"/>
                <a:gd name="connsiteX874" fmla="*/ 374514 w 4488985"/>
                <a:gd name="connsiteY874" fmla="*/ 2071808 h 2422364"/>
                <a:gd name="connsiteX875" fmla="*/ 365733 w 4488985"/>
                <a:gd name="connsiteY875" fmla="*/ 2071643 h 2422364"/>
                <a:gd name="connsiteX876" fmla="*/ 359173 w 4488985"/>
                <a:gd name="connsiteY876" fmla="*/ 2064755 h 2422364"/>
                <a:gd name="connsiteX877" fmla="*/ 351956 w 4488985"/>
                <a:gd name="connsiteY877" fmla="*/ 2063355 h 2422364"/>
                <a:gd name="connsiteX878" fmla="*/ 347455 w 4488985"/>
                <a:gd name="connsiteY878" fmla="*/ 2058992 h 2422364"/>
                <a:gd name="connsiteX879" fmla="*/ 341116 w 4488985"/>
                <a:gd name="connsiteY879" fmla="*/ 2060666 h 2422364"/>
                <a:gd name="connsiteX880" fmla="*/ 321192 w 4488985"/>
                <a:gd name="connsiteY880" fmla="*/ 2049140 h 2422364"/>
                <a:gd name="connsiteX881" fmla="*/ 317488 w 4488985"/>
                <a:gd name="connsiteY881" fmla="*/ 2054601 h 2422364"/>
                <a:gd name="connsiteX882" fmla="*/ 314277 w 4488985"/>
                <a:gd name="connsiteY882" fmla="*/ 2054903 h 2422364"/>
                <a:gd name="connsiteX883" fmla="*/ 305632 w 4488985"/>
                <a:gd name="connsiteY883" fmla="*/ 2047713 h 2422364"/>
                <a:gd name="connsiteX884" fmla="*/ 301406 w 4488985"/>
                <a:gd name="connsiteY884" fmla="*/ 2038464 h 2422364"/>
                <a:gd name="connsiteX885" fmla="*/ 296603 w 4488985"/>
                <a:gd name="connsiteY885" fmla="*/ 2033360 h 2422364"/>
                <a:gd name="connsiteX886" fmla="*/ 273359 w 4488985"/>
                <a:gd name="connsiteY886" fmla="*/ 2041291 h 2422364"/>
                <a:gd name="connsiteX887" fmla="*/ 263782 w 4488985"/>
                <a:gd name="connsiteY887" fmla="*/ 2038300 h 2422364"/>
                <a:gd name="connsiteX888" fmla="*/ 255823 w 4488985"/>
                <a:gd name="connsiteY888" fmla="*/ 2032098 h 2422364"/>
                <a:gd name="connsiteX889" fmla="*/ 243693 w 4488985"/>
                <a:gd name="connsiteY889" fmla="*/ 2035556 h 2422364"/>
                <a:gd name="connsiteX890" fmla="*/ 237437 w 4488985"/>
                <a:gd name="connsiteY890" fmla="*/ 2026307 h 2422364"/>
                <a:gd name="connsiteX891" fmla="*/ 238452 w 4488985"/>
                <a:gd name="connsiteY891" fmla="*/ 2017937 h 2422364"/>
                <a:gd name="connsiteX892" fmla="*/ 235378 w 4488985"/>
                <a:gd name="connsiteY892" fmla="*/ 2005039 h 2422364"/>
                <a:gd name="connsiteX893" fmla="*/ 230603 w 4488985"/>
                <a:gd name="connsiteY893" fmla="*/ 2002404 h 2422364"/>
                <a:gd name="connsiteX894" fmla="*/ 228298 w 4488985"/>
                <a:gd name="connsiteY894" fmla="*/ 1996888 h 2422364"/>
                <a:gd name="connsiteX895" fmla="*/ 218473 w 4488985"/>
                <a:gd name="connsiteY895" fmla="*/ 1997849 h 2422364"/>
                <a:gd name="connsiteX896" fmla="*/ 204203 w 4488985"/>
                <a:gd name="connsiteY896" fmla="*/ 1993623 h 2422364"/>
                <a:gd name="connsiteX897" fmla="*/ 203133 w 4488985"/>
                <a:gd name="connsiteY897" fmla="*/ 1981438 h 2422364"/>
                <a:gd name="connsiteX898" fmla="*/ 199483 w 4488985"/>
                <a:gd name="connsiteY898" fmla="*/ 1974906 h 2422364"/>
                <a:gd name="connsiteX899" fmla="*/ 206261 w 4488985"/>
                <a:gd name="connsiteY899" fmla="*/ 1971998 h 2422364"/>
                <a:gd name="connsiteX900" fmla="*/ 206947 w 4488985"/>
                <a:gd name="connsiteY900" fmla="*/ 1968183 h 2422364"/>
                <a:gd name="connsiteX901" fmla="*/ 199318 w 4488985"/>
                <a:gd name="connsiteY901" fmla="*/ 1958852 h 2422364"/>
                <a:gd name="connsiteX902" fmla="*/ 197205 w 4488985"/>
                <a:gd name="connsiteY902" fmla="*/ 1950372 h 2422364"/>
                <a:gd name="connsiteX903" fmla="*/ 189988 w 4488985"/>
                <a:gd name="connsiteY903" fmla="*/ 1942496 h 2422364"/>
                <a:gd name="connsiteX904" fmla="*/ 172122 w 4488985"/>
                <a:gd name="connsiteY904" fmla="*/ 1941563 h 2422364"/>
                <a:gd name="connsiteX905" fmla="*/ 159663 w 4488985"/>
                <a:gd name="connsiteY905" fmla="*/ 1946585 h 2422364"/>
                <a:gd name="connsiteX906" fmla="*/ 149097 w 4488985"/>
                <a:gd name="connsiteY906" fmla="*/ 1943676 h 2422364"/>
                <a:gd name="connsiteX907" fmla="*/ 145393 w 4488985"/>
                <a:gd name="connsiteY907" fmla="*/ 1952403 h 2422364"/>
                <a:gd name="connsiteX908" fmla="*/ 141798 w 4488985"/>
                <a:gd name="connsiteY908" fmla="*/ 1955587 h 2422364"/>
                <a:gd name="connsiteX909" fmla="*/ 130409 w 4488985"/>
                <a:gd name="connsiteY909" fmla="*/ 1953638 h 2422364"/>
                <a:gd name="connsiteX910" fmla="*/ 126347 w 4488985"/>
                <a:gd name="connsiteY910" fmla="*/ 1944198 h 2422364"/>
                <a:gd name="connsiteX911" fmla="*/ 123109 w 4488985"/>
                <a:gd name="connsiteY911" fmla="*/ 1927705 h 2422364"/>
                <a:gd name="connsiteX912" fmla="*/ 123219 w 4488985"/>
                <a:gd name="connsiteY912" fmla="*/ 1920130 h 2422364"/>
                <a:gd name="connsiteX913" fmla="*/ 116468 w 4488985"/>
                <a:gd name="connsiteY913" fmla="*/ 1910223 h 2422364"/>
                <a:gd name="connsiteX914" fmla="*/ 118691 w 4488985"/>
                <a:gd name="connsiteY914" fmla="*/ 1903143 h 2422364"/>
                <a:gd name="connsiteX915" fmla="*/ 125908 w 4488985"/>
                <a:gd name="connsiteY915" fmla="*/ 1900152 h 2422364"/>
                <a:gd name="connsiteX916" fmla="*/ 133290 w 4488985"/>
                <a:gd name="connsiteY916" fmla="*/ 1904954 h 2422364"/>
                <a:gd name="connsiteX917" fmla="*/ 139877 w 4488985"/>
                <a:gd name="connsiteY917" fmla="*/ 1905668 h 2422364"/>
                <a:gd name="connsiteX918" fmla="*/ 149537 w 4488985"/>
                <a:gd name="connsiteY918" fmla="*/ 1900289 h 2422364"/>
                <a:gd name="connsiteX919" fmla="*/ 157440 w 4488985"/>
                <a:gd name="connsiteY919" fmla="*/ 1889861 h 2422364"/>
                <a:gd name="connsiteX920" fmla="*/ 151320 w 4488985"/>
                <a:gd name="connsiteY920" fmla="*/ 1883137 h 2422364"/>
                <a:gd name="connsiteX921" fmla="*/ 149399 w 4488985"/>
                <a:gd name="connsiteY921" fmla="*/ 1875371 h 2422364"/>
                <a:gd name="connsiteX922" fmla="*/ 140700 w 4488985"/>
                <a:gd name="connsiteY922" fmla="*/ 1870815 h 2422364"/>
                <a:gd name="connsiteX923" fmla="*/ 131232 w 4488985"/>
                <a:gd name="connsiteY923" fmla="*/ 1870321 h 2422364"/>
                <a:gd name="connsiteX924" fmla="*/ 131149 w 4488985"/>
                <a:gd name="connsiteY924" fmla="*/ 1858301 h 2422364"/>
                <a:gd name="connsiteX925" fmla="*/ 118087 w 4488985"/>
                <a:gd name="connsiteY925" fmla="*/ 1849108 h 2422364"/>
                <a:gd name="connsiteX926" fmla="*/ 111062 w 4488985"/>
                <a:gd name="connsiteY926" fmla="*/ 1835798 h 2422364"/>
                <a:gd name="connsiteX927" fmla="*/ 109442 w 4488985"/>
                <a:gd name="connsiteY927" fmla="*/ 1828361 h 2422364"/>
                <a:gd name="connsiteX928" fmla="*/ 102417 w 4488985"/>
                <a:gd name="connsiteY928" fmla="*/ 1821034 h 2422364"/>
                <a:gd name="connsiteX929" fmla="*/ 102884 w 4488985"/>
                <a:gd name="connsiteY929" fmla="*/ 1815573 h 2422364"/>
                <a:gd name="connsiteX930" fmla="*/ 107083 w 4488985"/>
                <a:gd name="connsiteY930" fmla="*/ 1807587 h 2422364"/>
                <a:gd name="connsiteX931" fmla="*/ 103130 w 4488985"/>
                <a:gd name="connsiteY931" fmla="*/ 1796088 h 2422364"/>
                <a:gd name="connsiteX932" fmla="*/ 105051 w 4488985"/>
                <a:gd name="connsiteY932" fmla="*/ 1787745 h 2422364"/>
                <a:gd name="connsiteX933" fmla="*/ 104311 w 4488985"/>
                <a:gd name="connsiteY933" fmla="*/ 1780363 h 2422364"/>
                <a:gd name="connsiteX934" fmla="*/ 99261 w 4488985"/>
                <a:gd name="connsiteY934" fmla="*/ 1778058 h 2422364"/>
                <a:gd name="connsiteX935" fmla="*/ 91989 w 4488985"/>
                <a:gd name="connsiteY935" fmla="*/ 1769468 h 2422364"/>
                <a:gd name="connsiteX936" fmla="*/ 84469 w 4488985"/>
                <a:gd name="connsiteY936" fmla="*/ 1766422 h 2422364"/>
                <a:gd name="connsiteX937" fmla="*/ 75331 w 4488985"/>
                <a:gd name="connsiteY937" fmla="*/ 1766916 h 2422364"/>
                <a:gd name="connsiteX938" fmla="*/ 63064 w 4488985"/>
                <a:gd name="connsiteY938" fmla="*/ 1773503 h 2422364"/>
                <a:gd name="connsiteX939" fmla="*/ 60265 w 4488985"/>
                <a:gd name="connsiteY939" fmla="*/ 1769798 h 2422364"/>
                <a:gd name="connsiteX940" fmla="*/ 60758 w 4488985"/>
                <a:gd name="connsiteY940" fmla="*/ 1763239 h 2422364"/>
                <a:gd name="connsiteX941" fmla="*/ 59002 w 4488985"/>
                <a:gd name="connsiteY941" fmla="*/ 1760467 h 2422364"/>
                <a:gd name="connsiteX942" fmla="*/ 50385 w 4488985"/>
                <a:gd name="connsiteY942" fmla="*/ 1757503 h 2422364"/>
                <a:gd name="connsiteX943" fmla="*/ 42262 w 4488985"/>
                <a:gd name="connsiteY943" fmla="*/ 1760165 h 2422364"/>
                <a:gd name="connsiteX944" fmla="*/ 37185 w 4488985"/>
                <a:gd name="connsiteY944" fmla="*/ 1754265 h 2422364"/>
                <a:gd name="connsiteX945" fmla="*/ 28184 w 4488985"/>
                <a:gd name="connsiteY945" fmla="*/ 1754539 h 2422364"/>
                <a:gd name="connsiteX946" fmla="*/ 23628 w 4488985"/>
                <a:gd name="connsiteY946" fmla="*/ 1749600 h 2422364"/>
                <a:gd name="connsiteX947" fmla="*/ 25604 w 4488985"/>
                <a:gd name="connsiteY947" fmla="*/ 1743672 h 2422364"/>
                <a:gd name="connsiteX948" fmla="*/ 22421 w 4488985"/>
                <a:gd name="connsiteY948" fmla="*/ 1728551 h 2422364"/>
                <a:gd name="connsiteX949" fmla="*/ 15340 w 4488985"/>
                <a:gd name="connsiteY949" fmla="*/ 1713238 h 2422364"/>
                <a:gd name="connsiteX950" fmla="*/ 9550 w 4488985"/>
                <a:gd name="connsiteY950" fmla="*/ 1713073 h 2422364"/>
                <a:gd name="connsiteX951" fmla="*/ 14764 w 4488985"/>
                <a:gd name="connsiteY951" fmla="*/ 1690844 h 2422364"/>
                <a:gd name="connsiteX952" fmla="*/ 9989 w 4488985"/>
                <a:gd name="connsiteY952" fmla="*/ 1685164 h 2422364"/>
                <a:gd name="connsiteX953" fmla="*/ 5763 w 4488985"/>
                <a:gd name="connsiteY953" fmla="*/ 1682062 h 2422364"/>
                <a:gd name="connsiteX954" fmla="*/ 5186 w 4488985"/>
                <a:gd name="connsiteY954" fmla="*/ 1676738 h 2422364"/>
                <a:gd name="connsiteX955" fmla="*/ 0 w 4488985"/>
                <a:gd name="connsiteY955" fmla="*/ 1677095 h 2422364"/>
                <a:gd name="connsiteX956" fmla="*/ 1536 w 4488985"/>
                <a:gd name="connsiteY956" fmla="*/ 1669164 h 2422364"/>
                <a:gd name="connsiteX957" fmla="*/ 5680 w 4488985"/>
                <a:gd name="connsiteY957" fmla="*/ 1661480 h 2422364"/>
                <a:gd name="connsiteX958" fmla="*/ 11416 w 4488985"/>
                <a:gd name="connsiteY958" fmla="*/ 1657034 h 2422364"/>
                <a:gd name="connsiteX959" fmla="*/ 5269 w 4488985"/>
                <a:gd name="connsiteY959" fmla="*/ 1640157 h 2422364"/>
                <a:gd name="connsiteX960" fmla="*/ 5022 w 4488985"/>
                <a:gd name="connsiteY960" fmla="*/ 1627314 h 2422364"/>
                <a:gd name="connsiteX961" fmla="*/ 164 w 4488985"/>
                <a:gd name="connsiteY961" fmla="*/ 1606347 h 2422364"/>
                <a:gd name="connsiteX962" fmla="*/ 10483 w 4488985"/>
                <a:gd name="connsiteY962" fmla="*/ 1596138 h 2422364"/>
                <a:gd name="connsiteX963" fmla="*/ 16932 w 4488985"/>
                <a:gd name="connsiteY963" fmla="*/ 1580002 h 2422364"/>
                <a:gd name="connsiteX964" fmla="*/ 23903 w 4488985"/>
                <a:gd name="connsiteY964" fmla="*/ 1575282 h 2422364"/>
                <a:gd name="connsiteX965" fmla="*/ 24424 w 4488985"/>
                <a:gd name="connsiteY965" fmla="*/ 1571522 h 2422364"/>
                <a:gd name="connsiteX966" fmla="*/ 20308 w 4488985"/>
                <a:gd name="connsiteY966" fmla="*/ 1567214 h 2422364"/>
                <a:gd name="connsiteX967" fmla="*/ 22531 w 4488985"/>
                <a:gd name="connsiteY967" fmla="*/ 1551214 h 2422364"/>
                <a:gd name="connsiteX968" fmla="*/ 29364 w 4488985"/>
                <a:gd name="connsiteY968" fmla="*/ 1554206 h 2422364"/>
                <a:gd name="connsiteX969" fmla="*/ 35126 w 4488985"/>
                <a:gd name="connsiteY969" fmla="*/ 1547372 h 2422364"/>
                <a:gd name="connsiteX970" fmla="*/ 46653 w 4488985"/>
                <a:gd name="connsiteY970" fmla="*/ 1546741 h 2422364"/>
                <a:gd name="connsiteX971" fmla="*/ 55242 w 4488985"/>
                <a:gd name="connsiteY971" fmla="*/ 1537712 h 2422364"/>
                <a:gd name="connsiteX972" fmla="*/ 79612 w 4488985"/>
                <a:gd name="connsiteY972" fmla="*/ 1544052 h 2422364"/>
                <a:gd name="connsiteX973" fmla="*/ 83179 w 4488985"/>
                <a:gd name="connsiteY973" fmla="*/ 1540237 h 2422364"/>
                <a:gd name="connsiteX974" fmla="*/ 72751 w 4488985"/>
                <a:gd name="connsiteY974" fmla="*/ 1527311 h 2422364"/>
                <a:gd name="connsiteX975" fmla="*/ 52416 w 4488985"/>
                <a:gd name="connsiteY975" fmla="*/ 1525885 h 2422364"/>
                <a:gd name="connsiteX976" fmla="*/ 37157 w 4488985"/>
                <a:gd name="connsiteY976" fmla="*/ 1517075 h 2422364"/>
                <a:gd name="connsiteX977" fmla="*/ 35456 w 4488985"/>
                <a:gd name="connsiteY977" fmla="*/ 1509583 h 2422364"/>
                <a:gd name="connsiteX978" fmla="*/ 37350 w 4488985"/>
                <a:gd name="connsiteY978" fmla="*/ 1496246 h 2422364"/>
                <a:gd name="connsiteX979" fmla="*/ 17701 w 4488985"/>
                <a:gd name="connsiteY979" fmla="*/ 1506427 h 2422364"/>
                <a:gd name="connsiteX980" fmla="*/ 13255 w 4488985"/>
                <a:gd name="connsiteY980" fmla="*/ 1503766 h 2422364"/>
                <a:gd name="connsiteX981" fmla="*/ 14408 w 4488985"/>
                <a:gd name="connsiteY981" fmla="*/ 1502668 h 2422364"/>
                <a:gd name="connsiteX982" fmla="*/ 18771 w 4488985"/>
                <a:gd name="connsiteY982" fmla="*/ 1496548 h 2422364"/>
                <a:gd name="connsiteX983" fmla="*/ 33673 w 4488985"/>
                <a:gd name="connsiteY983" fmla="*/ 1480274 h 2422364"/>
                <a:gd name="connsiteX984" fmla="*/ 38283 w 4488985"/>
                <a:gd name="connsiteY984" fmla="*/ 1478710 h 2422364"/>
                <a:gd name="connsiteX985" fmla="*/ 41110 w 4488985"/>
                <a:gd name="connsiteY985" fmla="*/ 1472645 h 2422364"/>
                <a:gd name="connsiteX986" fmla="*/ 43634 w 4488985"/>
                <a:gd name="connsiteY986" fmla="*/ 1468885 h 2422364"/>
                <a:gd name="connsiteX987" fmla="*/ 53376 w 4488985"/>
                <a:gd name="connsiteY987" fmla="*/ 1462025 h 2422364"/>
                <a:gd name="connsiteX988" fmla="*/ 82082 w 4488985"/>
                <a:gd name="connsiteY988" fmla="*/ 1424181 h 2422364"/>
                <a:gd name="connsiteX989" fmla="*/ 112544 w 4488985"/>
                <a:gd name="connsiteY989" fmla="*/ 1384910 h 2422364"/>
                <a:gd name="connsiteX990" fmla="*/ 123246 w 4488985"/>
                <a:gd name="connsiteY990" fmla="*/ 1357302 h 2422364"/>
                <a:gd name="connsiteX991" fmla="*/ 112790 w 4488985"/>
                <a:gd name="connsiteY991" fmla="*/ 1336171 h 2422364"/>
                <a:gd name="connsiteX992" fmla="*/ 99343 w 4488985"/>
                <a:gd name="connsiteY992" fmla="*/ 1325661 h 2422364"/>
                <a:gd name="connsiteX993" fmla="*/ 91549 w 4488985"/>
                <a:gd name="connsiteY993" fmla="*/ 1319568 h 2422364"/>
                <a:gd name="connsiteX994" fmla="*/ 89052 w 4488985"/>
                <a:gd name="connsiteY994" fmla="*/ 1316467 h 2422364"/>
                <a:gd name="connsiteX995" fmla="*/ 77032 w 4488985"/>
                <a:gd name="connsiteY995" fmla="*/ 1301538 h 2422364"/>
                <a:gd name="connsiteX996" fmla="*/ 86912 w 4488985"/>
                <a:gd name="connsiteY996" fmla="*/ 1293333 h 2422364"/>
                <a:gd name="connsiteX997" fmla="*/ 90808 w 4488985"/>
                <a:gd name="connsiteY997" fmla="*/ 1285319 h 2422364"/>
                <a:gd name="connsiteX998" fmla="*/ 92675 w 4488985"/>
                <a:gd name="connsiteY998" fmla="*/ 1274123 h 2422364"/>
                <a:gd name="connsiteX999" fmla="*/ 80326 w 4488985"/>
                <a:gd name="connsiteY999" fmla="*/ 1256120 h 2422364"/>
                <a:gd name="connsiteX1000" fmla="*/ 78596 w 4488985"/>
                <a:gd name="connsiteY1000" fmla="*/ 1235785 h 2422364"/>
                <a:gd name="connsiteX1001" fmla="*/ 67949 w 4488985"/>
                <a:gd name="connsiteY1001" fmla="*/ 1224204 h 2422364"/>
                <a:gd name="connsiteX1002" fmla="*/ 67894 w 4488985"/>
                <a:gd name="connsiteY1002" fmla="*/ 1214462 h 2422364"/>
                <a:gd name="connsiteX1003" fmla="*/ 72587 w 4488985"/>
                <a:gd name="connsiteY1003" fmla="*/ 1205652 h 2422364"/>
                <a:gd name="connsiteX1004" fmla="*/ 68058 w 4488985"/>
                <a:gd name="connsiteY1004" fmla="*/ 1197913 h 2422364"/>
                <a:gd name="connsiteX1005" fmla="*/ 70638 w 4488985"/>
                <a:gd name="connsiteY1005" fmla="*/ 1182051 h 2422364"/>
                <a:gd name="connsiteX1006" fmla="*/ 73108 w 4488985"/>
                <a:gd name="connsiteY1006" fmla="*/ 1177743 h 2422364"/>
                <a:gd name="connsiteX1007" fmla="*/ 70693 w 4488985"/>
                <a:gd name="connsiteY1007" fmla="*/ 1171843 h 2422364"/>
                <a:gd name="connsiteX1008" fmla="*/ 81368 w 4488985"/>
                <a:gd name="connsiteY1008" fmla="*/ 1166491 h 2422364"/>
                <a:gd name="connsiteX1009" fmla="*/ 75605 w 4488985"/>
                <a:gd name="connsiteY1009" fmla="*/ 1137676 h 2422364"/>
                <a:gd name="connsiteX1010" fmla="*/ 65286 w 4488985"/>
                <a:gd name="connsiteY1010" fmla="*/ 1114459 h 2422364"/>
                <a:gd name="connsiteX1011" fmla="*/ 52142 w 4488985"/>
                <a:gd name="connsiteY1011" fmla="*/ 1086330 h 2422364"/>
                <a:gd name="connsiteX1012" fmla="*/ 51044 w 4488985"/>
                <a:gd name="connsiteY1012" fmla="*/ 1076149 h 2422364"/>
                <a:gd name="connsiteX1013" fmla="*/ 73328 w 4488985"/>
                <a:gd name="connsiteY1013" fmla="*/ 1036165 h 2422364"/>
                <a:gd name="connsiteX1014" fmla="*/ 76566 w 4488985"/>
                <a:gd name="connsiteY1014" fmla="*/ 1022416 h 2422364"/>
                <a:gd name="connsiteX1015" fmla="*/ 57575 w 4488985"/>
                <a:gd name="connsiteY1015" fmla="*/ 990499 h 2422364"/>
                <a:gd name="connsiteX1016" fmla="*/ 36718 w 4488985"/>
                <a:gd name="connsiteY1016" fmla="*/ 972415 h 2422364"/>
                <a:gd name="connsiteX1017" fmla="*/ 33398 w 4488985"/>
                <a:gd name="connsiteY1017" fmla="*/ 953040 h 2422364"/>
                <a:gd name="connsiteX1018" fmla="*/ 40506 w 4488985"/>
                <a:gd name="connsiteY1018" fmla="*/ 928725 h 2422364"/>
                <a:gd name="connsiteX1019" fmla="*/ 37404 w 4488985"/>
                <a:gd name="connsiteY1019" fmla="*/ 920849 h 2422364"/>
                <a:gd name="connsiteX1020" fmla="*/ 46378 w 4488985"/>
                <a:gd name="connsiteY1020" fmla="*/ 910887 h 2422364"/>
                <a:gd name="connsiteX1021" fmla="*/ 53019 w 4488985"/>
                <a:gd name="connsiteY1021" fmla="*/ 909186 h 2422364"/>
                <a:gd name="connsiteX1022" fmla="*/ 59414 w 4488985"/>
                <a:gd name="connsiteY1022" fmla="*/ 889509 h 2422364"/>
                <a:gd name="connsiteX1023" fmla="*/ 77993 w 4488985"/>
                <a:gd name="connsiteY1023" fmla="*/ 879026 h 2422364"/>
                <a:gd name="connsiteX1024" fmla="*/ 82548 w 4488985"/>
                <a:gd name="connsiteY1024" fmla="*/ 870189 h 2422364"/>
                <a:gd name="connsiteX1025" fmla="*/ 82905 w 4488985"/>
                <a:gd name="connsiteY1025" fmla="*/ 860722 h 2422364"/>
                <a:gd name="connsiteX1026" fmla="*/ 93443 w 4488985"/>
                <a:gd name="connsiteY1026" fmla="*/ 869586 h 2422364"/>
                <a:gd name="connsiteX1027" fmla="*/ 102499 w 4488985"/>
                <a:gd name="connsiteY1027" fmla="*/ 869723 h 2422364"/>
                <a:gd name="connsiteX1028" fmla="*/ 104942 w 4488985"/>
                <a:gd name="connsiteY1028" fmla="*/ 864454 h 2422364"/>
                <a:gd name="connsiteX1029" fmla="*/ 103323 w 4488985"/>
                <a:gd name="connsiteY1029" fmla="*/ 851693 h 2422364"/>
                <a:gd name="connsiteX1030" fmla="*/ 124591 w 4488985"/>
                <a:gd name="connsiteY1030" fmla="*/ 856687 h 2422364"/>
                <a:gd name="connsiteX1031" fmla="*/ 139739 w 4488985"/>
                <a:gd name="connsiteY1031" fmla="*/ 839398 h 2422364"/>
                <a:gd name="connsiteX1032" fmla="*/ 164218 w 4488985"/>
                <a:gd name="connsiteY1032" fmla="*/ 853641 h 2422364"/>
                <a:gd name="connsiteX1033" fmla="*/ 166085 w 4488985"/>
                <a:gd name="connsiteY1033" fmla="*/ 858444 h 2422364"/>
                <a:gd name="connsiteX1034" fmla="*/ 161859 w 4488985"/>
                <a:gd name="connsiteY1034" fmla="*/ 865222 h 2422364"/>
                <a:gd name="connsiteX1035" fmla="*/ 144734 w 4488985"/>
                <a:gd name="connsiteY1035" fmla="*/ 860584 h 2422364"/>
                <a:gd name="connsiteX1036" fmla="*/ 143390 w 4488985"/>
                <a:gd name="connsiteY1036" fmla="*/ 864783 h 2422364"/>
                <a:gd name="connsiteX1037" fmla="*/ 153186 w 4488985"/>
                <a:gd name="connsiteY1037" fmla="*/ 875541 h 2422364"/>
                <a:gd name="connsiteX1038" fmla="*/ 162215 w 4488985"/>
                <a:gd name="connsiteY1038" fmla="*/ 879053 h 2422364"/>
                <a:gd name="connsiteX1039" fmla="*/ 166496 w 4488985"/>
                <a:gd name="connsiteY1039" fmla="*/ 886408 h 2422364"/>
                <a:gd name="connsiteX1040" fmla="*/ 176513 w 4488985"/>
                <a:gd name="connsiteY1040" fmla="*/ 884816 h 2422364"/>
                <a:gd name="connsiteX1041" fmla="*/ 181508 w 4488985"/>
                <a:gd name="connsiteY1041" fmla="*/ 896727 h 2422364"/>
                <a:gd name="connsiteX1042" fmla="*/ 199565 w 4488985"/>
                <a:gd name="connsiteY1042" fmla="*/ 886079 h 2422364"/>
                <a:gd name="connsiteX1043" fmla="*/ 210130 w 4488985"/>
                <a:gd name="connsiteY1043" fmla="*/ 893406 h 2422364"/>
                <a:gd name="connsiteX1044" fmla="*/ 246657 w 4488985"/>
                <a:gd name="connsiteY1044" fmla="*/ 900157 h 2422364"/>
                <a:gd name="connsiteX1045" fmla="*/ 264001 w 4488985"/>
                <a:gd name="connsiteY1045" fmla="*/ 909076 h 2422364"/>
                <a:gd name="connsiteX1046" fmla="*/ 302805 w 4488985"/>
                <a:gd name="connsiteY1046" fmla="*/ 941157 h 2422364"/>
                <a:gd name="connsiteX1047" fmla="*/ 326352 w 4488985"/>
                <a:gd name="connsiteY1047" fmla="*/ 966871 h 2422364"/>
                <a:gd name="connsiteX1048" fmla="*/ 359283 w 4488985"/>
                <a:gd name="connsiteY1048" fmla="*/ 990143 h 2422364"/>
                <a:gd name="connsiteX1049" fmla="*/ 369410 w 4488985"/>
                <a:gd name="connsiteY1049" fmla="*/ 991405 h 2422364"/>
                <a:gd name="connsiteX1050" fmla="*/ 384448 w 4488985"/>
                <a:gd name="connsiteY1050" fmla="*/ 1011823 h 2422364"/>
                <a:gd name="connsiteX1051" fmla="*/ 397155 w 4488985"/>
                <a:gd name="connsiteY1051" fmla="*/ 1018958 h 2422364"/>
                <a:gd name="connsiteX1052" fmla="*/ 400640 w 4488985"/>
                <a:gd name="connsiteY1052" fmla="*/ 1024776 h 2422364"/>
                <a:gd name="connsiteX1053" fmla="*/ 404784 w 4488985"/>
                <a:gd name="connsiteY1053" fmla="*/ 1048679 h 2422364"/>
                <a:gd name="connsiteX1054" fmla="*/ 410025 w 4488985"/>
                <a:gd name="connsiteY1054" fmla="*/ 1063498 h 2422364"/>
                <a:gd name="connsiteX1055" fmla="*/ 409559 w 4488985"/>
                <a:gd name="connsiteY1055" fmla="*/ 1074667 h 2422364"/>
                <a:gd name="connsiteX1056" fmla="*/ 405168 w 4488985"/>
                <a:gd name="connsiteY1056" fmla="*/ 1087099 h 2422364"/>
                <a:gd name="connsiteX1057" fmla="*/ 384174 w 4488985"/>
                <a:gd name="connsiteY1057" fmla="*/ 1116024 h 2422364"/>
                <a:gd name="connsiteX1058" fmla="*/ 372511 w 4488985"/>
                <a:gd name="connsiteY1058" fmla="*/ 1126123 h 2422364"/>
                <a:gd name="connsiteX1059" fmla="*/ 346523 w 4488985"/>
                <a:gd name="connsiteY1059" fmla="*/ 1137676 h 2422364"/>
                <a:gd name="connsiteX1060" fmla="*/ 325062 w 4488985"/>
                <a:gd name="connsiteY1060" fmla="*/ 1141408 h 2422364"/>
                <a:gd name="connsiteX1061" fmla="*/ 243227 w 4488985"/>
                <a:gd name="connsiteY1061" fmla="*/ 1118548 h 2422364"/>
                <a:gd name="connsiteX1062" fmla="*/ 224182 w 4488985"/>
                <a:gd name="connsiteY1062" fmla="*/ 1105705 h 2422364"/>
                <a:gd name="connsiteX1063" fmla="*/ 210844 w 4488985"/>
                <a:gd name="connsiteY1063" fmla="*/ 1104360 h 2422364"/>
                <a:gd name="connsiteX1064" fmla="*/ 188286 w 4488985"/>
                <a:gd name="connsiteY1064" fmla="*/ 1090227 h 2422364"/>
                <a:gd name="connsiteX1065" fmla="*/ 179559 w 4488985"/>
                <a:gd name="connsiteY1065" fmla="*/ 1090584 h 2422364"/>
                <a:gd name="connsiteX1066" fmla="*/ 158730 w 4488985"/>
                <a:gd name="connsiteY1066" fmla="*/ 1068849 h 2422364"/>
                <a:gd name="connsiteX1067" fmla="*/ 151375 w 4488985"/>
                <a:gd name="connsiteY1067" fmla="*/ 1068245 h 2422364"/>
                <a:gd name="connsiteX1068" fmla="*/ 155244 w 4488985"/>
                <a:gd name="connsiteY1068" fmla="*/ 1083010 h 2422364"/>
                <a:gd name="connsiteX1069" fmla="*/ 169103 w 4488985"/>
                <a:gd name="connsiteY1069" fmla="*/ 1097637 h 2422364"/>
                <a:gd name="connsiteX1070" fmla="*/ 170833 w 4488985"/>
                <a:gd name="connsiteY1070" fmla="*/ 1108038 h 2422364"/>
                <a:gd name="connsiteX1071" fmla="*/ 180190 w 4488985"/>
                <a:gd name="connsiteY1071" fmla="*/ 1114597 h 2422364"/>
                <a:gd name="connsiteX1072" fmla="*/ 187380 w 4488985"/>
                <a:gd name="connsiteY1072" fmla="*/ 1126864 h 2422364"/>
                <a:gd name="connsiteX1073" fmla="*/ 206453 w 4488985"/>
                <a:gd name="connsiteY1073" fmla="*/ 1138746 h 2422364"/>
                <a:gd name="connsiteX1074" fmla="*/ 220806 w 4488985"/>
                <a:gd name="connsiteY1074" fmla="*/ 1160124 h 2422364"/>
                <a:gd name="connsiteX1075" fmla="*/ 221217 w 4488985"/>
                <a:gd name="connsiteY1075" fmla="*/ 1164515 h 2422364"/>
                <a:gd name="connsiteX1076" fmla="*/ 217622 w 4488985"/>
                <a:gd name="connsiteY1076" fmla="*/ 1168824 h 2422364"/>
                <a:gd name="connsiteX1077" fmla="*/ 210954 w 4488985"/>
                <a:gd name="connsiteY1077" fmla="*/ 1192864 h 2422364"/>
                <a:gd name="connsiteX1078" fmla="*/ 221245 w 4488985"/>
                <a:gd name="connsiteY1078" fmla="*/ 1228924 h 2422364"/>
                <a:gd name="connsiteX1079" fmla="*/ 222397 w 4488985"/>
                <a:gd name="connsiteY1079" fmla="*/ 1250275 h 2422364"/>
                <a:gd name="connsiteX1080" fmla="*/ 236284 w 4488985"/>
                <a:gd name="connsiteY1080" fmla="*/ 1263667 h 2422364"/>
                <a:gd name="connsiteX1081" fmla="*/ 250911 w 4488985"/>
                <a:gd name="connsiteY1081" fmla="*/ 1262597 h 2422364"/>
                <a:gd name="connsiteX1082" fmla="*/ 256701 w 4488985"/>
                <a:gd name="connsiteY1082" fmla="*/ 1272119 h 2422364"/>
                <a:gd name="connsiteX1083" fmla="*/ 257882 w 4488985"/>
                <a:gd name="connsiteY1083" fmla="*/ 1274068 h 2422364"/>
                <a:gd name="connsiteX1084" fmla="*/ 264825 w 4488985"/>
                <a:gd name="connsiteY1084" fmla="*/ 1285429 h 2422364"/>
                <a:gd name="connsiteX1085" fmla="*/ 292844 w 4488985"/>
                <a:gd name="connsiteY1085" fmla="*/ 1297504 h 2422364"/>
                <a:gd name="connsiteX1086" fmla="*/ 312301 w 4488985"/>
                <a:gd name="connsiteY1086" fmla="*/ 1287460 h 2422364"/>
                <a:gd name="connsiteX1087" fmla="*/ 311697 w 4488985"/>
                <a:gd name="connsiteY1087" fmla="*/ 1274068 h 2422364"/>
                <a:gd name="connsiteX1088" fmla="*/ 310792 w 4488985"/>
                <a:gd name="connsiteY1088" fmla="*/ 1264216 h 2422364"/>
                <a:gd name="connsiteX1089" fmla="*/ 305715 w 4488985"/>
                <a:gd name="connsiteY1089" fmla="*/ 1257767 h 2422364"/>
                <a:gd name="connsiteX1090" fmla="*/ 287328 w 4488985"/>
                <a:gd name="connsiteY1090" fmla="*/ 1255818 h 2422364"/>
                <a:gd name="connsiteX1091" fmla="*/ 272755 w 4488985"/>
                <a:gd name="connsiteY1091" fmla="*/ 1235977 h 2422364"/>
                <a:gd name="connsiteX1092" fmla="*/ 271109 w 4488985"/>
                <a:gd name="connsiteY1092" fmla="*/ 1224753 h 2422364"/>
                <a:gd name="connsiteX1093" fmla="*/ 283815 w 4488985"/>
                <a:gd name="connsiteY1093" fmla="*/ 1209659 h 2422364"/>
                <a:gd name="connsiteX1094" fmla="*/ 302641 w 4488985"/>
                <a:gd name="connsiteY1094" fmla="*/ 1215916 h 2422364"/>
                <a:gd name="connsiteX1095" fmla="*/ 315320 w 4488985"/>
                <a:gd name="connsiteY1095" fmla="*/ 1228156 h 2422364"/>
                <a:gd name="connsiteX1096" fmla="*/ 318393 w 4488985"/>
                <a:gd name="connsiteY1096" fmla="*/ 1236251 h 2422364"/>
                <a:gd name="connsiteX1097" fmla="*/ 331950 w 4488985"/>
                <a:gd name="connsiteY1097" fmla="*/ 1233836 h 2422364"/>
                <a:gd name="connsiteX1098" fmla="*/ 360326 w 4488985"/>
                <a:gd name="connsiteY1098" fmla="*/ 1246323 h 2422364"/>
                <a:gd name="connsiteX1099" fmla="*/ 370206 w 4488985"/>
                <a:gd name="connsiteY1099" fmla="*/ 1237239 h 2422364"/>
                <a:gd name="connsiteX1100" fmla="*/ 376298 w 4488985"/>
                <a:gd name="connsiteY1100" fmla="*/ 1243496 h 2422364"/>
                <a:gd name="connsiteX1101" fmla="*/ 382830 w 4488985"/>
                <a:gd name="connsiteY1101" fmla="*/ 1229802 h 2422364"/>
                <a:gd name="connsiteX1102" fmla="*/ 377945 w 4488985"/>
                <a:gd name="connsiteY1102" fmla="*/ 1214324 h 2422364"/>
                <a:gd name="connsiteX1103" fmla="*/ 366364 w 4488985"/>
                <a:gd name="connsiteY1103" fmla="*/ 1192974 h 2422364"/>
                <a:gd name="connsiteX1104" fmla="*/ 365869 w 4488985"/>
                <a:gd name="connsiteY1104" fmla="*/ 1182024 h 2422364"/>
                <a:gd name="connsiteX1105" fmla="*/ 370508 w 4488985"/>
                <a:gd name="connsiteY1105" fmla="*/ 1172364 h 2422364"/>
                <a:gd name="connsiteX1106" fmla="*/ 394301 w 4488985"/>
                <a:gd name="connsiteY1106" fmla="*/ 1148598 h 2422364"/>
                <a:gd name="connsiteX1107" fmla="*/ 416227 w 4488985"/>
                <a:gd name="connsiteY1107" fmla="*/ 1135892 h 2422364"/>
                <a:gd name="connsiteX1108" fmla="*/ 436343 w 4488985"/>
                <a:gd name="connsiteY1108" fmla="*/ 1112895 h 2422364"/>
                <a:gd name="connsiteX1109" fmla="*/ 467903 w 4488985"/>
                <a:gd name="connsiteY1109" fmla="*/ 1118466 h 2422364"/>
                <a:gd name="connsiteX1110" fmla="*/ 491284 w 4488985"/>
                <a:gd name="connsiteY1110" fmla="*/ 1141189 h 2422364"/>
                <a:gd name="connsiteX1111" fmla="*/ 496251 w 4488985"/>
                <a:gd name="connsiteY1111" fmla="*/ 1116957 h 2422364"/>
                <a:gd name="connsiteX1112" fmla="*/ 502810 w 4488985"/>
                <a:gd name="connsiteY1112" fmla="*/ 1095963 h 2422364"/>
                <a:gd name="connsiteX1113" fmla="*/ 501328 w 4488985"/>
                <a:gd name="connsiteY1113" fmla="*/ 1074804 h 2422364"/>
                <a:gd name="connsiteX1114" fmla="*/ 496251 w 4488985"/>
                <a:gd name="connsiteY1114" fmla="*/ 1066681 h 2422364"/>
                <a:gd name="connsiteX1115" fmla="*/ 495126 w 4488985"/>
                <a:gd name="connsiteY1115" fmla="*/ 1064870 h 2422364"/>
                <a:gd name="connsiteX1116" fmla="*/ 486701 w 4488985"/>
                <a:gd name="connsiteY1116" fmla="*/ 1059134 h 2422364"/>
                <a:gd name="connsiteX1117" fmla="*/ 484725 w 4488985"/>
                <a:gd name="connsiteY1117" fmla="*/ 1052877 h 2422364"/>
                <a:gd name="connsiteX1118" fmla="*/ 486646 w 4488985"/>
                <a:gd name="connsiteY1118" fmla="*/ 1037701 h 2422364"/>
                <a:gd name="connsiteX1119" fmla="*/ 494358 w 4488985"/>
                <a:gd name="connsiteY1119" fmla="*/ 1010368 h 2422364"/>
                <a:gd name="connsiteX1120" fmla="*/ 495318 w 4488985"/>
                <a:gd name="connsiteY1120" fmla="*/ 980044 h 2422364"/>
                <a:gd name="connsiteX1121" fmla="*/ 477947 w 4488985"/>
                <a:gd name="connsiteY1121" fmla="*/ 952354 h 2422364"/>
                <a:gd name="connsiteX1122" fmla="*/ 477151 w 4488985"/>
                <a:gd name="connsiteY1122" fmla="*/ 946865 h 2422364"/>
                <a:gd name="connsiteX1123" fmla="*/ 496251 w 4488985"/>
                <a:gd name="connsiteY1123" fmla="*/ 950570 h 2422364"/>
                <a:gd name="connsiteX1124" fmla="*/ 537333 w 4488985"/>
                <a:gd name="connsiteY1124" fmla="*/ 958528 h 2422364"/>
                <a:gd name="connsiteX1125" fmla="*/ 539007 w 4488985"/>
                <a:gd name="connsiteY1125" fmla="*/ 958858 h 2422364"/>
                <a:gd name="connsiteX1126" fmla="*/ 560605 w 4488985"/>
                <a:gd name="connsiteY1126" fmla="*/ 984133 h 2422364"/>
                <a:gd name="connsiteX1127" fmla="*/ 565874 w 4488985"/>
                <a:gd name="connsiteY1127" fmla="*/ 998568 h 2422364"/>
                <a:gd name="connsiteX1128" fmla="*/ 565051 w 4488985"/>
                <a:gd name="connsiteY1128" fmla="*/ 1007651 h 2422364"/>
                <a:gd name="connsiteX1129" fmla="*/ 537360 w 4488985"/>
                <a:gd name="connsiteY1129" fmla="*/ 1016104 h 2422364"/>
                <a:gd name="connsiteX1130" fmla="*/ 534452 w 4488985"/>
                <a:gd name="connsiteY1130" fmla="*/ 1016982 h 2422364"/>
                <a:gd name="connsiteX1131" fmla="*/ 519358 w 4488985"/>
                <a:gd name="connsiteY1131" fmla="*/ 1043739 h 2422364"/>
                <a:gd name="connsiteX1132" fmla="*/ 521883 w 4488985"/>
                <a:gd name="connsiteY1132" fmla="*/ 1050380 h 2422364"/>
                <a:gd name="connsiteX1133" fmla="*/ 534836 w 4488985"/>
                <a:gd name="connsiteY1133" fmla="*/ 1061687 h 2422364"/>
                <a:gd name="connsiteX1134" fmla="*/ 537333 w 4488985"/>
                <a:gd name="connsiteY1134" fmla="*/ 1066516 h 2422364"/>
                <a:gd name="connsiteX1135" fmla="*/ 543508 w 4488985"/>
                <a:gd name="connsiteY1135" fmla="*/ 1078427 h 2422364"/>
                <a:gd name="connsiteX1136" fmla="*/ 550588 w 4488985"/>
                <a:gd name="connsiteY1136" fmla="*/ 1083504 h 2422364"/>
                <a:gd name="connsiteX1137" fmla="*/ 576193 w 4488985"/>
                <a:gd name="connsiteY1137" fmla="*/ 1080430 h 2422364"/>
                <a:gd name="connsiteX1138" fmla="*/ 593976 w 4488985"/>
                <a:gd name="connsiteY1138" fmla="*/ 1076835 h 2422364"/>
                <a:gd name="connsiteX1139" fmla="*/ 598092 w 4488985"/>
                <a:gd name="connsiteY1139" fmla="*/ 1068822 h 2422364"/>
                <a:gd name="connsiteX1140" fmla="*/ 600699 w 4488985"/>
                <a:gd name="connsiteY1140" fmla="*/ 1051313 h 2422364"/>
                <a:gd name="connsiteX1141" fmla="*/ 607752 w 4488985"/>
                <a:gd name="connsiteY1141" fmla="*/ 1027191 h 2422364"/>
                <a:gd name="connsiteX1142" fmla="*/ 626550 w 4488985"/>
                <a:gd name="connsiteY1142" fmla="*/ 1020714 h 2422364"/>
                <a:gd name="connsiteX1143" fmla="*/ 634701 w 4488985"/>
                <a:gd name="connsiteY1143" fmla="*/ 1006965 h 2422364"/>
                <a:gd name="connsiteX1144" fmla="*/ 663489 w 4488985"/>
                <a:gd name="connsiteY1144" fmla="*/ 993875 h 2422364"/>
                <a:gd name="connsiteX1145" fmla="*/ 700756 w 4488985"/>
                <a:gd name="connsiteY1145" fmla="*/ 957705 h 2422364"/>
                <a:gd name="connsiteX1146" fmla="*/ 708989 w 4488985"/>
                <a:gd name="connsiteY1146" fmla="*/ 960230 h 2422364"/>
                <a:gd name="connsiteX1147" fmla="*/ 727513 w 4488985"/>
                <a:gd name="connsiteY1147" fmla="*/ 954906 h 2422364"/>
                <a:gd name="connsiteX1148" fmla="*/ 733469 w 4488985"/>
                <a:gd name="connsiteY1148" fmla="*/ 965554 h 2422364"/>
                <a:gd name="connsiteX1149" fmla="*/ 737530 w 4488985"/>
                <a:gd name="connsiteY1149" fmla="*/ 966459 h 2422364"/>
                <a:gd name="connsiteX1150" fmla="*/ 742881 w 4488985"/>
                <a:gd name="connsiteY1150" fmla="*/ 958803 h 2422364"/>
                <a:gd name="connsiteX1151" fmla="*/ 741866 w 4488985"/>
                <a:gd name="connsiteY1151" fmla="*/ 943462 h 2422364"/>
                <a:gd name="connsiteX1152" fmla="*/ 770434 w 4488985"/>
                <a:gd name="connsiteY1152" fmla="*/ 923539 h 2422364"/>
                <a:gd name="connsiteX1153" fmla="*/ 779545 w 4488985"/>
                <a:gd name="connsiteY1153" fmla="*/ 929549 h 2422364"/>
                <a:gd name="connsiteX1154" fmla="*/ 778365 w 4488985"/>
                <a:gd name="connsiteY1154" fmla="*/ 946481 h 2422364"/>
                <a:gd name="connsiteX1155" fmla="*/ 781109 w 4488985"/>
                <a:gd name="connsiteY1155" fmla="*/ 964099 h 2422364"/>
                <a:gd name="connsiteX1156" fmla="*/ 767443 w 4488985"/>
                <a:gd name="connsiteY1156" fmla="*/ 968435 h 2422364"/>
                <a:gd name="connsiteX1157" fmla="*/ 765604 w 4488985"/>
                <a:gd name="connsiteY1157" fmla="*/ 972003 h 2422364"/>
                <a:gd name="connsiteX1158" fmla="*/ 767443 w 4488985"/>
                <a:gd name="connsiteY1158" fmla="*/ 975900 h 2422364"/>
                <a:gd name="connsiteX1159" fmla="*/ 781466 w 4488985"/>
                <a:gd name="connsiteY1159" fmla="*/ 978644 h 2422364"/>
                <a:gd name="connsiteX1160" fmla="*/ 793513 w 4488985"/>
                <a:gd name="connsiteY1160" fmla="*/ 972360 h 2422364"/>
                <a:gd name="connsiteX1161" fmla="*/ 806466 w 4488985"/>
                <a:gd name="connsiteY1161" fmla="*/ 979275 h 2422364"/>
                <a:gd name="connsiteX1162" fmla="*/ 814809 w 4488985"/>
                <a:gd name="connsiteY1162" fmla="*/ 962810 h 2422364"/>
                <a:gd name="connsiteX1163" fmla="*/ 827515 w 4488985"/>
                <a:gd name="connsiteY1163" fmla="*/ 951338 h 2422364"/>
                <a:gd name="connsiteX1164" fmla="*/ 844969 w 4488985"/>
                <a:gd name="connsiteY1164" fmla="*/ 945218 h 2422364"/>
                <a:gd name="connsiteX1165" fmla="*/ 878697 w 4488985"/>
                <a:gd name="connsiteY1165" fmla="*/ 951338 h 2422364"/>
                <a:gd name="connsiteX1166" fmla="*/ 893955 w 4488985"/>
                <a:gd name="connsiteY1166" fmla="*/ 934378 h 2422364"/>
                <a:gd name="connsiteX1167" fmla="*/ 928725 w 4488985"/>
                <a:gd name="connsiteY1167" fmla="*/ 919065 h 2422364"/>
                <a:gd name="connsiteX1168" fmla="*/ 941513 w 4488985"/>
                <a:gd name="connsiteY1168" fmla="*/ 934735 h 2422364"/>
                <a:gd name="connsiteX1169" fmla="*/ 936244 w 4488985"/>
                <a:gd name="connsiteY1169" fmla="*/ 948951 h 2422364"/>
                <a:gd name="connsiteX1170" fmla="*/ 936821 w 4488985"/>
                <a:gd name="connsiteY1170" fmla="*/ 960202 h 2422364"/>
                <a:gd name="connsiteX1171" fmla="*/ 951201 w 4488985"/>
                <a:gd name="connsiteY1171" fmla="*/ 965718 h 2422364"/>
                <a:gd name="connsiteX1172" fmla="*/ 955482 w 4488985"/>
                <a:gd name="connsiteY1172" fmla="*/ 960449 h 2422364"/>
                <a:gd name="connsiteX1173" fmla="*/ 958336 w 4488985"/>
                <a:gd name="connsiteY1173" fmla="*/ 943215 h 2422364"/>
                <a:gd name="connsiteX1174" fmla="*/ 973979 w 4488985"/>
                <a:gd name="connsiteY1174" fmla="*/ 938275 h 2422364"/>
                <a:gd name="connsiteX1175" fmla="*/ 986603 w 4488985"/>
                <a:gd name="connsiteY1175" fmla="*/ 922551 h 2422364"/>
                <a:gd name="connsiteX1176" fmla="*/ 985752 w 4488985"/>
                <a:gd name="connsiteY1176" fmla="*/ 908884 h 2422364"/>
                <a:gd name="connsiteX1177" fmla="*/ 978424 w 4488985"/>
                <a:gd name="connsiteY1177" fmla="*/ 898236 h 2422364"/>
                <a:gd name="connsiteX1178" fmla="*/ 968545 w 4488985"/>
                <a:gd name="connsiteY1178" fmla="*/ 868817 h 2422364"/>
                <a:gd name="connsiteX1179" fmla="*/ 970685 w 4488985"/>
                <a:gd name="connsiteY1179" fmla="*/ 862615 h 2422364"/>
                <a:gd name="connsiteX1180" fmla="*/ 988084 w 4488985"/>
                <a:gd name="connsiteY1180" fmla="*/ 845299 h 2422364"/>
                <a:gd name="connsiteX1181" fmla="*/ 1053728 w 4488985"/>
                <a:gd name="connsiteY1181" fmla="*/ 859404 h 2422364"/>
                <a:gd name="connsiteX1182" fmla="*/ 1085370 w 4488985"/>
                <a:gd name="connsiteY1182" fmla="*/ 873867 h 2422364"/>
                <a:gd name="connsiteX1183" fmla="*/ 1123378 w 4488985"/>
                <a:gd name="connsiteY1183" fmla="*/ 903889 h 2422364"/>
                <a:gd name="connsiteX1184" fmla="*/ 1159603 w 4488985"/>
                <a:gd name="connsiteY1184" fmla="*/ 925130 h 2422364"/>
                <a:gd name="connsiteX1185" fmla="*/ 1166107 w 4488985"/>
                <a:gd name="connsiteY1185" fmla="*/ 928917 h 2422364"/>
                <a:gd name="connsiteX1186" fmla="*/ 1175382 w 4488985"/>
                <a:gd name="connsiteY1186" fmla="*/ 942529 h 2422364"/>
                <a:gd name="connsiteX1187" fmla="*/ 1198380 w 4488985"/>
                <a:gd name="connsiteY1187" fmla="*/ 963825 h 2422364"/>
                <a:gd name="connsiteX1188" fmla="*/ 1201920 w 4488985"/>
                <a:gd name="connsiteY1188" fmla="*/ 972030 h 2422364"/>
                <a:gd name="connsiteX1189" fmla="*/ 1203868 w 4488985"/>
                <a:gd name="connsiteY1189" fmla="*/ 976586 h 2422364"/>
                <a:gd name="connsiteX1190" fmla="*/ 1206365 w 4488985"/>
                <a:gd name="connsiteY1190" fmla="*/ 976778 h 2422364"/>
                <a:gd name="connsiteX1191" fmla="*/ 1213171 w 4488985"/>
                <a:gd name="connsiteY1191" fmla="*/ 968051 h 2422364"/>
                <a:gd name="connsiteX1192" fmla="*/ 1225192 w 4488985"/>
                <a:gd name="connsiteY1192" fmla="*/ 937013 h 2422364"/>
                <a:gd name="connsiteX1193" fmla="*/ 1226097 w 4488985"/>
                <a:gd name="connsiteY1193" fmla="*/ 926255 h 2422364"/>
                <a:gd name="connsiteX1194" fmla="*/ 1208836 w 4488985"/>
                <a:gd name="connsiteY1194" fmla="*/ 913906 h 2422364"/>
                <a:gd name="connsiteX1195" fmla="*/ 1201893 w 4488985"/>
                <a:gd name="connsiteY1195" fmla="*/ 898785 h 2422364"/>
                <a:gd name="connsiteX1196" fmla="*/ 1199121 w 4488985"/>
                <a:gd name="connsiteY1196" fmla="*/ 892802 h 2422364"/>
                <a:gd name="connsiteX1197" fmla="*/ 1195416 w 4488985"/>
                <a:gd name="connsiteY1197" fmla="*/ 873784 h 2422364"/>
                <a:gd name="connsiteX1198" fmla="*/ 1178539 w 4488985"/>
                <a:gd name="connsiteY1198" fmla="*/ 866018 h 2422364"/>
                <a:gd name="connsiteX1199" fmla="*/ 1171843 w 4488985"/>
                <a:gd name="connsiteY1199" fmla="*/ 883142 h 2422364"/>
                <a:gd name="connsiteX1200" fmla="*/ 1167479 w 4488985"/>
                <a:gd name="connsiteY1200" fmla="*/ 882621 h 2422364"/>
                <a:gd name="connsiteX1201" fmla="*/ 1168000 w 4488985"/>
                <a:gd name="connsiteY1201" fmla="*/ 875157 h 2422364"/>
                <a:gd name="connsiteX1202" fmla="*/ 1173352 w 4488985"/>
                <a:gd name="connsiteY1202" fmla="*/ 863823 h 2422364"/>
                <a:gd name="connsiteX1203" fmla="*/ 1169098 w 4488985"/>
                <a:gd name="connsiteY1203" fmla="*/ 859926 h 2422364"/>
                <a:gd name="connsiteX1204" fmla="*/ 1162786 w 4488985"/>
                <a:gd name="connsiteY1204" fmla="*/ 862505 h 2422364"/>
                <a:gd name="connsiteX1205" fmla="*/ 1161661 w 4488985"/>
                <a:gd name="connsiteY1205" fmla="*/ 848592 h 2422364"/>
                <a:gd name="connsiteX1206" fmla="*/ 1164707 w 4488985"/>
                <a:gd name="connsiteY1206" fmla="*/ 836023 h 2422364"/>
                <a:gd name="connsiteX1207" fmla="*/ 1176068 w 4488985"/>
                <a:gd name="connsiteY1207" fmla="*/ 827763 h 2422364"/>
                <a:gd name="connsiteX1208" fmla="*/ 1172309 w 4488985"/>
                <a:gd name="connsiteY1208" fmla="*/ 808333 h 2422364"/>
                <a:gd name="connsiteX1209" fmla="*/ 1175218 w 4488985"/>
                <a:gd name="connsiteY1209" fmla="*/ 770105 h 2422364"/>
                <a:gd name="connsiteX1210" fmla="*/ 1171184 w 4488985"/>
                <a:gd name="connsiteY1210" fmla="*/ 760088 h 2422364"/>
                <a:gd name="connsiteX1211" fmla="*/ 1159548 w 4488985"/>
                <a:gd name="connsiteY1211" fmla="*/ 759155 h 2422364"/>
                <a:gd name="connsiteX1212" fmla="*/ 1158725 w 4488985"/>
                <a:gd name="connsiteY1212" fmla="*/ 739863 h 2422364"/>
                <a:gd name="connsiteX1213" fmla="*/ 1159575 w 4488985"/>
                <a:gd name="connsiteY1213" fmla="*/ 737887 h 2422364"/>
                <a:gd name="connsiteX1214" fmla="*/ 1169345 w 4488985"/>
                <a:gd name="connsiteY1214" fmla="*/ 716042 h 2422364"/>
                <a:gd name="connsiteX1215" fmla="*/ 1202853 w 4488985"/>
                <a:gd name="connsiteY1215" fmla="*/ 678857 h 2422364"/>
                <a:gd name="connsiteX1216" fmla="*/ 1211580 w 4488985"/>
                <a:gd name="connsiteY1216" fmla="*/ 656244 h 2422364"/>
                <a:gd name="connsiteX1217" fmla="*/ 1224176 w 4488985"/>
                <a:gd name="connsiteY1217" fmla="*/ 589475 h 2422364"/>
                <a:gd name="connsiteX1218" fmla="*/ 1235894 w 4488985"/>
                <a:gd name="connsiteY1218" fmla="*/ 564008 h 2422364"/>
                <a:gd name="connsiteX1219" fmla="*/ 1300275 w 4488985"/>
                <a:gd name="connsiteY1219" fmla="*/ 565929 h 2422364"/>
                <a:gd name="connsiteX1220" fmla="*/ 1332192 w 4488985"/>
                <a:gd name="connsiteY1220" fmla="*/ 592219 h 2422364"/>
                <a:gd name="connsiteX1221" fmla="*/ 1332795 w 4488985"/>
                <a:gd name="connsiteY1221" fmla="*/ 634509 h 2422364"/>
                <a:gd name="connsiteX1222" fmla="*/ 1312899 w 4488985"/>
                <a:gd name="connsiteY1222" fmla="*/ 702019 h 2422364"/>
                <a:gd name="connsiteX1223" fmla="*/ 1317867 w 4488985"/>
                <a:gd name="connsiteY1223" fmla="*/ 717634 h 2422364"/>
                <a:gd name="connsiteX1224" fmla="*/ 1329200 w 4488985"/>
                <a:gd name="connsiteY1224" fmla="*/ 734786 h 2422364"/>
                <a:gd name="connsiteX1225" fmla="*/ 1335128 w 4488985"/>
                <a:gd name="connsiteY1225" fmla="*/ 759731 h 2422364"/>
                <a:gd name="connsiteX1226" fmla="*/ 1334250 w 4488985"/>
                <a:gd name="connsiteY1226" fmla="*/ 788876 h 2422364"/>
                <a:gd name="connsiteX1227" fmla="*/ 1328871 w 4488985"/>
                <a:gd name="connsiteY1227" fmla="*/ 815084 h 2422364"/>
                <a:gd name="connsiteX1228" fmla="*/ 1331259 w 4488985"/>
                <a:gd name="connsiteY1228" fmla="*/ 852214 h 2422364"/>
                <a:gd name="connsiteX1229" fmla="*/ 1330655 w 4488985"/>
                <a:gd name="connsiteY1229" fmla="*/ 911985 h 2422364"/>
                <a:gd name="connsiteX1230" fmla="*/ 1334991 w 4488985"/>
                <a:gd name="connsiteY1230" fmla="*/ 925295 h 2422364"/>
                <a:gd name="connsiteX1231" fmla="*/ 1351731 w 4488985"/>
                <a:gd name="connsiteY1231" fmla="*/ 945520 h 2422364"/>
                <a:gd name="connsiteX1232" fmla="*/ 1355079 w 4488985"/>
                <a:gd name="connsiteY1232" fmla="*/ 956306 h 2422364"/>
                <a:gd name="connsiteX1233" fmla="*/ 1347203 w 4488985"/>
                <a:gd name="connsiteY1233" fmla="*/ 981718 h 2422364"/>
                <a:gd name="connsiteX1234" fmla="*/ 1345365 w 4488985"/>
                <a:gd name="connsiteY1234" fmla="*/ 1009819 h 2422364"/>
                <a:gd name="connsiteX1235" fmla="*/ 1329722 w 4488985"/>
                <a:gd name="connsiteY1235" fmla="*/ 1033695 h 2422364"/>
                <a:gd name="connsiteX1236" fmla="*/ 1312625 w 4488985"/>
                <a:gd name="connsiteY1236" fmla="*/ 1068794 h 2422364"/>
                <a:gd name="connsiteX1237" fmla="*/ 1302718 w 4488985"/>
                <a:gd name="connsiteY1237" fmla="*/ 1080101 h 2422364"/>
                <a:gd name="connsiteX1238" fmla="*/ 1296022 w 4488985"/>
                <a:gd name="connsiteY1238" fmla="*/ 1098680 h 2422364"/>
                <a:gd name="connsiteX1239" fmla="*/ 1272010 w 4488985"/>
                <a:gd name="connsiteY1239" fmla="*/ 1106281 h 2422364"/>
                <a:gd name="connsiteX1240" fmla="*/ 1254281 w 4488985"/>
                <a:gd name="connsiteY1240" fmla="*/ 1090200 h 2422364"/>
                <a:gd name="connsiteX1241" fmla="*/ 1253266 w 4488985"/>
                <a:gd name="connsiteY1241" fmla="*/ 1092889 h 2422364"/>
                <a:gd name="connsiteX1242" fmla="*/ 1254803 w 4488985"/>
                <a:gd name="connsiteY1242" fmla="*/ 1102192 h 2422364"/>
                <a:gd name="connsiteX1243" fmla="*/ 1253073 w 4488985"/>
                <a:gd name="connsiteY1243" fmla="*/ 1106172 h 2422364"/>
                <a:gd name="connsiteX1244" fmla="*/ 1238858 w 4488985"/>
                <a:gd name="connsiteY1244" fmla="*/ 1097747 h 2422364"/>
                <a:gd name="connsiteX1245" fmla="*/ 1234962 w 4488985"/>
                <a:gd name="connsiteY1245" fmla="*/ 1099969 h 2422364"/>
                <a:gd name="connsiteX1246" fmla="*/ 1241657 w 4488985"/>
                <a:gd name="connsiteY1246" fmla="*/ 1110151 h 2422364"/>
                <a:gd name="connsiteX1247" fmla="*/ 1268112 w 4488985"/>
                <a:gd name="connsiteY1247" fmla="*/ 1119811 h 2422364"/>
                <a:gd name="connsiteX1248" fmla="*/ 1318058 w 4488985"/>
                <a:gd name="connsiteY1248" fmla="*/ 1123323 h 2422364"/>
                <a:gd name="connsiteX1249" fmla="*/ 1330079 w 4488985"/>
                <a:gd name="connsiteY1249" fmla="*/ 1104031 h 2422364"/>
                <a:gd name="connsiteX1250" fmla="*/ 1363339 w 4488985"/>
                <a:gd name="connsiteY1250" fmla="*/ 1074969 h 2422364"/>
                <a:gd name="connsiteX1251" fmla="*/ 1375140 w 4488985"/>
                <a:gd name="connsiteY1251" fmla="*/ 1044068 h 2422364"/>
                <a:gd name="connsiteX1252" fmla="*/ 1391441 w 4488985"/>
                <a:gd name="connsiteY1252" fmla="*/ 1016900 h 2422364"/>
                <a:gd name="connsiteX1253" fmla="*/ 1393691 w 4488985"/>
                <a:gd name="connsiteY1253" fmla="*/ 1005703 h 2422364"/>
                <a:gd name="connsiteX1254" fmla="*/ 1393472 w 4488985"/>
                <a:gd name="connsiteY1254" fmla="*/ 994808 h 2422364"/>
                <a:gd name="connsiteX1255" fmla="*/ 1385294 w 4488985"/>
                <a:gd name="connsiteY1255" fmla="*/ 962727 h 2422364"/>
                <a:gd name="connsiteX1256" fmla="*/ 1388175 w 4488985"/>
                <a:gd name="connsiteY1256" fmla="*/ 944862 h 2422364"/>
                <a:gd name="connsiteX1257" fmla="*/ 1391798 w 4488985"/>
                <a:gd name="connsiteY1257" fmla="*/ 940690 h 2422364"/>
                <a:gd name="connsiteX1258" fmla="*/ 1429422 w 4488985"/>
                <a:gd name="connsiteY1258" fmla="*/ 919532 h 2422364"/>
                <a:gd name="connsiteX1259" fmla="*/ 1444488 w 4488985"/>
                <a:gd name="connsiteY1259" fmla="*/ 920630 h 2422364"/>
                <a:gd name="connsiteX1260" fmla="*/ 1463671 w 4488985"/>
                <a:gd name="connsiteY1260" fmla="*/ 954192 h 2422364"/>
                <a:gd name="connsiteX1261" fmla="*/ 1466772 w 4488985"/>
                <a:gd name="connsiteY1261" fmla="*/ 979248 h 2422364"/>
                <a:gd name="connsiteX1262" fmla="*/ 1466772 w 4488985"/>
                <a:gd name="connsiteY1262" fmla="*/ 1008200 h 2422364"/>
                <a:gd name="connsiteX1263" fmla="*/ 1468583 w 4488985"/>
                <a:gd name="connsiteY1263" fmla="*/ 1013936 h 2422364"/>
                <a:gd name="connsiteX1264" fmla="*/ 1478408 w 4488985"/>
                <a:gd name="connsiteY1264" fmla="*/ 1029606 h 2422364"/>
                <a:gd name="connsiteX1265" fmla="*/ 1502338 w 4488985"/>
                <a:gd name="connsiteY1265" fmla="*/ 1026971 h 2422364"/>
                <a:gd name="connsiteX1266" fmla="*/ 1476158 w 4488985"/>
                <a:gd name="connsiteY1266" fmla="*/ 1008008 h 2422364"/>
                <a:gd name="connsiteX1267" fmla="*/ 1475417 w 4488985"/>
                <a:gd name="connsiteY1267" fmla="*/ 999720 h 2422364"/>
                <a:gd name="connsiteX1268" fmla="*/ 1477228 w 4488985"/>
                <a:gd name="connsiteY1268" fmla="*/ 988798 h 2422364"/>
                <a:gd name="connsiteX1269" fmla="*/ 1487683 w 4488985"/>
                <a:gd name="connsiteY1269" fmla="*/ 968271 h 2422364"/>
                <a:gd name="connsiteX1270" fmla="*/ 1469900 w 4488985"/>
                <a:gd name="connsiteY1270" fmla="*/ 919258 h 2422364"/>
                <a:gd name="connsiteX1271" fmla="*/ 1450197 w 4488985"/>
                <a:gd name="connsiteY1271" fmla="*/ 904356 h 2422364"/>
                <a:gd name="connsiteX1272" fmla="*/ 1429971 w 4488985"/>
                <a:gd name="connsiteY1272" fmla="*/ 896233 h 2422364"/>
                <a:gd name="connsiteX1273" fmla="*/ 1379174 w 4488985"/>
                <a:gd name="connsiteY1273" fmla="*/ 905536 h 2422364"/>
                <a:gd name="connsiteX1274" fmla="*/ 1369185 w 4488985"/>
                <a:gd name="connsiteY1274" fmla="*/ 896041 h 2422364"/>
                <a:gd name="connsiteX1275" fmla="*/ 1362379 w 4488985"/>
                <a:gd name="connsiteY1275" fmla="*/ 842993 h 2422364"/>
                <a:gd name="connsiteX1276" fmla="*/ 1366852 w 4488985"/>
                <a:gd name="connsiteY1276" fmla="*/ 818871 h 2422364"/>
                <a:gd name="connsiteX1277" fmla="*/ 1376293 w 4488985"/>
                <a:gd name="connsiteY1277" fmla="*/ 794090 h 2422364"/>
                <a:gd name="connsiteX1278" fmla="*/ 1377473 w 4488985"/>
                <a:gd name="connsiteY1278" fmla="*/ 779655 h 2422364"/>
                <a:gd name="connsiteX1279" fmla="*/ 1349069 w 4488985"/>
                <a:gd name="connsiteY1279" fmla="*/ 701470 h 2422364"/>
                <a:gd name="connsiteX1280" fmla="*/ 1363093 w 4488985"/>
                <a:gd name="connsiteY1280" fmla="*/ 668182 h 2422364"/>
                <a:gd name="connsiteX1281" fmla="*/ 1389356 w 4488985"/>
                <a:gd name="connsiteY1281" fmla="*/ 646721 h 2422364"/>
                <a:gd name="connsiteX1282" fmla="*/ 1397314 w 4488985"/>
                <a:gd name="connsiteY1282" fmla="*/ 635085 h 2422364"/>
                <a:gd name="connsiteX1283" fmla="*/ 1400772 w 4488985"/>
                <a:gd name="connsiteY1283" fmla="*/ 614366 h 2422364"/>
                <a:gd name="connsiteX1284" fmla="*/ 1398906 w 4488985"/>
                <a:gd name="connsiteY1284" fmla="*/ 585249 h 2422364"/>
                <a:gd name="connsiteX1285" fmla="*/ 1400360 w 4488985"/>
                <a:gd name="connsiteY1285" fmla="*/ 574656 h 2422364"/>
                <a:gd name="connsiteX1286" fmla="*/ 1409005 w 4488985"/>
                <a:gd name="connsiteY1286" fmla="*/ 576989 h 2422364"/>
                <a:gd name="connsiteX1287" fmla="*/ 1416497 w 4488985"/>
                <a:gd name="connsiteY1287" fmla="*/ 601166 h 2422364"/>
                <a:gd name="connsiteX1288" fmla="*/ 1417485 w 4488985"/>
                <a:gd name="connsiteY1288" fmla="*/ 624685 h 2422364"/>
                <a:gd name="connsiteX1289" fmla="*/ 1411447 w 4488985"/>
                <a:gd name="connsiteY1289" fmla="*/ 669224 h 2422364"/>
                <a:gd name="connsiteX1290" fmla="*/ 1413011 w 4488985"/>
                <a:gd name="connsiteY1290" fmla="*/ 704846 h 2422364"/>
                <a:gd name="connsiteX1291" fmla="*/ 1422397 w 4488985"/>
                <a:gd name="connsiteY1291" fmla="*/ 719116 h 2422364"/>
                <a:gd name="connsiteX1292" fmla="*/ 1474044 w 4488985"/>
                <a:gd name="connsiteY1292" fmla="*/ 731300 h 2422364"/>
                <a:gd name="connsiteX1293" fmla="*/ 1489604 w 4488985"/>
                <a:gd name="connsiteY1293" fmla="*/ 744583 h 2422364"/>
                <a:gd name="connsiteX1294" fmla="*/ 1497426 w 4488985"/>
                <a:gd name="connsiteY1294" fmla="*/ 744226 h 2422364"/>
                <a:gd name="connsiteX1295" fmla="*/ 1497536 w 4488985"/>
                <a:gd name="connsiteY1295" fmla="*/ 736021 h 2422364"/>
                <a:gd name="connsiteX1296" fmla="*/ 1492596 w 4488985"/>
                <a:gd name="connsiteY1296" fmla="*/ 722875 h 2422364"/>
                <a:gd name="connsiteX1297" fmla="*/ 1450471 w 4488985"/>
                <a:gd name="connsiteY1297" fmla="*/ 697930 h 2422364"/>
                <a:gd name="connsiteX1298" fmla="*/ 1437930 w 4488985"/>
                <a:gd name="connsiteY1298" fmla="*/ 669334 h 2422364"/>
                <a:gd name="connsiteX1299" fmla="*/ 1443391 w 4488985"/>
                <a:gd name="connsiteY1299" fmla="*/ 653664 h 2422364"/>
                <a:gd name="connsiteX1300" fmla="*/ 1450553 w 4488985"/>
                <a:gd name="connsiteY1300" fmla="*/ 648752 h 2422364"/>
                <a:gd name="connsiteX1301" fmla="*/ 1477914 w 4488985"/>
                <a:gd name="connsiteY1301" fmla="*/ 663900 h 2422364"/>
                <a:gd name="connsiteX1302" fmla="*/ 1490922 w 4488985"/>
                <a:gd name="connsiteY1302" fmla="*/ 656573 h 2422364"/>
                <a:gd name="connsiteX1303" fmla="*/ 1491772 w 4488985"/>
                <a:gd name="connsiteY1303" fmla="*/ 651990 h 2422364"/>
                <a:gd name="connsiteX1304" fmla="*/ 1490428 w 4488985"/>
                <a:gd name="connsiteY1304" fmla="*/ 647105 h 2422364"/>
                <a:gd name="connsiteX1305" fmla="*/ 1478792 w 4488985"/>
                <a:gd name="connsiteY1305" fmla="*/ 639147 h 2422364"/>
                <a:gd name="connsiteX1306" fmla="*/ 1473386 w 4488985"/>
                <a:gd name="connsiteY1306" fmla="*/ 625672 h 2422364"/>
                <a:gd name="connsiteX1307" fmla="*/ 1462628 w 4488985"/>
                <a:gd name="connsiteY1307" fmla="*/ 619251 h 2422364"/>
                <a:gd name="connsiteX1308" fmla="*/ 1465510 w 4488985"/>
                <a:gd name="connsiteY1308" fmla="*/ 610963 h 2422364"/>
                <a:gd name="connsiteX1309" fmla="*/ 1480301 w 4488985"/>
                <a:gd name="connsiteY1309" fmla="*/ 596171 h 2422364"/>
                <a:gd name="connsiteX1310" fmla="*/ 1491827 w 4488985"/>
                <a:gd name="connsiteY1310" fmla="*/ 599190 h 2422364"/>
                <a:gd name="connsiteX1311" fmla="*/ 1500060 w 4488985"/>
                <a:gd name="connsiteY1311" fmla="*/ 615573 h 2422364"/>
                <a:gd name="connsiteX1312" fmla="*/ 1540841 w 4488985"/>
                <a:gd name="connsiteY1312" fmla="*/ 623614 h 2422364"/>
                <a:gd name="connsiteX1313" fmla="*/ 1566171 w 4488985"/>
                <a:gd name="connsiteY1313" fmla="*/ 643346 h 2422364"/>
                <a:gd name="connsiteX1314" fmla="*/ 1594382 w 4488985"/>
                <a:gd name="connsiteY1314" fmla="*/ 675344 h 2422364"/>
                <a:gd name="connsiteX1315" fmla="*/ 1627478 w 4488985"/>
                <a:gd name="connsiteY1315" fmla="*/ 674137 h 2422364"/>
                <a:gd name="connsiteX1316" fmla="*/ 1636507 w 4488985"/>
                <a:gd name="connsiteY1316" fmla="*/ 678445 h 2422364"/>
                <a:gd name="connsiteX1317" fmla="*/ 1639032 w 4488985"/>
                <a:gd name="connsiteY1317" fmla="*/ 685745 h 2422364"/>
                <a:gd name="connsiteX1318" fmla="*/ 1637715 w 4488985"/>
                <a:gd name="connsiteY1318" fmla="*/ 694829 h 2422364"/>
                <a:gd name="connsiteX1319" fmla="*/ 1632583 w 4488985"/>
                <a:gd name="connsiteY1319" fmla="*/ 706272 h 2422364"/>
                <a:gd name="connsiteX1320" fmla="*/ 1619108 w 4488985"/>
                <a:gd name="connsiteY1320" fmla="*/ 721805 h 2422364"/>
                <a:gd name="connsiteX1321" fmla="*/ 1616748 w 4488985"/>
                <a:gd name="connsiteY1321" fmla="*/ 741839 h 2422364"/>
                <a:gd name="connsiteX1322" fmla="*/ 1620727 w 4488985"/>
                <a:gd name="connsiteY1322" fmla="*/ 765879 h 2422364"/>
                <a:gd name="connsiteX1323" fmla="*/ 1629207 w 4488985"/>
                <a:gd name="connsiteY1323" fmla="*/ 755176 h 2422364"/>
                <a:gd name="connsiteX1324" fmla="*/ 1638647 w 4488985"/>
                <a:gd name="connsiteY1324" fmla="*/ 756411 h 2422364"/>
                <a:gd name="connsiteX1325" fmla="*/ 1636562 w 4488985"/>
                <a:gd name="connsiteY1325" fmla="*/ 786708 h 2422364"/>
                <a:gd name="connsiteX1326" fmla="*/ 1631073 w 4488985"/>
                <a:gd name="connsiteY1326" fmla="*/ 815743 h 2422364"/>
                <a:gd name="connsiteX1327" fmla="*/ 1635903 w 4488985"/>
                <a:gd name="connsiteY1327" fmla="*/ 825704 h 2422364"/>
                <a:gd name="connsiteX1328" fmla="*/ 1647018 w 4488985"/>
                <a:gd name="connsiteY1328" fmla="*/ 832208 h 2422364"/>
                <a:gd name="connsiteX1329" fmla="*/ 1646167 w 4488985"/>
                <a:gd name="connsiteY1329" fmla="*/ 825677 h 2422364"/>
                <a:gd name="connsiteX1330" fmla="*/ 1638208 w 4488985"/>
                <a:gd name="connsiteY1330" fmla="*/ 812587 h 2422364"/>
                <a:gd name="connsiteX1331" fmla="*/ 1647841 w 4488985"/>
                <a:gd name="connsiteY1331" fmla="*/ 794886 h 2422364"/>
                <a:gd name="connsiteX1332" fmla="*/ 1646002 w 4488985"/>
                <a:gd name="connsiteY1332" fmla="*/ 787284 h 2422364"/>
                <a:gd name="connsiteX1333" fmla="*/ 1641556 w 4488985"/>
                <a:gd name="connsiteY1333" fmla="*/ 786022 h 2422364"/>
                <a:gd name="connsiteX1334" fmla="*/ 1644054 w 4488985"/>
                <a:gd name="connsiteY1334" fmla="*/ 771175 h 2422364"/>
                <a:gd name="connsiteX1335" fmla="*/ 1653933 w 4488985"/>
                <a:gd name="connsiteY1335" fmla="*/ 778804 h 2422364"/>
                <a:gd name="connsiteX1336" fmla="*/ 1645179 w 4488985"/>
                <a:gd name="connsiteY1336" fmla="*/ 727815 h 2422364"/>
                <a:gd name="connsiteX1337" fmla="*/ 1649927 w 4488985"/>
                <a:gd name="connsiteY1337" fmla="*/ 679406 h 2422364"/>
                <a:gd name="connsiteX1338" fmla="*/ 1643697 w 4488985"/>
                <a:gd name="connsiteY1338" fmla="*/ 667880 h 2422364"/>
                <a:gd name="connsiteX1339" fmla="*/ 1627560 w 4488985"/>
                <a:gd name="connsiteY1339" fmla="*/ 656326 h 2422364"/>
                <a:gd name="connsiteX1340" fmla="*/ 1612604 w 4488985"/>
                <a:gd name="connsiteY1340" fmla="*/ 628746 h 2422364"/>
                <a:gd name="connsiteX1341" fmla="*/ 1588262 w 4488985"/>
                <a:gd name="connsiteY1341" fmla="*/ 616424 h 2422364"/>
                <a:gd name="connsiteX1342" fmla="*/ 1576242 w 4488985"/>
                <a:gd name="connsiteY1342" fmla="*/ 603746 h 2422364"/>
                <a:gd name="connsiteX1343" fmla="*/ 1571961 w 4488985"/>
                <a:gd name="connsiteY1343" fmla="*/ 585743 h 2422364"/>
                <a:gd name="connsiteX1344" fmla="*/ 1571302 w 4488985"/>
                <a:gd name="connsiteY1344" fmla="*/ 561264 h 2422364"/>
                <a:gd name="connsiteX1345" fmla="*/ 1566664 w 4488985"/>
                <a:gd name="connsiteY1345" fmla="*/ 534809 h 2422364"/>
                <a:gd name="connsiteX1346" fmla="*/ 1566500 w 4488985"/>
                <a:gd name="connsiteY1346" fmla="*/ 512360 h 2422364"/>
                <a:gd name="connsiteX1347" fmla="*/ 1572098 w 4488985"/>
                <a:gd name="connsiteY1347" fmla="*/ 499215 h 2422364"/>
                <a:gd name="connsiteX1348" fmla="*/ 1592049 w 4488985"/>
                <a:gd name="connsiteY1348" fmla="*/ 491641 h 2422364"/>
                <a:gd name="connsiteX1349" fmla="*/ 1704017 w 4488985"/>
                <a:gd name="connsiteY1349" fmla="*/ 478249 h 2422364"/>
                <a:gd name="connsiteX1350" fmla="*/ 1750395 w 4488985"/>
                <a:gd name="connsiteY1350" fmla="*/ 454703 h 2422364"/>
                <a:gd name="connsiteX1351" fmla="*/ 1743809 w 4488985"/>
                <a:gd name="connsiteY1351" fmla="*/ 428687 h 2422364"/>
                <a:gd name="connsiteX1352" fmla="*/ 1730471 w 4488985"/>
                <a:gd name="connsiteY1352" fmla="*/ 412139 h 2422364"/>
                <a:gd name="connsiteX1353" fmla="*/ 1738375 w 4488985"/>
                <a:gd name="connsiteY1353" fmla="*/ 398500 h 2422364"/>
                <a:gd name="connsiteX1354" fmla="*/ 1738018 w 4488985"/>
                <a:gd name="connsiteY1354" fmla="*/ 390843 h 2422364"/>
                <a:gd name="connsiteX1355" fmla="*/ 1733024 w 4488985"/>
                <a:gd name="connsiteY1355" fmla="*/ 387138 h 2422364"/>
                <a:gd name="connsiteX1356" fmla="*/ 1720757 w 4488985"/>
                <a:gd name="connsiteY1356" fmla="*/ 392599 h 2422364"/>
                <a:gd name="connsiteX1357" fmla="*/ 1720839 w 4488985"/>
                <a:gd name="connsiteY1357" fmla="*/ 380469 h 2422364"/>
                <a:gd name="connsiteX1358" fmla="*/ 1725395 w 4488985"/>
                <a:gd name="connsiteY1358" fmla="*/ 366391 h 2422364"/>
                <a:gd name="connsiteX1359" fmla="*/ 1734615 w 4488985"/>
                <a:gd name="connsiteY1359" fmla="*/ 363839 h 2422364"/>
                <a:gd name="connsiteX1360" fmla="*/ 1738787 w 4488985"/>
                <a:gd name="connsiteY1360" fmla="*/ 346523 h 2422364"/>
                <a:gd name="connsiteX1361" fmla="*/ 1759644 w 4488985"/>
                <a:gd name="connsiteY1361" fmla="*/ 345480 h 2422364"/>
                <a:gd name="connsiteX1362" fmla="*/ 1763568 w 4488985"/>
                <a:gd name="connsiteY1362" fmla="*/ 326379 h 2422364"/>
                <a:gd name="connsiteX1363" fmla="*/ 1790956 w 4488985"/>
                <a:gd name="connsiteY1363" fmla="*/ 320013 h 2422364"/>
                <a:gd name="connsiteX1364" fmla="*/ 1818536 w 4488985"/>
                <a:gd name="connsiteY1364" fmla="*/ 286697 h 2422364"/>
                <a:gd name="connsiteX1365" fmla="*/ 1830447 w 4488985"/>
                <a:gd name="connsiteY1365" fmla="*/ 285791 h 2422364"/>
                <a:gd name="connsiteX1366" fmla="*/ 1848806 w 4488985"/>
                <a:gd name="connsiteY1366" fmla="*/ 271713 h 2422364"/>
                <a:gd name="connsiteX1367" fmla="*/ 1935114 w 4488985"/>
                <a:gd name="connsiteY1367" fmla="*/ 242102 h 2422364"/>
                <a:gd name="connsiteX1368" fmla="*/ 1938489 w 4488985"/>
                <a:gd name="connsiteY1368" fmla="*/ 236284 h 2422364"/>
                <a:gd name="connsiteX1369" fmla="*/ 1939066 w 4488985"/>
                <a:gd name="connsiteY1369" fmla="*/ 220065 h 2422364"/>
                <a:gd name="connsiteX1370" fmla="*/ 1942386 w 4488985"/>
                <a:gd name="connsiteY1370" fmla="*/ 214302 h 2422364"/>
                <a:gd name="connsiteX1371" fmla="*/ 1975455 w 4488985"/>
                <a:gd name="connsiteY1371" fmla="*/ 209829 h 2422364"/>
                <a:gd name="connsiteX1372" fmla="*/ 2008030 w 4488985"/>
                <a:gd name="connsiteY1372" fmla="*/ 191278 h 2422364"/>
                <a:gd name="connsiteX1373" fmla="*/ 2024468 w 4488985"/>
                <a:gd name="connsiteY1373" fmla="*/ 197864 h 2422364"/>
                <a:gd name="connsiteX1374" fmla="*/ 2016482 w 4488985"/>
                <a:gd name="connsiteY1374" fmla="*/ 225362 h 2422364"/>
                <a:gd name="connsiteX1375" fmla="*/ 2017608 w 4488985"/>
                <a:gd name="connsiteY1375" fmla="*/ 232936 h 2422364"/>
                <a:gd name="connsiteX1376" fmla="*/ 2041373 w 4488985"/>
                <a:gd name="connsiteY1376" fmla="*/ 228326 h 2422364"/>
                <a:gd name="connsiteX1377" fmla="*/ 2051225 w 4488985"/>
                <a:gd name="connsiteY1377" fmla="*/ 218007 h 2422364"/>
                <a:gd name="connsiteX1378" fmla="*/ 2064809 w 4488985"/>
                <a:gd name="connsiteY1378" fmla="*/ 223550 h 2422364"/>
                <a:gd name="connsiteX1379" fmla="*/ 2080672 w 4488985"/>
                <a:gd name="connsiteY1379" fmla="*/ 204286 h 2422364"/>
                <a:gd name="connsiteX1380" fmla="*/ 2096012 w 4488985"/>
                <a:gd name="connsiteY1380" fmla="*/ 195806 h 2422364"/>
                <a:gd name="connsiteX1381" fmla="*/ 2121946 w 4488985"/>
                <a:gd name="connsiteY1381" fmla="*/ 203133 h 2422364"/>
                <a:gd name="connsiteX1382" fmla="*/ 2122687 w 4488985"/>
                <a:gd name="connsiteY1382" fmla="*/ 195915 h 2422364"/>
                <a:gd name="connsiteX1383" fmla="*/ 2114399 w 4488985"/>
                <a:gd name="connsiteY1383" fmla="*/ 181371 h 2422364"/>
                <a:gd name="connsiteX1384" fmla="*/ 2112862 w 4488985"/>
                <a:gd name="connsiteY1384" fmla="*/ 172452 h 2422364"/>
                <a:gd name="connsiteX1385" fmla="*/ 2163604 w 4488985"/>
                <a:gd name="connsiteY1385" fmla="*/ 154669 h 2422364"/>
                <a:gd name="connsiteX1386" fmla="*/ 2169971 w 4488985"/>
                <a:gd name="connsiteY1386" fmla="*/ 137572 h 2422364"/>
                <a:gd name="connsiteX1387" fmla="*/ 2169806 w 4488985"/>
                <a:gd name="connsiteY1387" fmla="*/ 113614 h 2422364"/>
                <a:gd name="connsiteX1388" fmla="*/ 2172167 w 4488985"/>
                <a:gd name="connsiteY1388" fmla="*/ 101045 h 2422364"/>
                <a:gd name="connsiteX1389" fmla="*/ 2197552 w 4488985"/>
                <a:gd name="connsiteY1389" fmla="*/ 51071 h 2422364"/>
                <a:gd name="connsiteX1390" fmla="*/ 2239155 w 4488985"/>
                <a:gd name="connsiteY1390" fmla="*/ 8590 h 2422364"/>
                <a:gd name="connsiteX1391" fmla="*/ 2256691 w 4488985"/>
                <a:gd name="connsiteY1391" fmla="*/ 0 h 2422364"/>
                <a:gd name="connsiteX1392" fmla="*/ 2271812 w 4488985"/>
                <a:gd name="connsiteY1392" fmla="*/ 2772 h 2422364"/>
                <a:gd name="connsiteX1393" fmla="*/ 2305018 w 4488985"/>
                <a:gd name="connsiteY1393" fmla="*/ 21954 h 2422364"/>
                <a:gd name="connsiteX1394" fmla="*/ 2309903 w 4488985"/>
                <a:gd name="connsiteY1394" fmla="*/ 34496 h 2422364"/>
                <a:gd name="connsiteX1395" fmla="*/ 2285698 w 4488985"/>
                <a:gd name="connsiteY1395" fmla="*/ 71928 h 2422364"/>
                <a:gd name="connsiteX1396" fmla="*/ 2284381 w 4488985"/>
                <a:gd name="connsiteY1396" fmla="*/ 81176 h 2422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Lst>
              <a:rect l="l" t="t" r="r" b="b"/>
              <a:pathLst>
                <a:path w="4488985" h="2422364">
                  <a:moveTo>
                    <a:pt x="2283887" y="81286"/>
                  </a:moveTo>
                  <a:lnTo>
                    <a:pt x="2314843" y="93635"/>
                  </a:lnTo>
                  <a:lnTo>
                    <a:pt x="2337702" y="91714"/>
                  </a:lnTo>
                  <a:lnTo>
                    <a:pt x="2348927" y="104640"/>
                  </a:lnTo>
                  <a:lnTo>
                    <a:pt x="2347170" y="120749"/>
                  </a:lnTo>
                  <a:lnTo>
                    <a:pt x="2336001" y="145036"/>
                  </a:lnTo>
                  <a:lnTo>
                    <a:pt x="2336961" y="157715"/>
                  </a:lnTo>
                  <a:lnTo>
                    <a:pt x="2363993" y="153708"/>
                  </a:lnTo>
                  <a:lnTo>
                    <a:pt x="2382132" y="130272"/>
                  </a:lnTo>
                  <a:lnTo>
                    <a:pt x="2464571" y="128680"/>
                  </a:lnTo>
                  <a:lnTo>
                    <a:pt x="2502086" y="151650"/>
                  </a:lnTo>
                  <a:lnTo>
                    <a:pt x="2514572" y="198715"/>
                  </a:lnTo>
                  <a:lnTo>
                    <a:pt x="2528376" y="201322"/>
                  </a:lnTo>
                  <a:lnTo>
                    <a:pt x="2541110" y="240401"/>
                  </a:lnTo>
                  <a:lnTo>
                    <a:pt x="2535676" y="299842"/>
                  </a:lnTo>
                  <a:lnTo>
                    <a:pt x="2515753" y="337000"/>
                  </a:lnTo>
                  <a:lnTo>
                    <a:pt x="2435783" y="407226"/>
                  </a:lnTo>
                  <a:lnTo>
                    <a:pt x="2421678" y="430690"/>
                  </a:lnTo>
                  <a:lnTo>
                    <a:pt x="2400876" y="450120"/>
                  </a:lnTo>
                  <a:lnTo>
                    <a:pt x="2378373" y="479539"/>
                  </a:lnTo>
                  <a:lnTo>
                    <a:pt x="2345469" y="491092"/>
                  </a:lnTo>
                  <a:lnTo>
                    <a:pt x="2334766" y="516367"/>
                  </a:lnTo>
                  <a:lnTo>
                    <a:pt x="2315858" y="535166"/>
                  </a:lnTo>
                  <a:lnTo>
                    <a:pt x="2312098" y="547240"/>
                  </a:lnTo>
                  <a:lnTo>
                    <a:pt x="2312812" y="555034"/>
                  </a:lnTo>
                  <a:lnTo>
                    <a:pt x="2327110" y="537581"/>
                  </a:lnTo>
                  <a:lnTo>
                    <a:pt x="2374284" y="533080"/>
                  </a:lnTo>
                  <a:lnTo>
                    <a:pt x="2389652" y="520237"/>
                  </a:lnTo>
                  <a:lnTo>
                    <a:pt x="2424971" y="505445"/>
                  </a:lnTo>
                  <a:lnTo>
                    <a:pt x="2446130" y="481322"/>
                  </a:lnTo>
                  <a:lnTo>
                    <a:pt x="2444319" y="475532"/>
                  </a:lnTo>
                  <a:lnTo>
                    <a:pt x="2427523" y="480636"/>
                  </a:lnTo>
                  <a:lnTo>
                    <a:pt x="2424258" y="476575"/>
                  </a:lnTo>
                  <a:lnTo>
                    <a:pt x="2436524" y="451574"/>
                  </a:lnTo>
                  <a:lnTo>
                    <a:pt x="2465971" y="452205"/>
                  </a:lnTo>
                  <a:lnTo>
                    <a:pt x="2475768" y="468397"/>
                  </a:lnTo>
                  <a:lnTo>
                    <a:pt x="2497777" y="478660"/>
                  </a:lnTo>
                  <a:lnTo>
                    <a:pt x="2511444" y="475065"/>
                  </a:lnTo>
                  <a:lnTo>
                    <a:pt x="2518881" y="463622"/>
                  </a:lnTo>
                  <a:lnTo>
                    <a:pt x="2526428" y="478633"/>
                  </a:lnTo>
                  <a:lnTo>
                    <a:pt x="2529419" y="506844"/>
                  </a:lnTo>
                  <a:lnTo>
                    <a:pt x="2535374" y="517684"/>
                  </a:lnTo>
                  <a:lnTo>
                    <a:pt x="2542976" y="499023"/>
                  </a:lnTo>
                  <a:lnTo>
                    <a:pt x="2593471" y="481926"/>
                  </a:lnTo>
                  <a:lnTo>
                    <a:pt x="2677227" y="495126"/>
                  </a:lnTo>
                  <a:lnTo>
                    <a:pt x="2684719" y="505225"/>
                  </a:lnTo>
                  <a:lnTo>
                    <a:pt x="2680959" y="520785"/>
                  </a:lnTo>
                  <a:lnTo>
                    <a:pt x="2685241" y="532449"/>
                  </a:lnTo>
                  <a:lnTo>
                    <a:pt x="2707222" y="542163"/>
                  </a:lnTo>
                  <a:lnTo>
                    <a:pt x="2725115" y="538843"/>
                  </a:lnTo>
                  <a:lnTo>
                    <a:pt x="2739303" y="552729"/>
                  </a:lnTo>
                  <a:lnTo>
                    <a:pt x="2757910" y="558108"/>
                  </a:lnTo>
                  <a:lnTo>
                    <a:pt x="2792707" y="550616"/>
                  </a:lnTo>
                  <a:lnTo>
                    <a:pt x="2820452" y="554623"/>
                  </a:lnTo>
                  <a:lnTo>
                    <a:pt x="2828246" y="538376"/>
                  </a:lnTo>
                  <a:lnTo>
                    <a:pt x="2826022" y="510632"/>
                  </a:lnTo>
                  <a:lnTo>
                    <a:pt x="2829728" y="487964"/>
                  </a:lnTo>
                  <a:lnTo>
                    <a:pt x="2834805" y="480115"/>
                  </a:lnTo>
                  <a:lnTo>
                    <a:pt x="2840183" y="482063"/>
                  </a:lnTo>
                  <a:lnTo>
                    <a:pt x="2842132" y="475312"/>
                  </a:lnTo>
                  <a:lnTo>
                    <a:pt x="2845480" y="482036"/>
                  </a:lnTo>
                  <a:lnTo>
                    <a:pt x="2857939" y="475367"/>
                  </a:lnTo>
                  <a:lnTo>
                    <a:pt x="2883406" y="494550"/>
                  </a:lnTo>
                  <a:lnTo>
                    <a:pt x="2908379" y="500340"/>
                  </a:lnTo>
                  <a:lnTo>
                    <a:pt x="2918561" y="509424"/>
                  </a:lnTo>
                  <a:lnTo>
                    <a:pt x="2935987" y="501411"/>
                  </a:lnTo>
                  <a:lnTo>
                    <a:pt x="2953248" y="502975"/>
                  </a:lnTo>
                  <a:lnTo>
                    <a:pt x="2995675" y="547487"/>
                  </a:lnTo>
                  <a:lnTo>
                    <a:pt x="3000039" y="581654"/>
                  </a:lnTo>
                  <a:lnTo>
                    <a:pt x="2994523" y="599931"/>
                  </a:lnTo>
                  <a:lnTo>
                    <a:pt x="3000066" y="615107"/>
                  </a:lnTo>
                  <a:lnTo>
                    <a:pt x="3000450" y="628883"/>
                  </a:lnTo>
                  <a:lnTo>
                    <a:pt x="2986427" y="646365"/>
                  </a:lnTo>
                  <a:lnTo>
                    <a:pt x="2981844" y="667605"/>
                  </a:lnTo>
                  <a:lnTo>
                    <a:pt x="3011482" y="725702"/>
                  </a:lnTo>
                  <a:lnTo>
                    <a:pt x="3028964" y="748754"/>
                  </a:lnTo>
                  <a:lnTo>
                    <a:pt x="3048475" y="762942"/>
                  </a:lnTo>
                  <a:lnTo>
                    <a:pt x="3057532" y="761296"/>
                  </a:lnTo>
                  <a:lnTo>
                    <a:pt x="3066423" y="748452"/>
                  </a:lnTo>
                  <a:lnTo>
                    <a:pt x="3085688" y="686129"/>
                  </a:lnTo>
                  <a:lnTo>
                    <a:pt x="3097873" y="664614"/>
                  </a:lnTo>
                  <a:lnTo>
                    <a:pt x="3112857" y="687447"/>
                  </a:lnTo>
                  <a:lnTo>
                    <a:pt x="3136814" y="705367"/>
                  </a:lnTo>
                  <a:lnTo>
                    <a:pt x="3158275" y="704489"/>
                  </a:lnTo>
                  <a:lnTo>
                    <a:pt x="3180394" y="693621"/>
                  </a:lnTo>
                  <a:lnTo>
                    <a:pt x="3190301" y="688654"/>
                  </a:lnTo>
                  <a:lnTo>
                    <a:pt x="3199055" y="691069"/>
                  </a:lnTo>
                  <a:lnTo>
                    <a:pt x="3223946" y="699329"/>
                  </a:lnTo>
                  <a:lnTo>
                    <a:pt x="3232371" y="692661"/>
                  </a:lnTo>
                  <a:lnTo>
                    <a:pt x="3246778" y="692386"/>
                  </a:lnTo>
                  <a:lnTo>
                    <a:pt x="3248864" y="698945"/>
                  </a:lnTo>
                  <a:lnTo>
                    <a:pt x="3239863" y="702650"/>
                  </a:lnTo>
                  <a:lnTo>
                    <a:pt x="3237832" y="707974"/>
                  </a:lnTo>
                  <a:lnTo>
                    <a:pt x="3243156" y="718046"/>
                  </a:lnTo>
                  <a:lnTo>
                    <a:pt x="3251883" y="721311"/>
                  </a:lnTo>
                  <a:lnTo>
                    <a:pt x="3255588" y="717963"/>
                  </a:lnTo>
                  <a:lnTo>
                    <a:pt x="3258140" y="698012"/>
                  </a:lnTo>
                  <a:lnTo>
                    <a:pt x="3274551" y="684126"/>
                  </a:lnTo>
                  <a:lnTo>
                    <a:pt x="3292361" y="702101"/>
                  </a:lnTo>
                  <a:lnTo>
                    <a:pt x="3306357" y="699384"/>
                  </a:lnTo>
                  <a:lnTo>
                    <a:pt x="3309046" y="691398"/>
                  </a:lnTo>
                  <a:lnTo>
                    <a:pt x="3306165" y="659784"/>
                  </a:lnTo>
                  <a:lnTo>
                    <a:pt x="3309211" y="636705"/>
                  </a:lnTo>
                  <a:lnTo>
                    <a:pt x="3293404" y="632835"/>
                  </a:lnTo>
                  <a:lnTo>
                    <a:pt x="3291566" y="629103"/>
                  </a:lnTo>
                  <a:lnTo>
                    <a:pt x="3291949" y="623285"/>
                  </a:lnTo>
                  <a:lnTo>
                    <a:pt x="3304711" y="604843"/>
                  </a:lnTo>
                  <a:lnTo>
                    <a:pt x="3339811" y="598229"/>
                  </a:lnTo>
                  <a:lnTo>
                    <a:pt x="3343515" y="588240"/>
                  </a:lnTo>
                  <a:lnTo>
                    <a:pt x="3341539" y="570814"/>
                  </a:lnTo>
                  <a:lnTo>
                    <a:pt x="3348153" y="568207"/>
                  </a:lnTo>
                  <a:lnTo>
                    <a:pt x="3369064" y="578333"/>
                  </a:lnTo>
                  <a:lnTo>
                    <a:pt x="3466871" y="595485"/>
                  </a:lnTo>
                  <a:lnTo>
                    <a:pt x="3520934" y="620403"/>
                  </a:lnTo>
                  <a:lnTo>
                    <a:pt x="3558970" y="620458"/>
                  </a:lnTo>
                  <a:lnTo>
                    <a:pt x="3582434" y="629487"/>
                  </a:lnTo>
                  <a:lnTo>
                    <a:pt x="3598817" y="642907"/>
                  </a:lnTo>
                  <a:lnTo>
                    <a:pt x="3605952" y="660223"/>
                  </a:lnTo>
                  <a:lnTo>
                    <a:pt x="3598213" y="670158"/>
                  </a:lnTo>
                  <a:lnTo>
                    <a:pt x="3586742" y="667331"/>
                  </a:lnTo>
                  <a:lnTo>
                    <a:pt x="3584162" y="671804"/>
                  </a:lnTo>
                  <a:lnTo>
                    <a:pt x="3584684" y="677101"/>
                  </a:lnTo>
                  <a:lnTo>
                    <a:pt x="3605239" y="683687"/>
                  </a:lnTo>
                  <a:lnTo>
                    <a:pt x="3630569" y="706849"/>
                  </a:lnTo>
                  <a:lnTo>
                    <a:pt x="3649449" y="713737"/>
                  </a:lnTo>
                  <a:lnTo>
                    <a:pt x="3669565" y="748809"/>
                  </a:lnTo>
                  <a:lnTo>
                    <a:pt x="3680817" y="757097"/>
                  </a:lnTo>
                  <a:lnTo>
                    <a:pt x="3718139" y="754270"/>
                  </a:lnTo>
                  <a:lnTo>
                    <a:pt x="3778130" y="737036"/>
                  </a:lnTo>
                  <a:lnTo>
                    <a:pt x="3805243" y="735444"/>
                  </a:lnTo>
                  <a:lnTo>
                    <a:pt x="3842840" y="742470"/>
                  </a:lnTo>
                  <a:lnTo>
                    <a:pt x="3867923" y="754435"/>
                  </a:lnTo>
                  <a:lnTo>
                    <a:pt x="3892045" y="777844"/>
                  </a:lnTo>
                  <a:lnTo>
                    <a:pt x="3899482" y="793486"/>
                  </a:lnTo>
                  <a:lnTo>
                    <a:pt x="3901568" y="812504"/>
                  </a:lnTo>
                  <a:lnTo>
                    <a:pt x="3897808" y="846863"/>
                  </a:lnTo>
                  <a:lnTo>
                    <a:pt x="3926102" y="865552"/>
                  </a:lnTo>
                  <a:lnTo>
                    <a:pt x="3933182" y="881743"/>
                  </a:lnTo>
                  <a:lnTo>
                    <a:pt x="3943665" y="869476"/>
                  </a:lnTo>
                  <a:lnTo>
                    <a:pt x="3953161" y="874937"/>
                  </a:lnTo>
                  <a:lnTo>
                    <a:pt x="3973002" y="861545"/>
                  </a:lnTo>
                  <a:lnTo>
                    <a:pt x="4018036" y="854767"/>
                  </a:lnTo>
                  <a:lnTo>
                    <a:pt x="4044354" y="868241"/>
                  </a:lnTo>
                  <a:lnTo>
                    <a:pt x="4102780" y="874004"/>
                  </a:lnTo>
                  <a:lnTo>
                    <a:pt x="4125366" y="854574"/>
                  </a:lnTo>
                  <a:lnTo>
                    <a:pt x="4136672" y="838136"/>
                  </a:lnTo>
                  <a:lnTo>
                    <a:pt x="4148445" y="832785"/>
                  </a:lnTo>
                  <a:lnTo>
                    <a:pt x="4170783" y="840963"/>
                  </a:lnTo>
                  <a:lnTo>
                    <a:pt x="4175422" y="850403"/>
                  </a:lnTo>
                  <a:lnTo>
                    <a:pt x="4172568" y="861902"/>
                  </a:lnTo>
                  <a:lnTo>
                    <a:pt x="4167710" y="866759"/>
                  </a:lnTo>
                  <a:lnTo>
                    <a:pt x="4139416" y="858718"/>
                  </a:lnTo>
                  <a:lnTo>
                    <a:pt x="4146003" y="891897"/>
                  </a:lnTo>
                  <a:lnTo>
                    <a:pt x="4172951" y="909460"/>
                  </a:lnTo>
                  <a:lnTo>
                    <a:pt x="4184725" y="931085"/>
                  </a:lnTo>
                  <a:lnTo>
                    <a:pt x="4199462" y="931085"/>
                  </a:lnTo>
                  <a:lnTo>
                    <a:pt x="4222624" y="908225"/>
                  </a:lnTo>
                  <a:lnTo>
                    <a:pt x="4215845" y="875733"/>
                  </a:lnTo>
                  <a:lnTo>
                    <a:pt x="4206213" y="862752"/>
                  </a:lnTo>
                  <a:lnTo>
                    <a:pt x="4210878" y="849196"/>
                  </a:lnTo>
                  <a:lnTo>
                    <a:pt x="4213815" y="828888"/>
                  </a:lnTo>
                  <a:lnTo>
                    <a:pt x="4218480" y="823481"/>
                  </a:lnTo>
                  <a:lnTo>
                    <a:pt x="4310139" y="845710"/>
                  </a:lnTo>
                  <a:lnTo>
                    <a:pt x="4373533" y="844036"/>
                  </a:lnTo>
                  <a:lnTo>
                    <a:pt x="4400207" y="862615"/>
                  </a:lnTo>
                  <a:lnTo>
                    <a:pt x="4454297" y="884185"/>
                  </a:lnTo>
                  <a:lnTo>
                    <a:pt x="4472574" y="898867"/>
                  </a:lnTo>
                  <a:lnTo>
                    <a:pt x="4487174" y="926036"/>
                  </a:lnTo>
                  <a:lnTo>
                    <a:pt x="4488985" y="1039403"/>
                  </a:lnTo>
                  <a:lnTo>
                    <a:pt x="4486570" y="1212184"/>
                  </a:lnTo>
                  <a:lnTo>
                    <a:pt x="4473754" y="1230214"/>
                  </a:lnTo>
                  <a:lnTo>
                    <a:pt x="4454160" y="1240148"/>
                  </a:lnTo>
                  <a:lnTo>
                    <a:pt x="4424961" y="1237761"/>
                  </a:lnTo>
                  <a:lnTo>
                    <a:pt x="4412611" y="1226646"/>
                  </a:lnTo>
                  <a:lnTo>
                    <a:pt x="4403775" y="1231586"/>
                  </a:lnTo>
                  <a:lnTo>
                    <a:pt x="4383439" y="1234687"/>
                  </a:lnTo>
                  <a:lnTo>
                    <a:pt x="4385909" y="1241164"/>
                  </a:lnTo>
                  <a:lnTo>
                    <a:pt x="4392688" y="1244841"/>
                  </a:lnTo>
                  <a:lnTo>
                    <a:pt x="4412419" y="1238694"/>
                  </a:lnTo>
                  <a:lnTo>
                    <a:pt x="4416563" y="1254254"/>
                  </a:lnTo>
                  <a:lnTo>
                    <a:pt x="4422545" y="1264024"/>
                  </a:lnTo>
                  <a:lnTo>
                    <a:pt x="4431684" y="1269979"/>
                  </a:lnTo>
                  <a:lnTo>
                    <a:pt x="4442414" y="1271351"/>
                  </a:lnTo>
                  <a:lnTo>
                    <a:pt x="4449467" y="1287871"/>
                  </a:lnTo>
                  <a:lnTo>
                    <a:pt x="4450565" y="1292701"/>
                  </a:lnTo>
                  <a:lnTo>
                    <a:pt x="4457151" y="1321764"/>
                  </a:lnTo>
                  <a:lnTo>
                    <a:pt x="4461405" y="1329722"/>
                  </a:lnTo>
                  <a:lnTo>
                    <a:pt x="4465576" y="1336336"/>
                  </a:lnTo>
                  <a:lnTo>
                    <a:pt x="4469912" y="1343142"/>
                  </a:lnTo>
                  <a:lnTo>
                    <a:pt x="4469912" y="1353954"/>
                  </a:lnTo>
                  <a:lnTo>
                    <a:pt x="4476224" y="1368856"/>
                  </a:lnTo>
                  <a:lnTo>
                    <a:pt x="4472876" y="1380107"/>
                  </a:lnTo>
                  <a:lnTo>
                    <a:pt x="4462475" y="1394213"/>
                  </a:lnTo>
                  <a:lnTo>
                    <a:pt x="4431547" y="1382550"/>
                  </a:lnTo>
                  <a:lnTo>
                    <a:pt x="4404433" y="1382193"/>
                  </a:lnTo>
                  <a:lnTo>
                    <a:pt x="4362308" y="1403900"/>
                  </a:lnTo>
                  <a:lnTo>
                    <a:pt x="4333137" y="1423906"/>
                  </a:lnTo>
                  <a:lnTo>
                    <a:pt x="4317027" y="1426788"/>
                  </a:lnTo>
                  <a:lnTo>
                    <a:pt x="4307971" y="1434609"/>
                  </a:lnTo>
                  <a:lnTo>
                    <a:pt x="4300726" y="1434445"/>
                  </a:lnTo>
                  <a:lnTo>
                    <a:pt x="4290710" y="1449072"/>
                  </a:lnTo>
                  <a:lnTo>
                    <a:pt x="4279458" y="1451541"/>
                  </a:lnTo>
                  <a:lnTo>
                    <a:pt x="4278168" y="1460570"/>
                  </a:lnTo>
                  <a:lnTo>
                    <a:pt x="4267081" y="1465620"/>
                  </a:lnTo>
                  <a:lnTo>
                    <a:pt x="4264858" y="1473276"/>
                  </a:lnTo>
                  <a:lnTo>
                    <a:pt x="4260028" y="1475938"/>
                  </a:lnTo>
                  <a:lnTo>
                    <a:pt x="4255583" y="1483759"/>
                  </a:lnTo>
                  <a:lnTo>
                    <a:pt x="4245648" y="1488096"/>
                  </a:lnTo>
                  <a:lnTo>
                    <a:pt x="4216805" y="1512547"/>
                  </a:lnTo>
                  <a:lnTo>
                    <a:pt x="4204923" y="1537685"/>
                  </a:lnTo>
                  <a:lnTo>
                    <a:pt x="4195071" y="1531702"/>
                  </a:lnTo>
                  <a:lnTo>
                    <a:pt x="4182090" y="1510407"/>
                  </a:lnTo>
                  <a:lnTo>
                    <a:pt x="4168039" y="1503656"/>
                  </a:lnTo>
                  <a:lnTo>
                    <a:pt x="4147979" y="1501625"/>
                  </a:lnTo>
                  <a:lnTo>
                    <a:pt x="4110272" y="1515758"/>
                  </a:lnTo>
                  <a:lnTo>
                    <a:pt x="4085079" y="1544738"/>
                  </a:lnTo>
                  <a:lnTo>
                    <a:pt x="4082198" y="1541774"/>
                  </a:lnTo>
                  <a:lnTo>
                    <a:pt x="4086232" y="1516554"/>
                  </a:lnTo>
                  <a:lnTo>
                    <a:pt x="4084695" y="1510901"/>
                  </a:lnTo>
                  <a:lnTo>
                    <a:pt x="4056786" y="1529699"/>
                  </a:lnTo>
                  <a:lnTo>
                    <a:pt x="4047372" y="1545369"/>
                  </a:lnTo>
                  <a:lnTo>
                    <a:pt x="4031840" y="1532471"/>
                  </a:lnTo>
                  <a:lnTo>
                    <a:pt x="4015484" y="1537164"/>
                  </a:lnTo>
                  <a:lnTo>
                    <a:pt x="4004644" y="1545287"/>
                  </a:lnTo>
                  <a:lnTo>
                    <a:pt x="3997509" y="1562192"/>
                  </a:lnTo>
                  <a:lnTo>
                    <a:pt x="3997509" y="1575392"/>
                  </a:lnTo>
                  <a:lnTo>
                    <a:pt x="3992679" y="1585957"/>
                  </a:lnTo>
                  <a:lnTo>
                    <a:pt x="3989138" y="1588345"/>
                  </a:lnTo>
                  <a:lnTo>
                    <a:pt x="3987108" y="1598855"/>
                  </a:lnTo>
                  <a:lnTo>
                    <a:pt x="3969818" y="1619465"/>
                  </a:lnTo>
                  <a:lnTo>
                    <a:pt x="3964852" y="1629893"/>
                  </a:lnTo>
                  <a:lnTo>
                    <a:pt x="3961119" y="1646222"/>
                  </a:lnTo>
                  <a:lnTo>
                    <a:pt x="3963260" y="1656293"/>
                  </a:lnTo>
                  <a:lnTo>
                    <a:pt x="3967459" y="1660684"/>
                  </a:lnTo>
                  <a:lnTo>
                    <a:pt x="3972645" y="1661343"/>
                  </a:lnTo>
                  <a:lnTo>
                    <a:pt x="3980577" y="1655223"/>
                  </a:lnTo>
                  <a:lnTo>
                    <a:pt x="3995779" y="1665048"/>
                  </a:lnTo>
                  <a:lnTo>
                    <a:pt x="3992185" y="1677150"/>
                  </a:lnTo>
                  <a:lnTo>
                    <a:pt x="3984336" y="1688621"/>
                  </a:lnTo>
                  <a:lnTo>
                    <a:pt x="3983787" y="1709094"/>
                  </a:lnTo>
                  <a:lnTo>
                    <a:pt x="3987163" y="1719577"/>
                  </a:lnTo>
                  <a:lnTo>
                    <a:pt x="3996191" y="1723721"/>
                  </a:lnTo>
                  <a:lnTo>
                    <a:pt x="3997646" y="1748667"/>
                  </a:lnTo>
                  <a:lnTo>
                    <a:pt x="3990154" y="1755912"/>
                  </a:lnTo>
                  <a:lnTo>
                    <a:pt x="3976597" y="1748310"/>
                  </a:lnTo>
                  <a:lnTo>
                    <a:pt x="3963287" y="1755665"/>
                  </a:lnTo>
                  <a:lnTo>
                    <a:pt x="3954561" y="1775972"/>
                  </a:lnTo>
                  <a:lnTo>
                    <a:pt x="3952776" y="1787224"/>
                  </a:lnTo>
                  <a:lnTo>
                    <a:pt x="3955219" y="1803141"/>
                  </a:lnTo>
                  <a:lnTo>
                    <a:pt x="3961613" y="1816780"/>
                  </a:lnTo>
                  <a:lnTo>
                    <a:pt x="3960680" y="1824272"/>
                  </a:lnTo>
                  <a:lnTo>
                    <a:pt x="3948605" y="1835057"/>
                  </a:lnTo>
                  <a:lnTo>
                    <a:pt x="3925114" y="1834398"/>
                  </a:lnTo>
                  <a:lnTo>
                    <a:pt x="3904230" y="1851688"/>
                  </a:lnTo>
                  <a:lnTo>
                    <a:pt x="3900361" y="1858521"/>
                  </a:lnTo>
                  <a:lnTo>
                    <a:pt x="3897507" y="1870623"/>
                  </a:lnTo>
                  <a:lnTo>
                    <a:pt x="3899729" y="1901881"/>
                  </a:lnTo>
                  <a:lnTo>
                    <a:pt x="3888176" y="1900015"/>
                  </a:lnTo>
                  <a:lnTo>
                    <a:pt x="3865014" y="1913297"/>
                  </a:lnTo>
                  <a:lnTo>
                    <a:pt x="3857220" y="1911349"/>
                  </a:lnTo>
                  <a:lnTo>
                    <a:pt x="3858647" y="1919389"/>
                  </a:lnTo>
                  <a:lnTo>
                    <a:pt x="3856891" y="1931656"/>
                  </a:lnTo>
                  <a:lnTo>
                    <a:pt x="3857632" y="1943402"/>
                  </a:lnTo>
                  <a:lnTo>
                    <a:pt x="3849700" y="1960719"/>
                  </a:lnTo>
                  <a:lnTo>
                    <a:pt x="3838943" y="1976196"/>
                  </a:lnTo>
                  <a:lnTo>
                    <a:pt x="3807246" y="2005505"/>
                  </a:lnTo>
                  <a:lnTo>
                    <a:pt x="3799013" y="1987311"/>
                  </a:lnTo>
                  <a:lnTo>
                    <a:pt x="3796709" y="1955175"/>
                  </a:lnTo>
                  <a:lnTo>
                    <a:pt x="3787295" y="1915273"/>
                  </a:lnTo>
                  <a:lnTo>
                    <a:pt x="3771845" y="1813404"/>
                  </a:lnTo>
                  <a:lnTo>
                    <a:pt x="3770445" y="1790737"/>
                  </a:lnTo>
                  <a:lnTo>
                    <a:pt x="3773080" y="1764336"/>
                  </a:lnTo>
                  <a:lnTo>
                    <a:pt x="3783646" y="1722980"/>
                  </a:lnTo>
                  <a:lnTo>
                    <a:pt x="3803898" y="1698775"/>
                  </a:lnTo>
                  <a:lnTo>
                    <a:pt x="3809579" y="1688210"/>
                  </a:lnTo>
                  <a:lnTo>
                    <a:pt x="3811363" y="1678605"/>
                  </a:lnTo>
                  <a:lnTo>
                    <a:pt x="3810732" y="1662084"/>
                  </a:lnTo>
                  <a:lnTo>
                    <a:pt x="3823191" y="1661700"/>
                  </a:lnTo>
                  <a:lnTo>
                    <a:pt x="3834086" y="1651326"/>
                  </a:lnTo>
                  <a:lnTo>
                    <a:pt x="3852417" y="1645344"/>
                  </a:lnTo>
                  <a:lnTo>
                    <a:pt x="3875168" y="1624185"/>
                  </a:lnTo>
                  <a:lnTo>
                    <a:pt x="3890316" y="1604344"/>
                  </a:lnTo>
                  <a:lnTo>
                    <a:pt x="3897918" y="1587549"/>
                  </a:lnTo>
                  <a:lnTo>
                    <a:pt x="3916387" y="1563920"/>
                  </a:lnTo>
                  <a:lnTo>
                    <a:pt x="3928023" y="1556236"/>
                  </a:lnTo>
                  <a:lnTo>
                    <a:pt x="3954011" y="1526955"/>
                  </a:lnTo>
                  <a:lnTo>
                    <a:pt x="3961092" y="1511614"/>
                  </a:lnTo>
                  <a:lnTo>
                    <a:pt x="3989496" y="1491197"/>
                  </a:lnTo>
                  <a:lnTo>
                    <a:pt x="4008349" y="1484720"/>
                  </a:lnTo>
                  <a:lnTo>
                    <a:pt x="4007114" y="1474758"/>
                  </a:lnTo>
                  <a:lnTo>
                    <a:pt x="4017322" y="1457853"/>
                  </a:lnTo>
                  <a:lnTo>
                    <a:pt x="4013837" y="1445504"/>
                  </a:lnTo>
                  <a:lnTo>
                    <a:pt x="4020039" y="1430410"/>
                  </a:lnTo>
                  <a:lnTo>
                    <a:pt x="4024238" y="1400607"/>
                  </a:lnTo>
                  <a:lnTo>
                    <a:pt x="4034749" y="1388971"/>
                  </a:lnTo>
                  <a:lnTo>
                    <a:pt x="4046220" y="1386776"/>
                  </a:lnTo>
                  <a:lnTo>
                    <a:pt x="4046988" y="1383702"/>
                  </a:lnTo>
                  <a:lnTo>
                    <a:pt x="4032882" y="1373219"/>
                  </a:lnTo>
                  <a:lnTo>
                    <a:pt x="3999787" y="1382989"/>
                  </a:lnTo>
                  <a:lnTo>
                    <a:pt x="3993365" y="1402775"/>
                  </a:lnTo>
                  <a:lnTo>
                    <a:pt x="3991114" y="1422397"/>
                  </a:lnTo>
                  <a:lnTo>
                    <a:pt x="3996191" y="1432825"/>
                  </a:lnTo>
                  <a:lnTo>
                    <a:pt x="3994957" y="1438945"/>
                  </a:lnTo>
                  <a:lnTo>
                    <a:pt x="3990483" y="1441799"/>
                  </a:lnTo>
                  <a:lnTo>
                    <a:pt x="3983293" y="1435076"/>
                  </a:lnTo>
                  <a:lnTo>
                    <a:pt x="3972508" y="1437710"/>
                  </a:lnTo>
                  <a:lnTo>
                    <a:pt x="3932798" y="1478957"/>
                  </a:lnTo>
                  <a:lnTo>
                    <a:pt x="3924126" y="1491224"/>
                  </a:lnTo>
                  <a:lnTo>
                    <a:pt x="3909170" y="1499018"/>
                  </a:lnTo>
                  <a:lnTo>
                    <a:pt x="3907139" y="1494792"/>
                  </a:lnTo>
                  <a:lnTo>
                    <a:pt x="3910185" y="1478298"/>
                  </a:lnTo>
                  <a:lnTo>
                    <a:pt x="3899592" y="1475829"/>
                  </a:lnTo>
                  <a:lnTo>
                    <a:pt x="3897287" y="1459857"/>
                  </a:lnTo>
                  <a:lnTo>
                    <a:pt x="3908730" y="1441635"/>
                  </a:lnTo>
                  <a:lnTo>
                    <a:pt x="3911502" y="1431590"/>
                  </a:lnTo>
                  <a:lnTo>
                    <a:pt x="3910295" y="1423165"/>
                  </a:lnTo>
                  <a:lnTo>
                    <a:pt x="3891579" y="1433841"/>
                  </a:lnTo>
                  <a:lnTo>
                    <a:pt x="3876979" y="1421107"/>
                  </a:lnTo>
                  <a:lnTo>
                    <a:pt x="3844212" y="1430712"/>
                  </a:lnTo>
                  <a:lnTo>
                    <a:pt x="3830490" y="1429971"/>
                  </a:lnTo>
                  <a:lnTo>
                    <a:pt x="3808180" y="1443418"/>
                  </a:lnTo>
                  <a:lnTo>
                    <a:pt x="3800002" y="1464385"/>
                  </a:lnTo>
                  <a:lnTo>
                    <a:pt x="3783782" y="1480082"/>
                  </a:lnTo>
                  <a:lnTo>
                    <a:pt x="3776428" y="1496136"/>
                  </a:lnTo>
                  <a:lnTo>
                    <a:pt x="3741575" y="1528656"/>
                  </a:lnTo>
                  <a:lnTo>
                    <a:pt x="3736993" y="1540594"/>
                  </a:lnTo>
                  <a:lnTo>
                    <a:pt x="3732382" y="1546302"/>
                  </a:lnTo>
                  <a:lnTo>
                    <a:pt x="3730296" y="1564552"/>
                  </a:lnTo>
                  <a:lnTo>
                    <a:pt x="3752991" y="1567927"/>
                  </a:lnTo>
                  <a:lnTo>
                    <a:pt x="3758261" y="1576928"/>
                  </a:lnTo>
                  <a:lnTo>
                    <a:pt x="3757438" y="1581319"/>
                  </a:lnTo>
                  <a:lnTo>
                    <a:pt x="3754309" y="1583762"/>
                  </a:lnTo>
                  <a:lnTo>
                    <a:pt x="3738145" y="1583679"/>
                  </a:lnTo>
                  <a:lnTo>
                    <a:pt x="3726344" y="1589909"/>
                  </a:lnTo>
                  <a:lnTo>
                    <a:pt x="3709193" y="1583158"/>
                  </a:lnTo>
                  <a:lnTo>
                    <a:pt x="3691382" y="1597209"/>
                  </a:lnTo>
                  <a:lnTo>
                    <a:pt x="3677194" y="1593504"/>
                  </a:lnTo>
                  <a:lnTo>
                    <a:pt x="3665805" y="1600255"/>
                  </a:lnTo>
                  <a:lnTo>
                    <a:pt x="3650053" y="1602066"/>
                  </a:lnTo>
                  <a:lnTo>
                    <a:pt x="3643823" y="1589854"/>
                  </a:lnTo>
                  <a:lnTo>
                    <a:pt x="3651261" y="1585546"/>
                  </a:lnTo>
                  <a:lnTo>
                    <a:pt x="3665997" y="1585189"/>
                  </a:lnTo>
                  <a:lnTo>
                    <a:pt x="3668659" y="1580716"/>
                  </a:lnTo>
                  <a:lnTo>
                    <a:pt x="3659329" y="1575145"/>
                  </a:lnTo>
                  <a:lnTo>
                    <a:pt x="3647528" y="1561780"/>
                  </a:lnTo>
                  <a:lnTo>
                    <a:pt x="3637731" y="1562301"/>
                  </a:lnTo>
                  <a:lnTo>
                    <a:pt x="3630953" y="1566720"/>
                  </a:lnTo>
                  <a:lnTo>
                    <a:pt x="3623873" y="1561149"/>
                  </a:lnTo>
                  <a:lnTo>
                    <a:pt x="3596814" y="1551845"/>
                  </a:lnTo>
                  <a:lnTo>
                    <a:pt x="3583778" y="1557060"/>
                  </a:lnTo>
                  <a:lnTo>
                    <a:pt x="3580650" y="1566034"/>
                  </a:lnTo>
                  <a:lnTo>
                    <a:pt x="3572526" y="1567653"/>
                  </a:lnTo>
                  <a:lnTo>
                    <a:pt x="3571731" y="1570781"/>
                  </a:lnTo>
                  <a:lnTo>
                    <a:pt x="3574063" y="1575858"/>
                  </a:lnTo>
                  <a:lnTo>
                    <a:pt x="3570935" y="1579481"/>
                  </a:lnTo>
                  <a:lnTo>
                    <a:pt x="3563937" y="1579042"/>
                  </a:lnTo>
                  <a:lnTo>
                    <a:pt x="3554497" y="1572044"/>
                  </a:lnTo>
                  <a:lnTo>
                    <a:pt x="3534025" y="1577862"/>
                  </a:lnTo>
                  <a:lnTo>
                    <a:pt x="3505154" y="1569272"/>
                  </a:lnTo>
                  <a:lnTo>
                    <a:pt x="3500324" y="1572428"/>
                  </a:lnTo>
                  <a:lnTo>
                    <a:pt x="3496922" y="1582115"/>
                  </a:lnTo>
                  <a:lnTo>
                    <a:pt x="3492942" y="1584091"/>
                  </a:lnTo>
                  <a:lnTo>
                    <a:pt x="3487700" y="1581319"/>
                  </a:lnTo>
                  <a:lnTo>
                    <a:pt x="3485615" y="1572812"/>
                  </a:lnTo>
                  <a:lnTo>
                    <a:pt x="3480867" y="1571577"/>
                  </a:lnTo>
                  <a:lnTo>
                    <a:pt x="3404795" y="1575172"/>
                  </a:lnTo>
                  <a:lnTo>
                    <a:pt x="3379026" y="1588948"/>
                  </a:lnTo>
                  <a:lnTo>
                    <a:pt x="3358691" y="1615733"/>
                  </a:lnTo>
                  <a:lnTo>
                    <a:pt x="3337697" y="1633132"/>
                  </a:lnTo>
                  <a:lnTo>
                    <a:pt x="3325321" y="1659230"/>
                  </a:lnTo>
                  <a:lnTo>
                    <a:pt x="3314481" y="1666694"/>
                  </a:lnTo>
                  <a:lnTo>
                    <a:pt x="3305095" y="1679318"/>
                  </a:lnTo>
                  <a:lnTo>
                    <a:pt x="3287586" y="1693177"/>
                  </a:lnTo>
                  <a:lnTo>
                    <a:pt x="3267828" y="1714390"/>
                  </a:lnTo>
                  <a:lnTo>
                    <a:pt x="3244610" y="1750835"/>
                  </a:lnTo>
                  <a:lnTo>
                    <a:pt x="3209593" y="1781379"/>
                  </a:lnTo>
                  <a:lnTo>
                    <a:pt x="3201059" y="1792328"/>
                  </a:lnTo>
                  <a:lnTo>
                    <a:pt x="3199384" y="1794469"/>
                  </a:lnTo>
                  <a:lnTo>
                    <a:pt x="3180723" y="1809124"/>
                  </a:lnTo>
                  <a:lnTo>
                    <a:pt x="3179790" y="1809865"/>
                  </a:lnTo>
                  <a:lnTo>
                    <a:pt x="3173561" y="1819222"/>
                  </a:lnTo>
                  <a:lnTo>
                    <a:pt x="3176442" y="1825123"/>
                  </a:lnTo>
                  <a:lnTo>
                    <a:pt x="3180723" y="1827428"/>
                  </a:lnTo>
                  <a:lnTo>
                    <a:pt x="3188188" y="1831435"/>
                  </a:lnTo>
                  <a:lnTo>
                    <a:pt x="3199384" y="1832203"/>
                  </a:lnTo>
                  <a:lnTo>
                    <a:pt x="3217936" y="1832834"/>
                  </a:lnTo>
                  <a:lnTo>
                    <a:pt x="3218375" y="1852099"/>
                  </a:lnTo>
                  <a:lnTo>
                    <a:pt x="3216893" y="1863680"/>
                  </a:lnTo>
                  <a:lnTo>
                    <a:pt x="3218567" y="1869361"/>
                  </a:lnTo>
                  <a:lnTo>
                    <a:pt x="3228529" y="1868483"/>
                  </a:lnTo>
                  <a:lnTo>
                    <a:pt x="3236515" y="1861540"/>
                  </a:lnTo>
                  <a:lnTo>
                    <a:pt x="3244391" y="1864586"/>
                  </a:lnTo>
                  <a:lnTo>
                    <a:pt x="3236268" y="1878527"/>
                  </a:lnTo>
                  <a:lnTo>
                    <a:pt x="3238217" y="1883247"/>
                  </a:lnTo>
                  <a:lnTo>
                    <a:pt x="3252459" y="1880777"/>
                  </a:lnTo>
                  <a:lnTo>
                    <a:pt x="3268212" y="1866232"/>
                  </a:lnTo>
                  <a:lnTo>
                    <a:pt x="3269254" y="1870815"/>
                  </a:lnTo>
                  <a:lnTo>
                    <a:pt x="3265522" y="1881051"/>
                  </a:lnTo>
                  <a:lnTo>
                    <a:pt x="3268788" y="1881436"/>
                  </a:lnTo>
                  <a:lnTo>
                    <a:pt x="3274029" y="1869964"/>
                  </a:lnTo>
                  <a:lnTo>
                    <a:pt x="3275127" y="1855337"/>
                  </a:lnTo>
                  <a:lnTo>
                    <a:pt x="3277514" y="1849437"/>
                  </a:lnTo>
                  <a:lnTo>
                    <a:pt x="3307729" y="1850480"/>
                  </a:lnTo>
                  <a:lnTo>
                    <a:pt x="3319201" y="1862171"/>
                  </a:lnTo>
                  <a:lnTo>
                    <a:pt x="3327077" y="1875673"/>
                  </a:lnTo>
                  <a:lnTo>
                    <a:pt x="3352654" y="1897462"/>
                  </a:lnTo>
                  <a:lnTo>
                    <a:pt x="3352983" y="1901606"/>
                  </a:lnTo>
                  <a:lnTo>
                    <a:pt x="3351117" y="1905448"/>
                  </a:lnTo>
                  <a:lnTo>
                    <a:pt x="3342033" y="1910855"/>
                  </a:lnTo>
                  <a:lnTo>
                    <a:pt x="3348427" y="1924439"/>
                  </a:lnTo>
                  <a:lnTo>
                    <a:pt x="3347824" y="1938819"/>
                  </a:lnTo>
                  <a:lnTo>
                    <a:pt x="3354739" y="1951690"/>
                  </a:lnTo>
                  <a:lnTo>
                    <a:pt x="3351172" y="1963600"/>
                  </a:lnTo>
                  <a:lnTo>
                    <a:pt x="3337916" y="1982096"/>
                  </a:lnTo>
                  <a:lnTo>
                    <a:pt x="3327625" y="2016510"/>
                  </a:lnTo>
                  <a:lnTo>
                    <a:pt x="3327625" y="2036845"/>
                  </a:lnTo>
                  <a:cubicBezTo>
                    <a:pt x="3327625" y="2036845"/>
                    <a:pt x="3330096" y="2049140"/>
                    <a:pt x="3330096" y="2049140"/>
                  </a:cubicBezTo>
                  <a:lnTo>
                    <a:pt x="3326994" y="2057839"/>
                  </a:lnTo>
                  <a:lnTo>
                    <a:pt x="3327379" y="2072960"/>
                  </a:lnTo>
                  <a:lnTo>
                    <a:pt x="3323839" y="2086984"/>
                  </a:lnTo>
                  <a:lnTo>
                    <a:pt x="3322604" y="2100239"/>
                  </a:lnTo>
                  <a:lnTo>
                    <a:pt x="3316511" y="2121150"/>
                  </a:lnTo>
                  <a:lnTo>
                    <a:pt x="3293185" y="2149993"/>
                  </a:lnTo>
                  <a:lnTo>
                    <a:pt x="3283580" y="2169944"/>
                  </a:lnTo>
                  <a:lnTo>
                    <a:pt x="3270873" y="2186272"/>
                  </a:lnTo>
                  <a:lnTo>
                    <a:pt x="3262723" y="2206635"/>
                  </a:lnTo>
                  <a:lnTo>
                    <a:pt x="3246340" y="2233941"/>
                  </a:lnTo>
                  <a:lnTo>
                    <a:pt x="3219939" y="2262399"/>
                  </a:lnTo>
                  <a:lnTo>
                    <a:pt x="3199384" y="2290281"/>
                  </a:lnTo>
                  <a:lnTo>
                    <a:pt x="3190960" y="2297746"/>
                  </a:lnTo>
                  <a:lnTo>
                    <a:pt x="3180723" y="2316050"/>
                  </a:lnTo>
                  <a:lnTo>
                    <a:pt x="3168676" y="2331638"/>
                  </a:lnTo>
                  <a:lnTo>
                    <a:pt x="3133988" y="2356227"/>
                  </a:lnTo>
                  <a:lnTo>
                    <a:pt x="3110031" y="2363417"/>
                  </a:lnTo>
                  <a:lnTo>
                    <a:pt x="3098834" y="2357818"/>
                  </a:lnTo>
                  <a:lnTo>
                    <a:pt x="3089201" y="2356117"/>
                  </a:lnTo>
                  <a:lnTo>
                    <a:pt x="3086731" y="2343658"/>
                  </a:lnTo>
                  <a:lnTo>
                    <a:pt x="3077483" y="2347170"/>
                  </a:lnTo>
                  <a:lnTo>
                    <a:pt x="3076248" y="2341408"/>
                  </a:lnTo>
                  <a:lnTo>
                    <a:pt x="3073559" y="2340694"/>
                  </a:lnTo>
                  <a:lnTo>
                    <a:pt x="3062142" y="2353016"/>
                  </a:lnTo>
                  <a:lnTo>
                    <a:pt x="3054321" y="2365255"/>
                  </a:lnTo>
                  <a:lnTo>
                    <a:pt x="3041834" y="2366930"/>
                  </a:lnTo>
                  <a:lnTo>
                    <a:pt x="3042658" y="2372583"/>
                  </a:lnTo>
                  <a:lnTo>
                    <a:pt x="3040901" y="2376178"/>
                  </a:lnTo>
                  <a:lnTo>
                    <a:pt x="3038651" y="2380816"/>
                  </a:lnTo>
                  <a:lnTo>
                    <a:pt x="3037443" y="2375629"/>
                  </a:lnTo>
                  <a:lnTo>
                    <a:pt x="3035880" y="2366902"/>
                  </a:lnTo>
                  <a:lnTo>
                    <a:pt x="3033464" y="2362347"/>
                  </a:lnTo>
                  <a:lnTo>
                    <a:pt x="3051055" y="2354059"/>
                  </a:lnTo>
                  <a:lnTo>
                    <a:pt x="3056352" y="2336413"/>
                  </a:lnTo>
                  <a:lnTo>
                    <a:pt x="3054513" y="2327412"/>
                  </a:lnTo>
                  <a:lnTo>
                    <a:pt x="3055967" y="2305649"/>
                  </a:lnTo>
                  <a:lnTo>
                    <a:pt x="3048530" y="2276725"/>
                  </a:lnTo>
                  <a:lnTo>
                    <a:pt x="3062334" y="2270742"/>
                  </a:lnTo>
                  <a:lnTo>
                    <a:pt x="3074272" y="2258008"/>
                  </a:lnTo>
                  <a:lnTo>
                    <a:pt x="3102456" y="2268107"/>
                  </a:lnTo>
                  <a:lnTo>
                    <a:pt x="3107917" y="2266269"/>
                  </a:lnTo>
                  <a:lnTo>
                    <a:pt x="3112308" y="2251230"/>
                  </a:lnTo>
                  <a:lnTo>
                    <a:pt x="3118812" y="2243820"/>
                  </a:lnTo>
                  <a:lnTo>
                    <a:pt x="3121748" y="2234874"/>
                  </a:lnTo>
                  <a:lnTo>
                    <a:pt x="3132753" y="2216597"/>
                  </a:lnTo>
                  <a:lnTo>
                    <a:pt x="3133192" y="2206882"/>
                  </a:lnTo>
                  <a:lnTo>
                    <a:pt x="3142935" y="2172551"/>
                  </a:lnTo>
                  <a:lnTo>
                    <a:pt x="3152100" y="2164263"/>
                  </a:lnTo>
                  <a:lnTo>
                    <a:pt x="3156875" y="2156085"/>
                  </a:lnTo>
                  <a:lnTo>
                    <a:pt x="3154158" y="2142254"/>
                  </a:lnTo>
                  <a:lnTo>
                    <a:pt x="3156574" y="2130893"/>
                  </a:lnTo>
                  <a:lnTo>
                    <a:pt x="3155750" y="2126584"/>
                  </a:lnTo>
                  <a:lnTo>
                    <a:pt x="3142962" y="2126200"/>
                  </a:lnTo>
                  <a:lnTo>
                    <a:pt x="3122571" y="2136079"/>
                  </a:lnTo>
                  <a:lnTo>
                    <a:pt x="3109646" y="2137671"/>
                  </a:lnTo>
                  <a:lnTo>
                    <a:pt x="3098367" y="2145025"/>
                  </a:lnTo>
                  <a:lnTo>
                    <a:pt x="3091397" y="2153835"/>
                  </a:lnTo>
                  <a:lnTo>
                    <a:pt x="3074245" y="2156387"/>
                  </a:lnTo>
                  <a:lnTo>
                    <a:pt x="3049546" y="2154301"/>
                  </a:lnTo>
                  <a:lnTo>
                    <a:pt x="3040243" y="2139702"/>
                  </a:lnTo>
                  <a:lnTo>
                    <a:pt x="3042082" y="2127544"/>
                  </a:lnTo>
                  <a:lnTo>
                    <a:pt x="3035989" y="2114921"/>
                  </a:lnTo>
                  <a:lnTo>
                    <a:pt x="3036428" y="2104273"/>
                  </a:lnTo>
                  <a:lnTo>
                    <a:pt x="3022487" y="2099909"/>
                  </a:lnTo>
                  <a:lnTo>
                    <a:pt x="3002701" y="2079601"/>
                  </a:lnTo>
                  <a:lnTo>
                    <a:pt x="2992657" y="2080699"/>
                  </a:lnTo>
                  <a:lnTo>
                    <a:pt x="2981130" y="2072549"/>
                  </a:lnTo>
                  <a:lnTo>
                    <a:pt x="2964335" y="2072768"/>
                  </a:lnTo>
                  <a:lnTo>
                    <a:pt x="2950504" y="2065523"/>
                  </a:lnTo>
                  <a:lnTo>
                    <a:pt x="2946360" y="2056961"/>
                  </a:lnTo>
                  <a:lnTo>
                    <a:pt x="2946580" y="2042746"/>
                  </a:lnTo>
                  <a:lnTo>
                    <a:pt x="2940789" y="2035857"/>
                  </a:lnTo>
                  <a:lnTo>
                    <a:pt x="2938758" y="2019776"/>
                  </a:lnTo>
                  <a:lnTo>
                    <a:pt x="2928193" y="2002047"/>
                  </a:lnTo>
                  <a:lnTo>
                    <a:pt x="2926574" y="1988024"/>
                  </a:lnTo>
                  <a:lnTo>
                    <a:pt x="2915817" y="1962228"/>
                  </a:lnTo>
                  <a:lnTo>
                    <a:pt x="2915624" y="1953281"/>
                  </a:lnTo>
                  <a:lnTo>
                    <a:pt x="2911343" y="1948287"/>
                  </a:lnTo>
                  <a:lnTo>
                    <a:pt x="2908901" y="1937913"/>
                  </a:lnTo>
                  <a:lnTo>
                    <a:pt x="2901793" y="1928692"/>
                  </a:lnTo>
                  <a:lnTo>
                    <a:pt x="2900997" y="1921475"/>
                  </a:lnTo>
                  <a:lnTo>
                    <a:pt x="2893039" y="1916261"/>
                  </a:lnTo>
                  <a:lnTo>
                    <a:pt x="2889471" y="1908303"/>
                  </a:lnTo>
                  <a:lnTo>
                    <a:pt x="2879784" y="1903088"/>
                  </a:lnTo>
                  <a:lnTo>
                    <a:pt x="2865513" y="1903582"/>
                  </a:lnTo>
                  <a:lnTo>
                    <a:pt x="2838647" y="1887720"/>
                  </a:lnTo>
                  <a:lnTo>
                    <a:pt x="2823992" y="1884208"/>
                  </a:lnTo>
                  <a:lnTo>
                    <a:pt x="2808349" y="1887885"/>
                  </a:lnTo>
                  <a:lnTo>
                    <a:pt x="2791801" y="1887528"/>
                  </a:lnTo>
                  <a:lnTo>
                    <a:pt x="2751845" y="1897325"/>
                  </a:lnTo>
                  <a:lnTo>
                    <a:pt x="2727914" y="1920624"/>
                  </a:lnTo>
                  <a:lnTo>
                    <a:pt x="2726569" y="1925509"/>
                  </a:lnTo>
                  <a:lnTo>
                    <a:pt x="2727996" y="1929296"/>
                  </a:lnTo>
                  <a:lnTo>
                    <a:pt x="2737958" y="1929187"/>
                  </a:lnTo>
                  <a:lnTo>
                    <a:pt x="2743310" y="1932672"/>
                  </a:lnTo>
                  <a:lnTo>
                    <a:pt x="2746520" y="1953419"/>
                  </a:lnTo>
                  <a:lnTo>
                    <a:pt x="2742651" y="1962694"/>
                  </a:lnTo>
                  <a:lnTo>
                    <a:pt x="2726378" y="1978227"/>
                  </a:lnTo>
                  <a:lnTo>
                    <a:pt x="2716773" y="2002487"/>
                  </a:lnTo>
                  <a:lnTo>
                    <a:pt x="2703435" y="2026884"/>
                  </a:lnTo>
                  <a:lnTo>
                    <a:pt x="2701706" y="2034156"/>
                  </a:lnTo>
                  <a:lnTo>
                    <a:pt x="2704972" y="2040879"/>
                  </a:lnTo>
                  <a:lnTo>
                    <a:pt x="2700114" y="2050073"/>
                  </a:lnTo>
                  <a:lnTo>
                    <a:pt x="2683045" y="2056165"/>
                  </a:lnTo>
                  <a:lnTo>
                    <a:pt x="2668610" y="2068569"/>
                  </a:lnTo>
                  <a:lnTo>
                    <a:pt x="2659609" y="2073070"/>
                  </a:lnTo>
                  <a:lnTo>
                    <a:pt x="2640344" y="2067115"/>
                  </a:lnTo>
                  <a:lnTo>
                    <a:pt x="2628324" y="2059376"/>
                  </a:lnTo>
                  <a:lnTo>
                    <a:pt x="2623850" y="2055205"/>
                  </a:lnTo>
                  <a:lnTo>
                    <a:pt x="2613559" y="2051692"/>
                  </a:lnTo>
                  <a:lnTo>
                    <a:pt x="2600331" y="2056933"/>
                  </a:lnTo>
                  <a:lnTo>
                    <a:pt x="2589821" y="2056412"/>
                  </a:lnTo>
                  <a:lnTo>
                    <a:pt x="2575962" y="2043843"/>
                  </a:lnTo>
                  <a:lnTo>
                    <a:pt x="2555682" y="2041072"/>
                  </a:lnTo>
                  <a:lnTo>
                    <a:pt x="2535264" y="2052707"/>
                  </a:lnTo>
                  <a:lnTo>
                    <a:pt x="2525934" y="2060336"/>
                  </a:lnTo>
                  <a:lnTo>
                    <a:pt x="2520528" y="2070106"/>
                  </a:lnTo>
                  <a:lnTo>
                    <a:pt x="2513694" y="2074195"/>
                  </a:lnTo>
                  <a:lnTo>
                    <a:pt x="2503980" y="2073729"/>
                  </a:lnTo>
                  <a:lnTo>
                    <a:pt x="2488611" y="2079492"/>
                  </a:lnTo>
                  <a:lnTo>
                    <a:pt x="2471789" y="2081632"/>
                  </a:lnTo>
                  <a:lnTo>
                    <a:pt x="2453375" y="2090606"/>
                  </a:lnTo>
                  <a:lnTo>
                    <a:pt x="2443166" y="2087368"/>
                  </a:lnTo>
                  <a:lnTo>
                    <a:pt x="2435756" y="2089892"/>
                  </a:lnTo>
                  <a:lnTo>
                    <a:pt x="2419620" y="2087642"/>
                  </a:lnTo>
                  <a:lnTo>
                    <a:pt x="2407216" y="2081989"/>
                  </a:lnTo>
                  <a:lnTo>
                    <a:pt x="2388554" y="2082126"/>
                  </a:lnTo>
                  <a:lnTo>
                    <a:pt x="2373104" y="2069557"/>
                  </a:lnTo>
                  <a:lnTo>
                    <a:pt x="2369701" y="2056714"/>
                  </a:lnTo>
                  <a:lnTo>
                    <a:pt x="2347993" y="2051527"/>
                  </a:lnTo>
                  <a:lnTo>
                    <a:pt x="2340474" y="2041867"/>
                  </a:lnTo>
                  <a:lnTo>
                    <a:pt x="2333312" y="2037586"/>
                  </a:lnTo>
                  <a:lnTo>
                    <a:pt x="2321072" y="2038245"/>
                  </a:lnTo>
                  <a:lnTo>
                    <a:pt x="2312126" y="2033415"/>
                  </a:lnTo>
                  <a:lnTo>
                    <a:pt x="2294288" y="2030863"/>
                  </a:lnTo>
                  <a:lnTo>
                    <a:pt x="2266899" y="2038602"/>
                  </a:lnTo>
                  <a:lnTo>
                    <a:pt x="2257103" y="2044557"/>
                  </a:lnTo>
                  <a:lnTo>
                    <a:pt x="2244396" y="2045270"/>
                  </a:lnTo>
                  <a:lnTo>
                    <a:pt x="2222058" y="2037285"/>
                  </a:lnTo>
                  <a:lnTo>
                    <a:pt x="2205455" y="2024743"/>
                  </a:lnTo>
                  <a:lnTo>
                    <a:pt x="2202299" y="2011433"/>
                  </a:lnTo>
                  <a:lnTo>
                    <a:pt x="2200927" y="1992635"/>
                  </a:lnTo>
                  <a:lnTo>
                    <a:pt x="2197935" y="1988518"/>
                  </a:lnTo>
                  <a:lnTo>
                    <a:pt x="2175816" y="1983194"/>
                  </a:lnTo>
                  <a:lnTo>
                    <a:pt x="2153011" y="1971531"/>
                  </a:lnTo>
                  <a:lnTo>
                    <a:pt x="2135859" y="1969912"/>
                  </a:lnTo>
                  <a:lnTo>
                    <a:pt x="2105618" y="1953062"/>
                  </a:lnTo>
                  <a:lnTo>
                    <a:pt x="2098564" y="1966180"/>
                  </a:lnTo>
                  <a:lnTo>
                    <a:pt x="2088466" y="1972217"/>
                  </a:lnTo>
                  <a:lnTo>
                    <a:pt x="2084322" y="1983085"/>
                  </a:lnTo>
                  <a:lnTo>
                    <a:pt x="2079052" y="1986789"/>
                  </a:lnTo>
                  <a:lnTo>
                    <a:pt x="2076171" y="1992937"/>
                  </a:lnTo>
                  <a:lnTo>
                    <a:pt x="2073838" y="2006548"/>
                  </a:lnTo>
                  <a:lnTo>
                    <a:pt x="2076939" y="2011927"/>
                  </a:lnTo>
                  <a:lnTo>
                    <a:pt x="2078887" y="2021121"/>
                  </a:lnTo>
                  <a:lnTo>
                    <a:pt x="2086188" y="2027844"/>
                  </a:lnTo>
                  <a:lnTo>
                    <a:pt x="2084651" y="2040632"/>
                  </a:lnTo>
                  <a:lnTo>
                    <a:pt x="2075238" y="2052817"/>
                  </a:lnTo>
                  <a:lnTo>
                    <a:pt x="2067115" y="2055177"/>
                  </a:lnTo>
                  <a:lnTo>
                    <a:pt x="2058991" y="2062614"/>
                  </a:lnTo>
                  <a:lnTo>
                    <a:pt x="2054546" y="2062285"/>
                  </a:lnTo>
                  <a:lnTo>
                    <a:pt x="2046752" y="2056302"/>
                  </a:lnTo>
                  <a:lnTo>
                    <a:pt x="2036955" y="2054491"/>
                  </a:lnTo>
                  <a:lnTo>
                    <a:pt x="2031603" y="2056138"/>
                  </a:lnTo>
                  <a:lnTo>
                    <a:pt x="2024413" y="2052460"/>
                  </a:lnTo>
                  <a:lnTo>
                    <a:pt x="2014589" y="2051280"/>
                  </a:lnTo>
                  <a:lnTo>
                    <a:pt x="2002322" y="2055561"/>
                  </a:lnTo>
                  <a:lnTo>
                    <a:pt x="1993568" y="2054326"/>
                  </a:lnTo>
                  <a:lnTo>
                    <a:pt x="1987558" y="2050155"/>
                  </a:lnTo>
                  <a:lnTo>
                    <a:pt x="1979571" y="2050265"/>
                  </a:lnTo>
                  <a:lnTo>
                    <a:pt x="1972766" y="2042060"/>
                  </a:lnTo>
                  <a:lnTo>
                    <a:pt x="1969856" y="2030424"/>
                  </a:lnTo>
                  <a:lnTo>
                    <a:pt x="1967167" y="2026582"/>
                  </a:lnTo>
                  <a:lnTo>
                    <a:pt x="1934153" y="2025923"/>
                  </a:lnTo>
                  <a:lnTo>
                    <a:pt x="1931217" y="2023536"/>
                  </a:lnTo>
                  <a:lnTo>
                    <a:pt x="1929955" y="2017251"/>
                  </a:lnTo>
                  <a:lnTo>
                    <a:pt x="1920240" y="2019062"/>
                  </a:lnTo>
                  <a:lnTo>
                    <a:pt x="1912144" y="2012421"/>
                  </a:lnTo>
                  <a:lnTo>
                    <a:pt x="1909373" y="2016592"/>
                  </a:lnTo>
                  <a:lnTo>
                    <a:pt x="1907232" y="2019830"/>
                  </a:lnTo>
                  <a:lnTo>
                    <a:pt x="1894416" y="2019913"/>
                  </a:lnTo>
                  <a:lnTo>
                    <a:pt x="1888159" y="2026143"/>
                  </a:lnTo>
                  <a:lnTo>
                    <a:pt x="1883796" y="2030451"/>
                  </a:lnTo>
                  <a:lnTo>
                    <a:pt x="1877786" y="2031659"/>
                  </a:lnTo>
                  <a:lnTo>
                    <a:pt x="1870623" y="2033086"/>
                  </a:lnTo>
                  <a:lnTo>
                    <a:pt x="1861869" y="2041264"/>
                  </a:lnTo>
                  <a:lnTo>
                    <a:pt x="1848723" y="2046642"/>
                  </a:lnTo>
                  <a:lnTo>
                    <a:pt x="1844991" y="2048179"/>
                  </a:lnTo>
                  <a:lnTo>
                    <a:pt x="1840929" y="2053284"/>
                  </a:lnTo>
                  <a:lnTo>
                    <a:pt x="1832944" y="2055040"/>
                  </a:lnTo>
                  <a:lnTo>
                    <a:pt x="1831654" y="2057153"/>
                  </a:lnTo>
                  <a:lnTo>
                    <a:pt x="1834124" y="2062285"/>
                  </a:lnTo>
                  <a:lnTo>
                    <a:pt x="1832999" y="2065221"/>
                  </a:lnTo>
                  <a:lnTo>
                    <a:pt x="1824052" y="2070051"/>
                  </a:lnTo>
                  <a:lnTo>
                    <a:pt x="1820347" y="2069228"/>
                  </a:lnTo>
                  <a:lnTo>
                    <a:pt x="1816725" y="2074140"/>
                  </a:lnTo>
                  <a:lnTo>
                    <a:pt x="1810276" y="2074085"/>
                  </a:lnTo>
                  <a:lnTo>
                    <a:pt x="1806845" y="2076748"/>
                  </a:lnTo>
                  <a:lnTo>
                    <a:pt x="1791505" y="2076007"/>
                  </a:lnTo>
                  <a:lnTo>
                    <a:pt x="1787855" y="2080425"/>
                  </a:lnTo>
                  <a:lnTo>
                    <a:pt x="1787087" y="2086215"/>
                  </a:lnTo>
                  <a:lnTo>
                    <a:pt x="1778524" y="2089563"/>
                  </a:lnTo>
                  <a:lnTo>
                    <a:pt x="1763430" y="2093323"/>
                  </a:lnTo>
                  <a:lnTo>
                    <a:pt x="1747239" y="2074497"/>
                  </a:lnTo>
                  <a:lnTo>
                    <a:pt x="1744769" y="2063822"/>
                  </a:lnTo>
                  <a:lnTo>
                    <a:pt x="1728002" y="2074497"/>
                  </a:lnTo>
                  <a:lnTo>
                    <a:pt x="1704758" y="2069530"/>
                  </a:lnTo>
                  <a:lnTo>
                    <a:pt x="1694000" y="2051170"/>
                  </a:lnTo>
                  <a:lnTo>
                    <a:pt x="1676793" y="2040440"/>
                  </a:lnTo>
                  <a:lnTo>
                    <a:pt x="1670728" y="2026993"/>
                  </a:lnTo>
                  <a:lnTo>
                    <a:pt x="1663428" y="2016592"/>
                  </a:lnTo>
                  <a:lnTo>
                    <a:pt x="1649432" y="2007564"/>
                  </a:lnTo>
                  <a:lnTo>
                    <a:pt x="1639333" y="2007344"/>
                  </a:lnTo>
                  <a:lnTo>
                    <a:pt x="1620617" y="2016675"/>
                  </a:lnTo>
                  <a:lnTo>
                    <a:pt x="1596687" y="2016812"/>
                  </a:lnTo>
                  <a:lnTo>
                    <a:pt x="1582417" y="2006384"/>
                  </a:lnTo>
                  <a:lnTo>
                    <a:pt x="1578575" y="1997657"/>
                  </a:lnTo>
                  <a:lnTo>
                    <a:pt x="1569464" y="1994171"/>
                  </a:lnTo>
                  <a:lnTo>
                    <a:pt x="1563097" y="1998398"/>
                  </a:lnTo>
                  <a:lnTo>
                    <a:pt x="1557636" y="2009594"/>
                  </a:lnTo>
                  <a:lnTo>
                    <a:pt x="1549677" y="2011735"/>
                  </a:lnTo>
                  <a:lnTo>
                    <a:pt x="1523799" y="1962091"/>
                  </a:lnTo>
                  <a:lnTo>
                    <a:pt x="1491389" y="1904872"/>
                  </a:lnTo>
                  <a:lnTo>
                    <a:pt x="1482277" y="1892825"/>
                  </a:lnTo>
                  <a:lnTo>
                    <a:pt x="1446931" y="1858630"/>
                  </a:lnTo>
                  <a:lnTo>
                    <a:pt x="1446821" y="1854130"/>
                  </a:lnTo>
                  <a:lnTo>
                    <a:pt x="1453133" y="1849053"/>
                  </a:lnTo>
                  <a:lnTo>
                    <a:pt x="1453627" y="1842000"/>
                  </a:lnTo>
                  <a:lnTo>
                    <a:pt x="1438835" y="1844909"/>
                  </a:lnTo>
                  <a:lnTo>
                    <a:pt x="1419213" y="1854624"/>
                  </a:lnTo>
                  <a:lnTo>
                    <a:pt x="1410239" y="1864997"/>
                  </a:lnTo>
                  <a:lnTo>
                    <a:pt x="1389246" y="1876990"/>
                  </a:lnTo>
                  <a:lnTo>
                    <a:pt x="1382632" y="1884399"/>
                  </a:lnTo>
                  <a:lnTo>
                    <a:pt x="1368526" y="1880612"/>
                  </a:lnTo>
                  <a:lnTo>
                    <a:pt x="1355271" y="1885470"/>
                  </a:lnTo>
                  <a:lnTo>
                    <a:pt x="1352417" y="1882698"/>
                  </a:lnTo>
                  <a:lnTo>
                    <a:pt x="1351978" y="1878060"/>
                  </a:lnTo>
                  <a:lnTo>
                    <a:pt x="1360815" y="1865711"/>
                  </a:lnTo>
                  <a:lnTo>
                    <a:pt x="1360870" y="1860991"/>
                  </a:lnTo>
                  <a:lnTo>
                    <a:pt x="1349920" y="1862033"/>
                  </a:lnTo>
                  <a:lnTo>
                    <a:pt x="1333838" y="1856024"/>
                  </a:lnTo>
                  <a:lnTo>
                    <a:pt x="1330490" y="1862143"/>
                  </a:lnTo>
                  <a:lnTo>
                    <a:pt x="1328075" y="1862774"/>
                  </a:lnTo>
                  <a:lnTo>
                    <a:pt x="1322752" y="1851633"/>
                  </a:lnTo>
                  <a:lnTo>
                    <a:pt x="1317922" y="1846364"/>
                  </a:lnTo>
                  <a:lnTo>
                    <a:pt x="1314052" y="1850864"/>
                  </a:lnTo>
                  <a:lnTo>
                    <a:pt x="1301511" y="1854240"/>
                  </a:lnTo>
                  <a:lnTo>
                    <a:pt x="1289106" y="1852154"/>
                  </a:lnTo>
                  <a:lnTo>
                    <a:pt x="1286911" y="1846117"/>
                  </a:lnTo>
                  <a:lnTo>
                    <a:pt x="1289380" y="1838789"/>
                  </a:lnTo>
                  <a:lnTo>
                    <a:pt x="1290012" y="1828827"/>
                  </a:lnTo>
                  <a:lnTo>
                    <a:pt x="1282437" y="1806050"/>
                  </a:lnTo>
                  <a:lnTo>
                    <a:pt x="1277635" y="1798283"/>
                  </a:lnTo>
                  <a:lnTo>
                    <a:pt x="1269293" y="1797104"/>
                  </a:lnTo>
                  <a:lnTo>
                    <a:pt x="1258370" y="1801247"/>
                  </a:lnTo>
                  <a:lnTo>
                    <a:pt x="1244978" y="1794057"/>
                  </a:lnTo>
                  <a:lnTo>
                    <a:pt x="1226454" y="1790517"/>
                  </a:lnTo>
                  <a:lnTo>
                    <a:pt x="1204719" y="1802098"/>
                  </a:lnTo>
                  <a:lnTo>
                    <a:pt x="1196760" y="1812581"/>
                  </a:lnTo>
                  <a:lnTo>
                    <a:pt x="1142918" y="1828114"/>
                  </a:lnTo>
                  <a:lnTo>
                    <a:pt x="1122555" y="1829706"/>
                  </a:lnTo>
                  <a:lnTo>
                    <a:pt x="1109711" y="1842165"/>
                  </a:lnTo>
                  <a:lnTo>
                    <a:pt x="1095331" y="1841945"/>
                  </a:lnTo>
                  <a:lnTo>
                    <a:pt x="1059354" y="1850288"/>
                  </a:lnTo>
                  <a:lnTo>
                    <a:pt x="1034929" y="1862912"/>
                  </a:lnTo>
                  <a:lnTo>
                    <a:pt x="1028261" y="1859893"/>
                  </a:lnTo>
                  <a:lnTo>
                    <a:pt x="1015390" y="1862253"/>
                  </a:lnTo>
                  <a:lnTo>
                    <a:pt x="1002190" y="1859070"/>
                  </a:lnTo>
                  <a:lnTo>
                    <a:pt x="995384" y="1863351"/>
                  </a:lnTo>
                  <a:lnTo>
                    <a:pt x="991323" y="1878719"/>
                  </a:lnTo>
                  <a:lnTo>
                    <a:pt x="1000488" y="1884894"/>
                  </a:lnTo>
                  <a:lnTo>
                    <a:pt x="997360" y="1889696"/>
                  </a:lnTo>
                  <a:lnTo>
                    <a:pt x="997360" y="1894471"/>
                  </a:lnTo>
                  <a:cubicBezTo>
                    <a:pt x="997360" y="1894471"/>
                    <a:pt x="1012755" y="1901195"/>
                    <a:pt x="1012755" y="1901195"/>
                  </a:cubicBezTo>
                  <a:lnTo>
                    <a:pt x="1020193" y="1908549"/>
                  </a:lnTo>
                  <a:lnTo>
                    <a:pt x="1017284" y="1911184"/>
                  </a:lnTo>
                  <a:lnTo>
                    <a:pt x="1003260" y="1910141"/>
                  </a:lnTo>
                  <a:lnTo>
                    <a:pt x="990911" y="1914285"/>
                  </a:lnTo>
                  <a:lnTo>
                    <a:pt x="983721" y="1925427"/>
                  </a:lnTo>
                  <a:lnTo>
                    <a:pt x="987865" y="1936678"/>
                  </a:lnTo>
                  <a:lnTo>
                    <a:pt x="988002" y="1943484"/>
                  </a:lnTo>
                  <a:lnTo>
                    <a:pt x="965005" y="1961405"/>
                  </a:lnTo>
                  <a:lnTo>
                    <a:pt x="976092" y="1975099"/>
                  </a:lnTo>
                  <a:lnTo>
                    <a:pt x="1004632" y="1990137"/>
                  </a:lnTo>
                  <a:lnTo>
                    <a:pt x="1001860" y="2012257"/>
                  </a:lnTo>
                  <a:lnTo>
                    <a:pt x="991075" y="2019501"/>
                  </a:lnTo>
                  <a:lnTo>
                    <a:pt x="973183" y="2020434"/>
                  </a:lnTo>
                  <a:lnTo>
                    <a:pt x="962837" y="2015796"/>
                  </a:lnTo>
                  <a:lnTo>
                    <a:pt x="954385" y="2024139"/>
                  </a:lnTo>
                  <a:lnTo>
                    <a:pt x="946810" y="2026005"/>
                  </a:lnTo>
                  <a:lnTo>
                    <a:pt x="924773" y="2016483"/>
                  </a:lnTo>
                  <a:lnTo>
                    <a:pt x="916568" y="2004600"/>
                  </a:lnTo>
                  <a:lnTo>
                    <a:pt x="907155" y="2000675"/>
                  </a:lnTo>
                  <a:lnTo>
                    <a:pt x="897001" y="2001718"/>
                  </a:lnTo>
                  <a:lnTo>
                    <a:pt x="887753" y="2009594"/>
                  </a:lnTo>
                  <a:lnTo>
                    <a:pt x="874800" y="2003118"/>
                  </a:lnTo>
                  <a:lnTo>
                    <a:pt x="857621" y="2004929"/>
                  </a:lnTo>
                  <a:lnTo>
                    <a:pt x="843186" y="2018568"/>
                  </a:lnTo>
                  <a:lnTo>
                    <a:pt x="833223" y="2023892"/>
                  </a:lnTo>
                  <a:lnTo>
                    <a:pt x="822685" y="2020133"/>
                  </a:lnTo>
                  <a:lnTo>
                    <a:pt x="814535" y="2012640"/>
                  </a:lnTo>
                  <a:lnTo>
                    <a:pt x="808635" y="2012311"/>
                  </a:lnTo>
                  <a:lnTo>
                    <a:pt x="805012" y="2015138"/>
                  </a:lnTo>
                  <a:lnTo>
                    <a:pt x="802460" y="2023124"/>
                  </a:lnTo>
                  <a:lnTo>
                    <a:pt x="799743" y="2024578"/>
                  </a:lnTo>
                  <a:lnTo>
                    <a:pt x="792608" y="2008744"/>
                  </a:lnTo>
                  <a:lnTo>
                    <a:pt x="766811" y="1984676"/>
                  </a:lnTo>
                  <a:lnTo>
                    <a:pt x="744034" y="1983386"/>
                  </a:lnTo>
                  <a:lnTo>
                    <a:pt x="731383" y="1972985"/>
                  </a:lnTo>
                  <a:lnTo>
                    <a:pt x="722079" y="1975538"/>
                  </a:lnTo>
                  <a:lnTo>
                    <a:pt x="714670" y="1981795"/>
                  </a:lnTo>
                  <a:lnTo>
                    <a:pt x="709099" y="1982289"/>
                  </a:lnTo>
                  <a:lnTo>
                    <a:pt x="702266" y="1975291"/>
                  </a:lnTo>
                  <a:lnTo>
                    <a:pt x="691892" y="1972766"/>
                  </a:lnTo>
                  <a:lnTo>
                    <a:pt x="681931" y="1979572"/>
                  </a:lnTo>
                  <a:lnTo>
                    <a:pt x="673094" y="1991482"/>
                  </a:lnTo>
                  <a:lnTo>
                    <a:pt x="651194" y="2001718"/>
                  </a:lnTo>
                  <a:lnTo>
                    <a:pt x="643153" y="2015193"/>
                  </a:lnTo>
                  <a:lnTo>
                    <a:pt x="626962" y="2024167"/>
                  </a:lnTo>
                  <a:lnTo>
                    <a:pt x="630941" y="2047987"/>
                  </a:lnTo>
                  <a:lnTo>
                    <a:pt x="625700" y="2056522"/>
                  </a:lnTo>
                  <a:lnTo>
                    <a:pt x="616589" y="2058031"/>
                  </a:lnTo>
                  <a:lnTo>
                    <a:pt x="601275" y="2037998"/>
                  </a:lnTo>
                  <a:lnTo>
                    <a:pt x="592384" y="2034787"/>
                  </a:lnTo>
                  <a:lnTo>
                    <a:pt x="588185" y="2039507"/>
                  </a:lnTo>
                  <a:lnTo>
                    <a:pt x="583794" y="2052433"/>
                  </a:lnTo>
                  <a:lnTo>
                    <a:pt x="574875" y="2063547"/>
                  </a:lnTo>
                  <a:lnTo>
                    <a:pt x="572735" y="2080315"/>
                  </a:lnTo>
                  <a:lnTo>
                    <a:pt x="577125" y="2092253"/>
                  </a:lnTo>
                  <a:lnTo>
                    <a:pt x="570237" y="2104602"/>
                  </a:lnTo>
                  <a:lnTo>
                    <a:pt x="565929" y="2120080"/>
                  </a:lnTo>
                  <a:lnTo>
                    <a:pt x="579458" y="2133609"/>
                  </a:lnTo>
                  <a:lnTo>
                    <a:pt x="580830" y="2145273"/>
                  </a:lnTo>
                  <a:lnTo>
                    <a:pt x="585276" y="2153094"/>
                  </a:lnTo>
                  <a:lnTo>
                    <a:pt x="606764" y="2153341"/>
                  </a:lnTo>
                  <a:lnTo>
                    <a:pt x="624135" y="2169505"/>
                  </a:lnTo>
                  <a:lnTo>
                    <a:pt x="634948" y="2194423"/>
                  </a:lnTo>
                  <a:lnTo>
                    <a:pt x="632258" y="2197908"/>
                  </a:lnTo>
                  <a:lnTo>
                    <a:pt x="625508" y="2197414"/>
                  </a:lnTo>
                  <a:lnTo>
                    <a:pt x="624053" y="2200186"/>
                  </a:lnTo>
                  <a:lnTo>
                    <a:pt x="642907" y="2214292"/>
                  </a:lnTo>
                  <a:lnTo>
                    <a:pt x="633905" y="2229907"/>
                  </a:lnTo>
                  <a:lnTo>
                    <a:pt x="632231" y="2229440"/>
                  </a:lnTo>
                  <a:lnTo>
                    <a:pt x="634124" y="2224747"/>
                  </a:lnTo>
                  <a:lnTo>
                    <a:pt x="627922" y="2225790"/>
                  </a:lnTo>
                  <a:lnTo>
                    <a:pt x="628307" y="2233804"/>
                  </a:lnTo>
                  <a:lnTo>
                    <a:pt x="622270" y="2231334"/>
                  </a:lnTo>
                  <a:lnTo>
                    <a:pt x="618208" y="2237975"/>
                  </a:lnTo>
                  <a:lnTo>
                    <a:pt x="615683" y="2236767"/>
                  </a:lnTo>
                  <a:lnTo>
                    <a:pt x="601605" y="2243601"/>
                  </a:lnTo>
                  <a:lnTo>
                    <a:pt x="596665" y="2242421"/>
                  </a:lnTo>
                  <a:lnTo>
                    <a:pt x="580666" y="2276121"/>
                  </a:lnTo>
                  <a:lnTo>
                    <a:pt x="576165" y="2279963"/>
                  </a:lnTo>
                  <a:lnTo>
                    <a:pt x="571555" y="2283915"/>
                  </a:lnTo>
                  <a:lnTo>
                    <a:pt x="569359" y="2291406"/>
                  </a:lnTo>
                  <a:lnTo>
                    <a:pt x="570622" y="2294645"/>
                  </a:lnTo>
                  <a:lnTo>
                    <a:pt x="576165" y="2296785"/>
                  </a:lnTo>
                  <a:lnTo>
                    <a:pt x="577592" y="2297361"/>
                  </a:lnTo>
                  <a:lnTo>
                    <a:pt x="584864" y="2304168"/>
                  </a:lnTo>
                  <a:lnTo>
                    <a:pt x="592137" y="2318822"/>
                  </a:lnTo>
                  <a:lnTo>
                    <a:pt x="597296" y="2317038"/>
                  </a:lnTo>
                  <a:lnTo>
                    <a:pt x="593262" y="2331446"/>
                  </a:lnTo>
                  <a:lnTo>
                    <a:pt x="592494" y="2334300"/>
                  </a:lnTo>
                  <a:lnTo>
                    <a:pt x="593866" y="2340886"/>
                  </a:lnTo>
                  <a:lnTo>
                    <a:pt x="591863" y="2350464"/>
                  </a:lnTo>
                  <a:lnTo>
                    <a:pt x="597571" y="2357846"/>
                  </a:lnTo>
                  <a:lnTo>
                    <a:pt x="600397" y="2366875"/>
                  </a:lnTo>
                  <a:lnTo>
                    <a:pt x="610469" y="2379471"/>
                  </a:lnTo>
                  <a:lnTo>
                    <a:pt x="618619" y="2393714"/>
                  </a:lnTo>
                  <a:lnTo>
                    <a:pt x="622544" y="2396650"/>
                  </a:lnTo>
                  <a:lnTo>
                    <a:pt x="624273" y="2398763"/>
                  </a:lnTo>
                  <a:lnTo>
                    <a:pt x="619607" y="2405295"/>
                  </a:lnTo>
                  <a:lnTo>
                    <a:pt x="619251" y="2405542"/>
                  </a:lnTo>
                  <a:lnTo>
                    <a:pt x="618729" y="2406996"/>
                  </a:lnTo>
                  <a:lnTo>
                    <a:pt x="609097" y="2412704"/>
                  </a:lnTo>
                  <a:lnTo>
                    <a:pt x="601660" y="2422364"/>
                  </a:lnTo>
                  <a:lnTo>
                    <a:pt x="588432" y="2419401"/>
                  </a:lnTo>
                  <a:lnTo>
                    <a:pt x="576083" y="2405130"/>
                  </a:lnTo>
                  <a:lnTo>
                    <a:pt x="571198" y="2399504"/>
                  </a:lnTo>
                  <a:lnTo>
                    <a:pt x="560769" y="2395827"/>
                  </a:lnTo>
                  <a:lnTo>
                    <a:pt x="554924" y="2392671"/>
                  </a:lnTo>
                  <a:lnTo>
                    <a:pt x="537964" y="2383368"/>
                  </a:lnTo>
                  <a:lnTo>
                    <a:pt x="540763" y="2378950"/>
                  </a:lnTo>
                  <a:lnTo>
                    <a:pt x="540763" y="2376178"/>
                  </a:lnTo>
                  <a:cubicBezTo>
                    <a:pt x="540763" y="2376178"/>
                    <a:pt x="540763" y="2372583"/>
                    <a:pt x="540763" y="2372583"/>
                  </a:cubicBezTo>
                  <a:lnTo>
                    <a:pt x="537388" y="2371979"/>
                  </a:lnTo>
                  <a:lnTo>
                    <a:pt x="529347" y="2370607"/>
                  </a:lnTo>
                  <a:lnTo>
                    <a:pt x="526027" y="2366902"/>
                  </a:lnTo>
                  <a:lnTo>
                    <a:pt x="523886" y="2364515"/>
                  </a:lnTo>
                  <a:lnTo>
                    <a:pt x="517245" y="2362511"/>
                  </a:lnTo>
                  <a:lnTo>
                    <a:pt x="513568" y="2366820"/>
                  </a:lnTo>
                  <a:lnTo>
                    <a:pt x="510384" y="2362676"/>
                  </a:lnTo>
                  <a:lnTo>
                    <a:pt x="506323" y="2362045"/>
                  </a:lnTo>
                  <a:lnTo>
                    <a:pt x="496306" y="2366079"/>
                  </a:lnTo>
                  <a:lnTo>
                    <a:pt x="496306" y="2366875"/>
                  </a:lnTo>
                  <a:lnTo>
                    <a:pt x="494303" y="2366875"/>
                  </a:lnTo>
                  <a:lnTo>
                    <a:pt x="487552" y="2369482"/>
                  </a:lnTo>
                  <a:lnTo>
                    <a:pt x="483929" y="2368082"/>
                  </a:lnTo>
                  <a:lnTo>
                    <a:pt x="483133" y="2366875"/>
                  </a:lnTo>
                  <a:lnTo>
                    <a:pt x="481267" y="2361194"/>
                  </a:lnTo>
                  <a:lnTo>
                    <a:pt x="467848" y="2355184"/>
                  </a:lnTo>
                  <a:lnTo>
                    <a:pt x="465954" y="2354333"/>
                  </a:lnTo>
                  <a:lnTo>
                    <a:pt x="455581" y="2345524"/>
                  </a:lnTo>
                  <a:lnTo>
                    <a:pt x="449351" y="2345716"/>
                  </a:lnTo>
                  <a:lnTo>
                    <a:pt x="444604" y="2343576"/>
                  </a:lnTo>
                  <a:lnTo>
                    <a:pt x="442765" y="2342752"/>
                  </a:lnTo>
                  <a:lnTo>
                    <a:pt x="420344" y="2342835"/>
                  </a:lnTo>
                  <a:lnTo>
                    <a:pt x="394383" y="2331501"/>
                  </a:lnTo>
                  <a:lnTo>
                    <a:pt x="390788" y="2329936"/>
                  </a:lnTo>
                  <a:lnTo>
                    <a:pt x="376819" y="2329415"/>
                  </a:lnTo>
                  <a:lnTo>
                    <a:pt x="375529" y="2331473"/>
                  </a:lnTo>
                  <a:lnTo>
                    <a:pt x="372346" y="2336605"/>
                  </a:lnTo>
                  <a:lnTo>
                    <a:pt x="367105" y="2331473"/>
                  </a:lnTo>
                  <a:lnTo>
                    <a:pt x="335874" y="2300710"/>
                  </a:lnTo>
                  <a:lnTo>
                    <a:pt x="320342" y="2294453"/>
                  </a:lnTo>
                  <a:lnTo>
                    <a:pt x="308706" y="2283530"/>
                  </a:lnTo>
                  <a:lnTo>
                    <a:pt x="299457" y="2282570"/>
                  </a:lnTo>
                  <a:lnTo>
                    <a:pt x="290566" y="2271483"/>
                  </a:lnTo>
                  <a:lnTo>
                    <a:pt x="276351" y="2263222"/>
                  </a:lnTo>
                  <a:lnTo>
                    <a:pt x="279644" y="2258941"/>
                  </a:lnTo>
                  <a:lnTo>
                    <a:pt x="279973" y="2253508"/>
                  </a:lnTo>
                  <a:lnTo>
                    <a:pt x="291225" y="2256197"/>
                  </a:lnTo>
                  <a:lnTo>
                    <a:pt x="298607" y="2253617"/>
                  </a:lnTo>
                  <a:lnTo>
                    <a:pt x="302531" y="2243409"/>
                  </a:lnTo>
                  <a:lnTo>
                    <a:pt x="311862" y="2229605"/>
                  </a:lnTo>
                  <a:lnTo>
                    <a:pt x="317570" y="2226394"/>
                  </a:lnTo>
                  <a:lnTo>
                    <a:pt x="319518" y="2217420"/>
                  </a:lnTo>
                  <a:lnTo>
                    <a:pt x="310187" y="2208666"/>
                  </a:lnTo>
                  <a:lnTo>
                    <a:pt x="308541" y="2201476"/>
                  </a:lnTo>
                  <a:lnTo>
                    <a:pt x="320452" y="2198265"/>
                  </a:lnTo>
                  <a:lnTo>
                    <a:pt x="328218" y="2199445"/>
                  </a:lnTo>
                  <a:lnTo>
                    <a:pt x="326900" y="2194807"/>
                  </a:lnTo>
                  <a:lnTo>
                    <a:pt x="327971" y="2192447"/>
                  </a:lnTo>
                  <a:lnTo>
                    <a:pt x="350035" y="2181525"/>
                  </a:lnTo>
                  <a:lnTo>
                    <a:pt x="348800" y="2175981"/>
                  </a:lnTo>
                  <a:lnTo>
                    <a:pt x="346193" y="2174197"/>
                  </a:lnTo>
                  <a:lnTo>
                    <a:pt x="331237" y="2179768"/>
                  </a:lnTo>
                  <a:lnTo>
                    <a:pt x="319957" y="2180509"/>
                  </a:lnTo>
                  <a:lnTo>
                    <a:pt x="321988" y="2174472"/>
                  </a:lnTo>
                  <a:lnTo>
                    <a:pt x="320726" y="2170191"/>
                  </a:lnTo>
                  <a:lnTo>
                    <a:pt x="322564" y="2162123"/>
                  </a:lnTo>
                  <a:lnTo>
                    <a:pt x="326873" y="2157869"/>
                  </a:lnTo>
                  <a:lnTo>
                    <a:pt x="334996" y="2155097"/>
                  </a:lnTo>
                  <a:lnTo>
                    <a:pt x="339579" y="2148346"/>
                  </a:lnTo>
                  <a:lnTo>
                    <a:pt x="359832" y="2149554"/>
                  </a:lnTo>
                  <a:lnTo>
                    <a:pt x="365485" y="2146919"/>
                  </a:lnTo>
                  <a:lnTo>
                    <a:pt x="371303" y="2131057"/>
                  </a:lnTo>
                  <a:lnTo>
                    <a:pt x="363427" y="2112176"/>
                  </a:lnTo>
                  <a:lnTo>
                    <a:pt x="366171" y="2106413"/>
                  </a:lnTo>
                  <a:lnTo>
                    <a:pt x="370672" y="2105974"/>
                  </a:lnTo>
                  <a:lnTo>
                    <a:pt x="371907" y="2103587"/>
                  </a:lnTo>
                  <a:lnTo>
                    <a:pt x="366555" y="2101419"/>
                  </a:lnTo>
                  <a:lnTo>
                    <a:pt x="364058" y="2097439"/>
                  </a:lnTo>
                  <a:lnTo>
                    <a:pt x="370370" y="2094009"/>
                  </a:lnTo>
                  <a:lnTo>
                    <a:pt x="377039" y="2086325"/>
                  </a:lnTo>
                  <a:lnTo>
                    <a:pt x="376984" y="2082154"/>
                  </a:lnTo>
                  <a:lnTo>
                    <a:pt x="373801" y="2076555"/>
                  </a:lnTo>
                  <a:lnTo>
                    <a:pt x="374514" y="2071808"/>
                  </a:lnTo>
                  <a:lnTo>
                    <a:pt x="365733" y="2071643"/>
                  </a:lnTo>
                  <a:lnTo>
                    <a:pt x="359173" y="2064755"/>
                  </a:lnTo>
                  <a:lnTo>
                    <a:pt x="351956" y="2063355"/>
                  </a:lnTo>
                  <a:lnTo>
                    <a:pt x="347455" y="2058992"/>
                  </a:lnTo>
                  <a:lnTo>
                    <a:pt x="341116" y="2060666"/>
                  </a:lnTo>
                  <a:lnTo>
                    <a:pt x="321192" y="2049140"/>
                  </a:lnTo>
                  <a:lnTo>
                    <a:pt x="317488" y="2054601"/>
                  </a:lnTo>
                  <a:lnTo>
                    <a:pt x="314277" y="2054903"/>
                  </a:lnTo>
                  <a:lnTo>
                    <a:pt x="305632" y="2047713"/>
                  </a:lnTo>
                  <a:lnTo>
                    <a:pt x="301406" y="2038464"/>
                  </a:lnTo>
                  <a:lnTo>
                    <a:pt x="296603" y="2033360"/>
                  </a:lnTo>
                  <a:lnTo>
                    <a:pt x="273359" y="2041291"/>
                  </a:lnTo>
                  <a:lnTo>
                    <a:pt x="263782" y="2038300"/>
                  </a:lnTo>
                  <a:lnTo>
                    <a:pt x="255823" y="2032098"/>
                  </a:lnTo>
                  <a:lnTo>
                    <a:pt x="243693" y="2035556"/>
                  </a:lnTo>
                  <a:lnTo>
                    <a:pt x="237437" y="2026307"/>
                  </a:lnTo>
                  <a:lnTo>
                    <a:pt x="238452" y="2017937"/>
                  </a:lnTo>
                  <a:lnTo>
                    <a:pt x="235378" y="2005039"/>
                  </a:lnTo>
                  <a:lnTo>
                    <a:pt x="230603" y="2002404"/>
                  </a:lnTo>
                  <a:lnTo>
                    <a:pt x="228298" y="1996888"/>
                  </a:lnTo>
                  <a:lnTo>
                    <a:pt x="218473" y="1997849"/>
                  </a:lnTo>
                  <a:lnTo>
                    <a:pt x="204203" y="1993623"/>
                  </a:lnTo>
                  <a:lnTo>
                    <a:pt x="203133" y="1981438"/>
                  </a:lnTo>
                  <a:lnTo>
                    <a:pt x="199483" y="1974906"/>
                  </a:lnTo>
                  <a:lnTo>
                    <a:pt x="206261" y="1971998"/>
                  </a:lnTo>
                  <a:lnTo>
                    <a:pt x="206947" y="1968183"/>
                  </a:lnTo>
                  <a:lnTo>
                    <a:pt x="199318" y="1958852"/>
                  </a:lnTo>
                  <a:lnTo>
                    <a:pt x="197205" y="1950372"/>
                  </a:lnTo>
                  <a:lnTo>
                    <a:pt x="189988" y="1942496"/>
                  </a:lnTo>
                  <a:lnTo>
                    <a:pt x="172122" y="1941563"/>
                  </a:lnTo>
                  <a:lnTo>
                    <a:pt x="159663" y="1946585"/>
                  </a:lnTo>
                  <a:lnTo>
                    <a:pt x="149097" y="1943676"/>
                  </a:lnTo>
                  <a:lnTo>
                    <a:pt x="145393" y="1952403"/>
                  </a:lnTo>
                  <a:lnTo>
                    <a:pt x="141798" y="1955587"/>
                  </a:lnTo>
                  <a:lnTo>
                    <a:pt x="130409" y="1953638"/>
                  </a:lnTo>
                  <a:lnTo>
                    <a:pt x="126347" y="1944198"/>
                  </a:lnTo>
                  <a:lnTo>
                    <a:pt x="123109" y="1927705"/>
                  </a:lnTo>
                  <a:lnTo>
                    <a:pt x="123219" y="1920130"/>
                  </a:lnTo>
                  <a:lnTo>
                    <a:pt x="116468" y="1910223"/>
                  </a:lnTo>
                  <a:lnTo>
                    <a:pt x="118691" y="1903143"/>
                  </a:lnTo>
                  <a:lnTo>
                    <a:pt x="125908" y="1900152"/>
                  </a:lnTo>
                  <a:lnTo>
                    <a:pt x="133290" y="1904954"/>
                  </a:lnTo>
                  <a:lnTo>
                    <a:pt x="139877" y="1905668"/>
                  </a:lnTo>
                  <a:lnTo>
                    <a:pt x="149537" y="1900289"/>
                  </a:lnTo>
                  <a:lnTo>
                    <a:pt x="157440" y="1889861"/>
                  </a:lnTo>
                  <a:lnTo>
                    <a:pt x="151320" y="1883137"/>
                  </a:lnTo>
                  <a:lnTo>
                    <a:pt x="149399" y="1875371"/>
                  </a:lnTo>
                  <a:lnTo>
                    <a:pt x="140700" y="1870815"/>
                  </a:lnTo>
                  <a:lnTo>
                    <a:pt x="131232" y="1870321"/>
                  </a:lnTo>
                  <a:lnTo>
                    <a:pt x="131149" y="1858301"/>
                  </a:lnTo>
                  <a:lnTo>
                    <a:pt x="118087" y="1849108"/>
                  </a:lnTo>
                  <a:lnTo>
                    <a:pt x="111062" y="1835798"/>
                  </a:lnTo>
                  <a:lnTo>
                    <a:pt x="109442" y="1828361"/>
                  </a:lnTo>
                  <a:lnTo>
                    <a:pt x="102417" y="1821034"/>
                  </a:lnTo>
                  <a:lnTo>
                    <a:pt x="102884" y="1815573"/>
                  </a:lnTo>
                  <a:lnTo>
                    <a:pt x="107083" y="1807587"/>
                  </a:lnTo>
                  <a:lnTo>
                    <a:pt x="103130" y="1796088"/>
                  </a:lnTo>
                  <a:lnTo>
                    <a:pt x="105051" y="1787745"/>
                  </a:lnTo>
                  <a:lnTo>
                    <a:pt x="104311" y="1780363"/>
                  </a:lnTo>
                  <a:lnTo>
                    <a:pt x="99261" y="1778058"/>
                  </a:lnTo>
                  <a:lnTo>
                    <a:pt x="91989" y="1769468"/>
                  </a:lnTo>
                  <a:lnTo>
                    <a:pt x="84469" y="1766422"/>
                  </a:lnTo>
                  <a:lnTo>
                    <a:pt x="75331" y="1766916"/>
                  </a:lnTo>
                  <a:lnTo>
                    <a:pt x="63064" y="1773503"/>
                  </a:lnTo>
                  <a:lnTo>
                    <a:pt x="60265" y="1769798"/>
                  </a:lnTo>
                  <a:lnTo>
                    <a:pt x="60758" y="1763239"/>
                  </a:lnTo>
                  <a:lnTo>
                    <a:pt x="59002" y="1760467"/>
                  </a:lnTo>
                  <a:lnTo>
                    <a:pt x="50385" y="1757503"/>
                  </a:lnTo>
                  <a:lnTo>
                    <a:pt x="42262" y="1760165"/>
                  </a:lnTo>
                  <a:lnTo>
                    <a:pt x="37185" y="1754265"/>
                  </a:lnTo>
                  <a:lnTo>
                    <a:pt x="28184" y="1754539"/>
                  </a:lnTo>
                  <a:lnTo>
                    <a:pt x="23628" y="1749600"/>
                  </a:lnTo>
                  <a:lnTo>
                    <a:pt x="25604" y="1743672"/>
                  </a:lnTo>
                  <a:lnTo>
                    <a:pt x="22421" y="1728551"/>
                  </a:lnTo>
                  <a:lnTo>
                    <a:pt x="15340" y="1713238"/>
                  </a:lnTo>
                  <a:lnTo>
                    <a:pt x="9550" y="1713073"/>
                  </a:lnTo>
                  <a:lnTo>
                    <a:pt x="14764" y="1690844"/>
                  </a:lnTo>
                  <a:lnTo>
                    <a:pt x="9989" y="1685164"/>
                  </a:lnTo>
                  <a:lnTo>
                    <a:pt x="5763" y="1682062"/>
                  </a:lnTo>
                  <a:lnTo>
                    <a:pt x="5186" y="1676738"/>
                  </a:lnTo>
                  <a:lnTo>
                    <a:pt x="0" y="1677095"/>
                  </a:lnTo>
                  <a:lnTo>
                    <a:pt x="1536" y="1669164"/>
                  </a:lnTo>
                  <a:lnTo>
                    <a:pt x="5680" y="1661480"/>
                  </a:lnTo>
                  <a:lnTo>
                    <a:pt x="11416" y="1657034"/>
                  </a:lnTo>
                  <a:lnTo>
                    <a:pt x="5269" y="1640157"/>
                  </a:lnTo>
                  <a:lnTo>
                    <a:pt x="5022" y="1627314"/>
                  </a:lnTo>
                  <a:lnTo>
                    <a:pt x="164" y="1606347"/>
                  </a:lnTo>
                  <a:lnTo>
                    <a:pt x="10483" y="1596138"/>
                  </a:lnTo>
                  <a:lnTo>
                    <a:pt x="16932" y="1580002"/>
                  </a:lnTo>
                  <a:lnTo>
                    <a:pt x="23903" y="1575282"/>
                  </a:lnTo>
                  <a:lnTo>
                    <a:pt x="24424" y="1571522"/>
                  </a:lnTo>
                  <a:lnTo>
                    <a:pt x="20308" y="1567214"/>
                  </a:lnTo>
                  <a:lnTo>
                    <a:pt x="22531" y="1551214"/>
                  </a:lnTo>
                  <a:lnTo>
                    <a:pt x="29364" y="1554206"/>
                  </a:lnTo>
                  <a:lnTo>
                    <a:pt x="35126" y="1547372"/>
                  </a:lnTo>
                  <a:lnTo>
                    <a:pt x="46653" y="1546741"/>
                  </a:lnTo>
                  <a:lnTo>
                    <a:pt x="55242" y="1537712"/>
                  </a:lnTo>
                  <a:lnTo>
                    <a:pt x="79612" y="1544052"/>
                  </a:lnTo>
                  <a:lnTo>
                    <a:pt x="83179" y="1540237"/>
                  </a:lnTo>
                  <a:lnTo>
                    <a:pt x="72751" y="1527311"/>
                  </a:lnTo>
                  <a:lnTo>
                    <a:pt x="52416" y="1525885"/>
                  </a:lnTo>
                  <a:lnTo>
                    <a:pt x="37157" y="1517075"/>
                  </a:lnTo>
                  <a:lnTo>
                    <a:pt x="35456" y="1509583"/>
                  </a:lnTo>
                  <a:lnTo>
                    <a:pt x="37350" y="1496246"/>
                  </a:lnTo>
                  <a:lnTo>
                    <a:pt x="17701" y="1506427"/>
                  </a:lnTo>
                  <a:lnTo>
                    <a:pt x="13255" y="1503766"/>
                  </a:lnTo>
                  <a:lnTo>
                    <a:pt x="14408" y="1502668"/>
                  </a:lnTo>
                  <a:lnTo>
                    <a:pt x="18771" y="1496548"/>
                  </a:lnTo>
                  <a:lnTo>
                    <a:pt x="33673" y="1480274"/>
                  </a:lnTo>
                  <a:lnTo>
                    <a:pt x="38283" y="1478710"/>
                  </a:lnTo>
                  <a:lnTo>
                    <a:pt x="41110" y="1472645"/>
                  </a:lnTo>
                  <a:lnTo>
                    <a:pt x="43634" y="1468885"/>
                  </a:lnTo>
                  <a:lnTo>
                    <a:pt x="53376" y="1462025"/>
                  </a:lnTo>
                  <a:lnTo>
                    <a:pt x="82082" y="1424181"/>
                  </a:lnTo>
                  <a:lnTo>
                    <a:pt x="112544" y="1384910"/>
                  </a:lnTo>
                  <a:lnTo>
                    <a:pt x="123246" y="1357302"/>
                  </a:lnTo>
                  <a:lnTo>
                    <a:pt x="112790" y="1336171"/>
                  </a:lnTo>
                  <a:lnTo>
                    <a:pt x="99343" y="1325661"/>
                  </a:lnTo>
                  <a:lnTo>
                    <a:pt x="91549" y="1319568"/>
                  </a:lnTo>
                  <a:lnTo>
                    <a:pt x="89052" y="1316467"/>
                  </a:lnTo>
                  <a:lnTo>
                    <a:pt x="77032" y="1301538"/>
                  </a:lnTo>
                  <a:lnTo>
                    <a:pt x="86912" y="1293333"/>
                  </a:lnTo>
                  <a:lnTo>
                    <a:pt x="90808" y="1285319"/>
                  </a:lnTo>
                  <a:lnTo>
                    <a:pt x="92675" y="1274123"/>
                  </a:lnTo>
                  <a:lnTo>
                    <a:pt x="80326" y="1256120"/>
                  </a:lnTo>
                  <a:lnTo>
                    <a:pt x="78596" y="1235785"/>
                  </a:lnTo>
                  <a:lnTo>
                    <a:pt x="67949" y="1224204"/>
                  </a:lnTo>
                  <a:lnTo>
                    <a:pt x="67894" y="1214462"/>
                  </a:lnTo>
                  <a:lnTo>
                    <a:pt x="72587" y="1205652"/>
                  </a:lnTo>
                  <a:lnTo>
                    <a:pt x="68058" y="1197913"/>
                  </a:lnTo>
                  <a:lnTo>
                    <a:pt x="70638" y="1182051"/>
                  </a:lnTo>
                  <a:lnTo>
                    <a:pt x="73108" y="1177743"/>
                  </a:lnTo>
                  <a:lnTo>
                    <a:pt x="70693" y="1171843"/>
                  </a:lnTo>
                  <a:lnTo>
                    <a:pt x="81368" y="1166491"/>
                  </a:lnTo>
                  <a:lnTo>
                    <a:pt x="75605" y="1137676"/>
                  </a:lnTo>
                  <a:lnTo>
                    <a:pt x="65286" y="1114459"/>
                  </a:lnTo>
                  <a:lnTo>
                    <a:pt x="52142" y="1086330"/>
                  </a:lnTo>
                  <a:lnTo>
                    <a:pt x="51044" y="1076149"/>
                  </a:lnTo>
                  <a:lnTo>
                    <a:pt x="73328" y="1036165"/>
                  </a:lnTo>
                  <a:lnTo>
                    <a:pt x="76566" y="1022416"/>
                  </a:lnTo>
                  <a:lnTo>
                    <a:pt x="57575" y="990499"/>
                  </a:lnTo>
                  <a:lnTo>
                    <a:pt x="36718" y="972415"/>
                  </a:lnTo>
                  <a:lnTo>
                    <a:pt x="33398" y="953040"/>
                  </a:lnTo>
                  <a:lnTo>
                    <a:pt x="40506" y="928725"/>
                  </a:lnTo>
                  <a:lnTo>
                    <a:pt x="37404" y="920849"/>
                  </a:lnTo>
                  <a:lnTo>
                    <a:pt x="46378" y="910887"/>
                  </a:lnTo>
                  <a:lnTo>
                    <a:pt x="53019" y="909186"/>
                  </a:lnTo>
                  <a:lnTo>
                    <a:pt x="59414" y="889509"/>
                  </a:lnTo>
                  <a:lnTo>
                    <a:pt x="77993" y="879026"/>
                  </a:lnTo>
                  <a:lnTo>
                    <a:pt x="82548" y="870189"/>
                  </a:lnTo>
                  <a:lnTo>
                    <a:pt x="82905" y="860722"/>
                  </a:lnTo>
                  <a:lnTo>
                    <a:pt x="93443" y="869586"/>
                  </a:lnTo>
                  <a:lnTo>
                    <a:pt x="102499" y="869723"/>
                  </a:lnTo>
                  <a:lnTo>
                    <a:pt x="104942" y="864454"/>
                  </a:lnTo>
                  <a:lnTo>
                    <a:pt x="103323" y="851693"/>
                  </a:lnTo>
                  <a:lnTo>
                    <a:pt x="124591" y="856687"/>
                  </a:lnTo>
                  <a:lnTo>
                    <a:pt x="139739" y="839398"/>
                  </a:lnTo>
                  <a:lnTo>
                    <a:pt x="164218" y="853641"/>
                  </a:lnTo>
                  <a:lnTo>
                    <a:pt x="166085" y="858444"/>
                  </a:lnTo>
                  <a:lnTo>
                    <a:pt x="161859" y="865222"/>
                  </a:lnTo>
                  <a:lnTo>
                    <a:pt x="144734" y="860584"/>
                  </a:lnTo>
                  <a:lnTo>
                    <a:pt x="143390" y="864783"/>
                  </a:lnTo>
                  <a:lnTo>
                    <a:pt x="153186" y="875541"/>
                  </a:lnTo>
                  <a:lnTo>
                    <a:pt x="162215" y="879053"/>
                  </a:lnTo>
                  <a:lnTo>
                    <a:pt x="166496" y="886408"/>
                  </a:lnTo>
                  <a:lnTo>
                    <a:pt x="176513" y="884816"/>
                  </a:lnTo>
                  <a:lnTo>
                    <a:pt x="181508" y="896727"/>
                  </a:lnTo>
                  <a:lnTo>
                    <a:pt x="199565" y="886079"/>
                  </a:lnTo>
                  <a:lnTo>
                    <a:pt x="210130" y="893406"/>
                  </a:lnTo>
                  <a:lnTo>
                    <a:pt x="246657" y="900157"/>
                  </a:lnTo>
                  <a:lnTo>
                    <a:pt x="264001" y="909076"/>
                  </a:lnTo>
                  <a:lnTo>
                    <a:pt x="302805" y="941157"/>
                  </a:lnTo>
                  <a:lnTo>
                    <a:pt x="326352" y="966871"/>
                  </a:lnTo>
                  <a:lnTo>
                    <a:pt x="359283" y="990143"/>
                  </a:lnTo>
                  <a:lnTo>
                    <a:pt x="369410" y="991405"/>
                  </a:lnTo>
                  <a:lnTo>
                    <a:pt x="384448" y="1011823"/>
                  </a:lnTo>
                  <a:lnTo>
                    <a:pt x="397155" y="1018958"/>
                  </a:lnTo>
                  <a:lnTo>
                    <a:pt x="400640" y="1024776"/>
                  </a:lnTo>
                  <a:lnTo>
                    <a:pt x="404784" y="1048679"/>
                  </a:lnTo>
                  <a:lnTo>
                    <a:pt x="410025" y="1063498"/>
                  </a:lnTo>
                  <a:lnTo>
                    <a:pt x="409559" y="1074667"/>
                  </a:lnTo>
                  <a:lnTo>
                    <a:pt x="405168" y="1087099"/>
                  </a:lnTo>
                  <a:lnTo>
                    <a:pt x="384174" y="1116024"/>
                  </a:lnTo>
                  <a:lnTo>
                    <a:pt x="372511" y="1126123"/>
                  </a:lnTo>
                  <a:lnTo>
                    <a:pt x="346523" y="1137676"/>
                  </a:lnTo>
                  <a:lnTo>
                    <a:pt x="325062" y="1141408"/>
                  </a:lnTo>
                  <a:lnTo>
                    <a:pt x="243227" y="1118548"/>
                  </a:lnTo>
                  <a:lnTo>
                    <a:pt x="224182" y="1105705"/>
                  </a:lnTo>
                  <a:lnTo>
                    <a:pt x="210844" y="1104360"/>
                  </a:lnTo>
                  <a:lnTo>
                    <a:pt x="188286" y="1090227"/>
                  </a:lnTo>
                  <a:lnTo>
                    <a:pt x="179559" y="1090584"/>
                  </a:lnTo>
                  <a:lnTo>
                    <a:pt x="158730" y="1068849"/>
                  </a:lnTo>
                  <a:lnTo>
                    <a:pt x="151375" y="1068245"/>
                  </a:lnTo>
                  <a:lnTo>
                    <a:pt x="155244" y="1083010"/>
                  </a:lnTo>
                  <a:lnTo>
                    <a:pt x="169103" y="1097637"/>
                  </a:lnTo>
                  <a:lnTo>
                    <a:pt x="170833" y="1108038"/>
                  </a:lnTo>
                  <a:lnTo>
                    <a:pt x="180190" y="1114597"/>
                  </a:lnTo>
                  <a:lnTo>
                    <a:pt x="187380" y="1126864"/>
                  </a:lnTo>
                  <a:lnTo>
                    <a:pt x="206453" y="1138746"/>
                  </a:lnTo>
                  <a:lnTo>
                    <a:pt x="220806" y="1160124"/>
                  </a:lnTo>
                  <a:lnTo>
                    <a:pt x="221217" y="1164515"/>
                  </a:lnTo>
                  <a:lnTo>
                    <a:pt x="217622" y="1168824"/>
                  </a:lnTo>
                  <a:lnTo>
                    <a:pt x="210954" y="1192864"/>
                  </a:lnTo>
                  <a:lnTo>
                    <a:pt x="221245" y="1228924"/>
                  </a:lnTo>
                  <a:lnTo>
                    <a:pt x="222397" y="1250275"/>
                  </a:lnTo>
                  <a:lnTo>
                    <a:pt x="236284" y="1263667"/>
                  </a:lnTo>
                  <a:lnTo>
                    <a:pt x="250911" y="1262597"/>
                  </a:lnTo>
                  <a:lnTo>
                    <a:pt x="256701" y="1272119"/>
                  </a:lnTo>
                  <a:lnTo>
                    <a:pt x="257882" y="1274068"/>
                  </a:lnTo>
                  <a:lnTo>
                    <a:pt x="264825" y="1285429"/>
                  </a:lnTo>
                  <a:lnTo>
                    <a:pt x="292844" y="1297504"/>
                  </a:lnTo>
                  <a:lnTo>
                    <a:pt x="312301" y="1287460"/>
                  </a:lnTo>
                  <a:lnTo>
                    <a:pt x="311697" y="1274068"/>
                  </a:lnTo>
                  <a:lnTo>
                    <a:pt x="310792" y="1264216"/>
                  </a:lnTo>
                  <a:lnTo>
                    <a:pt x="305715" y="1257767"/>
                  </a:lnTo>
                  <a:lnTo>
                    <a:pt x="287328" y="1255818"/>
                  </a:lnTo>
                  <a:lnTo>
                    <a:pt x="272755" y="1235977"/>
                  </a:lnTo>
                  <a:lnTo>
                    <a:pt x="271109" y="1224753"/>
                  </a:lnTo>
                  <a:lnTo>
                    <a:pt x="283815" y="1209659"/>
                  </a:lnTo>
                  <a:lnTo>
                    <a:pt x="302641" y="1215916"/>
                  </a:lnTo>
                  <a:lnTo>
                    <a:pt x="315320" y="1228156"/>
                  </a:lnTo>
                  <a:lnTo>
                    <a:pt x="318393" y="1236251"/>
                  </a:lnTo>
                  <a:lnTo>
                    <a:pt x="331950" y="1233836"/>
                  </a:lnTo>
                  <a:lnTo>
                    <a:pt x="360326" y="1246323"/>
                  </a:lnTo>
                  <a:lnTo>
                    <a:pt x="370206" y="1237239"/>
                  </a:lnTo>
                  <a:lnTo>
                    <a:pt x="376298" y="1243496"/>
                  </a:lnTo>
                  <a:lnTo>
                    <a:pt x="382830" y="1229802"/>
                  </a:lnTo>
                  <a:lnTo>
                    <a:pt x="377945" y="1214324"/>
                  </a:lnTo>
                  <a:lnTo>
                    <a:pt x="366364" y="1192974"/>
                  </a:lnTo>
                  <a:lnTo>
                    <a:pt x="365869" y="1182024"/>
                  </a:lnTo>
                  <a:lnTo>
                    <a:pt x="370508" y="1172364"/>
                  </a:lnTo>
                  <a:lnTo>
                    <a:pt x="394301" y="1148598"/>
                  </a:lnTo>
                  <a:lnTo>
                    <a:pt x="416227" y="1135892"/>
                  </a:lnTo>
                  <a:lnTo>
                    <a:pt x="436343" y="1112895"/>
                  </a:lnTo>
                  <a:lnTo>
                    <a:pt x="467903" y="1118466"/>
                  </a:lnTo>
                  <a:lnTo>
                    <a:pt x="491284" y="1141189"/>
                  </a:lnTo>
                  <a:lnTo>
                    <a:pt x="496251" y="1116957"/>
                  </a:lnTo>
                  <a:lnTo>
                    <a:pt x="502810" y="1095963"/>
                  </a:lnTo>
                  <a:lnTo>
                    <a:pt x="501328" y="1074804"/>
                  </a:lnTo>
                  <a:lnTo>
                    <a:pt x="496251" y="1066681"/>
                  </a:lnTo>
                  <a:lnTo>
                    <a:pt x="495126" y="1064870"/>
                  </a:lnTo>
                  <a:lnTo>
                    <a:pt x="486701" y="1059134"/>
                  </a:lnTo>
                  <a:lnTo>
                    <a:pt x="484725" y="1052877"/>
                  </a:lnTo>
                  <a:lnTo>
                    <a:pt x="486646" y="1037701"/>
                  </a:lnTo>
                  <a:lnTo>
                    <a:pt x="494358" y="1010368"/>
                  </a:lnTo>
                  <a:lnTo>
                    <a:pt x="495318" y="980044"/>
                  </a:lnTo>
                  <a:lnTo>
                    <a:pt x="477947" y="952354"/>
                  </a:lnTo>
                  <a:lnTo>
                    <a:pt x="477151" y="946865"/>
                  </a:lnTo>
                  <a:lnTo>
                    <a:pt x="496251" y="950570"/>
                  </a:lnTo>
                  <a:lnTo>
                    <a:pt x="537333" y="958528"/>
                  </a:lnTo>
                  <a:lnTo>
                    <a:pt x="539007" y="958858"/>
                  </a:lnTo>
                  <a:lnTo>
                    <a:pt x="560605" y="984133"/>
                  </a:lnTo>
                  <a:lnTo>
                    <a:pt x="565874" y="998568"/>
                  </a:lnTo>
                  <a:lnTo>
                    <a:pt x="565051" y="1007651"/>
                  </a:lnTo>
                  <a:lnTo>
                    <a:pt x="537360" y="1016104"/>
                  </a:lnTo>
                  <a:lnTo>
                    <a:pt x="534452" y="1016982"/>
                  </a:lnTo>
                  <a:lnTo>
                    <a:pt x="519358" y="1043739"/>
                  </a:lnTo>
                  <a:lnTo>
                    <a:pt x="521883" y="1050380"/>
                  </a:lnTo>
                  <a:lnTo>
                    <a:pt x="534836" y="1061687"/>
                  </a:lnTo>
                  <a:lnTo>
                    <a:pt x="537333" y="1066516"/>
                  </a:lnTo>
                  <a:lnTo>
                    <a:pt x="543508" y="1078427"/>
                  </a:lnTo>
                  <a:lnTo>
                    <a:pt x="550588" y="1083504"/>
                  </a:lnTo>
                  <a:lnTo>
                    <a:pt x="576193" y="1080430"/>
                  </a:lnTo>
                  <a:lnTo>
                    <a:pt x="593976" y="1076835"/>
                  </a:lnTo>
                  <a:lnTo>
                    <a:pt x="598092" y="1068822"/>
                  </a:lnTo>
                  <a:lnTo>
                    <a:pt x="600699" y="1051313"/>
                  </a:lnTo>
                  <a:lnTo>
                    <a:pt x="607752" y="1027191"/>
                  </a:lnTo>
                  <a:lnTo>
                    <a:pt x="626550" y="1020714"/>
                  </a:lnTo>
                  <a:lnTo>
                    <a:pt x="634701" y="1006965"/>
                  </a:lnTo>
                  <a:lnTo>
                    <a:pt x="663489" y="993875"/>
                  </a:lnTo>
                  <a:lnTo>
                    <a:pt x="700756" y="957705"/>
                  </a:lnTo>
                  <a:lnTo>
                    <a:pt x="708989" y="960230"/>
                  </a:lnTo>
                  <a:lnTo>
                    <a:pt x="727513" y="954906"/>
                  </a:lnTo>
                  <a:lnTo>
                    <a:pt x="733469" y="965554"/>
                  </a:lnTo>
                  <a:lnTo>
                    <a:pt x="737530" y="966459"/>
                  </a:lnTo>
                  <a:lnTo>
                    <a:pt x="742881" y="958803"/>
                  </a:lnTo>
                  <a:lnTo>
                    <a:pt x="741866" y="943462"/>
                  </a:lnTo>
                  <a:lnTo>
                    <a:pt x="770434" y="923539"/>
                  </a:lnTo>
                  <a:lnTo>
                    <a:pt x="779545" y="929549"/>
                  </a:lnTo>
                  <a:lnTo>
                    <a:pt x="778365" y="946481"/>
                  </a:lnTo>
                  <a:lnTo>
                    <a:pt x="781109" y="964099"/>
                  </a:lnTo>
                  <a:lnTo>
                    <a:pt x="767443" y="968435"/>
                  </a:lnTo>
                  <a:lnTo>
                    <a:pt x="765604" y="972003"/>
                  </a:lnTo>
                  <a:lnTo>
                    <a:pt x="767443" y="975900"/>
                  </a:lnTo>
                  <a:lnTo>
                    <a:pt x="781466" y="978644"/>
                  </a:lnTo>
                  <a:lnTo>
                    <a:pt x="793513" y="972360"/>
                  </a:lnTo>
                  <a:lnTo>
                    <a:pt x="806466" y="979275"/>
                  </a:lnTo>
                  <a:lnTo>
                    <a:pt x="814809" y="962810"/>
                  </a:lnTo>
                  <a:lnTo>
                    <a:pt x="827515" y="951338"/>
                  </a:lnTo>
                  <a:lnTo>
                    <a:pt x="844969" y="945218"/>
                  </a:lnTo>
                  <a:lnTo>
                    <a:pt x="878697" y="951338"/>
                  </a:lnTo>
                  <a:lnTo>
                    <a:pt x="893955" y="934378"/>
                  </a:lnTo>
                  <a:lnTo>
                    <a:pt x="928725" y="919065"/>
                  </a:lnTo>
                  <a:lnTo>
                    <a:pt x="941513" y="934735"/>
                  </a:lnTo>
                  <a:lnTo>
                    <a:pt x="936244" y="948951"/>
                  </a:lnTo>
                  <a:lnTo>
                    <a:pt x="936821" y="960202"/>
                  </a:lnTo>
                  <a:lnTo>
                    <a:pt x="951201" y="965718"/>
                  </a:lnTo>
                  <a:lnTo>
                    <a:pt x="955482" y="960449"/>
                  </a:lnTo>
                  <a:lnTo>
                    <a:pt x="958336" y="943215"/>
                  </a:lnTo>
                  <a:lnTo>
                    <a:pt x="973979" y="938275"/>
                  </a:lnTo>
                  <a:lnTo>
                    <a:pt x="986603" y="922551"/>
                  </a:lnTo>
                  <a:lnTo>
                    <a:pt x="985752" y="908884"/>
                  </a:lnTo>
                  <a:lnTo>
                    <a:pt x="978424" y="898236"/>
                  </a:lnTo>
                  <a:lnTo>
                    <a:pt x="968545" y="868817"/>
                  </a:lnTo>
                  <a:lnTo>
                    <a:pt x="970685" y="862615"/>
                  </a:lnTo>
                  <a:lnTo>
                    <a:pt x="988084" y="845299"/>
                  </a:lnTo>
                  <a:lnTo>
                    <a:pt x="1053728" y="859404"/>
                  </a:lnTo>
                  <a:lnTo>
                    <a:pt x="1085370" y="873867"/>
                  </a:lnTo>
                  <a:lnTo>
                    <a:pt x="1123378" y="903889"/>
                  </a:lnTo>
                  <a:lnTo>
                    <a:pt x="1159603" y="925130"/>
                  </a:lnTo>
                  <a:lnTo>
                    <a:pt x="1166107" y="928917"/>
                  </a:lnTo>
                  <a:lnTo>
                    <a:pt x="1175382" y="942529"/>
                  </a:lnTo>
                  <a:lnTo>
                    <a:pt x="1198380" y="963825"/>
                  </a:lnTo>
                  <a:lnTo>
                    <a:pt x="1201920" y="972030"/>
                  </a:lnTo>
                  <a:lnTo>
                    <a:pt x="1203868" y="976586"/>
                  </a:lnTo>
                  <a:lnTo>
                    <a:pt x="1206365" y="976778"/>
                  </a:lnTo>
                  <a:lnTo>
                    <a:pt x="1213171" y="968051"/>
                  </a:lnTo>
                  <a:lnTo>
                    <a:pt x="1225192" y="937013"/>
                  </a:lnTo>
                  <a:lnTo>
                    <a:pt x="1226097" y="926255"/>
                  </a:lnTo>
                  <a:lnTo>
                    <a:pt x="1208836" y="913906"/>
                  </a:lnTo>
                  <a:lnTo>
                    <a:pt x="1201893" y="898785"/>
                  </a:lnTo>
                  <a:lnTo>
                    <a:pt x="1199121" y="892802"/>
                  </a:lnTo>
                  <a:lnTo>
                    <a:pt x="1195416" y="873784"/>
                  </a:lnTo>
                  <a:lnTo>
                    <a:pt x="1178539" y="866018"/>
                  </a:lnTo>
                  <a:lnTo>
                    <a:pt x="1171843" y="883142"/>
                  </a:lnTo>
                  <a:lnTo>
                    <a:pt x="1167479" y="882621"/>
                  </a:lnTo>
                  <a:lnTo>
                    <a:pt x="1168000" y="875157"/>
                  </a:lnTo>
                  <a:lnTo>
                    <a:pt x="1173352" y="863823"/>
                  </a:lnTo>
                  <a:lnTo>
                    <a:pt x="1169098" y="859926"/>
                  </a:lnTo>
                  <a:lnTo>
                    <a:pt x="1162786" y="862505"/>
                  </a:lnTo>
                  <a:lnTo>
                    <a:pt x="1161661" y="848592"/>
                  </a:lnTo>
                  <a:lnTo>
                    <a:pt x="1164707" y="836023"/>
                  </a:lnTo>
                  <a:lnTo>
                    <a:pt x="1176068" y="827763"/>
                  </a:lnTo>
                  <a:lnTo>
                    <a:pt x="1172309" y="808333"/>
                  </a:lnTo>
                  <a:lnTo>
                    <a:pt x="1175218" y="770105"/>
                  </a:lnTo>
                  <a:lnTo>
                    <a:pt x="1171184" y="760088"/>
                  </a:lnTo>
                  <a:lnTo>
                    <a:pt x="1159548" y="759155"/>
                  </a:lnTo>
                  <a:lnTo>
                    <a:pt x="1158725" y="739863"/>
                  </a:lnTo>
                  <a:lnTo>
                    <a:pt x="1159575" y="737887"/>
                  </a:lnTo>
                  <a:lnTo>
                    <a:pt x="1169345" y="716042"/>
                  </a:lnTo>
                  <a:lnTo>
                    <a:pt x="1202853" y="678857"/>
                  </a:lnTo>
                  <a:lnTo>
                    <a:pt x="1211580" y="656244"/>
                  </a:lnTo>
                  <a:lnTo>
                    <a:pt x="1224176" y="589475"/>
                  </a:lnTo>
                  <a:lnTo>
                    <a:pt x="1235894" y="564008"/>
                  </a:lnTo>
                  <a:lnTo>
                    <a:pt x="1300275" y="565929"/>
                  </a:lnTo>
                  <a:lnTo>
                    <a:pt x="1332192" y="592219"/>
                  </a:lnTo>
                  <a:lnTo>
                    <a:pt x="1332795" y="634509"/>
                  </a:lnTo>
                  <a:lnTo>
                    <a:pt x="1312899" y="702019"/>
                  </a:lnTo>
                  <a:lnTo>
                    <a:pt x="1317867" y="717634"/>
                  </a:lnTo>
                  <a:lnTo>
                    <a:pt x="1329200" y="734786"/>
                  </a:lnTo>
                  <a:lnTo>
                    <a:pt x="1335128" y="759731"/>
                  </a:lnTo>
                  <a:lnTo>
                    <a:pt x="1334250" y="788876"/>
                  </a:lnTo>
                  <a:lnTo>
                    <a:pt x="1328871" y="815084"/>
                  </a:lnTo>
                  <a:lnTo>
                    <a:pt x="1331259" y="852214"/>
                  </a:lnTo>
                  <a:lnTo>
                    <a:pt x="1330655" y="911985"/>
                  </a:lnTo>
                  <a:lnTo>
                    <a:pt x="1334991" y="925295"/>
                  </a:lnTo>
                  <a:lnTo>
                    <a:pt x="1351731" y="945520"/>
                  </a:lnTo>
                  <a:lnTo>
                    <a:pt x="1355079" y="956306"/>
                  </a:lnTo>
                  <a:lnTo>
                    <a:pt x="1347203" y="981718"/>
                  </a:lnTo>
                  <a:lnTo>
                    <a:pt x="1345365" y="1009819"/>
                  </a:lnTo>
                  <a:lnTo>
                    <a:pt x="1329722" y="1033695"/>
                  </a:lnTo>
                  <a:lnTo>
                    <a:pt x="1312625" y="1068794"/>
                  </a:lnTo>
                  <a:lnTo>
                    <a:pt x="1302718" y="1080101"/>
                  </a:lnTo>
                  <a:lnTo>
                    <a:pt x="1296022" y="1098680"/>
                  </a:lnTo>
                  <a:lnTo>
                    <a:pt x="1272010" y="1106281"/>
                  </a:lnTo>
                  <a:lnTo>
                    <a:pt x="1254281" y="1090200"/>
                  </a:lnTo>
                  <a:lnTo>
                    <a:pt x="1253266" y="1092889"/>
                  </a:lnTo>
                  <a:lnTo>
                    <a:pt x="1254803" y="1102192"/>
                  </a:lnTo>
                  <a:lnTo>
                    <a:pt x="1253073" y="1106172"/>
                  </a:lnTo>
                  <a:lnTo>
                    <a:pt x="1238858" y="1097747"/>
                  </a:lnTo>
                  <a:lnTo>
                    <a:pt x="1234962" y="1099969"/>
                  </a:lnTo>
                  <a:lnTo>
                    <a:pt x="1241657" y="1110151"/>
                  </a:lnTo>
                  <a:lnTo>
                    <a:pt x="1268112" y="1119811"/>
                  </a:lnTo>
                  <a:lnTo>
                    <a:pt x="1318058" y="1123323"/>
                  </a:lnTo>
                  <a:lnTo>
                    <a:pt x="1330079" y="1104031"/>
                  </a:lnTo>
                  <a:lnTo>
                    <a:pt x="1363339" y="1074969"/>
                  </a:lnTo>
                  <a:lnTo>
                    <a:pt x="1375140" y="1044068"/>
                  </a:lnTo>
                  <a:lnTo>
                    <a:pt x="1391441" y="1016900"/>
                  </a:lnTo>
                  <a:lnTo>
                    <a:pt x="1393691" y="1005703"/>
                  </a:lnTo>
                  <a:lnTo>
                    <a:pt x="1393472" y="994808"/>
                  </a:lnTo>
                  <a:lnTo>
                    <a:pt x="1385294" y="962727"/>
                  </a:lnTo>
                  <a:lnTo>
                    <a:pt x="1388175" y="944862"/>
                  </a:lnTo>
                  <a:lnTo>
                    <a:pt x="1391798" y="940690"/>
                  </a:lnTo>
                  <a:lnTo>
                    <a:pt x="1429422" y="919532"/>
                  </a:lnTo>
                  <a:lnTo>
                    <a:pt x="1444488" y="920630"/>
                  </a:lnTo>
                  <a:lnTo>
                    <a:pt x="1463671" y="954192"/>
                  </a:lnTo>
                  <a:lnTo>
                    <a:pt x="1466772" y="979248"/>
                  </a:lnTo>
                  <a:lnTo>
                    <a:pt x="1466772" y="1008200"/>
                  </a:lnTo>
                  <a:cubicBezTo>
                    <a:pt x="1466772" y="1008200"/>
                    <a:pt x="1468583" y="1013936"/>
                    <a:pt x="1468583" y="1013936"/>
                  </a:cubicBezTo>
                  <a:lnTo>
                    <a:pt x="1478408" y="1029606"/>
                  </a:lnTo>
                  <a:lnTo>
                    <a:pt x="1502338" y="1026971"/>
                  </a:lnTo>
                  <a:lnTo>
                    <a:pt x="1476158" y="1008008"/>
                  </a:lnTo>
                  <a:lnTo>
                    <a:pt x="1475417" y="999720"/>
                  </a:lnTo>
                  <a:lnTo>
                    <a:pt x="1477228" y="988798"/>
                  </a:lnTo>
                  <a:lnTo>
                    <a:pt x="1487683" y="968271"/>
                  </a:lnTo>
                  <a:lnTo>
                    <a:pt x="1469900" y="919258"/>
                  </a:lnTo>
                  <a:lnTo>
                    <a:pt x="1450197" y="904356"/>
                  </a:lnTo>
                  <a:lnTo>
                    <a:pt x="1429971" y="896233"/>
                  </a:lnTo>
                  <a:lnTo>
                    <a:pt x="1379174" y="905536"/>
                  </a:lnTo>
                  <a:lnTo>
                    <a:pt x="1369185" y="896041"/>
                  </a:lnTo>
                  <a:lnTo>
                    <a:pt x="1362379" y="842993"/>
                  </a:lnTo>
                  <a:lnTo>
                    <a:pt x="1366852" y="818871"/>
                  </a:lnTo>
                  <a:lnTo>
                    <a:pt x="1376293" y="794090"/>
                  </a:lnTo>
                  <a:lnTo>
                    <a:pt x="1377473" y="779655"/>
                  </a:lnTo>
                  <a:lnTo>
                    <a:pt x="1349069" y="701470"/>
                  </a:lnTo>
                  <a:lnTo>
                    <a:pt x="1363093" y="668182"/>
                  </a:lnTo>
                  <a:lnTo>
                    <a:pt x="1389356" y="646721"/>
                  </a:lnTo>
                  <a:lnTo>
                    <a:pt x="1397314" y="635085"/>
                  </a:lnTo>
                  <a:lnTo>
                    <a:pt x="1400772" y="614366"/>
                  </a:lnTo>
                  <a:lnTo>
                    <a:pt x="1398906" y="585249"/>
                  </a:lnTo>
                  <a:lnTo>
                    <a:pt x="1400360" y="574656"/>
                  </a:lnTo>
                  <a:lnTo>
                    <a:pt x="1409005" y="576989"/>
                  </a:lnTo>
                  <a:lnTo>
                    <a:pt x="1416497" y="601166"/>
                  </a:lnTo>
                  <a:lnTo>
                    <a:pt x="1417485" y="624685"/>
                  </a:lnTo>
                  <a:lnTo>
                    <a:pt x="1411447" y="669224"/>
                  </a:lnTo>
                  <a:lnTo>
                    <a:pt x="1413011" y="704846"/>
                  </a:lnTo>
                  <a:lnTo>
                    <a:pt x="1422397" y="719116"/>
                  </a:lnTo>
                  <a:lnTo>
                    <a:pt x="1474044" y="731300"/>
                  </a:lnTo>
                  <a:lnTo>
                    <a:pt x="1489604" y="744583"/>
                  </a:lnTo>
                  <a:lnTo>
                    <a:pt x="1497426" y="744226"/>
                  </a:lnTo>
                  <a:lnTo>
                    <a:pt x="1497536" y="736021"/>
                  </a:lnTo>
                  <a:lnTo>
                    <a:pt x="1492596" y="722875"/>
                  </a:lnTo>
                  <a:lnTo>
                    <a:pt x="1450471" y="697930"/>
                  </a:lnTo>
                  <a:lnTo>
                    <a:pt x="1437930" y="669334"/>
                  </a:lnTo>
                  <a:lnTo>
                    <a:pt x="1443391" y="653664"/>
                  </a:lnTo>
                  <a:lnTo>
                    <a:pt x="1450553" y="648752"/>
                  </a:lnTo>
                  <a:lnTo>
                    <a:pt x="1477914" y="663900"/>
                  </a:lnTo>
                  <a:lnTo>
                    <a:pt x="1490922" y="656573"/>
                  </a:lnTo>
                  <a:lnTo>
                    <a:pt x="1491772" y="651990"/>
                  </a:lnTo>
                  <a:lnTo>
                    <a:pt x="1490428" y="647105"/>
                  </a:lnTo>
                  <a:lnTo>
                    <a:pt x="1478792" y="639147"/>
                  </a:lnTo>
                  <a:lnTo>
                    <a:pt x="1473386" y="625672"/>
                  </a:lnTo>
                  <a:lnTo>
                    <a:pt x="1462628" y="619251"/>
                  </a:lnTo>
                  <a:lnTo>
                    <a:pt x="1465510" y="610963"/>
                  </a:lnTo>
                  <a:lnTo>
                    <a:pt x="1480301" y="596171"/>
                  </a:lnTo>
                  <a:lnTo>
                    <a:pt x="1491827" y="599190"/>
                  </a:lnTo>
                  <a:lnTo>
                    <a:pt x="1500060" y="615573"/>
                  </a:lnTo>
                  <a:lnTo>
                    <a:pt x="1540841" y="623614"/>
                  </a:lnTo>
                  <a:lnTo>
                    <a:pt x="1566171" y="643346"/>
                  </a:lnTo>
                  <a:lnTo>
                    <a:pt x="1594382" y="675344"/>
                  </a:lnTo>
                  <a:lnTo>
                    <a:pt x="1627478" y="674137"/>
                  </a:lnTo>
                  <a:lnTo>
                    <a:pt x="1636507" y="678445"/>
                  </a:lnTo>
                  <a:lnTo>
                    <a:pt x="1639032" y="685745"/>
                  </a:lnTo>
                  <a:lnTo>
                    <a:pt x="1637715" y="694829"/>
                  </a:lnTo>
                  <a:lnTo>
                    <a:pt x="1632583" y="706272"/>
                  </a:lnTo>
                  <a:lnTo>
                    <a:pt x="1619108" y="721805"/>
                  </a:lnTo>
                  <a:lnTo>
                    <a:pt x="1616748" y="741839"/>
                  </a:lnTo>
                  <a:lnTo>
                    <a:pt x="1620727" y="765879"/>
                  </a:lnTo>
                  <a:lnTo>
                    <a:pt x="1629207" y="755176"/>
                  </a:lnTo>
                  <a:lnTo>
                    <a:pt x="1638647" y="756411"/>
                  </a:lnTo>
                  <a:lnTo>
                    <a:pt x="1636562" y="786708"/>
                  </a:lnTo>
                  <a:lnTo>
                    <a:pt x="1631073" y="815743"/>
                  </a:lnTo>
                  <a:lnTo>
                    <a:pt x="1635903" y="825704"/>
                  </a:lnTo>
                  <a:lnTo>
                    <a:pt x="1647018" y="832208"/>
                  </a:lnTo>
                  <a:lnTo>
                    <a:pt x="1646167" y="825677"/>
                  </a:lnTo>
                  <a:lnTo>
                    <a:pt x="1638208" y="812587"/>
                  </a:lnTo>
                  <a:lnTo>
                    <a:pt x="1647841" y="794886"/>
                  </a:lnTo>
                  <a:lnTo>
                    <a:pt x="1646002" y="787284"/>
                  </a:lnTo>
                  <a:lnTo>
                    <a:pt x="1641556" y="786022"/>
                  </a:lnTo>
                  <a:lnTo>
                    <a:pt x="1644054" y="771175"/>
                  </a:lnTo>
                  <a:lnTo>
                    <a:pt x="1653933" y="778804"/>
                  </a:lnTo>
                  <a:lnTo>
                    <a:pt x="1645179" y="727815"/>
                  </a:lnTo>
                  <a:lnTo>
                    <a:pt x="1649927" y="679406"/>
                  </a:lnTo>
                  <a:lnTo>
                    <a:pt x="1643697" y="667880"/>
                  </a:lnTo>
                  <a:lnTo>
                    <a:pt x="1627560" y="656326"/>
                  </a:lnTo>
                  <a:lnTo>
                    <a:pt x="1612604" y="628746"/>
                  </a:lnTo>
                  <a:lnTo>
                    <a:pt x="1588262" y="616424"/>
                  </a:lnTo>
                  <a:lnTo>
                    <a:pt x="1576242" y="603746"/>
                  </a:lnTo>
                  <a:lnTo>
                    <a:pt x="1571961" y="585743"/>
                  </a:lnTo>
                  <a:lnTo>
                    <a:pt x="1571302" y="561264"/>
                  </a:lnTo>
                  <a:lnTo>
                    <a:pt x="1566664" y="534809"/>
                  </a:lnTo>
                  <a:lnTo>
                    <a:pt x="1566500" y="512360"/>
                  </a:lnTo>
                  <a:lnTo>
                    <a:pt x="1572098" y="499215"/>
                  </a:lnTo>
                  <a:lnTo>
                    <a:pt x="1592049" y="491641"/>
                  </a:lnTo>
                  <a:lnTo>
                    <a:pt x="1704017" y="478249"/>
                  </a:lnTo>
                  <a:lnTo>
                    <a:pt x="1750395" y="454703"/>
                  </a:lnTo>
                  <a:lnTo>
                    <a:pt x="1743809" y="428687"/>
                  </a:lnTo>
                  <a:lnTo>
                    <a:pt x="1730471" y="412139"/>
                  </a:lnTo>
                  <a:lnTo>
                    <a:pt x="1738375" y="398500"/>
                  </a:lnTo>
                  <a:lnTo>
                    <a:pt x="1738018" y="390843"/>
                  </a:lnTo>
                  <a:lnTo>
                    <a:pt x="1733024" y="387138"/>
                  </a:lnTo>
                  <a:lnTo>
                    <a:pt x="1720757" y="392599"/>
                  </a:lnTo>
                  <a:lnTo>
                    <a:pt x="1720839" y="380469"/>
                  </a:lnTo>
                  <a:lnTo>
                    <a:pt x="1725395" y="366391"/>
                  </a:lnTo>
                  <a:lnTo>
                    <a:pt x="1734615" y="363839"/>
                  </a:lnTo>
                  <a:lnTo>
                    <a:pt x="1738787" y="346523"/>
                  </a:lnTo>
                  <a:lnTo>
                    <a:pt x="1759644" y="345480"/>
                  </a:lnTo>
                  <a:lnTo>
                    <a:pt x="1763568" y="326379"/>
                  </a:lnTo>
                  <a:lnTo>
                    <a:pt x="1790956" y="320013"/>
                  </a:lnTo>
                  <a:lnTo>
                    <a:pt x="1818536" y="286697"/>
                  </a:lnTo>
                  <a:lnTo>
                    <a:pt x="1830447" y="285791"/>
                  </a:lnTo>
                  <a:lnTo>
                    <a:pt x="1848806" y="271713"/>
                  </a:lnTo>
                  <a:lnTo>
                    <a:pt x="1935114" y="242102"/>
                  </a:lnTo>
                  <a:lnTo>
                    <a:pt x="1938489" y="236284"/>
                  </a:lnTo>
                  <a:lnTo>
                    <a:pt x="1939066" y="220065"/>
                  </a:lnTo>
                  <a:lnTo>
                    <a:pt x="1942386" y="214302"/>
                  </a:lnTo>
                  <a:lnTo>
                    <a:pt x="1975455" y="209829"/>
                  </a:lnTo>
                  <a:lnTo>
                    <a:pt x="2008030" y="191278"/>
                  </a:lnTo>
                  <a:lnTo>
                    <a:pt x="2024468" y="197864"/>
                  </a:lnTo>
                  <a:lnTo>
                    <a:pt x="2016482" y="225362"/>
                  </a:lnTo>
                  <a:lnTo>
                    <a:pt x="2017608" y="232936"/>
                  </a:lnTo>
                  <a:lnTo>
                    <a:pt x="2041373" y="228326"/>
                  </a:lnTo>
                  <a:lnTo>
                    <a:pt x="2051225" y="218007"/>
                  </a:lnTo>
                  <a:lnTo>
                    <a:pt x="2064809" y="223550"/>
                  </a:lnTo>
                  <a:lnTo>
                    <a:pt x="2080672" y="204286"/>
                  </a:lnTo>
                  <a:lnTo>
                    <a:pt x="2096012" y="195806"/>
                  </a:lnTo>
                  <a:lnTo>
                    <a:pt x="2121946" y="203133"/>
                  </a:lnTo>
                  <a:lnTo>
                    <a:pt x="2122687" y="195915"/>
                  </a:lnTo>
                  <a:lnTo>
                    <a:pt x="2114399" y="181371"/>
                  </a:lnTo>
                  <a:lnTo>
                    <a:pt x="2112862" y="172452"/>
                  </a:lnTo>
                  <a:lnTo>
                    <a:pt x="2163604" y="154669"/>
                  </a:lnTo>
                  <a:lnTo>
                    <a:pt x="2169971" y="137572"/>
                  </a:lnTo>
                  <a:lnTo>
                    <a:pt x="2169806" y="113614"/>
                  </a:lnTo>
                  <a:lnTo>
                    <a:pt x="2172167" y="101045"/>
                  </a:lnTo>
                  <a:lnTo>
                    <a:pt x="2197552" y="51071"/>
                  </a:lnTo>
                  <a:lnTo>
                    <a:pt x="2239155" y="8590"/>
                  </a:lnTo>
                  <a:lnTo>
                    <a:pt x="2256691" y="0"/>
                  </a:lnTo>
                  <a:lnTo>
                    <a:pt x="2271812" y="2772"/>
                  </a:lnTo>
                  <a:lnTo>
                    <a:pt x="2305018" y="21954"/>
                  </a:lnTo>
                  <a:lnTo>
                    <a:pt x="2309903" y="34496"/>
                  </a:lnTo>
                  <a:lnTo>
                    <a:pt x="2285698" y="71928"/>
                  </a:lnTo>
                  <a:lnTo>
                    <a:pt x="2284381" y="811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9" name="Freeform: Shape 4298">
              <a:extLst>
                <a:ext uri="{FF2B5EF4-FFF2-40B4-BE49-F238E27FC236}">
                  <a16:creationId xmlns:a16="http://schemas.microsoft.com/office/drawing/2014/main" id="{F73DE8E3-D0D3-461D-BB08-58C5277E54B0}"/>
                </a:ext>
              </a:extLst>
            </p:cNvPr>
            <p:cNvSpPr/>
            <p:nvPr/>
          </p:nvSpPr>
          <p:spPr>
            <a:xfrm>
              <a:off x="1799891" y="3645004"/>
              <a:ext cx="8352" cy="40453"/>
            </a:xfrm>
            <a:custGeom>
              <a:avLst/>
              <a:gdLst>
                <a:gd name="connsiteX0" fmla="*/ 36938 w 80078"/>
                <a:gd name="connsiteY0" fmla="*/ 24918 h 387851"/>
                <a:gd name="connsiteX1" fmla="*/ 42234 w 80078"/>
                <a:gd name="connsiteY1" fmla="*/ 44046 h 387851"/>
                <a:gd name="connsiteX2" fmla="*/ 42180 w 80078"/>
                <a:gd name="connsiteY2" fmla="*/ 57795 h 387851"/>
                <a:gd name="connsiteX3" fmla="*/ 44348 w 80078"/>
                <a:gd name="connsiteY3" fmla="*/ 67620 h 387851"/>
                <a:gd name="connsiteX4" fmla="*/ 49068 w 80078"/>
                <a:gd name="connsiteY4" fmla="*/ 76484 h 387851"/>
                <a:gd name="connsiteX5" fmla="*/ 48299 w 80078"/>
                <a:gd name="connsiteY5" fmla="*/ 91660 h 387851"/>
                <a:gd name="connsiteX6" fmla="*/ 47010 w 80078"/>
                <a:gd name="connsiteY6" fmla="*/ 93142 h 387851"/>
                <a:gd name="connsiteX7" fmla="*/ 47586 w 80078"/>
                <a:gd name="connsiteY7" fmla="*/ 96380 h 387851"/>
                <a:gd name="connsiteX8" fmla="*/ 43936 w 80078"/>
                <a:gd name="connsiteY8" fmla="*/ 101292 h 387851"/>
                <a:gd name="connsiteX9" fmla="*/ 43607 w 80078"/>
                <a:gd name="connsiteY9" fmla="*/ 115425 h 387851"/>
                <a:gd name="connsiteX10" fmla="*/ 48904 w 80078"/>
                <a:gd name="connsiteY10" fmla="*/ 129476 h 387851"/>
                <a:gd name="connsiteX11" fmla="*/ 46955 w 80078"/>
                <a:gd name="connsiteY11" fmla="*/ 137132 h 387851"/>
                <a:gd name="connsiteX12" fmla="*/ 50577 w 80078"/>
                <a:gd name="connsiteY12" fmla="*/ 136364 h 387851"/>
                <a:gd name="connsiteX13" fmla="*/ 52334 w 80078"/>
                <a:gd name="connsiteY13" fmla="*/ 140261 h 387851"/>
                <a:gd name="connsiteX14" fmla="*/ 52581 w 80078"/>
                <a:gd name="connsiteY14" fmla="*/ 147643 h 387851"/>
                <a:gd name="connsiteX15" fmla="*/ 56176 w 80078"/>
                <a:gd name="connsiteY15" fmla="*/ 156288 h 387851"/>
                <a:gd name="connsiteX16" fmla="*/ 62598 w 80078"/>
                <a:gd name="connsiteY16" fmla="*/ 191607 h 387851"/>
                <a:gd name="connsiteX17" fmla="*/ 72779 w 80078"/>
                <a:gd name="connsiteY17" fmla="*/ 220422 h 387851"/>
                <a:gd name="connsiteX18" fmla="*/ 80078 w 80078"/>
                <a:gd name="connsiteY18" fmla="*/ 250417 h 387851"/>
                <a:gd name="connsiteX19" fmla="*/ 78267 w 80078"/>
                <a:gd name="connsiteY19" fmla="*/ 251076 h 387851"/>
                <a:gd name="connsiteX20" fmla="*/ 70117 w 80078"/>
                <a:gd name="connsiteY20" fmla="*/ 243035 h 387851"/>
                <a:gd name="connsiteX21" fmla="*/ 57575 w 80078"/>
                <a:gd name="connsiteY21" fmla="*/ 240400 h 387851"/>
                <a:gd name="connsiteX22" fmla="*/ 46818 w 80078"/>
                <a:gd name="connsiteY22" fmla="*/ 242733 h 387851"/>
                <a:gd name="connsiteX23" fmla="*/ 40066 w 80078"/>
                <a:gd name="connsiteY23" fmla="*/ 249155 h 387851"/>
                <a:gd name="connsiteX24" fmla="*/ 38804 w 80078"/>
                <a:gd name="connsiteY24" fmla="*/ 259336 h 387851"/>
                <a:gd name="connsiteX25" fmla="*/ 28568 w 80078"/>
                <a:gd name="connsiteY25" fmla="*/ 290100 h 387851"/>
                <a:gd name="connsiteX26" fmla="*/ 26839 w 80078"/>
                <a:gd name="connsiteY26" fmla="*/ 309035 h 387851"/>
                <a:gd name="connsiteX27" fmla="*/ 29913 w 80078"/>
                <a:gd name="connsiteY27" fmla="*/ 318229 h 387851"/>
                <a:gd name="connsiteX28" fmla="*/ 39435 w 80078"/>
                <a:gd name="connsiteY28" fmla="*/ 330441 h 387851"/>
                <a:gd name="connsiteX29" fmla="*/ 44842 w 80078"/>
                <a:gd name="connsiteY29" fmla="*/ 347620 h 387851"/>
                <a:gd name="connsiteX30" fmla="*/ 54255 w 80078"/>
                <a:gd name="connsiteY30" fmla="*/ 352725 h 387851"/>
                <a:gd name="connsiteX31" fmla="*/ 57191 w 80078"/>
                <a:gd name="connsiteY31" fmla="*/ 369657 h 387851"/>
                <a:gd name="connsiteX32" fmla="*/ 52993 w 80078"/>
                <a:gd name="connsiteY32" fmla="*/ 379152 h 387851"/>
                <a:gd name="connsiteX33" fmla="*/ 47257 w 80078"/>
                <a:gd name="connsiteY33" fmla="*/ 362522 h 387851"/>
                <a:gd name="connsiteX34" fmla="*/ 34688 w 80078"/>
                <a:gd name="connsiteY34" fmla="*/ 358899 h 387851"/>
                <a:gd name="connsiteX35" fmla="*/ 29309 w 80078"/>
                <a:gd name="connsiteY35" fmla="*/ 355002 h 387851"/>
                <a:gd name="connsiteX36" fmla="*/ 23875 w 80078"/>
                <a:gd name="connsiteY36" fmla="*/ 359229 h 387851"/>
                <a:gd name="connsiteX37" fmla="*/ 16191 w 80078"/>
                <a:gd name="connsiteY37" fmla="*/ 382638 h 387851"/>
                <a:gd name="connsiteX38" fmla="*/ 12623 w 80078"/>
                <a:gd name="connsiteY38" fmla="*/ 387852 h 387851"/>
                <a:gd name="connsiteX39" fmla="*/ 8699 w 80078"/>
                <a:gd name="connsiteY39" fmla="*/ 382281 h 387851"/>
                <a:gd name="connsiteX40" fmla="*/ 5598 w 80078"/>
                <a:gd name="connsiteY40" fmla="*/ 362028 h 387851"/>
                <a:gd name="connsiteX41" fmla="*/ 11910 w 80078"/>
                <a:gd name="connsiteY41" fmla="*/ 339909 h 387851"/>
                <a:gd name="connsiteX42" fmla="*/ 10044 w 80078"/>
                <a:gd name="connsiteY42" fmla="*/ 316500 h 387851"/>
                <a:gd name="connsiteX43" fmla="*/ 15835 w 80078"/>
                <a:gd name="connsiteY43" fmla="*/ 296686 h 387851"/>
                <a:gd name="connsiteX44" fmla="*/ 14188 w 80078"/>
                <a:gd name="connsiteY44" fmla="*/ 283815 h 387851"/>
                <a:gd name="connsiteX45" fmla="*/ 6833 w 80078"/>
                <a:gd name="connsiteY45" fmla="*/ 265593 h 387851"/>
                <a:gd name="connsiteX46" fmla="*/ 10319 w 80078"/>
                <a:gd name="connsiteY46" fmla="*/ 256784 h 387851"/>
                <a:gd name="connsiteX47" fmla="*/ 14243 w 80078"/>
                <a:gd name="connsiteY47" fmla="*/ 232772 h 387851"/>
                <a:gd name="connsiteX48" fmla="*/ 15258 w 80078"/>
                <a:gd name="connsiteY48" fmla="*/ 202255 h 387851"/>
                <a:gd name="connsiteX49" fmla="*/ 12267 w 80078"/>
                <a:gd name="connsiteY49" fmla="*/ 181975 h 387851"/>
                <a:gd name="connsiteX50" fmla="*/ 17399 w 80078"/>
                <a:gd name="connsiteY50" fmla="*/ 157688 h 387851"/>
                <a:gd name="connsiteX51" fmla="*/ 12514 w 80078"/>
                <a:gd name="connsiteY51" fmla="*/ 141716 h 387851"/>
                <a:gd name="connsiteX52" fmla="*/ 5763 w 80078"/>
                <a:gd name="connsiteY52" fmla="*/ 132083 h 387851"/>
                <a:gd name="connsiteX53" fmla="*/ 1125 w 80078"/>
                <a:gd name="connsiteY53" fmla="*/ 120255 h 387851"/>
                <a:gd name="connsiteX54" fmla="*/ 0 w 80078"/>
                <a:gd name="connsiteY54" fmla="*/ 101621 h 387851"/>
                <a:gd name="connsiteX55" fmla="*/ 3403 w 80078"/>
                <a:gd name="connsiteY55" fmla="*/ 93883 h 387851"/>
                <a:gd name="connsiteX56" fmla="*/ 7821 w 80078"/>
                <a:gd name="connsiteY56" fmla="*/ 65561 h 387851"/>
                <a:gd name="connsiteX57" fmla="*/ 4116 w 80078"/>
                <a:gd name="connsiteY57" fmla="*/ 48437 h 387851"/>
                <a:gd name="connsiteX58" fmla="*/ 14791 w 80078"/>
                <a:gd name="connsiteY58" fmla="*/ 42838 h 387851"/>
                <a:gd name="connsiteX59" fmla="*/ 18469 w 80078"/>
                <a:gd name="connsiteY59" fmla="*/ 48163 h 387851"/>
                <a:gd name="connsiteX60" fmla="*/ 23134 w 80078"/>
                <a:gd name="connsiteY60" fmla="*/ 48437 h 387851"/>
                <a:gd name="connsiteX61" fmla="*/ 27278 w 80078"/>
                <a:gd name="connsiteY61" fmla="*/ 42070 h 387851"/>
                <a:gd name="connsiteX62" fmla="*/ 25577 w 80078"/>
                <a:gd name="connsiteY62" fmla="*/ 37240 h 387851"/>
                <a:gd name="connsiteX63" fmla="*/ 26839 w 80078"/>
                <a:gd name="connsiteY63" fmla="*/ 33590 h 387851"/>
                <a:gd name="connsiteX64" fmla="*/ 29254 w 80078"/>
                <a:gd name="connsiteY64" fmla="*/ 30736 h 387851"/>
                <a:gd name="connsiteX65" fmla="*/ 30435 w 80078"/>
                <a:gd name="connsiteY65" fmla="*/ 34798 h 387851"/>
                <a:gd name="connsiteX66" fmla="*/ 32520 w 80078"/>
                <a:gd name="connsiteY66" fmla="*/ 33837 h 387851"/>
                <a:gd name="connsiteX67" fmla="*/ 30489 w 80078"/>
                <a:gd name="connsiteY67" fmla="*/ 21845 h 387851"/>
                <a:gd name="connsiteX68" fmla="*/ 22778 w 80078"/>
                <a:gd name="connsiteY68" fmla="*/ 7218 h 387851"/>
                <a:gd name="connsiteX69" fmla="*/ 31807 w 80078"/>
                <a:gd name="connsiteY69" fmla="*/ 0 h 387851"/>
                <a:gd name="connsiteX70" fmla="*/ 38694 w 80078"/>
                <a:gd name="connsiteY70" fmla="*/ 12377 h 387851"/>
                <a:gd name="connsiteX71" fmla="*/ 36911 w 80078"/>
                <a:gd name="connsiteY71" fmla="*/ 25110 h 38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0078" h="387851">
                  <a:moveTo>
                    <a:pt x="36938" y="24918"/>
                  </a:moveTo>
                  <a:lnTo>
                    <a:pt x="42234" y="44046"/>
                  </a:lnTo>
                  <a:lnTo>
                    <a:pt x="42180" y="57795"/>
                  </a:lnTo>
                  <a:lnTo>
                    <a:pt x="44348" y="67620"/>
                  </a:lnTo>
                  <a:lnTo>
                    <a:pt x="49068" y="76484"/>
                  </a:lnTo>
                  <a:lnTo>
                    <a:pt x="48299" y="91660"/>
                  </a:lnTo>
                  <a:lnTo>
                    <a:pt x="47010" y="93142"/>
                  </a:lnTo>
                  <a:lnTo>
                    <a:pt x="47586" y="96380"/>
                  </a:lnTo>
                  <a:lnTo>
                    <a:pt x="43936" y="101292"/>
                  </a:lnTo>
                  <a:lnTo>
                    <a:pt x="43607" y="115425"/>
                  </a:lnTo>
                  <a:lnTo>
                    <a:pt x="48904" y="129476"/>
                  </a:lnTo>
                  <a:lnTo>
                    <a:pt x="46955" y="137132"/>
                  </a:lnTo>
                  <a:lnTo>
                    <a:pt x="50577" y="136364"/>
                  </a:lnTo>
                  <a:lnTo>
                    <a:pt x="52334" y="140261"/>
                  </a:lnTo>
                  <a:lnTo>
                    <a:pt x="52581" y="147643"/>
                  </a:lnTo>
                  <a:lnTo>
                    <a:pt x="56176" y="156288"/>
                  </a:lnTo>
                  <a:lnTo>
                    <a:pt x="62598" y="191607"/>
                  </a:lnTo>
                  <a:lnTo>
                    <a:pt x="72779" y="220422"/>
                  </a:lnTo>
                  <a:lnTo>
                    <a:pt x="80078" y="250417"/>
                  </a:lnTo>
                  <a:lnTo>
                    <a:pt x="78267" y="251076"/>
                  </a:lnTo>
                  <a:lnTo>
                    <a:pt x="70117" y="243035"/>
                  </a:lnTo>
                  <a:lnTo>
                    <a:pt x="57575" y="240400"/>
                  </a:lnTo>
                  <a:lnTo>
                    <a:pt x="46818" y="242733"/>
                  </a:lnTo>
                  <a:lnTo>
                    <a:pt x="40066" y="249155"/>
                  </a:lnTo>
                  <a:lnTo>
                    <a:pt x="38804" y="259336"/>
                  </a:lnTo>
                  <a:lnTo>
                    <a:pt x="28568" y="290100"/>
                  </a:lnTo>
                  <a:lnTo>
                    <a:pt x="26839" y="309035"/>
                  </a:lnTo>
                  <a:lnTo>
                    <a:pt x="29913" y="318229"/>
                  </a:lnTo>
                  <a:lnTo>
                    <a:pt x="39435" y="330441"/>
                  </a:lnTo>
                  <a:lnTo>
                    <a:pt x="44842" y="347620"/>
                  </a:lnTo>
                  <a:lnTo>
                    <a:pt x="54255" y="352725"/>
                  </a:lnTo>
                  <a:lnTo>
                    <a:pt x="57191" y="369657"/>
                  </a:lnTo>
                  <a:lnTo>
                    <a:pt x="52993" y="379152"/>
                  </a:lnTo>
                  <a:lnTo>
                    <a:pt x="47257" y="362522"/>
                  </a:lnTo>
                  <a:lnTo>
                    <a:pt x="34688" y="358899"/>
                  </a:lnTo>
                  <a:lnTo>
                    <a:pt x="29309" y="355002"/>
                  </a:lnTo>
                  <a:lnTo>
                    <a:pt x="23875" y="359229"/>
                  </a:lnTo>
                  <a:lnTo>
                    <a:pt x="16191" y="382638"/>
                  </a:lnTo>
                  <a:lnTo>
                    <a:pt x="12623" y="387852"/>
                  </a:lnTo>
                  <a:lnTo>
                    <a:pt x="8699" y="382281"/>
                  </a:lnTo>
                  <a:lnTo>
                    <a:pt x="5598" y="362028"/>
                  </a:lnTo>
                  <a:lnTo>
                    <a:pt x="11910" y="339909"/>
                  </a:lnTo>
                  <a:lnTo>
                    <a:pt x="10044" y="316500"/>
                  </a:lnTo>
                  <a:lnTo>
                    <a:pt x="15835" y="296686"/>
                  </a:lnTo>
                  <a:lnTo>
                    <a:pt x="14188" y="283815"/>
                  </a:lnTo>
                  <a:lnTo>
                    <a:pt x="6833" y="265593"/>
                  </a:lnTo>
                  <a:lnTo>
                    <a:pt x="10319" y="256784"/>
                  </a:lnTo>
                  <a:lnTo>
                    <a:pt x="14243" y="232772"/>
                  </a:lnTo>
                  <a:lnTo>
                    <a:pt x="15258" y="202255"/>
                  </a:lnTo>
                  <a:lnTo>
                    <a:pt x="12267" y="181975"/>
                  </a:lnTo>
                  <a:lnTo>
                    <a:pt x="17399" y="157688"/>
                  </a:lnTo>
                  <a:lnTo>
                    <a:pt x="12514" y="141716"/>
                  </a:lnTo>
                  <a:lnTo>
                    <a:pt x="5763" y="132083"/>
                  </a:lnTo>
                  <a:lnTo>
                    <a:pt x="1125" y="120255"/>
                  </a:lnTo>
                  <a:lnTo>
                    <a:pt x="0" y="101621"/>
                  </a:lnTo>
                  <a:lnTo>
                    <a:pt x="3403" y="93883"/>
                  </a:lnTo>
                  <a:lnTo>
                    <a:pt x="7821" y="65561"/>
                  </a:lnTo>
                  <a:lnTo>
                    <a:pt x="4116" y="48437"/>
                  </a:lnTo>
                  <a:lnTo>
                    <a:pt x="14791" y="42838"/>
                  </a:lnTo>
                  <a:lnTo>
                    <a:pt x="18469" y="48163"/>
                  </a:lnTo>
                  <a:lnTo>
                    <a:pt x="23134" y="48437"/>
                  </a:lnTo>
                  <a:lnTo>
                    <a:pt x="27278" y="42070"/>
                  </a:lnTo>
                  <a:lnTo>
                    <a:pt x="25577" y="37240"/>
                  </a:lnTo>
                  <a:lnTo>
                    <a:pt x="26839" y="33590"/>
                  </a:lnTo>
                  <a:lnTo>
                    <a:pt x="29254" y="30736"/>
                  </a:lnTo>
                  <a:lnTo>
                    <a:pt x="30435" y="34798"/>
                  </a:lnTo>
                  <a:lnTo>
                    <a:pt x="32520" y="33837"/>
                  </a:lnTo>
                  <a:lnTo>
                    <a:pt x="30489" y="21845"/>
                  </a:lnTo>
                  <a:lnTo>
                    <a:pt x="22778" y="7218"/>
                  </a:lnTo>
                  <a:lnTo>
                    <a:pt x="31807" y="0"/>
                  </a:lnTo>
                  <a:lnTo>
                    <a:pt x="38694" y="12377"/>
                  </a:lnTo>
                  <a:lnTo>
                    <a:pt x="36911" y="251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1" name="Freeform: Shape 4300">
              <a:extLst>
                <a:ext uri="{FF2B5EF4-FFF2-40B4-BE49-F238E27FC236}">
                  <a16:creationId xmlns:a16="http://schemas.microsoft.com/office/drawing/2014/main" id="{F8F5FE9A-EB50-D80C-19D6-F6CC15FB27CC}"/>
                </a:ext>
              </a:extLst>
            </p:cNvPr>
            <p:cNvSpPr/>
            <p:nvPr/>
          </p:nvSpPr>
          <p:spPr>
            <a:xfrm>
              <a:off x="1785602" y="3473298"/>
              <a:ext cx="25403" cy="18960"/>
            </a:xfrm>
            <a:custGeom>
              <a:avLst/>
              <a:gdLst>
                <a:gd name="connsiteX0" fmla="*/ 35895 w 243556"/>
                <a:gd name="connsiteY0" fmla="*/ 13502 h 181782"/>
                <a:gd name="connsiteX1" fmla="*/ 39902 w 243556"/>
                <a:gd name="connsiteY1" fmla="*/ 8782 h 181782"/>
                <a:gd name="connsiteX2" fmla="*/ 44348 w 243556"/>
                <a:gd name="connsiteY2" fmla="*/ 13502 h 181782"/>
                <a:gd name="connsiteX3" fmla="*/ 47037 w 243556"/>
                <a:gd name="connsiteY3" fmla="*/ 4171 h 181782"/>
                <a:gd name="connsiteX4" fmla="*/ 57191 w 243556"/>
                <a:gd name="connsiteY4" fmla="*/ 0 h 181782"/>
                <a:gd name="connsiteX5" fmla="*/ 65369 w 243556"/>
                <a:gd name="connsiteY5" fmla="*/ 13502 h 181782"/>
                <a:gd name="connsiteX6" fmla="*/ 86363 w 243556"/>
                <a:gd name="connsiteY6" fmla="*/ 29419 h 181782"/>
                <a:gd name="connsiteX7" fmla="*/ 86226 w 243556"/>
                <a:gd name="connsiteY7" fmla="*/ 39984 h 181782"/>
                <a:gd name="connsiteX8" fmla="*/ 102088 w 243556"/>
                <a:gd name="connsiteY8" fmla="*/ 49370 h 181782"/>
                <a:gd name="connsiteX9" fmla="*/ 115837 w 243556"/>
                <a:gd name="connsiteY9" fmla="*/ 67180 h 181782"/>
                <a:gd name="connsiteX10" fmla="*/ 117319 w 243556"/>
                <a:gd name="connsiteY10" fmla="*/ 64189 h 181782"/>
                <a:gd name="connsiteX11" fmla="*/ 116028 w 243556"/>
                <a:gd name="connsiteY11" fmla="*/ 52938 h 181782"/>
                <a:gd name="connsiteX12" fmla="*/ 119020 w 243556"/>
                <a:gd name="connsiteY12" fmla="*/ 14517 h 181782"/>
                <a:gd name="connsiteX13" fmla="*/ 122149 w 243556"/>
                <a:gd name="connsiteY13" fmla="*/ 16877 h 181782"/>
                <a:gd name="connsiteX14" fmla="*/ 130382 w 243556"/>
                <a:gd name="connsiteY14" fmla="*/ 19951 h 181782"/>
                <a:gd name="connsiteX15" fmla="*/ 134141 w 243556"/>
                <a:gd name="connsiteY15" fmla="*/ 19183 h 181782"/>
                <a:gd name="connsiteX16" fmla="*/ 134086 w 243556"/>
                <a:gd name="connsiteY16" fmla="*/ 7245 h 181782"/>
                <a:gd name="connsiteX17" fmla="*/ 143938 w 243556"/>
                <a:gd name="connsiteY17" fmla="*/ 13502 h 181782"/>
                <a:gd name="connsiteX18" fmla="*/ 166990 w 243556"/>
                <a:gd name="connsiteY18" fmla="*/ 41905 h 181782"/>
                <a:gd name="connsiteX19" fmla="*/ 206508 w 243556"/>
                <a:gd name="connsiteY19" fmla="*/ 46928 h 181782"/>
                <a:gd name="connsiteX20" fmla="*/ 243556 w 243556"/>
                <a:gd name="connsiteY20" fmla="*/ 79008 h 181782"/>
                <a:gd name="connsiteX21" fmla="*/ 243556 w 243556"/>
                <a:gd name="connsiteY21" fmla="*/ 83125 h 181782"/>
                <a:gd name="connsiteX22" fmla="*/ 231399 w 243556"/>
                <a:gd name="connsiteY22" fmla="*/ 94898 h 181782"/>
                <a:gd name="connsiteX23" fmla="*/ 230411 w 243556"/>
                <a:gd name="connsiteY23" fmla="*/ 99591 h 181782"/>
                <a:gd name="connsiteX24" fmla="*/ 231701 w 243556"/>
                <a:gd name="connsiteY24" fmla="*/ 109772 h 181782"/>
                <a:gd name="connsiteX25" fmla="*/ 226871 w 243556"/>
                <a:gd name="connsiteY25" fmla="*/ 126265 h 181782"/>
                <a:gd name="connsiteX26" fmla="*/ 209033 w 243556"/>
                <a:gd name="connsiteY26" fmla="*/ 140014 h 181782"/>
                <a:gd name="connsiteX27" fmla="*/ 193747 w 243556"/>
                <a:gd name="connsiteY27" fmla="*/ 134580 h 181782"/>
                <a:gd name="connsiteX28" fmla="*/ 192046 w 243556"/>
                <a:gd name="connsiteY28" fmla="*/ 140261 h 181782"/>
                <a:gd name="connsiteX29" fmla="*/ 195585 w 243556"/>
                <a:gd name="connsiteY29" fmla="*/ 145201 h 181782"/>
                <a:gd name="connsiteX30" fmla="*/ 195585 w 243556"/>
                <a:gd name="connsiteY30" fmla="*/ 149098 h 181782"/>
                <a:gd name="connsiteX31" fmla="*/ 191305 w 243556"/>
                <a:gd name="connsiteY31" fmla="*/ 153242 h 181782"/>
                <a:gd name="connsiteX32" fmla="*/ 170530 w 243556"/>
                <a:gd name="connsiteY32" fmla="*/ 154586 h 181782"/>
                <a:gd name="connsiteX33" fmla="*/ 162352 w 243556"/>
                <a:gd name="connsiteY33" fmla="*/ 163670 h 181782"/>
                <a:gd name="connsiteX34" fmla="*/ 150387 w 243556"/>
                <a:gd name="connsiteY34" fmla="*/ 153653 h 181782"/>
                <a:gd name="connsiteX35" fmla="*/ 148192 w 243556"/>
                <a:gd name="connsiteY35" fmla="*/ 142100 h 181782"/>
                <a:gd name="connsiteX36" fmla="*/ 139465 w 243556"/>
                <a:gd name="connsiteY36" fmla="*/ 148082 h 181782"/>
                <a:gd name="connsiteX37" fmla="*/ 93443 w 243556"/>
                <a:gd name="connsiteY37" fmla="*/ 163423 h 181782"/>
                <a:gd name="connsiteX38" fmla="*/ 79666 w 243556"/>
                <a:gd name="connsiteY38" fmla="*/ 145942 h 181782"/>
                <a:gd name="connsiteX39" fmla="*/ 76072 w 243556"/>
                <a:gd name="connsiteY39" fmla="*/ 152473 h 181782"/>
                <a:gd name="connsiteX40" fmla="*/ 76428 w 243556"/>
                <a:gd name="connsiteY40" fmla="*/ 164713 h 181782"/>
                <a:gd name="connsiteX41" fmla="*/ 73300 w 243556"/>
                <a:gd name="connsiteY41" fmla="*/ 174043 h 181782"/>
                <a:gd name="connsiteX42" fmla="*/ 62021 w 243556"/>
                <a:gd name="connsiteY42" fmla="*/ 181782 h 181782"/>
                <a:gd name="connsiteX43" fmla="*/ 35593 w 243556"/>
                <a:gd name="connsiteY43" fmla="*/ 167869 h 181782"/>
                <a:gd name="connsiteX44" fmla="*/ 26482 w 243556"/>
                <a:gd name="connsiteY44" fmla="*/ 148467 h 181782"/>
                <a:gd name="connsiteX45" fmla="*/ 11471 w 243556"/>
                <a:gd name="connsiteY45" fmla="*/ 133812 h 181782"/>
                <a:gd name="connsiteX46" fmla="*/ 54 w 243556"/>
                <a:gd name="connsiteY46" fmla="*/ 111117 h 181782"/>
                <a:gd name="connsiteX47" fmla="*/ 0 w 243556"/>
                <a:gd name="connsiteY47" fmla="*/ 102472 h 181782"/>
                <a:gd name="connsiteX48" fmla="*/ 5873 w 243556"/>
                <a:gd name="connsiteY48" fmla="*/ 97971 h 181782"/>
                <a:gd name="connsiteX49" fmla="*/ 8809 w 243556"/>
                <a:gd name="connsiteY49" fmla="*/ 87241 h 181782"/>
                <a:gd name="connsiteX50" fmla="*/ 6504 w 243556"/>
                <a:gd name="connsiteY50" fmla="*/ 56505 h 181782"/>
                <a:gd name="connsiteX51" fmla="*/ 16795 w 243556"/>
                <a:gd name="connsiteY51" fmla="*/ 50138 h 181782"/>
                <a:gd name="connsiteX52" fmla="*/ 17015 w 243556"/>
                <a:gd name="connsiteY52" fmla="*/ 46241 h 181782"/>
                <a:gd name="connsiteX53" fmla="*/ 14408 w 243556"/>
                <a:gd name="connsiteY53" fmla="*/ 38667 h 181782"/>
                <a:gd name="connsiteX54" fmla="*/ 14819 w 243556"/>
                <a:gd name="connsiteY54" fmla="*/ 32794 h 181782"/>
                <a:gd name="connsiteX55" fmla="*/ 33370 w 243556"/>
                <a:gd name="connsiteY55" fmla="*/ 22997 h 181782"/>
                <a:gd name="connsiteX56" fmla="*/ 35950 w 243556"/>
                <a:gd name="connsiteY56" fmla="*/ 13447 h 1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43556" h="181782">
                  <a:moveTo>
                    <a:pt x="35895" y="13502"/>
                  </a:moveTo>
                  <a:lnTo>
                    <a:pt x="39902" y="8782"/>
                  </a:lnTo>
                  <a:lnTo>
                    <a:pt x="44348" y="13502"/>
                  </a:lnTo>
                  <a:lnTo>
                    <a:pt x="47037" y="4171"/>
                  </a:lnTo>
                  <a:lnTo>
                    <a:pt x="57191" y="0"/>
                  </a:lnTo>
                  <a:lnTo>
                    <a:pt x="65369" y="13502"/>
                  </a:lnTo>
                  <a:lnTo>
                    <a:pt x="86363" y="29419"/>
                  </a:lnTo>
                  <a:lnTo>
                    <a:pt x="86226" y="39984"/>
                  </a:lnTo>
                  <a:lnTo>
                    <a:pt x="102088" y="49370"/>
                  </a:lnTo>
                  <a:lnTo>
                    <a:pt x="115837" y="67180"/>
                  </a:lnTo>
                  <a:lnTo>
                    <a:pt x="117319" y="64189"/>
                  </a:lnTo>
                  <a:lnTo>
                    <a:pt x="116028" y="52938"/>
                  </a:lnTo>
                  <a:lnTo>
                    <a:pt x="119020" y="14517"/>
                  </a:lnTo>
                  <a:lnTo>
                    <a:pt x="122149" y="16877"/>
                  </a:lnTo>
                  <a:lnTo>
                    <a:pt x="130382" y="19951"/>
                  </a:lnTo>
                  <a:lnTo>
                    <a:pt x="134141" y="19183"/>
                  </a:lnTo>
                  <a:lnTo>
                    <a:pt x="134086" y="7245"/>
                  </a:lnTo>
                  <a:lnTo>
                    <a:pt x="143938" y="13502"/>
                  </a:lnTo>
                  <a:lnTo>
                    <a:pt x="166990" y="41905"/>
                  </a:lnTo>
                  <a:lnTo>
                    <a:pt x="206508" y="46928"/>
                  </a:lnTo>
                  <a:lnTo>
                    <a:pt x="243556" y="79008"/>
                  </a:lnTo>
                  <a:lnTo>
                    <a:pt x="243556" y="83125"/>
                  </a:lnTo>
                  <a:cubicBezTo>
                    <a:pt x="243556" y="83125"/>
                    <a:pt x="231399" y="94898"/>
                    <a:pt x="231399" y="94898"/>
                  </a:cubicBezTo>
                  <a:lnTo>
                    <a:pt x="230411" y="99591"/>
                  </a:lnTo>
                  <a:lnTo>
                    <a:pt x="231701" y="109772"/>
                  </a:lnTo>
                  <a:lnTo>
                    <a:pt x="226871" y="126265"/>
                  </a:lnTo>
                  <a:lnTo>
                    <a:pt x="209033" y="140014"/>
                  </a:lnTo>
                  <a:lnTo>
                    <a:pt x="193747" y="134580"/>
                  </a:lnTo>
                  <a:lnTo>
                    <a:pt x="192046" y="140261"/>
                  </a:lnTo>
                  <a:lnTo>
                    <a:pt x="195585" y="145201"/>
                  </a:lnTo>
                  <a:lnTo>
                    <a:pt x="195585" y="149098"/>
                  </a:lnTo>
                  <a:cubicBezTo>
                    <a:pt x="195585" y="149098"/>
                    <a:pt x="191305" y="153242"/>
                    <a:pt x="191305" y="153242"/>
                  </a:cubicBezTo>
                  <a:lnTo>
                    <a:pt x="170530" y="154586"/>
                  </a:lnTo>
                  <a:lnTo>
                    <a:pt x="162352" y="163670"/>
                  </a:lnTo>
                  <a:lnTo>
                    <a:pt x="150387" y="153653"/>
                  </a:lnTo>
                  <a:lnTo>
                    <a:pt x="148192" y="142100"/>
                  </a:lnTo>
                  <a:lnTo>
                    <a:pt x="139465" y="148082"/>
                  </a:lnTo>
                  <a:lnTo>
                    <a:pt x="93443" y="163423"/>
                  </a:lnTo>
                  <a:lnTo>
                    <a:pt x="79666" y="145942"/>
                  </a:lnTo>
                  <a:lnTo>
                    <a:pt x="76072" y="152473"/>
                  </a:lnTo>
                  <a:lnTo>
                    <a:pt x="76428" y="164713"/>
                  </a:lnTo>
                  <a:lnTo>
                    <a:pt x="73300" y="174043"/>
                  </a:lnTo>
                  <a:lnTo>
                    <a:pt x="62021" y="181782"/>
                  </a:lnTo>
                  <a:lnTo>
                    <a:pt x="35593" y="167869"/>
                  </a:lnTo>
                  <a:lnTo>
                    <a:pt x="26482" y="148467"/>
                  </a:lnTo>
                  <a:lnTo>
                    <a:pt x="11471" y="133812"/>
                  </a:lnTo>
                  <a:lnTo>
                    <a:pt x="54" y="111117"/>
                  </a:lnTo>
                  <a:lnTo>
                    <a:pt x="0" y="102472"/>
                  </a:lnTo>
                  <a:lnTo>
                    <a:pt x="5873" y="97971"/>
                  </a:lnTo>
                  <a:lnTo>
                    <a:pt x="8809" y="87241"/>
                  </a:lnTo>
                  <a:lnTo>
                    <a:pt x="6504" y="56505"/>
                  </a:lnTo>
                  <a:lnTo>
                    <a:pt x="16795" y="50138"/>
                  </a:lnTo>
                  <a:lnTo>
                    <a:pt x="17015" y="46241"/>
                  </a:lnTo>
                  <a:lnTo>
                    <a:pt x="14408" y="38667"/>
                  </a:lnTo>
                  <a:lnTo>
                    <a:pt x="14819" y="32794"/>
                  </a:lnTo>
                  <a:lnTo>
                    <a:pt x="33370" y="22997"/>
                  </a:lnTo>
                  <a:lnTo>
                    <a:pt x="35950" y="134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4" name="Freeform: Shape 4303">
              <a:extLst>
                <a:ext uri="{FF2B5EF4-FFF2-40B4-BE49-F238E27FC236}">
                  <a16:creationId xmlns:a16="http://schemas.microsoft.com/office/drawing/2014/main" id="{A6D0347F-650B-6876-913D-EA205CCC41EC}"/>
                </a:ext>
              </a:extLst>
            </p:cNvPr>
            <p:cNvSpPr/>
            <p:nvPr/>
          </p:nvSpPr>
          <p:spPr>
            <a:xfrm>
              <a:off x="1813973" y="3481032"/>
              <a:ext cx="14203" cy="10196"/>
            </a:xfrm>
            <a:custGeom>
              <a:avLst/>
              <a:gdLst>
                <a:gd name="connsiteX0" fmla="*/ 13310 w 136172"/>
                <a:gd name="connsiteY0" fmla="*/ 16301 h 97751"/>
                <a:gd name="connsiteX1" fmla="*/ 15972 w 136172"/>
                <a:gd name="connsiteY1" fmla="*/ 25248 h 97751"/>
                <a:gd name="connsiteX2" fmla="*/ 26016 w 136172"/>
                <a:gd name="connsiteY2" fmla="*/ 30846 h 97751"/>
                <a:gd name="connsiteX3" fmla="*/ 41137 w 136172"/>
                <a:gd name="connsiteY3" fmla="*/ 17070 h 97751"/>
                <a:gd name="connsiteX4" fmla="*/ 63585 w 136172"/>
                <a:gd name="connsiteY4" fmla="*/ 21351 h 97751"/>
                <a:gd name="connsiteX5" fmla="*/ 68525 w 136172"/>
                <a:gd name="connsiteY5" fmla="*/ 25220 h 97751"/>
                <a:gd name="connsiteX6" fmla="*/ 67949 w 136172"/>
                <a:gd name="connsiteY6" fmla="*/ 35154 h 97751"/>
                <a:gd name="connsiteX7" fmla="*/ 71709 w 136172"/>
                <a:gd name="connsiteY7" fmla="*/ 44677 h 97751"/>
                <a:gd name="connsiteX8" fmla="*/ 92345 w 136172"/>
                <a:gd name="connsiteY8" fmla="*/ 37679 h 97751"/>
                <a:gd name="connsiteX9" fmla="*/ 115508 w 136172"/>
                <a:gd name="connsiteY9" fmla="*/ 44293 h 97751"/>
                <a:gd name="connsiteX10" fmla="*/ 125963 w 136172"/>
                <a:gd name="connsiteY10" fmla="*/ 55956 h 97751"/>
                <a:gd name="connsiteX11" fmla="*/ 135870 w 136172"/>
                <a:gd name="connsiteY11" fmla="*/ 54063 h 97751"/>
                <a:gd name="connsiteX12" fmla="*/ 136172 w 136172"/>
                <a:gd name="connsiteY12" fmla="*/ 57877 h 97751"/>
                <a:gd name="connsiteX13" fmla="*/ 132357 w 136172"/>
                <a:gd name="connsiteY13" fmla="*/ 66659 h 97751"/>
                <a:gd name="connsiteX14" fmla="*/ 129202 w 136172"/>
                <a:gd name="connsiteY14" fmla="*/ 83097 h 97751"/>
                <a:gd name="connsiteX15" fmla="*/ 88559 w 136172"/>
                <a:gd name="connsiteY15" fmla="*/ 97752 h 97751"/>
                <a:gd name="connsiteX16" fmla="*/ 59002 w 136172"/>
                <a:gd name="connsiteY16" fmla="*/ 92812 h 97751"/>
                <a:gd name="connsiteX17" fmla="*/ 42592 w 136172"/>
                <a:gd name="connsiteY17" fmla="*/ 72943 h 97751"/>
                <a:gd name="connsiteX18" fmla="*/ 26016 w 136172"/>
                <a:gd name="connsiteY18" fmla="*/ 66275 h 97751"/>
                <a:gd name="connsiteX19" fmla="*/ 0 w 136172"/>
                <a:gd name="connsiteY19" fmla="*/ 42454 h 97751"/>
                <a:gd name="connsiteX20" fmla="*/ 1948 w 136172"/>
                <a:gd name="connsiteY20" fmla="*/ 35017 h 97751"/>
                <a:gd name="connsiteX21" fmla="*/ 1043 w 136172"/>
                <a:gd name="connsiteY21" fmla="*/ 22833 h 97751"/>
                <a:gd name="connsiteX22" fmla="*/ 7904 w 136172"/>
                <a:gd name="connsiteY22" fmla="*/ 0 h 97751"/>
                <a:gd name="connsiteX23" fmla="*/ 14490 w 136172"/>
                <a:gd name="connsiteY23" fmla="*/ 6449 h 97751"/>
                <a:gd name="connsiteX24" fmla="*/ 13310 w 136172"/>
                <a:gd name="connsiteY24" fmla="*/ 16329 h 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6172" h="97751">
                  <a:moveTo>
                    <a:pt x="13310" y="16301"/>
                  </a:moveTo>
                  <a:lnTo>
                    <a:pt x="15972" y="25248"/>
                  </a:lnTo>
                  <a:lnTo>
                    <a:pt x="26016" y="30846"/>
                  </a:lnTo>
                  <a:lnTo>
                    <a:pt x="41137" y="17070"/>
                  </a:lnTo>
                  <a:lnTo>
                    <a:pt x="63585" y="21351"/>
                  </a:lnTo>
                  <a:lnTo>
                    <a:pt x="68525" y="25220"/>
                  </a:lnTo>
                  <a:lnTo>
                    <a:pt x="67949" y="35154"/>
                  </a:lnTo>
                  <a:lnTo>
                    <a:pt x="71709" y="44677"/>
                  </a:lnTo>
                  <a:lnTo>
                    <a:pt x="92345" y="37679"/>
                  </a:lnTo>
                  <a:lnTo>
                    <a:pt x="115508" y="44293"/>
                  </a:lnTo>
                  <a:lnTo>
                    <a:pt x="125963" y="55956"/>
                  </a:lnTo>
                  <a:lnTo>
                    <a:pt x="135870" y="54063"/>
                  </a:lnTo>
                  <a:lnTo>
                    <a:pt x="136172" y="57877"/>
                  </a:lnTo>
                  <a:lnTo>
                    <a:pt x="132357" y="66659"/>
                  </a:lnTo>
                  <a:lnTo>
                    <a:pt x="129202" y="83097"/>
                  </a:lnTo>
                  <a:lnTo>
                    <a:pt x="88559" y="97752"/>
                  </a:lnTo>
                  <a:lnTo>
                    <a:pt x="59002" y="92812"/>
                  </a:lnTo>
                  <a:lnTo>
                    <a:pt x="42592" y="72943"/>
                  </a:lnTo>
                  <a:lnTo>
                    <a:pt x="26016" y="66275"/>
                  </a:lnTo>
                  <a:lnTo>
                    <a:pt x="0" y="42454"/>
                  </a:lnTo>
                  <a:lnTo>
                    <a:pt x="1948" y="35017"/>
                  </a:lnTo>
                  <a:lnTo>
                    <a:pt x="1043" y="22833"/>
                  </a:lnTo>
                  <a:lnTo>
                    <a:pt x="7904" y="0"/>
                  </a:lnTo>
                  <a:lnTo>
                    <a:pt x="14490" y="6449"/>
                  </a:lnTo>
                  <a:lnTo>
                    <a:pt x="13310" y="163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5" name="Freeform: Shape 4304">
              <a:extLst>
                <a:ext uri="{FF2B5EF4-FFF2-40B4-BE49-F238E27FC236}">
                  <a16:creationId xmlns:a16="http://schemas.microsoft.com/office/drawing/2014/main" id="{AC91608E-C0D5-037A-B3E4-3FAE4A8F0EC0}"/>
                </a:ext>
              </a:extLst>
            </p:cNvPr>
            <p:cNvSpPr/>
            <p:nvPr/>
          </p:nvSpPr>
          <p:spPr>
            <a:xfrm>
              <a:off x="1794558" y="3500525"/>
              <a:ext cx="11289" cy="7903"/>
            </a:xfrm>
            <a:custGeom>
              <a:avLst/>
              <a:gdLst>
                <a:gd name="connsiteX0" fmla="*/ 35841 w 108235"/>
                <a:gd name="connsiteY0" fmla="*/ 6669 h 75770"/>
                <a:gd name="connsiteX1" fmla="*/ 53596 w 108235"/>
                <a:gd name="connsiteY1" fmla="*/ 1866 h 75770"/>
                <a:gd name="connsiteX2" fmla="*/ 64135 w 108235"/>
                <a:gd name="connsiteY2" fmla="*/ 0 h 75770"/>
                <a:gd name="connsiteX3" fmla="*/ 78295 w 108235"/>
                <a:gd name="connsiteY3" fmla="*/ 8315 h 75770"/>
                <a:gd name="connsiteX4" fmla="*/ 99563 w 108235"/>
                <a:gd name="connsiteY4" fmla="*/ 30873 h 75770"/>
                <a:gd name="connsiteX5" fmla="*/ 108236 w 108235"/>
                <a:gd name="connsiteY5" fmla="*/ 48135 h 75770"/>
                <a:gd name="connsiteX6" fmla="*/ 106205 w 108235"/>
                <a:gd name="connsiteY6" fmla="*/ 57081 h 75770"/>
                <a:gd name="connsiteX7" fmla="*/ 106863 w 108235"/>
                <a:gd name="connsiteY7" fmla="*/ 70666 h 75770"/>
                <a:gd name="connsiteX8" fmla="*/ 99893 w 108235"/>
                <a:gd name="connsiteY8" fmla="*/ 75770 h 75770"/>
                <a:gd name="connsiteX9" fmla="*/ 53596 w 108235"/>
                <a:gd name="connsiteY9" fmla="*/ 65232 h 75770"/>
                <a:gd name="connsiteX10" fmla="*/ 27690 w 108235"/>
                <a:gd name="connsiteY10" fmla="*/ 51565 h 75770"/>
                <a:gd name="connsiteX11" fmla="*/ 2553 w 108235"/>
                <a:gd name="connsiteY11" fmla="*/ 59386 h 75770"/>
                <a:gd name="connsiteX12" fmla="*/ 0 w 108235"/>
                <a:gd name="connsiteY12" fmla="*/ 54255 h 75770"/>
                <a:gd name="connsiteX13" fmla="*/ 467 w 108235"/>
                <a:gd name="connsiteY13" fmla="*/ 52663 h 75770"/>
                <a:gd name="connsiteX14" fmla="*/ 20555 w 108235"/>
                <a:gd name="connsiteY14" fmla="*/ 42454 h 75770"/>
                <a:gd name="connsiteX15" fmla="*/ 35868 w 108235"/>
                <a:gd name="connsiteY15" fmla="*/ 6696 h 75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35" h="75770">
                  <a:moveTo>
                    <a:pt x="35841" y="6669"/>
                  </a:moveTo>
                  <a:lnTo>
                    <a:pt x="53596" y="1866"/>
                  </a:lnTo>
                  <a:lnTo>
                    <a:pt x="64135" y="0"/>
                  </a:lnTo>
                  <a:lnTo>
                    <a:pt x="78295" y="8315"/>
                  </a:lnTo>
                  <a:lnTo>
                    <a:pt x="99563" y="30873"/>
                  </a:lnTo>
                  <a:lnTo>
                    <a:pt x="108236" y="48135"/>
                  </a:lnTo>
                  <a:lnTo>
                    <a:pt x="106205" y="57081"/>
                  </a:lnTo>
                  <a:lnTo>
                    <a:pt x="106863" y="70666"/>
                  </a:lnTo>
                  <a:lnTo>
                    <a:pt x="99893" y="75770"/>
                  </a:lnTo>
                  <a:lnTo>
                    <a:pt x="53596" y="65232"/>
                  </a:lnTo>
                  <a:lnTo>
                    <a:pt x="27690" y="51565"/>
                  </a:lnTo>
                  <a:lnTo>
                    <a:pt x="2553" y="59386"/>
                  </a:lnTo>
                  <a:lnTo>
                    <a:pt x="0" y="54255"/>
                  </a:lnTo>
                  <a:lnTo>
                    <a:pt x="467" y="52663"/>
                  </a:lnTo>
                  <a:lnTo>
                    <a:pt x="20555" y="42454"/>
                  </a:lnTo>
                  <a:lnTo>
                    <a:pt x="35868" y="66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2" name="Freeform: Shape 4311">
              <a:extLst>
                <a:ext uri="{FF2B5EF4-FFF2-40B4-BE49-F238E27FC236}">
                  <a16:creationId xmlns:a16="http://schemas.microsoft.com/office/drawing/2014/main" id="{1FA2C75C-6D65-A3D3-9A74-4F75CF2F96C5}"/>
                </a:ext>
              </a:extLst>
            </p:cNvPr>
            <p:cNvSpPr/>
            <p:nvPr/>
          </p:nvSpPr>
          <p:spPr>
            <a:xfrm>
              <a:off x="1913285" y="3525155"/>
              <a:ext cx="4279" cy="7056"/>
            </a:xfrm>
            <a:custGeom>
              <a:avLst/>
              <a:gdLst>
                <a:gd name="connsiteX0" fmla="*/ 33234 w 41027"/>
                <a:gd name="connsiteY0" fmla="*/ 5544 h 67646"/>
                <a:gd name="connsiteX1" fmla="*/ 34771 w 41027"/>
                <a:gd name="connsiteY1" fmla="*/ 4555 h 67646"/>
                <a:gd name="connsiteX2" fmla="*/ 36362 w 41027"/>
                <a:gd name="connsiteY2" fmla="*/ 5324 h 67646"/>
                <a:gd name="connsiteX3" fmla="*/ 37954 w 41027"/>
                <a:gd name="connsiteY3" fmla="*/ 1427 h 67646"/>
                <a:gd name="connsiteX4" fmla="*/ 40040 w 41027"/>
                <a:gd name="connsiteY4" fmla="*/ 0 h 67646"/>
                <a:gd name="connsiteX5" fmla="*/ 41027 w 41027"/>
                <a:gd name="connsiteY5" fmla="*/ 604 h 67646"/>
                <a:gd name="connsiteX6" fmla="*/ 41027 w 41027"/>
                <a:gd name="connsiteY6" fmla="*/ 50989 h 67646"/>
                <a:gd name="connsiteX7" fmla="*/ 37378 w 41027"/>
                <a:gd name="connsiteY7" fmla="*/ 52306 h 67646"/>
                <a:gd name="connsiteX8" fmla="*/ 34798 w 41027"/>
                <a:gd name="connsiteY8" fmla="*/ 55984 h 67646"/>
                <a:gd name="connsiteX9" fmla="*/ 31258 w 41027"/>
                <a:gd name="connsiteY9" fmla="*/ 59140 h 67646"/>
                <a:gd name="connsiteX10" fmla="*/ 27004 w 41027"/>
                <a:gd name="connsiteY10" fmla="*/ 61692 h 67646"/>
                <a:gd name="connsiteX11" fmla="*/ 25220 w 41027"/>
                <a:gd name="connsiteY11" fmla="*/ 59579 h 67646"/>
                <a:gd name="connsiteX12" fmla="*/ 22750 w 41027"/>
                <a:gd name="connsiteY12" fmla="*/ 60402 h 67646"/>
                <a:gd name="connsiteX13" fmla="*/ 21268 w 41027"/>
                <a:gd name="connsiteY13" fmla="*/ 59579 h 67646"/>
                <a:gd name="connsiteX14" fmla="*/ 16686 w 41027"/>
                <a:gd name="connsiteY14" fmla="*/ 60182 h 67646"/>
                <a:gd name="connsiteX15" fmla="*/ 14079 w 41027"/>
                <a:gd name="connsiteY15" fmla="*/ 61116 h 67646"/>
                <a:gd name="connsiteX16" fmla="*/ 10456 w 41027"/>
                <a:gd name="connsiteY16" fmla="*/ 63503 h 67646"/>
                <a:gd name="connsiteX17" fmla="*/ 6587 w 41027"/>
                <a:gd name="connsiteY17" fmla="*/ 67592 h 67646"/>
                <a:gd name="connsiteX18" fmla="*/ 5324 w 41027"/>
                <a:gd name="connsiteY18" fmla="*/ 67647 h 67646"/>
                <a:gd name="connsiteX19" fmla="*/ 3293 w 41027"/>
                <a:gd name="connsiteY19" fmla="*/ 57026 h 67646"/>
                <a:gd name="connsiteX20" fmla="*/ 1071 w 41027"/>
                <a:gd name="connsiteY20" fmla="*/ 51511 h 67646"/>
                <a:gd name="connsiteX21" fmla="*/ 275 w 41027"/>
                <a:gd name="connsiteY21" fmla="*/ 47339 h 67646"/>
                <a:gd name="connsiteX22" fmla="*/ 0 w 41027"/>
                <a:gd name="connsiteY22" fmla="*/ 42674 h 67646"/>
                <a:gd name="connsiteX23" fmla="*/ 1784 w 41027"/>
                <a:gd name="connsiteY23" fmla="*/ 39655 h 67646"/>
                <a:gd name="connsiteX24" fmla="*/ 3733 w 41027"/>
                <a:gd name="connsiteY24" fmla="*/ 37816 h 67646"/>
                <a:gd name="connsiteX25" fmla="*/ 6642 w 41027"/>
                <a:gd name="connsiteY25" fmla="*/ 33673 h 67646"/>
                <a:gd name="connsiteX26" fmla="*/ 7657 w 41027"/>
                <a:gd name="connsiteY26" fmla="*/ 33508 h 67646"/>
                <a:gd name="connsiteX27" fmla="*/ 8068 w 41027"/>
                <a:gd name="connsiteY27" fmla="*/ 29144 h 67646"/>
                <a:gd name="connsiteX28" fmla="*/ 11115 w 41027"/>
                <a:gd name="connsiteY28" fmla="*/ 26894 h 67646"/>
                <a:gd name="connsiteX29" fmla="*/ 14079 w 41027"/>
                <a:gd name="connsiteY29" fmla="*/ 25824 h 67646"/>
                <a:gd name="connsiteX30" fmla="*/ 16328 w 41027"/>
                <a:gd name="connsiteY30" fmla="*/ 23930 h 67646"/>
                <a:gd name="connsiteX31" fmla="*/ 18524 w 41027"/>
                <a:gd name="connsiteY31" fmla="*/ 20006 h 67646"/>
                <a:gd name="connsiteX32" fmla="*/ 20472 w 41027"/>
                <a:gd name="connsiteY32" fmla="*/ 18332 h 67646"/>
                <a:gd name="connsiteX33" fmla="*/ 24534 w 41027"/>
                <a:gd name="connsiteY33" fmla="*/ 11938 h 67646"/>
                <a:gd name="connsiteX34" fmla="*/ 29584 w 41027"/>
                <a:gd name="connsiteY34" fmla="*/ 8233 h 67646"/>
                <a:gd name="connsiteX35" fmla="*/ 32877 w 41027"/>
                <a:gd name="connsiteY35" fmla="*/ 8343 h 67646"/>
                <a:gd name="connsiteX36" fmla="*/ 33261 w 41027"/>
                <a:gd name="connsiteY36" fmla="*/ 5544 h 67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027" h="67646">
                  <a:moveTo>
                    <a:pt x="33234" y="5544"/>
                  </a:moveTo>
                  <a:lnTo>
                    <a:pt x="34771" y="4555"/>
                  </a:lnTo>
                  <a:lnTo>
                    <a:pt x="36362" y="5324"/>
                  </a:lnTo>
                  <a:lnTo>
                    <a:pt x="37954" y="1427"/>
                  </a:lnTo>
                  <a:lnTo>
                    <a:pt x="40040" y="0"/>
                  </a:lnTo>
                  <a:lnTo>
                    <a:pt x="41027" y="604"/>
                  </a:lnTo>
                  <a:lnTo>
                    <a:pt x="41027" y="50989"/>
                  </a:lnTo>
                  <a:lnTo>
                    <a:pt x="37378" y="52306"/>
                  </a:lnTo>
                  <a:lnTo>
                    <a:pt x="34798" y="55984"/>
                  </a:lnTo>
                  <a:lnTo>
                    <a:pt x="31258" y="59140"/>
                  </a:lnTo>
                  <a:lnTo>
                    <a:pt x="27004" y="61692"/>
                  </a:lnTo>
                  <a:lnTo>
                    <a:pt x="25220" y="59579"/>
                  </a:lnTo>
                  <a:lnTo>
                    <a:pt x="22750" y="60402"/>
                  </a:lnTo>
                  <a:lnTo>
                    <a:pt x="21268" y="59579"/>
                  </a:lnTo>
                  <a:lnTo>
                    <a:pt x="16686" y="60182"/>
                  </a:lnTo>
                  <a:lnTo>
                    <a:pt x="14079" y="61116"/>
                  </a:lnTo>
                  <a:lnTo>
                    <a:pt x="10456" y="63503"/>
                  </a:lnTo>
                  <a:lnTo>
                    <a:pt x="6587" y="67592"/>
                  </a:lnTo>
                  <a:lnTo>
                    <a:pt x="5324" y="67647"/>
                  </a:lnTo>
                  <a:lnTo>
                    <a:pt x="3293" y="57026"/>
                  </a:lnTo>
                  <a:lnTo>
                    <a:pt x="1071" y="51511"/>
                  </a:lnTo>
                  <a:lnTo>
                    <a:pt x="275" y="47339"/>
                  </a:lnTo>
                  <a:lnTo>
                    <a:pt x="0" y="42674"/>
                  </a:lnTo>
                  <a:lnTo>
                    <a:pt x="1784" y="39655"/>
                  </a:lnTo>
                  <a:lnTo>
                    <a:pt x="3733" y="37816"/>
                  </a:lnTo>
                  <a:lnTo>
                    <a:pt x="6642" y="33673"/>
                  </a:lnTo>
                  <a:lnTo>
                    <a:pt x="7657" y="33508"/>
                  </a:lnTo>
                  <a:lnTo>
                    <a:pt x="8068" y="29144"/>
                  </a:lnTo>
                  <a:lnTo>
                    <a:pt x="11115" y="26894"/>
                  </a:lnTo>
                  <a:lnTo>
                    <a:pt x="14079" y="25824"/>
                  </a:lnTo>
                  <a:lnTo>
                    <a:pt x="16328" y="23930"/>
                  </a:lnTo>
                  <a:lnTo>
                    <a:pt x="18524" y="20006"/>
                  </a:lnTo>
                  <a:lnTo>
                    <a:pt x="20472" y="18332"/>
                  </a:lnTo>
                  <a:lnTo>
                    <a:pt x="24534" y="11938"/>
                  </a:lnTo>
                  <a:lnTo>
                    <a:pt x="29584" y="8233"/>
                  </a:lnTo>
                  <a:lnTo>
                    <a:pt x="32877" y="8343"/>
                  </a:lnTo>
                  <a:lnTo>
                    <a:pt x="33261" y="55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7" name="Freeform: Shape 4316">
              <a:extLst>
                <a:ext uri="{FF2B5EF4-FFF2-40B4-BE49-F238E27FC236}">
                  <a16:creationId xmlns:a16="http://schemas.microsoft.com/office/drawing/2014/main" id="{FAC57A54-CC22-0DD7-4AC0-AFD87DB17090}"/>
                </a:ext>
              </a:extLst>
            </p:cNvPr>
            <p:cNvSpPr/>
            <p:nvPr/>
          </p:nvSpPr>
          <p:spPr>
            <a:xfrm>
              <a:off x="1841500" y="3663105"/>
              <a:ext cx="2962" cy="3595"/>
            </a:xfrm>
            <a:custGeom>
              <a:avLst/>
              <a:gdLst>
                <a:gd name="connsiteX0" fmla="*/ 24068 w 28403"/>
                <a:gd name="connsiteY0" fmla="*/ 17289 h 34468"/>
                <a:gd name="connsiteX1" fmla="*/ 20143 w 28403"/>
                <a:gd name="connsiteY1" fmla="*/ 24205 h 34468"/>
                <a:gd name="connsiteX2" fmla="*/ 16521 w 28403"/>
                <a:gd name="connsiteY2" fmla="*/ 27251 h 34468"/>
                <a:gd name="connsiteX3" fmla="*/ 12130 w 28403"/>
                <a:gd name="connsiteY3" fmla="*/ 27004 h 34468"/>
                <a:gd name="connsiteX4" fmla="*/ 7684 w 28403"/>
                <a:gd name="connsiteY4" fmla="*/ 30791 h 34468"/>
                <a:gd name="connsiteX5" fmla="*/ 6422 w 28403"/>
                <a:gd name="connsiteY5" fmla="*/ 34469 h 34468"/>
                <a:gd name="connsiteX6" fmla="*/ 3211 w 28403"/>
                <a:gd name="connsiteY6" fmla="*/ 32740 h 34468"/>
                <a:gd name="connsiteX7" fmla="*/ 247 w 28403"/>
                <a:gd name="connsiteY7" fmla="*/ 32300 h 34468"/>
                <a:gd name="connsiteX8" fmla="*/ 1702 w 28403"/>
                <a:gd name="connsiteY8" fmla="*/ 28513 h 34468"/>
                <a:gd name="connsiteX9" fmla="*/ 1619 w 28403"/>
                <a:gd name="connsiteY9" fmla="*/ 25796 h 34468"/>
                <a:gd name="connsiteX10" fmla="*/ 0 w 28403"/>
                <a:gd name="connsiteY10" fmla="*/ 22750 h 34468"/>
                <a:gd name="connsiteX11" fmla="*/ 988 w 28403"/>
                <a:gd name="connsiteY11" fmla="*/ 21488 h 34468"/>
                <a:gd name="connsiteX12" fmla="*/ 4912 w 28403"/>
                <a:gd name="connsiteY12" fmla="*/ 22092 h 34468"/>
                <a:gd name="connsiteX13" fmla="*/ 6147 w 28403"/>
                <a:gd name="connsiteY13" fmla="*/ 19512 h 34468"/>
                <a:gd name="connsiteX14" fmla="*/ 12706 w 28403"/>
                <a:gd name="connsiteY14" fmla="*/ 18277 h 34468"/>
                <a:gd name="connsiteX15" fmla="*/ 15588 w 28403"/>
                <a:gd name="connsiteY15" fmla="*/ 15341 h 34468"/>
                <a:gd name="connsiteX16" fmla="*/ 18497 w 28403"/>
                <a:gd name="connsiteY16" fmla="*/ 9633 h 34468"/>
                <a:gd name="connsiteX17" fmla="*/ 19073 w 28403"/>
                <a:gd name="connsiteY17" fmla="*/ 5900 h 34468"/>
                <a:gd name="connsiteX18" fmla="*/ 22778 w 28403"/>
                <a:gd name="connsiteY18" fmla="*/ 1180 h 34468"/>
                <a:gd name="connsiteX19" fmla="*/ 24754 w 28403"/>
                <a:gd name="connsiteY19" fmla="*/ 0 h 34468"/>
                <a:gd name="connsiteX20" fmla="*/ 27663 w 28403"/>
                <a:gd name="connsiteY20" fmla="*/ 796 h 34468"/>
                <a:gd name="connsiteX21" fmla="*/ 27004 w 28403"/>
                <a:gd name="connsiteY21" fmla="*/ 5077 h 34468"/>
                <a:gd name="connsiteX22" fmla="*/ 28404 w 28403"/>
                <a:gd name="connsiteY22" fmla="*/ 7986 h 34468"/>
                <a:gd name="connsiteX23" fmla="*/ 28294 w 28403"/>
                <a:gd name="connsiteY23" fmla="*/ 12048 h 34468"/>
                <a:gd name="connsiteX24" fmla="*/ 24973 w 28403"/>
                <a:gd name="connsiteY24" fmla="*/ 13667 h 34468"/>
                <a:gd name="connsiteX25" fmla="*/ 24122 w 28403"/>
                <a:gd name="connsiteY25" fmla="*/ 17262 h 3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403" h="34468">
                  <a:moveTo>
                    <a:pt x="24068" y="17289"/>
                  </a:moveTo>
                  <a:lnTo>
                    <a:pt x="20143" y="24205"/>
                  </a:lnTo>
                  <a:lnTo>
                    <a:pt x="16521" y="27251"/>
                  </a:lnTo>
                  <a:lnTo>
                    <a:pt x="12130" y="27004"/>
                  </a:lnTo>
                  <a:lnTo>
                    <a:pt x="7684" y="30791"/>
                  </a:lnTo>
                  <a:lnTo>
                    <a:pt x="6422" y="34469"/>
                  </a:lnTo>
                  <a:lnTo>
                    <a:pt x="3211" y="32740"/>
                  </a:lnTo>
                  <a:lnTo>
                    <a:pt x="247" y="32300"/>
                  </a:lnTo>
                  <a:lnTo>
                    <a:pt x="1702" y="28513"/>
                  </a:lnTo>
                  <a:lnTo>
                    <a:pt x="1619" y="25796"/>
                  </a:lnTo>
                  <a:lnTo>
                    <a:pt x="0" y="22750"/>
                  </a:lnTo>
                  <a:lnTo>
                    <a:pt x="988" y="21488"/>
                  </a:lnTo>
                  <a:lnTo>
                    <a:pt x="4912" y="22092"/>
                  </a:lnTo>
                  <a:lnTo>
                    <a:pt x="6147" y="19512"/>
                  </a:lnTo>
                  <a:lnTo>
                    <a:pt x="12706" y="18277"/>
                  </a:lnTo>
                  <a:lnTo>
                    <a:pt x="15588" y="15341"/>
                  </a:lnTo>
                  <a:lnTo>
                    <a:pt x="18497" y="9633"/>
                  </a:lnTo>
                  <a:lnTo>
                    <a:pt x="19073" y="5900"/>
                  </a:lnTo>
                  <a:lnTo>
                    <a:pt x="22778" y="1180"/>
                  </a:lnTo>
                  <a:lnTo>
                    <a:pt x="24754" y="0"/>
                  </a:lnTo>
                  <a:lnTo>
                    <a:pt x="27663" y="796"/>
                  </a:lnTo>
                  <a:lnTo>
                    <a:pt x="27004" y="5077"/>
                  </a:lnTo>
                  <a:lnTo>
                    <a:pt x="28404" y="7986"/>
                  </a:lnTo>
                  <a:lnTo>
                    <a:pt x="28294" y="12048"/>
                  </a:lnTo>
                  <a:lnTo>
                    <a:pt x="24973" y="13667"/>
                  </a:lnTo>
                  <a:lnTo>
                    <a:pt x="24122" y="172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8" name="Freeform: Shape 4317">
              <a:extLst>
                <a:ext uri="{FF2B5EF4-FFF2-40B4-BE49-F238E27FC236}">
                  <a16:creationId xmlns:a16="http://schemas.microsoft.com/office/drawing/2014/main" id="{42BDB1A5-17F7-C82B-EFB0-CBF04ADC52F6}"/>
                </a:ext>
              </a:extLst>
            </p:cNvPr>
            <p:cNvSpPr/>
            <p:nvPr/>
          </p:nvSpPr>
          <p:spPr>
            <a:xfrm>
              <a:off x="1867319" y="3617734"/>
              <a:ext cx="3409" cy="3741"/>
            </a:xfrm>
            <a:custGeom>
              <a:avLst/>
              <a:gdLst>
                <a:gd name="connsiteX0" fmla="*/ 16109 w 32684"/>
                <a:gd name="connsiteY0" fmla="*/ 23793 h 35867"/>
                <a:gd name="connsiteX1" fmla="*/ 631 w 32684"/>
                <a:gd name="connsiteY1" fmla="*/ 35868 h 35867"/>
                <a:gd name="connsiteX2" fmla="*/ 0 w 32684"/>
                <a:gd name="connsiteY2" fmla="*/ 34880 h 35867"/>
                <a:gd name="connsiteX3" fmla="*/ 5489 w 32684"/>
                <a:gd name="connsiteY3" fmla="*/ 17728 h 35867"/>
                <a:gd name="connsiteX4" fmla="*/ 9852 w 32684"/>
                <a:gd name="connsiteY4" fmla="*/ 11197 h 35867"/>
                <a:gd name="connsiteX5" fmla="*/ 27333 w 32684"/>
                <a:gd name="connsiteY5" fmla="*/ 0 h 35867"/>
                <a:gd name="connsiteX6" fmla="*/ 32684 w 32684"/>
                <a:gd name="connsiteY6" fmla="*/ 10099 h 35867"/>
                <a:gd name="connsiteX7" fmla="*/ 30406 w 32684"/>
                <a:gd name="connsiteY7" fmla="*/ 19292 h 35867"/>
                <a:gd name="connsiteX8" fmla="*/ 16136 w 32684"/>
                <a:gd name="connsiteY8" fmla="*/ 23766 h 3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84" h="35867">
                  <a:moveTo>
                    <a:pt x="16109" y="23793"/>
                  </a:moveTo>
                  <a:lnTo>
                    <a:pt x="631" y="35868"/>
                  </a:lnTo>
                  <a:lnTo>
                    <a:pt x="0" y="34880"/>
                  </a:lnTo>
                  <a:lnTo>
                    <a:pt x="5489" y="17728"/>
                  </a:lnTo>
                  <a:lnTo>
                    <a:pt x="9852" y="11197"/>
                  </a:lnTo>
                  <a:lnTo>
                    <a:pt x="27333" y="0"/>
                  </a:lnTo>
                  <a:lnTo>
                    <a:pt x="32684" y="10099"/>
                  </a:lnTo>
                  <a:lnTo>
                    <a:pt x="30406" y="19292"/>
                  </a:lnTo>
                  <a:lnTo>
                    <a:pt x="16136" y="237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9" name="Freeform: Shape 4318">
              <a:extLst>
                <a:ext uri="{FF2B5EF4-FFF2-40B4-BE49-F238E27FC236}">
                  <a16:creationId xmlns:a16="http://schemas.microsoft.com/office/drawing/2014/main" id="{BCA2206C-073D-5DE3-CD65-BA26D6B3083B}"/>
                </a:ext>
              </a:extLst>
            </p:cNvPr>
            <p:cNvSpPr/>
            <p:nvPr/>
          </p:nvSpPr>
          <p:spPr>
            <a:xfrm>
              <a:off x="1823891" y="3684180"/>
              <a:ext cx="3103" cy="2874"/>
            </a:xfrm>
            <a:custGeom>
              <a:avLst/>
              <a:gdLst>
                <a:gd name="connsiteX0" fmla="*/ 6559 w 29748"/>
                <a:gd name="connsiteY0" fmla="*/ 25412 h 27552"/>
                <a:gd name="connsiteX1" fmla="*/ 2415 w 29748"/>
                <a:gd name="connsiteY1" fmla="*/ 27553 h 27552"/>
                <a:gd name="connsiteX2" fmla="*/ 0 w 29748"/>
                <a:gd name="connsiteY2" fmla="*/ 26510 h 27552"/>
                <a:gd name="connsiteX3" fmla="*/ 933 w 29748"/>
                <a:gd name="connsiteY3" fmla="*/ 23574 h 27552"/>
                <a:gd name="connsiteX4" fmla="*/ 2772 w 29748"/>
                <a:gd name="connsiteY4" fmla="*/ 22064 h 27552"/>
                <a:gd name="connsiteX5" fmla="*/ 4090 w 29748"/>
                <a:gd name="connsiteY5" fmla="*/ 18963 h 27552"/>
                <a:gd name="connsiteX6" fmla="*/ 6614 w 29748"/>
                <a:gd name="connsiteY6" fmla="*/ 15807 h 27552"/>
                <a:gd name="connsiteX7" fmla="*/ 10237 w 29748"/>
                <a:gd name="connsiteY7" fmla="*/ 15176 h 27552"/>
                <a:gd name="connsiteX8" fmla="*/ 12542 w 29748"/>
                <a:gd name="connsiteY8" fmla="*/ 11306 h 27552"/>
                <a:gd name="connsiteX9" fmla="*/ 17536 w 29748"/>
                <a:gd name="connsiteY9" fmla="*/ 5790 h 27552"/>
                <a:gd name="connsiteX10" fmla="*/ 21378 w 29748"/>
                <a:gd name="connsiteY10" fmla="*/ 5187 h 27552"/>
                <a:gd name="connsiteX11" fmla="*/ 21378 w 29748"/>
                <a:gd name="connsiteY11" fmla="*/ 2799 h 27552"/>
                <a:gd name="connsiteX12" fmla="*/ 26153 w 29748"/>
                <a:gd name="connsiteY12" fmla="*/ 0 h 27552"/>
                <a:gd name="connsiteX13" fmla="*/ 28404 w 29748"/>
                <a:gd name="connsiteY13" fmla="*/ 110 h 27552"/>
                <a:gd name="connsiteX14" fmla="*/ 29748 w 29748"/>
                <a:gd name="connsiteY14" fmla="*/ 2333 h 27552"/>
                <a:gd name="connsiteX15" fmla="*/ 22559 w 29748"/>
                <a:gd name="connsiteY15" fmla="*/ 8645 h 27552"/>
                <a:gd name="connsiteX16" fmla="*/ 21708 w 29748"/>
                <a:gd name="connsiteY16" fmla="*/ 11965 h 27552"/>
                <a:gd name="connsiteX17" fmla="*/ 16137 w 29748"/>
                <a:gd name="connsiteY17" fmla="*/ 17152 h 27552"/>
                <a:gd name="connsiteX18" fmla="*/ 12295 w 29748"/>
                <a:gd name="connsiteY18" fmla="*/ 18853 h 27552"/>
                <a:gd name="connsiteX19" fmla="*/ 6559 w 29748"/>
                <a:gd name="connsiteY19" fmla="*/ 25412 h 2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748" h="27552">
                  <a:moveTo>
                    <a:pt x="6559" y="25412"/>
                  </a:moveTo>
                  <a:lnTo>
                    <a:pt x="2415" y="27553"/>
                  </a:lnTo>
                  <a:lnTo>
                    <a:pt x="0" y="26510"/>
                  </a:lnTo>
                  <a:lnTo>
                    <a:pt x="933" y="23574"/>
                  </a:lnTo>
                  <a:lnTo>
                    <a:pt x="2772" y="22064"/>
                  </a:lnTo>
                  <a:lnTo>
                    <a:pt x="4090" y="18963"/>
                  </a:lnTo>
                  <a:lnTo>
                    <a:pt x="6614" y="15807"/>
                  </a:lnTo>
                  <a:lnTo>
                    <a:pt x="10237" y="15176"/>
                  </a:lnTo>
                  <a:lnTo>
                    <a:pt x="12542" y="11306"/>
                  </a:lnTo>
                  <a:lnTo>
                    <a:pt x="17536" y="5790"/>
                  </a:lnTo>
                  <a:lnTo>
                    <a:pt x="21378" y="5187"/>
                  </a:lnTo>
                  <a:lnTo>
                    <a:pt x="21378" y="2799"/>
                  </a:lnTo>
                  <a:cubicBezTo>
                    <a:pt x="21378" y="2799"/>
                    <a:pt x="26153" y="0"/>
                    <a:pt x="26153" y="0"/>
                  </a:cubicBezTo>
                  <a:lnTo>
                    <a:pt x="28404" y="110"/>
                  </a:lnTo>
                  <a:lnTo>
                    <a:pt x="29748" y="2333"/>
                  </a:lnTo>
                  <a:lnTo>
                    <a:pt x="22559" y="8645"/>
                  </a:lnTo>
                  <a:lnTo>
                    <a:pt x="21708" y="11965"/>
                  </a:lnTo>
                  <a:lnTo>
                    <a:pt x="16137" y="17152"/>
                  </a:lnTo>
                  <a:lnTo>
                    <a:pt x="12295" y="18853"/>
                  </a:lnTo>
                  <a:lnTo>
                    <a:pt x="6559" y="254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0" name="Freeform: Shape 4319">
              <a:extLst>
                <a:ext uri="{FF2B5EF4-FFF2-40B4-BE49-F238E27FC236}">
                  <a16:creationId xmlns:a16="http://schemas.microsoft.com/office/drawing/2014/main" id="{780F5377-BAE9-30D5-C4FE-C004116C0009}"/>
                </a:ext>
              </a:extLst>
            </p:cNvPr>
            <p:cNvSpPr/>
            <p:nvPr/>
          </p:nvSpPr>
          <p:spPr>
            <a:xfrm>
              <a:off x="1873939" y="3639554"/>
              <a:ext cx="2768" cy="3830"/>
            </a:xfrm>
            <a:custGeom>
              <a:avLst/>
              <a:gdLst>
                <a:gd name="connsiteX0" fmla="*/ 12898 w 26537"/>
                <a:gd name="connsiteY0" fmla="*/ 10044 h 36718"/>
                <a:gd name="connsiteX1" fmla="*/ 14682 w 26537"/>
                <a:gd name="connsiteY1" fmla="*/ 13859 h 36718"/>
                <a:gd name="connsiteX2" fmla="*/ 16411 w 26537"/>
                <a:gd name="connsiteY2" fmla="*/ 15176 h 36718"/>
                <a:gd name="connsiteX3" fmla="*/ 19347 w 26537"/>
                <a:gd name="connsiteY3" fmla="*/ 22119 h 36718"/>
                <a:gd name="connsiteX4" fmla="*/ 25769 w 26537"/>
                <a:gd name="connsiteY4" fmla="*/ 28129 h 36718"/>
                <a:gd name="connsiteX5" fmla="*/ 26537 w 26537"/>
                <a:gd name="connsiteY5" fmla="*/ 33590 h 36718"/>
                <a:gd name="connsiteX6" fmla="*/ 26208 w 26537"/>
                <a:gd name="connsiteY6" fmla="*/ 36719 h 36718"/>
                <a:gd name="connsiteX7" fmla="*/ 23299 w 26537"/>
                <a:gd name="connsiteY7" fmla="*/ 34331 h 36718"/>
                <a:gd name="connsiteX8" fmla="*/ 20720 w 26537"/>
                <a:gd name="connsiteY8" fmla="*/ 29446 h 36718"/>
                <a:gd name="connsiteX9" fmla="*/ 17509 w 26537"/>
                <a:gd name="connsiteY9" fmla="*/ 29172 h 36718"/>
                <a:gd name="connsiteX10" fmla="*/ 11389 w 26537"/>
                <a:gd name="connsiteY10" fmla="*/ 22229 h 36718"/>
                <a:gd name="connsiteX11" fmla="*/ 10648 w 26537"/>
                <a:gd name="connsiteY11" fmla="*/ 19237 h 36718"/>
                <a:gd name="connsiteX12" fmla="*/ 8205 w 26537"/>
                <a:gd name="connsiteY12" fmla="*/ 16136 h 36718"/>
                <a:gd name="connsiteX13" fmla="*/ 8398 w 26537"/>
                <a:gd name="connsiteY13" fmla="*/ 13557 h 36718"/>
                <a:gd name="connsiteX14" fmla="*/ 4364 w 26537"/>
                <a:gd name="connsiteY14" fmla="*/ 7519 h 36718"/>
                <a:gd name="connsiteX15" fmla="*/ 0 w 26537"/>
                <a:gd name="connsiteY15" fmla="*/ 4062 h 36718"/>
                <a:gd name="connsiteX16" fmla="*/ 3623 w 26537"/>
                <a:gd name="connsiteY16" fmla="*/ 0 h 36718"/>
                <a:gd name="connsiteX17" fmla="*/ 12926 w 26537"/>
                <a:gd name="connsiteY17" fmla="*/ 2799 h 36718"/>
                <a:gd name="connsiteX18" fmla="*/ 12926 w 26537"/>
                <a:gd name="connsiteY18" fmla="*/ 10044 h 3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537" h="36718">
                  <a:moveTo>
                    <a:pt x="12898" y="10044"/>
                  </a:moveTo>
                  <a:lnTo>
                    <a:pt x="14682" y="13859"/>
                  </a:lnTo>
                  <a:lnTo>
                    <a:pt x="16411" y="15176"/>
                  </a:lnTo>
                  <a:lnTo>
                    <a:pt x="19347" y="22119"/>
                  </a:lnTo>
                  <a:lnTo>
                    <a:pt x="25769" y="28129"/>
                  </a:lnTo>
                  <a:lnTo>
                    <a:pt x="26537" y="33590"/>
                  </a:lnTo>
                  <a:lnTo>
                    <a:pt x="26208" y="36719"/>
                  </a:lnTo>
                  <a:lnTo>
                    <a:pt x="23299" y="34331"/>
                  </a:lnTo>
                  <a:lnTo>
                    <a:pt x="20720" y="29446"/>
                  </a:lnTo>
                  <a:lnTo>
                    <a:pt x="17509" y="29172"/>
                  </a:lnTo>
                  <a:lnTo>
                    <a:pt x="11389" y="22229"/>
                  </a:lnTo>
                  <a:lnTo>
                    <a:pt x="10648" y="19237"/>
                  </a:lnTo>
                  <a:lnTo>
                    <a:pt x="8205" y="16136"/>
                  </a:lnTo>
                  <a:lnTo>
                    <a:pt x="8398" y="13557"/>
                  </a:lnTo>
                  <a:lnTo>
                    <a:pt x="4364" y="7519"/>
                  </a:lnTo>
                  <a:lnTo>
                    <a:pt x="0" y="4062"/>
                  </a:lnTo>
                  <a:lnTo>
                    <a:pt x="3623" y="0"/>
                  </a:lnTo>
                  <a:lnTo>
                    <a:pt x="12926" y="2799"/>
                  </a:lnTo>
                  <a:lnTo>
                    <a:pt x="12926" y="100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1" name="Freeform: Shape 4320">
              <a:extLst>
                <a:ext uri="{FF2B5EF4-FFF2-40B4-BE49-F238E27FC236}">
                  <a16:creationId xmlns:a16="http://schemas.microsoft.com/office/drawing/2014/main" id="{4EB0B09E-68DB-1911-5692-312E2109F8F9}"/>
                </a:ext>
              </a:extLst>
            </p:cNvPr>
            <p:cNvSpPr/>
            <p:nvPr/>
          </p:nvSpPr>
          <p:spPr>
            <a:xfrm>
              <a:off x="1786544" y="3640576"/>
              <a:ext cx="2722" cy="2965"/>
            </a:xfrm>
            <a:custGeom>
              <a:avLst/>
              <a:gdLst>
                <a:gd name="connsiteX0" fmla="*/ 21543 w 26098"/>
                <a:gd name="connsiteY0" fmla="*/ 13612 h 28430"/>
                <a:gd name="connsiteX1" fmla="*/ 20446 w 26098"/>
                <a:gd name="connsiteY1" fmla="*/ 20527 h 28430"/>
                <a:gd name="connsiteX2" fmla="*/ 12432 w 26098"/>
                <a:gd name="connsiteY2" fmla="*/ 28431 h 28430"/>
                <a:gd name="connsiteX3" fmla="*/ 5653 w 26098"/>
                <a:gd name="connsiteY3" fmla="*/ 17783 h 28430"/>
                <a:gd name="connsiteX4" fmla="*/ 0 w 26098"/>
                <a:gd name="connsiteY4" fmla="*/ 20500 h 28430"/>
                <a:gd name="connsiteX5" fmla="*/ 878 w 26098"/>
                <a:gd name="connsiteY5" fmla="*/ 14902 h 28430"/>
                <a:gd name="connsiteX6" fmla="*/ 6449 w 26098"/>
                <a:gd name="connsiteY6" fmla="*/ 5818 h 28430"/>
                <a:gd name="connsiteX7" fmla="*/ 7904 w 26098"/>
                <a:gd name="connsiteY7" fmla="*/ 1180 h 28430"/>
                <a:gd name="connsiteX8" fmla="*/ 9825 w 26098"/>
                <a:gd name="connsiteY8" fmla="*/ 0 h 28430"/>
                <a:gd name="connsiteX9" fmla="*/ 18936 w 26098"/>
                <a:gd name="connsiteY9" fmla="*/ 3046 h 28430"/>
                <a:gd name="connsiteX10" fmla="*/ 21187 w 26098"/>
                <a:gd name="connsiteY10" fmla="*/ 5818 h 28430"/>
                <a:gd name="connsiteX11" fmla="*/ 26098 w 26098"/>
                <a:gd name="connsiteY11" fmla="*/ 9166 h 28430"/>
                <a:gd name="connsiteX12" fmla="*/ 21570 w 26098"/>
                <a:gd name="connsiteY12" fmla="*/ 13612 h 2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098" h="28430">
                  <a:moveTo>
                    <a:pt x="21543" y="13612"/>
                  </a:moveTo>
                  <a:lnTo>
                    <a:pt x="20446" y="20527"/>
                  </a:lnTo>
                  <a:lnTo>
                    <a:pt x="12432" y="28431"/>
                  </a:lnTo>
                  <a:lnTo>
                    <a:pt x="5653" y="17783"/>
                  </a:lnTo>
                  <a:lnTo>
                    <a:pt x="0" y="20500"/>
                  </a:lnTo>
                  <a:lnTo>
                    <a:pt x="878" y="14902"/>
                  </a:lnTo>
                  <a:lnTo>
                    <a:pt x="6449" y="5818"/>
                  </a:lnTo>
                  <a:lnTo>
                    <a:pt x="7904" y="1180"/>
                  </a:lnTo>
                  <a:lnTo>
                    <a:pt x="9825" y="0"/>
                  </a:lnTo>
                  <a:lnTo>
                    <a:pt x="18936" y="3046"/>
                  </a:lnTo>
                  <a:lnTo>
                    <a:pt x="21187" y="5818"/>
                  </a:lnTo>
                  <a:lnTo>
                    <a:pt x="26098" y="9166"/>
                  </a:lnTo>
                  <a:lnTo>
                    <a:pt x="21570" y="136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2" name="Freeform: Shape 4321">
              <a:extLst>
                <a:ext uri="{FF2B5EF4-FFF2-40B4-BE49-F238E27FC236}">
                  <a16:creationId xmlns:a16="http://schemas.microsoft.com/office/drawing/2014/main" id="{4500A266-E9F8-475F-FECB-1662AB9BDB52}"/>
                </a:ext>
              </a:extLst>
            </p:cNvPr>
            <p:cNvSpPr/>
            <p:nvPr/>
          </p:nvSpPr>
          <p:spPr>
            <a:xfrm>
              <a:off x="1535726" y="3389429"/>
              <a:ext cx="5939" cy="5023"/>
            </a:xfrm>
            <a:custGeom>
              <a:avLst/>
              <a:gdLst>
                <a:gd name="connsiteX0" fmla="*/ 27855 w 56944"/>
                <a:gd name="connsiteY0" fmla="*/ 2854 h 48162"/>
                <a:gd name="connsiteX1" fmla="*/ 33069 w 56944"/>
                <a:gd name="connsiteY1" fmla="*/ 0 h 48162"/>
                <a:gd name="connsiteX2" fmla="*/ 47834 w 56944"/>
                <a:gd name="connsiteY2" fmla="*/ 6998 h 48162"/>
                <a:gd name="connsiteX3" fmla="*/ 51511 w 56944"/>
                <a:gd name="connsiteY3" fmla="*/ 11691 h 48162"/>
                <a:gd name="connsiteX4" fmla="*/ 55737 w 56944"/>
                <a:gd name="connsiteY4" fmla="*/ 11691 h 48162"/>
                <a:gd name="connsiteX5" fmla="*/ 56944 w 56944"/>
                <a:gd name="connsiteY5" fmla="*/ 25193 h 48162"/>
                <a:gd name="connsiteX6" fmla="*/ 26318 w 56944"/>
                <a:gd name="connsiteY6" fmla="*/ 48162 h 48162"/>
                <a:gd name="connsiteX7" fmla="*/ 22257 w 56944"/>
                <a:gd name="connsiteY7" fmla="*/ 39436 h 48162"/>
                <a:gd name="connsiteX8" fmla="*/ 3842 w 56944"/>
                <a:gd name="connsiteY8" fmla="*/ 40670 h 48162"/>
                <a:gd name="connsiteX9" fmla="*/ 0 w 56944"/>
                <a:gd name="connsiteY9" fmla="*/ 24507 h 48162"/>
                <a:gd name="connsiteX10" fmla="*/ 4967 w 56944"/>
                <a:gd name="connsiteY10" fmla="*/ 11663 h 48162"/>
                <a:gd name="connsiteX11" fmla="*/ 7629 w 56944"/>
                <a:gd name="connsiteY11" fmla="*/ 19622 h 48162"/>
                <a:gd name="connsiteX12" fmla="*/ 27389 w 56944"/>
                <a:gd name="connsiteY12" fmla="*/ 29282 h 48162"/>
                <a:gd name="connsiteX13" fmla="*/ 28514 w 56944"/>
                <a:gd name="connsiteY13" fmla="*/ 26839 h 48162"/>
                <a:gd name="connsiteX14" fmla="*/ 27882 w 56944"/>
                <a:gd name="connsiteY14" fmla="*/ 2854 h 4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944" h="48162">
                  <a:moveTo>
                    <a:pt x="27855" y="2854"/>
                  </a:moveTo>
                  <a:lnTo>
                    <a:pt x="33069" y="0"/>
                  </a:lnTo>
                  <a:lnTo>
                    <a:pt x="47834" y="6998"/>
                  </a:lnTo>
                  <a:lnTo>
                    <a:pt x="51511" y="11691"/>
                  </a:lnTo>
                  <a:lnTo>
                    <a:pt x="55737" y="11691"/>
                  </a:lnTo>
                  <a:lnTo>
                    <a:pt x="56944" y="25193"/>
                  </a:lnTo>
                  <a:lnTo>
                    <a:pt x="26318" y="48162"/>
                  </a:lnTo>
                  <a:lnTo>
                    <a:pt x="22257" y="39436"/>
                  </a:lnTo>
                  <a:lnTo>
                    <a:pt x="3842" y="40670"/>
                  </a:lnTo>
                  <a:lnTo>
                    <a:pt x="0" y="24507"/>
                  </a:lnTo>
                  <a:lnTo>
                    <a:pt x="4967" y="11663"/>
                  </a:lnTo>
                  <a:lnTo>
                    <a:pt x="7629" y="19622"/>
                  </a:lnTo>
                  <a:lnTo>
                    <a:pt x="27389" y="29282"/>
                  </a:lnTo>
                  <a:lnTo>
                    <a:pt x="28514" y="26839"/>
                  </a:lnTo>
                  <a:lnTo>
                    <a:pt x="27882"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9" name="Freeform: Shape 4328">
              <a:extLst>
                <a:ext uri="{FF2B5EF4-FFF2-40B4-BE49-F238E27FC236}">
                  <a16:creationId xmlns:a16="http://schemas.microsoft.com/office/drawing/2014/main" id="{8D05ACC1-B3A6-EB9B-878E-8BFA98E1E8BF}"/>
                </a:ext>
              </a:extLst>
            </p:cNvPr>
            <p:cNvSpPr/>
            <p:nvPr/>
          </p:nvSpPr>
          <p:spPr>
            <a:xfrm>
              <a:off x="1795511" y="3496512"/>
              <a:ext cx="2719" cy="4079"/>
            </a:xfrm>
            <a:custGeom>
              <a:avLst/>
              <a:gdLst>
                <a:gd name="connsiteX0" fmla="*/ 24287 w 26070"/>
                <a:gd name="connsiteY0" fmla="*/ 29254 h 39106"/>
                <a:gd name="connsiteX1" fmla="*/ 10071 w 26070"/>
                <a:gd name="connsiteY1" fmla="*/ 39106 h 39106"/>
                <a:gd name="connsiteX2" fmla="*/ 5955 w 26070"/>
                <a:gd name="connsiteY2" fmla="*/ 36033 h 39106"/>
                <a:gd name="connsiteX3" fmla="*/ 2909 w 26070"/>
                <a:gd name="connsiteY3" fmla="*/ 29282 h 39106"/>
                <a:gd name="connsiteX4" fmla="*/ 0 w 26070"/>
                <a:gd name="connsiteY4" fmla="*/ 19484 h 39106"/>
                <a:gd name="connsiteX5" fmla="*/ 1427 w 26070"/>
                <a:gd name="connsiteY5" fmla="*/ 5873 h 39106"/>
                <a:gd name="connsiteX6" fmla="*/ 18113 w 26070"/>
                <a:gd name="connsiteY6" fmla="*/ 0 h 39106"/>
                <a:gd name="connsiteX7" fmla="*/ 26071 w 26070"/>
                <a:gd name="connsiteY7" fmla="*/ 6257 h 39106"/>
                <a:gd name="connsiteX8" fmla="*/ 24260 w 26070"/>
                <a:gd name="connsiteY8" fmla="*/ 29282 h 39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70" h="39106">
                  <a:moveTo>
                    <a:pt x="24287" y="29254"/>
                  </a:moveTo>
                  <a:lnTo>
                    <a:pt x="10071" y="39106"/>
                  </a:lnTo>
                  <a:lnTo>
                    <a:pt x="5955" y="36033"/>
                  </a:lnTo>
                  <a:lnTo>
                    <a:pt x="2909" y="29282"/>
                  </a:lnTo>
                  <a:lnTo>
                    <a:pt x="0" y="19484"/>
                  </a:lnTo>
                  <a:lnTo>
                    <a:pt x="1427" y="5873"/>
                  </a:lnTo>
                  <a:lnTo>
                    <a:pt x="18113" y="0"/>
                  </a:lnTo>
                  <a:lnTo>
                    <a:pt x="26071" y="6257"/>
                  </a:lnTo>
                  <a:lnTo>
                    <a:pt x="24260" y="292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1" name="Freeform: Shape 4330">
              <a:extLst>
                <a:ext uri="{FF2B5EF4-FFF2-40B4-BE49-F238E27FC236}">
                  <a16:creationId xmlns:a16="http://schemas.microsoft.com/office/drawing/2014/main" id="{9324EFFF-ECA0-2EAA-5E85-6428A1E50D8D}"/>
                </a:ext>
              </a:extLst>
            </p:cNvPr>
            <p:cNvSpPr/>
            <p:nvPr/>
          </p:nvSpPr>
          <p:spPr>
            <a:xfrm>
              <a:off x="1539957" y="3386486"/>
              <a:ext cx="4645" cy="3715"/>
            </a:xfrm>
            <a:custGeom>
              <a:avLst/>
              <a:gdLst>
                <a:gd name="connsiteX0" fmla="*/ 44540 w 44539"/>
                <a:gd name="connsiteY0" fmla="*/ 28376 h 35620"/>
                <a:gd name="connsiteX1" fmla="*/ 35347 w 44539"/>
                <a:gd name="connsiteY1" fmla="*/ 35621 h 35620"/>
                <a:gd name="connsiteX2" fmla="*/ 6998 w 44539"/>
                <a:gd name="connsiteY2" fmla="*/ 22284 h 35620"/>
                <a:gd name="connsiteX3" fmla="*/ 467 w 44539"/>
                <a:gd name="connsiteY3" fmla="*/ 17728 h 35620"/>
                <a:gd name="connsiteX4" fmla="*/ 0 w 44539"/>
                <a:gd name="connsiteY4" fmla="*/ 13721 h 35620"/>
                <a:gd name="connsiteX5" fmla="*/ 2333 w 44539"/>
                <a:gd name="connsiteY5" fmla="*/ 3485 h 35620"/>
                <a:gd name="connsiteX6" fmla="*/ 26346 w 44539"/>
                <a:gd name="connsiteY6" fmla="*/ 0 h 35620"/>
                <a:gd name="connsiteX7" fmla="*/ 44540 w 44539"/>
                <a:gd name="connsiteY7" fmla="*/ 21323 h 35620"/>
                <a:gd name="connsiteX8" fmla="*/ 44540 w 44539"/>
                <a:gd name="connsiteY8" fmla="*/ 28376 h 3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539" h="35620">
                  <a:moveTo>
                    <a:pt x="44540" y="28376"/>
                  </a:moveTo>
                  <a:lnTo>
                    <a:pt x="35347" y="35621"/>
                  </a:lnTo>
                  <a:lnTo>
                    <a:pt x="6998" y="22284"/>
                  </a:lnTo>
                  <a:lnTo>
                    <a:pt x="467" y="17728"/>
                  </a:lnTo>
                  <a:lnTo>
                    <a:pt x="0" y="13721"/>
                  </a:lnTo>
                  <a:lnTo>
                    <a:pt x="2333" y="3485"/>
                  </a:lnTo>
                  <a:lnTo>
                    <a:pt x="26346" y="0"/>
                  </a:lnTo>
                  <a:lnTo>
                    <a:pt x="44540" y="21323"/>
                  </a:lnTo>
                  <a:lnTo>
                    <a:pt x="44540" y="283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2" name="Freeform: Shape 4331">
              <a:extLst>
                <a:ext uri="{FF2B5EF4-FFF2-40B4-BE49-F238E27FC236}">
                  <a16:creationId xmlns:a16="http://schemas.microsoft.com/office/drawing/2014/main" id="{80725506-8F2A-08CE-3229-64DECC691ED0}"/>
                </a:ext>
              </a:extLst>
            </p:cNvPr>
            <p:cNvSpPr/>
            <p:nvPr/>
          </p:nvSpPr>
          <p:spPr>
            <a:xfrm>
              <a:off x="1781148" y="3478113"/>
              <a:ext cx="1863" cy="5496"/>
            </a:xfrm>
            <a:custGeom>
              <a:avLst/>
              <a:gdLst>
                <a:gd name="connsiteX0" fmla="*/ 9495 w 17865"/>
                <a:gd name="connsiteY0" fmla="*/ 52526 h 52690"/>
                <a:gd name="connsiteX1" fmla="*/ 1784 w 17865"/>
                <a:gd name="connsiteY1" fmla="*/ 52690 h 52690"/>
                <a:gd name="connsiteX2" fmla="*/ 0 w 17865"/>
                <a:gd name="connsiteY2" fmla="*/ 46351 h 52690"/>
                <a:gd name="connsiteX3" fmla="*/ 3073 w 17865"/>
                <a:gd name="connsiteY3" fmla="*/ 32355 h 52690"/>
                <a:gd name="connsiteX4" fmla="*/ 4967 w 17865"/>
                <a:gd name="connsiteY4" fmla="*/ 3403 h 52690"/>
                <a:gd name="connsiteX5" fmla="*/ 7135 w 17865"/>
                <a:gd name="connsiteY5" fmla="*/ 0 h 52690"/>
                <a:gd name="connsiteX6" fmla="*/ 9440 w 17865"/>
                <a:gd name="connsiteY6" fmla="*/ 7766 h 52690"/>
                <a:gd name="connsiteX7" fmla="*/ 17865 w 17865"/>
                <a:gd name="connsiteY7" fmla="*/ 23025 h 52690"/>
                <a:gd name="connsiteX8" fmla="*/ 17865 w 17865"/>
                <a:gd name="connsiteY8" fmla="*/ 27059 h 52690"/>
                <a:gd name="connsiteX9" fmla="*/ 13557 w 17865"/>
                <a:gd name="connsiteY9" fmla="*/ 38859 h 52690"/>
                <a:gd name="connsiteX10" fmla="*/ 13886 w 17865"/>
                <a:gd name="connsiteY10" fmla="*/ 46598 h 52690"/>
                <a:gd name="connsiteX11" fmla="*/ 9440 w 17865"/>
                <a:gd name="connsiteY11" fmla="*/ 52526 h 5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865" h="52690">
                  <a:moveTo>
                    <a:pt x="9495" y="52526"/>
                  </a:moveTo>
                  <a:lnTo>
                    <a:pt x="1784" y="52690"/>
                  </a:lnTo>
                  <a:lnTo>
                    <a:pt x="0" y="46351"/>
                  </a:lnTo>
                  <a:lnTo>
                    <a:pt x="3073" y="32355"/>
                  </a:lnTo>
                  <a:lnTo>
                    <a:pt x="4967" y="3403"/>
                  </a:lnTo>
                  <a:lnTo>
                    <a:pt x="7135" y="0"/>
                  </a:lnTo>
                  <a:lnTo>
                    <a:pt x="9440" y="7766"/>
                  </a:lnTo>
                  <a:lnTo>
                    <a:pt x="17865" y="23025"/>
                  </a:lnTo>
                  <a:lnTo>
                    <a:pt x="17865" y="27059"/>
                  </a:lnTo>
                  <a:lnTo>
                    <a:pt x="13557" y="38859"/>
                  </a:lnTo>
                  <a:lnTo>
                    <a:pt x="13886" y="46598"/>
                  </a:lnTo>
                  <a:lnTo>
                    <a:pt x="9440" y="525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4" name="Freeform: Shape 4333">
              <a:extLst>
                <a:ext uri="{FF2B5EF4-FFF2-40B4-BE49-F238E27FC236}">
                  <a16:creationId xmlns:a16="http://schemas.microsoft.com/office/drawing/2014/main" id="{8758DBED-CDDB-B1C6-3939-A4EE4E59C691}"/>
                </a:ext>
              </a:extLst>
            </p:cNvPr>
            <p:cNvSpPr/>
            <p:nvPr/>
          </p:nvSpPr>
          <p:spPr>
            <a:xfrm>
              <a:off x="1781071" y="3497204"/>
              <a:ext cx="2487" cy="3538"/>
            </a:xfrm>
            <a:custGeom>
              <a:avLst/>
              <a:gdLst>
                <a:gd name="connsiteX0" fmla="*/ 0 w 23847"/>
                <a:gd name="connsiteY0" fmla="*/ 3952 h 33919"/>
                <a:gd name="connsiteX1" fmla="*/ 0 w 23847"/>
                <a:gd name="connsiteY1" fmla="*/ 0 h 33919"/>
                <a:gd name="connsiteX2" fmla="*/ 4803 w 23847"/>
                <a:gd name="connsiteY2" fmla="*/ 357 h 33919"/>
                <a:gd name="connsiteX3" fmla="*/ 22311 w 23847"/>
                <a:gd name="connsiteY3" fmla="*/ 23244 h 33919"/>
                <a:gd name="connsiteX4" fmla="*/ 23848 w 23847"/>
                <a:gd name="connsiteY4" fmla="*/ 29007 h 33919"/>
                <a:gd name="connsiteX5" fmla="*/ 19621 w 23847"/>
                <a:gd name="connsiteY5" fmla="*/ 33919 h 33919"/>
                <a:gd name="connsiteX6" fmla="*/ 0 w 23847"/>
                <a:gd name="connsiteY6" fmla="*/ 3924 h 3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47" h="33919">
                  <a:moveTo>
                    <a:pt x="0" y="3952"/>
                  </a:moveTo>
                  <a:lnTo>
                    <a:pt x="0" y="0"/>
                  </a:lnTo>
                  <a:lnTo>
                    <a:pt x="4803" y="357"/>
                  </a:lnTo>
                  <a:lnTo>
                    <a:pt x="22311" y="23244"/>
                  </a:lnTo>
                  <a:lnTo>
                    <a:pt x="23848" y="29007"/>
                  </a:lnTo>
                  <a:lnTo>
                    <a:pt x="19621" y="33919"/>
                  </a:lnTo>
                  <a:lnTo>
                    <a:pt x="0" y="39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5" name="Freeform: Shape 4334">
              <a:extLst>
                <a:ext uri="{FF2B5EF4-FFF2-40B4-BE49-F238E27FC236}">
                  <a16:creationId xmlns:a16="http://schemas.microsoft.com/office/drawing/2014/main" id="{A9CADF01-6B39-F821-B4C0-DA6C4A81D22A}"/>
                </a:ext>
              </a:extLst>
            </p:cNvPr>
            <p:cNvSpPr/>
            <p:nvPr/>
          </p:nvSpPr>
          <p:spPr>
            <a:xfrm>
              <a:off x="1543286" y="3379978"/>
              <a:ext cx="4268" cy="3667"/>
            </a:xfrm>
            <a:custGeom>
              <a:avLst/>
              <a:gdLst>
                <a:gd name="connsiteX0" fmla="*/ 1152 w 40917"/>
                <a:gd name="connsiteY0" fmla="*/ 7794 h 35154"/>
                <a:gd name="connsiteX1" fmla="*/ 6531 w 40917"/>
                <a:gd name="connsiteY1" fmla="*/ 4995 h 35154"/>
                <a:gd name="connsiteX2" fmla="*/ 10730 w 40917"/>
                <a:gd name="connsiteY2" fmla="*/ 5955 h 35154"/>
                <a:gd name="connsiteX3" fmla="*/ 25330 w 40917"/>
                <a:gd name="connsiteY3" fmla="*/ 137 h 35154"/>
                <a:gd name="connsiteX4" fmla="*/ 32657 w 40917"/>
                <a:gd name="connsiteY4" fmla="*/ 0 h 35154"/>
                <a:gd name="connsiteX5" fmla="*/ 38173 w 40917"/>
                <a:gd name="connsiteY5" fmla="*/ 2195 h 35154"/>
                <a:gd name="connsiteX6" fmla="*/ 40917 w 40917"/>
                <a:gd name="connsiteY6" fmla="*/ 6888 h 35154"/>
                <a:gd name="connsiteX7" fmla="*/ 38996 w 40917"/>
                <a:gd name="connsiteY7" fmla="*/ 21378 h 35154"/>
                <a:gd name="connsiteX8" fmla="*/ 36828 w 40917"/>
                <a:gd name="connsiteY8" fmla="*/ 25522 h 35154"/>
                <a:gd name="connsiteX9" fmla="*/ 14490 w 40917"/>
                <a:gd name="connsiteY9" fmla="*/ 28678 h 35154"/>
                <a:gd name="connsiteX10" fmla="*/ 4555 w 40917"/>
                <a:gd name="connsiteY10" fmla="*/ 35154 h 35154"/>
                <a:gd name="connsiteX11" fmla="*/ 0 w 40917"/>
                <a:gd name="connsiteY11" fmla="*/ 27059 h 35154"/>
                <a:gd name="connsiteX12" fmla="*/ 1180 w 40917"/>
                <a:gd name="connsiteY12" fmla="*/ 7766 h 3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917" h="35154">
                  <a:moveTo>
                    <a:pt x="1152" y="7794"/>
                  </a:moveTo>
                  <a:lnTo>
                    <a:pt x="6531" y="4995"/>
                  </a:lnTo>
                  <a:lnTo>
                    <a:pt x="10730" y="5955"/>
                  </a:lnTo>
                  <a:lnTo>
                    <a:pt x="25330" y="137"/>
                  </a:lnTo>
                  <a:lnTo>
                    <a:pt x="32657" y="0"/>
                  </a:lnTo>
                  <a:lnTo>
                    <a:pt x="38173" y="2195"/>
                  </a:lnTo>
                  <a:lnTo>
                    <a:pt x="40917" y="6888"/>
                  </a:lnTo>
                  <a:lnTo>
                    <a:pt x="38996" y="21378"/>
                  </a:lnTo>
                  <a:lnTo>
                    <a:pt x="36828" y="25522"/>
                  </a:lnTo>
                  <a:lnTo>
                    <a:pt x="14490" y="28678"/>
                  </a:lnTo>
                  <a:lnTo>
                    <a:pt x="4555" y="35154"/>
                  </a:lnTo>
                  <a:lnTo>
                    <a:pt x="0" y="27059"/>
                  </a:lnTo>
                  <a:lnTo>
                    <a:pt x="1180" y="77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6" name="Freeform: Shape 4335">
              <a:extLst>
                <a:ext uri="{FF2B5EF4-FFF2-40B4-BE49-F238E27FC236}">
                  <a16:creationId xmlns:a16="http://schemas.microsoft.com/office/drawing/2014/main" id="{1AB403E1-3876-7557-A334-A120731F3E4F}"/>
                </a:ext>
              </a:extLst>
            </p:cNvPr>
            <p:cNvSpPr/>
            <p:nvPr/>
          </p:nvSpPr>
          <p:spPr>
            <a:xfrm>
              <a:off x="1830810" y="3679996"/>
              <a:ext cx="1712" cy="1812"/>
            </a:xfrm>
            <a:custGeom>
              <a:avLst/>
              <a:gdLst>
                <a:gd name="connsiteX0" fmla="*/ 9550 w 16410"/>
                <a:gd name="connsiteY0" fmla="*/ 11306 h 17371"/>
                <a:gd name="connsiteX1" fmla="*/ 5241 w 16410"/>
                <a:gd name="connsiteY1" fmla="*/ 14078 h 17371"/>
                <a:gd name="connsiteX2" fmla="*/ 3156 w 16410"/>
                <a:gd name="connsiteY2" fmla="*/ 17097 h 17371"/>
                <a:gd name="connsiteX3" fmla="*/ 1317 w 16410"/>
                <a:gd name="connsiteY3" fmla="*/ 17372 h 17371"/>
                <a:gd name="connsiteX4" fmla="*/ 0 w 16410"/>
                <a:gd name="connsiteY4" fmla="*/ 15286 h 17371"/>
                <a:gd name="connsiteX5" fmla="*/ 1262 w 16410"/>
                <a:gd name="connsiteY5" fmla="*/ 13365 h 17371"/>
                <a:gd name="connsiteX6" fmla="*/ 4171 w 16410"/>
                <a:gd name="connsiteY6" fmla="*/ 13557 h 17371"/>
                <a:gd name="connsiteX7" fmla="*/ 5900 w 16410"/>
                <a:gd name="connsiteY7" fmla="*/ 10127 h 17371"/>
                <a:gd name="connsiteX8" fmla="*/ 10428 w 16410"/>
                <a:gd name="connsiteY8" fmla="*/ 6998 h 17371"/>
                <a:gd name="connsiteX9" fmla="*/ 14160 w 16410"/>
                <a:gd name="connsiteY9" fmla="*/ 0 h 17371"/>
                <a:gd name="connsiteX10" fmla="*/ 16411 w 16410"/>
                <a:gd name="connsiteY10" fmla="*/ 1482 h 17371"/>
                <a:gd name="connsiteX11" fmla="*/ 14078 w 16410"/>
                <a:gd name="connsiteY11" fmla="*/ 3842 h 17371"/>
                <a:gd name="connsiteX12" fmla="*/ 13447 w 16410"/>
                <a:gd name="connsiteY12" fmla="*/ 7245 h 17371"/>
                <a:gd name="connsiteX13" fmla="*/ 11471 w 16410"/>
                <a:gd name="connsiteY13" fmla="*/ 8123 h 17371"/>
                <a:gd name="connsiteX14" fmla="*/ 9605 w 16410"/>
                <a:gd name="connsiteY14" fmla="*/ 11361 h 1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410" h="17371">
                  <a:moveTo>
                    <a:pt x="9550" y="11306"/>
                  </a:moveTo>
                  <a:lnTo>
                    <a:pt x="5241" y="14078"/>
                  </a:lnTo>
                  <a:lnTo>
                    <a:pt x="3156" y="17097"/>
                  </a:lnTo>
                  <a:lnTo>
                    <a:pt x="1317" y="17372"/>
                  </a:lnTo>
                  <a:lnTo>
                    <a:pt x="0" y="15286"/>
                  </a:lnTo>
                  <a:lnTo>
                    <a:pt x="1262" y="13365"/>
                  </a:lnTo>
                  <a:lnTo>
                    <a:pt x="4171" y="13557"/>
                  </a:lnTo>
                  <a:lnTo>
                    <a:pt x="5900" y="10127"/>
                  </a:lnTo>
                  <a:lnTo>
                    <a:pt x="10428" y="6998"/>
                  </a:lnTo>
                  <a:lnTo>
                    <a:pt x="14160" y="0"/>
                  </a:lnTo>
                  <a:lnTo>
                    <a:pt x="16411" y="1482"/>
                  </a:lnTo>
                  <a:lnTo>
                    <a:pt x="14078" y="3842"/>
                  </a:lnTo>
                  <a:lnTo>
                    <a:pt x="13447" y="7245"/>
                  </a:lnTo>
                  <a:lnTo>
                    <a:pt x="11471" y="8123"/>
                  </a:lnTo>
                  <a:lnTo>
                    <a:pt x="9605" y="113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7" name="Freeform: Shape 4336">
              <a:extLst>
                <a:ext uri="{FF2B5EF4-FFF2-40B4-BE49-F238E27FC236}">
                  <a16:creationId xmlns:a16="http://schemas.microsoft.com/office/drawing/2014/main" id="{0A64AA65-1D3F-9607-9E47-80B189031EBA}"/>
                </a:ext>
              </a:extLst>
            </p:cNvPr>
            <p:cNvSpPr/>
            <p:nvPr/>
          </p:nvSpPr>
          <p:spPr>
            <a:xfrm>
              <a:off x="1556426" y="3383129"/>
              <a:ext cx="4703" cy="3037"/>
            </a:xfrm>
            <a:custGeom>
              <a:avLst/>
              <a:gdLst>
                <a:gd name="connsiteX0" fmla="*/ 1126 w 45088"/>
                <a:gd name="connsiteY0" fmla="*/ 3128 h 29116"/>
                <a:gd name="connsiteX1" fmla="*/ 11334 w 45088"/>
                <a:gd name="connsiteY1" fmla="*/ 2497 h 29116"/>
                <a:gd name="connsiteX2" fmla="*/ 16576 w 45088"/>
                <a:gd name="connsiteY2" fmla="*/ 220 h 29116"/>
                <a:gd name="connsiteX3" fmla="*/ 17344 w 45088"/>
                <a:gd name="connsiteY3" fmla="*/ 3321 h 29116"/>
                <a:gd name="connsiteX4" fmla="*/ 31752 w 45088"/>
                <a:gd name="connsiteY4" fmla="*/ 0 h 29116"/>
                <a:gd name="connsiteX5" fmla="*/ 36747 w 45088"/>
                <a:gd name="connsiteY5" fmla="*/ 1290 h 29116"/>
                <a:gd name="connsiteX6" fmla="*/ 44046 w 45088"/>
                <a:gd name="connsiteY6" fmla="*/ 7272 h 29116"/>
                <a:gd name="connsiteX7" fmla="*/ 45089 w 45088"/>
                <a:gd name="connsiteY7" fmla="*/ 20116 h 29116"/>
                <a:gd name="connsiteX8" fmla="*/ 35155 w 45088"/>
                <a:gd name="connsiteY8" fmla="*/ 29117 h 29116"/>
                <a:gd name="connsiteX9" fmla="*/ 20994 w 45088"/>
                <a:gd name="connsiteY9" fmla="*/ 27498 h 29116"/>
                <a:gd name="connsiteX10" fmla="*/ 12130 w 45088"/>
                <a:gd name="connsiteY10" fmla="*/ 22887 h 29116"/>
                <a:gd name="connsiteX11" fmla="*/ 9111 w 45088"/>
                <a:gd name="connsiteY11" fmla="*/ 13173 h 29116"/>
                <a:gd name="connsiteX12" fmla="*/ 1647 w 45088"/>
                <a:gd name="connsiteY12" fmla="*/ 12459 h 29116"/>
                <a:gd name="connsiteX13" fmla="*/ 0 w 45088"/>
                <a:gd name="connsiteY13" fmla="*/ 7958 h 29116"/>
                <a:gd name="connsiteX14" fmla="*/ 1098 w 45088"/>
                <a:gd name="connsiteY14" fmla="*/ 3156 h 2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088" h="29116">
                  <a:moveTo>
                    <a:pt x="1126" y="3128"/>
                  </a:moveTo>
                  <a:lnTo>
                    <a:pt x="11334" y="2497"/>
                  </a:lnTo>
                  <a:lnTo>
                    <a:pt x="16576" y="220"/>
                  </a:lnTo>
                  <a:lnTo>
                    <a:pt x="17344" y="3321"/>
                  </a:lnTo>
                  <a:lnTo>
                    <a:pt x="31752" y="0"/>
                  </a:lnTo>
                  <a:lnTo>
                    <a:pt x="36747" y="1290"/>
                  </a:lnTo>
                  <a:lnTo>
                    <a:pt x="44046" y="7272"/>
                  </a:lnTo>
                  <a:lnTo>
                    <a:pt x="45089" y="20116"/>
                  </a:lnTo>
                  <a:lnTo>
                    <a:pt x="35155" y="29117"/>
                  </a:lnTo>
                  <a:lnTo>
                    <a:pt x="20994" y="27498"/>
                  </a:lnTo>
                  <a:lnTo>
                    <a:pt x="12130" y="22887"/>
                  </a:lnTo>
                  <a:lnTo>
                    <a:pt x="9111" y="13173"/>
                  </a:lnTo>
                  <a:lnTo>
                    <a:pt x="1647" y="12459"/>
                  </a:lnTo>
                  <a:lnTo>
                    <a:pt x="0" y="7958"/>
                  </a:lnTo>
                  <a:lnTo>
                    <a:pt x="1098"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0" name="Freeform: Shape 4339">
              <a:extLst>
                <a:ext uri="{FF2B5EF4-FFF2-40B4-BE49-F238E27FC236}">
                  <a16:creationId xmlns:a16="http://schemas.microsoft.com/office/drawing/2014/main" id="{AF1E3E55-E240-434C-EE3E-59F1BF68A9A1}"/>
                </a:ext>
              </a:extLst>
            </p:cNvPr>
            <p:cNvSpPr/>
            <p:nvPr/>
          </p:nvSpPr>
          <p:spPr>
            <a:xfrm>
              <a:off x="1785991" y="3645233"/>
              <a:ext cx="1855" cy="1420"/>
            </a:xfrm>
            <a:custGeom>
              <a:avLst/>
              <a:gdLst>
                <a:gd name="connsiteX0" fmla="*/ 0 w 17782"/>
                <a:gd name="connsiteY0" fmla="*/ 8013 h 13611"/>
                <a:gd name="connsiteX1" fmla="*/ 4528 w 17782"/>
                <a:gd name="connsiteY1" fmla="*/ 5159 h 13611"/>
                <a:gd name="connsiteX2" fmla="*/ 5022 w 17782"/>
                <a:gd name="connsiteY2" fmla="*/ 3320 h 13611"/>
                <a:gd name="connsiteX3" fmla="*/ 10346 w 17782"/>
                <a:gd name="connsiteY3" fmla="*/ 0 h 13611"/>
                <a:gd name="connsiteX4" fmla="*/ 13283 w 17782"/>
                <a:gd name="connsiteY4" fmla="*/ 1070 h 13611"/>
                <a:gd name="connsiteX5" fmla="*/ 17783 w 17782"/>
                <a:gd name="connsiteY5" fmla="*/ 82 h 13611"/>
                <a:gd name="connsiteX6" fmla="*/ 17646 w 17782"/>
                <a:gd name="connsiteY6" fmla="*/ 1482 h 13611"/>
                <a:gd name="connsiteX7" fmla="*/ 11416 w 17782"/>
                <a:gd name="connsiteY7" fmla="*/ 9331 h 13611"/>
                <a:gd name="connsiteX8" fmla="*/ 6971 w 17782"/>
                <a:gd name="connsiteY8" fmla="*/ 9331 h 13611"/>
                <a:gd name="connsiteX9" fmla="*/ 5763 w 17782"/>
                <a:gd name="connsiteY9" fmla="*/ 12761 h 13611"/>
                <a:gd name="connsiteX10" fmla="*/ 1345 w 17782"/>
                <a:gd name="connsiteY10" fmla="*/ 13612 h 13611"/>
                <a:gd name="connsiteX11" fmla="*/ 27 w 17782"/>
                <a:gd name="connsiteY11" fmla="*/ 8013 h 1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82" h="13611">
                  <a:moveTo>
                    <a:pt x="0" y="8013"/>
                  </a:moveTo>
                  <a:lnTo>
                    <a:pt x="4528" y="5159"/>
                  </a:lnTo>
                  <a:lnTo>
                    <a:pt x="5022" y="3320"/>
                  </a:lnTo>
                  <a:lnTo>
                    <a:pt x="10346" y="0"/>
                  </a:lnTo>
                  <a:lnTo>
                    <a:pt x="13283" y="1070"/>
                  </a:lnTo>
                  <a:lnTo>
                    <a:pt x="17783" y="82"/>
                  </a:lnTo>
                  <a:lnTo>
                    <a:pt x="17646" y="1482"/>
                  </a:lnTo>
                  <a:lnTo>
                    <a:pt x="11416" y="9331"/>
                  </a:lnTo>
                  <a:lnTo>
                    <a:pt x="6971" y="9331"/>
                  </a:lnTo>
                  <a:cubicBezTo>
                    <a:pt x="6971" y="9331"/>
                    <a:pt x="5763" y="12761"/>
                    <a:pt x="5763" y="12761"/>
                  </a:cubicBezTo>
                  <a:lnTo>
                    <a:pt x="1345" y="13612"/>
                  </a:lnTo>
                  <a:lnTo>
                    <a:pt x="27" y="80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3" name="Freeform: Shape 4342">
              <a:extLst>
                <a:ext uri="{FF2B5EF4-FFF2-40B4-BE49-F238E27FC236}">
                  <a16:creationId xmlns:a16="http://schemas.microsoft.com/office/drawing/2014/main" id="{BD9B50CB-EE8F-A9A4-D52C-71EB56033500}"/>
                </a:ext>
              </a:extLst>
            </p:cNvPr>
            <p:cNvSpPr/>
            <p:nvPr/>
          </p:nvSpPr>
          <p:spPr>
            <a:xfrm>
              <a:off x="1879034" y="3642367"/>
              <a:ext cx="1531" cy="1391"/>
            </a:xfrm>
            <a:custGeom>
              <a:avLst/>
              <a:gdLst>
                <a:gd name="connsiteX0" fmla="*/ 906 w 14681"/>
                <a:gd name="connsiteY0" fmla="*/ 0 h 13337"/>
                <a:gd name="connsiteX1" fmla="*/ 3842 w 14681"/>
                <a:gd name="connsiteY1" fmla="*/ 3513 h 13337"/>
                <a:gd name="connsiteX2" fmla="*/ 8398 w 14681"/>
                <a:gd name="connsiteY2" fmla="*/ 5132 h 13337"/>
                <a:gd name="connsiteX3" fmla="*/ 9248 w 14681"/>
                <a:gd name="connsiteY3" fmla="*/ 8397 h 13337"/>
                <a:gd name="connsiteX4" fmla="*/ 11526 w 14681"/>
                <a:gd name="connsiteY4" fmla="*/ 8782 h 13337"/>
                <a:gd name="connsiteX5" fmla="*/ 14682 w 14681"/>
                <a:gd name="connsiteY5" fmla="*/ 11142 h 13337"/>
                <a:gd name="connsiteX6" fmla="*/ 14023 w 14681"/>
                <a:gd name="connsiteY6" fmla="*/ 13337 h 13337"/>
                <a:gd name="connsiteX7" fmla="*/ 7409 w 14681"/>
                <a:gd name="connsiteY7" fmla="*/ 9770 h 13337"/>
                <a:gd name="connsiteX8" fmla="*/ 0 w 14681"/>
                <a:gd name="connsiteY8" fmla="*/ 1400 h 13337"/>
                <a:gd name="connsiteX9" fmla="*/ 878 w 14681"/>
                <a:gd name="connsiteY9" fmla="*/ 0 h 1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81" h="13337">
                  <a:moveTo>
                    <a:pt x="906" y="0"/>
                  </a:moveTo>
                  <a:lnTo>
                    <a:pt x="3842" y="3513"/>
                  </a:lnTo>
                  <a:lnTo>
                    <a:pt x="8398" y="5132"/>
                  </a:lnTo>
                  <a:lnTo>
                    <a:pt x="9248" y="8397"/>
                  </a:lnTo>
                  <a:lnTo>
                    <a:pt x="11526" y="8782"/>
                  </a:lnTo>
                  <a:lnTo>
                    <a:pt x="14682" y="11142"/>
                  </a:lnTo>
                  <a:lnTo>
                    <a:pt x="14023" y="13337"/>
                  </a:lnTo>
                  <a:lnTo>
                    <a:pt x="7409" y="9770"/>
                  </a:lnTo>
                  <a:lnTo>
                    <a:pt x="0" y="1400"/>
                  </a:lnTo>
                  <a:lnTo>
                    <a:pt x="87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5" name="Freeform: Shape 4344">
              <a:extLst>
                <a:ext uri="{FF2B5EF4-FFF2-40B4-BE49-F238E27FC236}">
                  <a16:creationId xmlns:a16="http://schemas.microsoft.com/office/drawing/2014/main" id="{84405DE6-CFEE-CC5B-E361-B53476D0F6B7}"/>
                </a:ext>
              </a:extLst>
            </p:cNvPr>
            <p:cNvSpPr/>
            <p:nvPr/>
          </p:nvSpPr>
          <p:spPr>
            <a:xfrm>
              <a:off x="1839683" y="3668546"/>
              <a:ext cx="890" cy="1772"/>
            </a:xfrm>
            <a:custGeom>
              <a:avLst/>
              <a:gdLst>
                <a:gd name="connsiteX0" fmla="*/ 5845 w 8534"/>
                <a:gd name="connsiteY0" fmla="*/ 15862 h 16987"/>
                <a:gd name="connsiteX1" fmla="*/ 3046 w 8534"/>
                <a:gd name="connsiteY1" fmla="*/ 16987 h 16987"/>
                <a:gd name="connsiteX2" fmla="*/ 411 w 8534"/>
                <a:gd name="connsiteY2" fmla="*/ 16054 h 16987"/>
                <a:gd name="connsiteX3" fmla="*/ 0 w 8534"/>
                <a:gd name="connsiteY3" fmla="*/ 13831 h 16987"/>
                <a:gd name="connsiteX4" fmla="*/ 878 w 8534"/>
                <a:gd name="connsiteY4" fmla="*/ 10620 h 16987"/>
                <a:gd name="connsiteX5" fmla="*/ 2634 w 8534"/>
                <a:gd name="connsiteY5" fmla="*/ 7986 h 16987"/>
                <a:gd name="connsiteX6" fmla="*/ 4940 w 8534"/>
                <a:gd name="connsiteY6" fmla="*/ 2058 h 16987"/>
                <a:gd name="connsiteX7" fmla="*/ 6751 w 8534"/>
                <a:gd name="connsiteY7" fmla="*/ 0 h 16987"/>
                <a:gd name="connsiteX8" fmla="*/ 8534 w 8534"/>
                <a:gd name="connsiteY8" fmla="*/ 1674 h 16987"/>
                <a:gd name="connsiteX9" fmla="*/ 8068 w 8534"/>
                <a:gd name="connsiteY9" fmla="*/ 4638 h 16987"/>
                <a:gd name="connsiteX10" fmla="*/ 5900 w 8534"/>
                <a:gd name="connsiteY10" fmla="*/ 7684 h 16987"/>
                <a:gd name="connsiteX11" fmla="*/ 6888 w 8534"/>
                <a:gd name="connsiteY11" fmla="*/ 12898 h 16987"/>
                <a:gd name="connsiteX12" fmla="*/ 5818 w 8534"/>
                <a:gd name="connsiteY12" fmla="*/ 15917 h 1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34" h="16987">
                  <a:moveTo>
                    <a:pt x="5845" y="15862"/>
                  </a:moveTo>
                  <a:lnTo>
                    <a:pt x="3046" y="16987"/>
                  </a:lnTo>
                  <a:lnTo>
                    <a:pt x="411" y="16054"/>
                  </a:lnTo>
                  <a:lnTo>
                    <a:pt x="0" y="13831"/>
                  </a:lnTo>
                  <a:lnTo>
                    <a:pt x="878" y="10620"/>
                  </a:lnTo>
                  <a:lnTo>
                    <a:pt x="2634" y="7986"/>
                  </a:lnTo>
                  <a:lnTo>
                    <a:pt x="4940" y="2058"/>
                  </a:lnTo>
                  <a:lnTo>
                    <a:pt x="6751" y="0"/>
                  </a:lnTo>
                  <a:lnTo>
                    <a:pt x="8534" y="1674"/>
                  </a:lnTo>
                  <a:lnTo>
                    <a:pt x="8068" y="4638"/>
                  </a:lnTo>
                  <a:lnTo>
                    <a:pt x="5900" y="7684"/>
                  </a:lnTo>
                  <a:lnTo>
                    <a:pt x="6888" y="12898"/>
                  </a:lnTo>
                  <a:lnTo>
                    <a:pt x="5818" y="159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6" name="Freeform: Shape 4345">
              <a:extLst>
                <a:ext uri="{FF2B5EF4-FFF2-40B4-BE49-F238E27FC236}">
                  <a16:creationId xmlns:a16="http://schemas.microsoft.com/office/drawing/2014/main" id="{06FCA37C-3861-A45B-8B19-28BC4EF6A9D0}"/>
                </a:ext>
              </a:extLst>
            </p:cNvPr>
            <p:cNvSpPr/>
            <p:nvPr/>
          </p:nvSpPr>
          <p:spPr>
            <a:xfrm>
              <a:off x="1784729" y="3641014"/>
              <a:ext cx="1443" cy="1096"/>
            </a:xfrm>
            <a:custGeom>
              <a:avLst/>
              <a:gdLst>
                <a:gd name="connsiteX0" fmla="*/ 9879 w 13831"/>
                <a:gd name="connsiteY0" fmla="*/ 9824 h 10510"/>
                <a:gd name="connsiteX1" fmla="*/ 0 w 13831"/>
                <a:gd name="connsiteY1" fmla="*/ 10511 h 10510"/>
                <a:gd name="connsiteX2" fmla="*/ 1482 w 13831"/>
                <a:gd name="connsiteY2" fmla="*/ 6696 h 10510"/>
                <a:gd name="connsiteX3" fmla="*/ 9770 w 13831"/>
                <a:gd name="connsiteY3" fmla="*/ 357 h 10510"/>
                <a:gd name="connsiteX4" fmla="*/ 12898 w 13831"/>
                <a:gd name="connsiteY4" fmla="*/ 0 h 10510"/>
                <a:gd name="connsiteX5" fmla="*/ 13831 w 13831"/>
                <a:gd name="connsiteY5" fmla="*/ 1564 h 10510"/>
                <a:gd name="connsiteX6" fmla="*/ 9852 w 13831"/>
                <a:gd name="connsiteY6" fmla="*/ 9797 h 10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1" h="10510">
                  <a:moveTo>
                    <a:pt x="9879" y="9824"/>
                  </a:moveTo>
                  <a:lnTo>
                    <a:pt x="0" y="10511"/>
                  </a:lnTo>
                  <a:lnTo>
                    <a:pt x="1482" y="6696"/>
                  </a:lnTo>
                  <a:lnTo>
                    <a:pt x="9770" y="357"/>
                  </a:lnTo>
                  <a:lnTo>
                    <a:pt x="12898" y="0"/>
                  </a:lnTo>
                  <a:lnTo>
                    <a:pt x="13831" y="1564"/>
                  </a:lnTo>
                  <a:lnTo>
                    <a:pt x="9852" y="97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8" name="Freeform: Shape 4347">
              <a:extLst>
                <a:ext uri="{FF2B5EF4-FFF2-40B4-BE49-F238E27FC236}">
                  <a16:creationId xmlns:a16="http://schemas.microsoft.com/office/drawing/2014/main" id="{6163A04A-5219-BA00-4F6C-D2B704DD2934}"/>
                </a:ext>
              </a:extLst>
            </p:cNvPr>
            <p:cNvSpPr/>
            <p:nvPr/>
          </p:nvSpPr>
          <p:spPr>
            <a:xfrm>
              <a:off x="1545281" y="3389108"/>
              <a:ext cx="2078" cy="2696"/>
            </a:xfrm>
            <a:custGeom>
              <a:avLst/>
              <a:gdLst>
                <a:gd name="connsiteX0" fmla="*/ 18880 w 19923"/>
                <a:gd name="connsiteY0" fmla="*/ 22311 h 25851"/>
                <a:gd name="connsiteX1" fmla="*/ 10867 w 19923"/>
                <a:gd name="connsiteY1" fmla="*/ 25851 h 25851"/>
                <a:gd name="connsiteX2" fmla="*/ 466 w 19923"/>
                <a:gd name="connsiteY2" fmla="*/ 17756 h 25851"/>
                <a:gd name="connsiteX3" fmla="*/ 0 w 19923"/>
                <a:gd name="connsiteY3" fmla="*/ 13804 h 25851"/>
                <a:gd name="connsiteX4" fmla="*/ 439 w 19923"/>
                <a:gd name="connsiteY4" fmla="*/ 10785 h 25851"/>
                <a:gd name="connsiteX5" fmla="*/ 9660 w 19923"/>
                <a:gd name="connsiteY5" fmla="*/ 0 h 25851"/>
                <a:gd name="connsiteX6" fmla="*/ 14270 w 19923"/>
                <a:gd name="connsiteY6" fmla="*/ 1153 h 25851"/>
                <a:gd name="connsiteX7" fmla="*/ 19924 w 19923"/>
                <a:gd name="connsiteY7" fmla="*/ 14929 h 25851"/>
                <a:gd name="connsiteX8" fmla="*/ 18853 w 19923"/>
                <a:gd name="connsiteY8" fmla="*/ 22311 h 2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23" h="25851">
                  <a:moveTo>
                    <a:pt x="18880" y="22311"/>
                  </a:moveTo>
                  <a:lnTo>
                    <a:pt x="10867" y="25851"/>
                  </a:lnTo>
                  <a:lnTo>
                    <a:pt x="466" y="17756"/>
                  </a:lnTo>
                  <a:lnTo>
                    <a:pt x="0" y="13804"/>
                  </a:lnTo>
                  <a:lnTo>
                    <a:pt x="439" y="10785"/>
                  </a:lnTo>
                  <a:lnTo>
                    <a:pt x="9660" y="0"/>
                  </a:lnTo>
                  <a:lnTo>
                    <a:pt x="14270" y="1153"/>
                  </a:lnTo>
                  <a:lnTo>
                    <a:pt x="19924" y="14929"/>
                  </a:lnTo>
                  <a:lnTo>
                    <a:pt x="18853" y="223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1" name="Freeform: Shape 4350">
              <a:extLst>
                <a:ext uri="{FF2B5EF4-FFF2-40B4-BE49-F238E27FC236}">
                  <a16:creationId xmlns:a16="http://schemas.microsoft.com/office/drawing/2014/main" id="{63A6DA79-1DEE-F737-6DB4-B49319C915E2}"/>
                </a:ext>
              </a:extLst>
            </p:cNvPr>
            <p:cNvSpPr/>
            <p:nvPr/>
          </p:nvSpPr>
          <p:spPr>
            <a:xfrm>
              <a:off x="1844457" y="3662616"/>
              <a:ext cx="1053" cy="1156"/>
            </a:xfrm>
            <a:custGeom>
              <a:avLst/>
              <a:gdLst>
                <a:gd name="connsiteX0" fmla="*/ 0 w 10098"/>
                <a:gd name="connsiteY0" fmla="*/ 7684 h 11087"/>
                <a:gd name="connsiteX1" fmla="*/ 1290 w 10098"/>
                <a:gd name="connsiteY1" fmla="*/ 4418 h 11087"/>
                <a:gd name="connsiteX2" fmla="*/ 3183 w 10098"/>
                <a:gd name="connsiteY2" fmla="*/ 3842 h 11087"/>
                <a:gd name="connsiteX3" fmla="*/ 6449 w 10098"/>
                <a:gd name="connsiteY3" fmla="*/ 823 h 11087"/>
                <a:gd name="connsiteX4" fmla="*/ 8946 w 10098"/>
                <a:gd name="connsiteY4" fmla="*/ 0 h 11087"/>
                <a:gd name="connsiteX5" fmla="*/ 10099 w 10098"/>
                <a:gd name="connsiteY5" fmla="*/ 4912 h 11087"/>
                <a:gd name="connsiteX6" fmla="*/ 6833 w 10098"/>
                <a:gd name="connsiteY6" fmla="*/ 11087 h 11087"/>
                <a:gd name="connsiteX7" fmla="*/ 3129 w 10098"/>
                <a:gd name="connsiteY7" fmla="*/ 10950 h 11087"/>
                <a:gd name="connsiteX8" fmla="*/ 0 w 10098"/>
                <a:gd name="connsiteY8" fmla="*/ 7684 h 1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 h="11087">
                  <a:moveTo>
                    <a:pt x="0" y="7684"/>
                  </a:moveTo>
                  <a:lnTo>
                    <a:pt x="1290" y="4418"/>
                  </a:lnTo>
                  <a:lnTo>
                    <a:pt x="3183" y="3842"/>
                  </a:lnTo>
                  <a:lnTo>
                    <a:pt x="6449" y="823"/>
                  </a:lnTo>
                  <a:lnTo>
                    <a:pt x="8946" y="0"/>
                  </a:lnTo>
                  <a:lnTo>
                    <a:pt x="10099" y="4912"/>
                  </a:lnTo>
                  <a:lnTo>
                    <a:pt x="6833" y="11087"/>
                  </a:lnTo>
                  <a:lnTo>
                    <a:pt x="3129" y="10950"/>
                  </a:lnTo>
                  <a:lnTo>
                    <a:pt x="0" y="76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2" name="Freeform: Shape 4361">
              <a:extLst>
                <a:ext uri="{FF2B5EF4-FFF2-40B4-BE49-F238E27FC236}">
                  <a16:creationId xmlns:a16="http://schemas.microsoft.com/office/drawing/2014/main" id="{FC6C19C5-AC53-9B7D-DA84-3C53C6A1E8A8}"/>
                </a:ext>
              </a:extLst>
            </p:cNvPr>
            <p:cNvSpPr/>
            <p:nvPr/>
          </p:nvSpPr>
          <p:spPr>
            <a:xfrm>
              <a:off x="1555210" y="3384884"/>
              <a:ext cx="1102" cy="2361"/>
            </a:xfrm>
            <a:custGeom>
              <a:avLst/>
              <a:gdLst>
                <a:gd name="connsiteX0" fmla="*/ 10456 w 10565"/>
                <a:gd name="connsiteY0" fmla="*/ 20582 h 22640"/>
                <a:gd name="connsiteX1" fmla="*/ 6696 w 10565"/>
                <a:gd name="connsiteY1" fmla="*/ 22640 h 22640"/>
                <a:gd name="connsiteX2" fmla="*/ 2333 w 10565"/>
                <a:gd name="connsiteY2" fmla="*/ 20088 h 22640"/>
                <a:gd name="connsiteX3" fmla="*/ 0 w 10565"/>
                <a:gd name="connsiteY3" fmla="*/ 13996 h 22640"/>
                <a:gd name="connsiteX4" fmla="*/ 631 w 10565"/>
                <a:gd name="connsiteY4" fmla="*/ 0 h 22640"/>
                <a:gd name="connsiteX5" fmla="*/ 4171 w 10565"/>
                <a:gd name="connsiteY5" fmla="*/ 686 h 22640"/>
                <a:gd name="connsiteX6" fmla="*/ 4062 w 10565"/>
                <a:gd name="connsiteY6" fmla="*/ 9139 h 22640"/>
                <a:gd name="connsiteX7" fmla="*/ 10566 w 10565"/>
                <a:gd name="connsiteY7" fmla="*/ 13255 h 22640"/>
                <a:gd name="connsiteX8" fmla="*/ 10456 w 10565"/>
                <a:gd name="connsiteY8" fmla="*/ 20610 h 2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65" h="22640">
                  <a:moveTo>
                    <a:pt x="10456" y="20582"/>
                  </a:moveTo>
                  <a:lnTo>
                    <a:pt x="6696" y="22640"/>
                  </a:lnTo>
                  <a:lnTo>
                    <a:pt x="2333" y="20088"/>
                  </a:lnTo>
                  <a:lnTo>
                    <a:pt x="0" y="13996"/>
                  </a:lnTo>
                  <a:lnTo>
                    <a:pt x="631" y="0"/>
                  </a:lnTo>
                  <a:lnTo>
                    <a:pt x="4171" y="686"/>
                  </a:lnTo>
                  <a:lnTo>
                    <a:pt x="4062" y="9139"/>
                  </a:lnTo>
                  <a:lnTo>
                    <a:pt x="10566" y="13255"/>
                  </a:lnTo>
                  <a:lnTo>
                    <a:pt x="10456" y="206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0" name="Freeform: Shape 4369">
              <a:extLst>
                <a:ext uri="{FF2B5EF4-FFF2-40B4-BE49-F238E27FC236}">
                  <a16:creationId xmlns:a16="http://schemas.microsoft.com/office/drawing/2014/main" id="{6B60C439-33D3-77D8-BFE0-15274B2F2BF0}"/>
                </a:ext>
              </a:extLst>
            </p:cNvPr>
            <p:cNvSpPr/>
            <p:nvPr/>
          </p:nvSpPr>
          <p:spPr>
            <a:xfrm>
              <a:off x="1808750" y="3671784"/>
              <a:ext cx="538" cy="864"/>
            </a:xfrm>
            <a:custGeom>
              <a:avLst/>
              <a:gdLst>
                <a:gd name="connsiteX0" fmla="*/ 0 w 5159"/>
                <a:gd name="connsiteY0" fmla="*/ 905 h 8287"/>
                <a:gd name="connsiteX1" fmla="*/ 604 w 5159"/>
                <a:gd name="connsiteY1" fmla="*/ 0 h 8287"/>
                <a:gd name="connsiteX2" fmla="*/ 4775 w 5159"/>
                <a:gd name="connsiteY2" fmla="*/ 3842 h 8287"/>
                <a:gd name="connsiteX3" fmla="*/ 5160 w 5159"/>
                <a:gd name="connsiteY3" fmla="*/ 7492 h 8287"/>
                <a:gd name="connsiteX4" fmla="*/ 3897 w 5159"/>
                <a:gd name="connsiteY4" fmla="*/ 8288 h 8287"/>
                <a:gd name="connsiteX5" fmla="*/ 27 w 5159"/>
                <a:gd name="connsiteY5" fmla="*/ 905 h 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9" h="8287">
                  <a:moveTo>
                    <a:pt x="0" y="905"/>
                  </a:moveTo>
                  <a:lnTo>
                    <a:pt x="604" y="0"/>
                  </a:lnTo>
                  <a:lnTo>
                    <a:pt x="4775" y="3842"/>
                  </a:lnTo>
                  <a:lnTo>
                    <a:pt x="5160" y="7492"/>
                  </a:lnTo>
                  <a:lnTo>
                    <a:pt x="3897" y="8288"/>
                  </a:lnTo>
                  <a:lnTo>
                    <a:pt x="27"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6" name="Freeform: Shape 4375">
              <a:extLst>
                <a:ext uri="{FF2B5EF4-FFF2-40B4-BE49-F238E27FC236}">
                  <a16:creationId xmlns:a16="http://schemas.microsoft.com/office/drawing/2014/main" id="{AD27A34B-69CF-DFFA-27CD-E35C13E23076}"/>
                </a:ext>
              </a:extLst>
            </p:cNvPr>
            <p:cNvSpPr/>
            <p:nvPr/>
          </p:nvSpPr>
          <p:spPr>
            <a:xfrm>
              <a:off x="1842239" y="3662347"/>
              <a:ext cx="664" cy="575"/>
            </a:xfrm>
            <a:custGeom>
              <a:avLst/>
              <a:gdLst>
                <a:gd name="connsiteX0" fmla="*/ 0 w 6366"/>
                <a:gd name="connsiteY0" fmla="*/ 1976 h 5515"/>
                <a:gd name="connsiteX1" fmla="*/ 2470 w 6366"/>
                <a:gd name="connsiteY1" fmla="*/ 0 h 5515"/>
                <a:gd name="connsiteX2" fmla="*/ 6312 w 6366"/>
                <a:gd name="connsiteY2" fmla="*/ 768 h 5515"/>
                <a:gd name="connsiteX3" fmla="*/ 6367 w 6366"/>
                <a:gd name="connsiteY3" fmla="*/ 5406 h 5515"/>
                <a:gd name="connsiteX4" fmla="*/ 2086 w 6366"/>
                <a:gd name="connsiteY4" fmla="*/ 5516 h 5515"/>
                <a:gd name="connsiteX5" fmla="*/ 0 w 6366"/>
                <a:gd name="connsiteY5" fmla="*/ 1976 h 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66" h="5515">
                  <a:moveTo>
                    <a:pt x="0" y="1976"/>
                  </a:moveTo>
                  <a:lnTo>
                    <a:pt x="2470" y="0"/>
                  </a:lnTo>
                  <a:lnTo>
                    <a:pt x="6312" y="768"/>
                  </a:lnTo>
                  <a:lnTo>
                    <a:pt x="6367" y="5406"/>
                  </a:lnTo>
                  <a:lnTo>
                    <a:pt x="2086" y="5516"/>
                  </a:lnTo>
                  <a:lnTo>
                    <a:pt x="0"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8" name="Freeform: Shape 4377">
              <a:extLst>
                <a:ext uri="{FF2B5EF4-FFF2-40B4-BE49-F238E27FC236}">
                  <a16:creationId xmlns:a16="http://schemas.microsoft.com/office/drawing/2014/main" id="{1A301148-15B0-5B9C-B695-A48B02620400}"/>
                </a:ext>
              </a:extLst>
            </p:cNvPr>
            <p:cNvSpPr/>
            <p:nvPr/>
          </p:nvSpPr>
          <p:spPr>
            <a:xfrm>
              <a:off x="1861376" y="3542552"/>
              <a:ext cx="644" cy="1050"/>
            </a:xfrm>
            <a:custGeom>
              <a:avLst/>
              <a:gdLst>
                <a:gd name="connsiteX0" fmla="*/ 0 w 6174"/>
                <a:gd name="connsiteY0" fmla="*/ 5461 h 10071"/>
                <a:gd name="connsiteX1" fmla="*/ 329 w 6174"/>
                <a:gd name="connsiteY1" fmla="*/ 2854 h 10071"/>
                <a:gd name="connsiteX2" fmla="*/ 5214 w 6174"/>
                <a:gd name="connsiteY2" fmla="*/ 0 h 10071"/>
                <a:gd name="connsiteX3" fmla="*/ 6175 w 6174"/>
                <a:gd name="connsiteY3" fmla="*/ 7465 h 10071"/>
                <a:gd name="connsiteX4" fmla="*/ 2222 w 6174"/>
                <a:gd name="connsiteY4" fmla="*/ 10072 h 10071"/>
                <a:gd name="connsiteX5" fmla="*/ 0 w 6174"/>
                <a:gd name="connsiteY5" fmla="*/ 5461 h 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74" h="10071">
                  <a:moveTo>
                    <a:pt x="0" y="5461"/>
                  </a:moveTo>
                  <a:lnTo>
                    <a:pt x="329" y="2854"/>
                  </a:lnTo>
                  <a:lnTo>
                    <a:pt x="5214" y="0"/>
                  </a:lnTo>
                  <a:lnTo>
                    <a:pt x="6175" y="7465"/>
                  </a:lnTo>
                  <a:lnTo>
                    <a:pt x="2222" y="10072"/>
                  </a:lnTo>
                  <a:lnTo>
                    <a:pt x="0" y="54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3" name="Freeform: Shape 4382">
              <a:extLst>
                <a:ext uri="{FF2B5EF4-FFF2-40B4-BE49-F238E27FC236}">
                  <a16:creationId xmlns:a16="http://schemas.microsoft.com/office/drawing/2014/main" id="{A53EC113-48F1-09FB-8D53-8BC48954DF8D}"/>
                </a:ext>
              </a:extLst>
            </p:cNvPr>
            <p:cNvSpPr/>
            <p:nvPr/>
          </p:nvSpPr>
          <p:spPr>
            <a:xfrm>
              <a:off x="1857867" y="3531255"/>
              <a:ext cx="635" cy="999"/>
            </a:xfrm>
            <a:custGeom>
              <a:avLst/>
              <a:gdLst>
                <a:gd name="connsiteX0" fmla="*/ 0 w 6092"/>
                <a:gd name="connsiteY0" fmla="*/ 6833 h 9577"/>
                <a:gd name="connsiteX1" fmla="*/ 2168 w 6092"/>
                <a:gd name="connsiteY1" fmla="*/ 0 h 9577"/>
                <a:gd name="connsiteX2" fmla="*/ 4775 w 6092"/>
                <a:gd name="connsiteY2" fmla="*/ 1592 h 9577"/>
                <a:gd name="connsiteX3" fmla="*/ 6092 w 6092"/>
                <a:gd name="connsiteY3" fmla="*/ 8590 h 9577"/>
                <a:gd name="connsiteX4" fmla="*/ 2250 w 6092"/>
                <a:gd name="connsiteY4" fmla="*/ 9578 h 9577"/>
                <a:gd name="connsiteX5" fmla="*/ 0 w 6092"/>
                <a:gd name="connsiteY5" fmla="*/ 6833 h 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2" h="9577">
                  <a:moveTo>
                    <a:pt x="0" y="6833"/>
                  </a:moveTo>
                  <a:lnTo>
                    <a:pt x="2168" y="0"/>
                  </a:lnTo>
                  <a:lnTo>
                    <a:pt x="4775" y="1592"/>
                  </a:lnTo>
                  <a:lnTo>
                    <a:pt x="6092" y="8590"/>
                  </a:lnTo>
                  <a:lnTo>
                    <a:pt x="2250" y="9578"/>
                  </a:lnTo>
                  <a:lnTo>
                    <a:pt x="0" y="68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5" name="Freeform: Shape 4384">
              <a:extLst>
                <a:ext uri="{FF2B5EF4-FFF2-40B4-BE49-F238E27FC236}">
                  <a16:creationId xmlns:a16="http://schemas.microsoft.com/office/drawing/2014/main" id="{E92BE36D-480C-2A0A-F671-69F0055233AA}"/>
                </a:ext>
              </a:extLst>
            </p:cNvPr>
            <p:cNvSpPr/>
            <p:nvPr/>
          </p:nvSpPr>
          <p:spPr>
            <a:xfrm>
              <a:off x="1788098" y="3644262"/>
              <a:ext cx="538" cy="653"/>
            </a:xfrm>
            <a:custGeom>
              <a:avLst/>
              <a:gdLst>
                <a:gd name="connsiteX0" fmla="*/ 2058 w 5158"/>
                <a:gd name="connsiteY0" fmla="*/ 2579 h 6257"/>
                <a:gd name="connsiteX1" fmla="*/ 1125 w 5158"/>
                <a:gd name="connsiteY1" fmla="*/ 6257 h 6257"/>
                <a:gd name="connsiteX2" fmla="*/ 0 w 5158"/>
                <a:gd name="connsiteY2" fmla="*/ 5132 h 6257"/>
                <a:gd name="connsiteX3" fmla="*/ 1235 w 5158"/>
                <a:gd name="connsiteY3" fmla="*/ 659 h 6257"/>
                <a:gd name="connsiteX4" fmla="*/ 4034 w 5158"/>
                <a:gd name="connsiteY4" fmla="*/ 0 h 6257"/>
                <a:gd name="connsiteX5" fmla="*/ 5159 w 5158"/>
                <a:gd name="connsiteY5" fmla="*/ 1976 h 6257"/>
                <a:gd name="connsiteX6" fmla="*/ 2086 w 5158"/>
                <a:gd name="connsiteY6" fmla="*/ 2579 h 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8" h="6257">
                  <a:moveTo>
                    <a:pt x="2058" y="2579"/>
                  </a:moveTo>
                  <a:lnTo>
                    <a:pt x="1125" y="6257"/>
                  </a:lnTo>
                  <a:lnTo>
                    <a:pt x="0" y="5132"/>
                  </a:lnTo>
                  <a:lnTo>
                    <a:pt x="1235" y="659"/>
                  </a:lnTo>
                  <a:lnTo>
                    <a:pt x="4034" y="0"/>
                  </a:lnTo>
                  <a:lnTo>
                    <a:pt x="5159" y="1976"/>
                  </a:lnTo>
                  <a:lnTo>
                    <a:pt x="2086" y="25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6" name="Freeform: Shape 4385">
              <a:extLst>
                <a:ext uri="{FF2B5EF4-FFF2-40B4-BE49-F238E27FC236}">
                  <a16:creationId xmlns:a16="http://schemas.microsoft.com/office/drawing/2014/main" id="{390CBAD4-CE86-06B9-E11D-0A9E14CD5F1A}"/>
                </a:ext>
              </a:extLst>
            </p:cNvPr>
            <p:cNvSpPr/>
            <p:nvPr/>
          </p:nvSpPr>
          <p:spPr>
            <a:xfrm>
              <a:off x="1804419" y="3650445"/>
              <a:ext cx="446" cy="756"/>
            </a:xfrm>
            <a:custGeom>
              <a:avLst/>
              <a:gdLst>
                <a:gd name="connsiteX0" fmla="*/ 0 w 4280"/>
                <a:gd name="connsiteY0" fmla="*/ 1647 h 7244"/>
                <a:gd name="connsiteX1" fmla="*/ 2634 w 4280"/>
                <a:gd name="connsiteY1" fmla="*/ 0 h 7244"/>
                <a:gd name="connsiteX2" fmla="*/ 4281 w 4280"/>
                <a:gd name="connsiteY2" fmla="*/ 7245 h 7244"/>
                <a:gd name="connsiteX3" fmla="*/ 905 w 4280"/>
                <a:gd name="connsiteY3" fmla="*/ 6504 h 7244"/>
                <a:gd name="connsiteX4" fmla="*/ 27 w 4280"/>
                <a:gd name="connsiteY4" fmla="*/ 1647 h 7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0" h="7244">
                  <a:moveTo>
                    <a:pt x="0" y="1647"/>
                  </a:moveTo>
                  <a:lnTo>
                    <a:pt x="2634" y="0"/>
                  </a:lnTo>
                  <a:lnTo>
                    <a:pt x="4281" y="7245"/>
                  </a:lnTo>
                  <a:lnTo>
                    <a:pt x="905" y="6504"/>
                  </a:lnTo>
                  <a:lnTo>
                    <a:pt x="27"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5" name="Freeform: Shape 4394">
              <a:extLst>
                <a:ext uri="{FF2B5EF4-FFF2-40B4-BE49-F238E27FC236}">
                  <a16:creationId xmlns:a16="http://schemas.microsoft.com/office/drawing/2014/main" id="{FA64AD3C-A637-0FA0-0BBE-4A45E7EDB1BE}"/>
                </a:ext>
              </a:extLst>
            </p:cNvPr>
            <p:cNvSpPr/>
            <p:nvPr/>
          </p:nvSpPr>
          <p:spPr>
            <a:xfrm>
              <a:off x="1544737" y="3384592"/>
              <a:ext cx="779" cy="1488"/>
            </a:xfrm>
            <a:custGeom>
              <a:avLst/>
              <a:gdLst>
                <a:gd name="connsiteX0" fmla="*/ 0 w 7464"/>
                <a:gd name="connsiteY0" fmla="*/ 5434 h 14270"/>
                <a:gd name="connsiteX1" fmla="*/ 521 w 7464"/>
                <a:gd name="connsiteY1" fmla="*/ 1427 h 14270"/>
                <a:gd name="connsiteX2" fmla="*/ 6915 w 7464"/>
                <a:gd name="connsiteY2" fmla="*/ 0 h 14270"/>
                <a:gd name="connsiteX3" fmla="*/ 7464 w 7464"/>
                <a:gd name="connsiteY3" fmla="*/ 10126 h 14270"/>
                <a:gd name="connsiteX4" fmla="*/ 1866 w 7464"/>
                <a:gd name="connsiteY4" fmla="*/ 14270 h 14270"/>
                <a:gd name="connsiteX5" fmla="*/ 54 w 7464"/>
                <a:gd name="connsiteY5" fmla="*/ 5406 h 1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64" h="14270">
                  <a:moveTo>
                    <a:pt x="0" y="5434"/>
                  </a:moveTo>
                  <a:lnTo>
                    <a:pt x="521" y="1427"/>
                  </a:lnTo>
                  <a:lnTo>
                    <a:pt x="6915" y="0"/>
                  </a:lnTo>
                  <a:lnTo>
                    <a:pt x="7464" y="10126"/>
                  </a:lnTo>
                  <a:lnTo>
                    <a:pt x="1866" y="14270"/>
                  </a:lnTo>
                  <a:lnTo>
                    <a:pt x="54" y="54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9" name="Freeform: Shape 4398">
              <a:extLst>
                <a:ext uri="{FF2B5EF4-FFF2-40B4-BE49-F238E27FC236}">
                  <a16:creationId xmlns:a16="http://schemas.microsoft.com/office/drawing/2014/main" id="{26872A3E-CDDC-C184-0448-BF68492FAD7F}"/>
                </a:ext>
              </a:extLst>
            </p:cNvPr>
            <p:cNvSpPr/>
            <p:nvPr/>
          </p:nvSpPr>
          <p:spPr>
            <a:xfrm>
              <a:off x="1887200" y="3541333"/>
              <a:ext cx="524" cy="902"/>
            </a:xfrm>
            <a:custGeom>
              <a:avLst/>
              <a:gdLst>
                <a:gd name="connsiteX0" fmla="*/ 0 w 5021"/>
                <a:gd name="connsiteY0" fmla="*/ 4281 h 8644"/>
                <a:gd name="connsiteX1" fmla="*/ 4089 w 5021"/>
                <a:gd name="connsiteY1" fmla="*/ 0 h 8644"/>
                <a:gd name="connsiteX2" fmla="*/ 5022 w 5021"/>
                <a:gd name="connsiteY2" fmla="*/ 2964 h 8644"/>
                <a:gd name="connsiteX3" fmla="*/ 1729 w 5021"/>
                <a:gd name="connsiteY3" fmla="*/ 8644 h 8644"/>
                <a:gd name="connsiteX4" fmla="*/ 0 w 5021"/>
                <a:gd name="connsiteY4" fmla="*/ 4281 h 8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1" h="8644">
                  <a:moveTo>
                    <a:pt x="0" y="4281"/>
                  </a:moveTo>
                  <a:lnTo>
                    <a:pt x="4089" y="0"/>
                  </a:lnTo>
                  <a:lnTo>
                    <a:pt x="5022" y="2964"/>
                  </a:lnTo>
                  <a:lnTo>
                    <a:pt x="1729" y="8644"/>
                  </a:lnTo>
                  <a:lnTo>
                    <a:pt x="0"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1" name="Freeform: Shape 4400">
              <a:extLst>
                <a:ext uri="{FF2B5EF4-FFF2-40B4-BE49-F238E27FC236}">
                  <a16:creationId xmlns:a16="http://schemas.microsoft.com/office/drawing/2014/main" id="{FD4152D9-E3BC-0D09-B92D-61C8A78884DC}"/>
                </a:ext>
              </a:extLst>
            </p:cNvPr>
            <p:cNvSpPr/>
            <p:nvPr/>
          </p:nvSpPr>
          <p:spPr>
            <a:xfrm>
              <a:off x="1835180" y="3675559"/>
              <a:ext cx="507" cy="475"/>
            </a:xfrm>
            <a:custGeom>
              <a:avLst/>
              <a:gdLst>
                <a:gd name="connsiteX0" fmla="*/ 0 w 4857"/>
                <a:gd name="connsiteY0" fmla="*/ 1482 h 4555"/>
                <a:gd name="connsiteX1" fmla="*/ 1509 w 4857"/>
                <a:gd name="connsiteY1" fmla="*/ 0 h 4555"/>
                <a:gd name="connsiteX2" fmla="*/ 4857 w 4857"/>
                <a:gd name="connsiteY2" fmla="*/ 2717 h 4555"/>
                <a:gd name="connsiteX3" fmla="*/ 2497 w 4857"/>
                <a:gd name="connsiteY3" fmla="*/ 4556 h 4555"/>
                <a:gd name="connsiteX4" fmla="*/ 0 w 4857"/>
                <a:gd name="connsiteY4" fmla="*/ 1482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 h="4555">
                  <a:moveTo>
                    <a:pt x="0" y="1482"/>
                  </a:moveTo>
                  <a:lnTo>
                    <a:pt x="1509" y="0"/>
                  </a:lnTo>
                  <a:lnTo>
                    <a:pt x="4857" y="2717"/>
                  </a:lnTo>
                  <a:lnTo>
                    <a:pt x="2497" y="4556"/>
                  </a:lnTo>
                  <a:lnTo>
                    <a:pt x="0"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4" name="Freeform: Shape 4403">
              <a:extLst>
                <a:ext uri="{FF2B5EF4-FFF2-40B4-BE49-F238E27FC236}">
                  <a16:creationId xmlns:a16="http://schemas.microsoft.com/office/drawing/2014/main" id="{FE8F5908-A0AF-9C5D-FD36-CEDEA41CB836}"/>
                </a:ext>
              </a:extLst>
            </p:cNvPr>
            <p:cNvSpPr/>
            <p:nvPr/>
          </p:nvSpPr>
          <p:spPr>
            <a:xfrm>
              <a:off x="1837628" y="3672422"/>
              <a:ext cx="446" cy="538"/>
            </a:xfrm>
            <a:custGeom>
              <a:avLst/>
              <a:gdLst>
                <a:gd name="connsiteX0" fmla="*/ 0 w 4280"/>
                <a:gd name="connsiteY0" fmla="*/ 3650 h 5159"/>
                <a:gd name="connsiteX1" fmla="*/ 2744 w 4280"/>
                <a:gd name="connsiteY1" fmla="*/ 0 h 5159"/>
                <a:gd name="connsiteX2" fmla="*/ 4281 w 4280"/>
                <a:gd name="connsiteY2" fmla="*/ 2772 h 5159"/>
                <a:gd name="connsiteX3" fmla="*/ 1838 w 4280"/>
                <a:gd name="connsiteY3" fmla="*/ 5159 h 5159"/>
                <a:gd name="connsiteX4" fmla="*/ 27 w 4280"/>
                <a:gd name="connsiteY4" fmla="*/ 3650 h 5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0" h="5159">
                  <a:moveTo>
                    <a:pt x="0" y="3650"/>
                  </a:moveTo>
                  <a:lnTo>
                    <a:pt x="2744" y="0"/>
                  </a:lnTo>
                  <a:lnTo>
                    <a:pt x="4281" y="2772"/>
                  </a:lnTo>
                  <a:lnTo>
                    <a:pt x="1838" y="5159"/>
                  </a:lnTo>
                  <a:lnTo>
                    <a:pt x="27" y="36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6" name="Freeform: Shape 4405">
              <a:extLst>
                <a:ext uri="{FF2B5EF4-FFF2-40B4-BE49-F238E27FC236}">
                  <a16:creationId xmlns:a16="http://schemas.microsoft.com/office/drawing/2014/main" id="{E5B28F5B-AF02-3DA4-3312-E747B2D914F6}"/>
                </a:ext>
              </a:extLst>
            </p:cNvPr>
            <p:cNvSpPr/>
            <p:nvPr/>
          </p:nvSpPr>
          <p:spPr>
            <a:xfrm>
              <a:off x="1837370" y="3671572"/>
              <a:ext cx="541" cy="441"/>
            </a:xfrm>
            <a:custGeom>
              <a:avLst/>
              <a:gdLst>
                <a:gd name="connsiteX0" fmla="*/ 0 w 5187"/>
                <a:gd name="connsiteY0" fmla="*/ 2003 h 4225"/>
                <a:gd name="connsiteX1" fmla="*/ 2360 w 5187"/>
                <a:gd name="connsiteY1" fmla="*/ 0 h 4225"/>
                <a:gd name="connsiteX2" fmla="*/ 5187 w 5187"/>
                <a:gd name="connsiteY2" fmla="*/ 2525 h 4225"/>
                <a:gd name="connsiteX3" fmla="*/ 3540 w 5187"/>
                <a:gd name="connsiteY3" fmla="*/ 4226 h 4225"/>
                <a:gd name="connsiteX4" fmla="*/ 0 w 5187"/>
                <a:gd name="connsiteY4" fmla="*/ 2031 h 4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7" h="4225">
                  <a:moveTo>
                    <a:pt x="0" y="2003"/>
                  </a:moveTo>
                  <a:lnTo>
                    <a:pt x="2360" y="0"/>
                  </a:lnTo>
                  <a:lnTo>
                    <a:pt x="5187" y="2525"/>
                  </a:lnTo>
                  <a:lnTo>
                    <a:pt x="3540" y="4226"/>
                  </a:lnTo>
                  <a:lnTo>
                    <a:pt x="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7" name="Freeform: Shape 4406">
              <a:extLst>
                <a:ext uri="{FF2B5EF4-FFF2-40B4-BE49-F238E27FC236}">
                  <a16:creationId xmlns:a16="http://schemas.microsoft.com/office/drawing/2014/main" id="{F7C1C930-9726-3B31-79C1-CF1C07849105}"/>
                </a:ext>
              </a:extLst>
            </p:cNvPr>
            <p:cNvSpPr/>
            <p:nvPr/>
          </p:nvSpPr>
          <p:spPr>
            <a:xfrm>
              <a:off x="1804659" y="3651444"/>
              <a:ext cx="401" cy="635"/>
            </a:xfrm>
            <a:custGeom>
              <a:avLst/>
              <a:gdLst>
                <a:gd name="connsiteX0" fmla="*/ 0 w 3842"/>
                <a:gd name="connsiteY0" fmla="*/ 3129 h 6092"/>
                <a:gd name="connsiteX1" fmla="*/ 1564 w 3842"/>
                <a:gd name="connsiteY1" fmla="*/ 0 h 6092"/>
                <a:gd name="connsiteX2" fmla="*/ 3842 w 3842"/>
                <a:gd name="connsiteY2" fmla="*/ 3485 h 6092"/>
                <a:gd name="connsiteX3" fmla="*/ 1812 w 3842"/>
                <a:gd name="connsiteY3" fmla="*/ 6092 h 6092"/>
                <a:gd name="connsiteX4" fmla="*/ 0 w 3842"/>
                <a:gd name="connsiteY4" fmla="*/ 3129 h 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2" h="6092">
                  <a:moveTo>
                    <a:pt x="0" y="3129"/>
                  </a:moveTo>
                  <a:lnTo>
                    <a:pt x="1564" y="0"/>
                  </a:lnTo>
                  <a:lnTo>
                    <a:pt x="3842" y="3485"/>
                  </a:lnTo>
                  <a:lnTo>
                    <a:pt x="1812" y="6092"/>
                  </a:lnTo>
                  <a:lnTo>
                    <a:pt x="0" y="31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8" name="Freeform: Shape 4407">
              <a:extLst>
                <a:ext uri="{FF2B5EF4-FFF2-40B4-BE49-F238E27FC236}">
                  <a16:creationId xmlns:a16="http://schemas.microsoft.com/office/drawing/2014/main" id="{9FC07CC0-80DF-55FA-7A7C-02ABC8A86934}"/>
                </a:ext>
              </a:extLst>
            </p:cNvPr>
            <p:cNvSpPr/>
            <p:nvPr/>
          </p:nvSpPr>
          <p:spPr>
            <a:xfrm>
              <a:off x="1787354" y="3643899"/>
              <a:ext cx="372" cy="695"/>
            </a:xfrm>
            <a:custGeom>
              <a:avLst/>
              <a:gdLst>
                <a:gd name="connsiteX0" fmla="*/ 1784 w 3567"/>
                <a:gd name="connsiteY0" fmla="*/ 6586 h 6668"/>
                <a:gd name="connsiteX1" fmla="*/ 0 w 3567"/>
                <a:gd name="connsiteY1" fmla="*/ 2909 h 6668"/>
                <a:gd name="connsiteX2" fmla="*/ 2251 w 3567"/>
                <a:gd name="connsiteY2" fmla="*/ 0 h 6668"/>
                <a:gd name="connsiteX3" fmla="*/ 3568 w 3567"/>
                <a:gd name="connsiteY3" fmla="*/ 3074 h 6668"/>
                <a:gd name="connsiteX4" fmla="*/ 1838 w 3567"/>
                <a:gd name="connsiteY4" fmla="*/ 6669 h 6668"/>
                <a:gd name="connsiteX5" fmla="*/ 1757 w 3567"/>
                <a:gd name="connsiteY5" fmla="*/ 6559 h 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6668">
                  <a:moveTo>
                    <a:pt x="1784" y="6586"/>
                  </a:moveTo>
                  <a:lnTo>
                    <a:pt x="0" y="2909"/>
                  </a:lnTo>
                  <a:lnTo>
                    <a:pt x="2251" y="0"/>
                  </a:lnTo>
                  <a:lnTo>
                    <a:pt x="3568" y="3074"/>
                  </a:lnTo>
                  <a:lnTo>
                    <a:pt x="1838" y="6669"/>
                  </a:lnTo>
                  <a:lnTo>
                    <a:pt x="1757" y="65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9" name="Freeform: Shape 4408">
              <a:extLst>
                <a:ext uri="{FF2B5EF4-FFF2-40B4-BE49-F238E27FC236}">
                  <a16:creationId xmlns:a16="http://schemas.microsoft.com/office/drawing/2014/main" id="{A79AE422-8878-0F92-F698-15F1BC378DE7}"/>
                </a:ext>
              </a:extLst>
            </p:cNvPr>
            <p:cNvSpPr/>
            <p:nvPr/>
          </p:nvSpPr>
          <p:spPr>
            <a:xfrm>
              <a:off x="1828010" y="3682618"/>
              <a:ext cx="461" cy="478"/>
            </a:xfrm>
            <a:custGeom>
              <a:avLst/>
              <a:gdLst>
                <a:gd name="connsiteX0" fmla="*/ 0 w 4417"/>
                <a:gd name="connsiteY0" fmla="*/ 3019 h 4583"/>
                <a:gd name="connsiteX1" fmla="*/ 2909 w 4417"/>
                <a:gd name="connsiteY1" fmla="*/ 0 h 4583"/>
                <a:gd name="connsiteX2" fmla="*/ 4418 w 4417"/>
                <a:gd name="connsiteY2" fmla="*/ 3403 h 4583"/>
                <a:gd name="connsiteX3" fmla="*/ 2744 w 4417"/>
                <a:gd name="connsiteY3" fmla="*/ 4583 h 4583"/>
                <a:gd name="connsiteX4" fmla="*/ 0 w 4417"/>
                <a:gd name="connsiteY4" fmla="*/ 2991 h 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7" h="4583">
                  <a:moveTo>
                    <a:pt x="0" y="3019"/>
                  </a:moveTo>
                  <a:lnTo>
                    <a:pt x="2909" y="0"/>
                  </a:lnTo>
                  <a:lnTo>
                    <a:pt x="4418" y="3403"/>
                  </a:lnTo>
                  <a:lnTo>
                    <a:pt x="2744" y="4583"/>
                  </a:lnTo>
                  <a:lnTo>
                    <a:pt x="0" y="29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7" name="Freeform: Shape 4416">
              <a:extLst>
                <a:ext uri="{FF2B5EF4-FFF2-40B4-BE49-F238E27FC236}">
                  <a16:creationId xmlns:a16="http://schemas.microsoft.com/office/drawing/2014/main" id="{41BA0F06-0AA4-0913-257C-121CA4B53316}"/>
                </a:ext>
              </a:extLst>
            </p:cNvPr>
            <p:cNvSpPr/>
            <p:nvPr/>
          </p:nvSpPr>
          <p:spPr>
            <a:xfrm>
              <a:off x="1860896" y="3531959"/>
              <a:ext cx="547" cy="796"/>
            </a:xfrm>
            <a:custGeom>
              <a:avLst/>
              <a:gdLst>
                <a:gd name="connsiteX0" fmla="*/ 0 w 5242"/>
                <a:gd name="connsiteY0" fmla="*/ 0 h 7629"/>
                <a:gd name="connsiteX1" fmla="*/ 5242 w 5242"/>
                <a:gd name="connsiteY1" fmla="*/ 2662 h 7629"/>
                <a:gd name="connsiteX2" fmla="*/ 4501 w 5242"/>
                <a:gd name="connsiteY2" fmla="*/ 7629 h 7629"/>
                <a:gd name="connsiteX3" fmla="*/ 220 w 5242"/>
                <a:gd name="connsiteY3" fmla="*/ 3568 h 7629"/>
                <a:gd name="connsiteX4" fmla="*/ 0 w 5242"/>
                <a:gd name="connsiteY4" fmla="*/ 0 h 7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2" h="7629">
                  <a:moveTo>
                    <a:pt x="0" y="0"/>
                  </a:moveTo>
                  <a:lnTo>
                    <a:pt x="5242" y="2662"/>
                  </a:lnTo>
                  <a:lnTo>
                    <a:pt x="4501" y="7629"/>
                  </a:lnTo>
                  <a:lnTo>
                    <a:pt x="220" y="3568"/>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8" name="Freeform: Shape 4417">
              <a:extLst>
                <a:ext uri="{FF2B5EF4-FFF2-40B4-BE49-F238E27FC236}">
                  <a16:creationId xmlns:a16="http://schemas.microsoft.com/office/drawing/2014/main" id="{E7DCAE91-991B-8EFA-4A6F-28C5D6A04111}"/>
                </a:ext>
              </a:extLst>
            </p:cNvPr>
            <p:cNvSpPr/>
            <p:nvPr/>
          </p:nvSpPr>
          <p:spPr>
            <a:xfrm>
              <a:off x="1839173" y="3670779"/>
              <a:ext cx="498" cy="441"/>
            </a:xfrm>
            <a:custGeom>
              <a:avLst/>
              <a:gdLst>
                <a:gd name="connsiteX0" fmla="*/ 0 w 4775"/>
                <a:gd name="connsiteY0" fmla="*/ 0 h 4226"/>
                <a:gd name="connsiteX1" fmla="*/ 3019 w 4775"/>
                <a:gd name="connsiteY1" fmla="*/ 164 h 4226"/>
                <a:gd name="connsiteX2" fmla="*/ 4775 w 4775"/>
                <a:gd name="connsiteY2" fmla="*/ 1701 h 4226"/>
                <a:gd name="connsiteX3" fmla="*/ 2497 w 4775"/>
                <a:gd name="connsiteY3" fmla="*/ 4226 h 4226"/>
                <a:gd name="connsiteX4" fmla="*/ 933 w 4775"/>
                <a:gd name="connsiteY4" fmla="*/ 3238 h 4226"/>
                <a:gd name="connsiteX5" fmla="*/ 27 w 4775"/>
                <a:gd name="connsiteY5" fmla="*/ 27 h 4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 h="4226">
                  <a:moveTo>
                    <a:pt x="0" y="0"/>
                  </a:moveTo>
                  <a:lnTo>
                    <a:pt x="3019" y="164"/>
                  </a:lnTo>
                  <a:lnTo>
                    <a:pt x="4775" y="1701"/>
                  </a:lnTo>
                  <a:lnTo>
                    <a:pt x="2497" y="4226"/>
                  </a:lnTo>
                  <a:lnTo>
                    <a:pt x="933" y="3238"/>
                  </a:lnTo>
                  <a:lnTo>
                    <a:pt x="27"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9" name="Freeform: Shape 4418">
              <a:extLst>
                <a:ext uri="{FF2B5EF4-FFF2-40B4-BE49-F238E27FC236}">
                  <a16:creationId xmlns:a16="http://schemas.microsoft.com/office/drawing/2014/main" id="{14C91783-F85B-B2DB-0026-C6394E21FEEA}"/>
                </a:ext>
              </a:extLst>
            </p:cNvPr>
            <p:cNvSpPr/>
            <p:nvPr/>
          </p:nvSpPr>
          <p:spPr>
            <a:xfrm>
              <a:off x="1769642" y="3697868"/>
              <a:ext cx="409" cy="475"/>
            </a:xfrm>
            <a:custGeom>
              <a:avLst/>
              <a:gdLst>
                <a:gd name="connsiteX0" fmla="*/ 0 w 3924"/>
                <a:gd name="connsiteY0" fmla="*/ 1619 h 4555"/>
                <a:gd name="connsiteX1" fmla="*/ 2387 w 3924"/>
                <a:gd name="connsiteY1" fmla="*/ 0 h 4555"/>
                <a:gd name="connsiteX2" fmla="*/ 3924 w 3924"/>
                <a:gd name="connsiteY2" fmla="*/ 2991 h 4555"/>
                <a:gd name="connsiteX3" fmla="*/ 1481 w 3924"/>
                <a:gd name="connsiteY3" fmla="*/ 4555 h 4555"/>
                <a:gd name="connsiteX4" fmla="*/ 0 w 3924"/>
                <a:gd name="connsiteY4" fmla="*/ 1619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4555">
                  <a:moveTo>
                    <a:pt x="0" y="1619"/>
                  </a:moveTo>
                  <a:lnTo>
                    <a:pt x="2387" y="0"/>
                  </a:lnTo>
                  <a:lnTo>
                    <a:pt x="3924" y="2991"/>
                  </a:lnTo>
                  <a:lnTo>
                    <a:pt x="1481" y="4555"/>
                  </a:lnTo>
                  <a:lnTo>
                    <a:pt x="0"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1" name="Freeform: Shape 4420">
              <a:extLst>
                <a:ext uri="{FF2B5EF4-FFF2-40B4-BE49-F238E27FC236}">
                  <a16:creationId xmlns:a16="http://schemas.microsoft.com/office/drawing/2014/main" id="{081E1931-91BD-883E-8D8B-94430B4655A7}"/>
                </a:ext>
              </a:extLst>
            </p:cNvPr>
            <p:cNvSpPr/>
            <p:nvPr/>
          </p:nvSpPr>
          <p:spPr>
            <a:xfrm>
              <a:off x="1542069" y="3390665"/>
              <a:ext cx="552" cy="1677"/>
            </a:xfrm>
            <a:custGeom>
              <a:avLst/>
              <a:gdLst>
                <a:gd name="connsiteX0" fmla="*/ 0 w 5296"/>
                <a:gd name="connsiteY0" fmla="*/ 9578 h 16081"/>
                <a:gd name="connsiteX1" fmla="*/ 1207 w 5296"/>
                <a:gd name="connsiteY1" fmla="*/ 0 h 16081"/>
                <a:gd name="connsiteX2" fmla="*/ 5296 w 5296"/>
                <a:gd name="connsiteY2" fmla="*/ 7410 h 16081"/>
                <a:gd name="connsiteX3" fmla="*/ 4720 w 5296"/>
                <a:gd name="connsiteY3" fmla="*/ 16082 h 16081"/>
                <a:gd name="connsiteX4" fmla="*/ 0 w 5296"/>
                <a:gd name="connsiteY4" fmla="*/ 9578 h 16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6" h="16081">
                  <a:moveTo>
                    <a:pt x="0" y="9578"/>
                  </a:moveTo>
                  <a:lnTo>
                    <a:pt x="1207" y="0"/>
                  </a:lnTo>
                  <a:lnTo>
                    <a:pt x="5296" y="7410"/>
                  </a:lnTo>
                  <a:lnTo>
                    <a:pt x="4720" y="16082"/>
                  </a:lnTo>
                  <a:lnTo>
                    <a:pt x="0" y="95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6" name="Freeform: Shape 4425">
              <a:extLst>
                <a:ext uri="{FF2B5EF4-FFF2-40B4-BE49-F238E27FC236}">
                  <a16:creationId xmlns:a16="http://schemas.microsoft.com/office/drawing/2014/main" id="{6442E5BA-C1B3-FDF4-B301-04E5FE8E67DC}"/>
                </a:ext>
              </a:extLst>
            </p:cNvPr>
            <p:cNvSpPr/>
            <p:nvPr/>
          </p:nvSpPr>
          <p:spPr>
            <a:xfrm>
              <a:off x="1868604" y="3613338"/>
              <a:ext cx="418" cy="627"/>
            </a:xfrm>
            <a:custGeom>
              <a:avLst/>
              <a:gdLst>
                <a:gd name="connsiteX0" fmla="*/ 0 w 4006"/>
                <a:gd name="connsiteY0" fmla="*/ 2168 h 6010"/>
                <a:gd name="connsiteX1" fmla="*/ 2908 w 4006"/>
                <a:gd name="connsiteY1" fmla="*/ 0 h 6010"/>
                <a:gd name="connsiteX2" fmla="*/ 4007 w 4006"/>
                <a:gd name="connsiteY2" fmla="*/ 4034 h 6010"/>
                <a:gd name="connsiteX3" fmla="*/ 905 w 4006"/>
                <a:gd name="connsiteY3" fmla="*/ 6010 h 6010"/>
                <a:gd name="connsiteX4" fmla="*/ 27 w 4006"/>
                <a:gd name="connsiteY4" fmla="*/ 2168 h 6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6010">
                  <a:moveTo>
                    <a:pt x="0" y="2168"/>
                  </a:moveTo>
                  <a:lnTo>
                    <a:pt x="2908" y="0"/>
                  </a:lnTo>
                  <a:lnTo>
                    <a:pt x="4007" y="4034"/>
                  </a:lnTo>
                  <a:lnTo>
                    <a:pt x="905" y="6010"/>
                  </a:lnTo>
                  <a:lnTo>
                    <a:pt x="27"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7" name="Freeform: Shape 4426">
              <a:extLst>
                <a:ext uri="{FF2B5EF4-FFF2-40B4-BE49-F238E27FC236}">
                  <a16:creationId xmlns:a16="http://schemas.microsoft.com/office/drawing/2014/main" id="{E37B4F4E-7B6F-C95E-E3D5-17A2CFA51BF2}"/>
                </a:ext>
              </a:extLst>
            </p:cNvPr>
            <p:cNvSpPr/>
            <p:nvPr/>
          </p:nvSpPr>
          <p:spPr>
            <a:xfrm>
              <a:off x="1838051" y="3671964"/>
              <a:ext cx="381" cy="524"/>
            </a:xfrm>
            <a:custGeom>
              <a:avLst/>
              <a:gdLst>
                <a:gd name="connsiteX0" fmla="*/ 0 w 3649"/>
                <a:gd name="connsiteY0" fmla="*/ 3266 h 5021"/>
                <a:gd name="connsiteX1" fmla="*/ 466 w 3649"/>
                <a:gd name="connsiteY1" fmla="*/ 823 h 5021"/>
                <a:gd name="connsiteX2" fmla="*/ 3375 w 3649"/>
                <a:gd name="connsiteY2" fmla="*/ 0 h 5021"/>
                <a:gd name="connsiteX3" fmla="*/ 3649 w 3649"/>
                <a:gd name="connsiteY3" fmla="*/ 3074 h 5021"/>
                <a:gd name="connsiteX4" fmla="*/ 1400 w 3649"/>
                <a:gd name="connsiteY4" fmla="*/ 5022 h 5021"/>
                <a:gd name="connsiteX5" fmla="*/ 27 w 3649"/>
                <a:gd name="connsiteY5" fmla="*/ 3238 h 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49" h="5021">
                  <a:moveTo>
                    <a:pt x="0" y="3266"/>
                  </a:moveTo>
                  <a:lnTo>
                    <a:pt x="466" y="823"/>
                  </a:lnTo>
                  <a:lnTo>
                    <a:pt x="3375" y="0"/>
                  </a:lnTo>
                  <a:lnTo>
                    <a:pt x="3649" y="3074"/>
                  </a:lnTo>
                  <a:lnTo>
                    <a:pt x="1400" y="5022"/>
                  </a:lnTo>
                  <a:lnTo>
                    <a:pt x="27"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2" name="Freeform: Shape 4431">
              <a:extLst>
                <a:ext uri="{FF2B5EF4-FFF2-40B4-BE49-F238E27FC236}">
                  <a16:creationId xmlns:a16="http://schemas.microsoft.com/office/drawing/2014/main" id="{0C5597A2-EE35-A0A7-B352-A720936CB027}"/>
                </a:ext>
              </a:extLst>
            </p:cNvPr>
            <p:cNvSpPr/>
            <p:nvPr/>
          </p:nvSpPr>
          <p:spPr>
            <a:xfrm>
              <a:off x="1834622" y="3677025"/>
              <a:ext cx="335" cy="555"/>
            </a:xfrm>
            <a:custGeom>
              <a:avLst/>
              <a:gdLst>
                <a:gd name="connsiteX0" fmla="*/ 0 w 3210"/>
                <a:gd name="connsiteY0" fmla="*/ 5324 h 5324"/>
                <a:gd name="connsiteX1" fmla="*/ 576 w 3210"/>
                <a:gd name="connsiteY1" fmla="*/ 2305 h 5324"/>
                <a:gd name="connsiteX2" fmla="*/ 3101 w 3210"/>
                <a:gd name="connsiteY2" fmla="*/ 0 h 5324"/>
                <a:gd name="connsiteX3" fmla="*/ 3211 w 3210"/>
                <a:gd name="connsiteY3" fmla="*/ 4473 h 5324"/>
                <a:gd name="connsiteX4" fmla="*/ 27 w 3210"/>
                <a:gd name="connsiteY4" fmla="*/ 5297 h 5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 h="5324">
                  <a:moveTo>
                    <a:pt x="0" y="5324"/>
                  </a:moveTo>
                  <a:lnTo>
                    <a:pt x="576" y="2305"/>
                  </a:lnTo>
                  <a:lnTo>
                    <a:pt x="3101" y="0"/>
                  </a:lnTo>
                  <a:lnTo>
                    <a:pt x="3211" y="4473"/>
                  </a:lnTo>
                  <a:lnTo>
                    <a:pt x="27" y="52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3" name="Freeform: Shape 4432">
              <a:extLst>
                <a:ext uri="{FF2B5EF4-FFF2-40B4-BE49-F238E27FC236}">
                  <a16:creationId xmlns:a16="http://schemas.microsoft.com/office/drawing/2014/main" id="{D7CF6770-0063-72AF-DA88-C94EC004D1E3}"/>
                </a:ext>
              </a:extLst>
            </p:cNvPr>
            <p:cNvSpPr/>
            <p:nvPr/>
          </p:nvSpPr>
          <p:spPr>
            <a:xfrm>
              <a:off x="1785639" y="3480551"/>
              <a:ext cx="415" cy="1196"/>
            </a:xfrm>
            <a:custGeom>
              <a:avLst/>
              <a:gdLst>
                <a:gd name="connsiteX0" fmla="*/ 0 w 3979"/>
                <a:gd name="connsiteY0" fmla="*/ 5269 h 11471"/>
                <a:gd name="connsiteX1" fmla="*/ 906 w 3979"/>
                <a:gd name="connsiteY1" fmla="*/ 467 h 11471"/>
                <a:gd name="connsiteX2" fmla="*/ 3979 w 3979"/>
                <a:gd name="connsiteY2" fmla="*/ 0 h 11471"/>
                <a:gd name="connsiteX3" fmla="*/ 3266 w 3979"/>
                <a:gd name="connsiteY3" fmla="*/ 11471 h 11471"/>
                <a:gd name="connsiteX4" fmla="*/ 27 w 3979"/>
                <a:gd name="connsiteY4" fmla="*/ 5242 h 11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11471">
                  <a:moveTo>
                    <a:pt x="0" y="5269"/>
                  </a:moveTo>
                  <a:lnTo>
                    <a:pt x="906" y="467"/>
                  </a:lnTo>
                  <a:lnTo>
                    <a:pt x="3979" y="0"/>
                  </a:lnTo>
                  <a:lnTo>
                    <a:pt x="3266" y="11471"/>
                  </a:lnTo>
                  <a:lnTo>
                    <a:pt x="27" y="52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7" name="Freeform: Shape 4436">
              <a:extLst>
                <a:ext uri="{FF2B5EF4-FFF2-40B4-BE49-F238E27FC236}">
                  <a16:creationId xmlns:a16="http://schemas.microsoft.com/office/drawing/2014/main" id="{BEAD3089-62AE-5A6F-CD7C-CDF9E569DD22}"/>
                </a:ext>
              </a:extLst>
            </p:cNvPr>
            <p:cNvSpPr/>
            <p:nvPr/>
          </p:nvSpPr>
          <p:spPr>
            <a:xfrm>
              <a:off x="1789649" y="3641011"/>
              <a:ext cx="507" cy="418"/>
            </a:xfrm>
            <a:custGeom>
              <a:avLst/>
              <a:gdLst>
                <a:gd name="connsiteX0" fmla="*/ 0 w 4857"/>
                <a:gd name="connsiteY0" fmla="*/ 1455 h 4006"/>
                <a:gd name="connsiteX1" fmla="*/ 1976 w 4857"/>
                <a:gd name="connsiteY1" fmla="*/ 0 h 4006"/>
                <a:gd name="connsiteX2" fmla="*/ 4857 w 4857"/>
                <a:gd name="connsiteY2" fmla="*/ 1455 h 4006"/>
                <a:gd name="connsiteX3" fmla="*/ 3513 w 4857"/>
                <a:gd name="connsiteY3" fmla="*/ 4007 h 4006"/>
                <a:gd name="connsiteX4" fmla="*/ 82 w 4857"/>
                <a:gd name="connsiteY4" fmla="*/ 2936 h 4006"/>
                <a:gd name="connsiteX5" fmla="*/ 0 w 4857"/>
                <a:gd name="connsiteY5" fmla="*/ 1455 h 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 h="4006">
                  <a:moveTo>
                    <a:pt x="0" y="1455"/>
                  </a:moveTo>
                  <a:lnTo>
                    <a:pt x="1976" y="0"/>
                  </a:lnTo>
                  <a:lnTo>
                    <a:pt x="4857" y="1455"/>
                  </a:lnTo>
                  <a:lnTo>
                    <a:pt x="3513" y="4007"/>
                  </a:lnTo>
                  <a:lnTo>
                    <a:pt x="82" y="2936"/>
                  </a:lnTo>
                  <a:lnTo>
                    <a:pt x="0" y="14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1" name="Freeform: Shape 4450">
              <a:extLst>
                <a:ext uri="{FF2B5EF4-FFF2-40B4-BE49-F238E27FC236}">
                  <a16:creationId xmlns:a16="http://schemas.microsoft.com/office/drawing/2014/main" id="{96B61EB1-2DCB-C382-B47B-FB0C63241193}"/>
                </a:ext>
              </a:extLst>
            </p:cNvPr>
            <p:cNvSpPr/>
            <p:nvPr/>
          </p:nvSpPr>
          <p:spPr>
            <a:xfrm>
              <a:off x="1838964" y="3667662"/>
              <a:ext cx="381" cy="461"/>
            </a:xfrm>
            <a:custGeom>
              <a:avLst/>
              <a:gdLst>
                <a:gd name="connsiteX0" fmla="*/ 0 w 3650"/>
                <a:gd name="connsiteY0" fmla="*/ 3101 h 4418"/>
                <a:gd name="connsiteX1" fmla="*/ 494 w 3650"/>
                <a:gd name="connsiteY1" fmla="*/ 439 h 4418"/>
                <a:gd name="connsiteX2" fmla="*/ 2991 w 3650"/>
                <a:gd name="connsiteY2" fmla="*/ 0 h 4418"/>
                <a:gd name="connsiteX3" fmla="*/ 3650 w 3650"/>
                <a:gd name="connsiteY3" fmla="*/ 1729 h 4418"/>
                <a:gd name="connsiteX4" fmla="*/ 2278 w 3650"/>
                <a:gd name="connsiteY4" fmla="*/ 4418 h 4418"/>
                <a:gd name="connsiteX5" fmla="*/ 0 w 3650"/>
                <a:gd name="connsiteY5" fmla="*/ 3101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0" h="4418">
                  <a:moveTo>
                    <a:pt x="0" y="3101"/>
                  </a:moveTo>
                  <a:lnTo>
                    <a:pt x="494" y="439"/>
                  </a:lnTo>
                  <a:lnTo>
                    <a:pt x="2991" y="0"/>
                  </a:lnTo>
                  <a:lnTo>
                    <a:pt x="3650" y="1729"/>
                  </a:lnTo>
                  <a:lnTo>
                    <a:pt x="2278" y="4418"/>
                  </a:lnTo>
                  <a:lnTo>
                    <a:pt x="0" y="31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4" name="Freeform: Shape 4453">
              <a:extLst>
                <a:ext uri="{FF2B5EF4-FFF2-40B4-BE49-F238E27FC236}">
                  <a16:creationId xmlns:a16="http://schemas.microsoft.com/office/drawing/2014/main" id="{86CA81F7-8460-3EEF-AADF-BDE086351E81}"/>
                </a:ext>
              </a:extLst>
            </p:cNvPr>
            <p:cNvSpPr/>
            <p:nvPr/>
          </p:nvSpPr>
          <p:spPr>
            <a:xfrm>
              <a:off x="1860584" y="3530797"/>
              <a:ext cx="438" cy="776"/>
            </a:xfrm>
            <a:custGeom>
              <a:avLst/>
              <a:gdLst>
                <a:gd name="connsiteX0" fmla="*/ 3458 w 4198"/>
                <a:gd name="connsiteY0" fmla="*/ 6257 h 7437"/>
                <a:gd name="connsiteX1" fmla="*/ 2031 w 4198"/>
                <a:gd name="connsiteY1" fmla="*/ 7437 h 7437"/>
                <a:gd name="connsiteX2" fmla="*/ 439 w 4198"/>
                <a:gd name="connsiteY2" fmla="*/ 4857 h 7437"/>
                <a:gd name="connsiteX3" fmla="*/ 0 w 4198"/>
                <a:gd name="connsiteY3" fmla="*/ 823 h 7437"/>
                <a:gd name="connsiteX4" fmla="*/ 2332 w 4198"/>
                <a:gd name="connsiteY4" fmla="*/ 0 h 7437"/>
                <a:gd name="connsiteX5" fmla="*/ 4199 w 4198"/>
                <a:gd name="connsiteY5" fmla="*/ 1482 h 7437"/>
                <a:gd name="connsiteX6" fmla="*/ 3430 w 4198"/>
                <a:gd name="connsiteY6" fmla="*/ 6257 h 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 h="7437">
                  <a:moveTo>
                    <a:pt x="3458" y="6257"/>
                  </a:moveTo>
                  <a:lnTo>
                    <a:pt x="2031" y="7437"/>
                  </a:lnTo>
                  <a:lnTo>
                    <a:pt x="439" y="4857"/>
                  </a:lnTo>
                  <a:lnTo>
                    <a:pt x="0" y="823"/>
                  </a:lnTo>
                  <a:lnTo>
                    <a:pt x="2332" y="0"/>
                  </a:lnTo>
                  <a:lnTo>
                    <a:pt x="4199" y="1482"/>
                  </a:lnTo>
                  <a:lnTo>
                    <a:pt x="3430" y="62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9" name="Freeform: Shape 4458">
              <a:extLst>
                <a:ext uri="{FF2B5EF4-FFF2-40B4-BE49-F238E27FC236}">
                  <a16:creationId xmlns:a16="http://schemas.microsoft.com/office/drawing/2014/main" id="{2E4A5199-404E-3D73-773E-B17D7ED45A45}"/>
                </a:ext>
              </a:extLst>
            </p:cNvPr>
            <p:cNvSpPr/>
            <p:nvPr/>
          </p:nvSpPr>
          <p:spPr>
            <a:xfrm>
              <a:off x="1832933" y="3679037"/>
              <a:ext cx="409" cy="378"/>
            </a:xfrm>
            <a:custGeom>
              <a:avLst/>
              <a:gdLst>
                <a:gd name="connsiteX0" fmla="*/ 0 w 3924"/>
                <a:gd name="connsiteY0" fmla="*/ 604 h 3622"/>
                <a:gd name="connsiteX1" fmla="*/ 3924 w 3924"/>
                <a:gd name="connsiteY1" fmla="*/ 0 h 3622"/>
                <a:gd name="connsiteX2" fmla="*/ 3678 w 3924"/>
                <a:gd name="connsiteY2" fmla="*/ 3622 h 3622"/>
                <a:gd name="connsiteX3" fmla="*/ 686 w 3924"/>
                <a:gd name="connsiteY3" fmla="*/ 3485 h 3622"/>
                <a:gd name="connsiteX4" fmla="*/ 0 w 3924"/>
                <a:gd name="connsiteY4" fmla="*/ 604 h 3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3622">
                  <a:moveTo>
                    <a:pt x="0" y="604"/>
                  </a:moveTo>
                  <a:lnTo>
                    <a:pt x="3924" y="0"/>
                  </a:lnTo>
                  <a:lnTo>
                    <a:pt x="3678" y="3622"/>
                  </a:lnTo>
                  <a:lnTo>
                    <a:pt x="686" y="3485"/>
                  </a:lnTo>
                  <a:lnTo>
                    <a:pt x="0" y="6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2" name="Freeform: Shape 4471">
              <a:extLst>
                <a:ext uri="{FF2B5EF4-FFF2-40B4-BE49-F238E27FC236}">
                  <a16:creationId xmlns:a16="http://schemas.microsoft.com/office/drawing/2014/main" id="{28470F53-42B5-F11D-B241-99A71A935282}"/>
                </a:ext>
              </a:extLst>
            </p:cNvPr>
            <p:cNvSpPr/>
            <p:nvPr/>
          </p:nvSpPr>
          <p:spPr>
            <a:xfrm>
              <a:off x="1787402" y="3644600"/>
              <a:ext cx="169" cy="240"/>
            </a:xfrm>
            <a:custGeom>
              <a:avLst/>
              <a:gdLst>
                <a:gd name="connsiteX0" fmla="*/ 796 w 1619"/>
                <a:gd name="connsiteY0" fmla="*/ 0 h 2305"/>
                <a:gd name="connsiteX1" fmla="*/ 1345 w 1619"/>
                <a:gd name="connsiteY1" fmla="*/ 0 h 2305"/>
                <a:gd name="connsiteX2" fmla="*/ 1619 w 1619"/>
                <a:gd name="connsiteY2" fmla="*/ 1372 h 2305"/>
                <a:gd name="connsiteX3" fmla="*/ 1345 w 1619"/>
                <a:gd name="connsiteY3" fmla="*/ 2305 h 2305"/>
                <a:gd name="connsiteX4" fmla="*/ 549 w 1619"/>
                <a:gd name="connsiteY4" fmla="*/ 2305 h 2305"/>
                <a:gd name="connsiteX5" fmla="*/ 0 w 1619"/>
                <a:gd name="connsiteY5" fmla="*/ 1372 h 2305"/>
                <a:gd name="connsiteX6" fmla="*/ 796 w 1619"/>
                <a:gd name="connsiteY6" fmla="*/ 0 h 2305"/>
                <a:gd name="connsiteX7" fmla="*/ 796 w 1619"/>
                <a:gd name="connsiteY7" fmla="*/ 0 h 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 h="2305">
                  <a:moveTo>
                    <a:pt x="796" y="0"/>
                  </a:moveTo>
                  <a:lnTo>
                    <a:pt x="1345" y="0"/>
                  </a:lnTo>
                  <a:lnTo>
                    <a:pt x="1619" y="1372"/>
                  </a:lnTo>
                  <a:lnTo>
                    <a:pt x="1345" y="2305"/>
                  </a:lnTo>
                  <a:lnTo>
                    <a:pt x="549" y="2305"/>
                  </a:lnTo>
                  <a:lnTo>
                    <a:pt x="0" y="1372"/>
                  </a:lnTo>
                  <a:lnTo>
                    <a:pt x="796" y="0"/>
                  </a:lnTo>
                  <a:lnTo>
                    <a:pt x="79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4612" name="Group 4611">
              <a:extLst>
                <a:ext uri="{FF2B5EF4-FFF2-40B4-BE49-F238E27FC236}">
                  <a16:creationId xmlns:a16="http://schemas.microsoft.com/office/drawing/2014/main" id="{7D5EF6F1-BC5C-7A14-DAF6-EF4DBB4DE613}"/>
                </a:ext>
              </a:extLst>
            </p:cNvPr>
            <p:cNvGrpSpPr/>
            <p:nvPr/>
          </p:nvGrpSpPr>
          <p:grpSpPr>
            <a:xfrm>
              <a:off x="1699366" y="3746791"/>
              <a:ext cx="213693" cy="262682"/>
              <a:chOff x="1699366" y="3746791"/>
              <a:chExt cx="213693" cy="262682"/>
            </a:xfrm>
          </p:grpSpPr>
          <p:sp>
            <p:nvSpPr>
              <p:cNvPr id="3173" name="Freeform: Shape 3172">
                <a:extLst>
                  <a:ext uri="{FF2B5EF4-FFF2-40B4-BE49-F238E27FC236}">
                    <a16:creationId xmlns:a16="http://schemas.microsoft.com/office/drawing/2014/main" id="{5BDE61EB-D640-A375-0F47-283C9B3CF5E4}"/>
                  </a:ext>
                </a:extLst>
              </p:cNvPr>
              <p:cNvSpPr/>
              <p:nvPr/>
            </p:nvSpPr>
            <p:spPr>
              <a:xfrm>
                <a:off x="1733628" y="3764257"/>
                <a:ext cx="5928" cy="11209"/>
              </a:xfrm>
              <a:custGeom>
                <a:avLst/>
                <a:gdLst>
                  <a:gd name="connsiteX0" fmla="*/ 24754 w 56834"/>
                  <a:gd name="connsiteY0" fmla="*/ 104064 h 107466"/>
                  <a:gd name="connsiteX1" fmla="*/ 21296 w 56834"/>
                  <a:gd name="connsiteY1" fmla="*/ 107467 h 107466"/>
                  <a:gd name="connsiteX2" fmla="*/ 19457 w 56834"/>
                  <a:gd name="connsiteY2" fmla="*/ 105573 h 107466"/>
                  <a:gd name="connsiteX3" fmla="*/ 17097 w 56834"/>
                  <a:gd name="connsiteY3" fmla="*/ 95337 h 107466"/>
                  <a:gd name="connsiteX4" fmla="*/ 7464 w 56834"/>
                  <a:gd name="connsiteY4" fmla="*/ 87104 h 107466"/>
                  <a:gd name="connsiteX5" fmla="*/ 3458 w 56834"/>
                  <a:gd name="connsiteY5" fmla="*/ 75194 h 107466"/>
                  <a:gd name="connsiteX6" fmla="*/ 906 w 56834"/>
                  <a:gd name="connsiteY6" fmla="*/ 72258 h 107466"/>
                  <a:gd name="connsiteX7" fmla="*/ 0 w 56834"/>
                  <a:gd name="connsiteY7" fmla="*/ 69211 h 107466"/>
                  <a:gd name="connsiteX8" fmla="*/ 3073 w 56834"/>
                  <a:gd name="connsiteY8" fmla="*/ 60841 h 107466"/>
                  <a:gd name="connsiteX9" fmla="*/ 3348 w 56834"/>
                  <a:gd name="connsiteY9" fmla="*/ 51922 h 107466"/>
                  <a:gd name="connsiteX10" fmla="*/ 19786 w 56834"/>
                  <a:gd name="connsiteY10" fmla="*/ 22586 h 107466"/>
                  <a:gd name="connsiteX11" fmla="*/ 24671 w 56834"/>
                  <a:gd name="connsiteY11" fmla="*/ 17728 h 107466"/>
                  <a:gd name="connsiteX12" fmla="*/ 29748 w 56834"/>
                  <a:gd name="connsiteY12" fmla="*/ 8233 h 107466"/>
                  <a:gd name="connsiteX13" fmla="*/ 45034 w 56834"/>
                  <a:gd name="connsiteY13" fmla="*/ 0 h 107466"/>
                  <a:gd name="connsiteX14" fmla="*/ 54584 w 56834"/>
                  <a:gd name="connsiteY14" fmla="*/ 5352 h 107466"/>
                  <a:gd name="connsiteX15" fmla="*/ 56834 w 56834"/>
                  <a:gd name="connsiteY15" fmla="*/ 9029 h 107466"/>
                  <a:gd name="connsiteX16" fmla="*/ 52690 w 56834"/>
                  <a:gd name="connsiteY16" fmla="*/ 14380 h 107466"/>
                  <a:gd name="connsiteX17" fmla="*/ 53322 w 56834"/>
                  <a:gd name="connsiteY17" fmla="*/ 24781 h 107466"/>
                  <a:gd name="connsiteX18" fmla="*/ 46790 w 56834"/>
                  <a:gd name="connsiteY18" fmla="*/ 37954 h 107466"/>
                  <a:gd name="connsiteX19" fmla="*/ 43003 w 56834"/>
                  <a:gd name="connsiteY19" fmla="*/ 58865 h 107466"/>
                  <a:gd name="connsiteX20" fmla="*/ 38200 w 56834"/>
                  <a:gd name="connsiteY20" fmla="*/ 72285 h 107466"/>
                  <a:gd name="connsiteX21" fmla="*/ 28102 w 56834"/>
                  <a:gd name="connsiteY21" fmla="*/ 86555 h 107466"/>
                  <a:gd name="connsiteX22" fmla="*/ 25220 w 56834"/>
                  <a:gd name="connsiteY22" fmla="*/ 94706 h 107466"/>
                  <a:gd name="connsiteX23" fmla="*/ 24781 w 56834"/>
                  <a:gd name="connsiteY23" fmla="*/ 104064 h 10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834" h="107466">
                    <a:moveTo>
                      <a:pt x="24754" y="104064"/>
                    </a:moveTo>
                    <a:lnTo>
                      <a:pt x="21296" y="107467"/>
                    </a:lnTo>
                    <a:lnTo>
                      <a:pt x="19457" y="105573"/>
                    </a:lnTo>
                    <a:lnTo>
                      <a:pt x="17097" y="95337"/>
                    </a:lnTo>
                    <a:lnTo>
                      <a:pt x="7464" y="87104"/>
                    </a:lnTo>
                    <a:lnTo>
                      <a:pt x="3458" y="75194"/>
                    </a:lnTo>
                    <a:lnTo>
                      <a:pt x="906" y="72258"/>
                    </a:lnTo>
                    <a:lnTo>
                      <a:pt x="0" y="69211"/>
                    </a:lnTo>
                    <a:lnTo>
                      <a:pt x="3073" y="60841"/>
                    </a:lnTo>
                    <a:lnTo>
                      <a:pt x="3348" y="51922"/>
                    </a:lnTo>
                    <a:lnTo>
                      <a:pt x="19786" y="22586"/>
                    </a:lnTo>
                    <a:lnTo>
                      <a:pt x="24671" y="17728"/>
                    </a:lnTo>
                    <a:lnTo>
                      <a:pt x="29748" y="8233"/>
                    </a:lnTo>
                    <a:lnTo>
                      <a:pt x="45034" y="0"/>
                    </a:lnTo>
                    <a:lnTo>
                      <a:pt x="54584" y="5352"/>
                    </a:lnTo>
                    <a:lnTo>
                      <a:pt x="56834" y="9029"/>
                    </a:lnTo>
                    <a:lnTo>
                      <a:pt x="52690" y="14380"/>
                    </a:lnTo>
                    <a:lnTo>
                      <a:pt x="53322" y="24781"/>
                    </a:lnTo>
                    <a:lnTo>
                      <a:pt x="46790" y="37954"/>
                    </a:lnTo>
                    <a:lnTo>
                      <a:pt x="43003" y="58865"/>
                    </a:lnTo>
                    <a:lnTo>
                      <a:pt x="38200" y="72285"/>
                    </a:lnTo>
                    <a:lnTo>
                      <a:pt x="28102" y="86555"/>
                    </a:lnTo>
                    <a:lnTo>
                      <a:pt x="25220" y="94706"/>
                    </a:lnTo>
                    <a:lnTo>
                      <a:pt x="24781" y="1040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5" name="Freeform: Shape 3174">
                <a:extLst>
                  <a:ext uri="{FF2B5EF4-FFF2-40B4-BE49-F238E27FC236}">
                    <a16:creationId xmlns:a16="http://schemas.microsoft.com/office/drawing/2014/main" id="{FFB88D5D-FC5C-8064-0573-D9FD948E7AD5}"/>
                  </a:ext>
                </a:extLst>
              </p:cNvPr>
              <p:cNvSpPr/>
              <p:nvPr/>
            </p:nvSpPr>
            <p:spPr>
              <a:xfrm>
                <a:off x="1739558" y="3746791"/>
                <a:ext cx="1076" cy="1297"/>
              </a:xfrm>
              <a:custGeom>
                <a:avLst/>
                <a:gdLst>
                  <a:gd name="connsiteX0" fmla="*/ 10319 w 10318"/>
                  <a:gd name="connsiteY0" fmla="*/ 10840 h 12431"/>
                  <a:gd name="connsiteX1" fmla="*/ 8754 w 10318"/>
                  <a:gd name="connsiteY1" fmla="*/ 12432 h 12431"/>
                  <a:gd name="connsiteX2" fmla="*/ 1509 w 10318"/>
                  <a:gd name="connsiteY2" fmla="*/ 10840 h 12431"/>
                  <a:gd name="connsiteX3" fmla="*/ 0 w 10318"/>
                  <a:gd name="connsiteY3" fmla="*/ 7300 h 12431"/>
                  <a:gd name="connsiteX4" fmla="*/ 384 w 10318"/>
                  <a:gd name="connsiteY4" fmla="*/ 6038 h 12431"/>
                  <a:gd name="connsiteX5" fmla="*/ 1509 w 10318"/>
                  <a:gd name="connsiteY5" fmla="*/ 5818 h 12431"/>
                  <a:gd name="connsiteX6" fmla="*/ 4500 w 10318"/>
                  <a:gd name="connsiteY6" fmla="*/ 5242 h 12431"/>
                  <a:gd name="connsiteX7" fmla="*/ 4007 w 10318"/>
                  <a:gd name="connsiteY7" fmla="*/ 933 h 12431"/>
                  <a:gd name="connsiteX8" fmla="*/ 6696 w 10318"/>
                  <a:gd name="connsiteY8" fmla="*/ 0 h 12431"/>
                  <a:gd name="connsiteX9" fmla="*/ 6010 w 10318"/>
                  <a:gd name="connsiteY9" fmla="*/ 6751 h 12431"/>
                  <a:gd name="connsiteX10" fmla="*/ 10319 w 10318"/>
                  <a:gd name="connsiteY10" fmla="*/ 10840 h 1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18" h="12431">
                    <a:moveTo>
                      <a:pt x="10319" y="10840"/>
                    </a:moveTo>
                    <a:lnTo>
                      <a:pt x="8754" y="12432"/>
                    </a:lnTo>
                    <a:lnTo>
                      <a:pt x="1509" y="10840"/>
                    </a:lnTo>
                    <a:lnTo>
                      <a:pt x="0" y="7300"/>
                    </a:lnTo>
                    <a:lnTo>
                      <a:pt x="384" y="6038"/>
                    </a:lnTo>
                    <a:lnTo>
                      <a:pt x="1509" y="5818"/>
                    </a:lnTo>
                    <a:lnTo>
                      <a:pt x="4500" y="5242"/>
                    </a:lnTo>
                    <a:lnTo>
                      <a:pt x="4007" y="933"/>
                    </a:lnTo>
                    <a:lnTo>
                      <a:pt x="6696" y="0"/>
                    </a:lnTo>
                    <a:lnTo>
                      <a:pt x="6010" y="6751"/>
                    </a:lnTo>
                    <a:lnTo>
                      <a:pt x="10319" y="108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6" name="Freeform: Shape 3175">
                <a:extLst>
                  <a:ext uri="{FF2B5EF4-FFF2-40B4-BE49-F238E27FC236}">
                    <a16:creationId xmlns:a16="http://schemas.microsoft.com/office/drawing/2014/main" id="{0B89B805-BD23-3ECC-FCE4-D94A59D240A0}"/>
                  </a:ext>
                </a:extLst>
              </p:cNvPr>
              <p:cNvSpPr/>
              <p:nvPr/>
            </p:nvSpPr>
            <p:spPr>
              <a:xfrm>
                <a:off x="1732517" y="3763003"/>
                <a:ext cx="487" cy="787"/>
              </a:xfrm>
              <a:custGeom>
                <a:avLst/>
                <a:gdLst>
                  <a:gd name="connsiteX0" fmla="*/ 4144 w 4665"/>
                  <a:gd name="connsiteY0" fmla="*/ 5544 h 7546"/>
                  <a:gd name="connsiteX1" fmla="*/ 2113 w 4665"/>
                  <a:gd name="connsiteY1" fmla="*/ 7547 h 7546"/>
                  <a:gd name="connsiteX2" fmla="*/ 0 w 4665"/>
                  <a:gd name="connsiteY2" fmla="*/ 5571 h 7546"/>
                  <a:gd name="connsiteX3" fmla="*/ 1619 w 4665"/>
                  <a:gd name="connsiteY3" fmla="*/ 2799 h 7546"/>
                  <a:gd name="connsiteX4" fmla="*/ 549 w 4665"/>
                  <a:gd name="connsiteY4" fmla="*/ 2168 h 7546"/>
                  <a:gd name="connsiteX5" fmla="*/ 961 w 4665"/>
                  <a:gd name="connsiteY5" fmla="*/ 0 h 7546"/>
                  <a:gd name="connsiteX6" fmla="*/ 4666 w 4665"/>
                  <a:gd name="connsiteY6" fmla="*/ 1619 h 7546"/>
                  <a:gd name="connsiteX7" fmla="*/ 4171 w 4665"/>
                  <a:gd name="connsiteY7" fmla="*/ 5571 h 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5" h="7546">
                    <a:moveTo>
                      <a:pt x="4144" y="5544"/>
                    </a:moveTo>
                    <a:lnTo>
                      <a:pt x="2113" y="7547"/>
                    </a:lnTo>
                    <a:lnTo>
                      <a:pt x="0" y="5571"/>
                    </a:lnTo>
                    <a:lnTo>
                      <a:pt x="1619" y="2799"/>
                    </a:lnTo>
                    <a:lnTo>
                      <a:pt x="549" y="2168"/>
                    </a:lnTo>
                    <a:lnTo>
                      <a:pt x="961" y="0"/>
                    </a:lnTo>
                    <a:lnTo>
                      <a:pt x="4666" y="1619"/>
                    </a:lnTo>
                    <a:lnTo>
                      <a:pt x="4171" y="55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8" name="Freeform: Shape 3177">
                <a:extLst>
                  <a:ext uri="{FF2B5EF4-FFF2-40B4-BE49-F238E27FC236}">
                    <a16:creationId xmlns:a16="http://schemas.microsoft.com/office/drawing/2014/main" id="{34B284B9-0880-95BA-CA55-6F80540D7945}"/>
                  </a:ext>
                </a:extLst>
              </p:cNvPr>
              <p:cNvSpPr/>
              <p:nvPr/>
            </p:nvSpPr>
            <p:spPr>
              <a:xfrm>
                <a:off x="1739836" y="3748617"/>
                <a:ext cx="406" cy="489"/>
              </a:xfrm>
              <a:custGeom>
                <a:avLst/>
                <a:gdLst>
                  <a:gd name="connsiteX0" fmla="*/ 3897 w 3896"/>
                  <a:gd name="connsiteY0" fmla="*/ 3568 h 4692"/>
                  <a:gd name="connsiteX1" fmla="*/ 3238 w 3896"/>
                  <a:gd name="connsiteY1" fmla="*/ 4693 h 4692"/>
                  <a:gd name="connsiteX2" fmla="*/ 0 w 3896"/>
                  <a:gd name="connsiteY2" fmla="*/ 1756 h 4692"/>
                  <a:gd name="connsiteX3" fmla="*/ 1948 w 3896"/>
                  <a:gd name="connsiteY3" fmla="*/ 0 h 4692"/>
                  <a:gd name="connsiteX4" fmla="*/ 3897 w 3896"/>
                  <a:gd name="connsiteY4" fmla="*/ 3540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6" h="4692">
                    <a:moveTo>
                      <a:pt x="3897" y="3568"/>
                    </a:moveTo>
                    <a:lnTo>
                      <a:pt x="3238" y="4693"/>
                    </a:lnTo>
                    <a:lnTo>
                      <a:pt x="0" y="1756"/>
                    </a:lnTo>
                    <a:lnTo>
                      <a:pt x="1948" y="0"/>
                    </a:lnTo>
                    <a:lnTo>
                      <a:pt x="3897"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9" name="Freeform: Shape 3178">
                <a:extLst>
                  <a:ext uri="{FF2B5EF4-FFF2-40B4-BE49-F238E27FC236}">
                    <a16:creationId xmlns:a16="http://schemas.microsoft.com/office/drawing/2014/main" id="{D9F6F890-C1E9-1AAE-3C9E-151BF0430654}"/>
                  </a:ext>
                </a:extLst>
              </p:cNvPr>
              <p:cNvSpPr/>
              <p:nvPr/>
            </p:nvSpPr>
            <p:spPr>
              <a:xfrm>
                <a:off x="1732949" y="3759643"/>
                <a:ext cx="418" cy="444"/>
              </a:xfrm>
              <a:custGeom>
                <a:avLst/>
                <a:gdLst>
                  <a:gd name="connsiteX0" fmla="*/ 3980 w 4007"/>
                  <a:gd name="connsiteY0" fmla="*/ 522 h 4253"/>
                  <a:gd name="connsiteX1" fmla="*/ 1922 w 4007"/>
                  <a:gd name="connsiteY1" fmla="*/ 4254 h 4253"/>
                  <a:gd name="connsiteX2" fmla="*/ 0 w 4007"/>
                  <a:gd name="connsiteY2" fmla="*/ 3183 h 4253"/>
                  <a:gd name="connsiteX3" fmla="*/ 2525 w 4007"/>
                  <a:gd name="connsiteY3" fmla="*/ 0 h 4253"/>
                  <a:gd name="connsiteX4" fmla="*/ 4007 w 4007"/>
                  <a:gd name="connsiteY4" fmla="*/ 549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 h="4253">
                    <a:moveTo>
                      <a:pt x="3980" y="522"/>
                    </a:moveTo>
                    <a:lnTo>
                      <a:pt x="1922" y="4254"/>
                    </a:lnTo>
                    <a:lnTo>
                      <a:pt x="0" y="3183"/>
                    </a:lnTo>
                    <a:lnTo>
                      <a:pt x="2525" y="0"/>
                    </a:lnTo>
                    <a:lnTo>
                      <a:pt x="4007" y="5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0" name="Freeform: Shape 3179">
                <a:extLst>
                  <a:ext uri="{FF2B5EF4-FFF2-40B4-BE49-F238E27FC236}">
                    <a16:creationId xmlns:a16="http://schemas.microsoft.com/office/drawing/2014/main" id="{54459128-46DB-F644-7424-C6D81BCD9A82}"/>
                  </a:ext>
                </a:extLst>
              </p:cNvPr>
              <p:cNvSpPr/>
              <p:nvPr/>
            </p:nvSpPr>
            <p:spPr>
              <a:xfrm>
                <a:off x="1736819" y="3755252"/>
                <a:ext cx="386" cy="452"/>
              </a:xfrm>
              <a:custGeom>
                <a:avLst/>
                <a:gdLst>
                  <a:gd name="connsiteX0" fmla="*/ 3705 w 3705"/>
                  <a:gd name="connsiteY0" fmla="*/ 1701 h 4335"/>
                  <a:gd name="connsiteX1" fmla="*/ 1400 w 3705"/>
                  <a:gd name="connsiteY1" fmla="*/ 4336 h 4335"/>
                  <a:gd name="connsiteX2" fmla="*/ 0 w 3705"/>
                  <a:gd name="connsiteY2" fmla="*/ 2936 h 4335"/>
                  <a:gd name="connsiteX3" fmla="*/ 1619 w 3705"/>
                  <a:gd name="connsiteY3" fmla="*/ 0 h 4335"/>
                  <a:gd name="connsiteX4" fmla="*/ 3705 w 3705"/>
                  <a:gd name="connsiteY4" fmla="*/ 1701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5" h="4335">
                    <a:moveTo>
                      <a:pt x="3705" y="1701"/>
                    </a:moveTo>
                    <a:lnTo>
                      <a:pt x="1400" y="4336"/>
                    </a:lnTo>
                    <a:lnTo>
                      <a:pt x="0" y="2936"/>
                    </a:lnTo>
                    <a:lnTo>
                      <a:pt x="1619" y="0"/>
                    </a:lnTo>
                    <a:lnTo>
                      <a:pt x="3705"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1" name="Freeform: Shape 3180">
                <a:extLst>
                  <a:ext uri="{FF2B5EF4-FFF2-40B4-BE49-F238E27FC236}">
                    <a16:creationId xmlns:a16="http://schemas.microsoft.com/office/drawing/2014/main" id="{4A6C7477-4C30-19BB-FDC7-83BB51654D55}"/>
                  </a:ext>
                </a:extLst>
              </p:cNvPr>
              <p:cNvSpPr/>
              <p:nvPr/>
            </p:nvSpPr>
            <p:spPr>
              <a:xfrm>
                <a:off x="1732033" y="3769856"/>
                <a:ext cx="401" cy="415"/>
              </a:xfrm>
              <a:custGeom>
                <a:avLst/>
                <a:gdLst>
                  <a:gd name="connsiteX0" fmla="*/ 3842 w 3842"/>
                  <a:gd name="connsiteY0" fmla="*/ 1674 h 3979"/>
                  <a:gd name="connsiteX1" fmla="*/ 2498 w 3842"/>
                  <a:gd name="connsiteY1" fmla="*/ 3979 h 3979"/>
                  <a:gd name="connsiteX2" fmla="*/ 0 w 3842"/>
                  <a:gd name="connsiteY2" fmla="*/ 2442 h 3979"/>
                  <a:gd name="connsiteX3" fmla="*/ 2470 w 3842"/>
                  <a:gd name="connsiteY3" fmla="*/ 0 h 3979"/>
                  <a:gd name="connsiteX4" fmla="*/ 3842 w 3842"/>
                  <a:gd name="connsiteY4" fmla="*/ 1674 h 3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2" h="3979">
                    <a:moveTo>
                      <a:pt x="3842" y="1674"/>
                    </a:moveTo>
                    <a:lnTo>
                      <a:pt x="2498" y="3979"/>
                    </a:lnTo>
                    <a:lnTo>
                      <a:pt x="0" y="2442"/>
                    </a:lnTo>
                    <a:lnTo>
                      <a:pt x="2470" y="0"/>
                    </a:lnTo>
                    <a:lnTo>
                      <a:pt x="3842" y="16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6" name="Freeform: Shape 3185">
                <a:extLst>
                  <a:ext uri="{FF2B5EF4-FFF2-40B4-BE49-F238E27FC236}">
                    <a16:creationId xmlns:a16="http://schemas.microsoft.com/office/drawing/2014/main" id="{0681DE40-1000-F072-7113-EACACF08DF3E}"/>
                  </a:ext>
                </a:extLst>
              </p:cNvPr>
              <p:cNvSpPr/>
              <p:nvPr/>
            </p:nvSpPr>
            <p:spPr>
              <a:xfrm>
                <a:off x="1740658" y="3748045"/>
                <a:ext cx="395" cy="409"/>
              </a:xfrm>
              <a:custGeom>
                <a:avLst/>
                <a:gdLst>
                  <a:gd name="connsiteX0" fmla="*/ 3787 w 3786"/>
                  <a:gd name="connsiteY0" fmla="*/ 3019 h 3924"/>
                  <a:gd name="connsiteX1" fmla="*/ 1509 w 3786"/>
                  <a:gd name="connsiteY1" fmla="*/ 3924 h 3924"/>
                  <a:gd name="connsiteX2" fmla="*/ 0 w 3786"/>
                  <a:gd name="connsiteY2" fmla="*/ 878 h 3924"/>
                  <a:gd name="connsiteX3" fmla="*/ 2086 w 3786"/>
                  <a:gd name="connsiteY3" fmla="*/ 0 h 3924"/>
                  <a:gd name="connsiteX4" fmla="*/ 3787 w 3786"/>
                  <a:gd name="connsiteY4" fmla="*/ 3019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6" h="3924">
                    <a:moveTo>
                      <a:pt x="3787" y="3019"/>
                    </a:moveTo>
                    <a:lnTo>
                      <a:pt x="1509" y="3924"/>
                    </a:lnTo>
                    <a:lnTo>
                      <a:pt x="0" y="878"/>
                    </a:lnTo>
                    <a:lnTo>
                      <a:pt x="2086" y="0"/>
                    </a:lnTo>
                    <a:lnTo>
                      <a:pt x="3787"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7" name="Freeform: Shape 3186">
                <a:extLst>
                  <a:ext uri="{FF2B5EF4-FFF2-40B4-BE49-F238E27FC236}">
                    <a16:creationId xmlns:a16="http://schemas.microsoft.com/office/drawing/2014/main" id="{D77A440F-051B-FFE9-4251-84708DA1BFA8}"/>
                  </a:ext>
                </a:extLst>
              </p:cNvPr>
              <p:cNvSpPr/>
              <p:nvPr/>
            </p:nvSpPr>
            <p:spPr>
              <a:xfrm>
                <a:off x="1728261" y="3766913"/>
                <a:ext cx="504" cy="303"/>
              </a:xfrm>
              <a:custGeom>
                <a:avLst/>
                <a:gdLst>
                  <a:gd name="connsiteX0" fmla="*/ 1509 w 4829"/>
                  <a:gd name="connsiteY0" fmla="*/ 2909 h 2908"/>
                  <a:gd name="connsiteX1" fmla="*/ 0 w 4829"/>
                  <a:gd name="connsiteY1" fmla="*/ 2909 h 2908"/>
                  <a:gd name="connsiteX2" fmla="*/ 631 w 4829"/>
                  <a:gd name="connsiteY2" fmla="*/ 1400 h 2908"/>
                  <a:gd name="connsiteX3" fmla="*/ 4638 w 4829"/>
                  <a:gd name="connsiteY3" fmla="*/ 0 h 2908"/>
                  <a:gd name="connsiteX4" fmla="*/ 4830 w 4829"/>
                  <a:gd name="connsiteY4" fmla="*/ 2168 h 2908"/>
                  <a:gd name="connsiteX5" fmla="*/ 1509 w 4829"/>
                  <a:gd name="connsiteY5" fmla="*/ 2882 h 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9" h="2908">
                    <a:moveTo>
                      <a:pt x="1509" y="2909"/>
                    </a:moveTo>
                    <a:lnTo>
                      <a:pt x="0" y="2909"/>
                    </a:lnTo>
                    <a:lnTo>
                      <a:pt x="631" y="1400"/>
                    </a:lnTo>
                    <a:lnTo>
                      <a:pt x="4638" y="0"/>
                    </a:lnTo>
                    <a:lnTo>
                      <a:pt x="4830" y="2168"/>
                    </a:lnTo>
                    <a:lnTo>
                      <a:pt x="1509" y="28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1" name="Freeform: Shape 3190">
                <a:extLst>
                  <a:ext uri="{FF2B5EF4-FFF2-40B4-BE49-F238E27FC236}">
                    <a16:creationId xmlns:a16="http://schemas.microsoft.com/office/drawing/2014/main" id="{170EF3ED-4BDA-4622-1C61-711240D99238}"/>
                  </a:ext>
                </a:extLst>
              </p:cNvPr>
              <p:cNvSpPr/>
              <p:nvPr/>
            </p:nvSpPr>
            <p:spPr>
              <a:xfrm>
                <a:off x="1737850" y="3772904"/>
                <a:ext cx="375" cy="389"/>
              </a:xfrm>
              <a:custGeom>
                <a:avLst/>
                <a:gdLst>
                  <a:gd name="connsiteX0" fmla="*/ 3018 w 3595"/>
                  <a:gd name="connsiteY0" fmla="*/ 2936 h 3732"/>
                  <a:gd name="connsiteX1" fmla="*/ 2003 w 3595"/>
                  <a:gd name="connsiteY1" fmla="*/ 3732 h 3732"/>
                  <a:gd name="connsiteX2" fmla="*/ 0 w 3595"/>
                  <a:gd name="connsiteY2" fmla="*/ 521 h 3732"/>
                  <a:gd name="connsiteX3" fmla="*/ 3595 w 3595"/>
                  <a:gd name="connsiteY3" fmla="*/ 0 h 3732"/>
                  <a:gd name="connsiteX4" fmla="*/ 3018 w 3595"/>
                  <a:gd name="connsiteY4" fmla="*/ 2936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3732">
                    <a:moveTo>
                      <a:pt x="3018" y="2936"/>
                    </a:moveTo>
                    <a:lnTo>
                      <a:pt x="2003" y="3732"/>
                    </a:lnTo>
                    <a:lnTo>
                      <a:pt x="0" y="521"/>
                    </a:lnTo>
                    <a:lnTo>
                      <a:pt x="3595" y="0"/>
                    </a:lnTo>
                    <a:lnTo>
                      <a:pt x="3018" y="29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2" name="Freeform: Shape 3191">
                <a:extLst>
                  <a:ext uri="{FF2B5EF4-FFF2-40B4-BE49-F238E27FC236}">
                    <a16:creationId xmlns:a16="http://schemas.microsoft.com/office/drawing/2014/main" id="{67D62528-9A6F-191B-0630-0A473D2DFA7D}"/>
                  </a:ext>
                </a:extLst>
              </p:cNvPr>
              <p:cNvSpPr/>
              <p:nvPr/>
            </p:nvSpPr>
            <p:spPr>
              <a:xfrm>
                <a:off x="1741316" y="3747066"/>
                <a:ext cx="550" cy="283"/>
              </a:xfrm>
              <a:custGeom>
                <a:avLst/>
                <a:gdLst>
                  <a:gd name="connsiteX0" fmla="*/ 5270 w 5269"/>
                  <a:gd name="connsiteY0" fmla="*/ 549 h 2716"/>
                  <a:gd name="connsiteX1" fmla="*/ 5132 w 5269"/>
                  <a:gd name="connsiteY1" fmla="*/ 2360 h 2716"/>
                  <a:gd name="connsiteX2" fmla="*/ 3376 w 5269"/>
                  <a:gd name="connsiteY2" fmla="*/ 1482 h 2716"/>
                  <a:gd name="connsiteX3" fmla="*/ 1509 w 5269"/>
                  <a:gd name="connsiteY3" fmla="*/ 2717 h 2716"/>
                  <a:gd name="connsiteX4" fmla="*/ 0 w 5269"/>
                  <a:gd name="connsiteY4" fmla="*/ 0 h 2716"/>
                  <a:gd name="connsiteX5" fmla="*/ 5270 w 5269"/>
                  <a:gd name="connsiteY5" fmla="*/ 576 h 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69" h="2716">
                    <a:moveTo>
                      <a:pt x="5270" y="549"/>
                    </a:moveTo>
                    <a:lnTo>
                      <a:pt x="5132" y="2360"/>
                    </a:lnTo>
                    <a:lnTo>
                      <a:pt x="3376" y="1482"/>
                    </a:lnTo>
                    <a:lnTo>
                      <a:pt x="1509" y="2717"/>
                    </a:lnTo>
                    <a:lnTo>
                      <a:pt x="0" y="0"/>
                    </a:lnTo>
                    <a:lnTo>
                      <a:pt x="5270" y="5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4" name="Freeform: Shape 3193">
                <a:extLst>
                  <a:ext uri="{FF2B5EF4-FFF2-40B4-BE49-F238E27FC236}">
                    <a16:creationId xmlns:a16="http://schemas.microsoft.com/office/drawing/2014/main" id="{5F8B5A2D-6B71-E2EF-1579-DDD3599BEB48}"/>
                  </a:ext>
                </a:extLst>
              </p:cNvPr>
              <p:cNvSpPr/>
              <p:nvPr/>
            </p:nvSpPr>
            <p:spPr>
              <a:xfrm>
                <a:off x="1740314" y="3748388"/>
                <a:ext cx="363" cy="358"/>
              </a:xfrm>
              <a:custGeom>
                <a:avLst/>
                <a:gdLst>
                  <a:gd name="connsiteX0" fmla="*/ 3485 w 3485"/>
                  <a:gd name="connsiteY0" fmla="*/ 3403 h 3430"/>
                  <a:gd name="connsiteX1" fmla="*/ 1564 w 3485"/>
                  <a:gd name="connsiteY1" fmla="*/ 3403 h 3430"/>
                  <a:gd name="connsiteX2" fmla="*/ 0 w 3485"/>
                  <a:gd name="connsiteY2" fmla="*/ 1207 h 3430"/>
                  <a:gd name="connsiteX3" fmla="*/ 686 w 3485"/>
                  <a:gd name="connsiteY3" fmla="*/ 0 h 3430"/>
                  <a:gd name="connsiteX4" fmla="*/ 2937 w 3485"/>
                  <a:gd name="connsiteY4" fmla="*/ 604 h 3430"/>
                  <a:gd name="connsiteX5" fmla="*/ 3485 w 3485"/>
                  <a:gd name="connsiteY5" fmla="*/ 3430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5" h="3430">
                    <a:moveTo>
                      <a:pt x="3485" y="3403"/>
                    </a:moveTo>
                    <a:lnTo>
                      <a:pt x="1564" y="3403"/>
                    </a:lnTo>
                    <a:lnTo>
                      <a:pt x="0" y="1207"/>
                    </a:lnTo>
                    <a:lnTo>
                      <a:pt x="686" y="0"/>
                    </a:lnTo>
                    <a:lnTo>
                      <a:pt x="2937" y="604"/>
                    </a:lnTo>
                    <a:lnTo>
                      <a:pt x="3485" y="34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5" name="Freeform: Shape 3194">
                <a:extLst>
                  <a:ext uri="{FF2B5EF4-FFF2-40B4-BE49-F238E27FC236}">
                    <a16:creationId xmlns:a16="http://schemas.microsoft.com/office/drawing/2014/main" id="{BB5A0328-50A4-F13F-9E80-B7F18BBF4D55}"/>
                  </a:ext>
                </a:extLst>
              </p:cNvPr>
              <p:cNvSpPr/>
              <p:nvPr/>
            </p:nvSpPr>
            <p:spPr>
              <a:xfrm>
                <a:off x="1738004" y="3774902"/>
                <a:ext cx="363" cy="329"/>
              </a:xfrm>
              <a:custGeom>
                <a:avLst/>
                <a:gdLst>
                  <a:gd name="connsiteX0" fmla="*/ 3375 w 3485"/>
                  <a:gd name="connsiteY0" fmla="*/ 2689 h 3155"/>
                  <a:gd name="connsiteX1" fmla="*/ 1674 w 3485"/>
                  <a:gd name="connsiteY1" fmla="*/ 3156 h 3155"/>
                  <a:gd name="connsiteX2" fmla="*/ 0 w 3485"/>
                  <a:gd name="connsiteY2" fmla="*/ 192 h 3155"/>
                  <a:gd name="connsiteX3" fmla="*/ 3485 w 3485"/>
                  <a:gd name="connsiteY3" fmla="*/ 0 h 3155"/>
                  <a:gd name="connsiteX4" fmla="*/ 3348 w 3485"/>
                  <a:gd name="connsiteY4" fmla="*/ 2689 h 3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3155">
                    <a:moveTo>
                      <a:pt x="3375" y="2689"/>
                    </a:moveTo>
                    <a:lnTo>
                      <a:pt x="1674" y="3156"/>
                    </a:lnTo>
                    <a:lnTo>
                      <a:pt x="0" y="192"/>
                    </a:lnTo>
                    <a:lnTo>
                      <a:pt x="3485" y="0"/>
                    </a:lnTo>
                    <a:lnTo>
                      <a:pt x="3348" y="26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6" name="Freeform: Shape 3195">
                <a:extLst>
                  <a:ext uri="{FF2B5EF4-FFF2-40B4-BE49-F238E27FC236}">
                    <a16:creationId xmlns:a16="http://schemas.microsoft.com/office/drawing/2014/main" id="{C7AA0638-2F43-0A9C-8648-46E5888D9D48}"/>
                  </a:ext>
                </a:extLst>
              </p:cNvPr>
              <p:cNvSpPr/>
              <p:nvPr/>
            </p:nvSpPr>
            <p:spPr>
              <a:xfrm>
                <a:off x="1731713" y="3764231"/>
                <a:ext cx="309" cy="386"/>
              </a:xfrm>
              <a:custGeom>
                <a:avLst/>
                <a:gdLst>
                  <a:gd name="connsiteX0" fmla="*/ 2963 w 2963"/>
                  <a:gd name="connsiteY0" fmla="*/ 933 h 3704"/>
                  <a:gd name="connsiteX1" fmla="*/ 2579 w 2963"/>
                  <a:gd name="connsiteY1" fmla="*/ 3705 h 3704"/>
                  <a:gd name="connsiteX2" fmla="*/ 192 w 2963"/>
                  <a:gd name="connsiteY2" fmla="*/ 3266 h 3704"/>
                  <a:gd name="connsiteX3" fmla="*/ 0 w 2963"/>
                  <a:gd name="connsiteY3" fmla="*/ 1509 h 3704"/>
                  <a:gd name="connsiteX4" fmla="*/ 1811 w 2963"/>
                  <a:gd name="connsiteY4" fmla="*/ 0 h 3704"/>
                  <a:gd name="connsiteX5" fmla="*/ 2963 w 2963"/>
                  <a:gd name="connsiteY5" fmla="*/ 905 h 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3" h="3704">
                    <a:moveTo>
                      <a:pt x="2963" y="933"/>
                    </a:moveTo>
                    <a:lnTo>
                      <a:pt x="2579" y="3705"/>
                    </a:lnTo>
                    <a:lnTo>
                      <a:pt x="192" y="3266"/>
                    </a:lnTo>
                    <a:lnTo>
                      <a:pt x="0" y="1509"/>
                    </a:lnTo>
                    <a:lnTo>
                      <a:pt x="1811" y="0"/>
                    </a:lnTo>
                    <a:lnTo>
                      <a:pt x="2963"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7" name="Freeform: Shape 3196">
                <a:extLst>
                  <a:ext uri="{FF2B5EF4-FFF2-40B4-BE49-F238E27FC236}">
                    <a16:creationId xmlns:a16="http://schemas.microsoft.com/office/drawing/2014/main" id="{54807ABE-9C7C-D799-5724-07132FF1C05C}"/>
                  </a:ext>
                </a:extLst>
              </p:cNvPr>
              <p:cNvSpPr/>
              <p:nvPr/>
            </p:nvSpPr>
            <p:spPr>
              <a:xfrm>
                <a:off x="1736587" y="3754800"/>
                <a:ext cx="361" cy="335"/>
              </a:xfrm>
              <a:custGeom>
                <a:avLst/>
                <a:gdLst>
                  <a:gd name="connsiteX0" fmla="*/ 2470 w 3457"/>
                  <a:gd name="connsiteY0" fmla="*/ 0 h 3210"/>
                  <a:gd name="connsiteX1" fmla="*/ 3457 w 3457"/>
                  <a:gd name="connsiteY1" fmla="*/ 3211 h 3210"/>
                  <a:gd name="connsiteX2" fmla="*/ 0 w 3457"/>
                  <a:gd name="connsiteY2" fmla="*/ 3101 h 3210"/>
                  <a:gd name="connsiteX3" fmla="*/ 356 w 3457"/>
                  <a:gd name="connsiteY3" fmla="*/ 713 h 3210"/>
                  <a:gd name="connsiteX4" fmla="*/ 2470 w 3457"/>
                  <a:gd name="connsiteY4" fmla="*/ 0 h 3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3210">
                    <a:moveTo>
                      <a:pt x="2470" y="0"/>
                    </a:moveTo>
                    <a:lnTo>
                      <a:pt x="3457" y="3211"/>
                    </a:lnTo>
                    <a:lnTo>
                      <a:pt x="0" y="3101"/>
                    </a:lnTo>
                    <a:lnTo>
                      <a:pt x="356" y="713"/>
                    </a:lnTo>
                    <a:lnTo>
                      <a:pt x="247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8" name="Freeform: Shape 3217">
                <a:extLst>
                  <a:ext uri="{FF2B5EF4-FFF2-40B4-BE49-F238E27FC236}">
                    <a16:creationId xmlns:a16="http://schemas.microsoft.com/office/drawing/2014/main" id="{23934DAB-1CD8-F7FA-7652-D3274F5C7858}"/>
                  </a:ext>
                </a:extLst>
              </p:cNvPr>
              <p:cNvSpPr/>
              <p:nvPr/>
            </p:nvSpPr>
            <p:spPr>
              <a:xfrm>
                <a:off x="1711980" y="3877614"/>
                <a:ext cx="124554" cy="97013"/>
              </a:xfrm>
              <a:custGeom>
                <a:avLst/>
                <a:gdLst>
                  <a:gd name="connsiteX0" fmla="*/ 905646 w 1194181"/>
                  <a:gd name="connsiteY0" fmla="*/ 108372 h 930124"/>
                  <a:gd name="connsiteX1" fmla="*/ 911244 w 1194181"/>
                  <a:gd name="connsiteY1" fmla="*/ 111720 h 930124"/>
                  <a:gd name="connsiteX2" fmla="*/ 919834 w 1194181"/>
                  <a:gd name="connsiteY2" fmla="*/ 105216 h 930124"/>
                  <a:gd name="connsiteX3" fmla="*/ 926613 w 1194181"/>
                  <a:gd name="connsiteY3" fmla="*/ 105354 h 930124"/>
                  <a:gd name="connsiteX4" fmla="*/ 932787 w 1194181"/>
                  <a:gd name="connsiteY4" fmla="*/ 113806 h 930124"/>
                  <a:gd name="connsiteX5" fmla="*/ 949719 w 1194181"/>
                  <a:gd name="connsiteY5" fmla="*/ 127829 h 930124"/>
                  <a:gd name="connsiteX6" fmla="*/ 949637 w 1194181"/>
                  <a:gd name="connsiteY6" fmla="*/ 142566 h 930124"/>
                  <a:gd name="connsiteX7" fmla="*/ 954604 w 1194181"/>
                  <a:gd name="connsiteY7" fmla="*/ 160075 h 930124"/>
                  <a:gd name="connsiteX8" fmla="*/ 954769 w 1194181"/>
                  <a:gd name="connsiteY8" fmla="*/ 171711 h 930124"/>
                  <a:gd name="connsiteX9" fmla="*/ 962782 w 1194181"/>
                  <a:gd name="connsiteY9" fmla="*/ 183649 h 930124"/>
                  <a:gd name="connsiteX10" fmla="*/ 968820 w 1194181"/>
                  <a:gd name="connsiteY10" fmla="*/ 189411 h 930124"/>
                  <a:gd name="connsiteX11" fmla="*/ 974308 w 1194181"/>
                  <a:gd name="connsiteY11" fmla="*/ 209582 h 930124"/>
                  <a:gd name="connsiteX12" fmla="*/ 972497 w 1194181"/>
                  <a:gd name="connsiteY12" fmla="*/ 225910 h 930124"/>
                  <a:gd name="connsiteX13" fmla="*/ 979550 w 1194181"/>
                  <a:gd name="connsiteY13" fmla="*/ 230878 h 930124"/>
                  <a:gd name="connsiteX14" fmla="*/ 981608 w 1194181"/>
                  <a:gd name="connsiteY14" fmla="*/ 249429 h 930124"/>
                  <a:gd name="connsiteX15" fmla="*/ 993875 w 1194181"/>
                  <a:gd name="connsiteY15" fmla="*/ 258485 h 930124"/>
                  <a:gd name="connsiteX16" fmla="*/ 1013250 w 1194181"/>
                  <a:gd name="connsiteY16" fmla="*/ 265538 h 930124"/>
                  <a:gd name="connsiteX17" fmla="*/ 1020605 w 1194181"/>
                  <a:gd name="connsiteY17" fmla="*/ 275253 h 930124"/>
                  <a:gd name="connsiteX18" fmla="*/ 1025407 w 1194181"/>
                  <a:gd name="connsiteY18" fmla="*/ 276214 h 930124"/>
                  <a:gd name="connsiteX19" fmla="*/ 1039705 w 1194181"/>
                  <a:gd name="connsiteY19" fmla="*/ 285709 h 930124"/>
                  <a:gd name="connsiteX20" fmla="*/ 1046127 w 1194181"/>
                  <a:gd name="connsiteY20" fmla="*/ 286724 h 930124"/>
                  <a:gd name="connsiteX21" fmla="*/ 1051999 w 1194181"/>
                  <a:gd name="connsiteY21" fmla="*/ 291390 h 930124"/>
                  <a:gd name="connsiteX22" fmla="*/ 1054442 w 1194181"/>
                  <a:gd name="connsiteY22" fmla="*/ 296412 h 930124"/>
                  <a:gd name="connsiteX23" fmla="*/ 1051670 w 1194181"/>
                  <a:gd name="connsiteY23" fmla="*/ 299869 h 930124"/>
                  <a:gd name="connsiteX24" fmla="*/ 1051670 w 1194181"/>
                  <a:gd name="connsiteY24" fmla="*/ 303712 h 930124"/>
                  <a:gd name="connsiteX25" fmla="*/ 1065062 w 1194181"/>
                  <a:gd name="connsiteY25" fmla="*/ 317817 h 930124"/>
                  <a:gd name="connsiteX26" fmla="*/ 1078646 w 1194181"/>
                  <a:gd name="connsiteY26" fmla="*/ 354700 h 930124"/>
                  <a:gd name="connsiteX27" fmla="*/ 1085233 w 1194181"/>
                  <a:gd name="connsiteY27" fmla="*/ 358789 h 930124"/>
                  <a:gd name="connsiteX28" fmla="*/ 1086386 w 1194181"/>
                  <a:gd name="connsiteY28" fmla="*/ 352670 h 930124"/>
                  <a:gd name="connsiteX29" fmla="*/ 1088306 w 1194181"/>
                  <a:gd name="connsiteY29" fmla="*/ 351353 h 930124"/>
                  <a:gd name="connsiteX30" fmla="*/ 1101424 w 1194181"/>
                  <a:gd name="connsiteY30" fmla="*/ 360463 h 930124"/>
                  <a:gd name="connsiteX31" fmla="*/ 1106968 w 1194181"/>
                  <a:gd name="connsiteY31" fmla="*/ 358707 h 930124"/>
                  <a:gd name="connsiteX32" fmla="*/ 1111331 w 1194181"/>
                  <a:gd name="connsiteY32" fmla="*/ 367132 h 930124"/>
                  <a:gd name="connsiteX33" fmla="*/ 1111441 w 1194181"/>
                  <a:gd name="connsiteY33" fmla="*/ 378164 h 930124"/>
                  <a:gd name="connsiteX34" fmla="*/ 1114212 w 1194181"/>
                  <a:gd name="connsiteY34" fmla="*/ 391447 h 930124"/>
                  <a:gd name="connsiteX35" fmla="*/ 1122034 w 1194181"/>
                  <a:gd name="connsiteY35" fmla="*/ 395179 h 930124"/>
                  <a:gd name="connsiteX36" fmla="*/ 1129773 w 1194181"/>
                  <a:gd name="connsiteY36" fmla="*/ 406925 h 930124"/>
                  <a:gd name="connsiteX37" fmla="*/ 1143796 w 1194181"/>
                  <a:gd name="connsiteY37" fmla="*/ 416420 h 930124"/>
                  <a:gd name="connsiteX38" fmla="*/ 1150547 w 1194181"/>
                  <a:gd name="connsiteY38" fmla="*/ 426765 h 930124"/>
                  <a:gd name="connsiteX39" fmla="*/ 1159878 w 1194181"/>
                  <a:gd name="connsiteY39" fmla="*/ 436124 h 930124"/>
                  <a:gd name="connsiteX40" fmla="*/ 1166053 w 1194181"/>
                  <a:gd name="connsiteY40" fmla="*/ 446497 h 930124"/>
                  <a:gd name="connsiteX41" fmla="*/ 1173051 w 1194181"/>
                  <a:gd name="connsiteY41" fmla="*/ 453550 h 930124"/>
                  <a:gd name="connsiteX42" fmla="*/ 1177441 w 1194181"/>
                  <a:gd name="connsiteY42" fmla="*/ 452178 h 930124"/>
                  <a:gd name="connsiteX43" fmla="*/ 1182326 w 1194181"/>
                  <a:gd name="connsiteY43" fmla="*/ 438182 h 930124"/>
                  <a:gd name="connsiteX44" fmla="*/ 1184769 w 1194181"/>
                  <a:gd name="connsiteY44" fmla="*/ 438401 h 930124"/>
                  <a:gd name="connsiteX45" fmla="*/ 1185400 w 1194181"/>
                  <a:gd name="connsiteY45" fmla="*/ 445894 h 930124"/>
                  <a:gd name="connsiteX46" fmla="*/ 1180103 w 1194181"/>
                  <a:gd name="connsiteY46" fmla="*/ 465680 h 930124"/>
                  <a:gd name="connsiteX47" fmla="*/ 1179637 w 1194181"/>
                  <a:gd name="connsiteY47" fmla="*/ 487442 h 930124"/>
                  <a:gd name="connsiteX48" fmla="*/ 1181311 w 1194181"/>
                  <a:gd name="connsiteY48" fmla="*/ 505472 h 930124"/>
                  <a:gd name="connsiteX49" fmla="*/ 1180131 w 1194181"/>
                  <a:gd name="connsiteY49" fmla="*/ 513952 h 930124"/>
                  <a:gd name="connsiteX50" fmla="*/ 1184988 w 1194181"/>
                  <a:gd name="connsiteY50" fmla="*/ 523310 h 930124"/>
                  <a:gd name="connsiteX51" fmla="*/ 1190614 w 1194181"/>
                  <a:gd name="connsiteY51" fmla="*/ 525835 h 930124"/>
                  <a:gd name="connsiteX52" fmla="*/ 1190339 w 1194181"/>
                  <a:gd name="connsiteY52" fmla="*/ 537581 h 930124"/>
                  <a:gd name="connsiteX53" fmla="*/ 1193276 w 1194181"/>
                  <a:gd name="connsiteY53" fmla="*/ 549052 h 930124"/>
                  <a:gd name="connsiteX54" fmla="*/ 1194182 w 1194181"/>
                  <a:gd name="connsiteY54" fmla="*/ 562197 h 930124"/>
                  <a:gd name="connsiteX55" fmla="*/ 1178813 w 1194181"/>
                  <a:gd name="connsiteY55" fmla="*/ 623203 h 930124"/>
                  <a:gd name="connsiteX56" fmla="*/ 1177057 w 1194181"/>
                  <a:gd name="connsiteY56" fmla="*/ 645651 h 930124"/>
                  <a:gd name="connsiteX57" fmla="*/ 1171870 w 1194181"/>
                  <a:gd name="connsiteY57" fmla="*/ 662721 h 930124"/>
                  <a:gd name="connsiteX58" fmla="*/ 1164680 w 1194181"/>
                  <a:gd name="connsiteY58" fmla="*/ 677430 h 930124"/>
                  <a:gd name="connsiteX59" fmla="*/ 1161278 w 1194181"/>
                  <a:gd name="connsiteY59" fmla="*/ 690410 h 930124"/>
                  <a:gd name="connsiteX60" fmla="*/ 1135783 w 1194181"/>
                  <a:gd name="connsiteY60" fmla="*/ 715384 h 930124"/>
                  <a:gd name="connsiteX61" fmla="*/ 1128593 w 1194181"/>
                  <a:gd name="connsiteY61" fmla="*/ 729819 h 930124"/>
                  <a:gd name="connsiteX62" fmla="*/ 1124723 w 1194181"/>
                  <a:gd name="connsiteY62" fmla="*/ 743430 h 930124"/>
                  <a:gd name="connsiteX63" fmla="*/ 1116079 w 1194181"/>
                  <a:gd name="connsiteY63" fmla="*/ 759896 h 930124"/>
                  <a:gd name="connsiteX64" fmla="*/ 1111770 w 1194181"/>
                  <a:gd name="connsiteY64" fmla="*/ 777542 h 930124"/>
                  <a:gd name="connsiteX65" fmla="*/ 1112292 w 1194181"/>
                  <a:gd name="connsiteY65" fmla="*/ 783909 h 930124"/>
                  <a:gd name="connsiteX66" fmla="*/ 1103455 w 1194181"/>
                  <a:gd name="connsiteY66" fmla="*/ 793321 h 930124"/>
                  <a:gd name="connsiteX67" fmla="*/ 1095359 w 1194181"/>
                  <a:gd name="connsiteY67" fmla="*/ 810528 h 930124"/>
                  <a:gd name="connsiteX68" fmla="*/ 1087675 w 1194181"/>
                  <a:gd name="connsiteY68" fmla="*/ 846835 h 930124"/>
                  <a:gd name="connsiteX69" fmla="*/ 1087456 w 1194181"/>
                  <a:gd name="connsiteY69" fmla="*/ 864811 h 930124"/>
                  <a:gd name="connsiteX70" fmla="*/ 1083834 w 1194181"/>
                  <a:gd name="connsiteY70" fmla="*/ 874690 h 930124"/>
                  <a:gd name="connsiteX71" fmla="*/ 1070688 w 1194181"/>
                  <a:gd name="connsiteY71" fmla="*/ 882923 h 930124"/>
                  <a:gd name="connsiteX72" fmla="*/ 1036302 w 1194181"/>
                  <a:gd name="connsiteY72" fmla="*/ 886545 h 930124"/>
                  <a:gd name="connsiteX73" fmla="*/ 1024474 w 1194181"/>
                  <a:gd name="connsiteY73" fmla="*/ 890799 h 930124"/>
                  <a:gd name="connsiteX74" fmla="*/ 988112 w 1194181"/>
                  <a:gd name="connsiteY74" fmla="*/ 921398 h 930124"/>
                  <a:gd name="connsiteX75" fmla="*/ 982020 w 1194181"/>
                  <a:gd name="connsiteY75" fmla="*/ 930125 h 930124"/>
                  <a:gd name="connsiteX76" fmla="*/ 967832 w 1194181"/>
                  <a:gd name="connsiteY76" fmla="*/ 922633 h 930124"/>
                  <a:gd name="connsiteX77" fmla="*/ 958940 w 1194181"/>
                  <a:gd name="connsiteY77" fmla="*/ 915360 h 930124"/>
                  <a:gd name="connsiteX78" fmla="*/ 951366 w 1194181"/>
                  <a:gd name="connsiteY78" fmla="*/ 902682 h 930124"/>
                  <a:gd name="connsiteX79" fmla="*/ 942831 w 1194181"/>
                  <a:gd name="connsiteY79" fmla="*/ 907567 h 930124"/>
                  <a:gd name="connsiteX80" fmla="*/ 939621 w 1194181"/>
                  <a:gd name="connsiteY80" fmla="*/ 907375 h 930124"/>
                  <a:gd name="connsiteX81" fmla="*/ 939127 w 1194181"/>
                  <a:gd name="connsiteY81" fmla="*/ 904219 h 930124"/>
                  <a:gd name="connsiteX82" fmla="*/ 942365 w 1194181"/>
                  <a:gd name="connsiteY82" fmla="*/ 896178 h 930124"/>
                  <a:gd name="connsiteX83" fmla="*/ 938248 w 1194181"/>
                  <a:gd name="connsiteY83" fmla="*/ 890031 h 930124"/>
                  <a:gd name="connsiteX84" fmla="*/ 929713 w 1194181"/>
                  <a:gd name="connsiteY84" fmla="*/ 894119 h 930124"/>
                  <a:gd name="connsiteX85" fmla="*/ 928451 w 1194181"/>
                  <a:gd name="connsiteY85" fmla="*/ 901776 h 930124"/>
                  <a:gd name="connsiteX86" fmla="*/ 920026 w 1194181"/>
                  <a:gd name="connsiteY86" fmla="*/ 906140 h 930124"/>
                  <a:gd name="connsiteX87" fmla="*/ 905563 w 1194181"/>
                  <a:gd name="connsiteY87" fmla="*/ 918077 h 930124"/>
                  <a:gd name="connsiteX88" fmla="*/ 896233 w 1194181"/>
                  <a:gd name="connsiteY88" fmla="*/ 921288 h 930124"/>
                  <a:gd name="connsiteX89" fmla="*/ 864235 w 1194181"/>
                  <a:gd name="connsiteY89" fmla="*/ 906167 h 930124"/>
                  <a:gd name="connsiteX90" fmla="*/ 848592 w 1194181"/>
                  <a:gd name="connsiteY90" fmla="*/ 902901 h 930124"/>
                  <a:gd name="connsiteX91" fmla="*/ 836792 w 1194181"/>
                  <a:gd name="connsiteY91" fmla="*/ 904164 h 930124"/>
                  <a:gd name="connsiteX92" fmla="*/ 827077 w 1194181"/>
                  <a:gd name="connsiteY92" fmla="*/ 897138 h 930124"/>
                  <a:gd name="connsiteX93" fmla="*/ 814782 w 1194181"/>
                  <a:gd name="connsiteY93" fmla="*/ 893296 h 930124"/>
                  <a:gd name="connsiteX94" fmla="*/ 807071 w 1194181"/>
                  <a:gd name="connsiteY94" fmla="*/ 888027 h 930124"/>
                  <a:gd name="connsiteX95" fmla="*/ 789315 w 1194181"/>
                  <a:gd name="connsiteY95" fmla="*/ 863438 h 930124"/>
                  <a:gd name="connsiteX96" fmla="*/ 787092 w 1194181"/>
                  <a:gd name="connsiteY96" fmla="*/ 855644 h 930124"/>
                  <a:gd name="connsiteX97" fmla="*/ 788931 w 1194181"/>
                  <a:gd name="connsiteY97" fmla="*/ 846424 h 930124"/>
                  <a:gd name="connsiteX98" fmla="*/ 788053 w 1194181"/>
                  <a:gd name="connsiteY98" fmla="*/ 837340 h 930124"/>
                  <a:gd name="connsiteX99" fmla="*/ 783579 w 1194181"/>
                  <a:gd name="connsiteY99" fmla="*/ 826473 h 930124"/>
                  <a:gd name="connsiteX100" fmla="*/ 776005 w 1194181"/>
                  <a:gd name="connsiteY100" fmla="*/ 816127 h 930124"/>
                  <a:gd name="connsiteX101" fmla="*/ 759018 w 1194181"/>
                  <a:gd name="connsiteY101" fmla="*/ 803311 h 930124"/>
                  <a:gd name="connsiteX102" fmla="*/ 743486 w 1194181"/>
                  <a:gd name="connsiteY102" fmla="*/ 802817 h 930124"/>
                  <a:gd name="connsiteX103" fmla="*/ 748316 w 1194181"/>
                  <a:gd name="connsiteY103" fmla="*/ 791291 h 930124"/>
                  <a:gd name="connsiteX104" fmla="*/ 750209 w 1194181"/>
                  <a:gd name="connsiteY104" fmla="*/ 777789 h 930124"/>
                  <a:gd name="connsiteX105" fmla="*/ 740000 w 1194181"/>
                  <a:gd name="connsiteY105" fmla="*/ 756932 h 930124"/>
                  <a:gd name="connsiteX106" fmla="*/ 733304 w 1194181"/>
                  <a:gd name="connsiteY106" fmla="*/ 764177 h 930124"/>
                  <a:gd name="connsiteX107" fmla="*/ 725977 w 1194181"/>
                  <a:gd name="connsiteY107" fmla="*/ 784705 h 930124"/>
                  <a:gd name="connsiteX108" fmla="*/ 703995 w 1194181"/>
                  <a:gd name="connsiteY108" fmla="*/ 790138 h 930124"/>
                  <a:gd name="connsiteX109" fmla="*/ 703090 w 1194181"/>
                  <a:gd name="connsiteY109" fmla="*/ 790357 h 930124"/>
                  <a:gd name="connsiteX110" fmla="*/ 703995 w 1194181"/>
                  <a:gd name="connsiteY110" fmla="*/ 787750 h 930124"/>
                  <a:gd name="connsiteX111" fmla="*/ 707014 w 1194181"/>
                  <a:gd name="connsiteY111" fmla="*/ 780835 h 930124"/>
                  <a:gd name="connsiteX112" fmla="*/ 715466 w 1194181"/>
                  <a:gd name="connsiteY112" fmla="*/ 778777 h 930124"/>
                  <a:gd name="connsiteX113" fmla="*/ 718869 w 1194181"/>
                  <a:gd name="connsiteY113" fmla="*/ 774852 h 930124"/>
                  <a:gd name="connsiteX114" fmla="*/ 721339 w 1194181"/>
                  <a:gd name="connsiteY114" fmla="*/ 751663 h 930124"/>
                  <a:gd name="connsiteX115" fmla="*/ 731822 w 1194181"/>
                  <a:gd name="connsiteY115" fmla="*/ 730230 h 930124"/>
                  <a:gd name="connsiteX116" fmla="*/ 732151 w 1194181"/>
                  <a:gd name="connsiteY116" fmla="*/ 721064 h 930124"/>
                  <a:gd name="connsiteX117" fmla="*/ 734622 w 1194181"/>
                  <a:gd name="connsiteY117" fmla="*/ 713408 h 930124"/>
                  <a:gd name="connsiteX118" fmla="*/ 732096 w 1194181"/>
                  <a:gd name="connsiteY118" fmla="*/ 705586 h 930124"/>
                  <a:gd name="connsiteX119" fmla="*/ 720516 w 1194181"/>
                  <a:gd name="connsiteY119" fmla="*/ 716619 h 930124"/>
                  <a:gd name="connsiteX120" fmla="*/ 711268 w 1194181"/>
                  <a:gd name="connsiteY120" fmla="*/ 732947 h 930124"/>
                  <a:gd name="connsiteX121" fmla="*/ 703995 w 1194181"/>
                  <a:gd name="connsiteY121" fmla="*/ 738079 h 930124"/>
                  <a:gd name="connsiteX122" fmla="*/ 689862 w 1194181"/>
                  <a:gd name="connsiteY122" fmla="*/ 747437 h 930124"/>
                  <a:gd name="connsiteX123" fmla="*/ 675454 w 1194181"/>
                  <a:gd name="connsiteY123" fmla="*/ 766098 h 930124"/>
                  <a:gd name="connsiteX124" fmla="*/ 673039 w 1194181"/>
                  <a:gd name="connsiteY124" fmla="*/ 771916 h 930124"/>
                  <a:gd name="connsiteX125" fmla="*/ 675454 w 1194181"/>
                  <a:gd name="connsiteY125" fmla="*/ 775319 h 930124"/>
                  <a:gd name="connsiteX126" fmla="*/ 674988 w 1194181"/>
                  <a:gd name="connsiteY126" fmla="*/ 778969 h 930124"/>
                  <a:gd name="connsiteX127" fmla="*/ 666508 w 1194181"/>
                  <a:gd name="connsiteY127" fmla="*/ 777679 h 930124"/>
                  <a:gd name="connsiteX128" fmla="*/ 660251 w 1194181"/>
                  <a:gd name="connsiteY128" fmla="*/ 771121 h 930124"/>
                  <a:gd name="connsiteX129" fmla="*/ 653527 w 1194181"/>
                  <a:gd name="connsiteY129" fmla="*/ 745626 h 930124"/>
                  <a:gd name="connsiteX130" fmla="*/ 644306 w 1194181"/>
                  <a:gd name="connsiteY130" fmla="*/ 733413 h 930124"/>
                  <a:gd name="connsiteX131" fmla="*/ 638654 w 1194181"/>
                  <a:gd name="connsiteY131" fmla="*/ 720927 h 930124"/>
                  <a:gd name="connsiteX132" fmla="*/ 625179 w 1194181"/>
                  <a:gd name="connsiteY132" fmla="*/ 713271 h 930124"/>
                  <a:gd name="connsiteX133" fmla="*/ 622160 w 1194181"/>
                  <a:gd name="connsiteY133" fmla="*/ 706465 h 930124"/>
                  <a:gd name="connsiteX134" fmla="*/ 623834 w 1194181"/>
                  <a:gd name="connsiteY134" fmla="*/ 696640 h 930124"/>
                  <a:gd name="connsiteX135" fmla="*/ 616122 w 1194181"/>
                  <a:gd name="connsiteY135" fmla="*/ 692661 h 930124"/>
                  <a:gd name="connsiteX136" fmla="*/ 609865 w 1194181"/>
                  <a:gd name="connsiteY136" fmla="*/ 683138 h 930124"/>
                  <a:gd name="connsiteX137" fmla="*/ 594333 w 1194181"/>
                  <a:gd name="connsiteY137" fmla="*/ 681848 h 930124"/>
                  <a:gd name="connsiteX138" fmla="*/ 578087 w 1194181"/>
                  <a:gd name="connsiteY138" fmla="*/ 675097 h 930124"/>
                  <a:gd name="connsiteX139" fmla="*/ 565161 w 1194181"/>
                  <a:gd name="connsiteY139" fmla="*/ 675482 h 930124"/>
                  <a:gd name="connsiteX140" fmla="*/ 550068 w 1194181"/>
                  <a:gd name="connsiteY140" fmla="*/ 665794 h 930124"/>
                  <a:gd name="connsiteX141" fmla="*/ 533519 w 1194181"/>
                  <a:gd name="connsiteY141" fmla="*/ 659043 h 930124"/>
                  <a:gd name="connsiteX142" fmla="*/ 521884 w 1194181"/>
                  <a:gd name="connsiteY142" fmla="*/ 662035 h 930124"/>
                  <a:gd name="connsiteX143" fmla="*/ 498996 w 1194181"/>
                  <a:gd name="connsiteY143" fmla="*/ 662281 h 930124"/>
                  <a:gd name="connsiteX144" fmla="*/ 474132 w 1194181"/>
                  <a:gd name="connsiteY144" fmla="*/ 665245 h 930124"/>
                  <a:gd name="connsiteX145" fmla="*/ 448309 w 1194181"/>
                  <a:gd name="connsiteY145" fmla="*/ 676223 h 930124"/>
                  <a:gd name="connsiteX146" fmla="*/ 419000 w 1194181"/>
                  <a:gd name="connsiteY146" fmla="*/ 685279 h 930124"/>
                  <a:gd name="connsiteX147" fmla="*/ 402836 w 1194181"/>
                  <a:gd name="connsiteY147" fmla="*/ 686486 h 930124"/>
                  <a:gd name="connsiteX148" fmla="*/ 389169 w 1194181"/>
                  <a:gd name="connsiteY148" fmla="*/ 685224 h 930124"/>
                  <a:gd name="connsiteX149" fmla="*/ 381924 w 1194181"/>
                  <a:gd name="connsiteY149" fmla="*/ 686843 h 930124"/>
                  <a:gd name="connsiteX150" fmla="*/ 349542 w 1194181"/>
                  <a:gd name="connsiteY150" fmla="*/ 705312 h 930124"/>
                  <a:gd name="connsiteX151" fmla="*/ 332280 w 1194181"/>
                  <a:gd name="connsiteY151" fmla="*/ 712337 h 930124"/>
                  <a:gd name="connsiteX152" fmla="*/ 316747 w 1194181"/>
                  <a:gd name="connsiteY152" fmla="*/ 737722 h 930124"/>
                  <a:gd name="connsiteX153" fmla="*/ 304096 w 1194181"/>
                  <a:gd name="connsiteY153" fmla="*/ 744857 h 930124"/>
                  <a:gd name="connsiteX154" fmla="*/ 291774 w 1194181"/>
                  <a:gd name="connsiteY154" fmla="*/ 742360 h 930124"/>
                  <a:gd name="connsiteX155" fmla="*/ 265347 w 1194181"/>
                  <a:gd name="connsiteY155" fmla="*/ 745708 h 930124"/>
                  <a:gd name="connsiteX156" fmla="*/ 262273 w 1194181"/>
                  <a:gd name="connsiteY156" fmla="*/ 741784 h 930124"/>
                  <a:gd name="connsiteX157" fmla="*/ 247591 w 1194181"/>
                  <a:gd name="connsiteY157" fmla="*/ 740466 h 930124"/>
                  <a:gd name="connsiteX158" fmla="*/ 207332 w 1194181"/>
                  <a:gd name="connsiteY158" fmla="*/ 744748 h 930124"/>
                  <a:gd name="connsiteX159" fmla="*/ 196190 w 1194181"/>
                  <a:gd name="connsiteY159" fmla="*/ 750895 h 930124"/>
                  <a:gd name="connsiteX160" fmla="*/ 188396 w 1194181"/>
                  <a:gd name="connsiteY160" fmla="*/ 761103 h 930124"/>
                  <a:gd name="connsiteX161" fmla="*/ 172699 w 1194181"/>
                  <a:gd name="connsiteY161" fmla="*/ 765302 h 930124"/>
                  <a:gd name="connsiteX162" fmla="*/ 156837 w 1194181"/>
                  <a:gd name="connsiteY162" fmla="*/ 778749 h 930124"/>
                  <a:gd name="connsiteX163" fmla="*/ 142320 w 1194181"/>
                  <a:gd name="connsiteY163" fmla="*/ 785144 h 930124"/>
                  <a:gd name="connsiteX164" fmla="*/ 127885 w 1194181"/>
                  <a:gd name="connsiteY164" fmla="*/ 782756 h 930124"/>
                  <a:gd name="connsiteX165" fmla="*/ 107137 w 1194181"/>
                  <a:gd name="connsiteY165" fmla="*/ 783003 h 930124"/>
                  <a:gd name="connsiteX166" fmla="*/ 90837 w 1194181"/>
                  <a:gd name="connsiteY166" fmla="*/ 776252 h 930124"/>
                  <a:gd name="connsiteX167" fmla="*/ 76484 w 1194181"/>
                  <a:gd name="connsiteY167" fmla="*/ 762503 h 930124"/>
                  <a:gd name="connsiteX168" fmla="*/ 64190 w 1194181"/>
                  <a:gd name="connsiteY168" fmla="*/ 757536 h 930124"/>
                  <a:gd name="connsiteX169" fmla="*/ 60429 w 1194181"/>
                  <a:gd name="connsiteY169" fmla="*/ 752239 h 930124"/>
                  <a:gd name="connsiteX170" fmla="*/ 59195 w 1194181"/>
                  <a:gd name="connsiteY170" fmla="*/ 743073 h 930124"/>
                  <a:gd name="connsiteX171" fmla="*/ 60429 w 1194181"/>
                  <a:gd name="connsiteY171" fmla="*/ 734099 h 930124"/>
                  <a:gd name="connsiteX172" fmla="*/ 70474 w 1194181"/>
                  <a:gd name="connsiteY172" fmla="*/ 731246 h 930124"/>
                  <a:gd name="connsiteX173" fmla="*/ 78021 w 1194181"/>
                  <a:gd name="connsiteY173" fmla="*/ 719335 h 930124"/>
                  <a:gd name="connsiteX174" fmla="*/ 80243 w 1194181"/>
                  <a:gd name="connsiteY174" fmla="*/ 670185 h 930124"/>
                  <a:gd name="connsiteX175" fmla="*/ 61280 w 1194181"/>
                  <a:gd name="connsiteY175" fmla="*/ 623806 h 930124"/>
                  <a:gd name="connsiteX176" fmla="*/ 58564 w 1194181"/>
                  <a:gd name="connsiteY176" fmla="*/ 608658 h 930124"/>
                  <a:gd name="connsiteX177" fmla="*/ 58316 w 1194181"/>
                  <a:gd name="connsiteY177" fmla="*/ 590436 h 930124"/>
                  <a:gd name="connsiteX178" fmla="*/ 55792 w 1194181"/>
                  <a:gd name="connsiteY178" fmla="*/ 580776 h 930124"/>
                  <a:gd name="connsiteX179" fmla="*/ 49068 w 1194181"/>
                  <a:gd name="connsiteY179" fmla="*/ 569030 h 930124"/>
                  <a:gd name="connsiteX180" fmla="*/ 44595 w 1194181"/>
                  <a:gd name="connsiteY180" fmla="*/ 556846 h 930124"/>
                  <a:gd name="connsiteX181" fmla="*/ 35621 w 1194181"/>
                  <a:gd name="connsiteY181" fmla="*/ 543042 h 930124"/>
                  <a:gd name="connsiteX182" fmla="*/ 33344 w 1194181"/>
                  <a:gd name="connsiteY182" fmla="*/ 528195 h 930124"/>
                  <a:gd name="connsiteX183" fmla="*/ 29035 w 1194181"/>
                  <a:gd name="connsiteY183" fmla="*/ 516065 h 930124"/>
                  <a:gd name="connsiteX184" fmla="*/ 20692 w 1194181"/>
                  <a:gd name="connsiteY184" fmla="*/ 501411 h 930124"/>
                  <a:gd name="connsiteX185" fmla="*/ 9386 w 1194181"/>
                  <a:gd name="connsiteY185" fmla="*/ 486317 h 930124"/>
                  <a:gd name="connsiteX186" fmla="*/ 0 w 1194181"/>
                  <a:gd name="connsiteY186" fmla="*/ 464500 h 930124"/>
                  <a:gd name="connsiteX187" fmla="*/ 796 w 1194181"/>
                  <a:gd name="connsiteY187" fmla="*/ 462689 h 930124"/>
                  <a:gd name="connsiteX188" fmla="*/ 7492 w 1194181"/>
                  <a:gd name="connsiteY188" fmla="*/ 478084 h 930124"/>
                  <a:gd name="connsiteX189" fmla="*/ 13914 w 1194181"/>
                  <a:gd name="connsiteY189" fmla="*/ 482557 h 930124"/>
                  <a:gd name="connsiteX190" fmla="*/ 20527 w 1194181"/>
                  <a:gd name="connsiteY190" fmla="*/ 492437 h 930124"/>
                  <a:gd name="connsiteX191" fmla="*/ 24452 w 1194181"/>
                  <a:gd name="connsiteY191" fmla="*/ 490735 h 930124"/>
                  <a:gd name="connsiteX192" fmla="*/ 26016 w 1194181"/>
                  <a:gd name="connsiteY192" fmla="*/ 481377 h 930124"/>
                  <a:gd name="connsiteX193" fmla="*/ 31395 w 1194181"/>
                  <a:gd name="connsiteY193" fmla="*/ 485823 h 930124"/>
                  <a:gd name="connsiteX194" fmla="*/ 35045 w 1194181"/>
                  <a:gd name="connsiteY194" fmla="*/ 483874 h 930124"/>
                  <a:gd name="connsiteX195" fmla="*/ 35621 w 1194181"/>
                  <a:gd name="connsiteY195" fmla="*/ 469742 h 930124"/>
                  <a:gd name="connsiteX196" fmla="*/ 21323 w 1194181"/>
                  <a:gd name="connsiteY196" fmla="*/ 443808 h 930124"/>
                  <a:gd name="connsiteX197" fmla="*/ 13255 w 1194181"/>
                  <a:gd name="connsiteY197" fmla="*/ 421991 h 930124"/>
                  <a:gd name="connsiteX198" fmla="*/ 15094 w 1194181"/>
                  <a:gd name="connsiteY198" fmla="*/ 406760 h 930124"/>
                  <a:gd name="connsiteX199" fmla="*/ 22888 w 1194181"/>
                  <a:gd name="connsiteY199" fmla="*/ 390514 h 930124"/>
                  <a:gd name="connsiteX200" fmla="*/ 23519 w 1194181"/>
                  <a:gd name="connsiteY200" fmla="*/ 378000 h 930124"/>
                  <a:gd name="connsiteX201" fmla="*/ 21241 w 1194181"/>
                  <a:gd name="connsiteY201" fmla="*/ 362796 h 930124"/>
                  <a:gd name="connsiteX202" fmla="*/ 30160 w 1194181"/>
                  <a:gd name="connsiteY202" fmla="*/ 341857 h 930124"/>
                  <a:gd name="connsiteX203" fmla="*/ 34249 w 1194181"/>
                  <a:gd name="connsiteY203" fmla="*/ 340595 h 930124"/>
                  <a:gd name="connsiteX204" fmla="*/ 32904 w 1194181"/>
                  <a:gd name="connsiteY204" fmla="*/ 350557 h 930124"/>
                  <a:gd name="connsiteX205" fmla="*/ 35703 w 1194181"/>
                  <a:gd name="connsiteY205" fmla="*/ 359805 h 930124"/>
                  <a:gd name="connsiteX206" fmla="*/ 38091 w 1194181"/>
                  <a:gd name="connsiteY206" fmla="*/ 360244 h 930124"/>
                  <a:gd name="connsiteX207" fmla="*/ 40616 w 1194181"/>
                  <a:gd name="connsiteY207" fmla="*/ 358625 h 930124"/>
                  <a:gd name="connsiteX208" fmla="*/ 50138 w 1194181"/>
                  <a:gd name="connsiteY208" fmla="*/ 340650 h 930124"/>
                  <a:gd name="connsiteX209" fmla="*/ 69898 w 1194181"/>
                  <a:gd name="connsiteY209" fmla="*/ 330578 h 930124"/>
                  <a:gd name="connsiteX210" fmla="*/ 94212 w 1194181"/>
                  <a:gd name="connsiteY210" fmla="*/ 310847 h 930124"/>
                  <a:gd name="connsiteX211" fmla="*/ 109635 w 1194181"/>
                  <a:gd name="connsiteY211" fmla="*/ 302641 h 930124"/>
                  <a:gd name="connsiteX212" fmla="*/ 135843 w 1194181"/>
                  <a:gd name="connsiteY212" fmla="*/ 303931 h 930124"/>
                  <a:gd name="connsiteX213" fmla="*/ 153050 w 1194181"/>
                  <a:gd name="connsiteY213" fmla="*/ 294024 h 930124"/>
                  <a:gd name="connsiteX214" fmla="*/ 170915 w 1194181"/>
                  <a:gd name="connsiteY214" fmla="*/ 290155 h 930124"/>
                  <a:gd name="connsiteX215" fmla="*/ 180602 w 1194181"/>
                  <a:gd name="connsiteY215" fmla="*/ 282855 h 930124"/>
                  <a:gd name="connsiteX216" fmla="*/ 200142 w 1194181"/>
                  <a:gd name="connsiteY216" fmla="*/ 282306 h 930124"/>
                  <a:gd name="connsiteX217" fmla="*/ 226487 w 1194181"/>
                  <a:gd name="connsiteY217" fmla="*/ 273963 h 930124"/>
                  <a:gd name="connsiteX218" fmla="*/ 240346 w 1194181"/>
                  <a:gd name="connsiteY218" fmla="*/ 265840 h 930124"/>
                  <a:gd name="connsiteX219" fmla="*/ 249539 w 1194181"/>
                  <a:gd name="connsiteY219" fmla="*/ 255110 h 930124"/>
                  <a:gd name="connsiteX220" fmla="*/ 259776 w 1194181"/>
                  <a:gd name="connsiteY220" fmla="*/ 236037 h 930124"/>
                  <a:gd name="connsiteX221" fmla="*/ 274073 w 1194181"/>
                  <a:gd name="connsiteY221" fmla="*/ 223139 h 930124"/>
                  <a:gd name="connsiteX222" fmla="*/ 271164 w 1194181"/>
                  <a:gd name="connsiteY222" fmla="*/ 214659 h 930124"/>
                  <a:gd name="connsiteX223" fmla="*/ 270094 w 1194181"/>
                  <a:gd name="connsiteY223" fmla="*/ 204038 h 930124"/>
                  <a:gd name="connsiteX224" fmla="*/ 271384 w 1194181"/>
                  <a:gd name="connsiteY224" fmla="*/ 197589 h 930124"/>
                  <a:gd name="connsiteX225" fmla="*/ 275610 w 1194181"/>
                  <a:gd name="connsiteY225" fmla="*/ 191305 h 930124"/>
                  <a:gd name="connsiteX226" fmla="*/ 293476 w 1194181"/>
                  <a:gd name="connsiteY226" fmla="*/ 173522 h 930124"/>
                  <a:gd name="connsiteX227" fmla="*/ 297208 w 1194181"/>
                  <a:gd name="connsiteY227" fmla="*/ 181590 h 930124"/>
                  <a:gd name="connsiteX228" fmla="*/ 310957 w 1194181"/>
                  <a:gd name="connsiteY228" fmla="*/ 198824 h 930124"/>
                  <a:gd name="connsiteX229" fmla="*/ 313180 w 1194181"/>
                  <a:gd name="connsiteY229" fmla="*/ 193199 h 930124"/>
                  <a:gd name="connsiteX230" fmla="*/ 318284 w 1194181"/>
                  <a:gd name="connsiteY230" fmla="*/ 190564 h 930124"/>
                  <a:gd name="connsiteX231" fmla="*/ 315293 w 1194181"/>
                  <a:gd name="connsiteY231" fmla="*/ 183346 h 930124"/>
                  <a:gd name="connsiteX232" fmla="*/ 309475 w 1194181"/>
                  <a:gd name="connsiteY232" fmla="*/ 176211 h 930124"/>
                  <a:gd name="connsiteX233" fmla="*/ 308981 w 1194181"/>
                  <a:gd name="connsiteY233" fmla="*/ 170833 h 930124"/>
                  <a:gd name="connsiteX234" fmla="*/ 311231 w 1194181"/>
                  <a:gd name="connsiteY234" fmla="*/ 166826 h 930124"/>
                  <a:gd name="connsiteX235" fmla="*/ 315567 w 1194181"/>
                  <a:gd name="connsiteY235" fmla="*/ 164329 h 930124"/>
                  <a:gd name="connsiteX236" fmla="*/ 321577 w 1194181"/>
                  <a:gd name="connsiteY236" fmla="*/ 166771 h 930124"/>
                  <a:gd name="connsiteX237" fmla="*/ 334723 w 1194181"/>
                  <a:gd name="connsiteY237" fmla="*/ 167841 h 930124"/>
                  <a:gd name="connsiteX238" fmla="*/ 339415 w 1194181"/>
                  <a:gd name="connsiteY238" fmla="*/ 160788 h 930124"/>
                  <a:gd name="connsiteX239" fmla="*/ 336781 w 1194181"/>
                  <a:gd name="connsiteY239" fmla="*/ 151238 h 930124"/>
                  <a:gd name="connsiteX240" fmla="*/ 339772 w 1194181"/>
                  <a:gd name="connsiteY240" fmla="*/ 139410 h 930124"/>
                  <a:gd name="connsiteX241" fmla="*/ 345315 w 1194181"/>
                  <a:gd name="connsiteY241" fmla="*/ 137873 h 930124"/>
                  <a:gd name="connsiteX242" fmla="*/ 354755 w 1194181"/>
                  <a:gd name="connsiteY242" fmla="*/ 130382 h 930124"/>
                  <a:gd name="connsiteX243" fmla="*/ 361918 w 1194181"/>
                  <a:gd name="connsiteY243" fmla="*/ 129449 h 930124"/>
                  <a:gd name="connsiteX244" fmla="*/ 358158 w 1194181"/>
                  <a:gd name="connsiteY244" fmla="*/ 114519 h 930124"/>
                  <a:gd name="connsiteX245" fmla="*/ 367407 w 1194181"/>
                  <a:gd name="connsiteY245" fmla="*/ 113175 h 930124"/>
                  <a:gd name="connsiteX246" fmla="*/ 372457 w 1194181"/>
                  <a:gd name="connsiteY246" fmla="*/ 109443 h 930124"/>
                  <a:gd name="connsiteX247" fmla="*/ 378219 w 1194181"/>
                  <a:gd name="connsiteY247" fmla="*/ 113559 h 930124"/>
                  <a:gd name="connsiteX248" fmla="*/ 381101 w 1194181"/>
                  <a:gd name="connsiteY248" fmla="*/ 113669 h 930124"/>
                  <a:gd name="connsiteX249" fmla="*/ 386342 w 1194181"/>
                  <a:gd name="connsiteY249" fmla="*/ 99563 h 930124"/>
                  <a:gd name="connsiteX250" fmla="*/ 390788 w 1194181"/>
                  <a:gd name="connsiteY250" fmla="*/ 101868 h 930124"/>
                  <a:gd name="connsiteX251" fmla="*/ 395756 w 1194181"/>
                  <a:gd name="connsiteY251" fmla="*/ 100030 h 930124"/>
                  <a:gd name="connsiteX252" fmla="*/ 400887 w 1194181"/>
                  <a:gd name="connsiteY252" fmla="*/ 101155 h 930124"/>
                  <a:gd name="connsiteX253" fmla="*/ 406431 w 1194181"/>
                  <a:gd name="connsiteY253" fmla="*/ 93224 h 930124"/>
                  <a:gd name="connsiteX254" fmla="*/ 410108 w 1194181"/>
                  <a:gd name="connsiteY254" fmla="*/ 91961 h 930124"/>
                  <a:gd name="connsiteX255" fmla="*/ 424817 w 1194181"/>
                  <a:gd name="connsiteY255" fmla="*/ 98164 h 930124"/>
                  <a:gd name="connsiteX256" fmla="*/ 442628 w 1194181"/>
                  <a:gd name="connsiteY256" fmla="*/ 116221 h 930124"/>
                  <a:gd name="connsiteX257" fmla="*/ 446058 w 1194181"/>
                  <a:gd name="connsiteY257" fmla="*/ 129339 h 930124"/>
                  <a:gd name="connsiteX258" fmla="*/ 458545 w 1194181"/>
                  <a:gd name="connsiteY258" fmla="*/ 122588 h 930124"/>
                  <a:gd name="connsiteX259" fmla="*/ 470510 w 1194181"/>
                  <a:gd name="connsiteY259" fmla="*/ 125250 h 930124"/>
                  <a:gd name="connsiteX260" fmla="*/ 475532 w 1194181"/>
                  <a:gd name="connsiteY260" fmla="*/ 128214 h 930124"/>
                  <a:gd name="connsiteX261" fmla="*/ 479731 w 1194181"/>
                  <a:gd name="connsiteY261" fmla="*/ 125662 h 930124"/>
                  <a:gd name="connsiteX262" fmla="*/ 487278 w 1194181"/>
                  <a:gd name="connsiteY262" fmla="*/ 127720 h 930124"/>
                  <a:gd name="connsiteX263" fmla="*/ 491010 w 1194181"/>
                  <a:gd name="connsiteY263" fmla="*/ 120118 h 930124"/>
                  <a:gd name="connsiteX264" fmla="*/ 488870 w 1194181"/>
                  <a:gd name="connsiteY264" fmla="*/ 115261 h 930124"/>
                  <a:gd name="connsiteX265" fmla="*/ 483902 w 1194181"/>
                  <a:gd name="connsiteY265" fmla="*/ 110321 h 930124"/>
                  <a:gd name="connsiteX266" fmla="*/ 484095 w 1194181"/>
                  <a:gd name="connsiteY266" fmla="*/ 105985 h 930124"/>
                  <a:gd name="connsiteX267" fmla="*/ 491696 w 1194181"/>
                  <a:gd name="connsiteY267" fmla="*/ 96517 h 930124"/>
                  <a:gd name="connsiteX268" fmla="*/ 496526 w 1194181"/>
                  <a:gd name="connsiteY268" fmla="*/ 84552 h 930124"/>
                  <a:gd name="connsiteX269" fmla="*/ 505445 w 1194181"/>
                  <a:gd name="connsiteY269" fmla="*/ 78021 h 930124"/>
                  <a:gd name="connsiteX270" fmla="*/ 505582 w 1194181"/>
                  <a:gd name="connsiteY270" fmla="*/ 68113 h 930124"/>
                  <a:gd name="connsiteX271" fmla="*/ 507174 w 1194181"/>
                  <a:gd name="connsiteY271" fmla="*/ 65067 h 930124"/>
                  <a:gd name="connsiteX272" fmla="*/ 518920 w 1194181"/>
                  <a:gd name="connsiteY272" fmla="*/ 52553 h 930124"/>
                  <a:gd name="connsiteX273" fmla="*/ 524902 w 1194181"/>
                  <a:gd name="connsiteY273" fmla="*/ 51840 h 930124"/>
                  <a:gd name="connsiteX274" fmla="*/ 532257 w 1194181"/>
                  <a:gd name="connsiteY274" fmla="*/ 43360 h 930124"/>
                  <a:gd name="connsiteX275" fmla="*/ 536922 w 1194181"/>
                  <a:gd name="connsiteY275" fmla="*/ 41604 h 930124"/>
                  <a:gd name="connsiteX276" fmla="*/ 540874 w 1194181"/>
                  <a:gd name="connsiteY276" fmla="*/ 43360 h 930124"/>
                  <a:gd name="connsiteX277" fmla="*/ 545183 w 1194181"/>
                  <a:gd name="connsiteY277" fmla="*/ 45007 h 930124"/>
                  <a:gd name="connsiteX278" fmla="*/ 558410 w 1194181"/>
                  <a:gd name="connsiteY278" fmla="*/ 45665 h 930124"/>
                  <a:gd name="connsiteX279" fmla="*/ 569414 w 1194181"/>
                  <a:gd name="connsiteY279" fmla="*/ 43360 h 930124"/>
                  <a:gd name="connsiteX280" fmla="*/ 575809 w 1194181"/>
                  <a:gd name="connsiteY280" fmla="*/ 39628 h 930124"/>
                  <a:gd name="connsiteX281" fmla="*/ 576412 w 1194181"/>
                  <a:gd name="connsiteY281" fmla="*/ 36088 h 930124"/>
                  <a:gd name="connsiteX282" fmla="*/ 576632 w 1194181"/>
                  <a:gd name="connsiteY282" fmla="*/ 32081 h 930124"/>
                  <a:gd name="connsiteX283" fmla="*/ 572955 w 1194181"/>
                  <a:gd name="connsiteY283" fmla="*/ 23683 h 930124"/>
                  <a:gd name="connsiteX284" fmla="*/ 568921 w 1194181"/>
                  <a:gd name="connsiteY284" fmla="*/ 21735 h 930124"/>
                  <a:gd name="connsiteX285" fmla="*/ 561346 w 1194181"/>
                  <a:gd name="connsiteY285" fmla="*/ 21268 h 930124"/>
                  <a:gd name="connsiteX286" fmla="*/ 556325 w 1194181"/>
                  <a:gd name="connsiteY286" fmla="*/ 16987 h 930124"/>
                  <a:gd name="connsiteX287" fmla="*/ 556434 w 1194181"/>
                  <a:gd name="connsiteY287" fmla="*/ 15423 h 930124"/>
                  <a:gd name="connsiteX288" fmla="*/ 559233 w 1194181"/>
                  <a:gd name="connsiteY288" fmla="*/ 14161 h 930124"/>
                  <a:gd name="connsiteX289" fmla="*/ 564118 w 1194181"/>
                  <a:gd name="connsiteY289" fmla="*/ 16932 h 930124"/>
                  <a:gd name="connsiteX290" fmla="*/ 566643 w 1194181"/>
                  <a:gd name="connsiteY290" fmla="*/ 12596 h 930124"/>
                  <a:gd name="connsiteX291" fmla="*/ 574684 w 1194181"/>
                  <a:gd name="connsiteY291" fmla="*/ 16685 h 930124"/>
                  <a:gd name="connsiteX292" fmla="*/ 573943 w 1194181"/>
                  <a:gd name="connsiteY292" fmla="*/ 12130 h 930124"/>
                  <a:gd name="connsiteX293" fmla="*/ 575754 w 1194181"/>
                  <a:gd name="connsiteY293" fmla="*/ 9852 h 930124"/>
                  <a:gd name="connsiteX294" fmla="*/ 577126 w 1194181"/>
                  <a:gd name="connsiteY294" fmla="*/ 14819 h 930124"/>
                  <a:gd name="connsiteX295" fmla="*/ 576248 w 1194181"/>
                  <a:gd name="connsiteY295" fmla="*/ 18332 h 930124"/>
                  <a:gd name="connsiteX296" fmla="*/ 578608 w 1194181"/>
                  <a:gd name="connsiteY296" fmla="*/ 20555 h 930124"/>
                  <a:gd name="connsiteX297" fmla="*/ 587362 w 1194181"/>
                  <a:gd name="connsiteY297" fmla="*/ 20610 h 930124"/>
                  <a:gd name="connsiteX298" fmla="*/ 597105 w 1194181"/>
                  <a:gd name="connsiteY298" fmla="*/ 29172 h 930124"/>
                  <a:gd name="connsiteX299" fmla="*/ 612939 w 1194181"/>
                  <a:gd name="connsiteY299" fmla="*/ 31203 h 930124"/>
                  <a:gd name="connsiteX300" fmla="*/ 621474 w 1194181"/>
                  <a:gd name="connsiteY300" fmla="*/ 36088 h 930124"/>
                  <a:gd name="connsiteX301" fmla="*/ 624740 w 1194181"/>
                  <a:gd name="connsiteY301" fmla="*/ 38063 h 930124"/>
                  <a:gd name="connsiteX302" fmla="*/ 632725 w 1194181"/>
                  <a:gd name="connsiteY302" fmla="*/ 38996 h 930124"/>
                  <a:gd name="connsiteX303" fmla="*/ 642002 w 1194181"/>
                  <a:gd name="connsiteY303" fmla="*/ 37487 h 930124"/>
                  <a:gd name="connsiteX304" fmla="*/ 650125 w 1194181"/>
                  <a:gd name="connsiteY304" fmla="*/ 43333 h 930124"/>
                  <a:gd name="connsiteX305" fmla="*/ 650838 w 1194181"/>
                  <a:gd name="connsiteY305" fmla="*/ 43333 h 930124"/>
                  <a:gd name="connsiteX306" fmla="*/ 668923 w 1194181"/>
                  <a:gd name="connsiteY306" fmla="*/ 36417 h 930124"/>
                  <a:gd name="connsiteX307" fmla="*/ 668594 w 1194181"/>
                  <a:gd name="connsiteY307" fmla="*/ 43333 h 930124"/>
                  <a:gd name="connsiteX308" fmla="*/ 674933 w 1194181"/>
                  <a:gd name="connsiteY308" fmla="*/ 44375 h 930124"/>
                  <a:gd name="connsiteX309" fmla="*/ 680449 w 1194181"/>
                  <a:gd name="connsiteY309" fmla="*/ 50166 h 930124"/>
                  <a:gd name="connsiteX310" fmla="*/ 684977 w 1194181"/>
                  <a:gd name="connsiteY310" fmla="*/ 47641 h 930124"/>
                  <a:gd name="connsiteX311" fmla="*/ 684621 w 1194181"/>
                  <a:gd name="connsiteY311" fmla="*/ 43333 h 930124"/>
                  <a:gd name="connsiteX312" fmla="*/ 684181 w 1194181"/>
                  <a:gd name="connsiteY312" fmla="*/ 41110 h 930124"/>
                  <a:gd name="connsiteX313" fmla="*/ 686184 w 1194181"/>
                  <a:gd name="connsiteY313" fmla="*/ 37926 h 930124"/>
                  <a:gd name="connsiteX314" fmla="*/ 691508 w 1194181"/>
                  <a:gd name="connsiteY314" fmla="*/ 38448 h 930124"/>
                  <a:gd name="connsiteX315" fmla="*/ 695707 w 1194181"/>
                  <a:gd name="connsiteY315" fmla="*/ 43360 h 930124"/>
                  <a:gd name="connsiteX316" fmla="*/ 701196 w 1194181"/>
                  <a:gd name="connsiteY316" fmla="*/ 45500 h 930124"/>
                  <a:gd name="connsiteX317" fmla="*/ 701690 w 1194181"/>
                  <a:gd name="connsiteY317" fmla="*/ 49233 h 930124"/>
                  <a:gd name="connsiteX318" fmla="*/ 693841 w 1194181"/>
                  <a:gd name="connsiteY318" fmla="*/ 60704 h 930124"/>
                  <a:gd name="connsiteX319" fmla="*/ 691207 w 1194181"/>
                  <a:gd name="connsiteY319" fmla="*/ 71105 h 930124"/>
                  <a:gd name="connsiteX320" fmla="*/ 684401 w 1194181"/>
                  <a:gd name="connsiteY320" fmla="*/ 72504 h 930124"/>
                  <a:gd name="connsiteX321" fmla="*/ 675152 w 1194181"/>
                  <a:gd name="connsiteY321" fmla="*/ 77993 h 930124"/>
                  <a:gd name="connsiteX322" fmla="*/ 673780 w 1194181"/>
                  <a:gd name="connsiteY322" fmla="*/ 84250 h 930124"/>
                  <a:gd name="connsiteX323" fmla="*/ 676031 w 1194181"/>
                  <a:gd name="connsiteY323" fmla="*/ 91275 h 930124"/>
                  <a:gd name="connsiteX324" fmla="*/ 674878 w 1194181"/>
                  <a:gd name="connsiteY324" fmla="*/ 96819 h 930124"/>
                  <a:gd name="connsiteX325" fmla="*/ 660635 w 1194181"/>
                  <a:gd name="connsiteY325" fmla="*/ 122011 h 930124"/>
                  <a:gd name="connsiteX326" fmla="*/ 664889 w 1194181"/>
                  <a:gd name="connsiteY326" fmla="*/ 129201 h 930124"/>
                  <a:gd name="connsiteX327" fmla="*/ 687611 w 1194181"/>
                  <a:gd name="connsiteY327" fmla="*/ 146298 h 930124"/>
                  <a:gd name="connsiteX328" fmla="*/ 690521 w 1194181"/>
                  <a:gd name="connsiteY328" fmla="*/ 146957 h 930124"/>
                  <a:gd name="connsiteX329" fmla="*/ 693814 w 1194181"/>
                  <a:gd name="connsiteY329" fmla="*/ 145091 h 930124"/>
                  <a:gd name="connsiteX330" fmla="*/ 699440 w 1194181"/>
                  <a:gd name="connsiteY330" fmla="*/ 153681 h 930124"/>
                  <a:gd name="connsiteX331" fmla="*/ 703940 w 1194181"/>
                  <a:gd name="connsiteY331" fmla="*/ 155300 h 930124"/>
                  <a:gd name="connsiteX332" fmla="*/ 726553 w 1194181"/>
                  <a:gd name="connsiteY332" fmla="*/ 166030 h 930124"/>
                  <a:gd name="connsiteX333" fmla="*/ 741647 w 1194181"/>
                  <a:gd name="connsiteY333" fmla="*/ 179203 h 930124"/>
                  <a:gd name="connsiteX334" fmla="*/ 765028 w 1194181"/>
                  <a:gd name="connsiteY334" fmla="*/ 187134 h 930124"/>
                  <a:gd name="connsiteX335" fmla="*/ 774029 w 1194181"/>
                  <a:gd name="connsiteY335" fmla="*/ 199510 h 930124"/>
                  <a:gd name="connsiteX336" fmla="*/ 792883 w 1194181"/>
                  <a:gd name="connsiteY336" fmla="*/ 209390 h 930124"/>
                  <a:gd name="connsiteX337" fmla="*/ 805754 w 1194181"/>
                  <a:gd name="connsiteY337" fmla="*/ 209609 h 930124"/>
                  <a:gd name="connsiteX338" fmla="*/ 817582 w 1194181"/>
                  <a:gd name="connsiteY338" fmla="*/ 203325 h 930124"/>
                  <a:gd name="connsiteX339" fmla="*/ 832785 w 1194181"/>
                  <a:gd name="connsiteY339" fmla="*/ 171738 h 930124"/>
                  <a:gd name="connsiteX340" fmla="*/ 835776 w 1194181"/>
                  <a:gd name="connsiteY340" fmla="*/ 161557 h 930124"/>
                  <a:gd name="connsiteX341" fmla="*/ 837313 w 1194181"/>
                  <a:gd name="connsiteY341" fmla="*/ 147012 h 930124"/>
                  <a:gd name="connsiteX342" fmla="*/ 842061 w 1194181"/>
                  <a:gd name="connsiteY342" fmla="*/ 132138 h 930124"/>
                  <a:gd name="connsiteX343" fmla="*/ 840002 w 1194181"/>
                  <a:gd name="connsiteY343" fmla="*/ 113751 h 930124"/>
                  <a:gd name="connsiteX344" fmla="*/ 840771 w 1194181"/>
                  <a:gd name="connsiteY344" fmla="*/ 101841 h 930124"/>
                  <a:gd name="connsiteX345" fmla="*/ 838713 w 1194181"/>
                  <a:gd name="connsiteY345" fmla="*/ 91989 h 930124"/>
                  <a:gd name="connsiteX346" fmla="*/ 843104 w 1194181"/>
                  <a:gd name="connsiteY346" fmla="*/ 76785 h 930124"/>
                  <a:gd name="connsiteX347" fmla="*/ 842939 w 1194181"/>
                  <a:gd name="connsiteY347" fmla="*/ 66055 h 930124"/>
                  <a:gd name="connsiteX348" fmla="*/ 847549 w 1194181"/>
                  <a:gd name="connsiteY348" fmla="*/ 57438 h 930124"/>
                  <a:gd name="connsiteX349" fmla="*/ 843488 w 1194181"/>
                  <a:gd name="connsiteY349" fmla="*/ 50056 h 930124"/>
                  <a:gd name="connsiteX350" fmla="*/ 847659 w 1194181"/>
                  <a:gd name="connsiteY350" fmla="*/ 40588 h 930124"/>
                  <a:gd name="connsiteX351" fmla="*/ 852489 w 1194181"/>
                  <a:gd name="connsiteY351" fmla="*/ 35813 h 930124"/>
                  <a:gd name="connsiteX352" fmla="*/ 857566 w 1194181"/>
                  <a:gd name="connsiteY352" fmla="*/ 8013 h 930124"/>
                  <a:gd name="connsiteX353" fmla="*/ 865058 w 1194181"/>
                  <a:gd name="connsiteY353" fmla="*/ 576 h 930124"/>
                  <a:gd name="connsiteX354" fmla="*/ 868790 w 1194181"/>
                  <a:gd name="connsiteY354" fmla="*/ 0 h 930124"/>
                  <a:gd name="connsiteX355" fmla="*/ 876282 w 1194181"/>
                  <a:gd name="connsiteY355" fmla="*/ 11801 h 930124"/>
                  <a:gd name="connsiteX356" fmla="*/ 879328 w 1194181"/>
                  <a:gd name="connsiteY356" fmla="*/ 31203 h 930124"/>
                  <a:gd name="connsiteX357" fmla="*/ 886189 w 1194181"/>
                  <a:gd name="connsiteY357" fmla="*/ 36774 h 930124"/>
                  <a:gd name="connsiteX358" fmla="*/ 886628 w 1194181"/>
                  <a:gd name="connsiteY358" fmla="*/ 46543 h 930124"/>
                  <a:gd name="connsiteX359" fmla="*/ 892638 w 1194181"/>
                  <a:gd name="connsiteY359" fmla="*/ 53898 h 930124"/>
                  <a:gd name="connsiteX360" fmla="*/ 894230 w 1194181"/>
                  <a:gd name="connsiteY360" fmla="*/ 61527 h 930124"/>
                  <a:gd name="connsiteX361" fmla="*/ 897605 w 1194181"/>
                  <a:gd name="connsiteY361" fmla="*/ 66384 h 930124"/>
                  <a:gd name="connsiteX362" fmla="*/ 899252 w 1194181"/>
                  <a:gd name="connsiteY362" fmla="*/ 90864 h 930124"/>
                  <a:gd name="connsiteX363" fmla="*/ 905509 w 1194181"/>
                  <a:gd name="connsiteY363" fmla="*/ 108153 h 93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Lst>
                <a:rect l="l" t="t" r="r" b="b"/>
                <a:pathLst>
                  <a:path w="1194181" h="930124">
                    <a:moveTo>
                      <a:pt x="905646" y="108372"/>
                    </a:moveTo>
                    <a:lnTo>
                      <a:pt x="911244" y="111720"/>
                    </a:lnTo>
                    <a:lnTo>
                      <a:pt x="919834" y="105216"/>
                    </a:lnTo>
                    <a:lnTo>
                      <a:pt x="926613" y="105354"/>
                    </a:lnTo>
                    <a:lnTo>
                      <a:pt x="932787" y="113806"/>
                    </a:lnTo>
                    <a:lnTo>
                      <a:pt x="949719" y="127829"/>
                    </a:lnTo>
                    <a:lnTo>
                      <a:pt x="949637" y="142566"/>
                    </a:lnTo>
                    <a:lnTo>
                      <a:pt x="954604" y="160075"/>
                    </a:lnTo>
                    <a:lnTo>
                      <a:pt x="954769" y="171711"/>
                    </a:lnTo>
                    <a:lnTo>
                      <a:pt x="962782" y="183649"/>
                    </a:lnTo>
                    <a:lnTo>
                      <a:pt x="968820" y="189411"/>
                    </a:lnTo>
                    <a:lnTo>
                      <a:pt x="974308" y="209582"/>
                    </a:lnTo>
                    <a:lnTo>
                      <a:pt x="972497" y="225910"/>
                    </a:lnTo>
                    <a:lnTo>
                      <a:pt x="979550" y="230878"/>
                    </a:lnTo>
                    <a:lnTo>
                      <a:pt x="981608" y="249429"/>
                    </a:lnTo>
                    <a:lnTo>
                      <a:pt x="993875" y="258485"/>
                    </a:lnTo>
                    <a:lnTo>
                      <a:pt x="1013250" y="265538"/>
                    </a:lnTo>
                    <a:lnTo>
                      <a:pt x="1020605" y="275253"/>
                    </a:lnTo>
                    <a:lnTo>
                      <a:pt x="1025407" y="276214"/>
                    </a:lnTo>
                    <a:lnTo>
                      <a:pt x="1039705" y="285709"/>
                    </a:lnTo>
                    <a:lnTo>
                      <a:pt x="1046127" y="286724"/>
                    </a:lnTo>
                    <a:lnTo>
                      <a:pt x="1051999" y="291390"/>
                    </a:lnTo>
                    <a:lnTo>
                      <a:pt x="1054442" y="296412"/>
                    </a:lnTo>
                    <a:lnTo>
                      <a:pt x="1051670" y="299869"/>
                    </a:lnTo>
                    <a:lnTo>
                      <a:pt x="1051670" y="303712"/>
                    </a:lnTo>
                    <a:cubicBezTo>
                      <a:pt x="1051670" y="303712"/>
                      <a:pt x="1065062" y="317817"/>
                      <a:pt x="1065062" y="317817"/>
                    </a:cubicBezTo>
                    <a:lnTo>
                      <a:pt x="1078646" y="354700"/>
                    </a:lnTo>
                    <a:lnTo>
                      <a:pt x="1085233" y="358789"/>
                    </a:lnTo>
                    <a:lnTo>
                      <a:pt x="1086386" y="352670"/>
                    </a:lnTo>
                    <a:lnTo>
                      <a:pt x="1088306" y="351353"/>
                    </a:lnTo>
                    <a:lnTo>
                      <a:pt x="1101424" y="360463"/>
                    </a:lnTo>
                    <a:lnTo>
                      <a:pt x="1106968" y="358707"/>
                    </a:lnTo>
                    <a:lnTo>
                      <a:pt x="1111331" y="367132"/>
                    </a:lnTo>
                    <a:lnTo>
                      <a:pt x="1111441" y="378164"/>
                    </a:lnTo>
                    <a:lnTo>
                      <a:pt x="1114212" y="391447"/>
                    </a:lnTo>
                    <a:lnTo>
                      <a:pt x="1122034" y="395179"/>
                    </a:lnTo>
                    <a:lnTo>
                      <a:pt x="1129773" y="406925"/>
                    </a:lnTo>
                    <a:lnTo>
                      <a:pt x="1143796" y="416420"/>
                    </a:lnTo>
                    <a:lnTo>
                      <a:pt x="1150547" y="426765"/>
                    </a:lnTo>
                    <a:lnTo>
                      <a:pt x="1159878" y="436124"/>
                    </a:lnTo>
                    <a:lnTo>
                      <a:pt x="1166053" y="446497"/>
                    </a:lnTo>
                    <a:lnTo>
                      <a:pt x="1173051" y="453550"/>
                    </a:lnTo>
                    <a:lnTo>
                      <a:pt x="1177441" y="452178"/>
                    </a:lnTo>
                    <a:lnTo>
                      <a:pt x="1182326" y="438182"/>
                    </a:lnTo>
                    <a:lnTo>
                      <a:pt x="1184769" y="438401"/>
                    </a:lnTo>
                    <a:lnTo>
                      <a:pt x="1185400" y="445894"/>
                    </a:lnTo>
                    <a:lnTo>
                      <a:pt x="1180103" y="465680"/>
                    </a:lnTo>
                    <a:lnTo>
                      <a:pt x="1179637" y="487442"/>
                    </a:lnTo>
                    <a:lnTo>
                      <a:pt x="1181311" y="505472"/>
                    </a:lnTo>
                    <a:lnTo>
                      <a:pt x="1180131" y="513952"/>
                    </a:lnTo>
                    <a:lnTo>
                      <a:pt x="1184988" y="523310"/>
                    </a:lnTo>
                    <a:lnTo>
                      <a:pt x="1190614" y="525835"/>
                    </a:lnTo>
                    <a:lnTo>
                      <a:pt x="1190339" y="537581"/>
                    </a:lnTo>
                    <a:lnTo>
                      <a:pt x="1193276" y="549052"/>
                    </a:lnTo>
                    <a:lnTo>
                      <a:pt x="1194182" y="562197"/>
                    </a:lnTo>
                    <a:lnTo>
                      <a:pt x="1178813" y="623203"/>
                    </a:lnTo>
                    <a:lnTo>
                      <a:pt x="1177057" y="645651"/>
                    </a:lnTo>
                    <a:lnTo>
                      <a:pt x="1171870" y="662721"/>
                    </a:lnTo>
                    <a:lnTo>
                      <a:pt x="1164680" y="677430"/>
                    </a:lnTo>
                    <a:lnTo>
                      <a:pt x="1161278" y="690410"/>
                    </a:lnTo>
                    <a:lnTo>
                      <a:pt x="1135783" y="715384"/>
                    </a:lnTo>
                    <a:lnTo>
                      <a:pt x="1128593" y="729819"/>
                    </a:lnTo>
                    <a:lnTo>
                      <a:pt x="1124723" y="743430"/>
                    </a:lnTo>
                    <a:lnTo>
                      <a:pt x="1116079" y="759896"/>
                    </a:lnTo>
                    <a:lnTo>
                      <a:pt x="1111770" y="777542"/>
                    </a:lnTo>
                    <a:lnTo>
                      <a:pt x="1112292" y="783909"/>
                    </a:lnTo>
                    <a:lnTo>
                      <a:pt x="1103455" y="793321"/>
                    </a:lnTo>
                    <a:lnTo>
                      <a:pt x="1095359" y="810528"/>
                    </a:lnTo>
                    <a:lnTo>
                      <a:pt x="1087675" y="846835"/>
                    </a:lnTo>
                    <a:lnTo>
                      <a:pt x="1087456" y="864811"/>
                    </a:lnTo>
                    <a:lnTo>
                      <a:pt x="1083834" y="874690"/>
                    </a:lnTo>
                    <a:lnTo>
                      <a:pt x="1070688" y="882923"/>
                    </a:lnTo>
                    <a:lnTo>
                      <a:pt x="1036302" y="886545"/>
                    </a:lnTo>
                    <a:lnTo>
                      <a:pt x="1024474" y="890799"/>
                    </a:lnTo>
                    <a:lnTo>
                      <a:pt x="988112" y="921398"/>
                    </a:lnTo>
                    <a:lnTo>
                      <a:pt x="982020" y="930125"/>
                    </a:lnTo>
                    <a:lnTo>
                      <a:pt x="967832" y="922633"/>
                    </a:lnTo>
                    <a:lnTo>
                      <a:pt x="958940" y="915360"/>
                    </a:lnTo>
                    <a:lnTo>
                      <a:pt x="951366" y="902682"/>
                    </a:lnTo>
                    <a:lnTo>
                      <a:pt x="942831" y="907567"/>
                    </a:lnTo>
                    <a:lnTo>
                      <a:pt x="939621" y="907375"/>
                    </a:lnTo>
                    <a:lnTo>
                      <a:pt x="939127" y="904219"/>
                    </a:lnTo>
                    <a:lnTo>
                      <a:pt x="942365" y="896178"/>
                    </a:lnTo>
                    <a:lnTo>
                      <a:pt x="938248" y="890031"/>
                    </a:lnTo>
                    <a:lnTo>
                      <a:pt x="929713" y="894119"/>
                    </a:lnTo>
                    <a:lnTo>
                      <a:pt x="928451" y="901776"/>
                    </a:lnTo>
                    <a:lnTo>
                      <a:pt x="920026" y="906140"/>
                    </a:lnTo>
                    <a:lnTo>
                      <a:pt x="905563" y="918077"/>
                    </a:lnTo>
                    <a:lnTo>
                      <a:pt x="896233" y="921288"/>
                    </a:lnTo>
                    <a:lnTo>
                      <a:pt x="864235" y="906167"/>
                    </a:lnTo>
                    <a:lnTo>
                      <a:pt x="848592" y="902901"/>
                    </a:lnTo>
                    <a:lnTo>
                      <a:pt x="836792" y="904164"/>
                    </a:lnTo>
                    <a:lnTo>
                      <a:pt x="827077" y="897138"/>
                    </a:lnTo>
                    <a:lnTo>
                      <a:pt x="814782" y="893296"/>
                    </a:lnTo>
                    <a:lnTo>
                      <a:pt x="807071" y="888027"/>
                    </a:lnTo>
                    <a:lnTo>
                      <a:pt x="789315" y="863438"/>
                    </a:lnTo>
                    <a:lnTo>
                      <a:pt x="787092" y="855644"/>
                    </a:lnTo>
                    <a:lnTo>
                      <a:pt x="788931" y="846424"/>
                    </a:lnTo>
                    <a:lnTo>
                      <a:pt x="788053" y="837340"/>
                    </a:lnTo>
                    <a:lnTo>
                      <a:pt x="783579" y="826473"/>
                    </a:lnTo>
                    <a:lnTo>
                      <a:pt x="776005" y="816127"/>
                    </a:lnTo>
                    <a:lnTo>
                      <a:pt x="759018" y="803311"/>
                    </a:lnTo>
                    <a:lnTo>
                      <a:pt x="743486" y="802817"/>
                    </a:lnTo>
                    <a:lnTo>
                      <a:pt x="748316" y="791291"/>
                    </a:lnTo>
                    <a:lnTo>
                      <a:pt x="750209" y="777789"/>
                    </a:lnTo>
                    <a:lnTo>
                      <a:pt x="740000" y="756932"/>
                    </a:lnTo>
                    <a:lnTo>
                      <a:pt x="733304" y="764177"/>
                    </a:lnTo>
                    <a:lnTo>
                      <a:pt x="725977" y="784705"/>
                    </a:lnTo>
                    <a:lnTo>
                      <a:pt x="703995" y="790138"/>
                    </a:lnTo>
                    <a:lnTo>
                      <a:pt x="703090" y="790357"/>
                    </a:lnTo>
                    <a:lnTo>
                      <a:pt x="703995" y="787750"/>
                    </a:lnTo>
                    <a:lnTo>
                      <a:pt x="707014" y="780835"/>
                    </a:lnTo>
                    <a:lnTo>
                      <a:pt x="715466" y="778777"/>
                    </a:lnTo>
                    <a:lnTo>
                      <a:pt x="718869" y="774852"/>
                    </a:lnTo>
                    <a:lnTo>
                      <a:pt x="721339" y="751663"/>
                    </a:lnTo>
                    <a:lnTo>
                      <a:pt x="731822" y="730230"/>
                    </a:lnTo>
                    <a:lnTo>
                      <a:pt x="732151" y="721064"/>
                    </a:lnTo>
                    <a:lnTo>
                      <a:pt x="734622" y="713408"/>
                    </a:lnTo>
                    <a:lnTo>
                      <a:pt x="732096" y="705586"/>
                    </a:lnTo>
                    <a:lnTo>
                      <a:pt x="720516" y="716619"/>
                    </a:lnTo>
                    <a:lnTo>
                      <a:pt x="711268" y="732947"/>
                    </a:lnTo>
                    <a:lnTo>
                      <a:pt x="703995" y="738079"/>
                    </a:lnTo>
                    <a:lnTo>
                      <a:pt x="689862" y="747437"/>
                    </a:lnTo>
                    <a:lnTo>
                      <a:pt x="675454" y="766098"/>
                    </a:lnTo>
                    <a:lnTo>
                      <a:pt x="673039" y="771916"/>
                    </a:lnTo>
                    <a:lnTo>
                      <a:pt x="675454" y="775319"/>
                    </a:lnTo>
                    <a:lnTo>
                      <a:pt x="674988" y="778969"/>
                    </a:lnTo>
                    <a:lnTo>
                      <a:pt x="666508" y="777679"/>
                    </a:lnTo>
                    <a:lnTo>
                      <a:pt x="660251" y="771121"/>
                    </a:lnTo>
                    <a:lnTo>
                      <a:pt x="653527" y="745626"/>
                    </a:lnTo>
                    <a:lnTo>
                      <a:pt x="644306" y="733413"/>
                    </a:lnTo>
                    <a:lnTo>
                      <a:pt x="638654" y="720927"/>
                    </a:lnTo>
                    <a:lnTo>
                      <a:pt x="625179" y="713271"/>
                    </a:lnTo>
                    <a:lnTo>
                      <a:pt x="622160" y="706465"/>
                    </a:lnTo>
                    <a:lnTo>
                      <a:pt x="623834" y="696640"/>
                    </a:lnTo>
                    <a:lnTo>
                      <a:pt x="616122" y="692661"/>
                    </a:lnTo>
                    <a:lnTo>
                      <a:pt x="609865" y="683138"/>
                    </a:lnTo>
                    <a:lnTo>
                      <a:pt x="594333" y="681848"/>
                    </a:lnTo>
                    <a:lnTo>
                      <a:pt x="578087" y="675097"/>
                    </a:lnTo>
                    <a:lnTo>
                      <a:pt x="565161" y="675482"/>
                    </a:lnTo>
                    <a:lnTo>
                      <a:pt x="550068" y="665794"/>
                    </a:lnTo>
                    <a:lnTo>
                      <a:pt x="533519" y="659043"/>
                    </a:lnTo>
                    <a:lnTo>
                      <a:pt x="521884" y="662035"/>
                    </a:lnTo>
                    <a:lnTo>
                      <a:pt x="498996" y="662281"/>
                    </a:lnTo>
                    <a:lnTo>
                      <a:pt x="474132" y="665245"/>
                    </a:lnTo>
                    <a:lnTo>
                      <a:pt x="448309" y="676223"/>
                    </a:lnTo>
                    <a:lnTo>
                      <a:pt x="419000" y="685279"/>
                    </a:lnTo>
                    <a:lnTo>
                      <a:pt x="402836" y="686486"/>
                    </a:lnTo>
                    <a:lnTo>
                      <a:pt x="389169" y="685224"/>
                    </a:lnTo>
                    <a:lnTo>
                      <a:pt x="381924" y="686843"/>
                    </a:lnTo>
                    <a:lnTo>
                      <a:pt x="349542" y="705312"/>
                    </a:lnTo>
                    <a:lnTo>
                      <a:pt x="332280" y="712337"/>
                    </a:lnTo>
                    <a:lnTo>
                      <a:pt x="316747" y="737722"/>
                    </a:lnTo>
                    <a:lnTo>
                      <a:pt x="304096" y="744857"/>
                    </a:lnTo>
                    <a:lnTo>
                      <a:pt x="291774" y="742360"/>
                    </a:lnTo>
                    <a:lnTo>
                      <a:pt x="265347" y="745708"/>
                    </a:lnTo>
                    <a:lnTo>
                      <a:pt x="262273" y="741784"/>
                    </a:lnTo>
                    <a:lnTo>
                      <a:pt x="247591" y="740466"/>
                    </a:lnTo>
                    <a:lnTo>
                      <a:pt x="207332" y="744748"/>
                    </a:lnTo>
                    <a:lnTo>
                      <a:pt x="196190" y="750895"/>
                    </a:lnTo>
                    <a:lnTo>
                      <a:pt x="188396" y="761103"/>
                    </a:lnTo>
                    <a:lnTo>
                      <a:pt x="172699" y="765302"/>
                    </a:lnTo>
                    <a:lnTo>
                      <a:pt x="156837" y="778749"/>
                    </a:lnTo>
                    <a:lnTo>
                      <a:pt x="142320" y="785144"/>
                    </a:lnTo>
                    <a:lnTo>
                      <a:pt x="127885" y="782756"/>
                    </a:lnTo>
                    <a:lnTo>
                      <a:pt x="107137" y="783003"/>
                    </a:lnTo>
                    <a:lnTo>
                      <a:pt x="90837" y="776252"/>
                    </a:lnTo>
                    <a:lnTo>
                      <a:pt x="76484" y="762503"/>
                    </a:lnTo>
                    <a:lnTo>
                      <a:pt x="64190" y="757536"/>
                    </a:lnTo>
                    <a:lnTo>
                      <a:pt x="60429" y="752239"/>
                    </a:lnTo>
                    <a:lnTo>
                      <a:pt x="59195" y="743073"/>
                    </a:lnTo>
                    <a:lnTo>
                      <a:pt x="60429" y="734099"/>
                    </a:lnTo>
                    <a:lnTo>
                      <a:pt x="70474" y="731246"/>
                    </a:lnTo>
                    <a:lnTo>
                      <a:pt x="78021" y="719335"/>
                    </a:lnTo>
                    <a:lnTo>
                      <a:pt x="80243" y="670185"/>
                    </a:lnTo>
                    <a:lnTo>
                      <a:pt x="61280" y="623806"/>
                    </a:lnTo>
                    <a:lnTo>
                      <a:pt x="58564" y="608658"/>
                    </a:lnTo>
                    <a:lnTo>
                      <a:pt x="58316" y="590436"/>
                    </a:lnTo>
                    <a:lnTo>
                      <a:pt x="55792" y="580776"/>
                    </a:lnTo>
                    <a:lnTo>
                      <a:pt x="49068" y="569030"/>
                    </a:lnTo>
                    <a:lnTo>
                      <a:pt x="44595" y="556846"/>
                    </a:lnTo>
                    <a:lnTo>
                      <a:pt x="35621" y="543042"/>
                    </a:lnTo>
                    <a:lnTo>
                      <a:pt x="33344" y="528195"/>
                    </a:lnTo>
                    <a:lnTo>
                      <a:pt x="29035" y="516065"/>
                    </a:lnTo>
                    <a:lnTo>
                      <a:pt x="20692" y="501411"/>
                    </a:lnTo>
                    <a:lnTo>
                      <a:pt x="9386" y="486317"/>
                    </a:lnTo>
                    <a:lnTo>
                      <a:pt x="0" y="464500"/>
                    </a:lnTo>
                    <a:lnTo>
                      <a:pt x="796" y="462689"/>
                    </a:lnTo>
                    <a:lnTo>
                      <a:pt x="7492" y="478084"/>
                    </a:lnTo>
                    <a:lnTo>
                      <a:pt x="13914" y="482557"/>
                    </a:lnTo>
                    <a:lnTo>
                      <a:pt x="20527" y="492437"/>
                    </a:lnTo>
                    <a:lnTo>
                      <a:pt x="24452" y="490735"/>
                    </a:lnTo>
                    <a:lnTo>
                      <a:pt x="26016" y="481377"/>
                    </a:lnTo>
                    <a:lnTo>
                      <a:pt x="31395" y="485823"/>
                    </a:lnTo>
                    <a:lnTo>
                      <a:pt x="35045" y="483874"/>
                    </a:lnTo>
                    <a:lnTo>
                      <a:pt x="35621" y="469742"/>
                    </a:lnTo>
                    <a:lnTo>
                      <a:pt x="21323" y="443808"/>
                    </a:lnTo>
                    <a:lnTo>
                      <a:pt x="13255" y="421991"/>
                    </a:lnTo>
                    <a:lnTo>
                      <a:pt x="15094" y="406760"/>
                    </a:lnTo>
                    <a:lnTo>
                      <a:pt x="22888" y="390514"/>
                    </a:lnTo>
                    <a:lnTo>
                      <a:pt x="23519" y="378000"/>
                    </a:lnTo>
                    <a:lnTo>
                      <a:pt x="21241" y="362796"/>
                    </a:lnTo>
                    <a:lnTo>
                      <a:pt x="30160" y="341857"/>
                    </a:lnTo>
                    <a:lnTo>
                      <a:pt x="34249" y="340595"/>
                    </a:lnTo>
                    <a:lnTo>
                      <a:pt x="32904" y="350557"/>
                    </a:lnTo>
                    <a:lnTo>
                      <a:pt x="35703" y="359805"/>
                    </a:lnTo>
                    <a:lnTo>
                      <a:pt x="38091" y="360244"/>
                    </a:lnTo>
                    <a:lnTo>
                      <a:pt x="40616" y="358625"/>
                    </a:lnTo>
                    <a:lnTo>
                      <a:pt x="50138" y="340650"/>
                    </a:lnTo>
                    <a:lnTo>
                      <a:pt x="69898" y="330578"/>
                    </a:lnTo>
                    <a:lnTo>
                      <a:pt x="94212" y="310847"/>
                    </a:lnTo>
                    <a:lnTo>
                      <a:pt x="109635" y="302641"/>
                    </a:lnTo>
                    <a:lnTo>
                      <a:pt x="135843" y="303931"/>
                    </a:lnTo>
                    <a:lnTo>
                      <a:pt x="153050" y="294024"/>
                    </a:lnTo>
                    <a:lnTo>
                      <a:pt x="170915" y="290155"/>
                    </a:lnTo>
                    <a:lnTo>
                      <a:pt x="180602" y="282855"/>
                    </a:lnTo>
                    <a:lnTo>
                      <a:pt x="200142" y="282306"/>
                    </a:lnTo>
                    <a:lnTo>
                      <a:pt x="226487" y="273963"/>
                    </a:lnTo>
                    <a:lnTo>
                      <a:pt x="240346" y="265840"/>
                    </a:lnTo>
                    <a:lnTo>
                      <a:pt x="249539" y="255110"/>
                    </a:lnTo>
                    <a:lnTo>
                      <a:pt x="259776" y="236037"/>
                    </a:lnTo>
                    <a:lnTo>
                      <a:pt x="274073" y="223139"/>
                    </a:lnTo>
                    <a:lnTo>
                      <a:pt x="271164" y="214659"/>
                    </a:lnTo>
                    <a:lnTo>
                      <a:pt x="270094" y="204038"/>
                    </a:lnTo>
                    <a:lnTo>
                      <a:pt x="271384" y="197589"/>
                    </a:lnTo>
                    <a:lnTo>
                      <a:pt x="275610" y="191305"/>
                    </a:lnTo>
                    <a:lnTo>
                      <a:pt x="293476" y="173522"/>
                    </a:lnTo>
                    <a:lnTo>
                      <a:pt x="297208" y="181590"/>
                    </a:lnTo>
                    <a:lnTo>
                      <a:pt x="310957" y="198824"/>
                    </a:lnTo>
                    <a:lnTo>
                      <a:pt x="313180" y="193199"/>
                    </a:lnTo>
                    <a:lnTo>
                      <a:pt x="318284" y="190564"/>
                    </a:lnTo>
                    <a:lnTo>
                      <a:pt x="315293" y="183346"/>
                    </a:lnTo>
                    <a:lnTo>
                      <a:pt x="309475" y="176211"/>
                    </a:lnTo>
                    <a:lnTo>
                      <a:pt x="308981" y="170833"/>
                    </a:lnTo>
                    <a:lnTo>
                      <a:pt x="311231" y="166826"/>
                    </a:lnTo>
                    <a:lnTo>
                      <a:pt x="315567" y="164329"/>
                    </a:lnTo>
                    <a:lnTo>
                      <a:pt x="321577" y="166771"/>
                    </a:lnTo>
                    <a:lnTo>
                      <a:pt x="334723" y="167841"/>
                    </a:lnTo>
                    <a:lnTo>
                      <a:pt x="339415" y="160788"/>
                    </a:lnTo>
                    <a:lnTo>
                      <a:pt x="336781" y="151238"/>
                    </a:lnTo>
                    <a:lnTo>
                      <a:pt x="339772" y="139410"/>
                    </a:lnTo>
                    <a:lnTo>
                      <a:pt x="345315" y="137873"/>
                    </a:lnTo>
                    <a:lnTo>
                      <a:pt x="354755" y="130382"/>
                    </a:lnTo>
                    <a:lnTo>
                      <a:pt x="361918" y="129449"/>
                    </a:lnTo>
                    <a:lnTo>
                      <a:pt x="358158" y="114519"/>
                    </a:lnTo>
                    <a:lnTo>
                      <a:pt x="367407" y="113175"/>
                    </a:lnTo>
                    <a:lnTo>
                      <a:pt x="372457" y="109443"/>
                    </a:lnTo>
                    <a:lnTo>
                      <a:pt x="378219" y="113559"/>
                    </a:lnTo>
                    <a:lnTo>
                      <a:pt x="381101" y="113669"/>
                    </a:lnTo>
                    <a:lnTo>
                      <a:pt x="386342" y="99563"/>
                    </a:lnTo>
                    <a:lnTo>
                      <a:pt x="390788" y="101868"/>
                    </a:lnTo>
                    <a:lnTo>
                      <a:pt x="395756" y="100030"/>
                    </a:lnTo>
                    <a:lnTo>
                      <a:pt x="400887" y="101155"/>
                    </a:lnTo>
                    <a:lnTo>
                      <a:pt x="406431" y="93224"/>
                    </a:lnTo>
                    <a:lnTo>
                      <a:pt x="410108" y="91961"/>
                    </a:lnTo>
                    <a:lnTo>
                      <a:pt x="424817" y="98164"/>
                    </a:lnTo>
                    <a:lnTo>
                      <a:pt x="442628" y="116221"/>
                    </a:lnTo>
                    <a:lnTo>
                      <a:pt x="446058" y="129339"/>
                    </a:lnTo>
                    <a:lnTo>
                      <a:pt x="458545" y="122588"/>
                    </a:lnTo>
                    <a:lnTo>
                      <a:pt x="470510" y="125250"/>
                    </a:lnTo>
                    <a:lnTo>
                      <a:pt x="475532" y="128214"/>
                    </a:lnTo>
                    <a:lnTo>
                      <a:pt x="479731" y="125662"/>
                    </a:lnTo>
                    <a:lnTo>
                      <a:pt x="487278" y="127720"/>
                    </a:lnTo>
                    <a:lnTo>
                      <a:pt x="491010" y="120118"/>
                    </a:lnTo>
                    <a:lnTo>
                      <a:pt x="488870" y="115261"/>
                    </a:lnTo>
                    <a:lnTo>
                      <a:pt x="483902" y="110321"/>
                    </a:lnTo>
                    <a:lnTo>
                      <a:pt x="484095" y="105985"/>
                    </a:lnTo>
                    <a:lnTo>
                      <a:pt x="491696" y="96517"/>
                    </a:lnTo>
                    <a:lnTo>
                      <a:pt x="496526" y="84552"/>
                    </a:lnTo>
                    <a:lnTo>
                      <a:pt x="505445" y="78021"/>
                    </a:lnTo>
                    <a:lnTo>
                      <a:pt x="505582" y="68113"/>
                    </a:lnTo>
                    <a:lnTo>
                      <a:pt x="507174" y="65067"/>
                    </a:lnTo>
                    <a:lnTo>
                      <a:pt x="518920" y="52553"/>
                    </a:lnTo>
                    <a:lnTo>
                      <a:pt x="524902" y="51840"/>
                    </a:lnTo>
                    <a:lnTo>
                      <a:pt x="532257" y="43360"/>
                    </a:lnTo>
                    <a:lnTo>
                      <a:pt x="536922" y="41604"/>
                    </a:lnTo>
                    <a:lnTo>
                      <a:pt x="540874" y="43360"/>
                    </a:lnTo>
                    <a:lnTo>
                      <a:pt x="545183" y="45007"/>
                    </a:lnTo>
                    <a:lnTo>
                      <a:pt x="558410" y="45665"/>
                    </a:lnTo>
                    <a:lnTo>
                      <a:pt x="569414" y="43360"/>
                    </a:lnTo>
                    <a:lnTo>
                      <a:pt x="575809" y="39628"/>
                    </a:lnTo>
                    <a:lnTo>
                      <a:pt x="576412" y="36088"/>
                    </a:lnTo>
                    <a:lnTo>
                      <a:pt x="576632" y="32081"/>
                    </a:lnTo>
                    <a:lnTo>
                      <a:pt x="572955" y="23683"/>
                    </a:lnTo>
                    <a:lnTo>
                      <a:pt x="568921" y="21735"/>
                    </a:lnTo>
                    <a:lnTo>
                      <a:pt x="561346" y="21268"/>
                    </a:lnTo>
                    <a:lnTo>
                      <a:pt x="556325" y="16987"/>
                    </a:lnTo>
                    <a:lnTo>
                      <a:pt x="556434" y="15423"/>
                    </a:lnTo>
                    <a:lnTo>
                      <a:pt x="559233" y="14161"/>
                    </a:lnTo>
                    <a:lnTo>
                      <a:pt x="564118" y="16932"/>
                    </a:lnTo>
                    <a:lnTo>
                      <a:pt x="566643" y="12596"/>
                    </a:lnTo>
                    <a:lnTo>
                      <a:pt x="574684" y="16685"/>
                    </a:lnTo>
                    <a:lnTo>
                      <a:pt x="573943" y="12130"/>
                    </a:lnTo>
                    <a:lnTo>
                      <a:pt x="575754" y="9852"/>
                    </a:lnTo>
                    <a:lnTo>
                      <a:pt x="577126" y="14819"/>
                    </a:lnTo>
                    <a:lnTo>
                      <a:pt x="576248" y="18332"/>
                    </a:lnTo>
                    <a:lnTo>
                      <a:pt x="578608" y="20555"/>
                    </a:lnTo>
                    <a:lnTo>
                      <a:pt x="587362" y="20610"/>
                    </a:lnTo>
                    <a:lnTo>
                      <a:pt x="597105" y="29172"/>
                    </a:lnTo>
                    <a:lnTo>
                      <a:pt x="612939" y="31203"/>
                    </a:lnTo>
                    <a:lnTo>
                      <a:pt x="621474" y="36088"/>
                    </a:lnTo>
                    <a:lnTo>
                      <a:pt x="624740" y="38063"/>
                    </a:lnTo>
                    <a:lnTo>
                      <a:pt x="632725" y="38996"/>
                    </a:lnTo>
                    <a:lnTo>
                      <a:pt x="642002" y="37487"/>
                    </a:lnTo>
                    <a:lnTo>
                      <a:pt x="650125" y="43333"/>
                    </a:lnTo>
                    <a:lnTo>
                      <a:pt x="650838" y="43333"/>
                    </a:lnTo>
                    <a:lnTo>
                      <a:pt x="668923" y="36417"/>
                    </a:lnTo>
                    <a:lnTo>
                      <a:pt x="668594" y="43333"/>
                    </a:lnTo>
                    <a:lnTo>
                      <a:pt x="674933" y="44375"/>
                    </a:lnTo>
                    <a:lnTo>
                      <a:pt x="680449" y="50166"/>
                    </a:lnTo>
                    <a:lnTo>
                      <a:pt x="684977" y="47641"/>
                    </a:lnTo>
                    <a:lnTo>
                      <a:pt x="684621" y="43333"/>
                    </a:lnTo>
                    <a:lnTo>
                      <a:pt x="684181" y="41110"/>
                    </a:lnTo>
                    <a:lnTo>
                      <a:pt x="686184" y="37926"/>
                    </a:lnTo>
                    <a:lnTo>
                      <a:pt x="691508" y="38448"/>
                    </a:lnTo>
                    <a:lnTo>
                      <a:pt x="695707" y="43360"/>
                    </a:lnTo>
                    <a:lnTo>
                      <a:pt x="701196" y="45500"/>
                    </a:lnTo>
                    <a:lnTo>
                      <a:pt x="701690" y="49233"/>
                    </a:lnTo>
                    <a:lnTo>
                      <a:pt x="693841" y="60704"/>
                    </a:lnTo>
                    <a:lnTo>
                      <a:pt x="691207" y="71105"/>
                    </a:lnTo>
                    <a:lnTo>
                      <a:pt x="684401" y="72504"/>
                    </a:lnTo>
                    <a:lnTo>
                      <a:pt x="675152" y="77993"/>
                    </a:lnTo>
                    <a:lnTo>
                      <a:pt x="673780" y="84250"/>
                    </a:lnTo>
                    <a:lnTo>
                      <a:pt x="676031" y="91275"/>
                    </a:lnTo>
                    <a:lnTo>
                      <a:pt x="674878" y="96819"/>
                    </a:lnTo>
                    <a:lnTo>
                      <a:pt x="660635" y="122011"/>
                    </a:lnTo>
                    <a:lnTo>
                      <a:pt x="664889" y="129201"/>
                    </a:lnTo>
                    <a:lnTo>
                      <a:pt x="687611" y="146298"/>
                    </a:lnTo>
                    <a:lnTo>
                      <a:pt x="690521" y="146957"/>
                    </a:lnTo>
                    <a:lnTo>
                      <a:pt x="693814" y="145091"/>
                    </a:lnTo>
                    <a:lnTo>
                      <a:pt x="699440" y="153681"/>
                    </a:lnTo>
                    <a:lnTo>
                      <a:pt x="703940" y="155300"/>
                    </a:lnTo>
                    <a:lnTo>
                      <a:pt x="726553" y="166030"/>
                    </a:lnTo>
                    <a:lnTo>
                      <a:pt x="741647" y="179203"/>
                    </a:lnTo>
                    <a:lnTo>
                      <a:pt x="765028" y="187134"/>
                    </a:lnTo>
                    <a:lnTo>
                      <a:pt x="774029" y="199510"/>
                    </a:lnTo>
                    <a:lnTo>
                      <a:pt x="792883" y="209390"/>
                    </a:lnTo>
                    <a:lnTo>
                      <a:pt x="805754" y="209609"/>
                    </a:lnTo>
                    <a:lnTo>
                      <a:pt x="817582" y="203325"/>
                    </a:lnTo>
                    <a:lnTo>
                      <a:pt x="832785" y="171738"/>
                    </a:lnTo>
                    <a:lnTo>
                      <a:pt x="835776" y="161557"/>
                    </a:lnTo>
                    <a:lnTo>
                      <a:pt x="837313" y="147012"/>
                    </a:lnTo>
                    <a:lnTo>
                      <a:pt x="842061" y="132138"/>
                    </a:lnTo>
                    <a:lnTo>
                      <a:pt x="840002" y="113751"/>
                    </a:lnTo>
                    <a:lnTo>
                      <a:pt x="840771" y="101841"/>
                    </a:lnTo>
                    <a:lnTo>
                      <a:pt x="838713" y="91989"/>
                    </a:lnTo>
                    <a:lnTo>
                      <a:pt x="843104" y="76785"/>
                    </a:lnTo>
                    <a:lnTo>
                      <a:pt x="842939" y="66055"/>
                    </a:lnTo>
                    <a:lnTo>
                      <a:pt x="847549" y="57438"/>
                    </a:lnTo>
                    <a:lnTo>
                      <a:pt x="843488" y="50056"/>
                    </a:lnTo>
                    <a:lnTo>
                      <a:pt x="847659" y="40588"/>
                    </a:lnTo>
                    <a:lnTo>
                      <a:pt x="852489" y="35813"/>
                    </a:lnTo>
                    <a:lnTo>
                      <a:pt x="857566" y="8013"/>
                    </a:lnTo>
                    <a:lnTo>
                      <a:pt x="865058" y="576"/>
                    </a:lnTo>
                    <a:lnTo>
                      <a:pt x="868790" y="0"/>
                    </a:lnTo>
                    <a:lnTo>
                      <a:pt x="876282" y="11801"/>
                    </a:lnTo>
                    <a:lnTo>
                      <a:pt x="879328" y="31203"/>
                    </a:lnTo>
                    <a:lnTo>
                      <a:pt x="886189" y="36774"/>
                    </a:lnTo>
                    <a:lnTo>
                      <a:pt x="886628" y="46543"/>
                    </a:lnTo>
                    <a:lnTo>
                      <a:pt x="892638" y="53898"/>
                    </a:lnTo>
                    <a:lnTo>
                      <a:pt x="894230" y="61527"/>
                    </a:lnTo>
                    <a:lnTo>
                      <a:pt x="897605" y="66384"/>
                    </a:lnTo>
                    <a:lnTo>
                      <a:pt x="899252" y="90864"/>
                    </a:lnTo>
                    <a:lnTo>
                      <a:pt x="905509" y="1081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9" name="Freeform: Shape 3218">
                <a:extLst>
                  <a:ext uri="{FF2B5EF4-FFF2-40B4-BE49-F238E27FC236}">
                    <a16:creationId xmlns:a16="http://schemas.microsoft.com/office/drawing/2014/main" id="{449958C9-227C-2A24-8A30-4AF15E7BFD20}"/>
                  </a:ext>
                </a:extLst>
              </p:cNvPr>
              <p:cNvSpPr/>
              <p:nvPr/>
            </p:nvSpPr>
            <p:spPr>
              <a:xfrm>
                <a:off x="1809076" y="3981147"/>
                <a:ext cx="11369" cy="12317"/>
              </a:xfrm>
              <a:custGeom>
                <a:avLst/>
                <a:gdLst>
                  <a:gd name="connsiteX0" fmla="*/ 9193 w 109003"/>
                  <a:gd name="connsiteY0" fmla="*/ 0 h 118087"/>
                  <a:gd name="connsiteX1" fmla="*/ 12596 w 109003"/>
                  <a:gd name="connsiteY1" fmla="*/ 5845 h 118087"/>
                  <a:gd name="connsiteX2" fmla="*/ 25521 w 109003"/>
                  <a:gd name="connsiteY2" fmla="*/ 8644 h 118087"/>
                  <a:gd name="connsiteX3" fmla="*/ 32245 w 109003"/>
                  <a:gd name="connsiteY3" fmla="*/ 12678 h 118087"/>
                  <a:gd name="connsiteX4" fmla="*/ 44841 w 109003"/>
                  <a:gd name="connsiteY4" fmla="*/ 19265 h 118087"/>
                  <a:gd name="connsiteX5" fmla="*/ 52168 w 109003"/>
                  <a:gd name="connsiteY5" fmla="*/ 19814 h 118087"/>
                  <a:gd name="connsiteX6" fmla="*/ 79611 w 109003"/>
                  <a:gd name="connsiteY6" fmla="*/ 11800 h 118087"/>
                  <a:gd name="connsiteX7" fmla="*/ 81451 w 109003"/>
                  <a:gd name="connsiteY7" fmla="*/ 14023 h 118087"/>
                  <a:gd name="connsiteX8" fmla="*/ 84250 w 109003"/>
                  <a:gd name="connsiteY8" fmla="*/ 12706 h 118087"/>
                  <a:gd name="connsiteX9" fmla="*/ 87982 w 109003"/>
                  <a:gd name="connsiteY9" fmla="*/ 8041 h 118087"/>
                  <a:gd name="connsiteX10" fmla="*/ 94294 w 109003"/>
                  <a:gd name="connsiteY10" fmla="*/ 8946 h 118087"/>
                  <a:gd name="connsiteX11" fmla="*/ 98575 w 109003"/>
                  <a:gd name="connsiteY11" fmla="*/ 4390 h 118087"/>
                  <a:gd name="connsiteX12" fmla="*/ 101539 w 109003"/>
                  <a:gd name="connsiteY12" fmla="*/ 5077 h 118087"/>
                  <a:gd name="connsiteX13" fmla="*/ 107960 w 109003"/>
                  <a:gd name="connsiteY13" fmla="*/ 12459 h 118087"/>
                  <a:gd name="connsiteX14" fmla="*/ 107274 w 109003"/>
                  <a:gd name="connsiteY14" fmla="*/ 19759 h 118087"/>
                  <a:gd name="connsiteX15" fmla="*/ 109003 w 109003"/>
                  <a:gd name="connsiteY15" fmla="*/ 25412 h 118087"/>
                  <a:gd name="connsiteX16" fmla="*/ 107164 w 109003"/>
                  <a:gd name="connsiteY16" fmla="*/ 32081 h 118087"/>
                  <a:gd name="connsiteX17" fmla="*/ 108509 w 109003"/>
                  <a:gd name="connsiteY17" fmla="*/ 57383 h 118087"/>
                  <a:gd name="connsiteX18" fmla="*/ 101566 w 109003"/>
                  <a:gd name="connsiteY18" fmla="*/ 57163 h 118087"/>
                  <a:gd name="connsiteX19" fmla="*/ 99508 w 109003"/>
                  <a:gd name="connsiteY19" fmla="*/ 63064 h 118087"/>
                  <a:gd name="connsiteX20" fmla="*/ 99645 w 109003"/>
                  <a:gd name="connsiteY20" fmla="*/ 66329 h 118087"/>
                  <a:gd name="connsiteX21" fmla="*/ 95693 w 109003"/>
                  <a:gd name="connsiteY21" fmla="*/ 84853 h 118087"/>
                  <a:gd name="connsiteX22" fmla="*/ 98685 w 109003"/>
                  <a:gd name="connsiteY22" fmla="*/ 90067 h 118087"/>
                  <a:gd name="connsiteX23" fmla="*/ 97340 w 109003"/>
                  <a:gd name="connsiteY23" fmla="*/ 93169 h 118087"/>
                  <a:gd name="connsiteX24" fmla="*/ 97861 w 109003"/>
                  <a:gd name="connsiteY24" fmla="*/ 99755 h 118087"/>
                  <a:gd name="connsiteX25" fmla="*/ 92784 w 109003"/>
                  <a:gd name="connsiteY25" fmla="*/ 101648 h 118087"/>
                  <a:gd name="connsiteX26" fmla="*/ 87927 w 109003"/>
                  <a:gd name="connsiteY26" fmla="*/ 93169 h 118087"/>
                  <a:gd name="connsiteX27" fmla="*/ 90507 w 109003"/>
                  <a:gd name="connsiteY27" fmla="*/ 91138 h 118087"/>
                  <a:gd name="connsiteX28" fmla="*/ 90589 w 109003"/>
                  <a:gd name="connsiteY28" fmla="*/ 93169 h 118087"/>
                  <a:gd name="connsiteX29" fmla="*/ 93443 w 109003"/>
                  <a:gd name="connsiteY29" fmla="*/ 94897 h 118087"/>
                  <a:gd name="connsiteX30" fmla="*/ 94541 w 109003"/>
                  <a:gd name="connsiteY30" fmla="*/ 93169 h 118087"/>
                  <a:gd name="connsiteX31" fmla="*/ 92235 w 109003"/>
                  <a:gd name="connsiteY31" fmla="*/ 89519 h 118087"/>
                  <a:gd name="connsiteX32" fmla="*/ 86472 w 109003"/>
                  <a:gd name="connsiteY32" fmla="*/ 87159 h 118087"/>
                  <a:gd name="connsiteX33" fmla="*/ 84853 w 109003"/>
                  <a:gd name="connsiteY33" fmla="*/ 89025 h 118087"/>
                  <a:gd name="connsiteX34" fmla="*/ 85155 w 109003"/>
                  <a:gd name="connsiteY34" fmla="*/ 93169 h 118087"/>
                  <a:gd name="connsiteX35" fmla="*/ 83536 w 109003"/>
                  <a:gd name="connsiteY35" fmla="*/ 93169 h 118087"/>
                  <a:gd name="connsiteX36" fmla="*/ 80682 w 109003"/>
                  <a:gd name="connsiteY36" fmla="*/ 88311 h 118087"/>
                  <a:gd name="connsiteX37" fmla="*/ 78432 w 109003"/>
                  <a:gd name="connsiteY37" fmla="*/ 96379 h 118087"/>
                  <a:gd name="connsiteX38" fmla="*/ 80216 w 109003"/>
                  <a:gd name="connsiteY38" fmla="*/ 95666 h 118087"/>
                  <a:gd name="connsiteX39" fmla="*/ 81423 w 109003"/>
                  <a:gd name="connsiteY39" fmla="*/ 98026 h 118087"/>
                  <a:gd name="connsiteX40" fmla="*/ 82247 w 109003"/>
                  <a:gd name="connsiteY40" fmla="*/ 103048 h 118087"/>
                  <a:gd name="connsiteX41" fmla="*/ 80106 w 109003"/>
                  <a:gd name="connsiteY41" fmla="*/ 103542 h 118087"/>
                  <a:gd name="connsiteX42" fmla="*/ 80106 w 109003"/>
                  <a:gd name="connsiteY42" fmla="*/ 100661 h 118087"/>
                  <a:gd name="connsiteX43" fmla="*/ 78103 w 109003"/>
                  <a:gd name="connsiteY43" fmla="*/ 99700 h 118087"/>
                  <a:gd name="connsiteX44" fmla="*/ 76676 w 109003"/>
                  <a:gd name="connsiteY44" fmla="*/ 102856 h 118087"/>
                  <a:gd name="connsiteX45" fmla="*/ 72257 w 109003"/>
                  <a:gd name="connsiteY45" fmla="*/ 104860 h 118087"/>
                  <a:gd name="connsiteX46" fmla="*/ 67208 w 109003"/>
                  <a:gd name="connsiteY46" fmla="*/ 116797 h 118087"/>
                  <a:gd name="connsiteX47" fmla="*/ 60978 w 109003"/>
                  <a:gd name="connsiteY47" fmla="*/ 118087 h 118087"/>
                  <a:gd name="connsiteX48" fmla="*/ 56615 w 109003"/>
                  <a:gd name="connsiteY48" fmla="*/ 114437 h 118087"/>
                  <a:gd name="connsiteX49" fmla="*/ 41877 w 109003"/>
                  <a:gd name="connsiteY49" fmla="*/ 114684 h 118087"/>
                  <a:gd name="connsiteX50" fmla="*/ 39133 w 109003"/>
                  <a:gd name="connsiteY50" fmla="*/ 103268 h 118087"/>
                  <a:gd name="connsiteX51" fmla="*/ 35539 w 109003"/>
                  <a:gd name="connsiteY51" fmla="*/ 103789 h 118087"/>
                  <a:gd name="connsiteX52" fmla="*/ 28897 w 109003"/>
                  <a:gd name="connsiteY52" fmla="*/ 93169 h 118087"/>
                  <a:gd name="connsiteX53" fmla="*/ 25138 w 109003"/>
                  <a:gd name="connsiteY53" fmla="*/ 90753 h 118087"/>
                  <a:gd name="connsiteX54" fmla="*/ 19841 w 109003"/>
                  <a:gd name="connsiteY54" fmla="*/ 77800 h 118087"/>
                  <a:gd name="connsiteX55" fmla="*/ 18057 w 109003"/>
                  <a:gd name="connsiteY55" fmla="*/ 72038 h 118087"/>
                  <a:gd name="connsiteX56" fmla="*/ 16960 w 109003"/>
                  <a:gd name="connsiteY56" fmla="*/ 66357 h 118087"/>
                  <a:gd name="connsiteX57" fmla="*/ 17152 w 109003"/>
                  <a:gd name="connsiteY57" fmla="*/ 62488 h 118087"/>
                  <a:gd name="connsiteX58" fmla="*/ 20609 w 109003"/>
                  <a:gd name="connsiteY58" fmla="*/ 66357 h 118087"/>
                  <a:gd name="connsiteX59" fmla="*/ 25330 w 109003"/>
                  <a:gd name="connsiteY59" fmla="*/ 70035 h 118087"/>
                  <a:gd name="connsiteX60" fmla="*/ 25741 w 109003"/>
                  <a:gd name="connsiteY60" fmla="*/ 66357 h 118087"/>
                  <a:gd name="connsiteX61" fmla="*/ 24534 w 109003"/>
                  <a:gd name="connsiteY61" fmla="*/ 66357 h 118087"/>
                  <a:gd name="connsiteX62" fmla="*/ 20253 w 109003"/>
                  <a:gd name="connsiteY62" fmla="*/ 59194 h 118087"/>
                  <a:gd name="connsiteX63" fmla="*/ 18633 w 109003"/>
                  <a:gd name="connsiteY63" fmla="*/ 61335 h 118087"/>
                  <a:gd name="connsiteX64" fmla="*/ 16438 w 109003"/>
                  <a:gd name="connsiteY64" fmla="*/ 51428 h 118087"/>
                  <a:gd name="connsiteX65" fmla="*/ 8617 w 109003"/>
                  <a:gd name="connsiteY65" fmla="*/ 41027 h 118087"/>
                  <a:gd name="connsiteX66" fmla="*/ 4281 w 109003"/>
                  <a:gd name="connsiteY66" fmla="*/ 31120 h 118087"/>
                  <a:gd name="connsiteX67" fmla="*/ 0 w 109003"/>
                  <a:gd name="connsiteY67" fmla="*/ 12678 h 118087"/>
                  <a:gd name="connsiteX68" fmla="*/ 1893 w 109003"/>
                  <a:gd name="connsiteY68" fmla="*/ 7272 h 118087"/>
                  <a:gd name="connsiteX69" fmla="*/ 1701 w 109003"/>
                  <a:gd name="connsiteY69" fmla="*/ 137 h 118087"/>
                  <a:gd name="connsiteX70" fmla="*/ 5653 w 109003"/>
                  <a:gd name="connsiteY70" fmla="*/ 2744 h 118087"/>
                  <a:gd name="connsiteX71" fmla="*/ 9248 w 109003"/>
                  <a:gd name="connsiteY71" fmla="*/ 0 h 11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9003" h="118087">
                    <a:moveTo>
                      <a:pt x="9193" y="0"/>
                    </a:moveTo>
                    <a:lnTo>
                      <a:pt x="12596" y="5845"/>
                    </a:lnTo>
                    <a:lnTo>
                      <a:pt x="25521" y="8644"/>
                    </a:lnTo>
                    <a:lnTo>
                      <a:pt x="32245" y="12678"/>
                    </a:lnTo>
                    <a:lnTo>
                      <a:pt x="44841" y="19265"/>
                    </a:lnTo>
                    <a:lnTo>
                      <a:pt x="52168" y="19814"/>
                    </a:lnTo>
                    <a:lnTo>
                      <a:pt x="79611" y="11800"/>
                    </a:lnTo>
                    <a:lnTo>
                      <a:pt x="81451" y="14023"/>
                    </a:lnTo>
                    <a:lnTo>
                      <a:pt x="84250" y="12706"/>
                    </a:lnTo>
                    <a:lnTo>
                      <a:pt x="87982" y="8041"/>
                    </a:lnTo>
                    <a:lnTo>
                      <a:pt x="94294" y="8946"/>
                    </a:lnTo>
                    <a:lnTo>
                      <a:pt x="98575" y="4390"/>
                    </a:lnTo>
                    <a:lnTo>
                      <a:pt x="101539" y="5077"/>
                    </a:lnTo>
                    <a:lnTo>
                      <a:pt x="107960" y="12459"/>
                    </a:lnTo>
                    <a:lnTo>
                      <a:pt x="107274" y="19759"/>
                    </a:lnTo>
                    <a:lnTo>
                      <a:pt x="109003" y="25412"/>
                    </a:lnTo>
                    <a:lnTo>
                      <a:pt x="107164" y="32081"/>
                    </a:lnTo>
                    <a:lnTo>
                      <a:pt x="108509" y="57383"/>
                    </a:lnTo>
                    <a:lnTo>
                      <a:pt x="101566" y="57163"/>
                    </a:lnTo>
                    <a:lnTo>
                      <a:pt x="99508" y="63064"/>
                    </a:lnTo>
                    <a:lnTo>
                      <a:pt x="99645" y="66329"/>
                    </a:lnTo>
                    <a:lnTo>
                      <a:pt x="95693" y="84853"/>
                    </a:lnTo>
                    <a:lnTo>
                      <a:pt x="98685" y="90067"/>
                    </a:lnTo>
                    <a:lnTo>
                      <a:pt x="97340" y="93169"/>
                    </a:lnTo>
                    <a:lnTo>
                      <a:pt x="97861" y="99755"/>
                    </a:lnTo>
                    <a:lnTo>
                      <a:pt x="92784" y="101648"/>
                    </a:lnTo>
                    <a:lnTo>
                      <a:pt x="87927" y="93169"/>
                    </a:lnTo>
                    <a:lnTo>
                      <a:pt x="90507" y="91138"/>
                    </a:lnTo>
                    <a:lnTo>
                      <a:pt x="90589" y="93169"/>
                    </a:lnTo>
                    <a:lnTo>
                      <a:pt x="93443" y="94897"/>
                    </a:lnTo>
                    <a:lnTo>
                      <a:pt x="94541" y="93169"/>
                    </a:lnTo>
                    <a:lnTo>
                      <a:pt x="92235" y="89519"/>
                    </a:lnTo>
                    <a:lnTo>
                      <a:pt x="86472" y="87159"/>
                    </a:lnTo>
                    <a:lnTo>
                      <a:pt x="84853" y="89025"/>
                    </a:lnTo>
                    <a:lnTo>
                      <a:pt x="85155" y="93169"/>
                    </a:lnTo>
                    <a:lnTo>
                      <a:pt x="83536" y="93169"/>
                    </a:lnTo>
                    <a:lnTo>
                      <a:pt x="80682" y="88311"/>
                    </a:lnTo>
                    <a:lnTo>
                      <a:pt x="78432" y="96379"/>
                    </a:lnTo>
                    <a:lnTo>
                      <a:pt x="80216" y="95666"/>
                    </a:lnTo>
                    <a:lnTo>
                      <a:pt x="81423" y="98026"/>
                    </a:lnTo>
                    <a:lnTo>
                      <a:pt x="82247" y="103048"/>
                    </a:lnTo>
                    <a:lnTo>
                      <a:pt x="80106" y="103542"/>
                    </a:lnTo>
                    <a:lnTo>
                      <a:pt x="80106" y="100661"/>
                    </a:lnTo>
                    <a:cubicBezTo>
                      <a:pt x="80106" y="100661"/>
                      <a:pt x="78103" y="99700"/>
                      <a:pt x="78103" y="99700"/>
                    </a:cubicBezTo>
                    <a:lnTo>
                      <a:pt x="76676" y="102856"/>
                    </a:lnTo>
                    <a:lnTo>
                      <a:pt x="72257" y="104860"/>
                    </a:lnTo>
                    <a:lnTo>
                      <a:pt x="67208" y="116797"/>
                    </a:lnTo>
                    <a:lnTo>
                      <a:pt x="60978" y="118087"/>
                    </a:lnTo>
                    <a:lnTo>
                      <a:pt x="56615" y="114437"/>
                    </a:lnTo>
                    <a:lnTo>
                      <a:pt x="41877" y="114684"/>
                    </a:lnTo>
                    <a:lnTo>
                      <a:pt x="39133" y="103268"/>
                    </a:lnTo>
                    <a:lnTo>
                      <a:pt x="35539" y="103789"/>
                    </a:lnTo>
                    <a:lnTo>
                      <a:pt x="28897" y="93169"/>
                    </a:lnTo>
                    <a:lnTo>
                      <a:pt x="25138" y="90753"/>
                    </a:lnTo>
                    <a:lnTo>
                      <a:pt x="19841" y="77800"/>
                    </a:lnTo>
                    <a:lnTo>
                      <a:pt x="18057" y="72038"/>
                    </a:lnTo>
                    <a:lnTo>
                      <a:pt x="16960" y="66357"/>
                    </a:lnTo>
                    <a:lnTo>
                      <a:pt x="17152" y="62488"/>
                    </a:lnTo>
                    <a:lnTo>
                      <a:pt x="20609" y="66357"/>
                    </a:lnTo>
                    <a:lnTo>
                      <a:pt x="25330" y="70035"/>
                    </a:lnTo>
                    <a:lnTo>
                      <a:pt x="25741" y="66357"/>
                    </a:lnTo>
                    <a:lnTo>
                      <a:pt x="24534" y="66357"/>
                    </a:lnTo>
                    <a:lnTo>
                      <a:pt x="20253" y="59194"/>
                    </a:lnTo>
                    <a:lnTo>
                      <a:pt x="18633" y="61335"/>
                    </a:lnTo>
                    <a:lnTo>
                      <a:pt x="16438" y="51428"/>
                    </a:lnTo>
                    <a:lnTo>
                      <a:pt x="8617" y="41027"/>
                    </a:lnTo>
                    <a:lnTo>
                      <a:pt x="4281" y="31120"/>
                    </a:lnTo>
                    <a:lnTo>
                      <a:pt x="0" y="12678"/>
                    </a:lnTo>
                    <a:lnTo>
                      <a:pt x="1893" y="7272"/>
                    </a:lnTo>
                    <a:lnTo>
                      <a:pt x="1701" y="137"/>
                    </a:lnTo>
                    <a:lnTo>
                      <a:pt x="5653" y="2744"/>
                    </a:lnTo>
                    <a:lnTo>
                      <a:pt x="924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0" name="Freeform: Shape 3219">
                <a:extLst>
                  <a:ext uri="{FF2B5EF4-FFF2-40B4-BE49-F238E27FC236}">
                    <a16:creationId xmlns:a16="http://schemas.microsoft.com/office/drawing/2014/main" id="{686FF8D6-DC89-47E8-9785-AD4B09197604}"/>
                  </a:ext>
                </a:extLst>
              </p:cNvPr>
              <p:cNvSpPr/>
              <p:nvPr/>
            </p:nvSpPr>
            <p:spPr>
              <a:xfrm>
                <a:off x="1764326" y="3878982"/>
                <a:ext cx="4525" cy="2321"/>
              </a:xfrm>
              <a:custGeom>
                <a:avLst/>
                <a:gdLst>
                  <a:gd name="connsiteX0" fmla="*/ 15286 w 43387"/>
                  <a:gd name="connsiteY0" fmla="*/ 5735 h 22256"/>
                  <a:gd name="connsiteX1" fmla="*/ 19430 w 43387"/>
                  <a:gd name="connsiteY1" fmla="*/ 6120 h 22256"/>
                  <a:gd name="connsiteX2" fmla="*/ 23655 w 43387"/>
                  <a:gd name="connsiteY2" fmla="*/ 5104 h 22256"/>
                  <a:gd name="connsiteX3" fmla="*/ 25138 w 43387"/>
                  <a:gd name="connsiteY3" fmla="*/ 3787 h 22256"/>
                  <a:gd name="connsiteX4" fmla="*/ 29007 w 43387"/>
                  <a:gd name="connsiteY4" fmla="*/ 5461 h 22256"/>
                  <a:gd name="connsiteX5" fmla="*/ 31532 w 43387"/>
                  <a:gd name="connsiteY5" fmla="*/ 2305 h 22256"/>
                  <a:gd name="connsiteX6" fmla="*/ 33315 w 43387"/>
                  <a:gd name="connsiteY6" fmla="*/ 2909 h 22256"/>
                  <a:gd name="connsiteX7" fmla="*/ 35593 w 43387"/>
                  <a:gd name="connsiteY7" fmla="*/ 329 h 22256"/>
                  <a:gd name="connsiteX8" fmla="*/ 37487 w 43387"/>
                  <a:gd name="connsiteY8" fmla="*/ 1976 h 22256"/>
                  <a:gd name="connsiteX9" fmla="*/ 40423 w 43387"/>
                  <a:gd name="connsiteY9" fmla="*/ 2278 h 22256"/>
                  <a:gd name="connsiteX10" fmla="*/ 43388 w 43387"/>
                  <a:gd name="connsiteY10" fmla="*/ 7959 h 22256"/>
                  <a:gd name="connsiteX11" fmla="*/ 41521 w 43387"/>
                  <a:gd name="connsiteY11" fmla="*/ 12157 h 22256"/>
                  <a:gd name="connsiteX12" fmla="*/ 26867 w 43387"/>
                  <a:gd name="connsiteY12" fmla="*/ 22256 h 22256"/>
                  <a:gd name="connsiteX13" fmla="*/ 18112 w 43387"/>
                  <a:gd name="connsiteY13" fmla="*/ 18030 h 22256"/>
                  <a:gd name="connsiteX14" fmla="*/ 14572 w 43387"/>
                  <a:gd name="connsiteY14" fmla="*/ 19320 h 22256"/>
                  <a:gd name="connsiteX15" fmla="*/ 0 w 43387"/>
                  <a:gd name="connsiteY15" fmla="*/ 18524 h 22256"/>
                  <a:gd name="connsiteX16" fmla="*/ 1015 w 43387"/>
                  <a:gd name="connsiteY16" fmla="*/ 15532 h 22256"/>
                  <a:gd name="connsiteX17" fmla="*/ 4610 w 43387"/>
                  <a:gd name="connsiteY17" fmla="*/ 14517 h 22256"/>
                  <a:gd name="connsiteX18" fmla="*/ 3979 w 43387"/>
                  <a:gd name="connsiteY18" fmla="*/ 8315 h 22256"/>
                  <a:gd name="connsiteX19" fmla="*/ 10154 w 43387"/>
                  <a:gd name="connsiteY19" fmla="*/ 3074 h 22256"/>
                  <a:gd name="connsiteX20" fmla="*/ 10757 w 43387"/>
                  <a:gd name="connsiteY20" fmla="*/ 0 h 22256"/>
                  <a:gd name="connsiteX21" fmla="*/ 13667 w 43387"/>
                  <a:gd name="connsiteY21" fmla="*/ 2717 h 22256"/>
                  <a:gd name="connsiteX22" fmla="*/ 16356 w 43387"/>
                  <a:gd name="connsiteY22" fmla="*/ 4199 h 22256"/>
                  <a:gd name="connsiteX23" fmla="*/ 15395 w 43387"/>
                  <a:gd name="connsiteY23" fmla="*/ 5790 h 22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387" h="22256">
                    <a:moveTo>
                      <a:pt x="15286" y="5735"/>
                    </a:moveTo>
                    <a:lnTo>
                      <a:pt x="19430" y="6120"/>
                    </a:lnTo>
                    <a:lnTo>
                      <a:pt x="23655" y="5104"/>
                    </a:lnTo>
                    <a:lnTo>
                      <a:pt x="25138" y="3787"/>
                    </a:lnTo>
                    <a:lnTo>
                      <a:pt x="29007" y="5461"/>
                    </a:lnTo>
                    <a:lnTo>
                      <a:pt x="31532" y="2305"/>
                    </a:lnTo>
                    <a:lnTo>
                      <a:pt x="33315" y="2909"/>
                    </a:lnTo>
                    <a:lnTo>
                      <a:pt x="35593" y="329"/>
                    </a:lnTo>
                    <a:lnTo>
                      <a:pt x="37487" y="1976"/>
                    </a:lnTo>
                    <a:lnTo>
                      <a:pt x="40423" y="2278"/>
                    </a:lnTo>
                    <a:lnTo>
                      <a:pt x="43388" y="7959"/>
                    </a:lnTo>
                    <a:lnTo>
                      <a:pt x="41521" y="12157"/>
                    </a:lnTo>
                    <a:lnTo>
                      <a:pt x="26867" y="22256"/>
                    </a:lnTo>
                    <a:lnTo>
                      <a:pt x="18112" y="18030"/>
                    </a:lnTo>
                    <a:lnTo>
                      <a:pt x="14572" y="19320"/>
                    </a:lnTo>
                    <a:lnTo>
                      <a:pt x="0" y="18524"/>
                    </a:lnTo>
                    <a:lnTo>
                      <a:pt x="1015" y="15532"/>
                    </a:lnTo>
                    <a:lnTo>
                      <a:pt x="4610" y="14517"/>
                    </a:lnTo>
                    <a:lnTo>
                      <a:pt x="3979" y="8315"/>
                    </a:lnTo>
                    <a:lnTo>
                      <a:pt x="10154" y="3074"/>
                    </a:lnTo>
                    <a:lnTo>
                      <a:pt x="10757" y="0"/>
                    </a:lnTo>
                    <a:lnTo>
                      <a:pt x="13667" y="2717"/>
                    </a:lnTo>
                    <a:lnTo>
                      <a:pt x="16356" y="4199"/>
                    </a:lnTo>
                    <a:lnTo>
                      <a:pt x="15395" y="57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1" name="Freeform: Shape 3220">
                <a:extLst>
                  <a:ext uri="{FF2B5EF4-FFF2-40B4-BE49-F238E27FC236}">
                    <a16:creationId xmlns:a16="http://schemas.microsoft.com/office/drawing/2014/main" id="{22505E5F-5FF6-FB47-3250-36B37A3F1544}"/>
                  </a:ext>
                </a:extLst>
              </p:cNvPr>
              <p:cNvSpPr/>
              <p:nvPr/>
            </p:nvSpPr>
            <p:spPr>
              <a:xfrm>
                <a:off x="1784317" y="3961414"/>
                <a:ext cx="3669" cy="1740"/>
              </a:xfrm>
              <a:custGeom>
                <a:avLst/>
                <a:gdLst>
                  <a:gd name="connsiteX0" fmla="*/ 35154 w 35181"/>
                  <a:gd name="connsiteY0" fmla="*/ 6394 h 16685"/>
                  <a:gd name="connsiteX1" fmla="*/ 27223 w 35181"/>
                  <a:gd name="connsiteY1" fmla="*/ 16247 h 16685"/>
                  <a:gd name="connsiteX2" fmla="*/ 20225 w 35181"/>
                  <a:gd name="connsiteY2" fmla="*/ 14545 h 16685"/>
                  <a:gd name="connsiteX3" fmla="*/ 10593 w 35181"/>
                  <a:gd name="connsiteY3" fmla="*/ 16274 h 16685"/>
                  <a:gd name="connsiteX4" fmla="*/ 5845 w 35181"/>
                  <a:gd name="connsiteY4" fmla="*/ 16603 h 16685"/>
                  <a:gd name="connsiteX5" fmla="*/ 4583 w 35181"/>
                  <a:gd name="connsiteY5" fmla="*/ 16686 h 16685"/>
                  <a:gd name="connsiteX6" fmla="*/ 109 w 35181"/>
                  <a:gd name="connsiteY6" fmla="*/ 11993 h 16685"/>
                  <a:gd name="connsiteX7" fmla="*/ 0 w 35181"/>
                  <a:gd name="connsiteY7" fmla="*/ 9194 h 16685"/>
                  <a:gd name="connsiteX8" fmla="*/ 1674 w 35181"/>
                  <a:gd name="connsiteY8" fmla="*/ 5873 h 16685"/>
                  <a:gd name="connsiteX9" fmla="*/ 5873 w 35181"/>
                  <a:gd name="connsiteY9" fmla="*/ 4857 h 16685"/>
                  <a:gd name="connsiteX10" fmla="*/ 10620 w 35181"/>
                  <a:gd name="connsiteY10" fmla="*/ 3678 h 16685"/>
                  <a:gd name="connsiteX11" fmla="*/ 27772 w 35181"/>
                  <a:gd name="connsiteY11" fmla="*/ 0 h 16685"/>
                  <a:gd name="connsiteX12" fmla="*/ 35181 w 35181"/>
                  <a:gd name="connsiteY12" fmla="*/ 6422 h 1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181" h="16685">
                    <a:moveTo>
                      <a:pt x="35154" y="6394"/>
                    </a:moveTo>
                    <a:lnTo>
                      <a:pt x="27223" y="16247"/>
                    </a:lnTo>
                    <a:lnTo>
                      <a:pt x="20225" y="14545"/>
                    </a:lnTo>
                    <a:lnTo>
                      <a:pt x="10593" y="16274"/>
                    </a:lnTo>
                    <a:lnTo>
                      <a:pt x="5845" y="16603"/>
                    </a:lnTo>
                    <a:lnTo>
                      <a:pt x="4583" y="16686"/>
                    </a:lnTo>
                    <a:lnTo>
                      <a:pt x="109" y="11993"/>
                    </a:lnTo>
                    <a:lnTo>
                      <a:pt x="0" y="9194"/>
                    </a:lnTo>
                    <a:lnTo>
                      <a:pt x="1674" y="5873"/>
                    </a:lnTo>
                    <a:lnTo>
                      <a:pt x="5873" y="4857"/>
                    </a:lnTo>
                    <a:lnTo>
                      <a:pt x="10620" y="3678"/>
                    </a:lnTo>
                    <a:lnTo>
                      <a:pt x="27772" y="0"/>
                    </a:lnTo>
                    <a:lnTo>
                      <a:pt x="35181" y="64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2" name="Freeform: Shape 3221">
                <a:extLst>
                  <a:ext uri="{FF2B5EF4-FFF2-40B4-BE49-F238E27FC236}">
                    <a16:creationId xmlns:a16="http://schemas.microsoft.com/office/drawing/2014/main" id="{4A8C0B5D-EB15-7A2C-7398-AC0704ACF77A}"/>
                  </a:ext>
                </a:extLst>
              </p:cNvPr>
              <p:cNvSpPr/>
              <p:nvPr/>
            </p:nvSpPr>
            <p:spPr>
              <a:xfrm>
                <a:off x="1783870" y="3886776"/>
                <a:ext cx="1589" cy="1986"/>
              </a:xfrm>
              <a:custGeom>
                <a:avLst/>
                <a:gdLst>
                  <a:gd name="connsiteX0" fmla="*/ 8452 w 15230"/>
                  <a:gd name="connsiteY0" fmla="*/ 110 h 19045"/>
                  <a:gd name="connsiteX1" fmla="*/ 10154 w 15230"/>
                  <a:gd name="connsiteY1" fmla="*/ 5351 h 19045"/>
                  <a:gd name="connsiteX2" fmla="*/ 12596 w 15230"/>
                  <a:gd name="connsiteY2" fmla="*/ 3238 h 19045"/>
                  <a:gd name="connsiteX3" fmla="*/ 14243 w 15230"/>
                  <a:gd name="connsiteY3" fmla="*/ 4308 h 19045"/>
                  <a:gd name="connsiteX4" fmla="*/ 10154 w 15230"/>
                  <a:gd name="connsiteY4" fmla="*/ 11855 h 19045"/>
                  <a:gd name="connsiteX5" fmla="*/ 8452 w 15230"/>
                  <a:gd name="connsiteY5" fmla="*/ 13776 h 19045"/>
                  <a:gd name="connsiteX6" fmla="*/ 9138 w 15230"/>
                  <a:gd name="connsiteY6" fmla="*/ 15835 h 19045"/>
                  <a:gd name="connsiteX7" fmla="*/ 10126 w 15230"/>
                  <a:gd name="connsiteY7" fmla="*/ 15286 h 19045"/>
                  <a:gd name="connsiteX8" fmla="*/ 11169 w 15230"/>
                  <a:gd name="connsiteY8" fmla="*/ 14682 h 19045"/>
                  <a:gd name="connsiteX9" fmla="*/ 12898 w 15230"/>
                  <a:gd name="connsiteY9" fmla="*/ 16356 h 19045"/>
                  <a:gd name="connsiteX10" fmla="*/ 14874 w 15230"/>
                  <a:gd name="connsiteY10" fmla="*/ 15066 h 19045"/>
                  <a:gd name="connsiteX11" fmla="*/ 15231 w 15230"/>
                  <a:gd name="connsiteY11" fmla="*/ 17920 h 19045"/>
                  <a:gd name="connsiteX12" fmla="*/ 15231 w 15230"/>
                  <a:gd name="connsiteY12" fmla="*/ 18908 h 19045"/>
                  <a:gd name="connsiteX13" fmla="*/ 14874 w 15230"/>
                  <a:gd name="connsiteY13" fmla="*/ 19045 h 19045"/>
                  <a:gd name="connsiteX14" fmla="*/ 10126 w 15230"/>
                  <a:gd name="connsiteY14" fmla="*/ 18222 h 19045"/>
                  <a:gd name="connsiteX15" fmla="*/ 6778 w 15230"/>
                  <a:gd name="connsiteY15" fmla="*/ 18743 h 19045"/>
                  <a:gd name="connsiteX16" fmla="*/ 988 w 15230"/>
                  <a:gd name="connsiteY16" fmla="*/ 16438 h 19045"/>
                  <a:gd name="connsiteX17" fmla="*/ 0 w 15230"/>
                  <a:gd name="connsiteY17" fmla="*/ 9550 h 19045"/>
                  <a:gd name="connsiteX18" fmla="*/ 2250 w 15230"/>
                  <a:gd name="connsiteY18" fmla="*/ 2388 h 19045"/>
                  <a:gd name="connsiteX19" fmla="*/ 5159 w 15230"/>
                  <a:gd name="connsiteY19" fmla="*/ 3156 h 19045"/>
                  <a:gd name="connsiteX20" fmla="*/ 5735 w 15230"/>
                  <a:gd name="connsiteY20" fmla="*/ 0 h 19045"/>
                  <a:gd name="connsiteX21" fmla="*/ 8479 w 15230"/>
                  <a:gd name="connsiteY21" fmla="*/ 137 h 1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230" h="19045">
                    <a:moveTo>
                      <a:pt x="8452" y="110"/>
                    </a:moveTo>
                    <a:lnTo>
                      <a:pt x="10154" y="5351"/>
                    </a:lnTo>
                    <a:lnTo>
                      <a:pt x="12596" y="3238"/>
                    </a:lnTo>
                    <a:lnTo>
                      <a:pt x="14243" y="4308"/>
                    </a:lnTo>
                    <a:lnTo>
                      <a:pt x="10154" y="11855"/>
                    </a:lnTo>
                    <a:lnTo>
                      <a:pt x="8452" y="13776"/>
                    </a:lnTo>
                    <a:lnTo>
                      <a:pt x="9138" y="15835"/>
                    </a:lnTo>
                    <a:lnTo>
                      <a:pt x="10126" y="15286"/>
                    </a:lnTo>
                    <a:lnTo>
                      <a:pt x="11169" y="14682"/>
                    </a:lnTo>
                    <a:lnTo>
                      <a:pt x="12898" y="16356"/>
                    </a:lnTo>
                    <a:lnTo>
                      <a:pt x="14874" y="15066"/>
                    </a:lnTo>
                    <a:lnTo>
                      <a:pt x="15231" y="17920"/>
                    </a:lnTo>
                    <a:lnTo>
                      <a:pt x="15231" y="18908"/>
                    </a:lnTo>
                    <a:cubicBezTo>
                      <a:pt x="15231" y="18908"/>
                      <a:pt x="14874" y="19045"/>
                      <a:pt x="14874" y="19045"/>
                    </a:cubicBezTo>
                    <a:lnTo>
                      <a:pt x="10126" y="18222"/>
                    </a:lnTo>
                    <a:lnTo>
                      <a:pt x="6778" y="18743"/>
                    </a:lnTo>
                    <a:lnTo>
                      <a:pt x="988" y="16438"/>
                    </a:lnTo>
                    <a:lnTo>
                      <a:pt x="0" y="9550"/>
                    </a:lnTo>
                    <a:lnTo>
                      <a:pt x="2250" y="2388"/>
                    </a:lnTo>
                    <a:lnTo>
                      <a:pt x="5159" y="3156"/>
                    </a:lnTo>
                    <a:lnTo>
                      <a:pt x="5735" y="0"/>
                    </a:lnTo>
                    <a:lnTo>
                      <a:pt x="8479" y="1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3" name="Freeform: Shape 3222">
                <a:extLst>
                  <a:ext uri="{FF2B5EF4-FFF2-40B4-BE49-F238E27FC236}">
                    <a16:creationId xmlns:a16="http://schemas.microsoft.com/office/drawing/2014/main" id="{0548F788-3EBE-DC61-6B8A-6C49ED45167D}"/>
                  </a:ext>
                </a:extLst>
              </p:cNvPr>
              <p:cNvSpPr/>
              <p:nvPr/>
            </p:nvSpPr>
            <p:spPr>
              <a:xfrm>
                <a:off x="1818696" y="3977509"/>
                <a:ext cx="1677" cy="2215"/>
              </a:xfrm>
              <a:custGeom>
                <a:avLst/>
                <a:gdLst>
                  <a:gd name="connsiteX0" fmla="*/ 16082 w 16081"/>
                  <a:gd name="connsiteY0" fmla="*/ 17152 h 21241"/>
                  <a:gd name="connsiteX1" fmla="*/ 10785 w 16081"/>
                  <a:gd name="connsiteY1" fmla="*/ 21242 h 21241"/>
                  <a:gd name="connsiteX2" fmla="*/ 9276 w 16081"/>
                  <a:gd name="connsiteY2" fmla="*/ 20088 h 21241"/>
                  <a:gd name="connsiteX3" fmla="*/ 2799 w 16081"/>
                  <a:gd name="connsiteY3" fmla="*/ 7135 h 21241"/>
                  <a:gd name="connsiteX4" fmla="*/ 0 w 16081"/>
                  <a:gd name="connsiteY4" fmla="*/ 5598 h 21241"/>
                  <a:gd name="connsiteX5" fmla="*/ 4748 w 16081"/>
                  <a:gd name="connsiteY5" fmla="*/ 0 h 21241"/>
                  <a:gd name="connsiteX6" fmla="*/ 9249 w 16081"/>
                  <a:gd name="connsiteY6" fmla="*/ 4501 h 21241"/>
                  <a:gd name="connsiteX7" fmla="*/ 14765 w 16081"/>
                  <a:gd name="connsiteY7" fmla="*/ 9194 h 21241"/>
                  <a:gd name="connsiteX8" fmla="*/ 16027 w 16081"/>
                  <a:gd name="connsiteY8" fmla="*/ 17179 h 2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81" h="21241">
                    <a:moveTo>
                      <a:pt x="16082" y="17152"/>
                    </a:moveTo>
                    <a:lnTo>
                      <a:pt x="10785" y="21242"/>
                    </a:lnTo>
                    <a:lnTo>
                      <a:pt x="9276" y="20088"/>
                    </a:lnTo>
                    <a:lnTo>
                      <a:pt x="2799" y="7135"/>
                    </a:lnTo>
                    <a:lnTo>
                      <a:pt x="0" y="5598"/>
                    </a:lnTo>
                    <a:lnTo>
                      <a:pt x="4748" y="0"/>
                    </a:lnTo>
                    <a:lnTo>
                      <a:pt x="9249" y="4501"/>
                    </a:lnTo>
                    <a:lnTo>
                      <a:pt x="14765" y="9194"/>
                    </a:lnTo>
                    <a:lnTo>
                      <a:pt x="16027" y="171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4" name="Freeform: Shape 3223">
                <a:extLst>
                  <a:ext uri="{FF2B5EF4-FFF2-40B4-BE49-F238E27FC236}">
                    <a16:creationId xmlns:a16="http://schemas.microsoft.com/office/drawing/2014/main" id="{5FF200EB-3FB5-F0FA-FD0A-A1E77953D5F8}"/>
                  </a:ext>
                </a:extLst>
              </p:cNvPr>
              <p:cNvSpPr/>
              <p:nvPr/>
            </p:nvSpPr>
            <p:spPr>
              <a:xfrm>
                <a:off x="1792234" y="3895446"/>
                <a:ext cx="1689" cy="1082"/>
              </a:xfrm>
              <a:custGeom>
                <a:avLst/>
                <a:gdLst>
                  <a:gd name="connsiteX0" fmla="*/ 16191 w 16191"/>
                  <a:gd name="connsiteY0" fmla="*/ 2744 h 10373"/>
                  <a:gd name="connsiteX1" fmla="*/ 15999 w 16191"/>
                  <a:gd name="connsiteY1" fmla="*/ 3814 h 10373"/>
                  <a:gd name="connsiteX2" fmla="*/ 13200 w 16191"/>
                  <a:gd name="connsiteY2" fmla="*/ 4857 h 10373"/>
                  <a:gd name="connsiteX3" fmla="*/ 12678 w 16191"/>
                  <a:gd name="connsiteY3" fmla="*/ 3403 h 10373"/>
                  <a:gd name="connsiteX4" fmla="*/ 9852 w 16191"/>
                  <a:gd name="connsiteY4" fmla="*/ 4062 h 10373"/>
                  <a:gd name="connsiteX5" fmla="*/ 8974 w 16191"/>
                  <a:gd name="connsiteY5" fmla="*/ 8287 h 10373"/>
                  <a:gd name="connsiteX6" fmla="*/ 6833 w 16191"/>
                  <a:gd name="connsiteY6" fmla="*/ 7684 h 10373"/>
                  <a:gd name="connsiteX7" fmla="*/ 5022 w 16191"/>
                  <a:gd name="connsiteY7" fmla="*/ 10181 h 10373"/>
                  <a:gd name="connsiteX8" fmla="*/ 1235 w 16191"/>
                  <a:gd name="connsiteY8" fmla="*/ 10373 h 10373"/>
                  <a:gd name="connsiteX9" fmla="*/ 0 w 16191"/>
                  <a:gd name="connsiteY9" fmla="*/ 9523 h 10373"/>
                  <a:gd name="connsiteX10" fmla="*/ 631 w 16191"/>
                  <a:gd name="connsiteY10" fmla="*/ 6531 h 10373"/>
                  <a:gd name="connsiteX11" fmla="*/ 2964 w 16191"/>
                  <a:gd name="connsiteY11" fmla="*/ 3403 h 10373"/>
                  <a:gd name="connsiteX12" fmla="*/ 4857 w 16191"/>
                  <a:gd name="connsiteY12" fmla="*/ 2085 h 10373"/>
                  <a:gd name="connsiteX13" fmla="*/ 9330 w 16191"/>
                  <a:gd name="connsiteY13" fmla="*/ 1619 h 10373"/>
                  <a:gd name="connsiteX14" fmla="*/ 11773 w 16191"/>
                  <a:gd name="connsiteY14" fmla="*/ 0 h 10373"/>
                  <a:gd name="connsiteX15" fmla="*/ 13364 w 16191"/>
                  <a:gd name="connsiteY15" fmla="*/ 357 h 10373"/>
                  <a:gd name="connsiteX16" fmla="*/ 16136 w 16191"/>
                  <a:gd name="connsiteY16" fmla="*/ 2717 h 1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91" h="10373">
                    <a:moveTo>
                      <a:pt x="16191" y="2744"/>
                    </a:moveTo>
                    <a:lnTo>
                      <a:pt x="15999" y="3814"/>
                    </a:lnTo>
                    <a:lnTo>
                      <a:pt x="13200" y="4857"/>
                    </a:lnTo>
                    <a:lnTo>
                      <a:pt x="12678" y="3403"/>
                    </a:lnTo>
                    <a:lnTo>
                      <a:pt x="9852" y="4062"/>
                    </a:lnTo>
                    <a:lnTo>
                      <a:pt x="8974" y="8287"/>
                    </a:lnTo>
                    <a:lnTo>
                      <a:pt x="6833" y="7684"/>
                    </a:lnTo>
                    <a:lnTo>
                      <a:pt x="5022" y="10181"/>
                    </a:lnTo>
                    <a:lnTo>
                      <a:pt x="1235" y="10373"/>
                    </a:lnTo>
                    <a:lnTo>
                      <a:pt x="0" y="9523"/>
                    </a:lnTo>
                    <a:lnTo>
                      <a:pt x="631" y="6531"/>
                    </a:lnTo>
                    <a:lnTo>
                      <a:pt x="2964" y="3403"/>
                    </a:lnTo>
                    <a:lnTo>
                      <a:pt x="4857" y="2085"/>
                    </a:lnTo>
                    <a:lnTo>
                      <a:pt x="9330" y="1619"/>
                    </a:lnTo>
                    <a:lnTo>
                      <a:pt x="11773" y="0"/>
                    </a:lnTo>
                    <a:lnTo>
                      <a:pt x="13364" y="357"/>
                    </a:lnTo>
                    <a:lnTo>
                      <a:pt x="16136"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5" name="Freeform: Shape 3224">
                <a:extLst>
                  <a:ext uri="{FF2B5EF4-FFF2-40B4-BE49-F238E27FC236}">
                    <a16:creationId xmlns:a16="http://schemas.microsoft.com/office/drawing/2014/main" id="{A707908A-5493-0A27-8F99-0B6A01AA5745}"/>
                  </a:ext>
                </a:extLst>
              </p:cNvPr>
              <p:cNvSpPr/>
              <p:nvPr/>
            </p:nvSpPr>
            <p:spPr>
              <a:xfrm>
                <a:off x="1806686" y="3976871"/>
                <a:ext cx="830" cy="2152"/>
              </a:xfrm>
              <a:custGeom>
                <a:avLst/>
                <a:gdLst>
                  <a:gd name="connsiteX0" fmla="*/ 6751 w 7958"/>
                  <a:gd name="connsiteY0" fmla="*/ 17865 h 20637"/>
                  <a:gd name="connsiteX1" fmla="*/ 1838 w 7958"/>
                  <a:gd name="connsiteY1" fmla="*/ 20637 h 20637"/>
                  <a:gd name="connsiteX2" fmla="*/ 0 w 7958"/>
                  <a:gd name="connsiteY2" fmla="*/ 6175 h 20637"/>
                  <a:gd name="connsiteX3" fmla="*/ 2744 w 7958"/>
                  <a:gd name="connsiteY3" fmla="*/ 0 h 20637"/>
                  <a:gd name="connsiteX4" fmla="*/ 7300 w 7958"/>
                  <a:gd name="connsiteY4" fmla="*/ 4116 h 20637"/>
                  <a:gd name="connsiteX5" fmla="*/ 7958 w 7958"/>
                  <a:gd name="connsiteY5" fmla="*/ 13969 h 20637"/>
                  <a:gd name="connsiteX6" fmla="*/ 6723 w 7958"/>
                  <a:gd name="connsiteY6" fmla="*/ 17893 h 2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58" h="20637">
                    <a:moveTo>
                      <a:pt x="6751" y="17865"/>
                    </a:moveTo>
                    <a:lnTo>
                      <a:pt x="1838" y="20637"/>
                    </a:lnTo>
                    <a:lnTo>
                      <a:pt x="0" y="6175"/>
                    </a:lnTo>
                    <a:lnTo>
                      <a:pt x="2744" y="0"/>
                    </a:lnTo>
                    <a:lnTo>
                      <a:pt x="7300" y="4116"/>
                    </a:lnTo>
                    <a:lnTo>
                      <a:pt x="7958" y="13969"/>
                    </a:lnTo>
                    <a:lnTo>
                      <a:pt x="6723" y="17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6" name="Freeform: Shape 3225">
                <a:extLst>
                  <a:ext uri="{FF2B5EF4-FFF2-40B4-BE49-F238E27FC236}">
                    <a16:creationId xmlns:a16="http://schemas.microsoft.com/office/drawing/2014/main" id="{929BA61B-6892-46FF-A91A-5680FC5327C3}"/>
                  </a:ext>
                </a:extLst>
              </p:cNvPr>
              <p:cNvSpPr/>
              <p:nvPr/>
            </p:nvSpPr>
            <p:spPr>
              <a:xfrm>
                <a:off x="1819383" y="3979768"/>
                <a:ext cx="1317" cy="675"/>
              </a:xfrm>
              <a:custGeom>
                <a:avLst/>
                <a:gdLst>
                  <a:gd name="connsiteX0" fmla="*/ 2690 w 12624"/>
                  <a:gd name="connsiteY0" fmla="*/ 5818 h 6476"/>
                  <a:gd name="connsiteX1" fmla="*/ 1922 w 12624"/>
                  <a:gd name="connsiteY1" fmla="*/ 6476 h 6476"/>
                  <a:gd name="connsiteX2" fmla="*/ 0 w 12624"/>
                  <a:gd name="connsiteY2" fmla="*/ 3759 h 6476"/>
                  <a:gd name="connsiteX3" fmla="*/ 2717 w 12624"/>
                  <a:gd name="connsiteY3" fmla="*/ 1482 h 6476"/>
                  <a:gd name="connsiteX4" fmla="*/ 9742 w 12624"/>
                  <a:gd name="connsiteY4" fmla="*/ 0 h 6476"/>
                  <a:gd name="connsiteX5" fmla="*/ 12624 w 12624"/>
                  <a:gd name="connsiteY5" fmla="*/ 3842 h 6476"/>
                  <a:gd name="connsiteX6" fmla="*/ 12268 w 12624"/>
                  <a:gd name="connsiteY6" fmla="*/ 5022 h 6476"/>
                  <a:gd name="connsiteX7" fmla="*/ 2717 w 12624"/>
                  <a:gd name="connsiteY7" fmla="*/ 5790 h 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24" h="6476">
                    <a:moveTo>
                      <a:pt x="2690" y="5818"/>
                    </a:moveTo>
                    <a:lnTo>
                      <a:pt x="1922" y="6476"/>
                    </a:lnTo>
                    <a:lnTo>
                      <a:pt x="0" y="3759"/>
                    </a:lnTo>
                    <a:lnTo>
                      <a:pt x="2717" y="1482"/>
                    </a:lnTo>
                    <a:lnTo>
                      <a:pt x="9742" y="0"/>
                    </a:lnTo>
                    <a:lnTo>
                      <a:pt x="12624" y="3842"/>
                    </a:lnTo>
                    <a:lnTo>
                      <a:pt x="12268" y="5022"/>
                    </a:lnTo>
                    <a:lnTo>
                      <a:pt x="2717" y="57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7" name="Freeform: Shape 3226">
                <a:extLst>
                  <a:ext uri="{FF2B5EF4-FFF2-40B4-BE49-F238E27FC236}">
                    <a16:creationId xmlns:a16="http://schemas.microsoft.com/office/drawing/2014/main" id="{A51E3328-EF95-3F44-9999-2A21A3964176}"/>
                  </a:ext>
                </a:extLst>
              </p:cNvPr>
              <p:cNvSpPr/>
              <p:nvPr/>
            </p:nvSpPr>
            <p:spPr>
              <a:xfrm>
                <a:off x="1788132" y="3961929"/>
                <a:ext cx="999" cy="670"/>
              </a:xfrm>
              <a:custGeom>
                <a:avLst/>
                <a:gdLst>
                  <a:gd name="connsiteX0" fmla="*/ 9578 w 9577"/>
                  <a:gd name="connsiteY0" fmla="*/ 4226 h 6421"/>
                  <a:gd name="connsiteX1" fmla="*/ 6806 w 9577"/>
                  <a:gd name="connsiteY1" fmla="*/ 6422 h 6421"/>
                  <a:gd name="connsiteX2" fmla="*/ 0 w 9577"/>
                  <a:gd name="connsiteY2" fmla="*/ 4034 h 6421"/>
                  <a:gd name="connsiteX3" fmla="*/ 2634 w 9577"/>
                  <a:gd name="connsiteY3" fmla="*/ 0 h 6421"/>
                  <a:gd name="connsiteX4" fmla="*/ 5791 w 9577"/>
                  <a:gd name="connsiteY4" fmla="*/ 0 h 6421"/>
                  <a:gd name="connsiteX5" fmla="*/ 7629 w 9577"/>
                  <a:gd name="connsiteY5" fmla="*/ 1235 h 6421"/>
                  <a:gd name="connsiteX6" fmla="*/ 9550 w 9577"/>
                  <a:gd name="connsiteY6" fmla="*/ 4226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77" h="6421">
                    <a:moveTo>
                      <a:pt x="9578" y="4226"/>
                    </a:moveTo>
                    <a:lnTo>
                      <a:pt x="6806" y="6422"/>
                    </a:lnTo>
                    <a:lnTo>
                      <a:pt x="0" y="4034"/>
                    </a:lnTo>
                    <a:lnTo>
                      <a:pt x="2634" y="0"/>
                    </a:lnTo>
                    <a:lnTo>
                      <a:pt x="5791" y="0"/>
                    </a:lnTo>
                    <a:cubicBezTo>
                      <a:pt x="5791" y="0"/>
                      <a:pt x="7629" y="1235"/>
                      <a:pt x="7629" y="1235"/>
                    </a:cubicBezTo>
                    <a:lnTo>
                      <a:pt x="9550"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8" name="Freeform: Shape 3227">
                <a:extLst>
                  <a:ext uri="{FF2B5EF4-FFF2-40B4-BE49-F238E27FC236}">
                    <a16:creationId xmlns:a16="http://schemas.microsoft.com/office/drawing/2014/main" id="{B4E10DDD-7F20-8D06-A1BC-1EA1575AB4F4}"/>
                  </a:ext>
                </a:extLst>
              </p:cNvPr>
              <p:cNvSpPr/>
              <p:nvPr/>
            </p:nvSpPr>
            <p:spPr>
              <a:xfrm>
                <a:off x="1816841" y="3991864"/>
                <a:ext cx="638" cy="1162"/>
              </a:xfrm>
              <a:custGeom>
                <a:avLst/>
                <a:gdLst>
                  <a:gd name="connsiteX0" fmla="*/ 6120 w 6119"/>
                  <a:gd name="connsiteY0" fmla="*/ 5050 h 11142"/>
                  <a:gd name="connsiteX1" fmla="*/ 4007 w 6119"/>
                  <a:gd name="connsiteY1" fmla="*/ 11142 h 11142"/>
                  <a:gd name="connsiteX2" fmla="*/ 2360 w 6119"/>
                  <a:gd name="connsiteY2" fmla="*/ 8205 h 11142"/>
                  <a:gd name="connsiteX3" fmla="*/ 0 w 6119"/>
                  <a:gd name="connsiteY3" fmla="*/ 6614 h 11142"/>
                  <a:gd name="connsiteX4" fmla="*/ 3787 w 6119"/>
                  <a:gd name="connsiteY4" fmla="*/ 0 h 11142"/>
                  <a:gd name="connsiteX5" fmla="*/ 4693 w 6119"/>
                  <a:gd name="connsiteY5" fmla="*/ 3814 h 11142"/>
                  <a:gd name="connsiteX6" fmla="*/ 6120 w 6119"/>
                  <a:gd name="connsiteY6" fmla="*/ 5022 h 1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19" h="11142">
                    <a:moveTo>
                      <a:pt x="6120" y="5050"/>
                    </a:moveTo>
                    <a:lnTo>
                      <a:pt x="4007" y="11142"/>
                    </a:lnTo>
                    <a:lnTo>
                      <a:pt x="2360" y="8205"/>
                    </a:lnTo>
                    <a:lnTo>
                      <a:pt x="0" y="6614"/>
                    </a:lnTo>
                    <a:lnTo>
                      <a:pt x="3787" y="0"/>
                    </a:lnTo>
                    <a:lnTo>
                      <a:pt x="4693" y="3814"/>
                    </a:lnTo>
                    <a:lnTo>
                      <a:pt x="6120" y="50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9" name="Freeform: Shape 3228">
                <a:extLst>
                  <a:ext uri="{FF2B5EF4-FFF2-40B4-BE49-F238E27FC236}">
                    <a16:creationId xmlns:a16="http://schemas.microsoft.com/office/drawing/2014/main" id="{F936F6A1-AB65-FDF4-091B-54ACBA65182F}"/>
                  </a:ext>
                </a:extLst>
              </p:cNvPr>
              <p:cNvSpPr/>
              <p:nvPr/>
            </p:nvSpPr>
            <p:spPr>
              <a:xfrm>
                <a:off x="1784102" y="3879051"/>
                <a:ext cx="584" cy="750"/>
              </a:xfrm>
              <a:custGeom>
                <a:avLst/>
                <a:gdLst>
                  <a:gd name="connsiteX0" fmla="*/ 4638 w 5597"/>
                  <a:gd name="connsiteY0" fmla="*/ 2388 h 7190"/>
                  <a:gd name="connsiteX1" fmla="*/ 1207 w 5597"/>
                  <a:gd name="connsiteY1" fmla="*/ 7190 h 7190"/>
                  <a:gd name="connsiteX2" fmla="*/ 0 w 5597"/>
                  <a:gd name="connsiteY2" fmla="*/ 6092 h 7190"/>
                  <a:gd name="connsiteX3" fmla="*/ 2497 w 5597"/>
                  <a:gd name="connsiteY3" fmla="*/ 3677 h 7190"/>
                  <a:gd name="connsiteX4" fmla="*/ 3018 w 5597"/>
                  <a:gd name="connsiteY4" fmla="*/ 2388 h 7190"/>
                  <a:gd name="connsiteX5" fmla="*/ 3952 w 5597"/>
                  <a:gd name="connsiteY5" fmla="*/ 0 h 7190"/>
                  <a:gd name="connsiteX6" fmla="*/ 5598 w 5597"/>
                  <a:gd name="connsiteY6" fmla="*/ 1070 h 7190"/>
                  <a:gd name="connsiteX7" fmla="*/ 4665 w 5597"/>
                  <a:gd name="connsiteY7" fmla="*/ 2388 h 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97" h="7190">
                    <a:moveTo>
                      <a:pt x="4638" y="2388"/>
                    </a:moveTo>
                    <a:lnTo>
                      <a:pt x="1207" y="7190"/>
                    </a:lnTo>
                    <a:lnTo>
                      <a:pt x="0" y="6092"/>
                    </a:lnTo>
                    <a:lnTo>
                      <a:pt x="2497" y="3677"/>
                    </a:lnTo>
                    <a:lnTo>
                      <a:pt x="3018" y="2388"/>
                    </a:lnTo>
                    <a:lnTo>
                      <a:pt x="3952" y="0"/>
                    </a:lnTo>
                    <a:lnTo>
                      <a:pt x="5598" y="1070"/>
                    </a:lnTo>
                    <a:lnTo>
                      <a:pt x="4665"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0" name="Freeform: Shape 3229">
                <a:extLst>
                  <a:ext uri="{FF2B5EF4-FFF2-40B4-BE49-F238E27FC236}">
                    <a16:creationId xmlns:a16="http://schemas.microsoft.com/office/drawing/2014/main" id="{F813F341-5330-7841-B44B-B9EBFB71A6C3}"/>
                  </a:ext>
                </a:extLst>
              </p:cNvPr>
              <p:cNvSpPr/>
              <p:nvPr/>
            </p:nvSpPr>
            <p:spPr>
              <a:xfrm>
                <a:off x="1785450" y="3892907"/>
                <a:ext cx="527" cy="779"/>
              </a:xfrm>
              <a:custGeom>
                <a:avLst/>
                <a:gdLst>
                  <a:gd name="connsiteX0" fmla="*/ 5049 w 5049"/>
                  <a:gd name="connsiteY0" fmla="*/ 4500 h 7464"/>
                  <a:gd name="connsiteX1" fmla="*/ 4116 w 5049"/>
                  <a:gd name="connsiteY1" fmla="*/ 7464 h 7464"/>
                  <a:gd name="connsiteX2" fmla="*/ 466 w 5049"/>
                  <a:gd name="connsiteY2" fmla="*/ 5077 h 7464"/>
                  <a:gd name="connsiteX3" fmla="*/ 0 w 5049"/>
                  <a:gd name="connsiteY3" fmla="*/ 3540 h 7464"/>
                  <a:gd name="connsiteX4" fmla="*/ 2552 w 5049"/>
                  <a:gd name="connsiteY4" fmla="*/ 0 h 7464"/>
                  <a:gd name="connsiteX5" fmla="*/ 4253 w 5049"/>
                  <a:gd name="connsiteY5" fmla="*/ 1729 h 7464"/>
                  <a:gd name="connsiteX6" fmla="*/ 5049 w 5049"/>
                  <a:gd name="connsiteY6" fmla="*/ 4528 h 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9" h="7464">
                    <a:moveTo>
                      <a:pt x="5049" y="4500"/>
                    </a:moveTo>
                    <a:lnTo>
                      <a:pt x="4116" y="7464"/>
                    </a:lnTo>
                    <a:lnTo>
                      <a:pt x="466" y="5077"/>
                    </a:lnTo>
                    <a:lnTo>
                      <a:pt x="0" y="3540"/>
                    </a:lnTo>
                    <a:lnTo>
                      <a:pt x="2552" y="0"/>
                    </a:lnTo>
                    <a:lnTo>
                      <a:pt x="4253" y="1729"/>
                    </a:lnTo>
                    <a:lnTo>
                      <a:pt x="5049" y="45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1" name="Freeform: Shape 3230">
                <a:extLst>
                  <a:ext uri="{FF2B5EF4-FFF2-40B4-BE49-F238E27FC236}">
                    <a16:creationId xmlns:a16="http://schemas.microsoft.com/office/drawing/2014/main" id="{77548D47-FB97-4A7A-BDE5-B38421F8EF01}"/>
                  </a:ext>
                </a:extLst>
              </p:cNvPr>
              <p:cNvSpPr/>
              <p:nvPr/>
            </p:nvSpPr>
            <p:spPr>
              <a:xfrm>
                <a:off x="1782880" y="3886765"/>
                <a:ext cx="615" cy="604"/>
              </a:xfrm>
              <a:custGeom>
                <a:avLst/>
                <a:gdLst>
                  <a:gd name="connsiteX0" fmla="*/ 5873 w 5899"/>
                  <a:gd name="connsiteY0" fmla="*/ 1400 h 5790"/>
                  <a:gd name="connsiteX1" fmla="*/ 4500 w 5899"/>
                  <a:gd name="connsiteY1" fmla="*/ 5790 h 5790"/>
                  <a:gd name="connsiteX2" fmla="*/ 0 w 5899"/>
                  <a:gd name="connsiteY2" fmla="*/ 5049 h 5790"/>
                  <a:gd name="connsiteX3" fmla="*/ 604 w 5899"/>
                  <a:gd name="connsiteY3" fmla="*/ 1070 h 5790"/>
                  <a:gd name="connsiteX4" fmla="*/ 1838 w 5899"/>
                  <a:gd name="connsiteY4" fmla="*/ 2113 h 5790"/>
                  <a:gd name="connsiteX5" fmla="*/ 3128 w 5899"/>
                  <a:gd name="connsiteY5" fmla="*/ 0 h 5790"/>
                  <a:gd name="connsiteX6" fmla="*/ 5900 w 5899"/>
                  <a:gd name="connsiteY6" fmla="*/ 1400 h 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99" h="5790">
                    <a:moveTo>
                      <a:pt x="5873" y="1400"/>
                    </a:moveTo>
                    <a:lnTo>
                      <a:pt x="4500" y="5790"/>
                    </a:lnTo>
                    <a:lnTo>
                      <a:pt x="0" y="5049"/>
                    </a:lnTo>
                    <a:lnTo>
                      <a:pt x="604" y="1070"/>
                    </a:lnTo>
                    <a:lnTo>
                      <a:pt x="1838" y="2113"/>
                    </a:lnTo>
                    <a:lnTo>
                      <a:pt x="3128" y="0"/>
                    </a:lnTo>
                    <a:lnTo>
                      <a:pt x="5900" y="14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2" name="Freeform: Shape 3231">
                <a:extLst>
                  <a:ext uri="{FF2B5EF4-FFF2-40B4-BE49-F238E27FC236}">
                    <a16:creationId xmlns:a16="http://schemas.microsoft.com/office/drawing/2014/main" id="{2658D401-9DD8-5ABA-5B01-F6DFFC8FE9C4}"/>
                  </a:ext>
                </a:extLst>
              </p:cNvPr>
              <p:cNvSpPr/>
              <p:nvPr/>
            </p:nvSpPr>
            <p:spPr>
              <a:xfrm>
                <a:off x="1801388" y="3877144"/>
                <a:ext cx="610" cy="467"/>
              </a:xfrm>
              <a:custGeom>
                <a:avLst/>
                <a:gdLst>
                  <a:gd name="connsiteX0" fmla="*/ 5818 w 5845"/>
                  <a:gd name="connsiteY0" fmla="*/ 467 h 4473"/>
                  <a:gd name="connsiteX1" fmla="*/ 2634 w 5845"/>
                  <a:gd name="connsiteY1" fmla="*/ 4473 h 4473"/>
                  <a:gd name="connsiteX2" fmla="*/ 0 w 5845"/>
                  <a:gd name="connsiteY2" fmla="*/ 4007 h 4473"/>
                  <a:gd name="connsiteX3" fmla="*/ 0 w 5845"/>
                  <a:gd name="connsiteY3" fmla="*/ 1701 h 4473"/>
                  <a:gd name="connsiteX4" fmla="*/ 1784 w 5845"/>
                  <a:gd name="connsiteY4" fmla="*/ 0 h 4473"/>
                  <a:gd name="connsiteX5" fmla="*/ 5845 w 5845"/>
                  <a:gd name="connsiteY5" fmla="*/ 467 h 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5" h="4473">
                    <a:moveTo>
                      <a:pt x="5818" y="467"/>
                    </a:moveTo>
                    <a:lnTo>
                      <a:pt x="2634" y="4473"/>
                    </a:lnTo>
                    <a:lnTo>
                      <a:pt x="0" y="4007"/>
                    </a:lnTo>
                    <a:lnTo>
                      <a:pt x="0" y="1701"/>
                    </a:lnTo>
                    <a:cubicBezTo>
                      <a:pt x="0" y="1701"/>
                      <a:pt x="1784" y="0"/>
                      <a:pt x="1784" y="0"/>
                    </a:cubicBezTo>
                    <a:lnTo>
                      <a:pt x="5845" y="4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3" name="Freeform: Shape 3232">
                <a:extLst>
                  <a:ext uri="{FF2B5EF4-FFF2-40B4-BE49-F238E27FC236}">
                    <a16:creationId xmlns:a16="http://schemas.microsoft.com/office/drawing/2014/main" id="{042D8436-C395-0F4F-FA79-0934DF3A26AA}"/>
                  </a:ext>
                </a:extLst>
              </p:cNvPr>
              <p:cNvSpPr/>
              <p:nvPr/>
            </p:nvSpPr>
            <p:spPr>
              <a:xfrm>
                <a:off x="1801322" y="3875539"/>
                <a:ext cx="673" cy="415"/>
              </a:xfrm>
              <a:custGeom>
                <a:avLst/>
                <a:gdLst>
                  <a:gd name="connsiteX0" fmla="*/ 6449 w 6448"/>
                  <a:gd name="connsiteY0" fmla="*/ 3677 h 3979"/>
                  <a:gd name="connsiteX1" fmla="*/ 1729 w 6448"/>
                  <a:gd name="connsiteY1" fmla="*/ 3979 h 3979"/>
                  <a:gd name="connsiteX2" fmla="*/ 0 w 6448"/>
                  <a:gd name="connsiteY2" fmla="*/ 1290 h 3979"/>
                  <a:gd name="connsiteX3" fmla="*/ 1592 w 6448"/>
                  <a:gd name="connsiteY3" fmla="*/ 0 h 3979"/>
                  <a:gd name="connsiteX4" fmla="*/ 6449 w 6448"/>
                  <a:gd name="connsiteY4" fmla="*/ 1701 h 3979"/>
                  <a:gd name="connsiteX5" fmla="*/ 6449 w 6448"/>
                  <a:gd name="connsiteY5" fmla="*/ 3677 h 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48" h="3979">
                    <a:moveTo>
                      <a:pt x="6449" y="3677"/>
                    </a:moveTo>
                    <a:lnTo>
                      <a:pt x="1729" y="3979"/>
                    </a:lnTo>
                    <a:lnTo>
                      <a:pt x="0" y="1290"/>
                    </a:lnTo>
                    <a:lnTo>
                      <a:pt x="1592" y="0"/>
                    </a:lnTo>
                    <a:lnTo>
                      <a:pt x="6449" y="1701"/>
                    </a:lnTo>
                    <a:lnTo>
                      <a:pt x="6449" y="36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4" name="Freeform: Shape 3233">
                <a:extLst>
                  <a:ext uri="{FF2B5EF4-FFF2-40B4-BE49-F238E27FC236}">
                    <a16:creationId xmlns:a16="http://schemas.microsoft.com/office/drawing/2014/main" id="{A65FC020-F079-E544-C7AC-7196580B2FE6}"/>
                  </a:ext>
                </a:extLst>
              </p:cNvPr>
              <p:cNvSpPr/>
              <p:nvPr/>
            </p:nvSpPr>
            <p:spPr>
              <a:xfrm>
                <a:off x="1779906" y="3957201"/>
                <a:ext cx="604" cy="487"/>
              </a:xfrm>
              <a:custGeom>
                <a:avLst/>
                <a:gdLst>
                  <a:gd name="connsiteX0" fmla="*/ 5791 w 5790"/>
                  <a:gd name="connsiteY0" fmla="*/ 1894 h 4665"/>
                  <a:gd name="connsiteX1" fmla="*/ 5187 w 5790"/>
                  <a:gd name="connsiteY1" fmla="*/ 4665 h 4665"/>
                  <a:gd name="connsiteX2" fmla="*/ 2964 w 5790"/>
                  <a:gd name="connsiteY2" fmla="*/ 2854 h 4665"/>
                  <a:gd name="connsiteX3" fmla="*/ 247 w 5790"/>
                  <a:gd name="connsiteY3" fmla="*/ 3485 h 4665"/>
                  <a:gd name="connsiteX4" fmla="*/ 0 w 5790"/>
                  <a:gd name="connsiteY4" fmla="*/ 2278 h 4665"/>
                  <a:gd name="connsiteX5" fmla="*/ 1207 w 5790"/>
                  <a:gd name="connsiteY5" fmla="*/ 0 h 4665"/>
                  <a:gd name="connsiteX6" fmla="*/ 5763 w 5790"/>
                  <a:gd name="connsiteY6" fmla="*/ 1894 h 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90" h="4665">
                    <a:moveTo>
                      <a:pt x="5791" y="1894"/>
                    </a:moveTo>
                    <a:lnTo>
                      <a:pt x="5187" y="4665"/>
                    </a:lnTo>
                    <a:lnTo>
                      <a:pt x="2964" y="2854"/>
                    </a:lnTo>
                    <a:lnTo>
                      <a:pt x="247" y="3485"/>
                    </a:lnTo>
                    <a:lnTo>
                      <a:pt x="0" y="2278"/>
                    </a:lnTo>
                    <a:lnTo>
                      <a:pt x="1207" y="0"/>
                    </a:lnTo>
                    <a:lnTo>
                      <a:pt x="5763" y="1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5" name="Freeform: Shape 3234">
                <a:extLst>
                  <a:ext uri="{FF2B5EF4-FFF2-40B4-BE49-F238E27FC236}">
                    <a16:creationId xmlns:a16="http://schemas.microsoft.com/office/drawing/2014/main" id="{AEC572D1-64EF-263A-C3C3-ED2821D14BA5}"/>
                  </a:ext>
                </a:extLst>
              </p:cNvPr>
              <p:cNvSpPr/>
              <p:nvPr/>
            </p:nvSpPr>
            <p:spPr>
              <a:xfrm>
                <a:off x="1835847" y="3930647"/>
                <a:ext cx="323" cy="744"/>
              </a:xfrm>
              <a:custGeom>
                <a:avLst/>
                <a:gdLst>
                  <a:gd name="connsiteX0" fmla="*/ 3101 w 3101"/>
                  <a:gd name="connsiteY0" fmla="*/ 0 h 7135"/>
                  <a:gd name="connsiteX1" fmla="*/ 1537 w 3101"/>
                  <a:gd name="connsiteY1" fmla="*/ 7135 h 7135"/>
                  <a:gd name="connsiteX2" fmla="*/ 110 w 3101"/>
                  <a:gd name="connsiteY2" fmla="*/ 5461 h 7135"/>
                  <a:gd name="connsiteX3" fmla="*/ 0 w 3101"/>
                  <a:gd name="connsiteY3" fmla="*/ 3348 h 7135"/>
                  <a:gd name="connsiteX4" fmla="*/ 0 w 3101"/>
                  <a:gd name="connsiteY4" fmla="*/ 878 h 7135"/>
                  <a:gd name="connsiteX5" fmla="*/ 3074 w 3101"/>
                  <a:gd name="connsiteY5" fmla="*/ 0 h 7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1" h="7135">
                    <a:moveTo>
                      <a:pt x="3101" y="0"/>
                    </a:moveTo>
                    <a:lnTo>
                      <a:pt x="1537" y="7135"/>
                    </a:lnTo>
                    <a:lnTo>
                      <a:pt x="110" y="5461"/>
                    </a:lnTo>
                    <a:lnTo>
                      <a:pt x="0" y="3348"/>
                    </a:lnTo>
                    <a:lnTo>
                      <a:pt x="0" y="878"/>
                    </a:lnTo>
                    <a:lnTo>
                      <a:pt x="307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6" name="Freeform: Shape 3235">
                <a:extLst>
                  <a:ext uri="{FF2B5EF4-FFF2-40B4-BE49-F238E27FC236}">
                    <a16:creationId xmlns:a16="http://schemas.microsoft.com/office/drawing/2014/main" id="{7C0C10DA-8C4E-7439-4EA9-FED454476A19}"/>
                  </a:ext>
                </a:extLst>
              </p:cNvPr>
              <p:cNvSpPr/>
              <p:nvPr/>
            </p:nvSpPr>
            <p:spPr>
              <a:xfrm>
                <a:off x="1793081" y="3897318"/>
                <a:ext cx="481" cy="452"/>
              </a:xfrm>
              <a:custGeom>
                <a:avLst/>
                <a:gdLst>
                  <a:gd name="connsiteX0" fmla="*/ 4610 w 4610"/>
                  <a:gd name="connsiteY0" fmla="*/ 3458 h 4336"/>
                  <a:gd name="connsiteX1" fmla="*/ 1811 w 4610"/>
                  <a:gd name="connsiteY1" fmla="*/ 4336 h 4336"/>
                  <a:gd name="connsiteX2" fmla="*/ 0 w 4610"/>
                  <a:gd name="connsiteY2" fmla="*/ 3211 h 4336"/>
                  <a:gd name="connsiteX3" fmla="*/ 2223 w 4610"/>
                  <a:gd name="connsiteY3" fmla="*/ 0 h 4336"/>
                  <a:gd name="connsiteX4" fmla="*/ 4583 w 4610"/>
                  <a:gd name="connsiteY4" fmla="*/ 3458 h 4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4336">
                    <a:moveTo>
                      <a:pt x="4610" y="3458"/>
                    </a:moveTo>
                    <a:lnTo>
                      <a:pt x="1811" y="4336"/>
                    </a:lnTo>
                    <a:lnTo>
                      <a:pt x="0" y="3211"/>
                    </a:lnTo>
                    <a:lnTo>
                      <a:pt x="2223" y="0"/>
                    </a:lnTo>
                    <a:lnTo>
                      <a:pt x="4583" y="34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7" name="Freeform: Shape 3236">
                <a:extLst>
                  <a:ext uri="{FF2B5EF4-FFF2-40B4-BE49-F238E27FC236}">
                    <a16:creationId xmlns:a16="http://schemas.microsoft.com/office/drawing/2014/main" id="{A0AF3D91-F88D-F790-6EBA-F9751F8539AF}"/>
                  </a:ext>
                </a:extLst>
              </p:cNvPr>
              <p:cNvSpPr/>
              <p:nvPr/>
            </p:nvSpPr>
            <p:spPr>
              <a:xfrm>
                <a:off x="1774413" y="3880193"/>
                <a:ext cx="418" cy="404"/>
              </a:xfrm>
              <a:custGeom>
                <a:avLst/>
                <a:gdLst>
                  <a:gd name="connsiteX0" fmla="*/ 3979 w 4006"/>
                  <a:gd name="connsiteY0" fmla="*/ 714 h 3869"/>
                  <a:gd name="connsiteX1" fmla="*/ 823 w 4006"/>
                  <a:gd name="connsiteY1" fmla="*/ 3870 h 3869"/>
                  <a:gd name="connsiteX2" fmla="*/ 0 w 4006"/>
                  <a:gd name="connsiteY2" fmla="*/ 1564 h 3869"/>
                  <a:gd name="connsiteX3" fmla="*/ 2360 w 4006"/>
                  <a:gd name="connsiteY3" fmla="*/ 0 h 3869"/>
                  <a:gd name="connsiteX4" fmla="*/ 4007 w 4006"/>
                  <a:gd name="connsiteY4" fmla="*/ 686 h 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3869">
                    <a:moveTo>
                      <a:pt x="3979" y="714"/>
                    </a:moveTo>
                    <a:lnTo>
                      <a:pt x="823" y="3870"/>
                    </a:lnTo>
                    <a:lnTo>
                      <a:pt x="0" y="1564"/>
                    </a:lnTo>
                    <a:lnTo>
                      <a:pt x="2360" y="0"/>
                    </a:lnTo>
                    <a:lnTo>
                      <a:pt x="4007" y="6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8" name="Freeform: Shape 3237">
                <a:extLst>
                  <a:ext uri="{FF2B5EF4-FFF2-40B4-BE49-F238E27FC236}">
                    <a16:creationId xmlns:a16="http://schemas.microsoft.com/office/drawing/2014/main" id="{32EAAA14-27F1-1A5B-22AE-5BC8151DED2C}"/>
                  </a:ext>
                </a:extLst>
              </p:cNvPr>
              <p:cNvSpPr/>
              <p:nvPr/>
            </p:nvSpPr>
            <p:spPr>
              <a:xfrm>
                <a:off x="1820153" y="3987301"/>
                <a:ext cx="355" cy="635"/>
              </a:xfrm>
              <a:custGeom>
                <a:avLst/>
                <a:gdLst>
                  <a:gd name="connsiteX0" fmla="*/ 3403 w 3402"/>
                  <a:gd name="connsiteY0" fmla="*/ 1015 h 6092"/>
                  <a:gd name="connsiteX1" fmla="*/ 1619 w 3402"/>
                  <a:gd name="connsiteY1" fmla="*/ 6092 h 6092"/>
                  <a:gd name="connsiteX2" fmla="*/ 0 w 3402"/>
                  <a:gd name="connsiteY2" fmla="*/ 3348 h 6092"/>
                  <a:gd name="connsiteX3" fmla="*/ 356 w 3402"/>
                  <a:gd name="connsiteY3" fmla="*/ 0 h 6092"/>
                  <a:gd name="connsiteX4" fmla="*/ 3403 w 3402"/>
                  <a:gd name="connsiteY4" fmla="*/ 1015 h 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6092">
                    <a:moveTo>
                      <a:pt x="3403" y="1015"/>
                    </a:moveTo>
                    <a:lnTo>
                      <a:pt x="1619" y="6092"/>
                    </a:lnTo>
                    <a:lnTo>
                      <a:pt x="0" y="3348"/>
                    </a:lnTo>
                    <a:lnTo>
                      <a:pt x="356" y="0"/>
                    </a:lnTo>
                    <a:lnTo>
                      <a:pt x="3403" y="10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9" name="Freeform: Shape 3238">
                <a:extLst>
                  <a:ext uri="{FF2B5EF4-FFF2-40B4-BE49-F238E27FC236}">
                    <a16:creationId xmlns:a16="http://schemas.microsoft.com/office/drawing/2014/main" id="{5420DE36-8571-2404-1854-3D8868960F9A}"/>
                  </a:ext>
                </a:extLst>
              </p:cNvPr>
              <p:cNvSpPr/>
              <p:nvPr/>
            </p:nvSpPr>
            <p:spPr>
              <a:xfrm>
                <a:off x="1782342" y="3880339"/>
                <a:ext cx="429" cy="389"/>
              </a:xfrm>
              <a:custGeom>
                <a:avLst/>
                <a:gdLst>
                  <a:gd name="connsiteX0" fmla="*/ 4089 w 4116"/>
                  <a:gd name="connsiteY0" fmla="*/ 1564 h 3732"/>
                  <a:gd name="connsiteX1" fmla="*/ 2223 w 4116"/>
                  <a:gd name="connsiteY1" fmla="*/ 3732 h 3732"/>
                  <a:gd name="connsiteX2" fmla="*/ 0 w 4116"/>
                  <a:gd name="connsiteY2" fmla="*/ 2360 h 3732"/>
                  <a:gd name="connsiteX3" fmla="*/ 3513 w 4116"/>
                  <a:gd name="connsiteY3" fmla="*/ 0 h 3732"/>
                  <a:gd name="connsiteX4" fmla="*/ 4116 w 4116"/>
                  <a:gd name="connsiteY4" fmla="*/ 1564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3732">
                    <a:moveTo>
                      <a:pt x="4089" y="1564"/>
                    </a:moveTo>
                    <a:lnTo>
                      <a:pt x="2223" y="3732"/>
                    </a:lnTo>
                    <a:lnTo>
                      <a:pt x="0" y="2360"/>
                    </a:lnTo>
                    <a:lnTo>
                      <a:pt x="3513" y="0"/>
                    </a:lnTo>
                    <a:lnTo>
                      <a:pt x="4116"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0" name="Freeform: Shape 3239">
                <a:extLst>
                  <a:ext uri="{FF2B5EF4-FFF2-40B4-BE49-F238E27FC236}">
                    <a16:creationId xmlns:a16="http://schemas.microsoft.com/office/drawing/2014/main" id="{34C84707-801F-DA57-FF28-058E8A9EB736}"/>
                  </a:ext>
                </a:extLst>
              </p:cNvPr>
              <p:cNvSpPr/>
              <p:nvPr/>
            </p:nvSpPr>
            <p:spPr>
              <a:xfrm>
                <a:off x="1782863" y="3885889"/>
                <a:ext cx="363" cy="458"/>
              </a:xfrm>
              <a:custGeom>
                <a:avLst/>
                <a:gdLst>
                  <a:gd name="connsiteX0" fmla="*/ 3485 w 3485"/>
                  <a:gd name="connsiteY0" fmla="*/ 1207 h 4390"/>
                  <a:gd name="connsiteX1" fmla="*/ 1674 w 3485"/>
                  <a:gd name="connsiteY1" fmla="*/ 4391 h 4390"/>
                  <a:gd name="connsiteX2" fmla="*/ 0 w 3485"/>
                  <a:gd name="connsiteY2" fmla="*/ 3129 h 4390"/>
                  <a:gd name="connsiteX3" fmla="*/ 2086 w 3485"/>
                  <a:gd name="connsiteY3" fmla="*/ 0 h 4390"/>
                  <a:gd name="connsiteX4" fmla="*/ 3458 w 3485"/>
                  <a:gd name="connsiteY4" fmla="*/ 1207 h 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4390">
                    <a:moveTo>
                      <a:pt x="3485" y="1207"/>
                    </a:moveTo>
                    <a:lnTo>
                      <a:pt x="1674" y="4391"/>
                    </a:lnTo>
                    <a:lnTo>
                      <a:pt x="0" y="3129"/>
                    </a:lnTo>
                    <a:lnTo>
                      <a:pt x="2086" y="0"/>
                    </a:lnTo>
                    <a:lnTo>
                      <a:pt x="3458" y="12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1" name="Freeform: Shape 3240">
                <a:extLst>
                  <a:ext uri="{FF2B5EF4-FFF2-40B4-BE49-F238E27FC236}">
                    <a16:creationId xmlns:a16="http://schemas.microsoft.com/office/drawing/2014/main" id="{C313231C-0BD7-D26E-B69C-A363E32B1000}"/>
                  </a:ext>
                </a:extLst>
              </p:cNvPr>
              <p:cNvSpPr/>
              <p:nvPr/>
            </p:nvSpPr>
            <p:spPr>
              <a:xfrm>
                <a:off x="1814214" y="3993690"/>
                <a:ext cx="418" cy="530"/>
              </a:xfrm>
              <a:custGeom>
                <a:avLst/>
                <a:gdLst>
                  <a:gd name="connsiteX0" fmla="*/ 4007 w 4006"/>
                  <a:gd name="connsiteY0" fmla="*/ 3101 h 5077"/>
                  <a:gd name="connsiteX1" fmla="*/ 1811 w 4006"/>
                  <a:gd name="connsiteY1" fmla="*/ 5077 h 5077"/>
                  <a:gd name="connsiteX2" fmla="*/ 0 w 4006"/>
                  <a:gd name="connsiteY2" fmla="*/ 1208 h 5077"/>
                  <a:gd name="connsiteX3" fmla="*/ 1235 w 4006"/>
                  <a:gd name="connsiteY3" fmla="*/ 0 h 5077"/>
                  <a:gd name="connsiteX4" fmla="*/ 4007 w 4006"/>
                  <a:gd name="connsiteY4" fmla="*/ 3074 h 5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5077">
                    <a:moveTo>
                      <a:pt x="4007" y="3101"/>
                    </a:moveTo>
                    <a:lnTo>
                      <a:pt x="1811" y="5077"/>
                    </a:lnTo>
                    <a:lnTo>
                      <a:pt x="0" y="1208"/>
                    </a:lnTo>
                    <a:lnTo>
                      <a:pt x="1235" y="0"/>
                    </a:lnTo>
                    <a:lnTo>
                      <a:pt x="4007"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2" name="Freeform: Shape 3241">
                <a:extLst>
                  <a:ext uri="{FF2B5EF4-FFF2-40B4-BE49-F238E27FC236}">
                    <a16:creationId xmlns:a16="http://schemas.microsoft.com/office/drawing/2014/main" id="{4912DE49-F21F-4D8A-9042-0A7F0EA55983}"/>
                  </a:ext>
                </a:extLst>
              </p:cNvPr>
              <p:cNvSpPr/>
              <p:nvPr/>
            </p:nvSpPr>
            <p:spPr>
              <a:xfrm>
                <a:off x="1810601" y="3972357"/>
                <a:ext cx="504" cy="392"/>
              </a:xfrm>
              <a:custGeom>
                <a:avLst/>
                <a:gdLst>
                  <a:gd name="connsiteX0" fmla="*/ 4830 w 4829"/>
                  <a:gd name="connsiteY0" fmla="*/ 1647 h 3760"/>
                  <a:gd name="connsiteX1" fmla="*/ 2552 w 4829"/>
                  <a:gd name="connsiteY1" fmla="*/ 3760 h 3760"/>
                  <a:gd name="connsiteX2" fmla="*/ 0 w 4829"/>
                  <a:gd name="connsiteY2" fmla="*/ 2113 h 3760"/>
                  <a:gd name="connsiteX3" fmla="*/ 3293 w 4829"/>
                  <a:gd name="connsiteY3" fmla="*/ 0 h 3760"/>
                  <a:gd name="connsiteX4" fmla="*/ 4830 w 4829"/>
                  <a:gd name="connsiteY4" fmla="*/ 1647 h 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9" h="3760">
                    <a:moveTo>
                      <a:pt x="4830" y="1647"/>
                    </a:moveTo>
                    <a:lnTo>
                      <a:pt x="2552" y="3760"/>
                    </a:lnTo>
                    <a:lnTo>
                      <a:pt x="0" y="2113"/>
                    </a:lnTo>
                    <a:lnTo>
                      <a:pt x="3293" y="0"/>
                    </a:lnTo>
                    <a:lnTo>
                      <a:pt x="4830"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3" name="Freeform: Shape 3242">
                <a:extLst>
                  <a:ext uri="{FF2B5EF4-FFF2-40B4-BE49-F238E27FC236}">
                    <a16:creationId xmlns:a16="http://schemas.microsoft.com/office/drawing/2014/main" id="{90699091-1485-0BA2-9C90-C32BE6499AFA}"/>
                  </a:ext>
                </a:extLst>
              </p:cNvPr>
              <p:cNvSpPr/>
              <p:nvPr/>
            </p:nvSpPr>
            <p:spPr>
              <a:xfrm>
                <a:off x="1783135" y="3880187"/>
                <a:ext cx="504" cy="306"/>
              </a:xfrm>
              <a:custGeom>
                <a:avLst/>
                <a:gdLst>
                  <a:gd name="connsiteX0" fmla="*/ 4830 w 4829"/>
                  <a:gd name="connsiteY0" fmla="*/ 878 h 2936"/>
                  <a:gd name="connsiteX1" fmla="*/ 2470 w 4829"/>
                  <a:gd name="connsiteY1" fmla="*/ 2936 h 2936"/>
                  <a:gd name="connsiteX2" fmla="*/ 0 w 4829"/>
                  <a:gd name="connsiteY2" fmla="*/ 2305 h 2936"/>
                  <a:gd name="connsiteX3" fmla="*/ 2552 w 4829"/>
                  <a:gd name="connsiteY3" fmla="*/ 0 h 2936"/>
                  <a:gd name="connsiteX4" fmla="*/ 4830 w 4829"/>
                  <a:gd name="connsiteY4" fmla="*/ 878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9" h="2936">
                    <a:moveTo>
                      <a:pt x="4830" y="878"/>
                    </a:moveTo>
                    <a:lnTo>
                      <a:pt x="2470" y="2936"/>
                    </a:lnTo>
                    <a:lnTo>
                      <a:pt x="0" y="2305"/>
                    </a:lnTo>
                    <a:lnTo>
                      <a:pt x="2552" y="0"/>
                    </a:lnTo>
                    <a:lnTo>
                      <a:pt x="4830" y="8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4" name="Freeform: Shape 3243">
                <a:extLst>
                  <a:ext uri="{FF2B5EF4-FFF2-40B4-BE49-F238E27FC236}">
                    <a16:creationId xmlns:a16="http://schemas.microsoft.com/office/drawing/2014/main" id="{4FC173E7-E6CD-C1E3-B7DD-56D4BE34FA1B}"/>
                  </a:ext>
                </a:extLst>
              </p:cNvPr>
              <p:cNvSpPr/>
              <p:nvPr/>
            </p:nvSpPr>
            <p:spPr>
              <a:xfrm>
                <a:off x="1815588" y="3904139"/>
                <a:ext cx="455" cy="349"/>
              </a:xfrm>
              <a:custGeom>
                <a:avLst/>
                <a:gdLst>
                  <a:gd name="connsiteX0" fmla="*/ 4363 w 4363"/>
                  <a:gd name="connsiteY0" fmla="*/ 302 h 3347"/>
                  <a:gd name="connsiteX1" fmla="*/ 2387 w 4363"/>
                  <a:gd name="connsiteY1" fmla="*/ 3348 h 3347"/>
                  <a:gd name="connsiteX2" fmla="*/ 0 w 4363"/>
                  <a:gd name="connsiteY2" fmla="*/ 1043 h 3347"/>
                  <a:gd name="connsiteX3" fmla="*/ 2277 w 4363"/>
                  <a:gd name="connsiteY3" fmla="*/ 0 h 3347"/>
                  <a:gd name="connsiteX4" fmla="*/ 4363 w 4363"/>
                  <a:gd name="connsiteY4" fmla="*/ 329 h 3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3347">
                    <a:moveTo>
                      <a:pt x="4363" y="302"/>
                    </a:moveTo>
                    <a:lnTo>
                      <a:pt x="2387" y="3348"/>
                    </a:lnTo>
                    <a:lnTo>
                      <a:pt x="0" y="1043"/>
                    </a:lnTo>
                    <a:lnTo>
                      <a:pt x="2277" y="0"/>
                    </a:lnTo>
                    <a:lnTo>
                      <a:pt x="4363" y="3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5" name="Freeform: Shape 3244">
                <a:extLst>
                  <a:ext uri="{FF2B5EF4-FFF2-40B4-BE49-F238E27FC236}">
                    <a16:creationId xmlns:a16="http://schemas.microsoft.com/office/drawing/2014/main" id="{2D2CB6A5-E2F4-55E8-9F55-C3F974DE323D}"/>
                  </a:ext>
                </a:extLst>
              </p:cNvPr>
              <p:cNvSpPr/>
              <p:nvPr/>
            </p:nvSpPr>
            <p:spPr>
              <a:xfrm>
                <a:off x="1809668" y="3980082"/>
                <a:ext cx="461" cy="429"/>
              </a:xfrm>
              <a:custGeom>
                <a:avLst/>
                <a:gdLst>
                  <a:gd name="connsiteX0" fmla="*/ 4391 w 4418"/>
                  <a:gd name="connsiteY0" fmla="*/ 1536 h 4116"/>
                  <a:gd name="connsiteX1" fmla="*/ 1893 w 4418"/>
                  <a:gd name="connsiteY1" fmla="*/ 4116 h 4116"/>
                  <a:gd name="connsiteX2" fmla="*/ 0 w 4418"/>
                  <a:gd name="connsiteY2" fmla="*/ 2360 h 4116"/>
                  <a:gd name="connsiteX3" fmla="*/ 1729 w 4418"/>
                  <a:gd name="connsiteY3" fmla="*/ 0 h 4116"/>
                  <a:gd name="connsiteX4" fmla="*/ 4419 w 4418"/>
                  <a:gd name="connsiteY4" fmla="*/ 1536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4116">
                    <a:moveTo>
                      <a:pt x="4391" y="1536"/>
                    </a:moveTo>
                    <a:lnTo>
                      <a:pt x="1893" y="4116"/>
                    </a:lnTo>
                    <a:lnTo>
                      <a:pt x="0" y="2360"/>
                    </a:lnTo>
                    <a:lnTo>
                      <a:pt x="1729" y="0"/>
                    </a:lnTo>
                    <a:lnTo>
                      <a:pt x="4419" y="15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6" name="Freeform: Shape 3245">
                <a:extLst>
                  <a:ext uri="{FF2B5EF4-FFF2-40B4-BE49-F238E27FC236}">
                    <a16:creationId xmlns:a16="http://schemas.microsoft.com/office/drawing/2014/main" id="{4B12A740-0D05-694E-7F55-B351963FEB29}"/>
                  </a:ext>
                </a:extLst>
              </p:cNvPr>
              <p:cNvSpPr/>
              <p:nvPr/>
            </p:nvSpPr>
            <p:spPr>
              <a:xfrm>
                <a:off x="1784966" y="3892695"/>
                <a:ext cx="424" cy="361"/>
              </a:xfrm>
              <a:custGeom>
                <a:avLst/>
                <a:gdLst>
                  <a:gd name="connsiteX0" fmla="*/ 4035 w 4062"/>
                  <a:gd name="connsiteY0" fmla="*/ 2470 h 3457"/>
                  <a:gd name="connsiteX1" fmla="*/ 2086 w 4062"/>
                  <a:gd name="connsiteY1" fmla="*/ 3458 h 3457"/>
                  <a:gd name="connsiteX2" fmla="*/ 0 w 4062"/>
                  <a:gd name="connsiteY2" fmla="*/ 1400 h 3457"/>
                  <a:gd name="connsiteX3" fmla="*/ 2690 w 4062"/>
                  <a:gd name="connsiteY3" fmla="*/ 0 h 3457"/>
                  <a:gd name="connsiteX4" fmla="*/ 4062 w 4062"/>
                  <a:gd name="connsiteY4" fmla="*/ 2470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 h="3457">
                    <a:moveTo>
                      <a:pt x="4035" y="2470"/>
                    </a:moveTo>
                    <a:lnTo>
                      <a:pt x="2086" y="3458"/>
                    </a:lnTo>
                    <a:lnTo>
                      <a:pt x="0" y="1400"/>
                    </a:lnTo>
                    <a:lnTo>
                      <a:pt x="2690" y="0"/>
                    </a:lnTo>
                    <a:lnTo>
                      <a:pt x="4062" y="24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7" name="Freeform: Shape 3246">
                <a:extLst>
                  <a:ext uri="{FF2B5EF4-FFF2-40B4-BE49-F238E27FC236}">
                    <a16:creationId xmlns:a16="http://schemas.microsoft.com/office/drawing/2014/main" id="{CD105D0E-8BDB-D632-993E-33FFE2053805}"/>
                  </a:ext>
                </a:extLst>
              </p:cNvPr>
              <p:cNvSpPr/>
              <p:nvPr/>
            </p:nvSpPr>
            <p:spPr>
              <a:xfrm>
                <a:off x="1742349" y="3882156"/>
                <a:ext cx="504" cy="289"/>
              </a:xfrm>
              <a:custGeom>
                <a:avLst/>
                <a:gdLst>
                  <a:gd name="connsiteX0" fmla="*/ 4830 w 4829"/>
                  <a:gd name="connsiteY0" fmla="*/ 2415 h 2771"/>
                  <a:gd name="connsiteX1" fmla="*/ 2689 w 4829"/>
                  <a:gd name="connsiteY1" fmla="*/ 2772 h 2771"/>
                  <a:gd name="connsiteX2" fmla="*/ 0 w 4829"/>
                  <a:gd name="connsiteY2" fmla="*/ 960 h 2771"/>
                  <a:gd name="connsiteX3" fmla="*/ 2415 w 4829"/>
                  <a:gd name="connsiteY3" fmla="*/ 0 h 2771"/>
                  <a:gd name="connsiteX4" fmla="*/ 2937 w 4829"/>
                  <a:gd name="connsiteY4" fmla="*/ 0 h 2771"/>
                  <a:gd name="connsiteX5" fmla="*/ 4830 w 4829"/>
                  <a:gd name="connsiteY5" fmla="*/ 2415 h 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9" h="2771">
                    <a:moveTo>
                      <a:pt x="4830" y="2415"/>
                    </a:moveTo>
                    <a:lnTo>
                      <a:pt x="2689" y="2772"/>
                    </a:lnTo>
                    <a:lnTo>
                      <a:pt x="0" y="960"/>
                    </a:lnTo>
                    <a:lnTo>
                      <a:pt x="2415" y="0"/>
                    </a:lnTo>
                    <a:lnTo>
                      <a:pt x="2937" y="0"/>
                    </a:lnTo>
                    <a:lnTo>
                      <a:pt x="4830"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8" name="Freeform: Shape 3247">
                <a:extLst>
                  <a:ext uri="{FF2B5EF4-FFF2-40B4-BE49-F238E27FC236}">
                    <a16:creationId xmlns:a16="http://schemas.microsoft.com/office/drawing/2014/main" id="{CF65DC91-039A-014A-28E3-68B748527DDD}"/>
                  </a:ext>
                </a:extLst>
              </p:cNvPr>
              <p:cNvSpPr/>
              <p:nvPr/>
            </p:nvSpPr>
            <p:spPr>
              <a:xfrm>
                <a:off x="1819458" y="3989107"/>
                <a:ext cx="395" cy="472"/>
              </a:xfrm>
              <a:custGeom>
                <a:avLst/>
                <a:gdLst>
                  <a:gd name="connsiteX0" fmla="*/ 3787 w 3787"/>
                  <a:gd name="connsiteY0" fmla="*/ 1949 h 4528"/>
                  <a:gd name="connsiteX1" fmla="*/ 1098 w 3787"/>
                  <a:gd name="connsiteY1" fmla="*/ 4528 h 4528"/>
                  <a:gd name="connsiteX2" fmla="*/ 0 w 3787"/>
                  <a:gd name="connsiteY2" fmla="*/ 3074 h 4528"/>
                  <a:gd name="connsiteX3" fmla="*/ 714 w 3787"/>
                  <a:gd name="connsiteY3" fmla="*/ 357 h 4528"/>
                  <a:gd name="connsiteX4" fmla="*/ 3074 w 3787"/>
                  <a:gd name="connsiteY4" fmla="*/ 0 h 4528"/>
                  <a:gd name="connsiteX5" fmla="*/ 3760 w 3787"/>
                  <a:gd name="connsiteY5" fmla="*/ 1922 h 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7" h="4528">
                    <a:moveTo>
                      <a:pt x="3787" y="1949"/>
                    </a:moveTo>
                    <a:lnTo>
                      <a:pt x="1098" y="4528"/>
                    </a:lnTo>
                    <a:lnTo>
                      <a:pt x="0" y="3074"/>
                    </a:lnTo>
                    <a:lnTo>
                      <a:pt x="714" y="357"/>
                    </a:lnTo>
                    <a:lnTo>
                      <a:pt x="3074" y="0"/>
                    </a:lnTo>
                    <a:lnTo>
                      <a:pt x="3760" y="19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9" name="Freeform: Shape 3248">
                <a:extLst>
                  <a:ext uri="{FF2B5EF4-FFF2-40B4-BE49-F238E27FC236}">
                    <a16:creationId xmlns:a16="http://schemas.microsoft.com/office/drawing/2014/main" id="{D008DEA6-38EA-CA30-396A-67A019E7F809}"/>
                  </a:ext>
                </a:extLst>
              </p:cNvPr>
              <p:cNvSpPr/>
              <p:nvPr/>
            </p:nvSpPr>
            <p:spPr>
              <a:xfrm>
                <a:off x="1782118" y="3880742"/>
                <a:ext cx="401" cy="338"/>
              </a:xfrm>
              <a:custGeom>
                <a:avLst/>
                <a:gdLst>
                  <a:gd name="connsiteX0" fmla="*/ 3815 w 3842"/>
                  <a:gd name="connsiteY0" fmla="*/ 2195 h 3238"/>
                  <a:gd name="connsiteX1" fmla="*/ 1893 w 3842"/>
                  <a:gd name="connsiteY1" fmla="*/ 3238 h 3238"/>
                  <a:gd name="connsiteX2" fmla="*/ 0 w 3842"/>
                  <a:gd name="connsiteY2" fmla="*/ 549 h 3238"/>
                  <a:gd name="connsiteX3" fmla="*/ 3074 w 3842"/>
                  <a:gd name="connsiteY3" fmla="*/ 0 h 3238"/>
                  <a:gd name="connsiteX4" fmla="*/ 3842 w 3842"/>
                  <a:gd name="connsiteY4" fmla="*/ 2168 h 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2" h="3238">
                    <a:moveTo>
                      <a:pt x="3815" y="2195"/>
                    </a:moveTo>
                    <a:lnTo>
                      <a:pt x="1893" y="3238"/>
                    </a:lnTo>
                    <a:lnTo>
                      <a:pt x="0" y="549"/>
                    </a:lnTo>
                    <a:lnTo>
                      <a:pt x="3074" y="0"/>
                    </a:lnTo>
                    <a:lnTo>
                      <a:pt x="3842"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0" name="Freeform: Shape 3249">
                <a:extLst>
                  <a:ext uri="{FF2B5EF4-FFF2-40B4-BE49-F238E27FC236}">
                    <a16:creationId xmlns:a16="http://schemas.microsoft.com/office/drawing/2014/main" id="{B9FB82A4-8CA7-E1BF-EAE5-087160F2E8C2}"/>
                  </a:ext>
                </a:extLst>
              </p:cNvPr>
              <p:cNvSpPr/>
              <p:nvPr/>
            </p:nvSpPr>
            <p:spPr>
              <a:xfrm>
                <a:off x="1774619" y="3879778"/>
                <a:ext cx="386" cy="352"/>
              </a:xfrm>
              <a:custGeom>
                <a:avLst/>
                <a:gdLst>
                  <a:gd name="connsiteX0" fmla="*/ 2552 w 3705"/>
                  <a:gd name="connsiteY0" fmla="*/ 27 h 3375"/>
                  <a:gd name="connsiteX1" fmla="*/ 3705 w 3705"/>
                  <a:gd name="connsiteY1" fmla="*/ 3376 h 3375"/>
                  <a:gd name="connsiteX2" fmla="*/ 1235 w 3705"/>
                  <a:gd name="connsiteY2" fmla="*/ 3183 h 3375"/>
                  <a:gd name="connsiteX3" fmla="*/ 0 w 3705"/>
                  <a:gd name="connsiteY3" fmla="*/ 1400 h 3375"/>
                  <a:gd name="connsiteX4" fmla="*/ 2552 w 3705"/>
                  <a:gd name="connsiteY4" fmla="*/ 0 h 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5" h="3375">
                    <a:moveTo>
                      <a:pt x="2552" y="27"/>
                    </a:moveTo>
                    <a:lnTo>
                      <a:pt x="3705" y="3376"/>
                    </a:lnTo>
                    <a:lnTo>
                      <a:pt x="1235" y="3183"/>
                    </a:lnTo>
                    <a:lnTo>
                      <a:pt x="0" y="1400"/>
                    </a:lnTo>
                    <a:lnTo>
                      <a:pt x="2552"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1" name="Freeform: Shape 3250">
                <a:extLst>
                  <a:ext uri="{FF2B5EF4-FFF2-40B4-BE49-F238E27FC236}">
                    <a16:creationId xmlns:a16="http://schemas.microsoft.com/office/drawing/2014/main" id="{3F5F0661-617E-9678-1678-CCC394740E88}"/>
                  </a:ext>
                </a:extLst>
              </p:cNvPr>
              <p:cNvSpPr/>
              <p:nvPr/>
            </p:nvSpPr>
            <p:spPr>
              <a:xfrm>
                <a:off x="1774937" y="3949052"/>
                <a:ext cx="404" cy="369"/>
              </a:xfrm>
              <a:custGeom>
                <a:avLst/>
                <a:gdLst>
                  <a:gd name="connsiteX0" fmla="*/ 3842 w 3869"/>
                  <a:gd name="connsiteY0" fmla="*/ 2388 h 3540"/>
                  <a:gd name="connsiteX1" fmla="*/ 1866 w 3869"/>
                  <a:gd name="connsiteY1" fmla="*/ 3540 h 3540"/>
                  <a:gd name="connsiteX2" fmla="*/ 0 w 3869"/>
                  <a:gd name="connsiteY2" fmla="*/ 796 h 3540"/>
                  <a:gd name="connsiteX3" fmla="*/ 3677 w 3869"/>
                  <a:gd name="connsiteY3" fmla="*/ 0 h 3540"/>
                  <a:gd name="connsiteX4" fmla="*/ 3869 w 3869"/>
                  <a:gd name="connsiteY4" fmla="*/ 2388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3540">
                    <a:moveTo>
                      <a:pt x="3842" y="2388"/>
                    </a:moveTo>
                    <a:lnTo>
                      <a:pt x="1866" y="3540"/>
                    </a:lnTo>
                    <a:lnTo>
                      <a:pt x="0" y="796"/>
                    </a:lnTo>
                    <a:lnTo>
                      <a:pt x="3677" y="0"/>
                    </a:lnTo>
                    <a:lnTo>
                      <a:pt x="3869"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2" name="Freeform: Shape 3251">
                <a:extLst>
                  <a:ext uri="{FF2B5EF4-FFF2-40B4-BE49-F238E27FC236}">
                    <a16:creationId xmlns:a16="http://schemas.microsoft.com/office/drawing/2014/main" id="{7ABDA494-0ABA-AFB9-5AFC-B8F75A681D0B}"/>
                  </a:ext>
                </a:extLst>
              </p:cNvPr>
              <p:cNvSpPr/>
              <p:nvPr/>
            </p:nvSpPr>
            <p:spPr>
              <a:xfrm>
                <a:off x="1782525" y="3881664"/>
                <a:ext cx="258" cy="495"/>
              </a:xfrm>
              <a:custGeom>
                <a:avLst/>
                <a:gdLst>
                  <a:gd name="connsiteX0" fmla="*/ 1591 w 2469"/>
                  <a:gd name="connsiteY0" fmla="*/ 4720 h 4747"/>
                  <a:gd name="connsiteX1" fmla="*/ 1481 w 2469"/>
                  <a:gd name="connsiteY1" fmla="*/ 4720 h 4747"/>
                  <a:gd name="connsiteX2" fmla="*/ 0 w 2469"/>
                  <a:gd name="connsiteY2" fmla="*/ 2470 h 4747"/>
                  <a:gd name="connsiteX3" fmla="*/ 82 w 2469"/>
                  <a:gd name="connsiteY3" fmla="*/ 1098 h 4747"/>
                  <a:gd name="connsiteX4" fmla="*/ 2167 w 2469"/>
                  <a:gd name="connsiteY4" fmla="*/ 0 h 4747"/>
                  <a:gd name="connsiteX5" fmla="*/ 2470 w 2469"/>
                  <a:gd name="connsiteY5" fmla="*/ 1784 h 4747"/>
                  <a:gd name="connsiteX6" fmla="*/ 1591 w 2469"/>
                  <a:gd name="connsiteY6" fmla="*/ 4748 h 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9" h="4747">
                    <a:moveTo>
                      <a:pt x="1591" y="4720"/>
                    </a:moveTo>
                    <a:lnTo>
                      <a:pt x="1481" y="4720"/>
                    </a:lnTo>
                    <a:lnTo>
                      <a:pt x="0" y="2470"/>
                    </a:lnTo>
                    <a:lnTo>
                      <a:pt x="82" y="1098"/>
                    </a:lnTo>
                    <a:lnTo>
                      <a:pt x="2167" y="0"/>
                    </a:lnTo>
                    <a:lnTo>
                      <a:pt x="2470" y="1784"/>
                    </a:lnTo>
                    <a:lnTo>
                      <a:pt x="1591" y="47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3" name="Freeform: Shape 3252">
                <a:extLst>
                  <a:ext uri="{FF2B5EF4-FFF2-40B4-BE49-F238E27FC236}">
                    <a16:creationId xmlns:a16="http://schemas.microsoft.com/office/drawing/2014/main" id="{FEE67256-DF38-C4CD-A823-3DFDDE32C888}"/>
                  </a:ext>
                </a:extLst>
              </p:cNvPr>
              <p:cNvSpPr/>
              <p:nvPr/>
            </p:nvSpPr>
            <p:spPr>
              <a:xfrm>
                <a:off x="1822254" y="3907723"/>
                <a:ext cx="338" cy="392"/>
              </a:xfrm>
              <a:custGeom>
                <a:avLst/>
                <a:gdLst>
                  <a:gd name="connsiteX0" fmla="*/ 3239 w 3238"/>
                  <a:gd name="connsiteY0" fmla="*/ 3403 h 3759"/>
                  <a:gd name="connsiteX1" fmla="*/ 0 w 3238"/>
                  <a:gd name="connsiteY1" fmla="*/ 3760 h 3759"/>
                  <a:gd name="connsiteX2" fmla="*/ 110 w 3238"/>
                  <a:gd name="connsiteY2" fmla="*/ 1015 h 3759"/>
                  <a:gd name="connsiteX3" fmla="*/ 1400 w 3238"/>
                  <a:gd name="connsiteY3" fmla="*/ 0 h 3759"/>
                  <a:gd name="connsiteX4" fmla="*/ 3239 w 3238"/>
                  <a:gd name="connsiteY4" fmla="*/ 3403 h 3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3759">
                    <a:moveTo>
                      <a:pt x="3239" y="3403"/>
                    </a:moveTo>
                    <a:lnTo>
                      <a:pt x="0" y="3760"/>
                    </a:lnTo>
                    <a:lnTo>
                      <a:pt x="110" y="1015"/>
                    </a:lnTo>
                    <a:lnTo>
                      <a:pt x="1400" y="0"/>
                    </a:lnTo>
                    <a:lnTo>
                      <a:pt x="3239"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4" name="Freeform: Shape 3253">
                <a:extLst>
                  <a:ext uri="{FF2B5EF4-FFF2-40B4-BE49-F238E27FC236}">
                    <a16:creationId xmlns:a16="http://schemas.microsoft.com/office/drawing/2014/main" id="{B1D31E62-FCAF-0124-E293-A2F67DFC949A}"/>
                  </a:ext>
                </a:extLst>
              </p:cNvPr>
              <p:cNvSpPr/>
              <p:nvPr/>
            </p:nvSpPr>
            <p:spPr>
              <a:xfrm>
                <a:off x="1819747" y="3980509"/>
                <a:ext cx="381" cy="429"/>
              </a:xfrm>
              <a:custGeom>
                <a:avLst/>
                <a:gdLst>
                  <a:gd name="connsiteX0" fmla="*/ 3623 w 3650"/>
                  <a:gd name="connsiteY0" fmla="*/ 1701 h 4116"/>
                  <a:gd name="connsiteX1" fmla="*/ 1949 w 3650"/>
                  <a:gd name="connsiteY1" fmla="*/ 4116 h 4116"/>
                  <a:gd name="connsiteX2" fmla="*/ 0 w 3650"/>
                  <a:gd name="connsiteY2" fmla="*/ 2908 h 4116"/>
                  <a:gd name="connsiteX3" fmla="*/ 549 w 3650"/>
                  <a:gd name="connsiteY3" fmla="*/ 494 h 4116"/>
                  <a:gd name="connsiteX4" fmla="*/ 2168 w 3650"/>
                  <a:gd name="connsiteY4" fmla="*/ 0 h 4116"/>
                  <a:gd name="connsiteX5" fmla="*/ 3650 w 3650"/>
                  <a:gd name="connsiteY5" fmla="*/ 1701 h 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0" h="4116">
                    <a:moveTo>
                      <a:pt x="3623" y="1701"/>
                    </a:moveTo>
                    <a:lnTo>
                      <a:pt x="1949" y="4116"/>
                    </a:lnTo>
                    <a:lnTo>
                      <a:pt x="0" y="2908"/>
                    </a:lnTo>
                    <a:lnTo>
                      <a:pt x="549" y="494"/>
                    </a:lnTo>
                    <a:lnTo>
                      <a:pt x="2168" y="0"/>
                    </a:lnTo>
                    <a:lnTo>
                      <a:pt x="3650"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5" name="Freeform: Shape 3254">
                <a:extLst>
                  <a:ext uri="{FF2B5EF4-FFF2-40B4-BE49-F238E27FC236}">
                    <a16:creationId xmlns:a16="http://schemas.microsoft.com/office/drawing/2014/main" id="{34F7EF11-4D02-7FD5-8B95-1DCA440CA3C4}"/>
                  </a:ext>
                </a:extLst>
              </p:cNvPr>
              <p:cNvSpPr/>
              <p:nvPr/>
            </p:nvSpPr>
            <p:spPr>
              <a:xfrm>
                <a:off x="1783521" y="3885388"/>
                <a:ext cx="349" cy="358"/>
              </a:xfrm>
              <a:custGeom>
                <a:avLst/>
                <a:gdLst>
                  <a:gd name="connsiteX0" fmla="*/ 3348 w 3347"/>
                  <a:gd name="connsiteY0" fmla="*/ 905 h 3430"/>
                  <a:gd name="connsiteX1" fmla="*/ 1811 w 3347"/>
                  <a:gd name="connsiteY1" fmla="*/ 3430 h 3430"/>
                  <a:gd name="connsiteX2" fmla="*/ 384 w 3347"/>
                  <a:gd name="connsiteY2" fmla="*/ 3238 h 3430"/>
                  <a:gd name="connsiteX3" fmla="*/ 0 w 3347"/>
                  <a:gd name="connsiteY3" fmla="*/ 0 h 3430"/>
                  <a:gd name="connsiteX4" fmla="*/ 3320 w 3347"/>
                  <a:gd name="connsiteY4" fmla="*/ 905 h 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7" h="3430">
                    <a:moveTo>
                      <a:pt x="3348" y="905"/>
                    </a:moveTo>
                    <a:lnTo>
                      <a:pt x="1811" y="3430"/>
                    </a:lnTo>
                    <a:lnTo>
                      <a:pt x="384" y="3238"/>
                    </a:lnTo>
                    <a:lnTo>
                      <a:pt x="0" y="0"/>
                    </a:lnTo>
                    <a:lnTo>
                      <a:pt x="3320"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6" name="Freeform: Shape 3255">
                <a:extLst>
                  <a:ext uri="{FF2B5EF4-FFF2-40B4-BE49-F238E27FC236}">
                    <a16:creationId xmlns:a16="http://schemas.microsoft.com/office/drawing/2014/main" id="{FF1A0F73-FB22-E14C-55BC-18FE9A2116CA}"/>
                  </a:ext>
                </a:extLst>
              </p:cNvPr>
              <p:cNvSpPr/>
              <p:nvPr/>
            </p:nvSpPr>
            <p:spPr>
              <a:xfrm>
                <a:off x="1802870" y="3873275"/>
                <a:ext cx="487" cy="249"/>
              </a:xfrm>
              <a:custGeom>
                <a:avLst/>
                <a:gdLst>
                  <a:gd name="connsiteX0" fmla="*/ 4089 w 4665"/>
                  <a:gd name="connsiteY0" fmla="*/ 2031 h 2387"/>
                  <a:gd name="connsiteX1" fmla="*/ 1126 w 4665"/>
                  <a:gd name="connsiteY1" fmla="*/ 2388 h 2387"/>
                  <a:gd name="connsiteX2" fmla="*/ 0 w 4665"/>
                  <a:gd name="connsiteY2" fmla="*/ 1455 h 2387"/>
                  <a:gd name="connsiteX3" fmla="*/ 2305 w 4665"/>
                  <a:gd name="connsiteY3" fmla="*/ 0 h 2387"/>
                  <a:gd name="connsiteX4" fmla="*/ 4665 w 4665"/>
                  <a:gd name="connsiteY4" fmla="*/ 549 h 2387"/>
                  <a:gd name="connsiteX5" fmla="*/ 4062 w 4665"/>
                  <a:gd name="connsiteY5" fmla="*/ 2058 h 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5" h="2387">
                    <a:moveTo>
                      <a:pt x="4089" y="2031"/>
                    </a:moveTo>
                    <a:lnTo>
                      <a:pt x="1126" y="2388"/>
                    </a:lnTo>
                    <a:lnTo>
                      <a:pt x="0" y="1455"/>
                    </a:lnTo>
                    <a:lnTo>
                      <a:pt x="2305" y="0"/>
                    </a:lnTo>
                    <a:lnTo>
                      <a:pt x="4665" y="549"/>
                    </a:lnTo>
                    <a:lnTo>
                      <a:pt x="4062"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7" name="Freeform: Shape 3256">
                <a:extLst>
                  <a:ext uri="{FF2B5EF4-FFF2-40B4-BE49-F238E27FC236}">
                    <a16:creationId xmlns:a16="http://schemas.microsoft.com/office/drawing/2014/main" id="{55FE13D2-A3D8-540F-EAA0-E6658EE12902}"/>
                  </a:ext>
                </a:extLst>
              </p:cNvPr>
              <p:cNvSpPr/>
              <p:nvPr/>
            </p:nvSpPr>
            <p:spPr>
              <a:xfrm>
                <a:off x="1801462" y="3872837"/>
                <a:ext cx="424" cy="278"/>
              </a:xfrm>
              <a:custGeom>
                <a:avLst/>
                <a:gdLst>
                  <a:gd name="connsiteX0" fmla="*/ 4062 w 4061"/>
                  <a:gd name="connsiteY0" fmla="*/ 1592 h 2662"/>
                  <a:gd name="connsiteX1" fmla="*/ 82 w 4061"/>
                  <a:gd name="connsiteY1" fmla="*/ 2662 h 2662"/>
                  <a:gd name="connsiteX2" fmla="*/ 0 w 4061"/>
                  <a:gd name="connsiteY2" fmla="*/ 302 h 2662"/>
                  <a:gd name="connsiteX3" fmla="*/ 2717 w 4061"/>
                  <a:gd name="connsiteY3" fmla="*/ 0 h 2662"/>
                  <a:gd name="connsiteX4" fmla="*/ 4062 w 4061"/>
                  <a:gd name="connsiteY4" fmla="*/ 1592 h 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2662">
                    <a:moveTo>
                      <a:pt x="4062" y="1592"/>
                    </a:moveTo>
                    <a:lnTo>
                      <a:pt x="82" y="2662"/>
                    </a:lnTo>
                    <a:lnTo>
                      <a:pt x="0" y="302"/>
                    </a:lnTo>
                    <a:lnTo>
                      <a:pt x="2717" y="0"/>
                    </a:lnTo>
                    <a:lnTo>
                      <a:pt x="4062" y="1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8" name="Freeform: Shape 3257">
                <a:extLst>
                  <a:ext uri="{FF2B5EF4-FFF2-40B4-BE49-F238E27FC236}">
                    <a16:creationId xmlns:a16="http://schemas.microsoft.com/office/drawing/2014/main" id="{B00CA3C4-D344-C412-FE39-2158770223F3}"/>
                  </a:ext>
                </a:extLst>
              </p:cNvPr>
              <p:cNvSpPr/>
              <p:nvPr/>
            </p:nvSpPr>
            <p:spPr>
              <a:xfrm>
                <a:off x="1814901" y="3902802"/>
                <a:ext cx="378" cy="306"/>
              </a:xfrm>
              <a:custGeom>
                <a:avLst/>
                <a:gdLst>
                  <a:gd name="connsiteX0" fmla="*/ 2992 w 3622"/>
                  <a:gd name="connsiteY0" fmla="*/ 0 h 2936"/>
                  <a:gd name="connsiteX1" fmla="*/ 3623 w 3622"/>
                  <a:gd name="connsiteY1" fmla="*/ 2936 h 2936"/>
                  <a:gd name="connsiteX2" fmla="*/ 0 w 3622"/>
                  <a:gd name="connsiteY2" fmla="*/ 2717 h 2936"/>
                  <a:gd name="connsiteX3" fmla="*/ 1400 w 3622"/>
                  <a:gd name="connsiteY3" fmla="*/ 0 h 2936"/>
                  <a:gd name="connsiteX4" fmla="*/ 2992 w 3622"/>
                  <a:gd name="connsiteY4" fmla="*/ 0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2936">
                    <a:moveTo>
                      <a:pt x="2992" y="0"/>
                    </a:moveTo>
                    <a:lnTo>
                      <a:pt x="3623" y="2936"/>
                    </a:lnTo>
                    <a:lnTo>
                      <a:pt x="0" y="2717"/>
                    </a:lnTo>
                    <a:lnTo>
                      <a:pt x="1400" y="0"/>
                    </a:lnTo>
                    <a:lnTo>
                      <a:pt x="2992"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9" name="Freeform: Shape 3258">
                <a:extLst>
                  <a:ext uri="{FF2B5EF4-FFF2-40B4-BE49-F238E27FC236}">
                    <a16:creationId xmlns:a16="http://schemas.microsoft.com/office/drawing/2014/main" id="{D3D6BF99-5789-E639-6DCE-9FAF1E3F2EE5}"/>
                  </a:ext>
                </a:extLst>
              </p:cNvPr>
              <p:cNvSpPr/>
              <p:nvPr/>
            </p:nvSpPr>
            <p:spPr>
              <a:xfrm>
                <a:off x="1809273" y="3980432"/>
                <a:ext cx="292" cy="489"/>
              </a:xfrm>
              <a:custGeom>
                <a:avLst/>
                <a:gdLst>
                  <a:gd name="connsiteX0" fmla="*/ 2799 w 2799"/>
                  <a:gd name="connsiteY0" fmla="*/ 27 h 4692"/>
                  <a:gd name="connsiteX1" fmla="*/ 2497 w 2799"/>
                  <a:gd name="connsiteY1" fmla="*/ 4693 h 4692"/>
                  <a:gd name="connsiteX2" fmla="*/ 604 w 2799"/>
                  <a:gd name="connsiteY2" fmla="*/ 4336 h 4692"/>
                  <a:gd name="connsiteX3" fmla="*/ 0 w 2799"/>
                  <a:gd name="connsiteY3" fmla="*/ 1262 h 4692"/>
                  <a:gd name="connsiteX4" fmla="*/ 2799 w 2799"/>
                  <a:gd name="connsiteY4" fmla="*/ 0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9" h="4692">
                    <a:moveTo>
                      <a:pt x="2799" y="27"/>
                    </a:moveTo>
                    <a:lnTo>
                      <a:pt x="2497" y="4693"/>
                    </a:lnTo>
                    <a:lnTo>
                      <a:pt x="604" y="4336"/>
                    </a:lnTo>
                    <a:lnTo>
                      <a:pt x="0" y="1262"/>
                    </a:lnTo>
                    <a:lnTo>
                      <a:pt x="2799"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0" name="Freeform: Shape 3259">
                <a:extLst>
                  <a:ext uri="{FF2B5EF4-FFF2-40B4-BE49-F238E27FC236}">
                    <a16:creationId xmlns:a16="http://schemas.microsoft.com/office/drawing/2014/main" id="{F44BA762-6BE0-C7CF-7666-90E72F250517}"/>
                  </a:ext>
                </a:extLst>
              </p:cNvPr>
              <p:cNvSpPr/>
              <p:nvPr/>
            </p:nvSpPr>
            <p:spPr>
              <a:xfrm>
                <a:off x="1781569" y="3890477"/>
                <a:ext cx="395" cy="255"/>
              </a:xfrm>
              <a:custGeom>
                <a:avLst/>
                <a:gdLst>
                  <a:gd name="connsiteX0" fmla="*/ 3787 w 3786"/>
                  <a:gd name="connsiteY0" fmla="*/ 2251 h 2442"/>
                  <a:gd name="connsiteX1" fmla="*/ 1400 w 3786"/>
                  <a:gd name="connsiteY1" fmla="*/ 2442 h 2442"/>
                  <a:gd name="connsiteX2" fmla="*/ 0 w 3786"/>
                  <a:gd name="connsiteY2" fmla="*/ 0 h 2442"/>
                  <a:gd name="connsiteX3" fmla="*/ 3650 w 3786"/>
                  <a:gd name="connsiteY3" fmla="*/ 0 h 2442"/>
                  <a:gd name="connsiteX4" fmla="*/ 3787 w 3786"/>
                  <a:gd name="connsiteY4" fmla="*/ 2251 h 2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6" h="2442">
                    <a:moveTo>
                      <a:pt x="3787" y="2251"/>
                    </a:moveTo>
                    <a:lnTo>
                      <a:pt x="1400" y="2442"/>
                    </a:lnTo>
                    <a:lnTo>
                      <a:pt x="0" y="0"/>
                    </a:lnTo>
                    <a:lnTo>
                      <a:pt x="3650" y="0"/>
                    </a:lnTo>
                    <a:lnTo>
                      <a:pt x="3787" y="22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1" name="Freeform: Shape 3260">
                <a:extLst>
                  <a:ext uri="{FF2B5EF4-FFF2-40B4-BE49-F238E27FC236}">
                    <a16:creationId xmlns:a16="http://schemas.microsoft.com/office/drawing/2014/main" id="{D7C2EE8D-8DB4-B404-383B-BCAE8671B6FD}"/>
                  </a:ext>
                </a:extLst>
              </p:cNvPr>
              <p:cNvSpPr/>
              <p:nvPr/>
            </p:nvSpPr>
            <p:spPr>
              <a:xfrm>
                <a:off x="1822028" y="3907371"/>
                <a:ext cx="303" cy="318"/>
              </a:xfrm>
              <a:custGeom>
                <a:avLst/>
                <a:gdLst>
                  <a:gd name="connsiteX0" fmla="*/ 2908 w 2908"/>
                  <a:gd name="connsiteY0" fmla="*/ 0 h 3046"/>
                  <a:gd name="connsiteX1" fmla="*/ 2826 w 2908"/>
                  <a:gd name="connsiteY1" fmla="*/ 3046 h 3046"/>
                  <a:gd name="connsiteX2" fmla="*/ 0 w 2908"/>
                  <a:gd name="connsiteY2" fmla="*/ 2717 h 3046"/>
                  <a:gd name="connsiteX3" fmla="*/ 411 w 2908"/>
                  <a:gd name="connsiteY3" fmla="*/ 165 h 3046"/>
                  <a:gd name="connsiteX4" fmla="*/ 2908 w 2908"/>
                  <a:gd name="connsiteY4" fmla="*/ 0 h 3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 h="3046">
                    <a:moveTo>
                      <a:pt x="2908" y="0"/>
                    </a:moveTo>
                    <a:lnTo>
                      <a:pt x="2826" y="3046"/>
                    </a:lnTo>
                    <a:lnTo>
                      <a:pt x="0" y="2717"/>
                    </a:lnTo>
                    <a:lnTo>
                      <a:pt x="411" y="165"/>
                    </a:lnTo>
                    <a:lnTo>
                      <a:pt x="290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1" name="Freeform: Shape 3670">
                <a:extLst>
                  <a:ext uri="{FF2B5EF4-FFF2-40B4-BE49-F238E27FC236}">
                    <a16:creationId xmlns:a16="http://schemas.microsoft.com/office/drawing/2014/main" id="{32B9E0F7-779D-3616-3177-6D28A270DB5A}"/>
                  </a:ext>
                </a:extLst>
              </p:cNvPr>
              <p:cNvSpPr/>
              <p:nvPr/>
            </p:nvSpPr>
            <p:spPr>
              <a:xfrm>
                <a:off x="1766333" y="3845541"/>
                <a:ext cx="31654" cy="27049"/>
              </a:xfrm>
              <a:custGeom>
                <a:avLst/>
                <a:gdLst>
                  <a:gd name="connsiteX0" fmla="*/ 50989 w 303491"/>
                  <a:gd name="connsiteY0" fmla="*/ 0 h 259336"/>
                  <a:gd name="connsiteX1" fmla="*/ 62048 w 303491"/>
                  <a:gd name="connsiteY1" fmla="*/ 1647 h 259336"/>
                  <a:gd name="connsiteX2" fmla="*/ 80600 w 303491"/>
                  <a:gd name="connsiteY2" fmla="*/ 10675 h 259336"/>
                  <a:gd name="connsiteX3" fmla="*/ 96572 w 303491"/>
                  <a:gd name="connsiteY3" fmla="*/ 11910 h 259336"/>
                  <a:gd name="connsiteX4" fmla="*/ 99014 w 303491"/>
                  <a:gd name="connsiteY4" fmla="*/ 14051 h 259336"/>
                  <a:gd name="connsiteX5" fmla="*/ 99343 w 303491"/>
                  <a:gd name="connsiteY5" fmla="*/ 19430 h 259336"/>
                  <a:gd name="connsiteX6" fmla="*/ 104283 w 303491"/>
                  <a:gd name="connsiteY6" fmla="*/ 29007 h 259336"/>
                  <a:gd name="connsiteX7" fmla="*/ 103405 w 303491"/>
                  <a:gd name="connsiteY7" fmla="*/ 31642 h 259336"/>
                  <a:gd name="connsiteX8" fmla="*/ 101264 w 303491"/>
                  <a:gd name="connsiteY8" fmla="*/ 39655 h 259336"/>
                  <a:gd name="connsiteX9" fmla="*/ 101786 w 303491"/>
                  <a:gd name="connsiteY9" fmla="*/ 52416 h 259336"/>
                  <a:gd name="connsiteX10" fmla="*/ 103790 w 303491"/>
                  <a:gd name="connsiteY10" fmla="*/ 59140 h 259336"/>
                  <a:gd name="connsiteX11" fmla="*/ 109799 w 303491"/>
                  <a:gd name="connsiteY11" fmla="*/ 68662 h 259336"/>
                  <a:gd name="connsiteX12" fmla="*/ 112763 w 303491"/>
                  <a:gd name="connsiteY12" fmla="*/ 65644 h 259336"/>
                  <a:gd name="connsiteX13" fmla="*/ 114931 w 303491"/>
                  <a:gd name="connsiteY13" fmla="*/ 65699 h 259336"/>
                  <a:gd name="connsiteX14" fmla="*/ 117648 w 303491"/>
                  <a:gd name="connsiteY14" fmla="*/ 73822 h 259336"/>
                  <a:gd name="connsiteX15" fmla="*/ 123411 w 303491"/>
                  <a:gd name="connsiteY15" fmla="*/ 83097 h 259336"/>
                  <a:gd name="connsiteX16" fmla="*/ 130437 w 303491"/>
                  <a:gd name="connsiteY16" fmla="*/ 87379 h 259336"/>
                  <a:gd name="connsiteX17" fmla="*/ 138669 w 303491"/>
                  <a:gd name="connsiteY17" fmla="*/ 87433 h 259336"/>
                  <a:gd name="connsiteX18" fmla="*/ 151540 w 303491"/>
                  <a:gd name="connsiteY18" fmla="*/ 77636 h 259336"/>
                  <a:gd name="connsiteX19" fmla="*/ 168829 w 303491"/>
                  <a:gd name="connsiteY19" fmla="*/ 56368 h 259336"/>
                  <a:gd name="connsiteX20" fmla="*/ 183017 w 303491"/>
                  <a:gd name="connsiteY20" fmla="*/ 53239 h 259336"/>
                  <a:gd name="connsiteX21" fmla="*/ 190399 w 303491"/>
                  <a:gd name="connsiteY21" fmla="*/ 49617 h 259336"/>
                  <a:gd name="connsiteX22" fmla="*/ 189329 w 303491"/>
                  <a:gd name="connsiteY22" fmla="*/ 44101 h 259336"/>
                  <a:gd name="connsiteX23" fmla="*/ 190564 w 303491"/>
                  <a:gd name="connsiteY23" fmla="*/ 41988 h 259336"/>
                  <a:gd name="connsiteX24" fmla="*/ 204340 w 303491"/>
                  <a:gd name="connsiteY24" fmla="*/ 34962 h 259336"/>
                  <a:gd name="connsiteX25" fmla="*/ 210790 w 303491"/>
                  <a:gd name="connsiteY25" fmla="*/ 33645 h 259336"/>
                  <a:gd name="connsiteX26" fmla="*/ 266087 w 303491"/>
                  <a:gd name="connsiteY26" fmla="*/ 58262 h 259336"/>
                  <a:gd name="connsiteX27" fmla="*/ 276872 w 303491"/>
                  <a:gd name="connsiteY27" fmla="*/ 58728 h 259336"/>
                  <a:gd name="connsiteX28" fmla="*/ 291993 w 303491"/>
                  <a:gd name="connsiteY28" fmla="*/ 62378 h 259336"/>
                  <a:gd name="connsiteX29" fmla="*/ 297043 w 303491"/>
                  <a:gd name="connsiteY29" fmla="*/ 65891 h 259336"/>
                  <a:gd name="connsiteX30" fmla="*/ 302943 w 303491"/>
                  <a:gd name="connsiteY30" fmla="*/ 66385 h 259336"/>
                  <a:gd name="connsiteX31" fmla="*/ 302943 w 303491"/>
                  <a:gd name="connsiteY31" fmla="*/ 173522 h 259336"/>
                  <a:gd name="connsiteX32" fmla="*/ 300747 w 303491"/>
                  <a:gd name="connsiteY32" fmla="*/ 181261 h 259336"/>
                  <a:gd name="connsiteX33" fmla="*/ 298964 w 303491"/>
                  <a:gd name="connsiteY33" fmla="*/ 187491 h 259336"/>
                  <a:gd name="connsiteX34" fmla="*/ 303437 w 303491"/>
                  <a:gd name="connsiteY34" fmla="*/ 194982 h 259336"/>
                  <a:gd name="connsiteX35" fmla="*/ 303491 w 303491"/>
                  <a:gd name="connsiteY35" fmla="*/ 259336 h 259336"/>
                  <a:gd name="connsiteX36" fmla="*/ 268310 w 303491"/>
                  <a:gd name="connsiteY36" fmla="*/ 229176 h 259336"/>
                  <a:gd name="connsiteX37" fmla="*/ 248331 w 303491"/>
                  <a:gd name="connsiteY37" fmla="*/ 229369 h 259336"/>
                  <a:gd name="connsiteX38" fmla="*/ 238699 w 303491"/>
                  <a:gd name="connsiteY38" fmla="*/ 236559 h 259336"/>
                  <a:gd name="connsiteX39" fmla="*/ 231756 w 303491"/>
                  <a:gd name="connsiteY39" fmla="*/ 236174 h 259336"/>
                  <a:gd name="connsiteX40" fmla="*/ 222535 w 303491"/>
                  <a:gd name="connsiteY40" fmla="*/ 238233 h 259336"/>
                  <a:gd name="connsiteX41" fmla="*/ 206151 w 303491"/>
                  <a:gd name="connsiteY41" fmla="*/ 236449 h 259336"/>
                  <a:gd name="connsiteX42" fmla="*/ 212546 w 303491"/>
                  <a:gd name="connsiteY42" fmla="*/ 220998 h 259336"/>
                  <a:gd name="connsiteX43" fmla="*/ 217760 w 303491"/>
                  <a:gd name="connsiteY43" fmla="*/ 214824 h 259336"/>
                  <a:gd name="connsiteX44" fmla="*/ 232031 w 303491"/>
                  <a:gd name="connsiteY44" fmla="*/ 208292 h 259336"/>
                  <a:gd name="connsiteX45" fmla="*/ 238919 w 303491"/>
                  <a:gd name="connsiteY45" fmla="*/ 208622 h 259336"/>
                  <a:gd name="connsiteX46" fmla="*/ 237876 w 303491"/>
                  <a:gd name="connsiteY46" fmla="*/ 203792 h 259336"/>
                  <a:gd name="connsiteX47" fmla="*/ 239906 w 303491"/>
                  <a:gd name="connsiteY47" fmla="*/ 200938 h 259336"/>
                  <a:gd name="connsiteX48" fmla="*/ 233046 w 303491"/>
                  <a:gd name="connsiteY48" fmla="*/ 195092 h 259336"/>
                  <a:gd name="connsiteX49" fmla="*/ 232414 w 303491"/>
                  <a:gd name="connsiteY49" fmla="*/ 183347 h 259336"/>
                  <a:gd name="connsiteX50" fmla="*/ 214083 w 303491"/>
                  <a:gd name="connsiteY50" fmla="*/ 150882 h 259336"/>
                  <a:gd name="connsiteX51" fmla="*/ 202886 w 303491"/>
                  <a:gd name="connsiteY51" fmla="*/ 142374 h 259336"/>
                  <a:gd name="connsiteX52" fmla="*/ 183017 w 303491"/>
                  <a:gd name="connsiteY52" fmla="*/ 134196 h 259336"/>
                  <a:gd name="connsiteX53" fmla="*/ 157687 w 303491"/>
                  <a:gd name="connsiteY53" fmla="*/ 124097 h 259336"/>
                  <a:gd name="connsiteX54" fmla="*/ 129421 w 303491"/>
                  <a:gd name="connsiteY54" fmla="*/ 118307 h 259336"/>
                  <a:gd name="connsiteX55" fmla="*/ 120859 w 303491"/>
                  <a:gd name="connsiteY55" fmla="*/ 113450 h 259336"/>
                  <a:gd name="connsiteX56" fmla="*/ 115178 w 303491"/>
                  <a:gd name="connsiteY56" fmla="*/ 107824 h 259336"/>
                  <a:gd name="connsiteX57" fmla="*/ 106396 w 303491"/>
                  <a:gd name="connsiteY57" fmla="*/ 105765 h 259336"/>
                  <a:gd name="connsiteX58" fmla="*/ 95419 w 303491"/>
                  <a:gd name="connsiteY58" fmla="*/ 100002 h 259336"/>
                  <a:gd name="connsiteX59" fmla="*/ 87351 w 303491"/>
                  <a:gd name="connsiteY59" fmla="*/ 93553 h 259336"/>
                  <a:gd name="connsiteX60" fmla="*/ 75935 w 303491"/>
                  <a:gd name="connsiteY60" fmla="*/ 106836 h 259336"/>
                  <a:gd name="connsiteX61" fmla="*/ 70035 w 303491"/>
                  <a:gd name="connsiteY61" fmla="*/ 108894 h 259336"/>
                  <a:gd name="connsiteX62" fmla="*/ 66083 w 303491"/>
                  <a:gd name="connsiteY62" fmla="*/ 108153 h 259336"/>
                  <a:gd name="connsiteX63" fmla="*/ 61993 w 303491"/>
                  <a:gd name="connsiteY63" fmla="*/ 101045 h 259336"/>
                  <a:gd name="connsiteX64" fmla="*/ 63256 w 303491"/>
                  <a:gd name="connsiteY64" fmla="*/ 94294 h 259336"/>
                  <a:gd name="connsiteX65" fmla="*/ 61417 w 303491"/>
                  <a:gd name="connsiteY65" fmla="*/ 88751 h 259336"/>
                  <a:gd name="connsiteX66" fmla="*/ 49946 w 303491"/>
                  <a:gd name="connsiteY66" fmla="*/ 78926 h 259336"/>
                  <a:gd name="connsiteX67" fmla="*/ 42097 w 303491"/>
                  <a:gd name="connsiteY67" fmla="*/ 75194 h 259336"/>
                  <a:gd name="connsiteX68" fmla="*/ 41137 w 303491"/>
                  <a:gd name="connsiteY68" fmla="*/ 72065 h 259336"/>
                  <a:gd name="connsiteX69" fmla="*/ 48135 w 303491"/>
                  <a:gd name="connsiteY69" fmla="*/ 68992 h 259336"/>
                  <a:gd name="connsiteX70" fmla="*/ 60292 w 303491"/>
                  <a:gd name="connsiteY70" fmla="*/ 69898 h 259336"/>
                  <a:gd name="connsiteX71" fmla="*/ 74014 w 303491"/>
                  <a:gd name="connsiteY71" fmla="*/ 62241 h 259336"/>
                  <a:gd name="connsiteX72" fmla="*/ 87570 w 303491"/>
                  <a:gd name="connsiteY72" fmla="*/ 63009 h 259336"/>
                  <a:gd name="connsiteX73" fmla="*/ 90808 w 303491"/>
                  <a:gd name="connsiteY73" fmla="*/ 60649 h 259336"/>
                  <a:gd name="connsiteX74" fmla="*/ 90973 w 303491"/>
                  <a:gd name="connsiteY74" fmla="*/ 58124 h 259336"/>
                  <a:gd name="connsiteX75" fmla="*/ 75441 w 303491"/>
                  <a:gd name="connsiteY75" fmla="*/ 55078 h 259336"/>
                  <a:gd name="connsiteX76" fmla="*/ 60045 w 303491"/>
                  <a:gd name="connsiteY76" fmla="*/ 56478 h 259336"/>
                  <a:gd name="connsiteX77" fmla="*/ 47476 w 303491"/>
                  <a:gd name="connsiteY77" fmla="*/ 55298 h 259336"/>
                  <a:gd name="connsiteX78" fmla="*/ 38832 w 303491"/>
                  <a:gd name="connsiteY78" fmla="*/ 47778 h 259336"/>
                  <a:gd name="connsiteX79" fmla="*/ 33892 w 303491"/>
                  <a:gd name="connsiteY79" fmla="*/ 37981 h 259336"/>
                  <a:gd name="connsiteX80" fmla="*/ 22586 w 303491"/>
                  <a:gd name="connsiteY80" fmla="*/ 33233 h 259336"/>
                  <a:gd name="connsiteX81" fmla="*/ 8809 w 303491"/>
                  <a:gd name="connsiteY81" fmla="*/ 31752 h 259336"/>
                  <a:gd name="connsiteX82" fmla="*/ 604 w 303491"/>
                  <a:gd name="connsiteY82" fmla="*/ 22640 h 259336"/>
                  <a:gd name="connsiteX83" fmla="*/ 0 w 303491"/>
                  <a:gd name="connsiteY83" fmla="*/ 19842 h 259336"/>
                  <a:gd name="connsiteX84" fmla="*/ 1317 w 303491"/>
                  <a:gd name="connsiteY84" fmla="*/ 18003 h 259336"/>
                  <a:gd name="connsiteX85" fmla="*/ 8837 w 303491"/>
                  <a:gd name="connsiteY85" fmla="*/ 17536 h 259336"/>
                  <a:gd name="connsiteX86" fmla="*/ 11444 w 303491"/>
                  <a:gd name="connsiteY86" fmla="*/ 19539 h 259336"/>
                  <a:gd name="connsiteX87" fmla="*/ 11306 w 303491"/>
                  <a:gd name="connsiteY87" fmla="*/ 23519 h 259336"/>
                  <a:gd name="connsiteX88" fmla="*/ 12843 w 303491"/>
                  <a:gd name="connsiteY88" fmla="*/ 24534 h 259336"/>
                  <a:gd name="connsiteX89" fmla="*/ 15258 w 303491"/>
                  <a:gd name="connsiteY89" fmla="*/ 21872 h 259336"/>
                  <a:gd name="connsiteX90" fmla="*/ 17618 w 303491"/>
                  <a:gd name="connsiteY90" fmla="*/ 14188 h 259336"/>
                  <a:gd name="connsiteX91" fmla="*/ 32108 w 303491"/>
                  <a:gd name="connsiteY91" fmla="*/ 10319 h 259336"/>
                  <a:gd name="connsiteX92" fmla="*/ 41055 w 303491"/>
                  <a:gd name="connsiteY92" fmla="*/ 3568 h 259336"/>
                  <a:gd name="connsiteX93" fmla="*/ 50962 w 303491"/>
                  <a:gd name="connsiteY93" fmla="*/ 55 h 25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03491" h="259336">
                    <a:moveTo>
                      <a:pt x="50989" y="0"/>
                    </a:moveTo>
                    <a:lnTo>
                      <a:pt x="62048" y="1647"/>
                    </a:lnTo>
                    <a:lnTo>
                      <a:pt x="80600" y="10675"/>
                    </a:lnTo>
                    <a:lnTo>
                      <a:pt x="96572" y="11910"/>
                    </a:lnTo>
                    <a:lnTo>
                      <a:pt x="99014" y="14051"/>
                    </a:lnTo>
                    <a:lnTo>
                      <a:pt x="99343" y="19430"/>
                    </a:lnTo>
                    <a:lnTo>
                      <a:pt x="104283" y="29007"/>
                    </a:lnTo>
                    <a:lnTo>
                      <a:pt x="103405" y="31642"/>
                    </a:lnTo>
                    <a:lnTo>
                      <a:pt x="101264" y="39655"/>
                    </a:lnTo>
                    <a:lnTo>
                      <a:pt x="101786" y="52416"/>
                    </a:lnTo>
                    <a:lnTo>
                      <a:pt x="103790" y="59140"/>
                    </a:lnTo>
                    <a:lnTo>
                      <a:pt x="109799" y="68662"/>
                    </a:lnTo>
                    <a:lnTo>
                      <a:pt x="112763" y="65644"/>
                    </a:lnTo>
                    <a:lnTo>
                      <a:pt x="114931" y="65699"/>
                    </a:lnTo>
                    <a:lnTo>
                      <a:pt x="117648" y="73822"/>
                    </a:lnTo>
                    <a:lnTo>
                      <a:pt x="123411" y="83097"/>
                    </a:lnTo>
                    <a:lnTo>
                      <a:pt x="130437" y="87379"/>
                    </a:lnTo>
                    <a:lnTo>
                      <a:pt x="138669" y="87433"/>
                    </a:lnTo>
                    <a:lnTo>
                      <a:pt x="151540" y="77636"/>
                    </a:lnTo>
                    <a:lnTo>
                      <a:pt x="168829" y="56368"/>
                    </a:lnTo>
                    <a:lnTo>
                      <a:pt x="183017" y="53239"/>
                    </a:lnTo>
                    <a:lnTo>
                      <a:pt x="190399" y="49617"/>
                    </a:lnTo>
                    <a:lnTo>
                      <a:pt x="189329" y="44101"/>
                    </a:lnTo>
                    <a:lnTo>
                      <a:pt x="190564" y="41988"/>
                    </a:lnTo>
                    <a:lnTo>
                      <a:pt x="204340" y="34962"/>
                    </a:lnTo>
                    <a:lnTo>
                      <a:pt x="210790" y="33645"/>
                    </a:lnTo>
                    <a:lnTo>
                      <a:pt x="266087" y="58262"/>
                    </a:lnTo>
                    <a:lnTo>
                      <a:pt x="276872" y="58728"/>
                    </a:lnTo>
                    <a:lnTo>
                      <a:pt x="291993" y="62378"/>
                    </a:lnTo>
                    <a:lnTo>
                      <a:pt x="297043" y="65891"/>
                    </a:lnTo>
                    <a:lnTo>
                      <a:pt x="302943" y="66385"/>
                    </a:lnTo>
                    <a:lnTo>
                      <a:pt x="302943" y="173522"/>
                    </a:lnTo>
                    <a:cubicBezTo>
                      <a:pt x="302943" y="173522"/>
                      <a:pt x="300747" y="181261"/>
                      <a:pt x="300747" y="181261"/>
                    </a:cubicBezTo>
                    <a:lnTo>
                      <a:pt x="298964" y="187491"/>
                    </a:lnTo>
                    <a:lnTo>
                      <a:pt x="303437" y="194982"/>
                    </a:lnTo>
                    <a:lnTo>
                      <a:pt x="303491" y="259336"/>
                    </a:lnTo>
                    <a:lnTo>
                      <a:pt x="268310" y="229176"/>
                    </a:lnTo>
                    <a:lnTo>
                      <a:pt x="248331" y="229369"/>
                    </a:lnTo>
                    <a:lnTo>
                      <a:pt x="238699" y="236559"/>
                    </a:lnTo>
                    <a:lnTo>
                      <a:pt x="231756" y="236174"/>
                    </a:lnTo>
                    <a:lnTo>
                      <a:pt x="222535" y="238233"/>
                    </a:lnTo>
                    <a:lnTo>
                      <a:pt x="206151" y="236449"/>
                    </a:lnTo>
                    <a:lnTo>
                      <a:pt x="212546" y="220998"/>
                    </a:lnTo>
                    <a:lnTo>
                      <a:pt x="217760" y="214824"/>
                    </a:lnTo>
                    <a:lnTo>
                      <a:pt x="232031" y="208292"/>
                    </a:lnTo>
                    <a:lnTo>
                      <a:pt x="238919" y="208622"/>
                    </a:lnTo>
                    <a:lnTo>
                      <a:pt x="237876" y="203792"/>
                    </a:lnTo>
                    <a:lnTo>
                      <a:pt x="239906" y="200938"/>
                    </a:lnTo>
                    <a:lnTo>
                      <a:pt x="233046" y="195092"/>
                    </a:lnTo>
                    <a:lnTo>
                      <a:pt x="232414" y="183347"/>
                    </a:lnTo>
                    <a:lnTo>
                      <a:pt x="214083" y="150882"/>
                    </a:lnTo>
                    <a:lnTo>
                      <a:pt x="202886" y="142374"/>
                    </a:lnTo>
                    <a:lnTo>
                      <a:pt x="183017" y="134196"/>
                    </a:lnTo>
                    <a:lnTo>
                      <a:pt x="157687" y="124097"/>
                    </a:lnTo>
                    <a:lnTo>
                      <a:pt x="129421" y="118307"/>
                    </a:lnTo>
                    <a:lnTo>
                      <a:pt x="120859" y="113450"/>
                    </a:lnTo>
                    <a:lnTo>
                      <a:pt x="115178" y="107824"/>
                    </a:lnTo>
                    <a:lnTo>
                      <a:pt x="106396" y="105765"/>
                    </a:lnTo>
                    <a:lnTo>
                      <a:pt x="95419" y="100002"/>
                    </a:lnTo>
                    <a:lnTo>
                      <a:pt x="87351" y="93553"/>
                    </a:lnTo>
                    <a:lnTo>
                      <a:pt x="75935" y="106836"/>
                    </a:lnTo>
                    <a:lnTo>
                      <a:pt x="70035" y="108894"/>
                    </a:lnTo>
                    <a:lnTo>
                      <a:pt x="66083" y="108153"/>
                    </a:lnTo>
                    <a:lnTo>
                      <a:pt x="61993" y="101045"/>
                    </a:lnTo>
                    <a:lnTo>
                      <a:pt x="63256" y="94294"/>
                    </a:lnTo>
                    <a:lnTo>
                      <a:pt x="61417" y="88751"/>
                    </a:lnTo>
                    <a:lnTo>
                      <a:pt x="49946" y="78926"/>
                    </a:lnTo>
                    <a:lnTo>
                      <a:pt x="42097" y="75194"/>
                    </a:lnTo>
                    <a:lnTo>
                      <a:pt x="41137" y="72065"/>
                    </a:lnTo>
                    <a:lnTo>
                      <a:pt x="48135" y="68992"/>
                    </a:lnTo>
                    <a:lnTo>
                      <a:pt x="60292" y="69898"/>
                    </a:lnTo>
                    <a:lnTo>
                      <a:pt x="74014" y="62241"/>
                    </a:lnTo>
                    <a:lnTo>
                      <a:pt x="87570" y="63009"/>
                    </a:lnTo>
                    <a:lnTo>
                      <a:pt x="90808" y="60649"/>
                    </a:lnTo>
                    <a:lnTo>
                      <a:pt x="90973" y="58124"/>
                    </a:lnTo>
                    <a:lnTo>
                      <a:pt x="75441" y="55078"/>
                    </a:lnTo>
                    <a:lnTo>
                      <a:pt x="60045" y="56478"/>
                    </a:lnTo>
                    <a:lnTo>
                      <a:pt x="47476" y="55298"/>
                    </a:lnTo>
                    <a:lnTo>
                      <a:pt x="38832" y="47778"/>
                    </a:lnTo>
                    <a:lnTo>
                      <a:pt x="33892" y="37981"/>
                    </a:lnTo>
                    <a:lnTo>
                      <a:pt x="22586" y="33233"/>
                    </a:lnTo>
                    <a:lnTo>
                      <a:pt x="8809" y="31752"/>
                    </a:lnTo>
                    <a:lnTo>
                      <a:pt x="604" y="22640"/>
                    </a:lnTo>
                    <a:lnTo>
                      <a:pt x="0" y="19842"/>
                    </a:lnTo>
                    <a:lnTo>
                      <a:pt x="1317" y="18003"/>
                    </a:lnTo>
                    <a:lnTo>
                      <a:pt x="8837" y="17536"/>
                    </a:lnTo>
                    <a:lnTo>
                      <a:pt x="11444" y="19539"/>
                    </a:lnTo>
                    <a:lnTo>
                      <a:pt x="11306" y="23519"/>
                    </a:lnTo>
                    <a:lnTo>
                      <a:pt x="12843" y="24534"/>
                    </a:lnTo>
                    <a:lnTo>
                      <a:pt x="15258" y="21872"/>
                    </a:lnTo>
                    <a:lnTo>
                      <a:pt x="17618" y="14188"/>
                    </a:lnTo>
                    <a:lnTo>
                      <a:pt x="32108" y="10319"/>
                    </a:lnTo>
                    <a:lnTo>
                      <a:pt x="41055" y="3568"/>
                    </a:lnTo>
                    <a:lnTo>
                      <a:pt x="50962" y="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2" name="Freeform: Shape 3671">
                <a:extLst>
                  <a:ext uri="{FF2B5EF4-FFF2-40B4-BE49-F238E27FC236}">
                    <a16:creationId xmlns:a16="http://schemas.microsoft.com/office/drawing/2014/main" id="{B92E0B46-A548-389C-4170-A279C5D20829}"/>
                  </a:ext>
                </a:extLst>
              </p:cNvPr>
              <p:cNvSpPr/>
              <p:nvPr/>
            </p:nvSpPr>
            <p:spPr>
              <a:xfrm>
                <a:off x="1699366" y="3831009"/>
                <a:ext cx="30827" cy="26159"/>
              </a:xfrm>
              <a:custGeom>
                <a:avLst/>
                <a:gdLst>
                  <a:gd name="connsiteX0" fmla="*/ 206399 w 295560"/>
                  <a:gd name="connsiteY0" fmla="*/ 768 h 250801"/>
                  <a:gd name="connsiteX1" fmla="*/ 211722 w 295560"/>
                  <a:gd name="connsiteY1" fmla="*/ 1866 h 250801"/>
                  <a:gd name="connsiteX2" fmla="*/ 216717 w 295560"/>
                  <a:gd name="connsiteY2" fmla="*/ 110 h 250801"/>
                  <a:gd name="connsiteX3" fmla="*/ 222837 w 295560"/>
                  <a:gd name="connsiteY3" fmla="*/ 1729 h 250801"/>
                  <a:gd name="connsiteX4" fmla="*/ 227804 w 295560"/>
                  <a:gd name="connsiteY4" fmla="*/ 0 h 250801"/>
                  <a:gd name="connsiteX5" fmla="*/ 245038 w 295560"/>
                  <a:gd name="connsiteY5" fmla="*/ 713 h 250801"/>
                  <a:gd name="connsiteX6" fmla="*/ 256372 w 295560"/>
                  <a:gd name="connsiteY6" fmla="*/ 5927 h 250801"/>
                  <a:gd name="connsiteX7" fmla="*/ 254204 w 295560"/>
                  <a:gd name="connsiteY7" fmla="*/ 8452 h 250801"/>
                  <a:gd name="connsiteX8" fmla="*/ 255741 w 295560"/>
                  <a:gd name="connsiteY8" fmla="*/ 9989 h 250801"/>
                  <a:gd name="connsiteX9" fmla="*/ 259089 w 295560"/>
                  <a:gd name="connsiteY9" fmla="*/ 6229 h 250801"/>
                  <a:gd name="connsiteX10" fmla="*/ 265511 w 295560"/>
                  <a:gd name="connsiteY10" fmla="*/ 6229 h 250801"/>
                  <a:gd name="connsiteX11" fmla="*/ 260406 w 295560"/>
                  <a:gd name="connsiteY11" fmla="*/ 11828 h 250801"/>
                  <a:gd name="connsiteX12" fmla="*/ 261888 w 295560"/>
                  <a:gd name="connsiteY12" fmla="*/ 19155 h 250801"/>
                  <a:gd name="connsiteX13" fmla="*/ 256097 w 295560"/>
                  <a:gd name="connsiteY13" fmla="*/ 23024 h 250801"/>
                  <a:gd name="connsiteX14" fmla="*/ 256592 w 295560"/>
                  <a:gd name="connsiteY14" fmla="*/ 28019 h 250801"/>
                  <a:gd name="connsiteX15" fmla="*/ 253600 w 295560"/>
                  <a:gd name="connsiteY15" fmla="*/ 29254 h 250801"/>
                  <a:gd name="connsiteX16" fmla="*/ 251186 w 295560"/>
                  <a:gd name="connsiteY16" fmla="*/ 34606 h 250801"/>
                  <a:gd name="connsiteX17" fmla="*/ 256866 w 295560"/>
                  <a:gd name="connsiteY17" fmla="*/ 39326 h 250801"/>
                  <a:gd name="connsiteX18" fmla="*/ 269380 w 295560"/>
                  <a:gd name="connsiteY18" fmla="*/ 59963 h 250801"/>
                  <a:gd name="connsiteX19" fmla="*/ 269133 w 295560"/>
                  <a:gd name="connsiteY19" fmla="*/ 63613 h 250801"/>
                  <a:gd name="connsiteX20" fmla="*/ 265236 w 295560"/>
                  <a:gd name="connsiteY20" fmla="*/ 69732 h 250801"/>
                  <a:gd name="connsiteX21" fmla="*/ 266032 w 295560"/>
                  <a:gd name="connsiteY21" fmla="*/ 73602 h 250801"/>
                  <a:gd name="connsiteX22" fmla="*/ 287684 w 295560"/>
                  <a:gd name="connsiteY22" fmla="*/ 90946 h 250801"/>
                  <a:gd name="connsiteX23" fmla="*/ 295561 w 295560"/>
                  <a:gd name="connsiteY23" fmla="*/ 99837 h 250801"/>
                  <a:gd name="connsiteX24" fmla="*/ 288837 w 295560"/>
                  <a:gd name="connsiteY24" fmla="*/ 104503 h 250801"/>
                  <a:gd name="connsiteX25" fmla="*/ 270423 w 295560"/>
                  <a:gd name="connsiteY25" fmla="*/ 102746 h 250801"/>
                  <a:gd name="connsiteX26" fmla="*/ 261175 w 295560"/>
                  <a:gd name="connsiteY26" fmla="*/ 108290 h 250801"/>
                  <a:gd name="connsiteX27" fmla="*/ 258293 w 295560"/>
                  <a:gd name="connsiteY27" fmla="*/ 113833 h 250801"/>
                  <a:gd name="connsiteX28" fmla="*/ 254863 w 295560"/>
                  <a:gd name="connsiteY28" fmla="*/ 120392 h 250801"/>
                  <a:gd name="connsiteX29" fmla="*/ 252694 w 295560"/>
                  <a:gd name="connsiteY29" fmla="*/ 132494 h 250801"/>
                  <a:gd name="connsiteX30" fmla="*/ 254231 w 295560"/>
                  <a:gd name="connsiteY30" fmla="*/ 137956 h 250801"/>
                  <a:gd name="connsiteX31" fmla="*/ 256180 w 295560"/>
                  <a:gd name="connsiteY31" fmla="*/ 144323 h 250801"/>
                  <a:gd name="connsiteX32" fmla="*/ 254863 w 295560"/>
                  <a:gd name="connsiteY32" fmla="*/ 151705 h 250801"/>
                  <a:gd name="connsiteX33" fmla="*/ 245999 w 295560"/>
                  <a:gd name="connsiteY33" fmla="*/ 156398 h 250801"/>
                  <a:gd name="connsiteX34" fmla="*/ 237244 w 295560"/>
                  <a:gd name="connsiteY34" fmla="*/ 164466 h 250801"/>
                  <a:gd name="connsiteX35" fmla="*/ 232140 w 295560"/>
                  <a:gd name="connsiteY35" fmla="*/ 166359 h 250801"/>
                  <a:gd name="connsiteX36" fmla="*/ 228078 w 295560"/>
                  <a:gd name="connsiteY36" fmla="*/ 170915 h 250801"/>
                  <a:gd name="connsiteX37" fmla="*/ 220202 w 295560"/>
                  <a:gd name="connsiteY37" fmla="*/ 180190 h 250801"/>
                  <a:gd name="connsiteX38" fmla="*/ 225746 w 295560"/>
                  <a:gd name="connsiteY38" fmla="*/ 197425 h 250801"/>
                  <a:gd name="connsiteX39" fmla="*/ 218748 w 295560"/>
                  <a:gd name="connsiteY39" fmla="*/ 213314 h 250801"/>
                  <a:gd name="connsiteX40" fmla="*/ 215318 w 295560"/>
                  <a:gd name="connsiteY40" fmla="*/ 217046 h 250801"/>
                  <a:gd name="connsiteX41" fmla="*/ 214028 w 295560"/>
                  <a:gd name="connsiteY41" fmla="*/ 222837 h 250801"/>
                  <a:gd name="connsiteX42" fmla="*/ 220889 w 295560"/>
                  <a:gd name="connsiteY42" fmla="*/ 230932 h 250801"/>
                  <a:gd name="connsiteX43" fmla="*/ 217760 w 295560"/>
                  <a:gd name="connsiteY43" fmla="*/ 242596 h 250801"/>
                  <a:gd name="connsiteX44" fmla="*/ 212436 w 295560"/>
                  <a:gd name="connsiteY44" fmla="*/ 245121 h 250801"/>
                  <a:gd name="connsiteX45" fmla="*/ 210295 w 295560"/>
                  <a:gd name="connsiteY45" fmla="*/ 231618 h 250801"/>
                  <a:gd name="connsiteX46" fmla="*/ 190920 w 295560"/>
                  <a:gd name="connsiteY46" fmla="*/ 242184 h 250801"/>
                  <a:gd name="connsiteX47" fmla="*/ 170668 w 295560"/>
                  <a:gd name="connsiteY47" fmla="*/ 250801 h 250801"/>
                  <a:gd name="connsiteX48" fmla="*/ 168857 w 295560"/>
                  <a:gd name="connsiteY48" fmla="*/ 248523 h 250801"/>
                  <a:gd name="connsiteX49" fmla="*/ 167731 w 295560"/>
                  <a:gd name="connsiteY49" fmla="*/ 236641 h 250801"/>
                  <a:gd name="connsiteX50" fmla="*/ 164191 w 295560"/>
                  <a:gd name="connsiteY50" fmla="*/ 232469 h 250801"/>
                  <a:gd name="connsiteX51" fmla="*/ 153214 w 295560"/>
                  <a:gd name="connsiteY51" fmla="*/ 227941 h 250801"/>
                  <a:gd name="connsiteX52" fmla="*/ 142346 w 295560"/>
                  <a:gd name="connsiteY52" fmla="*/ 229753 h 250801"/>
                  <a:gd name="connsiteX53" fmla="*/ 137956 w 295560"/>
                  <a:gd name="connsiteY53" fmla="*/ 223742 h 250801"/>
                  <a:gd name="connsiteX54" fmla="*/ 130848 w 295560"/>
                  <a:gd name="connsiteY54" fmla="*/ 223331 h 250801"/>
                  <a:gd name="connsiteX55" fmla="*/ 123822 w 295560"/>
                  <a:gd name="connsiteY55" fmla="*/ 219050 h 250801"/>
                  <a:gd name="connsiteX56" fmla="*/ 111363 w 295560"/>
                  <a:gd name="connsiteY56" fmla="*/ 227914 h 250801"/>
                  <a:gd name="connsiteX57" fmla="*/ 98493 w 295560"/>
                  <a:gd name="connsiteY57" fmla="*/ 227529 h 250801"/>
                  <a:gd name="connsiteX58" fmla="*/ 88421 w 295560"/>
                  <a:gd name="connsiteY58" fmla="*/ 231948 h 250801"/>
                  <a:gd name="connsiteX59" fmla="*/ 86637 w 295560"/>
                  <a:gd name="connsiteY59" fmla="*/ 229670 h 250801"/>
                  <a:gd name="connsiteX60" fmla="*/ 86143 w 295560"/>
                  <a:gd name="connsiteY60" fmla="*/ 219187 h 250801"/>
                  <a:gd name="connsiteX61" fmla="*/ 83756 w 295560"/>
                  <a:gd name="connsiteY61" fmla="*/ 215757 h 250801"/>
                  <a:gd name="connsiteX62" fmla="*/ 70885 w 295560"/>
                  <a:gd name="connsiteY62" fmla="*/ 216031 h 250801"/>
                  <a:gd name="connsiteX63" fmla="*/ 59386 w 295560"/>
                  <a:gd name="connsiteY63" fmla="*/ 219160 h 250801"/>
                  <a:gd name="connsiteX64" fmla="*/ 53212 w 295560"/>
                  <a:gd name="connsiteY64" fmla="*/ 218172 h 250801"/>
                  <a:gd name="connsiteX65" fmla="*/ 48299 w 295560"/>
                  <a:gd name="connsiteY65" fmla="*/ 214604 h 250801"/>
                  <a:gd name="connsiteX66" fmla="*/ 42015 w 295560"/>
                  <a:gd name="connsiteY66" fmla="*/ 215125 h 250801"/>
                  <a:gd name="connsiteX67" fmla="*/ 35676 w 295560"/>
                  <a:gd name="connsiteY67" fmla="*/ 188945 h 250801"/>
                  <a:gd name="connsiteX68" fmla="*/ 32245 w 295560"/>
                  <a:gd name="connsiteY68" fmla="*/ 182578 h 250801"/>
                  <a:gd name="connsiteX69" fmla="*/ 34743 w 295560"/>
                  <a:gd name="connsiteY69" fmla="*/ 170915 h 250801"/>
                  <a:gd name="connsiteX70" fmla="*/ 31532 w 295560"/>
                  <a:gd name="connsiteY70" fmla="*/ 162243 h 250801"/>
                  <a:gd name="connsiteX71" fmla="*/ 27168 w 295560"/>
                  <a:gd name="connsiteY71" fmla="*/ 160432 h 250801"/>
                  <a:gd name="connsiteX72" fmla="*/ 19320 w 295560"/>
                  <a:gd name="connsiteY72" fmla="*/ 166304 h 250801"/>
                  <a:gd name="connsiteX73" fmla="*/ 16795 w 295560"/>
                  <a:gd name="connsiteY73" fmla="*/ 165646 h 250801"/>
                  <a:gd name="connsiteX74" fmla="*/ 17343 w 295560"/>
                  <a:gd name="connsiteY74" fmla="*/ 159279 h 250801"/>
                  <a:gd name="connsiteX75" fmla="*/ 20253 w 295560"/>
                  <a:gd name="connsiteY75" fmla="*/ 156205 h 250801"/>
                  <a:gd name="connsiteX76" fmla="*/ 12843 w 295560"/>
                  <a:gd name="connsiteY76" fmla="*/ 154120 h 250801"/>
                  <a:gd name="connsiteX77" fmla="*/ 11773 w 295560"/>
                  <a:gd name="connsiteY77" fmla="*/ 150113 h 250801"/>
                  <a:gd name="connsiteX78" fmla="*/ 14023 w 295560"/>
                  <a:gd name="connsiteY78" fmla="*/ 147094 h 250801"/>
                  <a:gd name="connsiteX79" fmla="*/ 9275 w 295560"/>
                  <a:gd name="connsiteY79" fmla="*/ 144158 h 250801"/>
                  <a:gd name="connsiteX80" fmla="*/ 7409 w 295560"/>
                  <a:gd name="connsiteY80" fmla="*/ 143033 h 250801"/>
                  <a:gd name="connsiteX81" fmla="*/ 6449 w 295560"/>
                  <a:gd name="connsiteY81" fmla="*/ 137901 h 250801"/>
                  <a:gd name="connsiteX82" fmla="*/ 6092 w 295560"/>
                  <a:gd name="connsiteY82" fmla="*/ 136199 h 250801"/>
                  <a:gd name="connsiteX83" fmla="*/ 8837 w 295560"/>
                  <a:gd name="connsiteY83" fmla="*/ 126951 h 250801"/>
                  <a:gd name="connsiteX84" fmla="*/ 6449 w 295560"/>
                  <a:gd name="connsiteY84" fmla="*/ 122423 h 250801"/>
                  <a:gd name="connsiteX85" fmla="*/ 1811 w 295560"/>
                  <a:gd name="connsiteY85" fmla="*/ 118471 h 250801"/>
                  <a:gd name="connsiteX86" fmla="*/ 1043 w 295560"/>
                  <a:gd name="connsiteY86" fmla="*/ 113806 h 250801"/>
                  <a:gd name="connsiteX87" fmla="*/ 0 w 295560"/>
                  <a:gd name="connsiteY87" fmla="*/ 107439 h 250801"/>
                  <a:gd name="connsiteX88" fmla="*/ 2387 w 295560"/>
                  <a:gd name="connsiteY88" fmla="*/ 100002 h 250801"/>
                  <a:gd name="connsiteX89" fmla="*/ 2031 w 295560"/>
                  <a:gd name="connsiteY89" fmla="*/ 93471 h 250801"/>
                  <a:gd name="connsiteX90" fmla="*/ 5571 w 295560"/>
                  <a:gd name="connsiteY90" fmla="*/ 84689 h 250801"/>
                  <a:gd name="connsiteX91" fmla="*/ 13968 w 295560"/>
                  <a:gd name="connsiteY91" fmla="*/ 72312 h 250801"/>
                  <a:gd name="connsiteX92" fmla="*/ 22723 w 295560"/>
                  <a:gd name="connsiteY92" fmla="*/ 67784 h 250801"/>
                  <a:gd name="connsiteX93" fmla="*/ 20115 w 295560"/>
                  <a:gd name="connsiteY93" fmla="*/ 72833 h 250801"/>
                  <a:gd name="connsiteX94" fmla="*/ 23491 w 295560"/>
                  <a:gd name="connsiteY94" fmla="*/ 76950 h 250801"/>
                  <a:gd name="connsiteX95" fmla="*/ 23875 w 295560"/>
                  <a:gd name="connsiteY95" fmla="*/ 81588 h 250801"/>
                  <a:gd name="connsiteX96" fmla="*/ 38584 w 295560"/>
                  <a:gd name="connsiteY96" fmla="*/ 94404 h 250801"/>
                  <a:gd name="connsiteX97" fmla="*/ 41713 w 295560"/>
                  <a:gd name="connsiteY97" fmla="*/ 99151 h 250801"/>
                  <a:gd name="connsiteX98" fmla="*/ 49836 w 295560"/>
                  <a:gd name="connsiteY98" fmla="*/ 103460 h 250801"/>
                  <a:gd name="connsiteX99" fmla="*/ 62460 w 295560"/>
                  <a:gd name="connsiteY99" fmla="*/ 98356 h 250801"/>
                  <a:gd name="connsiteX100" fmla="*/ 86857 w 295560"/>
                  <a:gd name="connsiteY100" fmla="*/ 99371 h 250801"/>
                  <a:gd name="connsiteX101" fmla="*/ 89190 w 295560"/>
                  <a:gd name="connsiteY101" fmla="*/ 97477 h 250801"/>
                  <a:gd name="connsiteX102" fmla="*/ 95638 w 295560"/>
                  <a:gd name="connsiteY102" fmla="*/ 94404 h 250801"/>
                  <a:gd name="connsiteX103" fmla="*/ 99892 w 295560"/>
                  <a:gd name="connsiteY103" fmla="*/ 85814 h 250801"/>
                  <a:gd name="connsiteX104" fmla="*/ 107247 w 295560"/>
                  <a:gd name="connsiteY104" fmla="*/ 82740 h 250801"/>
                  <a:gd name="connsiteX105" fmla="*/ 120886 w 295560"/>
                  <a:gd name="connsiteY105" fmla="*/ 82960 h 250801"/>
                  <a:gd name="connsiteX106" fmla="*/ 123109 w 295560"/>
                  <a:gd name="connsiteY106" fmla="*/ 87159 h 250801"/>
                  <a:gd name="connsiteX107" fmla="*/ 140700 w 295560"/>
                  <a:gd name="connsiteY107" fmla="*/ 92126 h 250801"/>
                  <a:gd name="connsiteX108" fmla="*/ 150195 w 295560"/>
                  <a:gd name="connsiteY108" fmla="*/ 86747 h 250801"/>
                  <a:gd name="connsiteX109" fmla="*/ 167320 w 295560"/>
                  <a:gd name="connsiteY109" fmla="*/ 85567 h 250801"/>
                  <a:gd name="connsiteX110" fmla="*/ 172561 w 295560"/>
                  <a:gd name="connsiteY110" fmla="*/ 75111 h 250801"/>
                  <a:gd name="connsiteX111" fmla="*/ 175745 w 295560"/>
                  <a:gd name="connsiteY111" fmla="*/ 72340 h 250801"/>
                  <a:gd name="connsiteX112" fmla="*/ 174784 w 295560"/>
                  <a:gd name="connsiteY112" fmla="*/ 63475 h 250801"/>
                  <a:gd name="connsiteX113" fmla="*/ 186090 w 295560"/>
                  <a:gd name="connsiteY113" fmla="*/ 55215 h 250801"/>
                  <a:gd name="connsiteX114" fmla="*/ 183676 w 295560"/>
                  <a:gd name="connsiteY114" fmla="*/ 50715 h 250801"/>
                  <a:gd name="connsiteX115" fmla="*/ 184801 w 295560"/>
                  <a:gd name="connsiteY115" fmla="*/ 43963 h 250801"/>
                  <a:gd name="connsiteX116" fmla="*/ 188231 w 295560"/>
                  <a:gd name="connsiteY116" fmla="*/ 40615 h 250801"/>
                  <a:gd name="connsiteX117" fmla="*/ 193555 w 295560"/>
                  <a:gd name="connsiteY117" fmla="*/ 39792 h 250801"/>
                  <a:gd name="connsiteX118" fmla="*/ 195504 w 295560"/>
                  <a:gd name="connsiteY118" fmla="*/ 37624 h 250801"/>
                  <a:gd name="connsiteX119" fmla="*/ 198632 w 295560"/>
                  <a:gd name="connsiteY119" fmla="*/ 26647 h 250801"/>
                  <a:gd name="connsiteX120" fmla="*/ 197726 w 295560"/>
                  <a:gd name="connsiteY120" fmla="*/ 13612 h 250801"/>
                  <a:gd name="connsiteX121" fmla="*/ 201952 w 295560"/>
                  <a:gd name="connsiteY121" fmla="*/ 5132 h 250801"/>
                  <a:gd name="connsiteX122" fmla="*/ 206371 w 295560"/>
                  <a:gd name="connsiteY122" fmla="*/ 796 h 25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295560" h="250801">
                    <a:moveTo>
                      <a:pt x="206399" y="768"/>
                    </a:moveTo>
                    <a:lnTo>
                      <a:pt x="211722" y="1866"/>
                    </a:lnTo>
                    <a:lnTo>
                      <a:pt x="216717" y="110"/>
                    </a:lnTo>
                    <a:lnTo>
                      <a:pt x="222837" y="1729"/>
                    </a:lnTo>
                    <a:lnTo>
                      <a:pt x="227804" y="0"/>
                    </a:lnTo>
                    <a:lnTo>
                      <a:pt x="245038" y="713"/>
                    </a:lnTo>
                    <a:lnTo>
                      <a:pt x="256372" y="5927"/>
                    </a:lnTo>
                    <a:lnTo>
                      <a:pt x="254204" y="8452"/>
                    </a:lnTo>
                    <a:lnTo>
                      <a:pt x="255741" y="9989"/>
                    </a:lnTo>
                    <a:lnTo>
                      <a:pt x="259089" y="6229"/>
                    </a:lnTo>
                    <a:lnTo>
                      <a:pt x="265511" y="6229"/>
                    </a:lnTo>
                    <a:cubicBezTo>
                      <a:pt x="265511" y="6229"/>
                      <a:pt x="260406" y="11828"/>
                      <a:pt x="260406" y="11828"/>
                    </a:cubicBezTo>
                    <a:lnTo>
                      <a:pt x="261888" y="19155"/>
                    </a:lnTo>
                    <a:lnTo>
                      <a:pt x="256097" y="23024"/>
                    </a:lnTo>
                    <a:lnTo>
                      <a:pt x="256592" y="28019"/>
                    </a:lnTo>
                    <a:lnTo>
                      <a:pt x="253600" y="29254"/>
                    </a:lnTo>
                    <a:lnTo>
                      <a:pt x="251186" y="34606"/>
                    </a:lnTo>
                    <a:lnTo>
                      <a:pt x="256866" y="39326"/>
                    </a:lnTo>
                    <a:lnTo>
                      <a:pt x="269380" y="59963"/>
                    </a:lnTo>
                    <a:lnTo>
                      <a:pt x="269133" y="63613"/>
                    </a:lnTo>
                    <a:lnTo>
                      <a:pt x="265236" y="69732"/>
                    </a:lnTo>
                    <a:lnTo>
                      <a:pt x="266032" y="73602"/>
                    </a:lnTo>
                    <a:lnTo>
                      <a:pt x="287684" y="90946"/>
                    </a:lnTo>
                    <a:lnTo>
                      <a:pt x="295561" y="99837"/>
                    </a:lnTo>
                    <a:lnTo>
                      <a:pt x="288837" y="104503"/>
                    </a:lnTo>
                    <a:lnTo>
                      <a:pt x="270423" y="102746"/>
                    </a:lnTo>
                    <a:lnTo>
                      <a:pt x="261175" y="108290"/>
                    </a:lnTo>
                    <a:lnTo>
                      <a:pt x="258293" y="113833"/>
                    </a:lnTo>
                    <a:lnTo>
                      <a:pt x="254863" y="120392"/>
                    </a:lnTo>
                    <a:lnTo>
                      <a:pt x="252694" y="132494"/>
                    </a:lnTo>
                    <a:lnTo>
                      <a:pt x="254231" y="137956"/>
                    </a:lnTo>
                    <a:lnTo>
                      <a:pt x="256180" y="144323"/>
                    </a:lnTo>
                    <a:lnTo>
                      <a:pt x="254863" y="151705"/>
                    </a:lnTo>
                    <a:lnTo>
                      <a:pt x="245999" y="156398"/>
                    </a:lnTo>
                    <a:lnTo>
                      <a:pt x="237244" y="164466"/>
                    </a:lnTo>
                    <a:lnTo>
                      <a:pt x="232140" y="166359"/>
                    </a:lnTo>
                    <a:lnTo>
                      <a:pt x="228078" y="170915"/>
                    </a:lnTo>
                    <a:lnTo>
                      <a:pt x="220202" y="180190"/>
                    </a:lnTo>
                    <a:lnTo>
                      <a:pt x="225746" y="197425"/>
                    </a:lnTo>
                    <a:lnTo>
                      <a:pt x="218748" y="213314"/>
                    </a:lnTo>
                    <a:lnTo>
                      <a:pt x="215318" y="217046"/>
                    </a:lnTo>
                    <a:lnTo>
                      <a:pt x="214028" y="222837"/>
                    </a:lnTo>
                    <a:lnTo>
                      <a:pt x="220889" y="230932"/>
                    </a:lnTo>
                    <a:lnTo>
                      <a:pt x="217760" y="242596"/>
                    </a:lnTo>
                    <a:lnTo>
                      <a:pt x="212436" y="245121"/>
                    </a:lnTo>
                    <a:lnTo>
                      <a:pt x="210295" y="231618"/>
                    </a:lnTo>
                    <a:lnTo>
                      <a:pt x="190920" y="242184"/>
                    </a:lnTo>
                    <a:lnTo>
                      <a:pt x="170668" y="250801"/>
                    </a:lnTo>
                    <a:lnTo>
                      <a:pt x="168857" y="248523"/>
                    </a:lnTo>
                    <a:lnTo>
                      <a:pt x="167731" y="236641"/>
                    </a:lnTo>
                    <a:lnTo>
                      <a:pt x="164191" y="232469"/>
                    </a:lnTo>
                    <a:lnTo>
                      <a:pt x="153214" y="227941"/>
                    </a:lnTo>
                    <a:lnTo>
                      <a:pt x="142346" y="229753"/>
                    </a:lnTo>
                    <a:lnTo>
                      <a:pt x="137956" y="223742"/>
                    </a:lnTo>
                    <a:lnTo>
                      <a:pt x="130848" y="223331"/>
                    </a:lnTo>
                    <a:lnTo>
                      <a:pt x="123822" y="219050"/>
                    </a:lnTo>
                    <a:lnTo>
                      <a:pt x="111363" y="227914"/>
                    </a:lnTo>
                    <a:lnTo>
                      <a:pt x="98493" y="227529"/>
                    </a:lnTo>
                    <a:lnTo>
                      <a:pt x="88421" y="231948"/>
                    </a:lnTo>
                    <a:lnTo>
                      <a:pt x="86637" y="229670"/>
                    </a:lnTo>
                    <a:lnTo>
                      <a:pt x="86143" y="219187"/>
                    </a:lnTo>
                    <a:lnTo>
                      <a:pt x="83756" y="215757"/>
                    </a:lnTo>
                    <a:lnTo>
                      <a:pt x="70885" y="216031"/>
                    </a:lnTo>
                    <a:lnTo>
                      <a:pt x="59386" y="219160"/>
                    </a:lnTo>
                    <a:lnTo>
                      <a:pt x="53212" y="218172"/>
                    </a:lnTo>
                    <a:lnTo>
                      <a:pt x="48299" y="214604"/>
                    </a:lnTo>
                    <a:lnTo>
                      <a:pt x="42015" y="215125"/>
                    </a:lnTo>
                    <a:lnTo>
                      <a:pt x="35676" y="188945"/>
                    </a:lnTo>
                    <a:lnTo>
                      <a:pt x="32245" y="182578"/>
                    </a:lnTo>
                    <a:lnTo>
                      <a:pt x="34743" y="170915"/>
                    </a:lnTo>
                    <a:lnTo>
                      <a:pt x="31532" y="162243"/>
                    </a:lnTo>
                    <a:lnTo>
                      <a:pt x="27168" y="160432"/>
                    </a:lnTo>
                    <a:lnTo>
                      <a:pt x="19320" y="166304"/>
                    </a:lnTo>
                    <a:lnTo>
                      <a:pt x="16795" y="165646"/>
                    </a:lnTo>
                    <a:lnTo>
                      <a:pt x="17343" y="159279"/>
                    </a:lnTo>
                    <a:lnTo>
                      <a:pt x="20253" y="156205"/>
                    </a:lnTo>
                    <a:lnTo>
                      <a:pt x="12843" y="154120"/>
                    </a:lnTo>
                    <a:lnTo>
                      <a:pt x="11773" y="150113"/>
                    </a:lnTo>
                    <a:lnTo>
                      <a:pt x="14023" y="147094"/>
                    </a:lnTo>
                    <a:lnTo>
                      <a:pt x="9275" y="144158"/>
                    </a:lnTo>
                    <a:lnTo>
                      <a:pt x="7409" y="143033"/>
                    </a:lnTo>
                    <a:lnTo>
                      <a:pt x="6449" y="137901"/>
                    </a:lnTo>
                    <a:lnTo>
                      <a:pt x="6092" y="136199"/>
                    </a:lnTo>
                    <a:lnTo>
                      <a:pt x="8837" y="126951"/>
                    </a:lnTo>
                    <a:lnTo>
                      <a:pt x="6449" y="122423"/>
                    </a:lnTo>
                    <a:lnTo>
                      <a:pt x="1811" y="118471"/>
                    </a:lnTo>
                    <a:lnTo>
                      <a:pt x="1043" y="113806"/>
                    </a:lnTo>
                    <a:lnTo>
                      <a:pt x="0" y="107439"/>
                    </a:lnTo>
                    <a:lnTo>
                      <a:pt x="2387" y="100002"/>
                    </a:lnTo>
                    <a:lnTo>
                      <a:pt x="2031" y="93471"/>
                    </a:lnTo>
                    <a:lnTo>
                      <a:pt x="5571" y="84689"/>
                    </a:lnTo>
                    <a:lnTo>
                      <a:pt x="13968" y="72312"/>
                    </a:lnTo>
                    <a:lnTo>
                      <a:pt x="22723" y="67784"/>
                    </a:lnTo>
                    <a:lnTo>
                      <a:pt x="20115" y="72833"/>
                    </a:lnTo>
                    <a:lnTo>
                      <a:pt x="23491" y="76950"/>
                    </a:lnTo>
                    <a:lnTo>
                      <a:pt x="23875" y="81588"/>
                    </a:lnTo>
                    <a:lnTo>
                      <a:pt x="38584" y="94404"/>
                    </a:lnTo>
                    <a:lnTo>
                      <a:pt x="41713" y="99151"/>
                    </a:lnTo>
                    <a:lnTo>
                      <a:pt x="49836" y="103460"/>
                    </a:lnTo>
                    <a:lnTo>
                      <a:pt x="62460" y="98356"/>
                    </a:lnTo>
                    <a:lnTo>
                      <a:pt x="86857" y="99371"/>
                    </a:lnTo>
                    <a:lnTo>
                      <a:pt x="89190" y="97477"/>
                    </a:lnTo>
                    <a:lnTo>
                      <a:pt x="95638" y="94404"/>
                    </a:lnTo>
                    <a:lnTo>
                      <a:pt x="99892" y="85814"/>
                    </a:lnTo>
                    <a:lnTo>
                      <a:pt x="107247" y="82740"/>
                    </a:lnTo>
                    <a:lnTo>
                      <a:pt x="120886" y="82960"/>
                    </a:lnTo>
                    <a:lnTo>
                      <a:pt x="123109" y="87159"/>
                    </a:lnTo>
                    <a:lnTo>
                      <a:pt x="140700" y="92126"/>
                    </a:lnTo>
                    <a:lnTo>
                      <a:pt x="150195" y="86747"/>
                    </a:lnTo>
                    <a:lnTo>
                      <a:pt x="167320" y="85567"/>
                    </a:lnTo>
                    <a:lnTo>
                      <a:pt x="172561" y="75111"/>
                    </a:lnTo>
                    <a:lnTo>
                      <a:pt x="175745" y="72340"/>
                    </a:lnTo>
                    <a:lnTo>
                      <a:pt x="174784" y="63475"/>
                    </a:lnTo>
                    <a:lnTo>
                      <a:pt x="186090" y="55215"/>
                    </a:lnTo>
                    <a:lnTo>
                      <a:pt x="183676" y="50715"/>
                    </a:lnTo>
                    <a:lnTo>
                      <a:pt x="184801" y="43963"/>
                    </a:lnTo>
                    <a:lnTo>
                      <a:pt x="188231" y="40615"/>
                    </a:lnTo>
                    <a:lnTo>
                      <a:pt x="193555" y="39792"/>
                    </a:lnTo>
                    <a:lnTo>
                      <a:pt x="195504" y="37624"/>
                    </a:lnTo>
                    <a:lnTo>
                      <a:pt x="198632" y="26647"/>
                    </a:lnTo>
                    <a:lnTo>
                      <a:pt x="197726" y="13612"/>
                    </a:lnTo>
                    <a:lnTo>
                      <a:pt x="201952" y="5132"/>
                    </a:lnTo>
                    <a:lnTo>
                      <a:pt x="206371" y="7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3" name="Freeform: Shape 3672">
                <a:extLst>
                  <a:ext uri="{FF2B5EF4-FFF2-40B4-BE49-F238E27FC236}">
                    <a16:creationId xmlns:a16="http://schemas.microsoft.com/office/drawing/2014/main" id="{498EBE24-8356-9A1E-3322-7625F3C2EF01}"/>
                  </a:ext>
                </a:extLst>
              </p:cNvPr>
              <p:cNvSpPr/>
              <p:nvPr/>
            </p:nvSpPr>
            <p:spPr>
              <a:xfrm>
                <a:off x="1729901" y="3839364"/>
                <a:ext cx="19530" cy="22418"/>
              </a:xfrm>
              <a:custGeom>
                <a:avLst/>
                <a:gdLst>
                  <a:gd name="connsiteX0" fmla="*/ 179175 w 187243"/>
                  <a:gd name="connsiteY0" fmla="*/ 18332 h 214933"/>
                  <a:gd name="connsiteX1" fmla="*/ 162874 w 187243"/>
                  <a:gd name="connsiteY1" fmla="*/ 35731 h 214933"/>
                  <a:gd name="connsiteX2" fmla="*/ 141167 w 187243"/>
                  <a:gd name="connsiteY2" fmla="*/ 40177 h 214933"/>
                  <a:gd name="connsiteX3" fmla="*/ 131424 w 187243"/>
                  <a:gd name="connsiteY3" fmla="*/ 39161 h 214933"/>
                  <a:gd name="connsiteX4" fmla="*/ 121956 w 187243"/>
                  <a:gd name="connsiteY4" fmla="*/ 34112 h 214933"/>
                  <a:gd name="connsiteX5" fmla="*/ 90672 w 187243"/>
                  <a:gd name="connsiteY5" fmla="*/ 35676 h 214933"/>
                  <a:gd name="connsiteX6" fmla="*/ 79722 w 187243"/>
                  <a:gd name="connsiteY6" fmla="*/ 33453 h 214933"/>
                  <a:gd name="connsiteX7" fmla="*/ 65973 w 187243"/>
                  <a:gd name="connsiteY7" fmla="*/ 36280 h 214933"/>
                  <a:gd name="connsiteX8" fmla="*/ 51401 w 187243"/>
                  <a:gd name="connsiteY8" fmla="*/ 33974 h 214933"/>
                  <a:gd name="connsiteX9" fmla="*/ 42399 w 187243"/>
                  <a:gd name="connsiteY9" fmla="*/ 38859 h 214933"/>
                  <a:gd name="connsiteX10" fmla="*/ 35484 w 187243"/>
                  <a:gd name="connsiteY10" fmla="*/ 53294 h 214933"/>
                  <a:gd name="connsiteX11" fmla="*/ 36389 w 187243"/>
                  <a:gd name="connsiteY11" fmla="*/ 64079 h 214933"/>
                  <a:gd name="connsiteX12" fmla="*/ 41686 w 187243"/>
                  <a:gd name="connsiteY12" fmla="*/ 73959 h 214933"/>
                  <a:gd name="connsiteX13" fmla="*/ 49040 w 187243"/>
                  <a:gd name="connsiteY13" fmla="*/ 79200 h 214933"/>
                  <a:gd name="connsiteX14" fmla="*/ 52663 w 187243"/>
                  <a:gd name="connsiteY14" fmla="*/ 86281 h 214933"/>
                  <a:gd name="connsiteX15" fmla="*/ 56533 w 187243"/>
                  <a:gd name="connsiteY15" fmla="*/ 89080 h 214933"/>
                  <a:gd name="connsiteX16" fmla="*/ 67153 w 187243"/>
                  <a:gd name="connsiteY16" fmla="*/ 88668 h 214933"/>
                  <a:gd name="connsiteX17" fmla="*/ 76429 w 187243"/>
                  <a:gd name="connsiteY17" fmla="*/ 77280 h 214933"/>
                  <a:gd name="connsiteX18" fmla="*/ 81094 w 187243"/>
                  <a:gd name="connsiteY18" fmla="*/ 74370 h 214933"/>
                  <a:gd name="connsiteX19" fmla="*/ 92702 w 187243"/>
                  <a:gd name="connsiteY19" fmla="*/ 76264 h 214933"/>
                  <a:gd name="connsiteX20" fmla="*/ 101841 w 187243"/>
                  <a:gd name="connsiteY20" fmla="*/ 71983 h 214933"/>
                  <a:gd name="connsiteX21" fmla="*/ 115809 w 187243"/>
                  <a:gd name="connsiteY21" fmla="*/ 71050 h 214933"/>
                  <a:gd name="connsiteX22" fmla="*/ 119377 w 187243"/>
                  <a:gd name="connsiteY22" fmla="*/ 67674 h 214933"/>
                  <a:gd name="connsiteX23" fmla="*/ 124015 w 187243"/>
                  <a:gd name="connsiteY23" fmla="*/ 66247 h 214933"/>
                  <a:gd name="connsiteX24" fmla="*/ 132851 w 187243"/>
                  <a:gd name="connsiteY24" fmla="*/ 68306 h 214933"/>
                  <a:gd name="connsiteX25" fmla="*/ 134690 w 187243"/>
                  <a:gd name="connsiteY25" fmla="*/ 72614 h 214933"/>
                  <a:gd name="connsiteX26" fmla="*/ 132028 w 187243"/>
                  <a:gd name="connsiteY26" fmla="*/ 77526 h 214933"/>
                  <a:gd name="connsiteX27" fmla="*/ 124701 w 187243"/>
                  <a:gd name="connsiteY27" fmla="*/ 75029 h 214933"/>
                  <a:gd name="connsiteX28" fmla="*/ 119679 w 187243"/>
                  <a:gd name="connsiteY28" fmla="*/ 76182 h 214933"/>
                  <a:gd name="connsiteX29" fmla="*/ 105546 w 187243"/>
                  <a:gd name="connsiteY29" fmla="*/ 90781 h 214933"/>
                  <a:gd name="connsiteX30" fmla="*/ 89162 w 187243"/>
                  <a:gd name="connsiteY30" fmla="*/ 99838 h 214933"/>
                  <a:gd name="connsiteX31" fmla="*/ 83674 w 187243"/>
                  <a:gd name="connsiteY31" fmla="*/ 104613 h 214933"/>
                  <a:gd name="connsiteX32" fmla="*/ 76676 w 187243"/>
                  <a:gd name="connsiteY32" fmla="*/ 105161 h 214933"/>
                  <a:gd name="connsiteX33" fmla="*/ 80161 w 187243"/>
                  <a:gd name="connsiteY33" fmla="*/ 110925 h 214933"/>
                  <a:gd name="connsiteX34" fmla="*/ 86912 w 187243"/>
                  <a:gd name="connsiteY34" fmla="*/ 116441 h 214933"/>
                  <a:gd name="connsiteX35" fmla="*/ 94459 w 187243"/>
                  <a:gd name="connsiteY35" fmla="*/ 128323 h 214933"/>
                  <a:gd name="connsiteX36" fmla="*/ 101895 w 187243"/>
                  <a:gd name="connsiteY36" fmla="*/ 135651 h 214933"/>
                  <a:gd name="connsiteX37" fmla="*/ 104667 w 187243"/>
                  <a:gd name="connsiteY37" fmla="*/ 141523 h 214933"/>
                  <a:gd name="connsiteX38" fmla="*/ 101402 w 187243"/>
                  <a:gd name="connsiteY38" fmla="*/ 155163 h 214933"/>
                  <a:gd name="connsiteX39" fmla="*/ 110403 w 187243"/>
                  <a:gd name="connsiteY39" fmla="*/ 163286 h 214933"/>
                  <a:gd name="connsiteX40" fmla="*/ 113751 w 187243"/>
                  <a:gd name="connsiteY40" fmla="*/ 168582 h 214933"/>
                  <a:gd name="connsiteX41" fmla="*/ 117840 w 187243"/>
                  <a:gd name="connsiteY41" fmla="*/ 170476 h 214933"/>
                  <a:gd name="connsiteX42" fmla="*/ 117840 w 187243"/>
                  <a:gd name="connsiteY42" fmla="*/ 177995 h 214933"/>
                  <a:gd name="connsiteX43" fmla="*/ 115068 w 187243"/>
                  <a:gd name="connsiteY43" fmla="*/ 179779 h 214933"/>
                  <a:gd name="connsiteX44" fmla="*/ 109003 w 187243"/>
                  <a:gd name="connsiteY44" fmla="*/ 179093 h 214933"/>
                  <a:gd name="connsiteX45" fmla="*/ 99536 w 187243"/>
                  <a:gd name="connsiteY45" fmla="*/ 181535 h 214933"/>
                  <a:gd name="connsiteX46" fmla="*/ 96270 w 187243"/>
                  <a:gd name="connsiteY46" fmla="*/ 184581 h 214933"/>
                  <a:gd name="connsiteX47" fmla="*/ 95172 w 187243"/>
                  <a:gd name="connsiteY47" fmla="*/ 189933 h 214933"/>
                  <a:gd name="connsiteX48" fmla="*/ 92949 w 187243"/>
                  <a:gd name="connsiteY48" fmla="*/ 191744 h 214933"/>
                  <a:gd name="connsiteX49" fmla="*/ 86061 w 187243"/>
                  <a:gd name="connsiteY49" fmla="*/ 191140 h 214933"/>
                  <a:gd name="connsiteX50" fmla="*/ 81067 w 187243"/>
                  <a:gd name="connsiteY50" fmla="*/ 188698 h 214933"/>
                  <a:gd name="connsiteX51" fmla="*/ 78624 w 187243"/>
                  <a:gd name="connsiteY51" fmla="*/ 183511 h 214933"/>
                  <a:gd name="connsiteX52" fmla="*/ 80078 w 187243"/>
                  <a:gd name="connsiteY52" fmla="*/ 169104 h 214933"/>
                  <a:gd name="connsiteX53" fmla="*/ 72504 w 187243"/>
                  <a:gd name="connsiteY53" fmla="*/ 163670 h 214933"/>
                  <a:gd name="connsiteX54" fmla="*/ 61966 w 187243"/>
                  <a:gd name="connsiteY54" fmla="*/ 152007 h 214933"/>
                  <a:gd name="connsiteX55" fmla="*/ 65287 w 187243"/>
                  <a:gd name="connsiteY55" fmla="*/ 141249 h 214933"/>
                  <a:gd name="connsiteX56" fmla="*/ 65067 w 187243"/>
                  <a:gd name="connsiteY56" fmla="*/ 130189 h 214933"/>
                  <a:gd name="connsiteX57" fmla="*/ 59002 w 187243"/>
                  <a:gd name="connsiteY57" fmla="*/ 127390 h 214933"/>
                  <a:gd name="connsiteX58" fmla="*/ 52855 w 187243"/>
                  <a:gd name="connsiteY58" fmla="*/ 128378 h 214933"/>
                  <a:gd name="connsiteX59" fmla="*/ 42948 w 187243"/>
                  <a:gd name="connsiteY59" fmla="*/ 138285 h 214933"/>
                  <a:gd name="connsiteX60" fmla="*/ 46681 w 187243"/>
                  <a:gd name="connsiteY60" fmla="*/ 155739 h 214933"/>
                  <a:gd name="connsiteX61" fmla="*/ 45116 w 187243"/>
                  <a:gd name="connsiteY61" fmla="*/ 167594 h 214933"/>
                  <a:gd name="connsiteX62" fmla="*/ 46598 w 187243"/>
                  <a:gd name="connsiteY62" fmla="*/ 185871 h 214933"/>
                  <a:gd name="connsiteX63" fmla="*/ 43799 w 187243"/>
                  <a:gd name="connsiteY63" fmla="*/ 198605 h 214933"/>
                  <a:gd name="connsiteX64" fmla="*/ 45610 w 187243"/>
                  <a:gd name="connsiteY64" fmla="*/ 210899 h 214933"/>
                  <a:gd name="connsiteX65" fmla="*/ 27278 w 187243"/>
                  <a:gd name="connsiteY65" fmla="*/ 214933 h 214933"/>
                  <a:gd name="connsiteX66" fmla="*/ 20692 w 187243"/>
                  <a:gd name="connsiteY66" fmla="*/ 212793 h 214933"/>
                  <a:gd name="connsiteX67" fmla="*/ 17810 w 187243"/>
                  <a:gd name="connsiteY67" fmla="*/ 208677 h 214933"/>
                  <a:gd name="connsiteX68" fmla="*/ 23134 w 187243"/>
                  <a:gd name="connsiteY68" fmla="*/ 173851 h 214933"/>
                  <a:gd name="connsiteX69" fmla="*/ 20088 w 187243"/>
                  <a:gd name="connsiteY69" fmla="*/ 157330 h 214933"/>
                  <a:gd name="connsiteX70" fmla="*/ 14050 w 187243"/>
                  <a:gd name="connsiteY70" fmla="*/ 151293 h 214933"/>
                  <a:gd name="connsiteX71" fmla="*/ 3513 w 187243"/>
                  <a:gd name="connsiteY71" fmla="*/ 150442 h 214933"/>
                  <a:gd name="connsiteX72" fmla="*/ 192 w 187243"/>
                  <a:gd name="connsiteY72" fmla="*/ 141496 h 214933"/>
                  <a:gd name="connsiteX73" fmla="*/ 0 w 187243"/>
                  <a:gd name="connsiteY73" fmla="*/ 129970 h 214933"/>
                  <a:gd name="connsiteX74" fmla="*/ 8178 w 187243"/>
                  <a:gd name="connsiteY74" fmla="*/ 120996 h 214933"/>
                  <a:gd name="connsiteX75" fmla="*/ 14737 w 187243"/>
                  <a:gd name="connsiteY75" fmla="*/ 104091 h 214933"/>
                  <a:gd name="connsiteX76" fmla="*/ 14984 w 187243"/>
                  <a:gd name="connsiteY76" fmla="*/ 90754 h 214933"/>
                  <a:gd name="connsiteX77" fmla="*/ 16109 w 187243"/>
                  <a:gd name="connsiteY77" fmla="*/ 83482 h 214933"/>
                  <a:gd name="connsiteX78" fmla="*/ 24424 w 187243"/>
                  <a:gd name="connsiteY78" fmla="*/ 71736 h 214933"/>
                  <a:gd name="connsiteX79" fmla="*/ 29035 w 187243"/>
                  <a:gd name="connsiteY79" fmla="*/ 69870 h 214933"/>
                  <a:gd name="connsiteX80" fmla="*/ 28074 w 187243"/>
                  <a:gd name="connsiteY80" fmla="*/ 61006 h 214933"/>
                  <a:gd name="connsiteX81" fmla="*/ 30489 w 187243"/>
                  <a:gd name="connsiteY81" fmla="*/ 48986 h 214933"/>
                  <a:gd name="connsiteX82" fmla="*/ 29254 w 187243"/>
                  <a:gd name="connsiteY82" fmla="*/ 43305 h 214933"/>
                  <a:gd name="connsiteX83" fmla="*/ 31834 w 187243"/>
                  <a:gd name="connsiteY83" fmla="*/ 36499 h 214933"/>
                  <a:gd name="connsiteX84" fmla="*/ 41851 w 187243"/>
                  <a:gd name="connsiteY84" fmla="*/ 22970 h 214933"/>
                  <a:gd name="connsiteX85" fmla="*/ 52114 w 187243"/>
                  <a:gd name="connsiteY85" fmla="*/ 23628 h 214933"/>
                  <a:gd name="connsiteX86" fmla="*/ 61802 w 187243"/>
                  <a:gd name="connsiteY86" fmla="*/ 10593 h 214933"/>
                  <a:gd name="connsiteX87" fmla="*/ 73685 w 187243"/>
                  <a:gd name="connsiteY87" fmla="*/ 12239 h 214933"/>
                  <a:gd name="connsiteX88" fmla="*/ 82521 w 187243"/>
                  <a:gd name="connsiteY88" fmla="*/ 17179 h 214933"/>
                  <a:gd name="connsiteX89" fmla="*/ 105272 w 187243"/>
                  <a:gd name="connsiteY89" fmla="*/ 19155 h 214933"/>
                  <a:gd name="connsiteX90" fmla="*/ 116413 w 187243"/>
                  <a:gd name="connsiteY90" fmla="*/ 23299 h 214933"/>
                  <a:gd name="connsiteX91" fmla="*/ 125881 w 187243"/>
                  <a:gd name="connsiteY91" fmla="*/ 21268 h 214933"/>
                  <a:gd name="connsiteX92" fmla="*/ 147917 w 187243"/>
                  <a:gd name="connsiteY92" fmla="*/ 23601 h 214933"/>
                  <a:gd name="connsiteX93" fmla="*/ 158922 w 187243"/>
                  <a:gd name="connsiteY93" fmla="*/ 19155 h 214933"/>
                  <a:gd name="connsiteX94" fmla="*/ 166496 w 187243"/>
                  <a:gd name="connsiteY94" fmla="*/ 13996 h 214933"/>
                  <a:gd name="connsiteX95" fmla="*/ 169872 w 187243"/>
                  <a:gd name="connsiteY95" fmla="*/ 8946 h 214933"/>
                  <a:gd name="connsiteX96" fmla="*/ 180328 w 187243"/>
                  <a:gd name="connsiteY96" fmla="*/ 0 h 214933"/>
                  <a:gd name="connsiteX97" fmla="*/ 184965 w 187243"/>
                  <a:gd name="connsiteY97" fmla="*/ 494 h 214933"/>
                  <a:gd name="connsiteX98" fmla="*/ 187243 w 187243"/>
                  <a:gd name="connsiteY98" fmla="*/ 6696 h 214933"/>
                  <a:gd name="connsiteX99" fmla="*/ 179258 w 187243"/>
                  <a:gd name="connsiteY99" fmla="*/ 18332 h 214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87243" h="214933">
                    <a:moveTo>
                      <a:pt x="179175" y="18332"/>
                    </a:moveTo>
                    <a:lnTo>
                      <a:pt x="162874" y="35731"/>
                    </a:lnTo>
                    <a:lnTo>
                      <a:pt x="141167" y="40177"/>
                    </a:lnTo>
                    <a:lnTo>
                      <a:pt x="131424" y="39161"/>
                    </a:lnTo>
                    <a:lnTo>
                      <a:pt x="121956" y="34112"/>
                    </a:lnTo>
                    <a:lnTo>
                      <a:pt x="90672" y="35676"/>
                    </a:lnTo>
                    <a:lnTo>
                      <a:pt x="79722" y="33453"/>
                    </a:lnTo>
                    <a:lnTo>
                      <a:pt x="65973" y="36280"/>
                    </a:lnTo>
                    <a:lnTo>
                      <a:pt x="51401" y="33974"/>
                    </a:lnTo>
                    <a:lnTo>
                      <a:pt x="42399" y="38859"/>
                    </a:lnTo>
                    <a:lnTo>
                      <a:pt x="35484" y="53294"/>
                    </a:lnTo>
                    <a:lnTo>
                      <a:pt x="36389" y="64079"/>
                    </a:lnTo>
                    <a:lnTo>
                      <a:pt x="41686" y="73959"/>
                    </a:lnTo>
                    <a:lnTo>
                      <a:pt x="49040" y="79200"/>
                    </a:lnTo>
                    <a:lnTo>
                      <a:pt x="52663" y="86281"/>
                    </a:lnTo>
                    <a:lnTo>
                      <a:pt x="56533" y="89080"/>
                    </a:lnTo>
                    <a:lnTo>
                      <a:pt x="67153" y="88668"/>
                    </a:lnTo>
                    <a:lnTo>
                      <a:pt x="76429" y="77280"/>
                    </a:lnTo>
                    <a:lnTo>
                      <a:pt x="81094" y="74370"/>
                    </a:lnTo>
                    <a:lnTo>
                      <a:pt x="92702" y="76264"/>
                    </a:lnTo>
                    <a:lnTo>
                      <a:pt x="101841" y="71983"/>
                    </a:lnTo>
                    <a:lnTo>
                      <a:pt x="115809" y="71050"/>
                    </a:lnTo>
                    <a:lnTo>
                      <a:pt x="119377" y="67674"/>
                    </a:lnTo>
                    <a:lnTo>
                      <a:pt x="124015" y="66247"/>
                    </a:lnTo>
                    <a:lnTo>
                      <a:pt x="132851" y="68306"/>
                    </a:lnTo>
                    <a:lnTo>
                      <a:pt x="134690" y="72614"/>
                    </a:lnTo>
                    <a:lnTo>
                      <a:pt x="132028" y="77526"/>
                    </a:lnTo>
                    <a:lnTo>
                      <a:pt x="124701" y="75029"/>
                    </a:lnTo>
                    <a:lnTo>
                      <a:pt x="119679" y="76182"/>
                    </a:lnTo>
                    <a:lnTo>
                      <a:pt x="105546" y="90781"/>
                    </a:lnTo>
                    <a:lnTo>
                      <a:pt x="89162" y="99838"/>
                    </a:lnTo>
                    <a:lnTo>
                      <a:pt x="83674" y="104613"/>
                    </a:lnTo>
                    <a:lnTo>
                      <a:pt x="76676" y="105161"/>
                    </a:lnTo>
                    <a:lnTo>
                      <a:pt x="80161" y="110925"/>
                    </a:lnTo>
                    <a:lnTo>
                      <a:pt x="86912" y="116441"/>
                    </a:lnTo>
                    <a:lnTo>
                      <a:pt x="94459" y="128323"/>
                    </a:lnTo>
                    <a:lnTo>
                      <a:pt x="101895" y="135651"/>
                    </a:lnTo>
                    <a:lnTo>
                      <a:pt x="104667" y="141523"/>
                    </a:lnTo>
                    <a:lnTo>
                      <a:pt x="101402" y="155163"/>
                    </a:lnTo>
                    <a:lnTo>
                      <a:pt x="110403" y="163286"/>
                    </a:lnTo>
                    <a:lnTo>
                      <a:pt x="113751" y="168582"/>
                    </a:lnTo>
                    <a:lnTo>
                      <a:pt x="117840" y="170476"/>
                    </a:lnTo>
                    <a:lnTo>
                      <a:pt x="117840" y="177995"/>
                    </a:lnTo>
                    <a:cubicBezTo>
                      <a:pt x="117840" y="177995"/>
                      <a:pt x="115068" y="179779"/>
                      <a:pt x="115068" y="179779"/>
                    </a:cubicBezTo>
                    <a:lnTo>
                      <a:pt x="109003" y="179093"/>
                    </a:lnTo>
                    <a:lnTo>
                      <a:pt x="99536" y="181535"/>
                    </a:lnTo>
                    <a:lnTo>
                      <a:pt x="96270" y="184581"/>
                    </a:lnTo>
                    <a:lnTo>
                      <a:pt x="95172" y="189933"/>
                    </a:lnTo>
                    <a:lnTo>
                      <a:pt x="92949" y="191744"/>
                    </a:lnTo>
                    <a:lnTo>
                      <a:pt x="86061" y="191140"/>
                    </a:lnTo>
                    <a:lnTo>
                      <a:pt x="81067" y="188698"/>
                    </a:lnTo>
                    <a:lnTo>
                      <a:pt x="78624" y="183511"/>
                    </a:lnTo>
                    <a:lnTo>
                      <a:pt x="80078" y="169104"/>
                    </a:lnTo>
                    <a:lnTo>
                      <a:pt x="72504" y="163670"/>
                    </a:lnTo>
                    <a:lnTo>
                      <a:pt x="61966" y="152007"/>
                    </a:lnTo>
                    <a:lnTo>
                      <a:pt x="65287" y="141249"/>
                    </a:lnTo>
                    <a:lnTo>
                      <a:pt x="65067" y="130189"/>
                    </a:lnTo>
                    <a:lnTo>
                      <a:pt x="59002" y="127390"/>
                    </a:lnTo>
                    <a:lnTo>
                      <a:pt x="52855" y="128378"/>
                    </a:lnTo>
                    <a:lnTo>
                      <a:pt x="42948" y="138285"/>
                    </a:lnTo>
                    <a:lnTo>
                      <a:pt x="46681" y="155739"/>
                    </a:lnTo>
                    <a:lnTo>
                      <a:pt x="45116" y="167594"/>
                    </a:lnTo>
                    <a:lnTo>
                      <a:pt x="46598" y="185871"/>
                    </a:lnTo>
                    <a:lnTo>
                      <a:pt x="43799" y="198605"/>
                    </a:lnTo>
                    <a:lnTo>
                      <a:pt x="45610" y="210899"/>
                    </a:lnTo>
                    <a:lnTo>
                      <a:pt x="27278" y="214933"/>
                    </a:lnTo>
                    <a:lnTo>
                      <a:pt x="20692" y="212793"/>
                    </a:lnTo>
                    <a:lnTo>
                      <a:pt x="17810" y="208677"/>
                    </a:lnTo>
                    <a:lnTo>
                      <a:pt x="23134" y="173851"/>
                    </a:lnTo>
                    <a:lnTo>
                      <a:pt x="20088" y="157330"/>
                    </a:lnTo>
                    <a:lnTo>
                      <a:pt x="14050" y="151293"/>
                    </a:lnTo>
                    <a:lnTo>
                      <a:pt x="3513" y="150442"/>
                    </a:lnTo>
                    <a:lnTo>
                      <a:pt x="192" y="141496"/>
                    </a:lnTo>
                    <a:lnTo>
                      <a:pt x="0" y="129970"/>
                    </a:lnTo>
                    <a:lnTo>
                      <a:pt x="8178" y="120996"/>
                    </a:lnTo>
                    <a:lnTo>
                      <a:pt x="14737" y="104091"/>
                    </a:lnTo>
                    <a:lnTo>
                      <a:pt x="14984" y="90754"/>
                    </a:lnTo>
                    <a:lnTo>
                      <a:pt x="16109" y="83482"/>
                    </a:lnTo>
                    <a:lnTo>
                      <a:pt x="24424" y="71736"/>
                    </a:lnTo>
                    <a:lnTo>
                      <a:pt x="29035" y="69870"/>
                    </a:lnTo>
                    <a:lnTo>
                      <a:pt x="28074" y="61006"/>
                    </a:lnTo>
                    <a:lnTo>
                      <a:pt x="30489" y="48986"/>
                    </a:lnTo>
                    <a:lnTo>
                      <a:pt x="29254" y="43305"/>
                    </a:lnTo>
                    <a:lnTo>
                      <a:pt x="31834" y="36499"/>
                    </a:lnTo>
                    <a:lnTo>
                      <a:pt x="41851" y="22970"/>
                    </a:lnTo>
                    <a:lnTo>
                      <a:pt x="52114" y="23628"/>
                    </a:lnTo>
                    <a:lnTo>
                      <a:pt x="61802" y="10593"/>
                    </a:lnTo>
                    <a:lnTo>
                      <a:pt x="73685" y="12239"/>
                    </a:lnTo>
                    <a:lnTo>
                      <a:pt x="82521" y="17179"/>
                    </a:lnTo>
                    <a:lnTo>
                      <a:pt x="105272" y="19155"/>
                    </a:lnTo>
                    <a:lnTo>
                      <a:pt x="116413" y="23299"/>
                    </a:lnTo>
                    <a:lnTo>
                      <a:pt x="125881" y="21268"/>
                    </a:lnTo>
                    <a:lnTo>
                      <a:pt x="147917" y="23601"/>
                    </a:lnTo>
                    <a:lnTo>
                      <a:pt x="158922" y="19155"/>
                    </a:lnTo>
                    <a:lnTo>
                      <a:pt x="166496" y="13996"/>
                    </a:lnTo>
                    <a:lnTo>
                      <a:pt x="169872" y="8946"/>
                    </a:lnTo>
                    <a:lnTo>
                      <a:pt x="180328" y="0"/>
                    </a:lnTo>
                    <a:lnTo>
                      <a:pt x="184965" y="494"/>
                    </a:lnTo>
                    <a:lnTo>
                      <a:pt x="187243" y="6696"/>
                    </a:lnTo>
                    <a:lnTo>
                      <a:pt x="179258" y="1833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5" name="Freeform: Shape 3674">
                <a:extLst>
                  <a:ext uri="{FF2B5EF4-FFF2-40B4-BE49-F238E27FC236}">
                    <a16:creationId xmlns:a16="http://schemas.microsoft.com/office/drawing/2014/main" id="{36466E8E-6A88-07BE-8FC6-F351E1908708}"/>
                  </a:ext>
                </a:extLst>
              </p:cNvPr>
              <p:cNvSpPr/>
              <p:nvPr/>
            </p:nvSpPr>
            <p:spPr>
              <a:xfrm>
                <a:off x="1756280" y="3837787"/>
                <a:ext cx="3979" cy="9197"/>
              </a:xfrm>
              <a:custGeom>
                <a:avLst/>
                <a:gdLst>
                  <a:gd name="connsiteX0" fmla="*/ 7026 w 38146"/>
                  <a:gd name="connsiteY0" fmla="*/ 34414 h 88174"/>
                  <a:gd name="connsiteX1" fmla="*/ 7904 w 38146"/>
                  <a:gd name="connsiteY1" fmla="*/ 38173 h 88174"/>
                  <a:gd name="connsiteX2" fmla="*/ 10758 w 38146"/>
                  <a:gd name="connsiteY2" fmla="*/ 39710 h 88174"/>
                  <a:gd name="connsiteX3" fmla="*/ 13776 w 38146"/>
                  <a:gd name="connsiteY3" fmla="*/ 38338 h 88174"/>
                  <a:gd name="connsiteX4" fmla="*/ 16960 w 38146"/>
                  <a:gd name="connsiteY4" fmla="*/ 32300 h 88174"/>
                  <a:gd name="connsiteX5" fmla="*/ 21378 w 38146"/>
                  <a:gd name="connsiteY5" fmla="*/ 29748 h 88174"/>
                  <a:gd name="connsiteX6" fmla="*/ 21818 w 38146"/>
                  <a:gd name="connsiteY6" fmla="*/ 24452 h 88174"/>
                  <a:gd name="connsiteX7" fmla="*/ 29474 w 38146"/>
                  <a:gd name="connsiteY7" fmla="*/ 18908 h 88174"/>
                  <a:gd name="connsiteX8" fmla="*/ 36170 w 38146"/>
                  <a:gd name="connsiteY8" fmla="*/ 17262 h 88174"/>
                  <a:gd name="connsiteX9" fmla="*/ 38146 w 38146"/>
                  <a:gd name="connsiteY9" fmla="*/ 19622 h 88174"/>
                  <a:gd name="connsiteX10" fmla="*/ 36747 w 38146"/>
                  <a:gd name="connsiteY10" fmla="*/ 32026 h 88174"/>
                  <a:gd name="connsiteX11" fmla="*/ 23739 w 38146"/>
                  <a:gd name="connsiteY11" fmla="*/ 41055 h 88174"/>
                  <a:gd name="connsiteX12" fmla="*/ 26593 w 38146"/>
                  <a:gd name="connsiteY12" fmla="*/ 44457 h 88174"/>
                  <a:gd name="connsiteX13" fmla="*/ 35758 w 38146"/>
                  <a:gd name="connsiteY13" fmla="*/ 47476 h 88174"/>
                  <a:gd name="connsiteX14" fmla="*/ 36088 w 38146"/>
                  <a:gd name="connsiteY14" fmla="*/ 48876 h 88174"/>
                  <a:gd name="connsiteX15" fmla="*/ 36664 w 38146"/>
                  <a:gd name="connsiteY15" fmla="*/ 54090 h 88174"/>
                  <a:gd name="connsiteX16" fmla="*/ 18332 w 38146"/>
                  <a:gd name="connsiteY16" fmla="*/ 50523 h 88174"/>
                  <a:gd name="connsiteX17" fmla="*/ 15094 w 38146"/>
                  <a:gd name="connsiteY17" fmla="*/ 52114 h 88174"/>
                  <a:gd name="connsiteX18" fmla="*/ 14243 w 38146"/>
                  <a:gd name="connsiteY18" fmla="*/ 64656 h 88174"/>
                  <a:gd name="connsiteX19" fmla="*/ 17069 w 38146"/>
                  <a:gd name="connsiteY19" fmla="*/ 72889 h 88174"/>
                  <a:gd name="connsiteX20" fmla="*/ 25275 w 38146"/>
                  <a:gd name="connsiteY20" fmla="*/ 86665 h 88174"/>
                  <a:gd name="connsiteX21" fmla="*/ 25056 w 38146"/>
                  <a:gd name="connsiteY21" fmla="*/ 88174 h 88174"/>
                  <a:gd name="connsiteX22" fmla="*/ 17948 w 38146"/>
                  <a:gd name="connsiteY22" fmla="*/ 84168 h 88174"/>
                  <a:gd name="connsiteX23" fmla="*/ 13338 w 38146"/>
                  <a:gd name="connsiteY23" fmla="*/ 76182 h 88174"/>
                  <a:gd name="connsiteX24" fmla="*/ 8370 w 38146"/>
                  <a:gd name="connsiteY24" fmla="*/ 70940 h 88174"/>
                  <a:gd name="connsiteX25" fmla="*/ 8150 w 38146"/>
                  <a:gd name="connsiteY25" fmla="*/ 55353 h 88174"/>
                  <a:gd name="connsiteX26" fmla="*/ 4254 w 38146"/>
                  <a:gd name="connsiteY26" fmla="*/ 48904 h 88174"/>
                  <a:gd name="connsiteX27" fmla="*/ 3623 w 38146"/>
                  <a:gd name="connsiteY27" fmla="*/ 47943 h 88174"/>
                  <a:gd name="connsiteX28" fmla="*/ 5324 w 38146"/>
                  <a:gd name="connsiteY28" fmla="*/ 39985 h 88174"/>
                  <a:gd name="connsiteX29" fmla="*/ 0 w 38146"/>
                  <a:gd name="connsiteY29" fmla="*/ 31422 h 88174"/>
                  <a:gd name="connsiteX30" fmla="*/ 2882 w 38146"/>
                  <a:gd name="connsiteY30" fmla="*/ 18442 h 88174"/>
                  <a:gd name="connsiteX31" fmla="*/ 7657 w 38146"/>
                  <a:gd name="connsiteY31" fmla="*/ 8233 h 88174"/>
                  <a:gd name="connsiteX32" fmla="*/ 16740 w 38146"/>
                  <a:gd name="connsiteY32" fmla="*/ 0 h 88174"/>
                  <a:gd name="connsiteX33" fmla="*/ 17536 w 38146"/>
                  <a:gd name="connsiteY33" fmla="*/ 1372 h 88174"/>
                  <a:gd name="connsiteX34" fmla="*/ 13173 w 38146"/>
                  <a:gd name="connsiteY34" fmla="*/ 8617 h 88174"/>
                  <a:gd name="connsiteX35" fmla="*/ 17234 w 38146"/>
                  <a:gd name="connsiteY35" fmla="*/ 13475 h 88174"/>
                  <a:gd name="connsiteX36" fmla="*/ 17152 w 38146"/>
                  <a:gd name="connsiteY36" fmla="*/ 24616 h 88174"/>
                  <a:gd name="connsiteX37" fmla="*/ 7108 w 38146"/>
                  <a:gd name="connsiteY37" fmla="*/ 34469 h 8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146" h="88174">
                    <a:moveTo>
                      <a:pt x="7026" y="34414"/>
                    </a:moveTo>
                    <a:lnTo>
                      <a:pt x="7904" y="38173"/>
                    </a:lnTo>
                    <a:lnTo>
                      <a:pt x="10758" y="39710"/>
                    </a:lnTo>
                    <a:lnTo>
                      <a:pt x="13776" y="38338"/>
                    </a:lnTo>
                    <a:lnTo>
                      <a:pt x="16960" y="32300"/>
                    </a:lnTo>
                    <a:lnTo>
                      <a:pt x="21378" y="29748"/>
                    </a:lnTo>
                    <a:lnTo>
                      <a:pt x="21818" y="24452"/>
                    </a:lnTo>
                    <a:lnTo>
                      <a:pt x="29474" y="18908"/>
                    </a:lnTo>
                    <a:lnTo>
                      <a:pt x="36170" y="17262"/>
                    </a:lnTo>
                    <a:lnTo>
                      <a:pt x="38146" y="19622"/>
                    </a:lnTo>
                    <a:lnTo>
                      <a:pt x="36747" y="32026"/>
                    </a:lnTo>
                    <a:lnTo>
                      <a:pt x="23739" y="41055"/>
                    </a:lnTo>
                    <a:lnTo>
                      <a:pt x="26593" y="44457"/>
                    </a:lnTo>
                    <a:lnTo>
                      <a:pt x="35758" y="47476"/>
                    </a:lnTo>
                    <a:lnTo>
                      <a:pt x="36088" y="48876"/>
                    </a:lnTo>
                    <a:lnTo>
                      <a:pt x="36664" y="54090"/>
                    </a:lnTo>
                    <a:lnTo>
                      <a:pt x="18332" y="50523"/>
                    </a:lnTo>
                    <a:lnTo>
                      <a:pt x="15094" y="52114"/>
                    </a:lnTo>
                    <a:lnTo>
                      <a:pt x="14243" y="64656"/>
                    </a:lnTo>
                    <a:lnTo>
                      <a:pt x="17069" y="72889"/>
                    </a:lnTo>
                    <a:lnTo>
                      <a:pt x="25275" y="86665"/>
                    </a:lnTo>
                    <a:lnTo>
                      <a:pt x="25056" y="88174"/>
                    </a:lnTo>
                    <a:lnTo>
                      <a:pt x="17948" y="84168"/>
                    </a:lnTo>
                    <a:lnTo>
                      <a:pt x="13338" y="76182"/>
                    </a:lnTo>
                    <a:lnTo>
                      <a:pt x="8370" y="70940"/>
                    </a:lnTo>
                    <a:lnTo>
                      <a:pt x="8150" y="55353"/>
                    </a:lnTo>
                    <a:lnTo>
                      <a:pt x="4254" y="48904"/>
                    </a:lnTo>
                    <a:lnTo>
                      <a:pt x="3623" y="47943"/>
                    </a:lnTo>
                    <a:lnTo>
                      <a:pt x="5324" y="39985"/>
                    </a:lnTo>
                    <a:lnTo>
                      <a:pt x="0" y="31422"/>
                    </a:lnTo>
                    <a:lnTo>
                      <a:pt x="2882" y="18442"/>
                    </a:lnTo>
                    <a:lnTo>
                      <a:pt x="7657" y="8233"/>
                    </a:lnTo>
                    <a:lnTo>
                      <a:pt x="16740" y="0"/>
                    </a:lnTo>
                    <a:lnTo>
                      <a:pt x="17536" y="1372"/>
                    </a:lnTo>
                    <a:lnTo>
                      <a:pt x="13173" y="8617"/>
                    </a:lnTo>
                    <a:lnTo>
                      <a:pt x="17234" y="13475"/>
                    </a:lnTo>
                    <a:lnTo>
                      <a:pt x="17152" y="24616"/>
                    </a:lnTo>
                    <a:lnTo>
                      <a:pt x="7108" y="344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6" name="Freeform: Shape 3675">
                <a:extLst>
                  <a:ext uri="{FF2B5EF4-FFF2-40B4-BE49-F238E27FC236}">
                    <a16:creationId xmlns:a16="http://schemas.microsoft.com/office/drawing/2014/main" id="{945342C0-C6E8-8CA8-CA4A-EB61CEFC38A7}"/>
                  </a:ext>
                </a:extLst>
              </p:cNvPr>
              <p:cNvSpPr/>
              <p:nvPr/>
            </p:nvSpPr>
            <p:spPr>
              <a:xfrm>
                <a:off x="1757608" y="3853018"/>
                <a:ext cx="9205" cy="3274"/>
              </a:xfrm>
              <a:custGeom>
                <a:avLst/>
                <a:gdLst>
                  <a:gd name="connsiteX0" fmla="*/ 6559 w 88256"/>
                  <a:gd name="connsiteY0" fmla="*/ 7657 h 31394"/>
                  <a:gd name="connsiteX1" fmla="*/ 9824 w 88256"/>
                  <a:gd name="connsiteY1" fmla="*/ 2196 h 31394"/>
                  <a:gd name="connsiteX2" fmla="*/ 30406 w 88256"/>
                  <a:gd name="connsiteY2" fmla="*/ 1921 h 31394"/>
                  <a:gd name="connsiteX3" fmla="*/ 34523 w 88256"/>
                  <a:gd name="connsiteY3" fmla="*/ 686 h 31394"/>
                  <a:gd name="connsiteX4" fmla="*/ 37926 w 88256"/>
                  <a:gd name="connsiteY4" fmla="*/ 4638 h 31394"/>
                  <a:gd name="connsiteX5" fmla="*/ 47943 w 88256"/>
                  <a:gd name="connsiteY5" fmla="*/ 0 h 31394"/>
                  <a:gd name="connsiteX6" fmla="*/ 63119 w 88256"/>
                  <a:gd name="connsiteY6" fmla="*/ 5900 h 31394"/>
                  <a:gd name="connsiteX7" fmla="*/ 74452 w 88256"/>
                  <a:gd name="connsiteY7" fmla="*/ 6422 h 31394"/>
                  <a:gd name="connsiteX8" fmla="*/ 80381 w 88256"/>
                  <a:gd name="connsiteY8" fmla="*/ 10950 h 31394"/>
                  <a:gd name="connsiteX9" fmla="*/ 82548 w 88256"/>
                  <a:gd name="connsiteY9" fmla="*/ 17289 h 31394"/>
                  <a:gd name="connsiteX10" fmla="*/ 86500 w 88256"/>
                  <a:gd name="connsiteY10" fmla="*/ 19018 h 31394"/>
                  <a:gd name="connsiteX11" fmla="*/ 88256 w 88256"/>
                  <a:gd name="connsiteY11" fmla="*/ 24095 h 31394"/>
                  <a:gd name="connsiteX12" fmla="*/ 86829 w 88256"/>
                  <a:gd name="connsiteY12" fmla="*/ 31395 h 31394"/>
                  <a:gd name="connsiteX13" fmla="*/ 81451 w 88256"/>
                  <a:gd name="connsiteY13" fmla="*/ 29584 h 31394"/>
                  <a:gd name="connsiteX14" fmla="*/ 80353 w 88256"/>
                  <a:gd name="connsiteY14" fmla="*/ 28376 h 31394"/>
                  <a:gd name="connsiteX15" fmla="*/ 64024 w 88256"/>
                  <a:gd name="connsiteY15" fmla="*/ 20775 h 31394"/>
                  <a:gd name="connsiteX16" fmla="*/ 59688 w 88256"/>
                  <a:gd name="connsiteY16" fmla="*/ 16191 h 31394"/>
                  <a:gd name="connsiteX17" fmla="*/ 49425 w 88256"/>
                  <a:gd name="connsiteY17" fmla="*/ 15176 h 31394"/>
                  <a:gd name="connsiteX18" fmla="*/ 49671 w 88256"/>
                  <a:gd name="connsiteY18" fmla="*/ 18826 h 31394"/>
                  <a:gd name="connsiteX19" fmla="*/ 48190 w 88256"/>
                  <a:gd name="connsiteY19" fmla="*/ 19539 h 31394"/>
                  <a:gd name="connsiteX20" fmla="*/ 32492 w 88256"/>
                  <a:gd name="connsiteY20" fmla="*/ 16109 h 31394"/>
                  <a:gd name="connsiteX21" fmla="*/ 30434 w 88256"/>
                  <a:gd name="connsiteY21" fmla="*/ 12075 h 31394"/>
                  <a:gd name="connsiteX22" fmla="*/ 23655 w 88256"/>
                  <a:gd name="connsiteY22" fmla="*/ 18332 h 31394"/>
                  <a:gd name="connsiteX23" fmla="*/ 18716 w 88256"/>
                  <a:gd name="connsiteY23" fmla="*/ 19265 h 31394"/>
                  <a:gd name="connsiteX24" fmla="*/ 15945 w 88256"/>
                  <a:gd name="connsiteY24" fmla="*/ 18113 h 31394"/>
                  <a:gd name="connsiteX25" fmla="*/ 8315 w 88256"/>
                  <a:gd name="connsiteY25" fmla="*/ 8782 h 31394"/>
                  <a:gd name="connsiteX26" fmla="*/ 2882 w 88256"/>
                  <a:gd name="connsiteY26" fmla="*/ 19732 h 31394"/>
                  <a:gd name="connsiteX27" fmla="*/ 1893 w 88256"/>
                  <a:gd name="connsiteY27" fmla="*/ 19622 h 31394"/>
                  <a:gd name="connsiteX28" fmla="*/ 0 w 88256"/>
                  <a:gd name="connsiteY28" fmla="*/ 11499 h 31394"/>
                  <a:gd name="connsiteX29" fmla="*/ 6586 w 88256"/>
                  <a:gd name="connsiteY29" fmla="*/ 7657 h 3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8256" h="31394">
                    <a:moveTo>
                      <a:pt x="6559" y="7657"/>
                    </a:moveTo>
                    <a:lnTo>
                      <a:pt x="9824" y="2196"/>
                    </a:lnTo>
                    <a:lnTo>
                      <a:pt x="30406" y="1921"/>
                    </a:lnTo>
                    <a:lnTo>
                      <a:pt x="34523" y="686"/>
                    </a:lnTo>
                    <a:lnTo>
                      <a:pt x="37926" y="4638"/>
                    </a:lnTo>
                    <a:lnTo>
                      <a:pt x="47943" y="0"/>
                    </a:lnTo>
                    <a:lnTo>
                      <a:pt x="63119" y="5900"/>
                    </a:lnTo>
                    <a:lnTo>
                      <a:pt x="74452" y="6422"/>
                    </a:lnTo>
                    <a:lnTo>
                      <a:pt x="80381" y="10950"/>
                    </a:lnTo>
                    <a:lnTo>
                      <a:pt x="82548" y="17289"/>
                    </a:lnTo>
                    <a:lnTo>
                      <a:pt x="86500" y="19018"/>
                    </a:lnTo>
                    <a:lnTo>
                      <a:pt x="88256" y="24095"/>
                    </a:lnTo>
                    <a:lnTo>
                      <a:pt x="86829" y="31395"/>
                    </a:lnTo>
                    <a:lnTo>
                      <a:pt x="81451" y="29584"/>
                    </a:lnTo>
                    <a:lnTo>
                      <a:pt x="80353" y="28376"/>
                    </a:lnTo>
                    <a:lnTo>
                      <a:pt x="64024" y="20775"/>
                    </a:lnTo>
                    <a:lnTo>
                      <a:pt x="59688" y="16191"/>
                    </a:lnTo>
                    <a:lnTo>
                      <a:pt x="49425" y="15176"/>
                    </a:lnTo>
                    <a:lnTo>
                      <a:pt x="49671" y="18826"/>
                    </a:lnTo>
                    <a:lnTo>
                      <a:pt x="48190" y="19539"/>
                    </a:lnTo>
                    <a:lnTo>
                      <a:pt x="32492" y="16109"/>
                    </a:lnTo>
                    <a:lnTo>
                      <a:pt x="30434" y="12075"/>
                    </a:lnTo>
                    <a:lnTo>
                      <a:pt x="23655" y="18332"/>
                    </a:lnTo>
                    <a:lnTo>
                      <a:pt x="18716" y="19265"/>
                    </a:lnTo>
                    <a:lnTo>
                      <a:pt x="15945" y="18113"/>
                    </a:lnTo>
                    <a:lnTo>
                      <a:pt x="8315" y="8782"/>
                    </a:lnTo>
                    <a:lnTo>
                      <a:pt x="2882" y="19732"/>
                    </a:lnTo>
                    <a:lnTo>
                      <a:pt x="1893" y="19622"/>
                    </a:lnTo>
                    <a:lnTo>
                      <a:pt x="0" y="11499"/>
                    </a:lnTo>
                    <a:lnTo>
                      <a:pt x="6586" y="76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7" name="Freeform: Shape 3676">
                <a:extLst>
                  <a:ext uri="{FF2B5EF4-FFF2-40B4-BE49-F238E27FC236}">
                    <a16:creationId xmlns:a16="http://schemas.microsoft.com/office/drawing/2014/main" id="{486F3F6F-ED18-8DC9-F8D6-059EDE1406B8}"/>
                  </a:ext>
                </a:extLst>
              </p:cNvPr>
              <p:cNvSpPr/>
              <p:nvPr/>
            </p:nvSpPr>
            <p:spPr>
              <a:xfrm>
                <a:off x="1732423" y="3869350"/>
                <a:ext cx="11246" cy="2673"/>
              </a:xfrm>
              <a:custGeom>
                <a:avLst/>
                <a:gdLst>
                  <a:gd name="connsiteX0" fmla="*/ 91385 w 107823"/>
                  <a:gd name="connsiteY0" fmla="*/ 3101 h 25631"/>
                  <a:gd name="connsiteX1" fmla="*/ 93416 w 107823"/>
                  <a:gd name="connsiteY1" fmla="*/ 0 h 25631"/>
                  <a:gd name="connsiteX2" fmla="*/ 96874 w 107823"/>
                  <a:gd name="connsiteY2" fmla="*/ 1235 h 25631"/>
                  <a:gd name="connsiteX3" fmla="*/ 99179 w 107823"/>
                  <a:gd name="connsiteY3" fmla="*/ 5763 h 25631"/>
                  <a:gd name="connsiteX4" fmla="*/ 105052 w 107823"/>
                  <a:gd name="connsiteY4" fmla="*/ 4363 h 25631"/>
                  <a:gd name="connsiteX5" fmla="*/ 107824 w 107823"/>
                  <a:gd name="connsiteY5" fmla="*/ 6285 h 25631"/>
                  <a:gd name="connsiteX6" fmla="*/ 106918 w 107823"/>
                  <a:gd name="connsiteY6" fmla="*/ 8562 h 25631"/>
                  <a:gd name="connsiteX7" fmla="*/ 102225 w 107823"/>
                  <a:gd name="connsiteY7" fmla="*/ 9523 h 25631"/>
                  <a:gd name="connsiteX8" fmla="*/ 95831 w 107823"/>
                  <a:gd name="connsiteY8" fmla="*/ 15039 h 25631"/>
                  <a:gd name="connsiteX9" fmla="*/ 81478 w 107823"/>
                  <a:gd name="connsiteY9" fmla="*/ 19073 h 25631"/>
                  <a:gd name="connsiteX10" fmla="*/ 72477 w 107823"/>
                  <a:gd name="connsiteY10" fmla="*/ 19320 h 25631"/>
                  <a:gd name="connsiteX11" fmla="*/ 63777 w 107823"/>
                  <a:gd name="connsiteY11" fmla="*/ 23354 h 25631"/>
                  <a:gd name="connsiteX12" fmla="*/ 52114 w 107823"/>
                  <a:gd name="connsiteY12" fmla="*/ 21488 h 25631"/>
                  <a:gd name="connsiteX13" fmla="*/ 49040 w 107823"/>
                  <a:gd name="connsiteY13" fmla="*/ 24589 h 25631"/>
                  <a:gd name="connsiteX14" fmla="*/ 39380 w 107823"/>
                  <a:gd name="connsiteY14" fmla="*/ 25632 h 25631"/>
                  <a:gd name="connsiteX15" fmla="*/ 33618 w 107823"/>
                  <a:gd name="connsiteY15" fmla="*/ 22201 h 25631"/>
                  <a:gd name="connsiteX16" fmla="*/ 14545 w 107823"/>
                  <a:gd name="connsiteY16" fmla="*/ 20720 h 25631"/>
                  <a:gd name="connsiteX17" fmla="*/ 8233 w 107823"/>
                  <a:gd name="connsiteY17" fmla="*/ 22064 h 25631"/>
                  <a:gd name="connsiteX18" fmla="*/ 2963 w 107823"/>
                  <a:gd name="connsiteY18" fmla="*/ 18277 h 25631"/>
                  <a:gd name="connsiteX19" fmla="*/ 1811 w 107823"/>
                  <a:gd name="connsiteY19" fmla="*/ 20665 h 25631"/>
                  <a:gd name="connsiteX20" fmla="*/ 55 w 107823"/>
                  <a:gd name="connsiteY20" fmla="*/ 20665 h 25631"/>
                  <a:gd name="connsiteX21" fmla="*/ 0 w 107823"/>
                  <a:gd name="connsiteY21" fmla="*/ 18606 h 25631"/>
                  <a:gd name="connsiteX22" fmla="*/ 4885 w 107823"/>
                  <a:gd name="connsiteY22" fmla="*/ 14298 h 25631"/>
                  <a:gd name="connsiteX23" fmla="*/ 7738 w 107823"/>
                  <a:gd name="connsiteY23" fmla="*/ 11279 h 25631"/>
                  <a:gd name="connsiteX24" fmla="*/ 22695 w 107823"/>
                  <a:gd name="connsiteY24" fmla="*/ 4912 h 25631"/>
                  <a:gd name="connsiteX25" fmla="*/ 33618 w 107823"/>
                  <a:gd name="connsiteY25" fmla="*/ 7574 h 25631"/>
                  <a:gd name="connsiteX26" fmla="*/ 54392 w 107823"/>
                  <a:gd name="connsiteY26" fmla="*/ 15395 h 25631"/>
                  <a:gd name="connsiteX27" fmla="*/ 58344 w 107823"/>
                  <a:gd name="connsiteY27" fmla="*/ 12404 h 25631"/>
                  <a:gd name="connsiteX28" fmla="*/ 68553 w 107823"/>
                  <a:gd name="connsiteY28" fmla="*/ 11581 h 25631"/>
                  <a:gd name="connsiteX29" fmla="*/ 77554 w 107823"/>
                  <a:gd name="connsiteY29" fmla="*/ 16109 h 25631"/>
                  <a:gd name="connsiteX30" fmla="*/ 82521 w 107823"/>
                  <a:gd name="connsiteY30" fmla="*/ 15039 h 25631"/>
                  <a:gd name="connsiteX31" fmla="*/ 83509 w 107823"/>
                  <a:gd name="connsiteY31" fmla="*/ 11855 h 25631"/>
                  <a:gd name="connsiteX32" fmla="*/ 86802 w 107823"/>
                  <a:gd name="connsiteY32" fmla="*/ 9248 h 25631"/>
                  <a:gd name="connsiteX33" fmla="*/ 94952 w 107823"/>
                  <a:gd name="connsiteY33" fmla="*/ 5434 h 25631"/>
                  <a:gd name="connsiteX34" fmla="*/ 95528 w 107823"/>
                  <a:gd name="connsiteY34" fmla="*/ 3074 h 25631"/>
                  <a:gd name="connsiteX35" fmla="*/ 91412 w 107823"/>
                  <a:gd name="connsiteY35" fmla="*/ 3074 h 2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7823" h="25631">
                    <a:moveTo>
                      <a:pt x="91385" y="3101"/>
                    </a:moveTo>
                    <a:lnTo>
                      <a:pt x="93416" y="0"/>
                    </a:lnTo>
                    <a:lnTo>
                      <a:pt x="96874" y="1235"/>
                    </a:lnTo>
                    <a:lnTo>
                      <a:pt x="99179" y="5763"/>
                    </a:lnTo>
                    <a:lnTo>
                      <a:pt x="105052" y="4363"/>
                    </a:lnTo>
                    <a:lnTo>
                      <a:pt x="107824" y="6285"/>
                    </a:lnTo>
                    <a:lnTo>
                      <a:pt x="106918" y="8562"/>
                    </a:lnTo>
                    <a:lnTo>
                      <a:pt x="102225" y="9523"/>
                    </a:lnTo>
                    <a:lnTo>
                      <a:pt x="95831" y="15039"/>
                    </a:lnTo>
                    <a:lnTo>
                      <a:pt x="81478" y="19073"/>
                    </a:lnTo>
                    <a:lnTo>
                      <a:pt x="72477" y="19320"/>
                    </a:lnTo>
                    <a:lnTo>
                      <a:pt x="63777" y="23354"/>
                    </a:lnTo>
                    <a:lnTo>
                      <a:pt x="52114" y="21488"/>
                    </a:lnTo>
                    <a:lnTo>
                      <a:pt x="49040" y="24589"/>
                    </a:lnTo>
                    <a:lnTo>
                      <a:pt x="39380" y="25632"/>
                    </a:lnTo>
                    <a:lnTo>
                      <a:pt x="33618" y="22201"/>
                    </a:lnTo>
                    <a:lnTo>
                      <a:pt x="14545" y="20720"/>
                    </a:lnTo>
                    <a:lnTo>
                      <a:pt x="8233" y="22064"/>
                    </a:lnTo>
                    <a:lnTo>
                      <a:pt x="2963" y="18277"/>
                    </a:lnTo>
                    <a:lnTo>
                      <a:pt x="1811" y="20665"/>
                    </a:lnTo>
                    <a:lnTo>
                      <a:pt x="55" y="20665"/>
                    </a:lnTo>
                    <a:cubicBezTo>
                      <a:pt x="55" y="20665"/>
                      <a:pt x="0" y="18606"/>
                      <a:pt x="0" y="18606"/>
                    </a:cubicBezTo>
                    <a:lnTo>
                      <a:pt x="4885" y="14298"/>
                    </a:lnTo>
                    <a:lnTo>
                      <a:pt x="7738" y="11279"/>
                    </a:lnTo>
                    <a:lnTo>
                      <a:pt x="22695" y="4912"/>
                    </a:lnTo>
                    <a:lnTo>
                      <a:pt x="33618" y="7574"/>
                    </a:lnTo>
                    <a:lnTo>
                      <a:pt x="54392" y="15395"/>
                    </a:lnTo>
                    <a:lnTo>
                      <a:pt x="58344" y="12404"/>
                    </a:lnTo>
                    <a:lnTo>
                      <a:pt x="68553" y="11581"/>
                    </a:lnTo>
                    <a:lnTo>
                      <a:pt x="77554" y="16109"/>
                    </a:lnTo>
                    <a:lnTo>
                      <a:pt x="82521" y="15039"/>
                    </a:lnTo>
                    <a:lnTo>
                      <a:pt x="83509" y="11855"/>
                    </a:lnTo>
                    <a:lnTo>
                      <a:pt x="86802" y="9248"/>
                    </a:lnTo>
                    <a:lnTo>
                      <a:pt x="94952" y="5434"/>
                    </a:lnTo>
                    <a:lnTo>
                      <a:pt x="95528" y="3074"/>
                    </a:lnTo>
                    <a:lnTo>
                      <a:pt x="91412"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9" name="Freeform: Shape 3678">
                <a:extLst>
                  <a:ext uri="{FF2B5EF4-FFF2-40B4-BE49-F238E27FC236}">
                    <a16:creationId xmlns:a16="http://schemas.microsoft.com/office/drawing/2014/main" id="{5F447A2E-472E-189C-330F-607DBF75B9CB}"/>
                  </a:ext>
                </a:extLst>
              </p:cNvPr>
              <p:cNvSpPr/>
              <p:nvPr/>
            </p:nvSpPr>
            <p:spPr>
              <a:xfrm>
                <a:off x="1723478" y="3869373"/>
                <a:ext cx="7436" cy="3114"/>
              </a:xfrm>
              <a:custGeom>
                <a:avLst/>
                <a:gdLst>
                  <a:gd name="connsiteX0" fmla="*/ 18853 w 71296"/>
                  <a:gd name="connsiteY0" fmla="*/ 10730 h 29857"/>
                  <a:gd name="connsiteX1" fmla="*/ 22146 w 71296"/>
                  <a:gd name="connsiteY1" fmla="*/ 9276 h 29857"/>
                  <a:gd name="connsiteX2" fmla="*/ 22558 w 71296"/>
                  <a:gd name="connsiteY2" fmla="*/ 3375 h 29857"/>
                  <a:gd name="connsiteX3" fmla="*/ 24342 w 71296"/>
                  <a:gd name="connsiteY3" fmla="*/ 1839 h 29857"/>
                  <a:gd name="connsiteX4" fmla="*/ 35209 w 71296"/>
                  <a:gd name="connsiteY4" fmla="*/ 0 h 29857"/>
                  <a:gd name="connsiteX5" fmla="*/ 41055 w 71296"/>
                  <a:gd name="connsiteY5" fmla="*/ 1043 h 29857"/>
                  <a:gd name="connsiteX6" fmla="*/ 45857 w 71296"/>
                  <a:gd name="connsiteY6" fmla="*/ 7849 h 29857"/>
                  <a:gd name="connsiteX7" fmla="*/ 51291 w 71296"/>
                  <a:gd name="connsiteY7" fmla="*/ 4995 h 29857"/>
                  <a:gd name="connsiteX8" fmla="*/ 57987 w 71296"/>
                  <a:gd name="connsiteY8" fmla="*/ 7684 h 29857"/>
                  <a:gd name="connsiteX9" fmla="*/ 61719 w 71296"/>
                  <a:gd name="connsiteY9" fmla="*/ 5928 h 29857"/>
                  <a:gd name="connsiteX10" fmla="*/ 65726 w 71296"/>
                  <a:gd name="connsiteY10" fmla="*/ 6559 h 29857"/>
                  <a:gd name="connsiteX11" fmla="*/ 67866 w 71296"/>
                  <a:gd name="connsiteY11" fmla="*/ 16027 h 29857"/>
                  <a:gd name="connsiteX12" fmla="*/ 71297 w 71296"/>
                  <a:gd name="connsiteY12" fmla="*/ 16274 h 29857"/>
                  <a:gd name="connsiteX13" fmla="*/ 70666 w 71296"/>
                  <a:gd name="connsiteY13" fmla="*/ 19183 h 29857"/>
                  <a:gd name="connsiteX14" fmla="*/ 60621 w 71296"/>
                  <a:gd name="connsiteY14" fmla="*/ 19073 h 29857"/>
                  <a:gd name="connsiteX15" fmla="*/ 60758 w 71296"/>
                  <a:gd name="connsiteY15" fmla="*/ 21433 h 29857"/>
                  <a:gd name="connsiteX16" fmla="*/ 58152 w 71296"/>
                  <a:gd name="connsiteY16" fmla="*/ 21049 h 29857"/>
                  <a:gd name="connsiteX17" fmla="*/ 50550 w 71296"/>
                  <a:gd name="connsiteY17" fmla="*/ 22695 h 29857"/>
                  <a:gd name="connsiteX18" fmla="*/ 48849 w 71296"/>
                  <a:gd name="connsiteY18" fmla="*/ 21406 h 29857"/>
                  <a:gd name="connsiteX19" fmla="*/ 48794 w 71296"/>
                  <a:gd name="connsiteY19" fmla="*/ 17865 h 29857"/>
                  <a:gd name="connsiteX20" fmla="*/ 41055 w 71296"/>
                  <a:gd name="connsiteY20" fmla="*/ 23135 h 29857"/>
                  <a:gd name="connsiteX21" fmla="*/ 29062 w 71296"/>
                  <a:gd name="connsiteY21" fmla="*/ 24314 h 29857"/>
                  <a:gd name="connsiteX22" fmla="*/ 9907 w 71296"/>
                  <a:gd name="connsiteY22" fmla="*/ 29858 h 29857"/>
                  <a:gd name="connsiteX23" fmla="*/ 1811 w 71296"/>
                  <a:gd name="connsiteY23" fmla="*/ 27882 h 29857"/>
                  <a:gd name="connsiteX24" fmla="*/ 0 w 71296"/>
                  <a:gd name="connsiteY24" fmla="*/ 26126 h 29857"/>
                  <a:gd name="connsiteX25" fmla="*/ 384 w 71296"/>
                  <a:gd name="connsiteY25" fmla="*/ 23272 h 29857"/>
                  <a:gd name="connsiteX26" fmla="*/ 1811 w 71296"/>
                  <a:gd name="connsiteY26" fmla="*/ 21543 h 29857"/>
                  <a:gd name="connsiteX27" fmla="*/ 1043 w 71296"/>
                  <a:gd name="connsiteY27" fmla="*/ 16740 h 29857"/>
                  <a:gd name="connsiteX28" fmla="*/ 3156 w 71296"/>
                  <a:gd name="connsiteY28" fmla="*/ 13639 h 29857"/>
                  <a:gd name="connsiteX29" fmla="*/ 12678 w 71296"/>
                  <a:gd name="connsiteY29" fmla="*/ 8507 h 29857"/>
                  <a:gd name="connsiteX30" fmla="*/ 18880 w 71296"/>
                  <a:gd name="connsiteY30" fmla="*/ 10648 h 2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296" h="29857">
                    <a:moveTo>
                      <a:pt x="18853" y="10730"/>
                    </a:moveTo>
                    <a:lnTo>
                      <a:pt x="22146" y="9276"/>
                    </a:lnTo>
                    <a:lnTo>
                      <a:pt x="22558" y="3375"/>
                    </a:lnTo>
                    <a:lnTo>
                      <a:pt x="24342" y="1839"/>
                    </a:lnTo>
                    <a:lnTo>
                      <a:pt x="35209" y="0"/>
                    </a:lnTo>
                    <a:lnTo>
                      <a:pt x="41055" y="1043"/>
                    </a:lnTo>
                    <a:lnTo>
                      <a:pt x="45857" y="7849"/>
                    </a:lnTo>
                    <a:lnTo>
                      <a:pt x="51291" y="4995"/>
                    </a:lnTo>
                    <a:lnTo>
                      <a:pt x="57987" y="7684"/>
                    </a:lnTo>
                    <a:lnTo>
                      <a:pt x="61719" y="5928"/>
                    </a:lnTo>
                    <a:lnTo>
                      <a:pt x="65726" y="6559"/>
                    </a:lnTo>
                    <a:lnTo>
                      <a:pt x="67866" y="16027"/>
                    </a:lnTo>
                    <a:lnTo>
                      <a:pt x="71297" y="16274"/>
                    </a:lnTo>
                    <a:lnTo>
                      <a:pt x="70666" y="19183"/>
                    </a:lnTo>
                    <a:lnTo>
                      <a:pt x="60621" y="19073"/>
                    </a:lnTo>
                    <a:lnTo>
                      <a:pt x="60758" y="21433"/>
                    </a:lnTo>
                    <a:lnTo>
                      <a:pt x="58152" y="21049"/>
                    </a:lnTo>
                    <a:lnTo>
                      <a:pt x="50550" y="22695"/>
                    </a:lnTo>
                    <a:lnTo>
                      <a:pt x="48849" y="21406"/>
                    </a:lnTo>
                    <a:lnTo>
                      <a:pt x="48794" y="17865"/>
                    </a:lnTo>
                    <a:lnTo>
                      <a:pt x="41055" y="23135"/>
                    </a:lnTo>
                    <a:lnTo>
                      <a:pt x="29062" y="24314"/>
                    </a:lnTo>
                    <a:lnTo>
                      <a:pt x="9907" y="29858"/>
                    </a:lnTo>
                    <a:lnTo>
                      <a:pt x="1811" y="27882"/>
                    </a:lnTo>
                    <a:lnTo>
                      <a:pt x="0" y="26126"/>
                    </a:lnTo>
                    <a:lnTo>
                      <a:pt x="384" y="23272"/>
                    </a:lnTo>
                    <a:lnTo>
                      <a:pt x="1811" y="21543"/>
                    </a:lnTo>
                    <a:lnTo>
                      <a:pt x="1043" y="16740"/>
                    </a:lnTo>
                    <a:lnTo>
                      <a:pt x="3156" y="13639"/>
                    </a:lnTo>
                    <a:lnTo>
                      <a:pt x="12678" y="8507"/>
                    </a:lnTo>
                    <a:lnTo>
                      <a:pt x="18880" y="106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0" name="Freeform: Shape 3679">
                <a:extLst>
                  <a:ext uri="{FF2B5EF4-FFF2-40B4-BE49-F238E27FC236}">
                    <a16:creationId xmlns:a16="http://schemas.microsoft.com/office/drawing/2014/main" id="{97D01AE0-A259-75C5-603C-83EFC5C91B47}"/>
                  </a:ext>
                </a:extLst>
              </p:cNvPr>
              <p:cNvSpPr/>
              <p:nvPr/>
            </p:nvSpPr>
            <p:spPr>
              <a:xfrm>
                <a:off x="1744184" y="3872050"/>
                <a:ext cx="5212" cy="4339"/>
              </a:xfrm>
              <a:custGeom>
                <a:avLst/>
                <a:gdLst>
                  <a:gd name="connsiteX0" fmla="*/ 18964 w 49974"/>
                  <a:gd name="connsiteY0" fmla="*/ 13310 h 41603"/>
                  <a:gd name="connsiteX1" fmla="*/ 21954 w 49974"/>
                  <a:gd name="connsiteY1" fmla="*/ 12843 h 41603"/>
                  <a:gd name="connsiteX2" fmla="*/ 24562 w 49974"/>
                  <a:gd name="connsiteY2" fmla="*/ 15780 h 41603"/>
                  <a:gd name="connsiteX3" fmla="*/ 28706 w 49974"/>
                  <a:gd name="connsiteY3" fmla="*/ 9605 h 41603"/>
                  <a:gd name="connsiteX4" fmla="*/ 29337 w 49974"/>
                  <a:gd name="connsiteY4" fmla="*/ 6449 h 41603"/>
                  <a:gd name="connsiteX5" fmla="*/ 43250 w 49974"/>
                  <a:gd name="connsiteY5" fmla="*/ 0 h 41603"/>
                  <a:gd name="connsiteX6" fmla="*/ 43936 w 49974"/>
                  <a:gd name="connsiteY6" fmla="*/ 2690 h 41603"/>
                  <a:gd name="connsiteX7" fmla="*/ 48190 w 49974"/>
                  <a:gd name="connsiteY7" fmla="*/ 933 h 41603"/>
                  <a:gd name="connsiteX8" fmla="*/ 49974 w 49974"/>
                  <a:gd name="connsiteY8" fmla="*/ 2744 h 41603"/>
                  <a:gd name="connsiteX9" fmla="*/ 49397 w 49974"/>
                  <a:gd name="connsiteY9" fmla="*/ 6230 h 41603"/>
                  <a:gd name="connsiteX10" fmla="*/ 45062 w 49974"/>
                  <a:gd name="connsiteY10" fmla="*/ 6888 h 41603"/>
                  <a:gd name="connsiteX11" fmla="*/ 44622 w 49974"/>
                  <a:gd name="connsiteY11" fmla="*/ 9605 h 41603"/>
                  <a:gd name="connsiteX12" fmla="*/ 47120 w 49974"/>
                  <a:gd name="connsiteY12" fmla="*/ 14545 h 41603"/>
                  <a:gd name="connsiteX13" fmla="*/ 37268 w 49974"/>
                  <a:gd name="connsiteY13" fmla="*/ 27361 h 41603"/>
                  <a:gd name="connsiteX14" fmla="*/ 27800 w 49974"/>
                  <a:gd name="connsiteY14" fmla="*/ 35429 h 41603"/>
                  <a:gd name="connsiteX15" fmla="*/ 19677 w 49974"/>
                  <a:gd name="connsiteY15" fmla="*/ 36115 h 41603"/>
                  <a:gd name="connsiteX16" fmla="*/ 8946 w 49974"/>
                  <a:gd name="connsiteY16" fmla="*/ 41604 h 41603"/>
                  <a:gd name="connsiteX17" fmla="*/ 0 w 49974"/>
                  <a:gd name="connsiteY17" fmla="*/ 41082 h 41603"/>
                  <a:gd name="connsiteX18" fmla="*/ 1345 w 49974"/>
                  <a:gd name="connsiteY18" fmla="*/ 36829 h 41603"/>
                  <a:gd name="connsiteX19" fmla="*/ 7959 w 49974"/>
                  <a:gd name="connsiteY19" fmla="*/ 33096 h 41603"/>
                  <a:gd name="connsiteX20" fmla="*/ 3156 w 49974"/>
                  <a:gd name="connsiteY20" fmla="*/ 30654 h 41603"/>
                  <a:gd name="connsiteX21" fmla="*/ 6230 w 49974"/>
                  <a:gd name="connsiteY21" fmla="*/ 19951 h 41603"/>
                  <a:gd name="connsiteX22" fmla="*/ 16658 w 49974"/>
                  <a:gd name="connsiteY22" fmla="*/ 11444 h 41603"/>
                  <a:gd name="connsiteX23" fmla="*/ 19018 w 49974"/>
                  <a:gd name="connsiteY23" fmla="*/ 13283 h 41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74" h="41603">
                    <a:moveTo>
                      <a:pt x="18964" y="13310"/>
                    </a:moveTo>
                    <a:lnTo>
                      <a:pt x="21954" y="12843"/>
                    </a:lnTo>
                    <a:lnTo>
                      <a:pt x="24562" y="15780"/>
                    </a:lnTo>
                    <a:lnTo>
                      <a:pt x="28706" y="9605"/>
                    </a:lnTo>
                    <a:lnTo>
                      <a:pt x="29337" y="6449"/>
                    </a:lnTo>
                    <a:lnTo>
                      <a:pt x="43250" y="0"/>
                    </a:lnTo>
                    <a:lnTo>
                      <a:pt x="43936" y="2690"/>
                    </a:lnTo>
                    <a:lnTo>
                      <a:pt x="48190" y="933"/>
                    </a:lnTo>
                    <a:lnTo>
                      <a:pt x="49974" y="2744"/>
                    </a:lnTo>
                    <a:lnTo>
                      <a:pt x="49397" y="6230"/>
                    </a:lnTo>
                    <a:lnTo>
                      <a:pt x="45062" y="6888"/>
                    </a:lnTo>
                    <a:lnTo>
                      <a:pt x="44622" y="9605"/>
                    </a:lnTo>
                    <a:lnTo>
                      <a:pt x="47120" y="14545"/>
                    </a:lnTo>
                    <a:lnTo>
                      <a:pt x="37268" y="27361"/>
                    </a:lnTo>
                    <a:lnTo>
                      <a:pt x="27800" y="35429"/>
                    </a:lnTo>
                    <a:lnTo>
                      <a:pt x="19677" y="36115"/>
                    </a:lnTo>
                    <a:lnTo>
                      <a:pt x="8946" y="41604"/>
                    </a:lnTo>
                    <a:lnTo>
                      <a:pt x="0" y="41082"/>
                    </a:lnTo>
                    <a:lnTo>
                      <a:pt x="1345" y="36829"/>
                    </a:lnTo>
                    <a:lnTo>
                      <a:pt x="7959" y="33096"/>
                    </a:lnTo>
                    <a:lnTo>
                      <a:pt x="3156" y="30654"/>
                    </a:lnTo>
                    <a:lnTo>
                      <a:pt x="6230" y="19951"/>
                    </a:lnTo>
                    <a:lnTo>
                      <a:pt x="16658" y="11444"/>
                    </a:lnTo>
                    <a:lnTo>
                      <a:pt x="19018" y="132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1" name="Freeform: Shape 3680">
                <a:extLst>
                  <a:ext uri="{FF2B5EF4-FFF2-40B4-BE49-F238E27FC236}">
                    <a16:creationId xmlns:a16="http://schemas.microsoft.com/office/drawing/2014/main" id="{6A400556-BDCB-F8A6-3049-89B6F52C8C57}"/>
                  </a:ext>
                </a:extLst>
              </p:cNvPr>
              <p:cNvSpPr/>
              <p:nvPr/>
            </p:nvSpPr>
            <p:spPr>
              <a:xfrm>
                <a:off x="1730310" y="3873134"/>
                <a:ext cx="5730" cy="3091"/>
              </a:xfrm>
              <a:custGeom>
                <a:avLst/>
                <a:gdLst>
                  <a:gd name="connsiteX0" fmla="*/ 0 w 54940"/>
                  <a:gd name="connsiteY0" fmla="*/ 6833 h 29638"/>
                  <a:gd name="connsiteX1" fmla="*/ 6833 w 54940"/>
                  <a:gd name="connsiteY1" fmla="*/ 2196 h 29638"/>
                  <a:gd name="connsiteX2" fmla="*/ 24342 w 54940"/>
                  <a:gd name="connsiteY2" fmla="*/ 2497 h 29638"/>
                  <a:gd name="connsiteX3" fmla="*/ 28952 w 54940"/>
                  <a:gd name="connsiteY3" fmla="*/ 0 h 29638"/>
                  <a:gd name="connsiteX4" fmla="*/ 36719 w 54940"/>
                  <a:gd name="connsiteY4" fmla="*/ 5681 h 29638"/>
                  <a:gd name="connsiteX5" fmla="*/ 38640 w 54940"/>
                  <a:gd name="connsiteY5" fmla="*/ 10127 h 29638"/>
                  <a:gd name="connsiteX6" fmla="*/ 44183 w 54940"/>
                  <a:gd name="connsiteY6" fmla="*/ 10483 h 29638"/>
                  <a:gd name="connsiteX7" fmla="*/ 53871 w 54940"/>
                  <a:gd name="connsiteY7" fmla="*/ 19704 h 29638"/>
                  <a:gd name="connsiteX8" fmla="*/ 54941 w 54940"/>
                  <a:gd name="connsiteY8" fmla="*/ 21570 h 29638"/>
                  <a:gd name="connsiteX9" fmla="*/ 53871 w 54940"/>
                  <a:gd name="connsiteY9" fmla="*/ 24259 h 29638"/>
                  <a:gd name="connsiteX10" fmla="*/ 44101 w 54940"/>
                  <a:gd name="connsiteY10" fmla="*/ 29639 h 29638"/>
                  <a:gd name="connsiteX11" fmla="*/ 36115 w 54940"/>
                  <a:gd name="connsiteY11" fmla="*/ 27717 h 29638"/>
                  <a:gd name="connsiteX12" fmla="*/ 29310 w 54940"/>
                  <a:gd name="connsiteY12" fmla="*/ 20335 h 29638"/>
                  <a:gd name="connsiteX13" fmla="*/ 20582 w 54940"/>
                  <a:gd name="connsiteY13" fmla="*/ 14572 h 29638"/>
                  <a:gd name="connsiteX14" fmla="*/ 6065 w 54940"/>
                  <a:gd name="connsiteY14" fmla="*/ 12898 h 29638"/>
                  <a:gd name="connsiteX15" fmla="*/ 1867 w 54940"/>
                  <a:gd name="connsiteY15" fmla="*/ 10456 h 29638"/>
                  <a:gd name="connsiteX16" fmla="*/ 27 w 54940"/>
                  <a:gd name="connsiteY16" fmla="*/ 6833 h 2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940" h="29638">
                    <a:moveTo>
                      <a:pt x="0" y="6833"/>
                    </a:moveTo>
                    <a:lnTo>
                      <a:pt x="6833" y="2196"/>
                    </a:lnTo>
                    <a:lnTo>
                      <a:pt x="24342" y="2497"/>
                    </a:lnTo>
                    <a:lnTo>
                      <a:pt x="28952" y="0"/>
                    </a:lnTo>
                    <a:lnTo>
                      <a:pt x="36719" y="5681"/>
                    </a:lnTo>
                    <a:lnTo>
                      <a:pt x="38640" y="10127"/>
                    </a:lnTo>
                    <a:lnTo>
                      <a:pt x="44183" y="10483"/>
                    </a:lnTo>
                    <a:lnTo>
                      <a:pt x="53871" y="19704"/>
                    </a:lnTo>
                    <a:lnTo>
                      <a:pt x="54941" y="21570"/>
                    </a:lnTo>
                    <a:lnTo>
                      <a:pt x="53871" y="24259"/>
                    </a:lnTo>
                    <a:lnTo>
                      <a:pt x="44101" y="29639"/>
                    </a:lnTo>
                    <a:lnTo>
                      <a:pt x="36115" y="27717"/>
                    </a:lnTo>
                    <a:lnTo>
                      <a:pt x="29310" y="20335"/>
                    </a:lnTo>
                    <a:lnTo>
                      <a:pt x="20582" y="14572"/>
                    </a:lnTo>
                    <a:lnTo>
                      <a:pt x="6065" y="12898"/>
                    </a:lnTo>
                    <a:lnTo>
                      <a:pt x="1867" y="10456"/>
                    </a:lnTo>
                    <a:lnTo>
                      <a:pt x="27" y="68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2" name="Freeform: Shape 3681">
                <a:extLst>
                  <a:ext uri="{FF2B5EF4-FFF2-40B4-BE49-F238E27FC236}">
                    <a16:creationId xmlns:a16="http://schemas.microsoft.com/office/drawing/2014/main" id="{BEFD46D3-3CD8-D6A4-B26B-3A25A74966F6}"/>
                  </a:ext>
                </a:extLst>
              </p:cNvPr>
              <p:cNvSpPr/>
              <p:nvPr/>
            </p:nvSpPr>
            <p:spPr>
              <a:xfrm>
                <a:off x="1740546" y="3857910"/>
                <a:ext cx="2811" cy="3970"/>
              </a:xfrm>
              <a:custGeom>
                <a:avLst/>
                <a:gdLst>
                  <a:gd name="connsiteX0" fmla="*/ 19841 w 26949"/>
                  <a:gd name="connsiteY0" fmla="*/ 23107 h 38063"/>
                  <a:gd name="connsiteX1" fmla="*/ 23134 w 26949"/>
                  <a:gd name="connsiteY1" fmla="*/ 23573 h 38063"/>
                  <a:gd name="connsiteX2" fmla="*/ 25742 w 26949"/>
                  <a:gd name="connsiteY2" fmla="*/ 27662 h 38063"/>
                  <a:gd name="connsiteX3" fmla="*/ 18469 w 26949"/>
                  <a:gd name="connsiteY3" fmla="*/ 31340 h 38063"/>
                  <a:gd name="connsiteX4" fmla="*/ 15533 w 26949"/>
                  <a:gd name="connsiteY4" fmla="*/ 37350 h 38063"/>
                  <a:gd name="connsiteX5" fmla="*/ 12432 w 26949"/>
                  <a:gd name="connsiteY5" fmla="*/ 38063 h 38063"/>
                  <a:gd name="connsiteX6" fmla="*/ 9413 w 26949"/>
                  <a:gd name="connsiteY6" fmla="*/ 36389 h 38063"/>
                  <a:gd name="connsiteX7" fmla="*/ 6833 w 26949"/>
                  <a:gd name="connsiteY7" fmla="*/ 28211 h 38063"/>
                  <a:gd name="connsiteX8" fmla="*/ 0 w 26949"/>
                  <a:gd name="connsiteY8" fmla="*/ 28266 h 38063"/>
                  <a:gd name="connsiteX9" fmla="*/ 1427 w 26949"/>
                  <a:gd name="connsiteY9" fmla="*/ 20884 h 38063"/>
                  <a:gd name="connsiteX10" fmla="*/ 2854 w 26949"/>
                  <a:gd name="connsiteY10" fmla="*/ 19347 h 38063"/>
                  <a:gd name="connsiteX11" fmla="*/ 1866 w 26949"/>
                  <a:gd name="connsiteY11" fmla="*/ 11416 h 38063"/>
                  <a:gd name="connsiteX12" fmla="*/ 11252 w 26949"/>
                  <a:gd name="connsiteY12" fmla="*/ 7245 h 38063"/>
                  <a:gd name="connsiteX13" fmla="*/ 13447 w 26949"/>
                  <a:gd name="connsiteY13" fmla="*/ 15149 h 38063"/>
                  <a:gd name="connsiteX14" fmla="*/ 9907 w 26949"/>
                  <a:gd name="connsiteY14" fmla="*/ 20857 h 38063"/>
                  <a:gd name="connsiteX15" fmla="*/ 9304 w 26949"/>
                  <a:gd name="connsiteY15" fmla="*/ 24369 h 38063"/>
                  <a:gd name="connsiteX16" fmla="*/ 11197 w 26949"/>
                  <a:gd name="connsiteY16" fmla="*/ 26428 h 38063"/>
                  <a:gd name="connsiteX17" fmla="*/ 14161 w 26949"/>
                  <a:gd name="connsiteY17" fmla="*/ 24781 h 38063"/>
                  <a:gd name="connsiteX18" fmla="*/ 14161 w 26949"/>
                  <a:gd name="connsiteY18" fmla="*/ 20829 h 38063"/>
                  <a:gd name="connsiteX19" fmla="*/ 16328 w 26949"/>
                  <a:gd name="connsiteY19" fmla="*/ 6120 h 38063"/>
                  <a:gd name="connsiteX20" fmla="*/ 18854 w 26949"/>
                  <a:gd name="connsiteY20" fmla="*/ 1509 h 38063"/>
                  <a:gd name="connsiteX21" fmla="*/ 21570 w 26949"/>
                  <a:gd name="connsiteY21" fmla="*/ 0 h 38063"/>
                  <a:gd name="connsiteX22" fmla="*/ 26428 w 26949"/>
                  <a:gd name="connsiteY22" fmla="*/ 6120 h 38063"/>
                  <a:gd name="connsiteX23" fmla="*/ 26949 w 26949"/>
                  <a:gd name="connsiteY23" fmla="*/ 12157 h 38063"/>
                  <a:gd name="connsiteX24" fmla="*/ 21131 w 26949"/>
                  <a:gd name="connsiteY24" fmla="*/ 13557 h 38063"/>
                  <a:gd name="connsiteX25" fmla="*/ 20116 w 26949"/>
                  <a:gd name="connsiteY25" fmla="*/ 20829 h 38063"/>
                  <a:gd name="connsiteX26" fmla="*/ 19841 w 26949"/>
                  <a:gd name="connsiteY26" fmla="*/ 23052 h 3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949" h="38063">
                    <a:moveTo>
                      <a:pt x="19841" y="23107"/>
                    </a:moveTo>
                    <a:lnTo>
                      <a:pt x="23134" y="23573"/>
                    </a:lnTo>
                    <a:lnTo>
                      <a:pt x="25742" y="27662"/>
                    </a:lnTo>
                    <a:lnTo>
                      <a:pt x="18469" y="31340"/>
                    </a:lnTo>
                    <a:lnTo>
                      <a:pt x="15533" y="37350"/>
                    </a:lnTo>
                    <a:lnTo>
                      <a:pt x="12432" y="38063"/>
                    </a:lnTo>
                    <a:lnTo>
                      <a:pt x="9413" y="36389"/>
                    </a:lnTo>
                    <a:lnTo>
                      <a:pt x="6833" y="28211"/>
                    </a:lnTo>
                    <a:lnTo>
                      <a:pt x="0" y="28266"/>
                    </a:lnTo>
                    <a:lnTo>
                      <a:pt x="1427" y="20884"/>
                    </a:lnTo>
                    <a:lnTo>
                      <a:pt x="2854" y="19347"/>
                    </a:lnTo>
                    <a:lnTo>
                      <a:pt x="1866" y="11416"/>
                    </a:lnTo>
                    <a:lnTo>
                      <a:pt x="11252" y="7245"/>
                    </a:lnTo>
                    <a:lnTo>
                      <a:pt x="13447" y="15149"/>
                    </a:lnTo>
                    <a:lnTo>
                      <a:pt x="9907" y="20857"/>
                    </a:lnTo>
                    <a:lnTo>
                      <a:pt x="9304" y="24369"/>
                    </a:lnTo>
                    <a:lnTo>
                      <a:pt x="11197" y="26428"/>
                    </a:lnTo>
                    <a:lnTo>
                      <a:pt x="14161" y="24781"/>
                    </a:lnTo>
                    <a:lnTo>
                      <a:pt x="14161" y="20829"/>
                    </a:lnTo>
                    <a:cubicBezTo>
                      <a:pt x="14161" y="20829"/>
                      <a:pt x="16328" y="6120"/>
                      <a:pt x="16328" y="6120"/>
                    </a:cubicBezTo>
                    <a:lnTo>
                      <a:pt x="18854" y="1509"/>
                    </a:lnTo>
                    <a:lnTo>
                      <a:pt x="21570" y="0"/>
                    </a:lnTo>
                    <a:lnTo>
                      <a:pt x="26428" y="6120"/>
                    </a:lnTo>
                    <a:lnTo>
                      <a:pt x="26949" y="12157"/>
                    </a:lnTo>
                    <a:lnTo>
                      <a:pt x="21131" y="13557"/>
                    </a:lnTo>
                    <a:lnTo>
                      <a:pt x="20116" y="20829"/>
                    </a:lnTo>
                    <a:lnTo>
                      <a:pt x="19841" y="230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3" name="Freeform: Shape 3682">
                <a:extLst>
                  <a:ext uri="{FF2B5EF4-FFF2-40B4-BE49-F238E27FC236}">
                    <a16:creationId xmlns:a16="http://schemas.microsoft.com/office/drawing/2014/main" id="{7CEDFF7D-E49E-FC88-D9C8-F94A52280BEB}"/>
                  </a:ext>
                </a:extLst>
              </p:cNvPr>
              <p:cNvSpPr/>
              <p:nvPr/>
            </p:nvSpPr>
            <p:spPr>
              <a:xfrm>
                <a:off x="1776726" y="3860892"/>
                <a:ext cx="2035" cy="4700"/>
              </a:xfrm>
              <a:custGeom>
                <a:avLst/>
                <a:gdLst>
                  <a:gd name="connsiteX0" fmla="*/ 16191 w 19511"/>
                  <a:gd name="connsiteY0" fmla="*/ 30818 h 45061"/>
                  <a:gd name="connsiteX1" fmla="*/ 19512 w 19511"/>
                  <a:gd name="connsiteY1" fmla="*/ 34167 h 45061"/>
                  <a:gd name="connsiteX2" fmla="*/ 19374 w 19511"/>
                  <a:gd name="connsiteY2" fmla="*/ 36280 h 45061"/>
                  <a:gd name="connsiteX3" fmla="*/ 17343 w 19511"/>
                  <a:gd name="connsiteY3" fmla="*/ 38585 h 45061"/>
                  <a:gd name="connsiteX4" fmla="*/ 14050 w 19511"/>
                  <a:gd name="connsiteY4" fmla="*/ 34469 h 45061"/>
                  <a:gd name="connsiteX5" fmla="*/ 7245 w 19511"/>
                  <a:gd name="connsiteY5" fmla="*/ 43223 h 45061"/>
                  <a:gd name="connsiteX6" fmla="*/ 3787 w 19511"/>
                  <a:gd name="connsiteY6" fmla="*/ 45061 h 45061"/>
                  <a:gd name="connsiteX7" fmla="*/ 0 w 19511"/>
                  <a:gd name="connsiteY7" fmla="*/ 40149 h 45061"/>
                  <a:gd name="connsiteX8" fmla="*/ 549 w 19511"/>
                  <a:gd name="connsiteY8" fmla="*/ 34962 h 45061"/>
                  <a:gd name="connsiteX9" fmla="*/ 2497 w 19511"/>
                  <a:gd name="connsiteY9" fmla="*/ 32465 h 45061"/>
                  <a:gd name="connsiteX10" fmla="*/ 1509 w 19511"/>
                  <a:gd name="connsiteY10" fmla="*/ 22888 h 45061"/>
                  <a:gd name="connsiteX11" fmla="*/ 5763 w 19511"/>
                  <a:gd name="connsiteY11" fmla="*/ 19210 h 45061"/>
                  <a:gd name="connsiteX12" fmla="*/ 7629 w 19511"/>
                  <a:gd name="connsiteY12" fmla="*/ 14764 h 45061"/>
                  <a:gd name="connsiteX13" fmla="*/ 5049 w 19511"/>
                  <a:gd name="connsiteY13" fmla="*/ 10977 h 45061"/>
                  <a:gd name="connsiteX14" fmla="*/ 7492 w 19511"/>
                  <a:gd name="connsiteY14" fmla="*/ 8946 h 45061"/>
                  <a:gd name="connsiteX15" fmla="*/ 5214 w 19511"/>
                  <a:gd name="connsiteY15" fmla="*/ 6477 h 45061"/>
                  <a:gd name="connsiteX16" fmla="*/ 9358 w 19511"/>
                  <a:gd name="connsiteY16" fmla="*/ 6038 h 45061"/>
                  <a:gd name="connsiteX17" fmla="*/ 13776 w 19511"/>
                  <a:gd name="connsiteY17" fmla="*/ 0 h 45061"/>
                  <a:gd name="connsiteX18" fmla="*/ 17316 w 19511"/>
                  <a:gd name="connsiteY18" fmla="*/ 4281 h 45061"/>
                  <a:gd name="connsiteX19" fmla="*/ 18743 w 19511"/>
                  <a:gd name="connsiteY19" fmla="*/ 11005 h 45061"/>
                  <a:gd name="connsiteX20" fmla="*/ 19347 w 19511"/>
                  <a:gd name="connsiteY20" fmla="*/ 23327 h 45061"/>
                  <a:gd name="connsiteX21" fmla="*/ 16219 w 19511"/>
                  <a:gd name="connsiteY21" fmla="*/ 30818 h 45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511" h="45061">
                    <a:moveTo>
                      <a:pt x="16191" y="30818"/>
                    </a:moveTo>
                    <a:lnTo>
                      <a:pt x="19512" y="34167"/>
                    </a:lnTo>
                    <a:lnTo>
                      <a:pt x="19374" y="36280"/>
                    </a:lnTo>
                    <a:lnTo>
                      <a:pt x="17343" y="38585"/>
                    </a:lnTo>
                    <a:lnTo>
                      <a:pt x="14050" y="34469"/>
                    </a:lnTo>
                    <a:lnTo>
                      <a:pt x="7245" y="43223"/>
                    </a:lnTo>
                    <a:lnTo>
                      <a:pt x="3787" y="45061"/>
                    </a:lnTo>
                    <a:lnTo>
                      <a:pt x="0" y="40149"/>
                    </a:lnTo>
                    <a:lnTo>
                      <a:pt x="549" y="34962"/>
                    </a:lnTo>
                    <a:lnTo>
                      <a:pt x="2497" y="32465"/>
                    </a:lnTo>
                    <a:lnTo>
                      <a:pt x="1509" y="22888"/>
                    </a:lnTo>
                    <a:lnTo>
                      <a:pt x="5763" y="19210"/>
                    </a:lnTo>
                    <a:lnTo>
                      <a:pt x="7629" y="14764"/>
                    </a:lnTo>
                    <a:lnTo>
                      <a:pt x="5049" y="10977"/>
                    </a:lnTo>
                    <a:lnTo>
                      <a:pt x="7492" y="8946"/>
                    </a:lnTo>
                    <a:lnTo>
                      <a:pt x="5214" y="6477"/>
                    </a:lnTo>
                    <a:lnTo>
                      <a:pt x="9358" y="6038"/>
                    </a:lnTo>
                    <a:lnTo>
                      <a:pt x="13776" y="0"/>
                    </a:lnTo>
                    <a:lnTo>
                      <a:pt x="17316" y="4281"/>
                    </a:lnTo>
                    <a:lnTo>
                      <a:pt x="18743" y="11005"/>
                    </a:lnTo>
                    <a:lnTo>
                      <a:pt x="19347" y="23327"/>
                    </a:lnTo>
                    <a:lnTo>
                      <a:pt x="16219" y="308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4" name="Freeform: Shape 3683">
                <a:extLst>
                  <a:ext uri="{FF2B5EF4-FFF2-40B4-BE49-F238E27FC236}">
                    <a16:creationId xmlns:a16="http://schemas.microsoft.com/office/drawing/2014/main" id="{25ACAE44-8E27-ECBE-2E98-B2F601084124}"/>
                  </a:ext>
                </a:extLst>
              </p:cNvPr>
              <p:cNvSpPr/>
              <p:nvPr/>
            </p:nvSpPr>
            <p:spPr>
              <a:xfrm>
                <a:off x="1751918" y="3853842"/>
                <a:ext cx="3838" cy="2393"/>
              </a:xfrm>
              <a:custGeom>
                <a:avLst/>
                <a:gdLst>
                  <a:gd name="connsiteX0" fmla="*/ 0 w 36801"/>
                  <a:gd name="connsiteY0" fmla="*/ 5928 h 22942"/>
                  <a:gd name="connsiteX1" fmla="*/ 2168 w 36801"/>
                  <a:gd name="connsiteY1" fmla="*/ 2058 h 22942"/>
                  <a:gd name="connsiteX2" fmla="*/ 6230 w 36801"/>
                  <a:gd name="connsiteY2" fmla="*/ 2690 h 22942"/>
                  <a:gd name="connsiteX3" fmla="*/ 13639 w 36801"/>
                  <a:gd name="connsiteY3" fmla="*/ 549 h 22942"/>
                  <a:gd name="connsiteX4" fmla="*/ 21872 w 36801"/>
                  <a:gd name="connsiteY4" fmla="*/ 0 h 22942"/>
                  <a:gd name="connsiteX5" fmla="*/ 30407 w 36801"/>
                  <a:gd name="connsiteY5" fmla="*/ 3376 h 22942"/>
                  <a:gd name="connsiteX6" fmla="*/ 31999 w 36801"/>
                  <a:gd name="connsiteY6" fmla="*/ 5242 h 22942"/>
                  <a:gd name="connsiteX7" fmla="*/ 31450 w 36801"/>
                  <a:gd name="connsiteY7" fmla="*/ 8315 h 22942"/>
                  <a:gd name="connsiteX8" fmla="*/ 36692 w 36801"/>
                  <a:gd name="connsiteY8" fmla="*/ 9578 h 22942"/>
                  <a:gd name="connsiteX9" fmla="*/ 36801 w 36801"/>
                  <a:gd name="connsiteY9" fmla="*/ 14627 h 22942"/>
                  <a:gd name="connsiteX10" fmla="*/ 35484 w 36801"/>
                  <a:gd name="connsiteY10" fmla="*/ 17591 h 22942"/>
                  <a:gd name="connsiteX11" fmla="*/ 28239 w 36801"/>
                  <a:gd name="connsiteY11" fmla="*/ 20445 h 22942"/>
                  <a:gd name="connsiteX12" fmla="*/ 20912 w 36801"/>
                  <a:gd name="connsiteY12" fmla="*/ 22942 h 22942"/>
                  <a:gd name="connsiteX13" fmla="*/ 15780 w 36801"/>
                  <a:gd name="connsiteY13" fmla="*/ 21461 h 22942"/>
                  <a:gd name="connsiteX14" fmla="*/ 13639 w 36801"/>
                  <a:gd name="connsiteY14" fmla="*/ 20473 h 22942"/>
                  <a:gd name="connsiteX15" fmla="*/ 5516 w 36801"/>
                  <a:gd name="connsiteY15" fmla="*/ 15698 h 22942"/>
                  <a:gd name="connsiteX16" fmla="*/ 933 w 36801"/>
                  <a:gd name="connsiteY16" fmla="*/ 9907 h 22942"/>
                  <a:gd name="connsiteX17" fmla="*/ 27 w 36801"/>
                  <a:gd name="connsiteY17" fmla="*/ 5900 h 2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1" h="22942">
                    <a:moveTo>
                      <a:pt x="0" y="5928"/>
                    </a:moveTo>
                    <a:lnTo>
                      <a:pt x="2168" y="2058"/>
                    </a:lnTo>
                    <a:lnTo>
                      <a:pt x="6230" y="2690"/>
                    </a:lnTo>
                    <a:lnTo>
                      <a:pt x="13639" y="549"/>
                    </a:lnTo>
                    <a:lnTo>
                      <a:pt x="21872" y="0"/>
                    </a:lnTo>
                    <a:lnTo>
                      <a:pt x="30407" y="3376"/>
                    </a:lnTo>
                    <a:lnTo>
                      <a:pt x="31999" y="5242"/>
                    </a:lnTo>
                    <a:lnTo>
                      <a:pt x="31450" y="8315"/>
                    </a:lnTo>
                    <a:lnTo>
                      <a:pt x="36692" y="9578"/>
                    </a:lnTo>
                    <a:lnTo>
                      <a:pt x="36801" y="14627"/>
                    </a:lnTo>
                    <a:lnTo>
                      <a:pt x="35484" y="17591"/>
                    </a:lnTo>
                    <a:lnTo>
                      <a:pt x="28239" y="20445"/>
                    </a:lnTo>
                    <a:lnTo>
                      <a:pt x="20912" y="22942"/>
                    </a:lnTo>
                    <a:lnTo>
                      <a:pt x="15780" y="21461"/>
                    </a:lnTo>
                    <a:lnTo>
                      <a:pt x="13639" y="20473"/>
                    </a:lnTo>
                    <a:lnTo>
                      <a:pt x="5516" y="15698"/>
                    </a:lnTo>
                    <a:lnTo>
                      <a:pt x="933" y="9907"/>
                    </a:lnTo>
                    <a:lnTo>
                      <a:pt x="27" y="59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5" name="Freeform: Shape 3684">
                <a:extLst>
                  <a:ext uri="{FF2B5EF4-FFF2-40B4-BE49-F238E27FC236}">
                    <a16:creationId xmlns:a16="http://schemas.microsoft.com/office/drawing/2014/main" id="{28A7EF6A-91E9-57D9-FDAC-D751CC974B45}"/>
                  </a:ext>
                </a:extLst>
              </p:cNvPr>
              <p:cNvSpPr/>
              <p:nvPr/>
            </p:nvSpPr>
            <p:spPr>
              <a:xfrm>
                <a:off x="1767432" y="3866359"/>
                <a:ext cx="2602" cy="2673"/>
              </a:xfrm>
              <a:custGeom>
                <a:avLst/>
                <a:gdLst>
                  <a:gd name="connsiteX0" fmla="*/ 82 w 24945"/>
                  <a:gd name="connsiteY0" fmla="*/ 17124 h 25631"/>
                  <a:gd name="connsiteX1" fmla="*/ 3211 w 24945"/>
                  <a:gd name="connsiteY1" fmla="*/ 15450 h 25631"/>
                  <a:gd name="connsiteX2" fmla="*/ 5077 w 24945"/>
                  <a:gd name="connsiteY2" fmla="*/ 11718 h 25631"/>
                  <a:gd name="connsiteX3" fmla="*/ 14243 w 24945"/>
                  <a:gd name="connsiteY3" fmla="*/ 1290 h 25631"/>
                  <a:gd name="connsiteX4" fmla="*/ 24672 w 24945"/>
                  <a:gd name="connsiteY4" fmla="*/ 0 h 25631"/>
                  <a:gd name="connsiteX5" fmla="*/ 24946 w 24945"/>
                  <a:gd name="connsiteY5" fmla="*/ 2442 h 25631"/>
                  <a:gd name="connsiteX6" fmla="*/ 21543 w 24945"/>
                  <a:gd name="connsiteY6" fmla="*/ 1674 h 25631"/>
                  <a:gd name="connsiteX7" fmla="*/ 17372 w 24945"/>
                  <a:gd name="connsiteY7" fmla="*/ 3650 h 25631"/>
                  <a:gd name="connsiteX8" fmla="*/ 17509 w 24945"/>
                  <a:gd name="connsiteY8" fmla="*/ 11690 h 25631"/>
                  <a:gd name="connsiteX9" fmla="*/ 15671 w 24945"/>
                  <a:gd name="connsiteY9" fmla="*/ 15889 h 25631"/>
                  <a:gd name="connsiteX10" fmla="*/ 7712 w 24945"/>
                  <a:gd name="connsiteY10" fmla="*/ 24616 h 25631"/>
                  <a:gd name="connsiteX11" fmla="*/ 4226 w 24945"/>
                  <a:gd name="connsiteY11" fmla="*/ 25632 h 25631"/>
                  <a:gd name="connsiteX12" fmla="*/ 1482 w 24945"/>
                  <a:gd name="connsiteY12" fmla="*/ 24122 h 25631"/>
                  <a:gd name="connsiteX13" fmla="*/ 0 w 24945"/>
                  <a:gd name="connsiteY13" fmla="*/ 17097 h 2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45" h="25631">
                    <a:moveTo>
                      <a:pt x="82" y="17124"/>
                    </a:moveTo>
                    <a:lnTo>
                      <a:pt x="3211" y="15450"/>
                    </a:lnTo>
                    <a:lnTo>
                      <a:pt x="5077" y="11718"/>
                    </a:lnTo>
                    <a:lnTo>
                      <a:pt x="14243" y="1290"/>
                    </a:lnTo>
                    <a:lnTo>
                      <a:pt x="24672" y="0"/>
                    </a:lnTo>
                    <a:lnTo>
                      <a:pt x="24946" y="2442"/>
                    </a:lnTo>
                    <a:lnTo>
                      <a:pt x="21543" y="1674"/>
                    </a:lnTo>
                    <a:lnTo>
                      <a:pt x="17372" y="3650"/>
                    </a:lnTo>
                    <a:lnTo>
                      <a:pt x="17509" y="11690"/>
                    </a:lnTo>
                    <a:lnTo>
                      <a:pt x="15671" y="15889"/>
                    </a:lnTo>
                    <a:lnTo>
                      <a:pt x="7712" y="24616"/>
                    </a:lnTo>
                    <a:lnTo>
                      <a:pt x="4226" y="25632"/>
                    </a:lnTo>
                    <a:lnTo>
                      <a:pt x="1482" y="24122"/>
                    </a:lnTo>
                    <a:lnTo>
                      <a:pt x="0" y="170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7" name="Freeform: Shape 3686">
                <a:extLst>
                  <a:ext uri="{FF2B5EF4-FFF2-40B4-BE49-F238E27FC236}">
                    <a16:creationId xmlns:a16="http://schemas.microsoft.com/office/drawing/2014/main" id="{65C7C52F-C4A5-21D9-AEF2-5C6D1571EE78}"/>
                  </a:ext>
                </a:extLst>
              </p:cNvPr>
              <p:cNvSpPr/>
              <p:nvPr/>
            </p:nvSpPr>
            <p:spPr>
              <a:xfrm>
                <a:off x="1746786" y="3849557"/>
                <a:ext cx="5925" cy="1125"/>
              </a:xfrm>
              <a:custGeom>
                <a:avLst/>
                <a:gdLst>
                  <a:gd name="connsiteX0" fmla="*/ 52855 w 56806"/>
                  <a:gd name="connsiteY0" fmla="*/ 6285 h 10785"/>
                  <a:gd name="connsiteX1" fmla="*/ 47339 w 56806"/>
                  <a:gd name="connsiteY1" fmla="*/ 6833 h 10785"/>
                  <a:gd name="connsiteX2" fmla="*/ 34331 w 56806"/>
                  <a:gd name="connsiteY2" fmla="*/ 8041 h 10785"/>
                  <a:gd name="connsiteX3" fmla="*/ 23546 w 56806"/>
                  <a:gd name="connsiteY3" fmla="*/ 6394 h 10785"/>
                  <a:gd name="connsiteX4" fmla="*/ 1921 w 56806"/>
                  <a:gd name="connsiteY4" fmla="*/ 10785 h 10785"/>
                  <a:gd name="connsiteX5" fmla="*/ 0 w 56806"/>
                  <a:gd name="connsiteY5" fmla="*/ 8974 h 10785"/>
                  <a:gd name="connsiteX6" fmla="*/ 961 w 56806"/>
                  <a:gd name="connsiteY6" fmla="*/ 3183 h 10785"/>
                  <a:gd name="connsiteX7" fmla="*/ 4007 w 56806"/>
                  <a:gd name="connsiteY7" fmla="*/ 0 h 10785"/>
                  <a:gd name="connsiteX8" fmla="*/ 24205 w 56806"/>
                  <a:gd name="connsiteY8" fmla="*/ 1921 h 10785"/>
                  <a:gd name="connsiteX9" fmla="*/ 29611 w 56806"/>
                  <a:gd name="connsiteY9" fmla="*/ 3897 h 10785"/>
                  <a:gd name="connsiteX10" fmla="*/ 47394 w 56806"/>
                  <a:gd name="connsiteY10" fmla="*/ 4144 h 10785"/>
                  <a:gd name="connsiteX11" fmla="*/ 52910 w 56806"/>
                  <a:gd name="connsiteY11" fmla="*/ 4226 h 10785"/>
                  <a:gd name="connsiteX12" fmla="*/ 56807 w 56806"/>
                  <a:gd name="connsiteY12" fmla="*/ 4528 h 10785"/>
                  <a:gd name="connsiteX13" fmla="*/ 56533 w 56806"/>
                  <a:gd name="connsiteY13" fmla="*/ 6092 h 10785"/>
                  <a:gd name="connsiteX14" fmla="*/ 52910 w 56806"/>
                  <a:gd name="connsiteY14" fmla="*/ 6285 h 1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806" h="10785">
                    <a:moveTo>
                      <a:pt x="52855" y="6285"/>
                    </a:moveTo>
                    <a:lnTo>
                      <a:pt x="47339" y="6833"/>
                    </a:lnTo>
                    <a:lnTo>
                      <a:pt x="34331" y="8041"/>
                    </a:lnTo>
                    <a:lnTo>
                      <a:pt x="23546" y="6394"/>
                    </a:lnTo>
                    <a:lnTo>
                      <a:pt x="1921" y="10785"/>
                    </a:lnTo>
                    <a:lnTo>
                      <a:pt x="0" y="8974"/>
                    </a:lnTo>
                    <a:lnTo>
                      <a:pt x="961" y="3183"/>
                    </a:lnTo>
                    <a:lnTo>
                      <a:pt x="4007" y="0"/>
                    </a:lnTo>
                    <a:lnTo>
                      <a:pt x="24205" y="1921"/>
                    </a:lnTo>
                    <a:lnTo>
                      <a:pt x="29611" y="3897"/>
                    </a:lnTo>
                    <a:lnTo>
                      <a:pt x="47394" y="4144"/>
                    </a:lnTo>
                    <a:lnTo>
                      <a:pt x="52910" y="4226"/>
                    </a:lnTo>
                    <a:lnTo>
                      <a:pt x="56807" y="4528"/>
                    </a:lnTo>
                    <a:lnTo>
                      <a:pt x="56533" y="6092"/>
                    </a:lnTo>
                    <a:lnTo>
                      <a:pt x="52910" y="62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8" name="Freeform: Shape 3687">
                <a:extLst>
                  <a:ext uri="{FF2B5EF4-FFF2-40B4-BE49-F238E27FC236}">
                    <a16:creationId xmlns:a16="http://schemas.microsoft.com/office/drawing/2014/main" id="{CAE133FE-44A1-8988-6372-1BFF24597C53}"/>
                  </a:ext>
                </a:extLst>
              </p:cNvPr>
              <p:cNvSpPr/>
              <p:nvPr/>
            </p:nvSpPr>
            <p:spPr>
              <a:xfrm>
                <a:off x="1720804" y="3869765"/>
                <a:ext cx="2576" cy="2207"/>
              </a:xfrm>
              <a:custGeom>
                <a:avLst/>
                <a:gdLst>
                  <a:gd name="connsiteX0" fmla="*/ 23793 w 24698"/>
                  <a:gd name="connsiteY0" fmla="*/ 9962 h 21158"/>
                  <a:gd name="connsiteX1" fmla="*/ 19485 w 24698"/>
                  <a:gd name="connsiteY1" fmla="*/ 20225 h 21158"/>
                  <a:gd name="connsiteX2" fmla="*/ 16740 w 24698"/>
                  <a:gd name="connsiteY2" fmla="*/ 19265 h 21158"/>
                  <a:gd name="connsiteX3" fmla="*/ 14188 w 24698"/>
                  <a:gd name="connsiteY3" fmla="*/ 21159 h 21158"/>
                  <a:gd name="connsiteX4" fmla="*/ 4555 w 24698"/>
                  <a:gd name="connsiteY4" fmla="*/ 19979 h 21158"/>
                  <a:gd name="connsiteX5" fmla="*/ 0 w 24698"/>
                  <a:gd name="connsiteY5" fmla="*/ 17399 h 21158"/>
                  <a:gd name="connsiteX6" fmla="*/ 521 w 24698"/>
                  <a:gd name="connsiteY6" fmla="*/ 15615 h 21158"/>
                  <a:gd name="connsiteX7" fmla="*/ 5324 w 24698"/>
                  <a:gd name="connsiteY7" fmla="*/ 14655 h 21158"/>
                  <a:gd name="connsiteX8" fmla="*/ 6422 w 24698"/>
                  <a:gd name="connsiteY8" fmla="*/ 9962 h 21158"/>
                  <a:gd name="connsiteX9" fmla="*/ 6422 w 24698"/>
                  <a:gd name="connsiteY9" fmla="*/ 5571 h 21158"/>
                  <a:gd name="connsiteX10" fmla="*/ 15368 w 24698"/>
                  <a:gd name="connsiteY10" fmla="*/ 0 h 21158"/>
                  <a:gd name="connsiteX11" fmla="*/ 24699 w 24698"/>
                  <a:gd name="connsiteY11" fmla="*/ 3321 h 21158"/>
                  <a:gd name="connsiteX12" fmla="*/ 23820 w 24698"/>
                  <a:gd name="connsiteY12" fmla="*/ 9989 h 2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698" h="21158">
                    <a:moveTo>
                      <a:pt x="23793" y="9962"/>
                    </a:moveTo>
                    <a:lnTo>
                      <a:pt x="19485" y="20225"/>
                    </a:lnTo>
                    <a:lnTo>
                      <a:pt x="16740" y="19265"/>
                    </a:lnTo>
                    <a:lnTo>
                      <a:pt x="14188" y="21159"/>
                    </a:lnTo>
                    <a:lnTo>
                      <a:pt x="4555" y="19979"/>
                    </a:lnTo>
                    <a:lnTo>
                      <a:pt x="0" y="17399"/>
                    </a:lnTo>
                    <a:lnTo>
                      <a:pt x="521" y="15615"/>
                    </a:lnTo>
                    <a:lnTo>
                      <a:pt x="5324" y="14655"/>
                    </a:lnTo>
                    <a:lnTo>
                      <a:pt x="6422" y="9962"/>
                    </a:lnTo>
                    <a:lnTo>
                      <a:pt x="6422" y="5571"/>
                    </a:lnTo>
                    <a:lnTo>
                      <a:pt x="15368" y="0"/>
                    </a:lnTo>
                    <a:lnTo>
                      <a:pt x="24699" y="3321"/>
                    </a:lnTo>
                    <a:lnTo>
                      <a:pt x="23820" y="99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0" name="Freeform: Shape 3689">
                <a:extLst>
                  <a:ext uri="{FF2B5EF4-FFF2-40B4-BE49-F238E27FC236}">
                    <a16:creationId xmlns:a16="http://schemas.microsoft.com/office/drawing/2014/main" id="{F5C2411D-132E-7B02-E1C0-E290002DA651}"/>
                  </a:ext>
                </a:extLst>
              </p:cNvPr>
              <p:cNvSpPr/>
              <p:nvPr/>
            </p:nvSpPr>
            <p:spPr>
              <a:xfrm>
                <a:off x="1745561" y="3869450"/>
                <a:ext cx="3687" cy="1325"/>
              </a:xfrm>
              <a:custGeom>
                <a:avLst/>
                <a:gdLst>
                  <a:gd name="connsiteX0" fmla="*/ 10977 w 35346"/>
                  <a:gd name="connsiteY0" fmla="*/ 4666 h 12706"/>
                  <a:gd name="connsiteX1" fmla="*/ 13173 w 35346"/>
                  <a:gd name="connsiteY1" fmla="*/ 5214 h 12706"/>
                  <a:gd name="connsiteX2" fmla="*/ 13584 w 35346"/>
                  <a:gd name="connsiteY2" fmla="*/ 3074 h 12706"/>
                  <a:gd name="connsiteX3" fmla="*/ 15149 w 35346"/>
                  <a:gd name="connsiteY3" fmla="*/ 878 h 12706"/>
                  <a:gd name="connsiteX4" fmla="*/ 17234 w 35346"/>
                  <a:gd name="connsiteY4" fmla="*/ 0 h 12706"/>
                  <a:gd name="connsiteX5" fmla="*/ 19512 w 35346"/>
                  <a:gd name="connsiteY5" fmla="*/ 219 h 12706"/>
                  <a:gd name="connsiteX6" fmla="*/ 19210 w 35346"/>
                  <a:gd name="connsiteY6" fmla="*/ 2031 h 12706"/>
                  <a:gd name="connsiteX7" fmla="*/ 24671 w 35346"/>
                  <a:gd name="connsiteY7" fmla="*/ 823 h 12706"/>
                  <a:gd name="connsiteX8" fmla="*/ 26016 w 35346"/>
                  <a:gd name="connsiteY8" fmla="*/ 1400 h 12706"/>
                  <a:gd name="connsiteX9" fmla="*/ 33700 w 35346"/>
                  <a:gd name="connsiteY9" fmla="*/ 878 h 12706"/>
                  <a:gd name="connsiteX10" fmla="*/ 35045 w 35346"/>
                  <a:gd name="connsiteY10" fmla="*/ 2827 h 12706"/>
                  <a:gd name="connsiteX11" fmla="*/ 35347 w 35346"/>
                  <a:gd name="connsiteY11" fmla="*/ 5928 h 12706"/>
                  <a:gd name="connsiteX12" fmla="*/ 33041 w 35346"/>
                  <a:gd name="connsiteY12" fmla="*/ 7108 h 12706"/>
                  <a:gd name="connsiteX13" fmla="*/ 29364 w 35346"/>
                  <a:gd name="connsiteY13" fmla="*/ 7108 h 12706"/>
                  <a:gd name="connsiteX14" fmla="*/ 25412 w 35346"/>
                  <a:gd name="connsiteY14" fmla="*/ 8343 h 12706"/>
                  <a:gd name="connsiteX15" fmla="*/ 21406 w 35346"/>
                  <a:gd name="connsiteY15" fmla="*/ 8068 h 12706"/>
                  <a:gd name="connsiteX16" fmla="*/ 17948 w 35346"/>
                  <a:gd name="connsiteY16" fmla="*/ 9633 h 12706"/>
                  <a:gd name="connsiteX17" fmla="*/ 16438 w 35346"/>
                  <a:gd name="connsiteY17" fmla="*/ 8974 h 12706"/>
                  <a:gd name="connsiteX18" fmla="*/ 14243 w 35346"/>
                  <a:gd name="connsiteY18" fmla="*/ 10236 h 12706"/>
                  <a:gd name="connsiteX19" fmla="*/ 11801 w 35346"/>
                  <a:gd name="connsiteY19" fmla="*/ 8946 h 12706"/>
                  <a:gd name="connsiteX20" fmla="*/ 12843 w 35346"/>
                  <a:gd name="connsiteY20" fmla="*/ 6724 h 12706"/>
                  <a:gd name="connsiteX21" fmla="*/ 10785 w 35346"/>
                  <a:gd name="connsiteY21" fmla="*/ 6147 h 12706"/>
                  <a:gd name="connsiteX22" fmla="*/ 7931 w 35346"/>
                  <a:gd name="connsiteY22" fmla="*/ 8754 h 12706"/>
                  <a:gd name="connsiteX23" fmla="*/ 7876 w 35346"/>
                  <a:gd name="connsiteY23" fmla="*/ 10291 h 12706"/>
                  <a:gd name="connsiteX24" fmla="*/ 5324 w 35346"/>
                  <a:gd name="connsiteY24" fmla="*/ 12706 h 12706"/>
                  <a:gd name="connsiteX25" fmla="*/ 3595 w 35346"/>
                  <a:gd name="connsiteY25" fmla="*/ 12706 h 12706"/>
                  <a:gd name="connsiteX26" fmla="*/ 2662 w 35346"/>
                  <a:gd name="connsiteY26" fmla="*/ 8946 h 12706"/>
                  <a:gd name="connsiteX27" fmla="*/ 0 w 35346"/>
                  <a:gd name="connsiteY27" fmla="*/ 9056 h 12706"/>
                  <a:gd name="connsiteX28" fmla="*/ 1071 w 35346"/>
                  <a:gd name="connsiteY28" fmla="*/ 6531 h 12706"/>
                  <a:gd name="connsiteX29" fmla="*/ 3458 w 35346"/>
                  <a:gd name="connsiteY29" fmla="*/ 5214 h 12706"/>
                  <a:gd name="connsiteX30" fmla="*/ 4610 w 35346"/>
                  <a:gd name="connsiteY30" fmla="*/ 7080 h 12706"/>
                  <a:gd name="connsiteX31" fmla="*/ 7684 w 35346"/>
                  <a:gd name="connsiteY31" fmla="*/ 4528 h 12706"/>
                  <a:gd name="connsiteX32" fmla="*/ 9001 w 35346"/>
                  <a:gd name="connsiteY32" fmla="*/ 2333 h 12706"/>
                  <a:gd name="connsiteX33" fmla="*/ 10812 w 35346"/>
                  <a:gd name="connsiteY33" fmla="*/ 1784 h 12706"/>
                  <a:gd name="connsiteX34" fmla="*/ 10977 w 35346"/>
                  <a:gd name="connsiteY34" fmla="*/ 4693 h 12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346" h="12706">
                    <a:moveTo>
                      <a:pt x="10977" y="4666"/>
                    </a:moveTo>
                    <a:lnTo>
                      <a:pt x="13173" y="5214"/>
                    </a:lnTo>
                    <a:lnTo>
                      <a:pt x="13584" y="3074"/>
                    </a:lnTo>
                    <a:lnTo>
                      <a:pt x="15149" y="878"/>
                    </a:lnTo>
                    <a:lnTo>
                      <a:pt x="17234" y="0"/>
                    </a:lnTo>
                    <a:lnTo>
                      <a:pt x="19512" y="219"/>
                    </a:lnTo>
                    <a:lnTo>
                      <a:pt x="19210" y="2031"/>
                    </a:lnTo>
                    <a:lnTo>
                      <a:pt x="24671" y="823"/>
                    </a:lnTo>
                    <a:lnTo>
                      <a:pt x="26016" y="1400"/>
                    </a:lnTo>
                    <a:lnTo>
                      <a:pt x="33700" y="878"/>
                    </a:lnTo>
                    <a:lnTo>
                      <a:pt x="35045" y="2827"/>
                    </a:lnTo>
                    <a:lnTo>
                      <a:pt x="35347" y="5928"/>
                    </a:lnTo>
                    <a:lnTo>
                      <a:pt x="33041" y="7108"/>
                    </a:lnTo>
                    <a:lnTo>
                      <a:pt x="29364" y="7108"/>
                    </a:lnTo>
                    <a:cubicBezTo>
                      <a:pt x="29364" y="7108"/>
                      <a:pt x="25412" y="8343"/>
                      <a:pt x="25412" y="8343"/>
                    </a:cubicBezTo>
                    <a:lnTo>
                      <a:pt x="21406" y="8068"/>
                    </a:lnTo>
                    <a:lnTo>
                      <a:pt x="17948" y="9633"/>
                    </a:lnTo>
                    <a:lnTo>
                      <a:pt x="16438" y="8974"/>
                    </a:lnTo>
                    <a:lnTo>
                      <a:pt x="14243" y="10236"/>
                    </a:lnTo>
                    <a:lnTo>
                      <a:pt x="11801" y="8946"/>
                    </a:lnTo>
                    <a:lnTo>
                      <a:pt x="12843" y="6724"/>
                    </a:lnTo>
                    <a:lnTo>
                      <a:pt x="10785" y="6147"/>
                    </a:lnTo>
                    <a:lnTo>
                      <a:pt x="7931" y="8754"/>
                    </a:lnTo>
                    <a:lnTo>
                      <a:pt x="7876" y="10291"/>
                    </a:lnTo>
                    <a:lnTo>
                      <a:pt x="5324" y="12706"/>
                    </a:lnTo>
                    <a:lnTo>
                      <a:pt x="3595" y="12706"/>
                    </a:lnTo>
                    <a:lnTo>
                      <a:pt x="2662" y="8946"/>
                    </a:lnTo>
                    <a:lnTo>
                      <a:pt x="0" y="9056"/>
                    </a:lnTo>
                    <a:lnTo>
                      <a:pt x="1071" y="6531"/>
                    </a:lnTo>
                    <a:lnTo>
                      <a:pt x="3458" y="5214"/>
                    </a:lnTo>
                    <a:lnTo>
                      <a:pt x="4610" y="7080"/>
                    </a:lnTo>
                    <a:lnTo>
                      <a:pt x="7684" y="4528"/>
                    </a:lnTo>
                    <a:lnTo>
                      <a:pt x="9001" y="2333"/>
                    </a:lnTo>
                    <a:lnTo>
                      <a:pt x="10812" y="1784"/>
                    </a:lnTo>
                    <a:lnTo>
                      <a:pt x="10977"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1" name="Freeform: Shape 3690">
                <a:extLst>
                  <a:ext uri="{FF2B5EF4-FFF2-40B4-BE49-F238E27FC236}">
                    <a16:creationId xmlns:a16="http://schemas.microsoft.com/office/drawing/2014/main" id="{0E592ADA-1476-B558-3CE1-1C35A0535100}"/>
                  </a:ext>
                </a:extLst>
              </p:cNvPr>
              <p:cNvSpPr/>
              <p:nvPr/>
            </p:nvSpPr>
            <p:spPr>
              <a:xfrm>
                <a:off x="1780696" y="3846440"/>
                <a:ext cx="2836" cy="1697"/>
              </a:xfrm>
              <a:custGeom>
                <a:avLst/>
                <a:gdLst>
                  <a:gd name="connsiteX0" fmla="*/ 0 w 27195"/>
                  <a:gd name="connsiteY0" fmla="*/ 0 h 16273"/>
                  <a:gd name="connsiteX1" fmla="*/ 1976 w 27195"/>
                  <a:gd name="connsiteY1" fmla="*/ 412 h 16273"/>
                  <a:gd name="connsiteX2" fmla="*/ 14380 w 27195"/>
                  <a:gd name="connsiteY2" fmla="*/ 2525 h 16273"/>
                  <a:gd name="connsiteX3" fmla="*/ 27196 w 27195"/>
                  <a:gd name="connsiteY3" fmla="*/ 14133 h 16273"/>
                  <a:gd name="connsiteX4" fmla="*/ 22531 w 27195"/>
                  <a:gd name="connsiteY4" fmla="*/ 16274 h 16273"/>
                  <a:gd name="connsiteX5" fmla="*/ 14820 w 27195"/>
                  <a:gd name="connsiteY5" fmla="*/ 15395 h 16273"/>
                  <a:gd name="connsiteX6" fmla="*/ 10676 w 27195"/>
                  <a:gd name="connsiteY6" fmla="*/ 6559 h 16273"/>
                  <a:gd name="connsiteX7" fmla="*/ 1976 w 27195"/>
                  <a:gd name="connsiteY7" fmla="*/ 3732 h 16273"/>
                  <a:gd name="connsiteX8" fmla="*/ 851 w 27195"/>
                  <a:gd name="connsiteY8" fmla="*/ 2525 h 16273"/>
                  <a:gd name="connsiteX9" fmla="*/ 0 w 27195"/>
                  <a:gd name="connsiteY9" fmla="*/ 0 h 16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95" h="16273">
                    <a:moveTo>
                      <a:pt x="0" y="0"/>
                    </a:moveTo>
                    <a:lnTo>
                      <a:pt x="1976" y="412"/>
                    </a:lnTo>
                    <a:lnTo>
                      <a:pt x="14380" y="2525"/>
                    </a:lnTo>
                    <a:lnTo>
                      <a:pt x="27196" y="14133"/>
                    </a:lnTo>
                    <a:lnTo>
                      <a:pt x="22531" y="16274"/>
                    </a:lnTo>
                    <a:lnTo>
                      <a:pt x="14820" y="15395"/>
                    </a:lnTo>
                    <a:lnTo>
                      <a:pt x="10676" y="6559"/>
                    </a:lnTo>
                    <a:lnTo>
                      <a:pt x="1976" y="3732"/>
                    </a:lnTo>
                    <a:lnTo>
                      <a:pt x="851" y="2525"/>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4" name="Freeform: Shape 3693">
                <a:extLst>
                  <a:ext uri="{FF2B5EF4-FFF2-40B4-BE49-F238E27FC236}">
                    <a16:creationId xmlns:a16="http://schemas.microsoft.com/office/drawing/2014/main" id="{107A2F0E-5526-4B81-76C9-FEB942D468C2}"/>
                  </a:ext>
                </a:extLst>
              </p:cNvPr>
              <p:cNvSpPr/>
              <p:nvPr/>
            </p:nvSpPr>
            <p:spPr>
              <a:xfrm>
                <a:off x="1755361" y="3845284"/>
                <a:ext cx="2319" cy="1860"/>
              </a:xfrm>
              <a:custGeom>
                <a:avLst/>
                <a:gdLst>
                  <a:gd name="connsiteX0" fmla="*/ 0 w 22229"/>
                  <a:gd name="connsiteY0" fmla="*/ 604 h 17837"/>
                  <a:gd name="connsiteX1" fmla="*/ 2937 w 22229"/>
                  <a:gd name="connsiteY1" fmla="*/ 0 h 17837"/>
                  <a:gd name="connsiteX2" fmla="*/ 4803 w 22229"/>
                  <a:gd name="connsiteY2" fmla="*/ 2854 h 17837"/>
                  <a:gd name="connsiteX3" fmla="*/ 5791 w 22229"/>
                  <a:gd name="connsiteY3" fmla="*/ 2113 h 17837"/>
                  <a:gd name="connsiteX4" fmla="*/ 9578 w 22229"/>
                  <a:gd name="connsiteY4" fmla="*/ 3842 h 17837"/>
                  <a:gd name="connsiteX5" fmla="*/ 13118 w 22229"/>
                  <a:gd name="connsiteY5" fmla="*/ 2085 h 17837"/>
                  <a:gd name="connsiteX6" fmla="*/ 16137 w 22229"/>
                  <a:gd name="connsiteY6" fmla="*/ 5955 h 17837"/>
                  <a:gd name="connsiteX7" fmla="*/ 14984 w 22229"/>
                  <a:gd name="connsiteY7" fmla="*/ 11389 h 17837"/>
                  <a:gd name="connsiteX8" fmla="*/ 20802 w 22229"/>
                  <a:gd name="connsiteY8" fmla="*/ 13200 h 17837"/>
                  <a:gd name="connsiteX9" fmla="*/ 22229 w 22229"/>
                  <a:gd name="connsiteY9" fmla="*/ 15368 h 17837"/>
                  <a:gd name="connsiteX10" fmla="*/ 18113 w 22229"/>
                  <a:gd name="connsiteY10" fmla="*/ 17838 h 17837"/>
                  <a:gd name="connsiteX11" fmla="*/ 14463 w 22229"/>
                  <a:gd name="connsiteY11" fmla="*/ 14846 h 17837"/>
                  <a:gd name="connsiteX12" fmla="*/ 10017 w 22229"/>
                  <a:gd name="connsiteY12" fmla="*/ 15587 h 17837"/>
                  <a:gd name="connsiteX13" fmla="*/ 9578 w 22229"/>
                  <a:gd name="connsiteY13" fmla="*/ 11498 h 17837"/>
                  <a:gd name="connsiteX14" fmla="*/ 6943 w 22229"/>
                  <a:gd name="connsiteY14" fmla="*/ 11608 h 17837"/>
                  <a:gd name="connsiteX15" fmla="*/ 7273 w 22229"/>
                  <a:gd name="connsiteY15" fmla="*/ 9989 h 17837"/>
                  <a:gd name="connsiteX16" fmla="*/ 5791 w 22229"/>
                  <a:gd name="connsiteY16" fmla="*/ 7904 h 17837"/>
                  <a:gd name="connsiteX17" fmla="*/ 385 w 22229"/>
                  <a:gd name="connsiteY17" fmla="*/ 7218 h 17837"/>
                  <a:gd name="connsiteX18" fmla="*/ 0 w 22229"/>
                  <a:gd name="connsiteY18" fmla="*/ 604 h 1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229" h="17837">
                    <a:moveTo>
                      <a:pt x="0" y="604"/>
                    </a:moveTo>
                    <a:lnTo>
                      <a:pt x="2937" y="0"/>
                    </a:lnTo>
                    <a:lnTo>
                      <a:pt x="4803" y="2854"/>
                    </a:lnTo>
                    <a:lnTo>
                      <a:pt x="5791" y="2113"/>
                    </a:lnTo>
                    <a:lnTo>
                      <a:pt x="9578" y="3842"/>
                    </a:lnTo>
                    <a:lnTo>
                      <a:pt x="13118" y="2085"/>
                    </a:lnTo>
                    <a:lnTo>
                      <a:pt x="16137" y="5955"/>
                    </a:lnTo>
                    <a:lnTo>
                      <a:pt x="14984" y="11389"/>
                    </a:lnTo>
                    <a:lnTo>
                      <a:pt x="20802" y="13200"/>
                    </a:lnTo>
                    <a:lnTo>
                      <a:pt x="22229" y="15368"/>
                    </a:lnTo>
                    <a:lnTo>
                      <a:pt x="18113" y="17838"/>
                    </a:lnTo>
                    <a:lnTo>
                      <a:pt x="14463" y="14846"/>
                    </a:lnTo>
                    <a:lnTo>
                      <a:pt x="10017" y="15587"/>
                    </a:lnTo>
                    <a:lnTo>
                      <a:pt x="9578" y="11498"/>
                    </a:lnTo>
                    <a:lnTo>
                      <a:pt x="6943" y="11608"/>
                    </a:lnTo>
                    <a:lnTo>
                      <a:pt x="7273" y="9989"/>
                    </a:lnTo>
                    <a:lnTo>
                      <a:pt x="5791" y="7904"/>
                    </a:lnTo>
                    <a:lnTo>
                      <a:pt x="385" y="7218"/>
                    </a:lnTo>
                    <a:lnTo>
                      <a:pt x="0" y="6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6" name="Freeform: Shape 3695">
                <a:extLst>
                  <a:ext uri="{FF2B5EF4-FFF2-40B4-BE49-F238E27FC236}">
                    <a16:creationId xmlns:a16="http://schemas.microsoft.com/office/drawing/2014/main" id="{B547AE6F-1942-0879-AE58-2780A40CD54B}"/>
                  </a:ext>
                </a:extLst>
              </p:cNvPr>
              <p:cNvSpPr/>
              <p:nvPr/>
            </p:nvSpPr>
            <p:spPr>
              <a:xfrm>
                <a:off x="1765400" y="3844543"/>
                <a:ext cx="2731" cy="1508"/>
              </a:xfrm>
              <a:custGeom>
                <a:avLst/>
                <a:gdLst>
                  <a:gd name="connsiteX0" fmla="*/ 9056 w 26180"/>
                  <a:gd name="connsiteY0" fmla="*/ 1509 h 14462"/>
                  <a:gd name="connsiteX1" fmla="*/ 11828 w 26180"/>
                  <a:gd name="connsiteY1" fmla="*/ 0 h 14462"/>
                  <a:gd name="connsiteX2" fmla="*/ 20116 w 26180"/>
                  <a:gd name="connsiteY2" fmla="*/ 1043 h 14462"/>
                  <a:gd name="connsiteX3" fmla="*/ 26181 w 26180"/>
                  <a:gd name="connsiteY3" fmla="*/ 5434 h 14462"/>
                  <a:gd name="connsiteX4" fmla="*/ 25495 w 26180"/>
                  <a:gd name="connsiteY4" fmla="*/ 8205 h 14462"/>
                  <a:gd name="connsiteX5" fmla="*/ 25165 w 26180"/>
                  <a:gd name="connsiteY5" fmla="*/ 9578 h 14462"/>
                  <a:gd name="connsiteX6" fmla="*/ 19155 w 26180"/>
                  <a:gd name="connsiteY6" fmla="*/ 9413 h 14462"/>
                  <a:gd name="connsiteX7" fmla="*/ 6696 w 26180"/>
                  <a:gd name="connsiteY7" fmla="*/ 14463 h 14462"/>
                  <a:gd name="connsiteX8" fmla="*/ 4857 w 26180"/>
                  <a:gd name="connsiteY8" fmla="*/ 14463 h 14462"/>
                  <a:gd name="connsiteX9" fmla="*/ 7794 w 26180"/>
                  <a:gd name="connsiteY9" fmla="*/ 10428 h 14462"/>
                  <a:gd name="connsiteX10" fmla="*/ 3704 w 26180"/>
                  <a:gd name="connsiteY10" fmla="*/ 8205 h 14462"/>
                  <a:gd name="connsiteX11" fmla="*/ 0 w 26180"/>
                  <a:gd name="connsiteY11" fmla="*/ 6230 h 14462"/>
                  <a:gd name="connsiteX12" fmla="*/ 2772 w 26180"/>
                  <a:gd name="connsiteY12" fmla="*/ 1592 h 14462"/>
                  <a:gd name="connsiteX13" fmla="*/ 6230 w 26180"/>
                  <a:gd name="connsiteY13" fmla="*/ 1811 h 14462"/>
                  <a:gd name="connsiteX14" fmla="*/ 11498 w 26180"/>
                  <a:gd name="connsiteY14" fmla="*/ 7465 h 14462"/>
                  <a:gd name="connsiteX15" fmla="*/ 12761 w 26180"/>
                  <a:gd name="connsiteY15" fmla="*/ 6367 h 14462"/>
                  <a:gd name="connsiteX16" fmla="*/ 9084 w 26180"/>
                  <a:gd name="connsiteY16" fmla="*/ 1509 h 1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180" h="14462">
                    <a:moveTo>
                      <a:pt x="9056" y="1509"/>
                    </a:moveTo>
                    <a:lnTo>
                      <a:pt x="11828" y="0"/>
                    </a:lnTo>
                    <a:lnTo>
                      <a:pt x="20116" y="1043"/>
                    </a:lnTo>
                    <a:lnTo>
                      <a:pt x="26181" y="5434"/>
                    </a:lnTo>
                    <a:lnTo>
                      <a:pt x="25495" y="8205"/>
                    </a:lnTo>
                    <a:lnTo>
                      <a:pt x="25165" y="9578"/>
                    </a:lnTo>
                    <a:lnTo>
                      <a:pt x="19155" y="9413"/>
                    </a:lnTo>
                    <a:lnTo>
                      <a:pt x="6696" y="14463"/>
                    </a:lnTo>
                    <a:lnTo>
                      <a:pt x="4857" y="14463"/>
                    </a:lnTo>
                    <a:lnTo>
                      <a:pt x="7794" y="10428"/>
                    </a:lnTo>
                    <a:lnTo>
                      <a:pt x="3704" y="8205"/>
                    </a:lnTo>
                    <a:lnTo>
                      <a:pt x="0" y="6230"/>
                    </a:lnTo>
                    <a:lnTo>
                      <a:pt x="2772" y="1592"/>
                    </a:lnTo>
                    <a:lnTo>
                      <a:pt x="6230" y="1811"/>
                    </a:lnTo>
                    <a:lnTo>
                      <a:pt x="11498" y="7465"/>
                    </a:lnTo>
                    <a:lnTo>
                      <a:pt x="12761" y="6367"/>
                    </a:lnTo>
                    <a:lnTo>
                      <a:pt x="9084" y="15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7" name="Freeform: Shape 3696">
                <a:extLst>
                  <a:ext uri="{FF2B5EF4-FFF2-40B4-BE49-F238E27FC236}">
                    <a16:creationId xmlns:a16="http://schemas.microsoft.com/office/drawing/2014/main" id="{DEDAC40A-EFBF-3313-8B50-ABBD5BD60D9D}"/>
                  </a:ext>
                </a:extLst>
              </p:cNvPr>
              <p:cNvSpPr/>
              <p:nvPr/>
            </p:nvSpPr>
            <p:spPr>
              <a:xfrm>
                <a:off x="1742092" y="3848086"/>
                <a:ext cx="2410" cy="1597"/>
              </a:xfrm>
              <a:custGeom>
                <a:avLst/>
                <a:gdLst>
                  <a:gd name="connsiteX0" fmla="*/ 0 w 23106"/>
                  <a:gd name="connsiteY0" fmla="*/ 7464 h 15313"/>
                  <a:gd name="connsiteX1" fmla="*/ 109 w 23106"/>
                  <a:gd name="connsiteY1" fmla="*/ 7218 h 15313"/>
                  <a:gd name="connsiteX2" fmla="*/ 3156 w 23106"/>
                  <a:gd name="connsiteY2" fmla="*/ 631 h 15313"/>
                  <a:gd name="connsiteX3" fmla="*/ 11608 w 23106"/>
                  <a:gd name="connsiteY3" fmla="*/ 0 h 15313"/>
                  <a:gd name="connsiteX4" fmla="*/ 12513 w 23106"/>
                  <a:gd name="connsiteY4" fmla="*/ 3815 h 15313"/>
                  <a:gd name="connsiteX5" fmla="*/ 13529 w 23106"/>
                  <a:gd name="connsiteY5" fmla="*/ 3870 h 15313"/>
                  <a:gd name="connsiteX6" fmla="*/ 14709 w 23106"/>
                  <a:gd name="connsiteY6" fmla="*/ 631 h 15313"/>
                  <a:gd name="connsiteX7" fmla="*/ 18935 w 23106"/>
                  <a:gd name="connsiteY7" fmla="*/ 1647 h 15313"/>
                  <a:gd name="connsiteX8" fmla="*/ 21790 w 23106"/>
                  <a:gd name="connsiteY8" fmla="*/ 3458 h 15313"/>
                  <a:gd name="connsiteX9" fmla="*/ 22228 w 23106"/>
                  <a:gd name="connsiteY9" fmla="*/ 7218 h 15313"/>
                  <a:gd name="connsiteX10" fmla="*/ 23107 w 23106"/>
                  <a:gd name="connsiteY10" fmla="*/ 15313 h 15313"/>
                  <a:gd name="connsiteX11" fmla="*/ 20691 w 23106"/>
                  <a:gd name="connsiteY11" fmla="*/ 15204 h 15313"/>
                  <a:gd name="connsiteX12" fmla="*/ 18935 w 23106"/>
                  <a:gd name="connsiteY12" fmla="*/ 9660 h 15313"/>
                  <a:gd name="connsiteX13" fmla="*/ 14572 w 23106"/>
                  <a:gd name="connsiteY13" fmla="*/ 7602 h 15313"/>
                  <a:gd name="connsiteX14" fmla="*/ 12623 w 23106"/>
                  <a:gd name="connsiteY14" fmla="*/ 12048 h 15313"/>
                  <a:gd name="connsiteX15" fmla="*/ 10181 w 23106"/>
                  <a:gd name="connsiteY15" fmla="*/ 12734 h 15313"/>
                  <a:gd name="connsiteX16" fmla="*/ 11032 w 23106"/>
                  <a:gd name="connsiteY16" fmla="*/ 8370 h 15313"/>
                  <a:gd name="connsiteX17" fmla="*/ 10620 w 23106"/>
                  <a:gd name="connsiteY17" fmla="*/ 7190 h 15313"/>
                  <a:gd name="connsiteX18" fmla="*/ 9714 w 23106"/>
                  <a:gd name="connsiteY18" fmla="*/ 4556 h 15313"/>
                  <a:gd name="connsiteX19" fmla="*/ 7217 w 23106"/>
                  <a:gd name="connsiteY19" fmla="*/ 7190 h 15313"/>
                  <a:gd name="connsiteX20" fmla="*/ 2689 w 23106"/>
                  <a:gd name="connsiteY20" fmla="*/ 11965 h 15313"/>
                  <a:gd name="connsiteX21" fmla="*/ 27 w 23106"/>
                  <a:gd name="connsiteY21" fmla="*/ 7437 h 1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106" h="15313">
                    <a:moveTo>
                      <a:pt x="0" y="7464"/>
                    </a:moveTo>
                    <a:lnTo>
                      <a:pt x="109" y="7218"/>
                    </a:lnTo>
                    <a:lnTo>
                      <a:pt x="3156" y="631"/>
                    </a:lnTo>
                    <a:lnTo>
                      <a:pt x="11608" y="0"/>
                    </a:lnTo>
                    <a:lnTo>
                      <a:pt x="12513" y="3815"/>
                    </a:lnTo>
                    <a:lnTo>
                      <a:pt x="13529" y="3870"/>
                    </a:lnTo>
                    <a:lnTo>
                      <a:pt x="14709" y="631"/>
                    </a:lnTo>
                    <a:lnTo>
                      <a:pt x="18935" y="1647"/>
                    </a:lnTo>
                    <a:lnTo>
                      <a:pt x="21790" y="3458"/>
                    </a:lnTo>
                    <a:lnTo>
                      <a:pt x="22228" y="7218"/>
                    </a:lnTo>
                    <a:lnTo>
                      <a:pt x="23107" y="15313"/>
                    </a:lnTo>
                    <a:lnTo>
                      <a:pt x="20691" y="15204"/>
                    </a:lnTo>
                    <a:lnTo>
                      <a:pt x="18935" y="9660"/>
                    </a:lnTo>
                    <a:lnTo>
                      <a:pt x="14572" y="7602"/>
                    </a:lnTo>
                    <a:lnTo>
                      <a:pt x="12623" y="12048"/>
                    </a:lnTo>
                    <a:lnTo>
                      <a:pt x="10181" y="12734"/>
                    </a:lnTo>
                    <a:lnTo>
                      <a:pt x="11032" y="8370"/>
                    </a:lnTo>
                    <a:lnTo>
                      <a:pt x="10620" y="7190"/>
                    </a:lnTo>
                    <a:lnTo>
                      <a:pt x="9714" y="4556"/>
                    </a:lnTo>
                    <a:lnTo>
                      <a:pt x="7217" y="7190"/>
                    </a:lnTo>
                    <a:lnTo>
                      <a:pt x="2689" y="11965"/>
                    </a:lnTo>
                    <a:lnTo>
                      <a:pt x="27"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8" name="Freeform: Shape 3697">
                <a:extLst>
                  <a:ext uri="{FF2B5EF4-FFF2-40B4-BE49-F238E27FC236}">
                    <a16:creationId xmlns:a16="http://schemas.microsoft.com/office/drawing/2014/main" id="{CCCF67C3-265D-8E66-B0D8-13E3424AC58F}"/>
                  </a:ext>
                </a:extLst>
              </p:cNvPr>
              <p:cNvSpPr/>
              <p:nvPr/>
            </p:nvSpPr>
            <p:spPr>
              <a:xfrm>
                <a:off x="1751351" y="3867793"/>
                <a:ext cx="3014" cy="1156"/>
              </a:xfrm>
              <a:custGeom>
                <a:avLst/>
                <a:gdLst>
                  <a:gd name="connsiteX0" fmla="*/ 27 w 28897"/>
                  <a:gd name="connsiteY0" fmla="*/ 8535 h 11087"/>
                  <a:gd name="connsiteX1" fmla="*/ 3568 w 28897"/>
                  <a:gd name="connsiteY1" fmla="*/ 3815 h 11087"/>
                  <a:gd name="connsiteX2" fmla="*/ 22668 w 28897"/>
                  <a:gd name="connsiteY2" fmla="*/ 0 h 11087"/>
                  <a:gd name="connsiteX3" fmla="*/ 28898 w 28897"/>
                  <a:gd name="connsiteY3" fmla="*/ 3787 h 11087"/>
                  <a:gd name="connsiteX4" fmla="*/ 18469 w 28897"/>
                  <a:gd name="connsiteY4" fmla="*/ 10428 h 11087"/>
                  <a:gd name="connsiteX5" fmla="*/ 8809 w 28897"/>
                  <a:gd name="connsiteY5" fmla="*/ 9331 h 11087"/>
                  <a:gd name="connsiteX6" fmla="*/ 3540 w 28897"/>
                  <a:gd name="connsiteY6" fmla="*/ 10428 h 11087"/>
                  <a:gd name="connsiteX7" fmla="*/ 1043 w 28897"/>
                  <a:gd name="connsiteY7" fmla="*/ 11087 h 11087"/>
                  <a:gd name="connsiteX8" fmla="*/ 0 w 28897"/>
                  <a:gd name="connsiteY8" fmla="*/ 8535 h 1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97" h="11087">
                    <a:moveTo>
                      <a:pt x="27" y="8535"/>
                    </a:moveTo>
                    <a:lnTo>
                      <a:pt x="3568" y="3815"/>
                    </a:lnTo>
                    <a:lnTo>
                      <a:pt x="22668" y="0"/>
                    </a:lnTo>
                    <a:lnTo>
                      <a:pt x="28898" y="3787"/>
                    </a:lnTo>
                    <a:lnTo>
                      <a:pt x="18469" y="10428"/>
                    </a:lnTo>
                    <a:lnTo>
                      <a:pt x="8809" y="9331"/>
                    </a:lnTo>
                    <a:lnTo>
                      <a:pt x="3540" y="10428"/>
                    </a:lnTo>
                    <a:lnTo>
                      <a:pt x="1043" y="11087"/>
                    </a:lnTo>
                    <a:lnTo>
                      <a:pt x="0" y="85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9" name="Freeform: Shape 3698">
                <a:extLst>
                  <a:ext uri="{FF2B5EF4-FFF2-40B4-BE49-F238E27FC236}">
                    <a16:creationId xmlns:a16="http://schemas.microsoft.com/office/drawing/2014/main" id="{B90D8E06-07EA-C4EA-A4D0-E10893CDF463}"/>
                  </a:ext>
                </a:extLst>
              </p:cNvPr>
              <p:cNvSpPr/>
              <p:nvPr/>
            </p:nvSpPr>
            <p:spPr>
              <a:xfrm>
                <a:off x="1781154" y="3849406"/>
                <a:ext cx="3933" cy="862"/>
              </a:xfrm>
              <a:custGeom>
                <a:avLst/>
                <a:gdLst>
                  <a:gd name="connsiteX0" fmla="*/ 32026 w 37706"/>
                  <a:gd name="connsiteY0" fmla="*/ 7519 h 8260"/>
                  <a:gd name="connsiteX1" fmla="*/ 21927 w 37706"/>
                  <a:gd name="connsiteY1" fmla="*/ 8260 h 8260"/>
                  <a:gd name="connsiteX2" fmla="*/ 10730 w 37706"/>
                  <a:gd name="connsiteY2" fmla="*/ 4693 h 8260"/>
                  <a:gd name="connsiteX3" fmla="*/ 356 w 37706"/>
                  <a:gd name="connsiteY3" fmla="*/ 1043 h 8260"/>
                  <a:gd name="connsiteX4" fmla="*/ 0 w 37706"/>
                  <a:gd name="connsiteY4" fmla="*/ 494 h 8260"/>
                  <a:gd name="connsiteX5" fmla="*/ 576 w 37706"/>
                  <a:gd name="connsiteY5" fmla="*/ 0 h 8260"/>
                  <a:gd name="connsiteX6" fmla="*/ 19402 w 37706"/>
                  <a:gd name="connsiteY6" fmla="*/ 1235 h 8260"/>
                  <a:gd name="connsiteX7" fmla="*/ 37652 w 37706"/>
                  <a:gd name="connsiteY7" fmla="*/ 4803 h 8260"/>
                  <a:gd name="connsiteX8" fmla="*/ 37707 w 37706"/>
                  <a:gd name="connsiteY8" fmla="*/ 5818 h 8260"/>
                  <a:gd name="connsiteX9" fmla="*/ 32026 w 37706"/>
                  <a:gd name="connsiteY9" fmla="*/ 7492 h 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06" h="8260">
                    <a:moveTo>
                      <a:pt x="32026" y="7519"/>
                    </a:moveTo>
                    <a:lnTo>
                      <a:pt x="21927" y="8260"/>
                    </a:lnTo>
                    <a:lnTo>
                      <a:pt x="10730" y="4693"/>
                    </a:lnTo>
                    <a:lnTo>
                      <a:pt x="356" y="1043"/>
                    </a:lnTo>
                    <a:lnTo>
                      <a:pt x="0" y="494"/>
                    </a:lnTo>
                    <a:lnTo>
                      <a:pt x="576" y="0"/>
                    </a:lnTo>
                    <a:lnTo>
                      <a:pt x="19402" y="1235"/>
                    </a:lnTo>
                    <a:lnTo>
                      <a:pt x="37652" y="4803"/>
                    </a:lnTo>
                    <a:lnTo>
                      <a:pt x="37707" y="5818"/>
                    </a:lnTo>
                    <a:lnTo>
                      <a:pt x="32026" y="74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0" name="Freeform: Shape 3699">
                <a:extLst>
                  <a:ext uri="{FF2B5EF4-FFF2-40B4-BE49-F238E27FC236}">
                    <a16:creationId xmlns:a16="http://schemas.microsoft.com/office/drawing/2014/main" id="{AB29E63D-3FEB-22EB-C83E-6640E3C4FB25}"/>
                  </a:ext>
                </a:extLst>
              </p:cNvPr>
              <p:cNvSpPr/>
              <p:nvPr/>
            </p:nvSpPr>
            <p:spPr>
              <a:xfrm>
                <a:off x="1758352" y="3836376"/>
                <a:ext cx="1803" cy="1840"/>
              </a:xfrm>
              <a:custGeom>
                <a:avLst/>
                <a:gdLst>
                  <a:gd name="connsiteX0" fmla="*/ 3239 w 17289"/>
                  <a:gd name="connsiteY0" fmla="*/ 9632 h 17645"/>
                  <a:gd name="connsiteX1" fmla="*/ 4720 w 17289"/>
                  <a:gd name="connsiteY1" fmla="*/ 8452 h 17645"/>
                  <a:gd name="connsiteX2" fmla="*/ 5873 w 17289"/>
                  <a:gd name="connsiteY2" fmla="*/ 5763 h 17645"/>
                  <a:gd name="connsiteX3" fmla="*/ 10483 w 17289"/>
                  <a:gd name="connsiteY3" fmla="*/ 1207 h 17645"/>
                  <a:gd name="connsiteX4" fmla="*/ 12377 w 17289"/>
                  <a:gd name="connsiteY4" fmla="*/ 1592 h 17645"/>
                  <a:gd name="connsiteX5" fmla="*/ 14024 w 17289"/>
                  <a:gd name="connsiteY5" fmla="*/ 0 h 17645"/>
                  <a:gd name="connsiteX6" fmla="*/ 15616 w 17289"/>
                  <a:gd name="connsiteY6" fmla="*/ 2909 h 17645"/>
                  <a:gd name="connsiteX7" fmla="*/ 17179 w 17289"/>
                  <a:gd name="connsiteY7" fmla="*/ 4007 h 17645"/>
                  <a:gd name="connsiteX8" fmla="*/ 17289 w 17289"/>
                  <a:gd name="connsiteY8" fmla="*/ 6202 h 17645"/>
                  <a:gd name="connsiteX9" fmla="*/ 15725 w 17289"/>
                  <a:gd name="connsiteY9" fmla="*/ 8041 h 17645"/>
                  <a:gd name="connsiteX10" fmla="*/ 16027 w 17289"/>
                  <a:gd name="connsiteY10" fmla="*/ 9715 h 17645"/>
                  <a:gd name="connsiteX11" fmla="*/ 13721 w 17289"/>
                  <a:gd name="connsiteY11" fmla="*/ 15478 h 17645"/>
                  <a:gd name="connsiteX12" fmla="*/ 12103 w 17289"/>
                  <a:gd name="connsiteY12" fmla="*/ 16658 h 17645"/>
                  <a:gd name="connsiteX13" fmla="*/ 6394 w 17289"/>
                  <a:gd name="connsiteY13" fmla="*/ 17646 h 17645"/>
                  <a:gd name="connsiteX14" fmla="*/ 3678 w 17289"/>
                  <a:gd name="connsiteY14" fmla="*/ 14764 h 17645"/>
                  <a:gd name="connsiteX15" fmla="*/ 4309 w 17289"/>
                  <a:gd name="connsiteY15" fmla="*/ 11416 h 17645"/>
                  <a:gd name="connsiteX16" fmla="*/ 1235 w 17289"/>
                  <a:gd name="connsiteY16" fmla="*/ 10757 h 17645"/>
                  <a:gd name="connsiteX17" fmla="*/ 0 w 17289"/>
                  <a:gd name="connsiteY17" fmla="*/ 8425 h 17645"/>
                  <a:gd name="connsiteX18" fmla="*/ 2744 w 17289"/>
                  <a:gd name="connsiteY18" fmla="*/ 6888 h 17645"/>
                  <a:gd name="connsiteX19" fmla="*/ 3294 w 17289"/>
                  <a:gd name="connsiteY19" fmla="*/ 9660 h 1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89" h="17645">
                    <a:moveTo>
                      <a:pt x="3239" y="9632"/>
                    </a:moveTo>
                    <a:lnTo>
                      <a:pt x="4720" y="8452"/>
                    </a:lnTo>
                    <a:lnTo>
                      <a:pt x="5873" y="5763"/>
                    </a:lnTo>
                    <a:lnTo>
                      <a:pt x="10483" y="1207"/>
                    </a:lnTo>
                    <a:lnTo>
                      <a:pt x="12377" y="1592"/>
                    </a:lnTo>
                    <a:lnTo>
                      <a:pt x="14024" y="0"/>
                    </a:lnTo>
                    <a:lnTo>
                      <a:pt x="15616" y="2909"/>
                    </a:lnTo>
                    <a:lnTo>
                      <a:pt x="17179" y="4007"/>
                    </a:lnTo>
                    <a:lnTo>
                      <a:pt x="17289" y="6202"/>
                    </a:lnTo>
                    <a:lnTo>
                      <a:pt x="15725" y="8041"/>
                    </a:lnTo>
                    <a:lnTo>
                      <a:pt x="16027" y="9715"/>
                    </a:lnTo>
                    <a:lnTo>
                      <a:pt x="13721" y="15478"/>
                    </a:lnTo>
                    <a:lnTo>
                      <a:pt x="12103" y="16658"/>
                    </a:lnTo>
                    <a:lnTo>
                      <a:pt x="6394" y="17646"/>
                    </a:lnTo>
                    <a:lnTo>
                      <a:pt x="3678" y="14764"/>
                    </a:lnTo>
                    <a:lnTo>
                      <a:pt x="4309" y="11416"/>
                    </a:lnTo>
                    <a:lnTo>
                      <a:pt x="1235" y="10757"/>
                    </a:lnTo>
                    <a:lnTo>
                      <a:pt x="0" y="8425"/>
                    </a:lnTo>
                    <a:lnTo>
                      <a:pt x="2744" y="6888"/>
                    </a:lnTo>
                    <a:lnTo>
                      <a:pt x="3294" y="96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1" name="Freeform: Shape 3700">
                <a:extLst>
                  <a:ext uri="{FF2B5EF4-FFF2-40B4-BE49-F238E27FC236}">
                    <a16:creationId xmlns:a16="http://schemas.microsoft.com/office/drawing/2014/main" id="{1055DFA1-76F1-7535-E2E7-15D0A4B54C5E}"/>
                  </a:ext>
                </a:extLst>
              </p:cNvPr>
              <p:cNvSpPr/>
              <p:nvPr/>
            </p:nvSpPr>
            <p:spPr>
              <a:xfrm>
                <a:off x="1756171" y="3848550"/>
                <a:ext cx="2224" cy="1153"/>
              </a:xfrm>
              <a:custGeom>
                <a:avLst/>
                <a:gdLst>
                  <a:gd name="connsiteX0" fmla="*/ 2058 w 21323"/>
                  <a:gd name="connsiteY0" fmla="*/ 2772 h 11059"/>
                  <a:gd name="connsiteX1" fmla="*/ 7190 w 21323"/>
                  <a:gd name="connsiteY1" fmla="*/ 0 h 11059"/>
                  <a:gd name="connsiteX2" fmla="*/ 9358 w 21323"/>
                  <a:gd name="connsiteY2" fmla="*/ 165 h 11059"/>
                  <a:gd name="connsiteX3" fmla="*/ 12706 w 21323"/>
                  <a:gd name="connsiteY3" fmla="*/ 2772 h 11059"/>
                  <a:gd name="connsiteX4" fmla="*/ 20445 w 21323"/>
                  <a:gd name="connsiteY4" fmla="*/ 6641 h 11059"/>
                  <a:gd name="connsiteX5" fmla="*/ 21323 w 21323"/>
                  <a:gd name="connsiteY5" fmla="*/ 9907 h 11059"/>
                  <a:gd name="connsiteX6" fmla="*/ 2882 w 21323"/>
                  <a:gd name="connsiteY6" fmla="*/ 11060 h 11059"/>
                  <a:gd name="connsiteX7" fmla="*/ 0 w 21323"/>
                  <a:gd name="connsiteY7" fmla="*/ 6861 h 11059"/>
                  <a:gd name="connsiteX8" fmla="*/ 2031 w 21323"/>
                  <a:gd name="connsiteY8" fmla="*/ 2744 h 1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23" h="11059">
                    <a:moveTo>
                      <a:pt x="2058" y="2772"/>
                    </a:moveTo>
                    <a:lnTo>
                      <a:pt x="7190" y="0"/>
                    </a:lnTo>
                    <a:lnTo>
                      <a:pt x="9358" y="165"/>
                    </a:lnTo>
                    <a:lnTo>
                      <a:pt x="12706" y="2772"/>
                    </a:lnTo>
                    <a:lnTo>
                      <a:pt x="20445" y="6641"/>
                    </a:lnTo>
                    <a:lnTo>
                      <a:pt x="21323" y="9907"/>
                    </a:lnTo>
                    <a:lnTo>
                      <a:pt x="2882" y="11060"/>
                    </a:lnTo>
                    <a:lnTo>
                      <a:pt x="0" y="6861"/>
                    </a:lnTo>
                    <a:lnTo>
                      <a:pt x="2031"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2" name="Freeform: Shape 3701">
                <a:extLst>
                  <a:ext uri="{FF2B5EF4-FFF2-40B4-BE49-F238E27FC236}">
                    <a16:creationId xmlns:a16="http://schemas.microsoft.com/office/drawing/2014/main" id="{6BAA26D1-A9CF-D7E3-505B-A9F8BD1A5BD4}"/>
                  </a:ext>
                </a:extLst>
              </p:cNvPr>
              <p:cNvSpPr/>
              <p:nvPr/>
            </p:nvSpPr>
            <p:spPr>
              <a:xfrm>
                <a:off x="1742106" y="3876815"/>
                <a:ext cx="1875" cy="1354"/>
              </a:xfrm>
              <a:custGeom>
                <a:avLst/>
                <a:gdLst>
                  <a:gd name="connsiteX0" fmla="*/ 13255 w 17975"/>
                  <a:gd name="connsiteY0" fmla="*/ 7410 h 12980"/>
                  <a:gd name="connsiteX1" fmla="*/ 12349 w 17975"/>
                  <a:gd name="connsiteY1" fmla="*/ 10072 h 12980"/>
                  <a:gd name="connsiteX2" fmla="*/ 9742 w 17975"/>
                  <a:gd name="connsiteY2" fmla="*/ 9770 h 12980"/>
                  <a:gd name="connsiteX3" fmla="*/ 8343 w 17975"/>
                  <a:gd name="connsiteY3" fmla="*/ 10977 h 12980"/>
                  <a:gd name="connsiteX4" fmla="*/ 5516 w 17975"/>
                  <a:gd name="connsiteY4" fmla="*/ 11142 h 12980"/>
                  <a:gd name="connsiteX5" fmla="*/ 3184 w 17975"/>
                  <a:gd name="connsiteY5" fmla="*/ 12980 h 12980"/>
                  <a:gd name="connsiteX6" fmla="*/ 549 w 17975"/>
                  <a:gd name="connsiteY6" fmla="*/ 12871 h 12980"/>
                  <a:gd name="connsiteX7" fmla="*/ 0 w 17975"/>
                  <a:gd name="connsiteY7" fmla="*/ 9358 h 12980"/>
                  <a:gd name="connsiteX8" fmla="*/ 1702 w 17975"/>
                  <a:gd name="connsiteY8" fmla="*/ 8041 h 12980"/>
                  <a:gd name="connsiteX9" fmla="*/ 7026 w 17975"/>
                  <a:gd name="connsiteY9" fmla="*/ 7135 h 12980"/>
                  <a:gd name="connsiteX10" fmla="*/ 7959 w 17975"/>
                  <a:gd name="connsiteY10" fmla="*/ 6230 h 12980"/>
                  <a:gd name="connsiteX11" fmla="*/ 13749 w 17975"/>
                  <a:gd name="connsiteY11" fmla="*/ 1015 h 12980"/>
                  <a:gd name="connsiteX12" fmla="*/ 16274 w 17975"/>
                  <a:gd name="connsiteY12" fmla="*/ 0 h 12980"/>
                  <a:gd name="connsiteX13" fmla="*/ 17975 w 17975"/>
                  <a:gd name="connsiteY13" fmla="*/ 4693 h 12980"/>
                  <a:gd name="connsiteX14" fmla="*/ 14929 w 17975"/>
                  <a:gd name="connsiteY14" fmla="*/ 6230 h 12980"/>
                  <a:gd name="connsiteX15" fmla="*/ 13255 w 17975"/>
                  <a:gd name="connsiteY15" fmla="*/ 7437 h 1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975" h="12980">
                    <a:moveTo>
                      <a:pt x="13255" y="7410"/>
                    </a:moveTo>
                    <a:lnTo>
                      <a:pt x="12349" y="10072"/>
                    </a:lnTo>
                    <a:lnTo>
                      <a:pt x="9742" y="9770"/>
                    </a:lnTo>
                    <a:lnTo>
                      <a:pt x="8343" y="10977"/>
                    </a:lnTo>
                    <a:lnTo>
                      <a:pt x="5516" y="11142"/>
                    </a:lnTo>
                    <a:lnTo>
                      <a:pt x="3184" y="12980"/>
                    </a:lnTo>
                    <a:lnTo>
                      <a:pt x="549" y="12871"/>
                    </a:lnTo>
                    <a:lnTo>
                      <a:pt x="0" y="9358"/>
                    </a:lnTo>
                    <a:lnTo>
                      <a:pt x="1702" y="8041"/>
                    </a:lnTo>
                    <a:lnTo>
                      <a:pt x="7026" y="7135"/>
                    </a:lnTo>
                    <a:lnTo>
                      <a:pt x="7959" y="6230"/>
                    </a:lnTo>
                    <a:lnTo>
                      <a:pt x="13749" y="1015"/>
                    </a:lnTo>
                    <a:lnTo>
                      <a:pt x="16274" y="0"/>
                    </a:lnTo>
                    <a:lnTo>
                      <a:pt x="17975" y="4693"/>
                    </a:lnTo>
                    <a:lnTo>
                      <a:pt x="14929" y="6230"/>
                    </a:lnTo>
                    <a:lnTo>
                      <a:pt x="13255"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5" name="Freeform: Shape 3704">
                <a:extLst>
                  <a:ext uri="{FF2B5EF4-FFF2-40B4-BE49-F238E27FC236}">
                    <a16:creationId xmlns:a16="http://schemas.microsoft.com/office/drawing/2014/main" id="{73B4C0CF-48F3-C71A-64B3-46C2CC369291}"/>
                  </a:ext>
                </a:extLst>
              </p:cNvPr>
              <p:cNvSpPr/>
              <p:nvPr/>
            </p:nvSpPr>
            <p:spPr>
              <a:xfrm>
                <a:off x="1763433" y="3849632"/>
                <a:ext cx="2018" cy="1131"/>
              </a:xfrm>
              <a:custGeom>
                <a:avLst/>
                <a:gdLst>
                  <a:gd name="connsiteX0" fmla="*/ 15697 w 19347"/>
                  <a:gd name="connsiteY0" fmla="*/ 9523 h 10839"/>
                  <a:gd name="connsiteX1" fmla="*/ 12020 w 19347"/>
                  <a:gd name="connsiteY1" fmla="*/ 10840 h 10839"/>
                  <a:gd name="connsiteX2" fmla="*/ 0 w 19347"/>
                  <a:gd name="connsiteY2" fmla="*/ 6778 h 10839"/>
                  <a:gd name="connsiteX3" fmla="*/ 137 w 19347"/>
                  <a:gd name="connsiteY3" fmla="*/ 5132 h 10839"/>
                  <a:gd name="connsiteX4" fmla="*/ 4199 w 19347"/>
                  <a:gd name="connsiteY4" fmla="*/ 3019 h 10839"/>
                  <a:gd name="connsiteX5" fmla="*/ 8535 w 19347"/>
                  <a:gd name="connsiteY5" fmla="*/ 1427 h 10839"/>
                  <a:gd name="connsiteX6" fmla="*/ 14134 w 19347"/>
                  <a:gd name="connsiteY6" fmla="*/ 1098 h 10839"/>
                  <a:gd name="connsiteX7" fmla="*/ 17262 w 19347"/>
                  <a:gd name="connsiteY7" fmla="*/ 0 h 10839"/>
                  <a:gd name="connsiteX8" fmla="*/ 19347 w 19347"/>
                  <a:gd name="connsiteY8" fmla="*/ 3019 h 10839"/>
                  <a:gd name="connsiteX9" fmla="*/ 17838 w 19347"/>
                  <a:gd name="connsiteY9" fmla="*/ 6943 h 10839"/>
                  <a:gd name="connsiteX10" fmla="*/ 19155 w 19347"/>
                  <a:gd name="connsiteY10" fmla="*/ 9248 h 10839"/>
                  <a:gd name="connsiteX11" fmla="*/ 15671 w 19347"/>
                  <a:gd name="connsiteY11" fmla="*/ 9523 h 10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347" h="10839">
                    <a:moveTo>
                      <a:pt x="15697" y="9523"/>
                    </a:moveTo>
                    <a:lnTo>
                      <a:pt x="12020" y="10840"/>
                    </a:lnTo>
                    <a:lnTo>
                      <a:pt x="0" y="6778"/>
                    </a:lnTo>
                    <a:lnTo>
                      <a:pt x="137" y="5132"/>
                    </a:lnTo>
                    <a:lnTo>
                      <a:pt x="4199" y="3019"/>
                    </a:lnTo>
                    <a:lnTo>
                      <a:pt x="8535" y="1427"/>
                    </a:lnTo>
                    <a:lnTo>
                      <a:pt x="14134" y="1098"/>
                    </a:lnTo>
                    <a:lnTo>
                      <a:pt x="17262" y="0"/>
                    </a:lnTo>
                    <a:lnTo>
                      <a:pt x="19347" y="3019"/>
                    </a:lnTo>
                    <a:lnTo>
                      <a:pt x="17838" y="6943"/>
                    </a:lnTo>
                    <a:lnTo>
                      <a:pt x="19155" y="9248"/>
                    </a:lnTo>
                    <a:lnTo>
                      <a:pt x="15671" y="95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6" name="Freeform: Shape 3705">
                <a:extLst>
                  <a:ext uri="{FF2B5EF4-FFF2-40B4-BE49-F238E27FC236}">
                    <a16:creationId xmlns:a16="http://schemas.microsoft.com/office/drawing/2014/main" id="{1E83350A-9D7E-D86C-F265-7234B93128E0}"/>
                  </a:ext>
                </a:extLst>
              </p:cNvPr>
              <p:cNvSpPr/>
              <p:nvPr/>
            </p:nvSpPr>
            <p:spPr>
              <a:xfrm>
                <a:off x="1743471" y="3869691"/>
                <a:ext cx="1938" cy="1153"/>
              </a:xfrm>
              <a:custGeom>
                <a:avLst/>
                <a:gdLst>
                  <a:gd name="connsiteX0" fmla="*/ 4556 w 18578"/>
                  <a:gd name="connsiteY0" fmla="*/ 2305 h 11059"/>
                  <a:gd name="connsiteX1" fmla="*/ 6833 w 18578"/>
                  <a:gd name="connsiteY1" fmla="*/ 1455 h 11059"/>
                  <a:gd name="connsiteX2" fmla="*/ 8370 w 18578"/>
                  <a:gd name="connsiteY2" fmla="*/ 4803 h 11059"/>
                  <a:gd name="connsiteX3" fmla="*/ 14984 w 18578"/>
                  <a:gd name="connsiteY3" fmla="*/ 0 h 11059"/>
                  <a:gd name="connsiteX4" fmla="*/ 18579 w 18578"/>
                  <a:gd name="connsiteY4" fmla="*/ 1564 h 11059"/>
                  <a:gd name="connsiteX5" fmla="*/ 9962 w 18578"/>
                  <a:gd name="connsiteY5" fmla="*/ 7327 h 11059"/>
                  <a:gd name="connsiteX6" fmla="*/ 8891 w 18578"/>
                  <a:gd name="connsiteY6" fmla="*/ 10566 h 11059"/>
                  <a:gd name="connsiteX7" fmla="*/ 6861 w 18578"/>
                  <a:gd name="connsiteY7" fmla="*/ 9687 h 11059"/>
                  <a:gd name="connsiteX8" fmla="*/ 3952 w 18578"/>
                  <a:gd name="connsiteY8" fmla="*/ 11060 h 11059"/>
                  <a:gd name="connsiteX9" fmla="*/ 0 w 18578"/>
                  <a:gd name="connsiteY9" fmla="*/ 9111 h 11059"/>
                  <a:gd name="connsiteX10" fmla="*/ 5434 w 18578"/>
                  <a:gd name="connsiteY10" fmla="*/ 4501 h 11059"/>
                  <a:gd name="connsiteX11" fmla="*/ 4583 w 18578"/>
                  <a:gd name="connsiteY11" fmla="*/ 2333 h 1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78" h="11059">
                    <a:moveTo>
                      <a:pt x="4556" y="2305"/>
                    </a:moveTo>
                    <a:lnTo>
                      <a:pt x="6833" y="1455"/>
                    </a:lnTo>
                    <a:lnTo>
                      <a:pt x="8370" y="4803"/>
                    </a:lnTo>
                    <a:lnTo>
                      <a:pt x="14984" y="0"/>
                    </a:lnTo>
                    <a:lnTo>
                      <a:pt x="18579" y="1564"/>
                    </a:lnTo>
                    <a:lnTo>
                      <a:pt x="9962" y="7327"/>
                    </a:lnTo>
                    <a:lnTo>
                      <a:pt x="8891" y="10566"/>
                    </a:lnTo>
                    <a:lnTo>
                      <a:pt x="6861" y="9687"/>
                    </a:lnTo>
                    <a:lnTo>
                      <a:pt x="3952" y="11060"/>
                    </a:lnTo>
                    <a:lnTo>
                      <a:pt x="0" y="9111"/>
                    </a:lnTo>
                    <a:lnTo>
                      <a:pt x="5434" y="4501"/>
                    </a:lnTo>
                    <a:lnTo>
                      <a:pt x="4583" y="23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0" name="Freeform: Shape 3709">
                <a:extLst>
                  <a:ext uri="{FF2B5EF4-FFF2-40B4-BE49-F238E27FC236}">
                    <a16:creationId xmlns:a16="http://schemas.microsoft.com/office/drawing/2014/main" id="{D9DA2116-F276-4F5C-4A33-96898330C0BF}"/>
                  </a:ext>
                </a:extLst>
              </p:cNvPr>
              <p:cNvSpPr/>
              <p:nvPr/>
            </p:nvSpPr>
            <p:spPr>
              <a:xfrm>
                <a:off x="1754022" y="3830517"/>
                <a:ext cx="664" cy="1652"/>
              </a:xfrm>
              <a:custGeom>
                <a:avLst/>
                <a:gdLst>
                  <a:gd name="connsiteX0" fmla="*/ 3238 w 6366"/>
                  <a:gd name="connsiteY0" fmla="*/ 15039 h 15834"/>
                  <a:gd name="connsiteX1" fmla="*/ 439 w 6366"/>
                  <a:gd name="connsiteY1" fmla="*/ 15835 h 15834"/>
                  <a:gd name="connsiteX2" fmla="*/ 0 w 6366"/>
                  <a:gd name="connsiteY2" fmla="*/ 14380 h 15834"/>
                  <a:gd name="connsiteX3" fmla="*/ 2827 w 6366"/>
                  <a:gd name="connsiteY3" fmla="*/ 9660 h 15834"/>
                  <a:gd name="connsiteX4" fmla="*/ 137 w 6366"/>
                  <a:gd name="connsiteY4" fmla="*/ 5269 h 15834"/>
                  <a:gd name="connsiteX5" fmla="*/ 2251 w 6366"/>
                  <a:gd name="connsiteY5" fmla="*/ 0 h 15834"/>
                  <a:gd name="connsiteX6" fmla="*/ 5050 w 6366"/>
                  <a:gd name="connsiteY6" fmla="*/ 2003 h 15834"/>
                  <a:gd name="connsiteX7" fmla="*/ 6367 w 6366"/>
                  <a:gd name="connsiteY7" fmla="*/ 7574 h 15834"/>
                  <a:gd name="connsiteX8" fmla="*/ 5544 w 6366"/>
                  <a:gd name="connsiteY8" fmla="*/ 9633 h 15834"/>
                  <a:gd name="connsiteX9" fmla="*/ 3814 w 6366"/>
                  <a:gd name="connsiteY9" fmla="*/ 11444 h 15834"/>
                  <a:gd name="connsiteX10" fmla="*/ 3211 w 6366"/>
                  <a:gd name="connsiteY10" fmla="*/ 15012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6" h="15834">
                    <a:moveTo>
                      <a:pt x="3238" y="15039"/>
                    </a:moveTo>
                    <a:lnTo>
                      <a:pt x="439" y="15835"/>
                    </a:lnTo>
                    <a:lnTo>
                      <a:pt x="0" y="14380"/>
                    </a:lnTo>
                    <a:lnTo>
                      <a:pt x="2827" y="9660"/>
                    </a:lnTo>
                    <a:lnTo>
                      <a:pt x="137" y="5269"/>
                    </a:lnTo>
                    <a:lnTo>
                      <a:pt x="2251" y="0"/>
                    </a:lnTo>
                    <a:lnTo>
                      <a:pt x="5050" y="2003"/>
                    </a:lnTo>
                    <a:lnTo>
                      <a:pt x="6367" y="7574"/>
                    </a:lnTo>
                    <a:lnTo>
                      <a:pt x="5544" y="9633"/>
                    </a:lnTo>
                    <a:lnTo>
                      <a:pt x="3814" y="11444"/>
                    </a:lnTo>
                    <a:lnTo>
                      <a:pt x="3211" y="150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2" name="Freeform: Shape 3711">
                <a:extLst>
                  <a:ext uri="{FF2B5EF4-FFF2-40B4-BE49-F238E27FC236}">
                    <a16:creationId xmlns:a16="http://schemas.microsoft.com/office/drawing/2014/main" id="{8B17ED60-B83B-E816-4C74-7EC34F5D3261}"/>
                  </a:ext>
                </a:extLst>
              </p:cNvPr>
              <p:cNvSpPr/>
              <p:nvPr/>
            </p:nvSpPr>
            <p:spPr>
              <a:xfrm>
                <a:off x="1757789" y="3855242"/>
                <a:ext cx="1262" cy="821"/>
              </a:xfrm>
              <a:custGeom>
                <a:avLst/>
                <a:gdLst>
                  <a:gd name="connsiteX0" fmla="*/ 0 w 12102"/>
                  <a:gd name="connsiteY0" fmla="*/ 7081 h 7876"/>
                  <a:gd name="connsiteX1" fmla="*/ 2470 w 12102"/>
                  <a:gd name="connsiteY1" fmla="*/ 2909 h 7876"/>
                  <a:gd name="connsiteX2" fmla="*/ 11553 w 12102"/>
                  <a:gd name="connsiteY2" fmla="*/ 0 h 7876"/>
                  <a:gd name="connsiteX3" fmla="*/ 12103 w 12102"/>
                  <a:gd name="connsiteY3" fmla="*/ 3348 h 7876"/>
                  <a:gd name="connsiteX4" fmla="*/ 6971 w 12102"/>
                  <a:gd name="connsiteY4" fmla="*/ 7053 h 7876"/>
                  <a:gd name="connsiteX5" fmla="*/ 6202 w 12102"/>
                  <a:gd name="connsiteY5" fmla="*/ 5132 h 7876"/>
                  <a:gd name="connsiteX6" fmla="*/ 2251 w 12102"/>
                  <a:gd name="connsiteY6" fmla="*/ 7876 h 7876"/>
                  <a:gd name="connsiteX7" fmla="*/ 27 w 12102"/>
                  <a:gd name="connsiteY7" fmla="*/ 7081 h 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02" h="7876">
                    <a:moveTo>
                      <a:pt x="0" y="7081"/>
                    </a:moveTo>
                    <a:lnTo>
                      <a:pt x="2470" y="2909"/>
                    </a:lnTo>
                    <a:lnTo>
                      <a:pt x="11553" y="0"/>
                    </a:lnTo>
                    <a:lnTo>
                      <a:pt x="12103" y="3348"/>
                    </a:lnTo>
                    <a:lnTo>
                      <a:pt x="6971" y="7053"/>
                    </a:lnTo>
                    <a:lnTo>
                      <a:pt x="6202" y="5132"/>
                    </a:lnTo>
                    <a:lnTo>
                      <a:pt x="2251" y="7876"/>
                    </a:lnTo>
                    <a:lnTo>
                      <a:pt x="27" y="70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4" name="Freeform: Shape 3713">
                <a:extLst>
                  <a:ext uri="{FF2B5EF4-FFF2-40B4-BE49-F238E27FC236}">
                    <a16:creationId xmlns:a16="http://schemas.microsoft.com/office/drawing/2014/main" id="{E4D28ED9-0417-06D5-51CB-090587D3365C}"/>
                  </a:ext>
                </a:extLst>
              </p:cNvPr>
              <p:cNvSpPr/>
              <p:nvPr/>
            </p:nvSpPr>
            <p:spPr>
              <a:xfrm>
                <a:off x="1750052" y="3832976"/>
                <a:ext cx="873" cy="1125"/>
              </a:xfrm>
              <a:custGeom>
                <a:avLst/>
                <a:gdLst>
                  <a:gd name="connsiteX0" fmla="*/ 7657 w 8370"/>
                  <a:gd name="connsiteY0" fmla="*/ 10318 h 10784"/>
                  <a:gd name="connsiteX1" fmla="*/ 5736 w 8370"/>
                  <a:gd name="connsiteY1" fmla="*/ 10785 h 10784"/>
                  <a:gd name="connsiteX2" fmla="*/ 3211 w 8370"/>
                  <a:gd name="connsiteY2" fmla="*/ 8699 h 10784"/>
                  <a:gd name="connsiteX3" fmla="*/ 3375 w 8370"/>
                  <a:gd name="connsiteY3" fmla="*/ 4994 h 10784"/>
                  <a:gd name="connsiteX4" fmla="*/ 0 w 8370"/>
                  <a:gd name="connsiteY4" fmla="*/ 1619 h 10784"/>
                  <a:gd name="connsiteX5" fmla="*/ 604 w 8370"/>
                  <a:gd name="connsiteY5" fmla="*/ 0 h 10784"/>
                  <a:gd name="connsiteX6" fmla="*/ 3321 w 8370"/>
                  <a:gd name="connsiteY6" fmla="*/ 219 h 10784"/>
                  <a:gd name="connsiteX7" fmla="*/ 5598 w 8370"/>
                  <a:gd name="connsiteY7" fmla="*/ 3211 h 10784"/>
                  <a:gd name="connsiteX8" fmla="*/ 5022 w 8370"/>
                  <a:gd name="connsiteY8" fmla="*/ 4638 h 10784"/>
                  <a:gd name="connsiteX9" fmla="*/ 7163 w 8370"/>
                  <a:gd name="connsiteY9" fmla="*/ 6175 h 10784"/>
                  <a:gd name="connsiteX10" fmla="*/ 8370 w 8370"/>
                  <a:gd name="connsiteY10" fmla="*/ 8864 h 10784"/>
                  <a:gd name="connsiteX11" fmla="*/ 7657 w 8370"/>
                  <a:gd name="connsiteY11" fmla="*/ 10373 h 10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70" h="10784">
                    <a:moveTo>
                      <a:pt x="7657" y="10318"/>
                    </a:moveTo>
                    <a:lnTo>
                      <a:pt x="5736" y="10785"/>
                    </a:lnTo>
                    <a:lnTo>
                      <a:pt x="3211" y="8699"/>
                    </a:lnTo>
                    <a:lnTo>
                      <a:pt x="3375" y="4994"/>
                    </a:lnTo>
                    <a:lnTo>
                      <a:pt x="0" y="1619"/>
                    </a:lnTo>
                    <a:lnTo>
                      <a:pt x="604" y="0"/>
                    </a:lnTo>
                    <a:lnTo>
                      <a:pt x="3321" y="219"/>
                    </a:lnTo>
                    <a:lnTo>
                      <a:pt x="5598" y="3211"/>
                    </a:lnTo>
                    <a:lnTo>
                      <a:pt x="5022" y="4638"/>
                    </a:lnTo>
                    <a:lnTo>
                      <a:pt x="7163" y="6175"/>
                    </a:lnTo>
                    <a:lnTo>
                      <a:pt x="8370" y="8864"/>
                    </a:lnTo>
                    <a:lnTo>
                      <a:pt x="7657" y="103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5" name="Freeform: Shape 3714">
                <a:extLst>
                  <a:ext uri="{FF2B5EF4-FFF2-40B4-BE49-F238E27FC236}">
                    <a16:creationId xmlns:a16="http://schemas.microsoft.com/office/drawing/2014/main" id="{608B47CC-F5E4-36FA-86C5-1D330989D8FA}"/>
                  </a:ext>
                </a:extLst>
              </p:cNvPr>
              <p:cNvSpPr/>
              <p:nvPr/>
            </p:nvSpPr>
            <p:spPr>
              <a:xfrm>
                <a:off x="1751514" y="3850556"/>
                <a:ext cx="604" cy="1488"/>
              </a:xfrm>
              <a:custGeom>
                <a:avLst/>
                <a:gdLst>
                  <a:gd name="connsiteX0" fmla="*/ 2937 w 5790"/>
                  <a:gd name="connsiteY0" fmla="*/ 5406 h 14270"/>
                  <a:gd name="connsiteX1" fmla="*/ 5790 w 5790"/>
                  <a:gd name="connsiteY1" fmla="*/ 12980 h 14270"/>
                  <a:gd name="connsiteX2" fmla="*/ 4967 w 5790"/>
                  <a:gd name="connsiteY2" fmla="*/ 14271 h 14270"/>
                  <a:gd name="connsiteX3" fmla="*/ 3430 w 5790"/>
                  <a:gd name="connsiteY3" fmla="*/ 13310 h 14270"/>
                  <a:gd name="connsiteX4" fmla="*/ 0 w 5790"/>
                  <a:gd name="connsiteY4" fmla="*/ 4144 h 14270"/>
                  <a:gd name="connsiteX5" fmla="*/ 1400 w 5790"/>
                  <a:gd name="connsiteY5" fmla="*/ 0 h 14270"/>
                  <a:gd name="connsiteX6" fmla="*/ 3156 w 5790"/>
                  <a:gd name="connsiteY6" fmla="*/ 1153 h 14270"/>
                  <a:gd name="connsiteX7" fmla="*/ 2964 w 5790"/>
                  <a:gd name="connsiteY7" fmla="*/ 5406 h 1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0" h="14270">
                    <a:moveTo>
                      <a:pt x="2937" y="5406"/>
                    </a:moveTo>
                    <a:lnTo>
                      <a:pt x="5790" y="12980"/>
                    </a:lnTo>
                    <a:lnTo>
                      <a:pt x="4967" y="14271"/>
                    </a:lnTo>
                    <a:lnTo>
                      <a:pt x="3430" y="13310"/>
                    </a:lnTo>
                    <a:lnTo>
                      <a:pt x="0" y="4144"/>
                    </a:lnTo>
                    <a:lnTo>
                      <a:pt x="1400" y="0"/>
                    </a:lnTo>
                    <a:lnTo>
                      <a:pt x="3156" y="1153"/>
                    </a:lnTo>
                    <a:lnTo>
                      <a:pt x="2964" y="54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6" name="Freeform: Shape 3715">
                <a:extLst>
                  <a:ext uri="{FF2B5EF4-FFF2-40B4-BE49-F238E27FC236}">
                    <a16:creationId xmlns:a16="http://schemas.microsoft.com/office/drawing/2014/main" id="{7EB229FA-3AC7-1530-7B27-A08EBE49BDD0}"/>
                  </a:ext>
                </a:extLst>
              </p:cNvPr>
              <p:cNvSpPr/>
              <p:nvPr/>
            </p:nvSpPr>
            <p:spPr>
              <a:xfrm>
                <a:off x="1742510" y="3856664"/>
                <a:ext cx="987" cy="873"/>
              </a:xfrm>
              <a:custGeom>
                <a:avLst/>
                <a:gdLst>
                  <a:gd name="connsiteX0" fmla="*/ 27 w 9467"/>
                  <a:gd name="connsiteY0" fmla="*/ 2744 h 8370"/>
                  <a:gd name="connsiteX1" fmla="*/ 2277 w 9467"/>
                  <a:gd name="connsiteY1" fmla="*/ 0 h 8370"/>
                  <a:gd name="connsiteX2" fmla="*/ 4528 w 9467"/>
                  <a:gd name="connsiteY2" fmla="*/ 1153 h 8370"/>
                  <a:gd name="connsiteX3" fmla="*/ 8096 w 9467"/>
                  <a:gd name="connsiteY3" fmla="*/ 1016 h 8370"/>
                  <a:gd name="connsiteX4" fmla="*/ 9468 w 9467"/>
                  <a:gd name="connsiteY4" fmla="*/ 2360 h 8370"/>
                  <a:gd name="connsiteX5" fmla="*/ 9303 w 9467"/>
                  <a:gd name="connsiteY5" fmla="*/ 4336 h 8370"/>
                  <a:gd name="connsiteX6" fmla="*/ 5406 w 9467"/>
                  <a:gd name="connsiteY6" fmla="*/ 8370 h 8370"/>
                  <a:gd name="connsiteX7" fmla="*/ 1619 w 9467"/>
                  <a:gd name="connsiteY7" fmla="*/ 6504 h 8370"/>
                  <a:gd name="connsiteX8" fmla="*/ 0 w 9467"/>
                  <a:gd name="connsiteY8" fmla="*/ 2744 h 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67" h="8370">
                    <a:moveTo>
                      <a:pt x="27" y="2744"/>
                    </a:moveTo>
                    <a:lnTo>
                      <a:pt x="2277" y="0"/>
                    </a:lnTo>
                    <a:lnTo>
                      <a:pt x="4528" y="1153"/>
                    </a:lnTo>
                    <a:lnTo>
                      <a:pt x="8096" y="1016"/>
                    </a:lnTo>
                    <a:lnTo>
                      <a:pt x="9468" y="2360"/>
                    </a:lnTo>
                    <a:lnTo>
                      <a:pt x="9303" y="4336"/>
                    </a:lnTo>
                    <a:lnTo>
                      <a:pt x="5406" y="8370"/>
                    </a:lnTo>
                    <a:lnTo>
                      <a:pt x="1619" y="6504"/>
                    </a:lnTo>
                    <a:lnTo>
                      <a:pt x="0"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7" name="Freeform: Shape 3716">
                <a:extLst>
                  <a:ext uri="{FF2B5EF4-FFF2-40B4-BE49-F238E27FC236}">
                    <a16:creationId xmlns:a16="http://schemas.microsoft.com/office/drawing/2014/main" id="{9AF5FA67-8D7D-E375-4314-AB58C767B7E7}"/>
                  </a:ext>
                </a:extLst>
              </p:cNvPr>
              <p:cNvSpPr/>
              <p:nvPr/>
            </p:nvSpPr>
            <p:spPr>
              <a:xfrm>
                <a:off x="1739083" y="3860088"/>
                <a:ext cx="710" cy="1116"/>
              </a:xfrm>
              <a:custGeom>
                <a:avLst/>
                <a:gdLst>
                  <a:gd name="connsiteX0" fmla="*/ 6421 w 6805"/>
                  <a:gd name="connsiteY0" fmla="*/ 9550 h 10702"/>
                  <a:gd name="connsiteX1" fmla="*/ 4857 w 6805"/>
                  <a:gd name="connsiteY1" fmla="*/ 10703 h 10702"/>
                  <a:gd name="connsiteX2" fmla="*/ 0 w 6805"/>
                  <a:gd name="connsiteY2" fmla="*/ 5077 h 10702"/>
                  <a:gd name="connsiteX3" fmla="*/ 905 w 6805"/>
                  <a:gd name="connsiteY3" fmla="*/ 1180 h 10702"/>
                  <a:gd name="connsiteX4" fmla="*/ 4610 w 6805"/>
                  <a:gd name="connsiteY4" fmla="*/ 0 h 10702"/>
                  <a:gd name="connsiteX5" fmla="*/ 6806 w 6805"/>
                  <a:gd name="connsiteY5" fmla="*/ 5049 h 10702"/>
                  <a:gd name="connsiteX6" fmla="*/ 6394 w 6805"/>
                  <a:gd name="connsiteY6" fmla="*/ 9550 h 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5" h="10702">
                    <a:moveTo>
                      <a:pt x="6421" y="9550"/>
                    </a:moveTo>
                    <a:lnTo>
                      <a:pt x="4857" y="10703"/>
                    </a:lnTo>
                    <a:lnTo>
                      <a:pt x="0" y="5077"/>
                    </a:lnTo>
                    <a:lnTo>
                      <a:pt x="905" y="1180"/>
                    </a:lnTo>
                    <a:lnTo>
                      <a:pt x="4610" y="0"/>
                    </a:lnTo>
                    <a:lnTo>
                      <a:pt x="6806" y="5049"/>
                    </a:lnTo>
                    <a:lnTo>
                      <a:pt x="6394" y="95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8" name="Freeform: Shape 3717">
                <a:extLst>
                  <a:ext uri="{FF2B5EF4-FFF2-40B4-BE49-F238E27FC236}">
                    <a16:creationId xmlns:a16="http://schemas.microsoft.com/office/drawing/2014/main" id="{3697D85E-F36B-A1DE-A408-73A947CB9EF8}"/>
                  </a:ext>
                </a:extLst>
              </p:cNvPr>
              <p:cNvSpPr/>
              <p:nvPr/>
            </p:nvSpPr>
            <p:spPr>
              <a:xfrm>
                <a:off x="1757362" y="3869393"/>
                <a:ext cx="1408" cy="567"/>
              </a:xfrm>
              <a:custGeom>
                <a:avLst/>
                <a:gdLst>
                  <a:gd name="connsiteX0" fmla="*/ 27 w 13502"/>
                  <a:gd name="connsiteY0" fmla="*/ 521 h 5433"/>
                  <a:gd name="connsiteX1" fmla="*/ 851 w 13502"/>
                  <a:gd name="connsiteY1" fmla="*/ 0 h 5433"/>
                  <a:gd name="connsiteX2" fmla="*/ 4803 w 13502"/>
                  <a:gd name="connsiteY2" fmla="*/ 1235 h 5433"/>
                  <a:gd name="connsiteX3" fmla="*/ 10346 w 13502"/>
                  <a:gd name="connsiteY3" fmla="*/ 1564 h 5433"/>
                  <a:gd name="connsiteX4" fmla="*/ 9440 w 13502"/>
                  <a:gd name="connsiteY4" fmla="*/ 3129 h 5433"/>
                  <a:gd name="connsiteX5" fmla="*/ 12569 w 13502"/>
                  <a:gd name="connsiteY5" fmla="*/ 2991 h 5433"/>
                  <a:gd name="connsiteX6" fmla="*/ 13502 w 13502"/>
                  <a:gd name="connsiteY6" fmla="*/ 5077 h 5433"/>
                  <a:gd name="connsiteX7" fmla="*/ 11471 w 13502"/>
                  <a:gd name="connsiteY7" fmla="*/ 5434 h 5433"/>
                  <a:gd name="connsiteX8" fmla="*/ 7245 w 13502"/>
                  <a:gd name="connsiteY8" fmla="*/ 4885 h 5433"/>
                  <a:gd name="connsiteX9" fmla="*/ 4967 w 13502"/>
                  <a:gd name="connsiteY9" fmla="*/ 3595 h 5433"/>
                  <a:gd name="connsiteX10" fmla="*/ 2552 w 13502"/>
                  <a:gd name="connsiteY10" fmla="*/ 3375 h 5433"/>
                  <a:gd name="connsiteX11" fmla="*/ 247 w 13502"/>
                  <a:gd name="connsiteY11" fmla="*/ 2195 h 5433"/>
                  <a:gd name="connsiteX12" fmla="*/ 0 w 13502"/>
                  <a:gd name="connsiteY12" fmla="*/ 494 h 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02" h="5433">
                    <a:moveTo>
                      <a:pt x="27" y="521"/>
                    </a:moveTo>
                    <a:lnTo>
                      <a:pt x="851" y="0"/>
                    </a:lnTo>
                    <a:lnTo>
                      <a:pt x="4803" y="1235"/>
                    </a:lnTo>
                    <a:lnTo>
                      <a:pt x="10346" y="1564"/>
                    </a:lnTo>
                    <a:lnTo>
                      <a:pt x="9440" y="3129"/>
                    </a:lnTo>
                    <a:lnTo>
                      <a:pt x="12569" y="2991"/>
                    </a:lnTo>
                    <a:lnTo>
                      <a:pt x="13502" y="5077"/>
                    </a:lnTo>
                    <a:lnTo>
                      <a:pt x="11471" y="5434"/>
                    </a:lnTo>
                    <a:lnTo>
                      <a:pt x="7245" y="4885"/>
                    </a:lnTo>
                    <a:lnTo>
                      <a:pt x="4967" y="3595"/>
                    </a:lnTo>
                    <a:lnTo>
                      <a:pt x="2552" y="3375"/>
                    </a:lnTo>
                    <a:lnTo>
                      <a:pt x="247" y="2195"/>
                    </a:lnTo>
                    <a:lnTo>
                      <a:pt x="0" y="4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9" name="Freeform: Shape 3718">
                <a:extLst>
                  <a:ext uri="{FF2B5EF4-FFF2-40B4-BE49-F238E27FC236}">
                    <a16:creationId xmlns:a16="http://schemas.microsoft.com/office/drawing/2014/main" id="{B06DCDDB-ECD2-5D54-D97C-D7B88677559D}"/>
                  </a:ext>
                </a:extLst>
              </p:cNvPr>
              <p:cNvSpPr/>
              <p:nvPr/>
            </p:nvSpPr>
            <p:spPr>
              <a:xfrm>
                <a:off x="1762715" y="3868429"/>
                <a:ext cx="979" cy="804"/>
              </a:xfrm>
              <a:custGeom>
                <a:avLst/>
                <a:gdLst>
                  <a:gd name="connsiteX0" fmla="*/ 8480 w 9385"/>
                  <a:gd name="connsiteY0" fmla="*/ 6120 h 7711"/>
                  <a:gd name="connsiteX1" fmla="*/ 6312 w 9385"/>
                  <a:gd name="connsiteY1" fmla="*/ 7711 h 7711"/>
                  <a:gd name="connsiteX2" fmla="*/ 2470 w 9385"/>
                  <a:gd name="connsiteY2" fmla="*/ 4253 h 7711"/>
                  <a:gd name="connsiteX3" fmla="*/ 275 w 9385"/>
                  <a:gd name="connsiteY3" fmla="*/ 4199 h 7711"/>
                  <a:gd name="connsiteX4" fmla="*/ 0 w 9385"/>
                  <a:gd name="connsiteY4" fmla="*/ 2278 h 7711"/>
                  <a:gd name="connsiteX5" fmla="*/ 2003 w 9385"/>
                  <a:gd name="connsiteY5" fmla="*/ 2278 h 7711"/>
                  <a:gd name="connsiteX6" fmla="*/ 2580 w 9385"/>
                  <a:gd name="connsiteY6" fmla="*/ 631 h 7711"/>
                  <a:gd name="connsiteX7" fmla="*/ 5132 w 9385"/>
                  <a:gd name="connsiteY7" fmla="*/ 0 h 7711"/>
                  <a:gd name="connsiteX8" fmla="*/ 8563 w 9385"/>
                  <a:gd name="connsiteY8" fmla="*/ 823 h 7711"/>
                  <a:gd name="connsiteX9" fmla="*/ 9386 w 9385"/>
                  <a:gd name="connsiteY9" fmla="*/ 2250 h 7711"/>
                  <a:gd name="connsiteX10" fmla="*/ 8480 w 9385"/>
                  <a:gd name="connsiteY10" fmla="*/ 6120 h 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85" h="7711">
                    <a:moveTo>
                      <a:pt x="8480" y="6120"/>
                    </a:moveTo>
                    <a:lnTo>
                      <a:pt x="6312" y="7711"/>
                    </a:lnTo>
                    <a:lnTo>
                      <a:pt x="2470" y="4253"/>
                    </a:lnTo>
                    <a:lnTo>
                      <a:pt x="275" y="4199"/>
                    </a:lnTo>
                    <a:lnTo>
                      <a:pt x="0" y="2278"/>
                    </a:lnTo>
                    <a:lnTo>
                      <a:pt x="2003" y="2278"/>
                    </a:lnTo>
                    <a:lnTo>
                      <a:pt x="2580" y="631"/>
                    </a:lnTo>
                    <a:lnTo>
                      <a:pt x="5132" y="0"/>
                    </a:lnTo>
                    <a:lnTo>
                      <a:pt x="8563" y="823"/>
                    </a:lnTo>
                    <a:lnTo>
                      <a:pt x="9386" y="2250"/>
                    </a:lnTo>
                    <a:lnTo>
                      <a:pt x="8480" y="61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0" name="Freeform: Shape 3719">
                <a:extLst>
                  <a:ext uri="{FF2B5EF4-FFF2-40B4-BE49-F238E27FC236}">
                    <a16:creationId xmlns:a16="http://schemas.microsoft.com/office/drawing/2014/main" id="{930D578E-7971-CA74-981C-F86F5A2A993A}"/>
                  </a:ext>
                </a:extLst>
              </p:cNvPr>
              <p:cNvSpPr/>
              <p:nvPr/>
            </p:nvSpPr>
            <p:spPr>
              <a:xfrm>
                <a:off x="1734844" y="3862186"/>
                <a:ext cx="389" cy="1723"/>
              </a:xfrm>
              <a:custGeom>
                <a:avLst/>
                <a:gdLst>
                  <a:gd name="connsiteX0" fmla="*/ 2058 w 3731"/>
                  <a:gd name="connsiteY0" fmla="*/ 16521 h 16520"/>
                  <a:gd name="connsiteX1" fmla="*/ 1015 w 3731"/>
                  <a:gd name="connsiteY1" fmla="*/ 16521 h 16520"/>
                  <a:gd name="connsiteX2" fmla="*/ 0 w 3731"/>
                  <a:gd name="connsiteY2" fmla="*/ 12239 h 16520"/>
                  <a:gd name="connsiteX3" fmla="*/ 521 w 3731"/>
                  <a:gd name="connsiteY3" fmla="*/ 1811 h 16520"/>
                  <a:gd name="connsiteX4" fmla="*/ 1152 w 3731"/>
                  <a:gd name="connsiteY4" fmla="*/ 0 h 16520"/>
                  <a:gd name="connsiteX5" fmla="*/ 2442 w 3731"/>
                  <a:gd name="connsiteY5" fmla="*/ 1811 h 16520"/>
                  <a:gd name="connsiteX6" fmla="*/ 3732 w 3731"/>
                  <a:gd name="connsiteY6" fmla="*/ 8507 h 16520"/>
                  <a:gd name="connsiteX7" fmla="*/ 2086 w 3731"/>
                  <a:gd name="connsiteY7" fmla="*/ 16521 h 1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1" h="16520">
                    <a:moveTo>
                      <a:pt x="2058" y="16521"/>
                    </a:moveTo>
                    <a:lnTo>
                      <a:pt x="1015" y="16521"/>
                    </a:lnTo>
                    <a:lnTo>
                      <a:pt x="0" y="12239"/>
                    </a:lnTo>
                    <a:lnTo>
                      <a:pt x="521" y="1811"/>
                    </a:lnTo>
                    <a:lnTo>
                      <a:pt x="1152" y="0"/>
                    </a:lnTo>
                    <a:lnTo>
                      <a:pt x="2442" y="1811"/>
                    </a:lnTo>
                    <a:lnTo>
                      <a:pt x="3732" y="8507"/>
                    </a:lnTo>
                    <a:lnTo>
                      <a:pt x="2086" y="165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1" name="Freeform: Shape 3720">
                <a:extLst>
                  <a:ext uri="{FF2B5EF4-FFF2-40B4-BE49-F238E27FC236}">
                    <a16:creationId xmlns:a16="http://schemas.microsoft.com/office/drawing/2014/main" id="{07DDE6DA-FF50-1D6B-F8A6-6B318E407654}"/>
                  </a:ext>
                </a:extLst>
              </p:cNvPr>
              <p:cNvSpPr/>
              <p:nvPr/>
            </p:nvSpPr>
            <p:spPr>
              <a:xfrm>
                <a:off x="1773408" y="3860715"/>
                <a:ext cx="572" cy="1096"/>
              </a:xfrm>
              <a:custGeom>
                <a:avLst/>
                <a:gdLst>
                  <a:gd name="connsiteX0" fmla="*/ 3650 w 5488"/>
                  <a:gd name="connsiteY0" fmla="*/ 7629 h 10510"/>
                  <a:gd name="connsiteX1" fmla="*/ 906 w 5488"/>
                  <a:gd name="connsiteY1" fmla="*/ 10511 h 10510"/>
                  <a:gd name="connsiteX2" fmla="*/ 0 w 5488"/>
                  <a:gd name="connsiteY2" fmla="*/ 10099 h 10510"/>
                  <a:gd name="connsiteX3" fmla="*/ 3266 w 5488"/>
                  <a:gd name="connsiteY3" fmla="*/ 0 h 10510"/>
                  <a:gd name="connsiteX4" fmla="*/ 5489 w 5488"/>
                  <a:gd name="connsiteY4" fmla="*/ 412 h 10510"/>
                  <a:gd name="connsiteX5" fmla="*/ 3623 w 5488"/>
                  <a:gd name="connsiteY5" fmla="*/ 7629 h 10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8" h="10510">
                    <a:moveTo>
                      <a:pt x="3650" y="7629"/>
                    </a:moveTo>
                    <a:lnTo>
                      <a:pt x="906" y="10511"/>
                    </a:lnTo>
                    <a:lnTo>
                      <a:pt x="0" y="10099"/>
                    </a:lnTo>
                    <a:lnTo>
                      <a:pt x="3266" y="0"/>
                    </a:lnTo>
                    <a:lnTo>
                      <a:pt x="5489" y="412"/>
                    </a:lnTo>
                    <a:lnTo>
                      <a:pt x="3623" y="76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2" name="Freeform: Shape 3721">
                <a:extLst>
                  <a:ext uri="{FF2B5EF4-FFF2-40B4-BE49-F238E27FC236}">
                    <a16:creationId xmlns:a16="http://schemas.microsoft.com/office/drawing/2014/main" id="{37C8C02C-E9CC-192F-0633-A3A85B29E6B6}"/>
                  </a:ext>
                </a:extLst>
              </p:cNvPr>
              <p:cNvSpPr/>
              <p:nvPr/>
            </p:nvSpPr>
            <p:spPr>
              <a:xfrm>
                <a:off x="1772246" y="3861522"/>
                <a:ext cx="521" cy="1196"/>
              </a:xfrm>
              <a:custGeom>
                <a:avLst/>
                <a:gdLst>
                  <a:gd name="connsiteX0" fmla="*/ 0 w 4994"/>
                  <a:gd name="connsiteY0" fmla="*/ 3211 h 11470"/>
                  <a:gd name="connsiteX1" fmla="*/ 4501 w 4994"/>
                  <a:gd name="connsiteY1" fmla="*/ 0 h 11470"/>
                  <a:gd name="connsiteX2" fmla="*/ 4501 w 4994"/>
                  <a:gd name="connsiteY2" fmla="*/ 4967 h 11470"/>
                  <a:gd name="connsiteX3" fmla="*/ 4501 w 4994"/>
                  <a:gd name="connsiteY3" fmla="*/ 6339 h 11470"/>
                  <a:gd name="connsiteX4" fmla="*/ 4803 w 4994"/>
                  <a:gd name="connsiteY4" fmla="*/ 8205 h 11470"/>
                  <a:gd name="connsiteX5" fmla="*/ 4995 w 4994"/>
                  <a:gd name="connsiteY5" fmla="*/ 9276 h 11470"/>
                  <a:gd name="connsiteX6" fmla="*/ 3513 w 4994"/>
                  <a:gd name="connsiteY6" fmla="*/ 11471 h 11470"/>
                  <a:gd name="connsiteX7" fmla="*/ 1400 w 4994"/>
                  <a:gd name="connsiteY7" fmla="*/ 10154 h 11470"/>
                  <a:gd name="connsiteX8" fmla="*/ 1619 w 4994"/>
                  <a:gd name="connsiteY8" fmla="*/ 8205 h 11470"/>
                  <a:gd name="connsiteX9" fmla="*/ 1866 w 4994"/>
                  <a:gd name="connsiteY9" fmla="*/ 6339 h 11470"/>
                  <a:gd name="connsiteX10" fmla="*/ 1043 w 4994"/>
                  <a:gd name="connsiteY10" fmla="*/ 4967 h 11470"/>
                  <a:gd name="connsiteX11" fmla="*/ 0 w 4994"/>
                  <a:gd name="connsiteY11" fmla="*/ 3211 h 1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4" h="11470">
                    <a:moveTo>
                      <a:pt x="0" y="3211"/>
                    </a:moveTo>
                    <a:lnTo>
                      <a:pt x="4501" y="0"/>
                    </a:lnTo>
                    <a:lnTo>
                      <a:pt x="4501" y="4967"/>
                    </a:lnTo>
                    <a:cubicBezTo>
                      <a:pt x="4501" y="4967"/>
                      <a:pt x="4501" y="6339"/>
                      <a:pt x="4501" y="6339"/>
                    </a:cubicBezTo>
                    <a:lnTo>
                      <a:pt x="4803" y="8205"/>
                    </a:lnTo>
                    <a:lnTo>
                      <a:pt x="4995" y="9276"/>
                    </a:lnTo>
                    <a:lnTo>
                      <a:pt x="3513" y="11471"/>
                    </a:lnTo>
                    <a:lnTo>
                      <a:pt x="1400" y="10154"/>
                    </a:lnTo>
                    <a:lnTo>
                      <a:pt x="1619" y="8205"/>
                    </a:lnTo>
                    <a:lnTo>
                      <a:pt x="1866" y="6339"/>
                    </a:lnTo>
                    <a:lnTo>
                      <a:pt x="1043" y="4967"/>
                    </a:lnTo>
                    <a:lnTo>
                      <a:pt x="0"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3" name="Freeform: Shape 3722">
                <a:extLst>
                  <a:ext uri="{FF2B5EF4-FFF2-40B4-BE49-F238E27FC236}">
                    <a16:creationId xmlns:a16="http://schemas.microsoft.com/office/drawing/2014/main" id="{C30D2F63-8F1A-C4C4-36BD-C6B323311BCB}"/>
                  </a:ext>
                </a:extLst>
              </p:cNvPr>
              <p:cNvSpPr/>
              <p:nvPr/>
            </p:nvSpPr>
            <p:spPr>
              <a:xfrm>
                <a:off x="1738748" y="3876592"/>
                <a:ext cx="913" cy="670"/>
              </a:xfrm>
              <a:custGeom>
                <a:avLst/>
                <a:gdLst>
                  <a:gd name="connsiteX0" fmla="*/ 8727 w 8754"/>
                  <a:gd name="connsiteY0" fmla="*/ 3156 h 6421"/>
                  <a:gd name="connsiteX1" fmla="*/ 3815 w 8754"/>
                  <a:gd name="connsiteY1" fmla="*/ 6422 h 6421"/>
                  <a:gd name="connsiteX2" fmla="*/ 0 w 8754"/>
                  <a:gd name="connsiteY2" fmla="*/ 4720 h 6421"/>
                  <a:gd name="connsiteX3" fmla="*/ 3595 w 8754"/>
                  <a:gd name="connsiteY3" fmla="*/ 2470 h 6421"/>
                  <a:gd name="connsiteX4" fmla="*/ 6011 w 8754"/>
                  <a:gd name="connsiteY4" fmla="*/ 0 h 6421"/>
                  <a:gd name="connsiteX5" fmla="*/ 8755 w 8754"/>
                  <a:gd name="connsiteY5" fmla="*/ 659 h 6421"/>
                  <a:gd name="connsiteX6" fmla="*/ 8755 w 8754"/>
                  <a:gd name="connsiteY6" fmla="*/ 3128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54" h="6421">
                    <a:moveTo>
                      <a:pt x="8727" y="3156"/>
                    </a:moveTo>
                    <a:lnTo>
                      <a:pt x="3815" y="6422"/>
                    </a:lnTo>
                    <a:lnTo>
                      <a:pt x="0" y="4720"/>
                    </a:lnTo>
                    <a:lnTo>
                      <a:pt x="3595" y="2470"/>
                    </a:lnTo>
                    <a:lnTo>
                      <a:pt x="6011" y="0"/>
                    </a:lnTo>
                    <a:lnTo>
                      <a:pt x="8755" y="659"/>
                    </a:lnTo>
                    <a:lnTo>
                      <a:pt x="8755" y="31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4" name="Freeform: Shape 3723">
                <a:extLst>
                  <a:ext uri="{FF2B5EF4-FFF2-40B4-BE49-F238E27FC236}">
                    <a16:creationId xmlns:a16="http://schemas.microsoft.com/office/drawing/2014/main" id="{2B9AB420-6427-7E29-F246-405686228AA4}"/>
                  </a:ext>
                </a:extLst>
              </p:cNvPr>
              <p:cNvSpPr/>
              <p:nvPr/>
            </p:nvSpPr>
            <p:spPr>
              <a:xfrm>
                <a:off x="1765543" y="3846850"/>
                <a:ext cx="1297" cy="449"/>
              </a:xfrm>
              <a:custGeom>
                <a:avLst/>
                <a:gdLst>
                  <a:gd name="connsiteX0" fmla="*/ 0 w 12431"/>
                  <a:gd name="connsiteY0" fmla="*/ 2936 h 4308"/>
                  <a:gd name="connsiteX1" fmla="*/ 521 w 12431"/>
                  <a:gd name="connsiteY1" fmla="*/ 1180 h 4308"/>
                  <a:gd name="connsiteX2" fmla="*/ 2937 w 12431"/>
                  <a:gd name="connsiteY2" fmla="*/ 1976 h 4308"/>
                  <a:gd name="connsiteX3" fmla="*/ 5653 w 12431"/>
                  <a:gd name="connsiteY3" fmla="*/ 851 h 4308"/>
                  <a:gd name="connsiteX4" fmla="*/ 8260 w 12431"/>
                  <a:gd name="connsiteY4" fmla="*/ 1400 h 4308"/>
                  <a:gd name="connsiteX5" fmla="*/ 11663 w 12431"/>
                  <a:gd name="connsiteY5" fmla="*/ 0 h 4308"/>
                  <a:gd name="connsiteX6" fmla="*/ 12432 w 12431"/>
                  <a:gd name="connsiteY6" fmla="*/ 1564 h 4308"/>
                  <a:gd name="connsiteX7" fmla="*/ 11498 w 12431"/>
                  <a:gd name="connsiteY7" fmla="*/ 2607 h 4308"/>
                  <a:gd name="connsiteX8" fmla="*/ 5434 w 12431"/>
                  <a:gd name="connsiteY8" fmla="*/ 4034 h 4308"/>
                  <a:gd name="connsiteX9" fmla="*/ 2442 w 12431"/>
                  <a:gd name="connsiteY9" fmla="*/ 4308 h 4308"/>
                  <a:gd name="connsiteX10" fmla="*/ 0 w 12431"/>
                  <a:gd name="connsiteY10" fmla="*/ 2936 h 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1" h="4308">
                    <a:moveTo>
                      <a:pt x="0" y="2936"/>
                    </a:moveTo>
                    <a:lnTo>
                      <a:pt x="521" y="1180"/>
                    </a:lnTo>
                    <a:lnTo>
                      <a:pt x="2937" y="1976"/>
                    </a:lnTo>
                    <a:lnTo>
                      <a:pt x="5653" y="851"/>
                    </a:lnTo>
                    <a:lnTo>
                      <a:pt x="8260" y="1400"/>
                    </a:lnTo>
                    <a:lnTo>
                      <a:pt x="11663" y="0"/>
                    </a:lnTo>
                    <a:lnTo>
                      <a:pt x="12432" y="1564"/>
                    </a:lnTo>
                    <a:lnTo>
                      <a:pt x="11498" y="2607"/>
                    </a:lnTo>
                    <a:lnTo>
                      <a:pt x="5434" y="4034"/>
                    </a:lnTo>
                    <a:lnTo>
                      <a:pt x="2442" y="4308"/>
                    </a:lnTo>
                    <a:lnTo>
                      <a:pt x="0" y="29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6" name="Freeform: Shape 3725">
                <a:extLst>
                  <a:ext uri="{FF2B5EF4-FFF2-40B4-BE49-F238E27FC236}">
                    <a16:creationId xmlns:a16="http://schemas.microsoft.com/office/drawing/2014/main" id="{EF218BFB-47F7-3044-E53A-6503C7691B3A}"/>
                  </a:ext>
                </a:extLst>
              </p:cNvPr>
              <p:cNvSpPr/>
              <p:nvPr/>
            </p:nvSpPr>
            <p:spPr>
              <a:xfrm>
                <a:off x="1738734" y="3845530"/>
                <a:ext cx="1065" cy="524"/>
              </a:xfrm>
              <a:custGeom>
                <a:avLst/>
                <a:gdLst>
                  <a:gd name="connsiteX0" fmla="*/ 4363 w 10208"/>
                  <a:gd name="connsiteY0" fmla="*/ 5022 h 5021"/>
                  <a:gd name="connsiteX1" fmla="*/ 0 w 10208"/>
                  <a:gd name="connsiteY1" fmla="*/ 5022 h 5021"/>
                  <a:gd name="connsiteX2" fmla="*/ 1674 w 10208"/>
                  <a:gd name="connsiteY2" fmla="*/ 2415 h 5021"/>
                  <a:gd name="connsiteX3" fmla="*/ 5653 w 10208"/>
                  <a:gd name="connsiteY3" fmla="*/ 357 h 5021"/>
                  <a:gd name="connsiteX4" fmla="*/ 9852 w 10208"/>
                  <a:gd name="connsiteY4" fmla="*/ 0 h 5021"/>
                  <a:gd name="connsiteX5" fmla="*/ 10209 w 10208"/>
                  <a:gd name="connsiteY5" fmla="*/ 933 h 5021"/>
                  <a:gd name="connsiteX6" fmla="*/ 4418 w 10208"/>
                  <a:gd name="connsiteY6" fmla="*/ 5022 h 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08" h="5021">
                    <a:moveTo>
                      <a:pt x="4363" y="5022"/>
                    </a:moveTo>
                    <a:lnTo>
                      <a:pt x="0" y="5022"/>
                    </a:lnTo>
                    <a:lnTo>
                      <a:pt x="1674" y="2415"/>
                    </a:lnTo>
                    <a:lnTo>
                      <a:pt x="5653" y="357"/>
                    </a:lnTo>
                    <a:lnTo>
                      <a:pt x="9852" y="0"/>
                    </a:lnTo>
                    <a:lnTo>
                      <a:pt x="10209" y="933"/>
                    </a:lnTo>
                    <a:lnTo>
                      <a:pt x="4418" y="50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7" name="Freeform: Shape 3726">
                <a:extLst>
                  <a:ext uri="{FF2B5EF4-FFF2-40B4-BE49-F238E27FC236}">
                    <a16:creationId xmlns:a16="http://schemas.microsoft.com/office/drawing/2014/main" id="{22ED5038-EB3F-0804-6738-2EA18CFBB97E}"/>
                  </a:ext>
                </a:extLst>
              </p:cNvPr>
              <p:cNvSpPr/>
              <p:nvPr/>
            </p:nvSpPr>
            <p:spPr>
              <a:xfrm>
                <a:off x="1756091" y="3847909"/>
                <a:ext cx="1005" cy="509"/>
              </a:xfrm>
              <a:custGeom>
                <a:avLst/>
                <a:gdLst>
                  <a:gd name="connsiteX0" fmla="*/ 0 w 9632"/>
                  <a:gd name="connsiteY0" fmla="*/ 1647 h 4884"/>
                  <a:gd name="connsiteX1" fmla="*/ 1262 w 9632"/>
                  <a:gd name="connsiteY1" fmla="*/ 0 h 4884"/>
                  <a:gd name="connsiteX2" fmla="*/ 3595 w 9632"/>
                  <a:gd name="connsiteY2" fmla="*/ 1619 h 4884"/>
                  <a:gd name="connsiteX3" fmla="*/ 9633 w 9632"/>
                  <a:gd name="connsiteY3" fmla="*/ 2964 h 4884"/>
                  <a:gd name="connsiteX4" fmla="*/ 8974 w 9632"/>
                  <a:gd name="connsiteY4" fmla="*/ 4885 h 4884"/>
                  <a:gd name="connsiteX5" fmla="*/ 5571 w 9632"/>
                  <a:gd name="connsiteY5" fmla="*/ 3595 h 4884"/>
                  <a:gd name="connsiteX6" fmla="*/ 3705 w 9632"/>
                  <a:gd name="connsiteY6" fmla="*/ 4336 h 4884"/>
                  <a:gd name="connsiteX7" fmla="*/ 2470 w 9632"/>
                  <a:gd name="connsiteY7" fmla="*/ 3156 h 4884"/>
                  <a:gd name="connsiteX8" fmla="*/ 1070 w 9632"/>
                  <a:gd name="connsiteY8" fmla="*/ 4116 h 4884"/>
                  <a:gd name="connsiteX9" fmla="*/ 27 w 9632"/>
                  <a:gd name="connsiteY9" fmla="*/ 1619 h 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32" h="4884">
                    <a:moveTo>
                      <a:pt x="0" y="1647"/>
                    </a:moveTo>
                    <a:lnTo>
                      <a:pt x="1262" y="0"/>
                    </a:lnTo>
                    <a:lnTo>
                      <a:pt x="3595" y="1619"/>
                    </a:lnTo>
                    <a:lnTo>
                      <a:pt x="9633" y="2964"/>
                    </a:lnTo>
                    <a:lnTo>
                      <a:pt x="8974" y="4885"/>
                    </a:lnTo>
                    <a:lnTo>
                      <a:pt x="5571" y="3595"/>
                    </a:lnTo>
                    <a:lnTo>
                      <a:pt x="3705" y="4336"/>
                    </a:lnTo>
                    <a:lnTo>
                      <a:pt x="2470" y="3156"/>
                    </a:lnTo>
                    <a:lnTo>
                      <a:pt x="1070" y="4116"/>
                    </a:lnTo>
                    <a:lnTo>
                      <a:pt x="27"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8" name="Freeform: Shape 3727">
                <a:extLst>
                  <a:ext uri="{FF2B5EF4-FFF2-40B4-BE49-F238E27FC236}">
                    <a16:creationId xmlns:a16="http://schemas.microsoft.com/office/drawing/2014/main" id="{C6F61031-70EB-C7BD-A1B0-5E17316B99E4}"/>
                  </a:ext>
                </a:extLst>
              </p:cNvPr>
              <p:cNvSpPr/>
              <p:nvPr/>
            </p:nvSpPr>
            <p:spPr>
              <a:xfrm>
                <a:off x="1759203" y="3855179"/>
                <a:ext cx="1099" cy="461"/>
              </a:xfrm>
              <a:custGeom>
                <a:avLst/>
                <a:gdLst>
                  <a:gd name="connsiteX0" fmla="*/ 0 w 10538"/>
                  <a:gd name="connsiteY0" fmla="*/ 4363 h 4418"/>
                  <a:gd name="connsiteX1" fmla="*/ 1537 w 10538"/>
                  <a:gd name="connsiteY1" fmla="*/ 439 h 4418"/>
                  <a:gd name="connsiteX2" fmla="*/ 4501 w 10538"/>
                  <a:gd name="connsiteY2" fmla="*/ 1180 h 4418"/>
                  <a:gd name="connsiteX3" fmla="*/ 5489 w 10538"/>
                  <a:gd name="connsiteY3" fmla="*/ 0 h 4418"/>
                  <a:gd name="connsiteX4" fmla="*/ 9001 w 10538"/>
                  <a:gd name="connsiteY4" fmla="*/ 1455 h 4418"/>
                  <a:gd name="connsiteX5" fmla="*/ 10428 w 10538"/>
                  <a:gd name="connsiteY5" fmla="*/ 521 h 4418"/>
                  <a:gd name="connsiteX6" fmla="*/ 10538 w 10538"/>
                  <a:gd name="connsiteY6" fmla="*/ 3156 h 4418"/>
                  <a:gd name="connsiteX7" fmla="*/ 8315 w 10538"/>
                  <a:gd name="connsiteY7" fmla="*/ 2470 h 4418"/>
                  <a:gd name="connsiteX8" fmla="*/ 7904 w 10538"/>
                  <a:gd name="connsiteY8" fmla="*/ 4281 h 4418"/>
                  <a:gd name="connsiteX9" fmla="*/ 5928 w 10538"/>
                  <a:gd name="connsiteY9" fmla="*/ 2168 h 4418"/>
                  <a:gd name="connsiteX10" fmla="*/ 4446 w 10538"/>
                  <a:gd name="connsiteY10" fmla="*/ 3897 h 4418"/>
                  <a:gd name="connsiteX11" fmla="*/ 27 w 10538"/>
                  <a:gd name="connsiteY11" fmla="*/ 4418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38" h="4418">
                    <a:moveTo>
                      <a:pt x="0" y="4363"/>
                    </a:moveTo>
                    <a:lnTo>
                      <a:pt x="1537" y="439"/>
                    </a:lnTo>
                    <a:lnTo>
                      <a:pt x="4501" y="1180"/>
                    </a:lnTo>
                    <a:lnTo>
                      <a:pt x="5489" y="0"/>
                    </a:lnTo>
                    <a:lnTo>
                      <a:pt x="9001" y="1455"/>
                    </a:lnTo>
                    <a:lnTo>
                      <a:pt x="10428" y="521"/>
                    </a:lnTo>
                    <a:lnTo>
                      <a:pt x="10538" y="3156"/>
                    </a:lnTo>
                    <a:lnTo>
                      <a:pt x="8315" y="2470"/>
                    </a:lnTo>
                    <a:lnTo>
                      <a:pt x="7904" y="4281"/>
                    </a:lnTo>
                    <a:lnTo>
                      <a:pt x="5928" y="2168"/>
                    </a:lnTo>
                    <a:lnTo>
                      <a:pt x="4446" y="3897"/>
                    </a:lnTo>
                    <a:lnTo>
                      <a:pt x="27" y="44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9" name="Freeform: Shape 3728">
                <a:extLst>
                  <a:ext uri="{FF2B5EF4-FFF2-40B4-BE49-F238E27FC236}">
                    <a16:creationId xmlns:a16="http://schemas.microsoft.com/office/drawing/2014/main" id="{039A4869-DA76-1701-317C-FE00F76F2502}"/>
                  </a:ext>
                </a:extLst>
              </p:cNvPr>
              <p:cNvSpPr/>
              <p:nvPr/>
            </p:nvSpPr>
            <p:spPr>
              <a:xfrm>
                <a:off x="1731656" y="3870481"/>
                <a:ext cx="512" cy="907"/>
              </a:xfrm>
              <a:custGeom>
                <a:avLst/>
                <a:gdLst>
                  <a:gd name="connsiteX0" fmla="*/ 2305 w 4912"/>
                  <a:gd name="connsiteY0" fmla="*/ 4666 h 8699"/>
                  <a:gd name="connsiteX1" fmla="*/ 1674 w 4912"/>
                  <a:gd name="connsiteY1" fmla="*/ 8700 h 8699"/>
                  <a:gd name="connsiteX2" fmla="*/ 220 w 4912"/>
                  <a:gd name="connsiteY2" fmla="*/ 7657 h 8699"/>
                  <a:gd name="connsiteX3" fmla="*/ 0 w 4912"/>
                  <a:gd name="connsiteY3" fmla="*/ 3485 h 8699"/>
                  <a:gd name="connsiteX4" fmla="*/ 1674 w 4912"/>
                  <a:gd name="connsiteY4" fmla="*/ 0 h 8699"/>
                  <a:gd name="connsiteX5" fmla="*/ 4721 w 4912"/>
                  <a:gd name="connsiteY5" fmla="*/ 1537 h 8699"/>
                  <a:gd name="connsiteX6" fmla="*/ 4912 w 4912"/>
                  <a:gd name="connsiteY6" fmla="*/ 3485 h 8699"/>
                  <a:gd name="connsiteX7" fmla="*/ 2333 w 4912"/>
                  <a:gd name="connsiteY7" fmla="*/ 4666 h 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2" h="8699">
                    <a:moveTo>
                      <a:pt x="2305" y="4666"/>
                    </a:moveTo>
                    <a:lnTo>
                      <a:pt x="1674" y="8700"/>
                    </a:lnTo>
                    <a:lnTo>
                      <a:pt x="220" y="7657"/>
                    </a:lnTo>
                    <a:lnTo>
                      <a:pt x="0" y="3485"/>
                    </a:lnTo>
                    <a:lnTo>
                      <a:pt x="1674" y="0"/>
                    </a:lnTo>
                    <a:lnTo>
                      <a:pt x="4721" y="1537"/>
                    </a:lnTo>
                    <a:lnTo>
                      <a:pt x="4912" y="3485"/>
                    </a:lnTo>
                    <a:lnTo>
                      <a:pt x="2333" y="46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3" name="Freeform: Shape 3732">
                <a:extLst>
                  <a:ext uri="{FF2B5EF4-FFF2-40B4-BE49-F238E27FC236}">
                    <a16:creationId xmlns:a16="http://schemas.microsoft.com/office/drawing/2014/main" id="{71EA22F6-D3C3-F82D-7406-84BCD26451ED}"/>
                  </a:ext>
                </a:extLst>
              </p:cNvPr>
              <p:cNvSpPr/>
              <p:nvPr/>
            </p:nvSpPr>
            <p:spPr>
              <a:xfrm>
                <a:off x="1736252" y="3866814"/>
                <a:ext cx="850" cy="449"/>
              </a:xfrm>
              <a:custGeom>
                <a:avLst/>
                <a:gdLst>
                  <a:gd name="connsiteX0" fmla="*/ 0 w 8150"/>
                  <a:gd name="connsiteY0" fmla="*/ 1180 h 4308"/>
                  <a:gd name="connsiteX1" fmla="*/ 1262 w 8150"/>
                  <a:gd name="connsiteY1" fmla="*/ 0 h 4308"/>
                  <a:gd name="connsiteX2" fmla="*/ 5516 w 8150"/>
                  <a:gd name="connsiteY2" fmla="*/ 521 h 4308"/>
                  <a:gd name="connsiteX3" fmla="*/ 8150 w 8150"/>
                  <a:gd name="connsiteY3" fmla="*/ 2607 h 4308"/>
                  <a:gd name="connsiteX4" fmla="*/ 5873 w 8150"/>
                  <a:gd name="connsiteY4" fmla="*/ 4308 h 4308"/>
                  <a:gd name="connsiteX5" fmla="*/ 4034 w 8150"/>
                  <a:gd name="connsiteY5" fmla="*/ 2497 h 4308"/>
                  <a:gd name="connsiteX6" fmla="*/ 0 w 8150"/>
                  <a:gd name="connsiteY6" fmla="*/ 1180 h 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0" h="4308">
                    <a:moveTo>
                      <a:pt x="0" y="1180"/>
                    </a:moveTo>
                    <a:lnTo>
                      <a:pt x="1262" y="0"/>
                    </a:lnTo>
                    <a:lnTo>
                      <a:pt x="5516" y="521"/>
                    </a:lnTo>
                    <a:lnTo>
                      <a:pt x="8150" y="2607"/>
                    </a:lnTo>
                    <a:lnTo>
                      <a:pt x="5873" y="4308"/>
                    </a:lnTo>
                    <a:lnTo>
                      <a:pt x="4034" y="2497"/>
                    </a:lnTo>
                    <a:lnTo>
                      <a:pt x="0"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5" name="Freeform: Shape 3734">
                <a:extLst>
                  <a:ext uri="{FF2B5EF4-FFF2-40B4-BE49-F238E27FC236}">
                    <a16:creationId xmlns:a16="http://schemas.microsoft.com/office/drawing/2014/main" id="{B36AD35C-F896-E35F-5D9B-34EFD45E44B2}"/>
                  </a:ext>
                </a:extLst>
              </p:cNvPr>
              <p:cNvSpPr/>
              <p:nvPr/>
            </p:nvSpPr>
            <p:spPr>
              <a:xfrm>
                <a:off x="1766985" y="3869299"/>
                <a:ext cx="698" cy="518"/>
              </a:xfrm>
              <a:custGeom>
                <a:avLst/>
                <a:gdLst>
                  <a:gd name="connsiteX0" fmla="*/ 27 w 6695"/>
                  <a:gd name="connsiteY0" fmla="*/ 2717 h 4967"/>
                  <a:gd name="connsiteX1" fmla="*/ 3375 w 6695"/>
                  <a:gd name="connsiteY1" fmla="*/ 0 h 4967"/>
                  <a:gd name="connsiteX2" fmla="*/ 6696 w 6695"/>
                  <a:gd name="connsiteY2" fmla="*/ 2772 h 4967"/>
                  <a:gd name="connsiteX3" fmla="*/ 2086 w 6695"/>
                  <a:gd name="connsiteY3" fmla="*/ 4967 h 4967"/>
                  <a:gd name="connsiteX4" fmla="*/ 494 w 6695"/>
                  <a:gd name="connsiteY4" fmla="*/ 4666 h 4967"/>
                  <a:gd name="connsiteX5" fmla="*/ 0 w 6695"/>
                  <a:gd name="connsiteY5" fmla="*/ 2717 h 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5" h="4967">
                    <a:moveTo>
                      <a:pt x="27" y="2717"/>
                    </a:moveTo>
                    <a:lnTo>
                      <a:pt x="3375" y="0"/>
                    </a:lnTo>
                    <a:lnTo>
                      <a:pt x="6696" y="2772"/>
                    </a:lnTo>
                    <a:lnTo>
                      <a:pt x="2086" y="4967"/>
                    </a:lnTo>
                    <a:lnTo>
                      <a:pt x="494" y="4666"/>
                    </a:lnTo>
                    <a:lnTo>
                      <a:pt x="0"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8" name="Freeform: Shape 3737">
                <a:extLst>
                  <a:ext uri="{FF2B5EF4-FFF2-40B4-BE49-F238E27FC236}">
                    <a16:creationId xmlns:a16="http://schemas.microsoft.com/office/drawing/2014/main" id="{32E15422-7AD0-5009-903C-DF60027A015A}"/>
                  </a:ext>
                </a:extLst>
              </p:cNvPr>
              <p:cNvSpPr/>
              <p:nvPr/>
            </p:nvSpPr>
            <p:spPr>
              <a:xfrm>
                <a:off x="1743629" y="3875642"/>
                <a:ext cx="561" cy="627"/>
              </a:xfrm>
              <a:custGeom>
                <a:avLst/>
                <a:gdLst>
                  <a:gd name="connsiteX0" fmla="*/ 3211 w 5378"/>
                  <a:gd name="connsiteY0" fmla="*/ 4693 h 6010"/>
                  <a:gd name="connsiteX1" fmla="*/ 3540 w 5378"/>
                  <a:gd name="connsiteY1" fmla="*/ 5489 h 6010"/>
                  <a:gd name="connsiteX2" fmla="*/ 247 w 5378"/>
                  <a:gd name="connsiteY2" fmla="*/ 6010 h 6010"/>
                  <a:gd name="connsiteX3" fmla="*/ 0 w 5378"/>
                  <a:gd name="connsiteY3" fmla="*/ 4830 h 6010"/>
                  <a:gd name="connsiteX4" fmla="*/ 2360 w 5378"/>
                  <a:gd name="connsiteY4" fmla="*/ 2415 h 6010"/>
                  <a:gd name="connsiteX5" fmla="*/ 2909 w 5378"/>
                  <a:gd name="connsiteY5" fmla="*/ 576 h 6010"/>
                  <a:gd name="connsiteX6" fmla="*/ 4583 w 5378"/>
                  <a:gd name="connsiteY6" fmla="*/ 0 h 6010"/>
                  <a:gd name="connsiteX7" fmla="*/ 5379 w 5378"/>
                  <a:gd name="connsiteY7" fmla="*/ 1976 h 6010"/>
                  <a:gd name="connsiteX8" fmla="*/ 3238 w 5378"/>
                  <a:gd name="connsiteY8" fmla="*/ 4693 h 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8" h="6010">
                    <a:moveTo>
                      <a:pt x="3211" y="4693"/>
                    </a:moveTo>
                    <a:lnTo>
                      <a:pt x="3540" y="5489"/>
                    </a:lnTo>
                    <a:lnTo>
                      <a:pt x="247" y="6010"/>
                    </a:lnTo>
                    <a:lnTo>
                      <a:pt x="0" y="4830"/>
                    </a:lnTo>
                    <a:lnTo>
                      <a:pt x="2360" y="2415"/>
                    </a:lnTo>
                    <a:lnTo>
                      <a:pt x="2909" y="576"/>
                    </a:lnTo>
                    <a:lnTo>
                      <a:pt x="4583" y="0"/>
                    </a:lnTo>
                    <a:lnTo>
                      <a:pt x="5379" y="1976"/>
                    </a:lnTo>
                    <a:lnTo>
                      <a:pt x="3238"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9" name="Freeform: Shape 3738">
                <a:extLst>
                  <a:ext uri="{FF2B5EF4-FFF2-40B4-BE49-F238E27FC236}">
                    <a16:creationId xmlns:a16="http://schemas.microsoft.com/office/drawing/2014/main" id="{BA1E3541-C128-055A-DBEC-F455CC2B17D4}"/>
                  </a:ext>
                </a:extLst>
              </p:cNvPr>
              <p:cNvSpPr/>
              <p:nvPr/>
            </p:nvSpPr>
            <p:spPr>
              <a:xfrm>
                <a:off x="1755971" y="3842874"/>
                <a:ext cx="458" cy="724"/>
              </a:xfrm>
              <a:custGeom>
                <a:avLst/>
                <a:gdLst>
                  <a:gd name="connsiteX0" fmla="*/ 2332 w 4390"/>
                  <a:gd name="connsiteY0" fmla="*/ 2964 h 6943"/>
                  <a:gd name="connsiteX1" fmla="*/ 3375 w 4390"/>
                  <a:gd name="connsiteY1" fmla="*/ 5351 h 6943"/>
                  <a:gd name="connsiteX2" fmla="*/ 1400 w 4390"/>
                  <a:gd name="connsiteY2" fmla="*/ 6943 h 6943"/>
                  <a:gd name="connsiteX3" fmla="*/ 0 w 4390"/>
                  <a:gd name="connsiteY3" fmla="*/ 5187 h 6943"/>
                  <a:gd name="connsiteX4" fmla="*/ 1372 w 4390"/>
                  <a:gd name="connsiteY4" fmla="*/ 3430 h 6943"/>
                  <a:gd name="connsiteX5" fmla="*/ 109 w 4390"/>
                  <a:gd name="connsiteY5" fmla="*/ 1647 h 6943"/>
                  <a:gd name="connsiteX6" fmla="*/ 3046 w 4390"/>
                  <a:gd name="connsiteY6" fmla="*/ 0 h 6943"/>
                  <a:gd name="connsiteX7" fmla="*/ 4390 w 4390"/>
                  <a:gd name="connsiteY7" fmla="*/ 2141 h 6943"/>
                  <a:gd name="connsiteX8" fmla="*/ 2360 w 4390"/>
                  <a:gd name="connsiteY8" fmla="*/ 2909 h 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0" h="6943">
                    <a:moveTo>
                      <a:pt x="2332" y="2964"/>
                    </a:moveTo>
                    <a:lnTo>
                      <a:pt x="3375" y="5351"/>
                    </a:lnTo>
                    <a:lnTo>
                      <a:pt x="1400" y="6943"/>
                    </a:lnTo>
                    <a:lnTo>
                      <a:pt x="0" y="5187"/>
                    </a:lnTo>
                    <a:lnTo>
                      <a:pt x="1372" y="3430"/>
                    </a:lnTo>
                    <a:lnTo>
                      <a:pt x="109" y="1647"/>
                    </a:lnTo>
                    <a:lnTo>
                      <a:pt x="3046" y="0"/>
                    </a:lnTo>
                    <a:lnTo>
                      <a:pt x="4390" y="2141"/>
                    </a:lnTo>
                    <a:lnTo>
                      <a:pt x="2360"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0" name="Freeform: Shape 3739">
                <a:extLst>
                  <a:ext uri="{FF2B5EF4-FFF2-40B4-BE49-F238E27FC236}">
                    <a16:creationId xmlns:a16="http://schemas.microsoft.com/office/drawing/2014/main" id="{FBDE89C9-E145-93F3-82BF-B6C79A633579}"/>
                  </a:ext>
                </a:extLst>
              </p:cNvPr>
              <p:cNvSpPr/>
              <p:nvPr/>
            </p:nvSpPr>
            <p:spPr>
              <a:xfrm>
                <a:off x="1755851" y="3841798"/>
                <a:ext cx="481" cy="673"/>
              </a:xfrm>
              <a:custGeom>
                <a:avLst/>
                <a:gdLst>
                  <a:gd name="connsiteX0" fmla="*/ 4171 w 4610"/>
                  <a:gd name="connsiteY0" fmla="*/ 6422 h 6449"/>
                  <a:gd name="connsiteX1" fmla="*/ 2854 w 4610"/>
                  <a:gd name="connsiteY1" fmla="*/ 6422 h 6449"/>
                  <a:gd name="connsiteX2" fmla="*/ 0 w 4610"/>
                  <a:gd name="connsiteY2" fmla="*/ 1839 h 6449"/>
                  <a:gd name="connsiteX3" fmla="*/ 1043 w 4610"/>
                  <a:gd name="connsiteY3" fmla="*/ 0 h 6449"/>
                  <a:gd name="connsiteX4" fmla="*/ 4611 w 4610"/>
                  <a:gd name="connsiteY4" fmla="*/ 4611 h 6449"/>
                  <a:gd name="connsiteX5" fmla="*/ 4144 w 4610"/>
                  <a:gd name="connsiteY5" fmla="*/ 6449 h 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0" h="6449">
                    <a:moveTo>
                      <a:pt x="4171" y="6422"/>
                    </a:moveTo>
                    <a:lnTo>
                      <a:pt x="2854" y="6422"/>
                    </a:lnTo>
                    <a:lnTo>
                      <a:pt x="0" y="1839"/>
                    </a:lnTo>
                    <a:lnTo>
                      <a:pt x="1043" y="0"/>
                    </a:lnTo>
                    <a:lnTo>
                      <a:pt x="4611" y="4611"/>
                    </a:lnTo>
                    <a:lnTo>
                      <a:pt x="4144" y="64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1" name="Freeform: Shape 3740">
                <a:extLst>
                  <a:ext uri="{FF2B5EF4-FFF2-40B4-BE49-F238E27FC236}">
                    <a16:creationId xmlns:a16="http://schemas.microsoft.com/office/drawing/2014/main" id="{A679C94C-BB3F-E008-D578-49F0EB08A11F}"/>
                  </a:ext>
                </a:extLst>
              </p:cNvPr>
              <p:cNvSpPr/>
              <p:nvPr/>
            </p:nvSpPr>
            <p:spPr>
              <a:xfrm>
                <a:off x="1744716" y="3850155"/>
                <a:ext cx="627" cy="481"/>
              </a:xfrm>
              <a:custGeom>
                <a:avLst/>
                <a:gdLst>
                  <a:gd name="connsiteX0" fmla="*/ 5982 w 6009"/>
                  <a:gd name="connsiteY0" fmla="*/ 4611 h 4610"/>
                  <a:gd name="connsiteX1" fmla="*/ 3924 w 6009"/>
                  <a:gd name="connsiteY1" fmla="*/ 4007 h 4610"/>
                  <a:gd name="connsiteX2" fmla="*/ 3705 w 6009"/>
                  <a:gd name="connsiteY2" fmla="*/ 2058 h 4610"/>
                  <a:gd name="connsiteX3" fmla="*/ 1537 w 6009"/>
                  <a:gd name="connsiteY3" fmla="*/ 2937 h 4610"/>
                  <a:gd name="connsiteX4" fmla="*/ 0 w 6009"/>
                  <a:gd name="connsiteY4" fmla="*/ 1400 h 4610"/>
                  <a:gd name="connsiteX5" fmla="*/ 1207 w 6009"/>
                  <a:gd name="connsiteY5" fmla="*/ 0 h 4610"/>
                  <a:gd name="connsiteX6" fmla="*/ 1729 w 6009"/>
                  <a:gd name="connsiteY6" fmla="*/ 1098 h 4610"/>
                  <a:gd name="connsiteX7" fmla="*/ 3897 w 6009"/>
                  <a:gd name="connsiteY7" fmla="*/ 494 h 4610"/>
                  <a:gd name="connsiteX8" fmla="*/ 5653 w 6009"/>
                  <a:gd name="connsiteY8" fmla="*/ 2442 h 4610"/>
                  <a:gd name="connsiteX9" fmla="*/ 6010 w 6009"/>
                  <a:gd name="connsiteY9" fmla="*/ 4583 h 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9" h="4610">
                    <a:moveTo>
                      <a:pt x="5982" y="4611"/>
                    </a:moveTo>
                    <a:lnTo>
                      <a:pt x="3924" y="4007"/>
                    </a:lnTo>
                    <a:lnTo>
                      <a:pt x="3705" y="2058"/>
                    </a:lnTo>
                    <a:lnTo>
                      <a:pt x="1537" y="2937"/>
                    </a:lnTo>
                    <a:lnTo>
                      <a:pt x="0" y="1400"/>
                    </a:lnTo>
                    <a:lnTo>
                      <a:pt x="1207" y="0"/>
                    </a:lnTo>
                    <a:lnTo>
                      <a:pt x="1729" y="1098"/>
                    </a:lnTo>
                    <a:lnTo>
                      <a:pt x="3897" y="494"/>
                    </a:lnTo>
                    <a:lnTo>
                      <a:pt x="5653" y="2442"/>
                    </a:lnTo>
                    <a:lnTo>
                      <a:pt x="6010" y="45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2" name="Freeform: Shape 3741">
                <a:extLst>
                  <a:ext uri="{FF2B5EF4-FFF2-40B4-BE49-F238E27FC236}">
                    <a16:creationId xmlns:a16="http://schemas.microsoft.com/office/drawing/2014/main" id="{E6EFC6BB-CF53-55B7-4179-03720660E883}"/>
                  </a:ext>
                </a:extLst>
              </p:cNvPr>
              <p:cNvSpPr/>
              <p:nvPr/>
            </p:nvSpPr>
            <p:spPr>
              <a:xfrm>
                <a:off x="1778661" y="3863792"/>
                <a:ext cx="535" cy="552"/>
              </a:xfrm>
              <a:custGeom>
                <a:avLst/>
                <a:gdLst>
                  <a:gd name="connsiteX0" fmla="*/ 0 w 5131"/>
                  <a:gd name="connsiteY0" fmla="*/ 3540 h 5296"/>
                  <a:gd name="connsiteX1" fmla="*/ 2689 w 5131"/>
                  <a:gd name="connsiteY1" fmla="*/ 165 h 5296"/>
                  <a:gd name="connsiteX2" fmla="*/ 4857 w 5131"/>
                  <a:gd name="connsiteY2" fmla="*/ 0 h 5296"/>
                  <a:gd name="connsiteX3" fmla="*/ 5131 w 5131"/>
                  <a:gd name="connsiteY3" fmla="*/ 1098 h 5296"/>
                  <a:gd name="connsiteX4" fmla="*/ 3403 w 5131"/>
                  <a:gd name="connsiteY4" fmla="*/ 5297 h 5296"/>
                  <a:gd name="connsiteX5" fmla="*/ 0 w 5131"/>
                  <a:gd name="connsiteY5" fmla="*/ 3540 h 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1" h="5296">
                    <a:moveTo>
                      <a:pt x="0" y="3540"/>
                    </a:moveTo>
                    <a:lnTo>
                      <a:pt x="2689" y="165"/>
                    </a:lnTo>
                    <a:lnTo>
                      <a:pt x="4857" y="0"/>
                    </a:lnTo>
                    <a:lnTo>
                      <a:pt x="5131" y="1098"/>
                    </a:lnTo>
                    <a:lnTo>
                      <a:pt x="3403" y="5297"/>
                    </a:lnTo>
                    <a:lnTo>
                      <a:pt x="0"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3" name="Freeform: Shape 3742">
                <a:extLst>
                  <a:ext uri="{FF2B5EF4-FFF2-40B4-BE49-F238E27FC236}">
                    <a16:creationId xmlns:a16="http://schemas.microsoft.com/office/drawing/2014/main" id="{0B93B1CE-C845-2849-8DB9-E86BA3FE474F}"/>
                  </a:ext>
                </a:extLst>
              </p:cNvPr>
              <p:cNvSpPr/>
              <p:nvPr/>
            </p:nvSpPr>
            <p:spPr>
              <a:xfrm>
                <a:off x="1778936" y="3847342"/>
                <a:ext cx="475" cy="590"/>
              </a:xfrm>
              <a:custGeom>
                <a:avLst/>
                <a:gdLst>
                  <a:gd name="connsiteX0" fmla="*/ 4500 w 4555"/>
                  <a:gd name="connsiteY0" fmla="*/ 5351 h 5653"/>
                  <a:gd name="connsiteX1" fmla="*/ 1701 w 4555"/>
                  <a:gd name="connsiteY1" fmla="*/ 5653 h 5653"/>
                  <a:gd name="connsiteX2" fmla="*/ 0 w 4555"/>
                  <a:gd name="connsiteY2" fmla="*/ 1921 h 5653"/>
                  <a:gd name="connsiteX3" fmla="*/ 2003 w 4555"/>
                  <a:gd name="connsiteY3" fmla="*/ 0 h 5653"/>
                  <a:gd name="connsiteX4" fmla="*/ 4555 w 4555"/>
                  <a:gd name="connsiteY4" fmla="*/ 1756 h 5653"/>
                  <a:gd name="connsiteX5" fmla="*/ 4473 w 4555"/>
                  <a:gd name="connsiteY5" fmla="*/ 5379 h 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 h="5653">
                    <a:moveTo>
                      <a:pt x="4500" y="5351"/>
                    </a:moveTo>
                    <a:lnTo>
                      <a:pt x="1701" y="5653"/>
                    </a:lnTo>
                    <a:lnTo>
                      <a:pt x="0" y="1921"/>
                    </a:lnTo>
                    <a:lnTo>
                      <a:pt x="2003" y="0"/>
                    </a:lnTo>
                    <a:lnTo>
                      <a:pt x="4555" y="1756"/>
                    </a:lnTo>
                    <a:lnTo>
                      <a:pt x="4473" y="53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5" name="Freeform: Shape 3744">
                <a:extLst>
                  <a:ext uri="{FF2B5EF4-FFF2-40B4-BE49-F238E27FC236}">
                    <a16:creationId xmlns:a16="http://schemas.microsoft.com/office/drawing/2014/main" id="{BFC9A6F8-D29D-73E2-3BCB-33481844F12F}"/>
                  </a:ext>
                </a:extLst>
              </p:cNvPr>
              <p:cNvSpPr/>
              <p:nvPr/>
            </p:nvSpPr>
            <p:spPr>
              <a:xfrm>
                <a:off x="1755965" y="3867496"/>
                <a:ext cx="527" cy="527"/>
              </a:xfrm>
              <a:custGeom>
                <a:avLst/>
                <a:gdLst>
                  <a:gd name="connsiteX0" fmla="*/ 0 w 5049"/>
                  <a:gd name="connsiteY0" fmla="*/ 4199 h 5049"/>
                  <a:gd name="connsiteX1" fmla="*/ 1591 w 5049"/>
                  <a:gd name="connsiteY1" fmla="*/ 2827 h 5049"/>
                  <a:gd name="connsiteX2" fmla="*/ 1948 w 5049"/>
                  <a:gd name="connsiteY2" fmla="*/ 0 h 5049"/>
                  <a:gd name="connsiteX3" fmla="*/ 4940 w 5049"/>
                  <a:gd name="connsiteY3" fmla="*/ 714 h 5049"/>
                  <a:gd name="connsiteX4" fmla="*/ 5049 w 5049"/>
                  <a:gd name="connsiteY4" fmla="*/ 2579 h 5049"/>
                  <a:gd name="connsiteX5" fmla="*/ 1345 w 5049"/>
                  <a:gd name="connsiteY5" fmla="*/ 5049 h 5049"/>
                  <a:gd name="connsiteX6" fmla="*/ 27 w 5049"/>
                  <a:gd name="connsiteY6" fmla="*/ 4171 h 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9" h="5049">
                    <a:moveTo>
                      <a:pt x="0" y="4199"/>
                    </a:moveTo>
                    <a:lnTo>
                      <a:pt x="1591" y="2827"/>
                    </a:lnTo>
                    <a:lnTo>
                      <a:pt x="1948" y="0"/>
                    </a:lnTo>
                    <a:lnTo>
                      <a:pt x="4940" y="714"/>
                    </a:lnTo>
                    <a:lnTo>
                      <a:pt x="5049" y="2579"/>
                    </a:lnTo>
                    <a:lnTo>
                      <a:pt x="1345" y="5049"/>
                    </a:lnTo>
                    <a:lnTo>
                      <a:pt x="27" y="41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6" name="Freeform: Shape 3745">
                <a:extLst>
                  <a:ext uri="{FF2B5EF4-FFF2-40B4-BE49-F238E27FC236}">
                    <a16:creationId xmlns:a16="http://schemas.microsoft.com/office/drawing/2014/main" id="{809E5552-45F3-CB5E-C2EF-438F7FA4D883}"/>
                  </a:ext>
                </a:extLst>
              </p:cNvPr>
              <p:cNvSpPr/>
              <p:nvPr/>
            </p:nvSpPr>
            <p:spPr>
              <a:xfrm>
                <a:off x="1759632" y="3866187"/>
                <a:ext cx="567" cy="484"/>
              </a:xfrm>
              <a:custGeom>
                <a:avLst/>
                <a:gdLst>
                  <a:gd name="connsiteX0" fmla="*/ 4116 w 5434"/>
                  <a:gd name="connsiteY0" fmla="*/ 4309 h 4638"/>
                  <a:gd name="connsiteX1" fmla="*/ 2937 w 5434"/>
                  <a:gd name="connsiteY1" fmla="*/ 4638 h 4638"/>
                  <a:gd name="connsiteX2" fmla="*/ 0 w 5434"/>
                  <a:gd name="connsiteY2" fmla="*/ 2278 h 4638"/>
                  <a:gd name="connsiteX3" fmla="*/ 2251 w 5434"/>
                  <a:gd name="connsiteY3" fmla="*/ 0 h 4638"/>
                  <a:gd name="connsiteX4" fmla="*/ 5434 w 5434"/>
                  <a:gd name="connsiteY4" fmla="*/ 1592 h 4638"/>
                  <a:gd name="connsiteX5" fmla="*/ 4090 w 5434"/>
                  <a:gd name="connsiteY5" fmla="*/ 4336 h 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4" h="4638">
                    <a:moveTo>
                      <a:pt x="4116" y="4309"/>
                    </a:moveTo>
                    <a:lnTo>
                      <a:pt x="2937" y="4638"/>
                    </a:lnTo>
                    <a:lnTo>
                      <a:pt x="0" y="2278"/>
                    </a:lnTo>
                    <a:lnTo>
                      <a:pt x="2251" y="0"/>
                    </a:lnTo>
                    <a:lnTo>
                      <a:pt x="5434" y="1592"/>
                    </a:lnTo>
                    <a:lnTo>
                      <a:pt x="4090" y="43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7" name="Freeform: Shape 3746">
                <a:extLst>
                  <a:ext uri="{FF2B5EF4-FFF2-40B4-BE49-F238E27FC236}">
                    <a16:creationId xmlns:a16="http://schemas.microsoft.com/office/drawing/2014/main" id="{3097566A-DC12-9498-E12B-4C9B731D4206}"/>
                  </a:ext>
                </a:extLst>
              </p:cNvPr>
              <p:cNvSpPr/>
              <p:nvPr/>
            </p:nvSpPr>
            <p:spPr>
              <a:xfrm>
                <a:off x="1732311" y="3844388"/>
                <a:ext cx="538" cy="495"/>
              </a:xfrm>
              <a:custGeom>
                <a:avLst/>
                <a:gdLst>
                  <a:gd name="connsiteX0" fmla="*/ 0 w 5159"/>
                  <a:gd name="connsiteY0" fmla="*/ 878 h 4747"/>
                  <a:gd name="connsiteX1" fmla="*/ 1702 w 5159"/>
                  <a:gd name="connsiteY1" fmla="*/ 0 h 4747"/>
                  <a:gd name="connsiteX2" fmla="*/ 3650 w 5159"/>
                  <a:gd name="connsiteY2" fmla="*/ 1152 h 4747"/>
                  <a:gd name="connsiteX3" fmla="*/ 5160 w 5159"/>
                  <a:gd name="connsiteY3" fmla="*/ 4007 h 4747"/>
                  <a:gd name="connsiteX4" fmla="*/ 2964 w 5159"/>
                  <a:gd name="connsiteY4" fmla="*/ 4748 h 4747"/>
                  <a:gd name="connsiteX5" fmla="*/ 0 w 5159"/>
                  <a:gd name="connsiteY5" fmla="*/ 878 h 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9" h="4747">
                    <a:moveTo>
                      <a:pt x="0" y="878"/>
                    </a:moveTo>
                    <a:lnTo>
                      <a:pt x="1702" y="0"/>
                    </a:lnTo>
                    <a:lnTo>
                      <a:pt x="3650" y="1152"/>
                    </a:lnTo>
                    <a:lnTo>
                      <a:pt x="5160" y="4007"/>
                    </a:lnTo>
                    <a:lnTo>
                      <a:pt x="2964" y="4748"/>
                    </a:lnTo>
                    <a:lnTo>
                      <a:pt x="0" y="8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8" name="Freeform: Shape 3747">
                <a:extLst>
                  <a:ext uri="{FF2B5EF4-FFF2-40B4-BE49-F238E27FC236}">
                    <a16:creationId xmlns:a16="http://schemas.microsoft.com/office/drawing/2014/main" id="{FDA215FC-BE2B-13B8-9B87-8D46C740000A}"/>
                  </a:ext>
                </a:extLst>
              </p:cNvPr>
              <p:cNvSpPr/>
              <p:nvPr/>
            </p:nvSpPr>
            <p:spPr>
              <a:xfrm>
                <a:off x="1768800" y="3864859"/>
                <a:ext cx="469" cy="547"/>
              </a:xfrm>
              <a:custGeom>
                <a:avLst/>
                <a:gdLst>
                  <a:gd name="connsiteX0" fmla="*/ 3184 w 4501"/>
                  <a:gd name="connsiteY0" fmla="*/ 3403 h 5241"/>
                  <a:gd name="connsiteX1" fmla="*/ 604 w 4501"/>
                  <a:gd name="connsiteY1" fmla="*/ 5242 h 5241"/>
                  <a:gd name="connsiteX2" fmla="*/ 0 w 4501"/>
                  <a:gd name="connsiteY2" fmla="*/ 3458 h 5241"/>
                  <a:gd name="connsiteX3" fmla="*/ 1839 w 4501"/>
                  <a:gd name="connsiteY3" fmla="*/ 0 h 5241"/>
                  <a:gd name="connsiteX4" fmla="*/ 4501 w 4501"/>
                  <a:gd name="connsiteY4" fmla="*/ 412 h 5241"/>
                  <a:gd name="connsiteX5" fmla="*/ 3156 w 4501"/>
                  <a:gd name="connsiteY5" fmla="*/ 3403 h 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1" h="5241">
                    <a:moveTo>
                      <a:pt x="3184" y="3403"/>
                    </a:moveTo>
                    <a:lnTo>
                      <a:pt x="604" y="5242"/>
                    </a:lnTo>
                    <a:lnTo>
                      <a:pt x="0" y="3458"/>
                    </a:lnTo>
                    <a:lnTo>
                      <a:pt x="1839" y="0"/>
                    </a:lnTo>
                    <a:lnTo>
                      <a:pt x="4501" y="412"/>
                    </a:lnTo>
                    <a:lnTo>
                      <a:pt x="3156"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9" name="Freeform: Shape 3748">
                <a:extLst>
                  <a:ext uri="{FF2B5EF4-FFF2-40B4-BE49-F238E27FC236}">
                    <a16:creationId xmlns:a16="http://schemas.microsoft.com/office/drawing/2014/main" id="{0DA623F1-2705-00FF-214F-8E88F2FC2102}"/>
                  </a:ext>
                </a:extLst>
              </p:cNvPr>
              <p:cNvSpPr/>
              <p:nvPr/>
            </p:nvSpPr>
            <p:spPr>
              <a:xfrm>
                <a:off x="1774370" y="3857091"/>
                <a:ext cx="592" cy="418"/>
              </a:xfrm>
              <a:custGeom>
                <a:avLst/>
                <a:gdLst>
                  <a:gd name="connsiteX0" fmla="*/ 27 w 5680"/>
                  <a:gd name="connsiteY0" fmla="*/ 411 h 4006"/>
                  <a:gd name="connsiteX1" fmla="*/ 878 w 5680"/>
                  <a:gd name="connsiteY1" fmla="*/ 0 h 4006"/>
                  <a:gd name="connsiteX2" fmla="*/ 3622 w 5680"/>
                  <a:gd name="connsiteY2" fmla="*/ 2003 h 4006"/>
                  <a:gd name="connsiteX3" fmla="*/ 5680 w 5680"/>
                  <a:gd name="connsiteY3" fmla="*/ 2634 h 4006"/>
                  <a:gd name="connsiteX4" fmla="*/ 3814 w 5680"/>
                  <a:gd name="connsiteY4" fmla="*/ 4007 h 4006"/>
                  <a:gd name="connsiteX5" fmla="*/ 274 w 5680"/>
                  <a:gd name="connsiteY5" fmla="*/ 1564 h 4006"/>
                  <a:gd name="connsiteX6" fmla="*/ 0 w 5680"/>
                  <a:gd name="connsiteY6" fmla="*/ 384 h 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0" h="4006">
                    <a:moveTo>
                      <a:pt x="27" y="411"/>
                    </a:moveTo>
                    <a:lnTo>
                      <a:pt x="878" y="0"/>
                    </a:lnTo>
                    <a:lnTo>
                      <a:pt x="3622" y="2003"/>
                    </a:lnTo>
                    <a:lnTo>
                      <a:pt x="5680" y="2634"/>
                    </a:lnTo>
                    <a:lnTo>
                      <a:pt x="3814" y="4007"/>
                    </a:lnTo>
                    <a:lnTo>
                      <a:pt x="274" y="1564"/>
                    </a:lnTo>
                    <a:lnTo>
                      <a:pt x="0"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0" name="Freeform: Shape 3749">
                <a:extLst>
                  <a:ext uri="{FF2B5EF4-FFF2-40B4-BE49-F238E27FC236}">
                    <a16:creationId xmlns:a16="http://schemas.microsoft.com/office/drawing/2014/main" id="{F74FF86E-5B5C-8F84-452E-5FE7EFB6D3EB}"/>
                  </a:ext>
                </a:extLst>
              </p:cNvPr>
              <p:cNvSpPr/>
              <p:nvPr/>
            </p:nvSpPr>
            <p:spPr>
              <a:xfrm>
                <a:off x="1755484" y="3846414"/>
                <a:ext cx="478" cy="515"/>
              </a:xfrm>
              <a:custGeom>
                <a:avLst/>
                <a:gdLst>
                  <a:gd name="connsiteX0" fmla="*/ 3760 w 4583"/>
                  <a:gd name="connsiteY0" fmla="*/ 2552 h 4939"/>
                  <a:gd name="connsiteX1" fmla="*/ 4583 w 4583"/>
                  <a:gd name="connsiteY1" fmla="*/ 4940 h 4939"/>
                  <a:gd name="connsiteX2" fmla="*/ 0 w 4583"/>
                  <a:gd name="connsiteY2" fmla="*/ 3485 h 4939"/>
                  <a:gd name="connsiteX3" fmla="*/ 1318 w 4583"/>
                  <a:gd name="connsiteY3" fmla="*/ 0 h 4939"/>
                  <a:gd name="connsiteX4" fmla="*/ 4583 w 4583"/>
                  <a:gd name="connsiteY4" fmla="*/ 1015 h 4939"/>
                  <a:gd name="connsiteX5" fmla="*/ 3760 w 4583"/>
                  <a:gd name="connsiteY5" fmla="*/ 2552 h 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3" h="4939">
                    <a:moveTo>
                      <a:pt x="3760" y="2552"/>
                    </a:moveTo>
                    <a:lnTo>
                      <a:pt x="4583" y="4940"/>
                    </a:lnTo>
                    <a:lnTo>
                      <a:pt x="0" y="3485"/>
                    </a:lnTo>
                    <a:lnTo>
                      <a:pt x="1318" y="0"/>
                    </a:lnTo>
                    <a:lnTo>
                      <a:pt x="4583" y="1015"/>
                    </a:lnTo>
                    <a:lnTo>
                      <a:pt x="3760"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1" name="Freeform: Shape 3750">
                <a:extLst>
                  <a:ext uri="{FF2B5EF4-FFF2-40B4-BE49-F238E27FC236}">
                    <a16:creationId xmlns:a16="http://schemas.microsoft.com/office/drawing/2014/main" id="{6D442C65-2B8B-4554-71CC-4CB75175C44F}"/>
                  </a:ext>
                </a:extLst>
              </p:cNvPr>
              <p:cNvSpPr/>
              <p:nvPr/>
            </p:nvSpPr>
            <p:spPr>
              <a:xfrm>
                <a:off x="1744256" y="3860563"/>
                <a:ext cx="418" cy="578"/>
              </a:xfrm>
              <a:custGeom>
                <a:avLst/>
                <a:gdLst>
                  <a:gd name="connsiteX0" fmla="*/ 0 w 4007"/>
                  <a:gd name="connsiteY0" fmla="*/ 3238 h 5543"/>
                  <a:gd name="connsiteX1" fmla="*/ 357 w 4007"/>
                  <a:gd name="connsiteY1" fmla="*/ 549 h 5543"/>
                  <a:gd name="connsiteX2" fmla="*/ 2196 w 4007"/>
                  <a:gd name="connsiteY2" fmla="*/ 0 h 5543"/>
                  <a:gd name="connsiteX3" fmla="*/ 4007 w 4007"/>
                  <a:gd name="connsiteY3" fmla="*/ 1262 h 5543"/>
                  <a:gd name="connsiteX4" fmla="*/ 3595 w 4007"/>
                  <a:gd name="connsiteY4" fmla="*/ 5543 h 5543"/>
                  <a:gd name="connsiteX5" fmla="*/ 1537 w 4007"/>
                  <a:gd name="connsiteY5" fmla="*/ 3512 h 5543"/>
                  <a:gd name="connsiteX6" fmla="*/ 0 w 4007"/>
                  <a:gd name="connsiteY6" fmla="*/ 3238 h 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7" h="5543">
                    <a:moveTo>
                      <a:pt x="0" y="3238"/>
                    </a:moveTo>
                    <a:lnTo>
                      <a:pt x="357" y="549"/>
                    </a:lnTo>
                    <a:lnTo>
                      <a:pt x="2196" y="0"/>
                    </a:lnTo>
                    <a:lnTo>
                      <a:pt x="4007" y="1262"/>
                    </a:lnTo>
                    <a:lnTo>
                      <a:pt x="3595" y="5543"/>
                    </a:lnTo>
                    <a:lnTo>
                      <a:pt x="1537" y="3512"/>
                    </a:lnTo>
                    <a:lnTo>
                      <a:pt x="0"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5" name="Freeform: Shape 3754">
                <a:extLst>
                  <a:ext uri="{FF2B5EF4-FFF2-40B4-BE49-F238E27FC236}">
                    <a16:creationId xmlns:a16="http://schemas.microsoft.com/office/drawing/2014/main" id="{7DD0F1C6-9FD5-D613-00AC-8D86BD34A5AF}"/>
                  </a:ext>
                </a:extLst>
              </p:cNvPr>
              <p:cNvSpPr/>
              <p:nvPr/>
            </p:nvSpPr>
            <p:spPr>
              <a:xfrm>
                <a:off x="1735354" y="3866033"/>
                <a:ext cx="544" cy="381"/>
              </a:xfrm>
              <a:custGeom>
                <a:avLst/>
                <a:gdLst>
                  <a:gd name="connsiteX0" fmla="*/ 4940 w 5213"/>
                  <a:gd name="connsiteY0" fmla="*/ 3512 h 3649"/>
                  <a:gd name="connsiteX1" fmla="*/ 796 w 5213"/>
                  <a:gd name="connsiteY1" fmla="*/ 3650 h 3649"/>
                  <a:gd name="connsiteX2" fmla="*/ 0 w 5213"/>
                  <a:gd name="connsiteY2" fmla="*/ 2168 h 3649"/>
                  <a:gd name="connsiteX3" fmla="*/ 1262 w 5213"/>
                  <a:gd name="connsiteY3" fmla="*/ 0 h 3649"/>
                  <a:gd name="connsiteX4" fmla="*/ 5214 w 5213"/>
                  <a:gd name="connsiteY4" fmla="*/ 2634 h 3649"/>
                  <a:gd name="connsiteX5" fmla="*/ 4940 w 5213"/>
                  <a:gd name="connsiteY5" fmla="*/ 3512 h 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3" h="3649">
                    <a:moveTo>
                      <a:pt x="4940" y="3512"/>
                    </a:moveTo>
                    <a:lnTo>
                      <a:pt x="796" y="3650"/>
                    </a:lnTo>
                    <a:lnTo>
                      <a:pt x="0" y="2168"/>
                    </a:lnTo>
                    <a:lnTo>
                      <a:pt x="1262" y="0"/>
                    </a:lnTo>
                    <a:lnTo>
                      <a:pt x="5214" y="2634"/>
                    </a:lnTo>
                    <a:lnTo>
                      <a:pt x="4940" y="35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8" name="Freeform: Shape 3757">
                <a:extLst>
                  <a:ext uri="{FF2B5EF4-FFF2-40B4-BE49-F238E27FC236}">
                    <a16:creationId xmlns:a16="http://schemas.microsoft.com/office/drawing/2014/main" id="{AAE150A2-BF23-E963-8689-7F8962F8C145}"/>
                  </a:ext>
                </a:extLst>
              </p:cNvPr>
              <p:cNvSpPr/>
              <p:nvPr/>
            </p:nvSpPr>
            <p:spPr>
              <a:xfrm>
                <a:off x="1743517" y="3849512"/>
                <a:ext cx="424" cy="475"/>
              </a:xfrm>
              <a:custGeom>
                <a:avLst/>
                <a:gdLst>
                  <a:gd name="connsiteX0" fmla="*/ 0 w 4061"/>
                  <a:gd name="connsiteY0" fmla="*/ 3924 h 4555"/>
                  <a:gd name="connsiteX1" fmla="*/ 3677 w 4061"/>
                  <a:gd name="connsiteY1" fmla="*/ 0 h 4555"/>
                  <a:gd name="connsiteX2" fmla="*/ 4062 w 4061"/>
                  <a:gd name="connsiteY2" fmla="*/ 2086 h 4555"/>
                  <a:gd name="connsiteX3" fmla="*/ 1235 w 4061"/>
                  <a:gd name="connsiteY3" fmla="*/ 4556 h 4555"/>
                  <a:gd name="connsiteX4" fmla="*/ 0 w 4061"/>
                  <a:gd name="connsiteY4" fmla="*/ 3924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4555">
                    <a:moveTo>
                      <a:pt x="0" y="3924"/>
                    </a:moveTo>
                    <a:lnTo>
                      <a:pt x="3677" y="0"/>
                    </a:lnTo>
                    <a:lnTo>
                      <a:pt x="4062" y="2086"/>
                    </a:lnTo>
                    <a:lnTo>
                      <a:pt x="1235" y="4556"/>
                    </a:lnTo>
                    <a:lnTo>
                      <a:pt x="0" y="39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0" name="Freeform: Shape 3759">
                <a:extLst>
                  <a:ext uri="{FF2B5EF4-FFF2-40B4-BE49-F238E27FC236}">
                    <a16:creationId xmlns:a16="http://schemas.microsoft.com/office/drawing/2014/main" id="{9AD9D07E-05B3-00CA-8AF9-26F6F5C762AB}"/>
                  </a:ext>
                </a:extLst>
              </p:cNvPr>
              <p:cNvSpPr/>
              <p:nvPr/>
            </p:nvSpPr>
            <p:spPr>
              <a:xfrm>
                <a:off x="1730439" y="3869436"/>
                <a:ext cx="429" cy="458"/>
              </a:xfrm>
              <a:custGeom>
                <a:avLst/>
                <a:gdLst>
                  <a:gd name="connsiteX0" fmla="*/ 0 w 4116"/>
                  <a:gd name="connsiteY0" fmla="*/ 2525 h 4390"/>
                  <a:gd name="connsiteX1" fmla="*/ 1702 w 4116"/>
                  <a:gd name="connsiteY1" fmla="*/ 0 h 4390"/>
                  <a:gd name="connsiteX2" fmla="*/ 4116 w 4116"/>
                  <a:gd name="connsiteY2" fmla="*/ 2333 h 4390"/>
                  <a:gd name="connsiteX3" fmla="*/ 2854 w 4116"/>
                  <a:gd name="connsiteY3" fmla="*/ 4391 h 4390"/>
                  <a:gd name="connsiteX4" fmla="*/ 412 w 4116"/>
                  <a:gd name="connsiteY4" fmla="*/ 3979 h 4390"/>
                  <a:gd name="connsiteX5" fmla="*/ 0 w 4116"/>
                  <a:gd name="connsiteY5" fmla="*/ 2497 h 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6" h="4390">
                    <a:moveTo>
                      <a:pt x="0" y="2525"/>
                    </a:moveTo>
                    <a:lnTo>
                      <a:pt x="1702" y="0"/>
                    </a:lnTo>
                    <a:lnTo>
                      <a:pt x="4116" y="2333"/>
                    </a:lnTo>
                    <a:lnTo>
                      <a:pt x="2854" y="4391"/>
                    </a:lnTo>
                    <a:lnTo>
                      <a:pt x="412" y="3979"/>
                    </a:lnTo>
                    <a:lnTo>
                      <a:pt x="0"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1" name="Freeform: Shape 3760">
                <a:extLst>
                  <a:ext uri="{FF2B5EF4-FFF2-40B4-BE49-F238E27FC236}">
                    <a16:creationId xmlns:a16="http://schemas.microsoft.com/office/drawing/2014/main" id="{52DCFB04-D673-F6EF-51BF-F99695D8781F}"/>
                  </a:ext>
                </a:extLst>
              </p:cNvPr>
              <p:cNvSpPr/>
              <p:nvPr/>
            </p:nvSpPr>
            <p:spPr>
              <a:xfrm>
                <a:off x="1757560" y="3853381"/>
                <a:ext cx="492" cy="395"/>
              </a:xfrm>
              <a:custGeom>
                <a:avLst/>
                <a:gdLst>
                  <a:gd name="connsiteX0" fmla="*/ 0 w 4720"/>
                  <a:gd name="connsiteY0" fmla="*/ 3293 h 3787"/>
                  <a:gd name="connsiteX1" fmla="*/ 2251 w 4720"/>
                  <a:gd name="connsiteY1" fmla="*/ 0 h 3787"/>
                  <a:gd name="connsiteX2" fmla="*/ 4721 w 4720"/>
                  <a:gd name="connsiteY2" fmla="*/ 960 h 3787"/>
                  <a:gd name="connsiteX3" fmla="*/ 2086 w 4720"/>
                  <a:gd name="connsiteY3" fmla="*/ 3787 h 3787"/>
                  <a:gd name="connsiteX4" fmla="*/ 0 w 4720"/>
                  <a:gd name="connsiteY4" fmla="*/ 3293 h 3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0" h="3787">
                    <a:moveTo>
                      <a:pt x="0" y="3293"/>
                    </a:moveTo>
                    <a:lnTo>
                      <a:pt x="2251" y="0"/>
                    </a:lnTo>
                    <a:lnTo>
                      <a:pt x="4721" y="960"/>
                    </a:lnTo>
                    <a:lnTo>
                      <a:pt x="2086" y="3787"/>
                    </a:lnTo>
                    <a:lnTo>
                      <a:pt x="0" y="32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2" name="Freeform: Shape 3761">
                <a:extLst>
                  <a:ext uri="{FF2B5EF4-FFF2-40B4-BE49-F238E27FC236}">
                    <a16:creationId xmlns:a16="http://schemas.microsoft.com/office/drawing/2014/main" id="{E18FCD5B-6342-3914-7C16-D8DA3733A2E7}"/>
                  </a:ext>
                </a:extLst>
              </p:cNvPr>
              <p:cNvSpPr/>
              <p:nvPr/>
            </p:nvSpPr>
            <p:spPr>
              <a:xfrm>
                <a:off x="1726618" y="3833417"/>
                <a:ext cx="404" cy="469"/>
              </a:xfrm>
              <a:custGeom>
                <a:avLst/>
                <a:gdLst>
                  <a:gd name="connsiteX0" fmla="*/ 0 w 3869"/>
                  <a:gd name="connsiteY0" fmla="*/ 1564 h 4500"/>
                  <a:gd name="connsiteX1" fmla="*/ 1646 w 3869"/>
                  <a:gd name="connsiteY1" fmla="*/ 0 h 4500"/>
                  <a:gd name="connsiteX2" fmla="*/ 3375 w 3869"/>
                  <a:gd name="connsiteY2" fmla="*/ 1921 h 4500"/>
                  <a:gd name="connsiteX3" fmla="*/ 3869 w 3869"/>
                  <a:gd name="connsiteY3" fmla="*/ 4501 h 4500"/>
                  <a:gd name="connsiteX4" fmla="*/ 823 w 3869"/>
                  <a:gd name="connsiteY4" fmla="*/ 2854 h 4500"/>
                  <a:gd name="connsiteX5" fmla="*/ 27 w 3869"/>
                  <a:gd name="connsiteY5" fmla="*/ 1537 h 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9" h="4500">
                    <a:moveTo>
                      <a:pt x="0" y="1564"/>
                    </a:moveTo>
                    <a:lnTo>
                      <a:pt x="1646" y="0"/>
                    </a:lnTo>
                    <a:lnTo>
                      <a:pt x="3375" y="1921"/>
                    </a:lnTo>
                    <a:lnTo>
                      <a:pt x="3869" y="4501"/>
                    </a:lnTo>
                    <a:lnTo>
                      <a:pt x="823" y="2854"/>
                    </a:lnTo>
                    <a:lnTo>
                      <a:pt x="27" y="15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3" name="Freeform: Shape 3762">
                <a:extLst>
                  <a:ext uri="{FF2B5EF4-FFF2-40B4-BE49-F238E27FC236}">
                    <a16:creationId xmlns:a16="http://schemas.microsoft.com/office/drawing/2014/main" id="{C7DB74BF-E920-A1EC-251D-D376B8856AA2}"/>
                  </a:ext>
                </a:extLst>
              </p:cNvPr>
              <p:cNvSpPr/>
              <p:nvPr/>
            </p:nvSpPr>
            <p:spPr>
              <a:xfrm>
                <a:off x="1744857" y="3861259"/>
                <a:ext cx="441" cy="418"/>
              </a:xfrm>
              <a:custGeom>
                <a:avLst/>
                <a:gdLst>
                  <a:gd name="connsiteX0" fmla="*/ 0 w 4226"/>
                  <a:gd name="connsiteY0" fmla="*/ 686 h 4006"/>
                  <a:gd name="connsiteX1" fmla="*/ 1290 w 4226"/>
                  <a:gd name="connsiteY1" fmla="*/ 0 h 4006"/>
                  <a:gd name="connsiteX2" fmla="*/ 4226 w 4226"/>
                  <a:gd name="connsiteY2" fmla="*/ 2772 h 4006"/>
                  <a:gd name="connsiteX3" fmla="*/ 2634 w 4226"/>
                  <a:gd name="connsiteY3" fmla="*/ 4007 h 4006"/>
                  <a:gd name="connsiteX4" fmla="*/ 0 w 4226"/>
                  <a:gd name="connsiteY4" fmla="*/ 714 h 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 h="4006">
                    <a:moveTo>
                      <a:pt x="0" y="686"/>
                    </a:moveTo>
                    <a:lnTo>
                      <a:pt x="1290" y="0"/>
                    </a:lnTo>
                    <a:lnTo>
                      <a:pt x="4226" y="2772"/>
                    </a:lnTo>
                    <a:lnTo>
                      <a:pt x="2634" y="4007"/>
                    </a:lnTo>
                    <a:lnTo>
                      <a:pt x="0" y="7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4" name="Freeform: Shape 3763">
                <a:extLst>
                  <a:ext uri="{FF2B5EF4-FFF2-40B4-BE49-F238E27FC236}">
                    <a16:creationId xmlns:a16="http://schemas.microsoft.com/office/drawing/2014/main" id="{7E443E37-D5DE-D480-3EB0-A4C4E62C9564}"/>
                  </a:ext>
                </a:extLst>
              </p:cNvPr>
              <p:cNvSpPr/>
              <p:nvPr/>
            </p:nvSpPr>
            <p:spPr>
              <a:xfrm>
                <a:off x="1766533" y="3869757"/>
                <a:ext cx="438" cy="412"/>
              </a:xfrm>
              <a:custGeom>
                <a:avLst/>
                <a:gdLst>
                  <a:gd name="connsiteX0" fmla="*/ 27 w 4198"/>
                  <a:gd name="connsiteY0" fmla="*/ 3430 h 3951"/>
                  <a:gd name="connsiteX1" fmla="*/ 3183 w 4198"/>
                  <a:gd name="connsiteY1" fmla="*/ 0 h 3951"/>
                  <a:gd name="connsiteX2" fmla="*/ 4199 w 4198"/>
                  <a:gd name="connsiteY2" fmla="*/ 2058 h 3951"/>
                  <a:gd name="connsiteX3" fmla="*/ 1290 w 4198"/>
                  <a:gd name="connsiteY3" fmla="*/ 3952 h 3951"/>
                  <a:gd name="connsiteX4" fmla="*/ 0 w 4198"/>
                  <a:gd name="connsiteY4" fmla="*/ 3403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8" h="3951">
                    <a:moveTo>
                      <a:pt x="27" y="3430"/>
                    </a:moveTo>
                    <a:lnTo>
                      <a:pt x="3183" y="0"/>
                    </a:lnTo>
                    <a:lnTo>
                      <a:pt x="4199" y="2058"/>
                    </a:lnTo>
                    <a:lnTo>
                      <a:pt x="1290" y="3952"/>
                    </a:lnTo>
                    <a:lnTo>
                      <a:pt x="0"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5" name="Freeform: Shape 3764">
                <a:extLst>
                  <a:ext uri="{FF2B5EF4-FFF2-40B4-BE49-F238E27FC236}">
                    <a16:creationId xmlns:a16="http://schemas.microsoft.com/office/drawing/2014/main" id="{BA8B0CE1-3F05-A42F-2AE7-C040994736E3}"/>
                  </a:ext>
                </a:extLst>
              </p:cNvPr>
              <p:cNvSpPr/>
              <p:nvPr/>
            </p:nvSpPr>
            <p:spPr>
              <a:xfrm>
                <a:off x="1776583" y="3856390"/>
                <a:ext cx="495" cy="361"/>
              </a:xfrm>
              <a:custGeom>
                <a:avLst/>
                <a:gdLst>
                  <a:gd name="connsiteX0" fmla="*/ 0 w 4747"/>
                  <a:gd name="connsiteY0" fmla="*/ 357 h 3457"/>
                  <a:gd name="connsiteX1" fmla="*/ 1948 w 4747"/>
                  <a:gd name="connsiteY1" fmla="*/ 0 h 3457"/>
                  <a:gd name="connsiteX2" fmla="*/ 4748 w 4747"/>
                  <a:gd name="connsiteY2" fmla="*/ 2388 h 3457"/>
                  <a:gd name="connsiteX3" fmla="*/ 3156 w 4747"/>
                  <a:gd name="connsiteY3" fmla="*/ 3458 h 3457"/>
                  <a:gd name="connsiteX4" fmla="*/ 0 w 4747"/>
                  <a:gd name="connsiteY4" fmla="*/ 357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7" h="3457">
                    <a:moveTo>
                      <a:pt x="0" y="357"/>
                    </a:moveTo>
                    <a:lnTo>
                      <a:pt x="1948" y="0"/>
                    </a:lnTo>
                    <a:lnTo>
                      <a:pt x="4748" y="2388"/>
                    </a:lnTo>
                    <a:lnTo>
                      <a:pt x="3156" y="3458"/>
                    </a:lnTo>
                    <a:lnTo>
                      <a:pt x="0" y="3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7" name="Freeform: Shape 3766">
                <a:extLst>
                  <a:ext uri="{FF2B5EF4-FFF2-40B4-BE49-F238E27FC236}">
                    <a16:creationId xmlns:a16="http://schemas.microsoft.com/office/drawing/2014/main" id="{E8755161-7083-F4BF-D3BC-190E10A2A796}"/>
                  </a:ext>
                </a:extLst>
              </p:cNvPr>
              <p:cNvSpPr/>
              <p:nvPr/>
            </p:nvSpPr>
            <p:spPr>
              <a:xfrm>
                <a:off x="1767403" y="3842745"/>
                <a:ext cx="452" cy="372"/>
              </a:xfrm>
              <a:custGeom>
                <a:avLst/>
                <a:gdLst>
                  <a:gd name="connsiteX0" fmla="*/ 0 w 4336"/>
                  <a:gd name="connsiteY0" fmla="*/ 1043 h 3567"/>
                  <a:gd name="connsiteX1" fmla="*/ 1674 w 4336"/>
                  <a:gd name="connsiteY1" fmla="*/ 0 h 3567"/>
                  <a:gd name="connsiteX2" fmla="*/ 4336 w 4336"/>
                  <a:gd name="connsiteY2" fmla="*/ 2662 h 3567"/>
                  <a:gd name="connsiteX3" fmla="*/ 2634 w 4336"/>
                  <a:gd name="connsiteY3" fmla="*/ 3567 h 3567"/>
                  <a:gd name="connsiteX4" fmla="*/ 0 w 4336"/>
                  <a:gd name="connsiteY4" fmla="*/ 1043 h 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3567">
                    <a:moveTo>
                      <a:pt x="0" y="1043"/>
                    </a:moveTo>
                    <a:lnTo>
                      <a:pt x="1674" y="0"/>
                    </a:lnTo>
                    <a:lnTo>
                      <a:pt x="4336" y="2662"/>
                    </a:lnTo>
                    <a:lnTo>
                      <a:pt x="2634" y="3567"/>
                    </a:lnTo>
                    <a:lnTo>
                      <a:pt x="0" y="10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8" name="Freeform: Shape 3767">
                <a:extLst>
                  <a:ext uri="{FF2B5EF4-FFF2-40B4-BE49-F238E27FC236}">
                    <a16:creationId xmlns:a16="http://schemas.microsoft.com/office/drawing/2014/main" id="{C1F1A67B-F87F-B2ED-3AC2-CB248DF67841}"/>
                  </a:ext>
                </a:extLst>
              </p:cNvPr>
              <p:cNvSpPr/>
              <p:nvPr/>
            </p:nvSpPr>
            <p:spPr>
              <a:xfrm>
                <a:off x="1763347" y="3847983"/>
                <a:ext cx="615" cy="272"/>
              </a:xfrm>
              <a:custGeom>
                <a:avLst/>
                <a:gdLst>
                  <a:gd name="connsiteX0" fmla="*/ 0 w 5899"/>
                  <a:gd name="connsiteY0" fmla="*/ 1784 h 2607"/>
                  <a:gd name="connsiteX1" fmla="*/ 740 w 5899"/>
                  <a:gd name="connsiteY1" fmla="*/ 714 h 2607"/>
                  <a:gd name="connsiteX2" fmla="*/ 4473 w 5899"/>
                  <a:gd name="connsiteY2" fmla="*/ 0 h 2607"/>
                  <a:gd name="connsiteX3" fmla="*/ 5900 w 5899"/>
                  <a:gd name="connsiteY3" fmla="*/ 1125 h 2607"/>
                  <a:gd name="connsiteX4" fmla="*/ 2579 w 5899"/>
                  <a:gd name="connsiteY4" fmla="*/ 2607 h 2607"/>
                  <a:gd name="connsiteX5" fmla="*/ 0 w 5899"/>
                  <a:gd name="connsiteY5" fmla="*/ 1811 h 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9" h="2607">
                    <a:moveTo>
                      <a:pt x="0" y="1784"/>
                    </a:moveTo>
                    <a:lnTo>
                      <a:pt x="740" y="714"/>
                    </a:lnTo>
                    <a:lnTo>
                      <a:pt x="4473" y="0"/>
                    </a:lnTo>
                    <a:lnTo>
                      <a:pt x="5900" y="1125"/>
                    </a:lnTo>
                    <a:lnTo>
                      <a:pt x="2579" y="2607"/>
                    </a:lnTo>
                    <a:lnTo>
                      <a:pt x="0"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5" name="Freeform: Shape 3774">
                <a:extLst>
                  <a:ext uri="{FF2B5EF4-FFF2-40B4-BE49-F238E27FC236}">
                    <a16:creationId xmlns:a16="http://schemas.microsoft.com/office/drawing/2014/main" id="{20B88027-2C3C-790E-6706-E7571DE86C4D}"/>
                  </a:ext>
                </a:extLst>
              </p:cNvPr>
              <p:cNvSpPr/>
              <p:nvPr/>
            </p:nvSpPr>
            <p:spPr>
              <a:xfrm>
                <a:off x="1756927" y="3854131"/>
                <a:ext cx="489" cy="321"/>
              </a:xfrm>
              <a:custGeom>
                <a:avLst/>
                <a:gdLst>
                  <a:gd name="connsiteX0" fmla="*/ 0 w 4692"/>
                  <a:gd name="connsiteY0" fmla="*/ 2058 h 3073"/>
                  <a:gd name="connsiteX1" fmla="*/ 2525 w 4692"/>
                  <a:gd name="connsiteY1" fmla="*/ 0 h 3073"/>
                  <a:gd name="connsiteX2" fmla="*/ 4611 w 4692"/>
                  <a:gd name="connsiteY2" fmla="*/ 631 h 3073"/>
                  <a:gd name="connsiteX3" fmla="*/ 4693 w 4692"/>
                  <a:gd name="connsiteY3" fmla="*/ 2799 h 3073"/>
                  <a:gd name="connsiteX4" fmla="*/ 1317 w 4692"/>
                  <a:gd name="connsiteY4" fmla="*/ 3074 h 3073"/>
                  <a:gd name="connsiteX5" fmla="*/ 0 w 4692"/>
                  <a:gd name="connsiteY5" fmla="*/ 2086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 h="3073">
                    <a:moveTo>
                      <a:pt x="0" y="2058"/>
                    </a:moveTo>
                    <a:lnTo>
                      <a:pt x="2525" y="0"/>
                    </a:lnTo>
                    <a:lnTo>
                      <a:pt x="4611" y="631"/>
                    </a:lnTo>
                    <a:lnTo>
                      <a:pt x="4693" y="2799"/>
                    </a:lnTo>
                    <a:lnTo>
                      <a:pt x="1317" y="3074"/>
                    </a:lnTo>
                    <a:lnTo>
                      <a:pt x="0"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6" name="Freeform: Shape 3775">
                <a:extLst>
                  <a:ext uri="{FF2B5EF4-FFF2-40B4-BE49-F238E27FC236}">
                    <a16:creationId xmlns:a16="http://schemas.microsoft.com/office/drawing/2014/main" id="{F62A3C3B-F9EA-6F4E-D077-B62A289B0BA5}"/>
                  </a:ext>
                </a:extLst>
              </p:cNvPr>
              <p:cNvSpPr/>
              <p:nvPr/>
            </p:nvSpPr>
            <p:spPr>
              <a:xfrm>
                <a:off x="1764819" y="3844708"/>
                <a:ext cx="512" cy="306"/>
              </a:xfrm>
              <a:custGeom>
                <a:avLst/>
                <a:gdLst>
                  <a:gd name="connsiteX0" fmla="*/ 0 w 4912"/>
                  <a:gd name="connsiteY0" fmla="*/ 768 h 2936"/>
                  <a:gd name="connsiteX1" fmla="*/ 2141 w 4912"/>
                  <a:gd name="connsiteY1" fmla="*/ 0 h 2936"/>
                  <a:gd name="connsiteX2" fmla="*/ 4912 w 4912"/>
                  <a:gd name="connsiteY2" fmla="*/ 1564 h 2936"/>
                  <a:gd name="connsiteX3" fmla="*/ 2634 w 4912"/>
                  <a:gd name="connsiteY3" fmla="*/ 2936 h 2936"/>
                  <a:gd name="connsiteX4" fmla="*/ 0 w 4912"/>
                  <a:gd name="connsiteY4" fmla="*/ 796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 h="2936">
                    <a:moveTo>
                      <a:pt x="0" y="768"/>
                    </a:moveTo>
                    <a:lnTo>
                      <a:pt x="2141" y="0"/>
                    </a:lnTo>
                    <a:lnTo>
                      <a:pt x="4912" y="1564"/>
                    </a:lnTo>
                    <a:lnTo>
                      <a:pt x="2634" y="2936"/>
                    </a:lnTo>
                    <a:lnTo>
                      <a:pt x="0" y="7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7" name="Freeform: Shape 3776">
                <a:extLst>
                  <a:ext uri="{FF2B5EF4-FFF2-40B4-BE49-F238E27FC236}">
                    <a16:creationId xmlns:a16="http://schemas.microsoft.com/office/drawing/2014/main" id="{A7FD8F0D-9B5C-9ED7-A505-E81C699EFCED}"/>
                  </a:ext>
                </a:extLst>
              </p:cNvPr>
              <p:cNvSpPr/>
              <p:nvPr/>
            </p:nvSpPr>
            <p:spPr>
              <a:xfrm>
                <a:off x="1756775" y="3869539"/>
                <a:ext cx="527" cy="300"/>
              </a:xfrm>
              <a:custGeom>
                <a:avLst/>
                <a:gdLst>
                  <a:gd name="connsiteX0" fmla="*/ 0 w 5049"/>
                  <a:gd name="connsiteY0" fmla="*/ 1948 h 2881"/>
                  <a:gd name="connsiteX1" fmla="*/ 3266 w 5049"/>
                  <a:gd name="connsiteY1" fmla="*/ 0 h 2881"/>
                  <a:gd name="connsiteX2" fmla="*/ 5050 w 5049"/>
                  <a:gd name="connsiteY2" fmla="*/ 1838 h 2881"/>
                  <a:gd name="connsiteX3" fmla="*/ 1181 w 5049"/>
                  <a:gd name="connsiteY3" fmla="*/ 2881 h 2881"/>
                  <a:gd name="connsiteX4" fmla="*/ 0 w 5049"/>
                  <a:gd name="connsiteY4" fmla="*/ 1976 h 2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 h="2881">
                    <a:moveTo>
                      <a:pt x="0" y="1948"/>
                    </a:moveTo>
                    <a:lnTo>
                      <a:pt x="3266" y="0"/>
                    </a:lnTo>
                    <a:lnTo>
                      <a:pt x="5050" y="1838"/>
                    </a:lnTo>
                    <a:lnTo>
                      <a:pt x="1181" y="2881"/>
                    </a:lnTo>
                    <a:lnTo>
                      <a:pt x="0"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9" name="Freeform: Shape 3778">
                <a:extLst>
                  <a:ext uri="{FF2B5EF4-FFF2-40B4-BE49-F238E27FC236}">
                    <a16:creationId xmlns:a16="http://schemas.microsoft.com/office/drawing/2014/main" id="{420DB1FD-1AE4-B2F5-BE8D-F567F376152B}"/>
                  </a:ext>
                </a:extLst>
              </p:cNvPr>
              <p:cNvSpPr/>
              <p:nvPr/>
            </p:nvSpPr>
            <p:spPr>
              <a:xfrm>
                <a:off x="1763639" y="3845642"/>
                <a:ext cx="366" cy="418"/>
              </a:xfrm>
              <a:custGeom>
                <a:avLst/>
                <a:gdLst>
                  <a:gd name="connsiteX0" fmla="*/ 0 w 3512"/>
                  <a:gd name="connsiteY0" fmla="*/ 2278 h 4006"/>
                  <a:gd name="connsiteX1" fmla="*/ 1894 w 3512"/>
                  <a:gd name="connsiteY1" fmla="*/ 0 h 4006"/>
                  <a:gd name="connsiteX2" fmla="*/ 3513 w 3512"/>
                  <a:gd name="connsiteY2" fmla="*/ 1866 h 4006"/>
                  <a:gd name="connsiteX3" fmla="*/ 1564 w 3512"/>
                  <a:gd name="connsiteY3" fmla="*/ 4007 h 4006"/>
                  <a:gd name="connsiteX4" fmla="*/ 0 w 3512"/>
                  <a:gd name="connsiteY4" fmla="*/ 2250 h 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4006">
                    <a:moveTo>
                      <a:pt x="0" y="2278"/>
                    </a:moveTo>
                    <a:lnTo>
                      <a:pt x="1894" y="0"/>
                    </a:lnTo>
                    <a:lnTo>
                      <a:pt x="3513" y="1866"/>
                    </a:lnTo>
                    <a:lnTo>
                      <a:pt x="1564" y="4007"/>
                    </a:lnTo>
                    <a:lnTo>
                      <a:pt x="0" y="22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0" name="Freeform: Shape 3779">
                <a:extLst>
                  <a:ext uri="{FF2B5EF4-FFF2-40B4-BE49-F238E27FC236}">
                    <a16:creationId xmlns:a16="http://schemas.microsoft.com/office/drawing/2014/main" id="{91D73DFA-A07D-E17D-394F-2FD76F86D8F4}"/>
                  </a:ext>
                </a:extLst>
              </p:cNvPr>
              <p:cNvSpPr/>
              <p:nvPr/>
            </p:nvSpPr>
            <p:spPr>
              <a:xfrm>
                <a:off x="1758833" y="3849288"/>
                <a:ext cx="378" cy="401"/>
              </a:xfrm>
              <a:custGeom>
                <a:avLst/>
                <a:gdLst>
                  <a:gd name="connsiteX0" fmla="*/ 0 w 3621"/>
                  <a:gd name="connsiteY0" fmla="*/ 2552 h 3841"/>
                  <a:gd name="connsiteX1" fmla="*/ 2552 w 3621"/>
                  <a:gd name="connsiteY1" fmla="*/ 0 h 3841"/>
                  <a:gd name="connsiteX2" fmla="*/ 3622 w 3621"/>
                  <a:gd name="connsiteY2" fmla="*/ 2497 h 3841"/>
                  <a:gd name="connsiteX3" fmla="*/ 1591 w 3621"/>
                  <a:gd name="connsiteY3" fmla="*/ 3842 h 3841"/>
                  <a:gd name="connsiteX4" fmla="*/ 0 w 3621"/>
                  <a:gd name="connsiteY4" fmla="*/ 2552 h 3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1" h="3841">
                    <a:moveTo>
                      <a:pt x="0" y="2552"/>
                    </a:moveTo>
                    <a:lnTo>
                      <a:pt x="2552" y="0"/>
                    </a:lnTo>
                    <a:lnTo>
                      <a:pt x="3622" y="2497"/>
                    </a:lnTo>
                    <a:lnTo>
                      <a:pt x="1591" y="3842"/>
                    </a:lnTo>
                    <a:lnTo>
                      <a:pt x="0"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1" name="Freeform: Shape 3780">
                <a:extLst>
                  <a:ext uri="{FF2B5EF4-FFF2-40B4-BE49-F238E27FC236}">
                    <a16:creationId xmlns:a16="http://schemas.microsoft.com/office/drawing/2014/main" id="{6813138B-4B71-522D-8B31-B3C2A869C2FA}"/>
                  </a:ext>
                </a:extLst>
              </p:cNvPr>
              <p:cNvSpPr/>
              <p:nvPr/>
            </p:nvSpPr>
            <p:spPr>
              <a:xfrm>
                <a:off x="1767996" y="3856868"/>
                <a:ext cx="404" cy="381"/>
              </a:xfrm>
              <a:custGeom>
                <a:avLst/>
                <a:gdLst>
                  <a:gd name="connsiteX0" fmla="*/ 0 w 3869"/>
                  <a:gd name="connsiteY0" fmla="*/ 1564 h 3649"/>
                  <a:gd name="connsiteX1" fmla="*/ 2167 w 3869"/>
                  <a:gd name="connsiteY1" fmla="*/ 0 h 3649"/>
                  <a:gd name="connsiteX2" fmla="*/ 3869 w 3869"/>
                  <a:gd name="connsiteY2" fmla="*/ 1729 h 3649"/>
                  <a:gd name="connsiteX3" fmla="*/ 2415 w 3869"/>
                  <a:gd name="connsiteY3" fmla="*/ 3650 h 3649"/>
                  <a:gd name="connsiteX4" fmla="*/ 0 w 3869"/>
                  <a:gd name="connsiteY4" fmla="*/ 1564 h 3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3649">
                    <a:moveTo>
                      <a:pt x="0" y="1564"/>
                    </a:moveTo>
                    <a:lnTo>
                      <a:pt x="2167" y="0"/>
                    </a:lnTo>
                    <a:lnTo>
                      <a:pt x="3869" y="1729"/>
                    </a:lnTo>
                    <a:lnTo>
                      <a:pt x="2415" y="3650"/>
                    </a:lnTo>
                    <a:lnTo>
                      <a:pt x="0"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3" name="Freeform: Shape 3782">
                <a:extLst>
                  <a:ext uri="{FF2B5EF4-FFF2-40B4-BE49-F238E27FC236}">
                    <a16:creationId xmlns:a16="http://schemas.microsoft.com/office/drawing/2014/main" id="{4F21BFDD-45DD-4B0D-1133-7348AF3199B1}"/>
                  </a:ext>
                </a:extLst>
              </p:cNvPr>
              <p:cNvSpPr/>
              <p:nvPr/>
            </p:nvSpPr>
            <p:spPr>
              <a:xfrm>
                <a:off x="1749894" y="3837086"/>
                <a:ext cx="455" cy="338"/>
              </a:xfrm>
              <a:custGeom>
                <a:avLst/>
                <a:gdLst>
                  <a:gd name="connsiteX0" fmla="*/ 0 w 4363"/>
                  <a:gd name="connsiteY0" fmla="*/ 796 h 3238"/>
                  <a:gd name="connsiteX1" fmla="*/ 2744 w 4363"/>
                  <a:gd name="connsiteY1" fmla="*/ 0 h 3238"/>
                  <a:gd name="connsiteX2" fmla="*/ 4363 w 4363"/>
                  <a:gd name="connsiteY2" fmla="*/ 1564 h 3238"/>
                  <a:gd name="connsiteX3" fmla="*/ 2772 w 4363"/>
                  <a:gd name="connsiteY3" fmla="*/ 3238 h 3238"/>
                  <a:gd name="connsiteX4" fmla="*/ 0 w 4363"/>
                  <a:gd name="connsiteY4" fmla="*/ 823 h 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3238">
                    <a:moveTo>
                      <a:pt x="0" y="796"/>
                    </a:moveTo>
                    <a:lnTo>
                      <a:pt x="2744" y="0"/>
                    </a:lnTo>
                    <a:lnTo>
                      <a:pt x="4363" y="1564"/>
                    </a:lnTo>
                    <a:lnTo>
                      <a:pt x="2772" y="3238"/>
                    </a:lnTo>
                    <a:lnTo>
                      <a:pt x="0" y="8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4" name="Freeform: Shape 3783">
                <a:extLst>
                  <a:ext uri="{FF2B5EF4-FFF2-40B4-BE49-F238E27FC236}">
                    <a16:creationId xmlns:a16="http://schemas.microsoft.com/office/drawing/2014/main" id="{0B0BEE67-91B3-C565-239F-4F3F5DFF3A16}"/>
                  </a:ext>
                </a:extLst>
              </p:cNvPr>
              <p:cNvSpPr/>
              <p:nvPr/>
            </p:nvSpPr>
            <p:spPr>
              <a:xfrm>
                <a:off x="1772266" y="3854921"/>
                <a:ext cx="352" cy="435"/>
              </a:xfrm>
              <a:custGeom>
                <a:avLst/>
                <a:gdLst>
                  <a:gd name="connsiteX0" fmla="*/ 0 w 3375"/>
                  <a:gd name="connsiteY0" fmla="*/ 1345 h 4171"/>
                  <a:gd name="connsiteX1" fmla="*/ 1564 w 3375"/>
                  <a:gd name="connsiteY1" fmla="*/ 0 h 4171"/>
                  <a:gd name="connsiteX2" fmla="*/ 3375 w 3375"/>
                  <a:gd name="connsiteY2" fmla="*/ 2086 h 4171"/>
                  <a:gd name="connsiteX3" fmla="*/ 1564 w 3375"/>
                  <a:gd name="connsiteY3" fmla="*/ 4171 h 4171"/>
                  <a:gd name="connsiteX4" fmla="*/ 0 w 3375"/>
                  <a:gd name="connsiteY4" fmla="*/ 1317 h 4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4171">
                    <a:moveTo>
                      <a:pt x="0" y="1345"/>
                    </a:moveTo>
                    <a:lnTo>
                      <a:pt x="1564" y="0"/>
                    </a:lnTo>
                    <a:lnTo>
                      <a:pt x="3375" y="2086"/>
                    </a:lnTo>
                    <a:lnTo>
                      <a:pt x="1564" y="4171"/>
                    </a:lnTo>
                    <a:lnTo>
                      <a:pt x="0" y="13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5" name="Freeform: Shape 3784">
                <a:extLst>
                  <a:ext uri="{FF2B5EF4-FFF2-40B4-BE49-F238E27FC236}">
                    <a16:creationId xmlns:a16="http://schemas.microsoft.com/office/drawing/2014/main" id="{1BC0162E-B37B-6CB3-6E95-BED5C2B60E37}"/>
                  </a:ext>
                </a:extLst>
              </p:cNvPr>
              <p:cNvSpPr/>
              <p:nvPr/>
            </p:nvSpPr>
            <p:spPr>
              <a:xfrm>
                <a:off x="1768322" y="3856553"/>
                <a:ext cx="338" cy="446"/>
              </a:xfrm>
              <a:custGeom>
                <a:avLst/>
                <a:gdLst>
                  <a:gd name="connsiteX0" fmla="*/ 0 w 3238"/>
                  <a:gd name="connsiteY0" fmla="*/ 823 h 4280"/>
                  <a:gd name="connsiteX1" fmla="*/ 2278 w 3238"/>
                  <a:gd name="connsiteY1" fmla="*/ 0 h 4280"/>
                  <a:gd name="connsiteX2" fmla="*/ 3238 w 3238"/>
                  <a:gd name="connsiteY2" fmla="*/ 3211 h 4280"/>
                  <a:gd name="connsiteX3" fmla="*/ 2278 w 3238"/>
                  <a:gd name="connsiteY3" fmla="*/ 4281 h 4280"/>
                  <a:gd name="connsiteX4" fmla="*/ 0 w 3238"/>
                  <a:gd name="connsiteY4" fmla="*/ 823 h 4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4280">
                    <a:moveTo>
                      <a:pt x="0" y="823"/>
                    </a:moveTo>
                    <a:lnTo>
                      <a:pt x="2278" y="0"/>
                    </a:lnTo>
                    <a:lnTo>
                      <a:pt x="3238" y="3211"/>
                    </a:lnTo>
                    <a:lnTo>
                      <a:pt x="2278" y="4281"/>
                    </a:lnTo>
                    <a:lnTo>
                      <a:pt x="0" y="8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8" name="Freeform: Shape 3787">
                <a:extLst>
                  <a:ext uri="{FF2B5EF4-FFF2-40B4-BE49-F238E27FC236}">
                    <a16:creationId xmlns:a16="http://schemas.microsoft.com/office/drawing/2014/main" id="{6D1E986F-B5CD-1A8D-F7F5-2A3FD07A7178}"/>
                  </a:ext>
                </a:extLst>
              </p:cNvPr>
              <p:cNvSpPr/>
              <p:nvPr/>
            </p:nvSpPr>
            <p:spPr>
              <a:xfrm>
                <a:off x="1780218" y="3848842"/>
                <a:ext cx="372" cy="409"/>
              </a:xfrm>
              <a:custGeom>
                <a:avLst/>
                <a:gdLst>
                  <a:gd name="connsiteX0" fmla="*/ 0 w 3567"/>
                  <a:gd name="connsiteY0" fmla="*/ 2003 h 3924"/>
                  <a:gd name="connsiteX1" fmla="*/ 2662 w 3567"/>
                  <a:gd name="connsiteY1" fmla="*/ 0 h 3924"/>
                  <a:gd name="connsiteX2" fmla="*/ 3568 w 3567"/>
                  <a:gd name="connsiteY2" fmla="*/ 2168 h 3924"/>
                  <a:gd name="connsiteX3" fmla="*/ 2442 w 3567"/>
                  <a:gd name="connsiteY3" fmla="*/ 3924 h 3924"/>
                  <a:gd name="connsiteX4" fmla="*/ 0 w 3567"/>
                  <a:gd name="connsiteY4" fmla="*/ 2031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924">
                    <a:moveTo>
                      <a:pt x="0" y="2003"/>
                    </a:moveTo>
                    <a:lnTo>
                      <a:pt x="2662" y="0"/>
                    </a:lnTo>
                    <a:lnTo>
                      <a:pt x="3568" y="2168"/>
                    </a:lnTo>
                    <a:lnTo>
                      <a:pt x="2442" y="3924"/>
                    </a:lnTo>
                    <a:lnTo>
                      <a:pt x="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9" name="Freeform: Shape 3788">
                <a:extLst>
                  <a:ext uri="{FF2B5EF4-FFF2-40B4-BE49-F238E27FC236}">
                    <a16:creationId xmlns:a16="http://schemas.microsoft.com/office/drawing/2014/main" id="{3F41B00D-7875-717B-762E-1B3E64AD7C7F}"/>
                  </a:ext>
                </a:extLst>
              </p:cNvPr>
              <p:cNvSpPr/>
              <p:nvPr/>
            </p:nvSpPr>
            <p:spPr>
              <a:xfrm>
                <a:off x="1762766" y="3844356"/>
                <a:ext cx="361" cy="421"/>
              </a:xfrm>
              <a:custGeom>
                <a:avLst/>
                <a:gdLst>
                  <a:gd name="connsiteX0" fmla="*/ 0 w 3457"/>
                  <a:gd name="connsiteY0" fmla="*/ 1455 h 4034"/>
                  <a:gd name="connsiteX1" fmla="*/ 1701 w 3457"/>
                  <a:gd name="connsiteY1" fmla="*/ 0 h 4034"/>
                  <a:gd name="connsiteX2" fmla="*/ 3458 w 3457"/>
                  <a:gd name="connsiteY2" fmla="*/ 2113 h 4034"/>
                  <a:gd name="connsiteX3" fmla="*/ 1564 w 3457"/>
                  <a:gd name="connsiteY3" fmla="*/ 4034 h 4034"/>
                  <a:gd name="connsiteX4" fmla="*/ 27 w 3457"/>
                  <a:gd name="connsiteY4" fmla="*/ 1427 h 4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4034">
                    <a:moveTo>
                      <a:pt x="0" y="1455"/>
                    </a:moveTo>
                    <a:lnTo>
                      <a:pt x="1701" y="0"/>
                    </a:lnTo>
                    <a:lnTo>
                      <a:pt x="3458" y="2113"/>
                    </a:lnTo>
                    <a:lnTo>
                      <a:pt x="1564" y="4034"/>
                    </a:lnTo>
                    <a:lnTo>
                      <a:pt x="27"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1" name="Freeform: Shape 3790">
                <a:extLst>
                  <a:ext uri="{FF2B5EF4-FFF2-40B4-BE49-F238E27FC236}">
                    <a16:creationId xmlns:a16="http://schemas.microsoft.com/office/drawing/2014/main" id="{FFE84457-AA7E-5126-9C4B-A58FF9C21B25}"/>
                  </a:ext>
                </a:extLst>
              </p:cNvPr>
              <p:cNvSpPr/>
              <p:nvPr/>
            </p:nvSpPr>
            <p:spPr>
              <a:xfrm>
                <a:off x="1778833" y="3852594"/>
                <a:ext cx="461" cy="323"/>
              </a:xfrm>
              <a:custGeom>
                <a:avLst/>
                <a:gdLst>
                  <a:gd name="connsiteX0" fmla="*/ 0 w 4418"/>
                  <a:gd name="connsiteY0" fmla="*/ 1894 h 3101"/>
                  <a:gd name="connsiteX1" fmla="*/ 521 w 4418"/>
                  <a:gd name="connsiteY1" fmla="*/ 0 h 3101"/>
                  <a:gd name="connsiteX2" fmla="*/ 4419 w 4418"/>
                  <a:gd name="connsiteY2" fmla="*/ 1729 h 3101"/>
                  <a:gd name="connsiteX3" fmla="*/ 2388 w 4418"/>
                  <a:gd name="connsiteY3" fmla="*/ 3101 h 3101"/>
                  <a:gd name="connsiteX4" fmla="*/ 27 w 4418"/>
                  <a:gd name="connsiteY4" fmla="*/ 1921 h 3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3101">
                    <a:moveTo>
                      <a:pt x="0" y="1894"/>
                    </a:moveTo>
                    <a:lnTo>
                      <a:pt x="521" y="0"/>
                    </a:lnTo>
                    <a:lnTo>
                      <a:pt x="4419" y="1729"/>
                    </a:lnTo>
                    <a:lnTo>
                      <a:pt x="2388" y="3101"/>
                    </a:lnTo>
                    <a:lnTo>
                      <a:pt x="27" y="19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4" name="Freeform: Shape 3793">
                <a:extLst>
                  <a:ext uri="{FF2B5EF4-FFF2-40B4-BE49-F238E27FC236}">
                    <a16:creationId xmlns:a16="http://schemas.microsoft.com/office/drawing/2014/main" id="{18D499C8-6D54-9A22-A14B-8CFDEE16C488}"/>
                  </a:ext>
                </a:extLst>
              </p:cNvPr>
              <p:cNvSpPr/>
              <p:nvPr/>
            </p:nvSpPr>
            <p:spPr>
              <a:xfrm>
                <a:off x="1762165" y="3844428"/>
                <a:ext cx="358" cy="412"/>
              </a:xfrm>
              <a:custGeom>
                <a:avLst/>
                <a:gdLst>
                  <a:gd name="connsiteX0" fmla="*/ 27 w 3430"/>
                  <a:gd name="connsiteY0" fmla="*/ 1318 h 3951"/>
                  <a:gd name="connsiteX1" fmla="*/ 1152 w 3430"/>
                  <a:gd name="connsiteY1" fmla="*/ 0 h 3951"/>
                  <a:gd name="connsiteX2" fmla="*/ 3430 w 3430"/>
                  <a:gd name="connsiteY2" fmla="*/ 2388 h 3951"/>
                  <a:gd name="connsiteX3" fmla="*/ 549 w 3430"/>
                  <a:gd name="connsiteY3" fmla="*/ 3952 h 3951"/>
                  <a:gd name="connsiteX4" fmla="*/ 0 w 3430"/>
                  <a:gd name="connsiteY4" fmla="*/ 1318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3951">
                    <a:moveTo>
                      <a:pt x="27" y="1318"/>
                    </a:moveTo>
                    <a:lnTo>
                      <a:pt x="1152" y="0"/>
                    </a:lnTo>
                    <a:lnTo>
                      <a:pt x="3430" y="2388"/>
                    </a:lnTo>
                    <a:lnTo>
                      <a:pt x="549" y="3952"/>
                    </a:lnTo>
                    <a:lnTo>
                      <a:pt x="0" y="13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5" name="Freeform: Shape 3794">
                <a:extLst>
                  <a:ext uri="{FF2B5EF4-FFF2-40B4-BE49-F238E27FC236}">
                    <a16:creationId xmlns:a16="http://schemas.microsoft.com/office/drawing/2014/main" id="{D620F2D8-BD1E-4835-C71B-9077BC3DD445}"/>
                  </a:ext>
                </a:extLst>
              </p:cNvPr>
              <p:cNvSpPr/>
              <p:nvPr/>
            </p:nvSpPr>
            <p:spPr>
              <a:xfrm>
                <a:off x="1752880" y="3840215"/>
                <a:ext cx="349" cy="412"/>
              </a:xfrm>
              <a:custGeom>
                <a:avLst/>
                <a:gdLst>
                  <a:gd name="connsiteX0" fmla="*/ 0 w 3347"/>
                  <a:gd name="connsiteY0" fmla="*/ 1455 h 3951"/>
                  <a:gd name="connsiteX1" fmla="*/ 1509 w 3347"/>
                  <a:gd name="connsiteY1" fmla="*/ 0 h 3951"/>
                  <a:gd name="connsiteX2" fmla="*/ 3348 w 3347"/>
                  <a:gd name="connsiteY2" fmla="*/ 604 h 3951"/>
                  <a:gd name="connsiteX3" fmla="*/ 2251 w 3347"/>
                  <a:gd name="connsiteY3" fmla="*/ 3952 h 3951"/>
                  <a:gd name="connsiteX4" fmla="*/ 0 w 3347"/>
                  <a:gd name="connsiteY4" fmla="*/ 1427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7" h="3951">
                    <a:moveTo>
                      <a:pt x="0" y="1455"/>
                    </a:moveTo>
                    <a:lnTo>
                      <a:pt x="1509" y="0"/>
                    </a:lnTo>
                    <a:lnTo>
                      <a:pt x="3348" y="604"/>
                    </a:lnTo>
                    <a:lnTo>
                      <a:pt x="2251" y="3952"/>
                    </a:lnTo>
                    <a:lnTo>
                      <a:pt x="0"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8" name="Freeform: Shape 3797">
                <a:extLst>
                  <a:ext uri="{FF2B5EF4-FFF2-40B4-BE49-F238E27FC236}">
                    <a16:creationId xmlns:a16="http://schemas.microsoft.com/office/drawing/2014/main" id="{98F6EF09-A1FE-9F80-31E0-E725ED4252B4}"/>
                  </a:ext>
                </a:extLst>
              </p:cNvPr>
              <p:cNvSpPr/>
              <p:nvPr/>
            </p:nvSpPr>
            <p:spPr>
              <a:xfrm>
                <a:off x="1764787" y="3846323"/>
                <a:ext cx="372" cy="381"/>
              </a:xfrm>
              <a:custGeom>
                <a:avLst/>
                <a:gdLst>
                  <a:gd name="connsiteX0" fmla="*/ 0 w 3567"/>
                  <a:gd name="connsiteY0" fmla="*/ 2223 h 3649"/>
                  <a:gd name="connsiteX1" fmla="*/ 2360 w 3567"/>
                  <a:gd name="connsiteY1" fmla="*/ 0 h 3649"/>
                  <a:gd name="connsiteX2" fmla="*/ 3568 w 3567"/>
                  <a:gd name="connsiteY2" fmla="*/ 2799 h 3649"/>
                  <a:gd name="connsiteX3" fmla="*/ 906 w 3567"/>
                  <a:gd name="connsiteY3" fmla="*/ 3650 h 3649"/>
                  <a:gd name="connsiteX4" fmla="*/ 0 w 3567"/>
                  <a:gd name="connsiteY4" fmla="*/ 2223 h 3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649">
                    <a:moveTo>
                      <a:pt x="0" y="2223"/>
                    </a:moveTo>
                    <a:lnTo>
                      <a:pt x="2360" y="0"/>
                    </a:lnTo>
                    <a:lnTo>
                      <a:pt x="3568" y="2799"/>
                    </a:lnTo>
                    <a:lnTo>
                      <a:pt x="906" y="3650"/>
                    </a:lnTo>
                    <a:lnTo>
                      <a:pt x="0"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9" name="Freeform: Shape 3798">
                <a:extLst>
                  <a:ext uri="{FF2B5EF4-FFF2-40B4-BE49-F238E27FC236}">
                    <a16:creationId xmlns:a16="http://schemas.microsoft.com/office/drawing/2014/main" id="{81607DC1-3BC0-B41C-12D7-1B8EC487A3C4}"/>
                  </a:ext>
                </a:extLst>
              </p:cNvPr>
              <p:cNvSpPr/>
              <p:nvPr/>
            </p:nvSpPr>
            <p:spPr>
              <a:xfrm>
                <a:off x="1745612" y="3862472"/>
                <a:ext cx="361" cy="401"/>
              </a:xfrm>
              <a:custGeom>
                <a:avLst/>
                <a:gdLst>
                  <a:gd name="connsiteX0" fmla="*/ 0 w 3457"/>
                  <a:gd name="connsiteY0" fmla="*/ 2305 h 3842"/>
                  <a:gd name="connsiteX1" fmla="*/ 1098 w 3457"/>
                  <a:gd name="connsiteY1" fmla="*/ 0 h 3842"/>
                  <a:gd name="connsiteX2" fmla="*/ 2909 w 3457"/>
                  <a:gd name="connsiteY2" fmla="*/ 1015 h 3842"/>
                  <a:gd name="connsiteX3" fmla="*/ 3458 w 3457"/>
                  <a:gd name="connsiteY3" fmla="*/ 3842 h 3842"/>
                  <a:gd name="connsiteX4" fmla="*/ 27 w 3457"/>
                  <a:gd name="connsiteY4" fmla="*/ 2305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3842">
                    <a:moveTo>
                      <a:pt x="0" y="2305"/>
                    </a:moveTo>
                    <a:lnTo>
                      <a:pt x="1098" y="0"/>
                    </a:lnTo>
                    <a:lnTo>
                      <a:pt x="2909" y="1015"/>
                    </a:lnTo>
                    <a:lnTo>
                      <a:pt x="3458" y="3842"/>
                    </a:lnTo>
                    <a:lnTo>
                      <a:pt x="27" y="23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0" name="Freeform: Shape 3799">
                <a:extLst>
                  <a:ext uri="{FF2B5EF4-FFF2-40B4-BE49-F238E27FC236}">
                    <a16:creationId xmlns:a16="http://schemas.microsoft.com/office/drawing/2014/main" id="{60A41187-EC48-16A9-F75B-E942004525A4}"/>
                  </a:ext>
                </a:extLst>
              </p:cNvPr>
              <p:cNvSpPr/>
              <p:nvPr/>
            </p:nvSpPr>
            <p:spPr>
              <a:xfrm>
                <a:off x="1762503" y="3844763"/>
                <a:ext cx="375" cy="378"/>
              </a:xfrm>
              <a:custGeom>
                <a:avLst/>
                <a:gdLst>
                  <a:gd name="connsiteX0" fmla="*/ 0 w 3595"/>
                  <a:gd name="connsiteY0" fmla="*/ 1427 h 3622"/>
                  <a:gd name="connsiteX1" fmla="*/ 412 w 3595"/>
                  <a:gd name="connsiteY1" fmla="*/ 0 h 3622"/>
                  <a:gd name="connsiteX2" fmla="*/ 2717 w 3595"/>
                  <a:gd name="connsiteY2" fmla="*/ 1235 h 3622"/>
                  <a:gd name="connsiteX3" fmla="*/ 3595 w 3595"/>
                  <a:gd name="connsiteY3" fmla="*/ 3485 h 3622"/>
                  <a:gd name="connsiteX4" fmla="*/ 1839 w 3595"/>
                  <a:gd name="connsiteY4" fmla="*/ 3623 h 3622"/>
                  <a:gd name="connsiteX5" fmla="*/ 0 w 3595"/>
                  <a:gd name="connsiteY5" fmla="*/ 1427 h 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5" h="3622">
                    <a:moveTo>
                      <a:pt x="0" y="1427"/>
                    </a:moveTo>
                    <a:lnTo>
                      <a:pt x="412" y="0"/>
                    </a:lnTo>
                    <a:lnTo>
                      <a:pt x="2717" y="1235"/>
                    </a:lnTo>
                    <a:lnTo>
                      <a:pt x="3595" y="3485"/>
                    </a:lnTo>
                    <a:lnTo>
                      <a:pt x="1839" y="3623"/>
                    </a:lnTo>
                    <a:lnTo>
                      <a:pt x="0"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1" name="Freeform: Shape 3800">
                <a:extLst>
                  <a:ext uri="{FF2B5EF4-FFF2-40B4-BE49-F238E27FC236}">
                    <a16:creationId xmlns:a16="http://schemas.microsoft.com/office/drawing/2014/main" id="{CC2FDF78-34FF-CA37-8062-06EFA9FADC8D}"/>
                  </a:ext>
                </a:extLst>
              </p:cNvPr>
              <p:cNvSpPr/>
              <p:nvPr/>
            </p:nvSpPr>
            <p:spPr>
              <a:xfrm>
                <a:off x="1756432" y="3854443"/>
                <a:ext cx="475" cy="295"/>
              </a:xfrm>
              <a:custGeom>
                <a:avLst/>
                <a:gdLst>
                  <a:gd name="connsiteX0" fmla="*/ 0 w 4555"/>
                  <a:gd name="connsiteY0" fmla="*/ 1180 h 2826"/>
                  <a:gd name="connsiteX1" fmla="*/ 2772 w 4555"/>
                  <a:gd name="connsiteY1" fmla="*/ 0 h 2826"/>
                  <a:gd name="connsiteX2" fmla="*/ 4556 w 4555"/>
                  <a:gd name="connsiteY2" fmla="*/ 1948 h 2826"/>
                  <a:gd name="connsiteX3" fmla="*/ 4034 w 4555"/>
                  <a:gd name="connsiteY3" fmla="*/ 2826 h 2826"/>
                  <a:gd name="connsiteX4" fmla="*/ 659 w 4555"/>
                  <a:gd name="connsiteY4" fmla="*/ 2113 h 2826"/>
                  <a:gd name="connsiteX5" fmla="*/ 27 w 4555"/>
                  <a:gd name="connsiteY5" fmla="*/ 1180 h 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 h="2826">
                    <a:moveTo>
                      <a:pt x="0" y="1180"/>
                    </a:moveTo>
                    <a:lnTo>
                      <a:pt x="2772" y="0"/>
                    </a:lnTo>
                    <a:lnTo>
                      <a:pt x="4556" y="1948"/>
                    </a:lnTo>
                    <a:lnTo>
                      <a:pt x="4034" y="2826"/>
                    </a:lnTo>
                    <a:lnTo>
                      <a:pt x="659" y="2113"/>
                    </a:lnTo>
                    <a:lnTo>
                      <a:pt x="27"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2" name="Freeform: Shape 3801">
                <a:extLst>
                  <a:ext uri="{FF2B5EF4-FFF2-40B4-BE49-F238E27FC236}">
                    <a16:creationId xmlns:a16="http://schemas.microsoft.com/office/drawing/2014/main" id="{1D941B04-A23C-CE72-4DCE-6675479F468E}"/>
                  </a:ext>
                </a:extLst>
              </p:cNvPr>
              <p:cNvSpPr/>
              <p:nvPr/>
            </p:nvSpPr>
            <p:spPr>
              <a:xfrm>
                <a:off x="1738230" y="3844794"/>
                <a:ext cx="381" cy="361"/>
              </a:xfrm>
              <a:custGeom>
                <a:avLst/>
                <a:gdLst>
                  <a:gd name="connsiteX0" fmla="*/ 0 w 3649"/>
                  <a:gd name="connsiteY0" fmla="*/ 1647 h 3457"/>
                  <a:gd name="connsiteX1" fmla="*/ 1426 w 3649"/>
                  <a:gd name="connsiteY1" fmla="*/ 0 h 3457"/>
                  <a:gd name="connsiteX2" fmla="*/ 3649 w 3649"/>
                  <a:gd name="connsiteY2" fmla="*/ 82 h 3457"/>
                  <a:gd name="connsiteX3" fmla="*/ 2195 w 3649"/>
                  <a:gd name="connsiteY3" fmla="*/ 3458 h 3457"/>
                  <a:gd name="connsiteX4" fmla="*/ 0 w 3649"/>
                  <a:gd name="connsiteY4" fmla="*/ 1647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9" h="3457">
                    <a:moveTo>
                      <a:pt x="0" y="1647"/>
                    </a:moveTo>
                    <a:lnTo>
                      <a:pt x="1426" y="0"/>
                    </a:lnTo>
                    <a:lnTo>
                      <a:pt x="3649" y="82"/>
                    </a:lnTo>
                    <a:lnTo>
                      <a:pt x="2195" y="3458"/>
                    </a:lnTo>
                    <a:lnTo>
                      <a:pt x="0"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3" name="Freeform: Shape 3802">
                <a:extLst>
                  <a:ext uri="{FF2B5EF4-FFF2-40B4-BE49-F238E27FC236}">
                    <a16:creationId xmlns:a16="http://schemas.microsoft.com/office/drawing/2014/main" id="{6BD35ECB-46E8-78C7-69F4-8FE44DB925A9}"/>
                  </a:ext>
                </a:extLst>
              </p:cNvPr>
              <p:cNvSpPr/>
              <p:nvPr/>
            </p:nvSpPr>
            <p:spPr>
              <a:xfrm>
                <a:off x="1777464" y="3850576"/>
                <a:ext cx="295" cy="472"/>
              </a:xfrm>
              <a:custGeom>
                <a:avLst/>
                <a:gdLst>
                  <a:gd name="connsiteX0" fmla="*/ 2772 w 2826"/>
                  <a:gd name="connsiteY0" fmla="*/ 2415 h 4527"/>
                  <a:gd name="connsiteX1" fmla="*/ 1290 w 2826"/>
                  <a:gd name="connsiteY1" fmla="*/ 4528 h 4527"/>
                  <a:gd name="connsiteX2" fmla="*/ 0 w 2826"/>
                  <a:gd name="connsiteY2" fmla="*/ 2909 h 4527"/>
                  <a:gd name="connsiteX3" fmla="*/ 1674 w 2826"/>
                  <a:gd name="connsiteY3" fmla="*/ 0 h 4527"/>
                  <a:gd name="connsiteX4" fmla="*/ 2827 w 2826"/>
                  <a:gd name="connsiteY4" fmla="*/ 274 h 4527"/>
                  <a:gd name="connsiteX5" fmla="*/ 2772 w 2826"/>
                  <a:gd name="connsiteY5" fmla="*/ 2388 h 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6" h="4527">
                    <a:moveTo>
                      <a:pt x="2772" y="2415"/>
                    </a:moveTo>
                    <a:lnTo>
                      <a:pt x="1290" y="4528"/>
                    </a:lnTo>
                    <a:lnTo>
                      <a:pt x="0" y="2909"/>
                    </a:lnTo>
                    <a:lnTo>
                      <a:pt x="1674" y="0"/>
                    </a:lnTo>
                    <a:lnTo>
                      <a:pt x="2827" y="274"/>
                    </a:lnTo>
                    <a:lnTo>
                      <a:pt x="2772"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5" name="Freeform: Shape 3804">
                <a:extLst>
                  <a:ext uri="{FF2B5EF4-FFF2-40B4-BE49-F238E27FC236}">
                    <a16:creationId xmlns:a16="http://schemas.microsoft.com/office/drawing/2014/main" id="{C42834E3-DFC9-5F42-27D4-B182FA44B0CD}"/>
                  </a:ext>
                </a:extLst>
              </p:cNvPr>
              <p:cNvSpPr/>
              <p:nvPr/>
            </p:nvSpPr>
            <p:spPr>
              <a:xfrm>
                <a:off x="1740557" y="3870341"/>
                <a:ext cx="386" cy="358"/>
              </a:xfrm>
              <a:custGeom>
                <a:avLst/>
                <a:gdLst>
                  <a:gd name="connsiteX0" fmla="*/ 0 w 3705"/>
                  <a:gd name="connsiteY0" fmla="*/ 988 h 3430"/>
                  <a:gd name="connsiteX1" fmla="*/ 521 w 3705"/>
                  <a:gd name="connsiteY1" fmla="*/ 0 h 3430"/>
                  <a:gd name="connsiteX2" fmla="*/ 3705 w 3705"/>
                  <a:gd name="connsiteY2" fmla="*/ 384 h 3430"/>
                  <a:gd name="connsiteX3" fmla="*/ 2634 w 3705"/>
                  <a:gd name="connsiteY3" fmla="*/ 3430 h 3430"/>
                  <a:gd name="connsiteX4" fmla="*/ 0 w 3705"/>
                  <a:gd name="connsiteY4" fmla="*/ 988 h 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5" h="3430">
                    <a:moveTo>
                      <a:pt x="0" y="988"/>
                    </a:moveTo>
                    <a:lnTo>
                      <a:pt x="521" y="0"/>
                    </a:lnTo>
                    <a:lnTo>
                      <a:pt x="3705" y="384"/>
                    </a:lnTo>
                    <a:lnTo>
                      <a:pt x="2634" y="3430"/>
                    </a:lnTo>
                    <a:lnTo>
                      <a:pt x="0"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7" name="Freeform: Shape 3806">
                <a:extLst>
                  <a:ext uri="{FF2B5EF4-FFF2-40B4-BE49-F238E27FC236}">
                    <a16:creationId xmlns:a16="http://schemas.microsoft.com/office/drawing/2014/main" id="{01E4E01F-CC49-F5EB-601A-0CC8974025CA}"/>
                  </a:ext>
                </a:extLst>
              </p:cNvPr>
              <p:cNvSpPr/>
              <p:nvPr/>
            </p:nvSpPr>
            <p:spPr>
              <a:xfrm>
                <a:off x="1755364" y="3856161"/>
                <a:ext cx="384" cy="361"/>
              </a:xfrm>
              <a:custGeom>
                <a:avLst/>
                <a:gdLst>
                  <a:gd name="connsiteX0" fmla="*/ 0 w 3677"/>
                  <a:gd name="connsiteY0" fmla="*/ 1097 h 3457"/>
                  <a:gd name="connsiteX1" fmla="*/ 988 w 3677"/>
                  <a:gd name="connsiteY1" fmla="*/ 0 h 3457"/>
                  <a:gd name="connsiteX2" fmla="*/ 3678 w 3677"/>
                  <a:gd name="connsiteY2" fmla="*/ 439 h 3457"/>
                  <a:gd name="connsiteX3" fmla="*/ 3074 w 3677"/>
                  <a:gd name="connsiteY3" fmla="*/ 3458 h 3457"/>
                  <a:gd name="connsiteX4" fmla="*/ 0 w 3677"/>
                  <a:gd name="connsiteY4" fmla="*/ 1125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7" h="3457">
                    <a:moveTo>
                      <a:pt x="0" y="1097"/>
                    </a:moveTo>
                    <a:lnTo>
                      <a:pt x="988" y="0"/>
                    </a:lnTo>
                    <a:lnTo>
                      <a:pt x="3678" y="439"/>
                    </a:lnTo>
                    <a:lnTo>
                      <a:pt x="3074" y="3458"/>
                    </a:lnTo>
                    <a:lnTo>
                      <a:pt x="0" y="11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8" name="Freeform: Shape 3807">
                <a:extLst>
                  <a:ext uri="{FF2B5EF4-FFF2-40B4-BE49-F238E27FC236}">
                    <a16:creationId xmlns:a16="http://schemas.microsoft.com/office/drawing/2014/main" id="{E4B58DAD-3C7F-80AF-A777-0117E28813E9}"/>
                  </a:ext>
                </a:extLst>
              </p:cNvPr>
              <p:cNvSpPr/>
              <p:nvPr/>
            </p:nvSpPr>
            <p:spPr>
              <a:xfrm>
                <a:off x="1772973" y="3862215"/>
                <a:ext cx="275" cy="501"/>
              </a:xfrm>
              <a:custGeom>
                <a:avLst/>
                <a:gdLst>
                  <a:gd name="connsiteX0" fmla="*/ 2305 w 2634"/>
                  <a:gd name="connsiteY0" fmla="*/ 2937 h 4802"/>
                  <a:gd name="connsiteX1" fmla="*/ 330 w 2634"/>
                  <a:gd name="connsiteY1" fmla="*/ 4803 h 4802"/>
                  <a:gd name="connsiteX2" fmla="*/ 0 w 2634"/>
                  <a:gd name="connsiteY2" fmla="*/ 2992 h 4802"/>
                  <a:gd name="connsiteX3" fmla="*/ 714 w 2634"/>
                  <a:gd name="connsiteY3" fmla="*/ 1537 h 4802"/>
                  <a:gd name="connsiteX4" fmla="*/ 1455 w 2634"/>
                  <a:gd name="connsiteY4" fmla="*/ 0 h 4802"/>
                  <a:gd name="connsiteX5" fmla="*/ 2634 w 2634"/>
                  <a:gd name="connsiteY5" fmla="*/ 357 h 4802"/>
                  <a:gd name="connsiteX6" fmla="*/ 2470 w 2634"/>
                  <a:gd name="connsiteY6" fmla="*/ 1537 h 4802"/>
                  <a:gd name="connsiteX7" fmla="*/ 2278 w 2634"/>
                  <a:gd name="connsiteY7" fmla="*/ 2909 h 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4" h="4802">
                    <a:moveTo>
                      <a:pt x="2305" y="2937"/>
                    </a:moveTo>
                    <a:lnTo>
                      <a:pt x="330" y="4803"/>
                    </a:lnTo>
                    <a:lnTo>
                      <a:pt x="0" y="2992"/>
                    </a:lnTo>
                    <a:lnTo>
                      <a:pt x="714" y="1537"/>
                    </a:lnTo>
                    <a:lnTo>
                      <a:pt x="1455" y="0"/>
                    </a:lnTo>
                    <a:lnTo>
                      <a:pt x="2634" y="357"/>
                    </a:lnTo>
                    <a:lnTo>
                      <a:pt x="2470" y="1537"/>
                    </a:lnTo>
                    <a:lnTo>
                      <a:pt x="2278"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9" name="Freeform: Shape 3808">
                <a:extLst>
                  <a:ext uri="{FF2B5EF4-FFF2-40B4-BE49-F238E27FC236}">
                    <a16:creationId xmlns:a16="http://schemas.microsoft.com/office/drawing/2014/main" id="{8AE4CD0C-9CF4-1818-FFC1-E745D2E998B1}"/>
                  </a:ext>
                </a:extLst>
              </p:cNvPr>
              <p:cNvSpPr/>
              <p:nvPr/>
            </p:nvSpPr>
            <p:spPr>
              <a:xfrm>
                <a:off x="1770100" y="3860655"/>
                <a:ext cx="363" cy="372"/>
              </a:xfrm>
              <a:custGeom>
                <a:avLst/>
                <a:gdLst>
                  <a:gd name="connsiteX0" fmla="*/ 0 w 3485"/>
                  <a:gd name="connsiteY0" fmla="*/ 2936 h 3567"/>
                  <a:gd name="connsiteX1" fmla="*/ 1455 w 3485"/>
                  <a:gd name="connsiteY1" fmla="*/ 0 h 3567"/>
                  <a:gd name="connsiteX2" fmla="*/ 3485 w 3485"/>
                  <a:gd name="connsiteY2" fmla="*/ 1537 h 3567"/>
                  <a:gd name="connsiteX3" fmla="*/ 2498 w 3485"/>
                  <a:gd name="connsiteY3" fmla="*/ 3568 h 3567"/>
                  <a:gd name="connsiteX4" fmla="*/ 0 w 3485"/>
                  <a:gd name="connsiteY4" fmla="*/ 2936 h 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3567">
                    <a:moveTo>
                      <a:pt x="0" y="2936"/>
                    </a:moveTo>
                    <a:lnTo>
                      <a:pt x="1455" y="0"/>
                    </a:lnTo>
                    <a:lnTo>
                      <a:pt x="3485" y="1537"/>
                    </a:lnTo>
                    <a:lnTo>
                      <a:pt x="2498" y="3568"/>
                    </a:lnTo>
                    <a:lnTo>
                      <a:pt x="0" y="29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0" name="Freeform: Shape 3809">
                <a:extLst>
                  <a:ext uri="{FF2B5EF4-FFF2-40B4-BE49-F238E27FC236}">
                    <a16:creationId xmlns:a16="http://schemas.microsoft.com/office/drawing/2014/main" id="{8631326A-10CD-EA4C-7019-DEEB9EC76565}"/>
                  </a:ext>
                </a:extLst>
              </p:cNvPr>
              <p:cNvSpPr/>
              <p:nvPr/>
            </p:nvSpPr>
            <p:spPr>
              <a:xfrm>
                <a:off x="1742796" y="3855336"/>
                <a:ext cx="458" cy="298"/>
              </a:xfrm>
              <a:custGeom>
                <a:avLst/>
                <a:gdLst>
                  <a:gd name="connsiteX0" fmla="*/ 0 w 4390"/>
                  <a:gd name="connsiteY0" fmla="*/ 1400 h 2853"/>
                  <a:gd name="connsiteX1" fmla="*/ 4116 w 4390"/>
                  <a:gd name="connsiteY1" fmla="*/ 0 h 2853"/>
                  <a:gd name="connsiteX2" fmla="*/ 4390 w 4390"/>
                  <a:gd name="connsiteY2" fmla="*/ 2223 h 2853"/>
                  <a:gd name="connsiteX3" fmla="*/ 2360 w 4390"/>
                  <a:gd name="connsiteY3" fmla="*/ 2854 h 2853"/>
                  <a:gd name="connsiteX4" fmla="*/ 27 w 4390"/>
                  <a:gd name="connsiteY4" fmla="*/ 1372 h 2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0" h="2853">
                    <a:moveTo>
                      <a:pt x="0" y="1400"/>
                    </a:moveTo>
                    <a:lnTo>
                      <a:pt x="4116" y="0"/>
                    </a:lnTo>
                    <a:lnTo>
                      <a:pt x="4390" y="2223"/>
                    </a:lnTo>
                    <a:lnTo>
                      <a:pt x="2360" y="2854"/>
                    </a:lnTo>
                    <a:lnTo>
                      <a:pt x="27" y="13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1" name="Freeform: Shape 3810">
                <a:extLst>
                  <a:ext uri="{FF2B5EF4-FFF2-40B4-BE49-F238E27FC236}">
                    <a16:creationId xmlns:a16="http://schemas.microsoft.com/office/drawing/2014/main" id="{4E0C8E0B-78FD-FD02-439F-853932A34355}"/>
                  </a:ext>
                </a:extLst>
              </p:cNvPr>
              <p:cNvSpPr/>
              <p:nvPr/>
            </p:nvSpPr>
            <p:spPr>
              <a:xfrm>
                <a:off x="1745395" y="3862023"/>
                <a:ext cx="472" cy="292"/>
              </a:xfrm>
              <a:custGeom>
                <a:avLst/>
                <a:gdLst>
                  <a:gd name="connsiteX0" fmla="*/ 0 w 4528"/>
                  <a:gd name="connsiteY0" fmla="*/ 0 h 2799"/>
                  <a:gd name="connsiteX1" fmla="*/ 3019 w 4528"/>
                  <a:gd name="connsiteY1" fmla="*/ 0 h 2799"/>
                  <a:gd name="connsiteX2" fmla="*/ 4528 w 4528"/>
                  <a:gd name="connsiteY2" fmla="*/ 1207 h 2799"/>
                  <a:gd name="connsiteX3" fmla="*/ 1784 w 4528"/>
                  <a:gd name="connsiteY3" fmla="*/ 2799 h 2799"/>
                  <a:gd name="connsiteX4" fmla="*/ 0 w 4528"/>
                  <a:gd name="connsiteY4" fmla="*/ 0 h 2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8" h="2799">
                    <a:moveTo>
                      <a:pt x="0" y="0"/>
                    </a:moveTo>
                    <a:lnTo>
                      <a:pt x="3019" y="0"/>
                    </a:lnTo>
                    <a:lnTo>
                      <a:pt x="4528" y="1207"/>
                    </a:lnTo>
                    <a:lnTo>
                      <a:pt x="1784" y="2799"/>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5" name="Freeform: Shape 3814">
                <a:extLst>
                  <a:ext uri="{FF2B5EF4-FFF2-40B4-BE49-F238E27FC236}">
                    <a16:creationId xmlns:a16="http://schemas.microsoft.com/office/drawing/2014/main" id="{901F281F-07AE-E3EB-14C7-6B751B4DC311}"/>
                  </a:ext>
                </a:extLst>
              </p:cNvPr>
              <p:cNvSpPr/>
              <p:nvPr/>
            </p:nvSpPr>
            <p:spPr>
              <a:xfrm>
                <a:off x="1749914" y="3835798"/>
                <a:ext cx="329" cy="406"/>
              </a:xfrm>
              <a:custGeom>
                <a:avLst/>
                <a:gdLst>
                  <a:gd name="connsiteX0" fmla="*/ 0 w 3156"/>
                  <a:gd name="connsiteY0" fmla="*/ 2525 h 3896"/>
                  <a:gd name="connsiteX1" fmla="*/ 440 w 3156"/>
                  <a:gd name="connsiteY1" fmla="*/ 631 h 3896"/>
                  <a:gd name="connsiteX2" fmla="*/ 1976 w 3156"/>
                  <a:gd name="connsiteY2" fmla="*/ 0 h 3896"/>
                  <a:gd name="connsiteX3" fmla="*/ 3156 w 3156"/>
                  <a:gd name="connsiteY3" fmla="*/ 1674 h 3896"/>
                  <a:gd name="connsiteX4" fmla="*/ 1043 w 3156"/>
                  <a:gd name="connsiteY4" fmla="*/ 3897 h 3896"/>
                  <a:gd name="connsiteX5" fmla="*/ 27 w 3156"/>
                  <a:gd name="connsiteY5" fmla="*/ 2552 h 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6" h="3896">
                    <a:moveTo>
                      <a:pt x="0" y="2525"/>
                    </a:moveTo>
                    <a:lnTo>
                      <a:pt x="440" y="631"/>
                    </a:lnTo>
                    <a:lnTo>
                      <a:pt x="1976" y="0"/>
                    </a:lnTo>
                    <a:lnTo>
                      <a:pt x="3156" y="1674"/>
                    </a:lnTo>
                    <a:lnTo>
                      <a:pt x="1043" y="3897"/>
                    </a:lnTo>
                    <a:lnTo>
                      <a:pt x="27"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6" name="Freeform: Shape 3815">
                <a:extLst>
                  <a:ext uri="{FF2B5EF4-FFF2-40B4-BE49-F238E27FC236}">
                    <a16:creationId xmlns:a16="http://schemas.microsoft.com/office/drawing/2014/main" id="{06001331-E2CF-9F51-66D4-943D9DD4E105}"/>
                  </a:ext>
                </a:extLst>
              </p:cNvPr>
              <p:cNvSpPr/>
              <p:nvPr/>
            </p:nvSpPr>
            <p:spPr>
              <a:xfrm>
                <a:off x="1754182" y="3832647"/>
                <a:ext cx="412" cy="323"/>
              </a:xfrm>
              <a:custGeom>
                <a:avLst/>
                <a:gdLst>
                  <a:gd name="connsiteX0" fmla="*/ 0 w 3951"/>
                  <a:gd name="connsiteY0" fmla="*/ 110 h 3101"/>
                  <a:gd name="connsiteX1" fmla="*/ 2113 w 3951"/>
                  <a:gd name="connsiteY1" fmla="*/ 0 h 3101"/>
                  <a:gd name="connsiteX2" fmla="*/ 3952 w 3951"/>
                  <a:gd name="connsiteY2" fmla="*/ 2689 h 3101"/>
                  <a:gd name="connsiteX3" fmla="*/ 1400 w 3951"/>
                  <a:gd name="connsiteY3" fmla="*/ 3101 h 3101"/>
                  <a:gd name="connsiteX4" fmla="*/ 0 w 3951"/>
                  <a:gd name="connsiteY4" fmla="*/ 110 h 3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3101">
                    <a:moveTo>
                      <a:pt x="0" y="110"/>
                    </a:moveTo>
                    <a:lnTo>
                      <a:pt x="2113" y="0"/>
                    </a:lnTo>
                    <a:lnTo>
                      <a:pt x="3952" y="2689"/>
                    </a:lnTo>
                    <a:lnTo>
                      <a:pt x="1400" y="3101"/>
                    </a:lnTo>
                    <a:lnTo>
                      <a:pt x="0" y="1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7" name="Freeform: Shape 3816">
                <a:extLst>
                  <a:ext uri="{FF2B5EF4-FFF2-40B4-BE49-F238E27FC236}">
                    <a16:creationId xmlns:a16="http://schemas.microsoft.com/office/drawing/2014/main" id="{79744353-872B-EC14-4A07-610BE598FCC3}"/>
                  </a:ext>
                </a:extLst>
              </p:cNvPr>
              <p:cNvSpPr/>
              <p:nvPr/>
            </p:nvSpPr>
            <p:spPr>
              <a:xfrm>
                <a:off x="1767157" y="3867252"/>
                <a:ext cx="512" cy="255"/>
              </a:xfrm>
              <a:custGeom>
                <a:avLst/>
                <a:gdLst>
                  <a:gd name="connsiteX0" fmla="*/ 0 w 4912"/>
                  <a:gd name="connsiteY0" fmla="*/ 2223 h 2442"/>
                  <a:gd name="connsiteX1" fmla="*/ 1126 w 4912"/>
                  <a:gd name="connsiteY1" fmla="*/ 274 h 2442"/>
                  <a:gd name="connsiteX2" fmla="*/ 4912 w 4912"/>
                  <a:gd name="connsiteY2" fmla="*/ 0 h 2442"/>
                  <a:gd name="connsiteX3" fmla="*/ 4912 w 4912"/>
                  <a:gd name="connsiteY3" fmla="*/ 1564 h 2442"/>
                  <a:gd name="connsiteX4" fmla="*/ 3074 w 4912"/>
                  <a:gd name="connsiteY4" fmla="*/ 2442 h 2442"/>
                  <a:gd name="connsiteX5" fmla="*/ 0 w 4912"/>
                  <a:gd name="connsiteY5" fmla="*/ 2223 h 2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12" h="2442">
                    <a:moveTo>
                      <a:pt x="0" y="2223"/>
                    </a:moveTo>
                    <a:lnTo>
                      <a:pt x="1126" y="274"/>
                    </a:lnTo>
                    <a:lnTo>
                      <a:pt x="4912" y="0"/>
                    </a:lnTo>
                    <a:lnTo>
                      <a:pt x="4912" y="1564"/>
                    </a:lnTo>
                    <a:cubicBezTo>
                      <a:pt x="4912" y="1564"/>
                      <a:pt x="3074" y="2442"/>
                      <a:pt x="3074" y="2442"/>
                    </a:cubicBezTo>
                    <a:lnTo>
                      <a:pt x="0"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9" name="Freeform: Shape 3818">
                <a:extLst>
                  <a:ext uri="{FF2B5EF4-FFF2-40B4-BE49-F238E27FC236}">
                    <a16:creationId xmlns:a16="http://schemas.microsoft.com/office/drawing/2014/main" id="{55DB85B2-A3BB-C25D-6A1E-D1A4BC1BFE1D}"/>
                  </a:ext>
                </a:extLst>
              </p:cNvPr>
              <p:cNvSpPr/>
              <p:nvPr/>
            </p:nvSpPr>
            <p:spPr>
              <a:xfrm>
                <a:off x="1760568" y="3869654"/>
                <a:ext cx="552" cy="235"/>
              </a:xfrm>
              <a:custGeom>
                <a:avLst/>
                <a:gdLst>
                  <a:gd name="connsiteX0" fmla="*/ 0 w 5296"/>
                  <a:gd name="connsiteY0" fmla="*/ 384 h 2250"/>
                  <a:gd name="connsiteX1" fmla="*/ 4281 w 5296"/>
                  <a:gd name="connsiteY1" fmla="*/ 0 h 2250"/>
                  <a:gd name="connsiteX2" fmla="*/ 5297 w 5296"/>
                  <a:gd name="connsiteY2" fmla="*/ 2251 h 2250"/>
                  <a:gd name="connsiteX3" fmla="*/ 906 w 5296"/>
                  <a:gd name="connsiteY3" fmla="*/ 1482 h 2250"/>
                  <a:gd name="connsiteX4" fmla="*/ 27 w 5296"/>
                  <a:gd name="connsiteY4" fmla="*/ 384 h 2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6" h="2250">
                    <a:moveTo>
                      <a:pt x="0" y="384"/>
                    </a:moveTo>
                    <a:lnTo>
                      <a:pt x="4281" y="0"/>
                    </a:lnTo>
                    <a:lnTo>
                      <a:pt x="5297" y="2251"/>
                    </a:lnTo>
                    <a:lnTo>
                      <a:pt x="906" y="1482"/>
                    </a:lnTo>
                    <a:lnTo>
                      <a:pt x="27"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0" name="Freeform: Shape 3819">
                <a:extLst>
                  <a:ext uri="{FF2B5EF4-FFF2-40B4-BE49-F238E27FC236}">
                    <a16:creationId xmlns:a16="http://schemas.microsoft.com/office/drawing/2014/main" id="{FD1FA1E0-560A-76C2-D4DB-888DBC02EC35}"/>
                  </a:ext>
                </a:extLst>
              </p:cNvPr>
              <p:cNvSpPr/>
              <p:nvPr/>
            </p:nvSpPr>
            <p:spPr>
              <a:xfrm>
                <a:off x="1756146" y="3844096"/>
                <a:ext cx="266" cy="475"/>
              </a:xfrm>
              <a:custGeom>
                <a:avLst/>
                <a:gdLst>
                  <a:gd name="connsiteX0" fmla="*/ 0 w 2552"/>
                  <a:gd name="connsiteY0" fmla="*/ 3375 h 4555"/>
                  <a:gd name="connsiteX1" fmla="*/ 247 w 2552"/>
                  <a:gd name="connsiteY1" fmla="*/ 631 h 4555"/>
                  <a:gd name="connsiteX2" fmla="*/ 1180 w 2552"/>
                  <a:gd name="connsiteY2" fmla="*/ 0 h 4555"/>
                  <a:gd name="connsiteX3" fmla="*/ 2552 w 2552"/>
                  <a:gd name="connsiteY3" fmla="*/ 2634 h 4555"/>
                  <a:gd name="connsiteX4" fmla="*/ 933 w 2552"/>
                  <a:gd name="connsiteY4" fmla="*/ 4555 h 4555"/>
                  <a:gd name="connsiteX5" fmla="*/ 0 w 2552"/>
                  <a:gd name="connsiteY5" fmla="*/ 3375 h 4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 h="4555">
                    <a:moveTo>
                      <a:pt x="0" y="3375"/>
                    </a:moveTo>
                    <a:lnTo>
                      <a:pt x="247" y="631"/>
                    </a:lnTo>
                    <a:lnTo>
                      <a:pt x="1180" y="0"/>
                    </a:lnTo>
                    <a:lnTo>
                      <a:pt x="2552" y="2634"/>
                    </a:lnTo>
                    <a:lnTo>
                      <a:pt x="933" y="4555"/>
                    </a:lnTo>
                    <a:lnTo>
                      <a:pt x="0" y="33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2" name="Freeform: Shape 3821">
                <a:extLst>
                  <a:ext uri="{FF2B5EF4-FFF2-40B4-BE49-F238E27FC236}">
                    <a16:creationId xmlns:a16="http://schemas.microsoft.com/office/drawing/2014/main" id="{E12FCA96-7A22-0C84-AB2C-7DEC822C514B}"/>
                  </a:ext>
                </a:extLst>
              </p:cNvPr>
              <p:cNvSpPr/>
              <p:nvPr/>
            </p:nvSpPr>
            <p:spPr>
              <a:xfrm>
                <a:off x="1763685" y="3843397"/>
                <a:ext cx="372" cy="338"/>
              </a:xfrm>
              <a:custGeom>
                <a:avLst/>
                <a:gdLst>
                  <a:gd name="connsiteX0" fmla="*/ 0 w 3567"/>
                  <a:gd name="connsiteY0" fmla="*/ 988 h 3238"/>
                  <a:gd name="connsiteX1" fmla="*/ 2634 w 3567"/>
                  <a:gd name="connsiteY1" fmla="*/ 0 h 3238"/>
                  <a:gd name="connsiteX2" fmla="*/ 3568 w 3567"/>
                  <a:gd name="connsiteY2" fmla="*/ 2552 h 3238"/>
                  <a:gd name="connsiteX3" fmla="*/ 1097 w 3567"/>
                  <a:gd name="connsiteY3" fmla="*/ 3238 h 3238"/>
                  <a:gd name="connsiteX4" fmla="*/ 0 w 3567"/>
                  <a:gd name="connsiteY4" fmla="*/ 988 h 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238">
                    <a:moveTo>
                      <a:pt x="0" y="988"/>
                    </a:moveTo>
                    <a:lnTo>
                      <a:pt x="2634" y="0"/>
                    </a:lnTo>
                    <a:lnTo>
                      <a:pt x="3568" y="2552"/>
                    </a:lnTo>
                    <a:lnTo>
                      <a:pt x="1097" y="3238"/>
                    </a:lnTo>
                    <a:lnTo>
                      <a:pt x="0"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3" name="Freeform: Shape 3822">
                <a:extLst>
                  <a:ext uri="{FF2B5EF4-FFF2-40B4-BE49-F238E27FC236}">
                    <a16:creationId xmlns:a16="http://schemas.microsoft.com/office/drawing/2014/main" id="{FC04909A-C09A-5203-7D41-BED2549BCB68}"/>
                  </a:ext>
                </a:extLst>
              </p:cNvPr>
              <p:cNvSpPr/>
              <p:nvPr/>
            </p:nvSpPr>
            <p:spPr>
              <a:xfrm>
                <a:off x="1766691" y="3867461"/>
                <a:ext cx="415" cy="306"/>
              </a:xfrm>
              <a:custGeom>
                <a:avLst/>
                <a:gdLst>
                  <a:gd name="connsiteX0" fmla="*/ 27 w 3979"/>
                  <a:gd name="connsiteY0" fmla="*/ 2223 h 2936"/>
                  <a:gd name="connsiteX1" fmla="*/ 686 w 3979"/>
                  <a:gd name="connsiteY1" fmla="*/ 0 h 2936"/>
                  <a:gd name="connsiteX2" fmla="*/ 3979 w 3979"/>
                  <a:gd name="connsiteY2" fmla="*/ 1015 h 2936"/>
                  <a:gd name="connsiteX3" fmla="*/ 2662 w 3979"/>
                  <a:gd name="connsiteY3" fmla="*/ 2936 h 2936"/>
                  <a:gd name="connsiteX4" fmla="*/ 0 w 3979"/>
                  <a:gd name="connsiteY4" fmla="*/ 2223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2936">
                    <a:moveTo>
                      <a:pt x="27" y="2223"/>
                    </a:moveTo>
                    <a:lnTo>
                      <a:pt x="686" y="0"/>
                    </a:lnTo>
                    <a:lnTo>
                      <a:pt x="3979" y="1015"/>
                    </a:lnTo>
                    <a:lnTo>
                      <a:pt x="2662" y="2936"/>
                    </a:lnTo>
                    <a:lnTo>
                      <a:pt x="0"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5" name="Freeform: Shape 3824">
                <a:extLst>
                  <a:ext uri="{FF2B5EF4-FFF2-40B4-BE49-F238E27FC236}">
                    <a16:creationId xmlns:a16="http://schemas.microsoft.com/office/drawing/2014/main" id="{1252E0EB-17EC-970A-1B3A-BC257C6E02A8}"/>
                  </a:ext>
                </a:extLst>
              </p:cNvPr>
              <p:cNvSpPr/>
              <p:nvPr/>
            </p:nvSpPr>
            <p:spPr>
              <a:xfrm>
                <a:off x="1755779" y="3848613"/>
                <a:ext cx="418" cy="306"/>
              </a:xfrm>
              <a:custGeom>
                <a:avLst/>
                <a:gdLst>
                  <a:gd name="connsiteX0" fmla="*/ 2964 w 4006"/>
                  <a:gd name="connsiteY0" fmla="*/ 2140 h 2936"/>
                  <a:gd name="connsiteX1" fmla="*/ 1619 w 4006"/>
                  <a:gd name="connsiteY1" fmla="*/ 2936 h 2936"/>
                  <a:gd name="connsiteX2" fmla="*/ 549 w 4006"/>
                  <a:gd name="connsiteY2" fmla="*/ 2140 h 2936"/>
                  <a:gd name="connsiteX3" fmla="*/ 0 w 4006"/>
                  <a:gd name="connsiteY3" fmla="*/ 1592 h 2936"/>
                  <a:gd name="connsiteX4" fmla="*/ 1345 w 4006"/>
                  <a:gd name="connsiteY4" fmla="*/ 0 h 2936"/>
                  <a:gd name="connsiteX5" fmla="*/ 3211 w 4006"/>
                  <a:gd name="connsiteY5" fmla="*/ 274 h 2936"/>
                  <a:gd name="connsiteX6" fmla="*/ 4007 w 4006"/>
                  <a:gd name="connsiteY6" fmla="*/ 1592 h 2936"/>
                  <a:gd name="connsiteX7" fmla="*/ 2937 w 4006"/>
                  <a:gd name="connsiteY7" fmla="*/ 2140 h 2936"/>
                  <a:gd name="connsiteX8" fmla="*/ 2937 w 4006"/>
                  <a:gd name="connsiteY8" fmla="*/ 2140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06" h="2936">
                    <a:moveTo>
                      <a:pt x="2964" y="2140"/>
                    </a:moveTo>
                    <a:lnTo>
                      <a:pt x="1619" y="2936"/>
                    </a:lnTo>
                    <a:lnTo>
                      <a:pt x="549" y="2140"/>
                    </a:lnTo>
                    <a:lnTo>
                      <a:pt x="0" y="1592"/>
                    </a:lnTo>
                    <a:lnTo>
                      <a:pt x="1345" y="0"/>
                    </a:lnTo>
                    <a:lnTo>
                      <a:pt x="3211" y="274"/>
                    </a:lnTo>
                    <a:lnTo>
                      <a:pt x="4007" y="1592"/>
                    </a:lnTo>
                    <a:lnTo>
                      <a:pt x="2937" y="2140"/>
                    </a:lnTo>
                    <a:lnTo>
                      <a:pt x="2937" y="21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6" name="Freeform: Shape 3825">
                <a:extLst>
                  <a:ext uri="{FF2B5EF4-FFF2-40B4-BE49-F238E27FC236}">
                    <a16:creationId xmlns:a16="http://schemas.microsoft.com/office/drawing/2014/main" id="{E70CDA7A-900D-FACD-0E79-D30B4D86A35F}"/>
                  </a:ext>
                </a:extLst>
              </p:cNvPr>
              <p:cNvSpPr/>
              <p:nvPr/>
            </p:nvSpPr>
            <p:spPr>
              <a:xfrm>
                <a:off x="1740443" y="3845095"/>
                <a:ext cx="401" cy="309"/>
              </a:xfrm>
              <a:custGeom>
                <a:avLst/>
                <a:gdLst>
                  <a:gd name="connsiteX0" fmla="*/ 2250 w 3841"/>
                  <a:gd name="connsiteY0" fmla="*/ 2964 h 2963"/>
                  <a:gd name="connsiteX1" fmla="*/ 960 w 3841"/>
                  <a:gd name="connsiteY1" fmla="*/ 2964 h 2963"/>
                  <a:gd name="connsiteX2" fmla="*/ 0 w 3841"/>
                  <a:gd name="connsiteY2" fmla="*/ 1537 h 2963"/>
                  <a:gd name="connsiteX3" fmla="*/ 686 w 3841"/>
                  <a:gd name="connsiteY3" fmla="*/ 0 h 2963"/>
                  <a:gd name="connsiteX4" fmla="*/ 3842 w 3841"/>
                  <a:gd name="connsiteY4" fmla="*/ 1098 h 2963"/>
                  <a:gd name="connsiteX5" fmla="*/ 2222 w 3841"/>
                  <a:gd name="connsiteY5" fmla="*/ 2964 h 2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 h="2963">
                    <a:moveTo>
                      <a:pt x="2250" y="2964"/>
                    </a:moveTo>
                    <a:lnTo>
                      <a:pt x="960" y="2964"/>
                    </a:lnTo>
                    <a:lnTo>
                      <a:pt x="0" y="1537"/>
                    </a:lnTo>
                    <a:lnTo>
                      <a:pt x="686" y="0"/>
                    </a:lnTo>
                    <a:lnTo>
                      <a:pt x="3842" y="1098"/>
                    </a:lnTo>
                    <a:lnTo>
                      <a:pt x="2222"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7" name="Freeform: Shape 3826">
                <a:extLst>
                  <a:ext uri="{FF2B5EF4-FFF2-40B4-BE49-F238E27FC236}">
                    <a16:creationId xmlns:a16="http://schemas.microsoft.com/office/drawing/2014/main" id="{38CEB25A-7C31-CBF3-1082-11E37A602A5A}"/>
                  </a:ext>
                </a:extLst>
              </p:cNvPr>
              <p:cNvSpPr/>
              <p:nvPr/>
            </p:nvSpPr>
            <p:spPr>
              <a:xfrm>
                <a:off x="1742882" y="3849826"/>
                <a:ext cx="300" cy="406"/>
              </a:xfrm>
              <a:custGeom>
                <a:avLst/>
                <a:gdLst>
                  <a:gd name="connsiteX0" fmla="*/ 0 w 2880"/>
                  <a:gd name="connsiteY0" fmla="*/ 3897 h 3896"/>
                  <a:gd name="connsiteX1" fmla="*/ 960 w 2880"/>
                  <a:gd name="connsiteY1" fmla="*/ 0 h 3896"/>
                  <a:gd name="connsiteX2" fmla="*/ 2387 w 2880"/>
                  <a:gd name="connsiteY2" fmla="*/ 357 h 3896"/>
                  <a:gd name="connsiteX3" fmla="*/ 2881 w 2880"/>
                  <a:gd name="connsiteY3" fmla="*/ 3211 h 3896"/>
                  <a:gd name="connsiteX4" fmla="*/ 0 w 2880"/>
                  <a:gd name="connsiteY4" fmla="*/ 3897 h 3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 h="3896">
                    <a:moveTo>
                      <a:pt x="0" y="3897"/>
                    </a:moveTo>
                    <a:lnTo>
                      <a:pt x="960" y="0"/>
                    </a:lnTo>
                    <a:lnTo>
                      <a:pt x="2387" y="357"/>
                    </a:lnTo>
                    <a:lnTo>
                      <a:pt x="2881" y="3211"/>
                    </a:lnTo>
                    <a:lnTo>
                      <a:pt x="0" y="38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9" name="Freeform: Shape 3828">
                <a:extLst>
                  <a:ext uri="{FF2B5EF4-FFF2-40B4-BE49-F238E27FC236}">
                    <a16:creationId xmlns:a16="http://schemas.microsoft.com/office/drawing/2014/main" id="{4F07BA8C-E56A-3557-E45A-5382E83973D0}"/>
                  </a:ext>
                </a:extLst>
              </p:cNvPr>
              <p:cNvSpPr/>
              <p:nvPr/>
            </p:nvSpPr>
            <p:spPr>
              <a:xfrm>
                <a:off x="1749116" y="3838781"/>
                <a:ext cx="384" cy="318"/>
              </a:xfrm>
              <a:custGeom>
                <a:avLst/>
                <a:gdLst>
                  <a:gd name="connsiteX0" fmla="*/ 0 w 3677"/>
                  <a:gd name="connsiteY0" fmla="*/ 988 h 3046"/>
                  <a:gd name="connsiteX1" fmla="*/ 933 w 3677"/>
                  <a:gd name="connsiteY1" fmla="*/ 0 h 3046"/>
                  <a:gd name="connsiteX2" fmla="*/ 3678 w 3677"/>
                  <a:gd name="connsiteY2" fmla="*/ 1537 h 3046"/>
                  <a:gd name="connsiteX3" fmla="*/ 2964 w 3677"/>
                  <a:gd name="connsiteY3" fmla="*/ 3046 h 3046"/>
                  <a:gd name="connsiteX4" fmla="*/ 796 w 3677"/>
                  <a:gd name="connsiteY4" fmla="*/ 2882 h 3046"/>
                  <a:gd name="connsiteX5" fmla="*/ 27 w 3677"/>
                  <a:gd name="connsiteY5" fmla="*/ 1015 h 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7" h="3046">
                    <a:moveTo>
                      <a:pt x="0" y="988"/>
                    </a:moveTo>
                    <a:lnTo>
                      <a:pt x="933" y="0"/>
                    </a:lnTo>
                    <a:lnTo>
                      <a:pt x="3678" y="1537"/>
                    </a:lnTo>
                    <a:lnTo>
                      <a:pt x="2964" y="3046"/>
                    </a:lnTo>
                    <a:lnTo>
                      <a:pt x="796" y="2882"/>
                    </a:lnTo>
                    <a:lnTo>
                      <a:pt x="27" y="10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0" name="Freeform: Shape 3829">
                <a:extLst>
                  <a:ext uri="{FF2B5EF4-FFF2-40B4-BE49-F238E27FC236}">
                    <a16:creationId xmlns:a16="http://schemas.microsoft.com/office/drawing/2014/main" id="{DD2982F2-9489-E246-1181-026806B16509}"/>
                  </a:ext>
                </a:extLst>
              </p:cNvPr>
              <p:cNvSpPr/>
              <p:nvPr/>
            </p:nvSpPr>
            <p:spPr>
              <a:xfrm>
                <a:off x="1738783" y="3867043"/>
                <a:ext cx="372" cy="321"/>
              </a:xfrm>
              <a:custGeom>
                <a:avLst/>
                <a:gdLst>
                  <a:gd name="connsiteX0" fmla="*/ 0 w 3567"/>
                  <a:gd name="connsiteY0" fmla="*/ 1647 h 3073"/>
                  <a:gd name="connsiteX1" fmla="*/ 604 w 3567"/>
                  <a:gd name="connsiteY1" fmla="*/ 0 h 3073"/>
                  <a:gd name="connsiteX2" fmla="*/ 3128 w 3567"/>
                  <a:gd name="connsiteY2" fmla="*/ 0 h 3073"/>
                  <a:gd name="connsiteX3" fmla="*/ 3568 w 3567"/>
                  <a:gd name="connsiteY3" fmla="*/ 878 h 3073"/>
                  <a:gd name="connsiteX4" fmla="*/ 1701 w 3567"/>
                  <a:gd name="connsiteY4" fmla="*/ 3074 h 3073"/>
                  <a:gd name="connsiteX5" fmla="*/ 0 w 3567"/>
                  <a:gd name="connsiteY5" fmla="*/ 1619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3073">
                    <a:moveTo>
                      <a:pt x="0" y="1647"/>
                    </a:moveTo>
                    <a:lnTo>
                      <a:pt x="604" y="0"/>
                    </a:lnTo>
                    <a:lnTo>
                      <a:pt x="3128" y="0"/>
                    </a:lnTo>
                    <a:cubicBezTo>
                      <a:pt x="3128" y="0"/>
                      <a:pt x="3568" y="878"/>
                      <a:pt x="3568" y="878"/>
                    </a:cubicBezTo>
                    <a:lnTo>
                      <a:pt x="1701" y="3074"/>
                    </a:lnTo>
                    <a:lnTo>
                      <a:pt x="0"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1" name="Freeform: Shape 3830">
                <a:extLst>
                  <a:ext uri="{FF2B5EF4-FFF2-40B4-BE49-F238E27FC236}">
                    <a16:creationId xmlns:a16="http://schemas.microsoft.com/office/drawing/2014/main" id="{76B69342-F3D0-FA07-EC84-F370E6AA6317}"/>
                  </a:ext>
                </a:extLst>
              </p:cNvPr>
              <p:cNvSpPr/>
              <p:nvPr/>
            </p:nvSpPr>
            <p:spPr>
              <a:xfrm>
                <a:off x="1738133" y="3877107"/>
                <a:ext cx="421" cy="286"/>
              </a:xfrm>
              <a:custGeom>
                <a:avLst/>
                <a:gdLst>
                  <a:gd name="connsiteX0" fmla="*/ 0 w 4034"/>
                  <a:gd name="connsiteY0" fmla="*/ 1235 h 2744"/>
                  <a:gd name="connsiteX1" fmla="*/ 878 w 4034"/>
                  <a:gd name="connsiteY1" fmla="*/ 0 h 2744"/>
                  <a:gd name="connsiteX2" fmla="*/ 3458 w 4034"/>
                  <a:gd name="connsiteY2" fmla="*/ 0 h 2744"/>
                  <a:gd name="connsiteX3" fmla="*/ 4034 w 4034"/>
                  <a:gd name="connsiteY3" fmla="*/ 1345 h 2744"/>
                  <a:gd name="connsiteX4" fmla="*/ 2223 w 4034"/>
                  <a:gd name="connsiteY4" fmla="*/ 2744 h 2744"/>
                  <a:gd name="connsiteX5" fmla="*/ 0 w 4034"/>
                  <a:gd name="connsiteY5" fmla="*/ 1235 h 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4" h="2744">
                    <a:moveTo>
                      <a:pt x="0" y="1235"/>
                    </a:moveTo>
                    <a:lnTo>
                      <a:pt x="878" y="0"/>
                    </a:lnTo>
                    <a:lnTo>
                      <a:pt x="3458" y="0"/>
                    </a:lnTo>
                    <a:cubicBezTo>
                      <a:pt x="3458" y="0"/>
                      <a:pt x="4034" y="1345"/>
                      <a:pt x="4034" y="1345"/>
                    </a:cubicBezTo>
                    <a:lnTo>
                      <a:pt x="2223" y="2744"/>
                    </a:lnTo>
                    <a:lnTo>
                      <a:pt x="0"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2" name="Freeform: Shape 3831">
                <a:extLst>
                  <a:ext uri="{FF2B5EF4-FFF2-40B4-BE49-F238E27FC236}">
                    <a16:creationId xmlns:a16="http://schemas.microsoft.com/office/drawing/2014/main" id="{0428E43A-D202-34BD-FE6F-B5F0398F5BD5}"/>
                  </a:ext>
                </a:extLst>
              </p:cNvPr>
              <p:cNvSpPr/>
              <p:nvPr/>
            </p:nvSpPr>
            <p:spPr>
              <a:xfrm>
                <a:off x="1764401" y="3844485"/>
                <a:ext cx="318" cy="369"/>
              </a:xfrm>
              <a:custGeom>
                <a:avLst/>
                <a:gdLst>
                  <a:gd name="connsiteX0" fmla="*/ 2607 w 3045"/>
                  <a:gd name="connsiteY0" fmla="*/ 3211 h 3540"/>
                  <a:gd name="connsiteX1" fmla="*/ 686 w 3045"/>
                  <a:gd name="connsiteY1" fmla="*/ 3540 h 3540"/>
                  <a:gd name="connsiteX2" fmla="*/ 0 w 3045"/>
                  <a:gd name="connsiteY2" fmla="*/ 1207 h 3540"/>
                  <a:gd name="connsiteX3" fmla="*/ 3046 w 3045"/>
                  <a:gd name="connsiteY3" fmla="*/ 0 h 3540"/>
                  <a:gd name="connsiteX4" fmla="*/ 2634 w 3045"/>
                  <a:gd name="connsiteY4" fmla="*/ 3211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5" h="3540">
                    <a:moveTo>
                      <a:pt x="2607" y="3211"/>
                    </a:moveTo>
                    <a:lnTo>
                      <a:pt x="686" y="3540"/>
                    </a:lnTo>
                    <a:lnTo>
                      <a:pt x="0" y="1207"/>
                    </a:lnTo>
                    <a:lnTo>
                      <a:pt x="3046" y="0"/>
                    </a:lnTo>
                    <a:lnTo>
                      <a:pt x="2634"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4" name="Freeform: Shape 3833">
                <a:extLst>
                  <a:ext uri="{FF2B5EF4-FFF2-40B4-BE49-F238E27FC236}">
                    <a16:creationId xmlns:a16="http://schemas.microsoft.com/office/drawing/2014/main" id="{157F96AD-57A1-6C17-2128-9866D5AD7B3B}"/>
                  </a:ext>
                </a:extLst>
              </p:cNvPr>
              <p:cNvSpPr/>
              <p:nvPr/>
            </p:nvSpPr>
            <p:spPr>
              <a:xfrm>
                <a:off x="1755530" y="3844574"/>
                <a:ext cx="335" cy="326"/>
              </a:xfrm>
              <a:custGeom>
                <a:avLst/>
                <a:gdLst>
                  <a:gd name="connsiteX0" fmla="*/ 27 w 3210"/>
                  <a:gd name="connsiteY0" fmla="*/ 2772 h 3128"/>
                  <a:gd name="connsiteX1" fmla="*/ 1070 w 3210"/>
                  <a:gd name="connsiteY1" fmla="*/ 412 h 3128"/>
                  <a:gd name="connsiteX2" fmla="*/ 3211 w 3210"/>
                  <a:gd name="connsiteY2" fmla="*/ 0 h 3128"/>
                  <a:gd name="connsiteX3" fmla="*/ 2937 w 3210"/>
                  <a:gd name="connsiteY3" fmla="*/ 3129 h 3128"/>
                  <a:gd name="connsiteX4" fmla="*/ 0 w 3210"/>
                  <a:gd name="connsiteY4" fmla="*/ 2744 h 3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 h="3128">
                    <a:moveTo>
                      <a:pt x="27" y="2772"/>
                    </a:moveTo>
                    <a:lnTo>
                      <a:pt x="1070" y="412"/>
                    </a:lnTo>
                    <a:lnTo>
                      <a:pt x="3211" y="0"/>
                    </a:lnTo>
                    <a:lnTo>
                      <a:pt x="2937" y="3129"/>
                    </a:lnTo>
                    <a:lnTo>
                      <a:pt x="0"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6" name="Freeform: Shape 3835">
                <a:extLst>
                  <a:ext uri="{FF2B5EF4-FFF2-40B4-BE49-F238E27FC236}">
                    <a16:creationId xmlns:a16="http://schemas.microsoft.com/office/drawing/2014/main" id="{06C8288D-1C62-DDD2-FC49-044E04A9425E}"/>
                  </a:ext>
                </a:extLst>
              </p:cNvPr>
              <p:cNvSpPr/>
              <p:nvPr/>
            </p:nvSpPr>
            <p:spPr>
              <a:xfrm>
                <a:off x="1763679" y="3858250"/>
                <a:ext cx="381" cy="286"/>
              </a:xfrm>
              <a:custGeom>
                <a:avLst/>
                <a:gdLst>
                  <a:gd name="connsiteX0" fmla="*/ 0 w 3650"/>
                  <a:gd name="connsiteY0" fmla="*/ 1756 h 2744"/>
                  <a:gd name="connsiteX1" fmla="*/ 604 w 3650"/>
                  <a:gd name="connsiteY1" fmla="*/ 0 h 2744"/>
                  <a:gd name="connsiteX2" fmla="*/ 3650 w 3650"/>
                  <a:gd name="connsiteY2" fmla="*/ 0 h 2744"/>
                  <a:gd name="connsiteX3" fmla="*/ 3046 w 3650"/>
                  <a:gd name="connsiteY3" fmla="*/ 2744 h 2744"/>
                  <a:gd name="connsiteX4" fmla="*/ 27 w 3650"/>
                  <a:gd name="connsiteY4" fmla="*/ 1756 h 2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2744">
                    <a:moveTo>
                      <a:pt x="0" y="1756"/>
                    </a:moveTo>
                    <a:lnTo>
                      <a:pt x="604" y="0"/>
                    </a:lnTo>
                    <a:lnTo>
                      <a:pt x="3650" y="0"/>
                    </a:lnTo>
                    <a:cubicBezTo>
                      <a:pt x="3650" y="0"/>
                      <a:pt x="3046" y="2744"/>
                      <a:pt x="3046" y="2744"/>
                    </a:cubicBezTo>
                    <a:lnTo>
                      <a:pt x="27"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7" name="Freeform: Shape 3836">
                <a:extLst>
                  <a:ext uri="{FF2B5EF4-FFF2-40B4-BE49-F238E27FC236}">
                    <a16:creationId xmlns:a16="http://schemas.microsoft.com/office/drawing/2014/main" id="{0D50C997-E3F3-0B46-6B23-E721DA3200B0}"/>
                  </a:ext>
                </a:extLst>
              </p:cNvPr>
              <p:cNvSpPr/>
              <p:nvPr/>
            </p:nvSpPr>
            <p:spPr>
              <a:xfrm>
                <a:off x="1753904" y="3832303"/>
                <a:ext cx="321" cy="338"/>
              </a:xfrm>
              <a:custGeom>
                <a:avLst/>
                <a:gdLst>
                  <a:gd name="connsiteX0" fmla="*/ 27 w 3073"/>
                  <a:gd name="connsiteY0" fmla="*/ 2772 h 3238"/>
                  <a:gd name="connsiteX1" fmla="*/ 356 w 3073"/>
                  <a:gd name="connsiteY1" fmla="*/ 384 h 3238"/>
                  <a:gd name="connsiteX2" fmla="*/ 2470 w 3073"/>
                  <a:gd name="connsiteY2" fmla="*/ 0 h 3238"/>
                  <a:gd name="connsiteX3" fmla="*/ 3073 w 3073"/>
                  <a:gd name="connsiteY3" fmla="*/ 1701 h 3238"/>
                  <a:gd name="connsiteX4" fmla="*/ 1729 w 3073"/>
                  <a:gd name="connsiteY4" fmla="*/ 3238 h 3238"/>
                  <a:gd name="connsiteX5" fmla="*/ 0 w 3073"/>
                  <a:gd name="connsiteY5" fmla="*/ 2772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 h="3238">
                    <a:moveTo>
                      <a:pt x="27" y="2772"/>
                    </a:moveTo>
                    <a:lnTo>
                      <a:pt x="356" y="384"/>
                    </a:lnTo>
                    <a:lnTo>
                      <a:pt x="2470" y="0"/>
                    </a:lnTo>
                    <a:lnTo>
                      <a:pt x="3073" y="1701"/>
                    </a:lnTo>
                    <a:lnTo>
                      <a:pt x="1729" y="3238"/>
                    </a:lnTo>
                    <a:lnTo>
                      <a:pt x="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8" name="Freeform: Shape 3837">
                <a:extLst>
                  <a:ext uri="{FF2B5EF4-FFF2-40B4-BE49-F238E27FC236}">
                    <a16:creationId xmlns:a16="http://schemas.microsoft.com/office/drawing/2014/main" id="{0AC51EE3-F088-080F-72CD-F39A2C9D3686}"/>
                  </a:ext>
                </a:extLst>
              </p:cNvPr>
              <p:cNvSpPr/>
              <p:nvPr/>
            </p:nvSpPr>
            <p:spPr>
              <a:xfrm>
                <a:off x="1762506" y="3865022"/>
                <a:ext cx="306" cy="352"/>
              </a:xfrm>
              <a:custGeom>
                <a:avLst/>
                <a:gdLst>
                  <a:gd name="connsiteX0" fmla="*/ 0 w 2936"/>
                  <a:gd name="connsiteY0" fmla="*/ 2388 h 3375"/>
                  <a:gd name="connsiteX1" fmla="*/ 220 w 2936"/>
                  <a:gd name="connsiteY1" fmla="*/ 604 h 3375"/>
                  <a:gd name="connsiteX2" fmla="*/ 2854 w 2936"/>
                  <a:gd name="connsiteY2" fmla="*/ 0 h 3375"/>
                  <a:gd name="connsiteX3" fmla="*/ 2937 w 2936"/>
                  <a:gd name="connsiteY3" fmla="*/ 2086 h 3375"/>
                  <a:gd name="connsiteX4" fmla="*/ 1647 w 2936"/>
                  <a:gd name="connsiteY4" fmla="*/ 3375 h 3375"/>
                  <a:gd name="connsiteX5" fmla="*/ 0 w 2936"/>
                  <a:gd name="connsiteY5" fmla="*/ 2388 h 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6" h="3375">
                    <a:moveTo>
                      <a:pt x="0" y="2388"/>
                    </a:moveTo>
                    <a:lnTo>
                      <a:pt x="220" y="604"/>
                    </a:lnTo>
                    <a:lnTo>
                      <a:pt x="2854" y="0"/>
                    </a:lnTo>
                    <a:lnTo>
                      <a:pt x="2937" y="2086"/>
                    </a:lnTo>
                    <a:lnTo>
                      <a:pt x="1647" y="3375"/>
                    </a:lnTo>
                    <a:lnTo>
                      <a:pt x="0"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9" name="Freeform: Shape 3838">
                <a:extLst>
                  <a:ext uri="{FF2B5EF4-FFF2-40B4-BE49-F238E27FC236}">
                    <a16:creationId xmlns:a16="http://schemas.microsoft.com/office/drawing/2014/main" id="{91277F1D-BFC8-F0DC-8177-DEE2A85C00C2}"/>
                  </a:ext>
                </a:extLst>
              </p:cNvPr>
              <p:cNvSpPr/>
              <p:nvPr/>
            </p:nvSpPr>
            <p:spPr>
              <a:xfrm>
                <a:off x="1755387" y="3869110"/>
                <a:ext cx="303" cy="349"/>
              </a:xfrm>
              <a:custGeom>
                <a:avLst/>
                <a:gdLst>
                  <a:gd name="connsiteX0" fmla="*/ 27 w 2909"/>
                  <a:gd name="connsiteY0" fmla="*/ 659 h 3347"/>
                  <a:gd name="connsiteX1" fmla="*/ 2305 w 2909"/>
                  <a:gd name="connsiteY1" fmla="*/ 0 h 3347"/>
                  <a:gd name="connsiteX2" fmla="*/ 2909 w 2909"/>
                  <a:gd name="connsiteY2" fmla="*/ 3348 h 3347"/>
                  <a:gd name="connsiteX3" fmla="*/ 521 w 2909"/>
                  <a:gd name="connsiteY3" fmla="*/ 3183 h 3347"/>
                  <a:gd name="connsiteX4" fmla="*/ 0 w 2909"/>
                  <a:gd name="connsiteY4" fmla="*/ 659 h 3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9" h="3347">
                    <a:moveTo>
                      <a:pt x="27" y="659"/>
                    </a:moveTo>
                    <a:lnTo>
                      <a:pt x="2305" y="0"/>
                    </a:lnTo>
                    <a:lnTo>
                      <a:pt x="2909" y="3348"/>
                    </a:lnTo>
                    <a:lnTo>
                      <a:pt x="521" y="3183"/>
                    </a:lnTo>
                    <a:lnTo>
                      <a:pt x="0" y="6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0" name="Freeform: Shape 3839">
                <a:extLst>
                  <a:ext uri="{FF2B5EF4-FFF2-40B4-BE49-F238E27FC236}">
                    <a16:creationId xmlns:a16="http://schemas.microsoft.com/office/drawing/2014/main" id="{8F36507A-104C-0362-A5EA-1F8664C9C5B0}"/>
                  </a:ext>
                </a:extLst>
              </p:cNvPr>
              <p:cNvSpPr/>
              <p:nvPr/>
            </p:nvSpPr>
            <p:spPr>
              <a:xfrm>
                <a:off x="1741041" y="3861665"/>
                <a:ext cx="349" cy="303"/>
              </a:xfrm>
              <a:custGeom>
                <a:avLst/>
                <a:gdLst>
                  <a:gd name="connsiteX0" fmla="*/ 0 w 3347"/>
                  <a:gd name="connsiteY0" fmla="*/ 2881 h 2908"/>
                  <a:gd name="connsiteX1" fmla="*/ 1509 w 3347"/>
                  <a:gd name="connsiteY1" fmla="*/ 0 h 2908"/>
                  <a:gd name="connsiteX2" fmla="*/ 3184 w 3347"/>
                  <a:gd name="connsiteY2" fmla="*/ 274 h 2908"/>
                  <a:gd name="connsiteX3" fmla="*/ 3348 w 3347"/>
                  <a:gd name="connsiteY3" fmla="*/ 2909 h 2908"/>
                  <a:gd name="connsiteX4" fmla="*/ 27 w 3347"/>
                  <a:gd name="connsiteY4" fmla="*/ 2909 h 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7" h="2908">
                    <a:moveTo>
                      <a:pt x="0" y="2881"/>
                    </a:moveTo>
                    <a:lnTo>
                      <a:pt x="1509" y="0"/>
                    </a:lnTo>
                    <a:lnTo>
                      <a:pt x="3184" y="274"/>
                    </a:lnTo>
                    <a:lnTo>
                      <a:pt x="3348" y="2909"/>
                    </a:lnTo>
                    <a:lnTo>
                      <a:pt x="27"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2" name="Freeform: Shape 3841">
                <a:extLst>
                  <a:ext uri="{FF2B5EF4-FFF2-40B4-BE49-F238E27FC236}">
                    <a16:creationId xmlns:a16="http://schemas.microsoft.com/office/drawing/2014/main" id="{64C094DA-757A-7DB8-2C1B-DDA916031528}"/>
                  </a:ext>
                </a:extLst>
              </p:cNvPr>
              <p:cNvSpPr/>
              <p:nvPr/>
            </p:nvSpPr>
            <p:spPr>
              <a:xfrm>
                <a:off x="1758971" y="3847413"/>
                <a:ext cx="372" cy="283"/>
              </a:xfrm>
              <a:custGeom>
                <a:avLst/>
                <a:gdLst>
                  <a:gd name="connsiteX0" fmla="*/ 0 w 3567"/>
                  <a:gd name="connsiteY0" fmla="*/ 960 h 2716"/>
                  <a:gd name="connsiteX1" fmla="*/ 1043 w 3567"/>
                  <a:gd name="connsiteY1" fmla="*/ 0 h 2716"/>
                  <a:gd name="connsiteX2" fmla="*/ 3568 w 3567"/>
                  <a:gd name="connsiteY2" fmla="*/ 467 h 2716"/>
                  <a:gd name="connsiteX3" fmla="*/ 3293 w 3567"/>
                  <a:gd name="connsiteY3" fmla="*/ 2717 h 2716"/>
                  <a:gd name="connsiteX4" fmla="*/ 1345 w 3567"/>
                  <a:gd name="connsiteY4" fmla="*/ 2634 h 2716"/>
                  <a:gd name="connsiteX5" fmla="*/ 0 w 3567"/>
                  <a:gd name="connsiteY5" fmla="*/ 960 h 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2716">
                    <a:moveTo>
                      <a:pt x="0" y="960"/>
                    </a:moveTo>
                    <a:lnTo>
                      <a:pt x="1043" y="0"/>
                    </a:lnTo>
                    <a:lnTo>
                      <a:pt x="3568" y="467"/>
                    </a:lnTo>
                    <a:lnTo>
                      <a:pt x="3293" y="2717"/>
                    </a:lnTo>
                    <a:lnTo>
                      <a:pt x="1345" y="2634"/>
                    </a:lnTo>
                    <a:lnTo>
                      <a:pt x="0" y="9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3" name="Freeform: Shape 3842">
                <a:extLst>
                  <a:ext uri="{FF2B5EF4-FFF2-40B4-BE49-F238E27FC236}">
                    <a16:creationId xmlns:a16="http://schemas.microsoft.com/office/drawing/2014/main" id="{0AF8D611-372D-1CDC-9EA3-A84C2904D424}"/>
                  </a:ext>
                </a:extLst>
              </p:cNvPr>
              <p:cNvSpPr/>
              <p:nvPr/>
            </p:nvSpPr>
            <p:spPr>
              <a:xfrm>
                <a:off x="1738574" y="3869957"/>
                <a:ext cx="363" cy="280"/>
              </a:xfrm>
              <a:custGeom>
                <a:avLst/>
                <a:gdLst>
                  <a:gd name="connsiteX0" fmla="*/ 27 w 3485"/>
                  <a:gd name="connsiteY0" fmla="*/ 851 h 2689"/>
                  <a:gd name="connsiteX1" fmla="*/ 3238 w 3485"/>
                  <a:gd name="connsiteY1" fmla="*/ 0 h 2689"/>
                  <a:gd name="connsiteX2" fmla="*/ 3485 w 3485"/>
                  <a:gd name="connsiteY2" fmla="*/ 2689 h 2689"/>
                  <a:gd name="connsiteX3" fmla="*/ 521 w 3485"/>
                  <a:gd name="connsiteY3" fmla="*/ 2689 h 2689"/>
                  <a:gd name="connsiteX4" fmla="*/ 0 w 3485"/>
                  <a:gd name="connsiteY4" fmla="*/ 851 h 2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2689">
                    <a:moveTo>
                      <a:pt x="27" y="851"/>
                    </a:moveTo>
                    <a:lnTo>
                      <a:pt x="3238" y="0"/>
                    </a:lnTo>
                    <a:lnTo>
                      <a:pt x="3485" y="2689"/>
                    </a:lnTo>
                    <a:lnTo>
                      <a:pt x="521" y="2689"/>
                    </a:lnTo>
                    <a:cubicBezTo>
                      <a:pt x="521" y="2689"/>
                      <a:pt x="0" y="851"/>
                      <a:pt x="0" y="851"/>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4" name="Freeform: Shape 3843">
                <a:extLst>
                  <a:ext uri="{FF2B5EF4-FFF2-40B4-BE49-F238E27FC236}">
                    <a16:creationId xmlns:a16="http://schemas.microsoft.com/office/drawing/2014/main" id="{B29F0F57-B6E9-5520-B552-D89572134D31}"/>
                  </a:ext>
                </a:extLst>
              </p:cNvPr>
              <p:cNvSpPr/>
              <p:nvPr/>
            </p:nvSpPr>
            <p:spPr>
              <a:xfrm>
                <a:off x="1757259" y="3837418"/>
                <a:ext cx="318" cy="312"/>
              </a:xfrm>
              <a:custGeom>
                <a:avLst/>
                <a:gdLst>
                  <a:gd name="connsiteX0" fmla="*/ 2387 w 3045"/>
                  <a:gd name="connsiteY0" fmla="*/ 2497 h 2991"/>
                  <a:gd name="connsiteX1" fmla="*/ 219 w 3045"/>
                  <a:gd name="connsiteY1" fmla="*/ 2992 h 2991"/>
                  <a:gd name="connsiteX2" fmla="*/ 0 w 3045"/>
                  <a:gd name="connsiteY2" fmla="*/ 1208 h 2991"/>
                  <a:gd name="connsiteX3" fmla="*/ 411 w 3045"/>
                  <a:gd name="connsiteY3" fmla="*/ 0 h 2991"/>
                  <a:gd name="connsiteX4" fmla="*/ 3046 w 3045"/>
                  <a:gd name="connsiteY4" fmla="*/ 0 h 2991"/>
                  <a:gd name="connsiteX5" fmla="*/ 2415 w 3045"/>
                  <a:gd name="connsiteY5" fmla="*/ 2497 h 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5" h="2991">
                    <a:moveTo>
                      <a:pt x="2387" y="2497"/>
                    </a:moveTo>
                    <a:lnTo>
                      <a:pt x="219" y="2992"/>
                    </a:lnTo>
                    <a:lnTo>
                      <a:pt x="0" y="1208"/>
                    </a:lnTo>
                    <a:lnTo>
                      <a:pt x="411" y="0"/>
                    </a:lnTo>
                    <a:lnTo>
                      <a:pt x="3046" y="0"/>
                    </a:lnTo>
                    <a:lnTo>
                      <a:pt x="2415"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5" name="Freeform: Shape 3844">
                <a:extLst>
                  <a:ext uri="{FF2B5EF4-FFF2-40B4-BE49-F238E27FC236}">
                    <a16:creationId xmlns:a16="http://schemas.microsoft.com/office/drawing/2014/main" id="{E91F6767-55F0-F74F-FF63-9FEE774FEAAB}"/>
                  </a:ext>
                </a:extLst>
              </p:cNvPr>
              <p:cNvSpPr/>
              <p:nvPr/>
            </p:nvSpPr>
            <p:spPr>
              <a:xfrm>
                <a:off x="1760259" y="3855580"/>
                <a:ext cx="306" cy="312"/>
              </a:xfrm>
              <a:custGeom>
                <a:avLst/>
                <a:gdLst>
                  <a:gd name="connsiteX0" fmla="*/ 2662 w 2935"/>
                  <a:gd name="connsiteY0" fmla="*/ 2991 h 2991"/>
                  <a:gd name="connsiteX1" fmla="*/ 494 w 2935"/>
                  <a:gd name="connsiteY1" fmla="*/ 2991 h 2991"/>
                  <a:gd name="connsiteX2" fmla="*/ 0 w 2935"/>
                  <a:gd name="connsiteY2" fmla="*/ 549 h 2991"/>
                  <a:gd name="connsiteX3" fmla="*/ 2936 w 2935"/>
                  <a:gd name="connsiteY3" fmla="*/ 0 h 2991"/>
                  <a:gd name="connsiteX4" fmla="*/ 2662 w 2935"/>
                  <a:gd name="connsiteY4" fmla="*/ 2991 h 2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 h="2991">
                    <a:moveTo>
                      <a:pt x="2662" y="2991"/>
                    </a:moveTo>
                    <a:lnTo>
                      <a:pt x="494" y="2991"/>
                    </a:lnTo>
                    <a:cubicBezTo>
                      <a:pt x="494" y="2991"/>
                      <a:pt x="0" y="549"/>
                      <a:pt x="0" y="549"/>
                    </a:cubicBezTo>
                    <a:lnTo>
                      <a:pt x="2936" y="0"/>
                    </a:lnTo>
                    <a:lnTo>
                      <a:pt x="2662" y="29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7" name="Freeform: Shape 3846">
                <a:extLst>
                  <a:ext uri="{FF2B5EF4-FFF2-40B4-BE49-F238E27FC236}">
                    <a16:creationId xmlns:a16="http://schemas.microsoft.com/office/drawing/2014/main" id="{AE57BC0B-06EE-9F11-6522-39FE0B224374}"/>
                  </a:ext>
                </a:extLst>
              </p:cNvPr>
              <p:cNvSpPr/>
              <p:nvPr/>
            </p:nvSpPr>
            <p:spPr>
              <a:xfrm>
                <a:off x="1745283" y="3850636"/>
                <a:ext cx="189" cy="189"/>
              </a:xfrm>
              <a:custGeom>
                <a:avLst/>
                <a:gdLst>
                  <a:gd name="connsiteX0" fmla="*/ 0 w 1810"/>
                  <a:gd name="connsiteY0" fmla="*/ 1125 h 1811"/>
                  <a:gd name="connsiteX1" fmla="*/ 549 w 1810"/>
                  <a:gd name="connsiteY1" fmla="*/ 0 h 1811"/>
                  <a:gd name="connsiteX2" fmla="*/ 1811 w 1810"/>
                  <a:gd name="connsiteY2" fmla="*/ 357 h 1811"/>
                  <a:gd name="connsiteX3" fmla="*/ 1509 w 1810"/>
                  <a:gd name="connsiteY3" fmla="*/ 1811 h 1811"/>
                  <a:gd name="connsiteX4" fmla="*/ 0 w 1810"/>
                  <a:gd name="connsiteY4" fmla="*/ 1153 h 1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 h="1811">
                    <a:moveTo>
                      <a:pt x="0" y="1125"/>
                    </a:moveTo>
                    <a:lnTo>
                      <a:pt x="549" y="0"/>
                    </a:lnTo>
                    <a:lnTo>
                      <a:pt x="1811" y="357"/>
                    </a:lnTo>
                    <a:lnTo>
                      <a:pt x="1509" y="1811"/>
                    </a:lnTo>
                    <a:lnTo>
                      <a:pt x="0" y="11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5" name="Freeform: Shape 3954">
                <a:extLst>
                  <a:ext uri="{FF2B5EF4-FFF2-40B4-BE49-F238E27FC236}">
                    <a16:creationId xmlns:a16="http://schemas.microsoft.com/office/drawing/2014/main" id="{50360036-AA37-061B-1E94-EC4978BF8184}"/>
                  </a:ext>
                </a:extLst>
              </p:cNvPr>
              <p:cNvSpPr/>
              <p:nvPr/>
            </p:nvSpPr>
            <p:spPr>
              <a:xfrm>
                <a:off x="1701458" y="3823164"/>
                <a:ext cx="29602" cy="18637"/>
              </a:xfrm>
              <a:custGeom>
                <a:avLst/>
                <a:gdLst>
                  <a:gd name="connsiteX0" fmla="*/ 223551 w 283815"/>
                  <a:gd name="connsiteY0" fmla="*/ 247 h 178681"/>
                  <a:gd name="connsiteX1" fmla="*/ 237931 w 283815"/>
                  <a:gd name="connsiteY1" fmla="*/ 14572 h 178681"/>
                  <a:gd name="connsiteX2" fmla="*/ 239989 w 283815"/>
                  <a:gd name="connsiteY2" fmla="*/ 26839 h 178681"/>
                  <a:gd name="connsiteX3" fmla="*/ 247262 w 283815"/>
                  <a:gd name="connsiteY3" fmla="*/ 28129 h 178681"/>
                  <a:gd name="connsiteX4" fmla="*/ 251817 w 283815"/>
                  <a:gd name="connsiteY4" fmla="*/ 33480 h 178681"/>
                  <a:gd name="connsiteX5" fmla="*/ 259968 w 283815"/>
                  <a:gd name="connsiteY5" fmla="*/ 34688 h 178681"/>
                  <a:gd name="connsiteX6" fmla="*/ 273113 w 283815"/>
                  <a:gd name="connsiteY6" fmla="*/ 42235 h 178681"/>
                  <a:gd name="connsiteX7" fmla="*/ 281758 w 283815"/>
                  <a:gd name="connsiteY7" fmla="*/ 45089 h 178681"/>
                  <a:gd name="connsiteX8" fmla="*/ 283816 w 283815"/>
                  <a:gd name="connsiteY8" fmla="*/ 47641 h 178681"/>
                  <a:gd name="connsiteX9" fmla="*/ 282937 w 283815"/>
                  <a:gd name="connsiteY9" fmla="*/ 51456 h 178681"/>
                  <a:gd name="connsiteX10" fmla="*/ 277504 w 283815"/>
                  <a:gd name="connsiteY10" fmla="*/ 55188 h 178681"/>
                  <a:gd name="connsiteX11" fmla="*/ 256043 w 283815"/>
                  <a:gd name="connsiteY11" fmla="*/ 59551 h 178681"/>
                  <a:gd name="connsiteX12" fmla="*/ 255742 w 283815"/>
                  <a:gd name="connsiteY12" fmla="*/ 64107 h 178681"/>
                  <a:gd name="connsiteX13" fmla="*/ 262410 w 283815"/>
                  <a:gd name="connsiteY13" fmla="*/ 68333 h 178681"/>
                  <a:gd name="connsiteX14" fmla="*/ 264716 w 283815"/>
                  <a:gd name="connsiteY14" fmla="*/ 73684 h 178681"/>
                  <a:gd name="connsiteX15" fmla="*/ 253738 w 283815"/>
                  <a:gd name="connsiteY15" fmla="*/ 78020 h 178681"/>
                  <a:gd name="connsiteX16" fmla="*/ 244133 w 283815"/>
                  <a:gd name="connsiteY16" fmla="*/ 78267 h 178681"/>
                  <a:gd name="connsiteX17" fmla="*/ 245368 w 283815"/>
                  <a:gd name="connsiteY17" fmla="*/ 81506 h 178681"/>
                  <a:gd name="connsiteX18" fmla="*/ 238946 w 283815"/>
                  <a:gd name="connsiteY18" fmla="*/ 81506 h 178681"/>
                  <a:gd name="connsiteX19" fmla="*/ 237300 w 283815"/>
                  <a:gd name="connsiteY19" fmla="*/ 80188 h 178681"/>
                  <a:gd name="connsiteX20" fmla="*/ 236614 w 283815"/>
                  <a:gd name="connsiteY20" fmla="*/ 80188 h 178681"/>
                  <a:gd name="connsiteX21" fmla="*/ 236229 w 283815"/>
                  <a:gd name="connsiteY21" fmla="*/ 81176 h 178681"/>
                  <a:gd name="connsiteX22" fmla="*/ 224896 w 283815"/>
                  <a:gd name="connsiteY22" fmla="*/ 75962 h 178681"/>
                  <a:gd name="connsiteX23" fmla="*/ 207661 w 283815"/>
                  <a:gd name="connsiteY23" fmla="*/ 75248 h 178681"/>
                  <a:gd name="connsiteX24" fmla="*/ 202694 w 283815"/>
                  <a:gd name="connsiteY24" fmla="*/ 76977 h 178681"/>
                  <a:gd name="connsiteX25" fmla="*/ 196574 w 283815"/>
                  <a:gd name="connsiteY25" fmla="*/ 75358 h 178681"/>
                  <a:gd name="connsiteX26" fmla="*/ 191580 w 283815"/>
                  <a:gd name="connsiteY26" fmla="*/ 77115 h 178681"/>
                  <a:gd name="connsiteX27" fmla="*/ 186256 w 283815"/>
                  <a:gd name="connsiteY27" fmla="*/ 76017 h 178681"/>
                  <a:gd name="connsiteX28" fmla="*/ 181837 w 283815"/>
                  <a:gd name="connsiteY28" fmla="*/ 80353 h 178681"/>
                  <a:gd name="connsiteX29" fmla="*/ 177612 w 283815"/>
                  <a:gd name="connsiteY29" fmla="*/ 88833 h 178681"/>
                  <a:gd name="connsiteX30" fmla="*/ 178517 w 283815"/>
                  <a:gd name="connsiteY30" fmla="*/ 101868 h 178681"/>
                  <a:gd name="connsiteX31" fmla="*/ 175389 w 283815"/>
                  <a:gd name="connsiteY31" fmla="*/ 112846 h 178681"/>
                  <a:gd name="connsiteX32" fmla="*/ 173440 w 283815"/>
                  <a:gd name="connsiteY32" fmla="*/ 115014 h 178681"/>
                  <a:gd name="connsiteX33" fmla="*/ 168116 w 283815"/>
                  <a:gd name="connsiteY33" fmla="*/ 115837 h 178681"/>
                  <a:gd name="connsiteX34" fmla="*/ 164685 w 283815"/>
                  <a:gd name="connsiteY34" fmla="*/ 119185 h 178681"/>
                  <a:gd name="connsiteX35" fmla="*/ 163560 w 283815"/>
                  <a:gd name="connsiteY35" fmla="*/ 125936 h 178681"/>
                  <a:gd name="connsiteX36" fmla="*/ 165976 w 283815"/>
                  <a:gd name="connsiteY36" fmla="*/ 130437 h 178681"/>
                  <a:gd name="connsiteX37" fmla="*/ 154669 w 283815"/>
                  <a:gd name="connsiteY37" fmla="*/ 138697 h 178681"/>
                  <a:gd name="connsiteX38" fmla="*/ 155630 w 283815"/>
                  <a:gd name="connsiteY38" fmla="*/ 147561 h 178681"/>
                  <a:gd name="connsiteX39" fmla="*/ 152446 w 283815"/>
                  <a:gd name="connsiteY39" fmla="*/ 150333 h 178681"/>
                  <a:gd name="connsiteX40" fmla="*/ 147205 w 283815"/>
                  <a:gd name="connsiteY40" fmla="*/ 160788 h 178681"/>
                  <a:gd name="connsiteX41" fmla="*/ 130080 w 283815"/>
                  <a:gd name="connsiteY41" fmla="*/ 161969 h 178681"/>
                  <a:gd name="connsiteX42" fmla="*/ 120585 w 283815"/>
                  <a:gd name="connsiteY42" fmla="*/ 167347 h 178681"/>
                  <a:gd name="connsiteX43" fmla="*/ 102994 w 283815"/>
                  <a:gd name="connsiteY43" fmla="*/ 162380 h 178681"/>
                  <a:gd name="connsiteX44" fmla="*/ 100771 w 283815"/>
                  <a:gd name="connsiteY44" fmla="*/ 158181 h 178681"/>
                  <a:gd name="connsiteX45" fmla="*/ 87131 w 283815"/>
                  <a:gd name="connsiteY45" fmla="*/ 157962 h 178681"/>
                  <a:gd name="connsiteX46" fmla="*/ 79777 w 283815"/>
                  <a:gd name="connsiteY46" fmla="*/ 161035 h 178681"/>
                  <a:gd name="connsiteX47" fmla="*/ 75523 w 283815"/>
                  <a:gd name="connsiteY47" fmla="*/ 169625 h 178681"/>
                  <a:gd name="connsiteX48" fmla="*/ 69074 w 283815"/>
                  <a:gd name="connsiteY48" fmla="*/ 172698 h 178681"/>
                  <a:gd name="connsiteX49" fmla="*/ 66742 w 283815"/>
                  <a:gd name="connsiteY49" fmla="*/ 174592 h 178681"/>
                  <a:gd name="connsiteX50" fmla="*/ 42345 w 283815"/>
                  <a:gd name="connsiteY50" fmla="*/ 173577 h 178681"/>
                  <a:gd name="connsiteX51" fmla="*/ 29721 w 283815"/>
                  <a:gd name="connsiteY51" fmla="*/ 178681 h 178681"/>
                  <a:gd name="connsiteX52" fmla="*/ 21598 w 283815"/>
                  <a:gd name="connsiteY52" fmla="*/ 174372 h 178681"/>
                  <a:gd name="connsiteX53" fmla="*/ 18470 w 283815"/>
                  <a:gd name="connsiteY53" fmla="*/ 169625 h 178681"/>
                  <a:gd name="connsiteX54" fmla="*/ 3760 w 283815"/>
                  <a:gd name="connsiteY54" fmla="*/ 156809 h 178681"/>
                  <a:gd name="connsiteX55" fmla="*/ 3376 w 283815"/>
                  <a:gd name="connsiteY55" fmla="*/ 152171 h 178681"/>
                  <a:gd name="connsiteX56" fmla="*/ 0 w 283815"/>
                  <a:gd name="connsiteY56" fmla="*/ 148055 h 178681"/>
                  <a:gd name="connsiteX57" fmla="*/ 2608 w 283815"/>
                  <a:gd name="connsiteY57" fmla="*/ 143005 h 178681"/>
                  <a:gd name="connsiteX58" fmla="*/ 4089 w 283815"/>
                  <a:gd name="connsiteY58" fmla="*/ 148768 h 178681"/>
                  <a:gd name="connsiteX59" fmla="*/ 10621 w 283815"/>
                  <a:gd name="connsiteY59" fmla="*/ 153406 h 178681"/>
                  <a:gd name="connsiteX60" fmla="*/ 24507 w 283815"/>
                  <a:gd name="connsiteY60" fmla="*/ 153159 h 178681"/>
                  <a:gd name="connsiteX61" fmla="*/ 28980 w 283815"/>
                  <a:gd name="connsiteY61" fmla="*/ 156754 h 178681"/>
                  <a:gd name="connsiteX62" fmla="*/ 43195 w 283815"/>
                  <a:gd name="connsiteY62" fmla="*/ 160898 h 178681"/>
                  <a:gd name="connsiteX63" fmla="*/ 42949 w 283815"/>
                  <a:gd name="connsiteY63" fmla="*/ 156754 h 178681"/>
                  <a:gd name="connsiteX64" fmla="*/ 48437 w 283815"/>
                  <a:gd name="connsiteY64" fmla="*/ 143033 h 178681"/>
                  <a:gd name="connsiteX65" fmla="*/ 48163 w 283815"/>
                  <a:gd name="connsiteY65" fmla="*/ 136172 h 178681"/>
                  <a:gd name="connsiteX66" fmla="*/ 50852 w 283815"/>
                  <a:gd name="connsiteY66" fmla="*/ 131452 h 178681"/>
                  <a:gd name="connsiteX67" fmla="*/ 51593 w 283815"/>
                  <a:gd name="connsiteY67" fmla="*/ 123685 h 178681"/>
                  <a:gd name="connsiteX68" fmla="*/ 54913 w 283815"/>
                  <a:gd name="connsiteY68" fmla="*/ 125853 h 178681"/>
                  <a:gd name="connsiteX69" fmla="*/ 61939 w 283815"/>
                  <a:gd name="connsiteY69" fmla="*/ 120392 h 178681"/>
                  <a:gd name="connsiteX70" fmla="*/ 69074 w 283815"/>
                  <a:gd name="connsiteY70" fmla="*/ 118581 h 178681"/>
                  <a:gd name="connsiteX71" fmla="*/ 99810 w 283815"/>
                  <a:gd name="connsiteY71" fmla="*/ 111665 h 178681"/>
                  <a:gd name="connsiteX72" fmla="*/ 114657 w 283815"/>
                  <a:gd name="connsiteY72" fmla="*/ 93059 h 178681"/>
                  <a:gd name="connsiteX73" fmla="*/ 123247 w 283815"/>
                  <a:gd name="connsiteY73" fmla="*/ 85649 h 178681"/>
                  <a:gd name="connsiteX74" fmla="*/ 125113 w 283815"/>
                  <a:gd name="connsiteY74" fmla="*/ 82741 h 178681"/>
                  <a:gd name="connsiteX75" fmla="*/ 127391 w 283815"/>
                  <a:gd name="connsiteY75" fmla="*/ 80051 h 178681"/>
                  <a:gd name="connsiteX76" fmla="*/ 129915 w 283815"/>
                  <a:gd name="connsiteY76" fmla="*/ 74782 h 178681"/>
                  <a:gd name="connsiteX77" fmla="*/ 130053 w 283815"/>
                  <a:gd name="connsiteY77" fmla="*/ 69842 h 178681"/>
                  <a:gd name="connsiteX78" fmla="*/ 132824 w 283815"/>
                  <a:gd name="connsiteY78" fmla="*/ 68909 h 178681"/>
                  <a:gd name="connsiteX79" fmla="*/ 137654 w 283815"/>
                  <a:gd name="connsiteY79" fmla="*/ 71105 h 178681"/>
                  <a:gd name="connsiteX80" fmla="*/ 140755 w 283815"/>
                  <a:gd name="connsiteY80" fmla="*/ 78158 h 178681"/>
                  <a:gd name="connsiteX81" fmla="*/ 144378 w 283815"/>
                  <a:gd name="connsiteY81" fmla="*/ 80024 h 178681"/>
                  <a:gd name="connsiteX82" fmla="*/ 149619 w 283815"/>
                  <a:gd name="connsiteY82" fmla="*/ 85649 h 178681"/>
                  <a:gd name="connsiteX83" fmla="*/ 152748 w 283815"/>
                  <a:gd name="connsiteY83" fmla="*/ 83893 h 178681"/>
                  <a:gd name="connsiteX84" fmla="*/ 154944 w 283815"/>
                  <a:gd name="connsiteY84" fmla="*/ 79996 h 178681"/>
                  <a:gd name="connsiteX85" fmla="*/ 156261 w 283815"/>
                  <a:gd name="connsiteY85" fmla="*/ 74535 h 178681"/>
                  <a:gd name="connsiteX86" fmla="*/ 154038 w 283815"/>
                  <a:gd name="connsiteY86" fmla="*/ 64820 h 178681"/>
                  <a:gd name="connsiteX87" fmla="*/ 160460 w 283815"/>
                  <a:gd name="connsiteY87" fmla="*/ 59908 h 178681"/>
                  <a:gd name="connsiteX88" fmla="*/ 160734 w 283815"/>
                  <a:gd name="connsiteY88" fmla="*/ 61692 h 178681"/>
                  <a:gd name="connsiteX89" fmla="*/ 161200 w 283815"/>
                  <a:gd name="connsiteY89" fmla="*/ 62488 h 178681"/>
                  <a:gd name="connsiteX90" fmla="*/ 163149 w 283815"/>
                  <a:gd name="connsiteY90" fmla="*/ 74288 h 178681"/>
                  <a:gd name="connsiteX91" fmla="*/ 169955 w 283815"/>
                  <a:gd name="connsiteY91" fmla="*/ 76621 h 178681"/>
                  <a:gd name="connsiteX92" fmla="*/ 166963 w 283815"/>
                  <a:gd name="connsiteY92" fmla="*/ 63064 h 178681"/>
                  <a:gd name="connsiteX93" fmla="*/ 164658 w 283815"/>
                  <a:gd name="connsiteY93" fmla="*/ 59277 h 178681"/>
                  <a:gd name="connsiteX94" fmla="*/ 173358 w 283815"/>
                  <a:gd name="connsiteY94" fmla="*/ 55407 h 178681"/>
                  <a:gd name="connsiteX95" fmla="*/ 173769 w 283815"/>
                  <a:gd name="connsiteY95" fmla="*/ 44046 h 178681"/>
                  <a:gd name="connsiteX96" fmla="*/ 186064 w 283815"/>
                  <a:gd name="connsiteY96" fmla="*/ 36444 h 178681"/>
                  <a:gd name="connsiteX97" fmla="*/ 209885 w 283815"/>
                  <a:gd name="connsiteY97" fmla="*/ 1235 h 178681"/>
                  <a:gd name="connsiteX98" fmla="*/ 212683 w 283815"/>
                  <a:gd name="connsiteY98" fmla="*/ 1098 h 178681"/>
                  <a:gd name="connsiteX99" fmla="*/ 215730 w 283815"/>
                  <a:gd name="connsiteY99" fmla="*/ 5406 h 178681"/>
                  <a:gd name="connsiteX100" fmla="*/ 223469 w 283815"/>
                  <a:gd name="connsiteY100" fmla="*/ 0 h 1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83815" h="178681">
                    <a:moveTo>
                      <a:pt x="223551" y="247"/>
                    </a:moveTo>
                    <a:lnTo>
                      <a:pt x="237931" y="14572"/>
                    </a:lnTo>
                    <a:lnTo>
                      <a:pt x="239989" y="26839"/>
                    </a:lnTo>
                    <a:lnTo>
                      <a:pt x="247262" y="28129"/>
                    </a:lnTo>
                    <a:lnTo>
                      <a:pt x="251817" y="33480"/>
                    </a:lnTo>
                    <a:lnTo>
                      <a:pt x="259968" y="34688"/>
                    </a:lnTo>
                    <a:lnTo>
                      <a:pt x="273113" y="42235"/>
                    </a:lnTo>
                    <a:lnTo>
                      <a:pt x="281758" y="45089"/>
                    </a:lnTo>
                    <a:lnTo>
                      <a:pt x="283816" y="47641"/>
                    </a:lnTo>
                    <a:lnTo>
                      <a:pt x="282937" y="51456"/>
                    </a:lnTo>
                    <a:lnTo>
                      <a:pt x="277504" y="55188"/>
                    </a:lnTo>
                    <a:lnTo>
                      <a:pt x="256043" y="59551"/>
                    </a:lnTo>
                    <a:lnTo>
                      <a:pt x="255742" y="64107"/>
                    </a:lnTo>
                    <a:lnTo>
                      <a:pt x="262410" y="68333"/>
                    </a:lnTo>
                    <a:lnTo>
                      <a:pt x="264716" y="73684"/>
                    </a:lnTo>
                    <a:lnTo>
                      <a:pt x="253738" y="78020"/>
                    </a:lnTo>
                    <a:lnTo>
                      <a:pt x="244133" y="78267"/>
                    </a:lnTo>
                    <a:lnTo>
                      <a:pt x="245368" y="81506"/>
                    </a:lnTo>
                    <a:lnTo>
                      <a:pt x="238946" y="81506"/>
                    </a:lnTo>
                    <a:cubicBezTo>
                      <a:pt x="238946" y="81506"/>
                      <a:pt x="237300" y="80188"/>
                      <a:pt x="237300" y="80188"/>
                    </a:cubicBezTo>
                    <a:lnTo>
                      <a:pt x="236614" y="80188"/>
                    </a:lnTo>
                    <a:lnTo>
                      <a:pt x="236229" y="81176"/>
                    </a:lnTo>
                    <a:lnTo>
                      <a:pt x="224896" y="75962"/>
                    </a:lnTo>
                    <a:lnTo>
                      <a:pt x="207661" y="75248"/>
                    </a:lnTo>
                    <a:lnTo>
                      <a:pt x="202694" y="76977"/>
                    </a:lnTo>
                    <a:lnTo>
                      <a:pt x="196574" y="75358"/>
                    </a:lnTo>
                    <a:lnTo>
                      <a:pt x="191580" y="77115"/>
                    </a:lnTo>
                    <a:lnTo>
                      <a:pt x="186256" y="76017"/>
                    </a:lnTo>
                    <a:lnTo>
                      <a:pt x="181837" y="80353"/>
                    </a:lnTo>
                    <a:lnTo>
                      <a:pt x="177612" y="88833"/>
                    </a:lnTo>
                    <a:lnTo>
                      <a:pt x="178517" y="101868"/>
                    </a:lnTo>
                    <a:lnTo>
                      <a:pt x="175389" y="112846"/>
                    </a:lnTo>
                    <a:lnTo>
                      <a:pt x="173440" y="115014"/>
                    </a:lnTo>
                    <a:lnTo>
                      <a:pt x="168116" y="115837"/>
                    </a:lnTo>
                    <a:lnTo>
                      <a:pt x="164685" y="119185"/>
                    </a:lnTo>
                    <a:lnTo>
                      <a:pt x="163560" y="125936"/>
                    </a:lnTo>
                    <a:lnTo>
                      <a:pt x="165976" y="130437"/>
                    </a:lnTo>
                    <a:lnTo>
                      <a:pt x="154669" y="138697"/>
                    </a:lnTo>
                    <a:lnTo>
                      <a:pt x="155630" y="147561"/>
                    </a:lnTo>
                    <a:lnTo>
                      <a:pt x="152446" y="150333"/>
                    </a:lnTo>
                    <a:lnTo>
                      <a:pt x="147205" y="160788"/>
                    </a:lnTo>
                    <a:lnTo>
                      <a:pt x="130080" y="161969"/>
                    </a:lnTo>
                    <a:lnTo>
                      <a:pt x="120585" y="167347"/>
                    </a:lnTo>
                    <a:lnTo>
                      <a:pt x="102994" y="162380"/>
                    </a:lnTo>
                    <a:lnTo>
                      <a:pt x="100771" y="158181"/>
                    </a:lnTo>
                    <a:lnTo>
                      <a:pt x="87131" y="157962"/>
                    </a:lnTo>
                    <a:lnTo>
                      <a:pt x="79777" y="161035"/>
                    </a:lnTo>
                    <a:lnTo>
                      <a:pt x="75523" y="169625"/>
                    </a:lnTo>
                    <a:lnTo>
                      <a:pt x="69074" y="172698"/>
                    </a:lnTo>
                    <a:lnTo>
                      <a:pt x="66742" y="174592"/>
                    </a:lnTo>
                    <a:lnTo>
                      <a:pt x="42345" y="173577"/>
                    </a:lnTo>
                    <a:lnTo>
                      <a:pt x="29721" y="178681"/>
                    </a:lnTo>
                    <a:lnTo>
                      <a:pt x="21598" y="174372"/>
                    </a:lnTo>
                    <a:lnTo>
                      <a:pt x="18470" y="169625"/>
                    </a:lnTo>
                    <a:lnTo>
                      <a:pt x="3760" y="156809"/>
                    </a:lnTo>
                    <a:lnTo>
                      <a:pt x="3376" y="152171"/>
                    </a:lnTo>
                    <a:lnTo>
                      <a:pt x="0" y="148055"/>
                    </a:lnTo>
                    <a:lnTo>
                      <a:pt x="2608" y="143005"/>
                    </a:lnTo>
                    <a:lnTo>
                      <a:pt x="4089" y="148768"/>
                    </a:lnTo>
                    <a:lnTo>
                      <a:pt x="10621" y="153406"/>
                    </a:lnTo>
                    <a:lnTo>
                      <a:pt x="24507" y="153159"/>
                    </a:lnTo>
                    <a:lnTo>
                      <a:pt x="28980" y="156754"/>
                    </a:lnTo>
                    <a:lnTo>
                      <a:pt x="43195" y="160898"/>
                    </a:lnTo>
                    <a:lnTo>
                      <a:pt x="42949" y="156754"/>
                    </a:lnTo>
                    <a:lnTo>
                      <a:pt x="48437" y="143033"/>
                    </a:lnTo>
                    <a:lnTo>
                      <a:pt x="48163" y="136172"/>
                    </a:lnTo>
                    <a:lnTo>
                      <a:pt x="50852" y="131452"/>
                    </a:lnTo>
                    <a:lnTo>
                      <a:pt x="51593" y="123685"/>
                    </a:lnTo>
                    <a:lnTo>
                      <a:pt x="54913" y="125853"/>
                    </a:lnTo>
                    <a:lnTo>
                      <a:pt x="61939" y="120392"/>
                    </a:lnTo>
                    <a:lnTo>
                      <a:pt x="69074" y="118581"/>
                    </a:lnTo>
                    <a:lnTo>
                      <a:pt x="99810" y="111665"/>
                    </a:lnTo>
                    <a:lnTo>
                      <a:pt x="114657" y="93059"/>
                    </a:lnTo>
                    <a:lnTo>
                      <a:pt x="123247" y="85649"/>
                    </a:lnTo>
                    <a:lnTo>
                      <a:pt x="125113" y="82741"/>
                    </a:lnTo>
                    <a:lnTo>
                      <a:pt x="127391" y="80051"/>
                    </a:lnTo>
                    <a:lnTo>
                      <a:pt x="129915" y="74782"/>
                    </a:lnTo>
                    <a:lnTo>
                      <a:pt x="130053" y="69842"/>
                    </a:lnTo>
                    <a:lnTo>
                      <a:pt x="132824" y="68909"/>
                    </a:lnTo>
                    <a:lnTo>
                      <a:pt x="137654" y="71105"/>
                    </a:lnTo>
                    <a:lnTo>
                      <a:pt x="140755" y="78158"/>
                    </a:lnTo>
                    <a:lnTo>
                      <a:pt x="144378" y="80024"/>
                    </a:lnTo>
                    <a:lnTo>
                      <a:pt x="149619" y="85649"/>
                    </a:lnTo>
                    <a:lnTo>
                      <a:pt x="152748" y="83893"/>
                    </a:lnTo>
                    <a:lnTo>
                      <a:pt x="154944" y="79996"/>
                    </a:lnTo>
                    <a:lnTo>
                      <a:pt x="156261" y="74535"/>
                    </a:lnTo>
                    <a:lnTo>
                      <a:pt x="154038" y="64820"/>
                    </a:lnTo>
                    <a:lnTo>
                      <a:pt x="160460" y="59908"/>
                    </a:lnTo>
                    <a:lnTo>
                      <a:pt x="160734" y="61692"/>
                    </a:lnTo>
                    <a:lnTo>
                      <a:pt x="161200" y="62488"/>
                    </a:lnTo>
                    <a:lnTo>
                      <a:pt x="163149" y="74288"/>
                    </a:lnTo>
                    <a:lnTo>
                      <a:pt x="169955" y="76621"/>
                    </a:lnTo>
                    <a:lnTo>
                      <a:pt x="166963" y="63064"/>
                    </a:lnTo>
                    <a:lnTo>
                      <a:pt x="164658" y="59277"/>
                    </a:lnTo>
                    <a:lnTo>
                      <a:pt x="173358" y="55407"/>
                    </a:lnTo>
                    <a:lnTo>
                      <a:pt x="173769" y="44046"/>
                    </a:lnTo>
                    <a:lnTo>
                      <a:pt x="186064" y="36444"/>
                    </a:lnTo>
                    <a:lnTo>
                      <a:pt x="209885" y="1235"/>
                    </a:lnTo>
                    <a:lnTo>
                      <a:pt x="212683" y="1098"/>
                    </a:lnTo>
                    <a:lnTo>
                      <a:pt x="215730" y="5406"/>
                    </a:lnTo>
                    <a:lnTo>
                      <a:pt x="223469"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7" name="Freeform: Shape 3956">
                <a:extLst>
                  <a:ext uri="{FF2B5EF4-FFF2-40B4-BE49-F238E27FC236}">
                    <a16:creationId xmlns:a16="http://schemas.microsoft.com/office/drawing/2014/main" id="{F4FA2ACC-FA12-599C-10A3-38ECB5AD21D6}"/>
                  </a:ext>
                </a:extLst>
              </p:cNvPr>
              <p:cNvSpPr/>
              <p:nvPr/>
            </p:nvSpPr>
            <p:spPr>
              <a:xfrm>
                <a:off x="1724477" y="3821841"/>
                <a:ext cx="741" cy="650"/>
              </a:xfrm>
              <a:custGeom>
                <a:avLst/>
                <a:gdLst>
                  <a:gd name="connsiteX0" fmla="*/ 4912 w 7107"/>
                  <a:gd name="connsiteY0" fmla="*/ 4857 h 6229"/>
                  <a:gd name="connsiteX1" fmla="*/ 1345 w 7107"/>
                  <a:gd name="connsiteY1" fmla="*/ 6230 h 6229"/>
                  <a:gd name="connsiteX2" fmla="*/ 0 w 7107"/>
                  <a:gd name="connsiteY2" fmla="*/ 4830 h 6229"/>
                  <a:gd name="connsiteX3" fmla="*/ 247 w 7107"/>
                  <a:gd name="connsiteY3" fmla="*/ 1756 h 6229"/>
                  <a:gd name="connsiteX4" fmla="*/ 2772 w 7107"/>
                  <a:gd name="connsiteY4" fmla="*/ 55 h 6229"/>
                  <a:gd name="connsiteX5" fmla="*/ 6531 w 7107"/>
                  <a:gd name="connsiteY5" fmla="*/ 0 h 6229"/>
                  <a:gd name="connsiteX6" fmla="*/ 7107 w 7107"/>
                  <a:gd name="connsiteY6" fmla="*/ 1537 h 6229"/>
                  <a:gd name="connsiteX7" fmla="*/ 4940 w 7107"/>
                  <a:gd name="connsiteY7" fmla="*/ 4857 h 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07" h="6229">
                    <a:moveTo>
                      <a:pt x="4912" y="4857"/>
                    </a:moveTo>
                    <a:lnTo>
                      <a:pt x="1345" y="6230"/>
                    </a:lnTo>
                    <a:lnTo>
                      <a:pt x="0" y="4830"/>
                    </a:lnTo>
                    <a:lnTo>
                      <a:pt x="247" y="1756"/>
                    </a:lnTo>
                    <a:lnTo>
                      <a:pt x="2772" y="55"/>
                    </a:lnTo>
                    <a:lnTo>
                      <a:pt x="6531" y="0"/>
                    </a:lnTo>
                    <a:lnTo>
                      <a:pt x="7107" y="1537"/>
                    </a:lnTo>
                    <a:lnTo>
                      <a:pt x="4940" y="48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2" name="Freeform: Shape 3961">
                <a:extLst>
                  <a:ext uri="{FF2B5EF4-FFF2-40B4-BE49-F238E27FC236}">
                    <a16:creationId xmlns:a16="http://schemas.microsoft.com/office/drawing/2014/main" id="{85A02E1B-1233-AFAF-5DEC-6D5125D3ED61}"/>
                  </a:ext>
                </a:extLst>
              </p:cNvPr>
              <p:cNvSpPr/>
              <p:nvPr/>
            </p:nvSpPr>
            <p:spPr>
              <a:xfrm>
                <a:off x="1725035" y="3822543"/>
                <a:ext cx="338" cy="432"/>
              </a:xfrm>
              <a:custGeom>
                <a:avLst/>
                <a:gdLst>
                  <a:gd name="connsiteX0" fmla="*/ 3238 w 3238"/>
                  <a:gd name="connsiteY0" fmla="*/ 1921 h 4143"/>
                  <a:gd name="connsiteX1" fmla="*/ 2003 w 3238"/>
                  <a:gd name="connsiteY1" fmla="*/ 4144 h 4143"/>
                  <a:gd name="connsiteX2" fmla="*/ 0 w 3238"/>
                  <a:gd name="connsiteY2" fmla="*/ 2525 h 4143"/>
                  <a:gd name="connsiteX3" fmla="*/ 823 w 3238"/>
                  <a:gd name="connsiteY3" fmla="*/ 0 h 4143"/>
                  <a:gd name="connsiteX4" fmla="*/ 3238 w 3238"/>
                  <a:gd name="connsiteY4" fmla="*/ 1894 h 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4143">
                    <a:moveTo>
                      <a:pt x="3238" y="1921"/>
                    </a:moveTo>
                    <a:lnTo>
                      <a:pt x="2003" y="4144"/>
                    </a:lnTo>
                    <a:lnTo>
                      <a:pt x="0" y="2525"/>
                    </a:lnTo>
                    <a:lnTo>
                      <a:pt x="823" y="0"/>
                    </a:lnTo>
                    <a:lnTo>
                      <a:pt x="3238" y="1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4" name="Freeform: Shape 3963">
                <a:extLst>
                  <a:ext uri="{FF2B5EF4-FFF2-40B4-BE49-F238E27FC236}">
                    <a16:creationId xmlns:a16="http://schemas.microsoft.com/office/drawing/2014/main" id="{AA0C5130-344C-1A2E-CCC6-F9CC1D6E8D1D}"/>
                  </a:ext>
                </a:extLst>
              </p:cNvPr>
              <p:cNvSpPr/>
              <p:nvPr/>
            </p:nvSpPr>
            <p:spPr>
              <a:xfrm>
                <a:off x="1723833" y="3821953"/>
                <a:ext cx="429" cy="232"/>
              </a:xfrm>
              <a:custGeom>
                <a:avLst/>
                <a:gdLst>
                  <a:gd name="connsiteX0" fmla="*/ 3787 w 4116"/>
                  <a:gd name="connsiteY0" fmla="*/ 27 h 2222"/>
                  <a:gd name="connsiteX1" fmla="*/ 4116 w 4116"/>
                  <a:gd name="connsiteY1" fmla="*/ 2223 h 2222"/>
                  <a:gd name="connsiteX2" fmla="*/ 0 w 4116"/>
                  <a:gd name="connsiteY2" fmla="*/ 2223 h 2222"/>
                  <a:gd name="connsiteX3" fmla="*/ 521 w 4116"/>
                  <a:gd name="connsiteY3" fmla="*/ 576 h 2222"/>
                  <a:gd name="connsiteX4" fmla="*/ 3787 w 4116"/>
                  <a:gd name="connsiteY4" fmla="*/ 0 h 2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2222">
                    <a:moveTo>
                      <a:pt x="3787" y="27"/>
                    </a:moveTo>
                    <a:lnTo>
                      <a:pt x="4116" y="2223"/>
                    </a:lnTo>
                    <a:lnTo>
                      <a:pt x="0" y="2223"/>
                    </a:lnTo>
                    <a:cubicBezTo>
                      <a:pt x="0" y="2223"/>
                      <a:pt x="521" y="576"/>
                      <a:pt x="521" y="576"/>
                    </a:cubicBezTo>
                    <a:lnTo>
                      <a:pt x="378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9" name="Freeform: Shape 3968">
                <a:extLst>
                  <a:ext uri="{FF2B5EF4-FFF2-40B4-BE49-F238E27FC236}">
                    <a16:creationId xmlns:a16="http://schemas.microsoft.com/office/drawing/2014/main" id="{B8B826D1-2516-A1C1-FFE4-D489B61C5A8F}"/>
                  </a:ext>
                </a:extLst>
              </p:cNvPr>
              <p:cNvSpPr/>
              <p:nvPr/>
            </p:nvSpPr>
            <p:spPr>
              <a:xfrm>
                <a:off x="1868564" y="3907700"/>
                <a:ext cx="9137" cy="7127"/>
              </a:xfrm>
              <a:custGeom>
                <a:avLst/>
                <a:gdLst>
                  <a:gd name="connsiteX0" fmla="*/ 85732 w 87598"/>
                  <a:gd name="connsiteY0" fmla="*/ 61417 h 68333"/>
                  <a:gd name="connsiteX1" fmla="*/ 87598 w 87598"/>
                  <a:gd name="connsiteY1" fmla="*/ 65396 h 68333"/>
                  <a:gd name="connsiteX2" fmla="*/ 85677 w 87598"/>
                  <a:gd name="connsiteY2" fmla="*/ 68333 h 68333"/>
                  <a:gd name="connsiteX3" fmla="*/ 74563 w 87598"/>
                  <a:gd name="connsiteY3" fmla="*/ 65177 h 68333"/>
                  <a:gd name="connsiteX4" fmla="*/ 71050 w 87598"/>
                  <a:gd name="connsiteY4" fmla="*/ 65726 h 68333"/>
                  <a:gd name="connsiteX5" fmla="*/ 64326 w 87598"/>
                  <a:gd name="connsiteY5" fmla="*/ 61445 h 68333"/>
                  <a:gd name="connsiteX6" fmla="*/ 59688 w 87598"/>
                  <a:gd name="connsiteY6" fmla="*/ 55380 h 68333"/>
                  <a:gd name="connsiteX7" fmla="*/ 27498 w 87598"/>
                  <a:gd name="connsiteY7" fmla="*/ 36362 h 68333"/>
                  <a:gd name="connsiteX8" fmla="*/ 23656 w 87598"/>
                  <a:gd name="connsiteY8" fmla="*/ 28596 h 68333"/>
                  <a:gd name="connsiteX9" fmla="*/ 10977 w 87598"/>
                  <a:gd name="connsiteY9" fmla="*/ 17838 h 68333"/>
                  <a:gd name="connsiteX10" fmla="*/ 5132 w 87598"/>
                  <a:gd name="connsiteY10" fmla="*/ 9852 h 68333"/>
                  <a:gd name="connsiteX11" fmla="*/ 3430 w 87598"/>
                  <a:gd name="connsiteY11" fmla="*/ 4775 h 68333"/>
                  <a:gd name="connsiteX12" fmla="*/ 0 w 87598"/>
                  <a:gd name="connsiteY12" fmla="*/ 1976 h 68333"/>
                  <a:gd name="connsiteX13" fmla="*/ 137 w 87598"/>
                  <a:gd name="connsiteY13" fmla="*/ 0 h 68333"/>
                  <a:gd name="connsiteX14" fmla="*/ 10566 w 87598"/>
                  <a:gd name="connsiteY14" fmla="*/ 2497 h 68333"/>
                  <a:gd name="connsiteX15" fmla="*/ 24534 w 87598"/>
                  <a:gd name="connsiteY15" fmla="*/ 13282 h 68333"/>
                  <a:gd name="connsiteX16" fmla="*/ 35155 w 87598"/>
                  <a:gd name="connsiteY16" fmla="*/ 19128 h 68333"/>
                  <a:gd name="connsiteX17" fmla="*/ 48025 w 87598"/>
                  <a:gd name="connsiteY17" fmla="*/ 34002 h 68333"/>
                  <a:gd name="connsiteX18" fmla="*/ 70583 w 87598"/>
                  <a:gd name="connsiteY18" fmla="*/ 47723 h 68333"/>
                  <a:gd name="connsiteX19" fmla="*/ 85704 w 87598"/>
                  <a:gd name="connsiteY19" fmla="*/ 61445 h 6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598" h="68333">
                    <a:moveTo>
                      <a:pt x="85732" y="61417"/>
                    </a:moveTo>
                    <a:lnTo>
                      <a:pt x="87598" y="65396"/>
                    </a:lnTo>
                    <a:lnTo>
                      <a:pt x="85677" y="68333"/>
                    </a:lnTo>
                    <a:lnTo>
                      <a:pt x="74563" y="65177"/>
                    </a:lnTo>
                    <a:lnTo>
                      <a:pt x="71050" y="65726"/>
                    </a:lnTo>
                    <a:lnTo>
                      <a:pt x="64326" y="61445"/>
                    </a:lnTo>
                    <a:lnTo>
                      <a:pt x="59688" y="55380"/>
                    </a:lnTo>
                    <a:lnTo>
                      <a:pt x="27498" y="36362"/>
                    </a:lnTo>
                    <a:lnTo>
                      <a:pt x="23656" y="28596"/>
                    </a:lnTo>
                    <a:lnTo>
                      <a:pt x="10977" y="17838"/>
                    </a:lnTo>
                    <a:lnTo>
                      <a:pt x="5132" y="9852"/>
                    </a:lnTo>
                    <a:lnTo>
                      <a:pt x="3430" y="4775"/>
                    </a:lnTo>
                    <a:lnTo>
                      <a:pt x="0" y="1976"/>
                    </a:lnTo>
                    <a:lnTo>
                      <a:pt x="137" y="0"/>
                    </a:lnTo>
                    <a:lnTo>
                      <a:pt x="10566" y="2497"/>
                    </a:lnTo>
                    <a:lnTo>
                      <a:pt x="24534" y="13282"/>
                    </a:lnTo>
                    <a:lnTo>
                      <a:pt x="35155" y="19128"/>
                    </a:lnTo>
                    <a:lnTo>
                      <a:pt x="48025" y="34002"/>
                    </a:lnTo>
                    <a:lnTo>
                      <a:pt x="70583" y="47723"/>
                    </a:lnTo>
                    <a:lnTo>
                      <a:pt x="85704" y="614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0" name="Freeform: Shape 3969">
                <a:extLst>
                  <a:ext uri="{FF2B5EF4-FFF2-40B4-BE49-F238E27FC236}">
                    <a16:creationId xmlns:a16="http://schemas.microsoft.com/office/drawing/2014/main" id="{5DF50E76-EA04-9F74-5DE4-BAAEDE205A3A}"/>
                  </a:ext>
                </a:extLst>
              </p:cNvPr>
              <p:cNvSpPr/>
              <p:nvPr/>
            </p:nvSpPr>
            <p:spPr>
              <a:xfrm>
                <a:off x="1877772" y="3909323"/>
                <a:ext cx="1308" cy="1652"/>
              </a:xfrm>
              <a:custGeom>
                <a:avLst/>
                <a:gdLst>
                  <a:gd name="connsiteX0" fmla="*/ 11361 w 12540"/>
                  <a:gd name="connsiteY0" fmla="*/ 15231 h 15834"/>
                  <a:gd name="connsiteX1" fmla="*/ 9193 w 12540"/>
                  <a:gd name="connsiteY1" fmla="*/ 15835 h 15834"/>
                  <a:gd name="connsiteX2" fmla="*/ 6861 w 12540"/>
                  <a:gd name="connsiteY2" fmla="*/ 13008 h 15834"/>
                  <a:gd name="connsiteX3" fmla="*/ 3787 w 12540"/>
                  <a:gd name="connsiteY3" fmla="*/ 12761 h 15834"/>
                  <a:gd name="connsiteX4" fmla="*/ 768 w 12540"/>
                  <a:gd name="connsiteY4" fmla="*/ 9660 h 15834"/>
                  <a:gd name="connsiteX5" fmla="*/ 1015 w 12540"/>
                  <a:gd name="connsiteY5" fmla="*/ 7821 h 15834"/>
                  <a:gd name="connsiteX6" fmla="*/ 2607 w 12540"/>
                  <a:gd name="connsiteY6" fmla="*/ 7218 h 15834"/>
                  <a:gd name="connsiteX7" fmla="*/ 4390 w 12540"/>
                  <a:gd name="connsiteY7" fmla="*/ 4638 h 15834"/>
                  <a:gd name="connsiteX8" fmla="*/ 4171 w 12540"/>
                  <a:gd name="connsiteY8" fmla="*/ 3512 h 15834"/>
                  <a:gd name="connsiteX9" fmla="*/ 0 w 12540"/>
                  <a:gd name="connsiteY9" fmla="*/ 2579 h 15834"/>
                  <a:gd name="connsiteX10" fmla="*/ 356 w 12540"/>
                  <a:gd name="connsiteY10" fmla="*/ 1509 h 15834"/>
                  <a:gd name="connsiteX11" fmla="*/ 3101 w 12540"/>
                  <a:gd name="connsiteY11" fmla="*/ 1235 h 15834"/>
                  <a:gd name="connsiteX12" fmla="*/ 5818 w 12540"/>
                  <a:gd name="connsiteY12" fmla="*/ 0 h 15834"/>
                  <a:gd name="connsiteX13" fmla="*/ 7738 w 12540"/>
                  <a:gd name="connsiteY13" fmla="*/ 1838 h 15834"/>
                  <a:gd name="connsiteX14" fmla="*/ 7492 w 12540"/>
                  <a:gd name="connsiteY14" fmla="*/ 7327 h 15834"/>
                  <a:gd name="connsiteX15" fmla="*/ 10099 w 12540"/>
                  <a:gd name="connsiteY15" fmla="*/ 8452 h 15834"/>
                  <a:gd name="connsiteX16" fmla="*/ 10510 w 12540"/>
                  <a:gd name="connsiteY16" fmla="*/ 10511 h 15834"/>
                  <a:gd name="connsiteX17" fmla="*/ 12541 w 12540"/>
                  <a:gd name="connsiteY17" fmla="*/ 11691 h 15834"/>
                  <a:gd name="connsiteX18" fmla="*/ 11306 w 12540"/>
                  <a:gd name="connsiteY18" fmla="*/ 13172 h 15834"/>
                  <a:gd name="connsiteX19" fmla="*/ 11361 w 12540"/>
                  <a:gd name="connsiteY19" fmla="*/ 15231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40" h="15834">
                    <a:moveTo>
                      <a:pt x="11361" y="15231"/>
                    </a:moveTo>
                    <a:lnTo>
                      <a:pt x="9193" y="15835"/>
                    </a:lnTo>
                    <a:lnTo>
                      <a:pt x="6861" y="13008"/>
                    </a:lnTo>
                    <a:lnTo>
                      <a:pt x="3787" y="12761"/>
                    </a:lnTo>
                    <a:lnTo>
                      <a:pt x="768" y="9660"/>
                    </a:lnTo>
                    <a:lnTo>
                      <a:pt x="1015" y="7821"/>
                    </a:lnTo>
                    <a:lnTo>
                      <a:pt x="2607" y="7218"/>
                    </a:lnTo>
                    <a:lnTo>
                      <a:pt x="4390" y="4638"/>
                    </a:lnTo>
                    <a:lnTo>
                      <a:pt x="4171" y="3512"/>
                    </a:lnTo>
                    <a:lnTo>
                      <a:pt x="0" y="2579"/>
                    </a:lnTo>
                    <a:lnTo>
                      <a:pt x="356" y="1509"/>
                    </a:lnTo>
                    <a:lnTo>
                      <a:pt x="3101" y="1235"/>
                    </a:lnTo>
                    <a:lnTo>
                      <a:pt x="5818" y="0"/>
                    </a:lnTo>
                    <a:lnTo>
                      <a:pt x="7738" y="1838"/>
                    </a:lnTo>
                    <a:lnTo>
                      <a:pt x="7492" y="7327"/>
                    </a:lnTo>
                    <a:lnTo>
                      <a:pt x="10099" y="8452"/>
                    </a:lnTo>
                    <a:lnTo>
                      <a:pt x="10510" y="10511"/>
                    </a:lnTo>
                    <a:lnTo>
                      <a:pt x="12541" y="11691"/>
                    </a:lnTo>
                    <a:lnTo>
                      <a:pt x="11306" y="13172"/>
                    </a:lnTo>
                    <a:lnTo>
                      <a:pt x="11361" y="152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1" name="Freeform: Shape 3970">
                <a:extLst>
                  <a:ext uri="{FF2B5EF4-FFF2-40B4-BE49-F238E27FC236}">
                    <a16:creationId xmlns:a16="http://schemas.microsoft.com/office/drawing/2014/main" id="{311FC811-A968-80C9-A7C2-1F4ACAA86E70}"/>
                  </a:ext>
                </a:extLst>
              </p:cNvPr>
              <p:cNvSpPr/>
              <p:nvPr/>
            </p:nvSpPr>
            <p:spPr>
              <a:xfrm>
                <a:off x="1880145" y="3911604"/>
                <a:ext cx="988" cy="936"/>
              </a:xfrm>
              <a:custGeom>
                <a:avLst/>
                <a:gdLst>
                  <a:gd name="connsiteX0" fmla="*/ 4226 w 9468"/>
                  <a:gd name="connsiteY0" fmla="*/ 27 h 8973"/>
                  <a:gd name="connsiteX1" fmla="*/ 6614 w 9468"/>
                  <a:gd name="connsiteY1" fmla="*/ 2827 h 8973"/>
                  <a:gd name="connsiteX2" fmla="*/ 9468 w 9468"/>
                  <a:gd name="connsiteY2" fmla="*/ 2827 h 8973"/>
                  <a:gd name="connsiteX3" fmla="*/ 9221 w 9468"/>
                  <a:gd name="connsiteY3" fmla="*/ 7986 h 8973"/>
                  <a:gd name="connsiteX4" fmla="*/ 5187 w 9468"/>
                  <a:gd name="connsiteY4" fmla="*/ 8974 h 8973"/>
                  <a:gd name="connsiteX5" fmla="*/ 4199 w 9468"/>
                  <a:gd name="connsiteY5" fmla="*/ 7190 h 8973"/>
                  <a:gd name="connsiteX6" fmla="*/ 2168 w 9468"/>
                  <a:gd name="connsiteY6" fmla="*/ 6916 h 8973"/>
                  <a:gd name="connsiteX7" fmla="*/ 0 w 9468"/>
                  <a:gd name="connsiteY7" fmla="*/ 192 h 8973"/>
                  <a:gd name="connsiteX8" fmla="*/ 2580 w 9468"/>
                  <a:gd name="connsiteY8" fmla="*/ 823 h 8973"/>
                  <a:gd name="connsiteX9" fmla="*/ 4254 w 9468"/>
                  <a:gd name="connsiteY9" fmla="*/ 0 h 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68" h="8973">
                    <a:moveTo>
                      <a:pt x="4226" y="27"/>
                    </a:moveTo>
                    <a:lnTo>
                      <a:pt x="6614" y="2827"/>
                    </a:lnTo>
                    <a:lnTo>
                      <a:pt x="9468" y="2827"/>
                    </a:lnTo>
                    <a:cubicBezTo>
                      <a:pt x="9468" y="2827"/>
                      <a:pt x="9221" y="7986"/>
                      <a:pt x="9221" y="7986"/>
                    </a:cubicBezTo>
                    <a:lnTo>
                      <a:pt x="5187" y="8974"/>
                    </a:lnTo>
                    <a:lnTo>
                      <a:pt x="4199" y="7190"/>
                    </a:lnTo>
                    <a:lnTo>
                      <a:pt x="2168" y="6916"/>
                    </a:lnTo>
                    <a:lnTo>
                      <a:pt x="0" y="192"/>
                    </a:lnTo>
                    <a:lnTo>
                      <a:pt x="2580" y="823"/>
                    </a:lnTo>
                    <a:lnTo>
                      <a:pt x="425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2" name="Freeform: Shape 3971">
                <a:extLst>
                  <a:ext uri="{FF2B5EF4-FFF2-40B4-BE49-F238E27FC236}">
                    <a16:creationId xmlns:a16="http://schemas.microsoft.com/office/drawing/2014/main" id="{0E6F0DF1-33E9-2540-C425-FE5B712BAE08}"/>
                  </a:ext>
                </a:extLst>
              </p:cNvPr>
              <p:cNvSpPr/>
              <p:nvPr/>
            </p:nvSpPr>
            <p:spPr>
              <a:xfrm>
                <a:off x="1878874" y="3915417"/>
                <a:ext cx="452" cy="487"/>
              </a:xfrm>
              <a:custGeom>
                <a:avLst/>
                <a:gdLst>
                  <a:gd name="connsiteX0" fmla="*/ 4309 w 4336"/>
                  <a:gd name="connsiteY0" fmla="*/ 1811 h 4665"/>
                  <a:gd name="connsiteX1" fmla="*/ 3485 w 4336"/>
                  <a:gd name="connsiteY1" fmla="*/ 4666 h 4665"/>
                  <a:gd name="connsiteX2" fmla="*/ 0 w 4336"/>
                  <a:gd name="connsiteY2" fmla="*/ 4007 h 4665"/>
                  <a:gd name="connsiteX3" fmla="*/ 1647 w 4336"/>
                  <a:gd name="connsiteY3" fmla="*/ 0 h 4665"/>
                  <a:gd name="connsiteX4" fmla="*/ 4336 w 4336"/>
                  <a:gd name="connsiteY4" fmla="*/ 1839 h 4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4665">
                    <a:moveTo>
                      <a:pt x="4309" y="1811"/>
                    </a:moveTo>
                    <a:lnTo>
                      <a:pt x="3485" y="4666"/>
                    </a:lnTo>
                    <a:lnTo>
                      <a:pt x="0" y="4007"/>
                    </a:lnTo>
                    <a:lnTo>
                      <a:pt x="1647" y="0"/>
                    </a:lnTo>
                    <a:lnTo>
                      <a:pt x="4336"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3" name="Freeform: Shape 3972">
                <a:extLst>
                  <a:ext uri="{FF2B5EF4-FFF2-40B4-BE49-F238E27FC236}">
                    <a16:creationId xmlns:a16="http://schemas.microsoft.com/office/drawing/2014/main" id="{8493D10D-C96B-3F19-74F6-423DF2981F0E}"/>
                  </a:ext>
                </a:extLst>
              </p:cNvPr>
              <p:cNvSpPr/>
              <p:nvPr/>
            </p:nvSpPr>
            <p:spPr>
              <a:xfrm>
                <a:off x="1876309" y="3908281"/>
                <a:ext cx="363" cy="438"/>
              </a:xfrm>
              <a:custGeom>
                <a:avLst/>
                <a:gdLst>
                  <a:gd name="connsiteX0" fmla="*/ 3458 w 3485"/>
                  <a:gd name="connsiteY0" fmla="*/ 3540 h 4198"/>
                  <a:gd name="connsiteX1" fmla="*/ 1482 w 3485"/>
                  <a:gd name="connsiteY1" fmla="*/ 4199 h 4198"/>
                  <a:gd name="connsiteX2" fmla="*/ 0 w 3485"/>
                  <a:gd name="connsiteY2" fmla="*/ 1372 h 4198"/>
                  <a:gd name="connsiteX3" fmla="*/ 1701 w 3485"/>
                  <a:gd name="connsiteY3" fmla="*/ 0 h 4198"/>
                  <a:gd name="connsiteX4" fmla="*/ 3485 w 3485"/>
                  <a:gd name="connsiteY4" fmla="*/ 3513 h 4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4198">
                    <a:moveTo>
                      <a:pt x="3458" y="3540"/>
                    </a:moveTo>
                    <a:lnTo>
                      <a:pt x="1482" y="4199"/>
                    </a:lnTo>
                    <a:lnTo>
                      <a:pt x="0" y="1372"/>
                    </a:lnTo>
                    <a:lnTo>
                      <a:pt x="1701" y="0"/>
                    </a:lnTo>
                    <a:lnTo>
                      <a:pt x="3485" y="35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4" name="Freeform: Shape 3973">
                <a:extLst>
                  <a:ext uri="{FF2B5EF4-FFF2-40B4-BE49-F238E27FC236}">
                    <a16:creationId xmlns:a16="http://schemas.microsoft.com/office/drawing/2014/main" id="{DACAEE72-0141-69A1-050A-597F2C55ACBE}"/>
                  </a:ext>
                </a:extLst>
              </p:cNvPr>
              <p:cNvSpPr/>
              <p:nvPr/>
            </p:nvSpPr>
            <p:spPr>
              <a:xfrm>
                <a:off x="1876192" y="3909005"/>
                <a:ext cx="306" cy="464"/>
              </a:xfrm>
              <a:custGeom>
                <a:avLst/>
                <a:gdLst>
                  <a:gd name="connsiteX0" fmla="*/ 1921 w 2935"/>
                  <a:gd name="connsiteY0" fmla="*/ 3403 h 4445"/>
                  <a:gd name="connsiteX1" fmla="*/ 0 w 2935"/>
                  <a:gd name="connsiteY1" fmla="*/ 4446 h 4445"/>
                  <a:gd name="connsiteX2" fmla="*/ 0 w 2935"/>
                  <a:gd name="connsiteY2" fmla="*/ 2333 h 4445"/>
                  <a:gd name="connsiteX3" fmla="*/ 1509 w 2935"/>
                  <a:gd name="connsiteY3" fmla="*/ 0 h 4445"/>
                  <a:gd name="connsiteX4" fmla="*/ 2936 w 2935"/>
                  <a:gd name="connsiteY4" fmla="*/ 357 h 4445"/>
                  <a:gd name="connsiteX5" fmla="*/ 1948 w 2935"/>
                  <a:gd name="connsiteY5" fmla="*/ 3430 h 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5" h="4445">
                    <a:moveTo>
                      <a:pt x="1921" y="3403"/>
                    </a:moveTo>
                    <a:lnTo>
                      <a:pt x="0" y="4446"/>
                    </a:lnTo>
                    <a:lnTo>
                      <a:pt x="0" y="2333"/>
                    </a:lnTo>
                    <a:lnTo>
                      <a:pt x="1509" y="0"/>
                    </a:lnTo>
                    <a:lnTo>
                      <a:pt x="2936" y="357"/>
                    </a:lnTo>
                    <a:lnTo>
                      <a:pt x="1948" y="34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5" name="Freeform: Shape 3974">
                <a:extLst>
                  <a:ext uri="{FF2B5EF4-FFF2-40B4-BE49-F238E27FC236}">
                    <a16:creationId xmlns:a16="http://schemas.microsoft.com/office/drawing/2014/main" id="{617C0972-F0CD-1F50-B688-860898A66963}"/>
                  </a:ext>
                </a:extLst>
              </p:cNvPr>
              <p:cNvSpPr/>
              <p:nvPr/>
            </p:nvSpPr>
            <p:spPr>
              <a:xfrm>
                <a:off x="1867241" y="3905911"/>
                <a:ext cx="343" cy="361"/>
              </a:xfrm>
              <a:custGeom>
                <a:avLst/>
                <a:gdLst>
                  <a:gd name="connsiteX0" fmla="*/ 3266 w 3293"/>
                  <a:gd name="connsiteY0" fmla="*/ 988 h 3457"/>
                  <a:gd name="connsiteX1" fmla="*/ 2387 w 3293"/>
                  <a:gd name="connsiteY1" fmla="*/ 3458 h 3457"/>
                  <a:gd name="connsiteX2" fmla="*/ 356 w 3293"/>
                  <a:gd name="connsiteY2" fmla="*/ 2991 h 3457"/>
                  <a:gd name="connsiteX3" fmla="*/ 0 w 3293"/>
                  <a:gd name="connsiteY3" fmla="*/ 1208 h 3457"/>
                  <a:gd name="connsiteX4" fmla="*/ 1756 w 3293"/>
                  <a:gd name="connsiteY4" fmla="*/ 0 h 3457"/>
                  <a:gd name="connsiteX5" fmla="*/ 3293 w 3293"/>
                  <a:gd name="connsiteY5" fmla="*/ 960 h 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93" h="3457">
                    <a:moveTo>
                      <a:pt x="3266" y="988"/>
                    </a:moveTo>
                    <a:lnTo>
                      <a:pt x="2387" y="3458"/>
                    </a:lnTo>
                    <a:lnTo>
                      <a:pt x="356" y="2991"/>
                    </a:lnTo>
                    <a:lnTo>
                      <a:pt x="0" y="1208"/>
                    </a:lnTo>
                    <a:lnTo>
                      <a:pt x="1756" y="0"/>
                    </a:lnTo>
                    <a:lnTo>
                      <a:pt x="3293" y="9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7" name="Freeform: Shape 3976">
                <a:extLst>
                  <a:ext uri="{FF2B5EF4-FFF2-40B4-BE49-F238E27FC236}">
                    <a16:creationId xmlns:a16="http://schemas.microsoft.com/office/drawing/2014/main" id="{64CA4939-2C21-F798-DFAC-4DA82BC985E8}"/>
                  </a:ext>
                </a:extLst>
              </p:cNvPr>
              <p:cNvSpPr/>
              <p:nvPr/>
            </p:nvSpPr>
            <p:spPr>
              <a:xfrm>
                <a:off x="1876066" y="3980812"/>
                <a:ext cx="23749" cy="25853"/>
              </a:xfrm>
              <a:custGeom>
                <a:avLst/>
                <a:gdLst>
                  <a:gd name="connsiteX0" fmla="*/ 193281 w 227694"/>
                  <a:gd name="connsiteY0" fmla="*/ 22229 h 247865"/>
                  <a:gd name="connsiteX1" fmla="*/ 196876 w 227694"/>
                  <a:gd name="connsiteY1" fmla="*/ 26702 h 247865"/>
                  <a:gd name="connsiteX2" fmla="*/ 213507 w 227694"/>
                  <a:gd name="connsiteY2" fmla="*/ 18881 h 247865"/>
                  <a:gd name="connsiteX3" fmla="*/ 219819 w 227694"/>
                  <a:gd name="connsiteY3" fmla="*/ 20912 h 247865"/>
                  <a:gd name="connsiteX4" fmla="*/ 220697 w 227694"/>
                  <a:gd name="connsiteY4" fmla="*/ 16603 h 247865"/>
                  <a:gd name="connsiteX5" fmla="*/ 227201 w 227694"/>
                  <a:gd name="connsiteY5" fmla="*/ 18799 h 247865"/>
                  <a:gd name="connsiteX6" fmla="*/ 227694 w 227694"/>
                  <a:gd name="connsiteY6" fmla="*/ 21790 h 247865"/>
                  <a:gd name="connsiteX7" fmla="*/ 222947 w 227694"/>
                  <a:gd name="connsiteY7" fmla="*/ 25852 h 247865"/>
                  <a:gd name="connsiteX8" fmla="*/ 224484 w 227694"/>
                  <a:gd name="connsiteY8" fmla="*/ 28898 h 247865"/>
                  <a:gd name="connsiteX9" fmla="*/ 223605 w 227694"/>
                  <a:gd name="connsiteY9" fmla="*/ 36417 h 247865"/>
                  <a:gd name="connsiteX10" fmla="*/ 227118 w 227694"/>
                  <a:gd name="connsiteY10" fmla="*/ 48711 h 247865"/>
                  <a:gd name="connsiteX11" fmla="*/ 207798 w 227694"/>
                  <a:gd name="connsiteY11" fmla="*/ 76099 h 247865"/>
                  <a:gd name="connsiteX12" fmla="*/ 200032 w 227694"/>
                  <a:gd name="connsiteY12" fmla="*/ 92016 h 247865"/>
                  <a:gd name="connsiteX13" fmla="*/ 188369 w 227694"/>
                  <a:gd name="connsiteY13" fmla="*/ 100716 h 247865"/>
                  <a:gd name="connsiteX14" fmla="*/ 185240 w 227694"/>
                  <a:gd name="connsiteY14" fmla="*/ 105683 h 247865"/>
                  <a:gd name="connsiteX15" fmla="*/ 185515 w 227694"/>
                  <a:gd name="connsiteY15" fmla="*/ 117868 h 247865"/>
                  <a:gd name="connsiteX16" fmla="*/ 193144 w 227694"/>
                  <a:gd name="connsiteY16" fmla="*/ 123796 h 247865"/>
                  <a:gd name="connsiteX17" fmla="*/ 193720 w 227694"/>
                  <a:gd name="connsiteY17" fmla="*/ 129064 h 247865"/>
                  <a:gd name="connsiteX18" fmla="*/ 173138 w 227694"/>
                  <a:gd name="connsiteY18" fmla="*/ 131535 h 247865"/>
                  <a:gd name="connsiteX19" fmla="*/ 167842 w 227694"/>
                  <a:gd name="connsiteY19" fmla="*/ 134142 h 247865"/>
                  <a:gd name="connsiteX20" fmla="*/ 146106 w 227694"/>
                  <a:gd name="connsiteY20" fmla="*/ 146710 h 247865"/>
                  <a:gd name="connsiteX21" fmla="*/ 143582 w 227694"/>
                  <a:gd name="connsiteY21" fmla="*/ 149619 h 247865"/>
                  <a:gd name="connsiteX22" fmla="*/ 142347 w 227694"/>
                  <a:gd name="connsiteY22" fmla="*/ 151046 h 247865"/>
                  <a:gd name="connsiteX23" fmla="*/ 140892 w 227694"/>
                  <a:gd name="connsiteY23" fmla="*/ 157660 h 247865"/>
                  <a:gd name="connsiteX24" fmla="*/ 137023 w 227694"/>
                  <a:gd name="connsiteY24" fmla="*/ 174593 h 247865"/>
                  <a:gd name="connsiteX25" fmla="*/ 123302 w 227694"/>
                  <a:gd name="connsiteY25" fmla="*/ 205356 h 247865"/>
                  <a:gd name="connsiteX26" fmla="*/ 123027 w 227694"/>
                  <a:gd name="connsiteY26" fmla="*/ 213836 h 247865"/>
                  <a:gd name="connsiteX27" fmla="*/ 112050 w 227694"/>
                  <a:gd name="connsiteY27" fmla="*/ 219846 h 247865"/>
                  <a:gd name="connsiteX28" fmla="*/ 92401 w 227694"/>
                  <a:gd name="connsiteY28" fmla="*/ 242925 h 247865"/>
                  <a:gd name="connsiteX29" fmla="*/ 75194 w 227694"/>
                  <a:gd name="connsiteY29" fmla="*/ 247865 h 247865"/>
                  <a:gd name="connsiteX30" fmla="*/ 66742 w 227694"/>
                  <a:gd name="connsiteY30" fmla="*/ 244819 h 247865"/>
                  <a:gd name="connsiteX31" fmla="*/ 55572 w 227694"/>
                  <a:gd name="connsiteY31" fmla="*/ 244352 h 247865"/>
                  <a:gd name="connsiteX32" fmla="*/ 52005 w 227694"/>
                  <a:gd name="connsiteY32" fmla="*/ 237794 h 247865"/>
                  <a:gd name="connsiteX33" fmla="*/ 38667 w 227694"/>
                  <a:gd name="connsiteY33" fmla="*/ 234802 h 247865"/>
                  <a:gd name="connsiteX34" fmla="*/ 31093 w 227694"/>
                  <a:gd name="connsiteY34" fmla="*/ 227942 h 247865"/>
                  <a:gd name="connsiteX35" fmla="*/ 22558 w 227694"/>
                  <a:gd name="connsiteY35" fmla="*/ 230055 h 247865"/>
                  <a:gd name="connsiteX36" fmla="*/ 7190 w 227694"/>
                  <a:gd name="connsiteY36" fmla="*/ 227832 h 247865"/>
                  <a:gd name="connsiteX37" fmla="*/ 0 w 227694"/>
                  <a:gd name="connsiteY37" fmla="*/ 218199 h 247865"/>
                  <a:gd name="connsiteX38" fmla="*/ 2388 w 227694"/>
                  <a:gd name="connsiteY38" fmla="*/ 204725 h 247865"/>
                  <a:gd name="connsiteX39" fmla="*/ 13639 w 227694"/>
                  <a:gd name="connsiteY39" fmla="*/ 184829 h 247865"/>
                  <a:gd name="connsiteX40" fmla="*/ 40588 w 227694"/>
                  <a:gd name="connsiteY40" fmla="*/ 157606 h 247865"/>
                  <a:gd name="connsiteX41" fmla="*/ 46790 w 227694"/>
                  <a:gd name="connsiteY41" fmla="*/ 149592 h 247865"/>
                  <a:gd name="connsiteX42" fmla="*/ 55188 w 227694"/>
                  <a:gd name="connsiteY42" fmla="*/ 138752 h 247865"/>
                  <a:gd name="connsiteX43" fmla="*/ 69486 w 227694"/>
                  <a:gd name="connsiteY43" fmla="*/ 134142 h 247865"/>
                  <a:gd name="connsiteX44" fmla="*/ 92977 w 227694"/>
                  <a:gd name="connsiteY44" fmla="*/ 118828 h 247865"/>
                  <a:gd name="connsiteX45" fmla="*/ 111474 w 227694"/>
                  <a:gd name="connsiteY45" fmla="*/ 101100 h 247865"/>
                  <a:gd name="connsiteX46" fmla="*/ 128735 w 227694"/>
                  <a:gd name="connsiteY46" fmla="*/ 89245 h 247865"/>
                  <a:gd name="connsiteX47" fmla="*/ 137846 w 227694"/>
                  <a:gd name="connsiteY47" fmla="*/ 76018 h 247865"/>
                  <a:gd name="connsiteX48" fmla="*/ 147122 w 227694"/>
                  <a:gd name="connsiteY48" fmla="*/ 48410 h 247865"/>
                  <a:gd name="connsiteX49" fmla="*/ 156755 w 227694"/>
                  <a:gd name="connsiteY49" fmla="*/ 42180 h 247865"/>
                  <a:gd name="connsiteX50" fmla="*/ 162929 w 227694"/>
                  <a:gd name="connsiteY50" fmla="*/ 33261 h 247865"/>
                  <a:gd name="connsiteX51" fmla="*/ 167649 w 227694"/>
                  <a:gd name="connsiteY51" fmla="*/ 11060 h 247865"/>
                  <a:gd name="connsiteX52" fmla="*/ 179889 w 227694"/>
                  <a:gd name="connsiteY52" fmla="*/ 302 h 247865"/>
                  <a:gd name="connsiteX53" fmla="*/ 182880 w 227694"/>
                  <a:gd name="connsiteY53" fmla="*/ 0 h 247865"/>
                  <a:gd name="connsiteX54" fmla="*/ 185542 w 227694"/>
                  <a:gd name="connsiteY54" fmla="*/ 7986 h 247865"/>
                  <a:gd name="connsiteX55" fmla="*/ 192073 w 227694"/>
                  <a:gd name="connsiteY55" fmla="*/ 11389 h 247865"/>
                  <a:gd name="connsiteX56" fmla="*/ 193364 w 227694"/>
                  <a:gd name="connsiteY56" fmla="*/ 22202 h 247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27694" h="247865">
                    <a:moveTo>
                      <a:pt x="193281" y="22229"/>
                    </a:moveTo>
                    <a:lnTo>
                      <a:pt x="196876" y="26702"/>
                    </a:lnTo>
                    <a:lnTo>
                      <a:pt x="213507" y="18881"/>
                    </a:lnTo>
                    <a:lnTo>
                      <a:pt x="219819" y="20912"/>
                    </a:lnTo>
                    <a:lnTo>
                      <a:pt x="220697" y="16603"/>
                    </a:lnTo>
                    <a:lnTo>
                      <a:pt x="227201" y="18799"/>
                    </a:lnTo>
                    <a:lnTo>
                      <a:pt x="227694" y="21790"/>
                    </a:lnTo>
                    <a:lnTo>
                      <a:pt x="222947" y="25852"/>
                    </a:lnTo>
                    <a:lnTo>
                      <a:pt x="224484" y="28898"/>
                    </a:lnTo>
                    <a:lnTo>
                      <a:pt x="223605" y="36417"/>
                    </a:lnTo>
                    <a:lnTo>
                      <a:pt x="227118" y="48711"/>
                    </a:lnTo>
                    <a:lnTo>
                      <a:pt x="207798" y="76099"/>
                    </a:lnTo>
                    <a:lnTo>
                      <a:pt x="200032" y="92016"/>
                    </a:lnTo>
                    <a:lnTo>
                      <a:pt x="188369" y="100716"/>
                    </a:lnTo>
                    <a:lnTo>
                      <a:pt x="185240" y="105683"/>
                    </a:lnTo>
                    <a:lnTo>
                      <a:pt x="185515" y="117868"/>
                    </a:lnTo>
                    <a:lnTo>
                      <a:pt x="193144" y="123796"/>
                    </a:lnTo>
                    <a:lnTo>
                      <a:pt x="193720" y="129064"/>
                    </a:lnTo>
                    <a:lnTo>
                      <a:pt x="173138" y="131535"/>
                    </a:lnTo>
                    <a:lnTo>
                      <a:pt x="167842" y="134142"/>
                    </a:lnTo>
                    <a:lnTo>
                      <a:pt x="146106" y="146710"/>
                    </a:lnTo>
                    <a:lnTo>
                      <a:pt x="143582" y="149619"/>
                    </a:lnTo>
                    <a:lnTo>
                      <a:pt x="142347" y="151046"/>
                    </a:lnTo>
                    <a:lnTo>
                      <a:pt x="140892" y="157660"/>
                    </a:lnTo>
                    <a:lnTo>
                      <a:pt x="137023" y="174593"/>
                    </a:lnTo>
                    <a:lnTo>
                      <a:pt x="123302" y="205356"/>
                    </a:lnTo>
                    <a:lnTo>
                      <a:pt x="123027" y="213836"/>
                    </a:lnTo>
                    <a:lnTo>
                      <a:pt x="112050" y="219846"/>
                    </a:lnTo>
                    <a:lnTo>
                      <a:pt x="92401" y="242925"/>
                    </a:lnTo>
                    <a:lnTo>
                      <a:pt x="75194" y="247865"/>
                    </a:lnTo>
                    <a:lnTo>
                      <a:pt x="66742" y="244819"/>
                    </a:lnTo>
                    <a:lnTo>
                      <a:pt x="55572" y="244352"/>
                    </a:lnTo>
                    <a:lnTo>
                      <a:pt x="52005" y="237794"/>
                    </a:lnTo>
                    <a:lnTo>
                      <a:pt x="38667" y="234802"/>
                    </a:lnTo>
                    <a:lnTo>
                      <a:pt x="31093" y="227942"/>
                    </a:lnTo>
                    <a:lnTo>
                      <a:pt x="22558" y="230055"/>
                    </a:lnTo>
                    <a:lnTo>
                      <a:pt x="7190" y="227832"/>
                    </a:lnTo>
                    <a:lnTo>
                      <a:pt x="0" y="218199"/>
                    </a:lnTo>
                    <a:lnTo>
                      <a:pt x="2388" y="204725"/>
                    </a:lnTo>
                    <a:lnTo>
                      <a:pt x="13639" y="184829"/>
                    </a:lnTo>
                    <a:lnTo>
                      <a:pt x="40588" y="157606"/>
                    </a:lnTo>
                    <a:lnTo>
                      <a:pt x="46790" y="149592"/>
                    </a:lnTo>
                    <a:lnTo>
                      <a:pt x="55188" y="138752"/>
                    </a:lnTo>
                    <a:lnTo>
                      <a:pt x="69486" y="134142"/>
                    </a:lnTo>
                    <a:lnTo>
                      <a:pt x="92977" y="118828"/>
                    </a:lnTo>
                    <a:lnTo>
                      <a:pt x="111474" y="101100"/>
                    </a:lnTo>
                    <a:lnTo>
                      <a:pt x="128735" y="89245"/>
                    </a:lnTo>
                    <a:lnTo>
                      <a:pt x="137846" y="76018"/>
                    </a:lnTo>
                    <a:lnTo>
                      <a:pt x="147122" y="48410"/>
                    </a:lnTo>
                    <a:lnTo>
                      <a:pt x="156755" y="42180"/>
                    </a:lnTo>
                    <a:lnTo>
                      <a:pt x="162929" y="33261"/>
                    </a:lnTo>
                    <a:lnTo>
                      <a:pt x="167649" y="11060"/>
                    </a:lnTo>
                    <a:lnTo>
                      <a:pt x="179889" y="302"/>
                    </a:lnTo>
                    <a:lnTo>
                      <a:pt x="182880" y="0"/>
                    </a:lnTo>
                    <a:lnTo>
                      <a:pt x="185542" y="7986"/>
                    </a:lnTo>
                    <a:lnTo>
                      <a:pt x="192073" y="11389"/>
                    </a:lnTo>
                    <a:lnTo>
                      <a:pt x="193364" y="222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8" name="Freeform: Shape 3977">
                <a:extLst>
                  <a:ext uri="{FF2B5EF4-FFF2-40B4-BE49-F238E27FC236}">
                    <a16:creationId xmlns:a16="http://schemas.microsoft.com/office/drawing/2014/main" id="{03D4BC56-7C4C-E8EB-BCE3-327FF31FA348}"/>
                  </a:ext>
                </a:extLst>
              </p:cNvPr>
              <p:cNvSpPr/>
              <p:nvPr/>
            </p:nvSpPr>
            <p:spPr>
              <a:xfrm>
                <a:off x="1895109" y="3957084"/>
                <a:ext cx="17950" cy="27974"/>
              </a:xfrm>
              <a:custGeom>
                <a:avLst/>
                <a:gdLst>
                  <a:gd name="connsiteX0" fmla="*/ 10758 w 172094"/>
                  <a:gd name="connsiteY0" fmla="*/ 8343 h 268200"/>
                  <a:gd name="connsiteX1" fmla="*/ 17262 w 172094"/>
                  <a:gd name="connsiteY1" fmla="*/ 18744 h 268200"/>
                  <a:gd name="connsiteX2" fmla="*/ 21488 w 172094"/>
                  <a:gd name="connsiteY2" fmla="*/ 14463 h 268200"/>
                  <a:gd name="connsiteX3" fmla="*/ 21954 w 172094"/>
                  <a:gd name="connsiteY3" fmla="*/ 19073 h 268200"/>
                  <a:gd name="connsiteX4" fmla="*/ 26812 w 172094"/>
                  <a:gd name="connsiteY4" fmla="*/ 18003 h 268200"/>
                  <a:gd name="connsiteX5" fmla="*/ 35100 w 172094"/>
                  <a:gd name="connsiteY5" fmla="*/ 20911 h 268200"/>
                  <a:gd name="connsiteX6" fmla="*/ 41384 w 172094"/>
                  <a:gd name="connsiteY6" fmla="*/ 25467 h 268200"/>
                  <a:gd name="connsiteX7" fmla="*/ 41384 w 172094"/>
                  <a:gd name="connsiteY7" fmla="*/ 29474 h 268200"/>
                  <a:gd name="connsiteX8" fmla="*/ 47174 w 172094"/>
                  <a:gd name="connsiteY8" fmla="*/ 28650 h 268200"/>
                  <a:gd name="connsiteX9" fmla="*/ 53981 w 172094"/>
                  <a:gd name="connsiteY9" fmla="*/ 41603 h 268200"/>
                  <a:gd name="connsiteX10" fmla="*/ 55847 w 172094"/>
                  <a:gd name="connsiteY10" fmla="*/ 51236 h 268200"/>
                  <a:gd name="connsiteX11" fmla="*/ 53569 w 172094"/>
                  <a:gd name="connsiteY11" fmla="*/ 50962 h 268200"/>
                  <a:gd name="connsiteX12" fmla="*/ 52499 w 172094"/>
                  <a:gd name="connsiteY12" fmla="*/ 53651 h 268200"/>
                  <a:gd name="connsiteX13" fmla="*/ 53459 w 172094"/>
                  <a:gd name="connsiteY13" fmla="*/ 56724 h 268200"/>
                  <a:gd name="connsiteX14" fmla="*/ 55847 w 172094"/>
                  <a:gd name="connsiteY14" fmla="*/ 58289 h 268200"/>
                  <a:gd name="connsiteX15" fmla="*/ 62159 w 172094"/>
                  <a:gd name="connsiteY15" fmla="*/ 67400 h 268200"/>
                  <a:gd name="connsiteX16" fmla="*/ 59634 w 172094"/>
                  <a:gd name="connsiteY16" fmla="*/ 78075 h 268200"/>
                  <a:gd name="connsiteX17" fmla="*/ 61747 w 172094"/>
                  <a:gd name="connsiteY17" fmla="*/ 85211 h 268200"/>
                  <a:gd name="connsiteX18" fmla="*/ 65012 w 172094"/>
                  <a:gd name="connsiteY18" fmla="*/ 85293 h 268200"/>
                  <a:gd name="connsiteX19" fmla="*/ 63915 w 172094"/>
                  <a:gd name="connsiteY19" fmla="*/ 87077 h 268200"/>
                  <a:gd name="connsiteX20" fmla="*/ 66824 w 172094"/>
                  <a:gd name="connsiteY20" fmla="*/ 89546 h 268200"/>
                  <a:gd name="connsiteX21" fmla="*/ 75331 w 172094"/>
                  <a:gd name="connsiteY21" fmla="*/ 91797 h 268200"/>
                  <a:gd name="connsiteX22" fmla="*/ 77801 w 172094"/>
                  <a:gd name="connsiteY22" fmla="*/ 99481 h 268200"/>
                  <a:gd name="connsiteX23" fmla="*/ 79942 w 172094"/>
                  <a:gd name="connsiteY23" fmla="*/ 100908 h 268200"/>
                  <a:gd name="connsiteX24" fmla="*/ 83646 w 172094"/>
                  <a:gd name="connsiteY24" fmla="*/ 98301 h 268200"/>
                  <a:gd name="connsiteX25" fmla="*/ 80929 w 172094"/>
                  <a:gd name="connsiteY25" fmla="*/ 88229 h 268200"/>
                  <a:gd name="connsiteX26" fmla="*/ 82686 w 172094"/>
                  <a:gd name="connsiteY26" fmla="*/ 85211 h 268200"/>
                  <a:gd name="connsiteX27" fmla="*/ 79118 w 172094"/>
                  <a:gd name="connsiteY27" fmla="*/ 75523 h 268200"/>
                  <a:gd name="connsiteX28" fmla="*/ 79749 w 172094"/>
                  <a:gd name="connsiteY28" fmla="*/ 74617 h 268200"/>
                  <a:gd name="connsiteX29" fmla="*/ 82823 w 172094"/>
                  <a:gd name="connsiteY29" fmla="*/ 75743 h 268200"/>
                  <a:gd name="connsiteX30" fmla="*/ 86802 w 172094"/>
                  <a:gd name="connsiteY30" fmla="*/ 82439 h 268200"/>
                  <a:gd name="connsiteX31" fmla="*/ 90782 w 172094"/>
                  <a:gd name="connsiteY31" fmla="*/ 82384 h 268200"/>
                  <a:gd name="connsiteX32" fmla="*/ 90068 w 172094"/>
                  <a:gd name="connsiteY32" fmla="*/ 85238 h 268200"/>
                  <a:gd name="connsiteX33" fmla="*/ 93691 w 172094"/>
                  <a:gd name="connsiteY33" fmla="*/ 92702 h 268200"/>
                  <a:gd name="connsiteX34" fmla="*/ 93691 w 172094"/>
                  <a:gd name="connsiteY34" fmla="*/ 100084 h 268200"/>
                  <a:gd name="connsiteX35" fmla="*/ 96188 w 172094"/>
                  <a:gd name="connsiteY35" fmla="*/ 107631 h 268200"/>
                  <a:gd name="connsiteX36" fmla="*/ 100030 w 172094"/>
                  <a:gd name="connsiteY36" fmla="*/ 113888 h 268200"/>
                  <a:gd name="connsiteX37" fmla="*/ 119734 w 172094"/>
                  <a:gd name="connsiteY37" fmla="*/ 125579 h 268200"/>
                  <a:gd name="connsiteX38" fmla="*/ 131315 w 172094"/>
                  <a:gd name="connsiteY38" fmla="*/ 129338 h 268200"/>
                  <a:gd name="connsiteX39" fmla="*/ 138313 w 172094"/>
                  <a:gd name="connsiteY39" fmla="*/ 129229 h 268200"/>
                  <a:gd name="connsiteX40" fmla="*/ 142951 w 172094"/>
                  <a:gd name="connsiteY40" fmla="*/ 126293 h 268200"/>
                  <a:gd name="connsiteX41" fmla="*/ 148933 w 172094"/>
                  <a:gd name="connsiteY41" fmla="*/ 118280 h 268200"/>
                  <a:gd name="connsiteX42" fmla="*/ 158813 w 172094"/>
                  <a:gd name="connsiteY42" fmla="*/ 113092 h 268200"/>
                  <a:gd name="connsiteX43" fmla="*/ 164356 w 172094"/>
                  <a:gd name="connsiteY43" fmla="*/ 113395 h 268200"/>
                  <a:gd name="connsiteX44" fmla="*/ 172095 w 172094"/>
                  <a:gd name="connsiteY44" fmla="*/ 118636 h 268200"/>
                  <a:gd name="connsiteX45" fmla="*/ 167018 w 172094"/>
                  <a:gd name="connsiteY45" fmla="*/ 130299 h 268200"/>
                  <a:gd name="connsiteX46" fmla="*/ 164356 w 172094"/>
                  <a:gd name="connsiteY46" fmla="*/ 150003 h 268200"/>
                  <a:gd name="connsiteX47" fmla="*/ 155656 w 172094"/>
                  <a:gd name="connsiteY47" fmla="*/ 156700 h 268200"/>
                  <a:gd name="connsiteX48" fmla="*/ 154010 w 172094"/>
                  <a:gd name="connsiteY48" fmla="*/ 161227 h 268200"/>
                  <a:gd name="connsiteX49" fmla="*/ 153297 w 172094"/>
                  <a:gd name="connsiteY49" fmla="*/ 168253 h 268200"/>
                  <a:gd name="connsiteX50" fmla="*/ 155108 w 172094"/>
                  <a:gd name="connsiteY50" fmla="*/ 172287 h 268200"/>
                  <a:gd name="connsiteX51" fmla="*/ 153104 w 172094"/>
                  <a:gd name="connsiteY51" fmla="*/ 176486 h 268200"/>
                  <a:gd name="connsiteX52" fmla="*/ 151074 w 172094"/>
                  <a:gd name="connsiteY52" fmla="*/ 170750 h 268200"/>
                  <a:gd name="connsiteX53" fmla="*/ 136501 w 172094"/>
                  <a:gd name="connsiteY53" fmla="*/ 171107 h 268200"/>
                  <a:gd name="connsiteX54" fmla="*/ 128516 w 172094"/>
                  <a:gd name="connsiteY54" fmla="*/ 175553 h 268200"/>
                  <a:gd name="connsiteX55" fmla="*/ 124152 w 172094"/>
                  <a:gd name="connsiteY55" fmla="*/ 182413 h 268200"/>
                  <a:gd name="connsiteX56" fmla="*/ 125936 w 172094"/>
                  <a:gd name="connsiteY56" fmla="*/ 190564 h 268200"/>
                  <a:gd name="connsiteX57" fmla="*/ 128927 w 172094"/>
                  <a:gd name="connsiteY57" fmla="*/ 193034 h 268200"/>
                  <a:gd name="connsiteX58" fmla="*/ 122862 w 172094"/>
                  <a:gd name="connsiteY58" fmla="*/ 210981 h 268200"/>
                  <a:gd name="connsiteX59" fmla="*/ 118307 w 172094"/>
                  <a:gd name="connsiteY59" fmla="*/ 216113 h 268200"/>
                  <a:gd name="connsiteX60" fmla="*/ 115343 w 172094"/>
                  <a:gd name="connsiteY60" fmla="*/ 224648 h 268200"/>
                  <a:gd name="connsiteX61" fmla="*/ 106369 w 172094"/>
                  <a:gd name="connsiteY61" fmla="*/ 235049 h 268200"/>
                  <a:gd name="connsiteX62" fmla="*/ 96517 w 172094"/>
                  <a:gd name="connsiteY62" fmla="*/ 253738 h 268200"/>
                  <a:gd name="connsiteX63" fmla="*/ 77444 w 172094"/>
                  <a:gd name="connsiteY63" fmla="*/ 268200 h 268200"/>
                  <a:gd name="connsiteX64" fmla="*/ 75084 w 172094"/>
                  <a:gd name="connsiteY64" fmla="*/ 267294 h 268200"/>
                  <a:gd name="connsiteX65" fmla="*/ 72999 w 172094"/>
                  <a:gd name="connsiteY65" fmla="*/ 260791 h 268200"/>
                  <a:gd name="connsiteX66" fmla="*/ 65259 w 172094"/>
                  <a:gd name="connsiteY66" fmla="*/ 260434 h 268200"/>
                  <a:gd name="connsiteX67" fmla="*/ 64299 w 172094"/>
                  <a:gd name="connsiteY67" fmla="*/ 254369 h 268200"/>
                  <a:gd name="connsiteX68" fmla="*/ 61061 w 172094"/>
                  <a:gd name="connsiteY68" fmla="*/ 257909 h 268200"/>
                  <a:gd name="connsiteX69" fmla="*/ 58152 w 172094"/>
                  <a:gd name="connsiteY69" fmla="*/ 257744 h 268200"/>
                  <a:gd name="connsiteX70" fmla="*/ 57027 w 172094"/>
                  <a:gd name="connsiteY70" fmla="*/ 255659 h 268200"/>
                  <a:gd name="connsiteX71" fmla="*/ 71160 w 172094"/>
                  <a:gd name="connsiteY71" fmla="*/ 235680 h 268200"/>
                  <a:gd name="connsiteX72" fmla="*/ 75029 w 172094"/>
                  <a:gd name="connsiteY72" fmla="*/ 220038 h 268200"/>
                  <a:gd name="connsiteX73" fmla="*/ 74041 w 172094"/>
                  <a:gd name="connsiteY73" fmla="*/ 212408 h 268200"/>
                  <a:gd name="connsiteX74" fmla="*/ 69678 w 172094"/>
                  <a:gd name="connsiteY74" fmla="*/ 205329 h 268200"/>
                  <a:gd name="connsiteX75" fmla="*/ 58179 w 172094"/>
                  <a:gd name="connsiteY75" fmla="*/ 199620 h 268200"/>
                  <a:gd name="connsiteX76" fmla="*/ 45775 w 172094"/>
                  <a:gd name="connsiteY76" fmla="*/ 190591 h 268200"/>
                  <a:gd name="connsiteX77" fmla="*/ 35292 w 172094"/>
                  <a:gd name="connsiteY77" fmla="*/ 186036 h 268200"/>
                  <a:gd name="connsiteX78" fmla="*/ 31999 w 172094"/>
                  <a:gd name="connsiteY78" fmla="*/ 179999 h 268200"/>
                  <a:gd name="connsiteX79" fmla="*/ 33399 w 172094"/>
                  <a:gd name="connsiteY79" fmla="*/ 174922 h 268200"/>
                  <a:gd name="connsiteX80" fmla="*/ 43635 w 172094"/>
                  <a:gd name="connsiteY80" fmla="*/ 168006 h 268200"/>
                  <a:gd name="connsiteX81" fmla="*/ 50413 w 172094"/>
                  <a:gd name="connsiteY81" fmla="*/ 166744 h 268200"/>
                  <a:gd name="connsiteX82" fmla="*/ 55957 w 172094"/>
                  <a:gd name="connsiteY82" fmla="*/ 160239 h 268200"/>
                  <a:gd name="connsiteX83" fmla="*/ 59716 w 172094"/>
                  <a:gd name="connsiteY83" fmla="*/ 135486 h 268200"/>
                  <a:gd name="connsiteX84" fmla="*/ 62378 w 172094"/>
                  <a:gd name="connsiteY84" fmla="*/ 131205 h 268200"/>
                  <a:gd name="connsiteX85" fmla="*/ 61719 w 172094"/>
                  <a:gd name="connsiteY85" fmla="*/ 124920 h 268200"/>
                  <a:gd name="connsiteX86" fmla="*/ 63421 w 172094"/>
                  <a:gd name="connsiteY86" fmla="*/ 121792 h 268200"/>
                  <a:gd name="connsiteX87" fmla="*/ 55984 w 172094"/>
                  <a:gd name="connsiteY87" fmla="*/ 98740 h 268200"/>
                  <a:gd name="connsiteX88" fmla="*/ 53130 w 172094"/>
                  <a:gd name="connsiteY88" fmla="*/ 93882 h 268200"/>
                  <a:gd name="connsiteX89" fmla="*/ 50660 w 172094"/>
                  <a:gd name="connsiteY89" fmla="*/ 85238 h 268200"/>
                  <a:gd name="connsiteX90" fmla="*/ 44129 w 172094"/>
                  <a:gd name="connsiteY90" fmla="*/ 74151 h 268200"/>
                  <a:gd name="connsiteX91" fmla="*/ 45802 w 172094"/>
                  <a:gd name="connsiteY91" fmla="*/ 72806 h 268200"/>
                  <a:gd name="connsiteX92" fmla="*/ 49892 w 172094"/>
                  <a:gd name="connsiteY92" fmla="*/ 77142 h 268200"/>
                  <a:gd name="connsiteX93" fmla="*/ 50770 w 172094"/>
                  <a:gd name="connsiteY93" fmla="*/ 76621 h 268200"/>
                  <a:gd name="connsiteX94" fmla="*/ 50824 w 172094"/>
                  <a:gd name="connsiteY94" fmla="*/ 70748 h 268200"/>
                  <a:gd name="connsiteX95" fmla="*/ 47751 w 172094"/>
                  <a:gd name="connsiteY95" fmla="*/ 70391 h 268200"/>
                  <a:gd name="connsiteX96" fmla="*/ 46516 w 172094"/>
                  <a:gd name="connsiteY96" fmla="*/ 66329 h 268200"/>
                  <a:gd name="connsiteX97" fmla="*/ 42153 w 172094"/>
                  <a:gd name="connsiteY97" fmla="*/ 63009 h 268200"/>
                  <a:gd name="connsiteX98" fmla="*/ 41110 w 172094"/>
                  <a:gd name="connsiteY98" fmla="*/ 63750 h 268200"/>
                  <a:gd name="connsiteX99" fmla="*/ 43635 w 172094"/>
                  <a:gd name="connsiteY99" fmla="*/ 69239 h 268200"/>
                  <a:gd name="connsiteX100" fmla="*/ 40369 w 172094"/>
                  <a:gd name="connsiteY100" fmla="*/ 69705 h 268200"/>
                  <a:gd name="connsiteX101" fmla="*/ 12075 w 172094"/>
                  <a:gd name="connsiteY101" fmla="*/ 28074 h 268200"/>
                  <a:gd name="connsiteX102" fmla="*/ 14353 w 172094"/>
                  <a:gd name="connsiteY102" fmla="*/ 23903 h 268200"/>
                  <a:gd name="connsiteX103" fmla="*/ 13776 w 172094"/>
                  <a:gd name="connsiteY103" fmla="*/ 19924 h 268200"/>
                  <a:gd name="connsiteX104" fmla="*/ 0 w 172094"/>
                  <a:gd name="connsiteY104" fmla="*/ 604 h 268200"/>
                  <a:gd name="connsiteX105" fmla="*/ 9139 w 172094"/>
                  <a:gd name="connsiteY105" fmla="*/ 0 h 268200"/>
                  <a:gd name="connsiteX106" fmla="*/ 10922 w 172094"/>
                  <a:gd name="connsiteY106" fmla="*/ 8343 h 26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2094" h="268200">
                    <a:moveTo>
                      <a:pt x="10758" y="8343"/>
                    </a:moveTo>
                    <a:lnTo>
                      <a:pt x="17262" y="18744"/>
                    </a:lnTo>
                    <a:lnTo>
                      <a:pt x="21488" y="14463"/>
                    </a:lnTo>
                    <a:lnTo>
                      <a:pt x="21954" y="19073"/>
                    </a:lnTo>
                    <a:lnTo>
                      <a:pt x="26812" y="18003"/>
                    </a:lnTo>
                    <a:lnTo>
                      <a:pt x="35100" y="20911"/>
                    </a:lnTo>
                    <a:lnTo>
                      <a:pt x="41384" y="25467"/>
                    </a:lnTo>
                    <a:lnTo>
                      <a:pt x="41384" y="29474"/>
                    </a:lnTo>
                    <a:cubicBezTo>
                      <a:pt x="41384" y="29474"/>
                      <a:pt x="47174" y="28650"/>
                      <a:pt x="47174" y="28650"/>
                    </a:cubicBezTo>
                    <a:lnTo>
                      <a:pt x="53981" y="41603"/>
                    </a:lnTo>
                    <a:lnTo>
                      <a:pt x="55847" y="51236"/>
                    </a:lnTo>
                    <a:lnTo>
                      <a:pt x="53569" y="50962"/>
                    </a:lnTo>
                    <a:lnTo>
                      <a:pt x="52499" y="53651"/>
                    </a:lnTo>
                    <a:lnTo>
                      <a:pt x="53459" y="56724"/>
                    </a:lnTo>
                    <a:lnTo>
                      <a:pt x="55847" y="58289"/>
                    </a:lnTo>
                    <a:lnTo>
                      <a:pt x="62159" y="67400"/>
                    </a:lnTo>
                    <a:lnTo>
                      <a:pt x="59634" y="78075"/>
                    </a:lnTo>
                    <a:lnTo>
                      <a:pt x="61747" y="85211"/>
                    </a:lnTo>
                    <a:lnTo>
                      <a:pt x="65012" y="85293"/>
                    </a:lnTo>
                    <a:lnTo>
                      <a:pt x="63915" y="87077"/>
                    </a:lnTo>
                    <a:lnTo>
                      <a:pt x="66824" y="89546"/>
                    </a:lnTo>
                    <a:lnTo>
                      <a:pt x="75331" y="91797"/>
                    </a:lnTo>
                    <a:lnTo>
                      <a:pt x="77801" y="99481"/>
                    </a:lnTo>
                    <a:lnTo>
                      <a:pt x="79942" y="100908"/>
                    </a:lnTo>
                    <a:lnTo>
                      <a:pt x="83646" y="98301"/>
                    </a:lnTo>
                    <a:lnTo>
                      <a:pt x="80929" y="88229"/>
                    </a:lnTo>
                    <a:lnTo>
                      <a:pt x="82686" y="85211"/>
                    </a:lnTo>
                    <a:lnTo>
                      <a:pt x="79118" y="75523"/>
                    </a:lnTo>
                    <a:lnTo>
                      <a:pt x="79749" y="74617"/>
                    </a:lnTo>
                    <a:lnTo>
                      <a:pt x="82823" y="75743"/>
                    </a:lnTo>
                    <a:lnTo>
                      <a:pt x="86802" y="82439"/>
                    </a:lnTo>
                    <a:lnTo>
                      <a:pt x="90782" y="82384"/>
                    </a:lnTo>
                    <a:lnTo>
                      <a:pt x="90068" y="85238"/>
                    </a:lnTo>
                    <a:lnTo>
                      <a:pt x="93691" y="92702"/>
                    </a:lnTo>
                    <a:lnTo>
                      <a:pt x="93691" y="100084"/>
                    </a:lnTo>
                    <a:cubicBezTo>
                      <a:pt x="93691" y="100084"/>
                      <a:pt x="96188" y="107631"/>
                      <a:pt x="96188" y="107631"/>
                    </a:cubicBezTo>
                    <a:lnTo>
                      <a:pt x="100030" y="113888"/>
                    </a:lnTo>
                    <a:lnTo>
                      <a:pt x="119734" y="125579"/>
                    </a:lnTo>
                    <a:lnTo>
                      <a:pt x="131315" y="129338"/>
                    </a:lnTo>
                    <a:lnTo>
                      <a:pt x="138313" y="129229"/>
                    </a:lnTo>
                    <a:lnTo>
                      <a:pt x="142951" y="126293"/>
                    </a:lnTo>
                    <a:lnTo>
                      <a:pt x="148933" y="118280"/>
                    </a:lnTo>
                    <a:lnTo>
                      <a:pt x="158813" y="113092"/>
                    </a:lnTo>
                    <a:lnTo>
                      <a:pt x="164356" y="113395"/>
                    </a:lnTo>
                    <a:lnTo>
                      <a:pt x="172095" y="118636"/>
                    </a:lnTo>
                    <a:lnTo>
                      <a:pt x="167018" y="130299"/>
                    </a:lnTo>
                    <a:lnTo>
                      <a:pt x="164356" y="150003"/>
                    </a:lnTo>
                    <a:lnTo>
                      <a:pt x="155656" y="156700"/>
                    </a:lnTo>
                    <a:lnTo>
                      <a:pt x="154010" y="161227"/>
                    </a:lnTo>
                    <a:lnTo>
                      <a:pt x="153297" y="168253"/>
                    </a:lnTo>
                    <a:lnTo>
                      <a:pt x="155108" y="172287"/>
                    </a:lnTo>
                    <a:lnTo>
                      <a:pt x="153104" y="176486"/>
                    </a:lnTo>
                    <a:lnTo>
                      <a:pt x="151074" y="170750"/>
                    </a:lnTo>
                    <a:lnTo>
                      <a:pt x="136501" y="171107"/>
                    </a:lnTo>
                    <a:lnTo>
                      <a:pt x="128516" y="175553"/>
                    </a:lnTo>
                    <a:lnTo>
                      <a:pt x="124152" y="182413"/>
                    </a:lnTo>
                    <a:lnTo>
                      <a:pt x="125936" y="190564"/>
                    </a:lnTo>
                    <a:lnTo>
                      <a:pt x="128927" y="193034"/>
                    </a:lnTo>
                    <a:lnTo>
                      <a:pt x="122862" y="210981"/>
                    </a:lnTo>
                    <a:lnTo>
                      <a:pt x="118307" y="216113"/>
                    </a:lnTo>
                    <a:lnTo>
                      <a:pt x="115343" y="224648"/>
                    </a:lnTo>
                    <a:lnTo>
                      <a:pt x="106369" y="235049"/>
                    </a:lnTo>
                    <a:lnTo>
                      <a:pt x="96517" y="253738"/>
                    </a:lnTo>
                    <a:lnTo>
                      <a:pt x="77444" y="268200"/>
                    </a:lnTo>
                    <a:lnTo>
                      <a:pt x="75084" y="267294"/>
                    </a:lnTo>
                    <a:lnTo>
                      <a:pt x="72999" y="260791"/>
                    </a:lnTo>
                    <a:lnTo>
                      <a:pt x="65259" y="260434"/>
                    </a:lnTo>
                    <a:lnTo>
                      <a:pt x="64299" y="254369"/>
                    </a:lnTo>
                    <a:lnTo>
                      <a:pt x="61061" y="257909"/>
                    </a:lnTo>
                    <a:lnTo>
                      <a:pt x="58152" y="257744"/>
                    </a:lnTo>
                    <a:lnTo>
                      <a:pt x="57027" y="255659"/>
                    </a:lnTo>
                    <a:lnTo>
                      <a:pt x="71160" y="235680"/>
                    </a:lnTo>
                    <a:lnTo>
                      <a:pt x="75029" y="220038"/>
                    </a:lnTo>
                    <a:lnTo>
                      <a:pt x="74041" y="212408"/>
                    </a:lnTo>
                    <a:lnTo>
                      <a:pt x="69678" y="205329"/>
                    </a:lnTo>
                    <a:lnTo>
                      <a:pt x="58179" y="199620"/>
                    </a:lnTo>
                    <a:lnTo>
                      <a:pt x="45775" y="190591"/>
                    </a:lnTo>
                    <a:lnTo>
                      <a:pt x="35292" y="186036"/>
                    </a:lnTo>
                    <a:lnTo>
                      <a:pt x="31999" y="179999"/>
                    </a:lnTo>
                    <a:lnTo>
                      <a:pt x="33399" y="174922"/>
                    </a:lnTo>
                    <a:lnTo>
                      <a:pt x="43635" y="168006"/>
                    </a:lnTo>
                    <a:lnTo>
                      <a:pt x="50413" y="166744"/>
                    </a:lnTo>
                    <a:lnTo>
                      <a:pt x="55957" y="160239"/>
                    </a:lnTo>
                    <a:lnTo>
                      <a:pt x="59716" y="135486"/>
                    </a:lnTo>
                    <a:lnTo>
                      <a:pt x="62378" y="131205"/>
                    </a:lnTo>
                    <a:lnTo>
                      <a:pt x="61719" y="124920"/>
                    </a:lnTo>
                    <a:lnTo>
                      <a:pt x="63421" y="121792"/>
                    </a:lnTo>
                    <a:lnTo>
                      <a:pt x="55984" y="98740"/>
                    </a:lnTo>
                    <a:lnTo>
                      <a:pt x="53130" y="93882"/>
                    </a:lnTo>
                    <a:lnTo>
                      <a:pt x="50660" y="85238"/>
                    </a:lnTo>
                    <a:lnTo>
                      <a:pt x="44129" y="74151"/>
                    </a:lnTo>
                    <a:lnTo>
                      <a:pt x="45802" y="72806"/>
                    </a:lnTo>
                    <a:lnTo>
                      <a:pt x="49892" y="77142"/>
                    </a:lnTo>
                    <a:lnTo>
                      <a:pt x="50770" y="76621"/>
                    </a:lnTo>
                    <a:lnTo>
                      <a:pt x="50824" y="70748"/>
                    </a:lnTo>
                    <a:lnTo>
                      <a:pt x="47751" y="70391"/>
                    </a:lnTo>
                    <a:lnTo>
                      <a:pt x="46516" y="66329"/>
                    </a:lnTo>
                    <a:lnTo>
                      <a:pt x="42153" y="63009"/>
                    </a:lnTo>
                    <a:lnTo>
                      <a:pt x="41110" y="63750"/>
                    </a:lnTo>
                    <a:lnTo>
                      <a:pt x="43635" y="69239"/>
                    </a:lnTo>
                    <a:lnTo>
                      <a:pt x="40369" y="69705"/>
                    </a:lnTo>
                    <a:lnTo>
                      <a:pt x="12075" y="28074"/>
                    </a:lnTo>
                    <a:lnTo>
                      <a:pt x="14353" y="23903"/>
                    </a:lnTo>
                    <a:lnTo>
                      <a:pt x="13776" y="19924"/>
                    </a:lnTo>
                    <a:lnTo>
                      <a:pt x="0" y="604"/>
                    </a:lnTo>
                    <a:lnTo>
                      <a:pt x="9139" y="0"/>
                    </a:lnTo>
                    <a:lnTo>
                      <a:pt x="10922" y="83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9" name="Freeform: Shape 3978">
                <a:extLst>
                  <a:ext uri="{FF2B5EF4-FFF2-40B4-BE49-F238E27FC236}">
                    <a16:creationId xmlns:a16="http://schemas.microsoft.com/office/drawing/2014/main" id="{72AFCC61-DB4D-DAEE-8A64-BB0E01458672}"/>
                  </a:ext>
                </a:extLst>
              </p:cNvPr>
              <p:cNvSpPr/>
              <p:nvPr/>
            </p:nvSpPr>
            <p:spPr>
              <a:xfrm>
                <a:off x="1879066" y="4006788"/>
                <a:ext cx="2341" cy="2685"/>
              </a:xfrm>
              <a:custGeom>
                <a:avLst/>
                <a:gdLst>
                  <a:gd name="connsiteX0" fmla="*/ 21159 w 22448"/>
                  <a:gd name="connsiteY0" fmla="*/ 10264 h 25741"/>
                  <a:gd name="connsiteX1" fmla="*/ 22449 w 22448"/>
                  <a:gd name="connsiteY1" fmla="*/ 17591 h 25741"/>
                  <a:gd name="connsiteX2" fmla="*/ 20446 w 22448"/>
                  <a:gd name="connsiteY2" fmla="*/ 16960 h 25741"/>
                  <a:gd name="connsiteX3" fmla="*/ 17289 w 22448"/>
                  <a:gd name="connsiteY3" fmla="*/ 18854 h 25741"/>
                  <a:gd name="connsiteX4" fmla="*/ 16054 w 22448"/>
                  <a:gd name="connsiteY4" fmla="*/ 18442 h 25741"/>
                  <a:gd name="connsiteX5" fmla="*/ 10923 w 22448"/>
                  <a:gd name="connsiteY5" fmla="*/ 21570 h 25741"/>
                  <a:gd name="connsiteX6" fmla="*/ 9111 w 22448"/>
                  <a:gd name="connsiteY6" fmla="*/ 20939 h 25741"/>
                  <a:gd name="connsiteX7" fmla="*/ 5461 w 22448"/>
                  <a:gd name="connsiteY7" fmla="*/ 24260 h 25741"/>
                  <a:gd name="connsiteX8" fmla="*/ 2744 w 22448"/>
                  <a:gd name="connsiteY8" fmla="*/ 25742 h 25741"/>
                  <a:gd name="connsiteX9" fmla="*/ 0 w 22448"/>
                  <a:gd name="connsiteY9" fmla="*/ 23930 h 25741"/>
                  <a:gd name="connsiteX10" fmla="*/ 3623 w 22448"/>
                  <a:gd name="connsiteY10" fmla="*/ 20637 h 25741"/>
                  <a:gd name="connsiteX11" fmla="*/ 3321 w 22448"/>
                  <a:gd name="connsiteY11" fmla="*/ 17317 h 25741"/>
                  <a:gd name="connsiteX12" fmla="*/ 5132 w 22448"/>
                  <a:gd name="connsiteY12" fmla="*/ 15149 h 25741"/>
                  <a:gd name="connsiteX13" fmla="*/ 7574 w 22448"/>
                  <a:gd name="connsiteY13" fmla="*/ 15258 h 25741"/>
                  <a:gd name="connsiteX14" fmla="*/ 6916 w 22448"/>
                  <a:gd name="connsiteY14" fmla="*/ 12020 h 25741"/>
                  <a:gd name="connsiteX15" fmla="*/ 8810 w 22448"/>
                  <a:gd name="connsiteY15" fmla="*/ 11005 h 25741"/>
                  <a:gd name="connsiteX16" fmla="*/ 9358 w 22448"/>
                  <a:gd name="connsiteY16" fmla="*/ 8891 h 25741"/>
                  <a:gd name="connsiteX17" fmla="*/ 7355 w 22448"/>
                  <a:gd name="connsiteY17" fmla="*/ 4611 h 25741"/>
                  <a:gd name="connsiteX18" fmla="*/ 8041 w 22448"/>
                  <a:gd name="connsiteY18" fmla="*/ 1153 h 25741"/>
                  <a:gd name="connsiteX19" fmla="*/ 12130 w 22448"/>
                  <a:gd name="connsiteY19" fmla="*/ 0 h 25741"/>
                  <a:gd name="connsiteX20" fmla="*/ 15533 w 22448"/>
                  <a:gd name="connsiteY20" fmla="*/ 1619 h 25741"/>
                  <a:gd name="connsiteX21" fmla="*/ 16192 w 22448"/>
                  <a:gd name="connsiteY21" fmla="*/ 4364 h 25741"/>
                  <a:gd name="connsiteX22" fmla="*/ 18689 w 22448"/>
                  <a:gd name="connsiteY22" fmla="*/ 6230 h 25741"/>
                  <a:gd name="connsiteX23" fmla="*/ 21132 w 22448"/>
                  <a:gd name="connsiteY23" fmla="*/ 10319 h 2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448" h="25741">
                    <a:moveTo>
                      <a:pt x="21159" y="10264"/>
                    </a:moveTo>
                    <a:lnTo>
                      <a:pt x="22449" y="17591"/>
                    </a:lnTo>
                    <a:lnTo>
                      <a:pt x="20446" y="16960"/>
                    </a:lnTo>
                    <a:lnTo>
                      <a:pt x="17289" y="18854"/>
                    </a:lnTo>
                    <a:lnTo>
                      <a:pt x="16054" y="18442"/>
                    </a:lnTo>
                    <a:lnTo>
                      <a:pt x="10923" y="21570"/>
                    </a:lnTo>
                    <a:lnTo>
                      <a:pt x="9111" y="20939"/>
                    </a:lnTo>
                    <a:lnTo>
                      <a:pt x="5461" y="24260"/>
                    </a:lnTo>
                    <a:lnTo>
                      <a:pt x="2744" y="25742"/>
                    </a:lnTo>
                    <a:lnTo>
                      <a:pt x="0" y="23930"/>
                    </a:lnTo>
                    <a:lnTo>
                      <a:pt x="3623" y="20637"/>
                    </a:lnTo>
                    <a:lnTo>
                      <a:pt x="3321" y="17317"/>
                    </a:lnTo>
                    <a:lnTo>
                      <a:pt x="5132" y="15149"/>
                    </a:lnTo>
                    <a:lnTo>
                      <a:pt x="7574" y="15258"/>
                    </a:lnTo>
                    <a:lnTo>
                      <a:pt x="6916" y="12020"/>
                    </a:lnTo>
                    <a:lnTo>
                      <a:pt x="8810" y="11005"/>
                    </a:lnTo>
                    <a:lnTo>
                      <a:pt x="9358" y="8891"/>
                    </a:lnTo>
                    <a:lnTo>
                      <a:pt x="7355" y="4611"/>
                    </a:lnTo>
                    <a:lnTo>
                      <a:pt x="8041" y="1153"/>
                    </a:lnTo>
                    <a:lnTo>
                      <a:pt x="12130" y="0"/>
                    </a:lnTo>
                    <a:lnTo>
                      <a:pt x="15533" y="1619"/>
                    </a:lnTo>
                    <a:lnTo>
                      <a:pt x="16192" y="4364"/>
                    </a:lnTo>
                    <a:lnTo>
                      <a:pt x="18689" y="6230"/>
                    </a:lnTo>
                    <a:lnTo>
                      <a:pt x="21132" y="103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0" name="Freeform: Shape 3979">
                <a:extLst>
                  <a:ext uri="{FF2B5EF4-FFF2-40B4-BE49-F238E27FC236}">
                    <a16:creationId xmlns:a16="http://schemas.microsoft.com/office/drawing/2014/main" id="{BFB91920-6698-2AED-24C4-C36B9AD5F4EE}"/>
                  </a:ext>
                </a:extLst>
              </p:cNvPr>
              <p:cNvSpPr/>
              <p:nvPr/>
            </p:nvSpPr>
            <p:spPr>
              <a:xfrm>
                <a:off x="1903144" y="3963166"/>
                <a:ext cx="733" cy="1122"/>
              </a:xfrm>
              <a:custGeom>
                <a:avLst/>
                <a:gdLst>
                  <a:gd name="connsiteX0" fmla="*/ 7026 w 7025"/>
                  <a:gd name="connsiteY0" fmla="*/ 8837 h 10757"/>
                  <a:gd name="connsiteX1" fmla="*/ 6449 w 7025"/>
                  <a:gd name="connsiteY1" fmla="*/ 10757 h 10757"/>
                  <a:gd name="connsiteX2" fmla="*/ 3787 w 7025"/>
                  <a:gd name="connsiteY2" fmla="*/ 9275 h 10757"/>
                  <a:gd name="connsiteX3" fmla="*/ 3320 w 7025"/>
                  <a:gd name="connsiteY3" fmla="*/ 7876 h 10757"/>
                  <a:gd name="connsiteX4" fmla="*/ 411 w 7025"/>
                  <a:gd name="connsiteY4" fmla="*/ 6285 h 10757"/>
                  <a:gd name="connsiteX5" fmla="*/ 0 w 7025"/>
                  <a:gd name="connsiteY5" fmla="*/ 4336 h 10757"/>
                  <a:gd name="connsiteX6" fmla="*/ 2031 w 7025"/>
                  <a:gd name="connsiteY6" fmla="*/ 2470 h 10757"/>
                  <a:gd name="connsiteX7" fmla="*/ 1097 w 7025"/>
                  <a:gd name="connsiteY7" fmla="*/ 549 h 10757"/>
                  <a:gd name="connsiteX8" fmla="*/ 2689 w 7025"/>
                  <a:gd name="connsiteY8" fmla="*/ 0 h 10757"/>
                  <a:gd name="connsiteX9" fmla="*/ 3623 w 7025"/>
                  <a:gd name="connsiteY9" fmla="*/ 3156 h 10757"/>
                  <a:gd name="connsiteX10" fmla="*/ 5900 w 7025"/>
                  <a:gd name="connsiteY10" fmla="*/ 4309 h 10757"/>
                  <a:gd name="connsiteX11" fmla="*/ 5105 w 7025"/>
                  <a:gd name="connsiteY11" fmla="*/ 6696 h 10757"/>
                  <a:gd name="connsiteX12" fmla="*/ 6971 w 7025"/>
                  <a:gd name="connsiteY12" fmla="*/ 8782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25" h="10757">
                    <a:moveTo>
                      <a:pt x="7026" y="8837"/>
                    </a:moveTo>
                    <a:lnTo>
                      <a:pt x="6449" y="10757"/>
                    </a:lnTo>
                    <a:lnTo>
                      <a:pt x="3787" y="9275"/>
                    </a:lnTo>
                    <a:lnTo>
                      <a:pt x="3320" y="7876"/>
                    </a:lnTo>
                    <a:lnTo>
                      <a:pt x="411" y="6285"/>
                    </a:lnTo>
                    <a:lnTo>
                      <a:pt x="0" y="4336"/>
                    </a:lnTo>
                    <a:lnTo>
                      <a:pt x="2031" y="2470"/>
                    </a:lnTo>
                    <a:lnTo>
                      <a:pt x="1097" y="549"/>
                    </a:lnTo>
                    <a:lnTo>
                      <a:pt x="2689" y="0"/>
                    </a:lnTo>
                    <a:lnTo>
                      <a:pt x="3623" y="3156"/>
                    </a:lnTo>
                    <a:lnTo>
                      <a:pt x="5900" y="4309"/>
                    </a:lnTo>
                    <a:lnTo>
                      <a:pt x="5105" y="6696"/>
                    </a:lnTo>
                    <a:lnTo>
                      <a:pt x="6971" y="87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1" name="Freeform: Shape 3980">
                <a:extLst>
                  <a:ext uri="{FF2B5EF4-FFF2-40B4-BE49-F238E27FC236}">
                    <a16:creationId xmlns:a16="http://schemas.microsoft.com/office/drawing/2014/main" id="{7E07A1F5-EF93-54BD-D174-B4B6866FCD24}"/>
                  </a:ext>
                </a:extLst>
              </p:cNvPr>
              <p:cNvSpPr/>
              <p:nvPr/>
            </p:nvSpPr>
            <p:spPr>
              <a:xfrm>
                <a:off x="1898466" y="3981688"/>
                <a:ext cx="404" cy="524"/>
              </a:xfrm>
              <a:custGeom>
                <a:avLst/>
                <a:gdLst>
                  <a:gd name="connsiteX0" fmla="*/ 3842 w 3869"/>
                  <a:gd name="connsiteY0" fmla="*/ 2854 h 5022"/>
                  <a:gd name="connsiteX1" fmla="*/ 1317 w 3869"/>
                  <a:gd name="connsiteY1" fmla="*/ 5022 h 5022"/>
                  <a:gd name="connsiteX2" fmla="*/ 0 w 3869"/>
                  <a:gd name="connsiteY2" fmla="*/ 2854 h 5022"/>
                  <a:gd name="connsiteX3" fmla="*/ 2360 w 3869"/>
                  <a:gd name="connsiteY3" fmla="*/ 0 h 5022"/>
                  <a:gd name="connsiteX4" fmla="*/ 3870 w 3869"/>
                  <a:gd name="connsiteY4" fmla="*/ 823 h 5022"/>
                  <a:gd name="connsiteX5" fmla="*/ 3870 w 3869"/>
                  <a:gd name="connsiteY5" fmla="*/ 2827 h 5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9" h="5022">
                    <a:moveTo>
                      <a:pt x="3842" y="2854"/>
                    </a:moveTo>
                    <a:lnTo>
                      <a:pt x="1317" y="5022"/>
                    </a:lnTo>
                    <a:lnTo>
                      <a:pt x="0" y="2854"/>
                    </a:lnTo>
                    <a:lnTo>
                      <a:pt x="2360" y="0"/>
                    </a:lnTo>
                    <a:lnTo>
                      <a:pt x="3870" y="823"/>
                    </a:lnTo>
                    <a:lnTo>
                      <a:pt x="3870" y="28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2" name="Freeform: Shape 3981">
                <a:extLst>
                  <a:ext uri="{FF2B5EF4-FFF2-40B4-BE49-F238E27FC236}">
                    <a16:creationId xmlns:a16="http://schemas.microsoft.com/office/drawing/2014/main" id="{549549C4-98F2-8ADC-88BE-0371A8D96159}"/>
                  </a:ext>
                </a:extLst>
              </p:cNvPr>
              <p:cNvSpPr/>
              <p:nvPr/>
            </p:nvSpPr>
            <p:spPr>
              <a:xfrm>
                <a:off x="1902239" y="3965848"/>
                <a:ext cx="498" cy="303"/>
              </a:xfrm>
              <a:custGeom>
                <a:avLst/>
                <a:gdLst>
                  <a:gd name="connsiteX0" fmla="*/ 4775 w 4775"/>
                  <a:gd name="connsiteY0" fmla="*/ 2909 h 2909"/>
                  <a:gd name="connsiteX1" fmla="*/ 1646 w 4775"/>
                  <a:gd name="connsiteY1" fmla="*/ 2909 h 2909"/>
                  <a:gd name="connsiteX2" fmla="*/ 0 w 4775"/>
                  <a:gd name="connsiteY2" fmla="*/ 1290 h 2909"/>
                  <a:gd name="connsiteX3" fmla="*/ 3842 w 4775"/>
                  <a:gd name="connsiteY3" fmla="*/ 0 h 2909"/>
                  <a:gd name="connsiteX4" fmla="*/ 4775 w 4775"/>
                  <a:gd name="connsiteY4" fmla="*/ 2909 h 2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 h="2909">
                    <a:moveTo>
                      <a:pt x="4775" y="2909"/>
                    </a:moveTo>
                    <a:lnTo>
                      <a:pt x="1646" y="2909"/>
                    </a:lnTo>
                    <a:lnTo>
                      <a:pt x="0" y="1290"/>
                    </a:lnTo>
                    <a:lnTo>
                      <a:pt x="3842" y="0"/>
                    </a:lnTo>
                    <a:lnTo>
                      <a:pt x="4775"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3" name="Freeform: Shape 3982">
                <a:extLst>
                  <a:ext uri="{FF2B5EF4-FFF2-40B4-BE49-F238E27FC236}">
                    <a16:creationId xmlns:a16="http://schemas.microsoft.com/office/drawing/2014/main" id="{F33EDF83-2150-F7F6-7990-73CE4D655C0F}"/>
                  </a:ext>
                </a:extLst>
              </p:cNvPr>
              <p:cNvSpPr/>
              <p:nvPr/>
            </p:nvSpPr>
            <p:spPr>
              <a:xfrm>
                <a:off x="1902282" y="3963510"/>
                <a:ext cx="349" cy="409"/>
              </a:xfrm>
              <a:custGeom>
                <a:avLst/>
                <a:gdLst>
                  <a:gd name="connsiteX0" fmla="*/ 3348 w 3347"/>
                  <a:gd name="connsiteY0" fmla="*/ 796 h 3924"/>
                  <a:gd name="connsiteX1" fmla="*/ 2717 w 3347"/>
                  <a:gd name="connsiteY1" fmla="*/ 3924 h 3924"/>
                  <a:gd name="connsiteX2" fmla="*/ 247 w 3347"/>
                  <a:gd name="connsiteY2" fmla="*/ 3293 h 3924"/>
                  <a:gd name="connsiteX3" fmla="*/ 0 w 3347"/>
                  <a:gd name="connsiteY3" fmla="*/ 1674 h 3924"/>
                  <a:gd name="connsiteX4" fmla="*/ 2223 w 3347"/>
                  <a:gd name="connsiteY4" fmla="*/ 0 h 3924"/>
                  <a:gd name="connsiteX5" fmla="*/ 3320 w 3347"/>
                  <a:gd name="connsiteY5" fmla="*/ 768 h 3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7" h="3924">
                    <a:moveTo>
                      <a:pt x="3348" y="796"/>
                    </a:moveTo>
                    <a:lnTo>
                      <a:pt x="2717" y="3924"/>
                    </a:lnTo>
                    <a:lnTo>
                      <a:pt x="247" y="3293"/>
                    </a:lnTo>
                    <a:lnTo>
                      <a:pt x="0" y="1674"/>
                    </a:lnTo>
                    <a:lnTo>
                      <a:pt x="2223" y="0"/>
                    </a:lnTo>
                    <a:lnTo>
                      <a:pt x="3320" y="7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4" name="Freeform: Shape 3983">
                <a:extLst>
                  <a:ext uri="{FF2B5EF4-FFF2-40B4-BE49-F238E27FC236}">
                    <a16:creationId xmlns:a16="http://schemas.microsoft.com/office/drawing/2014/main" id="{F86785A4-A634-6A5A-1B28-467F89046560}"/>
                  </a:ext>
                </a:extLst>
              </p:cNvPr>
              <p:cNvSpPr/>
              <p:nvPr/>
            </p:nvSpPr>
            <p:spPr>
              <a:xfrm>
                <a:off x="1899663" y="3983534"/>
                <a:ext cx="321" cy="464"/>
              </a:xfrm>
              <a:custGeom>
                <a:avLst/>
                <a:gdLst>
                  <a:gd name="connsiteX0" fmla="*/ 3073 w 3073"/>
                  <a:gd name="connsiteY0" fmla="*/ 2141 h 4446"/>
                  <a:gd name="connsiteX1" fmla="*/ 1345 w 3073"/>
                  <a:gd name="connsiteY1" fmla="*/ 4446 h 4446"/>
                  <a:gd name="connsiteX2" fmla="*/ 0 w 3073"/>
                  <a:gd name="connsiteY2" fmla="*/ 2607 h 4446"/>
                  <a:gd name="connsiteX3" fmla="*/ 466 w 3073"/>
                  <a:gd name="connsiteY3" fmla="*/ 137 h 4446"/>
                  <a:gd name="connsiteX4" fmla="*/ 2744 w 3073"/>
                  <a:gd name="connsiteY4" fmla="*/ 0 h 4446"/>
                  <a:gd name="connsiteX5" fmla="*/ 3073 w 3073"/>
                  <a:gd name="connsiteY5" fmla="*/ 2141 h 4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 h="4446">
                    <a:moveTo>
                      <a:pt x="3073" y="2141"/>
                    </a:moveTo>
                    <a:lnTo>
                      <a:pt x="1345" y="4446"/>
                    </a:lnTo>
                    <a:lnTo>
                      <a:pt x="0" y="2607"/>
                    </a:lnTo>
                    <a:lnTo>
                      <a:pt x="466" y="137"/>
                    </a:lnTo>
                    <a:lnTo>
                      <a:pt x="2744" y="0"/>
                    </a:lnTo>
                    <a:lnTo>
                      <a:pt x="3073"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1" name="Freeform: Shape 3990">
                <a:extLst>
                  <a:ext uri="{FF2B5EF4-FFF2-40B4-BE49-F238E27FC236}">
                    <a16:creationId xmlns:a16="http://schemas.microsoft.com/office/drawing/2014/main" id="{14961980-3341-69FB-EEEB-41D5AEF9BFBD}"/>
                  </a:ext>
                </a:extLst>
              </p:cNvPr>
              <p:cNvSpPr/>
              <p:nvPr/>
            </p:nvSpPr>
            <p:spPr>
              <a:xfrm>
                <a:off x="1732760" y="3786268"/>
                <a:ext cx="13496" cy="19378"/>
              </a:xfrm>
              <a:custGeom>
                <a:avLst/>
                <a:gdLst>
                  <a:gd name="connsiteX0" fmla="*/ 24315 w 129393"/>
                  <a:gd name="connsiteY0" fmla="*/ 4171 h 185788"/>
                  <a:gd name="connsiteX1" fmla="*/ 31724 w 129393"/>
                  <a:gd name="connsiteY1" fmla="*/ 0 h 185788"/>
                  <a:gd name="connsiteX2" fmla="*/ 34798 w 129393"/>
                  <a:gd name="connsiteY2" fmla="*/ 1839 h 185788"/>
                  <a:gd name="connsiteX3" fmla="*/ 41548 w 129393"/>
                  <a:gd name="connsiteY3" fmla="*/ 549 h 185788"/>
                  <a:gd name="connsiteX4" fmla="*/ 62789 w 129393"/>
                  <a:gd name="connsiteY4" fmla="*/ 10950 h 185788"/>
                  <a:gd name="connsiteX5" fmla="*/ 67921 w 129393"/>
                  <a:gd name="connsiteY5" fmla="*/ 9221 h 185788"/>
                  <a:gd name="connsiteX6" fmla="*/ 69842 w 129393"/>
                  <a:gd name="connsiteY6" fmla="*/ 6778 h 185788"/>
                  <a:gd name="connsiteX7" fmla="*/ 69842 w 129393"/>
                  <a:gd name="connsiteY7" fmla="*/ 2662 h 185788"/>
                  <a:gd name="connsiteX8" fmla="*/ 71955 w 129393"/>
                  <a:gd name="connsiteY8" fmla="*/ 3293 h 185788"/>
                  <a:gd name="connsiteX9" fmla="*/ 75523 w 129393"/>
                  <a:gd name="connsiteY9" fmla="*/ 10017 h 185788"/>
                  <a:gd name="connsiteX10" fmla="*/ 71544 w 129393"/>
                  <a:gd name="connsiteY10" fmla="*/ 16740 h 185788"/>
                  <a:gd name="connsiteX11" fmla="*/ 70282 w 129393"/>
                  <a:gd name="connsiteY11" fmla="*/ 26400 h 185788"/>
                  <a:gd name="connsiteX12" fmla="*/ 71324 w 129393"/>
                  <a:gd name="connsiteY12" fmla="*/ 32547 h 185788"/>
                  <a:gd name="connsiteX13" fmla="*/ 73657 w 129393"/>
                  <a:gd name="connsiteY13" fmla="*/ 38530 h 185788"/>
                  <a:gd name="connsiteX14" fmla="*/ 78322 w 129393"/>
                  <a:gd name="connsiteY14" fmla="*/ 41164 h 185788"/>
                  <a:gd name="connsiteX15" fmla="*/ 78651 w 129393"/>
                  <a:gd name="connsiteY15" fmla="*/ 45830 h 185788"/>
                  <a:gd name="connsiteX16" fmla="*/ 80984 w 129393"/>
                  <a:gd name="connsiteY16" fmla="*/ 48080 h 185788"/>
                  <a:gd name="connsiteX17" fmla="*/ 71159 w 129393"/>
                  <a:gd name="connsiteY17" fmla="*/ 74233 h 185788"/>
                  <a:gd name="connsiteX18" fmla="*/ 69568 w 129393"/>
                  <a:gd name="connsiteY18" fmla="*/ 75194 h 185788"/>
                  <a:gd name="connsiteX19" fmla="*/ 69074 w 129393"/>
                  <a:gd name="connsiteY19" fmla="*/ 73382 h 185788"/>
                  <a:gd name="connsiteX20" fmla="*/ 67016 w 129393"/>
                  <a:gd name="connsiteY20" fmla="*/ 75797 h 185788"/>
                  <a:gd name="connsiteX21" fmla="*/ 69156 w 129393"/>
                  <a:gd name="connsiteY21" fmla="*/ 77856 h 185788"/>
                  <a:gd name="connsiteX22" fmla="*/ 67235 w 129393"/>
                  <a:gd name="connsiteY22" fmla="*/ 80161 h 185788"/>
                  <a:gd name="connsiteX23" fmla="*/ 65397 w 129393"/>
                  <a:gd name="connsiteY23" fmla="*/ 78487 h 185788"/>
                  <a:gd name="connsiteX24" fmla="*/ 65205 w 129393"/>
                  <a:gd name="connsiteY24" fmla="*/ 76429 h 185788"/>
                  <a:gd name="connsiteX25" fmla="*/ 59002 w 129393"/>
                  <a:gd name="connsiteY25" fmla="*/ 78679 h 185788"/>
                  <a:gd name="connsiteX26" fmla="*/ 53184 w 129393"/>
                  <a:gd name="connsiteY26" fmla="*/ 84222 h 185788"/>
                  <a:gd name="connsiteX27" fmla="*/ 54420 w 129393"/>
                  <a:gd name="connsiteY27" fmla="*/ 90672 h 185788"/>
                  <a:gd name="connsiteX28" fmla="*/ 47943 w 129393"/>
                  <a:gd name="connsiteY28" fmla="*/ 102335 h 185788"/>
                  <a:gd name="connsiteX29" fmla="*/ 53486 w 129393"/>
                  <a:gd name="connsiteY29" fmla="*/ 114080 h 185788"/>
                  <a:gd name="connsiteX30" fmla="*/ 56533 w 129393"/>
                  <a:gd name="connsiteY30" fmla="*/ 119844 h 185788"/>
                  <a:gd name="connsiteX31" fmla="*/ 54776 w 129393"/>
                  <a:gd name="connsiteY31" fmla="*/ 123768 h 185788"/>
                  <a:gd name="connsiteX32" fmla="*/ 58646 w 129393"/>
                  <a:gd name="connsiteY32" fmla="*/ 136666 h 185788"/>
                  <a:gd name="connsiteX33" fmla="*/ 63530 w 129393"/>
                  <a:gd name="connsiteY33" fmla="*/ 141633 h 185788"/>
                  <a:gd name="connsiteX34" fmla="*/ 72285 w 129393"/>
                  <a:gd name="connsiteY34" fmla="*/ 144377 h 185788"/>
                  <a:gd name="connsiteX35" fmla="*/ 74178 w 129393"/>
                  <a:gd name="connsiteY35" fmla="*/ 141716 h 185788"/>
                  <a:gd name="connsiteX36" fmla="*/ 71791 w 129393"/>
                  <a:gd name="connsiteY36" fmla="*/ 137325 h 185788"/>
                  <a:gd name="connsiteX37" fmla="*/ 75248 w 129393"/>
                  <a:gd name="connsiteY37" fmla="*/ 137325 h 185788"/>
                  <a:gd name="connsiteX38" fmla="*/ 76730 w 129393"/>
                  <a:gd name="connsiteY38" fmla="*/ 134059 h 185788"/>
                  <a:gd name="connsiteX39" fmla="*/ 80984 w 129393"/>
                  <a:gd name="connsiteY39" fmla="*/ 131616 h 185788"/>
                  <a:gd name="connsiteX40" fmla="*/ 87077 w 129393"/>
                  <a:gd name="connsiteY40" fmla="*/ 132028 h 185788"/>
                  <a:gd name="connsiteX41" fmla="*/ 91659 w 129393"/>
                  <a:gd name="connsiteY41" fmla="*/ 134059 h 185788"/>
                  <a:gd name="connsiteX42" fmla="*/ 98081 w 129393"/>
                  <a:gd name="connsiteY42" fmla="*/ 139575 h 185788"/>
                  <a:gd name="connsiteX43" fmla="*/ 96819 w 129393"/>
                  <a:gd name="connsiteY43" fmla="*/ 140563 h 185788"/>
                  <a:gd name="connsiteX44" fmla="*/ 97505 w 129393"/>
                  <a:gd name="connsiteY44" fmla="*/ 148906 h 185788"/>
                  <a:gd name="connsiteX45" fmla="*/ 102280 w 129393"/>
                  <a:gd name="connsiteY45" fmla="*/ 149866 h 185788"/>
                  <a:gd name="connsiteX46" fmla="*/ 104640 w 129393"/>
                  <a:gd name="connsiteY46" fmla="*/ 147369 h 185788"/>
                  <a:gd name="connsiteX47" fmla="*/ 103625 w 129393"/>
                  <a:gd name="connsiteY47" fmla="*/ 143938 h 185788"/>
                  <a:gd name="connsiteX48" fmla="*/ 102280 w 129393"/>
                  <a:gd name="connsiteY48" fmla="*/ 141771 h 185788"/>
                  <a:gd name="connsiteX49" fmla="*/ 105353 w 129393"/>
                  <a:gd name="connsiteY49" fmla="*/ 140234 h 185788"/>
                  <a:gd name="connsiteX50" fmla="*/ 108729 w 129393"/>
                  <a:gd name="connsiteY50" fmla="*/ 143774 h 185788"/>
                  <a:gd name="connsiteX51" fmla="*/ 117072 w 129393"/>
                  <a:gd name="connsiteY51" fmla="*/ 145228 h 185788"/>
                  <a:gd name="connsiteX52" fmla="*/ 122780 w 129393"/>
                  <a:gd name="connsiteY52" fmla="*/ 148549 h 185788"/>
                  <a:gd name="connsiteX53" fmla="*/ 118938 w 129393"/>
                  <a:gd name="connsiteY53" fmla="*/ 150936 h 185788"/>
                  <a:gd name="connsiteX54" fmla="*/ 112983 w 129393"/>
                  <a:gd name="connsiteY54" fmla="*/ 150607 h 185788"/>
                  <a:gd name="connsiteX55" fmla="*/ 111199 w 129393"/>
                  <a:gd name="connsiteY55" fmla="*/ 153818 h 185788"/>
                  <a:gd name="connsiteX56" fmla="*/ 118718 w 129393"/>
                  <a:gd name="connsiteY56" fmla="*/ 164027 h 185788"/>
                  <a:gd name="connsiteX57" fmla="*/ 118773 w 129393"/>
                  <a:gd name="connsiteY57" fmla="*/ 169515 h 185788"/>
                  <a:gd name="connsiteX58" fmla="*/ 121710 w 129393"/>
                  <a:gd name="connsiteY58" fmla="*/ 168418 h 185788"/>
                  <a:gd name="connsiteX59" fmla="*/ 127116 w 129393"/>
                  <a:gd name="connsiteY59" fmla="*/ 170997 h 185788"/>
                  <a:gd name="connsiteX60" fmla="*/ 129393 w 129393"/>
                  <a:gd name="connsiteY60" fmla="*/ 170201 h 185788"/>
                  <a:gd name="connsiteX61" fmla="*/ 128626 w 129393"/>
                  <a:gd name="connsiteY61" fmla="*/ 174181 h 185788"/>
                  <a:gd name="connsiteX62" fmla="*/ 128845 w 129393"/>
                  <a:gd name="connsiteY62" fmla="*/ 181261 h 185788"/>
                  <a:gd name="connsiteX63" fmla="*/ 126320 w 129393"/>
                  <a:gd name="connsiteY63" fmla="*/ 185789 h 185788"/>
                  <a:gd name="connsiteX64" fmla="*/ 121435 w 129393"/>
                  <a:gd name="connsiteY64" fmla="*/ 182413 h 185788"/>
                  <a:gd name="connsiteX65" fmla="*/ 119926 w 129393"/>
                  <a:gd name="connsiteY65" fmla="*/ 176294 h 185788"/>
                  <a:gd name="connsiteX66" fmla="*/ 112187 w 129393"/>
                  <a:gd name="connsiteY66" fmla="*/ 174181 h 185788"/>
                  <a:gd name="connsiteX67" fmla="*/ 108153 w 129393"/>
                  <a:gd name="connsiteY67" fmla="*/ 171354 h 185788"/>
                  <a:gd name="connsiteX68" fmla="*/ 104283 w 129393"/>
                  <a:gd name="connsiteY68" fmla="*/ 170915 h 185788"/>
                  <a:gd name="connsiteX69" fmla="*/ 104421 w 129393"/>
                  <a:gd name="connsiteY69" fmla="*/ 166030 h 185788"/>
                  <a:gd name="connsiteX70" fmla="*/ 100112 w 129393"/>
                  <a:gd name="connsiteY70" fmla="*/ 158867 h 185788"/>
                  <a:gd name="connsiteX71" fmla="*/ 91330 w 129393"/>
                  <a:gd name="connsiteY71" fmla="*/ 153845 h 185788"/>
                  <a:gd name="connsiteX72" fmla="*/ 88366 w 129393"/>
                  <a:gd name="connsiteY72" fmla="*/ 148549 h 185788"/>
                  <a:gd name="connsiteX73" fmla="*/ 80490 w 129393"/>
                  <a:gd name="connsiteY73" fmla="*/ 144158 h 185788"/>
                  <a:gd name="connsiteX74" fmla="*/ 81835 w 129393"/>
                  <a:gd name="connsiteY74" fmla="*/ 153845 h 185788"/>
                  <a:gd name="connsiteX75" fmla="*/ 86116 w 129393"/>
                  <a:gd name="connsiteY75" fmla="*/ 162929 h 185788"/>
                  <a:gd name="connsiteX76" fmla="*/ 83893 w 129393"/>
                  <a:gd name="connsiteY76" fmla="*/ 166634 h 185788"/>
                  <a:gd name="connsiteX77" fmla="*/ 81451 w 129393"/>
                  <a:gd name="connsiteY77" fmla="*/ 165399 h 185788"/>
                  <a:gd name="connsiteX78" fmla="*/ 77910 w 129393"/>
                  <a:gd name="connsiteY78" fmla="*/ 156974 h 185788"/>
                  <a:gd name="connsiteX79" fmla="*/ 73657 w 129393"/>
                  <a:gd name="connsiteY79" fmla="*/ 153873 h 185788"/>
                  <a:gd name="connsiteX80" fmla="*/ 71983 w 129393"/>
                  <a:gd name="connsiteY80" fmla="*/ 153873 h 185788"/>
                  <a:gd name="connsiteX81" fmla="*/ 68910 w 129393"/>
                  <a:gd name="connsiteY81" fmla="*/ 149098 h 185788"/>
                  <a:gd name="connsiteX82" fmla="*/ 63448 w 129393"/>
                  <a:gd name="connsiteY82" fmla="*/ 146271 h 185788"/>
                  <a:gd name="connsiteX83" fmla="*/ 57603 w 129393"/>
                  <a:gd name="connsiteY83" fmla="*/ 143691 h 185788"/>
                  <a:gd name="connsiteX84" fmla="*/ 50770 w 129393"/>
                  <a:gd name="connsiteY84" fmla="*/ 146792 h 185788"/>
                  <a:gd name="connsiteX85" fmla="*/ 49507 w 129393"/>
                  <a:gd name="connsiteY85" fmla="*/ 151183 h 185788"/>
                  <a:gd name="connsiteX86" fmla="*/ 45089 w 129393"/>
                  <a:gd name="connsiteY86" fmla="*/ 153845 h 185788"/>
                  <a:gd name="connsiteX87" fmla="*/ 38338 w 129393"/>
                  <a:gd name="connsiteY87" fmla="*/ 152583 h 185788"/>
                  <a:gd name="connsiteX88" fmla="*/ 36746 w 129393"/>
                  <a:gd name="connsiteY88" fmla="*/ 149070 h 185788"/>
                  <a:gd name="connsiteX89" fmla="*/ 33673 w 129393"/>
                  <a:gd name="connsiteY89" fmla="*/ 150223 h 185788"/>
                  <a:gd name="connsiteX90" fmla="*/ 33920 w 129393"/>
                  <a:gd name="connsiteY90" fmla="*/ 146655 h 185788"/>
                  <a:gd name="connsiteX91" fmla="*/ 32245 w 129393"/>
                  <a:gd name="connsiteY91" fmla="*/ 144762 h 185788"/>
                  <a:gd name="connsiteX92" fmla="*/ 25440 w 129393"/>
                  <a:gd name="connsiteY92" fmla="*/ 145859 h 185788"/>
                  <a:gd name="connsiteX93" fmla="*/ 24589 w 129393"/>
                  <a:gd name="connsiteY93" fmla="*/ 135541 h 185788"/>
                  <a:gd name="connsiteX94" fmla="*/ 35621 w 129393"/>
                  <a:gd name="connsiteY94" fmla="*/ 126485 h 185788"/>
                  <a:gd name="connsiteX95" fmla="*/ 33782 w 129393"/>
                  <a:gd name="connsiteY95" fmla="*/ 120420 h 185788"/>
                  <a:gd name="connsiteX96" fmla="*/ 23491 w 129393"/>
                  <a:gd name="connsiteY96" fmla="*/ 117676 h 185788"/>
                  <a:gd name="connsiteX97" fmla="*/ 24616 w 129393"/>
                  <a:gd name="connsiteY97" fmla="*/ 126814 h 185788"/>
                  <a:gd name="connsiteX98" fmla="*/ 21103 w 129393"/>
                  <a:gd name="connsiteY98" fmla="*/ 128927 h 185788"/>
                  <a:gd name="connsiteX99" fmla="*/ 14901 w 129393"/>
                  <a:gd name="connsiteY99" fmla="*/ 120941 h 185788"/>
                  <a:gd name="connsiteX100" fmla="*/ 14463 w 129393"/>
                  <a:gd name="connsiteY100" fmla="*/ 116468 h 185788"/>
                  <a:gd name="connsiteX101" fmla="*/ 11060 w 129393"/>
                  <a:gd name="connsiteY101" fmla="*/ 118526 h 185788"/>
                  <a:gd name="connsiteX102" fmla="*/ 8672 w 129393"/>
                  <a:gd name="connsiteY102" fmla="*/ 114080 h 185788"/>
                  <a:gd name="connsiteX103" fmla="*/ 7657 w 129393"/>
                  <a:gd name="connsiteY103" fmla="*/ 104393 h 185788"/>
                  <a:gd name="connsiteX104" fmla="*/ 4254 w 129393"/>
                  <a:gd name="connsiteY104" fmla="*/ 98273 h 185788"/>
                  <a:gd name="connsiteX105" fmla="*/ 5434 w 129393"/>
                  <a:gd name="connsiteY105" fmla="*/ 95337 h 185788"/>
                  <a:gd name="connsiteX106" fmla="*/ 4089 w 129393"/>
                  <a:gd name="connsiteY106" fmla="*/ 85457 h 185788"/>
                  <a:gd name="connsiteX107" fmla="*/ 2689 w 129393"/>
                  <a:gd name="connsiteY107" fmla="*/ 82823 h 185788"/>
                  <a:gd name="connsiteX108" fmla="*/ 0 w 129393"/>
                  <a:gd name="connsiteY108" fmla="*/ 82055 h 185788"/>
                  <a:gd name="connsiteX109" fmla="*/ 192 w 129393"/>
                  <a:gd name="connsiteY109" fmla="*/ 74672 h 185788"/>
                  <a:gd name="connsiteX110" fmla="*/ 1235 w 129393"/>
                  <a:gd name="connsiteY110" fmla="*/ 70968 h 185788"/>
                  <a:gd name="connsiteX111" fmla="*/ 4995 w 129393"/>
                  <a:gd name="connsiteY111" fmla="*/ 68470 h 185788"/>
                  <a:gd name="connsiteX112" fmla="*/ 11444 w 129393"/>
                  <a:gd name="connsiteY112" fmla="*/ 79502 h 185788"/>
                  <a:gd name="connsiteX113" fmla="*/ 16356 w 129393"/>
                  <a:gd name="connsiteY113" fmla="*/ 78816 h 185788"/>
                  <a:gd name="connsiteX114" fmla="*/ 19018 w 129393"/>
                  <a:gd name="connsiteY114" fmla="*/ 75743 h 185788"/>
                  <a:gd name="connsiteX115" fmla="*/ 16136 w 129393"/>
                  <a:gd name="connsiteY115" fmla="*/ 62570 h 185788"/>
                  <a:gd name="connsiteX116" fmla="*/ 19869 w 129393"/>
                  <a:gd name="connsiteY116" fmla="*/ 50770 h 185788"/>
                  <a:gd name="connsiteX117" fmla="*/ 20088 w 129393"/>
                  <a:gd name="connsiteY117" fmla="*/ 37789 h 185788"/>
                  <a:gd name="connsiteX118" fmla="*/ 16987 w 129393"/>
                  <a:gd name="connsiteY118" fmla="*/ 32520 h 185788"/>
                  <a:gd name="connsiteX119" fmla="*/ 24205 w 129393"/>
                  <a:gd name="connsiteY119" fmla="*/ 9660 h 185788"/>
                  <a:gd name="connsiteX120" fmla="*/ 24205 w 129393"/>
                  <a:gd name="connsiteY120" fmla="*/ 4116 h 18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29393" h="185788">
                    <a:moveTo>
                      <a:pt x="24315" y="4171"/>
                    </a:moveTo>
                    <a:lnTo>
                      <a:pt x="31724" y="0"/>
                    </a:lnTo>
                    <a:lnTo>
                      <a:pt x="34798" y="1839"/>
                    </a:lnTo>
                    <a:lnTo>
                      <a:pt x="41548" y="549"/>
                    </a:lnTo>
                    <a:lnTo>
                      <a:pt x="62789" y="10950"/>
                    </a:lnTo>
                    <a:lnTo>
                      <a:pt x="67921" y="9221"/>
                    </a:lnTo>
                    <a:lnTo>
                      <a:pt x="69842" y="6778"/>
                    </a:lnTo>
                    <a:lnTo>
                      <a:pt x="69842" y="2662"/>
                    </a:lnTo>
                    <a:cubicBezTo>
                      <a:pt x="69842" y="2662"/>
                      <a:pt x="71955" y="3293"/>
                      <a:pt x="71955" y="3293"/>
                    </a:cubicBezTo>
                    <a:lnTo>
                      <a:pt x="75523" y="10017"/>
                    </a:lnTo>
                    <a:lnTo>
                      <a:pt x="71544" y="16740"/>
                    </a:lnTo>
                    <a:lnTo>
                      <a:pt x="70282" y="26400"/>
                    </a:lnTo>
                    <a:lnTo>
                      <a:pt x="71324" y="32547"/>
                    </a:lnTo>
                    <a:lnTo>
                      <a:pt x="73657" y="38530"/>
                    </a:lnTo>
                    <a:lnTo>
                      <a:pt x="78322" y="41164"/>
                    </a:lnTo>
                    <a:lnTo>
                      <a:pt x="78651" y="45830"/>
                    </a:lnTo>
                    <a:lnTo>
                      <a:pt x="80984" y="48080"/>
                    </a:lnTo>
                    <a:lnTo>
                      <a:pt x="71159" y="74233"/>
                    </a:lnTo>
                    <a:lnTo>
                      <a:pt x="69568" y="75194"/>
                    </a:lnTo>
                    <a:lnTo>
                      <a:pt x="69074" y="73382"/>
                    </a:lnTo>
                    <a:lnTo>
                      <a:pt x="67016" y="75797"/>
                    </a:lnTo>
                    <a:lnTo>
                      <a:pt x="69156" y="77856"/>
                    </a:lnTo>
                    <a:lnTo>
                      <a:pt x="67235" y="80161"/>
                    </a:lnTo>
                    <a:lnTo>
                      <a:pt x="65397" y="78487"/>
                    </a:lnTo>
                    <a:lnTo>
                      <a:pt x="65205" y="76429"/>
                    </a:lnTo>
                    <a:lnTo>
                      <a:pt x="59002" y="78679"/>
                    </a:lnTo>
                    <a:lnTo>
                      <a:pt x="53184" y="84222"/>
                    </a:lnTo>
                    <a:lnTo>
                      <a:pt x="54420" y="90672"/>
                    </a:lnTo>
                    <a:lnTo>
                      <a:pt x="47943" y="102335"/>
                    </a:lnTo>
                    <a:lnTo>
                      <a:pt x="53486" y="114080"/>
                    </a:lnTo>
                    <a:lnTo>
                      <a:pt x="56533" y="119844"/>
                    </a:lnTo>
                    <a:lnTo>
                      <a:pt x="54776" y="123768"/>
                    </a:lnTo>
                    <a:lnTo>
                      <a:pt x="58646" y="136666"/>
                    </a:lnTo>
                    <a:lnTo>
                      <a:pt x="63530" y="141633"/>
                    </a:lnTo>
                    <a:lnTo>
                      <a:pt x="72285" y="144377"/>
                    </a:lnTo>
                    <a:lnTo>
                      <a:pt x="74178" y="141716"/>
                    </a:lnTo>
                    <a:lnTo>
                      <a:pt x="71791" y="137325"/>
                    </a:lnTo>
                    <a:lnTo>
                      <a:pt x="75248" y="137325"/>
                    </a:lnTo>
                    <a:lnTo>
                      <a:pt x="76730" y="134059"/>
                    </a:lnTo>
                    <a:lnTo>
                      <a:pt x="80984" y="131616"/>
                    </a:lnTo>
                    <a:lnTo>
                      <a:pt x="87077" y="132028"/>
                    </a:lnTo>
                    <a:lnTo>
                      <a:pt x="91659" y="134059"/>
                    </a:lnTo>
                    <a:lnTo>
                      <a:pt x="98081" y="139575"/>
                    </a:lnTo>
                    <a:lnTo>
                      <a:pt x="96819" y="140563"/>
                    </a:lnTo>
                    <a:lnTo>
                      <a:pt x="97505" y="148906"/>
                    </a:lnTo>
                    <a:lnTo>
                      <a:pt x="102280" y="149866"/>
                    </a:lnTo>
                    <a:lnTo>
                      <a:pt x="104640" y="147369"/>
                    </a:lnTo>
                    <a:lnTo>
                      <a:pt x="103625" y="143938"/>
                    </a:lnTo>
                    <a:lnTo>
                      <a:pt x="102280" y="141771"/>
                    </a:lnTo>
                    <a:lnTo>
                      <a:pt x="105353" y="140234"/>
                    </a:lnTo>
                    <a:lnTo>
                      <a:pt x="108729" y="143774"/>
                    </a:lnTo>
                    <a:lnTo>
                      <a:pt x="117072" y="145228"/>
                    </a:lnTo>
                    <a:lnTo>
                      <a:pt x="122780" y="148549"/>
                    </a:lnTo>
                    <a:lnTo>
                      <a:pt x="118938" y="150936"/>
                    </a:lnTo>
                    <a:lnTo>
                      <a:pt x="112983" y="150607"/>
                    </a:lnTo>
                    <a:lnTo>
                      <a:pt x="111199" y="153818"/>
                    </a:lnTo>
                    <a:lnTo>
                      <a:pt x="118718" y="164027"/>
                    </a:lnTo>
                    <a:lnTo>
                      <a:pt x="118773" y="169515"/>
                    </a:lnTo>
                    <a:lnTo>
                      <a:pt x="121710" y="168418"/>
                    </a:lnTo>
                    <a:lnTo>
                      <a:pt x="127116" y="170997"/>
                    </a:lnTo>
                    <a:lnTo>
                      <a:pt x="129393" y="170201"/>
                    </a:lnTo>
                    <a:lnTo>
                      <a:pt x="128626" y="174181"/>
                    </a:lnTo>
                    <a:lnTo>
                      <a:pt x="128845" y="181261"/>
                    </a:lnTo>
                    <a:lnTo>
                      <a:pt x="126320" y="185789"/>
                    </a:lnTo>
                    <a:lnTo>
                      <a:pt x="121435" y="182413"/>
                    </a:lnTo>
                    <a:lnTo>
                      <a:pt x="119926" y="176294"/>
                    </a:lnTo>
                    <a:lnTo>
                      <a:pt x="112187" y="174181"/>
                    </a:lnTo>
                    <a:lnTo>
                      <a:pt x="108153" y="171354"/>
                    </a:lnTo>
                    <a:lnTo>
                      <a:pt x="104283" y="170915"/>
                    </a:lnTo>
                    <a:lnTo>
                      <a:pt x="104421" y="166030"/>
                    </a:lnTo>
                    <a:lnTo>
                      <a:pt x="100112" y="158867"/>
                    </a:lnTo>
                    <a:lnTo>
                      <a:pt x="91330" y="153845"/>
                    </a:lnTo>
                    <a:lnTo>
                      <a:pt x="88366" y="148549"/>
                    </a:lnTo>
                    <a:lnTo>
                      <a:pt x="80490" y="144158"/>
                    </a:lnTo>
                    <a:lnTo>
                      <a:pt x="81835" y="153845"/>
                    </a:lnTo>
                    <a:lnTo>
                      <a:pt x="86116" y="162929"/>
                    </a:lnTo>
                    <a:lnTo>
                      <a:pt x="83893" y="166634"/>
                    </a:lnTo>
                    <a:lnTo>
                      <a:pt x="81451" y="165399"/>
                    </a:lnTo>
                    <a:lnTo>
                      <a:pt x="77910" y="156974"/>
                    </a:lnTo>
                    <a:lnTo>
                      <a:pt x="73657" y="153873"/>
                    </a:lnTo>
                    <a:lnTo>
                      <a:pt x="71983" y="153873"/>
                    </a:lnTo>
                    <a:lnTo>
                      <a:pt x="68910" y="149098"/>
                    </a:lnTo>
                    <a:lnTo>
                      <a:pt x="63448" y="146271"/>
                    </a:lnTo>
                    <a:lnTo>
                      <a:pt x="57603" y="143691"/>
                    </a:lnTo>
                    <a:lnTo>
                      <a:pt x="50770" y="146792"/>
                    </a:lnTo>
                    <a:lnTo>
                      <a:pt x="49507" y="151183"/>
                    </a:lnTo>
                    <a:lnTo>
                      <a:pt x="45089" y="153845"/>
                    </a:lnTo>
                    <a:lnTo>
                      <a:pt x="38338" y="152583"/>
                    </a:lnTo>
                    <a:lnTo>
                      <a:pt x="36746" y="149070"/>
                    </a:lnTo>
                    <a:lnTo>
                      <a:pt x="33673" y="150223"/>
                    </a:lnTo>
                    <a:lnTo>
                      <a:pt x="33920" y="146655"/>
                    </a:lnTo>
                    <a:lnTo>
                      <a:pt x="32245" y="144762"/>
                    </a:lnTo>
                    <a:lnTo>
                      <a:pt x="25440" y="145859"/>
                    </a:lnTo>
                    <a:lnTo>
                      <a:pt x="24589" y="135541"/>
                    </a:lnTo>
                    <a:lnTo>
                      <a:pt x="35621" y="126485"/>
                    </a:lnTo>
                    <a:lnTo>
                      <a:pt x="33782" y="120420"/>
                    </a:lnTo>
                    <a:lnTo>
                      <a:pt x="23491" y="117676"/>
                    </a:lnTo>
                    <a:lnTo>
                      <a:pt x="24616" y="126814"/>
                    </a:lnTo>
                    <a:lnTo>
                      <a:pt x="21103" y="128927"/>
                    </a:lnTo>
                    <a:lnTo>
                      <a:pt x="14901" y="120941"/>
                    </a:lnTo>
                    <a:lnTo>
                      <a:pt x="14463" y="116468"/>
                    </a:lnTo>
                    <a:lnTo>
                      <a:pt x="11060" y="118526"/>
                    </a:lnTo>
                    <a:lnTo>
                      <a:pt x="8672" y="114080"/>
                    </a:lnTo>
                    <a:lnTo>
                      <a:pt x="7657" y="104393"/>
                    </a:lnTo>
                    <a:lnTo>
                      <a:pt x="4254" y="98273"/>
                    </a:lnTo>
                    <a:lnTo>
                      <a:pt x="5434" y="95337"/>
                    </a:lnTo>
                    <a:lnTo>
                      <a:pt x="4089" y="85457"/>
                    </a:lnTo>
                    <a:lnTo>
                      <a:pt x="2689" y="82823"/>
                    </a:lnTo>
                    <a:lnTo>
                      <a:pt x="0" y="82055"/>
                    </a:lnTo>
                    <a:lnTo>
                      <a:pt x="192" y="74672"/>
                    </a:lnTo>
                    <a:lnTo>
                      <a:pt x="1235" y="70968"/>
                    </a:lnTo>
                    <a:lnTo>
                      <a:pt x="4995" y="68470"/>
                    </a:lnTo>
                    <a:lnTo>
                      <a:pt x="11444" y="79502"/>
                    </a:lnTo>
                    <a:lnTo>
                      <a:pt x="16356" y="78816"/>
                    </a:lnTo>
                    <a:lnTo>
                      <a:pt x="19018" y="75743"/>
                    </a:lnTo>
                    <a:lnTo>
                      <a:pt x="16136" y="62570"/>
                    </a:lnTo>
                    <a:lnTo>
                      <a:pt x="19869" y="50770"/>
                    </a:lnTo>
                    <a:lnTo>
                      <a:pt x="20088" y="37789"/>
                    </a:lnTo>
                    <a:lnTo>
                      <a:pt x="16987" y="32520"/>
                    </a:lnTo>
                    <a:lnTo>
                      <a:pt x="24205" y="9660"/>
                    </a:lnTo>
                    <a:lnTo>
                      <a:pt x="24205" y="41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2" name="Freeform: Shape 3991">
                <a:extLst>
                  <a:ext uri="{FF2B5EF4-FFF2-40B4-BE49-F238E27FC236}">
                    <a16:creationId xmlns:a16="http://schemas.microsoft.com/office/drawing/2014/main" id="{22C525D9-3B77-44E8-5752-942256BEA5D1}"/>
                  </a:ext>
                </a:extLst>
              </p:cNvPr>
              <p:cNvSpPr/>
              <p:nvPr/>
            </p:nvSpPr>
            <p:spPr>
              <a:xfrm>
                <a:off x="1739415" y="3814268"/>
                <a:ext cx="14240" cy="13015"/>
              </a:xfrm>
              <a:custGeom>
                <a:avLst/>
                <a:gdLst>
                  <a:gd name="connsiteX0" fmla="*/ 109003 w 136528"/>
                  <a:gd name="connsiteY0" fmla="*/ 4473 h 124783"/>
                  <a:gd name="connsiteX1" fmla="*/ 112242 w 136528"/>
                  <a:gd name="connsiteY1" fmla="*/ 6531 h 124783"/>
                  <a:gd name="connsiteX2" fmla="*/ 116660 w 136528"/>
                  <a:gd name="connsiteY2" fmla="*/ 8425 h 124783"/>
                  <a:gd name="connsiteX3" fmla="*/ 120914 w 136528"/>
                  <a:gd name="connsiteY3" fmla="*/ 15753 h 124783"/>
                  <a:gd name="connsiteX4" fmla="*/ 125579 w 136528"/>
                  <a:gd name="connsiteY4" fmla="*/ 15286 h 124783"/>
                  <a:gd name="connsiteX5" fmla="*/ 124975 w 136528"/>
                  <a:gd name="connsiteY5" fmla="*/ 20500 h 124783"/>
                  <a:gd name="connsiteX6" fmla="*/ 129393 w 136528"/>
                  <a:gd name="connsiteY6" fmla="*/ 27580 h 124783"/>
                  <a:gd name="connsiteX7" fmla="*/ 123329 w 136528"/>
                  <a:gd name="connsiteY7" fmla="*/ 35402 h 124783"/>
                  <a:gd name="connsiteX8" fmla="*/ 124289 w 136528"/>
                  <a:gd name="connsiteY8" fmla="*/ 36801 h 124783"/>
                  <a:gd name="connsiteX9" fmla="*/ 130875 w 136528"/>
                  <a:gd name="connsiteY9" fmla="*/ 39628 h 124783"/>
                  <a:gd name="connsiteX10" fmla="*/ 130107 w 136528"/>
                  <a:gd name="connsiteY10" fmla="*/ 46077 h 124783"/>
                  <a:gd name="connsiteX11" fmla="*/ 132522 w 136528"/>
                  <a:gd name="connsiteY11" fmla="*/ 49562 h 124783"/>
                  <a:gd name="connsiteX12" fmla="*/ 131342 w 136528"/>
                  <a:gd name="connsiteY12" fmla="*/ 56697 h 124783"/>
                  <a:gd name="connsiteX13" fmla="*/ 136063 w 136528"/>
                  <a:gd name="connsiteY13" fmla="*/ 62844 h 124783"/>
                  <a:gd name="connsiteX14" fmla="*/ 136529 w 136528"/>
                  <a:gd name="connsiteY14" fmla="*/ 75825 h 124783"/>
                  <a:gd name="connsiteX15" fmla="*/ 132687 w 136528"/>
                  <a:gd name="connsiteY15" fmla="*/ 82439 h 124783"/>
                  <a:gd name="connsiteX16" fmla="*/ 126073 w 136528"/>
                  <a:gd name="connsiteY16" fmla="*/ 85705 h 124783"/>
                  <a:gd name="connsiteX17" fmla="*/ 126814 w 136528"/>
                  <a:gd name="connsiteY17" fmla="*/ 91523 h 124783"/>
                  <a:gd name="connsiteX18" fmla="*/ 124893 w 136528"/>
                  <a:gd name="connsiteY18" fmla="*/ 99399 h 124783"/>
                  <a:gd name="connsiteX19" fmla="*/ 122725 w 136528"/>
                  <a:gd name="connsiteY19" fmla="*/ 96984 h 124783"/>
                  <a:gd name="connsiteX20" fmla="*/ 121655 w 136528"/>
                  <a:gd name="connsiteY20" fmla="*/ 88284 h 124783"/>
                  <a:gd name="connsiteX21" fmla="*/ 115206 w 136528"/>
                  <a:gd name="connsiteY21" fmla="*/ 74069 h 124783"/>
                  <a:gd name="connsiteX22" fmla="*/ 110595 w 136528"/>
                  <a:gd name="connsiteY22" fmla="*/ 75825 h 124783"/>
                  <a:gd name="connsiteX23" fmla="*/ 113175 w 136528"/>
                  <a:gd name="connsiteY23" fmla="*/ 80189 h 124783"/>
                  <a:gd name="connsiteX24" fmla="*/ 113010 w 136528"/>
                  <a:gd name="connsiteY24" fmla="*/ 83811 h 124783"/>
                  <a:gd name="connsiteX25" fmla="*/ 111034 w 136528"/>
                  <a:gd name="connsiteY25" fmla="*/ 84497 h 124783"/>
                  <a:gd name="connsiteX26" fmla="*/ 109744 w 136528"/>
                  <a:gd name="connsiteY26" fmla="*/ 81314 h 124783"/>
                  <a:gd name="connsiteX27" fmla="*/ 106973 w 136528"/>
                  <a:gd name="connsiteY27" fmla="*/ 82000 h 124783"/>
                  <a:gd name="connsiteX28" fmla="*/ 101895 w 136528"/>
                  <a:gd name="connsiteY28" fmla="*/ 91248 h 124783"/>
                  <a:gd name="connsiteX29" fmla="*/ 107220 w 136528"/>
                  <a:gd name="connsiteY29" fmla="*/ 98685 h 124783"/>
                  <a:gd name="connsiteX30" fmla="*/ 110788 w 136528"/>
                  <a:gd name="connsiteY30" fmla="*/ 110705 h 124783"/>
                  <a:gd name="connsiteX31" fmla="*/ 108592 w 136528"/>
                  <a:gd name="connsiteY31" fmla="*/ 116221 h 124783"/>
                  <a:gd name="connsiteX32" fmla="*/ 101018 w 136528"/>
                  <a:gd name="connsiteY32" fmla="*/ 124783 h 124783"/>
                  <a:gd name="connsiteX33" fmla="*/ 96544 w 136528"/>
                  <a:gd name="connsiteY33" fmla="*/ 119350 h 124783"/>
                  <a:gd name="connsiteX34" fmla="*/ 98246 w 136528"/>
                  <a:gd name="connsiteY34" fmla="*/ 113312 h 124783"/>
                  <a:gd name="connsiteX35" fmla="*/ 97093 w 136528"/>
                  <a:gd name="connsiteY35" fmla="*/ 110431 h 124783"/>
                  <a:gd name="connsiteX36" fmla="*/ 89738 w 136528"/>
                  <a:gd name="connsiteY36" fmla="*/ 116029 h 124783"/>
                  <a:gd name="connsiteX37" fmla="*/ 69760 w 136528"/>
                  <a:gd name="connsiteY37" fmla="*/ 108208 h 124783"/>
                  <a:gd name="connsiteX38" fmla="*/ 64025 w 136528"/>
                  <a:gd name="connsiteY38" fmla="*/ 102664 h 124783"/>
                  <a:gd name="connsiteX39" fmla="*/ 60375 w 136528"/>
                  <a:gd name="connsiteY39" fmla="*/ 85211 h 124783"/>
                  <a:gd name="connsiteX40" fmla="*/ 67318 w 136528"/>
                  <a:gd name="connsiteY40" fmla="*/ 71187 h 124783"/>
                  <a:gd name="connsiteX41" fmla="*/ 60813 w 136528"/>
                  <a:gd name="connsiteY41" fmla="*/ 63942 h 124783"/>
                  <a:gd name="connsiteX42" fmla="*/ 49287 w 136528"/>
                  <a:gd name="connsiteY42" fmla="*/ 58728 h 124783"/>
                  <a:gd name="connsiteX43" fmla="*/ 45006 w 136528"/>
                  <a:gd name="connsiteY43" fmla="*/ 59771 h 124783"/>
                  <a:gd name="connsiteX44" fmla="*/ 43195 w 136528"/>
                  <a:gd name="connsiteY44" fmla="*/ 70830 h 124783"/>
                  <a:gd name="connsiteX45" fmla="*/ 36307 w 136528"/>
                  <a:gd name="connsiteY45" fmla="*/ 67290 h 124783"/>
                  <a:gd name="connsiteX46" fmla="*/ 34935 w 136528"/>
                  <a:gd name="connsiteY46" fmla="*/ 62598 h 124783"/>
                  <a:gd name="connsiteX47" fmla="*/ 31203 w 136528"/>
                  <a:gd name="connsiteY47" fmla="*/ 67976 h 124783"/>
                  <a:gd name="connsiteX48" fmla="*/ 27773 w 136528"/>
                  <a:gd name="connsiteY48" fmla="*/ 68745 h 124783"/>
                  <a:gd name="connsiteX49" fmla="*/ 25110 w 136528"/>
                  <a:gd name="connsiteY49" fmla="*/ 61280 h 124783"/>
                  <a:gd name="connsiteX50" fmla="*/ 18963 w 136528"/>
                  <a:gd name="connsiteY50" fmla="*/ 61527 h 124783"/>
                  <a:gd name="connsiteX51" fmla="*/ 12980 w 136528"/>
                  <a:gd name="connsiteY51" fmla="*/ 69678 h 124783"/>
                  <a:gd name="connsiteX52" fmla="*/ 7767 w 136528"/>
                  <a:gd name="connsiteY52" fmla="*/ 82466 h 124783"/>
                  <a:gd name="connsiteX53" fmla="*/ 8233 w 136528"/>
                  <a:gd name="connsiteY53" fmla="*/ 83180 h 124783"/>
                  <a:gd name="connsiteX54" fmla="*/ 10566 w 136528"/>
                  <a:gd name="connsiteY54" fmla="*/ 81753 h 124783"/>
                  <a:gd name="connsiteX55" fmla="*/ 11608 w 136528"/>
                  <a:gd name="connsiteY55" fmla="*/ 83619 h 124783"/>
                  <a:gd name="connsiteX56" fmla="*/ 10236 w 136528"/>
                  <a:gd name="connsiteY56" fmla="*/ 85567 h 124783"/>
                  <a:gd name="connsiteX57" fmla="*/ 7409 w 136528"/>
                  <a:gd name="connsiteY57" fmla="*/ 83619 h 124783"/>
                  <a:gd name="connsiteX58" fmla="*/ 6586 w 136528"/>
                  <a:gd name="connsiteY58" fmla="*/ 85375 h 124783"/>
                  <a:gd name="connsiteX59" fmla="*/ 1893 w 136528"/>
                  <a:gd name="connsiteY59" fmla="*/ 84470 h 124783"/>
                  <a:gd name="connsiteX60" fmla="*/ 0 w 136528"/>
                  <a:gd name="connsiteY60" fmla="*/ 78734 h 124783"/>
                  <a:gd name="connsiteX61" fmla="*/ 3375 w 136528"/>
                  <a:gd name="connsiteY61" fmla="*/ 73136 h 124783"/>
                  <a:gd name="connsiteX62" fmla="*/ 7409 w 136528"/>
                  <a:gd name="connsiteY62" fmla="*/ 57493 h 124783"/>
                  <a:gd name="connsiteX63" fmla="*/ 12733 w 136528"/>
                  <a:gd name="connsiteY63" fmla="*/ 52471 h 124783"/>
                  <a:gd name="connsiteX64" fmla="*/ 29309 w 136528"/>
                  <a:gd name="connsiteY64" fmla="*/ 48163 h 124783"/>
                  <a:gd name="connsiteX65" fmla="*/ 33069 w 136528"/>
                  <a:gd name="connsiteY65" fmla="*/ 39244 h 124783"/>
                  <a:gd name="connsiteX66" fmla="*/ 40671 w 136528"/>
                  <a:gd name="connsiteY66" fmla="*/ 36801 h 124783"/>
                  <a:gd name="connsiteX67" fmla="*/ 44348 w 136528"/>
                  <a:gd name="connsiteY67" fmla="*/ 32493 h 124783"/>
                  <a:gd name="connsiteX68" fmla="*/ 51758 w 136528"/>
                  <a:gd name="connsiteY68" fmla="*/ 34660 h 124783"/>
                  <a:gd name="connsiteX69" fmla="*/ 56093 w 136528"/>
                  <a:gd name="connsiteY69" fmla="*/ 40396 h 124783"/>
                  <a:gd name="connsiteX70" fmla="*/ 57246 w 136528"/>
                  <a:gd name="connsiteY70" fmla="*/ 49809 h 124783"/>
                  <a:gd name="connsiteX71" fmla="*/ 67208 w 136528"/>
                  <a:gd name="connsiteY71" fmla="*/ 46763 h 124783"/>
                  <a:gd name="connsiteX72" fmla="*/ 70282 w 136528"/>
                  <a:gd name="connsiteY72" fmla="*/ 37954 h 124783"/>
                  <a:gd name="connsiteX73" fmla="*/ 72779 w 136528"/>
                  <a:gd name="connsiteY73" fmla="*/ 35731 h 124783"/>
                  <a:gd name="connsiteX74" fmla="*/ 81560 w 136528"/>
                  <a:gd name="connsiteY74" fmla="*/ 38585 h 124783"/>
                  <a:gd name="connsiteX75" fmla="*/ 83290 w 136528"/>
                  <a:gd name="connsiteY75" fmla="*/ 36774 h 124783"/>
                  <a:gd name="connsiteX76" fmla="*/ 84963 w 136528"/>
                  <a:gd name="connsiteY76" fmla="*/ 23793 h 124783"/>
                  <a:gd name="connsiteX77" fmla="*/ 87735 w 136528"/>
                  <a:gd name="connsiteY77" fmla="*/ 23848 h 124783"/>
                  <a:gd name="connsiteX78" fmla="*/ 93910 w 136528"/>
                  <a:gd name="connsiteY78" fmla="*/ 28321 h 124783"/>
                  <a:gd name="connsiteX79" fmla="*/ 96764 w 136528"/>
                  <a:gd name="connsiteY79" fmla="*/ 21680 h 124783"/>
                  <a:gd name="connsiteX80" fmla="*/ 100743 w 136528"/>
                  <a:gd name="connsiteY80" fmla="*/ 23985 h 124783"/>
                  <a:gd name="connsiteX81" fmla="*/ 105408 w 136528"/>
                  <a:gd name="connsiteY81" fmla="*/ 22860 h 124783"/>
                  <a:gd name="connsiteX82" fmla="*/ 105875 w 136528"/>
                  <a:gd name="connsiteY82" fmla="*/ 17427 h 124783"/>
                  <a:gd name="connsiteX83" fmla="*/ 102691 w 136528"/>
                  <a:gd name="connsiteY83" fmla="*/ 6477 h 124783"/>
                  <a:gd name="connsiteX84" fmla="*/ 102253 w 136528"/>
                  <a:gd name="connsiteY84" fmla="*/ 1647 h 124783"/>
                  <a:gd name="connsiteX85" fmla="*/ 104173 w 136528"/>
                  <a:gd name="connsiteY85" fmla="*/ 0 h 124783"/>
                  <a:gd name="connsiteX86" fmla="*/ 109470 w 136528"/>
                  <a:gd name="connsiteY86" fmla="*/ 522 h 124783"/>
                  <a:gd name="connsiteX87" fmla="*/ 109031 w 136528"/>
                  <a:gd name="connsiteY87" fmla="*/ 4419 h 12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36528" h="124783">
                    <a:moveTo>
                      <a:pt x="109003" y="4473"/>
                    </a:moveTo>
                    <a:lnTo>
                      <a:pt x="112242" y="6531"/>
                    </a:lnTo>
                    <a:lnTo>
                      <a:pt x="116660" y="8425"/>
                    </a:lnTo>
                    <a:lnTo>
                      <a:pt x="120914" y="15753"/>
                    </a:lnTo>
                    <a:lnTo>
                      <a:pt x="125579" y="15286"/>
                    </a:lnTo>
                    <a:lnTo>
                      <a:pt x="124975" y="20500"/>
                    </a:lnTo>
                    <a:lnTo>
                      <a:pt x="129393" y="27580"/>
                    </a:lnTo>
                    <a:lnTo>
                      <a:pt x="123329" y="35402"/>
                    </a:lnTo>
                    <a:lnTo>
                      <a:pt x="124289" y="36801"/>
                    </a:lnTo>
                    <a:lnTo>
                      <a:pt x="130875" y="39628"/>
                    </a:lnTo>
                    <a:lnTo>
                      <a:pt x="130107" y="46077"/>
                    </a:lnTo>
                    <a:lnTo>
                      <a:pt x="132522" y="49562"/>
                    </a:lnTo>
                    <a:lnTo>
                      <a:pt x="131342" y="56697"/>
                    </a:lnTo>
                    <a:lnTo>
                      <a:pt x="136063" y="62844"/>
                    </a:lnTo>
                    <a:lnTo>
                      <a:pt x="136529" y="75825"/>
                    </a:lnTo>
                    <a:lnTo>
                      <a:pt x="132687" y="82439"/>
                    </a:lnTo>
                    <a:lnTo>
                      <a:pt x="126073" y="85705"/>
                    </a:lnTo>
                    <a:lnTo>
                      <a:pt x="126814" y="91523"/>
                    </a:lnTo>
                    <a:lnTo>
                      <a:pt x="124893" y="99399"/>
                    </a:lnTo>
                    <a:lnTo>
                      <a:pt x="122725" y="96984"/>
                    </a:lnTo>
                    <a:lnTo>
                      <a:pt x="121655" y="88284"/>
                    </a:lnTo>
                    <a:lnTo>
                      <a:pt x="115206" y="74069"/>
                    </a:lnTo>
                    <a:lnTo>
                      <a:pt x="110595" y="75825"/>
                    </a:lnTo>
                    <a:lnTo>
                      <a:pt x="113175" y="80189"/>
                    </a:lnTo>
                    <a:lnTo>
                      <a:pt x="113010" y="83811"/>
                    </a:lnTo>
                    <a:lnTo>
                      <a:pt x="111034" y="84497"/>
                    </a:lnTo>
                    <a:lnTo>
                      <a:pt x="109744" y="81314"/>
                    </a:lnTo>
                    <a:lnTo>
                      <a:pt x="106973" y="82000"/>
                    </a:lnTo>
                    <a:lnTo>
                      <a:pt x="101895" y="91248"/>
                    </a:lnTo>
                    <a:lnTo>
                      <a:pt x="107220" y="98685"/>
                    </a:lnTo>
                    <a:lnTo>
                      <a:pt x="110788" y="110705"/>
                    </a:lnTo>
                    <a:lnTo>
                      <a:pt x="108592" y="116221"/>
                    </a:lnTo>
                    <a:lnTo>
                      <a:pt x="101018" y="124783"/>
                    </a:lnTo>
                    <a:lnTo>
                      <a:pt x="96544" y="119350"/>
                    </a:lnTo>
                    <a:lnTo>
                      <a:pt x="98246" y="113312"/>
                    </a:lnTo>
                    <a:lnTo>
                      <a:pt x="97093" y="110431"/>
                    </a:lnTo>
                    <a:lnTo>
                      <a:pt x="89738" y="116029"/>
                    </a:lnTo>
                    <a:lnTo>
                      <a:pt x="69760" y="108208"/>
                    </a:lnTo>
                    <a:lnTo>
                      <a:pt x="64025" y="102664"/>
                    </a:lnTo>
                    <a:lnTo>
                      <a:pt x="60375" y="85211"/>
                    </a:lnTo>
                    <a:lnTo>
                      <a:pt x="67318" y="71187"/>
                    </a:lnTo>
                    <a:lnTo>
                      <a:pt x="60813" y="63942"/>
                    </a:lnTo>
                    <a:lnTo>
                      <a:pt x="49287" y="58728"/>
                    </a:lnTo>
                    <a:lnTo>
                      <a:pt x="45006" y="59771"/>
                    </a:lnTo>
                    <a:lnTo>
                      <a:pt x="43195" y="70830"/>
                    </a:lnTo>
                    <a:lnTo>
                      <a:pt x="36307" y="67290"/>
                    </a:lnTo>
                    <a:lnTo>
                      <a:pt x="34935" y="62598"/>
                    </a:lnTo>
                    <a:lnTo>
                      <a:pt x="31203" y="67976"/>
                    </a:lnTo>
                    <a:lnTo>
                      <a:pt x="27773" y="68745"/>
                    </a:lnTo>
                    <a:lnTo>
                      <a:pt x="25110" y="61280"/>
                    </a:lnTo>
                    <a:lnTo>
                      <a:pt x="18963" y="61527"/>
                    </a:lnTo>
                    <a:lnTo>
                      <a:pt x="12980" y="69678"/>
                    </a:lnTo>
                    <a:lnTo>
                      <a:pt x="7767" y="82466"/>
                    </a:lnTo>
                    <a:lnTo>
                      <a:pt x="8233" y="83180"/>
                    </a:lnTo>
                    <a:lnTo>
                      <a:pt x="10566" y="81753"/>
                    </a:lnTo>
                    <a:lnTo>
                      <a:pt x="11608" y="83619"/>
                    </a:lnTo>
                    <a:lnTo>
                      <a:pt x="10236" y="85567"/>
                    </a:lnTo>
                    <a:lnTo>
                      <a:pt x="7409" y="83619"/>
                    </a:lnTo>
                    <a:lnTo>
                      <a:pt x="6586" y="85375"/>
                    </a:lnTo>
                    <a:lnTo>
                      <a:pt x="1893" y="84470"/>
                    </a:lnTo>
                    <a:lnTo>
                      <a:pt x="0" y="78734"/>
                    </a:lnTo>
                    <a:lnTo>
                      <a:pt x="3375" y="73136"/>
                    </a:lnTo>
                    <a:lnTo>
                      <a:pt x="7409" y="57493"/>
                    </a:lnTo>
                    <a:lnTo>
                      <a:pt x="12733" y="52471"/>
                    </a:lnTo>
                    <a:lnTo>
                      <a:pt x="29309" y="48163"/>
                    </a:lnTo>
                    <a:lnTo>
                      <a:pt x="33069" y="39244"/>
                    </a:lnTo>
                    <a:lnTo>
                      <a:pt x="40671" y="36801"/>
                    </a:lnTo>
                    <a:lnTo>
                      <a:pt x="44348" y="32493"/>
                    </a:lnTo>
                    <a:lnTo>
                      <a:pt x="51758" y="34660"/>
                    </a:lnTo>
                    <a:lnTo>
                      <a:pt x="56093" y="40396"/>
                    </a:lnTo>
                    <a:lnTo>
                      <a:pt x="57246" y="49809"/>
                    </a:lnTo>
                    <a:lnTo>
                      <a:pt x="67208" y="46763"/>
                    </a:lnTo>
                    <a:lnTo>
                      <a:pt x="70282" y="37954"/>
                    </a:lnTo>
                    <a:lnTo>
                      <a:pt x="72779" y="35731"/>
                    </a:lnTo>
                    <a:lnTo>
                      <a:pt x="81560" y="38585"/>
                    </a:lnTo>
                    <a:lnTo>
                      <a:pt x="83290" y="36774"/>
                    </a:lnTo>
                    <a:lnTo>
                      <a:pt x="84963" y="23793"/>
                    </a:lnTo>
                    <a:lnTo>
                      <a:pt x="87735" y="23848"/>
                    </a:lnTo>
                    <a:lnTo>
                      <a:pt x="93910" y="28321"/>
                    </a:lnTo>
                    <a:lnTo>
                      <a:pt x="96764" y="21680"/>
                    </a:lnTo>
                    <a:lnTo>
                      <a:pt x="100743" y="23985"/>
                    </a:lnTo>
                    <a:lnTo>
                      <a:pt x="105408" y="22860"/>
                    </a:lnTo>
                    <a:lnTo>
                      <a:pt x="105875" y="17427"/>
                    </a:lnTo>
                    <a:lnTo>
                      <a:pt x="102691" y="6477"/>
                    </a:lnTo>
                    <a:lnTo>
                      <a:pt x="102253" y="1647"/>
                    </a:lnTo>
                    <a:lnTo>
                      <a:pt x="104173" y="0"/>
                    </a:lnTo>
                    <a:lnTo>
                      <a:pt x="109470" y="522"/>
                    </a:lnTo>
                    <a:lnTo>
                      <a:pt x="109031" y="44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3" name="Freeform: Shape 3992">
                <a:extLst>
                  <a:ext uri="{FF2B5EF4-FFF2-40B4-BE49-F238E27FC236}">
                    <a16:creationId xmlns:a16="http://schemas.microsoft.com/office/drawing/2014/main" id="{3F20477F-1535-C57E-8DA1-53363AB6B3CD}"/>
                  </a:ext>
                </a:extLst>
              </p:cNvPr>
              <p:cNvSpPr/>
              <p:nvPr/>
            </p:nvSpPr>
            <p:spPr>
              <a:xfrm>
                <a:off x="1724875" y="3809445"/>
                <a:ext cx="7519" cy="9746"/>
              </a:xfrm>
              <a:custGeom>
                <a:avLst/>
                <a:gdLst>
                  <a:gd name="connsiteX0" fmla="*/ 68443 w 72092"/>
                  <a:gd name="connsiteY0" fmla="*/ 12679 h 93443"/>
                  <a:gd name="connsiteX1" fmla="*/ 71078 w 72092"/>
                  <a:gd name="connsiteY1" fmla="*/ 18195 h 93443"/>
                  <a:gd name="connsiteX2" fmla="*/ 72093 w 72092"/>
                  <a:gd name="connsiteY2" fmla="*/ 26181 h 93443"/>
                  <a:gd name="connsiteX3" fmla="*/ 62872 w 72092"/>
                  <a:gd name="connsiteY3" fmla="*/ 31395 h 93443"/>
                  <a:gd name="connsiteX4" fmla="*/ 59222 w 72092"/>
                  <a:gd name="connsiteY4" fmla="*/ 37185 h 93443"/>
                  <a:gd name="connsiteX5" fmla="*/ 47174 w 72092"/>
                  <a:gd name="connsiteY5" fmla="*/ 42674 h 93443"/>
                  <a:gd name="connsiteX6" fmla="*/ 43607 w 72092"/>
                  <a:gd name="connsiteY6" fmla="*/ 52910 h 93443"/>
                  <a:gd name="connsiteX7" fmla="*/ 35676 w 72092"/>
                  <a:gd name="connsiteY7" fmla="*/ 62433 h 93443"/>
                  <a:gd name="connsiteX8" fmla="*/ 28019 w 72092"/>
                  <a:gd name="connsiteY8" fmla="*/ 66330 h 93443"/>
                  <a:gd name="connsiteX9" fmla="*/ 22888 w 72092"/>
                  <a:gd name="connsiteY9" fmla="*/ 73822 h 93443"/>
                  <a:gd name="connsiteX10" fmla="*/ 9687 w 72092"/>
                  <a:gd name="connsiteY10" fmla="*/ 83042 h 93443"/>
                  <a:gd name="connsiteX11" fmla="*/ 9056 w 72092"/>
                  <a:gd name="connsiteY11" fmla="*/ 84113 h 93443"/>
                  <a:gd name="connsiteX12" fmla="*/ 2579 w 72092"/>
                  <a:gd name="connsiteY12" fmla="*/ 87488 h 93443"/>
                  <a:gd name="connsiteX13" fmla="*/ 1948 w 72092"/>
                  <a:gd name="connsiteY13" fmla="*/ 89848 h 93443"/>
                  <a:gd name="connsiteX14" fmla="*/ 4665 w 72092"/>
                  <a:gd name="connsiteY14" fmla="*/ 91687 h 93443"/>
                  <a:gd name="connsiteX15" fmla="*/ 3184 w 72092"/>
                  <a:gd name="connsiteY15" fmla="*/ 93443 h 93443"/>
                  <a:gd name="connsiteX16" fmla="*/ 0 w 72092"/>
                  <a:gd name="connsiteY16" fmla="*/ 88394 h 93443"/>
                  <a:gd name="connsiteX17" fmla="*/ 2251 w 72092"/>
                  <a:gd name="connsiteY17" fmla="*/ 83042 h 93443"/>
                  <a:gd name="connsiteX18" fmla="*/ 4501 w 72092"/>
                  <a:gd name="connsiteY18" fmla="*/ 78679 h 93443"/>
                  <a:gd name="connsiteX19" fmla="*/ 17509 w 72092"/>
                  <a:gd name="connsiteY19" fmla="*/ 65150 h 93443"/>
                  <a:gd name="connsiteX20" fmla="*/ 26757 w 72092"/>
                  <a:gd name="connsiteY20" fmla="*/ 59634 h 93443"/>
                  <a:gd name="connsiteX21" fmla="*/ 53926 w 72092"/>
                  <a:gd name="connsiteY21" fmla="*/ 28431 h 93443"/>
                  <a:gd name="connsiteX22" fmla="*/ 60896 w 72092"/>
                  <a:gd name="connsiteY22" fmla="*/ 24122 h 93443"/>
                  <a:gd name="connsiteX23" fmla="*/ 62680 w 72092"/>
                  <a:gd name="connsiteY23" fmla="*/ 19375 h 93443"/>
                  <a:gd name="connsiteX24" fmla="*/ 60677 w 72092"/>
                  <a:gd name="connsiteY24" fmla="*/ 14819 h 93443"/>
                  <a:gd name="connsiteX25" fmla="*/ 61390 w 72092"/>
                  <a:gd name="connsiteY25" fmla="*/ 14133 h 93443"/>
                  <a:gd name="connsiteX26" fmla="*/ 64025 w 72092"/>
                  <a:gd name="connsiteY26" fmla="*/ 15505 h 93443"/>
                  <a:gd name="connsiteX27" fmla="*/ 63558 w 72092"/>
                  <a:gd name="connsiteY27" fmla="*/ 12761 h 93443"/>
                  <a:gd name="connsiteX28" fmla="*/ 65671 w 72092"/>
                  <a:gd name="connsiteY28" fmla="*/ 2003 h 93443"/>
                  <a:gd name="connsiteX29" fmla="*/ 68169 w 72092"/>
                  <a:gd name="connsiteY29" fmla="*/ 0 h 93443"/>
                  <a:gd name="connsiteX30" fmla="*/ 70392 w 72092"/>
                  <a:gd name="connsiteY30" fmla="*/ 8782 h 93443"/>
                  <a:gd name="connsiteX31" fmla="*/ 68443 w 72092"/>
                  <a:gd name="connsiteY31" fmla="*/ 12706 h 9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2092" h="93443">
                    <a:moveTo>
                      <a:pt x="68443" y="12679"/>
                    </a:moveTo>
                    <a:lnTo>
                      <a:pt x="71078" y="18195"/>
                    </a:lnTo>
                    <a:lnTo>
                      <a:pt x="72093" y="26181"/>
                    </a:lnTo>
                    <a:lnTo>
                      <a:pt x="62872" y="31395"/>
                    </a:lnTo>
                    <a:lnTo>
                      <a:pt x="59222" y="37185"/>
                    </a:lnTo>
                    <a:lnTo>
                      <a:pt x="47174" y="42674"/>
                    </a:lnTo>
                    <a:lnTo>
                      <a:pt x="43607" y="52910"/>
                    </a:lnTo>
                    <a:lnTo>
                      <a:pt x="35676" y="62433"/>
                    </a:lnTo>
                    <a:lnTo>
                      <a:pt x="28019" y="66330"/>
                    </a:lnTo>
                    <a:lnTo>
                      <a:pt x="22888" y="73822"/>
                    </a:lnTo>
                    <a:lnTo>
                      <a:pt x="9687" y="83042"/>
                    </a:lnTo>
                    <a:lnTo>
                      <a:pt x="9056" y="84113"/>
                    </a:lnTo>
                    <a:lnTo>
                      <a:pt x="2579" y="87488"/>
                    </a:lnTo>
                    <a:lnTo>
                      <a:pt x="1948" y="89848"/>
                    </a:lnTo>
                    <a:lnTo>
                      <a:pt x="4665" y="91687"/>
                    </a:lnTo>
                    <a:lnTo>
                      <a:pt x="3184" y="93443"/>
                    </a:lnTo>
                    <a:lnTo>
                      <a:pt x="0" y="88394"/>
                    </a:lnTo>
                    <a:lnTo>
                      <a:pt x="2251" y="83042"/>
                    </a:lnTo>
                    <a:lnTo>
                      <a:pt x="4501" y="78679"/>
                    </a:lnTo>
                    <a:lnTo>
                      <a:pt x="17509" y="65150"/>
                    </a:lnTo>
                    <a:lnTo>
                      <a:pt x="26757" y="59634"/>
                    </a:lnTo>
                    <a:lnTo>
                      <a:pt x="53926" y="28431"/>
                    </a:lnTo>
                    <a:lnTo>
                      <a:pt x="60896" y="24122"/>
                    </a:lnTo>
                    <a:lnTo>
                      <a:pt x="62680" y="19375"/>
                    </a:lnTo>
                    <a:lnTo>
                      <a:pt x="60677" y="14819"/>
                    </a:lnTo>
                    <a:lnTo>
                      <a:pt x="61390" y="14133"/>
                    </a:lnTo>
                    <a:lnTo>
                      <a:pt x="64025" y="15505"/>
                    </a:lnTo>
                    <a:lnTo>
                      <a:pt x="63558" y="12761"/>
                    </a:lnTo>
                    <a:lnTo>
                      <a:pt x="65671" y="2003"/>
                    </a:lnTo>
                    <a:lnTo>
                      <a:pt x="68169" y="0"/>
                    </a:lnTo>
                    <a:lnTo>
                      <a:pt x="70392" y="8782"/>
                    </a:lnTo>
                    <a:lnTo>
                      <a:pt x="68443" y="127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4" name="Freeform: Shape 3993">
                <a:extLst>
                  <a:ext uri="{FF2B5EF4-FFF2-40B4-BE49-F238E27FC236}">
                    <a16:creationId xmlns:a16="http://schemas.microsoft.com/office/drawing/2014/main" id="{806AB274-81A7-8AA7-3FF6-FBE6A2A95084}"/>
                  </a:ext>
                </a:extLst>
              </p:cNvPr>
              <p:cNvSpPr/>
              <p:nvPr/>
            </p:nvSpPr>
            <p:spPr>
              <a:xfrm>
                <a:off x="1746646" y="3805191"/>
                <a:ext cx="4099" cy="8335"/>
              </a:xfrm>
              <a:custGeom>
                <a:avLst/>
                <a:gdLst>
                  <a:gd name="connsiteX0" fmla="*/ 3705 w 39298"/>
                  <a:gd name="connsiteY0" fmla="*/ 3266 h 79913"/>
                  <a:gd name="connsiteX1" fmla="*/ 9139 w 39298"/>
                  <a:gd name="connsiteY1" fmla="*/ 5132 h 79913"/>
                  <a:gd name="connsiteX2" fmla="*/ 25467 w 39298"/>
                  <a:gd name="connsiteY2" fmla="*/ 3732 h 79913"/>
                  <a:gd name="connsiteX3" fmla="*/ 29885 w 39298"/>
                  <a:gd name="connsiteY3" fmla="*/ 7602 h 79913"/>
                  <a:gd name="connsiteX4" fmla="*/ 30846 w 39298"/>
                  <a:gd name="connsiteY4" fmla="*/ 11883 h 79913"/>
                  <a:gd name="connsiteX5" fmla="*/ 34633 w 39298"/>
                  <a:gd name="connsiteY5" fmla="*/ 13310 h 79913"/>
                  <a:gd name="connsiteX6" fmla="*/ 34743 w 39298"/>
                  <a:gd name="connsiteY6" fmla="*/ 33178 h 79913"/>
                  <a:gd name="connsiteX7" fmla="*/ 39051 w 39298"/>
                  <a:gd name="connsiteY7" fmla="*/ 40533 h 79913"/>
                  <a:gd name="connsiteX8" fmla="*/ 37350 w 39298"/>
                  <a:gd name="connsiteY8" fmla="*/ 44403 h 79913"/>
                  <a:gd name="connsiteX9" fmla="*/ 39299 w 39298"/>
                  <a:gd name="connsiteY9" fmla="*/ 46543 h 79913"/>
                  <a:gd name="connsiteX10" fmla="*/ 32959 w 39298"/>
                  <a:gd name="connsiteY10" fmla="*/ 47943 h 79913"/>
                  <a:gd name="connsiteX11" fmla="*/ 27608 w 39298"/>
                  <a:gd name="connsiteY11" fmla="*/ 47175 h 79913"/>
                  <a:gd name="connsiteX12" fmla="*/ 25247 w 39298"/>
                  <a:gd name="connsiteY12" fmla="*/ 43195 h 79913"/>
                  <a:gd name="connsiteX13" fmla="*/ 22229 w 39298"/>
                  <a:gd name="connsiteY13" fmla="*/ 43086 h 79913"/>
                  <a:gd name="connsiteX14" fmla="*/ 21954 w 39298"/>
                  <a:gd name="connsiteY14" fmla="*/ 53102 h 79913"/>
                  <a:gd name="connsiteX15" fmla="*/ 21597 w 39298"/>
                  <a:gd name="connsiteY15" fmla="*/ 57548 h 79913"/>
                  <a:gd name="connsiteX16" fmla="*/ 25961 w 39298"/>
                  <a:gd name="connsiteY16" fmla="*/ 62762 h 79913"/>
                  <a:gd name="connsiteX17" fmla="*/ 28568 w 39298"/>
                  <a:gd name="connsiteY17" fmla="*/ 70693 h 79913"/>
                  <a:gd name="connsiteX18" fmla="*/ 28102 w 39298"/>
                  <a:gd name="connsiteY18" fmla="*/ 72532 h 79913"/>
                  <a:gd name="connsiteX19" fmla="*/ 23354 w 39298"/>
                  <a:gd name="connsiteY19" fmla="*/ 73739 h 79913"/>
                  <a:gd name="connsiteX20" fmla="*/ 21790 w 39298"/>
                  <a:gd name="connsiteY20" fmla="*/ 70089 h 79913"/>
                  <a:gd name="connsiteX21" fmla="*/ 20362 w 39298"/>
                  <a:gd name="connsiteY21" fmla="*/ 70089 h 79913"/>
                  <a:gd name="connsiteX22" fmla="*/ 21461 w 39298"/>
                  <a:gd name="connsiteY22" fmla="*/ 79914 h 79913"/>
                  <a:gd name="connsiteX23" fmla="*/ 14846 w 39298"/>
                  <a:gd name="connsiteY23" fmla="*/ 76127 h 79913"/>
                  <a:gd name="connsiteX24" fmla="*/ 13035 w 39298"/>
                  <a:gd name="connsiteY24" fmla="*/ 67373 h 79913"/>
                  <a:gd name="connsiteX25" fmla="*/ 15011 w 39298"/>
                  <a:gd name="connsiteY25" fmla="*/ 59716 h 79913"/>
                  <a:gd name="connsiteX26" fmla="*/ 11828 w 39298"/>
                  <a:gd name="connsiteY26" fmla="*/ 53075 h 79913"/>
                  <a:gd name="connsiteX27" fmla="*/ 9029 w 39298"/>
                  <a:gd name="connsiteY27" fmla="*/ 50660 h 79913"/>
                  <a:gd name="connsiteX28" fmla="*/ 6312 w 39298"/>
                  <a:gd name="connsiteY28" fmla="*/ 54941 h 79913"/>
                  <a:gd name="connsiteX29" fmla="*/ 2744 w 39298"/>
                  <a:gd name="connsiteY29" fmla="*/ 53239 h 79913"/>
                  <a:gd name="connsiteX30" fmla="*/ 3320 w 39298"/>
                  <a:gd name="connsiteY30" fmla="*/ 44485 h 79913"/>
                  <a:gd name="connsiteX31" fmla="*/ 411 w 39298"/>
                  <a:gd name="connsiteY31" fmla="*/ 36307 h 79913"/>
                  <a:gd name="connsiteX32" fmla="*/ 1262 w 39298"/>
                  <a:gd name="connsiteY32" fmla="*/ 34715 h 79913"/>
                  <a:gd name="connsiteX33" fmla="*/ 3568 w 39298"/>
                  <a:gd name="connsiteY33" fmla="*/ 36088 h 79913"/>
                  <a:gd name="connsiteX34" fmla="*/ 4007 w 39298"/>
                  <a:gd name="connsiteY34" fmla="*/ 35319 h 79913"/>
                  <a:gd name="connsiteX35" fmla="*/ 1866 w 39298"/>
                  <a:gd name="connsiteY35" fmla="*/ 30681 h 79913"/>
                  <a:gd name="connsiteX36" fmla="*/ 4583 w 39298"/>
                  <a:gd name="connsiteY36" fmla="*/ 29721 h 79913"/>
                  <a:gd name="connsiteX37" fmla="*/ 7081 w 39298"/>
                  <a:gd name="connsiteY37" fmla="*/ 30599 h 79913"/>
                  <a:gd name="connsiteX38" fmla="*/ 9029 w 39298"/>
                  <a:gd name="connsiteY38" fmla="*/ 32575 h 79913"/>
                  <a:gd name="connsiteX39" fmla="*/ 9468 w 39298"/>
                  <a:gd name="connsiteY39" fmla="*/ 36033 h 79913"/>
                  <a:gd name="connsiteX40" fmla="*/ 6394 w 39298"/>
                  <a:gd name="connsiteY40" fmla="*/ 37185 h 79913"/>
                  <a:gd name="connsiteX41" fmla="*/ 9029 w 39298"/>
                  <a:gd name="connsiteY41" fmla="*/ 41631 h 79913"/>
                  <a:gd name="connsiteX42" fmla="*/ 18442 w 39298"/>
                  <a:gd name="connsiteY42" fmla="*/ 37981 h 79913"/>
                  <a:gd name="connsiteX43" fmla="*/ 16466 w 39298"/>
                  <a:gd name="connsiteY43" fmla="*/ 35264 h 79913"/>
                  <a:gd name="connsiteX44" fmla="*/ 20280 w 39298"/>
                  <a:gd name="connsiteY44" fmla="*/ 31971 h 79913"/>
                  <a:gd name="connsiteX45" fmla="*/ 21516 w 39298"/>
                  <a:gd name="connsiteY45" fmla="*/ 28348 h 79913"/>
                  <a:gd name="connsiteX46" fmla="*/ 17673 w 39298"/>
                  <a:gd name="connsiteY46" fmla="*/ 27608 h 79913"/>
                  <a:gd name="connsiteX47" fmla="*/ 9029 w 39298"/>
                  <a:gd name="connsiteY47" fmla="*/ 19046 h 79913"/>
                  <a:gd name="connsiteX48" fmla="*/ 5708 w 39298"/>
                  <a:gd name="connsiteY48" fmla="*/ 17426 h 79913"/>
                  <a:gd name="connsiteX49" fmla="*/ 2168 w 39298"/>
                  <a:gd name="connsiteY49" fmla="*/ 12651 h 79913"/>
                  <a:gd name="connsiteX50" fmla="*/ 0 w 39298"/>
                  <a:gd name="connsiteY50" fmla="*/ 4501 h 79913"/>
                  <a:gd name="connsiteX51" fmla="*/ 2772 w 39298"/>
                  <a:gd name="connsiteY51" fmla="*/ 2607 h 79913"/>
                  <a:gd name="connsiteX52" fmla="*/ 1455 w 39298"/>
                  <a:gd name="connsiteY52" fmla="*/ 0 h 79913"/>
                  <a:gd name="connsiteX53" fmla="*/ 4254 w 39298"/>
                  <a:gd name="connsiteY53" fmla="*/ 0 h 79913"/>
                  <a:gd name="connsiteX54" fmla="*/ 4720 w 39298"/>
                  <a:gd name="connsiteY54" fmla="*/ 1674 h 79913"/>
                  <a:gd name="connsiteX55" fmla="*/ 3650 w 39298"/>
                  <a:gd name="connsiteY55" fmla="*/ 3266 h 7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9298" h="79913">
                    <a:moveTo>
                      <a:pt x="3705" y="3266"/>
                    </a:moveTo>
                    <a:lnTo>
                      <a:pt x="9139" y="5132"/>
                    </a:lnTo>
                    <a:lnTo>
                      <a:pt x="25467" y="3732"/>
                    </a:lnTo>
                    <a:lnTo>
                      <a:pt x="29885" y="7602"/>
                    </a:lnTo>
                    <a:lnTo>
                      <a:pt x="30846" y="11883"/>
                    </a:lnTo>
                    <a:lnTo>
                      <a:pt x="34633" y="13310"/>
                    </a:lnTo>
                    <a:lnTo>
                      <a:pt x="34743" y="33178"/>
                    </a:lnTo>
                    <a:lnTo>
                      <a:pt x="39051" y="40533"/>
                    </a:lnTo>
                    <a:lnTo>
                      <a:pt x="37350" y="44403"/>
                    </a:lnTo>
                    <a:lnTo>
                      <a:pt x="39299" y="46543"/>
                    </a:lnTo>
                    <a:lnTo>
                      <a:pt x="32959" y="47943"/>
                    </a:lnTo>
                    <a:lnTo>
                      <a:pt x="27608" y="47175"/>
                    </a:lnTo>
                    <a:lnTo>
                      <a:pt x="25247" y="43195"/>
                    </a:lnTo>
                    <a:lnTo>
                      <a:pt x="22229" y="43086"/>
                    </a:lnTo>
                    <a:lnTo>
                      <a:pt x="21954" y="53102"/>
                    </a:lnTo>
                    <a:lnTo>
                      <a:pt x="21597" y="57548"/>
                    </a:lnTo>
                    <a:lnTo>
                      <a:pt x="25961" y="62762"/>
                    </a:lnTo>
                    <a:lnTo>
                      <a:pt x="28568" y="70693"/>
                    </a:lnTo>
                    <a:lnTo>
                      <a:pt x="28102" y="72532"/>
                    </a:lnTo>
                    <a:lnTo>
                      <a:pt x="23354" y="73739"/>
                    </a:lnTo>
                    <a:lnTo>
                      <a:pt x="21790" y="70089"/>
                    </a:lnTo>
                    <a:lnTo>
                      <a:pt x="20362" y="70089"/>
                    </a:lnTo>
                    <a:cubicBezTo>
                      <a:pt x="20362" y="70089"/>
                      <a:pt x="21461" y="79914"/>
                      <a:pt x="21461" y="79914"/>
                    </a:cubicBezTo>
                    <a:lnTo>
                      <a:pt x="14846" y="76127"/>
                    </a:lnTo>
                    <a:lnTo>
                      <a:pt x="13035" y="67373"/>
                    </a:lnTo>
                    <a:lnTo>
                      <a:pt x="15011" y="59716"/>
                    </a:lnTo>
                    <a:lnTo>
                      <a:pt x="11828" y="53075"/>
                    </a:lnTo>
                    <a:lnTo>
                      <a:pt x="9029" y="50660"/>
                    </a:lnTo>
                    <a:lnTo>
                      <a:pt x="6312" y="54941"/>
                    </a:lnTo>
                    <a:lnTo>
                      <a:pt x="2744" y="53239"/>
                    </a:lnTo>
                    <a:lnTo>
                      <a:pt x="3320" y="44485"/>
                    </a:lnTo>
                    <a:lnTo>
                      <a:pt x="411" y="36307"/>
                    </a:lnTo>
                    <a:lnTo>
                      <a:pt x="1262" y="34715"/>
                    </a:lnTo>
                    <a:lnTo>
                      <a:pt x="3568" y="36088"/>
                    </a:lnTo>
                    <a:lnTo>
                      <a:pt x="4007" y="35319"/>
                    </a:lnTo>
                    <a:lnTo>
                      <a:pt x="1866" y="30681"/>
                    </a:lnTo>
                    <a:lnTo>
                      <a:pt x="4583" y="29721"/>
                    </a:lnTo>
                    <a:lnTo>
                      <a:pt x="7081" y="30599"/>
                    </a:lnTo>
                    <a:lnTo>
                      <a:pt x="9029" y="32575"/>
                    </a:lnTo>
                    <a:lnTo>
                      <a:pt x="9468" y="36033"/>
                    </a:lnTo>
                    <a:lnTo>
                      <a:pt x="6394" y="37185"/>
                    </a:lnTo>
                    <a:lnTo>
                      <a:pt x="9029" y="41631"/>
                    </a:lnTo>
                    <a:lnTo>
                      <a:pt x="18442" y="37981"/>
                    </a:lnTo>
                    <a:lnTo>
                      <a:pt x="16466" y="35264"/>
                    </a:lnTo>
                    <a:lnTo>
                      <a:pt x="20280" y="31971"/>
                    </a:lnTo>
                    <a:lnTo>
                      <a:pt x="21516" y="28348"/>
                    </a:lnTo>
                    <a:lnTo>
                      <a:pt x="17673" y="27608"/>
                    </a:lnTo>
                    <a:lnTo>
                      <a:pt x="9029" y="19046"/>
                    </a:lnTo>
                    <a:lnTo>
                      <a:pt x="5708" y="17426"/>
                    </a:lnTo>
                    <a:lnTo>
                      <a:pt x="2168" y="12651"/>
                    </a:lnTo>
                    <a:lnTo>
                      <a:pt x="0" y="4501"/>
                    </a:lnTo>
                    <a:lnTo>
                      <a:pt x="2772" y="2607"/>
                    </a:lnTo>
                    <a:lnTo>
                      <a:pt x="1455" y="0"/>
                    </a:lnTo>
                    <a:lnTo>
                      <a:pt x="4254" y="0"/>
                    </a:lnTo>
                    <a:cubicBezTo>
                      <a:pt x="4254" y="0"/>
                      <a:pt x="4720" y="1674"/>
                      <a:pt x="4720" y="1674"/>
                    </a:cubicBezTo>
                    <a:lnTo>
                      <a:pt x="3650"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5" name="Freeform: Shape 3994">
                <a:extLst>
                  <a:ext uri="{FF2B5EF4-FFF2-40B4-BE49-F238E27FC236}">
                    <a16:creationId xmlns:a16="http://schemas.microsoft.com/office/drawing/2014/main" id="{B8C713B6-ABAD-2388-8CB1-D166B8CF96DF}"/>
                  </a:ext>
                </a:extLst>
              </p:cNvPr>
              <p:cNvSpPr/>
              <p:nvPr/>
            </p:nvSpPr>
            <p:spPr>
              <a:xfrm>
                <a:off x="1740844" y="3810527"/>
                <a:ext cx="3532" cy="6057"/>
              </a:xfrm>
              <a:custGeom>
                <a:avLst/>
                <a:gdLst>
                  <a:gd name="connsiteX0" fmla="*/ 22421 w 33864"/>
                  <a:gd name="connsiteY0" fmla="*/ 33096 h 58069"/>
                  <a:gd name="connsiteX1" fmla="*/ 21707 w 33864"/>
                  <a:gd name="connsiteY1" fmla="*/ 42399 h 58069"/>
                  <a:gd name="connsiteX2" fmla="*/ 22695 w 33864"/>
                  <a:gd name="connsiteY2" fmla="*/ 42399 h 58069"/>
                  <a:gd name="connsiteX3" fmla="*/ 26674 w 33864"/>
                  <a:gd name="connsiteY3" fmla="*/ 51785 h 58069"/>
                  <a:gd name="connsiteX4" fmla="*/ 23765 w 33864"/>
                  <a:gd name="connsiteY4" fmla="*/ 56450 h 58069"/>
                  <a:gd name="connsiteX5" fmla="*/ 18908 w 33864"/>
                  <a:gd name="connsiteY5" fmla="*/ 58069 h 58069"/>
                  <a:gd name="connsiteX6" fmla="*/ 16082 w 33864"/>
                  <a:gd name="connsiteY6" fmla="*/ 56532 h 58069"/>
                  <a:gd name="connsiteX7" fmla="*/ 13283 w 33864"/>
                  <a:gd name="connsiteY7" fmla="*/ 49644 h 58069"/>
                  <a:gd name="connsiteX8" fmla="*/ 7218 w 33864"/>
                  <a:gd name="connsiteY8" fmla="*/ 47257 h 58069"/>
                  <a:gd name="connsiteX9" fmla="*/ 2634 w 33864"/>
                  <a:gd name="connsiteY9" fmla="*/ 42399 h 58069"/>
                  <a:gd name="connsiteX10" fmla="*/ 0 w 33864"/>
                  <a:gd name="connsiteY10" fmla="*/ 33535 h 58069"/>
                  <a:gd name="connsiteX11" fmla="*/ 2305 w 33864"/>
                  <a:gd name="connsiteY11" fmla="*/ 30654 h 58069"/>
                  <a:gd name="connsiteX12" fmla="*/ 7904 w 33864"/>
                  <a:gd name="connsiteY12" fmla="*/ 30022 h 58069"/>
                  <a:gd name="connsiteX13" fmla="*/ 13393 w 33864"/>
                  <a:gd name="connsiteY13" fmla="*/ 26674 h 58069"/>
                  <a:gd name="connsiteX14" fmla="*/ 12432 w 33864"/>
                  <a:gd name="connsiteY14" fmla="*/ 14051 h 58069"/>
                  <a:gd name="connsiteX15" fmla="*/ 15890 w 33864"/>
                  <a:gd name="connsiteY15" fmla="*/ 10099 h 58069"/>
                  <a:gd name="connsiteX16" fmla="*/ 16905 w 33864"/>
                  <a:gd name="connsiteY16" fmla="*/ 3375 h 58069"/>
                  <a:gd name="connsiteX17" fmla="*/ 20116 w 33864"/>
                  <a:gd name="connsiteY17" fmla="*/ 2086 h 58069"/>
                  <a:gd name="connsiteX18" fmla="*/ 23381 w 33864"/>
                  <a:gd name="connsiteY18" fmla="*/ 0 h 58069"/>
                  <a:gd name="connsiteX19" fmla="*/ 25495 w 33864"/>
                  <a:gd name="connsiteY19" fmla="*/ 192 h 58069"/>
                  <a:gd name="connsiteX20" fmla="*/ 32877 w 33864"/>
                  <a:gd name="connsiteY20" fmla="*/ 2086 h 58069"/>
                  <a:gd name="connsiteX21" fmla="*/ 33865 w 33864"/>
                  <a:gd name="connsiteY21" fmla="*/ 6723 h 58069"/>
                  <a:gd name="connsiteX22" fmla="*/ 22366 w 33864"/>
                  <a:gd name="connsiteY22" fmla="*/ 33069 h 5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3864" h="58069">
                    <a:moveTo>
                      <a:pt x="22421" y="33096"/>
                    </a:moveTo>
                    <a:lnTo>
                      <a:pt x="21707" y="42399"/>
                    </a:lnTo>
                    <a:lnTo>
                      <a:pt x="22695" y="42399"/>
                    </a:lnTo>
                    <a:lnTo>
                      <a:pt x="26674" y="51785"/>
                    </a:lnTo>
                    <a:lnTo>
                      <a:pt x="23765" y="56450"/>
                    </a:lnTo>
                    <a:lnTo>
                      <a:pt x="18908" y="58069"/>
                    </a:lnTo>
                    <a:lnTo>
                      <a:pt x="16082" y="56532"/>
                    </a:lnTo>
                    <a:lnTo>
                      <a:pt x="13283" y="49644"/>
                    </a:lnTo>
                    <a:lnTo>
                      <a:pt x="7218" y="47257"/>
                    </a:lnTo>
                    <a:lnTo>
                      <a:pt x="2634" y="42399"/>
                    </a:lnTo>
                    <a:lnTo>
                      <a:pt x="0" y="33535"/>
                    </a:lnTo>
                    <a:lnTo>
                      <a:pt x="2305" y="30654"/>
                    </a:lnTo>
                    <a:lnTo>
                      <a:pt x="7904" y="30022"/>
                    </a:lnTo>
                    <a:lnTo>
                      <a:pt x="13393" y="26674"/>
                    </a:lnTo>
                    <a:lnTo>
                      <a:pt x="12432" y="14051"/>
                    </a:lnTo>
                    <a:lnTo>
                      <a:pt x="15890" y="10099"/>
                    </a:lnTo>
                    <a:lnTo>
                      <a:pt x="16905" y="3375"/>
                    </a:lnTo>
                    <a:lnTo>
                      <a:pt x="20116" y="2086"/>
                    </a:lnTo>
                    <a:lnTo>
                      <a:pt x="23381" y="0"/>
                    </a:lnTo>
                    <a:lnTo>
                      <a:pt x="25495" y="192"/>
                    </a:lnTo>
                    <a:lnTo>
                      <a:pt x="32877" y="2086"/>
                    </a:lnTo>
                    <a:lnTo>
                      <a:pt x="33865" y="6723"/>
                    </a:lnTo>
                    <a:lnTo>
                      <a:pt x="22366" y="330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6" name="Freeform: Shape 3995">
                <a:extLst>
                  <a:ext uri="{FF2B5EF4-FFF2-40B4-BE49-F238E27FC236}">
                    <a16:creationId xmlns:a16="http://schemas.microsoft.com/office/drawing/2014/main" id="{FA5AA39B-05FB-C743-ED25-74230F313C42}"/>
                  </a:ext>
                </a:extLst>
              </p:cNvPr>
              <p:cNvSpPr/>
              <p:nvPr/>
            </p:nvSpPr>
            <p:spPr>
              <a:xfrm>
                <a:off x="1739192" y="3807613"/>
                <a:ext cx="4362" cy="4723"/>
              </a:xfrm>
              <a:custGeom>
                <a:avLst/>
                <a:gdLst>
                  <a:gd name="connsiteX0" fmla="*/ 0 w 41823"/>
                  <a:gd name="connsiteY0" fmla="*/ 4528 h 45280"/>
                  <a:gd name="connsiteX1" fmla="*/ 1262 w 41823"/>
                  <a:gd name="connsiteY1" fmla="*/ 549 h 45280"/>
                  <a:gd name="connsiteX2" fmla="*/ 3348 w 41823"/>
                  <a:gd name="connsiteY2" fmla="*/ 0 h 45280"/>
                  <a:gd name="connsiteX3" fmla="*/ 11993 w 41823"/>
                  <a:gd name="connsiteY3" fmla="*/ 4144 h 45280"/>
                  <a:gd name="connsiteX4" fmla="*/ 22174 w 41823"/>
                  <a:gd name="connsiteY4" fmla="*/ 12185 h 45280"/>
                  <a:gd name="connsiteX5" fmla="*/ 24205 w 41823"/>
                  <a:gd name="connsiteY5" fmla="*/ 11252 h 45280"/>
                  <a:gd name="connsiteX6" fmla="*/ 25412 w 41823"/>
                  <a:gd name="connsiteY6" fmla="*/ 9386 h 45280"/>
                  <a:gd name="connsiteX7" fmla="*/ 28925 w 41823"/>
                  <a:gd name="connsiteY7" fmla="*/ 10072 h 45280"/>
                  <a:gd name="connsiteX8" fmla="*/ 30489 w 41823"/>
                  <a:gd name="connsiteY8" fmla="*/ 13502 h 45280"/>
                  <a:gd name="connsiteX9" fmla="*/ 37213 w 41823"/>
                  <a:gd name="connsiteY9" fmla="*/ 11169 h 45280"/>
                  <a:gd name="connsiteX10" fmla="*/ 38119 w 41823"/>
                  <a:gd name="connsiteY10" fmla="*/ 12871 h 45280"/>
                  <a:gd name="connsiteX11" fmla="*/ 41110 w 41823"/>
                  <a:gd name="connsiteY11" fmla="*/ 11718 h 45280"/>
                  <a:gd name="connsiteX12" fmla="*/ 41823 w 41823"/>
                  <a:gd name="connsiteY12" fmla="*/ 13886 h 45280"/>
                  <a:gd name="connsiteX13" fmla="*/ 39820 w 41823"/>
                  <a:gd name="connsiteY13" fmla="*/ 14792 h 45280"/>
                  <a:gd name="connsiteX14" fmla="*/ 37844 w 41823"/>
                  <a:gd name="connsiteY14" fmla="*/ 13914 h 45280"/>
                  <a:gd name="connsiteX15" fmla="*/ 36747 w 41823"/>
                  <a:gd name="connsiteY15" fmla="*/ 22311 h 45280"/>
                  <a:gd name="connsiteX16" fmla="*/ 27333 w 41823"/>
                  <a:gd name="connsiteY16" fmla="*/ 30050 h 45280"/>
                  <a:gd name="connsiteX17" fmla="*/ 26455 w 41823"/>
                  <a:gd name="connsiteY17" fmla="*/ 33151 h 45280"/>
                  <a:gd name="connsiteX18" fmla="*/ 22531 w 41823"/>
                  <a:gd name="connsiteY18" fmla="*/ 34880 h 45280"/>
                  <a:gd name="connsiteX19" fmla="*/ 25028 w 41823"/>
                  <a:gd name="connsiteY19" fmla="*/ 36307 h 45280"/>
                  <a:gd name="connsiteX20" fmla="*/ 25522 w 41823"/>
                  <a:gd name="connsiteY20" fmla="*/ 39299 h 45280"/>
                  <a:gd name="connsiteX21" fmla="*/ 21049 w 41823"/>
                  <a:gd name="connsiteY21" fmla="*/ 45281 h 45280"/>
                  <a:gd name="connsiteX22" fmla="*/ 19100 w 41823"/>
                  <a:gd name="connsiteY22" fmla="*/ 43717 h 45280"/>
                  <a:gd name="connsiteX23" fmla="*/ 20362 w 41823"/>
                  <a:gd name="connsiteY23" fmla="*/ 38173 h 45280"/>
                  <a:gd name="connsiteX24" fmla="*/ 18771 w 41823"/>
                  <a:gd name="connsiteY24" fmla="*/ 37185 h 45280"/>
                  <a:gd name="connsiteX25" fmla="*/ 10593 w 41823"/>
                  <a:gd name="connsiteY25" fmla="*/ 38914 h 45280"/>
                  <a:gd name="connsiteX26" fmla="*/ 3623 w 41823"/>
                  <a:gd name="connsiteY26" fmla="*/ 43744 h 45280"/>
                  <a:gd name="connsiteX27" fmla="*/ 2799 w 41823"/>
                  <a:gd name="connsiteY27" fmla="*/ 43250 h 45280"/>
                  <a:gd name="connsiteX28" fmla="*/ 4007 w 41823"/>
                  <a:gd name="connsiteY28" fmla="*/ 30078 h 45280"/>
                  <a:gd name="connsiteX29" fmla="*/ 5681 w 41823"/>
                  <a:gd name="connsiteY29" fmla="*/ 27059 h 45280"/>
                  <a:gd name="connsiteX30" fmla="*/ 7218 w 41823"/>
                  <a:gd name="connsiteY30" fmla="*/ 9386 h 45280"/>
                  <a:gd name="connsiteX31" fmla="*/ 6532 w 41823"/>
                  <a:gd name="connsiteY31" fmla="*/ 5873 h 45280"/>
                  <a:gd name="connsiteX32" fmla="*/ 110 w 41823"/>
                  <a:gd name="connsiteY32" fmla="*/ 4528 h 45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1823" h="45280">
                    <a:moveTo>
                      <a:pt x="0" y="4528"/>
                    </a:moveTo>
                    <a:lnTo>
                      <a:pt x="1262" y="549"/>
                    </a:lnTo>
                    <a:lnTo>
                      <a:pt x="3348" y="0"/>
                    </a:lnTo>
                    <a:lnTo>
                      <a:pt x="11993" y="4144"/>
                    </a:lnTo>
                    <a:lnTo>
                      <a:pt x="22174" y="12185"/>
                    </a:lnTo>
                    <a:lnTo>
                      <a:pt x="24205" y="11252"/>
                    </a:lnTo>
                    <a:lnTo>
                      <a:pt x="25412" y="9386"/>
                    </a:lnTo>
                    <a:lnTo>
                      <a:pt x="28925" y="10072"/>
                    </a:lnTo>
                    <a:lnTo>
                      <a:pt x="30489" y="13502"/>
                    </a:lnTo>
                    <a:lnTo>
                      <a:pt x="37213" y="11169"/>
                    </a:lnTo>
                    <a:lnTo>
                      <a:pt x="38119" y="12871"/>
                    </a:lnTo>
                    <a:lnTo>
                      <a:pt x="41110" y="11718"/>
                    </a:lnTo>
                    <a:lnTo>
                      <a:pt x="41823" y="13886"/>
                    </a:lnTo>
                    <a:lnTo>
                      <a:pt x="39820" y="14792"/>
                    </a:lnTo>
                    <a:lnTo>
                      <a:pt x="37844" y="13914"/>
                    </a:lnTo>
                    <a:lnTo>
                      <a:pt x="36747" y="22311"/>
                    </a:lnTo>
                    <a:lnTo>
                      <a:pt x="27333" y="30050"/>
                    </a:lnTo>
                    <a:lnTo>
                      <a:pt x="26455" y="33151"/>
                    </a:lnTo>
                    <a:lnTo>
                      <a:pt x="22531" y="34880"/>
                    </a:lnTo>
                    <a:lnTo>
                      <a:pt x="25028" y="36307"/>
                    </a:lnTo>
                    <a:lnTo>
                      <a:pt x="25522" y="39299"/>
                    </a:lnTo>
                    <a:lnTo>
                      <a:pt x="21049" y="45281"/>
                    </a:lnTo>
                    <a:lnTo>
                      <a:pt x="19100" y="43717"/>
                    </a:lnTo>
                    <a:lnTo>
                      <a:pt x="20362" y="38173"/>
                    </a:lnTo>
                    <a:lnTo>
                      <a:pt x="18771" y="37185"/>
                    </a:lnTo>
                    <a:lnTo>
                      <a:pt x="10593" y="38914"/>
                    </a:lnTo>
                    <a:lnTo>
                      <a:pt x="3623" y="43744"/>
                    </a:lnTo>
                    <a:lnTo>
                      <a:pt x="2799" y="43250"/>
                    </a:lnTo>
                    <a:lnTo>
                      <a:pt x="4007" y="30078"/>
                    </a:lnTo>
                    <a:lnTo>
                      <a:pt x="5681" y="27059"/>
                    </a:lnTo>
                    <a:lnTo>
                      <a:pt x="7218" y="9386"/>
                    </a:lnTo>
                    <a:lnTo>
                      <a:pt x="6532" y="5873"/>
                    </a:lnTo>
                    <a:lnTo>
                      <a:pt x="110" y="45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7" name="Freeform: Shape 3996">
                <a:extLst>
                  <a:ext uri="{FF2B5EF4-FFF2-40B4-BE49-F238E27FC236}">
                    <a16:creationId xmlns:a16="http://schemas.microsoft.com/office/drawing/2014/main" id="{8778F799-9756-7010-5595-ADEDFA4EC8BE}"/>
                  </a:ext>
                </a:extLst>
              </p:cNvPr>
              <p:cNvSpPr/>
              <p:nvPr/>
            </p:nvSpPr>
            <p:spPr>
              <a:xfrm>
                <a:off x="1734501" y="3802627"/>
                <a:ext cx="3741" cy="4059"/>
              </a:xfrm>
              <a:custGeom>
                <a:avLst/>
                <a:gdLst>
                  <a:gd name="connsiteX0" fmla="*/ 0 w 35867"/>
                  <a:gd name="connsiteY0" fmla="*/ 2744 h 38913"/>
                  <a:gd name="connsiteX1" fmla="*/ 1207 w 35867"/>
                  <a:gd name="connsiteY1" fmla="*/ 0 h 38913"/>
                  <a:gd name="connsiteX2" fmla="*/ 17563 w 35867"/>
                  <a:gd name="connsiteY2" fmla="*/ 164 h 38913"/>
                  <a:gd name="connsiteX3" fmla="*/ 22173 w 35867"/>
                  <a:gd name="connsiteY3" fmla="*/ 2909 h 38913"/>
                  <a:gd name="connsiteX4" fmla="*/ 26153 w 35867"/>
                  <a:gd name="connsiteY4" fmla="*/ 2827 h 38913"/>
                  <a:gd name="connsiteX5" fmla="*/ 35346 w 35867"/>
                  <a:gd name="connsiteY5" fmla="*/ 11773 h 38913"/>
                  <a:gd name="connsiteX6" fmla="*/ 34111 w 35867"/>
                  <a:gd name="connsiteY6" fmla="*/ 21076 h 38913"/>
                  <a:gd name="connsiteX7" fmla="*/ 35867 w 35867"/>
                  <a:gd name="connsiteY7" fmla="*/ 26812 h 38913"/>
                  <a:gd name="connsiteX8" fmla="*/ 31395 w 35867"/>
                  <a:gd name="connsiteY8" fmla="*/ 35072 h 38913"/>
                  <a:gd name="connsiteX9" fmla="*/ 27827 w 35867"/>
                  <a:gd name="connsiteY9" fmla="*/ 37240 h 38913"/>
                  <a:gd name="connsiteX10" fmla="*/ 26921 w 35867"/>
                  <a:gd name="connsiteY10" fmla="*/ 38585 h 38913"/>
                  <a:gd name="connsiteX11" fmla="*/ 21872 w 35867"/>
                  <a:gd name="connsiteY11" fmla="*/ 38914 h 38913"/>
                  <a:gd name="connsiteX12" fmla="*/ 20911 w 35867"/>
                  <a:gd name="connsiteY12" fmla="*/ 37240 h 38913"/>
                  <a:gd name="connsiteX13" fmla="*/ 21762 w 35867"/>
                  <a:gd name="connsiteY13" fmla="*/ 35703 h 38913"/>
                  <a:gd name="connsiteX14" fmla="*/ 13941 w 35867"/>
                  <a:gd name="connsiteY14" fmla="*/ 22750 h 38913"/>
                  <a:gd name="connsiteX15" fmla="*/ 11581 w 35867"/>
                  <a:gd name="connsiteY15" fmla="*/ 12843 h 38913"/>
                  <a:gd name="connsiteX16" fmla="*/ 5489 w 35867"/>
                  <a:gd name="connsiteY16" fmla="*/ 7711 h 38913"/>
                  <a:gd name="connsiteX17" fmla="*/ 3787 w 35867"/>
                  <a:gd name="connsiteY17" fmla="*/ 3458 h 38913"/>
                  <a:gd name="connsiteX18" fmla="*/ 0 w 35867"/>
                  <a:gd name="connsiteY18" fmla="*/ 2717 h 3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67" h="38913">
                    <a:moveTo>
                      <a:pt x="0" y="2744"/>
                    </a:moveTo>
                    <a:lnTo>
                      <a:pt x="1207" y="0"/>
                    </a:lnTo>
                    <a:lnTo>
                      <a:pt x="17563" y="164"/>
                    </a:lnTo>
                    <a:lnTo>
                      <a:pt x="22173" y="2909"/>
                    </a:lnTo>
                    <a:lnTo>
                      <a:pt x="26153" y="2827"/>
                    </a:lnTo>
                    <a:lnTo>
                      <a:pt x="35346" y="11773"/>
                    </a:lnTo>
                    <a:lnTo>
                      <a:pt x="34111" y="21076"/>
                    </a:lnTo>
                    <a:lnTo>
                      <a:pt x="35867" y="26812"/>
                    </a:lnTo>
                    <a:lnTo>
                      <a:pt x="31395" y="35072"/>
                    </a:lnTo>
                    <a:lnTo>
                      <a:pt x="27827" y="37240"/>
                    </a:lnTo>
                    <a:lnTo>
                      <a:pt x="26921" y="38585"/>
                    </a:lnTo>
                    <a:lnTo>
                      <a:pt x="21872" y="38914"/>
                    </a:lnTo>
                    <a:lnTo>
                      <a:pt x="20911" y="37240"/>
                    </a:lnTo>
                    <a:lnTo>
                      <a:pt x="21762" y="35703"/>
                    </a:lnTo>
                    <a:lnTo>
                      <a:pt x="13941" y="22750"/>
                    </a:lnTo>
                    <a:lnTo>
                      <a:pt x="11581" y="12843"/>
                    </a:lnTo>
                    <a:lnTo>
                      <a:pt x="5489" y="7711"/>
                    </a:lnTo>
                    <a:lnTo>
                      <a:pt x="3787" y="3458"/>
                    </a:lnTo>
                    <a:lnTo>
                      <a:pt x="0"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8" name="Freeform: Shape 3997">
                <a:extLst>
                  <a:ext uri="{FF2B5EF4-FFF2-40B4-BE49-F238E27FC236}">
                    <a16:creationId xmlns:a16="http://schemas.microsoft.com/office/drawing/2014/main" id="{462F1D04-AC99-EE2B-F3D3-5FED4EFFC469}"/>
                  </a:ext>
                </a:extLst>
              </p:cNvPr>
              <p:cNvSpPr/>
              <p:nvPr/>
            </p:nvSpPr>
            <p:spPr>
              <a:xfrm>
                <a:off x="1743632" y="3809800"/>
                <a:ext cx="2261" cy="5607"/>
              </a:xfrm>
              <a:custGeom>
                <a:avLst/>
                <a:gdLst>
                  <a:gd name="connsiteX0" fmla="*/ 5022 w 21679"/>
                  <a:gd name="connsiteY0" fmla="*/ 49425 h 53761"/>
                  <a:gd name="connsiteX1" fmla="*/ 1702 w 21679"/>
                  <a:gd name="connsiteY1" fmla="*/ 53761 h 53761"/>
                  <a:gd name="connsiteX2" fmla="*/ 0 w 21679"/>
                  <a:gd name="connsiteY2" fmla="*/ 52718 h 53761"/>
                  <a:gd name="connsiteX3" fmla="*/ 385 w 21679"/>
                  <a:gd name="connsiteY3" fmla="*/ 49425 h 53761"/>
                  <a:gd name="connsiteX4" fmla="*/ 3183 w 21679"/>
                  <a:gd name="connsiteY4" fmla="*/ 35951 h 53761"/>
                  <a:gd name="connsiteX5" fmla="*/ 17673 w 21679"/>
                  <a:gd name="connsiteY5" fmla="*/ 9056 h 53761"/>
                  <a:gd name="connsiteX6" fmla="*/ 18854 w 21679"/>
                  <a:gd name="connsiteY6" fmla="*/ 2305 h 53761"/>
                  <a:gd name="connsiteX7" fmla="*/ 20500 w 21679"/>
                  <a:gd name="connsiteY7" fmla="*/ 0 h 53761"/>
                  <a:gd name="connsiteX8" fmla="*/ 21433 w 21679"/>
                  <a:gd name="connsiteY8" fmla="*/ 302 h 53761"/>
                  <a:gd name="connsiteX9" fmla="*/ 21680 w 21679"/>
                  <a:gd name="connsiteY9" fmla="*/ 9056 h 53761"/>
                  <a:gd name="connsiteX10" fmla="*/ 20527 w 21679"/>
                  <a:gd name="connsiteY10" fmla="*/ 27718 h 53761"/>
                  <a:gd name="connsiteX11" fmla="*/ 14106 w 21679"/>
                  <a:gd name="connsiteY11" fmla="*/ 30105 h 53761"/>
                  <a:gd name="connsiteX12" fmla="*/ 10977 w 21679"/>
                  <a:gd name="connsiteY12" fmla="*/ 33398 h 53761"/>
                  <a:gd name="connsiteX13" fmla="*/ 5050 w 21679"/>
                  <a:gd name="connsiteY13" fmla="*/ 49425 h 5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79" h="53761">
                    <a:moveTo>
                      <a:pt x="5022" y="49425"/>
                    </a:moveTo>
                    <a:lnTo>
                      <a:pt x="1702" y="53761"/>
                    </a:lnTo>
                    <a:lnTo>
                      <a:pt x="0" y="52718"/>
                    </a:lnTo>
                    <a:lnTo>
                      <a:pt x="385" y="49425"/>
                    </a:lnTo>
                    <a:lnTo>
                      <a:pt x="3183" y="35951"/>
                    </a:lnTo>
                    <a:lnTo>
                      <a:pt x="17673" y="9056"/>
                    </a:lnTo>
                    <a:lnTo>
                      <a:pt x="18854" y="2305"/>
                    </a:lnTo>
                    <a:lnTo>
                      <a:pt x="20500" y="0"/>
                    </a:lnTo>
                    <a:lnTo>
                      <a:pt x="21433" y="302"/>
                    </a:lnTo>
                    <a:lnTo>
                      <a:pt x="21680" y="9056"/>
                    </a:lnTo>
                    <a:lnTo>
                      <a:pt x="20527" y="27718"/>
                    </a:lnTo>
                    <a:lnTo>
                      <a:pt x="14106" y="30105"/>
                    </a:lnTo>
                    <a:lnTo>
                      <a:pt x="10977" y="33398"/>
                    </a:lnTo>
                    <a:lnTo>
                      <a:pt x="5050" y="494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9" name="Freeform: Shape 3998">
                <a:extLst>
                  <a:ext uri="{FF2B5EF4-FFF2-40B4-BE49-F238E27FC236}">
                    <a16:creationId xmlns:a16="http://schemas.microsoft.com/office/drawing/2014/main" id="{620CB600-D0E8-B8D8-4633-B1F458C106A6}"/>
                  </a:ext>
                </a:extLst>
              </p:cNvPr>
              <p:cNvSpPr/>
              <p:nvPr/>
            </p:nvSpPr>
            <p:spPr>
              <a:xfrm>
                <a:off x="1743231" y="3805520"/>
                <a:ext cx="2725" cy="2545"/>
              </a:xfrm>
              <a:custGeom>
                <a:avLst/>
                <a:gdLst>
                  <a:gd name="connsiteX0" fmla="*/ 2113 w 26125"/>
                  <a:gd name="connsiteY0" fmla="*/ 1345 h 24396"/>
                  <a:gd name="connsiteX1" fmla="*/ 2772 w 26125"/>
                  <a:gd name="connsiteY1" fmla="*/ 0 h 24396"/>
                  <a:gd name="connsiteX2" fmla="*/ 9330 w 26125"/>
                  <a:gd name="connsiteY2" fmla="*/ 3156 h 24396"/>
                  <a:gd name="connsiteX3" fmla="*/ 16548 w 26125"/>
                  <a:gd name="connsiteY3" fmla="*/ 9495 h 24396"/>
                  <a:gd name="connsiteX4" fmla="*/ 22256 w 26125"/>
                  <a:gd name="connsiteY4" fmla="*/ 12816 h 24396"/>
                  <a:gd name="connsiteX5" fmla="*/ 25467 w 26125"/>
                  <a:gd name="connsiteY5" fmla="*/ 18332 h 24396"/>
                  <a:gd name="connsiteX6" fmla="*/ 26126 w 26125"/>
                  <a:gd name="connsiteY6" fmla="*/ 24397 h 24396"/>
                  <a:gd name="connsiteX7" fmla="*/ 17097 w 26125"/>
                  <a:gd name="connsiteY7" fmla="*/ 19649 h 24396"/>
                  <a:gd name="connsiteX8" fmla="*/ 10264 w 26125"/>
                  <a:gd name="connsiteY8" fmla="*/ 11746 h 24396"/>
                  <a:gd name="connsiteX9" fmla="*/ 7409 w 26125"/>
                  <a:gd name="connsiteY9" fmla="*/ 12212 h 24396"/>
                  <a:gd name="connsiteX10" fmla="*/ 2579 w 26125"/>
                  <a:gd name="connsiteY10" fmla="*/ 17728 h 24396"/>
                  <a:gd name="connsiteX11" fmla="*/ 0 w 26125"/>
                  <a:gd name="connsiteY11" fmla="*/ 18497 h 24396"/>
                  <a:gd name="connsiteX12" fmla="*/ 1235 w 26125"/>
                  <a:gd name="connsiteY12" fmla="*/ 14408 h 24396"/>
                  <a:gd name="connsiteX13" fmla="*/ 3046 w 26125"/>
                  <a:gd name="connsiteY13" fmla="*/ 12789 h 24396"/>
                  <a:gd name="connsiteX14" fmla="*/ 3101 w 26125"/>
                  <a:gd name="connsiteY14" fmla="*/ 11032 h 24396"/>
                  <a:gd name="connsiteX15" fmla="*/ 1674 w 26125"/>
                  <a:gd name="connsiteY15" fmla="*/ 10209 h 24396"/>
                  <a:gd name="connsiteX16" fmla="*/ 2058 w 26125"/>
                  <a:gd name="connsiteY16" fmla="*/ 6916 h 24396"/>
                  <a:gd name="connsiteX17" fmla="*/ 3266 w 26125"/>
                  <a:gd name="connsiteY17" fmla="*/ 4473 h 24396"/>
                  <a:gd name="connsiteX18" fmla="*/ 2086 w 26125"/>
                  <a:gd name="connsiteY18" fmla="*/ 1317 h 2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125" h="24396">
                    <a:moveTo>
                      <a:pt x="2113" y="1345"/>
                    </a:moveTo>
                    <a:lnTo>
                      <a:pt x="2772" y="0"/>
                    </a:lnTo>
                    <a:lnTo>
                      <a:pt x="9330" y="3156"/>
                    </a:lnTo>
                    <a:lnTo>
                      <a:pt x="16548" y="9495"/>
                    </a:lnTo>
                    <a:lnTo>
                      <a:pt x="22256" y="12816"/>
                    </a:lnTo>
                    <a:lnTo>
                      <a:pt x="25467" y="18332"/>
                    </a:lnTo>
                    <a:lnTo>
                      <a:pt x="26126" y="24397"/>
                    </a:lnTo>
                    <a:lnTo>
                      <a:pt x="17097" y="19649"/>
                    </a:lnTo>
                    <a:lnTo>
                      <a:pt x="10264" y="11746"/>
                    </a:lnTo>
                    <a:lnTo>
                      <a:pt x="7409" y="12212"/>
                    </a:lnTo>
                    <a:lnTo>
                      <a:pt x="2579" y="17728"/>
                    </a:lnTo>
                    <a:lnTo>
                      <a:pt x="0" y="18497"/>
                    </a:lnTo>
                    <a:lnTo>
                      <a:pt x="1235" y="14408"/>
                    </a:lnTo>
                    <a:lnTo>
                      <a:pt x="3046" y="12789"/>
                    </a:lnTo>
                    <a:lnTo>
                      <a:pt x="3101" y="11032"/>
                    </a:lnTo>
                    <a:lnTo>
                      <a:pt x="1674" y="10209"/>
                    </a:lnTo>
                    <a:lnTo>
                      <a:pt x="2058" y="6916"/>
                    </a:lnTo>
                    <a:lnTo>
                      <a:pt x="3266" y="4473"/>
                    </a:lnTo>
                    <a:lnTo>
                      <a:pt x="2086" y="13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0" name="Freeform: Shape 3999">
                <a:extLst>
                  <a:ext uri="{FF2B5EF4-FFF2-40B4-BE49-F238E27FC236}">
                    <a16:creationId xmlns:a16="http://schemas.microsoft.com/office/drawing/2014/main" id="{5CB265F8-0064-7894-C7B2-578BF849C48E}"/>
                  </a:ext>
                </a:extLst>
              </p:cNvPr>
              <p:cNvSpPr/>
              <p:nvPr/>
            </p:nvSpPr>
            <p:spPr>
              <a:xfrm>
                <a:off x="1745100" y="3813105"/>
                <a:ext cx="2499" cy="1846"/>
              </a:xfrm>
              <a:custGeom>
                <a:avLst/>
                <a:gdLst>
                  <a:gd name="connsiteX0" fmla="*/ 13996 w 23957"/>
                  <a:gd name="connsiteY0" fmla="*/ 16685 h 17700"/>
                  <a:gd name="connsiteX1" fmla="*/ 1207 w 23957"/>
                  <a:gd name="connsiteY1" fmla="*/ 17701 h 17700"/>
                  <a:gd name="connsiteX2" fmla="*/ 0 w 23957"/>
                  <a:gd name="connsiteY2" fmla="*/ 17289 h 17700"/>
                  <a:gd name="connsiteX3" fmla="*/ 1976 w 23957"/>
                  <a:gd name="connsiteY3" fmla="*/ 14408 h 17700"/>
                  <a:gd name="connsiteX4" fmla="*/ 494 w 23957"/>
                  <a:gd name="connsiteY4" fmla="*/ 11718 h 17700"/>
                  <a:gd name="connsiteX5" fmla="*/ 1426 w 23957"/>
                  <a:gd name="connsiteY5" fmla="*/ 9276 h 17700"/>
                  <a:gd name="connsiteX6" fmla="*/ 11800 w 23957"/>
                  <a:gd name="connsiteY6" fmla="*/ 467 h 17700"/>
                  <a:gd name="connsiteX7" fmla="*/ 15505 w 23957"/>
                  <a:gd name="connsiteY7" fmla="*/ 0 h 17700"/>
                  <a:gd name="connsiteX8" fmla="*/ 22338 w 23957"/>
                  <a:gd name="connsiteY8" fmla="*/ 4062 h 17700"/>
                  <a:gd name="connsiteX9" fmla="*/ 23958 w 23957"/>
                  <a:gd name="connsiteY9" fmla="*/ 10511 h 17700"/>
                  <a:gd name="connsiteX10" fmla="*/ 23958 w 23957"/>
                  <a:gd name="connsiteY10" fmla="*/ 12267 h 17700"/>
                  <a:gd name="connsiteX11" fmla="*/ 20005 w 23957"/>
                  <a:gd name="connsiteY11" fmla="*/ 12816 h 17700"/>
                  <a:gd name="connsiteX12" fmla="*/ 13968 w 23957"/>
                  <a:gd name="connsiteY12" fmla="*/ 16685 h 1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957" h="17700">
                    <a:moveTo>
                      <a:pt x="13996" y="16685"/>
                    </a:moveTo>
                    <a:lnTo>
                      <a:pt x="1207" y="17701"/>
                    </a:lnTo>
                    <a:lnTo>
                      <a:pt x="0" y="17289"/>
                    </a:lnTo>
                    <a:lnTo>
                      <a:pt x="1976" y="14408"/>
                    </a:lnTo>
                    <a:lnTo>
                      <a:pt x="494" y="11718"/>
                    </a:lnTo>
                    <a:lnTo>
                      <a:pt x="1426" y="9276"/>
                    </a:lnTo>
                    <a:lnTo>
                      <a:pt x="11800" y="467"/>
                    </a:lnTo>
                    <a:lnTo>
                      <a:pt x="15505" y="0"/>
                    </a:lnTo>
                    <a:lnTo>
                      <a:pt x="22338" y="4062"/>
                    </a:lnTo>
                    <a:lnTo>
                      <a:pt x="23958" y="10511"/>
                    </a:lnTo>
                    <a:lnTo>
                      <a:pt x="23958" y="12267"/>
                    </a:lnTo>
                    <a:lnTo>
                      <a:pt x="20005" y="12816"/>
                    </a:lnTo>
                    <a:lnTo>
                      <a:pt x="13968" y="166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1" name="Freeform: Shape 4000">
                <a:extLst>
                  <a:ext uri="{FF2B5EF4-FFF2-40B4-BE49-F238E27FC236}">
                    <a16:creationId xmlns:a16="http://schemas.microsoft.com/office/drawing/2014/main" id="{CACEDA6B-5138-9843-44D9-7B34D5E0A242}"/>
                  </a:ext>
                </a:extLst>
              </p:cNvPr>
              <p:cNvSpPr/>
              <p:nvPr/>
            </p:nvSpPr>
            <p:spPr>
              <a:xfrm>
                <a:off x="1733004" y="3806508"/>
                <a:ext cx="1546" cy="1855"/>
              </a:xfrm>
              <a:custGeom>
                <a:avLst/>
                <a:gdLst>
                  <a:gd name="connsiteX0" fmla="*/ 933 w 14818"/>
                  <a:gd name="connsiteY0" fmla="*/ 2442 h 17782"/>
                  <a:gd name="connsiteX1" fmla="*/ 1784 w 14818"/>
                  <a:gd name="connsiteY1" fmla="*/ 0 h 17782"/>
                  <a:gd name="connsiteX2" fmla="*/ 2772 w 14818"/>
                  <a:gd name="connsiteY2" fmla="*/ 0 h 17782"/>
                  <a:gd name="connsiteX3" fmla="*/ 9468 w 14818"/>
                  <a:gd name="connsiteY3" fmla="*/ 4089 h 17782"/>
                  <a:gd name="connsiteX4" fmla="*/ 12102 w 14818"/>
                  <a:gd name="connsiteY4" fmla="*/ 2964 h 17782"/>
                  <a:gd name="connsiteX5" fmla="*/ 14819 w 14818"/>
                  <a:gd name="connsiteY5" fmla="*/ 6971 h 17782"/>
                  <a:gd name="connsiteX6" fmla="*/ 11800 w 14818"/>
                  <a:gd name="connsiteY6" fmla="*/ 10703 h 17782"/>
                  <a:gd name="connsiteX7" fmla="*/ 6065 w 14818"/>
                  <a:gd name="connsiteY7" fmla="*/ 9660 h 17782"/>
                  <a:gd name="connsiteX8" fmla="*/ 6942 w 14818"/>
                  <a:gd name="connsiteY8" fmla="*/ 14353 h 17782"/>
                  <a:gd name="connsiteX9" fmla="*/ 4144 w 14818"/>
                  <a:gd name="connsiteY9" fmla="*/ 17783 h 17782"/>
                  <a:gd name="connsiteX10" fmla="*/ 0 w 14818"/>
                  <a:gd name="connsiteY10" fmla="*/ 9605 h 17782"/>
                  <a:gd name="connsiteX11" fmla="*/ 4226 w 14818"/>
                  <a:gd name="connsiteY11" fmla="*/ 8425 h 17782"/>
                  <a:gd name="connsiteX12" fmla="*/ 933 w 14818"/>
                  <a:gd name="connsiteY12" fmla="*/ 2470 h 1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18" h="17782">
                    <a:moveTo>
                      <a:pt x="933" y="2442"/>
                    </a:moveTo>
                    <a:lnTo>
                      <a:pt x="1784" y="0"/>
                    </a:lnTo>
                    <a:lnTo>
                      <a:pt x="2772" y="0"/>
                    </a:lnTo>
                    <a:lnTo>
                      <a:pt x="9468" y="4089"/>
                    </a:lnTo>
                    <a:lnTo>
                      <a:pt x="12102" y="2964"/>
                    </a:lnTo>
                    <a:lnTo>
                      <a:pt x="14819" y="6971"/>
                    </a:lnTo>
                    <a:lnTo>
                      <a:pt x="11800" y="10703"/>
                    </a:lnTo>
                    <a:lnTo>
                      <a:pt x="6065" y="9660"/>
                    </a:lnTo>
                    <a:lnTo>
                      <a:pt x="6942" y="14353"/>
                    </a:lnTo>
                    <a:lnTo>
                      <a:pt x="4144" y="17783"/>
                    </a:lnTo>
                    <a:lnTo>
                      <a:pt x="0" y="9605"/>
                    </a:lnTo>
                    <a:lnTo>
                      <a:pt x="4226" y="8425"/>
                    </a:lnTo>
                    <a:lnTo>
                      <a:pt x="933" y="24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2" name="Freeform: Shape 4001">
                <a:extLst>
                  <a:ext uri="{FF2B5EF4-FFF2-40B4-BE49-F238E27FC236}">
                    <a16:creationId xmlns:a16="http://schemas.microsoft.com/office/drawing/2014/main" id="{5D1849D8-B81B-4C5D-B3FE-C376B2707B56}"/>
                  </a:ext>
                </a:extLst>
              </p:cNvPr>
              <p:cNvSpPr/>
              <p:nvPr/>
            </p:nvSpPr>
            <p:spPr>
              <a:xfrm>
                <a:off x="1732692" y="3828021"/>
                <a:ext cx="1869" cy="1048"/>
              </a:xfrm>
              <a:custGeom>
                <a:avLst/>
                <a:gdLst>
                  <a:gd name="connsiteX0" fmla="*/ 1180 w 17920"/>
                  <a:gd name="connsiteY0" fmla="*/ 7135 h 10044"/>
                  <a:gd name="connsiteX1" fmla="*/ 6010 w 17920"/>
                  <a:gd name="connsiteY1" fmla="*/ 4308 h 10044"/>
                  <a:gd name="connsiteX2" fmla="*/ 6916 w 17920"/>
                  <a:gd name="connsiteY2" fmla="*/ 2497 h 10044"/>
                  <a:gd name="connsiteX3" fmla="*/ 8480 w 17920"/>
                  <a:gd name="connsiteY3" fmla="*/ 3513 h 10044"/>
                  <a:gd name="connsiteX4" fmla="*/ 12816 w 17920"/>
                  <a:gd name="connsiteY4" fmla="*/ 219 h 10044"/>
                  <a:gd name="connsiteX5" fmla="*/ 15697 w 17920"/>
                  <a:gd name="connsiteY5" fmla="*/ 0 h 10044"/>
                  <a:gd name="connsiteX6" fmla="*/ 15396 w 17920"/>
                  <a:gd name="connsiteY6" fmla="*/ 2442 h 10044"/>
                  <a:gd name="connsiteX7" fmla="*/ 17097 w 17920"/>
                  <a:gd name="connsiteY7" fmla="*/ 2168 h 10044"/>
                  <a:gd name="connsiteX8" fmla="*/ 17920 w 17920"/>
                  <a:gd name="connsiteY8" fmla="*/ 4940 h 10044"/>
                  <a:gd name="connsiteX9" fmla="*/ 16273 w 17920"/>
                  <a:gd name="connsiteY9" fmla="*/ 5873 h 10044"/>
                  <a:gd name="connsiteX10" fmla="*/ 14956 w 17920"/>
                  <a:gd name="connsiteY10" fmla="*/ 5132 h 10044"/>
                  <a:gd name="connsiteX11" fmla="*/ 14133 w 17920"/>
                  <a:gd name="connsiteY11" fmla="*/ 6833 h 10044"/>
                  <a:gd name="connsiteX12" fmla="*/ 11801 w 17920"/>
                  <a:gd name="connsiteY12" fmla="*/ 4720 h 10044"/>
                  <a:gd name="connsiteX13" fmla="*/ 10620 w 17920"/>
                  <a:gd name="connsiteY13" fmla="*/ 5845 h 10044"/>
                  <a:gd name="connsiteX14" fmla="*/ 7822 w 17920"/>
                  <a:gd name="connsiteY14" fmla="*/ 5845 h 10044"/>
                  <a:gd name="connsiteX15" fmla="*/ 5736 w 17920"/>
                  <a:gd name="connsiteY15" fmla="*/ 7739 h 10044"/>
                  <a:gd name="connsiteX16" fmla="*/ 247 w 17920"/>
                  <a:gd name="connsiteY16" fmla="*/ 10044 h 10044"/>
                  <a:gd name="connsiteX17" fmla="*/ 0 w 17920"/>
                  <a:gd name="connsiteY17" fmla="*/ 9413 h 10044"/>
                  <a:gd name="connsiteX18" fmla="*/ 1152 w 17920"/>
                  <a:gd name="connsiteY18" fmla="*/ 7135 h 1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920" h="10044">
                    <a:moveTo>
                      <a:pt x="1180" y="7135"/>
                    </a:moveTo>
                    <a:lnTo>
                      <a:pt x="6010" y="4308"/>
                    </a:lnTo>
                    <a:lnTo>
                      <a:pt x="6916" y="2497"/>
                    </a:lnTo>
                    <a:lnTo>
                      <a:pt x="8480" y="3513"/>
                    </a:lnTo>
                    <a:lnTo>
                      <a:pt x="12816" y="219"/>
                    </a:lnTo>
                    <a:lnTo>
                      <a:pt x="15697" y="0"/>
                    </a:lnTo>
                    <a:lnTo>
                      <a:pt x="15396" y="2442"/>
                    </a:lnTo>
                    <a:lnTo>
                      <a:pt x="17097" y="2168"/>
                    </a:lnTo>
                    <a:lnTo>
                      <a:pt x="17920" y="4940"/>
                    </a:lnTo>
                    <a:lnTo>
                      <a:pt x="16273" y="5873"/>
                    </a:lnTo>
                    <a:lnTo>
                      <a:pt x="14956" y="5132"/>
                    </a:lnTo>
                    <a:lnTo>
                      <a:pt x="14133" y="6833"/>
                    </a:lnTo>
                    <a:lnTo>
                      <a:pt x="11801" y="4720"/>
                    </a:lnTo>
                    <a:lnTo>
                      <a:pt x="10620" y="5845"/>
                    </a:lnTo>
                    <a:lnTo>
                      <a:pt x="7822" y="5845"/>
                    </a:lnTo>
                    <a:lnTo>
                      <a:pt x="5736" y="7739"/>
                    </a:lnTo>
                    <a:lnTo>
                      <a:pt x="247" y="10044"/>
                    </a:lnTo>
                    <a:lnTo>
                      <a:pt x="0" y="9413"/>
                    </a:lnTo>
                    <a:lnTo>
                      <a:pt x="1152" y="71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3" name="Freeform: Shape 4002">
                <a:extLst>
                  <a:ext uri="{FF2B5EF4-FFF2-40B4-BE49-F238E27FC236}">
                    <a16:creationId xmlns:a16="http://schemas.microsoft.com/office/drawing/2014/main" id="{312E2B72-706E-01B7-6C20-63BF39B5DE29}"/>
                  </a:ext>
                </a:extLst>
              </p:cNvPr>
              <p:cNvSpPr/>
              <p:nvPr/>
            </p:nvSpPr>
            <p:spPr>
              <a:xfrm>
                <a:off x="1745927" y="3800818"/>
                <a:ext cx="1099" cy="1755"/>
              </a:xfrm>
              <a:custGeom>
                <a:avLst/>
                <a:gdLst>
                  <a:gd name="connsiteX0" fmla="*/ 0 w 10538"/>
                  <a:gd name="connsiteY0" fmla="*/ 14435 h 16822"/>
                  <a:gd name="connsiteX1" fmla="*/ 2525 w 10538"/>
                  <a:gd name="connsiteY1" fmla="*/ 7959 h 16822"/>
                  <a:gd name="connsiteX2" fmla="*/ 2717 w 10538"/>
                  <a:gd name="connsiteY2" fmla="*/ 1015 h 16822"/>
                  <a:gd name="connsiteX3" fmla="*/ 4309 w 10538"/>
                  <a:gd name="connsiteY3" fmla="*/ 0 h 16822"/>
                  <a:gd name="connsiteX4" fmla="*/ 10538 w 10538"/>
                  <a:gd name="connsiteY4" fmla="*/ 7355 h 16822"/>
                  <a:gd name="connsiteX5" fmla="*/ 8508 w 10538"/>
                  <a:gd name="connsiteY5" fmla="*/ 15121 h 16822"/>
                  <a:gd name="connsiteX6" fmla="*/ 5434 w 10538"/>
                  <a:gd name="connsiteY6" fmla="*/ 15121 h 16822"/>
                  <a:gd name="connsiteX7" fmla="*/ 4309 w 10538"/>
                  <a:gd name="connsiteY7" fmla="*/ 16823 h 16822"/>
                  <a:gd name="connsiteX8" fmla="*/ 0 w 10538"/>
                  <a:gd name="connsiteY8" fmla="*/ 14463 h 1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38" h="16822">
                    <a:moveTo>
                      <a:pt x="0" y="14435"/>
                    </a:moveTo>
                    <a:lnTo>
                      <a:pt x="2525" y="7959"/>
                    </a:lnTo>
                    <a:lnTo>
                      <a:pt x="2717" y="1015"/>
                    </a:lnTo>
                    <a:lnTo>
                      <a:pt x="4309" y="0"/>
                    </a:lnTo>
                    <a:lnTo>
                      <a:pt x="10538" y="7355"/>
                    </a:lnTo>
                    <a:lnTo>
                      <a:pt x="8508" y="15121"/>
                    </a:lnTo>
                    <a:lnTo>
                      <a:pt x="5434" y="15121"/>
                    </a:lnTo>
                    <a:lnTo>
                      <a:pt x="4309" y="16823"/>
                    </a:lnTo>
                    <a:lnTo>
                      <a:pt x="0" y="144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4" name="Freeform: Shape 4003">
                <a:extLst>
                  <a:ext uri="{FF2B5EF4-FFF2-40B4-BE49-F238E27FC236}">
                    <a16:creationId xmlns:a16="http://schemas.microsoft.com/office/drawing/2014/main" id="{597B562C-ECF0-51C7-9A67-E38C6FF9AB9F}"/>
                  </a:ext>
                </a:extLst>
              </p:cNvPr>
              <p:cNvSpPr/>
              <p:nvPr/>
            </p:nvSpPr>
            <p:spPr>
              <a:xfrm>
                <a:off x="1739015" y="3823759"/>
                <a:ext cx="1546" cy="993"/>
              </a:xfrm>
              <a:custGeom>
                <a:avLst/>
                <a:gdLst>
                  <a:gd name="connsiteX0" fmla="*/ 11032 w 14818"/>
                  <a:gd name="connsiteY0" fmla="*/ 7904 h 9522"/>
                  <a:gd name="connsiteX1" fmla="*/ 6504 w 14818"/>
                  <a:gd name="connsiteY1" fmla="*/ 9523 h 9522"/>
                  <a:gd name="connsiteX2" fmla="*/ 4116 w 14818"/>
                  <a:gd name="connsiteY2" fmla="*/ 8727 h 9522"/>
                  <a:gd name="connsiteX3" fmla="*/ 0 w 14818"/>
                  <a:gd name="connsiteY3" fmla="*/ 3019 h 9522"/>
                  <a:gd name="connsiteX4" fmla="*/ 1207 w 14818"/>
                  <a:gd name="connsiteY4" fmla="*/ 1619 h 9522"/>
                  <a:gd name="connsiteX5" fmla="*/ 7519 w 14818"/>
                  <a:gd name="connsiteY5" fmla="*/ 0 h 9522"/>
                  <a:gd name="connsiteX6" fmla="*/ 14819 w 14818"/>
                  <a:gd name="connsiteY6" fmla="*/ 3238 h 9522"/>
                  <a:gd name="connsiteX7" fmla="*/ 11032 w 14818"/>
                  <a:gd name="connsiteY7" fmla="*/ 7904 h 9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18" h="9522">
                    <a:moveTo>
                      <a:pt x="11032" y="7904"/>
                    </a:moveTo>
                    <a:lnTo>
                      <a:pt x="6504" y="9523"/>
                    </a:lnTo>
                    <a:lnTo>
                      <a:pt x="4116" y="8727"/>
                    </a:lnTo>
                    <a:lnTo>
                      <a:pt x="0" y="3019"/>
                    </a:lnTo>
                    <a:lnTo>
                      <a:pt x="1207" y="1619"/>
                    </a:lnTo>
                    <a:lnTo>
                      <a:pt x="7519" y="0"/>
                    </a:lnTo>
                    <a:lnTo>
                      <a:pt x="14819" y="3238"/>
                    </a:lnTo>
                    <a:lnTo>
                      <a:pt x="11032" y="79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5" name="Freeform: Shape 4004">
                <a:extLst>
                  <a:ext uri="{FF2B5EF4-FFF2-40B4-BE49-F238E27FC236}">
                    <a16:creationId xmlns:a16="http://schemas.microsoft.com/office/drawing/2014/main" id="{422993FB-B26A-E34A-3CFB-67C747681BED}"/>
                  </a:ext>
                </a:extLst>
              </p:cNvPr>
              <p:cNvSpPr/>
              <p:nvPr/>
            </p:nvSpPr>
            <p:spPr>
              <a:xfrm>
                <a:off x="1736187" y="3825743"/>
                <a:ext cx="1697" cy="718"/>
              </a:xfrm>
              <a:custGeom>
                <a:avLst/>
                <a:gdLst>
                  <a:gd name="connsiteX0" fmla="*/ 0 w 16273"/>
                  <a:gd name="connsiteY0" fmla="*/ 4116 h 6888"/>
                  <a:gd name="connsiteX1" fmla="*/ 1207 w 16273"/>
                  <a:gd name="connsiteY1" fmla="*/ 1893 h 6888"/>
                  <a:gd name="connsiteX2" fmla="*/ 4693 w 16273"/>
                  <a:gd name="connsiteY2" fmla="*/ 0 h 6888"/>
                  <a:gd name="connsiteX3" fmla="*/ 8178 w 16273"/>
                  <a:gd name="connsiteY3" fmla="*/ 384 h 6888"/>
                  <a:gd name="connsiteX4" fmla="*/ 9990 w 16273"/>
                  <a:gd name="connsiteY4" fmla="*/ 2799 h 6888"/>
                  <a:gd name="connsiteX5" fmla="*/ 14765 w 16273"/>
                  <a:gd name="connsiteY5" fmla="*/ 851 h 6888"/>
                  <a:gd name="connsiteX6" fmla="*/ 16054 w 16273"/>
                  <a:gd name="connsiteY6" fmla="*/ 1098 h 6888"/>
                  <a:gd name="connsiteX7" fmla="*/ 16273 w 16273"/>
                  <a:gd name="connsiteY7" fmla="*/ 3595 h 6888"/>
                  <a:gd name="connsiteX8" fmla="*/ 11938 w 16273"/>
                  <a:gd name="connsiteY8" fmla="*/ 6888 h 6888"/>
                  <a:gd name="connsiteX9" fmla="*/ 9440 w 16273"/>
                  <a:gd name="connsiteY9" fmla="*/ 4171 h 6888"/>
                  <a:gd name="connsiteX10" fmla="*/ 5516 w 16273"/>
                  <a:gd name="connsiteY10" fmla="*/ 5982 h 6888"/>
                  <a:gd name="connsiteX11" fmla="*/ 4555 w 16273"/>
                  <a:gd name="connsiteY11" fmla="*/ 4885 h 6888"/>
                  <a:gd name="connsiteX12" fmla="*/ 1509 w 16273"/>
                  <a:gd name="connsiteY12" fmla="*/ 5790 h 6888"/>
                  <a:gd name="connsiteX13" fmla="*/ 0 w 16273"/>
                  <a:gd name="connsiteY13" fmla="*/ 4144 h 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73" h="6888">
                    <a:moveTo>
                      <a:pt x="0" y="4116"/>
                    </a:moveTo>
                    <a:lnTo>
                      <a:pt x="1207" y="1893"/>
                    </a:lnTo>
                    <a:lnTo>
                      <a:pt x="4693" y="0"/>
                    </a:lnTo>
                    <a:lnTo>
                      <a:pt x="8178" y="384"/>
                    </a:lnTo>
                    <a:lnTo>
                      <a:pt x="9990" y="2799"/>
                    </a:lnTo>
                    <a:lnTo>
                      <a:pt x="14765" y="851"/>
                    </a:lnTo>
                    <a:lnTo>
                      <a:pt x="16054" y="1098"/>
                    </a:lnTo>
                    <a:lnTo>
                      <a:pt x="16273" y="3595"/>
                    </a:lnTo>
                    <a:lnTo>
                      <a:pt x="11938" y="6888"/>
                    </a:lnTo>
                    <a:lnTo>
                      <a:pt x="9440" y="4171"/>
                    </a:lnTo>
                    <a:lnTo>
                      <a:pt x="5516" y="5982"/>
                    </a:lnTo>
                    <a:lnTo>
                      <a:pt x="4555" y="4885"/>
                    </a:lnTo>
                    <a:lnTo>
                      <a:pt x="1509" y="5790"/>
                    </a:lnTo>
                    <a:lnTo>
                      <a:pt x="0" y="41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6" name="Freeform: Shape 4005">
                <a:extLst>
                  <a:ext uri="{FF2B5EF4-FFF2-40B4-BE49-F238E27FC236}">
                    <a16:creationId xmlns:a16="http://schemas.microsoft.com/office/drawing/2014/main" id="{E3F82E9B-CE1F-2C6A-59A0-EC0024E0FB8E}"/>
                  </a:ext>
                </a:extLst>
              </p:cNvPr>
              <p:cNvSpPr/>
              <p:nvPr/>
            </p:nvSpPr>
            <p:spPr>
              <a:xfrm>
                <a:off x="1750364" y="3812327"/>
                <a:ext cx="581" cy="1803"/>
              </a:xfrm>
              <a:custGeom>
                <a:avLst/>
                <a:gdLst>
                  <a:gd name="connsiteX0" fmla="*/ 27 w 5571"/>
                  <a:gd name="connsiteY0" fmla="*/ 8946 h 17288"/>
                  <a:gd name="connsiteX1" fmla="*/ 1070 w 5571"/>
                  <a:gd name="connsiteY1" fmla="*/ 2936 h 17288"/>
                  <a:gd name="connsiteX2" fmla="*/ 3485 w 5571"/>
                  <a:gd name="connsiteY2" fmla="*/ 0 h 17288"/>
                  <a:gd name="connsiteX3" fmla="*/ 4419 w 5571"/>
                  <a:gd name="connsiteY3" fmla="*/ 329 h 17288"/>
                  <a:gd name="connsiteX4" fmla="*/ 4610 w 5571"/>
                  <a:gd name="connsiteY4" fmla="*/ 5324 h 17288"/>
                  <a:gd name="connsiteX5" fmla="*/ 5571 w 5571"/>
                  <a:gd name="connsiteY5" fmla="*/ 15341 h 17288"/>
                  <a:gd name="connsiteX6" fmla="*/ 3733 w 5571"/>
                  <a:gd name="connsiteY6" fmla="*/ 17289 h 17288"/>
                  <a:gd name="connsiteX7" fmla="*/ 2196 w 5571"/>
                  <a:gd name="connsiteY7" fmla="*/ 11032 h 17288"/>
                  <a:gd name="connsiteX8" fmla="*/ 0 w 5571"/>
                  <a:gd name="connsiteY8" fmla="*/ 8946 h 17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1" h="17288">
                    <a:moveTo>
                      <a:pt x="27" y="8946"/>
                    </a:moveTo>
                    <a:lnTo>
                      <a:pt x="1070" y="2936"/>
                    </a:lnTo>
                    <a:lnTo>
                      <a:pt x="3485" y="0"/>
                    </a:lnTo>
                    <a:lnTo>
                      <a:pt x="4419" y="329"/>
                    </a:lnTo>
                    <a:lnTo>
                      <a:pt x="4610" y="5324"/>
                    </a:lnTo>
                    <a:lnTo>
                      <a:pt x="5571" y="15341"/>
                    </a:lnTo>
                    <a:lnTo>
                      <a:pt x="3733" y="17289"/>
                    </a:lnTo>
                    <a:lnTo>
                      <a:pt x="2196" y="11032"/>
                    </a:lnTo>
                    <a:lnTo>
                      <a:pt x="0" y="89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7" name="Freeform: Shape 4006">
                <a:extLst>
                  <a:ext uri="{FF2B5EF4-FFF2-40B4-BE49-F238E27FC236}">
                    <a16:creationId xmlns:a16="http://schemas.microsoft.com/office/drawing/2014/main" id="{421FBC61-EC3E-9496-F40C-7E4D9AF2F424}"/>
                  </a:ext>
                </a:extLst>
              </p:cNvPr>
              <p:cNvSpPr/>
              <p:nvPr/>
            </p:nvSpPr>
            <p:spPr>
              <a:xfrm>
                <a:off x="1742587" y="3803797"/>
                <a:ext cx="982" cy="1002"/>
              </a:xfrm>
              <a:custGeom>
                <a:avLst/>
                <a:gdLst>
                  <a:gd name="connsiteX0" fmla="*/ 27 w 9412"/>
                  <a:gd name="connsiteY0" fmla="*/ 2744 h 9605"/>
                  <a:gd name="connsiteX1" fmla="*/ 219 w 9412"/>
                  <a:gd name="connsiteY1" fmla="*/ 0 h 9605"/>
                  <a:gd name="connsiteX2" fmla="*/ 2415 w 9412"/>
                  <a:gd name="connsiteY2" fmla="*/ 522 h 9605"/>
                  <a:gd name="connsiteX3" fmla="*/ 6311 w 9412"/>
                  <a:gd name="connsiteY3" fmla="*/ 6257 h 9605"/>
                  <a:gd name="connsiteX4" fmla="*/ 9413 w 9412"/>
                  <a:gd name="connsiteY4" fmla="*/ 7437 h 9605"/>
                  <a:gd name="connsiteX5" fmla="*/ 9111 w 9412"/>
                  <a:gd name="connsiteY5" fmla="*/ 9605 h 9605"/>
                  <a:gd name="connsiteX6" fmla="*/ 0 w 9412"/>
                  <a:gd name="connsiteY6" fmla="*/ 2744 h 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2" h="9605">
                    <a:moveTo>
                      <a:pt x="27" y="2744"/>
                    </a:moveTo>
                    <a:lnTo>
                      <a:pt x="219" y="0"/>
                    </a:lnTo>
                    <a:lnTo>
                      <a:pt x="2415" y="522"/>
                    </a:lnTo>
                    <a:lnTo>
                      <a:pt x="6311" y="6257"/>
                    </a:lnTo>
                    <a:lnTo>
                      <a:pt x="9413" y="7437"/>
                    </a:lnTo>
                    <a:lnTo>
                      <a:pt x="9111" y="9605"/>
                    </a:lnTo>
                    <a:lnTo>
                      <a:pt x="0"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8" name="Freeform: Shape 4007">
                <a:extLst>
                  <a:ext uri="{FF2B5EF4-FFF2-40B4-BE49-F238E27FC236}">
                    <a16:creationId xmlns:a16="http://schemas.microsoft.com/office/drawing/2014/main" id="{77991B1A-084D-7BD7-DBB3-18736023BA9B}"/>
                  </a:ext>
                </a:extLst>
              </p:cNvPr>
              <p:cNvSpPr/>
              <p:nvPr/>
            </p:nvSpPr>
            <p:spPr>
              <a:xfrm>
                <a:off x="1739080" y="3802569"/>
                <a:ext cx="982" cy="976"/>
              </a:xfrm>
              <a:custGeom>
                <a:avLst/>
                <a:gdLst>
                  <a:gd name="connsiteX0" fmla="*/ 0 w 9412"/>
                  <a:gd name="connsiteY0" fmla="*/ 3101 h 9358"/>
                  <a:gd name="connsiteX1" fmla="*/ 1262 w 9412"/>
                  <a:gd name="connsiteY1" fmla="*/ 412 h 9358"/>
                  <a:gd name="connsiteX2" fmla="*/ 2991 w 9412"/>
                  <a:gd name="connsiteY2" fmla="*/ 0 h 9358"/>
                  <a:gd name="connsiteX3" fmla="*/ 7657 w 9412"/>
                  <a:gd name="connsiteY3" fmla="*/ 494 h 9358"/>
                  <a:gd name="connsiteX4" fmla="*/ 9413 w 9412"/>
                  <a:gd name="connsiteY4" fmla="*/ 4419 h 9358"/>
                  <a:gd name="connsiteX5" fmla="*/ 6010 w 9412"/>
                  <a:gd name="connsiteY5" fmla="*/ 9358 h 9358"/>
                  <a:gd name="connsiteX6" fmla="*/ 2991 w 9412"/>
                  <a:gd name="connsiteY6" fmla="*/ 7959 h 9358"/>
                  <a:gd name="connsiteX7" fmla="*/ 659 w 9412"/>
                  <a:gd name="connsiteY7" fmla="*/ 6093 h 9358"/>
                  <a:gd name="connsiteX8" fmla="*/ 27 w 9412"/>
                  <a:gd name="connsiteY8" fmla="*/ 3101 h 9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2" h="9358">
                    <a:moveTo>
                      <a:pt x="0" y="3101"/>
                    </a:moveTo>
                    <a:lnTo>
                      <a:pt x="1262" y="412"/>
                    </a:lnTo>
                    <a:lnTo>
                      <a:pt x="2991" y="0"/>
                    </a:lnTo>
                    <a:lnTo>
                      <a:pt x="7657" y="494"/>
                    </a:lnTo>
                    <a:lnTo>
                      <a:pt x="9413" y="4419"/>
                    </a:lnTo>
                    <a:lnTo>
                      <a:pt x="6010" y="9358"/>
                    </a:lnTo>
                    <a:lnTo>
                      <a:pt x="2991" y="7959"/>
                    </a:lnTo>
                    <a:lnTo>
                      <a:pt x="659" y="6093"/>
                    </a:lnTo>
                    <a:lnTo>
                      <a:pt x="27" y="31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9" name="Freeform: Shape 4008">
                <a:extLst>
                  <a:ext uri="{FF2B5EF4-FFF2-40B4-BE49-F238E27FC236}">
                    <a16:creationId xmlns:a16="http://schemas.microsoft.com/office/drawing/2014/main" id="{1212D3B0-8CA3-FF92-FC1C-8BECA7CDDCFC}"/>
                  </a:ext>
                </a:extLst>
              </p:cNvPr>
              <p:cNvSpPr/>
              <p:nvPr/>
            </p:nvSpPr>
            <p:spPr>
              <a:xfrm>
                <a:off x="1751675" y="3813592"/>
                <a:ext cx="664" cy="1357"/>
              </a:xfrm>
              <a:custGeom>
                <a:avLst/>
                <a:gdLst>
                  <a:gd name="connsiteX0" fmla="*/ 1235 w 6366"/>
                  <a:gd name="connsiteY0" fmla="*/ 13008 h 13007"/>
                  <a:gd name="connsiteX1" fmla="*/ 411 w 6366"/>
                  <a:gd name="connsiteY1" fmla="*/ 13008 h 13007"/>
                  <a:gd name="connsiteX2" fmla="*/ 0 w 6366"/>
                  <a:gd name="connsiteY2" fmla="*/ 9084 h 13007"/>
                  <a:gd name="connsiteX3" fmla="*/ 2470 w 6366"/>
                  <a:gd name="connsiteY3" fmla="*/ 7465 h 13007"/>
                  <a:gd name="connsiteX4" fmla="*/ 164 w 6366"/>
                  <a:gd name="connsiteY4" fmla="*/ 3238 h 13007"/>
                  <a:gd name="connsiteX5" fmla="*/ 4199 w 6366"/>
                  <a:gd name="connsiteY5" fmla="*/ 0 h 13007"/>
                  <a:gd name="connsiteX6" fmla="*/ 6366 w 6366"/>
                  <a:gd name="connsiteY6" fmla="*/ 6504 h 13007"/>
                  <a:gd name="connsiteX7" fmla="*/ 1235 w 6366"/>
                  <a:gd name="connsiteY7" fmla="*/ 1300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6" h="13007">
                    <a:moveTo>
                      <a:pt x="1235" y="13008"/>
                    </a:moveTo>
                    <a:lnTo>
                      <a:pt x="411" y="13008"/>
                    </a:lnTo>
                    <a:lnTo>
                      <a:pt x="0" y="9084"/>
                    </a:lnTo>
                    <a:lnTo>
                      <a:pt x="2470" y="7465"/>
                    </a:lnTo>
                    <a:lnTo>
                      <a:pt x="164" y="3238"/>
                    </a:lnTo>
                    <a:lnTo>
                      <a:pt x="4199" y="0"/>
                    </a:lnTo>
                    <a:lnTo>
                      <a:pt x="6366" y="6504"/>
                    </a:lnTo>
                    <a:lnTo>
                      <a:pt x="1235" y="130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0" name="Freeform: Shape 4009">
                <a:extLst>
                  <a:ext uri="{FF2B5EF4-FFF2-40B4-BE49-F238E27FC236}">
                    <a16:creationId xmlns:a16="http://schemas.microsoft.com/office/drawing/2014/main" id="{46194BC5-3A9A-1797-91FA-3549057373C8}"/>
                  </a:ext>
                </a:extLst>
              </p:cNvPr>
              <p:cNvSpPr/>
              <p:nvPr/>
            </p:nvSpPr>
            <p:spPr>
              <a:xfrm>
                <a:off x="1739538" y="3805392"/>
                <a:ext cx="495" cy="1563"/>
              </a:xfrm>
              <a:custGeom>
                <a:avLst/>
                <a:gdLst>
                  <a:gd name="connsiteX0" fmla="*/ 2882 w 4747"/>
                  <a:gd name="connsiteY0" fmla="*/ 10757 h 14983"/>
                  <a:gd name="connsiteX1" fmla="*/ 1400 w 4747"/>
                  <a:gd name="connsiteY1" fmla="*/ 14984 h 14983"/>
                  <a:gd name="connsiteX2" fmla="*/ 220 w 4747"/>
                  <a:gd name="connsiteY2" fmla="*/ 13639 h 14983"/>
                  <a:gd name="connsiteX3" fmla="*/ 1016 w 4747"/>
                  <a:gd name="connsiteY3" fmla="*/ 11828 h 14983"/>
                  <a:gd name="connsiteX4" fmla="*/ 0 w 4747"/>
                  <a:gd name="connsiteY4" fmla="*/ 10757 h 14983"/>
                  <a:gd name="connsiteX5" fmla="*/ 1345 w 4747"/>
                  <a:gd name="connsiteY5" fmla="*/ 1564 h 14983"/>
                  <a:gd name="connsiteX6" fmla="*/ 3705 w 4747"/>
                  <a:gd name="connsiteY6" fmla="*/ 0 h 14983"/>
                  <a:gd name="connsiteX7" fmla="*/ 4748 w 4747"/>
                  <a:gd name="connsiteY7" fmla="*/ 2525 h 14983"/>
                  <a:gd name="connsiteX8" fmla="*/ 2882 w 4747"/>
                  <a:gd name="connsiteY8" fmla="*/ 10757 h 1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7" h="14983">
                    <a:moveTo>
                      <a:pt x="2882" y="10757"/>
                    </a:moveTo>
                    <a:lnTo>
                      <a:pt x="1400" y="14984"/>
                    </a:lnTo>
                    <a:lnTo>
                      <a:pt x="220" y="13639"/>
                    </a:lnTo>
                    <a:lnTo>
                      <a:pt x="1016" y="11828"/>
                    </a:lnTo>
                    <a:lnTo>
                      <a:pt x="0" y="10757"/>
                    </a:lnTo>
                    <a:lnTo>
                      <a:pt x="1345" y="1564"/>
                    </a:lnTo>
                    <a:lnTo>
                      <a:pt x="3705" y="0"/>
                    </a:lnTo>
                    <a:lnTo>
                      <a:pt x="4748" y="2525"/>
                    </a:lnTo>
                    <a:lnTo>
                      <a:pt x="2882" y="107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1" name="Freeform: Shape 4010">
                <a:extLst>
                  <a:ext uri="{FF2B5EF4-FFF2-40B4-BE49-F238E27FC236}">
                    <a16:creationId xmlns:a16="http://schemas.microsoft.com/office/drawing/2014/main" id="{FEFE6608-A98E-DFB2-30D4-7C6B359BA252}"/>
                  </a:ext>
                </a:extLst>
              </p:cNvPr>
              <p:cNvSpPr/>
              <p:nvPr/>
            </p:nvSpPr>
            <p:spPr>
              <a:xfrm>
                <a:off x="1746588" y="3811027"/>
                <a:ext cx="1013" cy="750"/>
              </a:xfrm>
              <a:custGeom>
                <a:avLst/>
                <a:gdLst>
                  <a:gd name="connsiteX0" fmla="*/ 6998 w 9714"/>
                  <a:gd name="connsiteY0" fmla="*/ 4171 h 7190"/>
                  <a:gd name="connsiteX1" fmla="*/ 6943 w 9714"/>
                  <a:gd name="connsiteY1" fmla="*/ 5900 h 7190"/>
                  <a:gd name="connsiteX2" fmla="*/ 0 w 9714"/>
                  <a:gd name="connsiteY2" fmla="*/ 7190 h 7190"/>
                  <a:gd name="connsiteX3" fmla="*/ 1152 w 9714"/>
                  <a:gd name="connsiteY3" fmla="*/ 3870 h 7190"/>
                  <a:gd name="connsiteX4" fmla="*/ 3430 w 9714"/>
                  <a:gd name="connsiteY4" fmla="*/ 4418 h 7190"/>
                  <a:gd name="connsiteX5" fmla="*/ 5571 w 9714"/>
                  <a:gd name="connsiteY5" fmla="*/ 3458 h 7190"/>
                  <a:gd name="connsiteX6" fmla="*/ 8617 w 9714"/>
                  <a:gd name="connsiteY6" fmla="*/ 0 h 7190"/>
                  <a:gd name="connsiteX7" fmla="*/ 9715 w 9714"/>
                  <a:gd name="connsiteY7" fmla="*/ 1235 h 7190"/>
                  <a:gd name="connsiteX8" fmla="*/ 6998 w 9714"/>
                  <a:gd name="connsiteY8" fmla="*/ 4226 h 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14" h="7190">
                    <a:moveTo>
                      <a:pt x="6998" y="4171"/>
                    </a:moveTo>
                    <a:lnTo>
                      <a:pt x="6943" y="5900"/>
                    </a:lnTo>
                    <a:lnTo>
                      <a:pt x="0" y="7190"/>
                    </a:lnTo>
                    <a:lnTo>
                      <a:pt x="1152" y="3870"/>
                    </a:lnTo>
                    <a:lnTo>
                      <a:pt x="3430" y="4418"/>
                    </a:lnTo>
                    <a:lnTo>
                      <a:pt x="5571" y="3458"/>
                    </a:lnTo>
                    <a:lnTo>
                      <a:pt x="8617" y="0"/>
                    </a:lnTo>
                    <a:lnTo>
                      <a:pt x="9715" y="1235"/>
                    </a:lnTo>
                    <a:lnTo>
                      <a:pt x="6998"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2" name="Freeform: Shape 4011">
                <a:extLst>
                  <a:ext uri="{FF2B5EF4-FFF2-40B4-BE49-F238E27FC236}">
                    <a16:creationId xmlns:a16="http://schemas.microsoft.com/office/drawing/2014/main" id="{679471AE-AE93-1153-D27F-D9F2A30C596F}"/>
                  </a:ext>
                </a:extLst>
              </p:cNvPr>
              <p:cNvSpPr/>
              <p:nvPr/>
            </p:nvSpPr>
            <p:spPr>
              <a:xfrm>
                <a:off x="1745277" y="3803127"/>
                <a:ext cx="1225" cy="607"/>
              </a:xfrm>
              <a:custGeom>
                <a:avLst/>
                <a:gdLst>
                  <a:gd name="connsiteX0" fmla="*/ 27 w 11745"/>
                  <a:gd name="connsiteY0" fmla="*/ 2278 h 5817"/>
                  <a:gd name="connsiteX1" fmla="*/ 1290 w 11745"/>
                  <a:gd name="connsiteY1" fmla="*/ 0 h 5817"/>
                  <a:gd name="connsiteX2" fmla="*/ 6861 w 11745"/>
                  <a:gd name="connsiteY2" fmla="*/ 2854 h 5817"/>
                  <a:gd name="connsiteX3" fmla="*/ 11746 w 11745"/>
                  <a:gd name="connsiteY3" fmla="*/ 4418 h 5817"/>
                  <a:gd name="connsiteX4" fmla="*/ 10702 w 11745"/>
                  <a:gd name="connsiteY4" fmla="*/ 5818 h 5817"/>
                  <a:gd name="connsiteX5" fmla="*/ 6504 w 11745"/>
                  <a:gd name="connsiteY5" fmla="*/ 3979 h 5817"/>
                  <a:gd name="connsiteX6" fmla="*/ 0 w 11745"/>
                  <a:gd name="connsiteY6" fmla="*/ 2305 h 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5" h="5817">
                    <a:moveTo>
                      <a:pt x="27" y="2278"/>
                    </a:moveTo>
                    <a:lnTo>
                      <a:pt x="1290" y="0"/>
                    </a:lnTo>
                    <a:lnTo>
                      <a:pt x="6861" y="2854"/>
                    </a:lnTo>
                    <a:lnTo>
                      <a:pt x="11746" y="4418"/>
                    </a:lnTo>
                    <a:lnTo>
                      <a:pt x="10702" y="5818"/>
                    </a:lnTo>
                    <a:lnTo>
                      <a:pt x="6504" y="3979"/>
                    </a:lnTo>
                    <a:lnTo>
                      <a:pt x="0" y="23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3" name="Freeform: Shape 4012">
                <a:extLst>
                  <a:ext uri="{FF2B5EF4-FFF2-40B4-BE49-F238E27FC236}">
                    <a16:creationId xmlns:a16="http://schemas.microsoft.com/office/drawing/2014/main" id="{A7516363-C0A4-580D-43C2-A05842D8BEE5}"/>
                  </a:ext>
                </a:extLst>
              </p:cNvPr>
              <p:cNvSpPr/>
              <p:nvPr/>
            </p:nvSpPr>
            <p:spPr>
              <a:xfrm>
                <a:off x="1739146" y="3797738"/>
                <a:ext cx="601" cy="1225"/>
              </a:xfrm>
              <a:custGeom>
                <a:avLst/>
                <a:gdLst>
                  <a:gd name="connsiteX0" fmla="*/ 4748 w 5762"/>
                  <a:gd name="connsiteY0" fmla="*/ 4199 h 11745"/>
                  <a:gd name="connsiteX1" fmla="*/ 5434 w 5762"/>
                  <a:gd name="connsiteY1" fmla="*/ 10154 h 11745"/>
                  <a:gd name="connsiteX2" fmla="*/ 3540 w 5762"/>
                  <a:gd name="connsiteY2" fmla="*/ 11746 h 11745"/>
                  <a:gd name="connsiteX3" fmla="*/ 329 w 5762"/>
                  <a:gd name="connsiteY3" fmla="*/ 4199 h 11745"/>
                  <a:gd name="connsiteX4" fmla="*/ 0 w 5762"/>
                  <a:gd name="connsiteY4" fmla="*/ 1043 h 11745"/>
                  <a:gd name="connsiteX5" fmla="*/ 2662 w 5762"/>
                  <a:gd name="connsiteY5" fmla="*/ 0 h 11745"/>
                  <a:gd name="connsiteX6" fmla="*/ 5763 w 5762"/>
                  <a:gd name="connsiteY6" fmla="*/ 1619 h 11745"/>
                  <a:gd name="connsiteX7" fmla="*/ 4748 w 5762"/>
                  <a:gd name="connsiteY7" fmla="*/ 4226 h 1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62" h="11745">
                    <a:moveTo>
                      <a:pt x="4748" y="4199"/>
                    </a:moveTo>
                    <a:lnTo>
                      <a:pt x="5434" y="10154"/>
                    </a:lnTo>
                    <a:lnTo>
                      <a:pt x="3540" y="11746"/>
                    </a:lnTo>
                    <a:lnTo>
                      <a:pt x="329" y="4199"/>
                    </a:lnTo>
                    <a:lnTo>
                      <a:pt x="0" y="1043"/>
                    </a:lnTo>
                    <a:lnTo>
                      <a:pt x="2662" y="0"/>
                    </a:lnTo>
                    <a:lnTo>
                      <a:pt x="5763" y="1619"/>
                    </a:lnTo>
                    <a:lnTo>
                      <a:pt x="4748"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4" name="Freeform: Shape 4013">
                <a:extLst>
                  <a:ext uri="{FF2B5EF4-FFF2-40B4-BE49-F238E27FC236}">
                    <a16:creationId xmlns:a16="http://schemas.microsoft.com/office/drawing/2014/main" id="{E91A11C8-115C-FB1A-FFF1-E2D6183E5140}"/>
                  </a:ext>
                </a:extLst>
              </p:cNvPr>
              <p:cNvSpPr/>
              <p:nvPr/>
            </p:nvSpPr>
            <p:spPr>
              <a:xfrm>
                <a:off x="1744485" y="3805214"/>
                <a:ext cx="615" cy="887"/>
              </a:xfrm>
              <a:custGeom>
                <a:avLst/>
                <a:gdLst>
                  <a:gd name="connsiteX0" fmla="*/ 0 w 5900"/>
                  <a:gd name="connsiteY0" fmla="*/ 1537 h 8507"/>
                  <a:gd name="connsiteX1" fmla="*/ 1071 w 5900"/>
                  <a:gd name="connsiteY1" fmla="*/ 0 h 8507"/>
                  <a:gd name="connsiteX2" fmla="*/ 4254 w 5900"/>
                  <a:gd name="connsiteY2" fmla="*/ 2031 h 8507"/>
                  <a:gd name="connsiteX3" fmla="*/ 5653 w 5900"/>
                  <a:gd name="connsiteY3" fmla="*/ 5681 h 8507"/>
                  <a:gd name="connsiteX4" fmla="*/ 5901 w 5900"/>
                  <a:gd name="connsiteY4" fmla="*/ 8508 h 8507"/>
                  <a:gd name="connsiteX5" fmla="*/ 3129 w 5900"/>
                  <a:gd name="connsiteY5" fmla="*/ 6861 h 8507"/>
                  <a:gd name="connsiteX6" fmla="*/ 0 w 5900"/>
                  <a:gd name="connsiteY6" fmla="*/ 1509 h 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00" h="8507">
                    <a:moveTo>
                      <a:pt x="0" y="1537"/>
                    </a:moveTo>
                    <a:lnTo>
                      <a:pt x="1071" y="0"/>
                    </a:lnTo>
                    <a:lnTo>
                      <a:pt x="4254" y="2031"/>
                    </a:lnTo>
                    <a:lnTo>
                      <a:pt x="5653" y="5681"/>
                    </a:lnTo>
                    <a:lnTo>
                      <a:pt x="5901" y="8508"/>
                    </a:lnTo>
                    <a:lnTo>
                      <a:pt x="3129" y="6861"/>
                    </a:lnTo>
                    <a:lnTo>
                      <a:pt x="0" y="15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5" name="Freeform: Shape 4014">
                <a:extLst>
                  <a:ext uri="{FF2B5EF4-FFF2-40B4-BE49-F238E27FC236}">
                    <a16:creationId xmlns:a16="http://schemas.microsoft.com/office/drawing/2014/main" id="{36F2F438-B27F-3AE3-50BF-E2642114F6D8}"/>
                  </a:ext>
                </a:extLst>
              </p:cNvPr>
              <p:cNvSpPr/>
              <p:nvPr/>
            </p:nvSpPr>
            <p:spPr>
              <a:xfrm>
                <a:off x="1741001" y="3805801"/>
                <a:ext cx="758" cy="716"/>
              </a:xfrm>
              <a:custGeom>
                <a:avLst/>
                <a:gdLst>
                  <a:gd name="connsiteX0" fmla="*/ 55 w 7272"/>
                  <a:gd name="connsiteY0" fmla="*/ 2634 h 6860"/>
                  <a:gd name="connsiteX1" fmla="*/ 878 w 7272"/>
                  <a:gd name="connsiteY1" fmla="*/ 439 h 6860"/>
                  <a:gd name="connsiteX2" fmla="*/ 4062 w 7272"/>
                  <a:gd name="connsiteY2" fmla="*/ 0 h 6860"/>
                  <a:gd name="connsiteX3" fmla="*/ 6586 w 7272"/>
                  <a:gd name="connsiteY3" fmla="*/ 1235 h 6860"/>
                  <a:gd name="connsiteX4" fmla="*/ 7272 w 7272"/>
                  <a:gd name="connsiteY4" fmla="*/ 4007 h 6860"/>
                  <a:gd name="connsiteX5" fmla="*/ 5434 w 7272"/>
                  <a:gd name="connsiteY5" fmla="*/ 6861 h 6860"/>
                  <a:gd name="connsiteX6" fmla="*/ 0 w 7272"/>
                  <a:gd name="connsiteY6" fmla="*/ 2634 h 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72" h="6860">
                    <a:moveTo>
                      <a:pt x="55" y="2634"/>
                    </a:moveTo>
                    <a:lnTo>
                      <a:pt x="878" y="439"/>
                    </a:lnTo>
                    <a:lnTo>
                      <a:pt x="4062" y="0"/>
                    </a:lnTo>
                    <a:lnTo>
                      <a:pt x="6586" y="1235"/>
                    </a:lnTo>
                    <a:lnTo>
                      <a:pt x="7272" y="4007"/>
                    </a:lnTo>
                    <a:lnTo>
                      <a:pt x="5434" y="6861"/>
                    </a:lnTo>
                    <a:lnTo>
                      <a:pt x="0"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6" name="Freeform: Shape 4015">
                <a:extLst>
                  <a:ext uri="{FF2B5EF4-FFF2-40B4-BE49-F238E27FC236}">
                    <a16:creationId xmlns:a16="http://schemas.microsoft.com/office/drawing/2014/main" id="{BD8A1202-35CB-C814-A2DC-B666A31A955D}"/>
                  </a:ext>
                </a:extLst>
              </p:cNvPr>
              <p:cNvSpPr/>
              <p:nvPr/>
            </p:nvSpPr>
            <p:spPr>
              <a:xfrm>
                <a:off x="1724093" y="3819425"/>
                <a:ext cx="461" cy="1025"/>
              </a:xfrm>
              <a:custGeom>
                <a:avLst/>
                <a:gdLst>
                  <a:gd name="connsiteX0" fmla="*/ 27 w 4418"/>
                  <a:gd name="connsiteY0" fmla="*/ 5790 h 9824"/>
                  <a:gd name="connsiteX1" fmla="*/ 1098 w 4418"/>
                  <a:gd name="connsiteY1" fmla="*/ 5434 h 9824"/>
                  <a:gd name="connsiteX2" fmla="*/ 1729 w 4418"/>
                  <a:gd name="connsiteY2" fmla="*/ 741 h 9824"/>
                  <a:gd name="connsiteX3" fmla="*/ 2882 w 4418"/>
                  <a:gd name="connsiteY3" fmla="*/ 0 h 9824"/>
                  <a:gd name="connsiteX4" fmla="*/ 4171 w 4418"/>
                  <a:gd name="connsiteY4" fmla="*/ 1701 h 9824"/>
                  <a:gd name="connsiteX5" fmla="*/ 4419 w 4418"/>
                  <a:gd name="connsiteY5" fmla="*/ 7602 h 9824"/>
                  <a:gd name="connsiteX6" fmla="*/ 2717 w 4418"/>
                  <a:gd name="connsiteY6" fmla="*/ 9825 h 9824"/>
                  <a:gd name="connsiteX7" fmla="*/ 0 w 4418"/>
                  <a:gd name="connsiteY7" fmla="*/ 5790 h 9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8" h="9824">
                    <a:moveTo>
                      <a:pt x="27" y="5790"/>
                    </a:moveTo>
                    <a:lnTo>
                      <a:pt x="1098" y="5434"/>
                    </a:lnTo>
                    <a:lnTo>
                      <a:pt x="1729" y="741"/>
                    </a:lnTo>
                    <a:lnTo>
                      <a:pt x="2882" y="0"/>
                    </a:lnTo>
                    <a:lnTo>
                      <a:pt x="4171" y="1701"/>
                    </a:lnTo>
                    <a:lnTo>
                      <a:pt x="4419" y="7602"/>
                    </a:lnTo>
                    <a:lnTo>
                      <a:pt x="2717" y="9825"/>
                    </a:lnTo>
                    <a:lnTo>
                      <a:pt x="0" y="57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7" name="Freeform: Shape 4016">
                <a:extLst>
                  <a:ext uri="{FF2B5EF4-FFF2-40B4-BE49-F238E27FC236}">
                    <a16:creationId xmlns:a16="http://schemas.microsoft.com/office/drawing/2014/main" id="{C14287EA-FC50-3B7A-B8A9-D5E81AF6FF6F}"/>
                  </a:ext>
                </a:extLst>
              </p:cNvPr>
              <p:cNvSpPr/>
              <p:nvPr/>
            </p:nvSpPr>
            <p:spPr>
              <a:xfrm>
                <a:off x="1744101" y="3815790"/>
                <a:ext cx="730" cy="635"/>
              </a:xfrm>
              <a:custGeom>
                <a:avLst/>
                <a:gdLst>
                  <a:gd name="connsiteX0" fmla="*/ 0 w 6997"/>
                  <a:gd name="connsiteY0" fmla="*/ 3348 h 6092"/>
                  <a:gd name="connsiteX1" fmla="*/ 576 w 6997"/>
                  <a:gd name="connsiteY1" fmla="*/ 2360 h 6092"/>
                  <a:gd name="connsiteX2" fmla="*/ 3128 w 6997"/>
                  <a:gd name="connsiteY2" fmla="*/ 2250 h 6092"/>
                  <a:gd name="connsiteX3" fmla="*/ 4528 w 6997"/>
                  <a:gd name="connsiteY3" fmla="*/ 0 h 6092"/>
                  <a:gd name="connsiteX4" fmla="*/ 5818 w 6997"/>
                  <a:gd name="connsiteY4" fmla="*/ 604 h 6092"/>
                  <a:gd name="connsiteX5" fmla="*/ 6997 w 6997"/>
                  <a:gd name="connsiteY5" fmla="*/ 5406 h 6092"/>
                  <a:gd name="connsiteX6" fmla="*/ 3211 w 6997"/>
                  <a:gd name="connsiteY6" fmla="*/ 6092 h 6092"/>
                  <a:gd name="connsiteX7" fmla="*/ 27 w 6997"/>
                  <a:gd name="connsiteY7" fmla="*/ 3348 h 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97" h="6092">
                    <a:moveTo>
                      <a:pt x="0" y="3348"/>
                    </a:moveTo>
                    <a:lnTo>
                      <a:pt x="576" y="2360"/>
                    </a:lnTo>
                    <a:lnTo>
                      <a:pt x="3128" y="2250"/>
                    </a:lnTo>
                    <a:lnTo>
                      <a:pt x="4528" y="0"/>
                    </a:lnTo>
                    <a:lnTo>
                      <a:pt x="5818" y="604"/>
                    </a:lnTo>
                    <a:lnTo>
                      <a:pt x="6997" y="5406"/>
                    </a:lnTo>
                    <a:lnTo>
                      <a:pt x="3211" y="6092"/>
                    </a:lnTo>
                    <a:lnTo>
                      <a:pt x="27"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8" name="Freeform: Shape 4017">
                <a:extLst>
                  <a:ext uri="{FF2B5EF4-FFF2-40B4-BE49-F238E27FC236}">
                    <a16:creationId xmlns:a16="http://schemas.microsoft.com/office/drawing/2014/main" id="{089E454D-0A71-3660-3360-8CB0BE89F2BA}"/>
                  </a:ext>
                </a:extLst>
              </p:cNvPr>
              <p:cNvSpPr/>
              <p:nvPr/>
            </p:nvSpPr>
            <p:spPr>
              <a:xfrm>
                <a:off x="1749199" y="3813146"/>
                <a:ext cx="575" cy="770"/>
              </a:xfrm>
              <a:custGeom>
                <a:avLst/>
                <a:gdLst>
                  <a:gd name="connsiteX0" fmla="*/ 0 w 5516"/>
                  <a:gd name="connsiteY0" fmla="*/ 933 h 7382"/>
                  <a:gd name="connsiteX1" fmla="*/ 165 w 5516"/>
                  <a:gd name="connsiteY1" fmla="*/ 0 h 7382"/>
                  <a:gd name="connsiteX2" fmla="*/ 2964 w 5516"/>
                  <a:gd name="connsiteY2" fmla="*/ 714 h 7382"/>
                  <a:gd name="connsiteX3" fmla="*/ 5516 w 5516"/>
                  <a:gd name="connsiteY3" fmla="*/ 6723 h 7382"/>
                  <a:gd name="connsiteX4" fmla="*/ 4638 w 5516"/>
                  <a:gd name="connsiteY4" fmla="*/ 7382 h 7382"/>
                  <a:gd name="connsiteX5" fmla="*/ 27 w 5516"/>
                  <a:gd name="connsiteY5" fmla="*/ 905 h 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16" h="7382">
                    <a:moveTo>
                      <a:pt x="0" y="933"/>
                    </a:moveTo>
                    <a:lnTo>
                      <a:pt x="165" y="0"/>
                    </a:lnTo>
                    <a:lnTo>
                      <a:pt x="2964" y="714"/>
                    </a:lnTo>
                    <a:lnTo>
                      <a:pt x="5516" y="6723"/>
                    </a:lnTo>
                    <a:lnTo>
                      <a:pt x="4638" y="7382"/>
                    </a:lnTo>
                    <a:lnTo>
                      <a:pt x="27"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9" name="Freeform: Shape 4018">
                <a:extLst>
                  <a:ext uri="{FF2B5EF4-FFF2-40B4-BE49-F238E27FC236}">
                    <a16:creationId xmlns:a16="http://schemas.microsoft.com/office/drawing/2014/main" id="{496B41A2-2277-3AA0-4228-52EC35DE81D0}"/>
                  </a:ext>
                </a:extLst>
              </p:cNvPr>
              <p:cNvSpPr/>
              <p:nvPr/>
            </p:nvSpPr>
            <p:spPr>
              <a:xfrm>
                <a:off x="1732783" y="3811646"/>
                <a:ext cx="733" cy="581"/>
              </a:xfrm>
              <a:custGeom>
                <a:avLst/>
                <a:gdLst>
                  <a:gd name="connsiteX0" fmla="*/ 4445 w 7024"/>
                  <a:gd name="connsiteY0" fmla="*/ 4693 h 5570"/>
                  <a:gd name="connsiteX1" fmla="*/ 1482 w 7024"/>
                  <a:gd name="connsiteY1" fmla="*/ 5571 h 5570"/>
                  <a:gd name="connsiteX2" fmla="*/ 0 w 7024"/>
                  <a:gd name="connsiteY2" fmla="*/ 4940 h 5570"/>
                  <a:gd name="connsiteX3" fmla="*/ 0 w 7024"/>
                  <a:gd name="connsiteY3" fmla="*/ 2854 h 5570"/>
                  <a:gd name="connsiteX4" fmla="*/ 3073 w 7024"/>
                  <a:gd name="connsiteY4" fmla="*/ 0 h 5570"/>
                  <a:gd name="connsiteX5" fmla="*/ 6559 w 7024"/>
                  <a:gd name="connsiteY5" fmla="*/ 1125 h 5570"/>
                  <a:gd name="connsiteX6" fmla="*/ 7025 w 7024"/>
                  <a:gd name="connsiteY6" fmla="*/ 2003 h 5570"/>
                  <a:gd name="connsiteX7" fmla="*/ 5049 w 7024"/>
                  <a:gd name="connsiteY7" fmla="*/ 3129 h 5570"/>
                  <a:gd name="connsiteX8" fmla="*/ 4445 w 7024"/>
                  <a:gd name="connsiteY8" fmla="*/ 4693 h 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24" h="5570">
                    <a:moveTo>
                      <a:pt x="4445" y="4693"/>
                    </a:moveTo>
                    <a:lnTo>
                      <a:pt x="1482" y="5571"/>
                    </a:lnTo>
                    <a:lnTo>
                      <a:pt x="0" y="4940"/>
                    </a:lnTo>
                    <a:lnTo>
                      <a:pt x="0" y="2854"/>
                    </a:lnTo>
                    <a:cubicBezTo>
                      <a:pt x="0" y="2854"/>
                      <a:pt x="3073" y="0"/>
                      <a:pt x="3073" y="0"/>
                    </a:cubicBezTo>
                    <a:lnTo>
                      <a:pt x="6559" y="1125"/>
                    </a:lnTo>
                    <a:lnTo>
                      <a:pt x="7025" y="2003"/>
                    </a:lnTo>
                    <a:lnTo>
                      <a:pt x="5049" y="3129"/>
                    </a:lnTo>
                    <a:lnTo>
                      <a:pt x="4445"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0" name="Freeform: Shape 4019">
                <a:extLst>
                  <a:ext uri="{FF2B5EF4-FFF2-40B4-BE49-F238E27FC236}">
                    <a16:creationId xmlns:a16="http://schemas.microsoft.com/office/drawing/2014/main" id="{E967E1DF-FAAB-B028-D502-DD309DF93930}"/>
                  </a:ext>
                </a:extLst>
              </p:cNvPr>
              <p:cNvSpPr/>
              <p:nvPr/>
            </p:nvSpPr>
            <p:spPr>
              <a:xfrm>
                <a:off x="1737798" y="3807484"/>
                <a:ext cx="704" cy="555"/>
              </a:xfrm>
              <a:custGeom>
                <a:avLst/>
                <a:gdLst>
                  <a:gd name="connsiteX0" fmla="*/ 27 w 6750"/>
                  <a:gd name="connsiteY0" fmla="*/ 3183 h 5324"/>
                  <a:gd name="connsiteX1" fmla="*/ 3375 w 6750"/>
                  <a:gd name="connsiteY1" fmla="*/ 1509 h 5324"/>
                  <a:gd name="connsiteX2" fmla="*/ 3979 w 6750"/>
                  <a:gd name="connsiteY2" fmla="*/ 0 h 5324"/>
                  <a:gd name="connsiteX3" fmla="*/ 6751 w 6750"/>
                  <a:gd name="connsiteY3" fmla="*/ 1235 h 5324"/>
                  <a:gd name="connsiteX4" fmla="*/ 2826 w 6750"/>
                  <a:gd name="connsiteY4" fmla="*/ 5324 h 5324"/>
                  <a:gd name="connsiteX5" fmla="*/ 0 w 6750"/>
                  <a:gd name="connsiteY5" fmla="*/ 3183 h 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0" h="5324">
                    <a:moveTo>
                      <a:pt x="27" y="3183"/>
                    </a:moveTo>
                    <a:lnTo>
                      <a:pt x="3375" y="1509"/>
                    </a:lnTo>
                    <a:lnTo>
                      <a:pt x="3979" y="0"/>
                    </a:lnTo>
                    <a:lnTo>
                      <a:pt x="6751" y="1235"/>
                    </a:lnTo>
                    <a:lnTo>
                      <a:pt x="2826" y="5324"/>
                    </a:lnTo>
                    <a:lnTo>
                      <a:pt x="0" y="31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1" name="Freeform: Shape 4020">
                <a:extLst>
                  <a:ext uri="{FF2B5EF4-FFF2-40B4-BE49-F238E27FC236}">
                    <a16:creationId xmlns:a16="http://schemas.microsoft.com/office/drawing/2014/main" id="{5DF9EF0C-C5A6-8D76-DD01-A9EB874DEC4C}"/>
                  </a:ext>
                </a:extLst>
              </p:cNvPr>
              <p:cNvSpPr/>
              <p:nvPr/>
            </p:nvSpPr>
            <p:spPr>
              <a:xfrm>
                <a:off x="1739392" y="3800382"/>
                <a:ext cx="653" cy="601"/>
              </a:xfrm>
              <a:custGeom>
                <a:avLst/>
                <a:gdLst>
                  <a:gd name="connsiteX0" fmla="*/ 0 w 6257"/>
                  <a:gd name="connsiteY0" fmla="*/ 494 h 5762"/>
                  <a:gd name="connsiteX1" fmla="*/ 851 w 6257"/>
                  <a:gd name="connsiteY1" fmla="*/ 0 h 5762"/>
                  <a:gd name="connsiteX2" fmla="*/ 6257 w 6257"/>
                  <a:gd name="connsiteY2" fmla="*/ 4062 h 5762"/>
                  <a:gd name="connsiteX3" fmla="*/ 5681 w 6257"/>
                  <a:gd name="connsiteY3" fmla="*/ 5763 h 5762"/>
                  <a:gd name="connsiteX4" fmla="*/ 2058 w 6257"/>
                  <a:gd name="connsiteY4" fmla="*/ 3458 h 5762"/>
                  <a:gd name="connsiteX5" fmla="*/ 0 w 6257"/>
                  <a:gd name="connsiteY5" fmla="*/ 494 h 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57" h="5762">
                    <a:moveTo>
                      <a:pt x="0" y="494"/>
                    </a:moveTo>
                    <a:lnTo>
                      <a:pt x="851" y="0"/>
                    </a:lnTo>
                    <a:lnTo>
                      <a:pt x="6257" y="4062"/>
                    </a:lnTo>
                    <a:lnTo>
                      <a:pt x="5681" y="5763"/>
                    </a:lnTo>
                    <a:lnTo>
                      <a:pt x="2058" y="3458"/>
                    </a:lnTo>
                    <a:lnTo>
                      <a:pt x="0" y="4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2" name="Freeform: Shape 4021">
                <a:extLst>
                  <a:ext uri="{FF2B5EF4-FFF2-40B4-BE49-F238E27FC236}">
                    <a16:creationId xmlns:a16="http://schemas.microsoft.com/office/drawing/2014/main" id="{8481D40B-E451-DCEF-8196-850134A5031D}"/>
                  </a:ext>
                </a:extLst>
              </p:cNvPr>
              <p:cNvSpPr/>
              <p:nvPr/>
            </p:nvSpPr>
            <p:spPr>
              <a:xfrm>
                <a:off x="1733742" y="3801496"/>
                <a:ext cx="644" cy="552"/>
              </a:xfrm>
              <a:custGeom>
                <a:avLst/>
                <a:gdLst>
                  <a:gd name="connsiteX0" fmla="*/ 0 w 6174"/>
                  <a:gd name="connsiteY0" fmla="*/ 1015 h 5296"/>
                  <a:gd name="connsiteX1" fmla="*/ 247 w 6174"/>
                  <a:gd name="connsiteY1" fmla="*/ 0 h 5296"/>
                  <a:gd name="connsiteX2" fmla="*/ 6175 w 6174"/>
                  <a:gd name="connsiteY2" fmla="*/ 2004 h 5296"/>
                  <a:gd name="connsiteX3" fmla="*/ 5379 w 6174"/>
                  <a:gd name="connsiteY3" fmla="*/ 5297 h 5296"/>
                  <a:gd name="connsiteX4" fmla="*/ 412 w 6174"/>
                  <a:gd name="connsiteY4" fmla="*/ 2415 h 5296"/>
                  <a:gd name="connsiteX5" fmla="*/ 0 w 6174"/>
                  <a:gd name="connsiteY5" fmla="*/ 988 h 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74" h="5296">
                    <a:moveTo>
                      <a:pt x="0" y="1015"/>
                    </a:moveTo>
                    <a:lnTo>
                      <a:pt x="247" y="0"/>
                    </a:lnTo>
                    <a:lnTo>
                      <a:pt x="6175" y="2004"/>
                    </a:lnTo>
                    <a:lnTo>
                      <a:pt x="5379" y="5297"/>
                    </a:lnTo>
                    <a:lnTo>
                      <a:pt x="412" y="2415"/>
                    </a:lnTo>
                    <a:lnTo>
                      <a:pt x="0"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3" name="Freeform: Shape 4022">
                <a:extLst>
                  <a:ext uri="{FF2B5EF4-FFF2-40B4-BE49-F238E27FC236}">
                    <a16:creationId xmlns:a16="http://schemas.microsoft.com/office/drawing/2014/main" id="{2081C6D4-8063-F8C0-95CE-572EAE06D371}"/>
                  </a:ext>
                </a:extLst>
              </p:cNvPr>
              <p:cNvSpPr/>
              <p:nvPr/>
            </p:nvSpPr>
            <p:spPr>
              <a:xfrm>
                <a:off x="1739089" y="3785049"/>
                <a:ext cx="547" cy="653"/>
              </a:xfrm>
              <a:custGeom>
                <a:avLst/>
                <a:gdLst>
                  <a:gd name="connsiteX0" fmla="*/ 0 w 5241"/>
                  <a:gd name="connsiteY0" fmla="*/ 4665 h 6257"/>
                  <a:gd name="connsiteX1" fmla="*/ 2360 w 5241"/>
                  <a:gd name="connsiteY1" fmla="*/ 0 h 6257"/>
                  <a:gd name="connsiteX2" fmla="*/ 5241 w 5241"/>
                  <a:gd name="connsiteY2" fmla="*/ 1290 h 6257"/>
                  <a:gd name="connsiteX3" fmla="*/ 1043 w 5241"/>
                  <a:gd name="connsiteY3" fmla="*/ 6257 h 6257"/>
                  <a:gd name="connsiteX4" fmla="*/ 0 w 5241"/>
                  <a:gd name="connsiteY4" fmla="*/ 4665 h 6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1" h="6257">
                    <a:moveTo>
                      <a:pt x="0" y="4665"/>
                    </a:moveTo>
                    <a:lnTo>
                      <a:pt x="2360" y="0"/>
                    </a:lnTo>
                    <a:lnTo>
                      <a:pt x="5241" y="1290"/>
                    </a:lnTo>
                    <a:lnTo>
                      <a:pt x="1043" y="6257"/>
                    </a:lnTo>
                    <a:lnTo>
                      <a:pt x="0" y="46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4" name="Freeform: Shape 4023">
                <a:extLst>
                  <a:ext uri="{FF2B5EF4-FFF2-40B4-BE49-F238E27FC236}">
                    <a16:creationId xmlns:a16="http://schemas.microsoft.com/office/drawing/2014/main" id="{52229FE4-C024-B09B-6818-8B0870BA0A8C}"/>
                  </a:ext>
                </a:extLst>
              </p:cNvPr>
              <p:cNvSpPr/>
              <p:nvPr/>
            </p:nvSpPr>
            <p:spPr>
              <a:xfrm>
                <a:off x="1747716" y="3815925"/>
                <a:ext cx="541" cy="498"/>
              </a:xfrm>
              <a:custGeom>
                <a:avLst/>
                <a:gdLst>
                  <a:gd name="connsiteX0" fmla="*/ 0 w 5186"/>
                  <a:gd name="connsiteY0" fmla="*/ 2497 h 4775"/>
                  <a:gd name="connsiteX1" fmla="*/ 1509 w 5186"/>
                  <a:gd name="connsiteY1" fmla="*/ 0 h 4775"/>
                  <a:gd name="connsiteX2" fmla="*/ 3320 w 5186"/>
                  <a:gd name="connsiteY2" fmla="*/ 357 h 4775"/>
                  <a:gd name="connsiteX3" fmla="*/ 4693 w 5186"/>
                  <a:gd name="connsiteY3" fmla="*/ 2086 h 4775"/>
                  <a:gd name="connsiteX4" fmla="*/ 5186 w 5186"/>
                  <a:gd name="connsiteY4" fmla="*/ 4775 h 4775"/>
                  <a:gd name="connsiteX5" fmla="*/ 1784 w 5186"/>
                  <a:gd name="connsiteY5" fmla="*/ 4446 h 4775"/>
                  <a:gd name="connsiteX6" fmla="*/ 27 w 5186"/>
                  <a:gd name="connsiteY6" fmla="*/ 2525 h 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6" h="4775">
                    <a:moveTo>
                      <a:pt x="0" y="2497"/>
                    </a:moveTo>
                    <a:lnTo>
                      <a:pt x="1509" y="0"/>
                    </a:lnTo>
                    <a:lnTo>
                      <a:pt x="3320" y="357"/>
                    </a:lnTo>
                    <a:lnTo>
                      <a:pt x="4693" y="2086"/>
                    </a:lnTo>
                    <a:lnTo>
                      <a:pt x="5186" y="4775"/>
                    </a:lnTo>
                    <a:lnTo>
                      <a:pt x="1784" y="4446"/>
                    </a:lnTo>
                    <a:lnTo>
                      <a:pt x="27" y="25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5" name="Freeform: Shape 4024">
                <a:extLst>
                  <a:ext uri="{FF2B5EF4-FFF2-40B4-BE49-F238E27FC236}">
                    <a16:creationId xmlns:a16="http://schemas.microsoft.com/office/drawing/2014/main" id="{8177B06D-FFCF-E3AE-E288-32B159629849}"/>
                  </a:ext>
                </a:extLst>
              </p:cNvPr>
              <p:cNvSpPr/>
              <p:nvPr/>
            </p:nvSpPr>
            <p:spPr>
              <a:xfrm>
                <a:off x="1739318" y="3780171"/>
                <a:ext cx="447" cy="581"/>
              </a:xfrm>
              <a:custGeom>
                <a:avLst/>
                <a:gdLst>
                  <a:gd name="connsiteX0" fmla="*/ 2580 w 4281"/>
                  <a:gd name="connsiteY0" fmla="*/ 2333 h 5571"/>
                  <a:gd name="connsiteX1" fmla="*/ 3403 w 4281"/>
                  <a:gd name="connsiteY1" fmla="*/ 3485 h 5571"/>
                  <a:gd name="connsiteX2" fmla="*/ 1784 w 4281"/>
                  <a:gd name="connsiteY2" fmla="*/ 5571 h 5571"/>
                  <a:gd name="connsiteX3" fmla="*/ 0 w 4281"/>
                  <a:gd name="connsiteY3" fmla="*/ 5516 h 5571"/>
                  <a:gd name="connsiteX4" fmla="*/ 686 w 4281"/>
                  <a:gd name="connsiteY4" fmla="*/ 2360 h 5571"/>
                  <a:gd name="connsiteX5" fmla="*/ 3046 w 4281"/>
                  <a:gd name="connsiteY5" fmla="*/ 0 h 5571"/>
                  <a:gd name="connsiteX6" fmla="*/ 4281 w 4281"/>
                  <a:gd name="connsiteY6" fmla="*/ 247 h 5571"/>
                  <a:gd name="connsiteX7" fmla="*/ 4171 w 4281"/>
                  <a:gd name="connsiteY7" fmla="*/ 2058 h 5571"/>
                  <a:gd name="connsiteX8" fmla="*/ 2525 w 4281"/>
                  <a:gd name="connsiteY8" fmla="*/ 2360 h 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1" h="5571">
                    <a:moveTo>
                      <a:pt x="2580" y="2333"/>
                    </a:moveTo>
                    <a:lnTo>
                      <a:pt x="3403" y="3485"/>
                    </a:lnTo>
                    <a:lnTo>
                      <a:pt x="1784" y="5571"/>
                    </a:lnTo>
                    <a:lnTo>
                      <a:pt x="0" y="5516"/>
                    </a:lnTo>
                    <a:lnTo>
                      <a:pt x="686" y="2360"/>
                    </a:lnTo>
                    <a:lnTo>
                      <a:pt x="3046" y="0"/>
                    </a:lnTo>
                    <a:lnTo>
                      <a:pt x="4281" y="247"/>
                    </a:lnTo>
                    <a:lnTo>
                      <a:pt x="4171" y="2058"/>
                    </a:lnTo>
                    <a:lnTo>
                      <a:pt x="2525" y="23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6" name="Freeform: Shape 4025">
                <a:extLst>
                  <a:ext uri="{FF2B5EF4-FFF2-40B4-BE49-F238E27FC236}">
                    <a16:creationId xmlns:a16="http://schemas.microsoft.com/office/drawing/2014/main" id="{749BB718-5202-CB91-E805-9D54C9D87B3F}"/>
                  </a:ext>
                </a:extLst>
              </p:cNvPr>
              <p:cNvSpPr/>
              <p:nvPr/>
            </p:nvSpPr>
            <p:spPr>
              <a:xfrm>
                <a:off x="1742034" y="3821567"/>
                <a:ext cx="521" cy="464"/>
              </a:xfrm>
              <a:custGeom>
                <a:avLst/>
                <a:gdLst>
                  <a:gd name="connsiteX0" fmla="*/ 3458 w 4994"/>
                  <a:gd name="connsiteY0" fmla="*/ 3705 h 4445"/>
                  <a:gd name="connsiteX1" fmla="*/ 961 w 4994"/>
                  <a:gd name="connsiteY1" fmla="*/ 4446 h 4445"/>
                  <a:gd name="connsiteX2" fmla="*/ 0 w 4994"/>
                  <a:gd name="connsiteY2" fmla="*/ 2470 h 4445"/>
                  <a:gd name="connsiteX3" fmla="*/ 1290 w 4994"/>
                  <a:gd name="connsiteY3" fmla="*/ 0 h 4445"/>
                  <a:gd name="connsiteX4" fmla="*/ 4995 w 4994"/>
                  <a:gd name="connsiteY4" fmla="*/ 933 h 4445"/>
                  <a:gd name="connsiteX5" fmla="*/ 3458 w 4994"/>
                  <a:gd name="connsiteY5" fmla="*/ 3705 h 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4" h="4445">
                    <a:moveTo>
                      <a:pt x="3458" y="3705"/>
                    </a:moveTo>
                    <a:lnTo>
                      <a:pt x="961" y="4446"/>
                    </a:lnTo>
                    <a:lnTo>
                      <a:pt x="0" y="2470"/>
                    </a:lnTo>
                    <a:lnTo>
                      <a:pt x="1290" y="0"/>
                    </a:lnTo>
                    <a:lnTo>
                      <a:pt x="4995" y="933"/>
                    </a:lnTo>
                    <a:lnTo>
                      <a:pt x="3458"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7" name="Freeform: Shape 4026">
                <a:extLst>
                  <a:ext uri="{FF2B5EF4-FFF2-40B4-BE49-F238E27FC236}">
                    <a16:creationId xmlns:a16="http://schemas.microsoft.com/office/drawing/2014/main" id="{81EB8006-61AB-DF39-3666-9D600DDFEAA3}"/>
                  </a:ext>
                </a:extLst>
              </p:cNvPr>
              <p:cNvSpPr/>
              <p:nvPr/>
            </p:nvSpPr>
            <p:spPr>
              <a:xfrm>
                <a:off x="1737727" y="3783801"/>
                <a:ext cx="501" cy="449"/>
              </a:xfrm>
              <a:custGeom>
                <a:avLst/>
                <a:gdLst>
                  <a:gd name="connsiteX0" fmla="*/ 0 w 4802"/>
                  <a:gd name="connsiteY0" fmla="*/ 1262 h 4308"/>
                  <a:gd name="connsiteX1" fmla="*/ 1043 w 4802"/>
                  <a:gd name="connsiteY1" fmla="*/ 0 h 4308"/>
                  <a:gd name="connsiteX2" fmla="*/ 4336 w 4802"/>
                  <a:gd name="connsiteY2" fmla="*/ 164 h 4308"/>
                  <a:gd name="connsiteX3" fmla="*/ 4803 w 4802"/>
                  <a:gd name="connsiteY3" fmla="*/ 3513 h 4308"/>
                  <a:gd name="connsiteX4" fmla="*/ 3842 w 4802"/>
                  <a:gd name="connsiteY4" fmla="*/ 4308 h 4308"/>
                  <a:gd name="connsiteX5" fmla="*/ 878 w 4802"/>
                  <a:gd name="connsiteY5" fmla="*/ 3320 h 4308"/>
                  <a:gd name="connsiteX6" fmla="*/ 0 w 4802"/>
                  <a:gd name="connsiteY6" fmla="*/ 1262 h 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2" h="4308">
                    <a:moveTo>
                      <a:pt x="0" y="1262"/>
                    </a:moveTo>
                    <a:lnTo>
                      <a:pt x="1043" y="0"/>
                    </a:lnTo>
                    <a:lnTo>
                      <a:pt x="4336" y="164"/>
                    </a:lnTo>
                    <a:lnTo>
                      <a:pt x="4803" y="3513"/>
                    </a:lnTo>
                    <a:lnTo>
                      <a:pt x="3842" y="4308"/>
                    </a:lnTo>
                    <a:lnTo>
                      <a:pt x="878" y="3320"/>
                    </a:lnTo>
                    <a:lnTo>
                      <a:pt x="0" y="12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8" name="Freeform: Shape 4027">
                <a:extLst>
                  <a:ext uri="{FF2B5EF4-FFF2-40B4-BE49-F238E27FC236}">
                    <a16:creationId xmlns:a16="http://schemas.microsoft.com/office/drawing/2014/main" id="{6774E5D1-E0EC-8974-81B1-14D3B6F7D9BA}"/>
                  </a:ext>
                </a:extLst>
              </p:cNvPr>
              <p:cNvSpPr/>
              <p:nvPr/>
            </p:nvSpPr>
            <p:spPr>
              <a:xfrm>
                <a:off x="1748060" y="3808340"/>
                <a:ext cx="455" cy="426"/>
              </a:xfrm>
              <a:custGeom>
                <a:avLst/>
                <a:gdLst>
                  <a:gd name="connsiteX0" fmla="*/ 0 w 4363"/>
                  <a:gd name="connsiteY0" fmla="*/ 741 h 4088"/>
                  <a:gd name="connsiteX1" fmla="*/ 3678 w 4363"/>
                  <a:gd name="connsiteY1" fmla="*/ 0 h 4088"/>
                  <a:gd name="connsiteX2" fmla="*/ 4364 w 4363"/>
                  <a:gd name="connsiteY2" fmla="*/ 768 h 4088"/>
                  <a:gd name="connsiteX3" fmla="*/ 2196 w 4363"/>
                  <a:gd name="connsiteY3" fmla="*/ 4089 h 4088"/>
                  <a:gd name="connsiteX4" fmla="*/ 0 w 4363"/>
                  <a:gd name="connsiteY4" fmla="*/ 741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4088">
                    <a:moveTo>
                      <a:pt x="0" y="741"/>
                    </a:moveTo>
                    <a:lnTo>
                      <a:pt x="3678" y="0"/>
                    </a:lnTo>
                    <a:lnTo>
                      <a:pt x="4364" y="768"/>
                    </a:lnTo>
                    <a:lnTo>
                      <a:pt x="2196" y="4089"/>
                    </a:lnTo>
                    <a:lnTo>
                      <a:pt x="0" y="7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9" name="Freeform: Shape 4028">
                <a:extLst>
                  <a:ext uri="{FF2B5EF4-FFF2-40B4-BE49-F238E27FC236}">
                    <a16:creationId xmlns:a16="http://schemas.microsoft.com/office/drawing/2014/main" id="{D78A81FC-C8DC-E7A5-AB78-053AF461D303}"/>
                  </a:ext>
                </a:extLst>
              </p:cNvPr>
              <p:cNvSpPr/>
              <p:nvPr/>
            </p:nvSpPr>
            <p:spPr>
              <a:xfrm>
                <a:off x="1744811" y="3809602"/>
                <a:ext cx="383" cy="444"/>
              </a:xfrm>
              <a:custGeom>
                <a:avLst/>
                <a:gdLst>
                  <a:gd name="connsiteX0" fmla="*/ 0 w 3676"/>
                  <a:gd name="connsiteY0" fmla="*/ 1948 h 4253"/>
                  <a:gd name="connsiteX1" fmla="*/ 1948 w 3676"/>
                  <a:gd name="connsiteY1" fmla="*/ 0 h 4253"/>
                  <a:gd name="connsiteX2" fmla="*/ 3677 w 3676"/>
                  <a:gd name="connsiteY2" fmla="*/ 4253 h 4253"/>
                  <a:gd name="connsiteX3" fmla="*/ 905 w 3676"/>
                  <a:gd name="connsiteY3" fmla="*/ 3815 h 4253"/>
                  <a:gd name="connsiteX4" fmla="*/ 0 w 3676"/>
                  <a:gd name="connsiteY4" fmla="*/ 1976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 h="4253">
                    <a:moveTo>
                      <a:pt x="0" y="1948"/>
                    </a:moveTo>
                    <a:lnTo>
                      <a:pt x="1948" y="0"/>
                    </a:lnTo>
                    <a:lnTo>
                      <a:pt x="3677" y="4253"/>
                    </a:lnTo>
                    <a:lnTo>
                      <a:pt x="905" y="3815"/>
                    </a:lnTo>
                    <a:lnTo>
                      <a:pt x="0"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0" name="Freeform: Shape 4029">
                <a:extLst>
                  <a:ext uri="{FF2B5EF4-FFF2-40B4-BE49-F238E27FC236}">
                    <a16:creationId xmlns:a16="http://schemas.microsoft.com/office/drawing/2014/main" id="{8384702B-9DF4-E7A3-6793-5E690F2D61CD}"/>
                  </a:ext>
                </a:extLst>
              </p:cNvPr>
              <p:cNvSpPr/>
              <p:nvPr/>
            </p:nvSpPr>
            <p:spPr>
              <a:xfrm>
                <a:off x="1746090" y="3805809"/>
                <a:ext cx="372" cy="441"/>
              </a:xfrm>
              <a:custGeom>
                <a:avLst/>
                <a:gdLst>
                  <a:gd name="connsiteX0" fmla="*/ 0 w 3567"/>
                  <a:gd name="connsiteY0" fmla="*/ 1152 h 4226"/>
                  <a:gd name="connsiteX1" fmla="*/ 1948 w 3567"/>
                  <a:gd name="connsiteY1" fmla="*/ 0 h 4226"/>
                  <a:gd name="connsiteX2" fmla="*/ 3568 w 3567"/>
                  <a:gd name="connsiteY2" fmla="*/ 3019 h 4226"/>
                  <a:gd name="connsiteX3" fmla="*/ 2332 w 3567"/>
                  <a:gd name="connsiteY3" fmla="*/ 4226 h 4226"/>
                  <a:gd name="connsiteX4" fmla="*/ 0 w 3567"/>
                  <a:gd name="connsiteY4" fmla="*/ 1180 h 4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4226">
                    <a:moveTo>
                      <a:pt x="0" y="1152"/>
                    </a:moveTo>
                    <a:lnTo>
                      <a:pt x="1948" y="0"/>
                    </a:lnTo>
                    <a:lnTo>
                      <a:pt x="3568" y="3019"/>
                    </a:lnTo>
                    <a:lnTo>
                      <a:pt x="2332" y="4226"/>
                    </a:lnTo>
                    <a:lnTo>
                      <a:pt x="0"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1" name="Freeform: Shape 4030">
                <a:extLst>
                  <a:ext uri="{FF2B5EF4-FFF2-40B4-BE49-F238E27FC236}">
                    <a16:creationId xmlns:a16="http://schemas.microsoft.com/office/drawing/2014/main" id="{AD10E682-E923-31D4-2531-14A98FA3CD4E}"/>
                  </a:ext>
                </a:extLst>
              </p:cNvPr>
              <p:cNvSpPr/>
              <p:nvPr/>
            </p:nvSpPr>
            <p:spPr>
              <a:xfrm>
                <a:off x="1750868" y="3810077"/>
                <a:ext cx="363" cy="455"/>
              </a:xfrm>
              <a:custGeom>
                <a:avLst/>
                <a:gdLst>
                  <a:gd name="connsiteX0" fmla="*/ 0 w 3485"/>
                  <a:gd name="connsiteY0" fmla="*/ 1097 h 4363"/>
                  <a:gd name="connsiteX1" fmla="*/ 1070 w 3485"/>
                  <a:gd name="connsiteY1" fmla="*/ 0 h 4363"/>
                  <a:gd name="connsiteX2" fmla="*/ 2415 w 3485"/>
                  <a:gd name="connsiteY2" fmla="*/ 823 h 4363"/>
                  <a:gd name="connsiteX3" fmla="*/ 3485 w 3485"/>
                  <a:gd name="connsiteY3" fmla="*/ 2717 h 4363"/>
                  <a:gd name="connsiteX4" fmla="*/ 3211 w 3485"/>
                  <a:gd name="connsiteY4" fmla="*/ 4363 h 4363"/>
                  <a:gd name="connsiteX5" fmla="*/ 1592 w 3485"/>
                  <a:gd name="connsiteY5" fmla="*/ 3266 h 4363"/>
                  <a:gd name="connsiteX6" fmla="*/ 796 w 3485"/>
                  <a:gd name="connsiteY6" fmla="*/ 1893 h 4363"/>
                  <a:gd name="connsiteX7" fmla="*/ 0 w 3485"/>
                  <a:gd name="connsiteY7" fmla="*/ 1097 h 4363"/>
                  <a:gd name="connsiteX8" fmla="*/ 0 w 3485"/>
                  <a:gd name="connsiteY8" fmla="*/ 1097 h 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5" h="4363">
                    <a:moveTo>
                      <a:pt x="0" y="1097"/>
                    </a:moveTo>
                    <a:lnTo>
                      <a:pt x="1070" y="0"/>
                    </a:lnTo>
                    <a:lnTo>
                      <a:pt x="2415" y="823"/>
                    </a:lnTo>
                    <a:lnTo>
                      <a:pt x="3485" y="2717"/>
                    </a:lnTo>
                    <a:lnTo>
                      <a:pt x="3211" y="4363"/>
                    </a:lnTo>
                    <a:lnTo>
                      <a:pt x="1592" y="3266"/>
                    </a:lnTo>
                    <a:lnTo>
                      <a:pt x="796" y="1893"/>
                    </a:lnTo>
                    <a:lnTo>
                      <a:pt x="0" y="1097"/>
                    </a:lnTo>
                    <a:lnTo>
                      <a:pt x="0" y="10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2" name="Freeform: Shape 4031">
                <a:extLst>
                  <a:ext uri="{FF2B5EF4-FFF2-40B4-BE49-F238E27FC236}">
                    <a16:creationId xmlns:a16="http://schemas.microsoft.com/office/drawing/2014/main" id="{FD97FDFF-FB3A-A8CD-77DF-9E0F43BF59AE}"/>
                  </a:ext>
                </a:extLst>
              </p:cNvPr>
              <p:cNvSpPr/>
              <p:nvPr/>
            </p:nvSpPr>
            <p:spPr>
              <a:xfrm>
                <a:off x="1740603" y="3798671"/>
                <a:ext cx="501" cy="323"/>
              </a:xfrm>
              <a:custGeom>
                <a:avLst/>
                <a:gdLst>
                  <a:gd name="connsiteX0" fmla="*/ 0 w 4802"/>
                  <a:gd name="connsiteY0" fmla="*/ 2004 h 3101"/>
                  <a:gd name="connsiteX1" fmla="*/ 2580 w 4802"/>
                  <a:gd name="connsiteY1" fmla="*/ 0 h 3101"/>
                  <a:gd name="connsiteX2" fmla="*/ 4803 w 4802"/>
                  <a:gd name="connsiteY2" fmla="*/ 1647 h 3101"/>
                  <a:gd name="connsiteX3" fmla="*/ 1317 w 4802"/>
                  <a:gd name="connsiteY3" fmla="*/ 3101 h 3101"/>
                  <a:gd name="connsiteX4" fmla="*/ 0 w 4802"/>
                  <a:gd name="connsiteY4" fmla="*/ 2031 h 3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2" h="3101">
                    <a:moveTo>
                      <a:pt x="0" y="2004"/>
                    </a:moveTo>
                    <a:lnTo>
                      <a:pt x="2580" y="0"/>
                    </a:lnTo>
                    <a:lnTo>
                      <a:pt x="4803" y="1647"/>
                    </a:lnTo>
                    <a:lnTo>
                      <a:pt x="1317" y="3101"/>
                    </a:lnTo>
                    <a:lnTo>
                      <a:pt x="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3" name="Freeform: Shape 4032">
                <a:extLst>
                  <a:ext uri="{FF2B5EF4-FFF2-40B4-BE49-F238E27FC236}">
                    <a16:creationId xmlns:a16="http://schemas.microsoft.com/office/drawing/2014/main" id="{18A41B03-46E7-9E04-57A6-C1DC683A0AB2}"/>
                  </a:ext>
                </a:extLst>
              </p:cNvPr>
              <p:cNvSpPr/>
              <p:nvPr/>
            </p:nvSpPr>
            <p:spPr>
              <a:xfrm>
                <a:off x="1740343" y="3805377"/>
                <a:ext cx="312" cy="515"/>
              </a:xfrm>
              <a:custGeom>
                <a:avLst/>
                <a:gdLst>
                  <a:gd name="connsiteX0" fmla="*/ 0 w 2991"/>
                  <a:gd name="connsiteY0" fmla="*/ 1372 h 4939"/>
                  <a:gd name="connsiteX1" fmla="*/ 1619 w 2991"/>
                  <a:gd name="connsiteY1" fmla="*/ 0 h 4939"/>
                  <a:gd name="connsiteX2" fmla="*/ 2992 w 2991"/>
                  <a:gd name="connsiteY2" fmla="*/ 2854 h 4939"/>
                  <a:gd name="connsiteX3" fmla="*/ 1509 w 2991"/>
                  <a:gd name="connsiteY3" fmla="*/ 4940 h 4939"/>
                  <a:gd name="connsiteX4" fmla="*/ 0 w 2991"/>
                  <a:gd name="connsiteY4" fmla="*/ 1372 h 4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1" h="4939">
                    <a:moveTo>
                      <a:pt x="0" y="1372"/>
                    </a:moveTo>
                    <a:lnTo>
                      <a:pt x="1619" y="0"/>
                    </a:lnTo>
                    <a:lnTo>
                      <a:pt x="2992" y="2854"/>
                    </a:lnTo>
                    <a:lnTo>
                      <a:pt x="1509" y="4940"/>
                    </a:lnTo>
                    <a:lnTo>
                      <a:pt x="0" y="13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4" name="Freeform: Shape 4033">
                <a:extLst>
                  <a:ext uri="{FF2B5EF4-FFF2-40B4-BE49-F238E27FC236}">
                    <a16:creationId xmlns:a16="http://schemas.microsoft.com/office/drawing/2014/main" id="{035D2040-57BE-9365-117F-9E43B9E16B30}"/>
                  </a:ext>
                </a:extLst>
              </p:cNvPr>
              <p:cNvSpPr/>
              <p:nvPr/>
            </p:nvSpPr>
            <p:spPr>
              <a:xfrm>
                <a:off x="1735772" y="3827285"/>
                <a:ext cx="507" cy="306"/>
              </a:xfrm>
              <a:custGeom>
                <a:avLst/>
                <a:gdLst>
                  <a:gd name="connsiteX0" fmla="*/ 0 w 4857"/>
                  <a:gd name="connsiteY0" fmla="*/ 2140 h 2936"/>
                  <a:gd name="connsiteX1" fmla="*/ 631 w 4857"/>
                  <a:gd name="connsiteY1" fmla="*/ 878 h 2936"/>
                  <a:gd name="connsiteX2" fmla="*/ 3211 w 4857"/>
                  <a:gd name="connsiteY2" fmla="*/ 0 h 2936"/>
                  <a:gd name="connsiteX3" fmla="*/ 4857 w 4857"/>
                  <a:gd name="connsiteY3" fmla="*/ 1537 h 2936"/>
                  <a:gd name="connsiteX4" fmla="*/ 3211 w 4857"/>
                  <a:gd name="connsiteY4" fmla="*/ 2936 h 2936"/>
                  <a:gd name="connsiteX5" fmla="*/ 0 w 4857"/>
                  <a:gd name="connsiteY5" fmla="*/ 2168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 h="2936">
                    <a:moveTo>
                      <a:pt x="0" y="2140"/>
                    </a:moveTo>
                    <a:lnTo>
                      <a:pt x="631" y="878"/>
                    </a:lnTo>
                    <a:lnTo>
                      <a:pt x="3211" y="0"/>
                    </a:lnTo>
                    <a:lnTo>
                      <a:pt x="4857" y="1537"/>
                    </a:lnTo>
                    <a:lnTo>
                      <a:pt x="3211" y="2936"/>
                    </a:lnTo>
                    <a:lnTo>
                      <a:pt x="0"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5" name="Freeform: Shape 4034">
                <a:extLst>
                  <a:ext uri="{FF2B5EF4-FFF2-40B4-BE49-F238E27FC236}">
                    <a16:creationId xmlns:a16="http://schemas.microsoft.com/office/drawing/2014/main" id="{41C8AFFF-85F1-F351-FF4F-6B0B366BB3A3}"/>
                  </a:ext>
                </a:extLst>
              </p:cNvPr>
              <p:cNvSpPr/>
              <p:nvPr/>
            </p:nvSpPr>
            <p:spPr>
              <a:xfrm>
                <a:off x="1732798" y="3808929"/>
                <a:ext cx="401" cy="389"/>
              </a:xfrm>
              <a:custGeom>
                <a:avLst/>
                <a:gdLst>
                  <a:gd name="connsiteX0" fmla="*/ 0 w 3842"/>
                  <a:gd name="connsiteY0" fmla="*/ 1811 h 3732"/>
                  <a:gd name="connsiteX1" fmla="*/ 2443 w 3842"/>
                  <a:gd name="connsiteY1" fmla="*/ 0 h 3732"/>
                  <a:gd name="connsiteX2" fmla="*/ 3842 w 3842"/>
                  <a:gd name="connsiteY2" fmla="*/ 1784 h 3732"/>
                  <a:gd name="connsiteX3" fmla="*/ 1318 w 3842"/>
                  <a:gd name="connsiteY3" fmla="*/ 3732 h 3732"/>
                  <a:gd name="connsiteX4" fmla="*/ 0 w 3842"/>
                  <a:gd name="connsiteY4" fmla="*/ 1838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2" h="3732">
                    <a:moveTo>
                      <a:pt x="0" y="1811"/>
                    </a:moveTo>
                    <a:lnTo>
                      <a:pt x="2443" y="0"/>
                    </a:lnTo>
                    <a:lnTo>
                      <a:pt x="3842" y="1784"/>
                    </a:lnTo>
                    <a:lnTo>
                      <a:pt x="1318" y="3732"/>
                    </a:lnTo>
                    <a:lnTo>
                      <a:pt x="0"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6" name="Freeform: Shape 4035">
                <a:extLst>
                  <a:ext uri="{FF2B5EF4-FFF2-40B4-BE49-F238E27FC236}">
                    <a16:creationId xmlns:a16="http://schemas.microsoft.com/office/drawing/2014/main" id="{4CAEE66F-E0FB-A1DD-CA69-568E36C09F7C}"/>
                  </a:ext>
                </a:extLst>
              </p:cNvPr>
              <p:cNvSpPr/>
              <p:nvPr/>
            </p:nvSpPr>
            <p:spPr>
              <a:xfrm>
                <a:off x="1738193" y="3823816"/>
                <a:ext cx="426" cy="355"/>
              </a:xfrm>
              <a:custGeom>
                <a:avLst/>
                <a:gdLst>
                  <a:gd name="connsiteX0" fmla="*/ 0 w 4088"/>
                  <a:gd name="connsiteY0" fmla="*/ 1893 h 3402"/>
                  <a:gd name="connsiteX1" fmla="*/ 1866 w 4088"/>
                  <a:gd name="connsiteY1" fmla="*/ 0 h 3402"/>
                  <a:gd name="connsiteX2" fmla="*/ 4089 w 4088"/>
                  <a:gd name="connsiteY2" fmla="*/ 1921 h 3402"/>
                  <a:gd name="connsiteX3" fmla="*/ 2141 w 4088"/>
                  <a:gd name="connsiteY3" fmla="*/ 3403 h 3402"/>
                  <a:gd name="connsiteX4" fmla="*/ 0 w 4088"/>
                  <a:gd name="connsiteY4" fmla="*/ 1893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3402">
                    <a:moveTo>
                      <a:pt x="0" y="1893"/>
                    </a:moveTo>
                    <a:lnTo>
                      <a:pt x="1866" y="0"/>
                    </a:lnTo>
                    <a:lnTo>
                      <a:pt x="4089" y="1921"/>
                    </a:lnTo>
                    <a:lnTo>
                      <a:pt x="2141" y="3403"/>
                    </a:lnTo>
                    <a:lnTo>
                      <a:pt x="0" y="1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7" name="Freeform: Shape 4036">
                <a:extLst>
                  <a:ext uri="{FF2B5EF4-FFF2-40B4-BE49-F238E27FC236}">
                    <a16:creationId xmlns:a16="http://schemas.microsoft.com/office/drawing/2014/main" id="{E6C06DF0-F7E7-5DCE-6F5A-036E122B7F24}"/>
                  </a:ext>
                </a:extLst>
              </p:cNvPr>
              <p:cNvSpPr/>
              <p:nvPr/>
            </p:nvSpPr>
            <p:spPr>
              <a:xfrm>
                <a:off x="1738557" y="3804261"/>
                <a:ext cx="395" cy="398"/>
              </a:xfrm>
              <a:custGeom>
                <a:avLst/>
                <a:gdLst>
                  <a:gd name="connsiteX0" fmla="*/ 0 w 3786"/>
                  <a:gd name="connsiteY0" fmla="*/ 1455 h 3814"/>
                  <a:gd name="connsiteX1" fmla="*/ 1509 w 3786"/>
                  <a:gd name="connsiteY1" fmla="*/ 0 h 3814"/>
                  <a:gd name="connsiteX2" fmla="*/ 3787 w 3786"/>
                  <a:gd name="connsiteY2" fmla="*/ 1537 h 3814"/>
                  <a:gd name="connsiteX3" fmla="*/ 1372 w 3786"/>
                  <a:gd name="connsiteY3" fmla="*/ 3815 h 3814"/>
                  <a:gd name="connsiteX4" fmla="*/ 0 w 3786"/>
                  <a:gd name="connsiteY4" fmla="*/ 1455 h 3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6" h="3814">
                    <a:moveTo>
                      <a:pt x="0" y="1455"/>
                    </a:moveTo>
                    <a:lnTo>
                      <a:pt x="1509" y="0"/>
                    </a:lnTo>
                    <a:lnTo>
                      <a:pt x="3787" y="1537"/>
                    </a:lnTo>
                    <a:lnTo>
                      <a:pt x="1372" y="3815"/>
                    </a:lnTo>
                    <a:lnTo>
                      <a:pt x="0" y="14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8" name="Freeform: Shape 4037">
                <a:extLst>
                  <a:ext uri="{FF2B5EF4-FFF2-40B4-BE49-F238E27FC236}">
                    <a16:creationId xmlns:a16="http://schemas.microsoft.com/office/drawing/2014/main" id="{839086F7-C147-40A7-B9E9-3E7A28DC311B}"/>
                  </a:ext>
                </a:extLst>
              </p:cNvPr>
              <p:cNvSpPr/>
              <p:nvPr/>
            </p:nvSpPr>
            <p:spPr>
              <a:xfrm>
                <a:off x="1739269" y="3783160"/>
                <a:ext cx="395" cy="409"/>
              </a:xfrm>
              <a:custGeom>
                <a:avLst/>
                <a:gdLst>
                  <a:gd name="connsiteX0" fmla="*/ 0 w 3787"/>
                  <a:gd name="connsiteY0" fmla="*/ 1235 h 3924"/>
                  <a:gd name="connsiteX1" fmla="*/ 2854 w 3787"/>
                  <a:gd name="connsiteY1" fmla="*/ 0 h 3924"/>
                  <a:gd name="connsiteX2" fmla="*/ 3787 w 3787"/>
                  <a:gd name="connsiteY2" fmla="*/ 2333 h 3924"/>
                  <a:gd name="connsiteX3" fmla="*/ 2772 w 3787"/>
                  <a:gd name="connsiteY3" fmla="*/ 3924 h 3924"/>
                  <a:gd name="connsiteX4" fmla="*/ 0 w 3787"/>
                  <a:gd name="connsiteY4" fmla="*/ 1235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3924">
                    <a:moveTo>
                      <a:pt x="0" y="1235"/>
                    </a:moveTo>
                    <a:lnTo>
                      <a:pt x="2854" y="0"/>
                    </a:lnTo>
                    <a:lnTo>
                      <a:pt x="3787" y="2333"/>
                    </a:lnTo>
                    <a:lnTo>
                      <a:pt x="2772" y="3924"/>
                    </a:lnTo>
                    <a:lnTo>
                      <a:pt x="0"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9" name="Freeform: Shape 4038">
                <a:extLst>
                  <a:ext uri="{FF2B5EF4-FFF2-40B4-BE49-F238E27FC236}">
                    <a16:creationId xmlns:a16="http://schemas.microsoft.com/office/drawing/2014/main" id="{048C30E6-22E7-0255-5BB2-33EF1ABC60DA}"/>
                  </a:ext>
                </a:extLst>
              </p:cNvPr>
              <p:cNvSpPr/>
              <p:nvPr/>
            </p:nvSpPr>
            <p:spPr>
              <a:xfrm>
                <a:off x="1739928" y="3798376"/>
                <a:ext cx="512" cy="303"/>
              </a:xfrm>
              <a:custGeom>
                <a:avLst/>
                <a:gdLst>
                  <a:gd name="connsiteX0" fmla="*/ 27 w 4912"/>
                  <a:gd name="connsiteY0" fmla="*/ 302 h 2908"/>
                  <a:gd name="connsiteX1" fmla="*/ 1838 w 4912"/>
                  <a:gd name="connsiteY1" fmla="*/ 0 h 2908"/>
                  <a:gd name="connsiteX2" fmla="*/ 4912 w 4912"/>
                  <a:gd name="connsiteY2" fmla="*/ 1893 h 2908"/>
                  <a:gd name="connsiteX3" fmla="*/ 3458 w 4912"/>
                  <a:gd name="connsiteY3" fmla="*/ 2909 h 2908"/>
                  <a:gd name="connsiteX4" fmla="*/ 411 w 4912"/>
                  <a:gd name="connsiteY4" fmla="*/ 1400 h 2908"/>
                  <a:gd name="connsiteX5" fmla="*/ 0 w 4912"/>
                  <a:gd name="connsiteY5" fmla="*/ 274 h 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12" h="2908">
                    <a:moveTo>
                      <a:pt x="27" y="302"/>
                    </a:moveTo>
                    <a:lnTo>
                      <a:pt x="1838" y="0"/>
                    </a:lnTo>
                    <a:lnTo>
                      <a:pt x="4912" y="1893"/>
                    </a:lnTo>
                    <a:lnTo>
                      <a:pt x="3458" y="2909"/>
                    </a:lnTo>
                    <a:lnTo>
                      <a:pt x="411" y="1400"/>
                    </a:lnTo>
                    <a:lnTo>
                      <a:pt x="0" y="2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0" name="Freeform: Shape 4039">
                <a:extLst>
                  <a:ext uri="{FF2B5EF4-FFF2-40B4-BE49-F238E27FC236}">
                    <a16:creationId xmlns:a16="http://schemas.microsoft.com/office/drawing/2014/main" id="{2889263B-BEC1-CE5C-1039-BD66E0E07FE1}"/>
                  </a:ext>
                </a:extLst>
              </p:cNvPr>
              <p:cNvSpPr/>
              <p:nvPr/>
            </p:nvSpPr>
            <p:spPr>
              <a:xfrm>
                <a:off x="1727391" y="3824961"/>
                <a:ext cx="415" cy="361"/>
              </a:xfrm>
              <a:custGeom>
                <a:avLst/>
                <a:gdLst>
                  <a:gd name="connsiteX0" fmla="*/ 3403 w 3979"/>
                  <a:gd name="connsiteY0" fmla="*/ 1976 h 3457"/>
                  <a:gd name="connsiteX1" fmla="*/ 659 w 3979"/>
                  <a:gd name="connsiteY1" fmla="*/ 3458 h 3457"/>
                  <a:gd name="connsiteX2" fmla="*/ 0 w 3979"/>
                  <a:gd name="connsiteY2" fmla="*/ 2909 h 3457"/>
                  <a:gd name="connsiteX3" fmla="*/ 1866 w 3979"/>
                  <a:gd name="connsiteY3" fmla="*/ 164 h 3457"/>
                  <a:gd name="connsiteX4" fmla="*/ 3211 w 3979"/>
                  <a:gd name="connsiteY4" fmla="*/ 0 h 3457"/>
                  <a:gd name="connsiteX5" fmla="*/ 3979 w 3979"/>
                  <a:gd name="connsiteY5" fmla="*/ 1097 h 3457"/>
                  <a:gd name="connsiteX6" fmla="*/ 3375 w 3979"/>
                  <a:gd name="connsiteY6" fmla="*/ 1948 h 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 h="3457">
                    <a:moveTo>
                      <a:pt x="3403" y="1976"/>
                    </a:moveTo>
                    <a:lnTo>
                      <a:pt x="659" y="3458"/>
                    </a:lnTo>
                    <a:lnTo>
                      <a:pt x="0" y="2909"/>
                    </a:lnTo>
                    <a:lnTo>
                      <a:pt x="1866" y="164"/>
                    </a:lnTo>
                    <a:lnTo>
                      <a:pt x="3211" y="0"/>
                    </a:lnTo>
                    <a:lnTo>
                      <a:pt x="3979" y="1097"/>
                    </a:lnTo>
                    <a:lnTo>
                      <a:pt x="3375" y="1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1" name="Freeform: Shape 4040">
                <a:extLst>
                  <a:ext uri="{FF2B5EF4-FFF2-40B4-BE49-F238E27FC236}">
                    <a16:creationId xmlns:a16="http://schemas.microsoft.com/office/drawing/2014/main" id="{1944256C-AA8D-F3C9-C784-C2A62E04BDA0}"/>
                  </a:ext>
                </a:extLst>
              </p:cNvPr>
              <p:cNvSpPr/>
              <p:nvPr/>
            </p:nvSpPr>
            <p:spPr>
              <a:xfrm>
                <a:off x="1737595" y="3785292"/>
                <a:ext cx="512" cy="312"/>
              </a:xfrm>
              <a:custGeom>
                <a:avLst/>
                <a:gdLst>
                  <a:gd name="connsiteX0" fmla="*/ 27 w 4912"/>
                  <a:gd name="connsiteY0" fmla="*/ 2388 h 2991"/>
                  <a:gd name="connsiteX1" fmla="*/ 3046 w 4912"/>
                  <a:gd name="connsiteY1" fmla="*/ 0 h 2991"/>
                  <a:gd name="connsiteX2" fmla="*/ 4912 w 4912"/>
                  <a:gd name="connsiteY2" fmla="*/ 2525 h 2991"/>
                  <a:gd name="connsiteX3" fmla="*/ 632 w 4912"/>
                  <a:gd name="connsiteY3" fmla="*/ 2992 h 2991"/>
                  <a:gd name="connsiteX4" fmla="*/ 0 w 4912"/>
                  <a:gd name="connsiteY4" fmla="*/ 2388 h 2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 h="2991">
                    <a:moveTo>
                      <a:pt x="27" y="2388"/>
                    </a:moveTo>
                    <a:lnTo>
                      <a:pt x="3046" y="0"/>
                    </a:lnTo>
                    <a:lnTo>
                      <a:pt x="4912" y="2525"/>
                    </a:lnTo>
                    <a:lnTo>
                      <a:pt x="632" y="2992"/>
                    </a:lnTo>
                    <a:lnTo>
                      <a:pt x="0"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2" name="Freeform: Shape 4041">
                <a:extLst>
                  <a:ext uri="{FF2B5EF4-FFF2-40B4-BE49-F238E27FC236}">
                    <a16:creationId xmlns:a16="http://schemas.microsoft.com/office/drawing/2014/main" id="{9C319443-DCE3-D6F5-A863-2EBB5A9A40FD}"/>
                  </a:ext>
                </a:extLst>
              </p:cNvPr>
              <p:cNvSpPr/>
              <p:nvPr/>
            </p:nvSpPr>
            <p:spPr>
              <a:xfrm>
                <a:off x="1737623" y="3807077"/>
                <a:ext cx="338" cy="438"/>
              </a:xfrm>
              <a:custGeom>
                <a:avLst/>
                <a:gdLst>
                  <a:gd name="connsiteX0" fmla="*/ 0 w 3238"/>
                  <a:gd name="connsiteY0" fmla="*/ 933 h 4198"/>
                  <a:gd name="connsiteX1" fmla="*/ 1756 w 3238"/>
                  <a:gd name="connsiteY1" fmla="*/ 0 h 4198"/>
                  <a:gd name="connsiteX2" fmla="*/ 3238 w 3238"/>
                  <a:gd name="connsiteY2" fmla="*/ 2580 h 4198"/>
                  <a:gd name="connsiteX3" fmla="*/ 1317 w 3238"/>
                  <a:gd name="connsiteY3" fmla="*/ 4199 h 4198"/>
                  <a:gd name="connsiteX4" fmla="*/ 27 w 3238"/>
                  <a:gd name="connsiteY4" fmla="*/ 961 h 4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4198">
                    <a:moveTo>
                      <a:pt x="0" y="933"/>
                    </a:moveTo>
                    <a:lnTo>
                      <a:pt x="1756" y="0"/>
                    </a:lnTo>
                    <a:lnTo>
                      <a:pt x="3238" y="2580"/>
                    </a:lnTo>
                    <a:lnTo>
                      <a:pt x="1317" y="4199"/>
                    </a:lnTo>
                    <a:lnTo>
                      <a:pt x="27" y="9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3" name="Freeform: Shape 4042">
                <a:extLst>
                  <a:ext uri="{FF2B5EF4-FFF2-40B4-BE49-F238E27FC236}">
                    <a16:creationId xmlns:a16="http://schemas.microsoft.com/office/drawing/2014/main" id="{1FA266BD-66A2-9DEE-E95D-E2BA5FB2DCD4}"/>
                  </a:ext>
                </a:extLst>
              </p:cNvPr>
              <p:cNvSpPr/>
              <p:nvPr/>
            </p:nvSpPr>
            <p:spPr>
              <a:xfrm>
                <a:off x="1737120" y="3784514"/>
                <a:ext cx="272" cy="529"/>
              </a:xfrm>
              <a:custGeom>
                <a:avLst/>
                <a:gdLst>
                  <a:gd name="connsiteX0" fmla="*/ 0 w 2606"/>
                  <a:gd name="connsiteY0" fmla="*/ 1976 h 5076"/>
                  <a:gd name="connsiteX1" fmla="*/ 1647 w 2606"/>
                  <a:gd name="connsiteY1" fmla="*/ 0 h 5076"/>
                  <a:gd name="connsiteX2" fmla="*/ 2607 w 2606"/>
                  <a:gd name="connsiteY2" fmla="*/ 4775 h 5076"/>
                  <a:gd name="connsiteX3" fmla="*/ 1071 w 2606"/>
                  <a:gd name="connsiteY3" fmla="*/ 5077 h 5076"/>
                  <a:gd name="connsiteX4" fmla="*/ 0 w 2606"/>
                  <a:gd name="connsiteY4" fmla="*/ 2003 h 5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6" h="5076">
                    <a:moveTo>
                      <a:pt x="0" y="1976"/>
                    </a:moveTo>
                    <a:lnTo>
                      <a:pt x="1647" y="0"/>
                    </a:lnTo>
                    <a:lnTo>
                      <a:pt x="2607" y="4775"/>
                    </a:lnTo>
                    <a:lnTo>
                      <a:pt x="1071" y="5077"/>
                    </a:lnTo>
                    <a:lnTo>
                      <a:pt x="0" y="20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4" name="Freeform: Shape 4043">
                <a:extLst>
                  <a:ext uri="{FF2B5EF4-FFF2-40B4-BE49-F238E27FC236}">
                    <a16:creationId xmlns:a16="http://schemas.microsoft.com/office/drawing/2014/main" id="{AB01D439-216E-C4A1-1A59-9229E937FED7}"/>
                  </a:ext>
                </a:extLst>
              </p:cNvPr>
              <p:cNvSpPr/>
              <p:nvPr/>
            </p:nvSpPr>
            <p:spPr>
              <a:xfrm>
                <a:off x="1732780" y="3829249"/>
                <a:ext cx="355" cy="381"/>
              </a:xfrm>
              <a:custGeom>
                <a:avLst/>
                <a:gdLst>
                  <a:gd name="connsiteX0" fmla="*/ 0 w 3402"/>
                  <a:gd name="connsiteY0" fmla="*/ 1784 h 3649"/>
                  <a:gd name="connsiteX1" fmla="*/ 2222 w 3402"/>
                  <a:gd name="connsiteY1" fmla="*/ 0 h 3649"/>
                  <a:gd name="connsiteX2" fmla="*/ 3403 w 3402"/>
                  <a:gd name="connsiteY2" fmla="*/ 3074 h 3649"/>
                  <a:gd name="connsiteX3" fmla="*/ 1043 w 3402"/>
                  <a:gd name="connsiteY3" fmla="*/ 3650 h 3649"/>
                  <a:gd name="connsiteX4" fmla="*/ 0 w 3402"/>
                  <a:gd name="connsiteY4" fmla="*/ 1784 h 3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3649">
                    <a:moveTo>
                      <a:pt x="0" y="1784"/>
                    </a:moveTo>
                    <a:lnTo>
                      <a:pt x="2222" y="0"/>
                    </a:lnTo>
                    <a:lnTo>
                      <a:pt x="3403" y="3074"/>
                    </a:lnTo>
                    <a:lnTo>
                      <a:pt x="1043" y="3650"/>
                    </a:lnTo>
                    <a:lnTo>
                      <a:pt x="0"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5" name="Freeform: Shape 4044">
                <a:extLst>
                  <a:ext uri="{FF2B5EF4-FFF2-40B4-BE49-F238E27FC236}">
                    <a16:creationId xmlns:a16="http://schemas.microsoft.com/office/drawing/2014/main" id="{C6736C2D-E181-FA32-BF82-E5960DA73C1A}"/>
                  </a:ext>
                </a:extLst>
              </p:cNvPr>
              <p:cNvSpPr/>
              <p:nvPr/>
            </p:nvSpPr>
            <p:spPr>
              <a:xfrm>
                <a:off x="1738954" y="3779078"/>
                <a:ext cx="358" cy="401"/>
              </a:xfrm>
              <a:custGeom>
                <a:avLst/>
                <a:gdLst>
                  <a:gd name="connsiteX0" fmla="*/ 0 w 3430"/>
                  <a:gd name="connsiteY0" fmla="*/ 3787 h 3842"/>
                  <a:gd name="connsiteX1" fmla="*/ 1839 w 3430"/>
                  <a:gd name="connsiteY1" fmla="*/ 0 h 3842"/>
                  <a:gd name="connsiteX2" fmla="*/ 3430 w 3430"/>
                  <a:gd name="connsiteY2" fmla="*/ 768 h 3842"/>
                  <a:gd name="connsiteX3" fmla="*/ 2415 w 3430"/>
                  <a:gd name="connsiteY3" fmla="*/ 3842 h 3842"/>
                  <a:gd name="connsiteX4" fmla="*/ 0 w 3430"/>
                  <a:gd name="connsiteY4" fmla="*/ 3787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3842">
                    <a:moveTo>
                      <a:pt x="0" y="3787"/>
                    </a:moveTo>
                    <a:lnTo>
                      <a:pt x="1839" y="0"/>
                    </a:lnTo>
                    <a:lnTo>
                      <a:pt x="3430" y="768"/>
                    </a:lnTo>
                    <a:lnTo>
                      <a:pt x="2415" y="3842"/>
                    </a:lnTo>
                    <a:lnTo>
                      <a:pt x="0" y="37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6" name="Freeform: Shape 4045">
                <a:extLst>
                  <a:ext uri="{FF2B5EF4-FFF2-40B4-BE49-F238E27FC236}">
                    <a16:creationId xmlns:a16="http://schemas.microsoft.com/office/drawing/2014/main" id="{BAEE3BC6-2985-892E-ABBC-5B58CBDCD76B}"/>
                  </a:ext>
                </a:extLst>
              </p:cNvPr>
              <p:cNvSpPr/>
              <p:nvPr/>
            </p:nvSpPr>
            <p:spPr>
              <a:xfrm>
                <a:off x="1746560" y="3807842"/>
                <a:ext cx="384" cy="358"/>
              </a:xfrm>
              <a:custGeom>
                <a:avLst/>
                <a:gdLst>
                  <a:gd name="connsiteX0" fmla="*/ 27 w 3677"/>
                  <a:gd name="connsiteY0" fmla="*/ 1619 h 3430"/>
                  <a:gd name="connsiteX1" fmla="*/ 1400 w 3677"/>
                  <a:gd name="connsiteY1" fmla="*/ 0 h 3430"/>
                  <a:gd name="connsiteX2" fmla="*/ 3678 w 3677"/>
                  <a:gd name="connsiteY2" fmla="*/ 604 h 3430"/>
                  <a:gd name="connsiteX3" fmla="*/ 3074 w 3677"/>
                  <a:gd name="connsiteY3" fmla="*/ 3430 h 3430"/>
                  <a:gd name="connsiteX4" fmla="*/ 0 w 3677"/>
                  <a:gd name="connsiteY4" fmla="*/ 1592 h 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7" h="3430">
                    <a:moveTo>
                      <a:pt x="27" y="1619"/>
                    </a:moveTo>
                    <a:lnTo>
                      <a:pt x="1400" y="0"/>
                    </a:lnTo>
                    <a:lnTo>
                      <a:pt x="3678" y="604"/>
                    </a:lnTo>
                    <a:lnTo>
                      <a:pt x="3074" y="3430"/>
                    </a:lnTo>
                    <a:lnTo>
                      <a:pt x="0" y="1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7" name="Freeform: Shape 4046">
                <a:extLst>
                  <a:ext uri="{FF2B5EF4-FFF2-40B4-BE49-F238E27FC236}">
                    <a16:creationId xmlns:a16="http://schemas.microsoft.com/office/drawing/2014/main" id="{B992B73F-6B3D-CC4E-D42E-EF39438A2806}"/>
                  </a:ext>
                </a:extLst>
              </p:cNvPr>
              <p:cNvSpPr/>
              <p:nvPr/>
            </p:nvSpPr>
            <p:spPr>
              <a:xfrm>
                <a:off x="1738494" y="3825737"/>
                <a:ext cx="447" cy="298"/>
              </a:xfrm>
              <a:custGeom>
                <a:avLst/>
                <a:gdLst>
                  <a:gd name="connsiteX0" fmla="*/ 0 w 4281"/>
                  <a:gd name="connsiteY0" fmla="*/ 1098 h 2854"/>
                  <a:gd name="connsiteX1" fmla="*/ 2634 w 4281"/>
                  <a:gd name="connsiteY1" fmla="*/ 0 h 2854"/>
                  <a:gd name="connsiteX2" fmla="*/ 4281 w 4281"/>
                  <a:gd name="connsiteY2" fmla="*/ 2552 h 2854"/>
                  <a:gd name="connsiteX3" fmla="*/ 1345 w 4281"/>
                  <a:gd name="connsiteY3" fmla="*/ 2854 h 2854"/>
                  <a:gd name="connsiteX4" fmla="*/ 0 w 4281"/>
                  <a:gd name="connsiteY4" fmla="*/ 1098 h 2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2854">
                    <a:moveTo>
                      <a:pt x="0" y="1098"/>
                    </a:moveTo>
                    <a:lnTo>
                      <a:pt x="2634" y="0"/>
                    </a:lnTo>
                    <a:lnTo>
                      <a:pt x="4281" y="2552"/>
                    </a:lnTo>
                    <a:lnTo>
                      <a:pt x="1345" y="2854"/>
                    </a:lnTo>
                    <a:lnTo>
                      <a:pt x="0" y="10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8" name="Freeform: Shape 4047">
                <a:extLst>
                  <a:ext uri="{FF2B5EF4-FFF2-40B4-BE49-F238E27FC236}">
                    <a16:creationId xmlns:a16="http://schemas.microsoft.com/office/drawing/2014/main" id="{CADEF19F-B1E9-055E-AFDC-A6334A522D3F}"/>
                  </a:ext>
                </a:extLst>
              </p:cNvPr>
              <p:cNvSpPr/>
              <p:nvPr/>
            </p:nvSpPr>
            <p:spPr>
              <a:xfrm>
                <a:off x="1746932" y="3807495"/>
                <a:ext cx="372" cy="338"/>
              </a:xfrm>
              <a:custGeom>
                <a:avLst/>
                <a:gdLst>
                  <a:gd name="connsiteX0" fmla="*/ 27 w 3567"/>
                  <a:gd name="connsiteY0" fmla="*/ 2058 h 3238"/>
                  <a:gd name="connsiteX1" fmla="*/ 686 w 3567"/>
                  <a:gd name="connsiteY1" fmla="*/ 659 h 3238"/>
                  <a:gd name="connsiteX2" fmla="*/ 2772 w 3567"/>
                  <a:gd name="connsiteY2" fmla="*/ 0 h 3238"/>
                  <a:gd name="connsiteX3" fmla="*/ 3568 w 3567"/>
                  <a:gd name="connsiteY3" fmla="*/ 2607 h 3238"/>
                  <a:gd name="connsiteX4" fmla="*/ 2442 w 3567"/>
                  <a:gd name="connsiteY4" fmla="*/ 3238 h 3238"/>
                  <a:gd name="connsiteX5" fmla="*/ 0 w 3567"/>
                  <a:gd name="connsiteY5" fmla="*/ 2058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3238">
                    <a:moveTo>
                      <a:pt x="27" y="2058"/>
                    </a:moveTo>
                    <a:lnTo>
                      <a:pt x="686" y="659"/>
                    </a:lnTo>
                    <a:lnTo>
                      <a:pt x="2772" y="0"/>
                    </a:lnTo>
                    <a:lnTo>
                      <a:pt x="3568" y="2607"/>
                    </a:lnTo>
                    <a:lnTo>
                      <a:pt x="2442" y="3238"/>
                    </a:lnTo>
                    <a:lnTo>
                      <a:pt x="0"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9" name="Freeform: Shape 4048">
                <a:extLst>
                  <a:ext uri="{FF2B5EF4-FFF2-40B4-BE49-F238E27FC236}">
                    <a16:creationId xmlns:a16="http://schemas.microsoft.com/office/drawing/2014/main" id="{E4DE4085-4AE2-0810-DCC5-73D063733B3C}"/>
                  </a:ext>
                </a:extLst>
              </p:cNvPr>
              <p:cNvSpPr/>
              <p:nvPr/>
            </p:nvSpPr>
            <p:spPr>
              <a:xfrm>
                <a:off x="1739295" y="3806954"/>
                <a:ext cx="315" cy="398"/>
              </a:xfrm>
              <a:custGeom>
                <a:avLst/>
                <a:gdLst>
                  <a:gd name="connsiteX0" fmla="*/ 0 w 3018"/>
                  <a:gd name="connsiteY0" fmla="*/ 1537 h 3814"/>
                  <a:gd name="connsiteX1" fmla="*/ 1591 w 3018"/>
                  <a:gd name="connsiteY1" fmla="*/ 0 h 3814"/>
                  <a:gd name="connsiteX2" fmla="*/ 3018 w 3018"/>
                  <a:gd name="connsiteY2" fmla="*/ 2031 h 3814"/>
                  <a:gd name="connsiteX3" fmla="*/ 2963 w 3018"/>
                  <a:gd name="connsiteY3" fmla="*/ 3815 h 3814"/>
                  <a:gd name="connsiteX4" fmla="*/ 850 w 3018"/>
                  <a:gd name="connsiteY4" fmla="*/ 3348 h 3814"/>
                  <a:gd name="connsiteX5" fmla="*/ 27 w 3018"/>
                  <a:gd name="connsiteY5" fmla="*/ 1509 h 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 h="3814">
                    <a:moveTo>
                      <a:pt x="0" y="1537"/>
                    </a:moveTo>
                    <a:lnTo>
                      <a:pt x="1591" y="0"/>
                    </a:lnTo>
                    <a:lnTo>
                      <a:pt x="3018" y="2031"/>
                    </a:lnTo>
                    <a:lnTo>
                      <a:pt x="2963" y="3815"/>
                    </a:lnTo>
                    <a:lnTo>
                      <a:pt x="850" y="3348"/>
                    </a:lnTo>
                    <a:lnTo>
                      <a:pt x="27" y="15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0" name="Freeform: Shape 4049">
                <a:extLst>
                  <a:ext uri="{FF2B5EF4-FFF2-40B4-BE49-F238E27FC236}">
                    <a16:creationId xmlns:a16="http://schemas.microsoft.com/office/drawing/2014/main" id="{639098FE-84E5-A281-9290-1157FF548186}"/>
                  </a:ext>
                </a:extLst>
              </p:cNvPr>
              <p:cNvSpPr/>
              <p:nvPr/>
            </p:nvSpPr>
            <p:spPr>
              <a:xfrm>
                <a:off x="1728590" y="3822774"/>
                <a:ext cx="449" cy="275"/>
              </a:xfrm>
              <a:custGeom>
                <a:avLst/>
                <a:gdLst>
                  <a:gd name="connsiteX0" fmla="*/ 0 w 4308"/>
                  <a:gd name="connsiteY0" fmla="*/ 905 h 2634"/>
                  <a:gd name="connsiteX1" fmla="*/ 4309 w 4308"/>
                  <a:gd name="connsiteY1" fmla="*/ 0 h 2634"/>
                  <a:gd name="connsiteX2" fmla="*/ 3485 w 4308"/>
                  <a:gd name="connsiteY2" fmla="*/ 2634 h 2634"/>
                  <a:gd name="connsiteX3" fmla="*/ 330 w 4308"/>
                  <a:gd name="connsiteY3" fmla="*/ 2058 h 2634"/>
                  <a:gd name="connsiteX4" fmla="*/ 0 w 4308"/>
                  <a:gd name="connsiteY4" fmla="*/ 905 h 2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2634">
                    <a:moveTo>
                      <a:pt x="0" y="905"/>
                    </a:moveTo>
                    <a:lnTo>
                      <a:pt x="4309" y="0"/>
                    </a:lnTo>
                    <a:lnTo>
                      <a:pt x="3485" y="2634"/>
                    </a:lnTo>
                    <a:lnTo>
                      <a:pt x="330" y="2058"/>
                    </a:lnTo>
                    <a:lnTo>
                      <a:pt x="0"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1" name="Freeform: Shape 4050">
                <a:extLst>
                  <a:ext uri="{FF2B5EF4-FFF2-40B4-BE49-F238E27FC236}">
                    <a16:creationId xmlns:a16="http://schemas.microsoft.com/office/drawing/2014/main" id="{A2535136-E687-76C3-BF42-A2ABC81A250B}"/>
                  </a:ext>
                </a:extLst>
              </p:cNvPr>
              <p:cNvSpPr/>
              <p:nvPr/>
            </p:nvSpPr>
            <p:spPr>
              <a:xfrm>
                <a:off x="1735050" y="3824875"/>
                <a:ext cx="280" cy="441"/>
              </a:xfrm>
              <a:custGeom>
                <a:avLst/>
                <a:gdLst>
                  <a:gd name="connsiteX0" fmla="*/ 0 w 2689"/>
                  <a:gd name="connsiteY0" fmla="*/ 3238 h 4226"/>
                  <a:gd name="connsiteX1" fmla="*/ 1152 w 2689"/>
                  <a:gd name="connsiteY1" fmla="*/ 0 h 4226"/>
                  <a:gd name="connsiteX2" fmla="*/ 2689 w 2689"/>
                  <a:gd name="connsiteY2" fmla="*/ 329 h 4226"/>
                  <a:gd name="connsiteX3" fmla="*/ 2113 w 2689"/>
                  <a:gd name="connsiteY3" fmla="*/ 4226 h 4226"/>
                  <a:gd name="connsiteX4" fmla="*/ 0 w 2689"/>
                  <a:gd name="connsiteY4" fmla="*/ 3266 h 4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9" h="4226">
                    <a:moveTo>
                      <a:pt x="0" y="3238"/>
                    </a:moveTo>
                    <a:lnTo>
                      <a:pt x="1152" y="0"/>
                    </a:lnTo>
                    <a:lnTo>
                      <a:pt x="2689" y="329"/>
                    </a:lnTo>
                    <a:lnTo>
                      <a:pt x="2113" y="4226"/>
                    </a:lnTo>
                    <a:lnTo>
                      <a:pt x="0"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2" name="Freeform: Shape 4051">
                <a:extLst>
                  <a:ext uri="{FF2B5EF4-FFF2-40B4-BE49-F238E27FC236}">
                    <a16:creationId xmlns:a16="http://schemas.microsoft.com/office/drawing/2014/main" id="{56953296-6FD5-5B7E-0F7F-E14B98BDBE80}"/>
                  </a:ext>
                </a:extLst>
              </p:cNvPr>
              <p:cNvSpPr/>
              <p:nvPr/>
            </p:nvSpPr>
            <p:spPr>
              <a:xfrm>
                <a:off x="1749780" y="3827715"/>
                <a:ext cx="412" cy="295"/>
              </a:xfrm>
              <a:custGeom>
                <a:avLst/>
                <a:gdLst>
                  <a:gd name="connsiteX0" fmla="*/ 27 w 3951"/>
                  <a:gd name="connsiteY0" fmla="*/ 1948 h 2826"/>
                  <a:gd name="connsiteX1" fmla="*/ 2058 w 3951"/>
                  <a:gd name="connsiteY1" fmla="*/ 0 h 2826"/>
                  <a:gd name="connsiteX2" fmla="*/ 3952 w 3951"/>
                  <a:gd name="connsiteY2" fmla="*/ 384 h 2826"/>
                  <a:gd name="connsiteX3" fmla="*/ 3842 w 3951"/>
                  <a:gd name="connsiteY3" fmla="*/ 2826 h 2826"/>
                  <a:gd name="connsiteX4" fmla="*/ 0 w 3951"/>
                  <a:gd name="connsiteY4" fmla="*/ 1976 h 2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2826">
                    <a:moveTo>
                      <a:pt x="27" y="1948"/>
                    </a:moveTo>
                    <a:lnTo>
                      <a:pt x="2058" y="0"/>
                    </a:lnTo>
                    <a:lnTo>
                      <a:pt x="3952" y="384"/>
                    </a:lnTo>
                    <a:lnTo>
                      <a:pt x="3842" y="2826"/>
                    </a:lnTo>
                    <a:lnTo>
                      <a:pt x="0"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3" name="Freeform: Shape 4052">
                <a:extLst>
                  <a:ext uri="{FF2B5EF4-FFF2-40B4-BE49-F238E27FC236}">
                    <a16:creationId xmlns:a16="http://schemas.microsoft.com/office/drawing/2014/main" id="{4086F315-FE91-7262-16B8-E264DD31DE35}"/>
                  </a:ext>
                </a:extLst>
              </p:cNvPr>
              <p:cNvSpPr/>
              <p:nvPr/>
            </p:nvSpPr>
            <p:spPr>
              <a:xfrm>
                <a:off x="1733284" y="3826218"/>
                <a:ext cx="378" cy="321"/>
              </a:xfrm>
              <a:custGeom>
                <a:avLst/>
                <a:gdLst>
                  <a:gd name="connsiteX0" fmla="*/ 0 w 3621"/>
                  <a:gd name="connsiteY0" fmla="*/ 1921 h 3073"/>
                  <a:gd name="connsiteX1" fmla="*/ 1207 w 3621"/>
                  <a:gd name="connsiteY1" fmla="*/ 0 h 3073"/>
                  <a:gd name="connsiteX2" fmla="*/ 2908 w 3621"/>
                  <a:gd name="connsiteY2" fmla="*/ 192 h 3073"/>
                  <a:gd name="connsiteX3" fmla="*/ 3622 w 3621"/>
                  <a:gd name="connsiteY3" fmla="*/ 2058 h 3073"/>
                  <a:gd name="connsiteX4" fmla="*/ 1345 w 3621"/>
                  <a:gd name="connsiteY4" fmla="*/ 3074 h 3073"/>
                  <a:gd name="connsiteX5" fmla="*/ 0 w 3621"/>
                  <a:gd name="connsiteY5" fmla="*/ 1949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1" h="3073">
                    <a:moveTo>
                      <a:pt x="0" y="1921"/>
                    </a:moveTo>
                    <a:lnTo>
                      <a:pt x="1207" y="0"/>
                    </a:lnTo>
                    <a:lnTo>
                      <a:pt x="2908" y="192"/>
                    </a:lnTo>
                    <a:lnTo>
                      <a:pt x="3622" y="2058"/>
                    </a:lnTo>
                    <a:lnTo>
                      <a:pt x="1345" y="3074"/>
                    </a:lnTo>
                    <a:lnTo>
                      <a:pt x="0" y="19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4" name="Freeform: Shape 4053">
                <a:extLst>
                  <a:ext uri="{FF2B5EF4-FFF2-40B4-BE49-F238E27FC236}">
                    <a16:creationId xmlns:a16="http://schemas.microsoft.com/office/drawing/2014/main" id="{141FCBA3-B619-A9CC-A0A3-AFD93D4E1B1C}"/>
                  </a:ext>
                </a:extLst>
              </p:cNvPr>
              <p:cNvSpPr/>
              <p:nvPr/>
            </p:nvSpPr>
            <p:spPr>
              <a:xfrm>
                <a:off x="1750810" y="3810984"/>
                <a:ext cx="306" cy="372"/>
              </a:xfrm>
              <a:custGeom>
                <a:avLst/>
                <a:gdLst>
                  <a:gd name="connsiteX0" fmla="*/ 2168 w 2935"/>
                  <a:gd name="connsiteY0" fmla="*/ 3568 h 3567"/>
                  <a:gd name="connsiteX1" fmla="*/ 549 w 2935"/>
                  <a:gd name="connsiteY1" fmla="*/ 3293 h 3567"/>
                  <a:gd name="connsiteX2" fmla="*/ 0 w 2935"/>
                  <a:gd name="connsiteY2" fmla="*/ 1647 h 3567"/>
                  <a:gd name="connsiteX3" fmla="*/ 1866 w 2935"/>
                  <a:gd name="connsiteY3" fmla="*/ 0 h 3567"/>
                  <a:gd name="connsiteX4" fmla="*/ 2936 w 2935"/>
                  <a:gd name="connsiteY4" fmla="*/ 796 h 3567"/>
                  <a:gd name="connsiteX5" fmla="*/ 2141 w 2935"/>
                  <a:gd name="connsiteY5" fmla="*/ 3540 h 3567"/>
                  <a:gd name="connsiteX6" fmla="*/ 2141 w 2935"/>
                  <a:gd name="connsiteY6" fmla="*/ 3540 h 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5" h="3567">
                    <a:moveTo>
                      <a:pt x="2168" y="3568"/>
                    </a:moveTo>
                    <a:lnTo>
                      <a:pt x="549" y="3293"/>
                    </a:lnTo>
                    <a:lnTo>
                      <a:pt x="0" y="1647"/>
                    </a:lnTo>
                    <a:lnTo>
                      <a:pt x="1866" y="0"/>
                    </a:lnTo>
                    <a:lnTo>
                      <a:pt x="2936" y="796"/>
                    </a:lnTo>
                    <a:lnTo>
                      <a:pt x="2141" y="3540"/>
                    </a:lnTo>
                    <a:lnTo>
                      <a:pt x="2141"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5" name="Freeform: Shape 4054">
                <a:extLst>
                  <a:ext uri="{FF2B5EF4-FFF2-40B4-BE49-F238E27FC236}">
                    <a16:creationId xmlns:a16="http://schemas.microsoft.com/office/drawing/2014/main" id="{0CA02592-EA77-7823-0229-A30EEFC81D4D}"/>
                  </a:ext>
                </a:extLst>
              </p:cNvPr>
              <p:cNvSpPr/>
              <p:nvPr/>
            </p:nvSpPr>
            <p:spPr>
              <a:xfrm>
                <a:off x="1736939" y="3826418"/>
                <a:ext cx="404" cy="295"/>
              </a:xfrm>
              <a:custGeom>
                <a:avLst/>
                <a:gdLst>
                  <a:gd name="connsiteX0" fmla="*/ 0 w 3869"/>
                  <a:gd name="connsiteY0" fmla="*/ 1811 h 2826"/>
                  <a:gd name="connsiteX1" fmla="*/ 494 w 3869"/>
                  <a:gd name="connsiteY1" fmla="*/ 357 h 2826"/>
                  <a:gd name="connsiteX2" fmla="*/ 3266 w 3869"/>
                  <a:gd name="connsiteY2" fmla="*/ 0 h 2826"/>
                  <a:gd name="connsiteX3" fmla="*/ 3869 w 3869"/>
                  <a:gd name="connsiteY3" fmla="*/ 1619 h 2826"/>
                  <a:gd name="connsiteX4" fmla="*/ 576 w 3869"/>
                  <a:gd name="connsiteY4" fmla="*/ 2827 h 2826"/>
                  <a:gd name="connsiteX5" fmla="*/ 27 w 3869"/>
                  <a:gd name="connsiteY5" fmla="*/ 1811 h 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9" h="2826">
                    <a:moveTo>
                      <a:pt x="0" y="1811"/>
                    </a:moveTo>
                    <a:lnTo>
                      <a:pt x="494" y="357"/>
                    </a:lnTo>
                    <a:lnTo>
                      <a:pt x="3266" y="0"/>
                    </a:lnTo>
                    <a:lnTo>
                      <a:pt x="3869" y="1619"/>
                    </a:lnTo>
                    <a:lnTo>
                      <a:pt x="576" y="2827"/>
                    </a:lnTo>
                    <a:lnTo>
                      <a:pt x="27"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6" name="Freeform: Shape 4055">
                <a:extLst>
                  <a:ext uri="{FF2B5EF4-FFF2-40B4-BE49-F238E27FC236}">
                    <a16:creationId xmlns:a16="http://schemas.microsoft.com/office/drawing/2014/main" id="{D281E760-8EA9-2DC6-5CCD-E843CB871CD0}"/>
                  </a:ext>
                </a:extLst>
              </p:cNvPr>
              <p:cNvSpPr/>
              <p:nvPr/>
            </p:nvSpPr>
            <p:spPr>
              <a:xfrm>
                <a:off x="1752731" y="3823215"/>
                <a:ext cx="300" cy="363"/>
              </a:xfrm>
              <a:custGeom>
                <a:avLst/>
                <a:gdLst>
                  <a:gd name="connsiteX0" fmla="*/ 0 w 2881"/>
                  <a:gd name="connsiteY0" fmla="*/ 1949 h 3485"/>
                  <a:gd name="connsiteX1" fmla="*/ 1015 w 2881"/>
                  <a:gd name="connsiteY1" fmla="*/ 0 h 3485"/>
                  <a:gd name="connsiteX2" fmla="*/ 2607 w 2881"/>
                  <a:gd name="connsiteY2" fmla="*/ 1015 h 3485"/>
                  <a:gd name="connsiteX3" fmla="*/ 2882 w 2881"/>
                  <a:gd name="connsiteY3" fmla="*/ 3430 h 3485"/>
                  <a:gd name="connsiteX4" fmla="*/ 741 w 2881"/>
                  <a:gd name="connsiteY4" fmla="*/ 3485 h 3485"/>
                  <a:gd name="connsiteX5" fmla="*/ 27 w 2881"/>
                  <a:gd name="connsiteY5" fmla="*/ 1949 h 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 h="3485">
                    <a:moveTo>
                      <a:pt x="0" y="1949"/>
                    </a:moveTo>
                    <a:lnTo>
                      <a:pt x="1015" y="0"/>
                    </a:lnTo>
                    <a:lnTo>
                      <a:pt x="2607" y="1015"/>
                    </a:lnTo>
                    <a:lnTo>
                      <a:pt x="2882" y="3430"/>
                    </a:lnTo>
                    <a:lnTo>
                      <a:pt x="741" y="3485"/>
                    </a:lnTo>
                    <a:lnTo>
                      <a:pt x="27" y="19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7" name="Freeform: Shape 4056">
                <a:extLst>
                  <a:ext uri="{FF2B5EF4-FFF2-40B4-BE49-F238E27FC236}">
                    <a16:creationId xmlns:a16="http://schemas.microsoft.com/office/drawing/2014/main" id="{67AAD599-CA03-466E-6820-A47CD773CCF7}"/>
                  </a:ext>
                </a:extLst>
              </p:cNvPr>
              <p:cNvSpPr/>
              <p:nvPr/>
            </p:nvSpPr>
            <p:spPr>
              <a:xfrm>
                <a:off x="1731787" y="3829601"/>
                <a:ext cx="249" cy="424"/>
              </a:xfrm>
              <a:custGeom>
                <a:avLst/>
                <a:gdLst>
                  <a:gd name="connsiteX0" fmla="*/ 0 w 2387"/>
                  <a:gd name="connsiteY0" fmla="*/ 3129 h 4061"/>
                  <a:gd name="connsiteX1" fmla="*/ 356 w 2387"/>
                  <a:gd name="connsiteY1" fmla="*/ 219 h 4061"/>
                  <a:gd name="connsiteX2" fmla="*/ 2058 w 2387"/>
                  <a:gd name="connsiteY2" fmla="*/ 0 h 4061"/>
                  <a:gd name="connsiteX3" fmla="*/ 2387 w 2387"/>
                  <a:gd name="connsiteY3" fmla="*/ 4062 h 4061"/>
                  <a:gd name="connsiteX4" fmla="*/ 27 w 2387"/>
                  <a:gd name="connsiteY4" fmla="*/ 3129 h 4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7" h="4061">
                    <a:moveTo>
                      <a:pt x="0" y="3129"/>
                    </a:moveTo>
                    <a:lnTo>
                      <a:pt x="356" y="219"/>
                    </a:lnTo>
                    <a:lnTo>
                      <a:pt x="2058" y="0"/>
                    </a:lnTo>
                    <a:lnTo>
                      <a:pt x="2387" y="4062"/>
                    </a:lnTo>
                    <a:lnTo>
                      <a:pt x="27" y="31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8" name="Freeform: Shape 4057">
                <a:extLst>
                  <a:ext uri="{FF2B5EF4-FFF2-40B4-BE49-F238E27FC236}">
                    <a16:creationId xmlns:a16="http://schemas.microsoft.com/office/drawing/2014/main" id="{CDB8BDA0-B712-7762-5B40-64BCCAD1DDF8}"/>
                  </a:ext>
                </a:extLst>
              </p:cNvPr>
              <p:cNvSpPr/>
              <p:nvPr/>
            </p:nvSpPr>
            <p:spPr>
              <a:xfrm>
                <a:off x="1735880" y="3808909"/>
                <a:ext cx="280" cy="343"/>
              </a:xfrm>
              <a:custGeom>
                <a:avLst/>
                <a:gdLst>
                  <a:gd name="connsiteX0" fmla="*/ 2689 w 2689"/>
                  <a:gd name="connsiteY0" fmla="*/ 2223 h 3293"/>
                  <a:gd name="connsiteX1" fmla="*/ 1619 w 2689"/>
                  <a:gd name="connsiteY1" fmla="*/ 3293 h 3293"/>
                  <a:gd name="connsiteX2" fmla="*/ 549 w 2689"/>
                  <a:gd name="connsiteY2" fmla="*/ 3293 h 3293"/>
                  <a:gd name="connsiteX3" fmla="*/ 0 w 2689"/>
                  <a:gd name="connsiteY3" fmla="*/ 577 h 3293"/>
                  <a:gd name="connsiteX4" fmla="*/ 1619 w 2689"/>
                  <a:gd name="connsiteY4" fmla="*/ 0 h 3293"/>
                  <a:gd name="connsiteX5" fmla="*/ 2689 w 2689"/>
                  <a:gd name="connsiteY5" fmla="*/ 577 h 3293"/>
                  <a:gd name="connsiteX6" fmla="*/ 2689 w 2689"/>
                  <a:gd name="connsiteY6" fmla="*/ 2223 h 3293"/>
                  <a:gd name="connsiteX7" fmla="*/ 2689 w 2689"/>
                  <a:gd name="connsiteY7" fmla="*/ 2223 h 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9" h="3293">
                    <a:moveTo>
                      <a:pt x="2689" y="2223"/>
                    </a:moveTo>
                    <a:lnTo>
                      <a:pt x="1619" y="3293"/>
                    </a:lnTo>
                    <a:lnTo>
                      <a:pt x="549" y="3293"/>
                    </a:lnTo>
                    <a:lnTo>
                      <a:pt x="0" y="577"/>
                    </a:lnTo>
                    <a:lnTo>
                      <a:pt x="1619" y="0"/>
                    </a:lnTo>
                    <a:lnTo>
                      <a:pt x="2689" y="577"/>
                    </a:lnTo>
                    <a:lnTo>
                      <a:pt x="2689" y="2223"/>
                    </a:lnTo>
                    <a:lnTo>
                      <a:pt x="2689"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9" name="Freeform: Shape 4058">
                <a:extLst>
                  <a:ext uri="{FF2B5EF4-FFF2-40B4-BE49-F238E27FC236}">
                    <a16:creationId xmlns:a16="http://schemas.microsoft.com/office/drawing/2014/main" id="{C42444C7-0F51-B105-FE65-FB9B642DA4AE}"/>
                  </a:ext>
                </a:extLst>
              </p:cNvPr>
              <p:cNvSpPr/>
              <p:nvPr/>
            </p:nvSpPr>
            <p:spPr>
              <a:xfrm>
                <a:off x="1736530" y="3810853"/>
                <a:ext cx="315" cy="318"/>
              </a:xfrm>
              <a:custGeom>
                <a:avLst/>
                <a:gdLst>
                  <a:gd name="connsiteX0" fmla="*/ 0 w 3018"/>
                  <a:gd name="connsiteY0" fmla="*/ 1756 h 3046"/>
                  <a:gd name="connsiteX1" fmla="*/ 631 w 3018"/>
                  <a:gd name="connsiteY1" fmla="*/ 219 h 3046"/>
                  <a:gd name="connsiteX2" fmla="*/ 2717 w 3018"/>
                  <a:gd name="connsiteY2" fmla="*/ 0 h 3046"/>
                  <a:gd name="connsiteX3" fmla="*/ 3019 w 3018"/>
                  <a:gd name="connsiteY3" fmla="*/ 2689 h 3046"/>
                  <a:gd name="connsiteX4" fmla="*/ 851 w 3018"/>
                  <a:gd name="connsiteY4" fmla="*/ 3046 h 3046"/>
                  <a:gd name="connsiteX5" fmla="*/ 0 w 3018"/>
                  <a:gd name="connsiteY5" fmla="*/ 1756 h 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 h="3046">
                    <a:moveTo>
                      <a:pt x="0" y="1756"/>
                    </a:moveTo>
                    <a:lnTo>
                      <a:pt x="631" y="219"/>
                    </a:lnTo>
                    <a:lnTo>
                      <a:pt x="2717" y="0"/>
                    </a:lnTo>
                    <a:lnTo>
                      <a:pt x="3019" y="2689"/>
                    </a:lnTo>
                    <a:lnTo>
                      <a:pt x="851" y="3046"/>
                    </a:lnTo>
                    <a:lnTo>
                      <a:pt x="0"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0" name="Freeform: Shape 4059">
                <a:extLst>
                  <a:ext uri="{FF2B5EF4-FFF2-40B4-BE49-F238E27FC236}">
                    <a16:creationId xmlns:a16="http://schemas.microsoft.com/office/drawing/2014/main" id="{ECC54C88-6385-C2BF-F3B0-0A4D9A70873D}"/>
                  </a:ext>
                </a:extLst>
              </p:cNvPr>
              <p:cNvSpPr/>
              <p:nvPr/>
            </p:nvSpPr>
            <p:spPr>
              <a:xfrm>
                <a:off x="1751048" y="3811285"/>
                <a:ext cx="300" cy="200"/>
              </a:xfrm>
              <a:custGeom>
                <a:avLst/>
                <a:gdLst>
                  <a:gd name="connsiteX0" fmla="*/ 0 w 2881"/>
                  <a:gd name="connsiteY0" fmla="*/ 631 h 1920"/>
                  <a:gd name="connsiteX1" fmla="*/ 2223 w 2881"/>
                  <a:gd name="connsiteY1" fmla="*/ 0 h 1920"/>
                  <a:gd name="connsiteX2" fmla="*/ 2882 w 2881"/>
                  <a:gd name="connsiteY2" fmla="*/ 1647 h 1920"/>
                  <a:gd name="connsiteX3" fmla="*/ 988 w 2881"/>
                  <a:gd name="connsiteY3" fmla="*/ 1921 h 1920"/>
                  <a:gd name="connsiteX4" fmla="*/ 0 w 2881"/>
                  <a:gd name="connsiteY4" fmla="*/ 659 h 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1" h="1920">
                    <a:moveTo>
                      <a:pt x="0" y="631"/>
                    </a:moveTo>
                    <a:lnTo>
                      <a:pt x="2223" y="0"/>
                    </a:lnTo>
                    <a:lnTo>
                      <a:pt x="2882" y="1647"/>
                    </a:lnTo>
                    <a:lnTo>
                      <a:pt x="988" y="1921"/>
                    </a:lnTo>
                    <a:lnTo>
                      <a:pt x="0" y="6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1" name="Freeform: Shape 4060">
                <a:extLst>
                  <a:ext uri="{FF2B5EF4-FFF2-40B4-BE49-F238E27FC236}">
                    <a16:creationId xmlns:a16="http://schemas.microsoft.com/office/drawing/2014/main" id="{5107B0E0-7996-6F9C-85F6-6FE00E776A3F}"/>
                  </a:ext>
                </a:extLst>
              </p:cNvPr>
              <p:cNvSpPr/>
              <p:nvPr/>
            </p:nvSpPr>
            <p:spPr>
              <a:xfrm>
                <a:off x="1736187" y="3826756"/>
                <a:ext cx="172" cy="200"/>
              </a:xfrm>
              <a:custGeom>
                <a:avLst/>
                <a:gdLst>
                  <a:gd name="connsiteX0" fmla="*/ 275 w 1646"/>
                  <a:gd name="connsiteY0" fmla="*/ 1921 h 1921"/>
                  <a:gd name="connsiteX1" fmla="*/ 0 w 1646"/>
                  <a:gd name="connsiteY1" fmla="*/ 1345 h 1921"/>
                  <a:gd name="connsiteX2" fmla="*/ 549 w 1646"/>
                  <a:gd name="connsiteY2" fmla="*/ 275 h 1921"/>
                  <a:gd name="connsiteX3" fmla="*/ 1098 w 1646"/>
                  <a:gd name="connsiteY3" fmla="*/ 0 h 1921"/>
                  <a:gd name="connsiteX4" fmla="*/ 1647 w 1646"/>
                  <a:gd name="connsiteY4" fmla="*/ 275 h 1921"/>
                  <a:gd name="connsiteX5" fmla="*/ 1647 w 1646"/>
                  <a:gd name="connsiteY5" fmla="*/ 1619 h 1921"/>
                  <a:gd name="connsiteX6" fmla="*/ 851 w 1646"/>
                  <a:gd name="connsiteY6" fmla="*/ 1921 h 1921"/>
                  <a:gd name="connsiteX7" fmla="*/ 302 w 1646"/>
                  <a:gd name="connsiteY7" fmla="*/ 1921 h 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 h="1921">
                    <a:moveTo>
                      <a:pt x="275" y="1921"/>
                    </a:moveTo>
                    <a:lnTo>
                      <a:pt x="0" y="1345"/>
                    </a:lnTo>
                    <a:lnTo>
                      <a:pt x="549" y="275"/>
                    </a:lnTo>
                    <a:lnTo>
                      <a:pt x="1098" y="0"/>
                    </a:lnTo>
                    <a:lnTo>
                      <a:pt x="1647" y="275"/>
                    </a:lnTo>
                    <a:lnTo>
                      <a:pt x="1647" y="1619"/>
                    </a:lnTo>
                    <a:lnTo>
                      <a:pt x="851" y="1921"/>
                    </a:lnTo>
                    <a:lnTo>
                      <a:pt x="302" y="19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2" name="Freeform: Shape 4061">
                <a:extLst>
                  <a:ext uri="{FF2B5EF4-FFF2-40B4-BE49-F238E27FC236}">
                    <a16:creationId xmlns:a16="http://schemas.microsoft.com/office/drawing/2014/main" id="{B3B85CFC-6FB6-2286-47AB-09F0764FB51D}"/>
                  </a:ext>
                </a:extLst>
              </p:cNvPr>
              <p:cNvSpPr/>
              <p:nvPr/>
            </p:nvSpPr>
            <p:spPr>
              <a:xfrm>
                <a:off x="1736021" y="3826896"/>
                <a:ext cx="223" cy="175"/>
              </a:xfrm>
              <a:custGeom>
                <a:avLst/>
                <a:gdLst>
                  <a:gd name="connsiteX0" fmla="*/ 1098 w 2140"/>
                  <a:gd name="connsiteY0" fmla="*/ 27 h 1674"/>
                  <a:gd name="connsiteX1" fmla="*/ 1867 w 2140"/>
                  <a:gd name="connsiteY1" fmla="*/ 604 h 1674"/>
                  <a:gd name="connsiteX2" fmla="*/ 2141 w 2140"/>
                  <a:gd name="connsiteY2" fmla="*/ 878 h 1674"/>
                  <a:gd name="connsiteX3" fmla="*/ 1098 w 2140"/>
                  <a:gd name="connsiteY3" fmla="*/ 1674 h 1674"/>
                  <a:gd name="connsiteX4" fmla="*/ 549 w 2140"/>
                  <a:gd name="connsiteY4" fmla="*/ 1400 h 1674"/>
                  <a:gd name="connsiteX5" fmla="*/ 275 w 2140"/>
                  <a:gd name="connsiteY5" fmla="*/ 1125 h 1674"/>
                  <a:gd name="connsiteX6" fmla="*/ 0 w 2140"/>
                  <a:gd name="connsiteY6" fmla="*/ 851 h 1674"/>
                  <a:gd name="connsiteX7" fmla="*/ 275 w 2140"/>
                  <a:gd name="connsiteY7" fmla="*/ 577 h 1674"/>
                  <a:gd name="connsiteX8" fmla="*/ 275 w 2140"/>
                  <a:gd name="connsiteY8" fmla="*/ 275 h 1674"/>
                  <a:gd name="connsiteX9" fmla="*/ 549 w 2140"/>
                  <a:gd name="connsiteY9" fmla="*/ 275 h 1674"/>
                  <a:gd name="connsiteX10" fmla="*/ 1098 w 2140"/>
                  <a:gd name="connsiteY10" fmla="*/ 0 h 1674"/>
                  <a:gd name="connsiteX11" fmla="*/ 1098 w 2140"/>
                  <a:gd name="connsiteY11" fmla="*/ 0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0" h="1674">
                    <a:moveTo>
                      <a:pt x="1098" y="27"/>
                    </a:moveTo>
                    <a:lnTo>
                      <a:pt x="1867" y="604"/>
                    </a:lnTo>
                    <a:lnTo>
                      <a:pt x="2141" y="878"/>
                    </a:lnTo>
                    <a:lnTo>
                      <a:pt x="1098" y="1674"/>
                    </a:lnTo>
                    <a:lnTo>
                      <a:pt x="549" y="1400"/>
                    </a:lnTo>
                    <a:lnTo>
                      <a:pt x="275" y="1125"/>
                    </a:lnTo>
                    <a:lnTo>
                      <a:pt x="0" y="851"/>
                    </a:lnTo>
                    <a:lnTo>
                      <a:pt x="275" y="577"/>
                    </a:lnTo>
                    <a:lnTo>
                      <a:pt x="275" y="275"/>
                    </a:lnTo>
                    <a:lnTo>
                      <a:pt x="549" y="275"/>
                    </a:lnTo>
                    <a:lnTo>
                      <a:pt x="1098" y="0"/>
                    </a:lnTo>
                    <a:lnTo>
                      <a:pt x="109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3" name="Freeform: Shape 4062">
                <a:extLst>
                  <a:ext uri="{FF2B5EF4-FFF2-40B4-BE49-F238E27FC236}">
                    <a16:creationId xmlns:a16="http://schemas.microsoft.com/office/drawing/2014/main" id="{0F223E5E-6F1C-7223-DCB3-E2CFCA03660F}"/>
                  </a:ext>
                </a:extLst>
              </p:cNvPr>
              <p:cNvSpPr/>
              <p:nvPr/>
            </p:nvSpPr>
            <p:spPr>
              <a:xfrm>
                <a:off x="1739149" y="3780672"/>
                <a:ext cx="155" cy="192"/>
              </a:xfrm>
              <a:custGeom>
                <a:avLst/>
                <a:gdLst>
                  <a:gd name="connsiteX0" fmla="*/ 0 w 1482"/>
                  <a:gd name="connsiteY0" fmla="*/ 768 h 1838"/>
                  <a:gd name="connsiteX1" fmla="*/ 329 w 1482"/>
                  <a:gd name="connsiteY1" fmla="*/ 0 h 1838"/>
                  <a:gd name="connsiteX2" fmla="*/ 1262 w 1482"/>
                  <a:gd name="connsiteY2" fmla="*/ 796 h 1838"/>
                  <a:gd name="connsiteX3" fmla="*/ 1482 w 1482"/>
                  <a:gd name="connsiteY3" fmla="*/ 1839 h 1838"/>
                  <a:gd name="connsiteX4" fmla="*/ 137 w 1482"/>
                  <a:gd name="connsiteY4" fmla="*/ 1839 h 1838"/>
                  <a:gd name="connsiteX5" fmla="*/ 0 w 1482"/>
                  <a:gd name="connsiteY5" fmla="*/ 768 h 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2" h="1838">
                    <a:moveTo>
                      <a:pt x="0" y="768"/>
                    </a:moveTo>
                    <a:lnTo>
                      <a:pt x="329" y="0"/>
                    </a:lnTo>
                    <a:lnTo>
                      <a:pt x="1262" y="796"/>
                    </a:lnTo>
                    <a:lnTo>
                      <a:pt x="1482" y="1839"/>
                    </a:lnTo>
                    <a:lnTo>
                      <a:pt x="137" y="1839"/>
                    </a:lnTo>
                    <a:lnTo>
                      <a:pt x="0" y="7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8" name="Freeform: Shape 4077">
                <a:extLst>
                  <a:ext uri="{FF2B5EF4-FFF2-40B4-BE49-F238E27FC236}">
                    <a16:creationId xmlns:a16="http://schemas.microsoft.com/office/drawing/2014/main" id="{B37FC00D-4E22-ECC6-F52E-C542B18DABB8}"/>
                  </a:ext>
                </a:extLst>
              </p:cNvPr>
              <p:cNvSpPr/>
              <p:nvPr/>
            </p:nvSpPr>
            <p:spPr>
              <a:xfrm>
                <a:off x="1797512" y="3852460"/>
                <a:ext cx="29926" cy="24874"/>
              </a:xfrm>
              <a:custGeom>
                <a:avLst/>
                <a:gdLst>
                  <a:gd name="connsiteX0" fmla="*/ 185487 w 286916"/>
                  <a:gd name="connsiteY0" fmla="*/ 141304 h 238479"/>
                  <a:gd name="connsiteX1" fmla="*/ 194159 w 286916"/>
                  <a:gd name="connsiteY1" fmla="*/ 148027 h 238479"/>
                  <a:gd name="connsiteX2" fmla="*/ 202584 w 286916"/>
                  <a:gd name="connsiteY2" fmla="*/ 156974 h 238479"/>
                  <a:gd name="connsiteX3" fmla="*/ 213068 w 286916"/>
                  <a:gd name="connsiteY3" fmla="*/ 162792 h 238479"/>
                  <a:gd name="connsiteX4" fmla="*/ 216909 w 286916"/>
                  <a:gd name="connsiteY4" fmla="*/ 174647 h 238479"/>
                  <a:gd name="connsiteX5" fmla="*/ 222919 w 286916"/>
                  <a:gd name="connsiteY5" fmla="*/ 181234 h 238479"/>
                  <a:gd name="connsiteX6" fmla="*/ 227584 w 286916"/>
                  <a:gd name="connsiteY6" fmla="*/ 189988 h 238479"/>
                  <a:gd name="connsiteX7" fmla="*/ 233128 w 286916"/>
                  <a:gd name="connsiteY7" fmla="*/ 191799 h 238479"/>
                  <a:gd name="connsiteX8" fmla="*/ 246191 w 286916"/>
                  <a:gd name="connsiteY8" fmla="*/ 191058 h 238479"/>
                  <a:gd name="connsiteX9" fmla="*/ 247453 w 286916"/>
                  <a:gd name="connsiteY9" fmla="*/ 193775 h 238479"/>
                  <a:gd name="connsiteX10" fmla="*/ 245779 w 286916"/>
                  <a:gd name="connsiteY10" fmla="*/ 199620 h 238479"/>
                  <a:gd name="connsiteX11" fmla="*/ 247179 w 286916"/>
                  <a:gd name="connsiteY11" fmla="*/ 203297 h 238479"/>
                  <a:gd name="connsiteX12" fmla="*/ 254177 w 286916"/>
                  <a:gd name="connsiteY12" fmla="*/ 207140 h 238479"/>
                  <a:gd name="connsiteX13" fmla="*/ 267349 w 286916"/>
                  <a:gd name="connsiteY13" fmla="*/ 209225 h 238479"/>
                  <a:gd name="connsiteX14" fmla="*/ 267213 w 286916"/>
                  <a:gd name="connsiteY14" fmla="*/ 211037 h 238479"/>
                  <a:gd name="connsiteX15" fmla="*/ 262547 w 286916"/>
                  <a:gd name="connsiteY15" fmla="*/ 213561 h 238479"/>
                  <a:gd name="connsiteX16" fmla="*/ 262931 w 286916"/>
                  <a:gd name="connsiteY16" fmla="*/ 216223 h 238479"/>
                  <a:gd name="connsiteX17" fmla="*/ 268776 w 286916"/>
                  <a:gd name="connsiteY17" fmla="*/ 221053 h 238479"/>
                  <a:gd name="connsiteX18" fmla="*/ 286395 w 286916"/>
                  <a:gd name="connsiteY18" fmla="*/ 226844 h 238479"/>
                  <a:gd name="connsiteX19" fmla="*/ 286011 w 286916"/>
                  <a:gd name="connsiteY19" fmla="*/ 228463 h 238479"/>
                  <a:gd name="connsiteX20" fmla="*/ 281784 w 286916"/>
                  <a:gd name="connsiteY20" fmla="*/ 230164 h 238479"/>
                  <a:gd name="connsiteX21" fmla="*/ 286916 w 286916"/>
                  <a:gd name="connsiteY21" fmla="*/ 235406 h 238479"/>
                  <a:gd name="connsiteX22" fmla="*/ 273030 w 286916"/>
                  <a:gd name="connsiteY22" fmla="*/ 238480 h 238479"/>
                  <a:gd name="connsiteX23" fmla="*/ 267679 w 286916"/>
                  <a:gd name="connsiteY23" fmla="*/ 235708 h 238479"/>
                  <a:gd name="connsiteX24" fmla="*/ 266444 w 286916"/>
                  <a:gd name="connsiteY24" fmla="*/ 232003 h 238479"/>
                  <a:gd name="connsiteX25" fmla="*/ 260983 w 286916"/>
                  <a:gd name="connsiteY25" fmla="*/ 229807 h 238479"/>
                  <a:gd name="connsiteX26" fmla="*/ 203133 w 286916"/>
                  <a:gd name="connsiteY26" fmla="*/ 220916 h 238479"/>
                  <a:gd name="connsiteX27" fmla="*/ 189795 w 286916"/>
                  <a:gd name="connsiteY27" fmla="*/ 206371 h 238479"/>
                  <a:gd name="connsiteX28" fmla="*/ 181727 w 286916"/>
                  <a:gd name="connsiteY28" fmla="*/ 200965 h 238479"/>
                  <a:gd name="connsiteX29" fmla="*/ 175855 w 286916"/>
                  <a:gd name="connsiteY29" fmla="*/ 192622 h 238479"/>
                  <a:gd name="connsiteX30" fmla="*/ 169598 w 286916"/>
                  <a:gd name="connsiteY30" fmla="*/ 188369 h 238479"/>
                  <a:gd name="connsiteX31" fmla="*/ 166524 w 286916"/>
                  <a:gd name="connsiteY31" fmla="*/ 181398 h 238479"/>
                  <a:gd name="connsiteX32" fmla="*/ 152336 w 286916"/>
                  <a:gd name="connsiteY32" fmla="*/ 162517 h 238479"/>
                  <a:gd name="connsiteX33" fmla="*/ 143335 w 286916"/>
                  <a:gd name="connsiteY33" fmla="*/ 157907 h 238479"/>
                  <a:gd name="connsiteX34" fmla="*/ 122204 w 286916"/>
                  <a:gd name="connsiteY34" fmla="*/ 153626 h 238479"/>
                  <a:gd name="connsiteX35" fmla="*/ 111583 w 286916"/>
                  <a:gd name="connsiteY35" fmla="*/ 148027 h 238479"/>
                  <a:gd name="connsiteX36" fmla="*/ 107000 w 286916"/>
                  <a:gd name="connsiteY36" fmla="*/ 148165 h 238479"/>
                  <a:gd name="connsiteX37" fmla="*/ 103899 w 286916"/>
                  <a:gd name="connsiteY37" fmla="*/ 150113 h 238479"/>
                  <a:gd name="connsiteX38" fmla="*/ 100688 w 286916"/>
                  <a:gd name="connsiteY38" fmla="*/ 150113 h 238479"/>
                  <a:gd name="connsiteX39" fmla="*/ 97916 w 286916"/>
                  <a:gd name="connsiteY39" fmla="*/ 152171 h 238479"/>
                  <a:gd name="connsiteX40" fmla="*/ 93389 w 286916"/>
                  <a:gd name="connsiteY40" fmla="*/ 152089 h 238479"/>
                  <a:gd name="connsiteX41" fmla="*/ 91275 w 286916"/>
                  <a:gd name="connsiteY41" fmla="*/ 153351 h 238479"/>
                  <a:gd name="connsiteX42" fmla="*/ 88284 w 286916"/>
                  <a:gd name="connsiteY42" fmla="*/ 152034 h 238479"/>
                  <a:gd name="connsiteX43" fmla="*/ 88147 w 286916"/>
                  <a:gd name="connsiteY43" fmla="*/ 158346 h 238479"/>
                  <a:gd name="connsiteX44" fmla="*/ 83811 w 286916"/>
                  <a:gd name="connsiteY44" fmla="*/ 161392 h 238479"/>
                  <a:gd name="connsiteX45" fmla="*/ 81451 w 286916"/>
                  <a:gd name="connsiteY45" fmla="*/ 165536 h 238479"/>
                  <a:gd name="connsiteX46" fmla="*/ 61774 w 286916"/>
                  <a:gd name="connsiteY46" fmla="*/ 169433 h 238479"/>
                  <a:gd name="connsiteX47" fmla="*/ 61966 w 286916"/>
                  <a:gd name="connsiteY47" fmla="*/ 170586 h 238479"/>
                  <a:gd name="connsiteX48" fmla="*/ 67647 w 286916"/>
                  <a:gd name="connsiteY48" fmla="*/ 174949 h 238479"/>
                  <a:gd name="connsiteX49" fmla="*/ 73959 w 286916"/>
                  <a:gd name="connsiteY49" fmla="*/ 183182 h 238479"/>
                  <a:gd name="connsiteX50" fmla="*/ 74233 w 286916"/>
                  <a:gd name="connsiteY50" fmla="*/ 188643 h 238479"/>
                  <a:gd name="connsiteX51" fmla="*/ 70776 w 286916"/>
                  <a:gd name="connsiteY51" fmla="*/ 192732 h 238479"/>
                  <a:gd name="connsiteX52" fmla="*/ 65616 w 286916"/>
                  <a:gd name="connsiteY52" fmla="*/ 191854 h 238479"/>
                  <a:gd name="connsiteX53" fmla="*/ 51182 w 286916"/>
                  <a:gd name="connsiteY53" fmla="*/ 198111 h 238479"/>
                  <a:gd name="connsiteX54" fmla="*/ 38805 w 286916"/>
                  <a:gd name="connsiteY54" fmla="*/ 193967 h 238479"/>
                  <a:gd name="connsiteX55" fmla="*/ 23436 w 286916"/>
                  <a:gd name="connsiteY55" fmla="*/ 194982 h 238479"/>
                  <a:gd name="connsiteX56" fmla="*/ 14846 w 286916"/>
                  <a:gd name="connsiteY56" fmla="*/ 193912 h 238479"/>
                  <a:gd name="connsiteX57" fmla="*/ 9304 w 286916"/>
                  <a:gd name="connsiteY57" fmla="*/ 195010 h 238479"/>
                  <a:gd name="connsiteX58" fmla="*/ 4528 w 286916"/>
                  <a:gd name="connsiteY58" fmla="*/ 192924 h 238479"/>
                  <a:gd name="connsiteX59" fmla="*/ 4474 w 286916"/>
                  <a:gd name="connsiteY59" fmla="*/ 128570 h 238479"/>
                  <a:gd name="connsiteX60" fmla="*/ 0 w 286916"/>
                  <a:gd name="connsiteY60" fmla="*/ 121078 h 238479"/>
                  <a:gd name="connsiteX61" fmla="*/ 1784 w 286916"/>
                  <a:gd name="connsiteY61" fmla="*/ 114849 h 238479"/>
                  <a:gd name="connsiteX62" fmla="*/ 3952 w 286916"/>
                  <a:gd name="connsiteY62" fmla="*/ 107110 h 238479"/>
                  <a:gd name="connsiteX63" fmla="*/ 3952 w 286916"/>
                  <a:gd name="connsiteY63" fmla="*/ 34743 h 238479"/>
                  <a:gd name="connsiteX64" fmla="*/ 3952 w 286916"/>
                  <a:gd name="connsiteY64" fmla="*/ 4336 h 238479"/>
                  <a:gd name="connsiteX65" fmla="*/ 3952 w 286916"/>
                  <a:gd name="connsiteY65" fmla="*/ 0 h 238479"/>
                  <a:gd name="connsiteX66" fmla="*/ 12734 w 286916"/>
                  <a:gd name="connsiteY66" fmla="*/ 2196 h 238479"/>
                  <a:gd name="connsiteX67" fmla="*/ 17948 w 286916"/>
                  <a:gd name="connsiteY67" fmla="*/ 4336 h 238479"/>
                  <a:gd name="connsiteX68" fmla="*/ 57548 w 286916"/>
                  <a:gd name="connsiteY68" fmla="*/ 20527 h 238479"/>
                  <a:gd name="connsiteX69" fmla="*/ 76347 w 286916"/>
                  <a:gd name="connsiteY69" fmla="*/ 24561 h 238479"/>
                  <a:gd name="connsiteX70" fmla="*/ 91660 w 286916"/>
                  <a:gd name="connsiteY70" fmla="*/ 34276 h 238479"/>
                  <a:gd name="connsiteX71" fmla="*/ 105381 w 286916"/>
                  <a:gd name="connsiteY71" fmla="*/ 36088 h 238479"/>
                  <a:gd name="connsiteX72" fmla="*/ 108674 w 286916"/>
                  <a:gd name="connsiteY72" fmla="*/ 40094 h 238479"/>
                  <a:gd name="connsiteX73" fmla="*/ 115974 w 286916"/>
                  <a:gd name="connsiteY73" fmla="*/ 44320 h 238479"/>
                  <a:gd name="connsiteX74" fmla="*/ 122835 w 286916"/>
                  <a:gd name="connsiteY74" fmla="*/ 50578 h 238479"/>
                  <a:gd name="connsiteX75" fmla="*/ 134197 w 286916"/>
                  <a:gd name="connsiteY75" fmla="*/ 55682 h 238479"/>
                  <a:gd name="connsiteX76" fmla="*/ 142155 w 286916"/>
                  <a:gd name="connsiteY76" fmla="*/ 63558 h 238479"/>
                  <a:gd name="connsiteX77" fmla="*/ 146106 w 286916"/>
                  <a:gd name="connsiteY77" fmla="*/ 84195 h 238479"/>
                  <a:gd name="connsiteX78" fmla="*/ 163423 w 286916"/>
                  <a:gd name="connsiteY78" fmla="*/ 88696 h 238479"/>
                  <a:gd name="connsiteX79" fmla="*/ 178983 w 286916"/>
                  <a:gd name="connsiteY79" fmla="*/ 96791 h 238479"/>
                  <a:gd name="connsiteX80" fmla="*/ 190646 w 286916"/>
                  <a:gd name="connsiteY80" fmla="*/ 98520 h 238479"/>
                  <a:gd name="connsiteX81" fmla="*/ 196355 w 286916"/>
                  <a:gd name="connsiteY81" fmla="*/ 101621 h 238479"/>
                  <a:gd name="connsiteX82" fmla="*/ 203654 w 286916"/>
                  <a:gd name="connsiteY82" fmla="*/ 110403 h 238479"/>
                  <a:gd name="connsiteX83" fmla="*/ 204368 w 286916"/>
                  <a:gd name="connsiteY83" fmla="*/ 117676 h 238479"/>
                  <a:gd name="connsiteX84" fmla="*/ 199785 w 286916"/>
                  <a:gd name="connsiteY84" fmla="*/ 120612 h 238479"/>
                  <a:gd name="connsiteX85" fmla="*/ 180383 w 286916"/>
                  <a:gd name="connsiteY85" fmla="*/ 123493 h 238479"/>
                  <a:gd name="connsiteX86" fmla="*/ 179999 w 286916"/>
                  <a:gd name="connsiteY86" fmla="*/ 127939 h 238479"/>
                  <a:gd name="connsiteX87" fmla="*/ 185460 w 286916"/>
                  <a:gd name="connsiteY87" fmla="*/ 141304 h 23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86916" h="238479">
                    <a:moveTo>
                      <a:pt x="185487" y="141304"/>
                    </a:moveTo>
                    <a:lnTo>
                      <a:pt x="194159" y="148027"/>
                    </a:lnTo>
                    <a:lnTo>
                      <a:pt x="202584" y="156974"/>
                    </a:lnTo>
                    <a:lnTo>
                      <a:pt x="213068" y="162792"/>
                    </a:lnTo>
                    <a:lnTo>
                      <a:pt x="216909" y="174647"/>
                    </a:lnTo>
                    <a:lnTo>
                      <a:pt x="222919" y="181234"/>
                    </a:lnTo>
                    <a:lnTo>
                      <a:pt x="227584" y="189988"/>
                    </a:lnTo>
                    <a:lnTo>
                      <a:pt x="233128" y="191799"/>
                    </a:lnTo>
                    <a:lnTo>
                      <a:pt x="246191" y="191058"/>
                    </a:lnTo>
                    <a:lnTo>
                      <a:pt x="247453" y="193775"/>
                    </a:lnTo>
                    <a:lnTo>
                      <a:pt x="245779" y="199620"/>
                    </a:lnTo>
                    <a:lnTo>
                      <a:pt x="247179" y="203297"/>
                    </a:lnTo>
                    <a:lnTo>
                      <a:pt x="254177" y="207140"/>
                    </a:lnTo>
                    <a:lnTo>
                      <a:pt x="267349" y="209225"/>
                    </a:lnTo>
                    <a:lnTo>
                      <a:pt x="267213" y="211037"/>
                    </a:lnTo>
                    <a:lnTo>
                      <a:pt x="262547" y="213561"/>
                    </a:lnTo>
                    <a:lnTo>
                      <a:pt x="262931" y="216223"/>
                    </a:lnTo>
                    <a:lnTo>
                      <a:pt x="268776" y="221053"/>
                    </a:lnTo>
                    <a:lnTo>
                      <a:pt x="286395" y="226844"/>
                    </a:lnTo>
                    <a:lnTo>
                      <a:pt x="286011" y="228463"/>
                    </a:lnTo>
                    <a:lnTo>
                      <a:pt x="281784" y="230164"/>
                    </a:lnTo>
                    <a:lnTo>
                      <a:pt x="286916" y="235406"/>
                    </a:lnTo>
                    <a:lnTo>
                      <a:pt x="273030" y="238480"/>
                    </a:lnTo>
                    <a:lnTo>
                      <a:pt x="267679" y="235708"/>
                    </a:lnTo>
                    <a:lnTo>
                      <a:pt x="266444" y="232003"/>
                    </a:lnTo>
                    <a:lnTo>
                      <a:pt x="260983" y="229807"/>
                    </a:lnTo>
                    <a:lnTo>
                      <a:pt x="203133" y="220916"/>
                    </a:lnTo>
                    <a:lnTo>
                      <a:pt x="189795" y="206371"/>
                    </a:lnTo>
                    <a:lnTo>
                      <a:pt x="181727" y="200965"/>
                    </a:lnTo>
                    <a:lnTo>
                      <a:pt x="175855" y="192622"/>
                    </a:lnTo>
                    <a:lnTo>
                      <a:pt x="169598" y="188369"/>
                    </a:lnTo>
                    <a:lnTo>
                      <a:pt x="166524" y="181398"/>
                    </a:lnTo>
                    <a:lnTo>
                      <a:pt x="152336" y="162517"/>
                    </a:lnTo>
                    <a:lnTo>
                      <a:pt x="143335" y="157907"/>
                    </a:lnTo>
                    <a:lnTo>
                      <a:pt x="122204" y="153626"/>
                    </a:lnTo>
                    <a:lnTo>
                      <a:pt x="111583" y="148027"/>
                    </a:lnTo>
                    <a:lnTo>
                      <a:pt x="107000" y="148165"/>
                    </a:lnTo>
                    <a:lnTo>
                      <a:pt x="103899" y="150113"/>
                    </a:lnTo>
                    <a:lnTo>
                      <a:pt x="100688" y="150113"/>
                    </a:lnTo>
                    <a:cubicBezTo>
                      <a:pt x="100688" y="150113"/>
                      <a:pt x="97916" y="152171"/>
                      <a:pt x="97916" y="152171"/>
                    </a:cubicBezTo>
                    <a:lnTo>
                      <a:pt x="93389" y="152089"/>
                    </a:lnTo>
                    <a:lnTo>
                      <a:pt x="91275" y="153351"/>
                    </a:lnTo>
                    <a:lnTo>
                      <a:pt x="88284" y="152034"/>
                    </a:lnTo>
                    <a:lnTo>
                      <a:pt x="88147" y="158346"/>
                    </a:lnTo>
                    <a:lnTo>
                      <a:pt x="83811" y="161392"/>
                    </a:lnTo>
                    <a:lnTo>
                      <a:pt x="81451" y="165536"/>
                    </a:lnTo>
                    <a:lnTo>
                      <a:pt x="61774" y="169433"/>
                    </a:lnTo>
                    <a:lnTo>
                      <a:pt x="61966" y="170586"/>
                    </a:lnTo>
                    <a:lnTo>
                      <a:pt x="67647" y="174949"/>
                    </a:lnTo>
                    <a:lnTo>
                      <a:pt x="73959" y="183182"/>
                    </a:lnTo>
                    <a:lnTo>
                      <a:pt x="74233" y="188643"/>
                    </a:lnTo>
                    <a:lnTo>
                      <a:pt x="70776" y="192732"/>
                    </a:lnTo>
                    <a:lnTo>
                      <a:pt x="65616" y="191854"/>
                    </a:lnTo>
                    <a:lnTo>
                      <a:pt x="51182" y="198111"/>
                    </a:lnTo>
                    <a:lnTo>
                      <a:pt x="38805" y="193967"/>
                    </a:lnTo>
                    <a:lnTo>
                      <a:pt x="23436" y="194982"/>
                    </a:lnTo>
                    <a:lnTo>
                      <a:pt x="14846" y="193912"/>
                    </a:lnTo>
                    <a:lnTo>
                      <a:pt x="9304" y="195010"/>
                    </a:lnTo>
                    <a:lnTo>
                      <a:pt x="4528" y="192924"/>
                    </a:lnTo>
                    <a:lnTo>
                      <a:pt x="4474" y="128570"/>
                    </a:lnTo>
                    <a:lnTo>
                      <a:pt x="0" y="121078"/>
                    </a:lnTo>
                    <a:lnTo>
                      <a:pt x="1784" y="114849"/>
                    </a:lnTo>
                    <a:lnTo>
                      <a:pt x="3952" y="107110"/>
                    </a:lnTo>
                    <a:lnTo>
                      <a:pt x="3952" y="34743"/>
                    </a:lnTo>
                    <a:cubicBezTo>
                      <a:pt x="3952" y="34743"/>
                      <a:pt x="3952" y="4336"/>
                      <a:pt x="3952" y="4336"/>
                    </a:cubicBezTo>
                    <a:lnTo>
                      <a:pt x="3952" y="0"/>
                    </a:lnTo>
                    <a:lnTo>
                      <a:pt x="12734" y="2196"/>
                    </a:lnTo>
                    <a:lnTo>
                      <a:pt x="17948" y="4336"/>
                    </a:lnTo>
                    <a:lnTo>
                      <a:pt x="57548" y="20527"/>
                    </a:lnTo>
                    <a:lnTo>
                      <a:pt x="76347" y="24561"/>
                    </a:lnTo>
                    <a:lnTo>
                      <a:pt x="91660" y="34276"/>
                    </a:lnTo>
                    <a:lnTo>
                      <a:pt x="105381" y="36088"/>
                    </a:lnTo>
                    <a:lnTo>
                      <a:pt x="108674" y="40094"/>
                    </a:lnTo>
                    <a:lnTo>
                      <a:pt x="115974" y="44320"/>
                    </a:lnTo>
                    <a:lnTo>
                      <a:pt x="122835" y="50578"/>
                    </a:lnTo>
                    <a:lnTo>
                      <a:pt x="134197" y="55682"/>
                    </a:lnTo>
                    <a:lnTo>
                      <a:pt x="142155" y="63558"/>
                    </a:lnTo>
                    <a:lnTo>
                      <a:pt x="146106" y="84195"/>
                    </a:lnTo>
                    <a:lnTo>
                      <a:pt x="163423" y="88696"/>
                    </a:lnTo>
                    <a:lnTo>
                      <a:pt x="178983" y="96791"/>
                    </a:lnTo>
                    <a:lnTo>
                      <a:pt x="190646" y="98520"/>
                    </a:lnTo>
                    <a:lnTo>
                      <a:pt x="196355" y="101621"/>
                    </a:lnTo>
                    <a:lnTo>
                      <a:pt x="203654" y="110403"/>
                    </a:lnTo>
                    <a:lnTo>
                      <a:pt x="204368" y="117676"/>
                    </a:lnTo>
                    <a:lnTo>
                      <a:pt x="199785" y="120612"/>
                    </a:lnTo>
                    <a:lnTo>
                      <a:pt x="180383" y="123493"/>
                    </a:lnTo>
                    <a:lnTo>
                      <a:pt x="179999" y="127939"/>
                    </a:lnTo>
                    <a:lnTo>
                      <a:pt x="185460" y="1413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9" name="Freeform: Shape 4078">
                <a:extLst>
                  <a:ext uri="{FF2B5EF4-FFF2-40B4-BE49-F238E27FC236}">
                    <a16:creationId xmlns:a16="http://schemas.microsoft.com/office/drawing/2014/main" id="{48B1D781-D84B-6A20-6F05-226E1FE76E9E}"/>
                  </a:ext>
                </a:extLst>
              </p:cNvPr>
              <p:cNvSpPr/>
              <p:nvPr/>
            </p:nvSpPr>
            <p:spPr>
              <a:xfrm>
                <a:off x="1820382" y="3857240"/>
                <a:ext cx="12454" cy="6509"/>
              </a:xfrm>
              <a:custGeom>
                <a:avLst/>
                <a:gdLst>
                  <a:gd name="connsiteX0" fmla="*/ 113696 w 119403"/>
                  <a:gd name="connsiteY0" fmla="*/ 3979 h 62405"/>
                  <a:gd name="connsiteX1" fmla="*/ 119404 w 119403"/>
                  <a:gd name="connsiteY1" fmla="*/ 5626 h 62405"/>
                  <a:gd name="connsiteX2" fmla="*/ 118773 w 119403"/>
                  <a:gd name="connsiteY2" fmla="*/ 17317 h 62405"/>
                  <a:gd name="connsiteX3" fmla="*/ 114547 w 119403"/>
                  <a:gd name="connsiteY3" fmla="*/ 23574 h 62405"/>
                  <a:gd name="connsiteX4" fmla="*/ 107412 w 119403"/>
                  <a:gd name="connsiteY4" fmla="*/ 24699 h 62405"/>
                  <a:gd name="connsiteX5" fmla="*/ 106671 w 119403"/>
                  <a:gd name="connsiteY5" fmla="*/ 28651 h 62405"/>
                  <a:gd name="connsiteX6" fmla="*/ 111583 w 119403"/>
                  <a:gd name="connsiteY6" fmla="*/ 34386 h 62405"/>
                  <a:gd name="connsiteX7" fmla="*/ 109607 w 119403"/>
                  <a:gd name="connsiteY7" fmla="*/ 38311 h 62405"/>
                  <a:gd name="connsiteX8" fmla="*/ 102829 w 119403"/>
                  <a:gd name="connsiteY8" fmla="*/ 41412 h 62405"/>
                  <a:gd name="connsiteX9" fmla="*/ 93443 w 119403"/>
                  <a:gd name="connsiteY9" fmla="*/ 40232 h 62405"/>
                  <a:gd name="connsiteX10" fmla="*/ 92976 w 119403"/>
                  <a:gd name="connsiteY10" fmla="*/ 44595 h 62405"/>
                  <a:gd name="connsiteX11" fmla="*/ 83920 w 119403"/>
                  <a:gd name="connsiteY11" fmla="*/ 52608 h 62405"/>
                  <a:gd name="connsiteX12" fmla="*/ 73025 w 119403"/>
                  <a:gd name="connsiteY12" fmla="*/ 55243 h 62405"/>
                  <a:gd name="connsiteX13" fmla="*/ 60539 w 119403"/>
                  <a:gd name="connsiteY13" fmla="*/ 62405 h 62405"/>
                  <a:gd name="connsiteX14" fmla="*/ 37597 w 119403"/>
                  <a:gd name="connsiteY14" fmla="*/ 62351 h 62405"/>
                  <a:gd name="connsiteX15" fmla="*/ 33370 w 119403"/>
                  <a:gd name="connsiteY15" fmla="*/ 57273 h 62405"/>
                  <a:gd name="connsiteX16" fmla="*/ 30242 w 119403"/>
                  <a:gd name="connsiteY16" fmla="*/ 56121 h 62405"/>
                  <a:gd name="connsiteX17" fmla="*/ 20691 w 119403"/>
                  <a:gd name="connsiteY17" fmla="*/ 59085 h 62405"/>
                  <a:gd name="connsiteX18" fmla="*/ 18935 w 119403"/>
                  <a:gd name="connsiteY18" fmla="*/ 54776 h 62405"/>
                  <a:gd name="connsiteX19" fmla="*/ 12349 w 119403"/>
                  <a:gd name="connsiteY19" fmla="*/ 50495 h 62405"/>
                  <a:gd name="connsiteX20" fmla="*/ 2607 w 119403"/>
                  <a:gd name="connsiteY20" fmla="*/ 47339 h 62405"/>
                  <a:gd name="connsiteX21" fmla="*/ 0 w 119403"/>
                  <a:gd name="connsiteY21" fmla="*/ 44293 h 62405"/>
                  <a:gd name="connsiteX22" fmla="*/ 795 w 119403"/>
                  <a:gd name="connsiteY22" fmla="*/ 39628 h 62405"/>
                  <a:gd name="connsiteX23" fmla="*/ 2771 w 119403"/>
                  <a:gd name="connsiteY23" fmla="*/ 38146 h 62405"/>
                  <a:gd name="connsiteX24" fmla="*/ 6970 w 119403"/>
                  <a:gd name="connsiteY24" fmla="*/ 40040 h 62405"/>
                  <a:gd name="connsiteX25" fmla="*/ 19374 w 119403"/>
                  <a:gd name="connsiteY25" fmla="*/ 38558 h 62405"/>
                  <a:gd name="connsiteX26" fmla="*/ 27141 w 119403"/>
                  <a:gd name="connsiteY26" fmla="*/ 41384 h 62405"/>
                  <a:gd name="connsiteX27" fmla="*/ 45692 w 119403"/>
                  <a:gd name="connsiteY27" fmla="*/ 39408 h 62405"/>
                  <a:gd name="connsiteX28" fmla="*/ 47860 w 119403"/>
                  <a:gd name="connsiteY28" fmla="*/ 37515 h 62405"/>
                  <a:gd name="connsiteX29" fmla="*/ 47202 w 119403"/>
                  <a:gd name="connsiteY29" fmla="*/ 34523 h 62405"/>
                  <a:gd name="connsiteX30" fmla="*/ 49671 w 119403"/>
                  <a:gd name="connsiteY30" fmla="*/ 31258 h 62405"/>
                  <a:gd name="connsiteX31" fmla="*/ 49424 w 119403"/>
                  <a:gd name="connsiteY31" fmla="*/ 28623 h 62405"/>
                  <a:gd name="connsiteX32" fmla="*/ 50357 w 119403"/>
                  <a:gd name="connsiteY32" fmla="*/ 25248 h 62405"/>
                  <a:gd name="connsiteX33" fmla="*/ 52690 w 119403"/>
                  <a:gd name="connsiteY33" fmla="*/ 24754 h 62405"/>
                  <a:gd name="connsiteX34" fmla="*/ 54611 w 119403"/>
                  <a:gd name="connsiteY34" fmla="*/ 26729 h 62405"/>
                  <a:gd name="connsiteX35" fmla="*/ 51537 w 119403"/>
                  <a:gd name="connsiteY35" fmla="*/ 28596 h 62405"/>
                  <a:gd name="connsiteX36" fmla="*/ 52223 w 119403"/>
                  <a:gd name="connsiteY36" fmla="*/ 39326 h 62405"/>
                  <a:gd name="connsiteX37" fmla="*/ 57081 w 119403"/>
                  <a:gd name="connsiteY37" fmla="*/ 41000 h 62405"/>
                  <a:gd name="connsiteX38" fmla="*/ 62350 w 119403"/>
                  <a:gd name="connsiteY38" fmla="*/ 37597 h 62405"/>
                  <a:gd name="connsiteX39" fmla="*/ 68360 w 119403"/>
                  <a:gd name="connsiteY39" fmla="*/ 40424 h 62405"/>
                  <a:gd name="connsiteX40" fmla="*/ 71763 w 119403"/>
                  <a:gd name="connsiteY40" fmla="*/ 38338 h 62405"/>
                  <a:gd name="connsiteX41" fmla="*/ 75962 w 119403"/>
                  <a:gd name="connsiteY41" fmla="*/ 38420 h 62405"/>
                  <a:gd name="connsiteX42" fmla="*/ 81889 w 119403"/>
                  <a:gd name="connsiteY42" fmla="*/ 28623 h 62405"/>
                  <a:gd name="connsiteX43" fmla="*/ 89519 w 119403"/>
                  <a:gd name="connsiteY43" fmla="*/ 22586 h 62405"/>
                  <a:gd name="connsiteX44" fmla="*/ 96215 w 119403"/>
                  <a:gd name="connsiteY44" fmla="*/ 23299 h 62405"/>
                  <a:gd name="connsiteX45" fmla="*/ 98081 w 119403"/>
                  <a:gd name="connsiteY45" fmla="*/ 21680 h 62405"/>
                  <a:gd name="connsiteX46" fmla="*/ 97889 w 119403"/>
                  <a:gd name="connsiteY46" fmla="*/ 13776 h 62405"/>
                  <a:gd name="connsiteX47" fmla="*/ 93992 w 119403"/>
                  <a:gd name="connsiteY47" fmla="*/ 1318 h 62405"/>
                  <a:gd name="connsiteX48" fmla="*/ 102005 w 119403"/>
                  <a:gd name="connsiteY48" fmla="*/ 1509 h 62405"/>
                  <a:gd name="connsiteX49" fmla="*/ 106177 w 119403"/>
                  <a:gd name="connsiteY49" fmla="*/ 4666 h 62405"/>
                  <a:gd name="connsiteX50" fmla="*/ 108948 w 119403"/>
                  <a:gd name="connsiteY50" fmla="*/ 1208 h 62405"/>
                  <a:gd name="connsiteX51" fmla="*/ 112955 w 119403"/>
                  <a:gd name="connsiteY51" fmla="*/ 0 h 62405"/>
                  <a:gd name="connsiteX52" fmla="*/ 113724 w 119403"/>
                  <a:gd name="connsiteY52" fmla="*/ 3924 h 6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9403" h="62405">
                    <a:moveTo>
                      <a:pt x="113696" y="3979"/>
                    </a:moveTo>
                    <a:lnTo>
                      <a:pt x="119404" y="5626"/>
                    </a:lnTo>
                    <a:lnTo>
                      <a:pt x="118773" y="17317"/>
                    </a:lnTo>
                    <a:lnTo>
                      <a:pt x="114547" y="23574"/>
                    </a:lnTo>
                    <a:lnTo>
                      <a:pt x="107412" y="24699"/>
                    </a:lnTo>
                    <a:lnTo>
                      <a:pt x="106671" y="28651"/>
                    </a:lnTo>
                    <a:lnTo>
                      <a:pt x="111583" y="34386"/>
                    </a:lnTo>
                    <a:lnTo>
                      <a:pt x="109607" y="38311"/>
                    </a:lnTo>
                    <a:lnTo>
                      <a:pt x="102829" y="41412"/>
                    </a:lnTo>
                    <a:lnTo>
                      <a:pt x="93443" y="40232"/>
                    </a:lnTo>
                    <a:lnTo>
                      <a:pt x="92976" y="44595"/>
                    </a:lnTo>
                    <a:lnTo>
                      <a:pt x="83920" y="52608"/>
                    </a:lnTo>
                    <a:lnTo>
                      <a:pt x="73025" y="55243"/>
                    </a:lnTo>
                    <a:lnTo>
                      <a:pt x="60539" y="62405"/>
                    </a:lnTo>
                    <a:lnTo>
                      <a:pt x="37597" y="62351"/>
                    </a:lnTo>
                    <a:lnTo>
                      <a:pt x="33370" y="57273"/>
                    </a:lnTo>
                    <a:lnTo>
                      <a:pt x="30242" y="56121"/>
                    </a:lnTo>
                    <a:lnTo>
                      <a:pt x="20691" y="59085"/>
                    </a:lnTo>
                    <a:lnTo>
                      <a:pt x="18935" y="54776"/>
                    </a:lnTo>
                    <a:lnTo>
                      <a:pt x="12349" y="50495"/>
                    </a:lnTo>
                    <a:lnTo>
                      <a:pt x="2607" y="47339"/>
                    </a:lnTo>
                    <a:lnTo>
                      <a:pt x="0" y="44293"/>
                    </a:lnTo>
                    <a:lnTo>
                      <a:pt x="795" y="39628"/>
                    </a:lnTo>
                    <a:lnTo>
                      <a:pt x="2771" y="38146"/>
                    </a:lnTo>
                    <a:lnTo>
                      <a:pt x="6970" y="40040"/>
                    </a:lnTo>
                    <a:lnTo>
                      <a:pt x="19374" y="38558"/>
                    </a:lnTo>
                    <a:lnTo>
                      <a:pt x="27141" y="41384"/>
                    </a:lnTo>
                    <a:lnTo>
                      <a:pt x="45692" y="39408"/>
                    </a:lnTo>
                    <a:lnTo>
                      <a:pt x="47860" y="37515"/>
                    </a:lnTo>
                    <a:lnTo>
                      <a:pt x="47202" y="34523"/>
                    </a:lnTo>
                    <a:lnTo>
                      <a:pt x="49671" y="31258"/>
                    </a:lnTo>
                    <a:lnTo>
                      <a:pt x="49424" y="28623"/>
                    </a:lnTo>
                    <a:lnTo>
                      <a:pt x="50357" y="25248"/>
                    </a:lnTo>
                    <a:lnTo>
                      <a:pt x="52690" y="24754"/>
                    </a:lnTo>
                    <a:lnTo>
                      <a:pt x="54611" y="26729"/>
                    </a:lnTo>
                    <a:lnTo>
                      <a:pt x="51537" y="28596"/>
                    </a:lnTo>
                    <a:lnTo>
                      <a:pt x="52223" y="39326"/>
                    </a:lnTo>
                    <a:lnTo>
                      <a:pt x="57081" y="41000"/>
                    </a:lnTo>
                    <a:lnTo>
                      <a:pt x="62350" y="37597"/>
                    </a:lnTo>
                    <a:lnTo>
                      <a:pt x="68360" y="40424"/>
                    </a:lnTo>
                    <a:lnTo>
                      <a:pt x="71763" y="38338"/>
                    </a:lnTo>
                    <a:lnTo>
                      <a:pt x="75962" y="38420"/>
                    </a:lnTo>
                    <a:lnTo>
                      <a:pt x="81889" y="28623"/>
                    </a:lnTo>
                    <a:lnTo>
                      <a:pt x="89519" y="22586"/>
                    </a:lnTo>
                    <a:lnTo>
                      <a:pt x="96215" y="23299"/>
                    </a:lnTo>
                    <a:lnTo>
                      <a:pt x="98081" y="21680"/>
                    </a:lnTo>
                    <a:lnTo>
                      <a:pt x="97889" y="13776"/>
                    </a:lnTo>
                    <a:lnTo>
                      <a:pt x="93992" y="1318"/>
                    </a:lnTo>
                    <a:lnTo>
                      <a:pt x="102005" y="1509"/>
                    </a:lnTo>
                    <a:lnTo>
                      <a:pt x="106177" y="4666"/>
                    </a:lnTo>
                    <a:lnTo>
                      <a:pt x="108948" y="1208"/>
                    </a:lnTo>
                    <a:lnTo>
                      <a:pt x="112955" y="0"/>
                    </a:lnTo>
                    <a:lnTo>
                      <a:pt x="113724" y="39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0" name="Freeform: Shape 4079">
                <a:extLst>
                  <a:ext uri="{FF2B5EF4-FFF2-40B4-BE49-F238E27FC236}">
                    <a16:creationId xmlns:a16="http://schemas.microsoft.com/office/drawing/2014/main" id="{928A7B21-3271-FFD4-D63B-471202F3C719}"/>
                  </a:ext>
                </a:extLst>
              </p:cNvPr>
              <p:cNvSpPr/>
              <p:nvPr/>
            </p:nvSpPr>
            <p:spPr>
              <a:xfrm>
                <a:off x="1827881" y="3852251"/>
                <a:ext cx="7153" cy="6904"/>
              </a:xfrm>
              <a:custGeom>
                <a:avLst/>
                <a:gdLst>
                  <a:gd name="connsiteX0" fmla="*/ 65451 w 68579"/>
                  <a:gd name="connsiteY0" fmla="*/ 62872 h 66192"/>
                  <a:gd name="connsiteX1" fmla="*/ 61390 w 68579"/>
                  <a:gd name="connsiteY1" fmla="*/ 66192 h 66192"/>
                  <a:gd name="connsiteX2" fmla="*/ 58069 w 68579"/>
                  <a:gd name="connsiteY2" fmla="*/ 62707 h 66192"/>
                  <a:gd name="connsiteX3" fmla="*/ 55983 w 68579"/>
                  <a:gd name="connsiteY3" fmla="*/ 57164 h 66192"/>
                  <a:gd name="connsiteX4" fmla="*/ 55352 w 68579"/>
                  <a:gd name="connsiteY4" fmla="*/ 47476 h 66192"/>
                  <a:gd name="connsiteX5" fmla="*/ 48464 w 68579"/>
                  <a:gd name="connsiteY5" fmla="*/ 36417 h 66192"/>
                  <a:gd name="connsiteX6" fmla="*/ 41548 w 68579"/>
                  <a:gd name="connsiteY6" fmla="*/ 28925 h 66192"/>
                  <a:gd name="connsiteX7" fmla="*/ 32245 w 68579"/>
                  <a:gd name="connsiteY7" fmla="*/ 25055 h 66192"/>
                  <a:gd name="connsiteX8" fmla="*/ 9413 w 68579"/>
                  <a:gd name="connsiteY8" fmla="*/ 9166 h 66192"/>
                  <a:gd name="connsiteX9" fmla="*/ 1043 w 68579"/>
                  <a:gd name="connsiteY9" fmla="*/ 6339 h 66192"/>
                  <a:gd name="connsiteX10" fmla="*/ 2168 w 68579"/>
                  <a:gd name="connsiteY10" fmla="*/ 3952 h 66192"/>
                  <a:gd name="connsiteX11" fmla="*/ 0 w 68579"/>
                  <a:gd name="connsiteY11" fmla="*/ 2333 h 66192"/>
                  <a:gd name="connsiteX12" fmla="*/ 988 w 68579"/>
                  <a:gd name="connsiteY12" fmla="*/ 0 h 66192"/>
                  <a:gd name="connsiteX13" fmla="*/ 3266 w 68579"/>
                  <a:gd name="connsiteY13" fmla="*/ 2360 h 66192"/>
                  <a:gd name="connsiteX14" fmla="*/ 3485 w 68579"/>
                  <a:gd name="connsiteY14" fmla="*/ 3430 h 66192"/>
                  <a:gd name="connsiteX15" fmla="*/ 6861 w 68579"/>
                  <a:gd name="connsiteY15" fmla="*/ 4528 h 66192"/>
                  <a:gd name="connsiteX16" fmla="*/ 9303 w 68579"/>
                  <a:gd name="connsiteY16" fmla="*/ 6339 h 66192"/>
                  <a:gd name="connsiteX17" fmla="*/ 37871 w 68579"/>
                  <a:gd name="connsiteY17" fmla="*/ 21543 h 66192"/>
                  <a:gd name="connsiteX18" fmla="*/ 52197 w 68579"/>
                  <a:gd name="connsiteY18" fmla="*/ 36088 h 66192"/>
                  <a:gd name="connsiteX19" fmla="*/ 63420 w 68579"/>
                  <a:gd name="connsiteY19" fmla="*/ 43305 h 66192"/>
                  <a:gd name="connsiteX20" fmla="*/ 68580 w 68579"/>
                  <a:gd name="connsiteY20" fmla="*/ 52745 h 66192"/>
                  <a:gd name="connsiteX21" fmla="*/ 65506 w 68579"/>
                  <a:gd name="connsiteY21" fmla="*/ 62872 h 6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8579" h="66192">
                    <a:moveTo>
                      <a:pt x="65451" y="62872"/>
                    </a:moveTo>
                    <a:lnTo>
                      <a:pt x="61390" y="66192"/>
                    </a:lnTo>
                    <a:lnTo>
                      <a:pt x="58069" y="62707"/>
                    </a:lnTo>
                    <a:lnTo>
                      <a:pt x="55983" y="57164"/>
                    </a:lnTo>
                    <a:lnTo>
                      <a:pt x="55352" y="47476"/>
                    </a:lnTo>
                    <a:lnTo>
                      <a:pt x="48464" y="36417"/>
                    </a:lnTo>
                    <a:lnTo>
                      <a:pt x="41548" y="28925"/>
                    </a:lnTo>
                    <a:lnTo>
                      <a:pt x="32245" y="25055"/>
                    </a:lnTo>
                    <a:lnTo>
                      <a:pt x="9413" y="9166"/>
                    </a:lnTo>
                    <a:lnTo>
                      <a:pt x="1043" y="6339"/>
                    </a:lnTo>
                    <a:lnTo>
                      <a:pt x="2168" y="3952"/>
                    </a:lnTo>
                    <a:lnTo>
                      <a:pt x="0" y="2333"/>
                    </a:lnTo>
                    <a:lnTo>
                      <a:pt x="988" y="0"/>
                    </a:lnTo>
                    <a:lnTo>
                      <a:pt x="3266" y="2360"/>
                    </a:lnTo>
                    <a:lnTo>
                      <a:pt x="3485" y="3430"/>
                    </a:lnTo>
                    <a:lnTo>
                      <a:pt x="6861" y="4528"/>
                    </a:lnTo>
                    <a:lnTo>
                      <a:pt x="9303" y="6339"/>
                    </a:lnTo>
                    <a:lnTo>
                      <a:pt x="37871" y="21543"/>
                    </a:lnTo>
                    <a:lnTo>
                      <a:pt x="52197" y="36088"/>
                    </a:lnTo>
                    <a:lnTo>
                      <a:pt x="63420" y="43305"/>
                    </a:lnTo>
                    <a:lnTo>
                      <a:pt x="68580" y="52745"/>
                    </a:lnTo>
                    <a:lnTo>
                      <a:pt x="65506" y="628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1" name="Freeform: Shape 4080">
                <a:extLst>
                  <a:ext uri="{FF2B5EF4-FFF2-40B4-BE49-F238E27FC236}">
                    <a16:creationId xmlns:a16="http://schemas.microsoft.com/office/drawing/2014/main" id="{CC858432-C9FA-7725-7F9E-7A2D502CADF3}"/>
                  </a:ext>
                </a:extLst>
              </p:cNvPr>
              <p:cNvSpPr/>
              <p:nvPr/>
            </p:nvSpPr>
            <p:spPr>
              <a:xfrm>
                <a:off x="1839439" y="3859905"/>
                <a:ext cx="4342" cy="5673"/>
              </a:xfrm>
              <a:custGeom>
                <a:avLst/>
                <a:gdLst>
                  <a:gd name="connsiteX0" fmla="*/ 40643 w 41631"/>
                  <a:gd name="connsiteY0" fmla="*/ 51565 h 54391"/>
                  <a:gd name="connsiteX1" fmla="*/ 34057 w 41631"/>
                  <a:gd name="connsiteY1" fmla="*/ 54392 h 54391"/>
                  <a:gd name="connsiteX2" fmla="*/ 28980 w 41631"/>
                  <a:gd name="connsiteY2" fmla="*/ 53569 h 54391"/>
                  <a:gd name="connsiteX3" fmla="*/ 22366 w 41631"/>
                  <a:gd name="connsiteY3" fmla="*/ 48821 h 54391"/>
                  <a:gd name="connsiteX4" fmla="*/ 19731 w 41631"/>
                  <a:gd name="connsiteY4" fmla="*/ 43497 h 54391"/>
                  <a:gd name="connsiteX5" fmla="*/ 19320 w 41631"/>
                  <a:gd name="connsiteY5" fmla="*/ 37899 h 54391"/>
                  <a:gd name="connsiteX6" fmla="*/ 13831 w 41631"/>
                  <a:gd name="connsiteY6" fmla="*/ 35292 h 54391"/>
                  <a:gd name="connsiteX7" fmla="*/ 6449 w 41631"/>
                  <a:gd name="connsiteY7" fmla="*/ 27059 h 54391"/>
                  <a:gd name="connsiteX8" fmla="*/ 4940 w 41631"/>
                  <a:gd name="connsiteY8" fmla="*/ 21131 h 54391"/>
                  <a:gd name="connsiteX9" fmla="*/ 6065 w 41631"/>
                  <a:gd name="connsiteY9" fmla="*/ 14463 h 54391"/>
                  <a:gd name="connsiteX10" fmla="*/ 275 w 41631"/>
                  <a:gd name="connsiteY10" fmla="*/ 7904 h 54391"/>
                  <a:gd name="connsiteX11" fmla="*/ 0 w 41631"/>
                  <a:gd name="connsiteY11" fmla="*/ 2579 h 54391"/>
                  <a:gd name="connsiteX12" fmla="*/ 2086 w 41631"/>
                  <a:gd name="connsiteY12" fmla="*/ 0 h 54391"/>
                  <a:gd name="connsiteX13" fmla="*/ 4775 w 41631"/>
                  <a:gd name="connsiteY13" fmla="*/ 4693 h 54391"/>
                  <a:gd name="connsiteX14" fmla="*/ 5215 w 41631"/>
                  <a:gd name="connsiteY14" fmla="*/ 11526 h 54391"/>
                  <a:gd name="connsiteX15" fmla="*/ 8809 w 41631"/>
                  <a:gd name="connsiteY15" fmla="*/ 14188 h 54391"/>
                  <a:gd name="connsiteX16" fmla="*/ 15368 w 41631"/>
                  <a:gd name="connsiteY16" fmla="*/ 15697 h 54391"/>
                  <a:gd name="connsiteX17" fmla="*/ 19292 w 41631"/>
                  <a:gd name="connsiteY17" fmla="*/ 23327 h 54391"/>
                  <a:gd name="connsiteX18" fmla="*/ 24973 w 41631"/>
                  <a:gd name="connsiteY18" fmla="*/ 28403 h 54391"/>
                  <a:gd name="connsiteX19" fmla="*/ 26949 w 41631"/>
                  <a:gd name="connsiteY19" fmla="*/ 32712 h 54391"/>
                  <a:gd name="connsiteX20" fmla="*/ 32603 w 41631"/>
                  <a:gd name="connsiteY20" fmla="*/ 34578 h 54391"/>
                  <a:gd name="connsiteX21" fmla="*/ 40341 w 41631"/>
                  <a:gd name="connsiteY21" fmla="*/ 43470 h 54391"/>
                  <a:gd name="connsiteX22" fmla="*/ 41631 w 41631"/>
                  <a:gd name="connsiteY22" fmla="*/ 49315 h 54391"/>
                  <a:gd name="connsiteX23" fmla="*/ 40588 w 41631"/>
                  <a:gd name="connsiteY23" fmla="*/ 51538 h 5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631" h="54391">
                    <a:moveTo>
                      <a:pt x="40643" y="51565"/>
                    </a:moveTo>
                    <a:lnTo>
                      <a:pt x="34057" y="54392"/>
                    </a:lnTo>
                    <a:lnTo>
                      <a:pt x="28980" y="53569"/>
                    </a:lnTo>
                    <a:lnTo>
                      <a:pt x="22366" y="48821"/>
                    </a:lnTo>
                    <a:lnTo>
                      <a:pt x="19731" y="43497"/>
                    </a:lnTo>
                    <a:lnTo>
                      <a:pt x="19320" y="37899"/>
                    </a:lnTo>
                    <a:lnTo>
                      <a:pt x="13831" y="35292"/>
                    </a:lnTo>
                    <a:lnTo>
                      <a:pt x="6449" y="27059"/>
                    </a:lnTo>
                    <a:lnTo>
                      <a:pt x="4940" y="21131"/>
                    </a:lnTo>
                    <a:lnTo>
                      <a:pt x="6065" y="14463"/>
                    </a:lnTo>
                    <a:lnTo>
                      <a:pt x="275" y="7904"/>
                    </a:lnTo>
                    <a:lnTo>
                      <a:pt x="0" y="2579"/>
                    </a:lnTo>
                    <a:lnTo>
                      <a:pt x="2086" y="0"/>
                    </a:lnTo>
                    <a:lnTo>
                      <a:pt x="4775" y="4693"/>
                    </a:lnTo>
                    <a:lnTo>
                      <a:pt x="5215" y="11526"/>
                    </a:lnTo>
                    <a:lnTo>
                      <a:pt x="8809" y="14188"/>
                    </a:lnTo>
                    <a:lnTo>
                      <a:pt x="15368" y="15697"/>
                    </a:lnTo>
                    <a:lnTo>
                      <a:pt x="19292" y="23327"/>
                    </a:lnTo>
                    <a:lnTo>
                      <a:pt x="24973" y="28403"/>
                    </a:lnTo>
                    <a:lnTo>
                      <a:pt x="26949" y="32712"/>
                    </a:lnTo>
                    <a:lnTo>
                      <a:pt x="32603" y="34578"/>
                    </a:lnTo>
                    <a:lnTo>
                      <a:pt x="40341" y="43470"/>
                    </a:lnTo>
                    <a:lnTo>
                      <a:pt x="41631" y="49315"/>
                    </a:lnTo>
                    <a:lnTo>
                      <a:pt x="40588" y="515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2" name="Freeform: Shape 4081">
                <a:extLst>
                  <a:ext uri="{FF2B5EF4-FFF2-40B4-BE49-F238E27FC236}">
                    <a16:creationId xmlns:a16="http://schemas.microsoft.com/office/drawing/2014/main" id="{253B0291-D83F-03D0-E92B-564351140010}"/>
                  </a:ext>
                </a:extLst>
              </p:cNvPr>
              <p:cNvSpPr/>
              <p:nvPr/>
            </p:nvSpPr>
            <p:spPr>
              <a:xfrm>
                <a:off x="1827853" y="3874451"/>
                <a:ext cx="1680" cy="1368"/>
              </a:xfrm>
              <a:custGeom>
                <a:avLst/>
                <a:gdLst>
                  <a:gd name="connsiteX0" fmla="*/ 9825 w 16109"/>
                  <a:gd name="connsiteY0" fmla="*/ 9029 h 13117"/>
                  <a:gd name="connsiteX1" fmla="*/ 11498 w 16109"/>
                  <a:gd name="connsiteY1" fmla="*/ 9111 h 13117"/>
                  <a:gd name="connsiteX2" fmla="*/ 12734 w 16109"/>
                  <a:gd name="connsiteY2" fmla="*/ 6312 h 13117"/>
                  <a:gd name="connsiteX3" fmla="*/ 15396 w 16109"/>
                  <a:gd name="connsiteY3" fmla="*/ 5626 h 13117"/>
                  <a:gd name="connsiteX4" fmla="*/ 16109 w 16109"/>
                  <a:gd name="connsiteY4" fmla="*/ 7272 h 13117"/>
                  <a:gd name="connsiteX5" fmla="*/ 15258 w 16109"/>
                  <a:gd name="connsiteY5" fmla="*/ 10264 h 13117"/>
                  <a:gd name="connsiteX6" fmla="*/ 13474 w 16109"/>
                  <a:gd name="connsiteY6" fmla="*/ 13118 h 13117"/>
                  <a:gd name="connsiteX7" fmla="*/ 9166 w 16109"/>
                  <a:gd name="connsiteY7" fmla="*/ 11636 h 13117"/>
                  <a:gd name="connsiteX8" fmla="*/ 6120 w 16109"/>
                  <a:gd name="connsiteY8" fmla="*/ 11361 h 13117"/>
                  <a:gd name="connsiteX9" fmla="*/ 5708 w 16109"/>
                  <a:gd name="connsiteY9" fmla="*/ 9111 h 13117"/>
                  <a:gd name="connsiteX10" fmla="*/ 3869 w 16109"/>
                  <a:gd name="connsiteY10" fmla="*/ 7822 h 13117"/>
                  <a:gd name="connsiteX11" fmla="*/ 3266 w 16109"/>
                  <a:gd name="connsiteY11" fmla="*/ 4638 h 13117"/>
                  <a:gd name="connsiteX12" fmla="*/ 0 w 16109"/>
                  <a:gd name="connsiteY12" fmla="*/ 631 h 13117"/>
                  <a:gd name="connsiteX13" fmla="*/ 2827 w 16109"/>
                  <a:gd name="connsiteY13" fmla="*/ 0 h 13117"/>
                  <a:gd name="connsiteX14" fmla="*/ 2827 w 16109"/>
                  <a:gd name="connsiteY14" fmla="*/ 2141 h 13117"/>
                  <a:gd name="connsiteX15" fmla="*/ 4116 w 16109"/>
                  <a:gd name="connsiteY15" fmla="*/ 2552 h 13117"/>
                  <a:gd name="connsiteX16" fmla="*/ 9852 w 16109"/>
                  <a:gd name="connsiteY16" fmla="*/ 9084 h 1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09" h="13117">
                    <a:moveTo>
                      <a:pt x="9825" y="9029"/>
                    </a:moveTo>
                    <a:lnTo>
                      <a:pt x="11498" y="9111"/>
                    </a:lnTo>
                    <a:lnTo>
                      <a:pt x="12734" y="6312"/>
                    </a:lnTo>
                    <a:lnTo>
                      <a:pt x="15396" y="5626"/>
                    </a:lnTo>
                    <a:lnTo>
                      <a:pt x="16109" y="7272"/>
                    </a:lnTo>
                    <a:lnTo>
                      <a:pt x="15258" y="10264"/>
                    </a:lnTo>
                    <a:lnTo>
                      <a:pt x="13474" y="13118"/>
                    </a:lnTo>
                    <a:lnTo>
                      <a:pt x="9166" y="11636"/>
                    </a:lnTo>
                    <a:lnTo>
                      <a:pt x="6120" y="11361"/>
                    </a:lnTo>
                    <a:lnTo>
                      <a:pt x="5708" y="9111"/>
                    </a:lnTo>
                    <a:lnTo>
                      <a:pt x="3869" y="7822"/>
                    </a:lnTo>
                    <a:lnTo>
                      <a:pt x="3266" y="4638"/>
                    </a:lnTo>
                    <a:lnTo>
                      <a:pt x="0" y="631"/>
                    </a:lnTo>
                    <a:lnTo>
                      <a:pt x="2827" y="0"/>
                    </a:lnTo>
                    <a:lnTo>
                      <a:pt x="2827" y="2141"/>
                    </a:lnTo>
                    <a:lnTo>
                      <a:pt x="4116" y="2552"/>
                    </a:lnTo>
                    <a:lnTo>
                      <a:pt x="9852" y="90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3" name="Freeform: Shape 4082">
                <a:extLst>
                  <a:ext uri="{FF2B5EF4-FFF2-40B4-BE49-F238E27FC236}">
                    <a16:creationId xmlns:a16="http://schemas.microsoft.com/office/drawing/2014/main" id="{52384538-B06C-B711-8B53-A005A1F08210}"/>
                  </a:ext>
                </a:extLst>
              </p:cNvPr>
              <p:cNvSpPr/>
              <p:nvPr/>
            </p:nvSpPr>
            <p:spPr>
              <a:xfrm>
                <a:off x="1814835" y="3850470"/>
                <a:ext cx="2533" cy="876"/>
              </a:xfrm>
              <a:custGeom>
                <a:avLst/>
                <a:gdLst>
                  <a:gd name="connsiteX0" fmla="*/ 24287 w 24287"/>
                  <a:gd name="connsiteY0" fmla="*/ 2497 h 8397"/>
                  <a:gd name="connsiteX1" fmla="*/ 19979 w 24287"/>
                  <a:gd name="connsiteY1" fmla="*/ 6806 h 8397"/>
                  <a:gd name="connsiteX2" fmla="*/ 13063 w 24287"/>
                  <a:gd name="connsiteY2" fmla="*/ 7355 h 8397"/>
                  <a:gd name="connsiteX3" fmla="*/ 6532 w 24287"/>
                  <a:gd name="connsiteY3" fmla="*/ 6010 h 8397"/>
                  <a:gd name="connsiteX4" fmla="*/ 1235 w 24287"/>
                  <a:gd name="connsiteY4" fmla="*/ 8397 h 8397"/>
                  <a:gd name="connsiteX5" fmla="*/ 0 w 24287"/>
                  <a:gd name="connsiteY5" fmla="*/ 6120 h 8397"/>
                  <a:gd name="connsiteX6" fmla="*/ 2168 w 24287"/>
                  <a:gd name="connsiteY6" fmla="*/ 4583 h 8397"/>
                  <a:gd name="connsiteX7" fmla="*/ 1948 w 24287"/>
                  <a:gd name="connsiteY7" fmla="*/ 2250 h 8397"/>
                  <a:gd name="connsiteX8" fmla="*/ 3814 w 24287"/>
                  <a:gd name="connsiteY8" fmla="*/ 604 h 8397"/>
                  <a:gd name="connsiteX9" fmla="*/ 10757 w 24287"/>
                  <a:gd name="connsiteY9" fmla="*/ 0 h 8397"/>
                  <a:gd name="connsiteX10" fmla="*/ 24232 w 24287"/>
                  <a:gd name="connsiteY10" fmla="*/ 2470 h 8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87" h="8397">
                    <a:moveTo>
                      <a:pt x="24287" y="2497"/>
                    </a:moveTo>
                    <a:lnTo>
                      <a:pt x="19979" y="6806"/>
                    </a:lnTo>
                    <a:lnTo>
                      <a:pt x="13063" y="7355"/>
                    </a:lnTo>
                    <a:lnTo>
                      <a:pt x="6532" y="6010"/>
                    </a:lnTo>
                    <a:lnTo>
                      <a:pt x="1235" y="8397"/>
                    </a:lnTo>
                    <a:lnTo>
                      <a:pt x="0" y="6120"/>
                    </a:lnTo>
                    <a:lnTo>
                      <a:pt x="2168" y="4583"/>
                    </a:lnTo>
                    <a:lnTo>
                      <a:pt x="1948" y="2250"/>
                    </a:lnTo>
                    <a:lnTo>
                      <a:pt x="3814" y="604"/>
                    </a:lnTo>
                    <a:lnTo>
                      <a:pt x="10757" y="0"/>
                    </a:lnTo>
                    <a:lnTo>
                      <a:pt x="24232" y="24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4" name="Freeform: Shape 4083">
                <a:extLst>
                  <a:ext uri="{FF2B5EF4-FFF2-40B4-BE49-F238E27FC236}">
                    <a16:creationId xmlns:a16="http://schemas.microsoft.com/office/drawing/2014/main" id="{E82B17C7-01F0-5866-6C60-D235292CA2E3}"/>
                  </a:ext>
                </a:extLst>
              </p:cNvPr>
              <p:cNvSpPr/>
              <p:nvPr/>
            </p:nvSpPr>
            <p:spPr>
              <a:xfrm>
                <a:off x="1826834" y="3873203"/>
                <a:ext cx="1949" cy="1142"/>
              </a:xfrm>
              <a:custGeom>
                <a:avLst/>
                <a:gdLst>
                  <a:gd name="connsiteX0" fmla="*/ 5270 w 18688"/>
                  <a:gd name="connsiteY0" fmla="*/ 1509 h 10949"/>
                  <a:gd name="connsiteX1" fmla="*/ 7410 w 18688"/>
                  <a:gd name="connsiteY1" fmla="*/ 3266 h 10949"/>
                  <a:gd name="connsiteX2" fmla="*/ 10922 w 18688"/>
                  <a:gd name="connsiteY2" fmla="*/ 2607 h 10949"/>
                  <a:gd name="connsiteX3" fmla="*/ 13639 w 18688"/>
                  <a:gd name="connsiteY3" fmla="*/ 5489 h 10949"/>
                  <a:gd name="connsiteX4" fmla="*/ 13475 w 18688"/>
                  <a:gd name="connsiteY4" fmla="*/ 7519 h 10949"/>
                  <a:gd name="connsiteX5" fmla="*/ 14517 w 18688"/>
                  <a:gd name="connsiteY5" fmla="*/ 8178 h 10949"/>
                  <a:gd name="connsiteX6" fmla="*/ 16988 w 18688"/>
                  <a:gd name="connsiteY6" fmla="*/ 6724 h 10949"/>
                  <a:gd name="connsiteX7" fmla="*/ 18689 w 18688"/>
                  <a:gd name="connsiteY7" fmla="*/ 7464 h 10949"/>
                  <a:gd name="connsiteX8" fmla="*/ 17262 w 18688"/>
                  <a:gd name="connsiteY8" fmla="*/ 9934 h 10949"/>
                  <a:gd name="connsiteX9" fmla="*/ 15341 w 18688"/>
                  <a:gd name="connsiteY9" fmla="*/ 9056 h 10949"/>
                  <a:gd name="connsiteX10" fmla="*/ 14298 w 18688"/>
                  <a:gd name="connsiteY10" fmla="*/ 10950 h 10949"/>
                  <a:gd name="connsiteX11" fmla="*/ 12322 w 18688"/>
                  <a:gd name="connsiteY11" fmla="*/ 9852 h 10949"/>
                  <a:gd name="connsiteX12" fmla="*/ 10483 w 18688"/>
                  <a:gd name="connsiteY12" fmla="*/ 10593 h 10949"/>
                  <a:gd name="connsiteX13" fmla="*/ 7849 w 18688"/>
                  <a:gd name="connsiteY13" fmla="*/ 10291 h 10949"/>
                  <a:gd name="connsiteX14" fmla="*/ 3897 w 18688"/>
                  <a:gd name="connsiteY14" fmla="*/ 8864 h 10949"/>
                  <a:gd name="connsiteX15" fmla="*/ 906 w 18688"/>
                  <a:gd name="connsiteY15" fmla="*/ 9413 h 10949"/>
                  <a:gd name="connsiteX16" fmla="*/ 1098 w 18688"/>
                  <a:gd name="connsiteY16" fmla="*/ 7464 h 10949"/>
                  <a:gd name="connsiteX17" fmla="*/ 2772 w 18688"/>
                  <a:gd name="connsiteY17" fmla="*/ 6916 h 10949"/>
                  <a:gd name="connsiteX18" fmla="*/ 2553 w 18688"/>
                  <a:gd name="connsiteY18" fmla="*/ 5324 h 10949"/>
                  <a:gd name="connsiteX19" fmla="*/ 714 w 18688"/>
                  <a:gd name="connsiteY19" fmla="*/ 3760 h 10949"/>
                  <a:gd name="connsiteX20" fmla="*/ 0 w 18688"/>
                  <a:gd name="connsiteY20" fmla="*/ 1482 h 10949"/>
                  <a:gd name="connsiteX21" fmla="*/ 1784 w 18688"/>
                  <a:gd name="connsiteY21" fmla="*/ 0 h 10949"/>
                  <a:gd name="connsiteX22" fmla="*/ 5270 w 18688"/>
                  <a:gd name="connsiteY22" fmla="*/ 1455 h 10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688" h="10949">
                    <a:moveTo>
                      <a:pt x="5270" y="1509"/>
                    </a:moveTo>
                    <a:lnTo>
                      <a:pt x="7410" y="3266"/>
                    </a:lnTo>
                    <a:lnTo>
                      <a:pt x="10922" y="2607"/>
                    </a:lnTo>
                    <a:lnTo>
                      <a:pt x="13639" y="5489"/>
                    </a:lnTo>
                    <a:lnTo>
                      <a:pt x="13475" y="7519"/>
                    </a:lnTo>
                    <a:lnTo>
                      <a:pt x="14517" y="8178"/>
                    </a:lnTo>
                    <a:lnTo>
                      <a:pt x="16988" y="6724"/>
                    </a:lnTo>
                    <a:lnTo>
                      <a:pt x="18689" y="7464"/>
                    </a:lnTo>
                    <a:lnTo>
                      <a:pt x="17262" y="9934"/>
                    </a:lnTo>
                    <a:lnTo>
                      <a:pt x="15341" y="9056"/>
                    </a:lnTo>
                    <a:lnTo>
                      <a:pt x="14298" y="10950"/>
                    </a:lnTo>
                    <a:lnTo>
                      <a:pt x="12322" y="9852"/>
                    </a:lnTo>
                    <a:lnTo>
                      <a:pt x="10483" y="10593"/>
                    </a:lnTo>
                    <a:lnTo>
                      <a:pt x="7849" y="10291"/>
                    </a:lnTo>
                    <a:lnTo>
                      <a:pt x="3897" y="8864"/>
                    </a:lnTo>
                    <a:lnTo>
                      <a:pt x="906" y="9413"/>
                    </a:lnTo>
                    <a:lnTo>
                      <a:pt x="1098" y="7464"/>
                    </a:lnTo>
                    <a:lnTo>
                      <a:pt x="2772" y="6916"/>
                    </a:lnTo>
                    <a:lnTo>
                      <a:pt x="2553" y="5324"/>
                    </a:lnTo>
                    <a:lnTo>
                      <a:pt x="714" y="3760"/>
                    </a:lnTo>
                    <a:lnTo>
                      <a:pt x="0" y="1482"/>
                    </a:lnTo>
                    <a:lnTo>
                      <a:pt x="1784" y="0"/>
                    </a:lnTo>
                    <a:lnTo>
                      <a:pt x="5270" y="14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5" name="Freeform: Shape 4084">
                <a:extLst>
                  <a:ext uri="{FF2B5EF4-FFF2-40B4-BE49-F238E27FC236}">
                    <a16:creationId xmlns:a16="http://schemas.microsoft.com/office/drawing/2014/main" id="{1D1831A5-BBCF-7F8D-D2E3-2A08F7FF3C2D}"/>
                  </a:ext>
                </a:extLst>
              </p:cNvPr>
              <p:cNvSpPr/>
              <p:nvPr/>
            </p:nvSpPr>
            <p:spPr>
              <a:xfrm>
                <a:off x="1835278" y="3879434"/>
                <a:ext cx="1818" cy="1016"/>
              </a:xfrm>
              <a:custGeom>
                <a:avLst/>
                <a:gdLst>
                  <a:gd name="connsiteX0" fmla="*/ 17427 w 17426"/>
                  <a:gd name="connsiteY0" fmla="*/ 8260 h 9742"/>
                  <a:gd name="connsiteX1" fmla="*/ 17069 w 17426"/>
                  <a:gd name="connsiteY1" fmla="*/ 8891 h 9742"/>
                  <a:gd name="connsiteX2" fmla="*/ 12020 w 17426"/>
                  <a:gd name="connsiteY2" fmla="*/ 8754 h 9742"/>
                  <a:gd name="connsiteX3" fmla="*/ 10977 w 17426"/>
                  <a:gd name="connsiteY3" fmla="*/ 9742 h 9742"/>
                  <a:gd name="connsiteX4" fmla="*/ 9660 w 17426"/>
                  <a:gd name="connsiteY4" fmla="*/ 7959 h 9742"/>
                  <a:gd name="connsiteX5" fmla="*/ 5270 w 17426"/>
                  <a:gd name="connsiteY5" fmla="*/ 6833 h 9742"/>
                  <a:gd name="connsiteX6" fmla="*/ 4775 w 17426"/>
                  <a:gd name="connsiteY6" fmla="*/ 5187 h 9742"/>
                  <a:gd name="connsiteX7" fmla="*/ 1372 w 17426"/>
                  <a:gd name="connsiteY7" fmla="*/ 3320 h 9742"/>
                  <a:gd name="connsiteX8" fmla="*/ 0 w 17426"/>
                  <a:gd name="connsiteY8" fmla="*/ 1208 h 9742"/>
                  <a:gd name="connsiteX9" fmla="*/ 577 w 17426"/>
                  <a:gd name="connsiteY9" fmla="*/ 0 h 9742"/>
                  <a:gd name="connsiteX10" fmla="*/ 5077 w 17426"/>
                  <a:gd name="connsiteY10" fmla="*/ 2305 h 9742"/>
                  <a:gd name="connsiteX11" fmla="*/ 14957 w 17426"/>
                  <a:gd name="connsiteY11" fmla="*/ 5571 h 9742"/>
                  <a:gd name="connsiteX12" fmla="*/ 17427 w 17426"/>
                  <a:gd name="connsiteY12" fmla="*/ 8233 h 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26" h="9742">
                    <a:moveTo>
                      <a:pt x="17427" y="8260"/>
                    </a:moveTo>
                    <a:lnTo>
                      <a:pt x="17069" y="8891"/>
                    </a:lnTo>
                    <a:lnTo>
                      <a:pt x="12020" y="8754"/>
                    </a:lnTo>
                    <a:lnTo>
                      <a:pt x="10977" y="9742"/>
                    </a:lnTo>
                    <a:lnTo>
                      <a:pt x="9660" y="7959"/>
                    </a:lnTo>
                    <a:lnTo>
                      <a:pt x="5270" y="6833"/>
                    </a:lnTo>
                    <a:lnTo>
                      <a:pt x="4775" y="5187"/>
                    </a:lnTo>
                    <a:lnTo>
                      <a:pt x="1372" y="3320"/>
                    </a:lnTo>
                    <a:lnTo>
                      <a:pt x="0" y="1208"/>
                    </a:lnTo>
                    <a:lnTo>
                      <a:pt x="577" y="0"/>
                    </a:lnTo>
                    <a:lnTo>
                      <a:pt x="5077" y="2305"/>
                    </a:lnTo>
                    <a:lnTo>
                      <a:pt x="14957" y="5571"/>
                    </a:lnTo>
                    <a:lnTo>
                      <a:pt x="17427" y="82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6" name="Freeform: Shape 4085">
                <a:extLst>
                  <a:ext uri="{FF2B5EF4-FFF2-40B4-BE49-F238E27FC236}">
                    <a16:creationId xmlns:a16="http://schemas.microsoft.com/office/drawing/2014/main" id="{A5B9042E-3895-97B7-3CFE-C77C635CD8C7}"/>
                  </a:ext>
                </a:extLst>
              </p:cNvPr>
              <p:cNvSpPr/>
              <p:nvPr/>
            </p:nvSpPr>
            <p:spPr>
              <a:xfrm>
                <a:off x="1804502" y="3870252"/>
                <a:ext cx="1551" cy="1047"/>
              </a:xfrm>
              <a:custGeom>
                <a:avLst/>
                <a:gdLst>
                  <a:gd name="connsiteX0" fmla="*/ 14875 w 14874"/>
                  <a:gd name="connsiteY0" fmla="*/ 8370 h 10043"/>
                  <a:gd name="connsiteX1" fmla="*/ 14051 w 14874"/>
                  <a:gd name="connsiteY1" fmla="*/ 10044 h 10043"/>
                  <a:gd name="connsiteX2" fmla="*/ 12954 w 14874"/>
                  <a:gd name="connsiteY2" fmla="*/ 8480 h 10043"/>
                  <a:gd name="connsiteX3" fmla="*/ 7383 w 14874"/>
                  <a:gd name="connsiteY3" fmla="*/ 5763 h 10043"/>
                  <a:gd name="connsiteX4" fmla="*/ 6230 w 14874"/>
                  <a:gd name="connsiteY4" fmla="*/ 4336 h 10043"/>
                  <a:gd name="connsiteX5" fmla="*/ 3595 w 14874"/>
                  <a:gd name="connsiteY5" fmla="*/ 4171 h 10043"/>
                  <a:gd name="connsiteX6" fmla="*/ 0 w 14874"/>
                  <a:gd name="connsiteY6" fmla="*/ 1098 h 10043"/>
                  <a:gd name="connsiteX7" fmla="*/ 2498 w 14874"/>
                  <a:gd name="connsiteY7" fmla="*/ 0 h 10043"/>
                  <a:gd name="connsiteX8" fmla="*/ 4556 w 14874"/>
                  <a:gd name="connsiteY8" fmla="*/ 2799 h 10043"/>
                  <a:gd name="connsiteX9" fmla="*/ 10072 w 14874"/>
                  <a:gd name="connsiteY9" fmla="*/ 4583 h 10043"/>
                  <a:gd name="connsiteX10" fmla="*/ 14875 w 14874"/>
                  <a:gd name="connsiteY10" fmla="*/ 8397 h 1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74" h="10043">
                    <a:moveTo>
                      <a:pt x="14875" y="8370"/>
                    </a:moveTo>
                    <a:lnTo>
                      <a:pt x="14051" y="10044"/>
                    </a:lnTo>
                    <a:lnTo>
                      <a:pt x="12954" y="8480"/>
                    </a:lnTo>
                    <a:lnTo>
                      <a:pt x="7383" y="5763"/>
                    </a:lnTo>
                    <a:lnTo>
                      <a:pt x="6230" y="4336"/>
                    </a:lnTo>
                    <a:lnTo>
                      <a:pt x="3595" y="4171"/>
                    </a:lnTo>
                    <a:lnTo>
                      <a:pt x="0" y="1098"/>
                    </a:lnTo>
                    <a:lnTo>
                      <a:pt x="2498" y="0"/>
                    </a:lnTo>
                    <a:lnTo>
                      <a:pt x="4556" y="2799"/>
                    </a:lnTo>
                    <a:lnTo>
                      <a:pt x="10072" y="4583"/>
                    </a:lnTo>
                    <a:lnTo>
                      <a:pt x="14875" y="83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7" name="Freeform: Shape 4086">
                <a:extLst>
                  <a:ext uri="{FF2B5EF4-FFF2-40B4-BE49-F238E27FC236}">
                    <a16:creationId xmlns:a16="http://schemas.microsoft.com/office/drawing/2014/main" id="{9B01D713-BAB4-611A-972F-89ED04A6BFF4}"/>
                  </a:ext>
                </a:extLst>
              </p:cNvPr>
              <p:cNvSpPr/>
              <p:nvPr/>
            </p:nvSpPr>
            <p:spPr>
              <a:xfrm>
                <a:off x="1825506" y="3851756"/>
                <a:ext cx="1405" cy="910"/>
              </a:xfrm>
              <a:custGeom>
                <a:avLst/>
                <a:gdLst>
                  <a:gd name="connsiteX0" fmla="*/ 13474 w 13474"/>
                  <a:gd name="connsiteY0" fmla="*/ 8535 h 8726"/>
                  <a:gd name="connsiteX1" fmla="*/ 6888 w 13474"/>
                  <a:gd name="connsiteY1" fmla="*/ 8727 h 8726"/>
                  <a:gd name="connsiteX2" fmla="*/ 4171 w 13474"/>
                  <a:gd name="connsiteY2" fmla="*/ 7821 h 8726"/>
                  <a:gd name="connsiteX3" fmla="*/ 0 w 13474"/>
                  <a:gd name="connsiteY3" fmla="*/ 2552 h 8726"/>
                  <a:gd name="connsiteX4" fmla="*/ 3650 w 13474"/>
                  <a:gd name="connsiteY4" fmla="*/ 0 h 8726"/>
                  <a:gd name="connsiteX5" fmla="*/ 7272 w 13474"/>
                  <a:gd name="connsiteY5" fmla="*/ 274 h 8726"/>
                  <a:gd name="connsiteX6" fmla="*/ 11910 w 13474"/>
                  <a:gd name="connsiteY6" fmla="*/ 2552 h 8726"/>
                  <a:gd name="connsiteX7" fmla="*/ 13447 w 13474"/>
                  <a:gd name="connsiteY7" fmla="*/ 8535 h 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74" h="8726">
                    <a:moveTo>
                      <a:pt x="13474" y="8535"/>
                    </a:moveTo>
                    <a:lnTo>
                      <a:pt x="6888" y="8727"/>
                    </a:lnTo>
                    <a:lnTo>
                      <a:pt x="4171" y="7821"/>
                    </a:lnTo>
                    <a:lnTo>
                      <a:pt x="0" y="2552"/>
                    </a:lnTo>
                    <a:lnTo>
                      <a:pt x="3650" y="0"/>
                    </a:lnTo>
                    <a:lnTo>
                      <a:pt x="7272" y="274"/>
                    </a:lnTo>
                    <a:lnTo>
                      <a:pt x="11910" y="2552"/>
                    </a:lnTo>
                    <a:lnTo>
                      <a:pt x="13447" y="85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8" name="Freeform: Shape 4087">
                <a:extLst>
                  <a:ext uri="{FF2B5EF4-FFF2-40B4-BE49-F238E27FC236}">
                    <a16:creationId xmlns:a16="http://schemas.microsoft.com/office/drawing/2014/main" id="{77C9D2E3-A2BD-068E-3A6B-2497F5103421}"/>
                  </a:ext>
                </a:extLst>
              </p:cNvPr>
              <p:cNvSpPr/>
              <p:nvPr/>
            </p:nvSpPr>
            <p:spPr>
              <a:xfrm>
                <a:off x="1818619" y="3861218"/>
                <a:ext cx="1059" cy="1125"/>
              </a:xfrm>
              <a:custGeom>
                <a:avLst/>
                <a:gdLst>
                  <a:gd name="connsiteX0" fmla="*/ 10154 w 10153"/>
                  <a:gd name="connsiteY0" fmla="*/ 5489 h 10785"/>
                  <a:gd name="connsiteX1" fmla="*/ 8535 w 10153"/>
                  <a:gd name="connsiteY1" fmla="*/ 10785 h 10785"/>
                  <a:gd name="connsiteX2" fmla="*/ 3129 w 10153"/>
                  <a:gd name="connsiteY2" fmla="*/ 8123 h 10785"/>
                  <a:gd name="connsiteX3" fmla="*/ 3266 w 10153"/>
                  <a:gd name="connsiteY3" fmla="*/ 7135 h 10785"/>
                  <a:gd name="connsiteX4" fmla="*/ 302 w 10153"/>
                  <a:gd name="connsiteY4" fmla="*/ 4391 h 10785"/>
                  <a:gd name="connsiteX5" fmla="*/ 0 w 10153"/>
                  <a:gd name="connsiteY5" fmla="*/ 1921 h 10785"/>
                  <a:gd name="connsiteX6" fmla="*/ 741 w 10153"/>
                  <a:gd name="connsiteY6" fmla="*/ 0 h 10785"/>
                  <a:gd name="connsiteX7" fmla="*/ 2854 w 10153"/>
                  <a:gd name="connsiteY7" fmla="*/ 192 h 10785"/>
                  <a:gd name="connsiteX8" fmla="*/ 4007 w 10153"/>
                  <a:gd name="connsiteY8" fmla="*/ 1701 h 10785"/>
                  <a:gd name="connsiteX9" fmla="*/ 6559 w 10153"/>
                  <a:gd name="connsiteY9" fmla="*/ 2223 h 10785"/>
                  <a:gd name="connsiteX10" fmla="*/ 8891 w 10153"/>
                  <a:gd name="connsiteY10" fmla="*/ 3732 h 10785"/>
                  <a:gd name="connsiteX11" fmla="*/ 10099 w 10153"/>
                  <a:gd name="connsiteY11" fmla="*/ 5544 h 1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3" h="10785">
                    <a:moveTo>
                      <a:pt x="10154" y="5489"/>
                    </a:moveTo>
                    <a:lnTo>
                      <a:pt x="8535" y="10785"/>
                    </a:lnTo>
                    <a:lnTo>
                      <a:pt x="3129" y="8123"/>
                    </a:lnTo>
                    <a:lnTo>
                      <a:pt x="3266" y="7135"/>
                    </a:lnTo>
                    <a:lnTo>
                      <a:pt x="302" y="4391"/>
                    </a:lnTo>
                    <a:lnTo>
                      <a:pt x="0" y="1921"/>
                    </a:lnTo>
                    <a:lnTo>
                      <a:pt x="741" y="0"/>
                    </a:lnTo>
                    <a:lnTo>
                      <a:pt x="2854" y="192"/>
                    </a:lnTo>
                    <a:lnTo>
                      <a:pt x="4007" y="1701"/>
                    </a:lnTo>
                    <a:lnTo>
                      <a:pt x="6559" y="2223"/>
                    </a:lnTo>
                    <a:lnTo>
                      <a:pt x="8891" y="3732"/>
                    </a:lnTo>
                    <a:lnTo>
                      <a:pt x="10099" y="55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9" name="Freeform: Shape 4088">
                <a:extLst>
                  <a:ext uri="{FF2B5EF4-FFF2-40B4-BE49-F238E27FC236}">
                    <a16:creationId xmlns:a16="http://schemas.microsoft.com/office/drawing/2014/main" id="{ECF68233-4204-320B-C2BD-0F6C64101EA0}"/>
                  </a:ext>
                </a:extLst>
              </p:cNvPr>
              <p:cNvSpPr/>
              <p:nvPr/>
            </p:nvSpPr>
            <p:spPr>
              <a:xfrm>
                <a:off x="1833351" y="3872207"/>
                <a:ext cx="1431" cy="758"/>
              </a:xfrm>
              <a:custGeom>
                <a:avLst/>
                <a:gdLst>
                  <a:gd name="connsiteX0" fmla="*/ 6394 w 13721"/>
                  <a:gd name="connsiteY0" fmla="*/ 302 h 7272"/>
                  <a:gd name="connsiteX1" fmla="*/ 10209 w 13721"/>
                  <a:gd name="connsiteY1" fmla="*/ 2223 h 7272"/>
                  <a:gd name="connsiteX2" fmla="*/ 11362 w 13721"/>
                  <a:gd name="connsiteY2" fmla="*/ 2223 h 7272"/>
                  <a:gd name="connsiteX3" fmla="*/ 13721 w 13721"/>
                  <a:gd name="connsiteY3" fmla="*/ 4446 h 7272"/>
                  <a:gd name="connsiteX4" fmla="*/ 10209 w 13721"/>
                  <a:gd name="connsiteY4" fmla="*/ 7272 h 7272"/>
                  <a:gd name="connsiteX5" fmla="*/ 5160 w 13721"/>
                  <a:gd name="connsiteY5" fmla="*/ 6971 h 7272"/>
                  <a:gd name="connsiteX6" fmla="*/ 4171 w 13721"/>
                  <a:gd name="connsiteY6" fmla="*/ 4446 h 7272"/>
                  <a:gd name="connsiteX7" fmla="*/ 0 w 13721"/>
                  <a:gd name="connsiteY7" fmla="*/ 522 h 7272"/>
                  <a:gd name="connsiteX8" fmla="*/ 576 w 13721"/>
                  <a:gd name="connsiteY8" fmla="*/ 0 h 7272"/>
                  <a:gd name="connsiteX9" fmla="*/ 6394 w 13721"/>
                  <a:gd name="connsiteY9" fmla="*/ 274 h 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21" h="7272">
                    <a:moveTo>
                      <a:pt x="6394" y="302"/>
                    </a:moveTo>
                    <a:lnTo>
                      <a:pt x="10209" y="2223"/>
                    </a:lnTo>
                    <a:lnTo>
                      <a:pt x="11362" y="2223"/>
                    </a:lnTo>
                    <a:cubicBezTo>
                      <a:pt x="11362" y="2223"/>
                      <a:pt x="13721" y="4446"/>
                      <a:pt x="13721" y="4446"/>
                    </a:cubicBezTo>
                    <a:lnTo>
                      <a:pt x="10209" y="7272"/>
                    </a:lnTo>
                    <a:lnTo>
                      <a:pt x="5160" y="6971"/>
                    </a:lnTo>
                    <a:lnTo>
                      <a:pt x="4171" y="4446"/>
                    </a:lnTo>
                    <a:lnTo>
                      <a:pt x="0" y="522"/>
                    </a:lnTo>
                    <a:lnTo>
                      <a:pt x="576" y="0"/>
                    </a:lnTo>
                    <a:lnTo>
                      <a:pt x="6394" y="2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0" name="Freeform: Shape 4089">
                <a:extLst>
                  <a:ext uri="{FF2B5EF4-FFF2-40B4-BE49-F238E27FC236}">
                    <a16:creationId xmlns:a16="http://schemas.microsoft.com/office/drawing/2014/main" id="{6CCE6642-117F-FE8C-CFD0-AE27A80E7905}"/>
                  </a:ext>
                </a:extLst>
              </p:cNvPr>
              <p:cNvSpPr/>
              <p:nvPr/>
            </p:nvSpPr>
            <p:spPr>
              <a:xfrm>
                <a:off x="1825858" y="3872868"/>
                <a:ext cx="827" cy="876"/>
              </a:xfrm>
              <a:custGeom>
                <a:avLst/>
                <a:gdLst>
                  <a:gd name="connsiteX0" fmla="*/ 7931 w 7930"/>
                  <a:gd name="connsiteY0" fmla="*/ 4940 h 8397"/>
                  <a:gd name="connsiteX1" fmla="*/ 7026 w 7930"/>
                  <a:gd name="connsiteY1" fmla="*/ 8397 h 8397"/>
                  <a:gd name="connsiteX2" fmla="*/ 5132 w 7930"/>
                  <a:gd name="connsiteY2" fmla="*/ 8178 h 8397"/>
                  <a:gd name="connsiteX3" fmla="*/ 0 w 7930"/>
                  <a:gd name="connsiteY3" fmla="*/ 3101 h 8397"/>
                  <a:gd name="connsiteX4" fmla="*/ 1866 w 7930"/>
                  <a:gd name="connsiteY4" fmla="*/ 55 h 8397"/>
                  <a:gd name="connsiteX5" fmla="*/ 5105 w 7930"/>
                  <a:gd name="connsiteY5" fmla="*/ 0 h 8397"/>
                  <a:gd name="connsiteX6" fmla="*/ 7931 w 7930"/>
                  <a:gd name="connsiteY6" fmla="*/ 4940 h 8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30" h="8397">
                    <a:moveTo>
                      <a:pt x="7931" y="4940"/>
                    </a:moveTo>
                    <a:lnTo>
                      <a:pt x="7026" y="8397"/>
                    </a:lnTo>
                    <a:lnTo>
                      <a:pt x="5132" y="8178"/>
                    </a:lnTo>
                    <a:lnTo>
                      <a:pt x="0" y="3101"/>
                    </a:lnTo>
                    <a:lnTo>
                      <a:pt x="1866" y="55"/>
                    </a:lnTo>
                    <a:lnTo>
                      <a:pt x="5105" y="0"/>
                    </a:lnTo>
                    <a:lnTo>
                      <a:pt x="7931" y="49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1" name="Freeform: Shape 4090">
                <a:extLst>
                  <a:ext uri="{FF2B5EF4-FFF2-40B4-BE49-F238E27FC236}">
                    <a16:creationId xmlns:a16="http://schemas.microsoft.com/office/drawing/2014/main" id="{1BC8BC7F-E966-1FB2-C24A-5030C504D7E6}"/>
                  </a:ext>
                </a:extLst>
              </p:cNvPr>
              <p:cNvSpPr/>
              <p:nvPr/>
            </p:nvSpPr>
            <p:spPr>
              <a:xfrm>
                <a:off x="1805011" y="3870100"/>
                <a:ext cx="1125" cy="627"/>
              </a:xfrm>
              <a:custGeom>
                <a:avLst/>
                <a:gdLst>
                  <a:gd name="connsiteX0" fmla="*/ 1126 w 10785"/>
                  <a:gd name="connsiteY0" fmla="*/ 0 h 6009"/>
                  <a:gd name="connsiteX1" fmla="*/ 4967 w 10785"/>
                  <a:gd name="connsiteY1" fmla="*/ 1098 h 6009"/>
                  <a:gd name="connsiteX2" fmla="*/ 8974 w 10785"/>
                  <a:gd name="connsiteY2" fmla="*/ 192 h 6009"/>
                  <a:gd name="connsiteX3" fmla="*/ 10374 w 10785"/>
                  <a:gd name="connsiteY3" fmla="*/ 960 h 6009"/>
                  <a:gd name="connsiteX4" fmla="*/ 10456 w 10785"/>
                  <a:gd name="connsiteY4" fmla="*/ 2991 h 6009"/>
                  <a:gd name="connsiteX5" fmla="*/ 8700 w 10785"/>
                  <a:gd name="connsiteY5" fmla="*/ 2058 h 6009"/>
                  <a:gd name="connsiteX6" fmla="*/ 9001 w 10785"/>
                  <a:gd name="connsiteY6" fmla="*/ 4116 h 6009"/>
                  <a:gd name="connsiteX7" fmla="*/ 10786 w 10785"/>
                  <a:gd name="connsiteY7" fmla="*/ 5489 h 6009"/>
                  <a:gd name="connsiteX8" fmla="*/ 9029 w 10785"/>
                  <a:gd name="connsiteY8" fmla="*/ 6010 h 6009"/>
                  <a:gd name="connsiteX9" fmla="*/ 631 w 10785"/>
                  <a:gd name="connsiteY9" fmla="*/ 1619 h 6009"/>
                  <a:gd name="connsiteX10" fmla="*/ 0 w 10785"/>
                  <a:gd name="connsiteY10" fmla="*/ 960 h 6009"/>
                  <a:gd name="connsiteX11" fmla="*/ 1153 w 10785"/>
                  <a:gd name="connsiteY11" fmla="*/ 27 h 6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85" h="6009">
                    <a:moveTo>
                      <a:pt x="1126" y="0"/>
                    </a:moveTo>
                    <a:lnTo>
                      <a:pt x="4967" y="1098"/>
                    </a:lnTo>
                    <a:lnTo>
                      <a:pt x="8974" y="192"/>
                    </a:lnTo>
                    <a:lnTo>
                      <a:pt x="10374" y="960"/>
                    </a:lnTo>
                    <a:lnTo>
                      <a:pt x="10456" y="2991"/>
                    </a:lnTo>
                    <a:lnTo>
                      <a:pt x="8700" y="2058"/>
                    </a:lnTo>
                    <a:lnTo>
                      <a:pt x="9001" y="4116"/>
                    </a:lnTo>
                    <a:lnTo>
                      <a:pt x="10786" y="5489"/>
                    </a:lnTo>
                    <a:lnTo>
                      <a:pt x="9029" y="6010"/>
                    </a:lnTo>
                    <a:lnTo>
                      <a:pt x="631" y="1619"/>
                    </a:lnTo>
                    <a:lnTo>
                      <a:pt x="0" y="960"/>
                    </a:lnTo>
                    <a:lnTo>
                      <a:pt x="1153"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2" name="Freeform: Shape 4091">
                <a:extLst>
                  <a:ext uri="{FF2B5EF4-FFF2-40B4-BE49-F238E27FC236}">
                    <a16:creationId xmlns:a16="http://schemas.microsoft.com/office/drawing/2014/main" id="{718463EE-59DA-A80A-5ED9-C6ACC0AF2789}"/>
                  </a:ext>
                </a:extLst>
              </p:cNvPr>
              <p:cNvSpPr/>
              <p:nvPr/>
            </p:nvSpPr>
            <p:spPr>
              <a:xfrm>
                <a:off x="1816306" y="3860460"/>
                <a:ext cx="681" cy="693"/>
              </a:xfrm>
              <a:custGeom>
                <a:avLst/>
                <a:gdLst>
                  <a:gd name="connsiteX0" fmla="*/ 6532 w 6531"/>
                  <a:gd name="connsiteY0" fmla="*/ 5626 h 6641"/>
                  <a:gd name="connsiteX1" fmla="*/ 3678 w 6531"/>
                  <a:gd name="connsiteY1" fmla="*/ 6641 h 6641"/>
                  <a:gd name="connsiteX2" fmla="*/ 302 w 6531"/>
                  <a:gd name="connsiteY2" fmla="*/ 4391 h 6641"/>
                  <a:gd name="connsiteX3" fmla="*/ 0 w 6531"/>
                  <a:gd name="connsiteY3" fmla="*/ 2086 h 6641"/>
                  <a:gd name="connsiteX4" fmla="*/ 2827 w 6531"/>
                  <a:gd name="connsiteY4" fmla="*/ 0 h 6641"/>
                  <a:gd name="connsiteX5" fmla="*/ 5736 w 6531"/>
                  <a:gd name="connsiteY5" fmla="*/ 1674 h 6641"/>
                  <a:gd name="connsiteX6" fmla="*/ 6532 w 6531"/>
                  <a:gd name="connsiteY6" fmla="*/ 5653 h 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6641">
                    <a:moveTo>
                      <a:pt x="6532" y="5626"/>
                    </a:moveTo>
                    <a:lnTo>
                      <a:pt x="3678" y="6641"/>
                    </a:lnTo>
                    <a:lnTo>
                      <a:pt x="302" y="4391"/>
                    </a:lnTo>
                    <a:lnTo>
                      <a:pt x="0" y="2086"/>
                    </a:lnTo>
                    <a:lnTo>
                      <a:pt x="2827" y="0"/>
                    </a:lnTo>
                    <a:lnTo>
                      <a:pt x="5736" y="1674"/>
                    </a:lnTo>
                    <a:lnTo>
                      <a:pt x="6532" y="56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3" name="Freeform: Shape 4092">
                <a:extLst>
                  <a:ext uri="{FF2B5EF4-FFF2-40B4-BE49-F238E27FC236}">
                    <a16:creationId xmlns:a16="http://schemas.microsoft.com/office/drawing/2014/main" id="{BFAB8218-622B-6C56-DD2B-9C05A2E66773}"/>
                  </a:ext>
                </a:extLst>
              </p:cNvPr>
              <p:cNvSpPr/>
              <p:nvPr/>
            </p:nvSpPr>
            <p:spPr>
              <a:xfrm>
                <a:off x="1812880" y="3858310"/>
                <a:ext cx="592" cy="770"/>
              </a:xfrm>
              <a:custGeom>
                <a:avLst/>
                <a:gdLst>
                  <a:gd name="connsiteX0" fmla="*/ 5050 w 5680"/>
                  <a:gd name="connsiteY0" fmla="*/ 6339 h 7382"/>
                  <a:gd name="connsiteX1" fmla="*/ 1537 w 5680"/>
                  <a:gd name="connsiteY1" fmla="*/ 7382 h 7382"/>
                  <a:gd name="connsiteX2" fmla="*/ 0 w 5680"/>
                  <a:gd name="connsiteY2" fmla="*/ 4419 h 7382"/>
                  <a:gd name="connsiteX3" fmla="*/ 549 w 5680"/>
                  <a:gd name="connsiteY3" fmla="*/ 2141 h 7382"/>
                  <a:gd name="connsiteX4" fmla="*/ 3540 w 5680"/>
                  <a:gd name="connsiteY4" fmla="*/ 0 h 7382"/>
                  <a:gd name="connsiteX5" fmla="*/ 5681 w 5680"/>
                  <a:gd name="connsiteY5" fmla="*/ 1894 h 7382"/>
                  <a:gd name="connsiteX6" fmla="*/ 5050 w 5680"/>
                  <a:gd name="connsiteY6" fmla="*/ 6312 h 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0" h="7382">
                    <a:moveTo>
                      <a:pt x="5050" y="6339"/>
                    </a:moveTo>
                    <a:lnTo>
                      <a:pt x="1537" y="7382"/>
                    </a:lnTo>
                    <a:lnTo>
                      <a:pt x="0" y="4419"/>
                    </a:lnTo>
                    <a:lnTo>
                      <a:pt x="549" y="2141"/>
                    </a:lnTo>
                    <a:lnTo>
                      <a:pt x="3540" y="0"/>
                    </a:lnTo>
                    <a:lnTo>
                      <a:pt x="5681" y="1894"/>
                    </a:lnTo>
                    <a:lnTo>
                      <a:pt x="5050" y="63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4" name="Freeform: Shape 4093">
                <a:extLst>
                  <a:ext uri="{FF2B5EF4-FFF2-40B4-BE49-F238E27FC236}">
                    <a16:creationId xmlns:a16="http://schemas.microsoft.com/office/drawing/2014/main" id="{9C4D1430-AA10-6FDC-F946-9563EE4F8B49}"/>
                  </a:ext>
                </a:extLst>
              </p:cNvPr>
              <p:cNvSpPr/>
              <p:nvPr/>
            </p:nvSpPr>
            <p:spPr>
              <a:xfrm>
                <a:off x="1824006" y="3848518"/>
                <a:ext cx="655" cy="624"/>
              </a:xfrm>
              <a:custGeom>
                <a:avLst/>
                <a:gdLst>
                  <a:gd name="connsiteX0" fmla="*/ 6285 w 6284"/>
                  <a:gd name="connsiteY0" fmla="*/ 5159 h 5982"/>
                  <a:gd name="connsiteX1" fmla="*/ 4693 w 6284"/>
                  <a:gd name="connsiteY1" fmla="*/ 5983 h 5982"/>
                  <a:gd name="connsiteX2" fmla="*/ 0 w 6284"/>
                  <a:gd name="connsiteY2" fmla="*/ 3046 h 5982"/>
                  <a:gd name="connsiteX3" fmla="*/ 2305 w 6284"/>
                  <a:gd name="connsiteY3" fmla="*/ 0 h 5982"/>
                  <a:gd name="connsiteX4" fmla="*/ 5022 w 6284"/>
                  <a:gd name="connsiteY4" fmla="*/ 1811 h 5982"/>
                  <a:gd name="connsiteX5" fmla="*/ 5736 w 6284"/>
                  <a:gd name="connsiteY5" fmla="*/ 3074 h 5982"/>
                  <a:gd name="connsiteX6" fmla="*/ 6285 w 6284"/>
                  <a:gd name="connsiteY6" fmla="*/ 5159 h 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4" h="5982">
                    <a:moveTo>
                      <a:pt x="6285" y="5159"/>
                    </a:moveTo>
                    <a:lnTo>
                      <a:pt x="4693" y="5983"/>
                    </a:lnTo>
                    <a:lnTo>
                      <a:pt x="0" y="3046"/>
                    </a:lnTo>
                    <a:lnTo>
                      <a:pt x="2305" y="0"/>
                    </a:lnTo>
                    <a:lnTo>
                      <a:pt x="5022" y="1811"/>
                    </a:lnTo>
                    <a:lnTo>
                      <a:pt x="5736" y="3074"/>
                    </a:lnTo>
                    <a:lnTo>
                      <a:pt x="6285" y="51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5" name="Freeform: Shape 4094">
                <a:extLst>
                  <a:ext uri="{FF2B5EF4-FFF2-40B4-BE49-F238E27FC236}">
                    <a16:creationId xmlns:a16="http://schemas.microsoft.com/office/drawing/2014/main" id="{0AA8D0C7-73A8-8C33-5F0D-C0D70068B2D4}"/>
                  </a:ext>
                </a:extLst>
              </p:cNvPr>
              <p:cNvSpPr/>
              <p:nvPr/>
            </p:nvSpPr>
            <p:spPr>
              <a:xfrm>
                <a:off x="1828311" y="3870289"/>
                <a:ext cx="684" cy="552"/>
              </a:xfrm>
              <a:custGeom>
                <a:avLst/>
                <a:gdLst>
                  <a:gd name="connsiteX0" fmla="*/ 5955 w 6558"/>
                  <a:gd name="connsiteY0" fmla="*/ 4994 h 5296"/>
                  <a:gd name="connsiteX1" fmla="*/ 1152 w 6558"/>
                  <a:gd name="connsiteY1" fmla="*/ 5296 h 5296"/>
                  <a:gd name="connsiteX2" fmla="*/ 0 w 6558"/>
                  <a:gd name="connsiteY2" fmla="*/ 4007 h 5296"/>
                  <a:gd name="connsiteX3" fmla="*/ 2086 w 6558"/>
                  <a:gd name="connsiteY3" fmla="*/ 3512 h 5296"/>
                  <a:gd name="connsiteX4" fmla="*/ 3924 w 6558"/>
                  <a:gd name="connsiteY4" fmla="*/ 1125 h 5296"/>
                  <a:gd name="connsiteX5" fmla="*/ 6559 w 6558"/>
                  <a:gd name="connsiteY5" fmla="*/ 0 h 5296"/>
                  <a:gd name="connsiteX6" fmla="*/ 5955 w 6558"/>
                  <a:gd name="connsiteY6" fmla="*/ 4994 h 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8" h="5296">
                    <a:moveTo>
                      <a:pt x="5955" y="4994"/>
                    </a:moveTo>
                    <a:lnTo>
                      <a:pt x="1152" y="5296"/>
                    </a:lnTo>
                    <a:lnTo>
                      <a:pt x="0" y="4007"/>
                    </a:lnTo>
                    <a:lnTo>
                      <a:pt x="2086" y="3512"/>
                    </a:lnTo>
                    <a:lnTo>
                      <a:pt x="3924" y="1125"/>
                    </a:lnTo>
                    <a:lnTo>
                      <a:pt x="6559" y="0"/>
                    </a:lnTo>
                    <a:lnTo>
                      <a:pt x="5955" y="49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6" name="Freeform: Shape 4095">
                <a:extLst>
                  <a:ext uri="{FF2B5EF4-FFF2-40B4-BE49-F238E27FC236}">
                    <a16:creationId xmlns:a16="http://schemas.microsoft.com/office/drawing/2014/main" id="{268518D4-527A-3624-0105-7F3B1DB87B19}"/>
                  </a:ext>
                </a:extLst>
              </p:cNvPr>
              <p:cNvSpPr/>
              <p:nvPr/>
            </p:nvSpPr>
            <p:spPr>
              <a:xfrm>
                <a:off x="1837791" y="3879323"/>
                <a:ext cx="856" cy="424"/>
              </a:xfrm>
              <a:custGeom>
                <a:avLst/>
                <a:gdLst>
                  <a:gd name="connsiteX0" fmla="*/ 8205 w 8205"/>
                  <a:gd name="connsiteY0" fmla="*/ 1537 h 4061"/>
                  <a:gd name="connsiteX1" fmla="*/ 7464 w 8205"/>
                  <a:gd name="connsiteY1" fmla="*/ 3870 h 4061"/>
                  <a:gd name="connsiteX2" fmla="*/ 5873 w 8205"/>
                  <a:gd name="connsiteY2" fmla="*/ 3101 h 4061"/>
                  <a:gd name="connsiteX3" fmla="*/ 2662 w 8205"/>
                  <a:gd name="connsiteY3" fmla="*/ 4062 h 4061"/>
                  <a:gd name="connsiteX4" fmla="*/ 0 w 8205"/>
                  <a:gd name="connsiteY4" fmla="*/ 2689 h 4061"/>
                  <a:gd name="connsiteX5" fmla="*/ 2992 w 8205"/>
                  <a:gd name="connsiteY5" fmla="*/ 165 h 4061"/>
                  <a:gd name="connsiteX6" fmla="*/ 6065 w 8205"/>
                  <a:gd name="connsiteY6" fmla="*/ 0 h 4061"/>
                  <a:gd name="connsiteX7" fmla="*/ 8205 w 8205"/>
                  <a:gd name="connsiteY7" fmla="*/ 1537 h 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05" h="4061">
                    <a:moveTo>
                      <a:pt x="8205" y="1537"/>
                    </a:moveTo>
                    <a:lnTo>
                      <a:pt x="7464" y="3870"/>
                    </a:lnTo>
                    <a:lnTo>
                      <a:pt x="5873" y="3101"/>
                    </a:lnTo>
                    <a:lnTo>
                      <a:pt x="2662" y="4062"/>
                    </a:lnTo>
                    <a:lnTo>
                      <a:pt x="0" y="2689"/>
                    </a:lnTo>
                    <a:lnTo>
                      <a:pt x="2992" y="165"/>
                    </a:lnTo>
                    <a:lnTo>
                      <a:pt x="6065" y="0"/>
                    </a:lnTo>
                    <a:lnTo>
                      <a:pt x="8205" y="15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7" name="Freeform: Shape 4096">
                <a:extLst>
                  <a:ext uri="{FF2B5EF4-FFF2-40B4-BE49-F238E27FC236}">
                    <a16:creationId xmlns:a16="http://schemas.microsoft.com/office/drawing/2014/main" id="{2C226B8D-AA8C-1BD3-D45E-C06568F1AA85}"/>
                  </a:ext>
                </a:extLst>
              </p:cNvPr>
              <p:cNvSpPr/>
              <p:nvPr/>
            </p:nvSpPr>
            <p:spPr>
              <a:xfrm>
                <a:off x="1828005" y="3876933"/>
                <a:ext cx="767" cy="469"/>
              </a:xfrm>
              <a:custGeom>
                <a:avLst/>
                <a:gdLst>
                  <a:gd name="connsiteX0" fmla="*/ 1674 w 7354"/>
                  <a:gd name="connsiteY0" fmla="*/ 0 h 4500"/>
                  <a:gd name="connsiteX1" fmla="*/ 3403 w 7354"/>
                  <a:gd name="connsiteY1" fmla="*/ 2278 h 4500"/>
                  <a:gd name="connsiteX2" fmla="*/ 6614 w 7354"/>
                  <a:gd name="connsiteY2" fmla="*/ 1619 h 4500"/>
                  <a:gd name="connsiteX3" fmla="*/ 7355 w 7354"/>
                  <a:gd name="connsiteY3" fmla="*/ 3183 h 4500"/>
                  <a:gd name="connsiteX4" fmla="*/ 2415 w 7354"/>
                  <a:gd name="connsiteY4" fmla="*/ 4501 h 4500"/>
                  <a:gd name="connsiteX5" fmla="*/ 411 w 7354"/>
                  <a:gd name="connsiteY5" fmla="*/ 3211 h 4500"/>
                  <a:gd name="connsiteX6" fmla="*/ 0 w 7354"/>
                  <a:gd name="connsiteY6" fmla="*/ 1153 h 4500"/>
                  <a:gd name="connsiteX7" fmla="*/ 1674 w 7354"/>
                  <a:gd name="connsiteY7" fmla="*/ 27 h 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4" h="4500">
                    <a:moveTo>
                      <a:pt x="1674" y="0"/>
                    </a:moveTo>
                    <a:lnTo>
                      <a:pt x="3403" y="2278"/>
                    </a:lnTo>
                    <a:lnTo>
                      <a:pt x="6614" y="1619"/>
                    </a:lnTo>
                    <a:lnTo>
                      <a:pt x="7355" y="3183"/>
                    </a:lnTo>
                    <a:lnTo>
                      <a:pt x="2415" y="4501"/>
                    </a:lnTo>
                    <a:lnTo>
                      <a:pt x="411" y="3211"/>
                    </a:lnTo>
                    <a:lnTo>
                      <a:pt x="0" y="1153"/>
                    </a:lnTo>
                    <a:lnTo>
                      <a:pt x="1674"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8" name="Freeform: Shape 4097">
                <a:extLst>
                  <a:ext uri="{FF2B5EF4-FFF2-40B4-BE49-F238E27FC236}">
                    <a16:creationId xmlns:a16="http://schemas.microsoft.com/office/drawing/2014/main" id="{FCCA1E96-67EF-F056-9C92-5F27A87BC361}"/>
                  </a:ext>
                </a:extLst>
              </p:cNvPr>
              <p:cNvSpPr/>
              <p:nvPr/>
            </p:nvSpPr>
            <p:spPr>
              <a:xfrm>
                <a:off x="1833245" y="3853742"/>
                <a:ext cx="472" cy="644"/>
              </a:xfrm>
              <a:custGeom>
                <a:avLst/>
                <a:gdLst>
                  <a:gd name="connsiteX0" fmla="*/ 4528 w 4527"/>
                  <a:gd name="connsiteY0" fmla="*/ 2882 h 6174"/>
                  <a:gd name="connsiteX1" fmla="*/ 3238 w 4527"/>
                  <a:gd name="connsiteY1" fmla="*/ 6175 h 6174"/>
                  <a:gd name="connsiteX2" fmla="*/ 0 w 4527"/>
                  <a:gd name="connsiteY2" fmla="*/ 1811 h 6174"/>
                  <a:gd name="connsiteX3" fmla="*/ 3430 w 4527"/>
                  <a:gd name="connsiteY3" fmla="*/ 0 h 6174"/>
                  <a:gd name="connsiteX4" fmla="*/ 4528 w 4527"/>
                  <a:gd name="connsiteY4" fmla="*/ 2882 h 6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7" h="6174">
                    <a:moveTo>
                      <a:pt x="4528" y="2882"/>
                    </a:moveTo>
                    <a:lnTo>
                      <a:pt x="3238" y="6175"/>
                    </a:lnTo>
                    <a:lnTo>
                      <a:pt x="0" y="1811"/>
                    </a:lnTo>
                    <a:lnTo>
                      <a:pt x="3430" y="0"/>
                    </a:lnTo>
                    <a:lnTo>
                      <a:pt x="4528" y="28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9" name="Freeform: Shape 4098">
                <a:extLst>
                  <a:ext uri="{FF2B5EF4-FFF2-40B4-BE49-F238E27FC236}">
                    <a16:creationId xmlns:a16="http://schemas.microsoft.com/office/drawing/2014/main" id="{B91CCA30-63B5-28FE-D964-DA91E3DCE36E}"/>
                  </a:ext>
                </a:extLst>
              </p:cNvPr>
              <p:cNvSpPr/>
              <p:nvPr/>
            </p:nvSpPr>
            <p:spPr>
              <a:xfrm>
                <a:off x="1833669" y="3877179"/>
                <a:ext cx="627" cy="369"/>
              </a:xfrm>
              <a:custGeom>
                <a:avLst/>
                <a:gdLst>
                  <a:gd name="connsiteX0" fmla="*/ 5982 w 6009"/>
                  <a:gd name="connsiteY0" fmla="*/ 2415 h 3540"/>
                  <a:gd name="connsiteX1" fmla="*/ 1838 w 6009"/>
                  <a:gd name="connsiteY1" fmla="*/ 3540 h 3540"/>
                  <a:gd name="connsiteX2" fmla="*/ 0 w 6009"/>
                  <a:gd name="connsiteY2" fmla="*/ 2223 h 3540"/>
                  <a:gd name="connsiteX3" fmla="*/ 4171 w 6009"/>
                  <a:gd name="connsiteY3" fmla="*/ 0 h 3540"/>
                  <a:gd name="connsiteX4" fmla="*/ 6010 w 6009"/>
                  <a:gd name="connsiteY4" fmla="*/ 2415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9" h="3540">
                    <a:moveTo>
                      <a:pt x="5982" y="2415"/>
                    </a:moveTo>
                    <a:lnTo>
                      <a:pt x="1838" y="3540"/>
                    </a:lnTo>
                    <a:lnTo>
                      <a:pt x="0" y="2223"/>
                    </a:lnTo>
                    <a:lnTo>
                      <a:pt x="4171" y="0"/>
                    </a:lnTo>
                    <a:lnTo>
                      <a:pt x="6010"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0" name="Freeform: Shape 4099">
                <a:extLst>
                  <a:ext uri="{FF2B5EF4-FFF2-40B4-BE49-F238E27FC236}">
                    <a16:creationId xmlns:a16="http://schemas.microsoft.com/office/drawing/2014/main" id="{BD00D20E-FFFA-F906-438A-FBD500C3E70D}"/>
                  </a:ext>
                </a:extLst>
              </p:cNvPr>
              <p:cNvSpPr/>
              <p:nvPr/>
            </p:nvSpPr>
            <p:spPr>
              <a:xfrm>
                <a:off x="1835009" y="3878971"/>
                <a:ext cx="527" cy="372"/>
              </a:xfrm>
              <a:custGeom>
                <a:avLst/>
                <a:gdLst>
                  <a:gd name="connsiteX0" fmla="*/ 5050 w 5049"/>
                  <a:gd name="connsiteY0" fmla="*/ 2634 h 3567"/>
                  <a:gd name="connsiteX1" fmla="*/ 4501 w 5049"/>
                  <a:gd name="connsiteY1" fmla="*/ 3568 h 3567"/>
                  <a:gd name="connsiteX2" fmla="*/ 0 w 5049"/>
                  <a:gd name="connsiteY2" fmla="*/ 1235 h 3567"/>
                  <a:gd name="connsiteX3" fmla="*/ 1784 w 5049"/>
                  <a:gd name="connsiteY3" fmla="*/ 0 h 3567"/>
                  <a:gd name="connsiteX4" fmla="*/ 5050 w 5049"/>
                  <a:gd name="connsiteY4" fmla="*/ 2634 h 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 h="3567">
                    <a:moveTo>
                      <a:pt x="5050" y="2634"/>
                    </a:moveTo>
                    <a:lnTo>
                      <a:pt x="4501" y="3568"/>
                    </a:lnTo>
                    <a:lnTo>
                      <a:pt x="0" y="1235"/>
                    </a:lnTo>
                    <a:lnTo>
                      <a:pt x="1784" y="0"/>
                    </a:lnTo>
                    <a:lnTo>
                      <a:pt x="5050"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1" name="Freeform: Shape 4100">
                <a:extLst>
                  <a:ext uri="{FF2B5EF4-FFF2-40B4-BE49-F238E27FC236}">
                    <a16:creationId xmlns:a16="http://schemas.microsoft.com/office/drawing/2014/main" id="{212BC297-36B0-0350-E427-3B08D1B9545A}"/>
                  </a:ext>
                </a:extLst>
              </p:cNvPr>
              <p:cNvSpPr/>
              <p:nvPr/>
            </p:nvSpPr>
            <p:spPr>
              <a:xfrm>
                <a:off x="1831525" y="3853307"/>
                <a:ext cx="435" cy="444"/>
              </a:xfrm>
              <a:custGeom>
                <a:avLst/>
                <a:gdLst>
                  <a:gd name="connsiteX0" fmla="*/ 4171 w 4171"/>
                  <a:gd name="connsiteY0" fmla="*/ 1208 h 4253"/>
                  <a:gd name="connsiteX1" fmla="*/ 2744 w 4171"/>
                  <a:gd name="connsiteY1" fmla="*/ 4254 h 4253"/>
                  <a:gd name="connsiteX2" fmla="*/ 0 w 4171"/>
                  <a:gd name="connsiteY2" fmla="*/ 467 h 4253"/>
                  <a:gd name="connsiteX3" fmla="*/ 2882 w 4171"/>
                  <a:gd name="connsiteY3" fmla="*/ 0 h 4253"/>
                  <a:gd name="connsiteX4" fmla="*/ 4171 w 4171"/>
                  <a:gd name="connsiteY4" fmla="*/ 1180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1" h="4253">
                    <a:moveTo>
                      <a:pt x="4171" y="1208"/>
                    </a:moveTo>
                    <a:lnTo>
                      <a:pt x="2744" y="4254"/>
                    </a:lnTo>
                    <a:lnTo>
                      <a:pt x="0" y="467"/>
                    </a:lnTo>
                    <a:lnTo>
                      <a:pt x="2882" y="0"/>
                    </a:lnTo>
                    <a:lnTo>
                      <a:pt x="4171"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2" name="Freeform: Shape 4101">
                <a:extLst>
                  <a:ext uri="{FF2B5EF4-FFF2-40B4-BE49-F238E27FC236}">
                    <a16:creationId xmlns:a16="http://schemas.microsoft.com/office/drawing/2014/main" id="{3EAC7A20-0D3B-CAFB-0500-3D7C0422F0C7}"/>
                  </a:ext>
                </a:extLst>
              </p:cNvPr>
              <p:cNvSpPr/>
              <p:nvPr/>
            </p:nvSpPr>
            <p:spPr>
              <a:xfrm>
                <a:off x="1811675" y="3846990"/>
                <a:ext cx="461" cy="386"/>
              </a:xfrm>
              <a:custGeom>
                <a:avLst/>
                <a:gdLst>
                  <a:gd name="connsiteX0" fmla="*/ 4391 w 4418"/>
                  <a:gd name="connsiteY0" fmla="*/ 1098 h 3704"/>
                  <a:gd name="connsiteX1" fmla="*/ 1317 w 4418"/>
                  <a:gd name="connsiteY1" fmla="*/ 3705 h 3704"/>
                  <a:gd name="connsiteX2" fmla="*/ 0 w 4418"/>
                  <a:gd name="connsiteY2" fmla="*/ 2607 h 3704"/>
                  <a:gd name="connsiteX3" fmla="*/ 2854 w 4418"/>
                  <a:gd name="connsiteY3" fmla="*/ 0 h 3704"/>
                  <a:gd name="connsiteX4" fmla="*/ 4419 w 4418"/>
                  <a:gd name="connsiteY4" fmla="*/ 1098 h 3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3704">
                    <a:moveTo>
                      <a:pt x="4391" y="1098"/>
                    </a:moveTo>
                    <a:lnTo>
                      <a:pt x="1317" y="3705"/>
                    </a:lnTo>
                    <a:lnTo>
                      <a:pt x="0" y="2607"/>
                    </a:lnTo>
                    <a:lnTo>
                      <a:pt x="2854" y="0"/>
                    </a:lnTo>
                    <a:lnTo>
                      <a:pt x="4419" y="10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3" name="Freeform: Shape 4102">
                <a:extLst>
                  <a:ext uri="{FF2B5EF4-FFF2-40B4-BE49-F238E27FC236}">
                    <a16:creationId xmlns:a16="http://schemas.microsoft.com/office/drawing/2014/main" id="{AC73F04A-18AE-8079-E659-367DA4AB1659}"/>
                  </a:ext>
                </a:extLst>
              </p:cNvPr>
              <p:cNvSpPr/>
              <p:nvPr/>
            </p:nvSpPr>
            <p:spPr>
              <a:xfrm>
                <a:off x="1806214" y="3870438"/>
                <a:ext cx="449" cy="386"/>
              </a:xfrm>
              <a:custGeom>
                <a:avLst/>
                <a:gdLst>
                  <a:gd name="connsiteX0" fmla="*/ 4308 w 4308"/>
                  <a:gd name="connsiteY0" fmla="*/ 1976 h 3704"/>
                  <a:gd name="connsiteX1" fmla="*/ 3348 w 4308"/>
                  <a:gd name="connsiteY1" fmla="*/ 3705 h 3704"/>
                  <a:gd name="connsiteX2" fmla="*/ 0 w 4308"/>
                  <a:gd name="connsiteY2" fmla="*/ 521 h 3704"/>
                  <a:gd name="connsiteX3" fmla="*/ 2167 w 4308"/>
                  <a:gd name="connsiteY3" fmla="*/ 0 h 3704"/>
                  <a:gd name="connsiteX4" fmla="*/ 4308 w 4308"/>
                  <a:gd name="connsiteY4" fmla="*/ 1976 h 3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3704">
                    <a:moveTo>
                      <a:pt x="4308" y="1976"/>
                    </a:moveTo>
                    <a:lnTo>
                      <a:pt x="3348" y="3705"/>
                    </a:lnTo>
                    <a:lnTo>
                      <a:pt x="0" y="521"/>
                    </a:lnTo>
                    <a:lnTo>
                      <a:pt x="2167" y="0"/>
                    </a:lnTo>
                    <a:lnTo>
                      <a:pt x="4308"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4" name="Freeform: Shape 4103">
                <a:extLst>
                  <a:ext uri="{FF2B5EF4-FFF2-40B4-BE49-F238E27FC236}">
                    <a16:creationId xmlns:a16="http://schemas.microsoft.com/office/drawing/2014/main" id="{61BCC9B5-2DD4-A604-7A71-BB10346FF744}"/>
                  </a:ext>
                </a:extLst>
              </p:cNvPr>
              <p:cNvSpPr/>
              <p:nvPr/>
            </p:nvSpPr>
            <p:spPr>
              <a:xfrm>
                <a:off x="1805572" y="3854629"/>
                <a:ext cx="398" cy="395"/>
              </a:xfrm>
              <a:custGeom>
                <a:avLst/>
                <a:gdLst>
                  <a:gd name="connsiteX0" fmla="*/ 3815 w 3814"/>
                  <a:gd name="connsiteY0" fmla="*/ 1235 h 3787"/>
                  <a:gd name="connsiteX1" fmla="*/ 2717 w 3814"/>
                  <a:gd name="connsiteY1" fmla="*/ 3787 h 3787"/>
                  <a:gd name="connsiteX2" fmla="*/ 0 w 3814"/>
                  <a:gd name="connsiteY2" fmla="*/ 549 h 3787"/>
                  <a:gd name="connsiteX3" fmla="*/ 2058 w 3814"/>
                  <a:gd name="connsiteY3" fmla="*/ 0 h 3787"/>
                  <a:gd name="connsiteX4" fmla="*/ 3815 w 3814"/>
                  <a:gd name="connsiteY4" fmla="*/ 1235 h 3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3787">
                    <a:moveTo>
                      <a:pt x="3815" y="1235"/>
                    </a:moveTo>
                    <a:lnTo>
                      <a:pt x="2717" y="3787"/>
                    </a:lnTo>
                    <a:lnTo>
                      <a:pt x="0" y="549"/>
                    </a:lnTo>
                    <a:lnTo>
                      <a:pt x="2058" y="0"/>
                    </a:lnTo>
                    <a:lnTo>
                      <a:pt x="3815"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5" name="Freeform: Shape 4104">
                <a:extLst>
                  <a:ext uri="{FF2B5EF4-FFF2-40B4-BE49-F238E27FC236}">
                    <a16:creationId xmlns:a16="http://schemas.microsoft.com/office/drawing/2014/main" id="{640D9701-EE1B-A2B0-0874-A90403DF1ED5}"/>
                  </a:ext>
                </a:extLst>
              </p:cNvPr>
              <p:cNvSpPr/>
              <p:nvPr/>
            </p:nvSpPr>
            <p:spPr>
              <a:xfrm>
                <a:off x="1832873" y="3857062"/>
                <a:ext cx="341" cy="461"/>
              </a:xfrm>
              <a:custGeom>
                <a:avLst/>
                <a:gdLst>
                  <a:gd name="connsiteX0" fmla="*/ 3266 w 3265"/>
                  <a:gd name="connsiteY0" fmla="*/ 2388 h 4418"/>
                  <a:gd name="connsiteX1" fmla="*/ 1729 w 3265"/>
                  <a:gd name="connsiteY1" fmla="*/ 4418 h 4418"/>
                  <a:gd name="connsiteX2" fmla="*/ 0 w 3265"/>
                  <a:gd name="connsiteY2" fmla="*/ 0 h 4418"/>
                  <a:gd name="connsiteX3" fmla="*/ 2058 w 3265"/>
                  <a:gd name="connsiteY3" fmla="*/ 384 h 4418"/>
                  <a:gd name="connsiteX4" fmla="*/ 3238 w 3265"/>
                  <a:gd name="connsiteY4" fmla="*/ 2388 h 4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4418">
                    <a:moveTo>
                      <a:pt x="3266" y="2388"/>
                    </a:moveTo>
                    <a:lnTo>
                      <a:pt x="1729" y="4418"/>
                    </a:lnTo>
                    <a:lnTo>
                      <a:pt x="0" y="0"/>
                    </a:lnTo>
                    <a:lnTo>
                      <a:pt x="2058" y="384"/>
                    </a:lnTo>
                    <a:lnTo>
                      <a:pt x="3238"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6" name="Freeform: Shape 4105">
                <a:extLst>
                  <a:ext uri="{FF2B5EF4-FFF2-40B4-BE49-F238E27FC236}">
                    <a16:creationId xmlns:a16="http://schemas.microsoft.com/office/drawing/2014/main" id="{910FE7C6-3490-F8A5-4033-77EC1E0A0D2B}"/>
                  </a:ext>
                </a:extLst>
              </p:cNvPr>
              <p:cNvSpPr/>
              <p:nvPr/>
            </p:nvSpPr>
            <p:spPr>
              <a:xfrm>
                <a:off x="1836425" y="3856793"/>
                <a:ext cx="378" cy="412"/>
              </a:xfrm>
              <a:custGeom>
                <a:avLst/>
                <a:gdLst>
                  <a:gd name="connsiteX0" fmla="*/ 3595 w 3622"/>
                  <a:gd name="connsiteY0" fmla="*/ 2607 h 3951"/>
                  <a:gd name="connsiteX1" fmla="*/ 2689 w 3622"/>
                  <a:gd name="connsiteY1" fmla="*/ 3952 h 3951"/>
                  <a:gd name="connsiteX2" fmla="*/ 0 w 3622"/>
                  <a:gd name="connsiteY2" fmla="*/ 2442 h 3951"/>
                  <a:gd name="connsiteX3" fmla="*/ 1839 w 3622"/>
                  <a:gd name="connsiteY3" fmla="*/ 0 h 3951"/>
                  <a:gd name="connsiteX4" fmla="*/ 3623 w 3622"/>
                  <a:gd name="connsiteY4" fmla="*/ 2607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3951">
                    <a:moveTo>
                      <a:pt x="3595" y="2607"/>
                    </a:moveTo>
                    <a:lnTo>
                      <a:pt x="2689" y="3952"/>
                    </a:lnTo>
                    <a:lnTo>
                      <a:pt x="0" y="2442"/>
                    </a:lnTo>
                    <a:lnTo>
                      <a:pt x="1839" y="0"/>
                    </a:lnTo>
                    <a:lnTo>
                      <a:pt x="3623" y="26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7" name="Freeform: Shape 4106">
                <a:extLst>
                  <a:ext uri="{FF2B5EF4-FFF2-40B4-BE49-F238E27FC236}">
                    <a16:creationId xmlns:a16="http://schemas.microsoft.com/office/drawing/2014/main" id="{EA395613-8C96-FB06-5909-2C739D811387}"/>
                  </a:ext>
                </a:extLst>
              </p:cNvPr>
              <p:cNvSpPr/>
              <p:nvPr/>
            </p:nvSpPr>
            <p:spPr>
              <a:xfrm>
                <a:off x="1829410" y="3870844"/>
                <a:ext cx="395" cy="389"/>
              </a:xfrm>
              <a:custGeom>
                <a:avLst/>
                <a:gdLst>
                  <a:gd name="connsiteX0" fmla="*/ 3787 w 3787"/>
                  <a:gd name="connsiteY0" fmla="*/ 1839 h 3732"/>
                  <a:gd name="connsiteX1" fmla="*/ 2608 w 3787"/>
                  <a:gd name="connsiteY1" fmla="*/ 3732 h 3732"/>
                  <a:gd name="connsiteX2" fmla="*/ 0 w 3787"/>
                  <a:gd name="connsiteY2" fmla="*/ 1729 h 3732"/>
                  <a:gd name="connsiteX3" fmla="*/ 2333 w 3787"/>
                  <a:gd name="connsiteY3" fmla="*/ 0 h 3732"/>
                  <a:gd name="connsiteX4" fmla="*/ 3787 w 3787"/>
                  <a:gd name="connsiteY4" fmla="*/ 1811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3732">
                    <a:moveTo>
                      <a:pt x="3787" y="1839"/>
                    </a:moveTo>
                    <a:lnTo>
                      <a:pt x="2608" y="3732"/>
                    </a:lnTo>
                    <a:lnTo>
                      <a:pt x="0" y="1729"/>
                    </a:lnTo>
                    <a:lnTo>
                      <a:pt x="2333" y="0"/>
                    </a:lnTo>
                    <a:lnTo>
                      <a:pt x="3787"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8" name="Freeform: Shape 4107">
                <a:extLst>
                  <a:ext uri="{FF2B5EF4-FFF2-40B4-BE49-F238E27FC236}">
                    <a16:creationId xmlns:a16="http://schemas.microsoft.com/office/drawing/2014/main" id="{8580645B-5D4B-C9FD-0EDD-F2FDE2960F93}"/>
                  </a:ext>
                </a:extLst>
              </p:cNvPr>
              <p:cNvSpPr/>
              <p:nvPr/>
            </p:nvSpPr>
            <p:spPr>
              <a:xfrm>
                <a:off x="1828883" y="3859430"/>
                <a:ext cx="492" cy="309"/>
              </a:xfrm>
              <a:custGeom>
                <a:avLst/>
                <a:gdLst>
                  <a:gd name="connsiteX0" fmla="*/ 4720 w 4720"/>
                  <a:gd name="connsiteY0" fmla="*/ 1427 h 2964"/>
                  <a:gd name="connsiteX1" fmla="*/ 2113 w 4720"/>
                  <a:gd name="connsiteY1" fmla="*/ 2964 h 2964"/>
                  <a:gd name="connsiteX2" fmla="*/ 0 w 4720"/>
                  <a:gd name="connsiteY2" fmla="*/ 1455 h 2964"/>
                  <a:gd name="connsiteX3" fmla="*/ 2744 w 4720"/>
                  <a:gd name="connsiteY3" fmla="*/ 0 h 2964"/>
                  <a:gd name="connsiteX4" fmla="*/ 4720 w 4720"/>
                  <a:gd name="connsiteY4" fmla="*/ 1427 h 2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0" h="2964">
                    <a:moveTo>
                      <a:pt x="4720" y="1427"/>
                    </a:moveTo>
                    <a:lnTo>
                      <a:pt x="2113" y="2964"/>
                    </a:lnTo>
                    <a:lnTo>
                      <a:pt x="0" y="1455"/>
                    </a:lnTo>
                    <a:lnTo>
                      <a:pt x="2744" y="0"/>
                    </a:lnTo>
                    <a:lnTo>
                      <a:pt x="4720"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9" name="Freeform: Shape 4108">
                <a:extLst>
                  <a:ext uri="{FF2B5EF4-FFF2-40B4-BE49-F238E27FC236}">
                    <a16:creationId xmlns:a16="http://schemas.microsoft.com/office/drawing/2014/main" id="{6AC8571A-2B35-6F9A-5816-694A544585D4}"/>
                  </a:ext>
                </a:extLst>
              </p:cNvPr>
              <p:cNvSpPr/>
              <p:nvPr/>
            </p:nvSpPr>
            <p:spPr>
              <a:xfrm>
                <a:off x="1807207" y="3854166"/>
                <a:ext cx="421" cy="355"/>
              </a:xfrm>
              <a:custGeom>
                <a:avLst/>
                <a:gdLst>
                  <a:gd name="connsiteX0" fmla="*/ 4034 w 4034"/>
                  <a:gd name="connsiteY0" fmla="*/ 1729 h 3402"/>
                  <a:gd name="connsiteX1" fmla="*/ 1262 w 4034"/>
                  <a:gd name="connsiteY1" fmla="*/ 3403 h 3402"/>
                  <a:gd name="connsiteX2" fmla="*/ 0 w 4034"/>
                  <a:gd name="connsiteY2" fmla="*/ 1070 h 3402"/>
                  <a:gd name="connsiteX3" fmla="*/ 1674 w 4034"/>
                  <a:gd name="connsiteY3" fmla="*/ 0 h 3402"/>
                  <a:gd name="connsiteX4" fmla="*/ 4034 w 4034"/>
                  <a:gd name="connsiteY4" fmla="*/ 1756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 h="3402">
                    <a:moveTo>
                      <a:pt x="4034" y="1729"/>
                    </a:moveTo>
                    <a:lnTo>
                      <a:pt x="1262" y="3403"/>
                    </a:lnTo>
                    <a:lnTo>
                      <a:pt x="0" y="1070"/>
                    </a:lnTo>
                    <a:lnTo>
                      <a:pt x="1674" y="0"/>
                    </a:lnTo>
                    <a:lnTo>
                      <a:pt x="4034"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0" name="Freeform: Shape 4109">
                <a:extLst>
                  <a:ext uri="{FF2B5EF4-FFF2-40B4-BE49-F238E27FC236}">
                    <a16:creationId xmlns:a16="http://schemas.microsoft.com/office/drawing/2014/main" id="{43C7BD88-5C55-E1B0-7B20-FCBCE24B60DB}"/>
                  </a:ext>
                </a:extLst>
              </p:cNvPr>
              <p:cNvSpPr/>
              <p:nvPr/>
            </p:nvSpPr>
            <p:spPr>
              <a:xfrm>
                <a:off x="1828660" y="3871088"/>
                <a:ext cx="375" cy="404"/>
              </a:xfrm>
              <a:custGeom>
                <a:avLst/>
                <a:gdLst>
                  <a:gd name="connsiteX0" fmla="*/ 3595 w 3595"/>
                  <a:gd name="connsiteY0" fmla="*/ 961 h 3869"/>
                  <a:gd name="connsiteX1" fmla="*/ 2579 w 3595"/>
                  <a:gd name="connsiteY1" fmla="*/ 3870 h 3869"/>
                  <a:gd name="connsiteX2" fmla="*/ 0 w 3595"/>
                  <a:gd name="connsiteY2" fmla="*/ 2607 h 3869"/>
                  <a:gd name="connsiteX3" fmla="*/ 2415 w 3595"/>
                  <a:gd name="connsiteY3" fmla="*/ 0 h 3869"/>
                  <a:gd name="connsiteX4" fmla="*/ 3595 w 3595"/>
                  <a:gd name="connsiteY4" fmla="*/ 961 h 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3869">
                    <a:moveTo>
                      <a:pt x="3595" y="961"/>
                    </a:moveTo>
                    <a:lnTo>
                      <a:pt x="2579" y="3870"/>
                    </a:lnTo>
                    <a:lnTo>
                      <a:pt x="0" y="2607"/>
                    </a:lnTo>
                    <a:lnTo>
                      <a:pt x="2415" y="0"/>
                    </a:lnTo>
                    <a:lnTo>
                      <a:pt x="3595" y="9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1" name="Freeform: Shape 4110">
                <a:extLst>
                  <a:ext uri="{FF2B5EF4-FFF2-40B4-BE49-F238E27FC236}">
                    <a16:creationId xmlns:a16="http://schemas.microsoft.com/office/drawing/2014/main" id="{85CDB1AD-512C-8F25-8E8F-162A58D2E285}"/>
                  </a:ext>
                </a:extLst>
              </p:cNvPr>
              <p:cNvSpPr/>
              <p:nvPr/>
            </p:nvSpPr>
            <p:spPr>
              <a:xfrm>
                <a:off x="1818662" y="3851329"/>
                <a:ext cx="366" cy="406"/>
              </a:xfrm>
              <a:custGeom>
                <a:avLst/>
                <a:gdLst>
                  <a:gd name="connsiteX0" fmla="*/ 3512 w 3512"/>
                  <a:gd name="connsiteY0" fmla="*/ 1619 h 3896"/>
                  <a:gd name="connsiteX1" fmla="*/ 1619 w 3512"/>
                  <a:gd name="connsiteY1" fmla="*/ 3897 h 3896"/>
                  <a:gd name="connsiteX2" fmla="*/ 0 w 3512"/>
                  <a:gd name="connsiteY2" fmla="*/ 2964 h 3896"/>
                  <a:gd name="connsiteX3" fmla="*/ 1400 w 3512"/>
                  <a:gd name="connsiteY3" fmla="*/ 0 h 3896"/>
                  <a:gd name="connsiteX4" fmla="*/ 3512 w 3512"/>
                  <a:gd name="connsiteY4" fmla="*/ 1619 h 3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3896">
                    <a:moveTo>
                      <a:pt x="3512" y="1619"/>
                    </a:moveTo>
                    <a:lnTo>
                      <a:pt x="1619" y="3897"/>
                    </a:lnTo>
                    <a:lnTo>
                      <a:pt x="0" y="2964"/>
                    </a:lnTo>
                    <a:lnTo>
                      <a:pt x="1400" y="0"/>
                    </a:lnTo>
                    <a:lnTo>
                      <a:pt x="3512"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2" name="Freeform: Shape 4111">
                <a:extLst>
                  <a:ext uri="{FF2B5EF4-FFF2-40B4-BE49-F238E27FC236}">
                    <a16:creationId xmlns:a16="http://schemas.microsoft.com/office/drawing/2014/main" id="{E8DC9435-8C8D-9A31-D989-17E243DCCD2D}"/>
                  </a:ext>
                </a:extLst>
              </p:cNvPr>
              <p:cNvSpPr/>
              <p:nvPr/>
            </p:nvSpPr>
            <p:spPr>
              <a:xfrm>
                <a:off x="1822689" y="3859301"/>
                <a:ext cx="398" cy="372"/>
              </a:xfrm>
              <a:custGeom>
                <a:avLst/>
                <a:gdLst>
                  <a:gd name="connsiteX0" fmla="*/ 3815 w 3814"/>
                  <a:gd name="connsiteY0" fmla="*/ 2223 h 3567"/>
                  <a:gd name="connsiteX1" fmla="*/ 1784 w 3814"/>
                  <a:gd name="connsiteY1" fmla="*/ 3567 h 3567"/>
                  <a:gd name="connsiteX2" fmla="*/ 0 w 3814"/>
                  <a:gd name="connsiteY2" fmla="*/ 1674 h 3567"/>
                  <a:gd name="connsiteX3" fmla="*/ 2470 w 3814"/>
                  <a:gd name="connsiteY3" fmla="*/ 0 h 3567"/>
                  <a:gd name="connsiteX4" fmla="*/ 3815 w 3814"/>
                  <a:gd name="connsiteY4" fmla="*/ 2223 h 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3567">
                    <a:moveTo>
                      <a:pt x="3815" y="2223"/>
                    </a:moveTo>
                    <a:lnTo>
                      <a:pt x="1784" y="3567"/>
                    </a:lnTo>
                    <a:lnTo>
                      <a:pt x="0" y="1674"/>
                    </a:lnTo>
                    <a:lnTo>
                      <a:pt x="2470" y="0"/>
                    </a:lnTo>
                    <a:lnTo>
                      <a:pt x="3815"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3" name="Freeform: Shape 4112">
                <a:extLst>
                  <a:ext uri="{FF2B5EF4-FFF2-40B4-BE49-F238E27FC236}">
                    <a16:creationId xmlns:a16="http://schemas.microsoft.com/office/drawing/2014/main" id="{AD46FE59-02FF-2D01-E961-B703F898BC64}"/>
                  </a:ext>
                </a:extLst>
              </p:cNvPr>
              <p:cNvSpPr/>
              <p:nvPr/>
            </p:nvSpPr>
            <p:spPr>
              <a:xfrm>
                <a:off x="1835152" y="3854884"/>
                <a:ext cx="389" cy="378"/>
              </a:xfrm>
              <a:custGeom>
                <a:avLst/>
                <a:gdLst>
                  <a:gd name="connsiteX0" fmla="*/ 3733 w 3732"/>
                  <a:gd name="connsiteY0" fmla="*/ 2113 h 3622"/>
                  <a:gd name="connsiteX1" fmla="*/ 1509 w 3732"/>
                  <a:gd name="connsiteY1" fmla="*/ 3623 h 3622"/>
                  <a:gd name="connsiteX2" fmla="*/ 0 w 3732"/>
                  <a:gd name="connsiteY2" fmla="*/ 1619 h 3622"/>
                  <a:gd name="connsiteX3" fmla="*/ 2470 w 3732"/>
                  <a:gd name="connsiteY3" fmla="*/ 0 h 3622"/>
                  <a:gd name="connsiteX4" fmla="*/ 3733 w 3732"/>
                  <a:gd name="connsiteY4" fmla="*/ 2113 h 3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3622">
                    <a:moveTo>
                      <a:pt x="3733" y="2113"/>
                    </a:moveTo>
                    <a:lnTo>
                      <a:pt x="1509" y="3623"/>
                    </a:lnTo>
                    <a:lnTo>
                      <a:pt x="0" y="1619"/>
                    </a:lnTo>
                    <a:lnTo>
                      <a:pt x="2470" y="0"/>
                    </a:lnTo>
                    <a:lnTo>
                      <a:pt x="3733"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4" name="Freeform: Shape 4113">
                <a:extLst>
                  <a:ext uri="{FF2B5EF4-FFF2-40B4-BE49-F238E27FC236}">
                    <a16:creationId xmlns:a16="http://schemas.microsoft.com/office/drawing/2014/main" id="{A03A7116-B947-CADB-6DE0-8734D66AB107}"/>
                  </a:ext>
                </a:extLst>
              </p:cNvPr>
              <p:cNvSpPr/>
              <p:nvPr/>
            </p:nvSpPr>
            <p:spPr>
              <a:xfrm>
                <a:off x="1819469" y="3860858"/>
                <a:ext cx="338" cy="429"/>
              </a:xfrm>
              <a:custGeom>
                <a:avLst/>
                <a:gdLst>
                  <a:gd name="connsiteX0" fmla="*/ 3239 w 3238"/>
                  <a:gd name="connsiteY0" fmla="*/ 1070 h 4116"/>
                  <a:gd name="connsiteX1" fmla="*/ 1894 w 3238"/>
                  <a:gd name="connsiteY1" fmla="*/ 4116 h 4116"/>
                  <a:gd name="connsiteX2" fmla="*/ 0 w 3238"/>
                  <a:gd name="connsiteY2" fmla="*/ 1949 h 4116"/>
                  <a:gd name="connsiteX3" fmla="*/ 1235 w 3238"/>
                  <a:gd name="connsiteY3" fmla="*/ 0 h 4116"/>
                  <a:gd name="connsiteX4" fmla="*/ 3239 w 3238"/>
                  <a:gd name="connsiteY4" fmla="*/ 1098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4116">
                    <a:moveTo>
                      <a:pt x="3239" y="1070"/>
                    </a:moveTo>
                    <a:lnTo>
                      <a:pt x="1894" y="4116"/>
                    </a:lnTo>
                    <a:lnTo>
                      <a:pt x="0" y="1949"/>
                    </a:lnTo>
                    <a:lnTo>
                      <a:pt x="1235" y="0"/>
                    </a:lnTo>
                    <a:lnTo>
                      <a:pt x="3239" y="10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5" name="Freeform: Shape 4114">
                <a:extLst>
                  <a:ext uri="{FF2B5EF4-FFF2-40B4-BE49-F238E27FC236}">
                    <a16:creationId xmlns:a16="http://schemas.microsoft.com/office/drawing/2014/main" id="{F408F777-F108-DDE3-EC55-0B8217BDC67B}"/>
                  </a:ext>
                </a:extLst>
              </p:cNvPr>
              <p:cNvSpPr/>
              <p:nvPr/>
            </p:nvSpPr>
            <p:spPr>
              <a:xfrm>
                <a:off x="1813787" y="3858983"/>
                <a:ext cx="363" cy="401"/>
              </a:xfrm>
              <a:custGeom>
                <a:avLst/>
                <a:gdLst>
                  <a:gd name="connsiteX0" fmla="*/ 3485 w 3485"/>
                  <a:gd name="connsiteY0" fmla="*/ 2305 h 3841"/>
                  <a:gd name="connsiteX1" fmla="*/ 933 w 3485"/>
                  <a:gd name="connsiteY1" fmla="*/ 3842 h 3841"/>
                  <a:gd name="connsiteX2" fmla="*/ 0 w 3485"/>
                  <a:gd name="connsiteY2" fmla="*/ 1756 h 3841"/>
                  <a:gd name="connsiteX3" fmla="*/ 2168 w 3485"/>
                  <a:gd name="connsiteY3" fmla="*/ 0 h 3841"/>
                  <a:gd name="connsiteX4" fmla="*/ 3485 w 3485"/>
                  <a:gd name="connsiteY4" fmla="*/ 2305 h 3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3841">
                    <a:moveTo>
                      <a:pt x="3485" y="2305"/>
                    </a:moveTo>
                    <a:lnTo>
                      <a:pt x="933" y="3842"/>
                    </a:lnTo>
                    <a:lnTo>
                      <a:pt x="0" y="1756"/>
                    </a:lnTo>
                    <a:lnTo>
                      <a:pt x="2168" y="0"/>
                    </a:lnTo>
                    <a:lnTo>
                      <a:pt x="3485" y="23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6" name="Freeform: Shape 4115">
                <a:extLst>
                  <a:ext uri="{FF2B5EF4-FFF2-40B4-BE49-F238E27FC236}">
                    <a16:creationId xmlns:a16="http://schemas.microsoft.com/office/drawing/2014/main" id="{26276A96-FA54-E38D-D1C7-A640D8307794}"/>
                  </a:ext>
                </a:extLst>
              </p:cNvPr>
              <p:cNvSpPr/>
              <p:nvPr/>
            </p:nvSpPr>
            <p:spPr>
              <a:xfrm>
                <a:off x="1831371" y="3852755"/>
                <a:ext cx="335" cy="418"/>
              </a:xfrm>
              <a:custGeom>
                <a:avLst/>
                <a:gdLst>
                  <a:gd name="connsiteX0" fmla="*/ 3211 w 3210"/>
                  <a:gd name="connsiteY0" fmla="*/ 1455 h 4006"/>
                  <a:gd name="connsiteX1" fmla="*/ 1564 w 3210"/>
                  <a:gd name="connsiteY1" fmla="*/ 4007 h 4006"/>
                  <a:gd name="connsiteX2" fmla="*/ 0 w 3210"/>
                  <a:gd name="connsiteY2" fmla="*/ 3101 h 4006"/>
                  <a:gd name="connsiteX3" fmla="*/ 906 w 3210"/>
                  <a:gd name="connsiteY3" fmla="*/ 0 h 4006"/>
                  <a:gd name="connsiteX4" fmla="*/ 3183 w 3210"/>
                  <a:gd name="connsiteY4" fmla="*/ 1482 h 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 h="4006">
                    <a:moveTo>
                      <a:pt x="3211" y="1455"/>
                    </a:moveTo>
                    <a:lnTo>
                      <a:pt x="1564" y="4007"/>
                    </a:lnTo>
                    <a:lnTo>
                      <a:pt x="0" y="3101"/>
                    </a:lnTo>
                    <a:lnTo>
                      <a:pt x="906" y="0"/>
                    </a:lnTo>
                    <a:lnTo>
                      <a:pt x="3183"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7" name="Freeform: Shape 4116">
                <a:extLst>
                  <a:ext uri="{FF2B5EF4-FFF2-40B4-BE49-F238E27FC236}">
                    <a16:creationId xmlns:a16="http://schemas.microsoft.com/office/drawing/2014/main" id="{76CD2889-4371-B7CD-8C10-123E4A28037B}"/>
                  </a:ext>
                </a:extLst>
              </p:cNvPr>
              <p:cNvSpPr/>
              <p:nvPr/>
            </p:nvSpPr>
            <p:spPr>
              <a:xfrm>
                <a:off x="1828007" y="3853336"/>
                <a:ext cx="455" cy="303"/>
              </a:xfrm>
              <a:custGeom>
                <a:avLst/>
                <a:gdLst>
                  <a:gd name="connsiteX0" fmla="*/ 4364 w 4363"/>
                  <a:gd name="connsiteY0" fmla="*/ 960 h 2908"/>
                  <a:gd name="connsiteX1" fmla="*/ 4062 w 4363"/>
                  <a:gd name="connsiteY1" fmla="*/ 2909 h 2908"/>
                  <a:gd name="connsiteX2" fmla="*/ 0 w 4363"/>
                  <a:gd name="connsiteY2" fmla="*/ 1701 h 2908"/>
                  <a:gd name="connsiteX3" fmla="*/ 2058 w 4363"/>
                  <a:gd name="connsiteY3" fmla="*/ 0 h 2908"/>
                  <a:gd name="connsiteX4" fmla="*/ 4336 w 4363"/>
                  <a:gd name="connsiteY4" fmla="*/ 933 h 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2908">
                    <a:moveTo>
                      <a:pt x="4364" y="960"/>
                    </a:moveTo>
                    <a:lnTo>
                      <a:pt x="4062" y="2909"/>
                    </a:lnTo>
                    <a:lnTo>
                      <a:pt x="0" y="1701"/>
                    </a:lnTo>
                    <a:lnTo>
                      <a:pt x="2058" y="0"/>
                    </a:lnTo>
                    <a:lnTo>
                      <a:pt x="4336" y="9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8" name="Freeform: Shape 4117">
                <a:extLst>
                  <a:ext uri="{FF2B5EF4-FFF2-40B4-BE49-F238E27FC236}">
                    <a16:creationId xmlns:a16="http://schemas.microsoft.com/office/drawing/2014/main" id="{6349AA12-4557-276C-88CE-5142BA8683D3}"/>
                  </a:ext>
                </a:extLst>
              </p:cNvPr>
              <p:cNvSpPr/>
              <p:nvPr/>
            </p:nvSpPr>
            <p:spPr>
              <a:xfrm>
                <a:off x="1832619" y="3877230"/>
                <a:ext cx="363" cy="375"/>
              </a:xfrm>
              <a:custGeom>
                <a:avLst/>
                <a:gdLst>
                  <a:gd name="connsiteX0" fmla="*/ 3485 w 3484"/>
                  <a:gd name="connsiteY0" fmla="*/ 521 h 3594"/>
                  <a:gd name="connsiteX1" fmla="*/ 2607 w 3484"/>
                  <a:gd name="connsiteY1" fmla="*/ 3595 h 3594"/>
                  <a:gd name="connsiteX2" fmla="*/ 0 w 3484"/>
                  <a:gd name="connsiteY2" fmla="*/ 2195 h 3594"/>
                  <a:gd name="connsiteX3" fmla="*/ 1619 w 3484"/>
                  <a:gd name="connsiteY3" fmla="*/ 0 h 3594"/>
                  <a:gd name="connsiteX4" fmla="*/ 3485 w 3484"/>
                  <a:gd name="connsiteY4" fmla="*/ 521 h 3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4" h="3594">
                    <a:moveTo>
                      <a:pt x="3485" y="521"/>
                    </a:moveTo>
                    <a:lnTo>
                      <a:pt x="2607" y="3595"/>
                    </a:lnTo>
                    <a:lnTo>
                      <a:pt x="0" y="2195"/>
                    </a:lnTo>
                    <a:lnTo>
                      <a:pt x="1619" y="0"/>
                    </a:lnTo>
                    <a:lnTo>
                      <a:pt x="3485" y="5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9" name="Freeform: Shape 4118">
                <a:extLst>
                  <a:ext uri="{FF2B5EF4-FFF2-40B4-BE49-F238E27FC236}">
                    <a16:creationId xmlns:a16="http://schemas.microsoft.com/office/drawing/2014/main" id="{5E192900-F1ED-2209-2147-5B5032061A3D}"/>
                  </a:ext>
                </a:extLst>
              </p:cNvPr>
              <p:cNvSpPr/>
              <p:nvPr/>
            </p:nvSpPr>
            <p:spPr>
              <a:xfrm>
                <a:off x="1834596" y="3878819"/>
                <a:ext cx="352" cy="384"/>
              </a:xfrm>
              <a:custGeom>
                <a:avLst/>
                <a:gdLst>
                  <a:gd name="connsiteX0" fmla="*/ 3128 w 3375"/>
                  <a:gd name="connsiteY0" fmla="*/ 3293 h 3677"/>
                  <a:gd name="connsiteX1" fmla="*/ 2058 w 3375"/>
                  <a:gd name="connsiteY1" fmla="*/ 3678 h 3677"/>
                  <a:gd name="connsiteX2" fmla="*/ 0 w 3375"/>
                  <a:gd name="connsiteY2" fmla="*/ 274 h 3677"/>
                  <a:gd name="connsiteX3" fmla="*/ 3375 w 3375"/>
                  <a:gd name="connsiteY3" fmla="*/ 0 h 3677"/>
                  <a:gd name="connsiteX4" fmla="*/ 3128 w 3375"/>
                  <a:gd name="connsiteY4" fmla="*/ 3293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3677">
                    <a:moveTo>
                      <a:pt x="3128" y="3293"/>
                    </a:moveTo>
                    <a:lnTo>
                      <a:pt x="2058" y="3678"/>
                    </a:lnTo>
                    <a:lnTo>
                      <a:pt x="0" y="274"/>
                    </a:lnTo>
                    <a:lnTo>
                      <a:pt x="3375" y="0"/>
                    </a:lnTo>
                    <a:lnTo>
                      <a:pt x="3128" y="32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0" name="Freeform: Shape 4119">
                <a:extLst>
                  <a:ext uri="{FF2B5EF4-FFF2-40B4-BE49-F238E27FC236}">
                    <a16:creationId xmlns:a16="http://schemas.microsoft.com/office/drawing/2014/main" id="{48BA2E04-911B-D97B-E081-303143144EAF}"/>
                  </a:ext>
                </a:extLst>
              </p:cNvPr>
              <p:cNvSpPr/>
              <p:nvPr/>
            </p:nvSpPr>
            <p:spPr>
              <a:xfrm>
                <a:off x="1831422" y="3852345"/>
                <a:ext cx="375" cy="355"/>
              </a:xfrm>
              <a:custGeom>
                <a:avLst/>
                <a:gdLst>
                  <a:gd name="connsiteX0" fmla="*/ 3595 w 3595"/>
                  <a:gd name="connsiteY0" fmla="*/ 1070 h 3402"/>
                  <a:gd name="connsiteX1" fmla="*/ 2717 w 3595"/>
                  <a:gd name="connsiteY1" fmla="*/ 3403 h 3402"/>
                  <a:gd name="connsiteX2" fmla="*/ 0 w 3595"/>
                  <a:gd name="connsiteY2" fmla="*/ 2854 h 3402"/>
                  <a:gd name="connsiteX3" fmla="*/ 1702 w 3595"/>
                  <a:gd name="connsiteY3" fmla="*/ 0 h 3402"/>
                  <a:gd name="connsiteX4" fmla="*/ 3595 w 3595"/>
                  <a:gd name="connsiteY4" fmla="*/ 1043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3402">
                    <a:moveTo>
                      <a:pt x="3595" y="1070"/>
                    </a:moveTo>
                    <a:lnTo>
                      <a:pt x="2717" y="3403"/>
                    </a:lnTo>
                    <a:lnTo>
                      <a:pt x="0" y="2854"/>
                    </a:lnTo>
                    <a:lnTo>
                      <a:pt x="1702" y="0"/>
                    </a:lnTo>
                    <a:lnTo>
                      <a:pt x="3595" y="10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1" name="Freeform: Shape 4120">
                <a:extLst>
                  <a:ext uri="{FF2B5EF4-FFF2-40B4-BE49-F238E27FC236}">
                    <a16:creationId xmlns:a16="http://schemas.microsoft.com/office/drawing/2014/main" id="{5E1280E5-ADB4-0912-40B1-C91A1245F8FC}"/>
                  </a:ext>
                </a:extLst>
              </p:cNvPr>
              <p:cNvSpPr/>
              <p:nvPr/>
            </p:nvSpPr>
            <p:spPr>
              <a:xfrm>
                <a:off x="1810103" y="3856793"/>
                <a:ext cx="378" cy="329"/>
              </a:xfrm>
              <a:custGeom>
                <a:avLst/>
                <a:gdLst>
                  <a:gd name="connsiteX0" fmla="*/ 3623 w 3622"/>
                  <a:gd name="connsiteY0" fmla="*/ 2634 h 3156"/>
                  <a:gd name="connsiteX1" fmla="*/ 385 w 3622"/>
                  <a:gd name="connsiteY1" fmla="*/ 3156 h 3156"/>
                  <a:gd name="connsiteX2" fmla="*/ 0 w 3622"/>
                  <a:gd name="connsiteY2" fmla="*/ 1427 h 3156"/>
                  <a:gd name="connsiteX3" fmla="*/ 2552 w 3622"/>
                  <a:gd name="connsiteY3" fmla="*/ 0 h 3156"/>
                  <a:gd name="connsiteX4" fmla="*/ 3623 w 3622"/>
                  <a:gd name="connsiteY4" fmla="*/ 2634 h 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3156">
                    <a:moveTo>
                      <a:pt x="3623" y="2634"/>
                    </a:moveTo>
                    <a:lnTo>
                      <a:pt x="385" y="3156"/>
                    </a:lnTo>
                    <a:lnTo>
                      <a:pt x="0" y="1427"/>
                    </a:lnTo>
                    <a:lnTo>
                      <a:pt x="2552" y="0"/>
                    </a:lnTo>
                    <a:lnTo>
                      <a:pt x="3623"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2" name="Freeform: Shape 4121">
                <a:extLst>
                  <a:ext uri="{FF2B5EF4-FFF2-40B4-BE49-F238E27FC236}">
                    <a16:creationId xmlns:a16="http://schemas.microsoft.com/office/drawing/2014/main" id="{F423F78B-472E-494C-59F9-063C4F8F0B9F}"/>
                  </a:ext>
                </a:extLst>
              </p:cNvPr>
              <p:cNvSpPr/>
              <p:nvPr/>
            </p:nvSpPr>
            <p:spPr>
              <a:xfrm>
                <a:off x="1817949" y="3860620"/>
                <a:ext cx="383" cy="318"/>
              </a:xfrm>
              <a:custGeom>
                <a:avLst/>
                <a:gdLst>
                  <a:gd name="connsiteX0" fmla="*/ 3677 w 3676"/>
                  <a:gd name="connsiteY0" fmla="*/ 1674 h 3046"/>
                  <a:gd name="connsiteX1" fmla="*/ 1372 w 3676"/>
                  <a:gd name="connsiteY1" fmla="*/ 3046 h 3046"/>
                  <a:gd name="connsiteX2" fmla="*/ 0 w 3676"/>
                  <a:gd name="connsiteY2" fmla="*/ 1729 h 3046"/>
                  <a:gd name="connsiteX3" fmla="*/ 1125 w 3676"/>
                  <a:gd name="connsiteY3" fmla="*/ 0 h 3046"/>
                  <a:gd name="connsiteX4" fmla="*/ 2908 w 3676"/>
                  <a:gd name="connsiteY4" fmla="*/ 0 h 3046"/>
                  <a:gd name="connsiteX5" fmla="*/ 3677 w 3676"/>
                  <a:gd name="connsiteY5" fmla="*/ 1674 h 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6" h="3046">
                    <a:moveTo>
                      <a:pt x="3677" y="1674"/>
                    </a:moveTo>
                    <a:lnTo>
                      <a:pt x="1372" y="3046"/>
                    </a:lnTo>
                    <a:lnTo>
                      <a:pt x="0" y="1729"/>
                    </a:lnTo>
                    <a:lnTo>
                      <a:pt x="1125" y="0"/>
                    </a:lnTo>
                    <a:lnTo>
                      <a:pt x="2908" y="0"/>
                    </a:lnTo>
                    <a:lnTo>
                      <a:pt x="3677" y="16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3" name="Freeform: Shape 4122">
                <a:extLst>
                  <a:ext uri="{FF2B5EF4-FFF2-40B4-BE49-F238E27FC236}">
                    <a16:creationId xmlns:a16="http://schemas.microsoft.com/office/drawing/2014/main" id="{69907185-49F4-5315-7311-B454F552ECD8}"/>
                  </a:ext>
                </a:extLst>
              </p:cNvPr>
              <p:cNvSpPr/>
              <p:nvPr/>
            </p:nvSpPr>
            <p:spPr>
              <a:xfrm>
                <a:off x="1823903" y="3858720"/>
                <a:ext cx="332" cy="346"/>
              </a:xfrm>
              <a:custGeom>
                <a:avLst/>
                <a:gdLst>
                  <a:gd name="connsiteX0" fmla="*/ 3184 w 3183"/>
                  <a:gd name="connsiteY0" fmla="*/ 0 h 3320"/>
                  <a:gd name="connsiteX1" fmla="*/ 2141 w 3183"/>
                  <a:gd name="connsiteY1" fmla="*/ 3320 h 3320"/>
                  <a:gd name="connsiteX2" fmla="*/ 0 w 3183"/>
                  <a:gd name="connsiteY2" fmla="*/ 2113 h 3320"/>
                  <a:gd name="connsiteX3" fmla="*/ 604 w 3183"/>
                  <a:gd name="connsiteY3" fmla="*/ 0 h 3320"/>
                  <a:gd name="connsiteX4" fmla="*/ 3184 w 3183"/>
                  <a:gd name="connsiteY4" fmla="*/ 0 h 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 h="3320">
                    <a:moveTo>
                      <a:pt x="3184" y="0"/>
                    </a:moveTo>
                    <a:lnTo>
                      <a:pt x="2141" y="3320"/>
                    </a:lnTo>
                    <a:lnTo>
                      <a:pt x="0" y="2113"/>
                    </a:lnTo>
                    <a:lnTo>
                      <a:pt x="604" y="0"/>
                    </a:lnTo>
                    <a:lnTo>
                      <a:pt x="318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4" name="Freeform: Shape 4123">
                <a:extLst>
                  <a:ext uri="{FF2B5EF4-FFF2-40B4-BE49-F238E27FC236}">
                    <a16:creationId xmlns:a16="http://schemas.microsoft.com/office/drawing/2014/main" id="{0C0DE9C5-4FAB-7767-7830-C5A82E1F0D1A}"/>
                  </a:ext>
                </a:extLst>
              </p:cNvPr>
              <p:cNvSpPr/>
              <p:nvPr/>
            </p:nvSpPr>
            <p:spPr>
              <a:xfrm>
                <a:off x="1833497" y="3877259"/>
                <a:ext cx="195" cy="195"/>
              </a:xfrm>
              <a:custGeom>
                <a:avLst/>
                <a:gdLst>
                  <a:gd name="connsiteX0" fmla="*/ 1867 w 1866"/>
                  <a:gd name="connsiteY0" fmla="*/ 933 h 1865"/>
                  <a:gd name="connsiteX1" fmla="*/ 741 w 1866"/>
                  <a:gd name="connsiteY1" fmla="*/ 1866 h 1865"/>
                  <a:gd name="connsiteX2" fmla="*/ 0 w 1866"/>
                  <a:gd name="connsiteY2" fmla="*/ 796 h 1865"/>
                  <a:gd name="connsiteX3" fmla="*/ 933 w 1866"/>
                  <a:gd name="connsiteY3" fmla="*/ 0 h 1865"/>
                  <a:gd name="connsiteX4" fmla="*/ 1867 w 1866"/>
                  <a:gd name="connsiteY4" fmla="*/ 933 h 1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6" h="1865">
                    <a:moveTo>
                      <a:pt x="1867" y="933"/>
                    </a:moveTo>
                    <a:lnTo>
                      <a:pt x="741" y="1866"/>
                    </a:lnTo>
                    <a:lnTo>
                      <a:pt x="0" y="796"/>
                    </a:lnTo>
                    <a:lnTo>
                      <a:pt x="933" y="0"/>
                    </a:lnTo>
                    <a:lnTo>
                      <a:pt x="1867" y="9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0" name="Freeform: Shape 4139">
                <a:extLst>
                  <a:ext uri="{FF2B5EF4-FFF2-40B4-BE49-F238E27FC236}">
                    <a16:creationId xmlns:a16="http://schemas.microsoft.com/office/drawing/2014/main" id="{0FD05EF2-3E38-E183-E424-7E69F1A2B75C}"/>
                  </a:ext>
                </a:extLst>
              </p:cNvPr>
              <p:cNvSpPr/>
              <p:nvPr/>
            </p:nvSpPr>
            <p:spPr>
              <a:xfrm>
                <a:off x="1748692" y="3870117"/>
                <a:ext cx="7162" cy="3449"/>
              </a:xfrm>
              <a:custGeom>
                <a:avLst/>
                <a:gdLst>
                  <a:gd name="connsiteX0" fmla="*/ 68662 w 68662"/>
                  <a:gd name="connsiteY0" fmla="*/ 2278 h 33068"/>
                  <a:gd name="connsiteX1" fmla="*/ 60677 w 68662"/>
                  <a:gd name="connsiteY1" fmla="*/ 9935 h 33068"/>
                  <a:gd name="connsiteX2" fmla="*/ 49261 w 68662"/>
                  <a:gd name="connsiteY2" fmla="*/ 13584 h 33068"/>
                  <a:gd name="connsiteX3" fmla="*/ 44540 w 68662"/>
                  <a:gd name="connsiteY3" fmla="*/ 17893 h 33068"/>
                  <a:gd name="connsiteX4" fmla="*/ 29035 w 68662"/>
                  <a:gd name="connsiteY4" fmla="*/ 22833 h 33068"/>
                  <a:gd name="connsiteX5" fmla="*/ 13118 w 68662"/>
                  <a:gd name="connsiteY5" fmla="*/ 27882 h 33068"/>
                  <a:gd name="connsiteX6" fmla="*/ 3870 w 68662"/>
                  <a:gd name="connsiteY6" fmla="*/ 33069 h 33068"/>
                  <a:gd name="connsiteX7" fmla="*/ 1372 w 68662"/>
                  <a:gd name="connsiteY7" fmla="*/ 28129 h 33068"/>
                  <a:gd name="connsiteX8" fmla="*/ 1812 w 68662"/>
                  <a:gd name="connsiteY8" fmla="*/ 25412 h 33068"/>
                  <a:gd name="connsiteX9" fmla="*/ 6147 w 68662"/>
                  <a:gd name="connsiteY9" fmla="*/ 24754 h 33068"/>
                  <a:gd name="connsiteX10" fmla="*/ 6724 w 68662"/>
                  <a:gd name="connsiteY10" fmla="*/ 21268 h 33068"/>
                  <a:gd name="connsiteX11" fmla="*/ 4940 w 68662"/>
                  <a:gd name="connsiteY11" fmla="*/ 19457 h 33068"/>
                  <a:gd name="connsiteX12" fmla="*/ 686 w 68662"/>
                  <a:gd name="connsiteY12" fmla="*/ 21214 h 33068"/>
                  <a:gd name="connsiteX13" fmla="*/ 0 w 68662"/>
                  <a:gd name="connsiteY13" fmla="*/ 18524 h 33068"/>
                  <a:gd name="connsiteX14" fmla="*/ 6339 w 68662"/>
                  <a:gd name="connsiteY14" fmla="*/ 8837 h 33068"/>
                  <a:gd name="connsiteX15" fmla="*/ 8919 w 68662"/>
                  <a:gd name="connsiteY15" fmla="*/ 8260 h 33068"/>
                  <a:gd name="connsiteX16" fmla="*/ 26812 w 68662"/>
                  <a:gd name="connsiteY16" fmla="*/ 4281 h 33068"/>
                  <a:gd name="connsiteX17" fmla="*/ 29035 w 68662"/>
                  <a:gd name="connsiteY17" fmla="*/ 4666 h 33068"/>
                  <a:gd name="connsiteX18" fmla="*/ 33316 w 68662"/>
                  <a:gd name="connsiteY18" fmla="*/ 5434 h 33068"/>
                  <a:gd name="connsiteX19" fmla="*/ 34551 w 68662"/>
                  <a:gd name="connsiteY19" fmla="*/ 5050 h 33068"/>
                  <a:gd name="connsiteX20" fmla="*/ 42537 w 68662"/>
                  <a:gd name="connsiteY20" fmla="*/ 2635 h 33068"/>
                  <a:gd name="connsiteX21" fmla="*/ 44540 w 68662"/>
                  <a:gd name="connsiteY21" fmla="*/ 3101 h 33068"/>
                  <a:gd name="connsiteX22" fmla="*/ 48080 w 68662"/>
                  <a:gd name="connsiteY22" fmla="*/ 3870 h 33068"/>
                  <a:gd name="connsiteX23" fmla="*/ 59743 w 68662"/>
                  <a:gd name="connsiteY23" fmla="*/ 0 h 33068"/>
                  <a:gd name="connsiteX24" fmla="*/ 66303 w 68662"/>
                  <a:gd name="connsiteY24" fmla="*/ 384 h 33068"/>
                  <a:gd name="connsiteX25" fmla="*/ 68662 w 68662"/>
                  <a:gd name="connsiteY25" fmla="*/ 2251 h 33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662" h="33068">
                    <a:moveTo>
                      <a:pt x="68662" y="2278"/>
                    </a:moveTo>
                    <a:lnTo>
                      <a:pt x="60677" y="9935"/>
                    </a:lnTo>
                    <a:lnTo>
                      <a:pt x="49261" y="13584"/>
                    </a:lnTo>
                    <a:lnTo>
                      <a:pt x="44540" y="17893"/>
                    </a:lnTo>
                    <a:lnTo>
                      <a:pt x="29035" y="22833"/>
                    </a:lnTo>
                    <a:lnTo>
                      <a:pt x="13118" y="27882"/>
                    </a:lnTo>
                    <a:lnTo>
                      <a:pt x="3870" y="33069"/>
                    </a:lnTo>
                    <a:lnTo>
                      <a:pt x="1372" y="28129"/>
                    </a:lnTo>
                    <a:lnTo>
                      <a:pt x="1812" y="25412"/>
                    </a:lnTo>
                    <a:lnTo>
                      <a:pt x="6147" y="24754"/>
                    </a:lnTo>
                    <a:lnTo>
                      <a:pt x="6724" y="21268"/>
                    </a:lnTo>
                    <a:lnTo>
                      <a:pt x="4940" y="19457"/>
                    </a:lnTo>
                    <a:lnTo>
                      <a:pt x="686" y="21214"/>
                    </a:lnTo>
                    <a:lnTo>
                      <a:pt x="0" y="18524"/>
                    </a:lnTo>
                    <a:lnTo>
                      <a:pt x="6339" y="8837"/>
                    </a:lnTo>
                    <a:lnTo>
                      <a:pt x="8919" y="8260"/>
                    </a:lnTo>
                    <a:lnTo>
                      <a:pt x="26812" y="4281"/>
                    </a:lnTo>
                    <a:lnTo>
                      <a:pt x="29035" y="4666"/>
                    </a:lnTo>
                    <a:lnTo>
                      <a:pt x="33316" y="5434"/>
                    </a:lnTo>
                    <a:lnTo>
                      <a:pt x="34551" y="5050"/>
                    </a:lnTo>
                    <a:lnTo>
                      <a:pt x="42537" y="2635"/>
                    </a:lnTo>
                    <a:lnTo>
                      <a:pt x="44540" y="3101"/>
                    </a:lnTo>
                    <a:lnTo>
                      <a:pt x="48080" y="3870"/>
                    </a:lnTo>
                    <a:lnTo>
                      <a:pt x="59743" y="0"/>
                    </a:lnTo>
                    <a:lnTo>
                      <a:pt x="66303" y="384"/>
                    </a:lnTo>
                    <a:lnTo>
                      <a:pt x="68662" y="22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1" name="Freeform: Shape 4140">
                <a:extLst>
                  <a:ext uri="{FF2B5EF4-FFF2-40B4-BE49-F238E27FC236}">
                    <a16:creationId xmlns:a16="http://schemas.microsoft.com/office/drawing/2014/main" id="{BEECF8CB-6220-B5A8-2C21-A91925D04688}"/>
                  </a:ext>
                </a:extLst>
              </p:cNvPr>
              <p:cNvSpPr/>
              <p:nvPr/>
            </p:nvSpPr>
            <p:spPr>
              <a:xfrm>
                <a:off x="1745913" y="3872722"/>
                <a:ext cx="1328" cy="973"/>
              </a:xfrm>
              <a:custGeom>
                <a:avLst/>
                <a:gdLst>
                  <a:gd name="connsiteX0" fmla="*/ 12103 w 12733"/>
                  <a:gd name="connsiteY0" fmla="*/ 3156 h 9330"/>
                  <a:gd name="connsiteX1" fmla="*/ 7959 w 12733"/>
                  <a:gd name="connsiteY1" fmla="*/ 9330 h 9330"/>
                  <a:gd name="connsiteX2" fmla="*/ 5351 w 12733"/>
                  <a:gd name="connsiteY2" fmla="*/ 6394 h 9330"/>
                  <a:gd name="connsiteX3" fmla="*/ 2360 w 12733"/>
                  <a:gd name="connsiteY3" fmla="*/ 6861 h 9330"/>
                  <a:gd name="connsiteX4" fmla="*/ 0 w 12733"/>
                  <a:gd name="connsiteY4" fmla="*/ 5022 h 9330"/>
                  <a:gd name="connsiteX5" fmla="*/ 12734 w 12733"/>
                  <a:gd name="connsiteY5" fmla="*/ 0 h 9330"/>
                  <a:gd name="connsiteX6" fmla="*/ 12103 w 12733"/>
                  <a:gd name="connsiteY6" fmla="*/ 3156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33" h="9330">
                    <a:moveTo>
                      <a:pt x="12103" y="3156"/>
                    </a:moveTo>
                    <a:lnTo>
                      <a:pt x="7959" y="9330"/>
                    </a:lnTo>
                    <a:lnTo>
                      <a:pt x="5351" y="6394"/>
                    </a:lnTo>
                    <a:lnTo>
                      <a:pt x="2360" y="6861"/>
                    </a:lnTo>
                    <a:lnTo>
                      <a:pt x="0" y="5022"/>
                    </a:lnTo>
                    <a:lnTo>
                      <a:pt x="12734" y="0"/>
                    </a:lnTo>
                    <a:lnTo>
                      <a:pt x="12103"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2" name="Freeform: Shape 4141">
                <a:extLst>
                  <a:ext uri="{FF2B5EF4-FFF2-40B4-BE49-F238E27FC236}">
                    <a16:creationId xmlns:a16="http://schemas.microsoft.com/office/drawing/2014/main" id="{105CBA7B-A946-FBAD-64D6-5F81AA18F310}"/>
                  </a:ext>
                </a:extLst>
              </p:cNvPr>
              <p:cNvSpPr/>
              <p:nvPr/>
            </p:nvSpPr>
            <p:spPr>
              <a:xfrm>
                <a:off x="1750375" y="3869473"/>
                <a:ext cx="452" cy="567"/>
              </a:xfrm>
              <a:custGeom>
                <a:avLst/>
                <a:gdLst>
                  <a:gd name="connsiteX0" fmla="*/ 4336 w 4336"/>
                  <a:gd name="connsiteY0" fmla="*/ 933 h 5433"/>
                  <a:gd name="connsiteX1" fmla="*/ 2497 w 4336"/>
                  <a:gd name="connsiteY1" fmla="*/ 5434 h 5433"/>
                  <a:gd name="connsiteX2" fmla="*/ 0 w 4336"/>
                  <a:gd name="connsiteY2" fmla="*/ 4116 h 5433"/>
                  <a:gd name="connsiteX3" fmla="*/ 3623 w 4336"/>
                  <a:gd name="connsiteY3" fmla="*/ 0 h 5433"/>
                  <a:gd name="connsiteX4" fmla="*/ 4336 w 4336"/>
                  <a:gd name="connsiteY4" fmla="*/ 906 h 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5433">
                    <a:moveTo>
                      <a:pt x="4336" y="933"/>
                    </a:moveTo>
                    <a:lnTo>
                      <a:pt x="2497" y="5434"/>
                    </a:lnTo>
                    <a:lnTo>
                      <a:pt x="0" y="4116"/>
                    </a:lnTo>
                    <a:lnTo>
                      <a:pt x="3623" y="0"/>
                    </a:lnTo>
                    <a:lnTo>
                      <a:pt x="4336" y="9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0" name="Freeform: Shape 4479">
                <a:extLst>
                  <a:ext uri="{FF2B5EF4-FFF2-40B4-BE49-F238E27FC236}">
                    <a16:creationId xmlns:a16="http://schemas.microsoft.com/office/drawing/2014/main" id="{7AA9ED9F-4FBA-A797-A1FB-CB2E57B173F1}"/>
                  </a:ext>
                </a:extLst>
              </p:cNvPr>
              <p:cNvSpPr/>
              <p:nvPr/>
            </p:nvSpPr>
            <p:spPr>
              <a:xfrm>
                <a:off x="1850952" y="3867392"/>
                <a:ext cx="4889" cy="3398"/>
              </a:xfrm>
              <a:custGeom>
                <a:avLst/>
                <a:gdLst>
                  <a:gd name="connsiteX0" fmla="*/ 45089 w 46872"/>
                  <a:gd name="connsiteY0" fmla="*/ 25604 h 32574"/>
                  <a:gd name="connsiteX1" fmla="*/ 46873 w 46872"/>
                  <a:gd name="connsiteY1" fmla="*/ 31696 h 32574"/>
                  <a:gd name="connsiteX2" fmla="*/ 46022 w 46872"/>
                  <a:gd name="connsiteY2" fmla="*/ 32575 h 32574"/>
                  <a:gd name="connsiteX3" fmla="*/ 40506 w 46872"/>
                  <a:gd name="connsiteY3" fmla="*/ 28266 h 32574"/>
                  <a:gd name="connsiteX4" fmla="*/ 39847 w 46872"/>
                  <a:gd name="connsiteY4" fmla="*/ 29089 h 32574"/>
                  <a:gd name="connsiteX5" fmla="*/ 41329 w 46872"/>
                  <a:gd name="connsiteY5" fmla="*/ 31504 h 32574"/>
                  <a:gd name="connsiteX6" fmla="*/ 40478 w 46872"/>
                  <a:gd name="connsiteY6" fmla="*/ 32355 h 32574"/>
                  <a:gd name="connsiteX7" fmla="*/ 36856 w 46872"/>
                  <a:gd name="connsiteY7" fmla="*/ 30434 h 32574"/>
                  <a:gd name="connsiteX8" fmla="*/ 36747 w 46872"/>
                  <a:gd name="connsiteY8" fmla="*/ 27168 h 32574"/>
                  <a:gd name="connsiteX9" fmla="*/ 35237 w 46872"/>
                  <a:gd name="connsiteY9" fmla="*/ 25851 h 32574"/>
                  <a:gd name="connsiteX10" fmla="*/ 21378 w 46872"/>
                  <a:gd name="connsiteY10" fmla="*/ 18195 h 32574"/>
                  <a:gd name="connsiteX11" fmla="*/ 11718 w 46872"/>
                  <a:gd name="connsiteY11" fmla="*/ 10154 h 32574"/>
                  <a:gd name="connsiteX12" fmla="*/ 1729 w 46872"/>
                  <a:gd name="connsiteY12" fmla="*/ 4610 h 32574"/>
                  <a:gd name="connsiteX13" fmla="*/ 0 w 46872"/>
                  <a:gd name="connsiteY13" fmla="*/ 549 h 32574"/>
                  <a:gd name="connsiteX14" fmla="*/ 714 w 46872"/>
                  <a:gd name="connsiteY14" fmla="*/ 0 h 32574"/>
                  <a:gd name="connsiteX15" fmla="*/ 6833 w 46872"/>
                  <a:gd name="connsiteY15" fmla="*/ 2881 h 32574"/>
                  <a:gd name="connsiteX16" fmla="*/ 13749 w 46872"/>
                  <a:gd name="connsiteY16" fmla="*/ 3842 h 32574"/>
                  <a:gd name="connsiteX17" fmla="*/ 23958 w 46872"/>
                  <a:gd name="connsiteY17" fmla="*/ 13255 h 32574"/>
                  <a:gd name="connsiteX18" fmla="*/ 35210 w 46872"/>
                  <a:gd name="connsiteY18" fmla="*/ 18057 h 32574"/>
                  <a:gd name="connsiteX19" fmla="*/ 45089 w 46872"/>
                  <a:gd name="connsiteY19" fmla="*/ 25577 h 32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872" h="32574">
                    <a:moveTo>
                      <a:pt x="45089" y="25604"/>
                    </a:moveTo>
                    <a:lnTo>
                      <a:pt x="46873" y="31696"/>
                    </a:lnTo>
                    <a:lnTo>
                      <a:pt x="46022" y="32575"/>
                    </a:lnTo>
                    <a:lnTo>
                      <a:pt x="40506" y="28266"/>
                    </a:lnTo>
                    <a:lnTo>
                      <a:pt x="39847" y="29089"/>
                    </a:lnTo>
                    <a:lnTo>
                      <a:pt x="41329" y="31504"/>
                    </a:lnTo>
                    <a:lnTo>
                      <a:pt x="40478" y="32355"/>
                    </a:lnTo>
                    <a:lnTo>
                      <a:pt x="36856" y="30434"/>
                    </a:lnTo>
                    <a:lnTo>
                      <a:pt x="36747" y="27168"/>
                    </a:lnTo>
                    <a:lnTo>
                      <a:pt x="35237" y="25851"/>
                    </a:lnTo>
                    <a:lnTo>
                      <a:pt x="21378" y="18195"/>
                    </a:lnTo>
                    <a:lnTo>
                      <a:pt x="11718" y="10154"/>
                    </a:lnTo>
                    <a:lnTo>
                      <a:pt x="1729" y="4610"/>
                    </a:lnTo>
                    <a:lnTo>
                      <a:pt x="0" y="549"/>
                    </a:lnTo>
                    <a:lnTo>
                      <a:pt x="714" y="0"/>
                    </a:lnTo>
                    <a:lnTo>
                      <a:pt x="6833" y="2881"/>
                    </a:lnTo>
                    <a:lnTo>
                      <a:pt x="13749" y="3842"/>
                    </a:lnTo>
                    <a:lnTo>
                      <a:pt x="23958" y="13255"/>
                    </a:lnTo>
                    <a:lnTo>
                      <a:pt x="35210" y="18057"/>
                    </a:lnTo>
                    <a:lnTo>
                      <a:pt x="45089" y="255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1" name="Freeform: Shape 4480">
                <a:extLst>
                  <a:ext uri="{FF2B5EF4-FFF2-40B4-BE49-F238E27FC236}">
                    <a16:creationId xmlns:a16="http://schemas.microsoft.com/office/drawing/2014/main" id="{4FE14F57-5812-CA3C-AAE7-746ACBCEDD2B}"/>
                  </a:ext>
                </a:extLst>
              </p:cNvPr>
              <p:cNvSpPr/>
              <p:nvPr/>
            </p:nvSpPr>
            <p:spPr>
              <a:xfrm>
                <a:off x="1858025" y="3870146"/>
                <a:ext cx="2983" cy="4147"/>
              </a:xfrm>
              <a:custGeom>
                <a:avLst/>
                <a:gdLst>
                  <a:gd name="connsiteX0" fmla="*/ 17262 w 28596"/>
                  <a:gd name="connsiteY0" fmla="*/ 20088 h 39764"/>
                  <a:gd name="connsiteX1" fmla="*/ 19073 w 28596"/>
                  <a:gd name="connsiteY1" fmla="*/ 24342 h 39764"/>
                  <a:gd name="connsiteX2" fmla="*/ 19951 w 28596"/>
                  <a:gd name="connsiteY2" fmla="*/ 24342 h 39764"/>
                  <a:gd name="connsiteX3" fmla="*/ 19210 w 28596"/>
                  <a:gd name="connsiteY3" fmla="*/ 28376 h 39764"/>
                  <a:gd name="connsiteX4" fmla="*/ 27470 w 28596"/>
                  <a:gd name="connsiteY4" fmla="*/ 34990 h 39764"/>
                  <a:gd name="connsiteX5" fmla="*/ 28596 w 28596"/>
                  <a:gd name="connsiteY5" fmla="*/ 39765 h 39764"/>
                  <a:gd name="connsiteX6" fmla="*/ 24726 w 28596"/>
                  <a:gd name="connsiteY6" fmla="*/ 38832 h 39764"/>
                  <a:gd name="connsiteX7" fmla="*/ 7904 w 28596"/>
                  <a:gd name="connsiteY7" fmla="*/ 23820 h 39764"/>
                  <a:gd name="connsiteX8" fmla="*/ 2470 w 28596"/>
                  <a:gd name="connsiteY8" fmla="*/ 11663 h 39764"/>
                  <a:gd name="connsiteX9" fmla="*/ 2415 w 28596"/>
                  <a:gd name="connsiteY9" fmla="*/ 4062 h 39764"/>
                  <a:gd name="connsiteX10" fmla="*/ 0 w 28596"/>
                  <a:gd name="connsiteY10" fmla="*/ 0 h 39764"/>
                  <a:gd name="connsiteX11" fmla="*/ 4912 w 28596"/>
                  <a:gd name="connsiteY11" fmla="*/ 82 h 39764"/>
                  <a:gd name="connsiteX12" fmla="*/ 11527 w 28596"/>
                  <a:gd name="connsiteY12" fmla="*/ 8782 h 39764"/>
                  <a:gd name="connsiteX13" fmla="*/ 10786 w 28596"/>
                  <a:gd name="connsiteY13" fmla="*/ 13913 h 39764"/>
                  <a:gd name="connsiteX14" fmla="*/ 17289 w 28596"/>
                  <a:gd name="connsiteY14" fmla="*/ 20116 h 39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96" h="39764">
                    <a:moveTo>
                      <a:pt x="17262" y="20088"/>
                    </a:moveTo>
                    <a:lnTo>
                      <a:pt x="19073" y="24342"/>
                    </a:lnTo>
                    <a:lnTo>
                      <a:pt x="19951" y="24342"/>
                    </a:lnTo>
                    <a:lnTo>
                      <a:pt x="19210" y="28376"/>
                    </a:lnTo>
                    <a:lnTo>
                      <a:pt x="27470" y="34990"/>
                    </a:lnTo>
                    <a:lnTo>
                      <a:pt x="28596" y="39765"/>
                    </a:lnTo>
                    <a:lnTo>
                      <a:pt x="24726" y="38832"/>
                    </a:lnTo>
                    <a:lnTo>
                      <a:pt x="7904" y="23820"/>
                    </a:lnTo>
                    <a:lnTo>
                      <a:pt x="2470" y="11663"/>
                    </a:lnTo>
                    <a:lnTo>
                      <a:pt x="2415" y="4062"/>
                    </a:lnTo>
                    <a:lnTo>
                      <a:pt x="0" y="0"/>
                    </a:lnTo>
                    <a:lnTo>
                      <a:pt x="4912" y="82"/>
                    </a:lnTo>
                    <a:lnTo>
                      <a:pt x="11527" y="8782"/>
                    </a:lnTo>
                    <a:lnTo>
                      <a:pt x="10786" y="13913"/>
                    </a:lnTo>
                    <a:lnTo>
                      <a:pt x="17289" y="201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2" name="Freeform: Shape 4481">
                <a:extLst>
                  <a:ext uri="{FF2B5EF4-FFF2-40B4-BE49-F238E27FC236}">
                    <a16:creationId xmlns:a16="http://schemas.microsoft.com/office/drawing/2014/main" id="{1A45883F-87BA-9586-4BD6-E628AA08C964}"/>
                  </a:ext>
                </a:extLst>
              </p:cNvPr>
              <p:cNvSpPr/>
              <p:nvPr/>
            </p:nvSpPr>
            <p:spPr>
              <a:xfrm>
                <a:off x="1846879" y="3868632"/>
                <a:ext cx="3861" cy="3011"/>
              </a:xfrm>
              <a:custGeom>
                <a:avLst/>
                <a:gdLst>
                  <a:gd name="connsiteX0" fmla="*/ 5818 w 37020"/>
                  <a:gd name="connsiteY0" fmla="*/ 1207 h 28870"/>
                  <a:gd name="connsiteX1" fmla="*/ 7492 w 37020"/>
                  <a:gd name="connsiteY1" fmla="*/ 10044 h 28870"/>
                  <a:gd name="connsiteX2" fmla="*/ 13475 w 37020"/>
                  <a:gd name="connsiteY2" fmla="*/ 4171 h 28870"/>
                  <a:gd name="connsiteX3" fmla="*/ 17591 w 37020"/>
                  <a:gd name="connsiteY3" fmla="*/ 4171 h 28870"/>
                  <a:gd name="connsiteX4" fmla="*/ 19650 w 37020"/>
                  <a:gd name="connsiteY4" fmla="*/ 6312 h 28870"/>
                  <a:gd name="connsiteX5" fmla="*/ 20143 w 37020"/>
                  <a:gd name="connsiteY5" fmla="*/ 10401 h 28870"/>
                  <a:gd name="connsiteX6" fmla="*/ 23766 w 37020"/>
                  <a:gd name="connsiteY6" fmla="*/ 11498 h 28870"/>
                  <a:gd name="connsiteX7" fmla="*/ 31066 w 37020"/>
                  <a:gd name="connsiteY7" fmla="*/ 19320 h 28870"/>
                  <a:gd name="connsiteX8" fmla="*/ 33782 w 37020"/>
                  <a:gd name="connsiteY8" fmla="*/ 20225 h 28870"/>
                  <a:gd name="connsiteX9" fmla="*/ 35182 w 37020"/>
                  <a:gd name="connsiteY9" fmla="*/ 21817 h 28870"/>
                  <a:gd name="connsiteX10" fmla="*/ 35182 w 37020"/>
                  <a:gd name="connsiteY10" fmla="*/ 26318 h 28870"/>
                  <a:gd name="connsiteX11" fmla="*/ 37021 w 37020"/>
                  <a:gd name="connsiteY11" fmla="*/ 27443 h 28870"/>
                  <a:gd name="connsiteX12" fmla="*/ 35182 w 37020"/>
                  <a:gd name="connsiteY12" fmla="*/ 28870 h 28870"/>
                  <a:gd name="connsiteX13" fmla="*/ 33645 w 37020"/>
                  <a:gd name="connsiteY13" fmla="*/ 26757 h 28870"/>
                  <a:gd name="connsiteX14" fmla="*/ 27416 w 37020"/>
                  <a:gd name="connsiteY14" fmla="*/ 25522 h 28870"/>
                  <a:gd name="connsiteX15" fmla="*/ 22805 w 37020"/>
                  <a:gd name="connsiteY15" fmla="*/ 19320 h 28870"/>
                  <a:gd name="connsiteX16" fmla="*/ 20939 w 37020"/>
                  <a:gd name="connsiteY16" fmla="*/ 19320 h 28870"/>
                  <a:gd name="connsiteX17" fmla="*/ 16576 w 37020"/>
                  <a:gd name="connsiteY17" fmla="*/ 12239 h 28870"/>
                  <a:gd name="connsiteX18" fmla="*/ 9331 w 37020"/>
                  <a:gd name="connsiteY18" fmla="*/ 14161 h 28870"/>
                  <a:gd name="connsiteX19" fmla="*/ 5077 w 37020"/>
                  <a:gd name="connsiteY19" fmla="*/ 13090 h 28870"/>
                  <a:gd name="connsiteX20" fmla="*/ 2662 w 37020"/>
                  <a:gd name="connsiteY20" fmla="*/ 10703 h 28870"/>
                  <a:gd name="connsiteX21" fmla="*/ 3430 w 37020"/>
                  <a:gd name="connsiteY21" fmla="*/ 8343 h 28870"/>
                  <a:gd name="connsiteX22" fmla="*/ 0 w 37020"/>
                  <a:gd name="connsiteY22" fmla="*/ 5104 h 28870"/>
                  <a:gd name="connsiteX23" fmla="*/ 714 w 37020"/>
                  <a:gd name="connsiteY23" fmla="*/ 1345 h 28870"/>
                  <a:gd name="connsiteX24" fmla="*/ 3320 w 37020"/>
                  <a:gd name="connsiteY24" fmla="*/ 0 h 28870"/>
                  <a:gd name="connsiteX25" fmla="*/ 5846 w 37020"/>
                  <a:gd name="connsiteY25" fmla="*/ 1235 h 2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7020" h="28870">
                    <a:moveTo>
                      <a:pt x="5818" y="1207"/>
                    </a:moveTo>
                    <a:lnTo>
                      <a:pt x="7492" y="10044"/>
                    </a:lnTo>
                    <a:lnTo>
                      <a:pt x="13475" y="4171"/>
                    </a:lnTo>
                    <a:lnTo>
                      <a:pt x="17591" y="4171"/>
                    </a:lnTo>
                    <a:cubicBezTo>
                      <a:pt x="17591" y="4171"/>
                      <a:pt x="19650" y="6312"/>
                      <a:pt x="19650" y="6312"/>
                    </a:cubicBezTo>
                    <a:lnTo>
                      <a:pt x="20143" y="10401"/>
                    </a:lnTo>
                    <a:lnTo>
                      <a:pt x="23766" y="11498"/>
                    </a:lnTo>
                    <a:lnTo>
                      <a:pt x="31066" y="19320"/>
                    </a:lnTo>
                    <a:lnTo>
                      <a:pt x="33782" y="20225"/>
                    </a:lnTo>
                    <a:lnTo>
                      <a:pt x="35182" y="21817"/>
                    </a:lnTo>
                    <a:lnTo>
                      <a:pt x="35182" y="26318"/>
                    </a:lnTo>
                    <a:lnTo>
                      <a:pt x="37021" y="27443"/>
                    </a:lnTo>
                    <a:lnTo>
                      <a:pt x="35182" y="28870"/>
                    </a:lnTo>
                    <a:lnTo>
                      <a:pt x="33645" y="26757"/>
                    </a:lnTo>
                    <a:lnTo>
                      <a:pt x="27416" y="25522"/>
                    </a:lnTo>
                    <a:lnTo>
                      <a:pt x="22805" y="19320"/>
                    </a:lnTo>
                    <a:lnTo>
                      <a:pt x="20939" y="19320"/>
                    </a:lnTo>
                    <a:lnTo>
                      <a:pt x="16576" y="12239"/>
                    </a:lnTo>
                    <a:lnTo>
                      <a:pt x="9331" y="14161"/>
                    </a:lnTo>
                    <a:lnTo>
                      <a:pt x="5077" y="13090"/>
                    </a:lnTo>
                    <a:lnTo>
                      <a:pt x="2662" y="10703"/>
                    </a:lnTo>
                    <a:lnTo>
                      <a:pt x="3430" y="8343"/>
                    </a:lnTo>
                    <a:lnTo>
                      <a:pt x="0" y="5104"/>
                    </a:lnTo>
                    <a:lnTo>
                      <a:pt x="714" y="1345"/>
                    </a:lnTo>
                    <a:lnTo>
                      <a:pt x="3320" y="0"/>
                    </a:lnTo>
                    <a:lnTo>
                      <a:pt x="5846"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3" name="Freeform: Shape 4482">
                <a:extLst>
                  <a:ext uri="{FF2B5EF4-FFF2-40B4-BE49-F238E27FC236}">
                    <a16:creationId xmlns:a16="http://schemas.microsoft.com/office/drawing/2014/main" id="{15A8FAE5-6F94-0508-B23E-86666373C823}"/>
                  </a:ext>
                </a:extLst>
              </p:cNvPr>
              <p:cNvSpPr/>
              <p:nvPr/>
            </p:nvSpPr>
            <p:spPr>
              <a:xfrm>
                <a:off x="1845184" y="3864782"/>
                <a:ext cx="4165" cy="2728"/>
              </a:xfrm>
              <a:custGeom>
                <a:avLst/>
                <a:gdLst>
                  <a:gd name="connsiteX0" fmla="*/ 19704 w 39929"/>
                  <a:gd name="connsiteY0" fmla="*/ 9989 h 26152"/>
                  <a:gd name="connsiteX1" fmla="*/ 22942 w 39929"/>
                  <a:gd name="connsiteY1" fmla="*/ 16411 h 26152"/>
                  <a:gd name="connsiteX2" fmla="*/ 23381 w 39929"/>
                  <a:gd name="connsiteY2" fmla="*/ 16411 h 26152"/>
                  <a:gd name="connsiteX3" fmla="*/ 39930 w 39929"/>
                  <a:gd name="connsiteY3" fmla="*/ 24726 h 26152"/>
                  <a:gd name="connsiteX4" fmla="*/ 38365 w 39929"/>
                  <a:gd name="connsiteY4" fmla="*/ 26153 h 26152"/>
                  <a:gd name="connsiteX5" fmla="*/ 21735 w 39929"/>
                  <a:gd name="connsiteY5" fmla="*/ 22338 h 26152"/>
                  <a:gd name="connsiteX6" fmla="*/ 13584 w 39929"/>
                  <a:gd name="connsiteY6" fmla="*/ 16411 h 26152"/>
                  <a:gd name="connsiteX7" fmla="*/ 12871 w 39929"/>
                  <a:gd name="connsiteY7" fmla="*/ 15341 h 26152"/>
                  <a:gd name="connsiteX8" fmla="*/ 988 w 39929"/>
                  <a:gd name="connsiteY8" fmla="*/ 4336 h 26152"/>
                  <a:gd name="connsiteX9" fmla="*/ 0 w 39929"/>
                  <a:gd name="connsiteY9" fmla="*/ 1345 h 26152"/>
                  <a:gd name="connsiteX10" fmla="*/ 3046 w 39929"/>
                  <a:gd name="connsiteY10" fmla="*/ 0 h 26152"/>
                  <a:gd name="connsiteX11" fmla="*/ 19704 w 39929"/>
                  <a:gd name="connsiteY11" fmla="*/ 9989 h 2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929" h="26152">
                    <a:moveTo>
                      <a:pt x="19704" y="9989"/>
                    </a:moveTo>
                    <a:lnTo>
                      <a:pt x="22942" y="16411"/>
                    </a:lnTo>
                    <a:lnTo>
                      <a:pt x="23381" y="16411"/>
                    </a:lnTo>
                    <a:lnTo>
                      <a:pt x="39930" y="24726"/>
                    </a:lnTo>
                    <a:lnTo>
                      <a:pt x="38365" y="26153"/>
                    </a:lnTo>
                    <a:lnTo>
                      <a:pt x="21735" y="22338"/>
                    </a:lnTo>
                    <a:lnTo>
                      <a:pt x="13584" y="16411"/>
                    </a:lnTo>
                    <a:lnTo>
                      <a:pt x="12871" y="15341"/>
                    </a:lnTo>
                    <a:lnTo>
                      <a:pt x="988" y="4336"/>
                    </a:lnTo>
                    <a:lnTo>
                      <a:pt x="0" y="1345"/>
                    </a:lnTo>
                    <a:lnTo>
                      <a:pt x="3046" y="0"/>
                    </a:lnTo>
                    <a:lnTo>
                      <a:pt x="19704" y="99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4" name="Freeform: Shape 4483">
                <a:extLst>
                  <a:ext uri="{FF2B5EF4-FFF2-40B4-BE49-F238E27FC236}">
                    <a16:creationId xmlns:a16="http://schemas.microsoft.com/office/drawing/2014/main" id="{E85C445A-DE23-52B7-A33F-3598D62F4F6C}"/>
                  </a:ext>
                </a:extLst>
              </p:cNvPr>
              <p:cNvSpPr/>
              <p:nvPr/>
            </p:nvSpPr>
            <p:spPr>
              <a:xfrm>
                <a:off x="1854982" y="3873003"/>
                <a:ext cx="3833" cy="2084"/>
              </a:xfrm>
              <a:custGeom>
                <a:avLst/>
                <a:gdLst>
                  <a:gd name="connsiteX0" fmla="*/ 36746 w 36745"/>
                  <a:gd name="connsiteY0" fmla="*/ 17097 h 19978"/>
                  <a:gd name="connsiteX1" fmla="*/ 30160 w 36745"/>
                  <a:gd name="connsiteY1" fmla="*/ 19979 h 19978"/>
                  <a:gd name="connsiteX2" fmla="*/ 20692 w 36745"/>
                  <a:gd name="connsiteY2" fmla="*/ 16521 h 19978"/>
                  <a:gd name="connsiteX3" fmla="*/ 5982 w 36745"/>
                  <a:gd name="connsiteY3" fmla="*/ 15368 h 19978"/>
                  <a:gd name="connsiteX4" fmla="*/ 521 w 36745"/>
                  <a:gd name="connsiteY4" fmla="*/ 8041 h 19978"/>
                  <a:gd name="connsiteX5" fmla="*/ 0 w 36745"/>
                  <a:gd name="connsiteY5" fmla="*/ 1784 h 19978"/>
                  <a:gd name="connsiteX6" fmla="*/ 2854 w 36745"/>
                  <a:gd name="connsiteY6" fmla="*/ 0 h 19978"/>
                  <a:gd name="connsiteX7" fmla="*/ 9221 w 36745"/>
                  <a:gd name="connsiteY7" fmla="*/ 4363 h 19978"/>
                  <a:gd name="connsiteX8" fmla="*/ 22586 w 36745"/>
                  <a:gd name="connsiteY8" fmla="*/ 4775 h 19978"/>
                  <a:gd name="connsiteX9" fmla="*/ 36718 w 36745"/>
                  <a:gd name="connsiteY9" fmla="*/ 16658 h 19978"/>
                  <a:gd name="connsiteX10" fmla="*/ 36718 w 36745"/>
                  <a:gd name="connsiteY10" fmla="*/ 17097 h 19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45" h="19978">
                    <a:moveTo>
                      <a:pt x="36746" y="17097"/>
                    </a:moveTo>
                    <a:lnTo>
                      <a:pt x="30160" y="19979"/>
                    </a:lnTo>
                    <a:lnTo>
                      <a:pt x="20692" y="16521"/>
                    </a:lnTo>
                    <a:lnTo>
                      <a:pt x="5982" y="15368"/>
                    </a:lnTo>
                    <a:lnTo>
                      <a:pt x="521" y="8041"/>
                    </a:lnTo>
                    <a:lnTo>
                      <a:pt x="0" y="1784"/>
                    </a:lnTo>
                    <a:lnTo>
                      <a:pt x="2854" y="0"/>
                    </a:lnTo>
                    <a:lnTo>
                      <a:pt x="9221" y="4363"/>
                    </a:lnTo>
                    <a:lnTo>
                      <a:pt x="22586" y="4775"/>
                    </a:lnTo>
                    <a:lnTo>
                      <a:pt x="36718" y="16658"/>
                    </a:lnTo>
                    <a:lnTo>
                      <a:pt x="36718" y="170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5" name="Freeform: Shape 4484">
                <a:extLst>
                  <a:ext uri="{FF2B5EF4-FFF2-40B4-BE49-F238E27FC236}">
                    <a16:creationId xmlns:a16="http://schemas.microsoft.com/office/drawing/2014/main" id="{F264E2FA-494E-9F77-26C1-E4D7604A0E00}"/>
                  </a:ext>
                </a:extLst>
              </p:cNvPr>
              <p:cNvSpPr/>
              <p:nvPr/>
            </p:nvSpPr>
            <p:spPr>
              <a:xfrm>
                <a:off x="1860151" y="3875934"/>
                <a:ext cx="3014" cy="1946"/>
              </a:xfrm>
              <a:custGeom>
                <a:avLst/>
                <a:gdLst>
                  <a:gd name="connsiteX0" fmla="*/ 28898 w 28897"/>
                  <a:gd name="connsiteY0" fmla="*/ 16054 h 18661"/>
                  <a:gd name="connsiteX1" fmla="*/ 24890 w 28897"/>
                  <a:gd name="connsiteY1" fmla="*/ 18661 h 18661"/>
                  <a:gd name="connsiteX2" fmla="*/ 15231 w 28897"/>
                  <a:gd name="connsiteY2" fmla="*/ 16219 h 18661"/>
                  <a:gd name="connsiteX3" fmla="*/ 6833 w 28897"/>
                  <a:gd name="connsiteY3" fmla="*/ 10209 h 18661"/>
                  <a:gd name="connsiteX4" fmla="*/ 5324 w 28897"/>
                  <a:gd name="connsiteY4" fmla="*/ 5022 h 18661"/>
                  <a:gd name="connsiteX5" fmla="*/ 0 w 28897"/>
                  <a:gd name="connsiteY5" fmla="*/ 3293 h 18661"/>
                  <a:gd name="connsiteX6" fmla="*/ 714 w 28897"/>
                  <a:gd name="connsiteY6" fmla="*/ 0 h 18661"/>
                  <a:gd name="connsiteX7" fmla="*/ 25192 w 28897"/>
                  <a:gd name="connsiteY7" fmla="*/ 10209 h 18661"/>
                  <a:gd name="connsiteX8" fmla="*/ 28870 w 28897"/>
                  <a:gd name="connsiteY8" fmla="*/ 16054 h 18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97" h="18661">
                    <a:moveTo>
                      <a:pt x="28898" y="16054"/>
                    </a:moveTo>
                    <a:lnTo>
                      <a:pt x="24890" y="18661"/>
                    </a:lnTo>
                    <a:lnTo>
                      <a:pt x="15231" y="16219"/>
                    </a:lnTo>
                    <a:lnTo>
                      <a:pt x="6833" y="10209"/>
                    </a:lnTo>
                    <a:lnTo>
                      <a:pt x="5324" y="5022"/>
                    </a:lnTo>
                    <a:lnTo>
                      <a:pt x="0" y="3293"/>
                    </a:lnTo>
                    <a:lnTo>
                      <a:pt x="714" y="0"/>
                    </a:lnTo>
                    <a:lnTo>
                      <a:pt x="25192" y="10209"/>
                    </a:lnTo>
                    <a:lnTo>
                      <a:pt x="28870" y="160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6" name="Freeform: Shape 4485">
                <a:extLst>
                  <a:ext uri="{FF2B5EF4-FFF2-40B4-BE49-F238E27FC236}">
                    <a16:creationId xmlns:a16="http://schemas.microsoft.com/office/drawing/2014/main" id="{E42A8B2F-C0B5-7FA1-5192-4EEF2B60A164}"/>
                  </a:ext>
                </a:extLst>
              </p:cNvPr>
              <p:cNvSpPr/>
              <p:nvPr/>
            </p:nvSpPr>
            <p:spPr>
              <a:xfrm>
                <a:off x="1856050" y="3879861"/>
                <a:ext cx="1531" cy="925"/>
              </a:xfrm>
              <a:custGeom>
                <a:avLst/>
                <a:gdLst>
                  <a:gd name="connsiteX0" fmla="*/ 4419 w 14682"/>
                  <a:gd name="connsiteY0" fmla="*/ 714 h 8864"/>
                  <a:gd name="connsiteX1" fmla="*/ 14682 w 14682"/>
                  <a:gd name="connsiteY1" fmla="*/ 8041 h 8864"/>
                  <a:gd name="connsiteX2" fmla="*/ 13969 w 14682"/>
                  <a:gd name="connsiteY2" fmla="*/ 8864 h 8864"/>
                  <a:gd name="connsiteX3" fmla="*/ 9385 w 14682"/>
                  <a:gd name="connsiteY3" fmla="*/ 5735 h 8864"/>
                  <a:gd name="connsiteX4" fmla="*/ 6971 w 14682"/>
                  <a:gd name="connsiteY4" fmla="*/ 6696 h 8864"/>
                  <a:gd name="connsiteX5" fmla="*/ 3293 w 14682"/>
                  <a:gd name="connsiteY5" fmla="*/ 4144 h 8864"/>
                  <a:gd name="connsiteX6" fmla="*/ 2388 w 14682"/>
                  <a:gd name="connsiteY6" fmla="*/ 4583 h 8864"/>
                  <a:gd name="connsiteX7" fmla="*/ 466 w 14682"/>
                  <a:gd name="connsiteY7" fmla="*/ 2717 h 8864"/>
                  <a:gd name="connsiteX8" fmla="*/ 0 w 14682"/>
                  <a:gd name="connsiteY8" fmla="*/ 960 h 8864"/>
                  <a:gd name="connsiteX9" fmla="*/ 768 w 14682"/>
                  <a:gd name="connsiteY9" fmla="*/ 0 h 8864"/>
                  <a:gd name="connsiteX10" fmla="*/ 4446 w 14682"/>
                  <a:gd name="connsiteY10" fmla="*/ 714 h 8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82" h="8864">
                    <a:moveTo>
                      <a:pt x="4419" y="714"/>
                    </a:moveTo>
                    <a:lnTo>
                      <a:pt x="14682" y="8041"/>
                    </a:lnTo>
                    <a:lnTo>
                      <a:pt x="13969" y="8864"/>
                    </a:lnTo>
                    <a:lnTo>
                      <a:pt x="9385" y="5735"/>
                    </a:lnTo>
                    <a:lnTo>
                      <a:pt x="6971" y="6696"/>
                    </a:lnTo>
                    <a:lnTo>
                      <a:pt x="3293" y="4144"/>
                    </a:lnTo>
                    <a:lnTo>
                      <a:pt x="2388" y="4583"/>
                    </a:lnTo>
                    <a:lnTo>
                      <a:pt x="466" y="2717"/>
                    </a:lnTo>
                    <a:lnTo>
                      <a:pt x="0" y="960"/>
                    </a:lnTo>
                    <a:lnTo>
                      <a:pt x="768" y="0"/>
                    </a:lnTo>
                    <a:lnTo>
                      <a:pt x="4446" y="7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7" name="Freeform: Shape 4486">
                <a:extLst>
                  <a:ext uri="{FF2B5EF4-FFF2-40B4-BE49-F238E27FC236}">
                    <a16:creationId xmlns:a16="http://schemas.microsoft.com/office/drawing/2014/main" id="{9FFFE728-05DE-AF60-1998-29CD1CFC2320}"/>
                  </a:ext>
                </a:extLst>
              </p:cNvPr>
              <p:cNvSpPr/>
              <p:nvPr/>
            </p:nvSpPr>
            <p:spPr>
              <a:xfrm>
                <a:off x="1845502" y="3867762"/>
                <a:ext cx="793" cy="1079"/>
              </a:xfrm>
              <a:custGeom>
                <a:avLst/>
                <a:gdLst>
                  <a:gd name="connsiteX0" fmla="*/ 7602 w 7601"/>
                  <a:gd name="connsiteY0" fmla="*/ 4666 h 10346"/>
                  <a:gd name="connsiteX1" fmla="*/ 5434 w 7601"/>
                  <a:gd name="connsiteY1" fmla="*/ 10346 h 10346"/>
                  <a:gd name="connsiteX2" fmla="*/ 2717 w 7601"/>
                  <a:gd name="connsiteY2" fmla="*/ 8617 h 10346"/>
                  <a:gd name="connsiteX3" fmla="*/ 2717 w 7601"/>
                  <a:gd name="connsiteY3" fmla="*/ 7437 h 10346"/>
                  <a:gd name="connsiteX4" fmla="*/ 0 w 7601"/>
                  <a:gd name="connsiteY4" fmla="*/ 2552 h 10346"/>
                  <a:gd name="connsiteX5" fmla="*/ 2333 w 7601"/>
                  <a:gd name="connsiteY5" fmla="*/ 0 h 10346"/>
                  <a:gd name="connsiteX6" fmla="*/ 7602 w 7601"/>
                  <a:gd name="connsiteY6" fmla="*/ 4638 h 1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1" h="10346">
                    <a:moveTo>
                      <a:pt x="7602" y="4666"/>
                    </a:moveTo>
                    <a:lnTo>
                      <a:pt x="5434" y="10346"/>
                    </a:lnTo>
                    <a:lnTo>
                      <a:pt x="2717" y="8617"/>
                    </a:lnTo>
                    <a:lnTo>
                      <a:pt x="2717" y="7437"/>
                    </a:lnTo>
                    <a:lnTo>
                      <a:pt x="0" y="2552"/>
                    </a:lnTo>
                    <a:lnTo>
                      <a:pt x="2333" y="0"/>
                    </a:lnTo>
                    <a:lnTo>
                      <a:pt x="7602" y="46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8" name="Freeform: Shape 4487">
                <a:extLst>
                  <a:ext uri="{FF2B5EF4-FFF2-40B4-BE49-F238E27FC236}">
                    <a16:creationId xmlns:a16="http://schemas.microsoft.com/office/drawing/2014/main" id="{CA3B5C82-4275-4B33-118B-B7C2194EB55E}"/>
                  </a:ext>
                </a:extLst>
              </p:cNvPr>
              <p:cNvSpPr/>
              <p:nvPr/>
            </p:nvSpPr>
            <p:spPr>
              <a:xfrm>
                <a:off x="1873833" y="3877310"/>
                <a:ext cx="1239" cy="587"/>
              </a:xfrm>
              <a:custGeom>
                <a:avLst/>
                <a:gdLst>
                  <a:gd name="connsiteX0" fmla="*/ 11498 w 11882"/>
                  <a:gd name="connsiteY0" fmla="*/ 2442 h 5625"/>
                  <a:gd name="connsiteX1" fmla="*/ 9138 w 11882"/>
                  <a:gd name="connsiteY1" fmla="*/ 4089 h 5625"/>
                  <a:gd name="connsiteX2" fmla="*/ 6120 w 11882"/>
                  <a:gd name="connsiteY2" fmla="*/ 3238 h 5625"/>
                  <a:gd name="connsiteX3" fmla="*/ 4390 w 11882"/>
                  <a:gd name="connsiteY3" fmla="*/ 5489 h 5625"/>
                  <a:gd name="connsiteX4" fmla="*/ 2744 w 11882"/>
                  <a:gd name="connsiteY4" fmla="*/ 4830 h 5625"/>
                  <a:gd name="connsiteX5" fmla="*/ 631 w 11882"/>
                  <a:gd name="connsiteY5" fmla="*/ 5626 h 5625"/>
                  <a:gd name="connsiteX6" fmla="*/ 0 w 11882"/>
                  <a:gd name="connsiteY6" fmla="*/ 4226 h 5625"/>
                  <a:gd name="connsiteX7" fmla="*/ 4062 w 11882"/>
                  <a:gd name="connsiteY7" fmla="*/ 192 h 5625"/>
                  <a:gd name="connsiteX8" fmla="*/ 8589 w 11882"/>
                  <a:gd name="connsiteY8" fmla="*/ 0 h 5625"/>
                  <a:gd name="connsiteX9" fmla="*/ 11882 w 11882"/>
                  <a:gd name="connsiteY9" fmla="*/ 768 h 5625"/>
                  <a:gd name="connsiteX10" fmla="*/ 11444 w 11882"/>
                  <a:gd name="connsiteY10" fmla="*/ 2415 h 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82" h="5625">
                    <a:moveTo>
                      <a:pt x="11498" y="2442"/>
                    </a:moveTo>
                    <a:lnTo>
                      <a:pt x="9138" y="4089"/>
                    </a:lnTo>
                    <a:lnTo>
                      <a:pt x="6120" y="3238"/>
                    </a:lnTo>
                    <a:lnTo>
                      <a:pt x="4390" y="5489"/>
                    </a:lnTo>
                    <a:lnTo>
                      <a:pt x="2744" y="4830"/>
                    </a:lnTo>
                    <a:lnTo>
                      <a:pt x="631" y="5626"/>
                    </a:lnTo>
                    <a:lnTo>
                      <a:pt x="0" y="4226"/>
                    </a:lnTo>
                    <a:lnTo>
                      <a:pt x="4062" y="192"/>
                    </a:lnTo>
                    <a:lnTo>
                      <a:pt x="8589" y="0"/>
                    </a:lnTo>
                    <a:lnTo>
                      <a:pt x="11882" y="768"/>
                    </a:lnTo>
                    <a:lnTo>
                      <a:pt x="11444"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9" name="Freeform: Shape 4488">
                <a:extLst>
                  <a:ext uri="{FF2B5EF4-FFF2-40B4-BE49-F238E27FC236}">
                    <a16:creationId xmlns:a16="http://schemas.microsoft.com/office/drawing/2014/main" id="{56F5877B-53E5-9C04-634D-1812FC6CE3CE}"/>
                  </a:ext>
                </a:extLst>
              </p:cNvPr>
              <p:cNvSpPr/>
              <p:nvPr/>
            </p:nvSpPr>
            <p:spPr>
              <a:xfrm>
                <a:off x="1847674" y="3870341"/>
                <a:ext cx="575" cy="827"/>
              </a:xfrm>
              <a:custGeom>
                <a:avLst/>
                <a:gdLst>
                  <a:gd name="connsiteX0" fmla="*/ 5516 w 5516"/>
                  <a:gd name="connsiteY0" fmla="*/ 2882 h 7931"/>
                  <a:gd name="connsiteX1" fmla="*/ 3046 w 5516"/>
                  <a:gd name="connsiteY1" fmla="*/ 7931 h 7931"/>
                  <a:gd name="connsiteX2" fmla="*/ 0 w 5516"/>
                  <a:gd name="connsiteY2" fmla="*/ 5050 h 7931"/>
                  <a:gd name="connsiteX3" fmla="*/ 823 w 5516"/>
                  <a:gd name="connsiteY3" fmla="*/ 2882 h 7931"/>
                  <a:gd name="connsiteX4" fmla="*/ 3705 w 5516"/>
                  <a:gd name="connsiteY4" fmla="*/ 0 h 7931"/>
                  <a:gd name="connsiteX5" fmla="*/ 4940 w 5516"/>
                  <a:gd name="connsiteY5" fmla="*/ 659 h 7931"/>
                  <a:gd name="connsiteX6" fmla="*/ 5516 w 5516"/>
                  <a:gd name="connsiteY6" fmla="*/ 2854 h 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 h="7931">
                    <a:moveTo>
                      <a:pt x="5516" y="2882"/>
                    </a:moveTo>
                    <a:lnTo>
                      <a:pt x="3046" y="7931"/>
                    </a:lnTo>
                    <a:lnTo>
                      <a:pt x="0" y="5050"/>
                    </a:lnTo>
                    <a:lnTo>
                      <a:pt x="823" y="2882"/>
                    </a:lnTo>
                    <a:lnTo>
                      <a:pt x="3705" y="0"/>
                    </a:lnTo>
                    <a:lnTo>
                      <a:pt x="4940" y="659"/>
                    </a:lnTo>
                    <a:lnTo>
                      <a:pt x="5516"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0" name="Freeform: Shape 4489">
                <a:extLst>
                  <a:ext uri="{FF2B5EF4-FFF2-40B4-BE49-F238E27FC236}">
                    <a16:creationId xmlns:a16="http://schemas.microsoft.com/office/drawing/2014/main" id="{54696920-A0A6-53DC-8AB7-9CBA7AC983E4}"/>
                  </a:ext>
                </a:extLst>
              </p:cNvPr>
              <p:cNvSpPr/>
              <p:nvPr/>
            </p:nvSpPr>
            <p:spPr>
              <a:xfrm>
                <a:off x="1856499" y="3872207"/>
                <a:ext cx="827" cy="541"/>
              </a:xfrm>
              <a:custGeom>
                <a:avLst/>
                <a:gdLst>
                  <a:gd name="connsiteX0" fmla="*/ 7931 w 7930"/>
                  <a:gd name="connsiteY0" fmla="*/ 3952 h 5186"/>
                  <a:gd name="connsiteX1" fmla="*/ 7712 w 7930"/>
                  <a:gd name="connsiteY1" fmla="*/ 5187 h 5186"/>
                  <a:gd name="connsiteX2" fmla="*/ 3485 w 7930"/>
                  <a:gd name="connsiteY2" fmla="*/ 4556 h 5186"/>
                  <a:gd name="connsiteX3" fmla="*/ 0 w 7930"/>
                  <a:gd name="connsiteY3" fmla="*/ 1098 h 5186"/>
                  <a:gd name="connsiteX4" fmla="*/ 3759 w 7930"/>
                  <a:gd name="connsiteY4" fmla="*/ 0 h 5186"/>
                  <a:gd name="connsiteX5" fmla="*/ 7931 w 7930"/>
                  <a:gd name="connsiteY5" fmla="*/ 3979 h 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0" h="5186">
                    <a:moveTo>
                      <a:pt x="7931" y="3952"/>
                    </a:moveTo>
                    <a:lnTo>
                      <a:pt x="7712" y="5187"/>
                    </a:lnTo>
                    <a:lnTo>
                      <a:pt x="3485" y="4556"/>
                    </a:lnTo>
                    <a:lnTo>
                      <a:pt x="0" y="1098"/>
                    </a:lnTo>
                    <a:lnTo>
                      <a:pt x="3759" y="0"/>
                    </a:lnTo>
                    <a:lnTo>
                      <a:pt x="7931" y="39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1" name="Freeform: Shape 4490">
                <a:extLst>
                  <a:ext uri="{FF2B5EF4-FFF2-40B4-BE49-F238E27FC236}">
                    <a16:creationId xmlns:a16="http://schemas.microsoft.com/office/drawing/2014/main" id="{A720000D-8642-3715-53AF-EDD200BF7DE1}"/>
                  </a:ext>
                </a:extLst>
              </p:cNvPr>
              <p:cNvSpPr/>
              <p:nvPr/>
            </p:nvSpPr>
            <p:spPr>
              <a:xfrm>
                <a:off x="1843908" y="3865292"/>
                <a:ext cx="673" cy="630"/>
              </a:xfrm>
              <a:custGeom>
                <a:avLst/>
                <a:gdLst>
                  <a:gd name="connsiteX0" fmla="*/ 6449 w 6448"/>
                  <a:gd name="connsiteY0" fmla="*/ 2141 h 6037"/>
                  <a:gd name="connsiteX1" fmla="*/ 3869 w 6448"/>
                  <a:gd name="connsiteY1" fmla="*/ 4144 h 6037"/>
                  <a:gd name="connsiteX2" fmla="*/ 3018 w 6448"/>
                  <a:gd name="connsiteY2" fmla="*/ 6038 h 6037"/>
                  <a:gd name="connsiteX3" fmla="*/ 0 w 6448"/>
                  <a:gd name="connsiteY3" fmla="*/ 2333 h 6037"/>
                  <a:gd name="connsiteX4" fmla="*/ 851 w 6448"/>
                  <a:gd name="connsiteY4" fmla="*/ 1756 h 6037"/>
                  <a:gd name="connsiteX5" fmla="*/ 2717 w 6448"/>
                  <a:gd name="connsiteY5" fmla="*/ 3238 h 6037"/>
                  <a:gd name="connsiteX6" fmla="*/ 3375 w 6448"/>
                  <a:gd name="connsiteY6" fmla="*/ 494 h 6037"/>
                  <a:gd name="connsiteX7" fmla="*/ 4418 w 6448"/>
                  <a:gd name="connsiteY7" fmla="*/ 0 h 6037"/>
                  <a:gd name="connsiteX8" fmla="*/ 6394 w 6448"/>
                  <a:gd name="connsiteY8" fmla="*/ 2086 h 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48" h="6037">
                    <a:moveTo>
                      <a:pt x="6449" y="2141"/>
                    </a:moveTo>
                    <a:lnTo>
                      <a:pt x="3869" y="4144"/>
                    </a:lnTo>
                    <a:lnTo>
                      <a:pt x="3018" y="6038"/>
                    </a:lnTo>
                    <a:lnTo>
                      <a:pt x="0" y="2333"/>
                    </a:lnTo>
                    <a:lnTo>
                      <a:pt x="851" y="1756"/>
                    </a:lnTo>
                    <a:lnTo>
                      <a:pt x="2717" y="3238"/>
                    </a:lnTo>
                    <a:lnTo>
                      <a:pt x="3375" y="494"/>
                    </a:lnTo>
                    <a:lnTo>
                      <a:pt x="4418" y="0"/>
                    </a:lnTo>
                    <a:lnTo>
                      <a:pt x="6394"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2" name="Freeform: Shape 4491">
                <a:extLst>
                  <a:ext uri="{FF2B5EF4-FFF2-40B4-BE49-F238E27FC236}">
                    <a16:creationId xmlns:a16="http://schemas.microsoft.com/office/drawing/2014/main" id="{D12A4604-F9BB-3AB2-9E8E-A7732CABA766}"/>
                  </a:ext>
                </a:extLst>
              </p:cNvPr>
              <p:cNvSpPr/>
              <p:nvPr/>
            </p:nvSpPr>
            <p:spPr>
              <a:xfrm>
                <a:off x="1853296" y="3872009"/>
                <a:ext cx="658" cy="555"/>
              </a:xfrm>
              <a:custGeom>
                <a:avLst/>
                <a:gdLst>
                  <a:gd name="connsiteX0" fmla="*/ 5516 w 6311"/>
                  <a:gd name="connsiteY0" fmla="*/ 3074 h 5323"/>
                  <a:gd name="connsiteX1" fmla="*/ 6311 w 6311"/>
                  <a:gd name="connsiteY1" fmla="*/ 5324 h 5323"/>
                  <a:gd name="connsiteX2" fmla="*/ 1235 w 6311"/>
                  <a:gd name="connsiteY2" fmla="*/ 5324 h 5323"/>
                  <a:gd name="connsiteX3" fmla="*/ 0 w 6311"/>
                  <a:gd name="connsiteY3" fmla="*/ 4062 h 5323"/>
                  <a:gd name="connsiteX4" fmla="*/ 2058 w 6311"/>
                  <a:gd name="connsiteY4" fmla="*/ 82 h 5323"/>
                  <a:gd name="connsiteX5" fmla="*/ 3952 w 6311"/>
                  <a:gd name="connsiteY5" fmla="*/ 0 h 5323"/>
                  <a:gd name="connsiteX6" fmla="*/ 3375 w 6311"/>
                  <a:gd name="connsiteY6" fmla="*/ 2086 h 5323"/>
                  <a:gd name="connsiteX7" fmla="*/ 5461 w 6311"/>
                  <a:gd name="connsiteY7" fmla="*/ 3046 h 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1" h="5323">
                    <a:moveTo>
                      <a:pt x="5516" y="3074"/>
                    </a:moveTo>
                    <a:lnTo>
                      <a:pt x="6311" y="5324"/>
                    </a:lnTo>
                    <a:lnTo>
                      <a:pt x="1235" y="5324"/>
                    </a:lnTo>
                    <a:cubicBezTo>
                      <a:pt x="1235" y="5324"/>
                      <a:pt x="0" y="4062"/>
                      <a:pt x="0" y="4062"/>
                    </a:cubicBezTo>
                    <a:lnTo>
                      <a:pt x="2058" y="82"/>
                    </a:lnTo>
                    <a:lnTo>
                      <a:pt x="3952" y="0"/>
                    </a:lnTo>
                    <a:lnTo>
                      <a:pt x="3375" y="2086"/>
                    </a:lnTo>
                    <a:lnTo>
                      <a:pt x="5461"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3" name="Freeform: Shape 4492">
                <a:extLst>
                  <a:ext uri="{FF2B5EF4-FFF2-40B4-BE49-F238E27FC236}">
                    <a16:creationId xmlns:a16="http://schemas.microsoft.com/office/drawing/2014/main" id="{4856C7CB-5FF7-382A-B5C5-A1BB0CFEF2E1}"/>
                  </a:ext>
                </a:extLst>
              </p:cNvPr>
              <p:cNvSpPr/>
              <p:nvPr/>
            </p:nvSpPr>
            <p:spPr>
              <a:xfrm>
                <a:off x="1842940" y="3865941"/>
                <a:ext cx="687" cy="369"/>
              </a:xfrm>
              <a:custGeom>
                <a:avLst/>
                <a:gdLst>
                  <a:gd name="connsiteX0" fmla="*/ 6587 w 6586"/>
                  <a:gd name="connsiteY0" fmla="*/ 3101 h 3540"/>
                  <a:gd name="connsiteX1" fmla="*/ 1153 w 6586"/>
                  <a:gd name="connsiteY1" fmla="*/ 3540 h 3540"/>
                  <a:gd name="connsiteX2" fmla="*/ 0 w 6586"/>
                  <a:gd name="connsiteY2" fmla="*/ 851 h 3540"/>
                  <a:gd name="connsiteX3" fmla="*/ 137 w 6586"/>
                  <a:gd name="connsiteY3" fmla="*/ 0 h 3540"/>
                  <a:gd name="connsiteX4" fmla="*/ 4446 w 6586"/>
                  <a:gd name="connsiteY4" fmla="*/ 110 h 3540"/>
                  <a:gd name="connsiteX5" fmla="*/ 6587 w 6586"/>
                  <a:gd name="connsiteY5" fmla="*/ 3129 h 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86" h="3540">
                    <a:moveTo>
                      <a:pt x="6587" y="3101"/>
                    </a:moveTo>
                    <a:lnTo>
                      <a:pt x="1153" y="3540"/>
                    </a:lnTo>
                    <a:lnTo>
                      <a:pt x="0" y="851"/>
                    </a:lnTo>
                    <a:lnTo>
                      <a:pt x="137" y="0"/>
                    </a:lnTo>
                    <a:lnTo>
                      <a:pt x="4446" y="110"/>
                    </a:lnTo>
                    <a:lnTo>
                      <a:pt x="6587" y="31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4" name="Freeform: Shape 4493">
                <a:extLst>
                  <a:ext uri="{FF2B5EF4-FFF2-40B4-BE49-F238E27FC236}">
                    <a16:creationId xmlns:a16="http://schemas.microsoft.com/office/drawing/2014/main" id="{98ADDF8F-E8A7-F769-D4BE-55EFFCF9A876}"/>
                  </a:ext>
                </a:extLst>
              </p:cNvPr>
              <p:cNvSpPr/>
              <p:nvPr/>
            </p:nvSpPr>
            <p:spPr>
              <a:xfrm>
                <a:off x="1845508" y="3868921"/>
                <a:ext cx="321" cy="716"/>
              </a:xfrm>
              <a:custGeom>
                <a:avLst/>
                <a:gdLst>
                  <a:gd name="connsiteX0" fmla="*/ 3074 w 3073"/>
                  <a:gd name="connsiteY0" fmla="*/ 5598 h 6860"/>
                  <a:gd name="connsiteX1" fmla="*/ 2031 w 3073"/>
                  <a:gd name="connsiteY1" fmla="*/ 6861 h 6860"/>
                  <a:gd name="connsiteX2" fmla="*/ 659 w 3073"/>
                  <a:gd name="connsiteY2" fmla="*/ 4116 h 6860"/>
                  <a:gd name="connsiteX3" fmla="*/ 0 w 3073"/>
                  <a:gd name="connsiteY3" fmla="*/ 0 h 6860"/>
                  <a:gd name="connsiteX4" fmla="*/ 1894 w 3073"/>
                  <a:gd name="connsiteY4" fmla="*/ 823 h 6860"/>
                  <a:gd name="connsiteX5" fmla="*/ 3074 w 3073"/>
                  <a:gd name="connsiteY5" fmla="*/ 5571 h 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 h="6860">
                    <a:moveTo>
                      <a:pt x="3074" y="5598"/>
                    </a:moveTo>
                    <a:lnTo>
                      <a:pt x="2031" y="6861"/>
                    </a:lnTo>
                    <a:lnTo>
                      <a:pt x="659" y="4116"/>
                    </a:lnTo>
                    <a:lnTo>
                      <a:pt x="0" y="0"/>
                    </a:lnTo>
                    <a:lnTo>
                      <a:pt x="1894" y="823"/>
                    </a:lnTo>
                    <a:lnTo>
                      <a:pt x="3074" y="55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5" name="Freeform: Shape 4494">
                <a:extLst>
                  <a:ext uri="{FF2B5EF4-FFF2-40B4-BE49-F238E27FC236}">
                    <a16:creationId xmlns:a16="http://schemas.microsoft.com/office/drawing/2014/main" id="{8A2DC0FB-C306-EC6E-5B76-5A505D33D221}"/>
                  </a:ext>
                </a:extLst>
              </p:cNvPr>
              <p:cNvSpPr/>
              <p:nvPr/>
            </p:nvSpPr>
            <p:spPr>
              <a:xfrm>
                <a:off x="1848493" y="3871205"/>
                <a:ext cx="570" cy="372"/>
              </a:xfrm>
              <a:custGeom>
                <a:avLst/>
                <a:gdLst>
                  <a:gd name="connsiteX0" fmla="*/ 5434 w 5461"/>
                  <a:gd name="connsiteY0" fmla="*/ 2662 h 3567"/>
                  <a:gd name="connsiteX1" fmla="*/ 4336 w 5461"/>
                  <a:gd name="connsiteY1" fmla="*/ 3568 h 3567"/>
                  <a:gd name="connsiteX2" fmla="*/ 0 w 5461"/>
                  <a:gd name="connsiteY2" fmla="*/ 1262 h 3567"/>
                  <a:gd name="connsiteX3" fmla="*/ 1811 w 5461"/>
                  <a:gd name="connsiteY3" fmla="*/ 0 h 3567"/>
                  <a:gd name="connsiteX4" fmla="*/ 5461 w 5461"/>
                  <a:gd name="connsiteY4" fmla="*/ 2662 h 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1" h="3567">
                    <a:moveTo>
                      <a:pt x="5434" y="2662"/>
                    </a:moveTo>
                    <a:lnTo>
                      <a:pt x="4336" y="3568"/>
                    </a:lnTo>
                    <a:lnTo>
                      <a:pt x="0" y="1262"/>
                    </a:lnTo>
                    <a:lnTo>
                      <a:pt x="1811" y="0"/>
                    </a:lnTo>
                    <a:lnTo>
                      <a:pt x="5461"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6" name="Freeform: Shape 4495">
                <a:extLst>
                  <a:ext uri="{FF2B5EF4-FFF2-40B4-BE49-F238E27FC236}">
                    <a16:creationId xmlns:a16="http://schemas.microsoft.com/office/drawing/2014/main" id="{CFB245BD-E6E7-4194-DBD8-CEC05C4D7E06}"/>
                  </a:ext>
                </a:extLst>
              </p:cNvPr>
              <p:cNvSpPr/>
              <p:nvPr/>
            </p:nvSpPr>
            <p:spPr>
              <a:xfrm>
                <a:off x="1854504" y="3861130"/>
                <a:ext cx="435" cy="467"/>
              </a:xfrm>
              <a:custGeom>
                <a:avLst/>
                <a:gdLst>
                  <a:gd name="connsiteX0" fmla="*/ 4171 w 4171"/>
                  <a:gd name="connsiteY0" fmla="*/ 4089 h 4473"/>
                  <a:gd name="connsiteX1" fmla="*/ 2387 w 4171"/>
                  <a:gd name="connsiteY1" fmla="*/ 4473 h 4473"/>
                  <a:gd name="connsiteX2" fmla="*/ 0 w 4171"/>
                  <a:gd name="connsiteY2" fmla="*/ 357 h 4473"/>
                  <a:gd name="connsiteX3" fmla="*/ 1152 w 4171"/>
                  <a:gd name="connsiteY3" fmla="*/ 0 h 4473"/>
                  <a:gd name="connsiteX4" fmla="*/ 4171 w 4171"/>
                  <a:gd name="connsiteY4" fmla="*/ 4089 h 4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1" h="4473">
                    <a:moveTo>
                      <a:pt x="4171" y="4089"/>
                    </a:moveTo>
                    <a:lnTo>
                      <a:pt x="2387" y="4473"/>
                    </a:lnTo>
                    <a:lnTo>
                      <a:pt x="0" y="357"/>
                    </a:lnTo>
                    <a:lnTo>
                      <a:pt x="1152" y="0"/>
                    </a:lnTo>
                    <a:lnTo>
                      <a:pt x="4171" y="40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7" name="Freeform: Shape 4496">
                <a:extLst>
                  <a:ext uri="{FF2B5EF4-FFF2-40B4-BE49-F238E27FC236}">
                    <a16:creationId xmlns:a16="http://schemas.microsoft.com/office/drawing/2014/main" id="{52EFF5EF-EDA2-9114-F0E8-B3CC4C8262D9}"/>
                  </a:ext>
                </a:extLst>
              </p:cNvPr>
              <p:cNvSpPr/>
              <p:nvPr/>
            </p:nvSpPr>
            <p:spPr>
              <a:xfrm>
                <a:off x="1877036" y="3880244"/>
                <a:ext cx="501" cy="395"/>
              </a:xfrm>
              <a:custGeom>
                <a:avLst/>
                <a:gdLst>
                  <a:gd name="connsiteX0" fmla="*/ 4803 w 4802"/>
                  <a:gd name="connsiteY0" fmla="*/ 988 h 3787"/>
                  <a:gd name="connsiteX1" fmla="*/ 4665 w 4802"/>
                  <a:gd name="connsiteY1" fmla="*/ 3787 h 3787"/>
                  <a:gd name="connsiteX2" fmla="*/ 2058 w 4802"/>
                  <a:gd name="connsiteY2" fmla="*/ 3787 h 3787"/>
                  <a:gd name="connsiteX3" fmla="*/ 0 w 4802"/>
                  <a:gd name="connsiteY3" fmla="*/ 1043 h 3787"/>
                  <a:gd name="connsiteX4" fmla="*/ 933 w 4802"/>
                  <a:gd name="connsiteY4" fmla="*/ 0 h 3787"/>
                  <a:gd name="connsiteX5" fmla="*/ 4803 w 4802"/>
                  <a:gd name="connsiteY5" fmla="*/ 988 h 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2" h="3787">
                    <a:moveTo>
                      <a:pt x="4803" y="988"/>
                    </a:moveTo>
                    <a:lnTo>
                      <a:pt x="4665" y="3787"/>
                    </a:lnTo>
                    <a:lnTo>
                      <a:pt x="2058" y="3787"/>
                    </a:lnTo>
                    <a:cubicBezTo>
                      <a:pt x="2058" y="3787"/>
                      <a:pt x="0" y="1043"/>
                      <a:pt x="0" y="1043"/>
                    </a:cubicBezTo>
                    <a:lnTo>
                      <a:pt x="933" y="0"/>
                    </a:lnTo>
                    <a:lnTo>
                      <a:pt x="4803"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8" name="Freeform: Shape 4497">
                <a:extLst>
                  <a:ext uri="{FF2B5EF4-FFF2-40B4-BE49-F238E27FC236}">
                    <a16:creationId xmlns:a16="http://schemas.microsoft.com/office/drawing/2014/main" id="{D6DC3B70-4063-E5DF-1BE6-E3FB79D681C9}"/>
                  </a:ext>
                </a:extLst>
              </p:cNvPr>
              <p:cNvSpPr/>
              <p:nvPr/>
            </p:nvSpPr>
            <p:spPr>
              <a:xfrm>
                <a:off x="1883044" y="3882299"/>
                <a:ext cx="495" cy="343"/>
              </a:xfrm>
              <a:custGeom>
                <a:avLst/>
                <a:gdLst>
                  <a:gd name="connsiteX0" fmla="*/ 4748 w 4747"/>
                  <a:gd name="connsiteY0" fmla="*/ 1564 h 3293"/>
                  <a:gd name="connsiteX1" fmla="*/ 741 w 4747"/>
                  <a:gd name="connsiteY1" fmla="*/ 3293 h 3293"/>
                  <a:gd name="connsiteX2" fmla="*/ 0 w 4747"/>
                  <a:gd name="connsiteY2" fmla="*/ 2525 h 3293"/>
                  <a:gd name="connsiteX3" fmla="*/ 2223 w 4747"/>
                  <a:gd name="connsiteY3" fmla="*/ 0 h 3293"/>
                  <a:gd name="connsiteX4" fmla="*/ 4748 w 4747"/>
                  <a:gd name="connsiteY4" fmla="*/ 1592 h 3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7" h="3293">
                    <a:moveTo>
                      <a:pt x="4748" y="1564"/>
                    </a:moveTo>
                    <a:lnTo>
                      <a:pt x="741" y="3293"/>
                    </a:lnTo>
                    <a:lnTo>
                      <a:pt x="0" y="2525"/>
                    </a:lnTo>
                    <a:lnTo>
                      <a:pt x="2223" y="0"/>
                    </a:lnTo>
                    <a:lnTo>
                      <a:pt x="4748" y="1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9" name="Freeform: Shape 4498">
                <a:extLst>
                  <a:ext uri="{FF2B5EF4-FFF2-40B4-BE49-F238E27FC236}">
                    <a16:creationId xmlns:a16="http://schemas.microsoft.com/office/drawing/2014/main" id="{53EEC4ED-9376-BA2D-DC60-0CA1B3A0152B}"/>
                  </a:ext>
                </a:extLst>
              </p:cNvPr>
              <p:cNvSpPr/>
              <p:nvPr/>
            </p:nvSpPr>
            <p:spPr>
              <a:xfrm>
                <a:off x="1861362" y="3875845"/>
                <a:ext cx="352" cy="444"/>
              </a:xfrm>
              <a:custGeom>
                <a:avLst/>
                <a:gdLst>
                  <a:gd name="connsiteX0" fmla="*/ 3375 w 3375"/>
                  <a:gd name="connsiteY0" fmla="*/ 2964 h 4253"/>
                  <a:gd name="connsiteX1" fmla="*/ 1948 w 3375"/>
                  <a:gd name="connsiteY1" fmla="*/ 4254 h 4253"/>
                  <a:gd name="connsiteX2" fmla="*/ 0 w 3375"/>
                  <a:gd name="connsiteY2" fmla="*/ 2333 h 4253"/>
                  <a:gd name="connsiteX3" fmla="*/ 1400 w 3375"/>
                  <a:gd name="connsiteY3" fmla="*/ 0 h 4253"/>
                  <a:gd name="connsiteX4" fmla="*/ 3375 w 3375"/>
                  <a:gd name="connsiteY4" fmla="*/ 2992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4253">
                    <a:moveTo>
                      <a:pt x="3375" y="2964"/>
                    </a:moveTo>
                    <a:lnTo>
                      <a:pt x="1948" y="4254"/>
                    </a:lnTo>
                    <a:lnTo>
                      <a:pt x="0" y="2333"/>
                    </a:lnTo>
                    <a:lnTo>
                      <a:pt x="1400" y="0"/>
                    </a:lnTo>
                    <a:lnTo>
                      <a:pt x="3375" y="29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0" name="Freeform: Shape 4499">
                <a:extLst>
                  <a:ext uri="{FF2B5EF4-FFF2-40B4-BE49-F238E27FC236}">
                    <a16:creationId xmlns:a16="http://schemas.microsoft.com/office/drawing/2014/main" id="{60D3BAD1-D877-A0E6-1EC5-F8615E003C68}"/>
                  </a:ext>
                </a:extLst>
              </p:cNvPr>
              <p:cNvSpPr/>
              <p:nvPr/>
            </p:nvSpPr>
            <p:spPr>
              <a:xfrm>
                <a:off x="1850577" y="3867032"/>
                <a:ext cx="383" cy="406"/>
              </a:xfrm>
              <a:custGeom>
                <a:avLst/>
                <a:gdLst>
                  <a:gd name="connsiteX0" fmla="*/ 3677 w 3676"/>
                  <a:gd name="connsiteY0" fmla="*/ 1976 h 3896"/>
                  <a:gd name="connsiteX1" fmla="*/ 1948 w 3676"/>
                  <a:gd name="connsiteY1" fmla="*/ 3897 h 3896"/>
                  <a:gd name="connsiteX2" fmla="*/ 0 w 3676"/>
                  <a:gd name="connsiteY2" fmla="*/ 1729 h 3896"/>
                  <a:gd name="connsiteX3" fmla="*/ 878 w 3676"/>
                  <a:gd name="connsiteY3" fmla="*/ 0 h 3896"/>
                  <a:gd name="connsiteX4" fmla="*/ 3677 w 3676"/>
                  <a:gd name="connsiteY4" fmla="*/ 1948 h 3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 h="3896">
                    <a:moveTo>
                      <a:pt x="3677" y="1976"/>
                    </a:moveTo>
                    <a:lnTo>
                      <a:pt x="1948" y="3897"/>
                    </a:lnTo>
                    <a:lnTo>
                      <a:pt x="0" y="1729"/>
                    </a:lnTo>
                    <a:lnTo>
                      <a:pt x="878" y="0"/>
                    </a:lnTo>
                    <a:lnTo>
                      <a:pt x="3677" y="1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1" name="Freeform: Shape 4500">
                <a:extLst>
                  <a:ext uri="{FF2B5EF4-FFF2-40B4-BE49-F238E27FC236}">
                    <a16:creationId xmlns:a16="http://schemas.microsoft.com/office/drawing/2014/main" id="{345532FA-41B9-ECF6-B0AB-7DBB8083A968}"/>
                  </a:ext>
                </a:extLst>
              </p:cNvPr>
              <p:cNvSpPr/>
              <p:nvPr/>
            </p:nvSpPr>
            <p:spPr>
              <a:xfrm>
                <a:off x="1876032" y="3879045"/>
                <a:ext cx="389" cy="369"/>
              </a:xfrm>
              <a:custGeom>
                <a:avLst/>
                <a:gdLst>
                  <a:gd name="connsiteX0" fmla="*/ 3732 w 3731"/>
                  <a:gd name="connsiteY0" fmla="*/ 659 h 3540"/>
                  <a:gd name="connsiteX1" fmla="*/ 2305 w 3731"/>
                  <a:gd name="connsiteY1" fmla="*/ 3540 h 3540"/>
                  <a:gd name="connsiteX2" fmla="*/ 0 w 3731"/>
                  <a:gd name="connsiteY2" fmla="*/ 1427 h 3540"/>
                  <a:gd name="connsiteX3" fmla="*/ 1015 w 3731"/>
                  <a:gd name="connsiteY3" fmla="*/ 0 h 3540"/>
                  <a:gd name="connsiteX4" fmla="*/ 3732 w 3731"/>
                  <a:gd name="connsiteY4" fmla="*/ 659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1" h="3540">
                    <a:moveTo>
                      <a:pt x="3732" y="659"/>
                    </a:moveTo>
                    <a:lnTo>
                      <a:pt x="2305" y="3540"/>
                    </a:lnTo>
                    <a:lnTo>
                      <a:pt x="0" y="1427"/>
                    </a:lnTo>
                    <a:lnTo>
                      <a:pt x="1015" y="0"/>
                    </a:lnTo>
                    <a:lnTo>
                      <a:pt x="3732" y="6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2" name="Freeform: Shape 4501">
                <a:extLst>
                  <a:ext uri="{FF2B5EF4-FFF2-40B4-BE49-F238E27FC236}">
                    <a16:creationId xmlns:a16="http://schemas.microsoft.com/office/drawing/2014/main" id="{5C565A33-E614-5861-C8F5-08676AF064BE}"/>
                  </a:ext>
                </a:extLst>
              </p:cNvPr>
              <p:cNvSpPr/>
              <p:nvPr/>
            </p:nvSpPr>
            <p:spPr>
              <a:xfrm>
                <a:off x="1842416" y="3866972"/>
                <a:ext cx="372" cy="338"/>
              </a:xfrm>
              <a:custGeom>
                <a:avLst/>
                <a:gdLst>
                  <a:gd name="connsiteX0" fmla="*/ 3567 w 3567"/>
                  <a:gd name="connsiteY0" fmla="*/ 1208 h 3238"/>
                  <a:gd name="connsiteX1" fmla="*/ 1948 w 3567"/>
                  <a:gd name="connsiteY1" fmla="*/ 3238 h 3238"/>
                  <a:gd name="connsiteX2" fmla="*/ 0 w 3567"/>
                  <a:gd name="connsiteY2" fmla="*/ 2058 h 3238"/>
                  <a:gd name="connsiteX3" fmla="*/ 0 w 3567"/>
                  <a:gd name="connsiteY3" fmla="*/ 823 h 3238"/>
                  <a:gd name="connsiteX4" fmla="*/ 2250 w 3567"/>
                  <a:gd name="connsiteY4" fmla="*/ 0 h 3238"/>
                  <a:gd name="connsiteX5" fmla="*/ 3567 w 3567"/>
                  <a:gd name="connsiteY5" fmla="*/ 1208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3238">
                    <a:moveTo>
                      <a:pt x="3567" y="1208"/>
                    </a:moveTo>
                    <a:lnTo>
                      <a:pt x="1948" y="3238"/>
                    </a:lnTo>
                    <a:lnTo>
                      <a:pt x="0" y="2058"/>
                    </a:lnTo>
                    <a:lnTo>
                      <a:pt x="0" y="823"/>
                    </a:lnTo>
                    <a:cubicBezTo>
                      <a:pt x="0" y="823"/>
                      <a:pt x="2250" y="0"/>
                      <a:pt x="2250" y="0"/>
                    </a:cubicBezTo>
                    <a:lnTo>
                      <a:pt x="3567" y="12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3" name="Freeform: Shape 4502">
                <a:extLst>
                  <a:ext uri="{FF2B5EF4-FFF2-40B4-BE49-F238E27FC236}">
                    <a16:creationId xmlns:a16="http://schemas.microsoft.com/office/drawing/2014/main" id="{BD96C23B-B3E6-E4A2-C1BB-68AD36A59662}"/>
                  </a:ext>
                </a:extLst>
              </p:cNvPr>
              <p:cNvSpPr/>
              <p:nvPr/>
            </p:nvSpPr>
            <p:spPr>
              <a:xfrm>
                <a:off x="1862098" y="3874411"/>
                <a:ext cx="283" cy="447"/>
              </a:xfrm>
              <a:custGeom>
                <a:avLst/>
                <a:gdLst>
                  <a:gd name="connsiteX0" fmla="*/ 2717 w 2716"/>
                  <a:gd name="connsiteY0" fmla="*/ 3678 h 4281"/>
                  <a:gd name="connsiteX1" fmla="*/ 1317 w 2716"/>
                  <a:gd name="connsiteY1" fmla="*/ 4281 h 4281"/>
                  <a:gd name="connsiteX2" fmla="*/ 0 w 2716"/>
                  <a:gd name="connsiteY2" fmla="*/ 1016 h 4281"/>
                  <a:gd name="connsiteX3" fmla="*/ 2277 w 2716"/>
                  <a:gd name="connsiteY3" fmla="*/ 0 h 4281"/>
                  <a:gd name="connsiteX4" fmla="*/ 2717 w 2716"/>
                  <a:gd name="connsiteY4" fmla="*/ 3705 h 4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6" h="4281">
                    <a:moveTo>
                      <a:pt x="2717" y="3678"/>
                    </a:moveTo>
                    <a:lnTo>
                      <a:pt x="1317" y="4281"/>
                    </a:lnTo>
                    <a:lnTo>
                      <a:pt x="0" y="1016"/>
                    </a:lnTo>
                    <a:lnTo>
                      <a:pt x="2277" y="0"/>
                    </a:lnTo>
                    <a:lnTo>
                      <a:pt x="2717"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2" name="Freeform: Shape 4561">
                <a:extLst>
                  <a:ext uri="{FF2B5EF4-FFF2-40B4-BE49-F238E27FC236}">
                    <a16:creationId xmlns:a16="http://schemas.microsoft.com/office/drawing/2014/main" id="{4FA62066-D12B-0008-D74A-219E6E4B7A7B}"/>
                  </a:ext>
                </a:extLst>
              </p:cNvPr>
              <p:cNvSpPr/>
              <p:nvPr/>
            </p:nvSpPr>
            <p:spPr>
              <a:xfrm>
                <a:off x="1876286" y="3889879"/>
                <a:ext cx="2184" cy="3426"/>
              </a:xfrm>
              <a:custGeom>
                <a:avLst/>
                <a:gdLst>
                  <a:gd name="connsiteX0" fmla="*/ 0 w 20939"/>
                  <a:gd name="connsiteY0" fmla="*/ 6120 h 32849"/>
                  <a:gd name="connsiteX1" fmla="*/ 604 w 20939"/>
                  <a:gd name="connsiteY1" fmla="*/ 960 h 32849"/>
                  <a:gd name="connsiteX2" fmla="*/ 2086 w 20939"/>
                  <a:gd name="connsiteY2" fmla="*/ 0 h 32849"/>
                  <a:gd name="connsiteX3" fmla="*/ 6339 w 20939"/>
                  <a:gd name="connsiteY3" fmla="*/ 6175 h 32849"/>
                  <a:gd name="connsiteX4" fmla="*/ 8782 w 20939"/>
                  <a:gd name="connsiteY4" fmla="*/ 15204 h 32849"/>
                  <a:gd name="connsiteX5" fmla="*/ 12075 w 20939"/>
                  <a:gd name="connsiteY5" fmla="*/ 15039 h 32849"/>
                  <a:gd name="connsiteX6" fmla="*/ 13338 w 20939"/>
                  <a:gd name="connsiteY6" fmla="*/ 9934 h 32849"/>
                  <a:gd name="connsiteX7" fmla="*/ 15478 w 20939"/>
                  <a:gd name="connsiteY7" fmla="*/ 9660 h 32849"/>
                  <a:gd name="connsiteX8" fmla="*/ 20939 w 20939"/>
                  <a:gd name="connsiteY8" fmla="*/ 24369 h 32849"/>
                  <a:gd name="connsiteX9" fmla="*/ 20363 w 20939"/>
                  <a:gd name="connsiteY9" fmla="*/ 32849 h 32849"/>
                  <a:gd name="connsiteX10" fmla="*/ 12844 w 20939"/>
                  <a:gd name="connsiteY10" fmla="*/ 28843 h 32849"/>
                  <a:gd name="connsiteX11" fmla="*/ 7245 w 20939"/>
                  <a:gd name="connsiteY11" fmla="*/ 30215 h 32849"/>
                  <a:gd name="connsiteX12" fmla="*/ 3540 w 20939"/>
                  <a:gd name="connsiteY12" fmla="*/ 23272 h 32849"/>
                  <a:gd name="connsiteX13" fmla="*/ 631 w 20939"/>
                  <a:gd name="connsiteY13" fmla="*/ 7821 h 32849"/>
                  <a:gd name="connsiteX14" fmla="*/ 27 w 20939"/>
                  <a:gd name="connsiteY14" fmla="*/ 6120 h 3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39" h="32849">
                    <a:moveTo>
                      <a:pt x="0" y="6120"/>
                    </a:moveTo>
                    <a:lnTo>
                      <a:pt x="604" y="960"/>
                    </a:lnTo>
                    <a:lnTo>
                      <a:pt x="2086" y="0"/>
                    </a:lnTo>
                    <a:lnTo>
                      <a:pt x="6339" y="6175"/>
                    </a:lnTo>
                    <a:lnTo>
                      <a:pt x="8782" y="15204"/>
                    </a:lnTo>
                    <a:lnTo>
                      <a:pt x="12075" y="15039"/>
                    </a:lnTo>
                    <a:lnTo>
                      <a:pt x="13338" y="9934"/>
                    </a:lnTo>
                    <a:lnTo>
                      <a:pt x="15478" y="9660"/>
                    </a:lnTo>
                    <a:lnTo>
                      <a:pt x="20939" y="24369"/>
                    </a:lnTo>
                    <a:lnTo>
                      <a:pt x="20363" y="32849"/>
                    </a:lnTo>
                    <a:lnTo>
                      <a:pt x="12844" y="28843"/>
                    </a:lnTo>
                    <a:lnTo>
                      <a:pt x="7245" y="30215"/>
                    </a:lnTo>
                    <a:lnTo>
                      <a:pt x="3540" y="23272"/>
                    </a:lnTo>
                    <a:lnTo>
                      <a:pt x="631" y="7821"/>
                    </a:lnTo>
                    <a:lnTo>
                      <a:pt x="27" y="61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3" name="Freeform: Shape 4562">
                <a:extLst>
                  <a:ext uri="{FF2B5EF4-FFF2-40B4-BE49-F238E27FC236}">
                    <a16:creationId xmlns:a16="http://schemas.microsoft.com/office/drawing/2014/main" id="{7C562E64-8CED-0DB6-FE9F-82DED14F056B}"/>
                  </a:ext>
                </a:extLst>
              </p:cNvPr>
              <p:cNvSpPr/>
              <p:nvPr/>
            </p:nvSpPr>
            <p:spPr>
              <a:xfrm>
                <a:off x="1878218" y="3893852"/>
                <a:ext cx="1969" cy="2184"/>
              </a:xfrm>
              <a:custGeom>
                <a:avLst/>
                <a:gdLst>
                  <a:gd name="connsiteX0" fmla="*/ 0 w 18881"/>
                  <a:gd name="connsiteY0" fmla="*/ 4007 h 20939"/>
                  <a:gd name="connsiteX1" fmla="*/ 440 w 18881"/>
                  <a:gd name="connsiteY1" fmla="*/ 905 h 20939"/>
                  <a:gd name="connsiteX2" fmla="*/ 2223 w 18881"/>
                  <a:gd name="connsiteY2" fmla="*/ 0 h 20939"/>
                  <a:gd name="connsiteX3" fmla="*/ 6778 w 18881"/>
                  <a:gd name="connsiteY3" fmla="*/ 4034 h 20939"/>
                  <a:gd name="connsiteX4" fmla="*/ 17591 w 18881"/>
                  <a:gd name="connsiteY4" fmla="*/ 14161 h 20939"/>
                  <a:gd name="connsiteX5" fmla="*/ 18881 w 18881"/>
                  <a:gd name="connsiteY5" fmla="*/ 19375 h 20939"/>
                  <a:gd name="connsiteX6" fmla="*/ 13612 w 18881"/>
                  <a:gd name="connsiteY6" fmla="*/ 18798 h 20939"/>
                  <a:gd name="connsiteX7" fmla="*/ 8755 w 18881"/>
                  <a:gd name="connsiteY7" fmla="*/ 20939 h 20939"/>
                  <a:gd name="connsiteX8" fmla="*/ 5873 w 18881"/>
                  <a:gd name="connsiteY8" fmla="*/ 8700 h 20939"/>
                  <a:gd name="connsiteX9" fmla="*/ 988 w 18881"/>
                  <a:gd name="connsiteY9" fmla="*/ 7026 h 20939"/>
                  <a:gd name="connsiteX10" fmla="*/ 0 w 18881"/>
                  <a:gd name="connsiteY10" fmla="*/ 4007 h 2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81" h="20939">
                    <a:moveTo>
                      <a:pt x="0" y="4007"/>
                    </a:moveTo>
                    <a:lnTo>
                      <a:pt x="440" y="905"/>
                    </a:lnTo>
                    <a:lnTo>
                      <a:pt x="2223" y="0"/>
                    </a:lnTo>
                    <a:lnTo>
                      <a:pt x="6778" y="4034"/>
                    </a:lnTo>
                    <a:lnTo>
                      <a:pt x="17591" y="14161"/>
                    </a:lnTo>
                    <a:lnTo>
                      <a:pt x="18881" y="19375"/>
                    </a:lnTo>
                    <a:lnTo>
                      <a:pt x="13612" y="18798"/>
                    </a:lnTo>
                    <a:lnTo>
                      <a:pt x="8755" y="20939"/>
                    </a:lnTo>
                    <a:lnTo>
                      <a:pt x="5873" y="8700"/>
                    </a:lnTo>
                    <a:lnTo>
                      <a:pt x="988" y="7026"/>
                    </a:lnTo>
                    <a:lnTo>
                      <a:pt x="0" y="40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4" name="Freeform: Shape 4563">
                <a:extLst>
                  <a:ext uri="{FF2B5EF4-FFF2-40B4-BE49-F238E27FC236}">
                    <a16:creationId xmlns:a16="http://schemas.microsoft.com/office/drawing/2014/main" id="{709327A3-3AE7-2EDD-0310-962AFB976543}"/>
                  </a:ext>
                </a:extLst>
              </p:cNvPr>
              <p:cNvSpPr/>
              <p:nvPr/>
            </p:nvSpPr>
            <p:spPr>
              <a:xfrm>
                <a:off x="1881301" y="3899010"/>
                <a:ext cx="1262" cy="1033"/>
              </a:xfrm>
              <a:custGeom>
                <a:avLst/>
                <a:gdLst>
                  <a:gd name="connsiteX0" fmla="*/ 0 w 12102"/>
                  <a:gd name="connsiteY0" fmla="*/ 5544 h 9906"/>
                  <a:gd name="connsiteX1" fmla="*/ 1482 w 12102"/>
                  <a:gd name="connsiteY1" fmla="*/ 796 h 9906"/>
                  <a:gd name="connsiteX2" fmla="*/ 3184 w 12102"/>
                  <a:gd name="connsiteY2" fmla="*/ 0 h 9906"/>
                  <a:gd name="connsiteX3" fmla="*/ 4830 w 12102"/>
                  <a:gd name="connsiteY3" fmla="*/ 1235 h 9906"/>
                  <a:gd name="connsiteX4" fmla="*/ 7904 w 12102"/>
                  <a:gd name="connsiteY4" fmla="*/ 851 h 9906"/>
                  <a:gd name="connsiteX5" fmla="*/ 10895 w 12102"/>
                  <a:gd name="connsiteY5" fmla="*/ 5406 h 9906"/>
                  <a:gd name="connsiteX6" fmla="*/ 12103 w 12102"/>
                  <a:gd name="connsiteY6" fmla="*/ 5598 h 9906"/>
                  <a:gd name="connsiteX7" fmla="*/ 11224 w 12102"/>
                  <a:gd name="connsiteY7" fmla="*/ 8617 h 9906"/>
                  <a:gd name="connsiteX8" fmla="*/ 9304 w 12102"/>
                  <a:gd name="connsiteY8" fmla="*/ 9633 h 9906"/>
                  <a:gd name="connsiteX9" fmla="*/ 6285 w 12102"/>
                  <a:gd name="connsiteY9" fmla="*/ 9907 h 9906"/>
                  <a:gd name="connsiteX10" fmla="*/ 3430 w 12102"/>
                  <a:gd name="connsiteY10" fmla="*/ 7931 h 9906"/>
                  <a:gd name="connsiteX11" fmla="*/ 2141 w 12102"/>
                  <a:gd name="connsiteY11" fmla="*/ 5626 h 9906"/>
                  <a:gd name="connsiteX12" fmla="*/ 27 w 12102"/>
                  <a:gd name="connsiteY12" fmla="*/ 5571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2" h="9906">
                    <a:moveTo>
                      <a:pt x="0" y="5544"/>
                    </a:moveTo>
                    <a:lnTo>
                      <a:pt x="1482" y="796"/>
                    </a:lnTo>
                    <a:lnTo>
                      <a:pt x="3184" y="0"/>
                    </a:lnTo>
                    <a:lnTo>
                      <a:pt x="4830" y="1235"/>
                    </a:lnTo>
                    <a:lnTo>
                      <a:pt x="7904" y="851"/>
                    </a:lnTo>
                    <a:lnTo>
                      <a:pt x="10895" y="5406"/>
                    </a:lnTo>
                    <a:lnTo>
                      <a:pt x="12103" y="5598"/>
                    </a:lnTo>
                    <a:lnTo>
                      <a:pt x="11224" y="8617"/>
                    </a:lnTo>
                    <a:lnTo>
                      <a:pt x="9304" y="9633"/>
                    </a:lnTo>
                    <a:lnTo>
                      <a:pt x="6285" y="9907"/>
                    </a:lnTo>
                    <a:lnTo>
                      <a:pt x="3430" y="7931"/>
                    </a:lnTo>
                    <a:lnTo>
                      <a:pt x="2141" y="5626"/>
                    </a:lnTo>
                    <a:lnTo>
                      <a:pt x="27" y="55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5" name="Freeform: Shape 4564">
                <a:extLst>
                  <a:ext uri="{FF2B5EF4-FFF2-40B4-BE49-F238E27FC236}">
                    <a16:creationId xmlns:a16="http://schemas.microsoft.com/office/drawing/2014/main" id="{612DE463-A032-B1D0-2668-9C1E54C562FC}"/>
                  </a:ext>
                </a:extLst>
              </p:cNvPr>
              <p:cNvSpPr/>
              <p:nvPr/>
            </p:nvSpPr>
            <p:spPr>
              <a:xfrm>
                <a:off x="1883814" y="3902651"/>
                <a:ext cx="1056" cy="1159"/>
              </a:xfrm>
              <a:custGeom>
                <a:avLst/>
                <a:gdLst>
                  <a:gd name="connsiteX0" fmla="*/ 6147 w 10126"/>
                  <a:gd name="connsiteY0" fmla="*/ 4857 h 11114"/>
                  <a:gd name="connsiteX1" fmla="*/ 9605 w 10126"/>
                  <a:gd name="connsiteY1" fmla="*/ 7821 h 11114"/>
                  <a:gd name="connsiteX2" fmla="*/ 10126 w 10126"/>
                  <a:gd name="connsiteY2" fmla="*/ 9633 h 11114"/>
                  <a:gd name="connsiteX3" fmla="*/ 7931 w 10126"/>
                  <a:gd name="connsiteY3" fmla="*/ 11115 h 11114"/>
                  <a:gd name="connsiteX4" fmla="*/ 906 w 10126"/>
                  <a:gd name="connsiteY4" fmla="*/ 8123 h 11114"/>
                  <a:gd name="connsiteX5" fmla="*/ 0 w 10126"/>
                  <a:gd name="connsiteY5" fmla="*/ 4171 h 11114"/>
                  <a:gd name="connsiteX6" fmla="*/ 2552 w 10126"/>
                  <a:gd name="connsiteY6" fmla="*/ 0 h 11114"/>
                  <a:gd name="connsiteX7" fmla="*/ 7958 w 10126"/>
                  <a:gd name="connsiteY7" fmla="*/ 3623 h 11114"/>
                  <a:gd name="connsiteX8" fmla="*/ 6175 w 10126"/>
                  <a:gd name="connsiteY8" fmla="*/ 4857 h 11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26" h="11114">
                    <a:moveTo>
                      <a:pt x="6147" y="4857"/>
                    </a:moveTo>
                    <a:lnTo>
                      <a:pt x="9605" y="7821"/>
                    </a:lnTo>
                    <a:lnTo>
                      <a:pt x="10126" y="9633"/>
                    </a:lnTo>
                    <a:lnTo>
                      <a:pt x="7931" y="11115"/>
                    </a:lnTo>
                    <a:lnTo>
                      <a:pt x="906" y="8123"/>
                    </a:lnTo>
                    <a:lnTo>
                      <a:pt x="0" y="4171"/>
                    </a:lnTo>
                    <a:lnTo>
                      <a:pt x="2552" y="0"/>
                    </a:lnTo>
                    <a:lnTo>
                      <a:pt x="7958" y="3623"/>
                    </a:lnTo>
                    <a:lnTo>
                      <a:pt x="6175" y="48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6" name="Freeform: Shape 4565">
                <a:extLst>
                  <a:ext uri="{FF2B5EF4-FFF2-40B4-BE49-F238E27FC236}">
                    <a16:creationId xmlns:a16="http://schemas.microsoft.com/office/drawing/2014/main" id="{9142C677-9DFC-FF3C-E065-C392B9CF10D9}"/>
                  </a:ext>
                </a:extLst>
              </p:cNvPr>
              <p:cNvSpPr/>
              <p:nvPr/>
            </p:nvSpPr>
            <p:spPr>
              <a:xfrm>
                <a:off x="1880471" y="3894499"/>
                <a:ext cx="1234" cy="882"/>
              </a:xfrm>
              <a:custGeom>
                <a:avLst/>
                <a:gdLst>
                  <a:gd name="connsiteX0" fmla="*/ 11663 w 11828"/>
                  <a:gd name="connsiteY0" fmla="*/ 7464 h 8452"/>
                  <a:gd name="connsiteX1" fmla="*/ 6531 w 11828"/>
                  <a:gd name="connsiteY1" fmla="*/ 8452 h 8452"/>
                  <a:gd name="connsiteX2" fmla="*/ 2963 w 11828"/>
                  <a:gd name="connsiteY2" fmla="*/ 7053 h 8452"/>
                  <a:gd name="connsiteX3" fmla="*/ 0 w 11828"/>
                  <a:gd name="connsiteY3" fmla="*/ 4363 h 8452"/>
                  <a:gd name="connsiteX4" fmla="*/ 192 w 11828"/>
                  <a:gd name="connsiteY4" fmla="*/ 3705 h 8452"/>
                  <a:gd name="connsiteX5" fmla="*/ 4089 w 11828"/>
                  <a:gd name="connsiteY5" fmla="*/ 2991 h 8452"/>
                  <a:gd name="connsiteX6" fmla="*/ 7821 w 11828"/>
                  <a:gd name="connsiteY6" fmla="*/ 0 h 8452"/>
                  <a:gd name="connsiteX7" fmla="*/ 9550 w 11828"/>
                  <a:gd name="connsiteY7" fmla="*/ 4528 h 8452"/>
                  <a:gd name="connsiteX8" fmla="*/ 11828 w 11828"/>
                  <a:gd name="connsiteY8" fmla="*/ 5928 h 8452"/>
                  <a:gd name="connsiteX9" fmla="*/ 11663 w 11828"/>
                  <a:gd name="connsiteY9" fmla="*/ 7464 h 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28" h="8452">
                    <a:moveTo>
                      <a:pt x="11663" y="7464"/>
                    </a:moveTo>
                    <a:lnTo>
                      <a:pt x="6531" y="8452"/>
                    </a:lnTo>
                    <a:lnTo>
                      <a:pt x="2963" y="7053"/>
                    </a:lnTo>
                    <a:lnTo>
                      <a:pt x="0" y="4363"/>
                    </a:lnTo>
                    <a:lnTo>
                      <a:pt x="192" y="3705"/>
                    </a:lnTo>
                    <a:lnTo>
                      <a:pt x="4089" y="2991"/>
                    </a:lnTo>
                    <a:lnTo>
                      <a:pt x="7821" y="0"/>
                    </a:lnTo>
                    <a:lnTo>
                      <a:pt x="9550" y="4528"/>
                    </a:lnTo>
                    <a:lnTo>
                      <a:pt x="11828" y="5928"/>
                    </a:lnTo>
                    <a:lnTo>
                      <a:pt x="11663" y="74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7" name="Freeform: Shape 4566">
                <a:extLst>
                  <a:ext uri="{FF2B5EF4-FFF2-40B4-BE49-F238E27FC236}">
                    <a16:creationId xmlns:a16="http://schemas.microsoft.com/office/drawing/2014/main" id="{331B8B5C-9B1A-6DFF-BFC4-7F056046F8A6}"/>
                  </a:ext>
                </a:extLst>
              </p:cNvPr>
              <p:cNvSpPr/>
              <p:nvPr/>
            </p:nvSpPr>
            <p:spPr>
              <a:xfrm>
                <a:off x="1881089" y="3892610"/>
                <a:ext cx="509" cy="1637"/>
              </a:xfrm>
              <a:custGeom>
                <a:avLst/>
                <a:gdLst>
                  <a:gd name="connsiteX0" fmla="*/ 2223 w 4884"/>
                  <a:gd name="connsiteY0" fmla="*/ 2772 h 15697"/>
                  <a:gd name="connsiteX1" fmla="*/ 4665 w 4884"/>
                  <a:gd name="connsiteY1" fmla="*/ 10511 h 15697"/>
                  <a:gd name="connsiteX2" fmla="*/ 4885 w 4884"/>
                  <a:gd name="connsiteY2" fmla="*/ 14380 h 15697"/>
                  <a:gd name="connsiteX3" fmla="*/ 3019 w 4884"/>
                  <a:gd name="connsiteY3" fmla="*/ 15697 h 15697"/>
                  <a:gd name="connsiteX4" fmla="*/ 2196 w 4884"/>
                  <a:gd name="connsiteY4" fmla="*/ 14627 h 15697"/>
                  <a:gd name="connsiteX5" fmla="*/ 1702 w 4884"/>
                  <a:gd name="connsiteY5" fmla="*/ 9083 h 15697"/>
                  <a:gd name="connsiteX6" fmla="*/ 0 w 4884"/>
                  <a:gd name="connsiteY6" fmla="*/ 4226 h 15697"/>
                  <a:gd name="connsiteX7" fmla="*/ 1345 w 4884"/>
                  <a:gd name="connsiteY7" fmla="*/ 0 h 15697"/>
                  <a:gd name="connsiteX8" fmla="*/ 2415 w 4884"/>
                  <a:gd name="connsiteY8" fmla="*/ 192 h 15697"/>
                  <a:gd name="connsiteX9" fmla="*/ 2223 w 4884"/>
                  <a:gd name="connsiteY9" fmla="*/ 2799 h 1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4" h="15697">
                    <a:moveTo>
                      <a:pt x="2223" y="2772"/>
                    </a:moveTo>
                    <a:lnTo>
                      <a:pt x="4665" y="10511"/>
                    </a:lnTo>
                    <a:lnTo>
                      <a:pt x="4885" y="14380"/>
                    </a:lnTo>
                    <a:lnTo>
                      <a:pt x="3019" y="15697"/>
                    </a:lnTo>
                    <a:lnTo>
                      <a:pt x="2196" y="14627"/>
                    </a:lnTo>
                    <a:lnTo>
                      <a:pt x="1702" y="9083"/>
                    </a:lnTo>
                    <a:lnTo>
                      <a:pt x="0" y="4226"/>
                    </a:lnTo>
                    <a:lnTo>
                      <a:pt x="1345" y="0"/>
                    </a:lnTo>
                    <a:lnTo>
                      <a:pt x="2415" y="192"/>
                    </a:lnTo>
                    <a:lnTo>
                      <a:pt x="2223" y="27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8" name="Freeform: Shape 4567">
                <a:extLst>
                  <a:ext uri="{FF2B5EF4-FFF2-40B4-BE49-F238E27FC236}">
                    <a16:creationId xmlns:a16="http://schemas.microsoft.com/office/drawing/2014/main" id="{DDE308B2-40BF-1CF1-131D-E3C47BD178BB}"/>
                  </a:ext>
                </a:extLst>
              </p:cNvPr>
              <p:cNvSpPr/>
              <p:nvPr/>
            </p:nvSpPr>
            <p:spPr>
              <a:xfrm>
                <a:off x="1884507" y="3904923"/>
                <a:ext cx="804" cy="999"/>
              </a:xfrm>
              <a:custGeom>
                <a:avLst/>
                <a:gdLst>
                  <a:gd name="connsiteX0" fmla="*/ 0 w 7711"/>
                  <a:gd name="connsiteY0" fmla="*/ 3595 h 9577"/>
                  <a:gd name="connsiteX1" fmla="*/ 1235 w 7711"/>
                  <a:gd name="connsiteY1" fmla="*/ 0 h 9577"/>
                  <a:gd name="connsiteX2" fmla="*/ 3485 w 7711"/>
                  <a:gd name="connsiteY2" fmla="*/ 55 h 9577"/>
                  <a:gd name="connsiteX3" fmla="*/ 7712 w 7711"/>
                  <a:gd name="connsiteY3" fmla="*/ 7327 h 9577"/>
                  <a:gd name="connsiteX4" fmla="*/ 5215 w 7711"/>
                  <a:gd name="connsiteY4" fmla="*/ 9578 h 9577"/>
                  <a:gd name="connsiteX5" fmla="*/ 1235 w 7711"/>
                  <a:gd name="connsiteY5" fmla="*/ 6202 h 9577"/>
                  <a:gd name="connsiteX6" fmla="*/ 0 w 7711"/>
                  <a:gd name="connsiteY6" fmla="*/ 3595 h 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1" h="9577">
                    <a:moveTo>
                      <a:pt x="0" y="3595"/>
                    </a:moveTo>
                    <a:lnTo>
                      <a:pt x="1235" y="0"/>
                    </a:lnTo>
                    <a:lnTo>
                      <a:pt x="3485" y="55"/>
                    </a:lnTo>
                    <a:lnTo>
                      <a:pt x="7712" y="7327"/>
                    </a:lnTo>
                    <a:lnTo>
                      <a:pt x="5215" y="9578"/>
                    </a:lnTo>
                    <a:lnTo>
                      <a:pt x="1235" y="6202"/>
                    </a:lnTo>
                    <a:lnTo>
                      <a:pt x="0" y="35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9" name="Freeform: Shape 4568">
                <a:extLst>
                  <a:ext uri="{FF2B5EF4-FFF2-40B4-BE49-F238E27FC236}">
                    <a16:creationId xmlns:a16="http://schemas.microsoft.com/office/drawing/2014/main" id="{9E20D38E-3482-47AF-AF95-22FF969AE5BF}"/>
                  </a:ext>
                </a:extLst>
              </p:cNvPr>
              <p:cNvSpPr/>
              <p:nvPr/>
            </p:nvSpPr>
            <p:spPr>
              <a:xfrm>
                <a:off x="1880878" y="3890712"/>
                <a:ext cx="435" cy="1506"/>
              </a:xfrm>
              <a:custGeom>
                <a:avLst/>
                <a:gdLst>
                  <a:gd name="connsiteX0" fmla="*/ 0 w 4171"/>
                  <a:gd name="connsiteY0" fmla="*/ 0 h 14435"/>
                  <a:gd name="connsiteX1" fmla="*/ 1235 w 4171"/>
                  <a:gd name="connsiteY1" fmla="*/ 0 h 14435"/>
                  <a:gd name="connsiteX2" fmla="*/ 3815 w 4171"/>
                  <a:gd name="connsiteY2" fmla="*/ 8370 h 14435"/>
                  <a:gd name="connsiteX3" fmla="*/ 4171 w 4171"/>
                  <a:gd name="connsiteY3" fmla="*/ 12349 h 14435"/>
                  <a:gd name="connsiteX4" fmla="*/ 3787 w 4171"/>
                  <a:gd name="connsiteY4" fmla="*/ 14435 h 14435"/>
                  <a:gd name="connsiteX5" fmla="*/ 2744 w 4171"/>
                  <a:gd name="connsiteY5" fmla="*/ 13859 h 14435"/>
                  <a:gd name="connsiteX6" fmla="*/ 2058 w 4171"/>
                  <a:gd name="connsiteY6" fmla="*/ 8178 h 14435"/>
                  <a:gd name="connsiteX7" fmla="*/ 1207 w 4171"/>
                  <a:gd name="connsiteY7" fmla="*/ 6010 h 14435"/>
                  <a:gd name="connsiteX8" fmla="*/ 27 w 4171"/>
                  <a:gd name="connsiteY8" fmla="*/ 0 h 1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1" h="14435">
                    <a:moveTo>
                      <a:pt x="0" y="0"/>
                    </a:moveTo>
                    <a:lnTo>
                      <a:pt x="1235" y="0"/>
                    </a:lnTo>
                    <a:lnTo>
                      <a:pt x="3815" y="8370"/>
                    </a:lnTo>
                    <a:lnTo>
                      <a:pt x="4171" y="12349"/>
                    </a:lnTo>
                    <a:lnTo>
                      <a:pt x="3787" y="14435"/>
                    </a:lnTo>
                    <a:lnTo>
                      <a:pt x="2744" y="13859"/>
                    </a:lnTo>
                    <a:lnTo>
                      <a:pt x="2058" y="8178"/>
                    </a:lnTo>
                    <a:lnTo>
                      <a:pt x="1207" y="6010"/>
                    </a:lnTo>
                    <a:lnTo>
                      <a:pt x="2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0" name="Freeform: Shape 4569">
                <a:extLst>
                  <a:ext uri="{FF2B5EF4-FFF2-40B4-BE49-F238E27FC236}">
                    <a16:creationId xmlns:a16="http://schemas.microsoft.com/office/drawing/2014/main" id="{8A9CC7AA-2F80-45AA-9109-C66677423281}"/>
                  </a:ext>
                </a:extLst>
              </p:cNvPr>
              <p:cNvSpPr/>
              <p:nvPr/>
            </p:nvSpPr>
            <p:spPr>
              <a:xfrm>
                <a:off x="1879741" y="3891871"/>
                <a:ext cx="1002" cy="630"/>
              </a:xfrm>
              <a:custGeom>
                <a:avLst/>
                <a:gdLst>
                  <a:gd name="connsiteX0" fmla="*/ 5351 w 9605"/>
                  <a:gd name="connsiteY0" fmla="*/ 6038 h 6037"/>
                  <a:gd name="connsiteX1" fmla="*/ 1016 w 9605"/>
                  <a:gd name="connsiteY1" fmla="*/ 6038 h 6037"/>
                  <a:gd name="connsiteX2" fmla="*/ 0 w 9605"/>
                  <a:gd name="connsiteY2" fmla="*/ 5242 h 6037"/>
                  <a:gd name="connsiteX3" fmla="*/ 4309 w 9605"/>
                  <a:gd name="connsiteY3" fmla="*/ 1345 h 6037"/>
                  <a:gd name="connsiteX4" fmla="*/ 8589 w 9605"/>
                  <a:gd name="connsiteY4" fmla="*/ 0 h 6037"/>
                  <a:gd name="connsiteX5" fmla="*/ 9605 w 9605"/>
                  <a:gd name="connsiteY5" fmla="*/ 577 h 6037"/>
                  <a:gd name="connsiteX6" fmla="*/ 7739 w 9605"/>
                  <a:gd name="connsiteY6" fmla="*/ 3733 h 6037"/>
                  <a:gd name="connsiteX7" fmla="*/ 5379 w 9605"/>
                  <a:gd name="connsiteY7" fmla="*/ 6038 h 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5" h="6037">
                    <a:moveTo>
                      <a:pt x="5351" y="6038"/>
                    </a:moveTo>
                    <a:lnTo>
                      <a:pt x="1016" y="6038"/>
                    </a:lnTo>
                    <a:cubicBezTo>
                      <a:pt x="1016" y="6038"/>
                      <a:pt x="0" y="5242"/>
                      <a:pt x="0" y="5242"/>
                    </a:cubicBezTo>
                    <a:lnTo>
                      <a:pt x="4309" y="1345"/>
                    </a:lnTo>
                    <a:lnTo>
                      <a:pt x="8589" y="0"/>
                    </a:lnTo>
                    <a:lnTo>
                      <a:pt x="9605" y="577"/>
                    </a:lnTo>
                    <a:lnTo>
                      <a:pt x="7739" y="3733"/>
                    </a:lnTo>
                    <a:lnTo>
                      <a:pt x="5379" y="60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1" name="Freeform: Shape 4570">
                <a:extLst>
                  <a:ext uri="{FF2B5EF4-FFF2-40B4-BE49-F238E27FC236}">
                    <a16:creationId xmlns:a16="http://schemas.microsoft.com/office/drawing/2014/main" id="{8430895F-342B-29A7-8961-75D2014AE97C}"/>
                  </a:ext>
                </a:extLst>
              </p:cNvPr>
              <p:cNvSpPr/>
              <p:nvPr/>
            </p:nvSpPr>
            <p:spPr>
              <a:xfrm>
                <a:off x="1881107" y="3895993"/>
                <a:ext cx="758" cy="824"/>
              </a:xfrm>
              <a:custGeom>
                <a:avLst/>
                <a:gdLst>
                  <a:gd name="connsiteX0" fmla="*/ 55 w 7272"/>
                  <a:gd name="connsiteY0" fmla="*/ 3815 h 7903"/>
                  <a:gd name="connsiteX1" fmla="*/ 2223 w 7272"/>
                  <a:gd name="connsiteY1" fmla="*/ 0 h 7903"/>
                  <a:gd name="connsiteX2" fmla="*/ 4171 w 7272"/>
                  <a:gd name="connsiteY2" fmla="*/ 3760 h 7903"/>
                  <a:gd name="connsiteX3" fmla="*/ 6037 w 7272"/>
                  <a:gd name="connsiteY3" fmla="*/ 3897 h 7903"/>
                  <a:gd name="connsiteX4" fmla="*/ 7272 w 7272"/>
                  <a:gd name="connsiteY4" fmla="*/ 6339 h 7903"/>
                  <a:gd name="connsiteX5" fmla="*/ 4254 w 7272"/>
                  <a:gd name="connsiteY5" fmla="*/ 7904 h 7903"/>
                  <a:gd name="connsiteX6" fmla="*/ 1784 w 7272"/>
                  <a:gd name="connsiteY6" fmla="*/ 7327 h 7903"/>
                  <a:gd name="connsiteX7" fmla="*/ 0 w 7272"/>
                  <a:gd name="connsiteY7" fmla="*/ 3815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72" h="7903">
                    <a:moveTo>
                      <a:pt x="55" y="3815"/>
                    </a:moveTo>
                    <a:lnTo>
                      <a:pt x="2223" y="0"/>
                    </a:lnTo>
                    <a:lnTo>
                      <a:pt x="4171" y="3760"/>
                    </a:lnTo>
                    <a:lnTo>
                      <a:pt x="6037" y="3897"/>
                    </a:lnTo>
                    <a:lnTo>
                      <a:pt x="7272" y="6339"/>
                    </a:lnTo>
                    <a:lnTo>
                      <a:pt x="4254" y="7904"/>
                    </a:lnTo>
                    <a:lnTo>
                      <a:pt x="1784" y="7327"/>
                    </a:lnTo>
                    <a:lnTo>
                      <a:pt x="0" y="38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2" name="Freeform: Shape 4571">
                <a:extLst>
                  <a:ext uri="{FF2B5EF4-FFF2-40B4-BE49-F238E27FC236}">
                    <a16:creationId xmlns:a16="http://schemas.microsoft.com/office/drawing/2014/main" id="{208428CF-C49D-9F3B-CBC2-6A11B55C830D}"/>
                  </a:ext>
                </a:extLst>
              </p:cNvPr>
              <p:cNvSpPr/>
              <p:nvPr/>
            </p:nvSpPr>
            <p:spPr>
              <a:xfrm>
                <a:off x="1878845" y="3886922"/>
                <a:ext cx="532" cy="750"/>
              </a:xfrm>
              <a:custGeom>
                <a:avLst/>
                <a:gdLst>
                  <a:gd name="connsiteX0" fmla="*/ 5022 w 5104"/>
                  <a:gd name="connsiteY0" fmla="*/ 5845 h 7190"/>
                  <a:gd name="connsiteX1" fmla="*/ 2277 w 5104"/>
                  <a:gd name="connsiteY1" fmla="*/ 7190 h 7190"/>
                  <a:gd name="connsiteX2" fmla="*/ 0 w 5104"/>
                  <a:gd name="connsiteY2" fmla="*/ 3732 h 7190"/>
                  <a:gd name="connsiteX3" fmla="*/ 164 w 5104"/>
                  <a:gd name="connsiteY3" fmla="*/ 1976 h 7190"/>
                  <a:gd name="connsiteX4" fmla="*/ 2936 w 5104"/>
                  <a:gd name="connsiteY4" fmla="*/ 0 h 7190"/>
                  <a:gd name="connsiteX5" fmla="*/ 5104 w 5104"/>
                  <a:gd name="connsiteY5" fmla="*/ 3156 h 7190"/>
                  <a:gd name="connsiteX6" fmla="*/ 5022 w 5104"/>
                  <a:gd name="connsiteY6" fmla="*/ 5845 h 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4" h="7190">
                    <a:moveTo>
                      <a:pt x="5022" y="5845"/>
                    </a:moveTo>
                    <a:lnTo>
                      <a:pt x="2277" y="7190"/>
                    </a:lnTo>
                    <a:lnTo>
                      <a:pt x="0" y="3732"/>
                    </a:lnTo>
                    <a:lnTo>
                      <a:pt x="164" y="1976"/>
                    </a:lnTo>
                    <a:lnTo>
                      <a:pt x="2936" y="0"/>
                    </a:lnTo>
                    <a:lnTo>
                      <a:pt x="5104" y="3156"/>
                    </a:lnTo>
                    <a:lnTo>
                      <a:pt x="5022" y="58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3" name="Freeform: Shape 4572">
                <a:extLst>
                  <a:ext uri="{FF2B5EF4-FFF2-40B4-BE49-F238E27FC236}">
                    <a16:creationId xmlns:a16="http://schemas.microsoft.com/office/drawing/2014/main" id="{BD28FFD2-9DA1-6D9D-CC8C-6076FEA91CB5}"/>
                  </a:ext>
                </a:extLst>
              </p:cNvPr>
              <p:cNvSpPr/>
              <p:nvPr/>
            </p:nvSpPr>
            <p:spPr>
              <a:xfrm>
                <a:off x="1878951" y="3888488"/>
                <a:ext cx="615" cy="538"/>
              </a:xfrm>
              <a:custGeom>
                <a:avLst/>
                <a:gdLst>
                  <a:gd name="connsiteX0" fmla="*/ 0 w 5899"/>
                  <a:gd name="connsiteY0" fmla="*/ 4473 h 5159"/>
                  <a:gd name="connsiteX1" fmla="*/ 357 w 5899"/>
                  <a:gd name="connsiteY1" fmla="*/ 1070 h 5159"/>
                  <a:gd name="connsiteX2" fmla="*/ 1564 w 5899"/>
                  <a:gd name="connsiteY2" fmla="*/ 0 h 5159"/>
                  <a:gd name="connsiteX3" fmla="*/ 5406 w 5899"/>
                  <a:gd name="connsiteY3" fmla="*/ 274 h 5159"/>
                  <a:gd name="connsiteX4" fmla="*/ 5900 w 5899"/>
                  <a:gd name="connsiteY4" fmla="*/ 1921 h 5159"/>
                  <a:gd name="connsiteX5" fmla="*/ 3814 w 5899"/>
                  <a:gd name="connsiteY5" fmla="*/ 5159 h 5159"/>
                  <a:gd name="connsiteX6" fmla="*/ 27 w 5899"/>
                  <a:gd name="connsiteY6" fmla="*/ 4501 h 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99" h="5159">
                    <a:moveTo>
                      <a:pt x="0" y="4473"/>
                    </a:moveTo>
                    <a:lnTo>
                      <a:pt x="357" y="1070"/>
                    </a:lnTo>
                    <a:lnTo>
                      <a:pt x="1564" y="0"/>
                    </a:lnTo>
                    <a:lnTo>
                      <a:pt x="5406" y="274"/>
                    </a:lnTo>
                    <a:lnTo>
                      <a:pt x="5900" y="1921"/>
                    </a:lnTo>
                    <a:lnTo>
                      <a:pt x="3814" y="5159"/>
                    </a:lnTo>
                    <a:lnTo>
                      <a:pt x="27" y="45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4" name="Freeform: Shape 4573">
                <a:extLst>
                  <a:ext uri="{FF2B5EF4-FFF2-40B4-BE49-F238E27FC236}">
                    <a16:creationId xmlns:a16="http://schemas.microsoft.com/office/drawing/2014/main" id="{8EB709C4-8617-AD90-E584-A526215546A1}"/>
                  </a:ext>
                </a:extLst>
              </p:cNvPr>
              <p:cNvSpPr/>
              <p:nvPr/>
            </p:nvSpPr>
            <p:spPr>
              <a:xfrm>
                <a:off x="1881267" y="3895546"/>
                <a:ext cx="733" cy="452"/>
              </a:xfrm>
              <a:custGeom>
                <a:avLst/>
                <a:gdLst>
                  <a:gd name="connsiteX0" fmla="*/ 27 w 7024"/>
                  <a:gd name="connsiteY0" fmla="*/ 2772 h 4335"/>
                  <a:gd name="connsiteX1" fmla="*/ 1427 w 7024"/>
                  <a:gd name="connsiteY1" fmla="*/ 0 h 4335"/>
                  <a:gd name="connsiteX2" fmla="*/ 3320 w 7024"/>
                  <a:gd name="connsiteY2" fmla="*/ 1125 h 4335"/>
                  <a:gd name="connsiteX3" fmla="*/ 5955 w 7024"/>
                  <a:gd name="connsiteY3" fmla="*/ 1043 h 4335"/>
                  <a:gd name="connsiteX4" fmla="*/ 7025 w 7024"/>
                  <a:gd name="connsiteY4" fmla="*/ 3924 h 4335"/>
                  <a:gd name="connsiteX5" fmla="*/ 5625 w 7024"/>
                  <a:gd name="connsiteY5" fmla="*/ 4336 h 4335"/>
                  <a:gd name="connsiteX6" fmla="*/ 3073 w 7024"/>
                  <a:gd name="connsiteY6" fmla="*/ 2827 h 4335"/>
                  <a:gd name="connsiteX7" fmla="*/ 0 w 7024"/>
                  <a:gd name="connsiteY7" fmla="*/ 2772 h 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4" h="4335">
                    <a:moveTo>
                      <a:pt x="27" y="2772"/>
                    </a:moveTo>
                    <a:lnTo>
                      <a:pt x="1427" y="0"/>
                    </a:lnTo>
                    <a:lnTo>
                      <a:pt x="3320" y="1125"/>
                    </a:lnTo>
                    <a:lnTo>
                      <a:pt x="5955" y="1043"/>
                    </a:lnTo>
                    <a:lnTo>
                      <a:pt x="7025" y="3924"/>
                    </a:lnTo>
                    <a:lnTo>
                      <a:pt x="5625" y="4336"/>
                    </a:lnTo>
                    <a:lnTo>
                      <a:pt x="3073" y="2827"/>
                    </a:lnTo>
                    <a:lnTo>
                      <a:pt x="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5" name="Freeform: Shape 4574">
                <a:extLst>
                  <a:ext uri="{FF2B5EF4-FFF2-40B4-BE49-F238E27FC236}">
                    <a16:creationId xmlns:a16="http://schemas.microsoft.com/office/drawing/2014/main" id="{A4855D76-C6B4-639C-DB9D-37F7D937D467}"/>
                  </a:ext>
                </a:extLst>
              </p:cNvPr>
              <p:cNvSpPr/>
              <p:nvPr/>
            </p:nvSpPr>
            <p:spPr>
              <a:xfrm>
                <a:off x="1886084" y="3907528"/>
                <a:ext cx="515" cy="381"/>
              </a:xfrm>
              <a:custGeom>
                <a:avLst/>
                <a:gdLst>
                  <a:gd name="connsiteX0" fmla="*/ 0 w 4939"/>
                  <a:gd name="connsiteY0" fmla="*/ 1619 h 3649"/>
                  <a:gd name="connsiteX1" fmla="*/ 933 w 4939"/>
                  <a:gd name="connsiteY1" fmla="*/ 55 h 3649"/>
                  <a:gd name="connsiteX2" fmla="*/ 2992 w 4939"/>
                  <a:gd name="connsiteY2" fmla="*/ 0 h 3649"/>
                  <a:gd name="connsiteX3" fmla="*/ 4940 w 4939"/>
                  <a:gd name="connsiteY3" fmla="*/ 1839 h 3649"/>
                  <a:gd name="connsiteX4" fmla="*/ 3952 w 4939"/>
                  <a:gd name="connsiteY4" fmla="*/ 3650 h 3649"/>
                  <a:gd name="connsiteX5" fmla="*/ 851 w 4939"/>
                  <a:gd name="connsiteY5" fmla="*/ 3156 h 3649"/>
                  <a:gd name="connsiteX6" fmla="*/ 0 w 4939"/>
                  <a:gd name="connsiteY6" fmla="*/ 1592 h 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39" h="3649">
                    <a:moveTo>
                      <a:pt x="0" y="1619"/>
                    </a:moveTo>
                    <a:lnTo>
                      <a:pt x="933" y="55"/>
                    </a:lnTo>
                    <a:lnTo>
                      <a:pt x="2992" y="0"/>
                    </a:lnTo>
                    <a:lnTo>
                      <a:pt x="4940" y="1839"/>
                    </a:lnTo>
                    <a:lnTo>
                      <a:pt x="3952" y="3650"/>
                    </a:lnTo>
                    <a:lnTo>
                      <a:pt x="851" y="3156"/>
                    </a:lnTo>
                    <a:lnTo>
                      <a:pt x="0" y="1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6" name="Freeform: Shape 4575">
                <a:extLst>
                  <a:ext uri="{FF2B5EF4-FFF2-40B4-BE49-F238E27FC236}">
                    <a16:creationId xmlns:a16="http://schemas.microsoft.com/office/drawing/2014/main" id="{FCCE3E34-AFDD-E0B0-8DC7-6BACC957570B}"/>
                  </a:ext>
                </a:extLst>
              </p:cNvPr>
              <p:cNvSpPr/>
              <p:nvPr/>
            </p:nvSpPr>
            <p:spPr>
              <a:xfrm>
                <a:off x="1881865" y="3896568"/>
                <a:ext cx="444" cy="361"/>
              </a:xfrm>
              <a:custGeom>
                <a:avLst/>
                <a:gdLst>
                  <a:gd name="connsiteX0" fmla="*/ 27 w 4253"/>
                  <a:gd name="connsiteY0" fmla="*/ 1427 h 3457"/>
                  <a:gd name="connsiteX1" fmla="*/ 2305 w 4253"/>
                  <a:gd name="connsiteY1" fmla="*/ 0 h 3457"/>
                  <a:gd name="connsiteX2" fmla="*/ 4254 w 4253"/>
                  <a:gd name="connsiteY2" fmla="*/ 1509 h 3457"/>
                  <a:gd name="connsiteX3" fmla="*/ 3925 w 4253"/>
                  <a:gd name="connsiteY3" fmla="*/ 3458 h 3457"/>
                  <a:gd name="connsiteX4" fmla="*/ 0 w 4253"/>
                  <a:gd name="connsiteY4" fmla="*/ 1427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3457">
                    <a:moveTo>
                      <a:pt x="27" y="1427"/>
                    </a:moveTo>
                    <a:lnTo>
                      <a:pt x="2305" y="0"/>
                    </a:lnTo>
                    <a:lnTo>
                      <a:pt x="4254" y="1509"/>
                    </a:lnTo>
                    <a:lnTo>
                      <a:pt x="3925" y="3458"/>
                    </a:lnTo>
                    <a:lnTo>
                      <a:pt x="0"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7" name="Freeform: Shape 4576">
                <a:extLst>
                  <a:ext uri="{FF2B5EF4-FFF2-40B4-BE49-F238E27FC236}">
                    <a16:creationId xmlns:a16="http://schemas.microsoft.com/office/drawing/2014/main" id="{B449EA3C-7086-20C0-B0D3-7F49CE1F2155}"/>
                  </a:ext>
                </a:extLst>
              </p:cNvPr>
              <p:cNvSpPr/>
              <p:nvPr/>
            </p:nvSpPr>
            <p:spPr>
              <a:xfrm>
                <a:off x="1878479" y="3886181"/>
                <a:ext cx="426" cy="366"/>
              </a:xfrm>
              <a:custGeom>
                <a:avLst/>
                <a:gdLst>
                  <a:gd name="connsiteX0" fmla="*/ 0 w 4088"/>
                  <a:gd name="connsiteY0" fmla="*/ 1838 h 3512"/>
                  <a:gd name="connsiteX1" fmla="*/ 1729 w 4088"/>
                  <a:gd name="connsiteY1" fmla="*/ 0 h 3512"/>
                  <a:gd name="connsiteX2" fmla="*/ 4089 w 4088"/>
                  <a:gd name="connsiteY2" fmla="*/ 2278 h 3512"/>
                  <a:gd name="connsiteX3" fmla="*/ 1729 w 4088"/>
                  <a:gd name="connsiteY3" fmla="*/ 3512 h 3512"/>
                  <a:gd name="connsiteX4" fmla="*/ 0 w 4088"/>
                  <a:gd name="connsiteY4" fmla="*/ 1838 h 3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3512">
                    <a:moveTo>
                      <a:pt x="0" y="1838"/>
                    </a:moveTo>
                    <a:lnTo>
                      <a:pt x="1729" y="0"/>
                    </a:lnTo>
                    <a:lnTo>
                      <a:pt x="4089" y="2278"/>
                    </a:lnTo>
                    <a:lnTo>
                      <a:pt x="1729" y="3512"/>
                    </a:lnTo>
                    <a:lnTo>
                      <a:pt x="0"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8" name="Freeform: Shape 4577">
                <a:extLst>
                  <a:ext uri="{FF2B5EF4-FFF2-40B4-BE49-F238E27FC236}">
                    <a16:creationId xmlns:a16="http://schemas.microsoft.com/office/drawing/2014/main" id="{A5BAD32C-630E-598F-C0EB-8FA98893C78F}"/>
                  </a:ext>
                </a:extLst>
              </p:cNvPr>
              <p:cNvSpPr/>
              <p:nvPr/>
            </p:nvSpPr>
            <p:spPr>
              <a:xfrm>
                <a:off x="1879552" y="3886590"/>
                <a:ext cx="398" cy="395"/>
              </a:xfrm>
              <a:custGeom>
                <a:avLst/>
                <a:gdLst>
                  <a:gd name="connsiteX0" fmla="*/ 0 w 3814"/>
                  <a:gd name="connsiteY0" fmla="*/ 2058 h 3787"/>
                  <a:gd name="connsiteX1" fmla="*/ 2415 w 3814"/>
                  <a:gd name="connsiteY1" fmla="*/ 0 h 3787"/>
                  <a:gd name="connsiteX2" fmla="*/ 3814 w 3814"/>
                  <a:gd name="connsiteY2" fmla="*/ 2251 h 3787"/>
                  <a:gd name="connsiteX3" fmla="*/ 2332 w 3814"/>
                  <a:gd name="connsiteY3" fmla="*/ 3787 h 3787"/>
                  <a:gd name="connsiteX4" fmla="*/ 0 w 3814"/>
                  <a:gd name="connsiteY4" fmla="*/ 2058 h 3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3787">
                    <a:moveTo>
                      <a:pt x="0" y="2058"/>
                    </a:moveTo>
                    <a:lnTo>
                      <a:pt x="2415" y="0"/>
                    </a:lnTo>
                    <a:lnTo>
                      <a:pt x="3814" y="2251"/>
                    </a:lnTo>
                    <a:lnTo>
                      <a:pt x="2332" y="3787"/>
                    </a:lnTo>
                    <a:lnTo>
                      <a:pt x="0"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9" name="Freeform: Shape 4578">
                <a:extLst>
                  <a:ext uri="{FF2B5EF4-FFF2-40B4-BE49-F238E27FC236}">
                    <a16:creationId xmlns:a16="http://schemas.microsoft.com/office/drawing/2014/main" id="{12799F9D-5F59-EEED-1372-9B39D3F8C0A1}"/>
                  </a:ext>
                </a:extLst>
              </p:cNvPr>
              <p:cNvSpPr/>
              <p:nvPr/>
            </p:nvSpPr>
            <p:spPr>
              <a:xfrm>
                <a:off x="1876584" y="3885800"/>
                <a:ext cx="315" cy="406"/>
              </a:xfrm>
              <a:custGeom>
                <a:avLst/>
                <a:gdLst>
                  <a:gd name="connsiteX0" fmla="*/ 0 w 3018"/>
                  <a:gd name="connsiteY0" fmla="*/ 988 h 3897"/>
                  <a:gd name="connsiteX1" fmla="*/ 1647 w 3018"/>
                  <a:gd name="connsiteY1" fmla="*/ 0 h 3897"/>
                  <a:gd name="connsiteX2" fmla="*/ 3019 w 3018"/>
                  <a:gd name="connsiteY2" fmla="*/ 1592 h 3897"/>
                  <a:gd name="connsiteX3" fmla="*/ 2223 w 3018"/>
                  <a:gd name="connsiteY3" fmla="*/ 3897 h 3897"/>
                  <a:gd name="connsiteX4" fmla="*/ 933 w 3018"/>
                  <a:gd name="connsiteY4" fmla="*/ 3540 h 3897"/>
                  <a:gd name="connsiteX5" fmla="*/ 27 w 3018"/>
                  <a:gd name="connsiteY5" fmla="*/ 988 h 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 h="3897">
                    <a:moveTo>
                      <a:pt x="0" y="988"/>
                    </a:moveTo>
                    <a:lnTo>
                      <a:pt x="1647" y="0"/>
                    </a:lnTo>
                    <a:lnTo>
                      <a:pt x="3019" y="1592"/>
                    </a:lnTo>
                    <a:lnTo>
                      <a:pt x="2223" y="3897"/>
                    </a:lnTo>
                    <a:lnTo>
                      <a:pt x="933" y="3540"/>
                    </a:lnTo>
                    <a:lnTo>
                      <a:pt x="27"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0" name="Freeform: Shape 4579">
                <a:extLst>
                  <a:ext uri="{FF2B5EF4-FFF2-40B4-BE49-F238E27FC236}">
                    <a16:creationId xmlns:a16="http://schemas.microsoft.com/office/drawing/2014/main" id="{F93D29B2-5C32-E02E-00D7-9DBF99491B2C}"/>
                  </a:ext>
                </a:extLst>
              </p:cNvPr>
              <p:cNvSpPr/>
              <p:nvPr/>
            </p:nvSpPr>
            <p:spPr>
              <a:xfrm>
                <a:off x="1880700" y="3889126"/>
                <a:ext cx="375" cy="335"/>
              </a:xfrm>
              <a:custGeom>
                <a:avLst/>
                <a:gdLst>
                  <a:gd name="connsiteX0" fmla="*/ 2662 w 3594"/>
                  <a:gd name="connsiteY0" fmla="*/ 2909 h 3210"/>
                  <a:gd name="connsiteX1" fmla="*/ 1180 w 3594"/>
                  <a:gd name="connsiteY1" fmla="*/ 3211 h 3210"/>
                  <a:gd name="connsiteX2" fmla="*/ 0 w 3594"/>
                  <a:gd name="connsiteY2" fmla="*/ 1509 h 3210"/>
                  <a:gd name="connsiteX3" fmla="*/ 1481 w 3594"/>
                  <a:gd name="connsiteY3" fmla="*/ 0 h 3210"/>
                  <a:gd name="connsiteX4" fmla="*/ 3595 w 3594"/>
                  <a:gd name="connsiteY4" fmla="*/ 549 h 3210"/>
                  <a:gd name="connsiteX5" fmla="*/ 2662 w 3594"/>
                  <a:gd name="connsiteY5" fmla="*/ 2909 h 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4" h="3210">
                    <a:moveTo>
                      <a:pt x="2662" y="2909"/>
                    </a:moveTo>
                    <a:lnTo>
                      <a:pt x="1180" y="3211"/>
                    </a:lnTo>
                    <a:lnTo>
                      <a:pt x="0" y="1509"/>
                    </a:lnTo>
                    <a:lnTo>
                      <a:pt x="1481" y="0"/>
                    </a:lnTo>
                    <a:lnTo>
                      <a:pt x="3595" y="549"/>
                    </a:lnTo>
                    <a:lnTo>
                      <a:pt x="2662"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1" name="Freeform: Shape 4580">
                <a:extLst>
                  <a:ext uri="{FF2B5EF4-FFF2-40B4-BE49-F238E27FC236}">
                    <a16:creationId xmlns:a16="http://schemas.microsoft.com/office/drawing/2014/main" id="{713FA577-7CB5-8CF4-93A7-B4A205A5CF72}"/>
                  </a:ext>
                </a:extLst>
              </p:cNvPr>
              <p:cNvSpPr/>
              <p:nvPr/>
            </p:nvSpPr>
            <p:spPr>
              <a:xfrm>
                <a:off x="1882306" y="3896869"/>
                <a:ext cx="332" cy="384"/>
              </a:xfrm>
              <a:custGeom>
                <a:avLst/>
                <a:gdLst>
                  <a:gd name="connsiteX0" fmla="*/ 2058 w 3183"/>
                  <a:gd name="connsiteY0" fmla="*/ 3320 h 3677"/>
                  <a:gd name="connsiteX1" fmla="*/ 137 w 3183"/>
                  <a:gd name="connsiteY1" fmla="*/ 3677 h 3677"/>
                  <a:gd name="connsiteX2" fmla="*/ 0 w 3183"/>
                  <a:gd name="connsiteY2" fmla="*/ 1893 h 3677"/>
                  <a:gd name="connsiteX3" fmla="*/ 1619 w 3183"/>
                  <a:gd name="connsiteY3" fmla="*/ 0 h 3677"/>
                  <a:gd name="connsiteX4" fmla="*/ 3184 w 3183"/>
                  <a:gd name="connsiteY4" fmla="*/ 549 h 3677"/>
                  <a:gd name="connsiteX5" fmla="*/ 2086 w 3183"/>
                  <a:gd name="connsiteY5" fmla="*/ 3348 h 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3" h="3677">
                    <a:moveTo>
                      <a:pt x="2058" y="3320"/>
                    </a:moveTo>
                    <a:lnTo>
                      <a:pt x="137" y="3677"/>
                    </a:lnTo>
                    <a:lnTo>
                      <a:pt x="0" y="1893"/>
                    </a:lnTo>
                    <a:lnTo>
                      <a:pt x="1619" y="0"/>
                    </a:lnTo>
                    <a:lnTo>
                      <a:pt x="3184" y="549"/>
                    </a:lnTo>
                    <a:lnTo>
                      <a:pt x="2086"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2" name="Freeform: Shape 4581">
                <a:extLst>
                  <a:ext uri="{FF2B5EF4-FFF2-40B4-BE49-F238E27FC236}">
                    <a16:creationId xmlns:a16="http://schemas.microsoft.com/office/drawing/2014/main" id="{E08AE298-1AF7-1EC5-8E6D-3FDA99A18315}"/>
                  </a:ext>
                </a:extLst>
              </p:cNvPr>
              <p:cNvSpPr/>
              <p:nvPr/>
            </p:nvSpPr>
            <p:spPr>
              <a:xfrm>
                <a:off x="1876215" y="3884993"/>
                <a:ext cx="283" cy="418"/>
              </a:xfrm>
              <a:custGeom>
                <a:avLst/>
                <a:gdLst>
                  <a:gd name="connsiteX0" fmla="*/ 2251 w 2716"/>
                  <a:gd name="connsiteY0" fmla="*/ 3979 h 4006"/>
                  <a:gd name="connsiteX1" fmla="*/ 440 w 2716"/>
                  <a:gd name="connsiteY1" fmla="*/ 3046 h 4006"/>
                  <a:gd name="connsiteX2" fmla="*/ 0 w 2716"/>
                  <a:gd name="connsiteY2" fmla="*/ 851 h 4006"/>
                  <a:gd name="connsiteX3" fmla="*/ 2086 w 2716"/>
                  <a:gd name="connsiteY3" fmla="*/ 0 h 4006"/>
                  <a:gd name="connsiteX4" fmla="*/ 2717 w 2716"/>
                  <a:gd name="connsiteY4" fmla="*/ 1756 h 4006"/>
                  <a:gd name="connsiteX5" fmla="*/ 2223 w 2716"/>
                  <a:gd name="connsiteY5" fmla="*/ 4007 h 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6" h="4006">
                    <a:moveTo>
                      <a:pt x="2251" y="3979"/>
                    </a:moveTo>
                    <a:lnTo>
                      <a:pt x="440" y="3046"/>
                    </a:lnTo>
                    <a:lnTo>
                      <a:pt x="0" y="851"/>
                    </a:lnTo>
                    <a:lnTo>
                      <a:pt x="2086" y="0"/>
                    </a:lnTo>
                    <a:lnTo>
                      <a:pt x="2717" y="1756"/>
                    </a:lnTo>
                    <a:lnTo>
                      <a:pt x="2223" y="40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3" name="Freeform: Shape 4582">
                <a:extLst>
                  <a:ext uri="{FF2B5EF4-FFF2-40B4-BE49-F238E27FC236}">
                    <a16:creationId xmlns:a16="http://schemas.microsoft.com/office/drawing/2014/main" id="{B8F9505E-F523-6DD9-C4CC-EC1F4FE77CC3}"/>
                  </a:ext>
                </a:extLst>
              </p:cNvPr>
              <p:cNvSpPr/>
              <p:nvPr/>
            </p:nvSpPr>
            <p:spPr>
              <a:xfrm>
                <a:off x="1876415" y="3885385"/>
                <a:ext cx="195" cy="174"/>
              </a:xfrm>
              <a:custGeom>
                <a:avLst/>
                <a:gdLst>
                  <a:gd name="connsiteX0" fmla="*/ 0 w 1866"/>
                  <a:gd name="connsiteY0" fmla="*/ 302 h 1673"/>
                  <a:gd name="connsiteX1" fmla="*/ 330 w 1866"/>
                  <a:gd name="connsiteY1" fmla="*/ 219 h 1673"/>
                  <a:gd name="connsiteX2" fmla="*/ 1619 w 1866"/>
                  <a:gd name="connsiteY2" fmla="*/ 0 h 1673"/>
                  <a:gd name="connsiteX3" fmla="*/ 1867 w 1866"/>
                  <a:gd name="connsiteY3" fmla="*/ 1345 h 1673"/>
                  <a:gd name="connsiteX4" fmla="*/ 878 w 1866"/>
                  <a:gd name="connsiteY4" fmla="*/ 1674 h 1673"/>
                  <a:gd name="connsiteX5" fmla="*/ 27 w 1866"/>
                  <a:gd name="connsiteY5" fmla="*/ 302 h 1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6" h="1673">
                    <a:moveTo>
                      <a:pt x="0" y="302"/>
                    </a:moveTo>
                    <a:lnTo>
                      <a:pt x="330" y="219"/>
                    </a:lnTo>
                    <a:lnTo>
                      <a:pt x="1619" y="0"/>
                    </a:lnTo>
                    <a:lnTo>
                      <a:pt x="1867" y="1345"/>
                    </a:lnTo>
                    <a:lnTo>
                      <a:pt x="878" y="1674"/>
                    </a:lnTo>
                    <a:lnTo>
                      <a:pt x="27" y="3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sp>
          <p:nvSpPr>
            <p:cNvPr id="4593" name="Freeform: Shape 4592">
              <a:extLst>
                <a:ext uri="{FF2B5EF4-FFF2-40B4-BE49-F238E27FC236}">
                  <a16:creationId xmlns:a16="http://schemas.microsoft.com/office/drawing/2014/main" id="{DDC1C3B4-636F-1815-2716-97F9C2DDD79B}"/>
                </a:ext>
              </a:extLst>
            </p:cNvPr>
            <p:cNvSpPr/>
            <p:nvPr/>
          </p:nvSpPr>
          <p:spPr>
            <a:xfrm>
              <a:off x="1816069" y="3687229"/>
              <a:ext cx="5994" cy="4591"/>
            </a:xfrm>
            <a:custGeom>
              <a:avLst/>
              <a:gdLst>
                <a:gd name="connsiteX0" fmla="*/ 56505 w 57465"/>
                <a:gd name="connsiteY0" fmla="*/ 7657 h 44018"/>
                <a:gd name="connsiteX1" fmla="*/ 40890 w 57465"/>
                <a:gd name="connsiteY1" fmla="*/ 13337 h 44018"/>
                <a:gd name="connsiteX2" fmla="*/ 29007 w 57465"/>
                <a:gd name="connsiteY2" fmla="*/ 23546 h 44018"/>
                <a:gd name="connsiteX3" fmla="*/ 22448 w 57465"/>
                <a:gd name="connsiteY3" fmla="*/ 22695 h 44018"/>
                <a:gd name="connsiteX4" fmla="*/ 19759 w 57465"/>
                <a:gd name="connsiteY4" fmla="*/ 28431 h 44018"/>
                <a:gd name="connsiteX5" fmla="*/ 12404 w 57465"/>
                <a:gd name="connsiteY5" fmla="*/ 34084 h 44018"/>
                <a:gd name="connsiteX6" fmla="*/ 8589 w 57465"/>
                <a:gd name="connsiteY6" fmla="*/ 39463 h 44018"/>
                <a:gd name="connsiteX7" fmla="*/ 714 w 57465"/>
                <a:gd name="connsiteY7" fmla="*/ 44019 h 44018"/>
                <a:gd name="connsiteX8" fmla="*/ 0 w 57465"/>
                <a:gd name="connsiteY8" fmla="*/ 43415 h 44018"/>
                <a:gd name="connsiteX9" fmla="*/ 1290 w 57465"/>
                <a:gd name="connsiteY9" fmla="*/ 40149 h 44018"/>
                <a:gd name="connsiteX10" fmla="*/ 8041 w 57465"/>
                <a:gd name="connsiteY10" fmla="*/ 34715 h 44018"/>
                <a:gd name="connsiteX11" fmla="*/ 6285 w 57465"/>
                <a:gd name="connsiteY11" fmla="*/ 30160 h 44018"/>
                <a:gd name="connsiteX12" fmla="*/ 13612 w 57465"/>
                <a:gd name="connsiteY12" fmla="*/ 25988 h 44018"/>
                <a:gd name="connsiteX13" fmla="*/ 18606 w 57465"/>
                <a:gd name="connsiteY13" fmla="*/ 18853 h 44018"/>
                <a:gd name="connsiteX14" fmla="*/ 22311 w 57465"/>
                <a:gd name="connsiteY14" fmla="*/ 18195 h 44018"/>
                <a:gd name="connsiteX15" fmla="*/ 27525 w 57465"/>
                <a:gd name="connsiteY15" fmla="*/ 12679 h 44018"/>
                <a:gd name="connsiteX16" fmla="*/ 29419 w 57465"/>
                <a:gd name="connsiteY16" fmla="*/ 4803 h 44018"/>
                <a:gd name="connsiteX17" fmla="*/ 33233 w 57465"/>
                <a:gd name="connsiteY17" fmla="*/ 10538 h 44018"/>
                <a:gd name="connsiteX18" fmla="*/ 36499 w 57465"/>
                <a:gd name="connsiteY18" fmla="*/ 11252 h 44018"/>
                <a:gd name="connsiteX19" fmla="*/ 42975 w 57465"/>
                <a:gd name="connsiteY19" fmla="*/ 9221 h 44018"/>
                <a:gd name="connsiteX20" fmla="*/ 51373 w 57465"/>
                <a:gd name="connsiteY20" fmla="*/ 0 h 44018"/>
                <a:gd name="connsiteX21" fmla="*/ 57465 w 57465"/>
                <a:gd name="connsiteY21" fmla="*/ 1290 h 44018"/>
                <a:gd name="connsiteX22" fmla="*/ 56505 w 57465"/>
                <a:gd name="connsiteY22" fmla="*/ 7684 h 4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465" h="44018">
                  <a:moveTo>
                    <a:pt x="56505" y="7657"/>
                  </a:moveTo>
                  <a:lnTo>
                    <a:pt x="40890" y="13337"/>
                  </a:lnTo>
                  <a:lnTo>
                    <a:pt x="29007" y="23546"/>
                  </a:lnTo>
                  <a:lnTo>
                    <a:pt x="22448" y="22695"/>
                  </a:lnTo>
                  <a:lnTo>
                    <a:pt x="19759" y="28431"/>
                  </a:lnTo>
                  <a:lnTo>
                    <a:pt x="12404" y="34084"/>
                  </a:lnTo>
                  <a:lnTo>
                    <a:pt x="8589" y="39463"/>
                  </a:lnTo>
                  <a:lnTo>
                    <a:pt x="714" y="44019"/>
                  </a:lnTo>
                  <a:lnTo>
                    <a:pt x="0" y="43415"/>
                  </a:lnTo>
                  <a:lnTo>
                    <a:pt x="1290" y="40149"/>
                  </a:lnTo>
                  <a:lnTo>
                    <a:pt x="8041" y="34715"/>
                  </a:lnTo>
                  <a:lnTo>
                    <a:pt x="6285" y="30160"/>
                  </a:lnTo>
                  <a:lnTo>
                    <a:pt x="13612" y="25988"/>
                  </a:lnTo>
                  <a:lnTo>
                    <a:pt x="18606" y="18853"/>
                  </a:lnTo>
                  <a:lnTo>
                    <a:pt x="22311" y="18195"/>
                  </a:lnTo>
                  <a:lnTo>
                    <a:pt x="27525" y="12679"/>
                  </a:lnTo>
                  <a:lnTo>
                    <a:pt x="29419" y="4803"/>
                  </a:lnTo>
                  <a:lnTo>
                    <a:pt x="33233" y="10538"/>
                  </a:lnTo>
                  <a:lnTo>
                    <a:pt x="36499" y="11252"/>
                  </a:lnTo>
                  <a:lnTo>
                    <a:pt x="42975" y="9221"/>
                  </a:lnTo>
                  <a:lnTo>
                    <a:pt x="51373" y="0"/>
                  </a:lnTo>
                  <a:lnTo>
                    <a:pt x="57465" y="1290"/>
                  </a:lnTo>
                  <a:lnTo>
                    <a:pt x="56505" y="76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4" name="Freeform: Shape 4593">
              <a:extLst>
                <a:ext uri="{FF2B5EF4-FFF2-40B4-BE49-F238E27FC236}">
                  <a16:creationId xmlns:a16="http://schemas.microsoft.com/office/drawing/2014/main" id="{1E87DDE1-C52E-AE64-1C94-6639557365D7}"/>
                </a:ext>
              </a:extLst>
            </p:cNvPr>
            <p:cNvSpPr/>
            <p:nvPr/>
          </p:nvSpPr>
          <p:spPr>
            <a:xfrm>
              <a:off x="1811452" y="3691660"/>
              <a:ext cx="3449" cy="3332"/>
            </a:xfrm>
            <a:custGeom>
              <a:avLst/>
              <a:gdLst>
                <a:gd name="connsiteX0" fmla="*/ 24480 w 33068"/>
                <a:gd name="connsiteY0" fmla="*/ 2525 h 31943"/>
                <a:gd name="connsiteX1" fmla="*/ 27251 w 33068"/>
                <a:gd name="connsiteY1" fmla="*/ 3952 h 31943"/>
                <a:gd name="connsiteX2" fmla="*/ 33069 w 33068"/>
                <a:gd name="connsiteY2" fmla="*/ 3760 h 31943"/>
                <a:gd name="connsiteX3" fmla="*/ 31642 w 33068"/>
                <a:gd name="connsiteY3" fmla="*/ 6477 h 31943"/>
                <a:gd name="connsiteX4" fmla="*/ 28569 w 33068"/>
                <a:gd name="connsiteY4" fmla="*/ 6477 h 31943"/>
                <a:gd name="connsiteX5" fmla="*/ 25879 w 33068"/>
                <a:gd name="connsiteY5" fmla="*/ 9660 h 31943"/>
                <a:gd name="connsiteX6" fmla="*/ 20418 w 33068"/>
                <a:gd name="connsiteY6" fmla="*/ 10401 h 31943"/>
                <a:gd name="connsiteX7" fmla="*/ 18634 w 33068"/>
                <a:gd name="connsiteY7" fmla="*/ 13337 h 31943"/>
                <a:gd name="connsiteX8" fmla="*/ 14655 w 33068"/>
                <a:gd name="connsiteY8" fmla="*/ 15999 h 31943"/>
                <a:gd name="connsiteX9" fmla="*/ 13612 w 33068"/>
                <a:gd name="connsiteY9" fmla="*/ 19896 h 31943"/>
                <a:gd name="connsiteX10" fmla="*/ 12048 w 33068"/>
                <a:gd name="connsiteY10" fmla="*/ 20088 h 31943"/>
                <a:gd name="connsiteX11" fmla="*/ 10922 w 33068"/>
                <a:gd name="connsiteY11" fmla="*/ 23491 h 31943"/>
                <a:gd name="connsiteX12" fmla="*/ 7519 w 33068"/>
                <a:gd name="connsiteY12" fmla="*/ 24507 h 31943"/>
                <a:gd name="connsiteX13" fmla="*/ 5516 w 33068"/>
                <a:gd name="connsiteY13" fmla="*/ 26208 h 31943"/>
                <a:gd name="connsiteX14" fmla="*/ 4775 w 33068"/>
                <a:gd name="connsiteY14" fmla="*/ 31121 h 31943"/>
                <a:gd name="connsiteX15" fmla="*/ 906 w 33068"/>
                <a:gd name="connsiteY15" fmla="*/ 31944 h 31943"/>
                <a:gd name="connsiteX16" fmla="*/ 0 w 33068"/>
                <a:gd name="connsiteY16" fmla="*/ 27772 h 31943"/>
                <a:gd name="connsiteX17" fmla="*/ 2113 w 33068"/>
                <a:gd name="connsiteY17" fmla="*/ 24946 h 31943"/>
                <a:gd name="connsiteX18" fmla="*/ 9797 w 33068"/>
                <a:gd name="connsiteY18" fmla="*/ 18826 h 31943"/>
                <a:gd name="connsiteX19" fmla="*/ 10045 w 33068"/>
                <a:gd name="connsiteY19" fmla="*/ 16631 h 31943"/>
                <a:gd name="connsiteX20" fmla="*/ 14216 w 33068"/>
                <a:gd name="connsiteY20" fmla="*/ 10758 h 31943"/>
                <a:gd name="connsiteX21" fmla="*/ 16988 w 33068"/>
                <a:gd name="connsiteY21" fmla="*/ 8041 h 31943"/>
                <a:gd name="connsiteX22" fmla="*/ 17646 w 33068"/>
                <a:gd name="connsiteY22" fmla="*/ 5434 h 31943"/>
                <a:gd name="connsiteX23" fmla="*/ 19814 w 33068"/>
                <a:gd name="connsiteY23" fmla="*/ 1647 h 31943"/>
                <a:gd name="connsiteX24" fmla="*/ 22284 w 33068"/>
                <a:gd name="connsiteY24" fmla="*/ 0 h 31943"/>
                <a:gd name="connsiteX25" fmla="*/ 24480 w 33068"/>
                <a:gd name="connsiteY25" fmla="*/ 2497 h 3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068" h="31943">
                  <a:moveTo>
                    <a:pt x="24480" y="2525"/>
                  </a:moveTo>
                  <a:lnTo>
                    <a:pt x="27251" y="3952"/>
                  </a:lnTo>
                  <a:lnTo>
                    <a:pt x="33069" y="3760"/>
                  </a:lnTo>
                  <a:lnTo>
                    <a:pt x="31642" y="6477"/>
                  </a:lnTo>
                  <a:lnTo>
                    <a:pt x="28569" y="6477"/>
                  </a:lnTo>
                  <a:lnTo>
                    <a:pt x="25879" y="9660"/>
                  </a:lnTo>
                  <a:lnTo>
                    <a:pt x="20418" y="10401"/>
                  </a:lnTo>
                  <a:lnTo>
                    <a:pt x="18634" y="13337"/>
                  </a:lnTo>
                  <a:lnTo>
                    <a:pt x="14655" y="15999"/>
                  </a:lnTo>
                  <a:lnTo>
                    <a:pt x="13612" y="19896"/>
                  </a:lnTo>
                  <a:lnTo>
                    <a:pt x="12048" y="20088"/>
                  </a:lnTo>
                  <a:lnTo>
                    <a:pt x="10922" y="23491"/>
                  </a:lnTo>
                  <a:lnTo>
                    <a:pt x="7519" y="24507"/>
                  </a:lnTo>
                  <a:lnTo>
                    <a:pt x="5516" y="26208"/>
                  </a:lnTo>
                  <a:lnTo>
                    <a:pt x="4775" y="31121"/>
                  </a:lnTo>
                  <a:lnTo>
                    <a:pt x="906" y="31944"/>
                  </a:lnTo>
                  <a:lnTo>
                    <a:pt x="0" y="27772"/>
                  </a:lnTo>
                  <a:lnTo>
                    <a:pt x="2113" y="24946"/>
                  </a:lnTo>
                  <a:lnTo>
                    <a:pt x="9797" y="18826"/>
                  </a:lnTo>
                  <a:lnTo>
                    <a:pt x="10045" y="16631"/>
                  </a:lnTo>
                  <a:lnTo>
                    <a:pt x="14216" y="10758"/>
                  </a:lnTo>
                  <a:lnTo>
                    <a:pt x="16988" y="8041"/>
                  </a:lnTo>
                  <a:lnTo>
                    <a:pt x="17646" y="5434"/>
                  </a:lnTo>
                  <a:lnTo>
                    <a:pt x="19814" y="1647"/>
                  </a:lnTo>
                  <a:lnTo>
                    <a:pt x="22284" y="0"/>
                  </a:lnTo>
                  <a:lnTo>
                    <a:pt x="24480"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5" name="Freeform: Shape 4594">
              <a:extLst>
                <a:ext uri="{FF2B5EF4-FFF2-40B4-BE49-F238E27FC236}">
                  <a16:creationId xmlns:a16="http://schemas.microsoft.com/office/drawing/2014/main" id="{98C1E4F6-8B62-56EA-7805-1D7C4E382E25}"/>
                </a:ext>
              </a:extLst>
            </p:cNvPr>
            <p:cNvSpPr/>
            <p:nvPr/>
          </p:nvSpPr>
          <p:spPr>
            <a:xfrm>
              <a:off x="1815044" y="3694313"/>
              <a:ext cx="1053" cy="813"/>
            </a:xfrm>
            <a:custGeom>
              <a:avLst/>
              <a:gdLst>
                <a:gd name="connsiteX0" fmla="*/ 5791 w 10098"/>
                <a:gd name="connsiteY0" fmla="*/ 5571 h 7793"/>
                <a:gd name="connsiteX1" fmla="*/ 1757 w 10098"/>
                <a:gd name="connsiteY1" fmla="*/ 7794 h 7793"/>
                <a:gd name="connsiteX2" fmla="*/ 0 w 10098"/>
                <a:gd name="connsiteY2" fmla="*/ 3677 h 7793"/>
                <a:gd name="connsiteX3" fmla="*/ 4116 w 10098"/>
                <a:gd name="connsiteY3" fmla="*/ 2333 h 7793"/>
                <a:gd name="connsiteX4" fmla="*/ 7904 w 10098"/>
                <a:gd name="connsiteY4" fmla="*/ 0 h 7793"/>
                <a:gd name="connsiteX5" fmla="*/ 10099 w 10098"/>
                <a:gd name="connsiteY5" fmla="*/ 2168 h 7793"/>
                <a:gd name="connsiteX6" fmla="*/ 5791 w 10098"/>
                <a:gd name="connsiteY6" fmla="*/ 5544 h 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98" h="7793">
                  <a:moveTo>
                    <a:pt x="5791" y="5571"/>
                  </a:moveTo>
                  <a:lnTo>
                    <a:pt x="1757" y="7794"/>
                  </a:lnTo>
                  <a:lnTo>
                    <a:pt x="0" y="3677"/>
                  </a:lnTo>
                  <a:lnTo>
                    <a:pt x="4116" y="2333"/>
                  </a:lnTo>
                  <a:lnTo>
                    <a:pt x="7904" y="0"/>
                  </a:lnTo>
                  <a:lnTo>
                    <a:pt x="10099" y="2168"/>
                  </a:lnTo>
                  <a:lnTo>
                    <a:pt x="5791" y="55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6" name="Freeform: Shape 4595">
              <a:extLst>
                <a:ext uri="{FF2B5EF4-FFF2-40B4-BE49-F238E27FC236}">
                  <a16:creationId xmlns:a16="http://schemas.microsoft.com/office/drawing/2014/main" id="{D5A695F8-01BF-3F49-3693-02890C142BDB}"/>
                </a:ext>
              </a:extLst>
            </p:cNvPr>
            <p:cNvSpPr/>
            <p:nvPr/>
          </p:nvSpPr>
          <p:spPr>
            <a:xfrm>
              <a:off x="1813450" y="3695759"/>
              <a:ext cx="444" cy="386"/>
            </a:xfrm>
            <a:custGeom>
              <a:avLst/>
              <a:gdLst>
                <a:gd name="connsiteX0" fmla="*/ 3650 w 4253"/>
                <a:gd name="connsiteY0" fmla="*/ 2799 h 3704"/>
                <a:gd name="connsiteX1" fmla="*/ 1647 w 4253"/>
                <a:gd name="connsiteY1" fmla="*/ 3705 h 3704"/>
                <a:gd name="connsiteX2" fmla="*/ 0 w 4253"/>
                <a:gd name="connsiteY2" fmla="*/ 988 h 3704"/>
                <a:gd name="connsiteX3" fmla="*/ 2196 w 4253"/>
                <a:gd name="connsiteY3" fmla="*/ 0 h 3704"/>
                <a:gd name="connsiteX4" fmla="*/ 4254 w 4253"/>
                <a:gd name="connsiteY4" fmla="*/ 659 h 3704"/>
                <a:gd name="connsiteX5" fmla="*/ 3623 w 4253"/>
                <a:gd name="connsiteY5" fmla="*/ 2772 h 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3" h="3704">
                  <a:moveTo>
                    <a:pt x="3650" y="2799"/>
                  </a:moveTo>
                  <a:lnTo>
                    <a:pt x="1647" y="3705"/>
                  </a:lnTo>
                  <a:lnTo>
                    <a:pt x="0" y="988"/>
                  </a:lnTo>
                  <a:lnTo>
                    <a:pt x="2196" y="0"/>
                  </a:lnTo>
                  <a:lnTo>
                    <a:pt x="4254" y="659"/>
                  </a:lnTo>
                  <a:lnTo>
                    <a:pt x="3623"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4611" name="Group 4610">
              <a:extLst>
                <a:ext uri="{FF2B5EF4-FFF2-40B4-BE49-F238E27FC236}">
                  <a16:creationId xmlns:a16="http://schemas.microsoft.com/office/drawing/2014/main" id="{1E6CC926-184D-830F-8E27-12AFC1F487FF}"/>
                </a:ext>
              </a:extLst>
            </p:cNvPr>
            <p:cNvGrpSpPr/>
            <p:nvPr/>
          </p:nvGrpSpPr>
          <p:grpSpPr>
            <a:xfrm>
              <a:off x="815781" y="3391476"/>
              <a:ext cx="905038" cy="658994"/>
              <a:chOff x="815781" y="3391476"/>
              <a:chExt cx="905038" cy="658994"/>
            </a:xfrm>
          </p:grpSpPr>
          <p:sp>
            <p:nvSpPr>
              <p:cNvPr id="3123" name="Freeform: Shape 3122">
                <a:extLst>
                  <a:ext uri="{FF2B5EF4-FFF2-40B4-BE49-F238E27FC236}">
                    <a16:creationId xmlns:a16="http://schemas.microsoft.com/office/drawing/2014/main" id="{DA4097FD-540C-A790-FE4E-80880815D0DA}"/>
                  </a:ext>
                </a:extLst>
              </p:cNvPr>
              <p:cNvSpPr/>
              <p:nvPr/>
            </p:nvSpPr>
            <p:spPr>
              <a:xfrm>
                <a:off x="1523653" y="3761635"/>
                <a:ext cx="14678" cy="11472"/>
              </a:xfrm>
              <a:custGeom>
                <a:avLst/>
                <a:gdLst>
                  <a:gd name="connsiteX0" fmla="*/ 140151 w 140727"/>
                  <a:gd name="connsiteY0" fmla="*/ 15341 h 109991"/>
                  <a:gd name="connsiteX1" fmla="*/ 140728 w 140727"/>
                  <a:gd name="connsiteY1" fmla="*/ 34880 h 109991"/>
                  <a:gd name="connsiteX2" fmla="*/ 133318 w 140727"/>
                  <a:gd name="connsiteY2" fmla="*/ 42180 h 109991"/>
                  <a:gd name="connsiteX3" fmla="*/ 130382 w 140727"/>
                  <a:gd name="connsiteY3" fmla="*/ 39271 h 109991"/>
                  <a:gd name="connsiteX4" fmla="*/ 130189 w 140727"/>
                  <a:gd name="connsiteY4" fmla="*/ 35210 h 109991"/>
                  <a:gd name="connsiteX5" fmla="*/ 125085 w 140727"/>
                  <a:gd name="connsiteY5" fmla="*/ 36088 h 109991"/>
                  <a:gd name="connsiteX6" fmla="*/ 123356 w 140727"/>
                  <a:gd name="connsiteY6" fmla="*/ 59140 h 109991"/>
                  <a:gd name="connsiteX7" fmla="*/ 128104 w 140727"/>
                  <a:gd name="connsiteY7" fmla="*/ 59853 h 109991"/>
                  <a:gd name="connsiteX8" fmla="*/ 129723 w 140727"/>
                  <a:gd name="connsiteY8" fmla="*/ 64052 h 109991"/>
                  <a:gd name="connsiteX9" fmla="*/ 125113 w 140727"/>
                  <a:gd name="connsiteY9" fmla="*/ 65699 h 109991"/>
                  <a:gd name="connsiteX10" fmla="*/ 120941 w 140727"/>
                  <a:gd name="connsiteY10" fmla="*/ 65068 h 109991"/>
                  <a:gd name="connsiteX11" fmla="*/ 115425 w 140727"/>
                  <a:gd name="connsiteY11" fmla="*/ 68333 h 109991"/>
                  <a:gd name="connsiteX12" fmla="*/ 116907 w 140727"/>
                  <a:gd name="connsiteY12" fmla="*/ 78240 h 109991"/>
                  <a:gd name="connsiteX13" fmla="*/ 107440 w 140727"/>
                  <a:gd name="connsiteY13" fmla="*/ 94761 h 109991"/>
                  <a:gd name="connsiteX14" fmla="*/ 106835 w 140727"/>
                  <a:gd name="connsiteY14" fmla="*/ 103158 h 109991"/>
                  <a:gd name="connsiteX15" fmla="*/ 106424 w 140727"/>
                  <a:gd name="connsiteY15" fmla="*/ 107933 h 109991"/>
                  <a:gd name="connsiteX16" fmla="*/ 100634 w 140727"/>
                  <a:gd name="connsiteY16" fmla="*/ 109992 h 109991"/>
                  <a:gd name="connsiteX17" fmla="*/ 29117 w 140727"/>
                  <a:gd name="connsiteY17" fmla="*/ 99701 h 109991"/>
                  <a:gd name="connsiteX18" fmla="*/ 1757 w 140727"/>
                  <a:gd name="connsiteY18" fmla="*/ 64793 h 109991"/>
                  <a:gd name="connsiteX19" fmla="*/ 0 w 140727"/>
                  <a:gd name="connsiteY19" fmla="*/ 58701 h 109991"/>
                  <a:gd name="connsiteX20" fmla="*/ 4309 w 140727"/>
                  <a:gd name="connsiteY20" fmla="*/ 59277 h 109991"/>
                  <a:gd name="connsiteX21" fmla="*/ 6751 w 140727"/>
                  <a:gd name="connsiteY21" fmla="*/ 65122 h 109991"/>
                  <a:gd name="connsiteX22" fmla="*/ 11060 w 140727"/>
                  <a:gd name="connsiteY22" fmla="*/ 67208 h 109991"/>
                  <a:gd name="connsiteX23" fmla="*/ 20143 w 140727"/>
                  <a:gd name="connsiteY23" fmla="*/ 66440 h 109991"/>
                  <a:gd name="connsiteX24" fmla="*/ 30627 w 140727"/>
                  <a:gd name="connsiteY24" fmla="*/ 61280 h 109991"/>
                  <a:gd name="connsiteX25" fmla="*/ 63942 w 140727"/>
                  <a:gd name="connsiteY25" fmla="*/ 64354 h 109991"/>
                  <a:gd name="connsiteX26" fmla="*/ 69761 w 140727"/>
                  <a:gd name="connsiteY26" fmla="*/ 63229 h 109991"/>
                  <a:gd name="connsiteX27" fmla="*/ 77856 w 140727"/>
                  <a:gd name="connsiteY27" fmla="*/ 55051 h 109991"/>
                  <a:gd name="connsiteX28" fmla="*/ 82164 w 140727"/>
                  <a:gd name="connsiteY28" fmla="*/ 57054 h 109991"/>
                  <a:gd name="connsiteX29" fmla="*/ 81451 w 140727"/>
                  <a:gd name="connsiteY29" fmla="*/ 51319 h 109991"/>
                  <a:gd name="connsiteX30" fmla="*/ 87324 w 140727"/>
                  <a:gd name="connsiteY30" fmla="*/ 49288 h 109991"/>
                  <a:gd name="connsiteX31" fmla="*/ 91660 w 140727"/>
                  <a:gd name="connsiteY31" fmla="*/ 41137 h 109991"/>
                  <a:gd name="connsiteX32" fmla="*/ 104695 w 140727"/>
                  <a:gd name="connsiteY32" fmla="*/ 29940 h 109991"/>
                  <a:gd name="connsiteX33" fmla="*/ 106149 w 140727"/>
                  <a:gd name="connsiteY33" fmla="*/ 26291 h 109991"/>
                  <a:gd name="connsiteX34" fmla="*/ 116304 w 140727"/>
                  <a:gd name="connsiteY34" fmla="*/ 16164 h 109991"/>
                  <a:gd name="connsiteX35" fmla="*/ 127034 w 140727"/>
                  <a:gd name="connsiteY35" fmla="*/ 8782 h 109991"/>
                  <a:gd name="connsiteX36" fmla="*/ 132138 w 140727"/>
                  <a:gd name="connsiteY36" fmla="*/ 0 h 109991"/>
                  <a:gd name="connsiteX37" fmla="*/ 134855 w 140727"/>
                  <a:gd name="connsiteY37" fmla="*/ 1674 h 109991"/>
                  <a:gd name="connsiteX38" fmla="*/ 134855 w 140727"/>
                  <a:gd name="connsiteY38" fmla="*/ 12871 h 109991"/>
                  <a:gd name="connsiteX39" fmla="*/ 137462 w 140727"/>
                  <a:gd name="connsiteY39" fmla="*/ 13914 h 109991"/>
                  <a:gd name="connsiteX40" fmla="*/ 140097 w 140727"/>
                  <a:gd name="connsiteY40" fmla="*/ 15341 h 109991"/>
                  <a:gd name="connsiteX41" fmla="*/ 135980 w 140727"/>
                  <a:gd name="connsiteY41" fmla="*/ 25879 h 109991"/>
                  <a:gd name="connsiteX42" fmla="*/ 137983 w 140727"/>
                  <a:gd name="connsiteY42" fmla="*/ 26812 h 109991"/>
                  <a:gd name="connsiteX43" fmla="*/ 139959 w 140727"/>
                  <a:gd name="connsiteY43" fmla="*/ 24589 h 109991"/>
                  <a:gd name="connsiteX44" fmla="*/ 137764 w 140727"/>
                  <a:gd name="connsiteY44" fmla="*/ 23025 h 109991"/>
                  <a:gd name="connsiteX45" fmla="*/ 135953 w 140727"/>
                  <a:gd name="connsiteY45" fmla="*/ 25879 h 10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0727" h="109991">
                    <a:moveTo>
                      <a:pt x="140151" y="15341"/>
                    </a:moveTo>
                    <a:lnTo>
                      <a:pt x="140728" y="34880"/>
                    </a:lnTo>
                    <a:lnTo>
                      <a:pt x="133318" y="42180"/>
                    </a:lnTo>
                    <a:lnTo>
                      <a:pt x="130382" y="39271"/>
                    </a:lnTo>
                    <a:lnTo>
                      <a:pt x="130189" y="35210"/>
                    </a:lnTo>
                    <a:lnTo>
                      <a:pt x="125085" y="36088"/>
                    </a:lnTo>
                    <a:lnTo>
                      <a:pt x="123356" y="59140"/>
                    </a:lnTo>
                    <a:lnTo>
                      <a:pt x="128104" y="59853"/>
                    </a:lnTo>
                    <a:lnTo>
                      <a:pt x="129723" y="64052"/>
                    </a:lnTo>
                    <a:lnTo>
                      <a:pt x="125113" y="65699"/>
                    </a:lnTo>
                    <a:lnTo>
                      <a:pt x="120941" y="65068"/>
                    </a:lnTo>
                    <a:lnTo>
                      <a:pt x="115425" y="68333"/>
                    </a:lnTo>
                    <a:lnTo>
                      <a:pt x="116907" y="78240"/>
                    </a:lnTo>
                    <a:lnTo>
                      <a:pt x="107440" y="94761"/>
                    </a:lnTo>
                    <a:lnTo>
                      <a:pt x="106835" y="103158"/>
                    </a:lnTo>
                    <a:lnTo>
                      <a:pt x="106424" y="107933"/>
                    </a:lnTo>
                    <a:lnTo>
                      <a:pt x="100634" y="109992"/>
                    </a:lnTo>
                    <a:lnTo>
                      <a:pt x="29117" y="99701"/>
                    </a:lnTo>
                    <a:lnTo>
                      <a:pt x="1757" y="64793"/>
                    </a:lnTo>
                    <a:lnTo>
                      <a:pt x="0" y="58701"/>
                    </a:lnTo>
                    <a:lnTo>
                      <a:pt x="4309" y="59277"/>
                    </a:lnTo>
                    <a:lnTo>
                      <a:pt x="6751" y="65122"/>
                    </a:lnTo>
                    <a:lnTo>
                      <a:pt x="11060" y="67208"/>
                    </a:lnTo>
                    <a:lnTo>
                      <a:pt x="20143" y="66440"/>
                    </a:lnTo>
                    <a:lnTo>
                      <a:pt x="30627" y="61280"/>
                    </a:lnTo>
                    <a:lnTo>
                      <a:pt x="63942" y="64354"/>
                    </a:lnTo>
                    <a:lnTo>
                      <a:pt x="69761" y="63229"/>
                    </a:lnTo>
                    <a:lnTo>
                      <a:pt x="77856" y="55051"/>
                    </a:lnTo>
                    <a:lnTo>
                      <a:pt x="82164" y="57054"/>
                    </a:lnTo>
                    <a:lnTo>
                      <a:pt x="81451" y="51319"/>
                    </a:lnTo>
                    <a:lnTo>
                      <a:pt x="87324" y="49288"/>
                    </a:lnTo>
                    <a:lnTo>
                      <a:pt x="91660" y="41137"/>
                    </a:lnTo>
                    <a:lnTo>
                      <a:pt x="104695" y="29940"/>
                    </a:lnTo>
                    <a:lnTo>
                      <a:pt x="106149" y="26291"/>
                    </a:lnTo>
                    <a:lnTo>
                      <a:pt x="116304" y="16164"/>
                    </a:lnTo>
                    <a:lnTo>
                      <a:pt x="127034" y="8782"/>
                    </a:lnTo>
                    <a:lnTo>
                      <a:pt x="132138" y="0"/>
                    </a:lnTo>
                    <a:lnTo>
                      <a:pt x="134855" y="1674"/>
                    </a:lnTo>
                    <a:lnTo>
                      <a:pt x="134855" y="12871"/>
                    </a:lnTo>
                    <a:lnTo>
                      <a:pt x="137462" y="13914"/>
                    </a:lnTo>
                    <a:lnTo>
                      <a:pt x="140097" y="15341"/>
                    </a:lnTo>
                    <a:moveTo>
                      <a:pt x="135980" y="25879"/>
                    </a:moveTo>
                    <a:lnTo>
                      <a:pt x="137983" y="26812"/>
                    </a:lnTo>
                    <a:lnTo>
                      <a:pt x="139959" y="24589"/>
                    </a:lnTo>
                    <a:lnTo>
                      <a:pt x="137764" y="23025"/>
                    </a:lnTo>
                    <a:lnTo>
                      <a:pt x="135953" y="258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4" name="Freeform: Shape 3123">
                <a:extLst>
                  <a:ext uri="{FF2B5EF4-FFF2-40B4-BE49-F238E27FC236}">
                    <a16:creationId xmlns:a16="http://schemas.microsoft.com/office/drawing/2014/main" id="{2B5C04AE-A0E6-E5D5-C686-D43D604DA331}"/>
                  </a:ext>
                </a:extLst>
              </p:cNvPr>
              <p:cNvSpPr/>
              <p:nvPr/>
            </p:nvSpPr>
            <p:spPr>
              <a:xfrm>
                <a:off x="1530016" y="3767806"/>
                <a:ext cx="844" cy="292"/>
              </a:xfrm>
              <a:custGeom>
                <a:avLst/>
                <a:gdLst>
                  <a:gd name="connsiteX0" fmla="*/ 8014 w 8095"/>
                  <a:gd name="connsiteY0" fmla="*/ 2717 h 2799"/>
                  <a:gd name="connsiteX1" fmla="*/ 1345 w 8095"/>
                  <a:gd name="connsiteY1" fmla="*/ 2799 h 2799"/>
                  <a:gd name="connsiteX2" fmla="*/ 0 w 8095"/>
                  <a:gd name="connsiteY2" fmla="*/ 1592 h 2799"/>
                  <a:gd name="connsiteX3" fmla="*/ 1702 w 8095"/>
                  <a:gd name="connsiteY3" fmla="*/ 0 h 2799"/>
                  <a:gd name="connsiteX4" fmla="*/ 6230 w 8095"/>
                  <a:gd name="connsiteY4" fmla="*/ 0 h 2799"/>
                  <a:gd name="connsiteX5" fmla="*/ 8096 w 8095"/>
                  <a:gd name="connsiteY5" fmla="*/ 1153 h 2799"/>
                  <a:gd name="connsiteX6" fmla="*/ 7986 w 8095"/>
                  <a:gd name="connsiteY6" fmla="*/ 2717 h 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95" h="2799">
                    <a:moveTo>
                      <a:pt x="8014" y="2717"/>
                    </a:moveTo>
                    <a:lnTo>
                      <a:pt x="1345" y="2799"/>
                    </a:lnTo>
                    <a:lnTo>
                      <a:pt x="0" y="1592"/>
                    </a:lnTo>
                    <a:lnTo>
                      <a:pt x="1702" y="0"/>
                    </a:lnTo>
                    <a:lnTo>
                      <a:pt x="6230" y="0"/>
                    </a:lnTo>
                    <a:lnTo>
                      <a:pt x="8096" y="1153"/>
                    </a:lnTo>
                    <a:lnTo>
                      <a:pt x="7986"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5" name="Freeform: Shape 3124">
                <a:extLst>
                  <a:ext uri="{FF2B5EF4-FFF2-40B4-BE49-F238E27FC236}">
                    <a16:creationId xmlns:a16="http://schemas.microsoft.com/office/drawing/2014/main" id="{28AB82DB-7896-5850-E04C-3495F8890F19}"/>
                  </a:ext>
                </a:extLst>
              </p:cNvPr>
              <p:cNvSpPr/>
              <p:nvPr/>
            </p:nvSpPr>
            <p:spPr>
              <a:xfrm>
                <a:off x="1525651" y="3766627"/>
                <a:ext cx="358" cy="429"/>
              </a:xfrm>
              <a:custGeom>
                <a:avLst/>
                <a:gdLst>
                  <a:gd name="connsiteX0" fmla="*/ 3430 w 3430"/>
                  <a:gd name="connsiteY0" fmla="*/ 1262 h 4116"/>
                  <a:gd name="connsiteX1" fmla="*/ 3156 w 3430"/>
                  <a:gd name="connsiteY1" fmla="*/ 4116 h 4116"/>
                  <a:gd name="connsiteX2" fmla="*/ 0 w 3430"/>
                  <a:gd name="connsiteY2" fmla="*/ 2497 h 4116"/>
                  <a:gd name="connsiteX3" fmla="*/ 2113 w 3430"/>
                  <a:gd name="connsiteY3" fmla="*/ 0 h 4116"/>
                  <a:gd name="connsiteX4" fmla="*/ 3430 w 3430"/>
                  <a:gd name="connsiteY4" fmla="*/ 1262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4116">
                    <a:moveTo>
                      <a:pt x="3430" y="1262"/>
                    </a:moveTo>
                    <a:lnTo>
                      <a:pt x="3156" y="4116"/>
                    </a:lnTo>
                    <a:lnTo>
                      <a:pt x="0" y="2497"/>
                    </a:lnTo>
                    <a:lnTo>
                      <a:pt x="2113" y="0"/>
                    </a:lnTo>
                    <a:lnTo>
                      <a:pt x="3430" y="12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6" name="Freeform: Shape 3125">
                <a:extLst>
                  <a:ext uri="{FF2B5EF4-FFF2-40B4-BE49-F238E27FC236}">
                    <a16:creationId xmlns:a16="http://schemas.microsoft.com/office/drawing/2014/main" id="{A07FA144-4EE0-2734-7DD0-C28021BD5889}"/>
                  </a:ext>
                </a:extLst>
              </p:cNvPr>
              <p:cNvSpPr/>
              <p:nvPr/>
            </p:nvSpPr>
            <p:spPr>
              <a:xfrm>
                <a:off x="1531536" y="3764234"/>
                <a:ext cx="349" cy="375"/>
              </a:xfrm>
              <a:custGeom>
                <a:avLst/>
                <a:gdLst>
                  <a:gd name="connsiteX0" fmla="*/ 3238 w 3347"/>
                  <a:gd name="connsiteY0" fmla="*/ 1317 h 3594"/>
                  <a:gd name="connsiteX1" fmla="*/ 3348 w 3347"/>
                  <a:gd name="connsiteY1" fmla="*/ 3595 h 3594"/>
                  <a:gd name="connsiteX2" fmla="*/ 714 w 3347"/>
                  <a:gd name="connsiteY2" fmla="*/ 3046 h 3594"/>
                  <a:gd name="connsiteX3" fmla="*/ 0 w 3347"/>
                  <a:gd name="connsiteY3" fmla="*/ 1838 h 3594"/>
                  <a:gd name="connsiteX4" fmla="*/ 1482 w 3347"/>
                  <a:gd name="connsiteY4" fmla="*/ 0 h 3594"/>
                  <a:gd name="connsiteX5" fmla="*/ 3266 w 3347"/>
                  <a:gd name="connsiteY5" fmla="*/ 1290 h 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7" h="3594">
                    <a:moveTo>
                      <a:pt x="3238" y="1317"/>
                    </a:moveTo>
                    <a:lnTo>
                      <a:pt x="3348" y="3595"/>
                    </a:lnTo>
                    <a:lnTo>
                      <a:pt x="714" y="3046"/>
                    </a:lnTo>
                    <a:lnTo>
                      <a:pt x="0" y="1838"/>
                    </a:lnTo>
                    <a:lnTo>
                      <a:pt x="1482" y="0"/>
                    </a:lnTo>
                    <a:lnTo>
                      <a:pt x="3266" y="12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7" name="Freeform: Shape 3126">
                <a:extLst>
                  <a:ext uri="{FF2B5EF4-FFF2-40B4-BE49-F238E27FC236}">
                    <a16:creationId xmlns:a16="http://schemas.microsoft.com/office/drawing/2014/main" id="{745B593C-4018-819F-321B-B33C03FD8DC7}"/>
                  </a:ext>
                </a:extLst>
              </p:cNvPr>
              <p:cNvSpPr/>
              <p:nvPr/>
            </p:nvSpPr>
            <p:spPr>
              <a:xfrm>
                <a:off x="1526598" y="3767340"/>
                <a:ext cx="309" cy="372"/>
              </a:xfrm>
              <a:custGeom>
                <a:avLst/>
                <a:gdLst>
                  <a:gd name="connsiteX0" fmla="*/ 2964 w 2964"/>
                  <a:gd name="connsiteY0" fmla="*/ 2360 h 3567"/>
                  <a:gd name="connsiteX1" fmla="*/ 1043 w 2964"/>
                  <a:gd name="connsiteY1" fmla="*/ 3568 h 3567"/>
                  <a:gd name="connsiteX2" fmla="*/ 0 w 2964"/>
                  <a:gd name="connsiteY2" fmla="*/ 1894 h 3567"/>
                  <a:gd name="connsiteX3" fmla="*/ 631 w 2964"/>
                  <a:gd name="connsiteY3" fmla="*/ 0 h 3567"/>
                  <a:gd name="connsiteX4" fmla="*/ 2634 w 2964"/>
                  <a:gd name="connsiteY4" fmla="*/ 0 h 3567"/>
                  <a:gd name="connsiteX5" fmla="*/ 2964 w 2964"/>
                  <a:gd name="connsiteY5" fmla="*/ 2360 h 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4" h="3567">
                    <a:moveTo>
                      <a:pt x="2964" y="2360"/>
                    </a:moveTo>
                    <a:lnTo>
                      <a:pt x="1043" y="3568"/>
                    </a:lnTo>
                    <a:lnTo>
                      <a:pt x="0" y="1894"/>
                    </a:lnTo>
                    <a:lnTo>
                      <a:pt x="631" y="0"/>
                    </a:lnTo>
                    <a:lnTo>
                      <a:pt x="2634" y="0"/>
                    </a:lnTo>
                    <a:cubicBezTo>
                      <a:pt x="2634" y="0"/>
                      <a:pt x="2964" y="2360"/>
                      <a:pt x="2964" y="2360"/>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8" name="Freeform: Shape 3127">
                <a:extLst>
                  <a:ext uri="{FF2B5EF4-FFF2-40B4-BE49-F238E27FC236}">
                    <a16:creationId xmlns:a16="http://schemas.microsoft.com/office/drawing/2014/main" id="{524D10D8-BD78-2DD2-5D9B-F582D62F5AA0}"/>
                  </a:ext>
                </a:extLst>
              </p:cNvPr>
              <p:cNvSpPr/>
              <p:nvPr/>
            </p:nvSpPr>
            <p:spPr>
              <a:xfrm>
                <a:off x="1550957" y="3716465"/>
                <a:ext cx="44171" cy="33575"/>
              </a:xfrm>
              <a:custGeom>
                <a:avLst/>
                <a:gdLst>
                  <a:gd name="connsiteX0" fmla="*/ 423500 w 423499"/>
                  <a:gd name="connsiteY0" fmla="*/ 45665 h 321906"/>
                  <a:gd name="connsiteX1" fmla="*/ 412413 w 423499"/>
                  <a:gd name="connsiteY1" fmla="*/ 45775 h 321906"/>
                  <a:gd name="connsiteX2" fmla="*/ 411233 w 423499"/>
                  <a:gd name="connsiteY2" fmla="*/ 49727 h 321906"/>
                  <a:gd name="connsiteX3" fmla="*/ 413922 w 423499"/>
                  <a:gd name="connsiteY3" fmla="*/ 53157 h 321906"/>
                  <a:gd name="connsiteX4" fmla="*/ 399817 w 423499"/>
                  <a:gd name="connsiteY4" fmla="*/ 60100 h 321906"/>
                  <a:gd name="connsiteX5" fmla="*/ 392599 w 423499"/>
                  <a:gd name="connsiteY5" fmla="*/ 57301 h 321906"/>
                  <a:gd name="connsiteX6" fmla="*/ 386726 w 423499"/>
                  <a:gd name="connsiteY6" fmla="*/ 57850 h 321906"/>
                  <a:gd name="connsiteX7" fmla="*/ 357198 w 423499"/>
                  <a:gd name="connsiteY7" fmla="*/ 60210 h 321906"/>
                  <a:gd name="connsiteX8" fmla="*/ 346961 w 423499"/>
                  <a:gd name="connsiteY8" fmla="*/ 63366 h 321906"/>
                  <a:gd name="connsiteX9" fmla="*/ 332279 w 423499"/>
                  <a:gd name="connsiteY9" fmla="*/ 74810 h 321906"/>
                  <a:gd name="connsiteX10" fmla="*/ 328080 w 423499"/>
                  <a:gd name="connsiteY10" fmla="*/ 74947 h 321906"/>
                  <a:gd name="connsiteX11" fmla="*/ 316857 w 423499"/>
                  <a:gd name="connsiteY11" fmla="*/ 87406 h 321906"/>
                  <a:gd name="connsiteX12" fmla="*/ 316253 w 423499"/>
                  <a:gd name="connsiteY12" fmla="*/ 89327 h 321906"/>
                  <a:gd name="connsiteX13" fmla="*/ 324184 w 423499"/>
                  <a:gd name="connsiteY13" fmla="*/ 100249 h 321906"/>
                  <a:gd name="connsiteX14" fmla="*/ 327340 w 423499"/>
                  <a:gd name="connsiteY14" fmla="*/ 110705 h 321906"/>
                  <a:gd name="connsiteX15" fmla="*/ 326214 w 423499"/>
                  <a:gd name="connsiteY15" fmla="*/ 115974 h 321906"/>
                  <a:gd name="connsiteX16" fmla="*/ 327944 w 423499"/>
                  <a:gd name="connsiteY16" fmla="*/ 120392 h 321906"/>
                  <a:gd name="connsiteX17" fmla="*/ 310407 w 423499"/>
                  <a:gd name="connsiteY17" fmla="*/ 142758 h 321906"/>
                  <a:gd name="connsiteX18" fmla="*/ 310297 w 423499"/>
                  <a:gd name="connsiteY18" fmla="*/ 145832 h 321906"/>
                  <a:gd name="connsiteX19" fmla="*/ 313344 w 423499"/>
                  <a:gd name="connsiteY19" fmla="*/ 150964 h 321906"/>
                  <a:gd name="connsiteX20" fmla="*/ 310956 w 423499"/>
                  <a:gd name="connsiteY20" fmla="*/ 159526 h 321906"/>
                  <a:gd name="connsiteX21" fmla="*/ 305221 w 423499"/>
                  <a:gd name="connsiteY21" fmla="*/ 163313 h 321906"/>
                  <a:gd name="connsiteX22" fmla="*/ 297893 w 423499"/>
                  <a:gd name="connsiteY22" fmla="*/ 164411 h 321906"/>
                  <a:gd name="connsiteX23" fmla="*/ 276982 w 423499"/>
                  <a:gd name="connsiteY23" fmla="*/ 162682 h 321906"/>
                  <a:gd name="connsiteX24" fmla="*/ 277503 w 423499"/>
                  <a:gd name="connsiteY24" fmla="*/ 168088 h 321906"/>
                  <a:gd name="connsiteX25" fmla="*/ 283897 w 423499"/>
                  <a:gd name="connsiteY25" fmla="*/ 174071 h 321906"/>
                  <a:gd name="connsiteX26" fmla="*/ 288096 w 423499"/>
                  <a:gd name="connsiteY26" fmla="*/ 185597 h 321906"/>
                  <a:gd name="connsiteX27" fmla="*/ 279122 w 423499"/>
                  <a:gd name="connsiteY27" fmla="*/ 193144 h 321906"/>
                  <a:gd name="connsiteX28" fmla="*/ 266498 w 423499"/>
                  <a:gd name="connsiteY28" fmla="*/ 196300 h 321906"/>
                  <a:gd name="connsiteX29" fmla="*/ 262492 w 423499"/>
                  <a:gd name="connsiteY29" fmla="*/ 205658 h 321906"/>
                  <a:gd name="connsiteX30" fmla="*/ 262876 w 423499"/>
                  <a:gd name="connsiteY30" fmla="*/ 210405 h 321906"/>
                  <a:gd name="connsiteX31" fmla="*/ 257991 w 423499"/>
                  <a:gd name="connsiteY31" fmla="*/ 217129 h 321906"/>
                  <a:gd name="connsiteX32" fmla="*/ 259254 w 423499"/>
                  <a:gd name="connsiteY32" fmla="*/ 233567 h 321906"/>
                  <a:gd name="connsiteX33" fmla="*/ 257991 w 423499"/>
                  <a:gd name="connsiteY33" fmla="*/ 236641 h 321906"/>
                  <a:gd name="connsiteX34" fmla="*/ 251981 w 423499"/>
                  <a:gd name="connsiteY34" fmla="*/ 244133 h 321906"/>
                  <a:gd name="connsiteX35" fmla="*/ 247069 w 423499"/>
                  <a:gd name="connsiteY35" fmla="*/ 245944 h 321906"/>
                  <a:gd name="connsiteX36" fmla="*/ 240537 w 423499"/>
                  <a:gd name="connsiteY36" fmla="*/ 241333 h 321906"/>
                  <a:gd name="connsiteX37" fmla="*/ 236970 w 423499"/>
                  <a:gd name="connsiteY37" fmla="*/ 243474 h 321906"/>
                  <a:gd name="connsiteX38" fmla="*/ 226075 w 423499"/>
                  <a:gd name="connsiteY38" fmla="*/ 239742 h 321906"/>
                  <a:gd name="connsiteX39" fmla="*/ 220586 w 423499"/>
                  <a:gd name="connsiteY39" fmla="*/ 244654 h 321906"/>
                  <a:gd name="connsiteX40" fmla="*/ 209664 w 423499"/>
                  <a:gd name="connsiteY40" fmla="*/ 249786 h 321906"/>
                  <a:gd name="connsiteX41" fmla="*/ 210021 w 423499"/>
                  <a:gd name="connsiteY41" fmla="*/ 252448 h 321906"/>
                  <a:gd name="connsiteX42" fmla="*/ 213588 w 423499"/>
                  <a:gd name="connsiteY42" fmla="*/ 254424 h 321906"/>
                  <a:gd name="connsiteX43" fmla="*/ 212326 w 423499"/>
                  <a:gd name="connsiteY43" fmla="*/ 256592 h 321906"/>
                  <a:gd name="connsiteX44" fmla="*/ 200443 w 423499"/>
                  <a:gd name="connsiteY44" fmla="*/ 260050 h 321906"/>
                  <a:gd name="connsiteX45" fmla="*/ 189548 w 423499"/>
                  <a:gd name="connsiteY45" fmla="*/ 257470 h 321906"/>
                  <a:gd name="connsiteX46" fmla="*/ 184554 w 423499"/>
                  <a:gd name="connsiteY46" fmla="*/ 260269 h 321906"/>
                  <a:gd name="connsiteX47" fmla="*/ 179642 w 423499"/>
                  <a:gd name="connsiteY47" fmla="*/ 267020 h 321906"/>
                  <a:gd name="connsiteX48" fmla="*/ 173275 w 423499"/>
                  <a:gd name="connsiteY48" fmla="*/ 271082 h 321906"/>
                  <a:gd name="connsiteX49" fmla="*/ 170942 w 423499"/>
                  <a:gd name="connsiteY49" fmla="*/ 280879 h 321906"/>
                  <a:gd name="connsiteX50" fmla="*/ 171574 w 423499"/>
                  <a:gd name="connsiteY50" fmla="*/ 291005 h 321906"/>
                  <a:gd name="connsiteX51" fmla="*/ 169872 w 423499"/>
                  <a:gd name="connsiteY51" fmla="*/ 298278 h 321906"/>
                  <a:gd name="connsiteX52" fmla="*/ 171738 w 423499"/>
                  <a:gd name="connsiteY52" fmla="*/ 302806 h 321906"/>
                  <a:gd name="connsiteX53" fmla="*/ 168143 w 423499"/>
                  <a:gd name="connsiteY53" fmla="*/ 306648 h 321906"/>
                  <a:gd name="connsiteX54" fmla="*/ 135925 w 423499"/>
                  <a:gd name="connsiteY54" fmla="*/ 316857 h 321906"/>
                  <a:gd name="connsiteX55" fmla="*/ 117374 w 423499"/>
                  <a:gd name="connsiteY55" fmla="*/ 316335 h 321906"/>
                  <a:gd name="connsiteX56" fmla="*/ 106342 w 423499"/>
                  <a:gd name="connsiteY56" fmla="*/ 321495 h 321906"/>
                  <a:gd name="connsiteX57" fmla="*/ 89683 w 423499"/>
                  <a:gd name="connsiteY57" fmla="*/ 319107 h 321906"/>
                  <a:gd name="connsiteX58" fmla="*/ 59139 w 423499"/>
                  <a:gd name="connsiteY58" fmla="*/ 321906 h 321906"/>
                  <a:gd name="connsiteX59" fmla="*/ 11196 w 423499"/>
                  <a:gd name="connsiteY59" fmla="*/ 306319 h 321906"/>
                  <a:gd name="connsiteX60" fmla="*/ 37569 w 423499"/>
                  <a:gd name="connsiteY60" fmla="*/ 274018 h 321906"/>
                  <a:gd name="connsiteX61" fmla="*/ 38118 w 423499"/>
                  <a:gd name="connsiteY61" fmla="*/ 269765 h 321906"/>
                  <a:gd name="connsiteX62" fmla="*/ 39243 w 423499"/>
                  <a:gd name="connsiteY62" fmla="*/ 264715 h 321906"/>
                  <a:gd name="connsiteX63" fmla="*/ 36032 w 423499"/>
                  <a:gd name="connsiteY63" fmla="*/ 255028 h 321906"/>
                  <a:gd name="connsiteX64" fmla="*/ 10867 w 423499"/>
                  <a:gd name="connsiteY64" fmla="*/ 249484 h 321906"/>
                  <a:gd name="connsiteX65" fmla="*/ 9550 w 423499"/>
                  <a:gd name="connsiteY65" fmla="*/ 234857 h 321906"/>
                  <a:gd name="connsiteX66" fmla="*/ 11169 w 423499"/>
                  <a:gd name="connsiteY66" fmla="*/ 224484 h 321906"/>
                  <a:gd name="connsiteX67" fmla="*/ 3101 w 423499"/>
                  <a:gd name="connsiteY67" fmla="*/ 193500 h 321906"/>
                  <a:gd name="connsiteX68" fmla="*/ 11361 w 423499"/>
                  <a:gd name="connsiteY68" fmla="*/ 179477 h 321906"/>
                  <a:gd name="connsiteX69" fmla="*/ 4253 w 423499"/>
                  <a:gd name="connsiteY69" fmla="*/ 177528 h 321906"/>
                  <a:gd name="connsiteX70" fmla="*/ 0 w 423499"/>
                  <a:gd name="connsiteY70" fmla="*/ 160651 h 321906"/>
                  <a:gd name="connsiteX71" fmla="*/ 5077 w 423499"/>
                  <a:gd name="connsiteY71" fmla="*/ 152665 h 321906"/>
                  <a:gd name="connsiteX72" fmla="*/ 11086 w 423499"/>
                  <a:gd name="connsiteY72" fmla="*/ 151074 h 321906"/>
                  <a:gd name="connsiteX73" fmla="*/ 8096 w 423499"/>
                  <a:gd name="connsiteY73" fmla="*/ 144213 h 321906"/>
                  <a:gd name="connsiteX74" fmla="*/ 14654 w 423499"/>
                  <a:gd name="connsiteY74" fmla="*/ 139218 h 321906"/>
                  <a:gd name="connsiteX75" fmla="*/ 18551 w 423499"/>
                  <a:gd name="connsiteY75" fmla="*/ 124756 h 321906"/>
                  <a:gd name="connsiteX76" fmla="*/ 18139 w 423499"/>
                  <a:gd name="connsiteY76" fmla="*/ 118197 h 321906"/>
                  <a:gd name="connsiteX77" fmla="*/ 20308 w 423499"/>
                  <a:gd name="connsiteY77" fmla="*/ 115672 h 321906"/>
                  <a:gd name="connsiteX78" fmla="*/ 23024 w 423499"/>
                  <a:gd name="connsiteY78" fmla="*/ 105216 h 321906"/>
                  <a:gd name="connsiteX79" fmla="*/ 25494 w 423499"/>
                  <a:gd name="connsiteY79" fmla="*/ 105134 h 321906"/>
                  <a:gd name="connsiteX80" fmla="*/ 33014 w 423499"/>
                  <a:gd name="connsiteY80" fmla="*/ 111336 h 321906"/>
                  <a:gd name="connsiteX81" fmla="*/ 45747 w 423499"/>
                  <a:gd name="connsiteY81" fmla="*/ 111446 h 321906"/>
                  <a:gd name="connsiteX82" fmla="*/ 52197 w 423499"/>
                  <a:gd name="connsiteY82" fmla="*/ 116907 h 321906"/>
                  <a:gd name="connsiteX83" fmla="*/ 53705 w 423499"/>
                  <a:gd name="connsiteY83" fmla="*/ 121545 h 321906"/>
                  <a:gd name="connsiteX84" fmla="*/ 58316 w 423499"/>
                  <a:gd name="connsiteY84" fmla="*/ 117621 h 321906"/>
                  <a:gd name="connsiteX85" fmla="*/ 64024 w 423499"/>
                  <a:gd name="connsiteY85" fmla="*/ 118855 h 321906"/>
                  <a:gd name="connsiteX86" fmla="*/ 76676 w 423499"/>
                  <a:gd name="connsiteY86" fmla="*/ 111089 h 321906"/>
                  <a:gd name="connsiteX87" fmla="*/ 77636 w 423499"/>
                  <a:gd name="connsiteY87" fmla="*/ 104448 h 321906"/>
                  <a:gd name="connsiteX88" fmla="*/ 80380 w 423499"/>
                  <a:gd name="connsiteY88" fmla="*/ 102170 h 321906"/>
                  <a:gd name="connsiteX89" fmla="*/ 77773 w 423499"/>
                  <a:gd name="connsiteY89" fmla="*/ 96270 h 321906"/>
                  <a:gd name="connsiteX90" fmla="*/ 104393 w 423499"/>
                  <a:gd name="connsiteY90" fmla="*/ 89382 h 321906"/>
                  <a:gd name="connsiteX91" fmla="*/ 106533 w 423499"/>
                  <a:gd name="connsiteY91" fmla="*/ 86144 h 321906"/>
                  <a:gd name="connsiteX92" fmla="*/ 118883 w 423499"/>
                  <a:gd name="connsiteY92" fmla="*/ 79447 h 321906"/>
                  <a:gd name="connsiteX93" fmla="*/ 121435 w 423499"/>
                  <a:gd name="connsiteY93" fmla="*/ 75413 h 321906"/>
                  <a:gd name="connsiteX94" fmla="*/ 121572 w 423499"/>
                  <a:gd name="connsiteY94" fmla="*/ 71269 h 321906"/>
                  <a:gd name="connsiteX95" fmla="*/ 121984 w 423499"/>
                  <a:gd name="connsiteY95" fmla="*/ 66494 h 321906"/>
                  <a:gd name="connsiteX96" fmla="*/ 126320 w 423499"/>
                  <a:gd name="connsiteY96" fmla="*/ 57136 h 321906"/>
                  <a:gd name="connsiteX97" fmla="*/ 125908 w 423499"/>
                  <a:gd name="connsiteY97" fmla="*/ 50550 h 321906"/>
                  <a:gd name="connsiteX98" fmla="*/ 131123 w 423499"/>
                  <a:gd name="connsiteY98" fmla="*/ 46927 h 321906"/>
                  <a:gd name="connsiteX99" fmla="*/ 148055 w 423499"/>
                  <a:gd name="connsiteY99" fmla="*/ 45171 h 321906"/>
                  <a:gd name="connsiteX100" fmla="*/ 153653 w 423499"/>
                  <a:gd name="connsiteY100" fmla="*/ 35100 h 321906"/>
                  <a:gd name="connsiteX101" fmla="*/ 171244 w 423499"/>
                  <a:gd name="connsiteY101" fmla="*/ 41960 h 321906"/>
                  <a:gd name="connsiteX102" fmla="*/ 178297 w 423499"/>
                  <a:gd name="connsiteY102" fmla="*/ 41192 h 321906"/>
                  <a:gd name="connsiteX103" fmla="*/ 190838 w 423499"/>
                  <a:gd name="connsiteY103" fmla="*/ 39930 h 321906"/>
                  <a:gd name="connsiteX104" fmla="*/ 199291 w 423499"/>
                  <a:gd name="connsiteY104" fmla="*/ 46900 h 321906"/>
                  <a:gd name="connsiteX105" fmla="*/ 206124 w 423499"/>
                  <a:gd name="connsiteY105" fmla="*/ 44567 h 321906"/>
                  <a:gd name="connsiteX106" fmla="*/ 214302 w 423499"/>
                  <a:gd name="connsiteY106" fmla="*/ 47641 h 321906"/>
                  <a:gd name="connsiteX107" fmla="*/ 216086 w 423499"/>
                  <a:gd name="connsiteY107" fmla="*/ 51483 h 321906"/>
                  <a:gd name="connsiteX108" fmla="*/ 221849 w 423499"/>
                  <a:gd name="connsiteY108" fmla="*/ 56011 h 321906"/>
                  <a:gd name="connsiteX109" fmla="*/ 245203 w 423499"/>
                  <a:gd name="connsiteY109" fmla="*/ 43333 h 321906"/>
                  <a:gd name="connsiteX110" fmla="*/ 249649 w 423499"/>
                  <a:gd name="connsiteY110" fmla="*/ 43525 h 321906"/>
                  <a:gd name="connsiteX111" fmla="*/ 258403 w 423499"/>
                  <a:gd name="connsiteY111" fmla="*/ 49480 h 321906"/>
                  <a:gd name="connsiteX112" fmla="*/ 262657 w 423499"/>
                  <a:gd name="connsiteY112" fmla="*/ 46159 h 321906"/>
                  <a:gd name="connsiteX113" fmla="*/ 261888 w 423499"/>
                  <a:gd name="connsiteY113" fmla="*/ 39134 h 321906"/>
                  <a:gd name="connsiteX114" fmla="*/ 266361 w 423499"/>
                  <a:gd name="connsiteY114" fmla="*/ 33288 h 321906"/>
                  <a:gd name="connsiteX115" fmla="*/ 285077 w 423499"/>
                  <a:gd name="connsiteY115" fmla="*/ 33151 h 321906"/>
                  <a:gd name="connsiteX116" fmla="*/ 287794 w 423499"/>
                  <a:gd name="connsiteY116" fmla="*/ 28403 h 321906"/>
                  <a:gd name="connsiteX117" fmla="*/ 286257 w 423499"/>
                  <a:gd name="connsiteY117" fmla="*/ 19594 h 321906"/>
                  <a:gd name="connsiteX118" fmla="*/ 293831 w 423499"/>
                  <a:gd name="connsiteY118" fmla="*/ 12487 h 321906"/>
                  <a:gd name="connsiteX119" fmla="*/ 300692 w 423499"/>
                  <a:gd name="connsiteY119" fmla="*/ 1866 h 321906"/>
                  <a:gd name="connsiteX120" fmla="*/ 307773 w 423499"/>
                  <a:gd name="connsiteY120" fmla="*/ 0 h 321906"/>
                  <a:gd name="connsiteX121" fmla="*/ 318970 w 423499"/>
                  <a:gd name="connsiteY121" fmla="*/ 7464 h 321906"/>
                  <a:gd name="connsiteX122" fmla="*/ 318091 w 423499"/>
                  <a:gd name="connsiteY122" fmla="*/ 19951 h 321906"/>
                  <a:gd name="connsiteX123" fmla="*/ 325830 w 423499"/>
                  <a:gd name="connsiteY123" fmla="*/ 21680 h 321906"/>
                  <a:gd name="connsiteX124" fmla="*/ 322180 w 423499"/>
                  <a:gd name="connsiteY124" fmla="*/ 51511 h 321906"/>
                  <a:gd name="connsiteX125" fmla="*/ 325693 w 423499"/>
                  <a:gd name="connsiteY125" fmla="*/ 61939 h 321906"/>
                  <a:gd name="connsiteX126" fmla="*/ 329041 w 423499"/>
                  <a:gd name="connsiteY126" fmla="*/ 65506 h 321906"/>
                  <a:gd name="connsiteX127" fmla="*/ 334146 w 423499"/>
                  <a:gd name="connsiteY127" fmla="*/ 65259 h 321906"/>
                  <a:gd name="connsiteX128" fmla="*/ 347867 w 423499"/>
                  <a:gd name="connsiteY128" fmla="*/ 55462 h 321906"/>
                  <a:gd name="connsiteX129" fmla="*/ 357445 w 423499"/>
                  <a:gd name="connsiteY129" fmla="*/ 53102 h 321906"/>
                  <a:gd name="connsiteX130" fmla="*/ 362796 w 423499"/>
                  <a:gd name="connsiteY130" fmla="*/ 46406 h 321906"/>
                  <a:gd name="connsiteX131" fmla="*/ 377011 w 423499"/>
                  <a:gd name="connsiteY131" fmla="*/ 37871 h 321906"/>
                  <a:gd name="connsiteX132" fmla="*/ 389141 w 423499"/>
                  <a:gd name="connsiteY132" fmla="*/ 38585 h 321906"/>
                  <a:gd name="connsiteX133" fmla="*/ 389827 w 423499"/>
                  <a:gd name="connsiteY133" fmla="*/ 40945 h 321906"/>
                  <a:gd name="connsiteX134" fmla="*/ 387495 w 423499"/>
                  <a:gd name="connsiteY134" fmla="*/ 44019 h 321906"/>
                  <a:gd name="connsiteX135" fmla="*/ 389388 w 423499"/>
                  <a:gd name="connsiteY135" fmla="*/ 45253 h 321906"/>
                  <a:gd name="connsiteX136" fmla="*/ 408297 w 423499"/>
                  <a:gd name="connsiteY136" fmla="*/ 39051 h 321906"/>
                  <a:gd name="connsiteX137" fmla="*/ 418038 w 423499"/>
                  <a:gd name="connsiteY137" fmla="*/ 40177 h 321906"/>
                  <a:gd name="connsiteX138" fmla="*/ 423472 w 423499"/>
                  <a:gd name="connsiteY138" fmla="*/ 45665 h 32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423499" h="321906">
                    <a:moveTo>
                      <a:pt x="423500" y="45665"/>
                    </a:moveTo>
                    <a:lnTo>
                      <a:pt x="412413" y="45775"/>
                    </a:lnTo>
                    <a:lnTo>
                      <a:pt x="411233" y="49727"/>
                    </a:lnTo>
                    <a:lnTo>
                      <a:pt x="413922" y="53157"/>
                    </a:lnTo>
                    <a:lnTo>
                      <a:pt x="399817" y="60100"/>
                    </a:lnTo>
                    <a:lnTo>
                      <a:pt x="392599" y="57301"/>
                    </a:lnTo>
                    <a:lnTo>
                      <a:pt x="386726" y="57850"/>
                    </a:lnTo>
                    <a:lnTo>
                      <a:pt x="357198" y="60210"/>
                    </a:lnTo>
                    <a:lnTo>
                      <a:pt x="346961" y="63366"/>
                    </a:lnTo>
                    <a:lnTo>
                      <a:pt x="332279" y="74810"/>
                    </a:lnTo>
                    <a:lnTo>
                      <a:pt x="328080" y="74947"/>
                    </a:lnTo>
                    <a:lnTo>
                      <a:pt x="316857" y="87406"/>
                    </a:lnTo>
                    <a:lnTo>
                      <a:pt x="316253" y="89327"/>
                    </a:lnTo>
                    <a:lnTo>
                      <a:pt x="324184" y="100249"/>
                    </a:lnTo>
                    <a:lnTo>
                      <a:pt x="327340" y="110705"/>
                    </a:lnTo>
                    <a:lnTo>
                      <a:pt x="326214" y="115974"/>
                    </a:lnTo>
                    <a:lnTo>
                      <a:pt x="327944" y="120392"/>
                    </a:lnTo>
                    <a:lnTo>
                      <a:pt x="310407" y="142758"/>
                    </a:lnTo>
                    <a:lnTo>
                      <a:pt x="310297" y="145832"/>
                    </a:lnTo>
                    <a:lnTo>
                      <a:pt x="313344" y="150964"/>
                    </a:lnTo>
                    <a:lnTo>
                      <a:pt x="310956" y="159526"/>
                    </a:lnTo>
                    <a:lnTo>
                      <a:pt x="305221" y="163313"/>
                    </a:lnTo>
                    <a:lnTo>
                      <a:pt x="297893" y="164411"/>
                    </a:lnTo>
                    <a:lnTo>
                      <a:pt x="276982" y="162682"/>
                    </a:lnTo>
                    <a:lnTo>
                      <a:pt x="277503" y="168088"/>
                    </a:lnTo>
                    <a:lnTo>
                      <a:pt x="283897" y="174071"/>
                    </a:lnTo>
                    <a:lnTo>
                      <a:pt x="288096" y="185597"/>
                    </a:lnTo>
                    <a:lnTo>
                      <a:pt x="279122" y="193144"/>
                    </a:lnTo>
                    <a:lnTo>
                      <a:pt x="266498" y="196300"/>
                    </a:lnTo>
                    <a:lnTo>
                      <a:pt x="262492" y="205658"/>
                    </a:lnTo>
                    <a:lnTo>
                      <a:pt x="262876" y="210405"/>
                    </a:lnTo>
                    <a:lnTo>
                      <a:pt x="257991" y="217129"/>
                    </a:lnTo>
                    <a:lnTo>
                      <a:pt x="259254" y="233567"/>
                    </a:lnTo>
                    <a:lnTo>
                      <a:pt x="257991" y="236641"/>
                    </a:lnTo>
                    <a:lnTo>
                      <a:pt x="251981" y="244133"/>
                    </a:lnTo>
                    <a:lnTo>
                      <a:pt x="247069" y="245944"/>
                    </a:lnTo>
                    <a:lnTo>
                      <a:pt x="240537" y="241333"/>
                    </a:lnTo>
                    <a:lnTo>
                      <a:pt x="236970" y="243474"/>
                    </a:lnTo>
                    <a:lnTo>
                      <a:pt x="226075" y="239742"/>
                    </a:lnTo>
                    <a:lnTo>
                      <a:pt x="220586" y="244654"/>
                    </a:lnTo>
                    <a:lnTo>
                      <a:pt x="209664" y="249786"/>
                    </a:lnTo>
                    <a:lnTo>
                      <a:pt x="210021" y="252448"/>
                    </a:lnTo>
                    <a:lnTo>
                      <a:pt x="213588" y="254424"/>
                    </a:lnTo>
                    <a:lnTo>
                      <a:pt x="212326" y="256592"/>
                    </a:lnTo>
                    <a:lnTo>
                      <a:pt x="200443" y="260050"/>
                    </a:lnTo>
                    <a:lnTo>
                      <a:pt x="189548" y="257470"/>
                    </a:lnTo>
                    <a:lnTo>
                      <a:pt x="184554" y="260269"/>
                    </a:lnTo>
                    <a:lnTo>
                      <a:pt x="179642" y="267020"/>
                    </a:lnTo>
                    <a:lnTo>
                      <a:pt x="173275" y="271082"/>
                    </a:lnTo>
                    <a:lnTo>
                      <a:pt x="170942" y="280879"/>
                    </a:lnTo>
                    <a:lnTo>
                      <a:pt x="171574" y="291005"/>
                    </a:lnTo>
                    <a:lnTo>
                      <a:pt x="169872" y="298278"/>
                    </a:lnTo>
                    <a:lnTo>
                      <a:pt x="171738" y="302806"/>
                    </a:lnTo>
                    <a:lnTo>
                      <a:pt x="168143" y="306648"/>
                    </a:lnTo>
                    <a:lnTo>
                      <a:pt x="135925" y="316857"/>
                    </a:lnTo>
                    <a:lnTo>
                      <a:pt x="117374" y="316335"/>
                    </a:lnTo>
                    <a:lnTo>
                      <a:pt x="106342" y="321495"/>
                    </a:lnTo>
                    <a:lnTo>
                      <a:pt x="89683" y="319107"/>
                    </a:lnTo>
                    <a:lnTo>
                      <a:pt x="59139" y="321906"/>
                    </a:lnTo>
                    <a:lnTo>
                      <a:pt x="11196" y="306319"/>
                    </a:lnTo>
                    <a:lnTo>
                      <a:pt x="37569" y="274018"/>
                    </a:lnTo>
                    <a:lnTo>
                      <a:pt x="38118" y="269765"/>
                    </a:lnTo>
                    <a:lnTo>
                      <a:pt x="39243" y="264715"/>
                    </a:lnTo>
                    <a:lnTo>
                      <a:pt x="36032" y="255028"/>
                    </a:lnTo>
                    <a:lnTo>
                      <a:pt x="10867" y="249484"/>
                    </a:lnTo>
                    <a:lnTo>
                      <a:pt x="9550" y="234857"/>
                    </a:lnTo>
                    <a:lnTo>
                      <a:pt x="11169" y="224484"/>
                    </a:lnTo>
                    <a:lnTo>
                      <a:pt x="3101" y="193500"/>
                    </a:lnTo>
                    <a:lnTo>
                      <a:pt x="11361" y="179477"/>
                    </a:lnTo>
                    <a:lnTo>
                      <a:pt x="4253" y="177528"/>
                    </a:lnTo>
                    <a:lnTo>
                      <a:pt x="0" y="160651"/>
                    </a:lnTo>
                    <a:lnTo>
                      <a:pt x="5077" y="152665"/>
                    </a:lnTo>
                    <a:lnTo>
                      <a:pt x="11086" y="151074"/>
                    </a:lnTo>
                    <a:lnTo>
                      <a:pt x="8096" y="144213"/>
                    </a:lnTo>
                    <a:lnTo>
                      <a:pt x="14654" y="139218"/>
                    </a:lnTo>
                    <a:lnTo>
                      <a:pt x="18551" y="124756"/>
                    </a:lnTo>
                    <a:lnTo>
                      <a:pt x="18139" y="118197"/>
                    </a:lnTo>
                    <a:lnTo>
                      <a:pt x="20308" y="115672"/>
                    </a:lnTo>
                    <a:lnTo>
                      <a:pt x="23024" y="105216"/>
                    </a:lnTo>
                    <a:lnTo>
                      <a:pt x="25494" y="105134"/>
                    </a:lnTo>
                    <a:lnTo>
                      <a:pt x="33014" y="111336"/>
                    </a:lnTo>
                    <a:lnTo>
                      <a:pt x="45747" y="111446"/>
                    </a:lnTo>
                    <a:lnTo>
                      <a:pt x="52197" y="116907"/>
                    </a:lnTo>
                    <a:lnTo>
                      <a:pt x="53705" y="121545"/>
                    </a:lnTo>
                    <a:lnTo>
                      <a:pt x="58316" y="117621"/>
                    </a:lnTo>
                    <a:lnTo>
                      <a:pt x="64024" y="118855"/>
                    </a:lnTo>
                    <a:lnTo>
                      <a:pt x="76676" y="111089"/>
                    </a:lnTo>
                    <a:lnTo>
                      <a:pt x="77636" y="104448"/>
                    </a:lnTo>
                    <a:lnTo>
                      <a:pt x="80380" y="102170"/>
                    </a:lnTo>
                    <a:lnTo>
                      <a:pt x="77773" y="96270"/>
                    </a:lnTo>
                    <a:lnTo>
                      <a:pt x="104393" y="89382"/>
                    </a:lnTo>
                    <a:lnTo>
                      <a:pt x="106533" y="86144"/>
                    </a:lnTo>
                    <a:lnTo>
                      <a:pt x="118883" y="79447"/>
                    </a:lnTo>
                    <a:lnTo>
                      <a:pt x="121435" y="75413"/>
                    </a:lnTo>
                    <a:lnTo>
                      <a:pt x="121572" y="71269"/>
                    </a:lnTo>
                    <a:lnTo>
                      <a:pt x="121984" y="66494"/>
                    </a:lnTo>
                    <a:lnTo>
                      <a:pt x="126320" y="57136"/>
                    </a:lnTo>
                    <a:lnTo>
                      <a:pt x="125908" y="50550"/>
                    </a:lnTo>
                    <a:lnTo>
                      <a:pt x="131123" y="46927"/>
                    </a:lnTo>
                    <a:lnTo>
                      <a:pt x="148055" y="45171"/>
                    </a:lnTo>
                    <a:lnTo>
                      <a:pt x="153653" y="35100"/>
                    </a:lnTo>
                    <a:lnTo>
                      <a:pt x="171244" y="41960"/>
                    </a:lnTo>
                    <a:lnTo>
                      <a:pt x="178297" y="41192"/>
                    </a:lnTo>
                    <a:lnTo>
                      <a:pt x="190838" y="39930"/>
                    </a:lnTo>
                    <a:lnTo>
                      <a:pt x="199291" y="46900"/>
                    </a:lnTo>
                    <a:lnTo>
                      <a:pt x="206124" y="44567"/>
                    </a:lnTo>
                    <a:lnTo>
                      <a:pt x="214302" y="47641"/>
                    </a:lnTo>
                    <a:lnTo>
                      <a:pt x="216086" y="51483"/>
                    </a:lnTo>
                    <a:lnTo>
                      <a:pt x="221849" y="56011"/>
                    </a:lnTo>
                    <a:lnTo>
                      <a:pt x="245203" y="43333"/>
                    </a:lnTo>
                    <a:lnTo>
                      <a:pt x="249649" y="43525"/>
                    </a:lnTo>
                    <a:lnTo>
                      <a:pt x="258403" y="49480"/>
                    </a:lnTo>
                    <a:lnTo>
                      <a:pt x="262657" y="46159"/>
                    </a:lnTo>
                    <a:lnTo>
                      <a:pt x="261888" y="39134"/>
                    </a:lnTo>
                    <a:lnTo>
                      <a:pt x="266361" y="33288"/>
                    </a:lnTo>
                    <a:lnTo>
                      <a:pt x="285077" y="33151"/>
                    </a:lnTo>
                    <a:lnTo>
                      <a:pt x="287794" y="28403"/>
                    </a:lnTo>
                    <a:lnTo>
                      <a:pt x="286257" y="19594"/>
                    </a:lnTo>
                    <a:lnTo>
                      <a:pt x="293831" y="12487"/>
                    </a:lnTo>
                    <a:lnTo>
                      <a:pt x="300692" y="1866"/>
                    </a:lnTo>
                    <a:lnTo>
                      <a:pt x="307773" y="0"/>
                    </a:lnTo>
                    <a:lnTo>
                      <a:pt x="318970" y="7464"/>
                    </a:lnTo>
                    <a:lnTo>
                      <a:pt x="318091" y="19951"/>
                    </a:lnTo>
                    <a:lnTo>
                      <a:pt x="325830" y="21680"/>
                    </a:lnTo>
                    <a:lnTo>
                      <a:pt x="322180" y="51511"/>
                    </a:lnTo>
                    <a:lnTo>
                      <a:pt x="325693" y="61939"/>
                    </a:lnTo>
                    <a:lnTo>
                      <a:pt x="329041" y="65506"/>
                    </a:lnTo>
                    <a:lnTo>
                      <a:pt x="334146" y="65259"/>
                    </a:lnTo>
                    <a:lnTo>
                      <a:pt x="347867" y="55462"/>
                    </a:lnTo>
                    <a:lnTo>
                      <a:pt x="357445" y="53102"/>
                    </a:lnTo>
                    <a:lnTo>
                      <a:pt x="362796" y="46406"/>
                    </a:lnTo>
                    <a:lnTo>
                      <a:pt x="377011" y="37871"/>
                    </a:lnTo>
                    <a:lnTo>
                      <a:pt x="389141" y="38585"/>
                    </a:lnTo>
                    <a:lnTo>
                      <a:pt x="389827" y="40945"/>
                    </a:lnTo>
                    <a:lnTo>
                      <a:pt x="387495" y="44019"/>
                    </a:lnTo>
                    <a:lnTo>
                      <a:pt x="389388" y="45253"/>
                    </a:lnTo>
                    <a:lnTo>
                      <a:pt x="408297" y="39051"/>
                    </a:lnTo>
                    <a:lnTo>
                      <a:pt x="418038" y="40177"/>
                    </a:lnTo>
                    <a:lnTo>
                      <a:pt x="423472" y="456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9" name="Freeform: Shape 3128">
                <a:extLst>
                  <a:ext uri="{FF2B5EF4-FFF2-40B4-BE49-F238E27FC236}">
                    <a16:creationId xmlns:a16="http://schemas.microsoft.com/office/drawing/2014/main" id="{6BD9AA7D-ECE9-27DB-568F-2841E689ED90}"/>
                  </a:ext>
                </a:extLst>
              </p:cNvPr>
              <p:cNvSpPr/>
              <p:nvPr/>
            </p:nvSpPr>
            <p:spPr>
              <a:xfrm>
                <a:off x="1175502" y="3790971"/>
                <a:ext cx="650" cy="541"/>
              </a:xfrm>
              <a:custGeom>
                <a:avLst/>
                <a:gdLst>
                  <a:gd name="connsiteX0" fmla="*/ 6230 w 6229"/>
                  <a:gd name="connsiteY0" fmla="*/ 4363 h 5186"/>
                  <a:gd name="connsiteX1" fmla="*/ 2031 w 6229"/>
                  <a:gd name="connsiteY1" fmla="*/ 5186 h 5186"/>
                  <a:gd name="connsiteX2" fmla="*/ 302 w 6229"/>
                  <a:gd name="connsiteY2" fmla="*/ 4528 h 5186"/>
                  <a:gd name="connsiteX3" fmla="*/ 0 w 6229"/>
                  <a:gd name="connsiteY3" fmla="*/ 2771 h 5186"/>
                  <a:gd name="connsiteX4" fmla="*/ 1592 w 6229"/>
                  <a:gd name="connsiteY4" fmla="*/ 137 h 5186"/>
                  <a:gd name="connsiteX5" fmla="*/ 2936 w 6229"/>
                  <a:gd name="connsiteY5" fmla="*/ 0 h 5186"/>
                  <a:gd name="connsiteX6" fmla="*/ 6202 w 6229"/>
                  <a:gd name="connsiteY6" fmla="*/ 4336 h 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29" h="5186">
                    <a:moveTo>
                      <a:pt x="6230" y="4363"/>
                    </a:moveTo>
                    <a:lnTo>
                      <a:pt x="2031" y="5186"/>
                    </a:lnTo>
                    <a:lnTo>
                      <a:pt x="302" y="4528"/>
                    </a:lnTo>
                    <a:lnTo>
                      <a:pt x="0" y="2771"/>
                    </a:lnTo>
                    <a:lnTo>
                      <a:pt x="1592" y="137"/>
                    </a:lnTo>
                    <a:lnTo>
                      <a:pt x="2936" y="0"/>
                    </a:lnTo>
                    <a:lnTo>
                      <a:pt x="6202" y="43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0" name="Freeform: Shape 3129">
                <a:extLst>
                  <a:ext uri="{FF2B5EF4-FFF2-40B4-BE49-F238E27FC236}">
                    <a16:creationId xmlns:a16="http://schemas.microsoft.com/office/drawing/2014/main" id="{C45327DA-E7E5-01B7-868F-C6DF9B6E50B1}"/>
                  </a:ext>
                </a:extLst>
              </p:cNvPr>
              <p:cNvSpPr/>
              <p:nvPr/>
            </p:nvSpPr>
            <p:spPr>
              <a:xfrm>
                <a:off x="1175539" y="3789176"/>
                <a:ext cx="481" cy="595"/>
              </a:xfrm>
              <a:custGeom>
                <a:avLst/>
                <a:gdLst>
                  <a:gd name="connsiteX0" fmla="*/ 4473 w 4610"/>
                  <a:gd name="connsiteY0" fmla="*/ 2826 h 5708"/>
                  <a:gd name="connsiteX1" fmla="*/ 4610 w 4610"/>
                  <a:gd name="connsiteY1" fmla="*/ 5708 h 5708"/>
                  <a:gd name="connsiteX2" fmla="*/ 1647 w 4610"/>
                  <a:gd name="connsiteY2" fmla="*/ 4308 h 5708"/>
                  <a:gd name="connsiteX3" fmla="*/ 0 w 4610"/>
                  <a:gd name="connsiteY3" fmla="*/ 933 h 5708"/>
                  <a:gd name="connsiteX4" fmla="*/ 1400 w 4610"/>
                  <a:gd name="connsiteY4" fmla="*/ 0 h 5708"/>
                  <a:gd name="connsiteX5" fmla="*/ 4473 w 4610"/>
                  <a:gd name="connsiteY5" fmla="*/ 2854 h 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0" h="5708">
                    <a:moveTo>
                      <a:pt x="4473" y="2826"/>
                    </a:moveTo>
                    <a:lnTo>
                      <a:pt x="4610" y="5708"/>
                    </a:lnTo>
                    <a:lnTo>
                      <a:pt x="1647" y="4308"/>
                    </a:lnTo>
                    <a:lnTo>
                      <a:pt x="0" y="933"/>
                    </a:lnTo>
                    <a:lnTo>
                      <a:pt x="1400" y="0"/>
                    </a:lnTo>
                    <a:lnTo>
                      <a:pt x="4473"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1" name="Freeform: Shape 3130">
                <a:extLst>
                  <a:ext uri="{FF2B5EF4-FFF2-40B4-BE49-F238E27FC236}">
                    <a16:creationId xmlns:a16="http://schemas.microsoft.com/office/drawing/2014/main" id="{A869E0C3-9798-E55F-5A58-BF109A3BAA55}"/>
                  </a:ext>
                </a:extLst>
              </p:cNvPr>
              <p:cNvSpPr/>
              <p:nvPr/>
            </p:nvSpPr>
            <p:spPr>
              <a:xfrm>
                <a:off x="1171835" y="3787396"/>
                <a:ext cx="392" cy="343"/>
              </a:xfrm>
              <a:custGeom>
                <a:avLst/>
                <a:gdLst>
                  <a:gd name="connsiteX0" fmla="*/ 0 w 3759"/>
                  <a:gd name="connsiteY0" fmla="*/ 2635 h 3293"/>
                  <a:gd name="connsiteX1" fmla="*/ 55 w 3759"/>
                  <a:gd name="connsiteY1" fmla="*/ 1427 h 3293"/>
                  <a:gd name="connsiteX2" fmla="*/ 3458 w 3759"/>
                  <a:gd name="connsiteY2" fmla="*/ 0 h 3293"/>
                  <a:gd name="connsiteX3" fmla="*/ 3760 w 3759"/>
                  <a:gd name="connsiteY3" fmla="*/ 1866 h 3293"/>
                  <a:gd name="connsiteX4" fmla="*/ 1263 w 3759"/>
                  <a:gd name="connsiteY4" fmla="*/ 3293 h 3293"/>
                  <a:gd name="connsiteX5" fmla="*/ 0 w 3759"/>
                  <a:gd name="connsiteY5" fmla="*/ 2662 h 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9" h="3293">
                    <a:moveTo>
                      <a:pt x="0" y="2635"/>
                    </a:moveTo>
                    <a:lnTo>
                      <a:pt x="55" y="1427"/>
                    </a:lnTo>
                    <a:lnTo>
                      <a:pt x="3458" y="0"/>
                    </a:lnTo>
                    <a:lnTo>
                      <a:pt x="3760" y="1866"/>
                    </a:lnTo>
                    <a:lnTo>
                      <a:pt x="1263" y="3293"/>
                    </a:lnTo>
                    <a:lnTo>
                      <a:pt x="0"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2" name="Freeform: Shape 3131">
                <a:extLst>
                  <a:ext uri="{FF2B5EF4-FFF2-40B4-BE49-F238E27FC236}">
                    <a16:creationId xmlns:a16="http://schemas.microsoft.com/office/drawing/2014/main" id="{05B7A7CD-9748-4E68-B38F-9252CC5FAC4F}"/>
                  </a:ext>
                </a:extLst>
              </p:cNvPr>
              <p:cNvSpPr/>
              <p:nvPr/>
            </p:nvSpPr>
            <p:spPr>
              <a:xfrm>
                <a:off x="1498739" y="3705130"/>
                <a:ext cx="9440" cy="9823"/>
              </a:xfrm>
              <a:custGeom>
                <a:avLst/>
                <a:gdLst>
                  <a:gd name="connsiteX0" fmla="*/ 90507 w 90506"/>
                  <a:gd name="connsiteY0" fmla="*/ 92922 h 94184"/>
                  <a:gd name="connsiteX1" fmla="*/ 84442 w 90506"/>
                  <a:gd name="connsiteY1" fmla="*/ 91934 h 94184"/>
                  <a:gd name="connsiteX2" fmla="*/ 78597 w 90506"/>
                  <a:gd name="connsiteY2" fmla="*/ 94184 h 94184"/>
                  <a:gd name="connsiteX3" fmla="*/ 74178 w 90506"/>
                  <a:gd name="connsiteY3" fmla="*/ 78158 h 94184"/>
                  <a:gd name="connsiteX4" fmla="*/ 69458 w 90506"/>
                  <a:gd name="connsiteY4" fmla="*/ 73026 h 94184"/>
                  <a:gd name="connsiteX5" fmla="*/ 67785 w 90506"/>
                  <a:gd name="connsiteY5" fmla="*/ 67427 h 94184"/>
                  <a:gd name="connsiteX6" fmla="*/ 64327 w 90506"/>
                  <a:gd name="connsiteY6" fmla="*/ 66110 h 94184"/>
                  <a:gd name="connsiteX7" fmla="*/ 57740 w 90506"/>
                  <a:gd name="connsiteY7" fmla="*/ 68580 h 94184"/>
                  <a:gd name="connsiteX8" fmla="*/ 51154 w 90506"/>
                  <a:gd name="connsiteY8" fmla="*/ 64930 h 94184"/>
                  <a:gd name="connsiteX9" fmla="*/ 47312 w 90506"/>
                  <a:gd name="connsiteY9" fmla="*/ 59002 h 94184"/>
                  <a:gd name="connsiteX10" fmla="*/ 38201 w 90506"/>
                  <a:gd name="connsiteY10" fmla="*/ 61143 h 94184"/>
                  <a:gd name="connsiteX11" fmla="*/ 33344 w 90506"/>
                  <a:gd name="connsiteY11" fmla="*/ 56615 h 94184"/>
                  <a:gd name="connsiteX12" fmla="*/ 25467 w 90506"/>
                  <a:gd name="connsiteY12" fmla="*/ 49287 h 94184"/>
                  <a:gd name="connsiteX13" fmla="*/ 18140 w 90506"/>
                  <a:gd name="connsiteY13" fmla="*/ 49370 h 94184"/>
                  <a:gd name="connsiteX14" fmla="*/ 13365 w 90506"/>
                  <a:gd name="connsiteY14" fmla="*/ 49370 h 94184"/>
                  <a:gd name="connsiteX15" fmla="*/ 5406 w 90506"/>
                  <a:gd name="connsiteY15" fmla="*/ 45199 h 94184"/>
                  <a:gd name="connsiteX16" fmla="*/ 6669 w 90506"/>
                  <a:gd name="connsiteY16" fmla="*/ 43168 h 94184"/>
                  <a:gd name="connsiteX17" fmla="*/ 3842 w 90506"/>
                  <a:gd name="connsiteY17" fmla="*/ 32218 h 94184"/>
                  <a:gd name="connsiteX18" fmla="*/ 7986 w 90506"/>
                  <a:gd name="connsiteY18" fmla="*/ 21186 h 94184"/>
                  <a:gd name="connsiteX19" fmla="*/ 5544 w 90506"/>
                  <a:gd name="connsiteY19" fmla="*/ 14133 h 94184"/>
                  <a:gd name="connsiteX20" fmla="*/ 0 w 90506"/>
                  <a:gd name="connsiteY20" fmla="*/ 9303 h 94184"/>
                  <a:gd name="connsiteX21" fmla="*/ 137 w 90506"/>
                  <a:gd name="connsiteY21" fmla="*/ 6723 h 94184"/>
                  <a:gd name="connsiteX22" fmla="*/ 8343 w 90506"/>
                  <a:gd name="connsiteY22" fmla="*/ 6833 h 94184"/>
                  <a:gd name="connsiteX23" fmla="*/ 18140 w 90506"/>
                  <a:gd name="connsiteY23" fmla="*/ 3650 h 94184"/>
                  <a:gd name="connsiteX24" fmla="*/ 21543 w 90506"/>
                  <a:gd name="connsiteY24" fmla="*/ 2525 h 94184"/>
                  <a:gd name="connsiteX25" fmla="*/ 30380 w 90506"/>
                  <a:gd name="connsiteY25" fmla="*/ 4089 h 94184"/>
                  <a:gd name="connsiteX26" fmla="*/ 33344 w 90506"/>
                  <a:gd name="connsiteY26" fmla="*/ 3293 h 94184"/>
                  <a:gd name="connsiteX27" fmla="*/ 45418 w 90506"/>
                  <a:gd name="connsiteY27" fmla="*/ 0 h 94184"/>
                  <a:gd name="connsiteX28" fmla="*/ 48766 w 90506"/>
                  <a:gd name="connsiteY28" fmla="*/ 7986 h 94184"/>
                  <a:gd name="connsiteX29" fmla="*/ 59360 w 90506"/>
                  <a:gd name="connsiteY29" fmla="*/ 15450 h 94184"/>
                  <a:gd name="connsiteX30" fmla="*/ 57685 w 90506"/>
                  <a:gd name="connsiteY30" fmla="*/ 22997 h 94184"/>
                  <a:gd name="connsiteX31" fmla="*/ 59688 w 90506"/>
                  <a:gd name="connsiteY31" fmla="*/ 25055 h 94184"/>
                  <a:gd name="connsiteX32" fmla="*/ 59634 w 90506"/>
                  <a:gd name="connsiteY32" fmla="*/ 30132 h 94184"/>
                  <a:gd name="connsiteX33" fmla="*/ 64244 w 90506"/>
                  <a:gd name="connsiteY33" fmla="*/ 34633 h 94184"/>
                  <a:gd name="connsiteX34" fmla="*/ 70995 w 90506"/>
                  <a:gd name="connsiteY34" fmla="*/ 41192 h 94184"/>
                  <a:gd name="connsiteX35" fmla="*/ 70556 w 90506"/>
                  <a:gd name="connsiteY35" fmla="*/ 45775 h 94184"/>
                  <a:gd name="connsiteX36" fmla="*/ 66659 w 90506"/>
                  <a:gd name="connsiteY36" fmla="*/ 49589 h 94184"/>
                  <a:gd name="connsiteX37" fmla="*/ 66714 w 90506"/>
                  <a:gd name="connsiteY37" fmla="*/ 52416 h 94184"/>
                  <a:gd name="connsiteX38" fmla="*/ 78789 w 90506"/>
                  <a:gd name="connsiteY38" fmla="*/ 63311 h 94184"/>
                  <a:gd name="connsiteX39" fmla="*/ 87900 w 90506"/>
                  <a:gd name="connsiteY39" fmla="*/ 68168 h 94184"/>
                  <a:gd name="connsiteX40" fmla="*/ 90425 w 90506"/>
                  <a:gd name="connsiteY40" fmla="*/ 92977 h 94184"/>
                  <a:gd name="connsiteX41" fmla="*/ 43086 w 90506"/>
                  <a:gd name="connsiteY41" fmla="*/ 8645 h 94184"/>
                  <a:gd name="connsiteX42" fmla="*/ 45172 w 90506"/>
                  <a:gd name="connsiteY42" fmla="*/ 11636 h 94184"/>
                  <a:gd name="connsiteX43" fmla="*/ 46790 w 90506"/>
                  <a:gd name="connsiteY43" fmla="*/ 9989 h 94184"/>
                  <a:gd name="connsiteX44" fmla="*/ 46544 w 90506"/>
                  <a:gd name="connsiteY44" fmla="*/ 8233 h 94184"/>
                  <a:gd name="connsiteX45" fmla="*/ 44211 w 90506"/>
                  <a:gd name="connsiteY45" fmla="*/ 7272 h 94184"/>
                  <a:gd name="connsiteX46" fmla="*/ 43086 w 90506"/>
                  <a:gd name="connsiteY46" fmla="*/ 8645 h 9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0506" h="94184">
                    <a:moveTo>
                      <a:pt x="90507" y="92922"/>
                    </a:moveTo>
                    <a:lnTo>
                      <a:pt x="84442" y="91934"/>
                    </a:lnTo>
                    <a:lnTo>
                      <a:pt x="78597" y="94184"/>
                    </a:lnTo>
                    <a:lnTo>
                      <a:pt x="74178" y="78158"/>
                    </a:lnTo>
                    <a:lnTo>
                      <a:pt x="69458" y="73026"/>
                    </a:lnTo>
                    <a:lnTo>
                      <a:pt x="67785" y="67427"/>
                    </a:lnTo>
                    <a:lnTo>
                      <a:pt x="64327" y="66110"/>
                    </a:lnTo>
                    <a:lnTo>
                      <a:pt x="57740" y="68580"/>
                    </a:lnTo>
                    <a:lnTo>
                      <a:pt x="51154" y="64930"/>
                    </a:lnTo>
                    <a:lnTo>
                      <a:pt x="47312" y="59002"/>
                    </a:lnTo>
                    <a:lnTo>
                      <a:pt x="38201" y="61143"/>
                    </a:lnTo>
                    <a:lnTo>
                      <a:pt x="33344" y="56615"/>
                    </a:lnTo>
                    <a:lnTo>
                      <a:pt x="25467" y="49287"/>
                    </a:lnTo>
                    <a:lnTo>
                      <a:pt x="18140" y="49370"/>
                    </a:lnTo>
                    <a:lnTo>
                      <a:pt x="13365" y="49370"/>
                    </a:lnTo>
                    <a:cubicBezTo>
                      <a:pt x="13365" y="49370"/>
                      <a:pt x="5406" y="45199"/>
                      <a:pt x="5406" y="45199"/>
                    </a:cubicBezTo>
                    <a:lnTo>
                      <a:pt x="6669" y="43168"/>
                    </a:lnTo>
                    <a:lnTo>
                      <a:pt x="3842" y="32218"/>
                    </a:lnTo>
                    <a:lnTo>
                      <a:pt x="7986" y="21186"/>
                    </a:lnTo>
                    <a:lnTo>
                      <a:pt x="5544" y="14133"/>
                    </a:lnTo>
                    <a:lnTo>
                      <a:pt x="0" y="9303"/>
                    </a:lnTo>
                    <a:lnTo>
                      <a:pt x="137" y="6723"/>
                    </a:lnTo>
                    <a:lnTo>
                      <a:pt x="8343" y="6833"/>
                    </a:lnTo>
                    <a:lnTo>
                      <a:pt x="18140" y="3650"/>
                    </a:lnTo>
                    <a:lnTo>
                      <a:pt x="21543" y="2525"/>
                    </a:lnTo>
                    <a:lnTo>
                      <a:pt x="30380" y="4089"/>
                    </a:lnTo>
                    <a:lnTo>
                      <a:pt x="33344" y="3293"/>
                    </a:lnTo>
                    <a:lnTo>
                      <a:pt x="45418" y="0"/>
                    </a:lnTo>
                    <a:lnTo>
                      <a:pt x="48766" y="7986"/>
                    </a:lnTo>
                    <a:lnTo>
                      <a:pt x="59360" y="15450"/>
                    </a:lnTo>
                    <a:lnTo>
                      <a:pt x="57685" y="22997"/>
                    </a:lnTo>
                    <a:lnTo>
                      <a:pt x="59688" y="25055"/>
                    </a:lnTo>
                    <a:lnTo>
                      <a:pt x="59634" y="30132"/>
                    </a:lnTo>
                    <a:lnTo>
                      <a:pt x="64244" y="34633"/>
                    </a:lnTo>
                    <a:lnTo>
                      <a:pt x="70995" y="41192"/>
                    </a:lnTo>
                    <a:lnTo>
                      <a:pt x="70556" y="45775"/>
                    </a:lnTo>
                    <a:lnTo>
                      <a:pt x="66659" y="49589"/>
                    </a:lnTo>
                    <a:lnTo>
                      <a:pt x="66714" y="52416"/>
                    </a:lnTo>
                    <a:lnTo>
                      <a:pt x="78789" y="63311"/>
                    </a:lnTo>
                    <a:lnTo>
                      <a:pt x="87900" y="68168"/>
                    </a:lnTo>
                    <a:lnTo>
                      <a:pt x="90425" y="92977"/>
                    </a:lnTo>
                    <a:moveTo>
                      <a:pt x="43086" y="8645"/>
                    </a:moveTo>
                    <a:lnTo>
                      <a:pt x="45172" y="11636"/>
                    </a:lnTo>
                    <a:lnTo>
                      <a:pt x="46790" y="9989"/>
                    </a:lnTo>
                    <a:lnTo>
                      <a:pt x="46544" y="8233"/>
                    </a:lnTo>
                    <a:lnTo>
                      <a:pt x="44211" y="7272"/>
                    </a:lnTo>
                    <a:lnTo>
                      <a:pt x="43086" y="86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3" name="Freeform: Shape 3132">
                <a:extLst>
                  <a:ext uri="{FF2B5EF4-FFF2-40B4-BE49-F238E27FC236}">
                    <a16:creationId xmlns:a16="http://schemas.microsoft.com/office/drawing/2014/main" id="{67CB690E-7317-826C-4994-BF740A1225A5}"/>
                  </a:ext>
                </a:extLst>
              </p:cNvPr>
              <p:cNvSpPr/>
              <p:nvPr/>
            </p:nvSpPr>
            <p:spPr>
              <a:xfrm>
                <a:off x="1401440" y="3862395"/>
                <a:ext cx="37788" cy="38289"/>
              </a:xfrm>
              <a:custGeom>
                <a:avLst/>
                <a:gdLst>
                  <a:gd name="connsiteX0" fmla="*/ 64738 w 362302"/>
                  <a:gd name="connsiteY0" fmla="*/ 110 h 367104"/>
                  <a:gd name="connsiteX1" fmla="*/ 82878 w 362302"/>
                  <a:gd name="connsiteY1" fmla="*/ 1976 h 367104"/>
                  <a:gd name="connsiteX2" fmla="*/ 140289 w 362302"/>
                  <a:gd name="connsiteY2" fmla="*/ 604 h 367104"/>
                  <a:gd name="connsiteX3" fmla="*/ 145832 w 362302"/>
                  <a:gd name="connsiteY3" fmla="*/ 9468 h 367104"/>
                  <a:gd name="connsiteX4" fmla="*/ 145365 w 362302"/>
                  <a:gd name="connsiteY4" fmla="*/ 16631 h 367104"/>
                  <a:gd name="connsiteX5" fmla="*/ 149674 w 362302"/>
                  <a:gd name="connsiteY5" fmla="*/ 30709 h 367104"/>
                  <a:gd name="connsiteX6" fmla="*/ 151430 w 362302"/>
                  <a:gd name="connsiteY6" fmla="*/ 32300 h 367104"/>
                  <a:gd name="connsiteX7" fmla="*/ 153324 w 362302"/>
                  <a:gd name="connsiteY7" fmla="*/ 42043 h 367104"/>
                  <a:gd name="connsiteX8" fmla="*/ 159334 w 362302"/>
                  <a:gd name="connsiteY8" fmla="*/ 47394 h 367104"/>
                  <a:gd name="connsiteX9" fmla="*/ 169790 w 362302"/>
                  <a:gd name="connsiteY9" fmla="*/ 66275 h 367104"/>
                  <a:gd name="connsiteX10" fmla="*/ 172205 w 362302"/>
                  <a:gd name="connsiteY10" fmla="*/ 67565 h 367104"/>
                  <a:gd name="connsiteX11" fmla="*/ 185761 w 362302"/>
                  <a:gd name="connsiteY11" fmla="*/ 66714 h 367104"/>
                  <a:gd name="connsiteX12" fmla="*/ 188698 w 362302"/>
                  <a:gd name="connsiteY12" fmla="*/ 64354 h 367104"/>
                  <a:gd name="connsiteX13" fmla="*/ 198385 w 362302"/>
                  <a:gd name="connsiteY13" fmla="*/ 63887 h 367104"/>
                  <a:gd name="connsiteX14" fmla="*/ 201322 w 362302"/>
                  <a:gd name="connsiteY14" fmla="*/ 61637 h 367104"/>
                  <a:gd name="connsiteX15" fmla="*/ 205740 w 362302"/>
                  <a:gd name="connsiteY15" fmla="*/ 61829 h 367104"/>
                  <a:gd name="connsiteX16" fmla="*/ 208841 w 362302"/>
                  <a:gd name="connsiteY16" fmla="*/ 64025 h 367104"/>
                  <a:gd name="connsiteX17" fmla="*/ 223605 w 362302"/>
                  <a:gd name="connsiteY17" fmla="*/ 63750 h 367104"/>
                  <a:gd name="connsiteX18" fmla="*/ 224511 w 362302"/>
                  <a:gd name="connsiteY18" fmla="*/ 52443 h 367104"/>
                  <a:gd name="connsiteX19" fmla="*/ 228628 w 362302"/>
                  <a:gd name="connsiteY19" fmla="*/ 48080 h 367104"/>
                  <a:gd name="connsiteX20" fmla="*/ 227749 w 362302"/>
                  <a:gd name="connsiteY20" fmla="*/ 42564 h 367104"/>
                  <a:gd name="connsiteX21" fmla="*/ 230439 w 362302"/>
                  <a:gd name="connsiteY21" fmla="*/ 34578 h 367104"/>
                  <a:gd name="connsiteX22" fmla="*/ 249704 w 362302"/>
                  <a:gd name="connsiteY22" fmla="*/ 34386 h 367104"/>
                  <a:gd name="connsiteX23" fmla="*/ 252969 w 362302"/>
                  <a:gd name="connsiteY23" fmla="*/ 32108 h 367104"/>
                  <a:gd name="connsiteX24" fmla="*/ 259501 w 362302"/>
                  <a:gd name="connsiteY24" fmla="*/ 31999 h 367104"/>
                  <a:gd name="connsiteX25" fmla="*/ 260653 w 362302"/>
                  <a:gd name="connsiteY25" fmla="*/ 33069 h 367104"/>
                  <a:gd name="connsiteX26" fmla="*/ 258815 w 362302"/>
                  <a:gd name="connsiteY26" fmla="*/ 39299 h 367104"/>
                  <a:gd name="connsiteX27" fmla="*/ 259830 w 362302"/>
                  <a:gd name="connsiteY27" fmla="*/ 42619 h 367104"/>
                  <a:gd name="connsiteX28" fmla="*/ 294985 w 362302"/>
                  <a:gd name="connsiteY28" fmla="*/ 43250 h 367104"/>
                  <a:gd name="connsiteX29" fmla="*/ 297098 w 362302"/>
                  <a:gd name="connsiteY29" fmla="*/ 49205 h 367104"/>
                  <a:gd name="connsiteX30" fmla="*/ 294381 w 362302"/>
                  <a:gd name="connsiteY30" fmla="*/ 63037 h 367104"/>
                  <a:gd name="connsiteX31" fmla="*/ 299705 w 362302"/>
                  <a:gd name="connsiteY31" fmla="*/ 79091 h 367104"/>
                  <a:gd name="connsiteX32" fmla="*/ 295698 w 362302"/>
                  <a:gd name="connsiteY32" fmla="*/ 106342 h 367104"/>
                  <a:gd name="connsiteX33" fmla="*/ 298058 w 362302"/>
                  <a:gd name="connsiteY33" fmla="*/ 113093 h 367104"/>
                  <a:gd name="connsiteX34" fmla="*/ 306840 w 362302"/>
                  <a:gd name="connsiteY34" fmla="*/ 122066 h 367104"/>
                  <a:gd name="connsiteX35" fmla="*/ 310517 w 362302"/>
                  <a:gd name="connsiteY35" fmla="*/ 134443 h 367104"/>
                  <a:gd name="connsiteX36" fmla="*/ 310792 w 362302"/>
                  <a:gd name="connsiteY36" fmla="*/ 145530 h 367104"/>
                  <a:gd name="connsiteX37" fmla="*/ 306785 w 362302"/>
                  <a:gd name="connsiteY37" fmla="*/ 149948 h 367104"/>
                  <a:gd name="connsiteX38" fmla="*/ 309063 w 362302"/>
                  <a:gd name="connsiteY38" fmla="*/ 160679 h 367104"/>
                  <a:gd name="connsiteX39" fmla="*/ 314497 w 362302"/>
                  <a:gd name="connsiteY39" fmla="*/ 158264 h 367104"/>
                  <a:gd name="connsiteX40" fmla="*/ 317296 w 362302"/>
                  <a:gd name="connsiteY40" fmla="*/ 154916 h 367104"/>
                  <a:gd name="connsiteX41" fmla="*/ 320973 w 362302"/>
                  <a:gd name="connsiteY41" fmla="*/ 156178 h 367104"/>
                  <a:gd name="connsiteX42" fmla="*/ 335024 w 362302"/>
                  <a:gd name="connsiteY42" fmla="*/ 156837 h 367104"/>
                  <a:gd name="connsiteX43" fmla="*/ 344135 w 362302"/>
                  <a:gd name="connsiteY43" fmla="*/ 151897 h 367104"/>
                  <a:gd name="connsiteX44" fmla="*/ 355469 w 362302"/>
                  <a:gd name="connsiteY44" fmla="*/ 154065 h 367104"/>
                  <a:gd name="connsiteX45" fmla="*/ 360217 w 362302"/>
                  <a:gd name="connsiteY45" fmla="*/ 150141 h 367104"/>
                  <a:gd name="connsiteX46" fmla="*/ 362302 w 362302"/>
                  <a:gd name="connsiteY46" fmla="*/ 165125 h 367104"/>
                  <a:gd name="connsiteX47" fmla="*/ 359421 w 362302"/>
                  <a:gd name="connsiteY47" fmla="*/ 173330 h 367104"/>
                  <a:gd name="connsiteX48" fmla="*/ 359833 w 362302"/>
                  <a:gd name="connsiteY48" fmla="*/ 187792 h 367104"/>
                  <a:gd name="connsiteX49" fmla="*/ 362000 w 362302"/>
                  <a:gd name="connsiteY49" fmla="*/ 193171 h 367104"/>
                  <a:gd name="connsiteX50" fmla="*/ 360903 w 362302"/>
                  <a:gd name="connsiteY50" fmla="*/ 197205 h 367104"/>
                  <a:gd name="connsiteX51" fmla="*/ 357253 w 362302"/>
                  <a:gd name="connsiteY51" fmla="*/ 207661 h 367104"/>
                  <a:gd name="connsiteX52" fmla="*/ 360600 w 362302"/>
                  <a:gd name="connsiteY52" fmla="*/ 213397 h 367104"/>
                  <a:gd name="connsiteX53" fmla="*/ 320973 w 362302"/>
                  <a:gd name="connsiteY53" fmla="*/ 213644 h 367104"/>
                  <a:gd name="connsiteX54" fmla="*/ 301571 w 362302"/>
                  <a:gd name="connsiteY54" fmla="*/ 214961 h 367104"/>
                  <a:gd name="connsiteX55" fmla="*/ 301379 w 362302"/>
                  <a:gd name="connsiteY55" fmla="*/ 306620 h 367104"/>
                  <a:gd name="connsiteX56" fmla="*/ 306428 w 362302"/>
                  <a:gd name="connsiteY56" fmla="*/ 320808 h 367104"/>
                  <a:gd name="connsiteX57" fmla="*/ 320973 w 362302"/>
                  <a:gd name="connsiteY57" fmla="*/ 335545 h 367104"/>
                  <a:gd name="connsiteX58" fmla="*/ 336259 w 362302"/>
                  <a:gd name="connsiteY58" fmla="*/ 350529 h 367104"/>
                  <a:gd name="connsiteX59" fmla="*/ 343449 w 362302"/>
                  <a:gd name="connsiteY59" fmla="*/ 355002 h 367104"/>
                  <a:gd name="connsiteX60" fmla="*/ 326626 w 362302"/>
                  <a:gd name="connsiteY60" fmla="*/ 358433 h 367104"/>
                  <a:gd name="connsiteX61" fmla="*/ 321000 w 362302"/>
                  <a:gd name="connsiteY61" fmla="*/ 359558 h 367104"/>
                  <a:gd name="connsiteX62" fmla="*/ 285956 w 362302"/>
                  <a:gd name="connsiteY62" fmla="*/ 366693 h 367104"/>
                  <a:gd name="connsiteX63" fmla="*/ 277394 w 362302"/>
                  <a:gd name="connsiteY63" fmla="*/ 364278 h 367104"/>
                  <a:gd name="connsiteX64" fmla="*/ 265977 w 362302"/>
                  <a:gd name="connsiteY64" fmla="*/ 367105 h 367104"/>
                  <a:gd name="connsiteX65" fmla="*/ 252448 w 362302"/>
                  <a:gd name="connsiteY65" fmla="*/ 362357 h 367104"/>
                  <a:gd name="connsiteX66" fmla="*/ 244490 w 362302"/>
                  <a:gd name="connsiteY66" fmla="*/ 363373 h 367104"/>
                  <a:gd name="connsiteX67" fmla="*/ 210241 w 362302"/>
                  <a:gd name="connsiteY67" fmla="*/ 360464 h 367104"/>
                  <a:gd name="connsiteX68" fmla="*/ 194790 w 362302"/>
                  <a:gd name="connsiteY68" fmla="*/ 347456 h 367104"/>
                  <a:gd name="connsiteX69" fmla="*/ 65397 w 362302"/>
                  <a:gd name="connsiteY69" fmla="*/ 348389 h 367104"/>
                  <a:gd name="connsiteX70" fmla="*/ 53157 w 362302"/>
                  <a:gd name="connsiteY70" fmla="*/ 340375 h 367104"/>
                  <a:gd name="connsiteX71" fmla="*/ 49672 w 362302"/>
                  <a:gd name="connsiteY71" fmla="*/ 335628 h 367104"/>
                  <a:gd name="connsiteX72" fmla="*/ 41302 w 362302"/>
                  <a:gd name="connsiteY72" fmla="*/ 334448 h 367104"/>
                  <a:gd name="connsiteX73" fmla="*/ 35813 w 362302"/>
                  <a:gd name="connsiteY73" fmla="*/ 335271 h 367104"/>
                  <a:gd name="connsiteX74" fmla="*/ 23272 w 362302"/>
                  <a:gd name="connsiteY74" fmla="*/ 342845 h 367104"/>
                  <a:gd name="connsiteX75" fmla="*/ 15039 w 362302"/>
                  <a:gd name="connsiteY75" fmla="*/ 342434 h 367104"/>
                  <a:gd name="connsiteX76" fmla="*/ 9880 w 362302"/>
                  <a:gd name="connsiteY76" fmla="*/ 340019 h 367104"/>
                  <a:gd name="connsiteX77" fmla="*/ 0 w 362302"/>
                  <a:gd name="connsiteY77" fmla="*/ 343175 h 367104"/>
                  <a:gd name="connsiteX78" fmla="*/ 2113 w 362302"/>
                  <a:gd name="connsiteY78" fmla="*/ 319272 h 367104"/>
                  <a:gd name="connsiteX79" fmla="*/ 27 w 362302"/>
                  <a:gd name="connsiteY79" fmla="*/ 300638 h 367104"/>
                  <a:gd name="connsiteX80" fmla="*/ 7657 w 362302"/>
                  <a:gd name="connsiteY80" fmla="*/ 291609 h 367104"/>
                  <a:gd name="connsiteX81" fmla="*/ 9111 w 362302"/>
                  <a:gd name="connsiteY81" fmla="*/ 282086 h 367104"/>
                  <a:gd name="connsiteX82" fmla="*/ 15423 w 362302"/>
                  <a:gd name="connsiteY82" fmla="*/ 266801 h 367104"/>
                  <a:gd name="connsiteX83" fmla="*/ 18249 w 362302"/>
                  <a:gd name="connsiteY83" fmla="*/ 245779 h 367104"/>
                  <a:gd name="connsiteX84" fmla="*/ 22448 w 362302"/>
                  <a:gd name="connsiteY84" fmla="*/ 238617 h 367104"/>
                  <a:gd name="connsiteX85" fmla="*/ 23436 w 362302"/>
                  <a:gd name="connsiteY85" fmla="*/ 226816 h 367104"/>
                  <a:gd name="connsiteX86" fmla="*/ 35100 w 362302"/>
                  <a:gd name="connsiteY86" fmla="*/ 213891 h 367104"/>
                  <a:gd name="connsiteX87" fmla="*/ 36664 w 362302"/>
                  <a:gd name="connsiteY87" fmla="*/ 207332 h 367104"/>
                  <a:gd name="connsiteX88" fmla="*/ 42674 w 362302"/>
                  <a:gd name="connsiteY88" fmla="*/ 201898 h 367104"/>
                  <a:gd name="connsiteX89" fmla="*/ 48108 w 362302"/>
                  <a:gd name="connsiteY89" fmla="*/ 200691 h 367104"/>
                  <a:gd name="connsiteX90" fmla="*/ 50879 w 362302"/>
                  <a:gd name="connsiteY90" fmla="*/ 197288 h 367104"/>
                  <a:gd name="connsiteX91" fmla="*/ 55983 w 362302"/>
                  <a:gd name="connsiteY91" fmla="*/ 190399 h 367104"/>
                  <a:gd name="connsiteX92" fmla="*/ 59524 w 362302"/>
                  <a:gd name="connsiteY92" fmla="*/ 179642 h 367104"/>
                  <a:gd name="connsiteX93" fmla="*/ 61857 w 362302"/>
                  <a:gd name="connsiteY93" fmla="*/ 153351 h 367104"/>
                  <a:gd name="connsiteX94" fmla="*/ 58783 w 362302"/>
                  <a:gd name="connsiteY94" fmla="*/ 146765 h 367104"/>
                  <a:gd name="connsiteX95" fmla="*/ 58564 w 362302"/>
                  <a:gd name="connsiteY95" fmla="*/ 142512 h 367104"/>
                  <a:gd name="connsiteX96" fmla="*/ 53102 w 362302"/>
                  <a:gd name="connsiteY96" fmla="*/ 135623 h 367104"/>
                  <a:gd name="connsiteX97" fmla="*/ 46735 w 362302"/>
                  <a:gd name="connsiteY97" fmla="*/ 123329 h 367104"/>
                  <a:gd name="connsiteX98" fmla="*/ 39600 w 362302"/>
                  <a:gd name="connsiteY98" fmla="*/ 101512 h 367104"/>
                  <a:gd name="connsiteX99" fmla="*/ 37213 w 362302"/>
                  <a:gd name="connsiteY99" fmla="*/ 97038 h 367104"/>
                  <a:gd name="connsiteX100" fmla="*/ 43964 w 362302"/>
                  <a:gd name="connsiteY100" fmla="*/ 87626 h 367104"/>
                  <a:gd name="connsiteX101" fmla="*/ 48080 w 362302"/>
                  <a:gd name="connsiteY101" fmla="*/ 85650 h 367104"/>
                  <a:gd name="connsiteX102" fmla="*/ 48656 w 362302"/>
                  <a:gd name="connsiteY102" fmla="*/ 83207 h 367104"/>
                  <a:gd name="connsiteX103" fmla="*/ 47614 w 362302"/>
                  <a:gd name="connsiteY103" fmla="*/ 74425 h 367104"/>
                  <a:gd name="connsiteX104" fmla="*/ 39491 w 362302"/>
                  <a:gd name="connsiteY104" fmla="*/ 58179 h 367104"/>
                  <a:gd name="connsiteX105" fmla="*/ 32932 w 362302"/>
                  <a:gd name="connsiteY105" fmla="*/ 42619 h 367104"/>
                  <a:gd name="connsiteX106" fmla="*/ 31642 w 362302"/>
                  <a:gd name="connsiteY106" fmla="*/ 34551 h 367104"/>
                  <a:gd name="connsiteX107" fmla="*/ 29309 w 362302"/>
                  <a:gd name="connsiteY107" fmla="*/ 30489 h 367104"/>
                  <a:gd name="connsiteX108" fmla="*/ 23793 w 362302"/>
                  <a:gd name="connsiteY108" fmla="*/ 23848 h 367104"/>
                  <a:gd name="connsiteX109" fmla="*/ 16054 w 362302"/>
                  <a:gd name="connsiteY109" fmla="*/ 8617 h 367104"/>
                  <a:gd name="connsiteX110" fmla="*/ 17069 w 362302"/>
                  <a:gd name="connsiteY110" fmla="*/ 7602 h 367104"/>
                  <a:gd name="connsiteX111" fmla="*/ 22448 w 362302"/>
                  <a:gd name="connsiteY111" fmla="*/ 8288 h 367104"/>
                  <a:gd name="connsiteX112" fmla="*/ 24946 w 362302"/>
                  <a:gd name="connsiteY112" fmla="*/ 6339 h 367104"/>
                  <a:gd name="connsiteX113" fmla="*/ 28760 w 362302"/>
                  <a:gd name="connsiteY113" fmla="*/ 5571 h 367104"/>
                  <a:gd name="connsiteX114" fmla="*/ 31203 w 362302"/>
                  <a:gd name="connsiteY114" fmla="*/ 3815 h 367104"/>
                  <a:gd name="connsiteX115" fmla="*/ 32438 w 362302"/>
                  <a:gd name="connsiteY115" fmla="*/ 2964 h 367104"/>
                  <a:gd name="connsiteX116" fmla="*/ 33453 w 362302"/>
                  <a:gd name="connsiteY116" fmla="*/ 2882 h 367104"/>
                  <a:gd name="connsiteX117" fmla="*/ 39737 w 362302"/>
                  <a:gd name="connsiteY117" fmla="*/ 1317 h 367104"/>
                  <a:gd name="connsiteX118" fmla="*/ 64793 w 362302"/>
                  <a:gd name="connsiteY118" fmla="*/ 0 h 36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62302" h="367104">
                    <a:moveTo>
                      <a:pt x="64738" y="110"/>
                    </a:moveTo>
                    <a:lnTo>
                      <a:pt x="82878" y="1976"/>
                    </a:lnTo>
                    <a:lnTo>
                      <a:pt x="140289" y="604"/>
                    </a:lnTo>
                    <a:lnTo>
                      <a:pt x="145832" y="9468"/>
                    </a:lnTo>
                    <a:lnTo>
                      <a:pt x="145365" y="16631"/>
                    </a:lnTo>
                    <a:lnTo>
                      <a:pt x="149674" y="30709"/>
                    </a:lnTo>
                    <a:lnTo>
                      <a:pt x="151430" y="32300"/>
                    </a:lnTo>
                    <a:lnTo>
                      <a:pt x="153324" y="42043"/>
                    </a:lnTo>
                    <a:lnTo>
                      <a:pt x="159334" y="47394"/>
                    </a:lnTo>
                    <a:lnTo>
                      <a:pt x="169790" y="66275"/>
                    </a:lnTo>
                    <a:lnTo>
                      <a:pt x="172205" y="67565"/>
                    </a:lnTo>
                    <a:lnTo>
                      <a:pt x="185761" y="66714"/>
                    </a:lnTo>
                    <a:lnTo>
                      <a:pt x="188698" y="64354"/>
                    </a:lnTo>
                    <a:lnTo>
                      <a:pt x="198385" y="63887"/>
                    </a:lnTo>
                    <a:lnTo>
                      <a:pt x="201322" y="61637"/>
                    </a:lnTo>
                    <a:lnTo>
                      <a:pt x="205740" y="61829"/>
                    </a:lnTo>
                    <a:lnTo>
                      <a:pt x="208841" y="64025"/>
                    </a:lnTo>
                    <a:lnTo>
                      <a:pt x="223605" y="63750"/>
                    </a:lnTo>
                    <a:lnTo>
                      <a:pt x="224511" y="52443"/>
                    </a:lnTo>
                    <a:lnTo>
                      <a:pt x="228628" y="48080"/>
                    </a:lnTo>
                    <a:lnTo>
                      <a:pt x="227749" y="42564"/>
                    </a:lnTo>
                    <a:lnTo>
                      <a:pt x="230439" y="34578"/>
                    </a:lnTo>
                    <a:lnTo>
                      <a:pt x="249704" y="34386"/>
                    </a:lnTo>
                    <a:lnTo>
                      <a:pt x="252969" y="32108"/>
                    </a:lnTo>
                    <a:lnTo>
                      <a:pt x="259501" y="31999"/>
                    </a:lnTo>
                    <a:lnTo>
                      <a:pt x="260653" y="33069"/>
                    </a:lnTo>
                    <a:lnTo>
                      <a:pt x="258815" y="39299"/>
                    </a:lnTo>
                    <a:lnTo>
                      <a:pt x="259830" y="42619"/>
                    </a:lnTo>
                    <a:lnTo>
                      <a:pt x="294985" y="43250"/>
                    </a:lnTo>
                    <a:lnTo>
                      <a:pt x="297098" y="49205"/>
                    </a:lnTo>
                    <a:lnTo>
                      <a:pt x="294381" y="63037"/>
                    </a:lnTo>
                    <a:lnTo>
                      <a:pt x="299705" y="79091"/>
                    </a:lnTo>
                    <a:lnTo>
                      <a:pt x="295698" y="106342"/>
                    </a:lnTo>
                    <a:lnTo>
                      <a:pt x="298058" y="113093"/>
                    </a:lnTo>
                    <a:lnTo>
                      <a:pt x="306840" y="122066"/>
                    </a:lnTo>
                    <a:lnTo>
                      <a:pt x="310517" y="134443"/>
                    </a:lnTo>
                    <a:lnTo>
                      <a:pt x="310792" y="145530"/>
                    </a:lnTo>
                    <a:lnTo>
                      <a:pt x="306785" y="149948"/>
                    </a:lnTo>
                    <a:lnTo>
                      <a:pt x="309063" y="160679"/>
                    </a:lnTo>
                    <a:lnTo>
                      <a:pt x="314497" y="158264"/>
                    </a:lnTo>
                    <a:lnTo>
                      <a:pt x="317296" y="154916"/>
                    </a:lnTo>
                    <a:lnTo>
                      <a:pt x="320973" y="156178"/>
                    </a:lnTo>
                    <a:lnTo>
                      <a:pt x="335024" y="156837"/>
                    </a:lnTo>
                    <a:lnTo>
                      <a:pt x="344135" y="151897"/>
                    </a:lnTo>
                    <a:lnTo>
                      <a:pt x="355469" y="154065"/>
                    </a:lnTo>
                    <a:lnTo>
                      <a:pt x="360217" y="150141"/>
                    </a:lnTo>
                    <a:lnTo>
                      <a:pt x="362302" y="165125"/>
                    </a:lnTo>
                    <a:lnTo>
                      <a:pt x="359421" y="173330"/>
                    </a:lnTo>
                    <a:lnTo>
                      <a:pt x="359833" y="187792"/>
                    </a:lnTo>
                    <a:lnTo>
                      <a:pt x="362000" y="193171"/>
                    </a:lnTo>
                    <a:lnTo>
                      <a:pt x="360903" y="197205"/>
                    </a:lnTo>
                    <a:lnTo>
                      <a:pt x="357253" y="207661"/>
                    </a:lnTo>
                    <a:lnTo>
                      <a:pt x="360600" y="213397"/>
                    </a:lnTo>
                    <a:lnTo>
                      <a:pt x="320973" y="213644"/>
                    </a:lnTo>
                    <a:lnTo>
                      <a:pt x="301571" y="214961"/>
                    </a:lnTo>
                    <a:lnTo>
                      <a:pt x="301379" y="306620"/>
                    </a:lnTo>
                    <a:lnTo>
                      <a:pt x="306428" y="320808"/>
                    </a:lnTo>
                    <a:lnTo>
                      <a:pt x="320973" y="335545"/>
                    </a:lnTo>
                    <a:lnTo>
                      <a:pt x="336259" y="350529"/>
                    </a:lnTo>
                    <a:lnTo>
                      <a:pt x="343449" y="355002"/>
                    </a:lnTo>
                    <a:lnTo>
                      <a:pt x="326626" y="358433"/>
                    </a:lnTo>
                    <a:lnTo>
                      <a:pt x="321000" y="359558"/>
                    </a:lnTo>
                    <a:lnTo>
                      <a:pt x="285956" y="366693"/>
                    </a:lnTo>
                    <a:lnTo>
                      <a:pt x="277394" y="364278"/>
                    </a:lnTo>
                    <a:lnTo>
                      <a:pt x="265977" y="367105"/>
                    </a:lnTo>
                    <a:lnTo>
                      <a:pt x="252448" y="362357"/>
                    </a:lnTo>
                    <a:lnTo>
                      <a:pt x="244490" y="363373"/>
                    </a:lnTo>
                    <a:lnTo>
                      <a:pt x="210241" y="360464"/>
                    </a:lnTo>
                    <a:lnTo>
                      <a:pt x="194790" y="347456"/>
                    </a:lnTo>
                    <a:lnTo>
                      <a:pt x="65397" y="348389"/>
                    </a:lnTo>
                    <a:lnTo>
                      <a:pt x="53157" y="340375"/>
                    </a:lnTo>
                    <a:lnTo>
                      <a:pt x="49672" y="335628"/>
                    </a:lnTo>
                    <a:lnTo>
                      <a:pt x="41302" y="334448"/>
                    </a:lnTo>
                    <a:lnTo>
                      <a:pt x="35813" y="335271"/>
                    </a:lnTo>
                    <a:lnTo>
                      <a:pt x="23272" y="342845"/>
                    </a:lnTo>
                    <a:lnTo>
                      <a:pt x="15039" y="342434"/>
                    </a:lnTo>
                    <a:lnTo>
                      <a:pt x="9880" y="340019"/>
                    </a:lnTo>
                    <a:lnTo>
                      <a:pt x="0" y="343175"/>
                    </a:lnTo>
                    <a:lnTo>
                      <a:pt x="2113" y="319272"/>
                    </a:lnTo>
                    <a:lnTo>
                      <a:pt x="27" y="300638"/>
                    </a:lnTo>
                    <a:lnTo>
                      <a:pt x="7657" y="291609"/>
                    </a:lnTo>
                    <a:lnTo>
                      <a:pt x="9111" y="282086"/>
                    </a:lnTo>
                    <a:lnTo>
                      <a:pt x="15423" y="266801"/>
                    </a:lnTo>
                    <a:lnTo>
                      <a:pt x="18249" y="245779"/>
                    </a:lnTo>
                    <a:lnTo>
                      <a:pt x="22448" y="238617"/>
                    </a:lnTo>
                    <a:lnTo>
                      <a:pt x="23436" y="226816"/>
                    </a:lnTo>
                    <a:lnTo>
                      <a:pt x="35100" y="213891"/>
                    </a:lnTo>
                    <a:lnTo>
                      <a:pt x="36664" y="207332"/>
                    </a:lnTo>
                    <a:lnTo>
                      <a:pt x="42674" y="201898"/>
                    </a:lnTo>
                    <a:lnTo>
                      <a:pt x="48108" y="200691"/>
                    </a:lnTo>
                    <a:lnTo>
                      <a:pt x="50879" y="197288"/>
                    </a:lnTo>
                    <a:lnTo>
                      <a:pt x="55983" y="190399"/>
                    </a:lnTo>
                    <a:lnTo>
                      <a:pt x="59524" y="179642"/>
                    </a:lnTo>
                    <a:lnTo>
                      <a:pt x="61857" y="153351"/>
                    </a:lnTo>
                    <a:lnTo>
                      <a:pt x="58783" y="146765"/>
                    </a:lnTo>
                    <a:lnTo>
                      <a:pt x="58564" y="142512"/>
                    </a:lnTo>
                    <a:lnTo>
                      <a:pt x="53102" y="135623"/>
                    </a:lnTo>
                    <a:lnTo>
                      <a:pt x="46735" y="123329"/>
                    </a:lnTo>
                    <a:lnTo>
                      <a:pt x="39600" y="101512"/>
                    </a:lnTo>
                    <a:lnTo>
                      <a:pt x="37213" y="97038"/>
                    </a:lnTo>
                    <a:lnTo>
                      <a:pt x="43964" y="87626"/>
                    </a:lnTo>
                    <a:lnTo>
                      <a:pt x="48080" y="85650"/>
                    </a:lnTo>
                    <a:lnTo>
                      <a:pt x="48656" y="83207"/>
                    </a:lnTo>
                    <a:lnTo>
                      <a:pt x="47614" y="74425"/>
                    </a:lnTo>
                    <a:lnTo>
                      <a:pt x="39491" y="58179"/>
                    </a:lnTo>
                    <a:lnTo>
                      <a:pt x="32932" y="42619"/>
                    </a:lnTo>
                    <a:lnTo>
                      <a:pt x="31642" y="34551"/>
                    </a:lnTo>
                    <a:lnTo>
                      <a:pt x="29309" y="30489"/>
                    </a:lnTo>
                    <a:lnTo>
                      <a:pt x="23793" y="23848"/>
                    </a:lnTo>
                    <a:lnTo>
                      <a:pt x="16054" y="8617"/>
                    </a:lnTo>
                    <a:lnTo>
                      <a:pt x="17069" y="7602"/>
                    </a:lnTo>
                    <a:lnTo>
                      <a:pt x="22448" y="8288"/>
                    </a:lnTo>
                    <a:lnTo>
                      <a:pt x="24946" y="6339"/>
                    </a:lnTo>
                    <a:lnTo>
                      <a:pt x="28760" y="5571"/>
                    </a:lnTo>
                    <a:lnTo>
                      <a:pt x="31203" y="3815"/>
                    </a:lnTo>
                    <a:lnTo>
                      <a:pt x="32438" y="2964"/>
                    </a:lnTo>
                    <a:lnTo>
                      <a:pt x="33453" y="2882"/>
                    </a:lnTo>
                    <a:lnTo>
                      <a:pt x="39737" y="1317"/>
                    </a:lnTo>
                    <a:lnTo>
                      <a:pt x="64793"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4" name="Freeform: Shape 3133">
                <a:extLst>
                  <a:ext uri="{FF2B5EF4-FFF2-40B4-BE49-F238E27FC236}">
                    <a16:creationId xmlns:a16="http://schemas.microsoft.com/office/drawing/2014/main" id="{6B856344-F02B-4D5B-D16D-0F2CAC32CA1A}"/>
                  </a:ext>
                </a:extLst>
              </p:cNvPr>
              <p:cNvSpPr/>
              <p:nvPr/>
            </p:nvSpPr>
            <p:spPr>
              <a:xfrm>
                <a:off x="1402173" y="3858056"/>
                <a:ext cx="3380" cy="4110"/>
              </a:xfrm>
              <a:custGeom>
                <a:avLst/>
                <a:gdLst>
                  <a:gd name="connsiteX0" fmla="*/ 15670 w 32410"/>
                  <a:gd name="connsiteY0" fmla="*/ 38173 h 39408"/>
                  <a:gd name="connsiteX1" fmla="*/ 6065 w 32410"/>
                  <a:gd name="connsiteY1" fmla="*/ 39408 h 39408"/>
                  <a:gd name="connsiteX2" fmla="*/ 4940 w 32410"/>
                  <a:gd name="connsiteY2" fmla="*/ 35484 h 39408"/>
                  <a:gd name="connsiteX3" fmla="*/ 6559 w 32410"/>
                  <a:gd name="connsiteY3" fmla="*/ 30269 h 39408"/>
                  <a:gd name="connsiteX4" fmla="*/ 0 w 32410"/>
                  <a:gd name="connsiteY4" fmla="*/ 16823 h 39408"/>
                  <a:gd name="connsiteX5" fmla="*/ 9934 w 32410"/>
                  <a:gd name="connsiteY5" fmla="*/ 9797 h 39408"/>
                  <a:gd name="connsiteX6" fmla="*/ 12871 w 32410"/>
                  <a:gd name="connsiteY6" fmla="*/ 5626 h 39408"/>
                  <a:gd name="connsiteX7" fmla="*/ 23244 w 32410"/>
                  <a:gd name="connsiteY7" fmla="*/ 0 h 39408"/>
                  <a:gd name="connsiteX8" fmla="*/ 32410 w 32410"/>
                  <a:gd name="connsiteY8" fmla="*/ 7656 h 39408"/>
                  <a:gd name="connsiteX9" fmla="*/ 26071 w 32410"/>
                  <a:gd name="connsiteY9" fmla="*/ 9578 h 39408"/>
                  <a:gd name="connsiteX10" fmla="*/ 21570 w 32410"/>
                  <a:gd name="connsiteY10" fmla="*/ 14819 h 39408"/>
                  <a:gd name="connsiteX11" fmla="*/ 14737 w 32410"/>
                  <a:gd name="connsiteY11" fmla="*/ 19100 h 39408"/>
                  <a:gd name="connsiteX12" fmla="*/ 16026 w 32410"/>
                  <a:gd name="connsiteY12" fmla="*/ 22668 h 39408"/>
                  <a:gd name="connsiteX13" fmla="*/ 15725 w 32410"/>
                  <a:gd name="connsiteY13" fmla="*/ 38145 h 39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10" h="39408">
                    <a:moveTo>
                      <a:pt x="15670" y="38173"/>
                    </a:moveTo>
                    <a:lnTo>
                      <a:pt x="6065" y="39408"/>
                    </a:lnTo>
                    <a:lnTo>
                      <a:pt x="4940" y="35484"/>
                    </a:lnTo>
                    <a:lnTo>
                      <a:pt x="6559" y="30269"/>
                    </a:lnTo>
                    <a:lnTo>
                      <a:pt x="0" y="16823"/>
                    </a:lnTo>
                    <a:lnTo>
                      <a:pt x="9934" y="9797"/>
                    </a:lnTo>
                    <a:lnTo>
                      <a:pt x="12871" y="5626"/>
                    </a:lnTo>
                    <a:lnTo>
                      <a:pt x="23244" y="0"/>
                    </a:lnTo>
                    <a:lnTo>
                      <a:pt x="32410" y="7656"/>
                    </a:lnTo>
                    <a:lnTo>
                      <a:pt x="26071" y="9578"/>
                    </a:lnTo>
                    <a:lnTo>
                      <a:pt x="21570" y="14819"/>
                    </a:lnTo>
                    <a:lnTo>
                      <a:pt x="14737" y="19100"/>
                    </a:lnTo>
                    <a:lnTo>
                      <a:pt x="16026" y="22668"/>
                    </a:lnTo>
                    <a:lnTo>
                      <a:pt x="15725" y="381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5" name="Freeform: Shape 3134">
                <a:extLst>
                  <a:ext uri="{FF2B5EF4-FFF2-40B4-BE49-F238E27FC236}">
                    <a16:creationId xmlns:a16="http://schemas.microsoft.com/office/drawing/2014/main" id="{CFFE4B24-946C-5ACC-F0F0-5D5BD8642628}"/>
                  </a:ext>
                </a:extLst>
              </p:cNvPr>
              <p:cNvSpPr/>
              <p:nvPr/>
            </p:nvSpPr>
            <p:spPr>
              <a:xfrm>
                <a:off x="1401162" y="3895758"/>
                <a:ext cx="246" cy="515"/>
              </a:xfrm>
              <a:custGeom>
                <a:avLst/>
                <a:gdLst>
                  <a:gd name="connsiteX0" fmla="*/ 2360 w 2360"/>
                  <a:gd name="connsiteY0" fmla="*/ 4336 h 4939"/>
                  <a:gd name="connsiteX1" fmla="*/ 878 w 2360"/>
                  <a:gd name="connsiteY1" fmla="*/ 4940 h 4939"/>
                  <a:gd name="connsiteX2" fmla="*/ 0 w 2360"/>
                  <a:gd name="connsiteY2" fmla="*/ 1455 h 4939"/>
                  <a:gd name="connsiteX3" fmla="*/ 1921 w 2360"/>
                  <a:gd name="connsiteY3" fmla="*/ 0 h 4939"/>
                  <a:gd name="connsiteX4" fmla="*/ 2360 w 2360"/>
                  <a:gd name="connsiteY4" fmla="*/ 4336 h 4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0" h="4939">
                    <a:moveTo>
                      <a:pt x="2360" y="4336"/>
                    </a:moveTo>
                    <a:lnTo>
                      <a:pt x="878" y="4940"/>
                    </a:lnTo>
                    <a:lnTo>
                      <a:pt x="0" y="1455"/>
                    </a:lnTo>
                    <a:lnTo>
                      <a:pt x="1921" y="0"/>
                    </a:lnTo>
                    <a:lnTo>
                      <a:pt x="2360" y="43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6" name="Freeform: Shape 3135">
                <a:extLst>
                  <a:ext uri="{FF2B5EF4-FFF2-40B4-BE49-F238E27FC236}">
                    <a16:creationId xmlns:a16="http://schemas.microsoft.com/office/drawing/2014/main" id="{2763B977-0848-C4CB-886F-21337C463573}"/>
                  </a:ext>
                </a:extLst>
              </p:cNvPr>
              <p:cNvSpPr/>
              <p:nvPr/>
            </p:nvSpPr>
            <p:spPr>
              <a:xfrm>
                <a:off x="1139851" y="3913064"/>
                <a:ext cx="61045" cy="120762"/>
              </a:xfrm>
              <a:custGeom>
                <a:avLst/>
                <a:gdLst>
                  <a:gd name="connsiteX0" fmla="*/ 261998 w 585276"/>
                  <a:gd name="connsiteY0" fmla="*/ 13255 h 1157818"/>
                  <a:gd name="connsiteX1" fmla="*/ 270753 w 585276"/>
                  <a:gd name="connsiteY1" fmla="*/ 30489 h 1157818"/>
                  <a:gd name="connsiteX2" fmla="*/ 283294 w 585276"/>
                  <a:gd name="connsiteY2" fmla="*/ 6257 h 1157818"/>
                  <a:gd name="connsiteX3" fmla="*/ 313070 w 585276"/>
                  <a:gd name="connsiteY3" fmla="*/ 6010 h 1157818"/>
                  <a:gd name="connsiteX4" fmla="*/ 319958 w 585276"/>
                  <a:gd name="connsiteY4" fmla="*/ 13721 h 1157818"/>
                  <a:gd name="connsiteX5" fmla="*/ 331374 w 585276"/>
                  <a:gd name="connsiteY5" fmla="*/ 22723 h 1157818"/>
                  <a:gd name="connsiteX6" fmla="*/ 339305 w 585276"/>
                  <a:gd name="connsiteY6" fmla="*/ 37844 h 1157818"/>
                  <a:gd name="connsiteX7" fmla="*/ 342928 w 585276"/>
                  <a:gd name="connsiteY7" fmla="*/ 40671 h 1157818"/>
                  <a:gd name="connsiteX8" fmla="*/ 353905 w 585276"/>
                  <a:gd name="connsiteY8" fmla="*/ 50742 h 1157818"/>
                  <a:gd name="connsiteX9" fmla="*/ 364278 w 585276"/>
                  <a:gd name="connsiteY9" fmla="*/ 56313 h 1157818"/>
                  <a:gd name="connsiteX10" fmla="*/ 369081 w 585276"/>
                  <a:gd name="connsiteY10" fmla="*/ 63201 h 1157818"/>
                  <a:gd name="connsiteX11" fmla="*/ 388346 w 585276"/>
                  <a:gd name="connsiteY11" fmla="*/ 70940 h 1157818"/>
                  <a:gd name="connsiteX12" fmla="*/ 397841 w 585276"/>
                  <a:gd name="connsiteY12" fmla="*/ 70556 h 1157818"/>
                  <a:gd name="connsiteX13" fmla="*/ 427123 w 585276"/>
                  <a:gd name="connsiteY13" fmla="*/ 91001 h 1157818"/>
                  <a:gd name="connsiteX14" fmla="*/ 441887 w 585276"/>
                  <a:gd name="connsiteY14" fmla="*/ 97313 h 1157818"/>
                  <a:gd name="connsiteX15" fmla="*/ 446278 w 585276"/>
                  <a:gd name="connsiteY15" fmla="*/ 101210 h 1157818"/>
                  <a:gd name="connsiteX16" fmla="*/ 450312 w 585276"/>
                  <a:gd name="connsiteY16" fmla="*/ 100332 h 1157818"/>
                  <a:gd name="connsiteX17" fmla="*/ 462606 w 585276"/>
                  <a:gd name="connsiteY17" fmla="*/ 106671 h 1157818"/>
                  <a:gd name="connsiteX18" fmla="*/ 469357 w 585276"/>
                  <a:gd name="connsiteY18" fmla="*/ 117429 h 1157818"/>
                  <a:gd name="connsiteX19" fmla="*/ 468452 w 585276"/>
                  <a:gd name="connsiteY19" fmla="*/ 120941 h 1157818"/>
                  <a:gd name="connsiteX20" fmla="*/ 461975 w 585276"/>
                  <a:gd name="connsiteY20" fmla="*/ 127555 h 1157818"/>
                  <a:gd name="connsiteX21" fmla="*/ 460137 w 585276"/>
                  <a:gd name="connsiteY21" fmla="*/ 135019 h 1157818"/>
                  <a:gd name="connsiteX22" fmla="*/ 453358 w 585276"/>
                  <a:gd name="connsiteY22" fmla="*/ 140261 h 1157818"/>
                  <a:gd name="connsiteX23" fmla="*/ 448830 w 585276"/>
                  <a:gd name="connsiteY23" fmla="*/ 159279 h 1157818"/>
                  <a:gd name="connsiteX24" fmla="*/ 437716 w 585276"/>
                  <a:gd name="connsiteY24" fmla="*/ 172370 h 1157818"/>
                  <a:gd name="connsiteX25" fmla="*/ 439252 w 585276"/>
                  <a:gd name="connsiteY25" fmla="*/ 176733 h 1157818"/>
                  <a:gd name="connsiteX26" fmla="*/ 458737 w 585276"/>
                  <a:gd name="connsiteY26" fmla="*/ 176458 h 1157818"/>
                  <a:gd name="connsiteX27" fmla="*/ 482146 w 585276"/>
                  <a:gd name="connsiteY27" fmla="*/ 183182 h 1157818"/>
                  <a:gd name="connsiteX28" fmla="*/ 488321 w 585276"/>
                  <a:gd name="connsiteY28" fmla="*/ 181343 h 1157818"/>
                  <a:gd name="connsiteX29" fmla="*/ 492903 w 585276"/>
                  <a:gd name="connsiteY29" fmla="*/ 183292 h 1157818"/>
                  <a:gd name="connsiteX30" fmla="*/ 497624 w 585276"/>
                  <a:gd name="connsiteY30" fmla="*/ 181975 h 1157818"/>
                  <a:gd name="connsiteX31" fmla="*/ 503442 w 585276"/>
                  <a:gd name="connsiteY31" fmla="*/ 186256 h 1157818"/>
                  <a:gd name="connsiteX32" fmla="*/ 505829 w 585276"/>
                  <a:gd name="connsiteY32" fmla="*/ 184636 h 1157818"/>
                  <a:gd name="connsiteX33" fmla="*/ 507064 w 585276"/>
                  <a:gd name="connsiteY33" fmla="*/ 180822 h 1157818"/>
                  <a:gd name="connsiteX34" fmla="*/ 512168 w 585276"/>
                  <a:gd name="connsiteY34" fmla="*/ 177913 h 1157818"/>
                  <a:gd name="connsiteX35" fmla="*/ 523530 w 585276"/>
                  <a:gd name="connsiteY35" fmla="*/ 181316 h 1157818"/>
                  <a:gd name="connsiteX36" fmla="*/ 527015 w 585276"/>
                  <a:gd name="connsiteY36" fmla="*/ 177995 h 1157818"/>
                  <a:gd name="connsiteX37" fmla="*/ 528113 w 585276"/>
                  <a:gd name="connsiteY37" fmla="*/ 171738 h 1157818"/>
                  <a:gd name="connsiteX38" fmla="*/ 534013 w 585276"/>
                  <a:gd name="connsiteY38" fmla="*/ 166496 h 1157818"/>
                  <a:gd name="connsiteX39" fmla="*/ 540215 w 585276"/>
                  <a:gd name="connsiteY39" fmla="*/ 165371 h 1157818"/>
                  <a:gd name="connsiteX40" fmla="*/ 541944 w 585276"/>
                  <a:gd name="connsiteY40" fmla="*/ 161969 h 1157818"/>
                  <a:gd name="connsiteX41" fmla="*/ 550314 w 585276"/>
                  <a:gd name="connsiteY41" fmla="*/ 155876 h 1157818"/>
                  <a:gd name="connsiteX42" fmla="*/ 555336 w 585276"/>
                  <a:gd name="connsiteY42" fmla="*/ 141798 h 1157818"/>
                  <a:gd name="connsiteX43" fmla="*/ 555968 w 585276"/>
                  <a:gd name="connsiteY43" fmla="*/ 127527 h 1157818"/>
                  <a:gd name="connsiteX44" fmla="*/ 556763 w 585276"/>
                  <a:gd name="connsiteY44" fmla="*/ 121243 h 1157818"/>
                  <a:gd name="connsiteX45" fmla="*/ 561785 w 585276"/>
                  <a:gd name="connsiteY45" fmla="*/ 122670 h 1157818"/>
                  <a:gd name="connsiteX46" fmla="*/ 570841 w 585276"/>
                  <a:gd name="connsiteY46" fmla="*/ 120036 h 1157818"/>
                  <a:gd name="connsiteX47" fmla="*/ 577702 w 585276"/>
                  <a:gd name="connsiteY47" fmla="*/ 123905 h 1157818"/>
                  <a:gd name="connsiteX48" fmla="*/ 579404 w 585276"/>
                  <a:gd name="connsiteY48" fmla="*/ 133208 h 1157818"/>
                  <a:gd name="connsiteX49" fmla="*/ 585276 w 585276"/>
                  <a:gd name="connsiteY49" fmla="*/ 144048 h 1157818"/>
                  <a:gd name="connsiteX50" fmla="*/ 581983 w 585276"/>
                  <a:gd name="connsiteY50" fmla="*/ 156315 h 1157818"/>
                  <a:gd name="connsiteX51" fmla="*/ 582971 w 585276"/>
                  <a:gd name="connsiteY51" fmla="*/ 164685 h 1157818"/>
                  <a:gd name="connsiteX52" fmla="*/ 580337 w 585276"/>
                  <a:gd name="connsiteY52" fmla="*/ 170174 h 1157818"/>
                  <a:gd name="connsiteX53" fmla="*/ 564667 w 585276"/>
                  <a:gd name="connsiteY53" fmla="*/ 181920 h 1157818"/>
                  <a:gd name="connsiteX54" fmla="*/ 550534 w 585276"/>
                  <a:gd name="connsiteY54" fmla="*/ 186447 h 1157818"/>
                  <a:gd name="connsiteX55" fmla="*/ 546033 w 585276"/>
                  <a:gd name="connsiteY55" fmla="*/ 192732 h 1157818"/>
                  <a:gd name="connsiteX56" fmla="*/ 524298 w 585276"/>
                  <a:gd name="connsiteY56" fmla="*/ 208100 h 1157818"/>
                  <a:gd name="connsiteX57" fmla="*/ 523859 w 585276"/>
                  <a:gd name="connsiteY57" fmla="*/ 213232 h 1157818"/>
                  <a:gd name="connsiteX58" fmla="*/ 519743 w 585276"/>
                  <a:gd name="connsiteY58" fmla="*/ 213452 h 1157818"/>
                  <a:gd name="connsiteX59" fmla="*/ 515297 w 585276"/>
                  <a:gd name="connsiteY59" fmla="*/ 218034 h 1157818"/>
                  <a:gd name="connsiteX60" fmla="*/ 487415 w 585276"/>
                  <a:gd name="connsiteY60" fmla="*/ 254753 h 1157818"/>
                  <a:gd name="connsiteX61" fmla="*/ 479209 w 585276"/>
                  <a:gd name="connsiteY61" fmla="*/ 260928 h 1157818"/>
                  <a:gd name="connsiteX62" fmla="*/ 474873 w 585276"/>
                  <a:gd name="connsiteY62" fmla="*/ 268118 h 1157818"/>
                  <a:gd name="connsiteX63" fmla="*/ 467848 w 585276"/>
                  <a:gd name="connsiteY63" fmla="*/ 273799 h 1157818"/>
                  <a:gd name="connsiteX64" fmla="*/ 466613 w 585276"/>
                  <a:gd name="connsiteY64" fmla="*/ 279534 h 1157818"/>
                  <a:gd name="connsiteX65" fmla="*/ 460027 w 585276"/>
                  <a:gd name="connsiteY65" fmla="*/ 285682 h 1157818"/>
                  <a:gd name="connsiteX66" fmla="*/ 462057 w 585276"/>
                  <a:gd name="connsiteY66" fmla="*/ 298031 h 1157818"/>
                  <a:gd name="connsiteX67" fmla="*/ 460054 w 585276"/>
                  <a:gd name="connsiteY67" fmla="*/ 300062 h 1157818"/>
                  <a:gd name="connsiteX68" fmla="*/ 459094 w 585276"/>
                  <a:gd name="connsiteY68" fmla="*/ 309036 h 1157818"/>
                  <a:gd name="connsiteX69" fmla="*/ 454895 w 585276"/>
                  <a:gd name="connsiteY69" fmla="*/ 317598 h 1157818"/>
                  <a:gd name="connsiteX70" fmla="*/ 456514 w 585276"/>
                  <a:gd name="connsiteY70" fmla="*/ 323937 h 1157818"/>
                  <a:gd name="connsiteX71" fmla="*/ 454401 w 585276"/>
                  <a:gd name="connsiteY71" fmla="*/ 329508 h 1157818"/>
                  <a:gd name="connsiteX72" fmla="*/ 451300 w 585276"/>
                  <a:gd name="connsiteY72" fmla="*/ 332445 h 1157818"/>
                  <a:gd name="connsiteX73" fmla="*/ 453386 w 585276"/>
                  <a:gd name="connsiteY73" fmla="*/ 346001 h 1157818"/>
                  <a:gd name="connsiteX74" fmla="*/ 450888 w 585276"/>
                  <a:gd name="connsiteY74" fmla="*/ 352532 h 1157818"/>
                  <a:gd name="connsiteX75" fmla="*/ 452809 w 585276"/>
                  <a:gd name="connsiteY75" fmla="*/ 372264 h 1157818"/>
                  <a:gd name="connsiteX76" fmla="*/ 446360 w 585276"/>
                  <a:gd name="connsiteY76" fmla="*/ 375283 h 1157818"/>
                  <a:gd name="connsiteX77" fmla="*/ 444851 w 585276"/>
                  <a:gd name="connsiteY77" fmla="*/ 375969 h 1157818"/>
                  <a:gd name="connsiteX78" fmla="*/ 441366 w 585276"/>
                  <a:gd name="connsiteY78" fmla="*/ 390980 h 1157818"/>
                  <a:gd name="connsiteX79" fmla="*/ 444906 w 585276"/>
                  <a:gd name="connsiteY79" fmla="*/ 410163 h 1157818"/>
                  <a:gd name="connsiteX80" fmla="*/ 442244 w 585276"/>
                  <a:gd name="connsiteY80" fmla="*/ 417792 h 1157818"/>
                  <a:gd name="connsiteX81" fmla="*/ 442683 w 585276"/>
                  <a:gd name="connsiteY81" fmla="*/ 423583 h 1157818"/>
                  <a:gd name="connsiteX82" fmla="*/ 450641 w 585276"/>
                  <a:gd name="connsiteY82" fmla="*/ 432529 h 1157818"/>
                  <a:gd name="connsiteX83" fmla="*/ 470647 w 585276"/>
                  <a:gd name="connsiteY83" fmla="*/ 443589 h 1157818"/>
                  <a:gd name="connsiteX84" fmla="*/ 479703 w 585276"/>
                  <a:gd name="connsiteY84" fmla="*/ 453221 h 1157818"/>
                  <a:gd name="connsiteX85" fmla="*/ 481322 w 585276"/>
                  <a:gd name="connsiteY85" fmla="*/ 459478 h 1157818"/>
                  <a:gd name="connsiteX86" fmla="*/ 475751 w 585276"/>
                  <a:gd name="connsiteY86" fmla="*/ 470675 h 1157818"/>
                  <a:gd name="connsiteX87" fmla="*/ 475697 w 585276"/>
                  <a:gd name="connsiteY87" fmla="*/ 477343 h 1157818"/>
                  <a:gd name="connsiteX88" fmla="*/ 483298 w 585276"/>
                  <a:gd name="connsiteY88" fmla="*/ 488403 h 1157818"/>
                  <a:gd name="connsiteX89" fmla="*/ 493837 w 585276"/>
                  <a:gd name="connsiteY89" fmla="*/ 492766 h 1157818"/>
                  <a:gd name="connsiteX90" fmla="*/ 495154 w 585276"/>
                  <a:gd name="connsiteY90" fmla="*/ 507036 h 1157818"/>
                  <a:gd name="connsiteX91" fmla="*/ 493205 w 585276"/>
                  <a:gd name="connsiteY91" fmla="*/ 514748 h 1157818"/>
                  <a:gd name="connsiteX92" fmla="*/ 482695 w 585276"/>
                  <a:gd name="connsiteY92" fmla="*/ 532366 h 1157818"/>
                  <a:gd name="connsiteX93" fmla="*/ 472541 w 585276"/>
                  <a:gd name="connsiteY93" fmla="*/ 545209 h 1157818"/>
                  <a:gd name="connsiteX94" fmla="*/ 467875 w 585276"/>
                  <a:gd name="connsiteY94" fmla="*/ 557422 h 1157818"/>
                  <a:gd name="connsiteX95" fmla="*/ 441228 w 585276"/>
                  <a:gd name="connsiteY95" fmla="*/ 572323 h 1157818"/>
                  <a:gd name="connsiteX96" fmla="*/ 424296 w 585276"/>
                  <a:gd name="connsiteY96" fmla="*/ 578114 h 1157818"/>
                  <a:gd name="connsiteX97" fmla="*/ 371715 w 585276"/>
                  <a:gd name="connsiteY97" fmla="*/ 588899 h 1157818"/>
                  <a:gd name="connsiteX98" fmla="*/ 349953 w 585276"/>
                  <a:gd name="connsiteY98" fmla="*/ 589393 h 1157818"/>
                  <a:gd name="connsiteX99" fmla="*/ 339717 w 585276"/>
                  <a:gd name="connsiteY99" fmla="*/ 587390 h 1157818"/>
                  <a:gd name="connsiteX100" fmla="*/ 332335 w 585276"/>
                  <a:gd name="connsiteY100" fmla="*/ 583767 h 1157818"/>
                  <a:gd name="connsiteX101" fmla="*/ 332664 w 585276"/>
                  <a:gd name="connsiteY101" fmla="*/ 588515 h 1157818"/>
                  <a:gd name="connsiteX102" fmla="*/ 330222 w 585276"/>
                  <a:gd name="connsiteY102" fmla="*/ 591835 h 1157818"/>
                  <a:gd name="connsiteX103" fmla="*/ 329810 w 585276"/>
                  <a:gd name="connsiteY103" fmla="*/ 595760 h 1157818"/>
                  <a:gd name="connsiteX104" fmla="*/ 332088 w 585276"/>
                  <a:gd name="connsiteY104" fmla="*/ 601715 h 1157818"/>
                  <a:gd name="connsiteX105" fmla="*/ 336396 w 585276"/>
                  <a:gd name="connsiteY105" fmla="*/ 603059 h 1157818"/>
                  <a:gd name="connsiteX106" fmla="*/ 337027 w 585276"/>
                  <a:gd name="connsiteY106" fmla="*/ 610222 h 1157818"/>
                  <a:gd name="connsiteX107" fmla="*/ 335408 w 585276"/>
                  <a:gd name="connsiteY107" fmla="*/ 623148 h 1157818"/>
                  <a:gd name="connsiteX108" fmla="*/ 330167 w 585276"/>
                  <a:gd name="connsiteY108" fmla="*/ 625755 h 1157818"/>
                  <a:gd name="connsiteX109" fmla="*/ 328932 w 585276"/>
                  <a:gd name="connsiteY109" fmla="*/ 635113 h 1157818"/>
                  <a:gd name="connsiteX110" fmla="*/ 325995 w 585276"/>
                  <a:gd name="connsiteY110" fmla="*/ 640629 h 1157818"/>
                  <a:gd name="connsiteX111" fmla="*/ 327422 w 585276"/>
                  <a:gd name="connsiteY111" fmla="*/ 645267 h 1157818"/>
                  <a:gd name="connsiteX112" fmla="*/ 333075 w 585276"/>
                  <a:gd name="connsiteY112" fmla="*/ 651304 h 1157818"/>
                  <a:gd name="connsiteX113" fmla="*/ 326626 w 585276"/>
                  <a:gd name="connsiteY113" fmla="*/ 662885 h 1157818"/>
                  <a:gd name="connsiteX114" fmla="*/ 306017 w 585276"/>
                  <a:gd name="connsiteY114" fmla="*/ 672078 h 1157818"/>
                  <a:gd name="connsiteX115" fmla="*/ 288700 w 585276"/>
                  <a:gd name="connsiteY115" fmla="*/ 672435 h 1157818"/>
                  <a:gd name="connsiteX116" fmla="*/ 256208 w 585276"/>
                  <a:gd name="connsiteY116" fmla="*/ 656738 h 1157818"/>
                  <a:gd name="connsiteX117" fmla="*/ 248634 w 585276"/>
                  <a:gd name="connsiteY117" fmla="*/ 660333 h 1157818"/>
                  <a:gd name="connsiteX118" fmla="*/ 246685 w 585276"/>
                  <a:gd name="connsiteY118" fmla="*/ 672051 h 1157818"/>
                  <a:gd name="connsiteX119" fmla="*/ 250445 w 585276"/>
                  <a:gd name="connsiteY119" fmla="*/ 687502 h 1157818"/>
                  <a:gd name="connsiteX120" fmla="*/ 250582 w 585276"/>
                  <a:gd name="connsiteY120" fmla="*/ 708495 h 1157818"/>
                  <a:gd name="connsiteX121" fmla="*/ 255878 w 585276"/>
                  <a:gd name="connsiteY121" fmla="*/ 712996 h 1157818"/>
                  <a:gd name="connsiteX122" fmla="*/ 263974 w 585276"/>
                  <a:gd name="connsiteY122" fmla="*/ 715521 h 1157818"/>
                  <a:gd name="connsiteX123" fmla="*/ 263809 w 585276"/>
                  <a:gd name="connsiteY123" fmla="*/ 721064 h 1157818"/>
                  <a:gd name="connsiteX124" fmla="*/ 265401 w 585276"/>
                  <a:gd name="connsiteY124" fmla="*/ 722189 h 1157818"/>
                  <a:gd name="connsiteX125" fmla="*/ 276461 w 585276"/>
                  <a:gd name="connsiteY125" fmla="*/ 720625 h 1157818"/>
                  <a:gd name="connsiteX126" fmla="*/ 276763 w 585276"/>
                  <a:gd name="connsiteY126" fmla="*/ 713600 h 1157818"/>
                  <a:gd name="connsiteX127" fmla="*/ 286532 w 585276"/>
                  <a:gd name="connsiteY127" fmla="*/ 710252 h 1157818"/>
                  <a:gd name="connsiteX128" fmla="*/ 291445 w 585276"/>
                  <a:gd name="connsiteY128" fmla="*/ 719555 h 1157818"/>
                  <a:gd name="connsiteX129" fmla="*/ 291883 w 585276"/>
                  <a:gd name="connsiteY129" fmla="*/ 728364 h 1157818"/>
                  <a:gd name="connsiteX130" fmla="*/ 290704 w 585276"/>
                  <a:gd name="connsiteY130" fmla="*/ 733221 h 1157818"/>
                  <a:gd name="connsiteX131" fmla="*/ 287904 w 585276"/>
                  <a:gd name="connsiteY131" fmla="*/ 737201 h 1157818"/>
                  <a:gd name="connsiteX132" fmla="*/ 277558 w 585276"/>
                  <a:gd name="connsiteY132" fmla="*/ 739643 h 1157818"/>
                  <a:gd name="connsiteX133" fmla="*/ 273936 w 585276"/>
                  <a:gd name="connsiteY133" fmla="*/ 736433 h 1157818"/>
                  <a:gd name="connsiteX134" fmla="*/ 271329 w 585276"/>
                  <a:gd name="connsiteY134" fmla="*/ 729187 h 1157818"/>
                  <a:gd name="connsiteX135" fmla="*/ 262602 w 585276"/>
                  <a:gd name="connsiteY135" fmla="*/ 726224 h 1157818"/>
                  <a:gd name="connsiteX136" fmla="*/ 252366 w 585276"/>
                  <a:gd name="connsiteY136" fmla="*/ 732728 h 1157818"/>
                  <a:gd name="connsiteX137" fmla="*/ 252777 w 585276"/>
                  <a:gd name="connsiteY137" fmla="*/ 737448 h 1157818"/>
                  <a:gd name="connsiteX138" fmla="*/ 266169 w 585276"/>
                  <a:gd name="connsiteY138" fmla="*/ 744308 h 1157818"/>
                  <a:gd name="connsiteX139" fmla="*/ 266965 w 585276"/>
                  <a:gd name="connsiteY139" fmla="*/ 745818 h 1157818"/>
                  <a:gd name="connsiteX140" fmla="*/ 251707 w 585276"/>
                  <a:gd name="connsiteY140" fmla="*/ 756384 h 1157818"/>
                  <a:gd name="connsiteX141" fmla="*/ 242047 w 585276"/>
                  <a:gd name="connsiteY141" fmla="*/ 771367 h 1157818"/>
                  <a:gd name="connsiteX142" fmla="*/ 241828 w 585276"/>
                  <a:gd name="connsiteY142" fmla="*/ 772575 h 1157818"/>
                  <a:gd name="connsiteX143" fmla="*/ 241032 w 585276"/>
                  <a:gd name="connsiteY143" fmla="*/ 776938 h 1157818"/>
                  <a:gd name="connsiteX144" fmla="*/ 243392 w 585276"/>
                  <a:gd name="connsiteY144" fmla="*/ 788464 h 1157818"/>
                  <a:gd name="connsiteX145" fmla="*/ 243200 w 585276"/>
                  <a:gd name="connsiteY145" fmla="*/ 800484 h 1157818"/>
                  <a:gd name="connsiteX146" fmla="*/ 238974 w 585276"/>
                  <a:gd name="connsiteY146" fmla="*/ 808827 h 1157818"/>
                  <a:gd name="connsiteX147" fmla="*/ 231564 w 585276"/>
                  <a:gd name="connsiteY147" fmla="*/ 816291 h 1157818"/>
                  <a:gd name="connsiteX148" fmla="*/ 232579 w 585276"/>
                  <a:gd name="connsiteY148" fmla="*/ 824744 h 1157818"/>
                  <a:gd name="connsiteX149" fmla="*/ 230988 w 585276"/>
                  <a:gd name="connsiteY149" fmla="*/ 827241 h 1157818"/>
                  <a:gd name="connsiteX150" fmla="*/ 215290 w 585276"/>
                  <a:gd name="connsiteY150" fmla="*/ 828064 h 1157818"/>
                  <a:gd name="connsiteX151" fmla="*/ 193171 w 585276"/>
                  <a:gd name="connsiteY151" fmla="*/ 840112 h 1157818"/>
                  <a:gd name="connsiteX152" fmla="*/ 183100 w 585276"/>
                  <a:gd name="connsiteY152" fmla="*/ 852653 h 1157818"/>
                  <a:gd name="connsiteX153" fmla="*/ 175278 w 585276"/>
                  <a:gd name="connsiteY153" fmla="*/ 869339 h 1157818"/>
                  <a:gd name="connsiteX154" fmla="*/ 175196 w 585276"/>
                  <a:gd name="connsiteY154" fmla="*/ 881798 h 1157818"/>
                  <a:gd name="connsiteX155" fmla="*/ 181618 w 585276"/>
                  <a:gd name="connsiteY155" fmla="*/ 894971 h 1157818"/>
                  <a:gd name="connsiteX156" fmla="*/ 200554 w 585276"/>
                  <a:gd name="connsiteY156" fmla="*/ 911793 h 1157818"/>
                  <a:gd name="connsiteX157" fmla="*/ 224456 w 585276"/>
                  <a:gd name="connsiteY157" fmla="*/ 917446 h 1157818"/>
                  <a:gd name="connsiteX158" fmla="*/ 227612 w 585276"/>
                  <a:gd name="connsiteY158" fmla="*/ 921233 h 1157818"/>
                  <a:gd name="connsiteX159" fmla="*/ 228683 w 585276"/>
                  <a:gd name="connsiteY159" fmla="*/ 928588 h 1157818"/>
                  <a:gd name="connsiteX160" fmla="*/ 225801 w 585276"/>
                  <a:gd name="connsiteY160" fmla="*/ 943572 h 1157818"/>
                  <a:gd name="connsiteX161" fmla="*/ 226103 w 585276"/>
                  <a:gd name="connsiteY161" fmla="*/ 952189 h 1157818"/>
                  <a:gd name="connsiteX162" fmla="*/ 222727 w 585276"/>
                  <a:gd name="connsiteY162" fmla="*/ 959324 h 1157818"/>
                  <a:gd name="connsiteX163" fmla="*/ 189713 w 585276"/>
                  <a:gd name="connsiteY163" fmla="*/ 985450 h 1157818"/>
                  <a:gd name="connsiteX164" fmla="*/ 176267 w 585276"/>
                  <a:gd name="connsiteY164" fmla="*/ 1001779 h 1157818"/>
                  <a:gd name="connsiteX165" fmla="*/ 170448 w 585276"/>
                  <a:gd name="connsiteY165" fmla="*/ 1032158 h 1157818"/>
                  <a:gd name="connsiteX166" fmla="*/ 166579 w 585276"/>
                  <a:gd name="connsiteY166" fmla="*/ 1041791 h 1157818"/>
                  <a:gd name="connsiteX167" fmla="*/ 157139 w 585276"/>
                  <a:gd name="connsiteY167" fmla="*/ 1048706 h 1157818"/>
                  <a:gd name="connsiteX168" fmla="*/ 151074 w 585276"/>
                  <a:gd name="connsiteY168" fmla="*/ 1049639 h 1157818"/>
                  <a:gd name="connsiteX169" fmla="*/ 147973 w 585276"/>
                  <a:gd name="connsiteY169" fmla="*/ 1054222 h 1157818"/>
                  <a:gd name="connsiteX170" fmla="*/ 137627 w 585276"/>
                  <a:gd name="connsiteY170" fmla="*/ 1061110 h 1157818"/>
                  <a:gd name="connsiteX171" fmla="*/ 132358 w 585276"/>
                  <a:gd name="connsiteY171" fmla="*/ 1069810 h 1157818"/>
                  <a:gd name="connsiteX172" fmla="*/ 129092 w 585276"/>
                  <a:gd name="connsiteY172" fmla="*/ 1095606 h 1157818"/>
                  <a:gd name="connsiteX173" fmla="*/ 135102 w 585276"/>
                  <a:gd name="connsiteY173" fmla="*/ 1121457 h 1157818"/>
                  <a:gd name="connsiteX174" fmla="*/ 148769 w 585276"/>
                  <a:gd name="connsiteY174" fmla="*/ 1149010 h 1157818"/>
                  <a:gd name="connsiteX175" fmla="*/ 149784 w 585276"/>
                  <a:gd name="connsiteY175" fmla="*/ 1157819 h 1157818"/>
                  <a:gd name="connsiteX176" fmla="*/ 146792 w 585276"/>
                  <a:gd name="connsiteY176" fmla="*/ 1154060 h 1157818"/>
                  <a:gd name="connsiteX177" fmla="*/ 132467 w 585276"/>
                  <a:gd name="connsiteY177" fmla="*/ 1148269 h 1157818"/>
                  <a:gd name="connsiteX178" fmla="*/ 103103 w 585276"/>
                  <a:gd name="connsiteY178" fmla="*/ 1139652 h 1157818"/>
                  <a:gd name="connsiteX179" fmla="*/ 47285 w 585276"/>
                  <a:gd name="connsiteY179" fmla="*/ 1138033 h 1157818"/>
                  <a:gd name="connsiteX180" fmla="*/ 43388 w 585276"/>
                  <a:gd name="connsiteY180" fmla="*/ 1129772 h 1157818"/>
                  <a:gd name="connsiteX181" fmla="*/ 33316 w 585276"/>
                  <a:gd name="connsiteY181" fmla="*/ 1117286 h 1157818"/>
                  <a:gd name="connsiteX182" fmla="*/ 35731 w 585276"/>
                  <a:gd name="connsiteY182" fmla="*/ 1104882 h 1157818"/>
                  <a:gd name="connsiteX183" fmla="*/ 34688 w 585276"/>
                  <a:gd name="connsiteY183" fmla="*/ 1096072 h 1157818"/>
                  <a:gd name="connsiteX184" fmla="*/ 36774 w 585276"/>
                  <a:gd name="connsiteY184" fmla="*/ 1088087 h 1157818"/>
                  <a:gd name="connsiteX185" fmla="*/ 34715 w 585276"/>
                  <a:gd name="connsiteY185" fmla="*/ 1076780 h 1157818"/>
                  <a:gd name="connsiteX186" fmla="*/ 23491 w 585276"/>
                  <a:gd name="connsiteY186" fmla="*/ 1074859 h 1157818"/>
                  <a:gd name="connsiteX187" fmla="*/ 12322 w 585276"/>
                  <a:gd name="connsiteY187" fmla="*/ 1078262 h 1157818"/>
                  <a:gd name="connsiteX188" fmla="*/ 796 w 585276"/>
                  <a:gd name="connsiteY188" fmla="*/ 1060342 h 1157818"/>
                  <a:gd name="connsiteX189" fmla="*/ 0 w 585276"/>
                  <a:gd name="connsiteY189" fmla="*/ 1046730 h 1157818"/>
                  <a:gd name="connsiteX190" fmla="*/ 1400 w 585276"/>
                  <a:gd name="connsiteY190" fmla="*/ 1035067 h 1157818"/>
                  <a:gd name="connsiteX191" fmla="*/ 27 w 585276"/>
                  <a:gd name="connsiteY191" fmla="*/ 1023403 h 1157818"/>
                  <a:gd name="connsiteX192" fmla="*/ 1619 w 585276"/>
                  <a:gd name="connsiteY192" fmla="*/ 1011877 h 1157818"/>
                  <a:gd name="connsiteX193" fmla="*/ 12185 w 585276"/>
                  <a:gd name="connsiteY193" fmla="*/ 1004907 h 1157818"/>
                  <a:gd name="connsiteX194" fmla="*/ 26620 w 585276"/>
                  <a:gd name="connsiteY194" fmla="*/ 990911 h 1157818"/>
                  <a:gd name="connsiteX195" fmla="*/ 28761 w 585276"/>
                  <a:gd name="connsiteY195" fmla="*/ 977739 h 1157818"/>
                  <a:gd name="connsiteX196" fmla="*/ 34935 w 585276"/>
                  <a:gd name="connsiteY196" fmla="*/ 968216 h 1157818"/>
                  <a:gd name="connsiteX197" fmla="*/ 34496 w 585276"/>
                  <a:gd name="connsiteY197" fmla="*/ 961080 h 1157818"/>
                  <a:gd name="connsiteX198" fmla="*/ 31230 w 585276"/>
                  <a:gd name="connsiteY198" fmla="*/ 951037 h 1157818"/>
                  <a:gd name="connsiteX199" fmla="*/ 35127 w 585276"/>
                  <a:gd name="connsiteY199" fmla="*/ 934900 h 1157818"/>
                  <a:gd name="connsiteX200" fmla="*/ 46873 w 585276"/>
                  <a:gd name="connsiteY200" fmla="*/ 920794 h 1157818"/>
                  <a:gd name="connsiteX201" fmla="*/ 47614 w 585276"/>
                  <a:gd name="connsiteY201" fmla="*/ 906414 h 1157818"/>
                  <a:gd name="connsiteX202" fmla="*/ 53679 w 585276"/>
                  <a:gd name="connsiteY202" fmla="*/ 896398 h 1157818"/>
                  <a:gd name="connsiteX203" fmla="*/ 50358 w 585276"/>
                  <a:gd name="connsiteY203" fmla="*/ 877462 h 1157818"/>
                  <a:gd name="connsiteX204" fmla="*/ 54694 w 585276"/>
                  <a:gd name="connsiteY204" fmla="*/ 867253 h 1157818"/>
                  <a:gd name="connsiteX205" fmla="*/ 52746 w 585276"/>
                  <a:gd name="connsiteY205" fmla="*/ 855617 h 1157818"/>
                  <a:gd name="connsiteX206" fmla="*/ 59551 w 585276"/>
                  <a:gd name="connsiteY206" fmla="*/ 846122 h 1157818"/>
                  <a:gd name="connsiteX207" fmla="*/ 62570 w 585276"/>
                  <a:gd name="connsiteY207" fmla="*/ 838136 h 1157818"/>
                  <a:gd name="connsiteX208" fmla="*/ 58042 w 585276"/>
                  <a:gd name="connsiteY208" fmla="*/ 829739 h 1157818"/>
                  <a:gd name="connsiteX209" fmla="*/ 48437 w 585276"/>
                  <a:gd name="connsiteY209" fmla="*/ 823838 h 1157818"/>
                  <a:gd name="connsiteX210" fmla="*/ 46461 w 585276"/>
                  <a:gd name="connsiteY210" fmla="*/ 820270 h 1157818"/>
                  <a:gd name="connsiteX211" fmla="*/ 63091 w 585276"/>
                  <a:gd name="connsiteY211" fmla="*/ 817526 h 1157818"/>
                  <a:gd name="connsiteX212" fmla="*/ 63750 w 585276"/>
                  <a:gd name="connsiteY212" fmla="*/ 816291 h 1157818"/>
                  <a:gd name="connsiteX213" fmla="*/ 67894 w 585276"/>
                  <a:gd name="connsiteY213" fmla="*/ 808607 h 1157818"/>
                  <a:gd name="connsiteX214" fmla="*/ 65781 w 585276"/>
                  <a:gd name="connsiteY214" fmla="*/ 805013 h 1157818"/>
                  <a:gd name="connsiteX215" fmla="*/ 54858 w 585276"/>
                  <a:gd name="connsiteY215" fmla="*/ 801692 h 1157818"/>
                  <a:gd name="connsiteX216" fmla="*/ 51648 w 585276"/>
                  <a:gd name="connsiteY216" fmla="*/ 798343 h 1157818"/>
                  <a:gd name="connsiteX217" fmla="*/ 53734 w 585276"/>
                  <a:gd name="connsiteY217" fmla="*/ 772575 h 1157818"/>
                  <a:gd name="connsiteX218" fmla="*/ 49343 w 585276"/>
                  <a:gd name="connsiteY218" fmla="*/ 764918 h 1157818"/>
                  <a:gd name="connsiteX219" fmla="*/ 50632 w 585276"/>
                  <a:gd name="connsiteY219" fmla="*/ 754078 h 1157818"/>
                  <a:gd name="connsiteX220" fmla="*/ 43772 w 585276"/>
                  <a:gd name="connsiteY220" fmla="*/ 743348 h 1157818"/>
                  <a:gd name="connsiteX221" fmla="*/ 42646 w 585276"/>
                  <a:gd name="connsiteY221" fmla="*/ 738436 h 1157818"/>
                  <a:gd name="connsiteX222" fmla="*/ 43607 w 585276"/>
                  <a:gd name="connsiteY222" fmla="*/ 716344 h 1157818"/>
                  <a:gd name="connsiteX223" fmla="*/ 51291 w 585276"/>
                  <a:gd name="connsiteY223" fmla="*/ 706409 h 1157818"/>
                  <a:gd name="connsiteX224" fmla="*/ 49123 w 585276"/>
                  <a:gd name="connsiteY224" fmla="*/ 691728 h 1157818"/>
                  <a:gd name="connsiteX225" fmla="*/ 47833 w 585276"/>
                  <a:gd name="connsiteY225" fmla="*/ 656463 h 1157818"/>
                  <a:gd name="connsiteX226" fmla="*/ 52471 w 585276"/>
                  <a:gd name="connsiteY226" fmla="*/ 643099 h 1157818"/>
                  <a:gd name="connsiteX227" fmla="*/ 51922 w 585276"/>
                  <a:gd name="connsiteY227" fmla="*/ 635525 h 1157818"/>
                  <a:gd name="connsiteX228" fmla="*/ 55078 w 585276"/>
                  <a:gd name="connsiteY228" fmla="*/ 625425 h 1157818"/>
                  <a:gd name="connsiteX229" fmla="*/ 55078 w 585276"/>
                  <a:gd name="connsiteY229" fmla="*/ 615985 h 1157818"/>
                  <a:gd name="connsiteX230" fmla="*/ 60512 w 585276"/>
                  <a:gd name="connsiteY230" fmla="*/ 606819 h 1157818"/>
                  <a:gd name="connsiteX231" fmla="*/ 63037 w 585276"/>
                  <a:gd name="connsiteY231" fmla="*/ 589530 h 1157818"/>
                  <a:gd name="connsiteX232" fmla="*/ 73602 w 585276"/>
                  <a:gd name="connsiteY232" fmla="*/ 580282 h 1157818"/>
                  <a:gd name="connsiteX233" fmla="*/ 76813 w 585276"/>
                  <a:gd name="connsiteY233" fmla="*/ 574629 h 1157818"/>
                  <a:gd name="connsiteX234" fmla="*/ 69513 w 585276"/>
                  <a:gd name="connsiteY234" fmla="*/ 540792 h 1157818"/>
                  <a:gd name="connsiteX235" fmla="*/ 71105 w 585276"/>
                  <a:gd name="connsiteY235" fmla="*/ 505527 h 1157818"/>
                  <a:gd name="connsiteX236" fmla="*/ 74590 w 585276"/>
                  <a:gd name="connsiteY236" fmla="*/ 497075 h 1157818"/>
                  <a:gd name="connsiteX237" fmla="*/ 82055 w 585276"/>
                  <a:gd name="connsiteY237" fmla="*/ 491531 h 1157818"/>
                  <a:gd name="connsiteX238" fmla="*/ 91193 w 585276"/>
                  <a:gd name="connsiteY238" fmla="*/ 480170 h 1157818"/>
                  <a:gd name="connsiteX239" fmla="*/ 92675 w 585276"/>
                  <a:gd name="connsiteY239" fmla="*/ 467848 h 1157818"/>
                  <a:gd name="connsiteX240" fmla="*/ 89437 w 585276"/>
                  <a:gd name="connsiteY240" fmla="*/ 450833 h 1157818"/>
                  <a:gd name="connsiteX241" fmla="*/ 97121 w 585276"/>
                  <a:gd name="connsiteY241" fmla="*/ 429976 h 1157818"/>
                  <a:gd name="connsiteX242" fmla="*/ 108043 w 585276"/>
                  <a:gd name="connsiteY242" fmla="*/ 408928 h 1157818"/>
                  <a:gd name="connsiteX243" fmla="*/ 108894 w 585276"/>
                  <a:gd name="connsiteY243" fmla="*/ 384943 h 1157818"/>
                  <a:gd name="connsiteX244" fmla="*/ 102911 w 585276"/>
                  <a:gd name="connsiteY244" fmla="*/ 376682 h 1157818"/>
                  <a:gd name="connsiteX245" fmla="*/ 101786 w 585276"/>
                  <a:gd name="connsiteY245" fmla="*/ 365485 h 1157818"/>
                  <a:gd name="connsiteX246" fmla="*/ 95447 w 585276"/>
                  <a:gd name="connsiteY246" fmla="*/ 345150 h 1157818"/>
                  <a:gd name="connsiteX247" fmla="*/ 95282 w 585276"/>
                  <a:gd name="connsiteY247" fmla="*/ 336149 h 1157818"/>
                  <a:gd name="connsiteX248" fmla="*/ 88778 w 585276"/>
                  <a:gd name="connsiteY248" fmla="*/ 322235 h 1157818"/>
                  <a:gd name="connsiteX249" fmla="*/ 88723 w 585276"/>
                  <a:gd name="connsiteY249" fmla="*/ 312877 h 1157818"/>
                  <a:gd name="connsiteX250" fmla="*/ 94788 w 585276"/>
                  <a:gd name="connsiteY250" fmla="*/ 301489 h 1157818"/>
                  <a:gd name="connsiteX251" fmla="*/ 99508 w 585276"/>
                  <a:gd name="connsiteY251" fmla="*/ 285654 h 1157818"/>
                  <a:gd name="connsiteX252" fmla="*/ 107083 w 585276"/>
                  <a:gd name="connsiteY252" fmla="*/ 275720 h 1157818"/>
                  <a:gd name="connsiteX253" fmla="*/ 105107 w 585276"/>
                  <a:gd name="connsiteY253" fmla="*/ 245999 h 1157818"/>
                  <a:gd name="connsiteX254" fmla="*/ 110650 w 585276"/>
                  <a:gd name="connsiteY254" fmla="*/ 234445 h 1157818"/>
                  <a:gd name="connsiteX255" fmla="*/ 115069 w 585276"/>
                  <a:gd name="connsiteY255" fmla="*/ 215071 h 1157818"/>
                  <a:gd name="connsiteX256" fmla="*/ 128351 w 585276"/>
                  <a:gd name="connsiteY256" fmla="*/ 198138 h 1157818"/>
                  <a:gd name="connsiteX257" fmla="*/ 138532 w 585276"/>
                  <a:gd name="connsiteY257" fmla="*/ 174235 h 1157818"/>
                  <a:gd name="connsiteX258" fmla="*/ 147342 w 585276"/>
                  <a:gd name="connsiteY258" fmla="*/ 171107 h 1157818"/>
                  <a:gd name="connsiteX259" fmla="*/ 151705 w 585276"/>
                  <a:gd name="connsiteY259" fmla="*/ 166360 h 1157818"/>
                  <a:gd name="connsiteX260" fmla="*/ 146491 w 585276"/>
                  <a:gd name="connsiteY260" fmla="*/ 150085 h 1157818"/>
                  <a:gd name="connsiteX261" fmla="*/ 149702 w 585276"/>
                  <a:gd name="connsiteY261" fmla="*/ 137407 h 1157818"/>
                  <a:gd name="connsiteX262" fmla="*/ 146409 w 585276"/>
                  <a:gd name="connsiteY262" fmla="*/ 113888 h 1157818"/>
                  <a:gd name="connsiteX263" fmla="*/ 149811 w 585276"/>
                  <a:gd name="connsiteY263" fmla="*/ 103927 h 1157818"/>
                  <a:gd name="connsiteX264" fmla="*/ 147973 w 585276"/>
                  <a:gd name="connsiteY264" fmla="*/ 92895 h 1157818"/>
                  <a:gd name="connsiteX265" fmla="*/ 156974 w 585276"/>
                  <a:gd name="connsiteY265" fmla="*/ 82219 h 1157818"/>
                  <a:gd name="connsiteX266" fmla="*/ 182029 w 585276"/>
                  <a:gd name="connsiteY266" fmla="*/ 67757 h 1157818"/>
                  <a:gd name="connsiteX267" fmla="*/ 190647 w 585276"/>
                  <a:gd name="connsiteY267" fmla="*/ 40616 h 1157818"/>
                  <a:gd name="connsiteX268" fmla="*/ 190098 w 585276"/>
                  <a:gd name="connsiteY268" fmla="*/ 36225 h 1157818"/>
                  <a:gd name="connsiteX269" fmla="*/ 186695 w 585276"/>
                  <a:gd name="connsiteY269" fmla="*/ 31340 h 1157818"/>
                  <a:gd name="connsiteX270" fmla="*/ 192073 w 585276"/>
                  <a:gd name="connsiteY270" fmla="*/ 22887 h 1157818"/>
                  <a:gd name="connsiteX271" fmla="*/ 197837 w 585276"/>
                  <a:gd name="connsiteY271" fmla="*/ 18991 h 1157818"/>
                  <a:gd name="connsiteX272" fmla="*/ 200718 w 585276"/>
                  <a:gd name="connsiteY272" fmla="*/ 13200 h 1157818"/>
                  <a:gd name="connsiteX273" fmla="*/ 211970 w 585276"/>
                  <a:gd name="connsiteY273" fmla="*/ 8370 h 1157818"/>
                  <a:gd name="connsiteX274" fmla="*/ 215976 w 585276"/>
                  <a:gd name="connsiteY274" fmla="*/ 0 h 1157818"/>
                  <a:gd name="connsiteX275" fmla="*/ 229424 w 585276"/>
                  <a:gd name="connsiteY275" fmla="*/ 8809 h 1157818"/>
                  <a:gd name="connsiteX276" fmla="*/ 252942 w 585276"/>
                  <a:gd name="connsiteY276" fmla="*/ 9358 h 1157818"/>
                  <a:gd name="connsiteX277" fmla="*/ 262080 w 585276"/>
                  <a:gd name="connsiteY277" fmla="*/ 13282 h 1157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Lst>
                <a:rect l="l" t="t" r="r" b="b"/>
                <a:pathLst>
                  <a:path w="585276" h="1157818">
                    <a:moveTo>
                      <a:pt x="261998" y="13255"/>
                    </a:moveTo>
                    <a:lnTo>
                      <a:pt x="270753" y="30489"/>
                    </a:lnTo>
                    <a:lnTo>
                      <a:pt x="283294" y="6257"/>
                    </a:lnTo>
                    <a:lnTo>
                      <a:pt x="313070" y="6010"/>
                    </a:lnTo>
                    <a:lnTo>
                      <a:pt x="319958" y="13721"/>
                    </a:lnTo>
                    <a:lnTo>
                      <a:pt x="331374" y="22723"/>
                    </a:lnTo>
                    <a:lnTo>
                      <a:pt x="339305" y="37844"/>
                    </a:lnTo>
                    <a:lnTo>
                      <a:pt x="342928" y="40671"/>
                    </a:lnTo>
                    <a:lnTo>
                      <a:pt x="353905" y="50742"/>
                    </a:lnTo>
                    <a:lnTo>
                      <a:pt x="364278" y="56313"/>
                    </a:lnTo>
                    <a:lnTo>
                      <a:pt x="369081" y="63201"/>
                    </a:lnTo>
                    <a:lnTo>
                      <a:pt x="388346" y="70940"/>
                    </a:lnTo>
                    <a:lnTo>
                      <a:pt x="397841" y="70556"/>
                    </a:lnTo>
                    <a:lnTo>
                      <a:pt x="427123" y="91001"/>
                    </a:lnTo>
                    <a:lnTo>
                      <a:pt x="441887" y="97313"/>
                    </a:lnTo>
                    <a:lnTo>
                      <a:pt x="446278" y="101210"/>
                    </a:lnTo>
                    <a:lnTo>
                      <a:pt x="450312" y="100332"/>
                    </a:lnTo>
                    <a:lnTo>
                      <a:pt x="462606" y="106671"/>
                    </a:lnTo>
                    <a:lnTo>
                      <a:pt x="469357" y="117429"/>
                    </a:lnTo>
                    <a:lnTo>
                      <a:pt x="468452" y="120941"/>
                    </a:lnTo>
                    <a:lnTo>
                      <a:pt x="461975" y="127555"/>
                    </a:lnTo>
                    <a:lnTo>
                      <a:pt x="460137" y="135019"/>
                    </a:lnTo>
                    <a:lnTo>
                      <a:pt x="453358" y="140261"/>
                    </a:lnTo>
                    <a:lnTo>
                      <a:pt x="448830" y="159279"/>
                    </a:lnTo>
                    <a:lnTo>
                      <a:pt x="437716" y="172370"/>
                    </a:lnTo>
                    <a:lnTo>
                      <a:pt x="439252" y="176733"/>
                    </a:lnTo>
                    <a:lnTo>
                      <a:pt x="458737" y="176458"/>
                    </a:lnTo>
                    <a:lnTo>
                      <a:pt x="482146" y="183182"/>
                    </a:lnTo>
                    <a:lnTo>
                      <a:pt x="488321" y="181343"/>
                    </a:lnTo>
                    <a:lnTo>
                      <a:pt x="492903" y="183292"/>
                    </a:lnTo>
                    <a:lnTo>
                      <a:pt x="497624" y="181975"/>
                    </a:lnTo>
                    <a:lnTo>
                      <a:pt x="503442" y="186256"/>
                    </a:lnTo>
                    <a:lnTo>
                      <a:pt x="505829" y="184636"/>
                    </a:lnTo>
                    <a:lnTo>
                      <a:pt x="507064" y="180822"/>
                    </a:lnTo>
                    <a:lnTo>
                      <a:pt x="512168" y="177913"/>
                    </a:lnTo>
                    <a:lnTo>
                      <a:pt x="523530" y="181316"/>
                    </a:lnTo>
                    <a:lnTo>
                      <a:pt x="527015" y="177995"/>
                    </a:lnTo>
                    <a:lnTo>
                      <a:pt x="528113" y="171738"/>
                    </a:lnTo>
                    <a:lnTo>
                      <a:pt x="534013" y="166496"/>
                    </a:lnTo>
                    <a:lnTo>
                      <a:pt x="540215" y="165371"/>
                    </a:lnTo>
                    <a:lnTo>
                      <a:pt x="541944" y="161969"/>
                    </a:lnTo>
                    <a:lnTo>
                      <a:pt x="550314" y="155876"/>
                    </a:lnTo>
                    <a:lnTo>
                      <a:pt x="555336" y="141798"/>
                    </a:lnTo>
                    <a:lnTo>
                      <a:pt x="555968" y="127527"/>
                    </a:lnTo>
                    <a:lnTo>
                      <a:pt x="556763" y="121243"/>
                    </a:lnTo>
                    <a:lnTo>
                      <a:pt x="561785" y="122670"/>
                    </a:lnTo>
                    <a:lnTo>
                      <a:pt x="570841" y="120036"/>
                    </a:lnTo>
                    <a:lnTo>
                      <a:pt x="577702" y="123905"/>
                    </a:lnTo>
                    <a:lnTo>
                      <a:pt x="579404" y="133208"/>
                    </a:lnTo>
                    <a:lnTo>
                      <a:pt x="585276" y="144048"/>
                    </a:lnTo>
                    <a:lnTo>
                      <a:pt x="581983" y="156315"/>
                    </a:lnTo>
                    <a:lnTo>
                      <a:pt x="582971" y="164685"/>
                    </a:lnTo>
                    <a:lnTo>
                      <a:pt x="580337" y="170174"/>
                    </a:lnTo>
                    <a:lnTo>
                      <a:pt x="564667" y="181920"/>
                    </a:lnTo>
                    <a:lnTo>
                      <a:pt x="550534" y="186447"/>
                    </a:lnTo>
                    <a:lnTo>
                      <a:pt x="546033" y="192732"/>
                    </a:lnTo>
                    <a:lnTo>
                      <a:pt x="524298" y="208100"/>
                    </a:lnTo>
                    <a:lnTo>
                      <a:pt x="523859" y="213232"/>
                    </a:lnTo>
                    <a:lnTo>
                      <a:pt x="519743" y="213452"/>
                    </a:lnTo>
                    <a:lnTo>
                      <a:pt x="515297" y="218034"/>
                    </a:lnTo>
                    <a:lnTo>
                      <a:pt x="487415" y="254753"/>
                    </a:lnTo>
                    <a:lnTo>
                      <a:pt x="479209" y="260928"/>
                    </a:lnTo>
                    <a:lnTo>
                      <a:pt x="474873" y="268118"/>
                    </a:lnTo>
                    <a:lnTo>
                      <a:pt x="467848" y="273799"/>
                    </a:lnTo>
                    <a:lnTo>
                      <a:pt x="466613" y="279534"/>
                    </a:lnTo>
                    <a:lnTo>
                      <a:pt x="460027" y="285682"/>
                    </a:lnTo>
                    <a:lnTo>
                      <a:pt x="462057" y="298031"/>
                    </a:lnTo>
                    <a:lnTo>
                      <a:pt x="460054" y="300062"/>
                    </a:lnTo>
                    <a:lnTo>
                      <a:pt x="459094" y="309036"/>
                    </a:lnTo>
                    <a:lnTo>
                      <a:pt x="454895" y="317598"/>
                    </a:lnTo>
                    <a:lnTo>
                      <a:pt x="456514" y="323937"/>
                    </a:lnTo>
                    <a:lnTo>
                      <a:pt x="454401" y="329508"/>
                    </a:lnTo>
                    <a:lnTo>
                      <a:pt x="451300" y="332445"/>
                    </a:lnTo>
                    <a:lnTo>
                      <a:pt x="453386" y="346001"/>
                    </a:lnTo>
                    <a:lnTo>
                      <a:pt x="450888" y="352532"/>
                    </a:lnTo>
                    <a:lnTo>
                      <a:pt x="452809" y="372264"/>
                    </a:lnTo>
                    <a:lnTo>
                      <a:pt x="446360" y="375283"/>
                    </a:lnTo>
                    <a:lnTo>
                      <a:pt x="444851" y="375969"/>
                    </a:lnTo>
                    <a:lnTo>
                      <a:pt x="441366" y="390980"/>
                    </a:lnTo>
                    <a:lnTo>
                      <a:pt x="444906" y="410163"/>
                    </a:lnTo>
                    <a:lnTo>
                      <a:pt x="442244" y="417792"/>
                    </a:lnTo>
                    <a:lnTo>
                      <a:pt x="442683" y="423583"/>
                    </a:lnTo>
                    <a:lnTo>
                      <a:pt x="450641" y="432529"/>
                    </a:lnTo>
                    <a:lnTo>
                      <a:pt x="470647" y="443589"/>
                    </a:lnTo>
                    <a:lnTo>
                      <a:pt x="479703" y="453221"/>
                    </a:lnTo>
                    <a:lnTo>
                      <a:pt x="481322" y="459478"/>
                    </a:lnTo>
                    <a:lnTo>
                      <a:pt x="475751" y="470675"/>
                    </a:lnTo>
                    <a:lnTo>
                      <a:pt x="475697" y="477343"/>
                    </a:lnTo>
                    <a:lnTo>
                      <a:pt x="483298" y="488403"/>
                    </a:lnTo>
                    <a:lnTo>
                      <a:pt x="493837" y="492766"/>
                    </a:lnTo>
                    <a:lnTo>
                      <a:pt x="495154" y="507036"/>
                    </a:lnTo>
                    <a:lnTo>
                      <a:pt x="493205" y="514748"/>
                    </a:lnTo>
                    <a:lnTo>
                      <a:pt x="482695" y="532366"/>
                    </a:lnTo>
                    <a:lnTo>
                      <a:pt x="472541" y="545209"/>
                    </a:lnTo>
                    <a:lnTo>
                      <a:pt x="467875" y="557422"/>
                    </a:lnTo>
                    <a:lnTo>
                      <a:pt x="441228" y="572323"/>
                    </a:lnTo>
                    <a:lnTo>
                      <a:pt x="424296" y="578114"/>
                    </a:lnTo>
                    <a:lnTo>
                      <a:pt x="371715" y="588899"/>
                    </a:lnTo>
                    <a:lnTo>
                      <a:pt x="349953" y="589393"/>
                    </a:lnTo>
                    <a:lnTo>
                      <a:pt x="339717" y="587390"/>
                    </a:lnTo>
                    <a:lnTo>
                      <a:pt x="332335" y="583767"/>
                    </a:lnTo>
                    <a:lnTo>
                      <a:pt x="332664" y="588515"/>
                    </a:lnTo>
                    <a:lnTo>
                      <a:pt x="330222" y="591835"/>
                    </a:lnTo>
                    <a:lnTo>
                      <a:pt x="329810" y="595760"/>
                    </a:lnTo>
                    <a:lnTo>
                      <a:pt x="332088" y="601715"/>
                    </a:lnTo>
                    <a:lnTo>
                      <a:pt x="336396" y="603059"/>
                    </a:lnTo>
                    <a:lnTo>
                      <a:pt x="337027" y="610222"/>
                    </a:lnTo>
                    <a:lnTo>
                      <a:pt x="335408" y="623148"/>
                    </a:lnTo>
                    <a:lnTo>
                      <a:pt x="330167" y="625755"/>
                    </a:lnTo>
                    <a:lnTo>
                      <a:pt x="328932" y="635113"/>
                    </a:lnTo>
                    <a:lnTo>
                      <a:pt x="325995" y="640629"/>
                    </a:lnTo>
                    <a:lnTo>
                      <a:pt x="327422" y="645267"/>
                    </a:lnTo>
                    <a:lnTo>
                      <a:pt x="333075" y="651304"/>
                    </a:lnTo>
                    <a:lnTo>
                      <a:pt x="326626" y="662885"/>
                    </a:lnTo>
                    <a:lnTo>
                      <a:pt x="306017" y="672078"/>
                    </a:lnTo>
                    <a:lnTo>
                      <a:pt x="288700" y="672435"/>
                    </a:lnTo>
                    <a:lnTo>
                      <a:pt x="256208" y="656738"/>
                    </a:lnTo>
                    <a:lnTo>
                      <a:pt x="248634" y="660333"/>
                    </a:lnTo>
                    <a:lnTo>
                      <a:pt x="246685" y="672051"/>
                    </a:lnTo>
                    <a:lnTo>
                      <a:pt x="250445" y="687502"/>
                    </a:lnTo>
                    <a:lnTo>
                      <a:pt x="250582" y="708495"/>
                    </a:lnTo>
                    <a:lnTo>
                      <a:pt x="255878" y="712996"/>
                    </a:lnTo>
                    <a:lnTo>
                      <a:pt x="263974" y="715521"/>
                    </a:lnTo>
                    <a:lnTo>
                      <a:pt x="263809" y="721064"/>
                    </a:lnTo>
                    <a:lnTo>
                      <a:pt x="265401" y="722189"/>
                    </a:lnTo>
                    <a:lnTo>
                      <a:pt x="276461" y="720625"/>
                    </a:lnTo>
                    <a:lnTo>
                      <a:pt x="276763" y="713600"/>
                    </a:lnTo>
                    <a:lnTo>
                      <a:pt x="286532" y="710252"/>
                    </a:lnTo>
                    <a:lnTo>
                      <a:pt x="291445" y="719555"/>
                    </a:lnTo>
                    <a:lnTo>
                      <a:pt x="291883" y="728364"/>
                    </a:lnTo>
                    <a:lnTo>
                      <a:pt x="290704" y="733221"/>
                    </a:lnTo>
                    <a:lnTo>
                      <a:pt x="287904" y="737201"/>
                    </a:lnTo>
                    <a:lnTo>
                      <a:pt x="277558" y="739643"/>
                    </a:lnTo>
                    <a:lnTo>
                      <a:pt x="273936" y="736433"/>
                    </a:lnTo>
                    <a:lnTo>
                      <a:pt x="271329" y="729187"/>
                    </a:lnTo>
                    <a:lnTo>
                      <a:pt x="262602" y="726224"/>
                    </a:lnTo>
                    <a:lnTo>
                      <a:pt x="252366" y="732728"/>
                    </a:lnTo>
                    <a:lnTo>
                      <a:pt x="252777" y="737448"/>
                    </a:lnTo>
                    <a:lnTo>
                      <a:pt x="266169" y="744308"/>
                    </a:lnTo>
                    <a:lnTo>
                      <a:pt x="266965" y="745818"/>
                    </a:lnTo>
                    <a:lnTo>
                      <a:pt x="251707" y="756384"/>
                    </a:lnTo>
                    <a:lnTo>
                      <a:pt x="242047" y="771367"/>
                    </a:lnTo>
                    <a:lnTo>
                      <a:pt x="241828" y="772575"/>
                    </a:lnTo>
                    <a:lnTo>
                      <a:pt x="241032" y="776938"/>
                    </a:lnTo>
                    <a:lnTo>
                      <a:pt x="243392" y="788464"/>
                    </a:lnTo>
                    <a:lnTo>
                      <a:pt x="243200" y="800484"/>
                    </a:lnTo>
                    <a:lnTo>
                      <a:pt x="238974" y="808827"/>
                    </a:lnTo>
                    <a:lnTo>
                      <a:pt x="231564" y="816291"/>
                    </a:lnTo>
                    <a:lnTo>
                      <a:pt x="232579" y="824744"/>
                    </a:lnTo>
                    <a:lnTo>
                      <a:pt x="230988" y="827241"/>
                    </a:lnTo>
                    <a:lnTo>
                      <a:pt x="215290" y="828064"/>
                    </a:lnTo>
                    <a:lnTo>
                      <a:pt x="193171" y="840112"/>
                    </a:lnTo>
                    <a:lnTo>
                      <a:pt x="183100" y="852653"/>
                    </a:lnTo>
                    <a:lnTo>
                      <a:pt x="175278" y="869339"/>
                    </a:lnTo>
                    <a:lnTo>
                      <a:pt x="175196" y="881798"/>
                    </a:lnTo>
                    <a:lnTo>
                      <a:pt x="181618" y="894971"/>
                    </a:lnTo>
                    <a:lnTo>
                      <a:pt x="200554" y="911793"/>
                    </a:lnTo>
                    <a:lnTo>
                      <a:pt x="224456" y="917446"/>
                    </a:lnTo>
                    <a:lnTo>
                      <a:pt x="227612" y="921233"/>
                    </a:lnTo>
                    <a:lnTo>
                      <a:pt x="228683" y="928588"/>
                    </a:lnTo>
                    <a:lnTo>
                      <a:pt x="225801" y="943572"/>
                    </a:lnTo>
                    <a:lnTo>
                      <a:pt x="226103" y="952189"/>
                    </a:lnTo>
                    <a:lnTo>
                      <a:pt x="222727" y="959324"/>
                    </a:lnTo>
                    <a:lnTo>
                      <a:pt x="189713" y="985450"/>
                    </a:lnTo>
                    <a:lnTo>
                      <a:pt x="176267" y="1001779"/>
                    </a:lnTo>
                    <a:lnTo>
                      <a:pt x="170448" y="1032158"/>
                    </a:lnTo>
                    <a:lnTo>
                      <a:pt x="166579" y="1041791"/>
                    </a:lnTo>
                    <a:lnTo>
                      <a:pt x="157139" y="1048706"/>
                    </a:lnTo>
                    <a:lnTo>
                      <a:pt x="151074" y="1049639"/>
                    </a:lnTo>
                    <a:lnTo>
                      <a:pt x="147973" y="1054222"/>
                    </a:lnTo>
                    <a:lnTo>
                      <a:pt x="137627" y="1061110"/>
                    </a:lnTo>
                    <a:lnTo>
                      <a:pt x="132358" y="1069810"/>
                    </a:lnTo>
                    <a:lnTo>
                      <a:pt x="129092" y="1095606"/>
                    </a:lnTo>
                    <a:lnTo>
                      <a:pt x="135102" y="1121457"/>
                    </a:lnTo>
                    <a:lnTo>
                      <a:pt x="148769" y="1149010"/>
                    </a:lnTo>
                    <a:lnTo>
                      <a:pt x="149784" y="1157819"/>
                    </a:lnTo>
                    <a:lnTo>
                      <a:pt x="146792" y="1154060"/>
                    </a:lnTo>
                    <a:lnTo>
                      <a:pt x="132467" y="1148269"/>
                    </a:lnTo>
                    <a:lnTo>
                      <a:pt x="103103" y="1139652"/>
                    </a:lnTo>
                    <a:lnTo>
                      <a:pt x="47285" y="1138033"/>
                    </a:lnTo>
                    <a:lnTo>
                      <a:pt x="43388" y="1129772"/>
                    </a:lnTo>
                    <a:lnTo>
                      <a:pt x="33316" y="1117286"/>
                    </a:lnTo>
                    <a:lnTo>
                      <a:pt x="35731" y="1104882"/>
                    </a:lnTo>
                    <a:lnTo>
                      <a:pt x="34688" y="1096072"/>
                    </a:lnTo>
                    <a:lnTo>
                      <a:pt x="36774" y="1088087"/>
                    </a:lnTo>
                    <a:lnTo>
                      <a:pt x="34715" y="1076780"/>
                    </a:lnTo>
                    <a:lnTo>
                      <a:pt x="23491" y="1074859"/>
                    </a:lnTo>
                    <a:lnTo>
                      <a:pt x="12322" y="1078262"/>
                    </a:lnTo>
                    <a:lnTo>
                      <a:pt x="796" y="1060342"/>
                    </a:lnTo>
                    <a:lnTo>
                      <a:pt x="0" y="1046730"/>
                    </a:lnTo>
                    <a:lnTo>
                      <a:pt x="1400" y="1035067"/>
                    </a:lnTo>
                    <a:lnTo>
                      <a:pt x="27" y="1023403"/>
                    </a:lnTo>
                    <a:lnTo>
                      <a:pt x="1619" y="1011877"/>
                    </a:lnTo>
                    <a:lnTo>
                      <a:pt x="12185" y="1004907"/>
                    </a:lnTo>
                    <a:lnTo>
                      <a:pt x="26620" y="990911"/>
                    </a:lnTo>
                    <a:lnTo>
                      <a:pt x="28761" y="977739"/>
                    </a:lnTo>
                    <a:lnTo>
                      <a:pt x="34935" y="968216"/>
                    </a:lnTo>
                    <a:lnTo>
                      <a:pt x="34496" y="961080"/>
                    </a:lnTo>
                    <a:lnTo>
                      <a:pt x="31230" y="951037"/>
                    </a:lnTo>
                    <a:lnTo>
                      <a:pt x="35127" y="934900"/>
                    </a:lnTo>
                    <a:lnTo>
                      <a:pt x="46873" y="920794"/>
                    </a:lnTo>
                    <a:lnTo>
                      <a:pt x="47614" y="906414"/>
                    </a:lnTo>
                    <a:lnTo>
                      <a:pt x="53679" y="896398"/>
                    </a:lnTo>
                    <a:lnTo>
                      <a:pt x="50358" y="877462"/>
                    </a:lnTo>
                    <a:lnTo>
                      <a:pt x="54694" y="867253"/>
                    </a:lnTo>
                    <a:lnTo>
                      <a:pt x="52746" y="855617"/>
                    </a:lnTo>
                    <a:lnTo>
                      <a:pt x="59551" y="846122"/>
                    </a:lnTo>
                    <a:lnTo>
                      <a:pt x="62570" y="838136"/>
                    </a:lnTo>
                    <a:lnTo>
                      <a:pt x="58042" y="829739"/>
                    </a:lnTo>
                    <a:lnTo>
                      <a:pt x="48437" y="823838"/>
                    </a:lnTo>
                    <a:lnTo>
                      <a:pt x="46461" y="820270"/>
                    </a:lnTo>
                    <a:lnTo>
                      <a:pt x="63091" y="817526"/>
                    </a:lnTo>
                    <a:lnTo>
                      <a:pt x="63750" y="816291"/>
                    </a:lnTo>
                    <a:lnTo>
                      <a:pt x="67894" y="808607"/>
                    </a:lnTo>
                    <a:lnTo>
                      <a:pt x="65781" y="805013"/>
                    </a:lnTo>
                    <a:lnTo>
                      <a:pt x="54858" y="801692"/>
                    </a:lnTo>
                    <a:lnTo>
                      <a:pt x="51648" y="798343"/>
                    </a:lnTo>
                    <a:lnTo>
                      <a:pt x="53734" y="772575"/>
                    </a:lnTo>
                    <a:lnTo>
                      <a:pt x="49343" y="764918"/>
                    </a:lnTo>
                    <a:lnTo>
                      <a:pt x="50632" y="754078"/>
                    </a:lnTo>
                    <a:lnTo>
                      <a:pt x="43772" y="743348"/>
                    </a:lnTo>
                    <a:lnTo>
                      <a:pt x="42646" y="738436"/>
                    </a:lnTo>
                    <a:lnTo>
                      <a:pt x="43607" y="716344"/>
                    </a:lnTo>
                    <a:lnTo>
                      <a:pt x="51291" y="706409"/>
                    </a:lnTo>
                    <a:lnTo>
                      <a:pt x="49123" y="691728"/>
                    </a:lnTo>
                    <a:lnTo>
                      <a:pt x="47833" y="656463"/>
                    </a:lnTo>
                    <a:lnTo>
                      <a:pt x="52471" y="643099"/>
                    </a:lnTo>
                    <a:lnTo>
                      <a:pt x="51922" y="635525"/>
                    </a:lnTo>
                    <a:lnTo>
                      <a:pt x="55078" y="625425"/>
                    </a:lnTo>
                    <a:lnTo>
                      <a:pt x="55078" y="615985"/>
                    </a:lnTo>
                    <a:cubicBezTo>
                      <a:pt x="55078" y="615985"/>
                      <a:pt x="60512" y="606819"/>
                      <a:pt x="60512" y="606819"/>
                    </a:cubicBezTo>
                    <a:lnTo>
                      <a:pt x="63037" y="589530"/>
                    </a:lnTo>
                    <a:lnTo>
                      <a:pt x="73602" y="580282"/>
                    </a:lnTo>
                    <a:lnTo>
                      <a:pt x="76813" y="574629"/>
                    </a:lnTo>
                    <a:lnTo>
                      <a:pt x="69513" y="540792"/>
                    </a:lnTo>
                    <a:lnTo>
                      <a:pt x="71105" y="505527"/>
                    </a:lnTo>
                    <a:lnTo>
                      <a:pt x="74590" y="497075"/>
                    </a:lnTo>
                    <a:lnTo>
                      <a:pt x="82055" y="491531"/>
                    </a:lnTo>
                    <a:lnTo>
                      <a:pt x="91193" y="480170"/>
                    </a:lnTo>
                    <a:lnTo>
                      <a:pt x="92675" y="467848"/>
                    </a:lnTo>
                    <a:lnTo>
                      <a:pt x="89437" y="450833"/>
                    </a:lnTo>
                    <a:lnTo>
                      <a:pt x="97121" y="429976"/>
                    </a:lnTo>
                    <a:lnTo>
                      <a:pt x="108043" y="408928"/>
                    </a:lnTo>
                    <a:lnTo>
                      <a:pt x="108894" y="384943"/>
                    </a:lnTo>
                    <a:lnTo>
                      <a:pt x="102911" y="376682"/>
                    </a:lnTo>
                    <a:lnTo>
                      <a:pt x="101786" y="365485"/>
                    </a:lnTo>
                    <a:lnTo>
                      <a:pt x="95447" y="345150"/>
                    </a:lnTo>
                    <a:lnTo>
                      <a:pt x="95282" y="336149"/>
                    </a:lnTo>
                    <a:lnTo>
                      <a:pt x="88778" y="322235"/>
                    </a:lnTo>
                    <a:lnTo>
                      <a:pt x="88723" y="312877"/>
                    </a:lnTo>
                    <a:lnTo>
                      <a:pt x="94788" y="301489"/>
                    </a:lnTo>
                    <a:lnTo>
                      <a:pt x="99508" y="285654"/>
                    </a:lnTo>
                    <a:lnTo>
                      <a:pt x="107083" y="275720"/>
                    </a:lnTo>
                    <a:lnTo>
                      <a:pt x="105107" y="245999"/>
                    </a:lnTo>
                    <a:lnTo>
                      <a:pt x="110650" y="234445"/>
                    </a:lnTo>
                    <a:lnTo>
                      <a:pt x="115069" y="215071"/>
                    </a:lnTo>
                    <a:lnTo>
                      <a:pt x="128351" y="198138"/>
                    </a:lnTo>
                    <a:lnTo>
                      <a:pt x="138532" y="174235"/>
                    </a:lnTo>
                    <a:lnTo>
                      <a:pt x="147342" y="171107"/>
                    </a:lnTo>
                    <a:lnTo>
                      <a:pt x="151705" y="166360"/>
                    </a:lnTo>
                    <a:lnTo>
                      <a:pt x="146491" y="150085"/>
                    </a:lnTo>
                    <a:lnTo>
                      <a:pt x="149702" y="137407"/>
                    </a:lnTo>
                    <a:lnTo>
                      <a:pt x="146409" y="113888"/>
                    </a:lnTo>
                    <a:lnTo>
                      <a:pt x="149811" y="103927"/>
                    </a:lnTo>
                    <a:lnTo>
                      <a:pt x="147973" y="92895"/>
                    </a:lnTo>
                    <a:lnTo>
                      <a:pt x="156974" y="82219"/>
                    </a:lnTo>
                    <a:lnTo>
                      <a:pt x="182029" y="67757"/>
                    </a:lnTo>
                    <a:lnTo>
                      <a:pt x="190647" y="40616"/>
                    </a:lnTo>
                    <a:lnTo>
                      <a:pt x="190098" y="36225"/>
                    </a:lnTo>
                    <a:lnTo>
                      <a:pt x="186695" y="31340"/>
                    </a:lnTo>
                    <a:lnTo>
                      <a:pt x="192073" y="22887"/>
                    </a:lnTo>
                    <a:lnTo>
                      <a:pt x="197837" y="18991"/>
                    </a:lnTo>
                    <a:lnTo>
                      <a:pt x="200718" y="13200"/>
                    </a:lnTo>
                    <a:lnTo>
                      <a:pt x="211970" y="8370"/>
                    </a:lnTo>
                    <a:lnTo>
                      <a:pt x="215976" y="0"/>
                    </a:lnTo>
                    <a:lnTo>
                      <a:pt x="229424" y="8809"/>
                    </a:lnTo>
                    <a:lnTo>
                      <a:pt x="252942" y="9358"/>
                    </a:lnTo>
                    <a:lnTo>
                      <a:pt x="262080" y="132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7" name="Freeform: Shape 3136">
                <a:extLst>
                  <a:ext uri="{FF2B5EF4-FFF2-40B4-BE49-F238E27FC236}">
                    <a16:creationId xmlns:a16="http://schemas.microsoft.com/office/drawing/2014/main" id="{578DB647-4EF8-3960-481C-7264B556EC93}"/>
                  </a:ext>
                </a:extLst>
              </p:cNvPr>
              <p:cNvSpPr/>
              <p:nvPr/>
            </p:nvSpPr>
            <p:spPr>
              <a:xfrm>
                <a:off x="1154930" y="4035108"/>
                <a:ext cx="10476" cy="12488"/>
              </a:xfrm>
              <a:custGeom>
                <a:avLst/>
                <a:gdLst>
                  <a:gd name="connsiteX0" fmla="*/ 100441 w 100441"/>
                  <a:gd name="connsiteY0" fmla="*/ 100304 h 119733"/>
                  <a:gd name="connsiteX1" fmla="*/ 97862 w 100441"/>
                  <a:gd name="connsiteY1" fmla="*/ 110156 h 119733"/>
                  <a:gd name="connsiteX2" fmla="*/ 95145 w 100441"/>
                  <a:gd name="connsiteY2" fmla="*/ 113284 h 119733"/>
                  <a:gd name="connsiteX3" fmla="*/ 85924 w 100441"/>
                  <a:gd name="connsiteY3" fmla="*/ 114903 h 119733"/>
                  <a:gd name="connsiteX4" fmla="*/ 79310 w 100441"/>
                  <a:gd name="connsiteY4" fmla="*/ 112653 h 119733"/>
                  <a:gd name="connsiteX5" fmla="*/ 75770 w 100441"/>
                  <a:gd name="connsiteY5" fmla="*/ 116001 h 119733"/>
                  <a:gd name="connsiteX6" fmla="*/ 61719 w 100441"/>
                  <a:gd name="connsiteY6" fmla="*/ 119733 h 119733"/>
                  <a:gd name="connsiteX7" fmla="*/ 50083 w 100441"/>
                  <a:gd name="connsiteY7" fmla="*/ 114135 h 119733"/>
                  <a:gd name="connsiteX8" fmla="*/ 39271 w 100441"/>
                  <a:gd name="connsiteY8" fmla="*/ 111062 h 119733"/>
                  <a:gd name="connsiteX9" fmla="*/ 33865 w 100441"/>
                  <a:gd name="connsiteY9" fmla="*/ 112625 h 119733"/>
                  <a:gd name="connsiteX10" fmla="*/ 24177 w 100441"/>
                  <a:gd name="connsiteY10" fmla="*/ 110622 h 119733"/>
                  <a:gd name="connsiteX11" fmla="*/ 10538 w 100441"/>
                  <a:gd name="connsiteY11" fmla="*/ 107192 h 119733"/>
                  <a:gd name="connsiteX12" fmla="*/ 7464 w 100441"/>
                  <a:gd name="connsiteY12" fmla="*/ 108509 h 119733"/>
                  <a:gd name="connsiteX13" fmla="*/ 0 w 100441"/>
                  <a:gd name="connsiteY13" fmla="*/ 111720 h 119733"/>
                  <a:gd name="connsiteX14" fmla="*/ 0 w 100441"/>
                  <a:gd name="connsiteY14" fmla="*/ 0 h 119733"/>
                  <a:gd name="connsiteX15" fmla="*/ 7464 w 100441"/>
                  <a:gd name="connsiteY15" fmla="*/ 11718 h 119733"/>
                  <a:gd name="connsiteX16" fmla="*/ 8425 w 100441"/>
                  <a:gd name="connsiteY16" fmla="*/ 13227 h 119733"/>
                  <a:gd name="connsiteX17" fmla="*/ 8919 w 100441"/>
                  <a:gd name="connsiteY17" fmla="*/ 17124 h 119733"/>
                  <a:gd name="connsiteX18" fmla="*/ 7464 w 100441"/>
                  <a:gd name="connsiteY18" fmla="*/ 18743 h 119733"/>
                  <a:gd name="connsiteX19" fmla="*/ 2333 w 100441"/>
                  <a:gd name="connsiteY19" fmla="*/ 24451 h 119733"/>
                  <a:gd name="connsiteX20" fmla="*/ 2333 w 100441"/>
                  <a:gd name="connsiteY20" fmla="*/ 29693 h 119733"/>
                  <a:gd name="connsiteX21" fmla="*/ 7464 w 100441"/>
                  <a:gd name="connsiteY21" fmla="*/ 31587 h 119733"/>
                  <a:gd name="connsiteX22" fmla="*/ 13282 w 100441"/>
                  <a:gd name="connsiteY22" fmla="*/ 33727 h 119733"/>
                  <a:gd name="connsiteX23" fmla="*/ 19375 w 100441"/>
                  <a:gd name="connsiteY23" fmla="*/ 47503 h 119733"/>
                  <a:gd name="connsiteX24" fmla="*/ 30132 w 100441"/>
                  <a:gd name="connsiteY24" fmla="*/ 58069 h 119733"/>
                  <a:gd name="connsiteX25" fmla="*/ 32245 w 100441"/>
                  <a:gd name="connsiteY25" fmla="*/ 63393 h 119733"/>
                  <a:gd name="connsiteX26" fmla="*/ 50056 w 100441"/>
                  <a:gd name="connsiteY26" fmla="*/ 77307 h 119733"/>
                  <a:gd name="connsiteX27" fmla="*/ 63174 w 100441"/>
                  <a:gd name="connsiteY27" fmla="*/ 90260 h 119733"/>
                  <a:gd name="connsiteX28" fmla="*/ 81067 w 100441"/>
                  <a:gd name="connsiteY28" fmla="*/ 98685 h 119733"/>
                  <a:gd name="connsiteX29" fmla="*/ 100359 w 100441"/>
                  <a:gd name="connsiteY29" fmla="*/ 100331 h 11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441" h="119733">
                    <a:moveTo>
                      <a:pt x="100441" y="100304"/>
                    </a:moveTo>
                    <a:lnTo>
                      <a:pt x="97862" y="110156"/>
                    </a:lnTo>
                    <a:lnTo>
                      <a:pt x="95145" y="113284"/>
                    </a:lnTo>
                    <a:lnTo>
                      <a:pt x="85924" y="114903"/>
                    </a:lnTo>
                    <a:lnTo>
                      <a:pt x="79310" y="112653"/>
                    </a:lnTo>
                    <a:lnTo>
                      <a:pt x="75770" y="116001"/>
                    </a:lnTo>
                    <a:lnTo>
                      <a:pt x="61719" y="119733"/>
                    </a:lnTo>
                    <a:lnTo>
                      <a:pt x="50083" y="114135"/>
                    </a:lnTo>
                    <a:lnTo>
                      <a:pt x="39271" y="111062"/>
                    </a:lnTo>
                    <a:lnTo>
                      <a:pt x="33865" y="112625"/>
                    </a:lnTo>
                    <a:lnTo>
                      <a:pt x="24177" y="110622"/>
                    </a:lnTo>
                    <a:lnTo>
                      <a:pt x="10538" y="107192"/>
                    </a:lnTo>
                    <a:lnTo>
                      <a:pt x="7464" y="108509"/>
                    </a:lnTo>
                    <a:lnTo>
                      <a:pt x="0" y="111720"/>
                    </a:lnTo>
                    <a:lnTo>
                      <a:pt x="0" y="0"/>
                    </a:lnTo>
                    <a:cubicBezTo>
                      <a:pt x="0" y="0"/>
                      <a:pt x="7464" y="11718"/>
                      <a:pt x="7464" y="11718"/>
                    </a:cubicBezTo>
                    <a:lnTo>
                      <a:pt x="8425" y="13227"/>
                    </a:lnTo>
                    <a:lnTo>
                      <a:pt x="8919" y="17124"/>
                    </a:lnTo>
                    <a:lnTo>
                      <a:pt x="7464" y="18743"/>
                    </a:lnTo>
                    <a:lnTo>
                      <a:pt x="2333" y="24451"/>
                    </a:lnTo>
                    <a:lnTo>
                      <a:pt x="2333" y="29693"/>
                    </a:lnTo>
                    <a:cubicBezTo>
                      <a:pt x="2333" y="29693"/>
                      <a:pt x="7464" y="31587"/>
                      <a:pt x="7464" y="31587"/>
                    </a:cubicBezTo>
                    <a:lnTo>
                      <a:pt x="13282" y="33727"/>
                    </a:lnTo>
                    <a:lnTo>
                      <a:pt x="19375" y="47503"/>
                    </a:lnTo>
                    <a:lnTo>
                      <a:pt x="30132" y="58069"/>
                    </a:lnTo>
                    <a:lnTo>
                      <a:pt x="32245" y="63393"/>
                    </a:lnTo>
                    <a:lnTo>
                      <a:pt x="50056" y="77307"/>
                    </a:lnTo>
                    <a:lnTo>
                      <a:pt x="63174" y="90260"/>
                    </a:lnTo>
                    <a:lnTo>
                      <a:pt x="81067" y="98685"/>
                    </a:lnTo>
                    <a:lnTo>
                      <a:pt x="100359" y="1003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8" name="Freeform: Shape 3137">
                <a:extLst>
                  <a:ext uri="{FF2B5EF4-FFF2-40B4-BE49-F238E27FC236}">
                    <a16:creationId xmlns:a16="http://schemas.microsoft.com/office/drawing/2014/main" id="{5C04E733-4850-DF1A-6137-E320506750A7}"/>
                  </a:ext>
                </a:extLst>
              </p:cNvPr>
              <p:cNvSpPr/>
              <p:nvPr/>
            </p:nvSpPr>
            <p:spPr>
              <a:xfrm>
                <a:off x="1124764" y="3764523"/>
                <a:ext cx="2816" cy="5169"/>
              </a:xfrm>
              <a:custGeom>
                <a:avLst/>
                <a:gdLst>
                  <a:gd name="connsiteX0" fmla="*/ 20857 w 27003"/>
                  <a:gd name="connsiteY0" fmla="*/ 29062 h 49561"/>
                  <a:gd name="connsiteX1" fmla="*/ 22613 w 27003"/>
                  <a:gd name="connsiteY1" fmla="*/ 29419 h 49561"/>
                  <a:gd name="connsiteX2" fmla="*/ 25687 w 27003"/>
                  <a:gd name="connsiteY2" fmla="*/ 34194 h 49561"/>
                  <a:gd name="connsiteX3" fmla="*/ 27004 w 27003"/>
                  <a:gd name="connsiteY3" fmla="*/ 40369 h 49561"/>
                  <a:gd name="connsiteX4" fmla="*/ 22640 w 27003"/>
                  <a:gd name="connsiteY4" fmla="*/ 49562 h 49561"/>
                  <a:gd name="connsiteX5" fmla="*/ 18908 w 27003"/>
                  <a:gd name="connsiteY5" fmla="*/ 46186 h 49561"/>
                  <a:gd name="connsiteX6" fmla="*/ 19896 w 27003"/>
                  <a:gd name="connsiteY6" fmla="*/ 41933 h 49561"/>
                  <a:gd name="connsiteX7" fmla="*/ 15835 w 27003"/>
                  <a:gd name="connsiteY7" fmla="*/ 36307 h 49561"/>
                  <a:gd name="connsiteX8" fmla="*/ 16191 w 27003"/>
                  <a:gd name="connsiteY8" fmla="*/ 33865 h 49561"/>
                  <a:gd name="connsiteX9" fmla="*/ 13255 w 27003"/>
                  <a:gd name="connsiteY9" fmla="*/ 33233 h 49561"/>
                  <a:gd name="connsiteX10" fmla="*/ 13255 w 27003"/>
                  <a:gd name="connsiteY10" fmla="*/ 29309 h 49561"/>
                  <a:gd name="connsiteX11" fmla="*/ 11252 w 27003"/>
                  <a:gd name="connsiteY11" fmla="*/ 29419 h 49561"/>
                  <a:gd name="connsiteX12" fmla="*/ 0 w 27003"/>
                  <a:gd name="connsiteY12" fmla="*/ 19128 h 49561"/>
                  <a:gd name="connsiteX13" fmla="*/ 6531 w 27003"/>
                  <a:gd name="connsiteY13" fmla="*/ 11471 h 49561"/>
                  <a:gd name="connsiteX14" fmla="*/ 7931 w 27003"/>
                  <a:gd name="connsiteY14" fmla="*/ 6751 h 49561"/>
                  <a:gd name="connsiteX15" fmla="*/ 6641 w 27003"/>
                  <a:gd name="connsiteY15" fmla="*/ 0 h 49561"/>
                  <a:gd name="connsiteX16" fmla="*/ 12514 w 27003"/>
                  <a:gd name="connsiteY16" fmla="*/ 1207 h 49561"/>
                  <a:gd name="connsiteX17" fmla="*/ 13694 w 27003"/>
                  <a:gd name="connsiteY17" fmla="*/ 3869 h 49561"/>
                  <a:gd name="connsiteX18" fmla="*/ 13255 w 27003"/>
                  <a:gd name="connsiteY18" fmla="*/ 7464 h 49561"/>
                  <a:gd name="connsiteX19" fmla="*/ 20390 w 27003"/>
                  <a:gd name="connsiteY19" fmla="*/ 17728 h 49561"/>
                  <a:gd name="connsiteX20" fmla="*/ 20829 w 27003"/>
                  <a:gd name="connsiteY20" fmla="*/ 23079 h 49561"/>
                  <a:gd name="connsiteX21" fmla="*/ 18524 w 27003"/>
                  <a:gd name="connsiteY21" fmla="*/ 26373 h 49561"/>
                  <a:gd name="connsiteX22" fmla="*/ 21845 w 27003"/>
                  <a:gd name="connsiteY22" fmla="*/ 27388 h 49561"/>
                  <a:gd name="connsiteX23" fmla="*/ 20884 w 27003"/>
                  <a:gd name="connsiteY23" fmla="*/ 29089 h 4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003" h="49561">
                    <a:moveTo>
                      <a:pt x="20857" y="29062"/>
                    </a:moveTo>
                    <a:lnTo>
                      <a:pt x="22613" y="29419"/>
                    </a:lnTo>
                    <a:lnTo>
                      <a:pt x="25687" y="34194"/>
                    </a:lnTo>
                    <a:lnTo>
                      <a:pt x="27004" y="40369"/>
                    </a:lnTo>
                    <a:lnTo>
                      <a:pt x="22640" y="49562"/>
                    </a:lnTo>
                    <a:lnTo>
                      <a:pt x="18908" y="46186"/>
                    </a:lnTo>
                    <a:lnTo>
                      <a:pt x="19896" y="41933"/>
                    </a:lnTo>
                    <a:lnTo>
                      <a:pt x="15835" y="36307"/>
                    </a:lnTo>
                    <a:lnTo>
                      <a:pt x="16191" y="33865"/>
                    </a:lnTo>
                    <a:lnTo>
                      <a:pt x="13255" y="33233"/>
                    </a:lnTo>
                    <a:lnTo>
                      <a:pt x="13255" y="29309"/>
                    </a:lnTo>
                    <a:lnTo>
                      <a:pt x="11252" y="29419"/>
                    </a:lnTo>
                    <a:lnTo>
                      <a:pt x="0" y="19128"/>
                    </a:lnTo>
                    <a:lnTo>
                      <a:pt x="6531" y="11471"/>
                    </a:lnTo>
                    <a:lnTo>
                      <a:pt x="7931" y="6751"/>
                    </a:lnTo>
                    <a:lnTo>
                      <a:pt x="6641" y="0"/>
                    </a:lnTo>
                    <a:lnTo>
                      <a:pt x="12514" y="1207"/>
                    </a:lnTo>
                    <a:lnTo>
                      <a:pt x="13694" y="3869"/>
                    </a:lnTo>
                    <a:lnTo>
                      <a:pt x="13255" y="7464"/>
                    </a:lnTo>
                    <a:lnTo>
                      <a:pt x="20390" y="17728"/>
                    </a:lnTo>
                    <a:lnTo>
                      <a:pt x="20829" y="23079"/>
                    </a:lnTo>
                    <a:lnTo>
                      <a:pt x="18524" y="26373"/>
                    </a:lnTo>
                    <a:lnTo>
                      <a:pt x="21845" y="27388"/>
                    </a:lnTo>
                    <a:lnTo>
                      <a:pt x="20884" y="290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9" name="Freeform: Shape 3138">
                <a:extLst>
                  <a:ext uri="{FF2B5EF4-FFF2-40B4-BE49-F238E27FC236}">
                    <a16:creationId xmlns:a16="http://schemas.microsoft.com/office/drawing/2014/main" id="{BFA50C76-34A9-F6DA-C9D1-308D47E09644}"/>
                  </a:ext>
                </a:extLst>
              </p:cNvPr>
              <p:cNvSpPr/>
              <p:nvPr/>
            </p:nvSpPr>
            <p:spPr>
              <a:xfrm>
                <a:off x="1139299" y="3777452"/>
                <a:ext cx="2132" cy="1351"/>
              </a:xfrm>
              <a:custGeom>
                <a:avLst/>
                <a:gdLst>
                  <a:gd name="connsiteX0" fmla="*/ 20143 w 20444"/>
                  <a:gd name="connsiteY0" fmla="*/ 4501 h 12953"/>
                  <a:gd name="connsiteX1" fmla="*/ 18140 w 20444"/>
                  <a:gd name="connsiteY1" fmla="*/ 7245 h 12953"/>
                  <a:gd name="connsiteX2" fmla="*/ 16054 w 20444"/>
                  <a:gd name="connsiteY2" fmla="*/ 11499 h 12953"/>
                  <a:gd name="connsiteX3" fmla="*/ 10401 w 20444"/>
                  <a:gd name="connsiteY3" fmla="*/ 11691 h 12953"/>
                  <a:gd name="connsiteX4" fmla="*/ 6175 w 20444"/>
                  <a:gd name="connsiteY4" fmla="*/ 12953 h 12953"/>
                  <a:gd name="connsiteX5" fmla="*/ 4336 w 20444"/>
                  <a:gd name="connsiteY5" fmla="*/ 12185 h 12953"/>
                  <a:gd name="connsiteX6" fmla="*/ 823 w 20444"/>
                  <a:gd name="connsiteY6" fmla="*/ 12624 h 12953"/>
                  <a:gd name="connsiteX7" fmla="*/ 0 w 20444"/>
                  <a:gd name="connsiteY7" fmla="*/ 9989 h 12953"/>
                  <a:gd name="connsiteX8" fmla="*/ 2113 w 20444"/>
                  <a:gd name="connsiteY8" fmla="*/ 7382 h 12953"/>
                  <a:gd name="connsiteX9" fmla="*/ 4418 w 20444"/>
                  <a:gd name="connsiteY9" fmla="*/ 6422 h 12953"/>
                  <a:gd name="connsiteX10" fmla="*/ 5461 w 20444"/>
                  <a:gd name="connsiteY10" fmla="*/ 4666 h 12953"/>
                  <a:gd name="connsiteX11" fmla="*/ 7931 w 20444"/>
                  <a:gd name="connsiteY11" fmla="*/ 4473 h 12953"/>
                  <a:gd name="connsiteX12" fmla="*/ 9303 w 20444"/>
                  <a:gd name="connsiteY12" fmla="*/ 3101 h 12953"/>
                  <a:gd name="connsiteX13" fmla="*/ 10264 w 20444"/>
                  <a:gd name="connsiteY13" fmla="*/ 5022 h 12953"/>
                  <a:gd name="connsiteX14" fmla="*/ 13008 w 20444"/>
                  <a:gd name="connsiteY14" fmla="*/ 6230 h 12953"/>
                  <a:gd name="connsiteX15" fmla="*/ 16713 w 20444"/>
                  <a:gd name="connsiteY15" fmla="*/ 4446 h 12953"/>
                  <a:gd name="connsiteX16" fmla="*/ 18798 w 20444"/>
                  <a:gd name="connsiteY16" fmla="*/ 302 h 12953"/>
                  <a:gd name="connsiteX17" fmla="*/ 20445 w 20444"/>
                  <a:gd name="connsiteY17" fmla="*/ 0 h 12953"/>
                  <a:gd name="connsiteX18" fmla="*/ 20143 w 20444"/>
                  <a:gd name="connsiteY18" fmla="*/ 447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444" h="12953">
                    <a:moveTo>
                      <a:pt x="20143" y="4501"/>
                    </a:moveTo>
                    <a:lnTo>
                      <a:pt x="18140" y="7245"/>
                    </a:lnTo>
                    <a:lnTo>
                      <a:pt x="16054" y="11499"/>
                    </a:lnTo>
                    <a:lnTo>
                      <a:pt x="10401" y="11691"/>
                    </a:lnTo>
                    <a:lnTo>
                      <a:pt x="6175" y="12953"/>
                    </a:lnTo>
                    <a:lnTo>
                      <a:pt x="4336" y="12185"/>
                    </a:lnTo>
                    <a:lnTo>
                      <a:pt x="823" y="12624"/>
                    </a:lnTo>
                    <a:lnTo>
                      <a:pt x="0" y="9989"/>
                    </a:lnTo>
                    <a:lnTo>
                      <a:pt x="2113" y="7382"/>
                    </a:lnTo>
                    <a:lnTo>
                      <a:pt x="4418" y="6422"/>
                    </a:lnTo>
                    <a:lnTo>
                      <a:pt x="5461" y="4666"/>
                    </a:lnTo>
                    <a:lnTo>
                      <a:pt x="7931" y="4473"/>
                    </a:lnTo>
                    <a:lnTo>
                      <a:pt x="9303" y="3101"/>
                    </a:lnTo>
                    <a:lnTo>
                      <a:pt x="10264" y="5022"/>
                    </a:lnTo>
                    <a:lnTo>
                      <a:pt x="13008" y="6230"/>
                    </a:lnTo>
                    <a:lnTo>
                      <a:pt x="16713" y="4446"/>
                    </a:lnTo>
                    <a:lnTo>
                      <a:pt x="18798" y="302"/>
                    </a:lnTo>
                    <a:lnTo>
                      <a:pt x="20445" y="0"/>
                    </a:lnTo>
                    <a:lnTo>
                      <a:pt x="20143" y="44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40" name="Freeform: Shape 3139">
                <a:extLst>
                  <a:ext uri="{FF2B5EF4-FFF2-40B4-BE49-F238E27FC236}">
                    <a16:creationId xmlns:a16="http://schemas.microsoft.com/office/drawing/2014/main" id="{55F5986A-3689-09DF-FA7A-873ABB78379B}"/>
                  </a:ext>
                </a:extLst>
              </p:cNvPr>
              <p:cNvSpPr/>
              <p:nvPr/>
            </p:nvSpPr>
            <p:spPr>
              <a:xfrm>
                <a:off x="1128110" y="3759829"/>
                <a:ext cx="1007" cy="2327"/>
              </a:xfrm>
              <a:custGeom>
                <a:avLst/>
                <a:gdLst>
                  <a:gd name="connsiteX0" fmla="*/ 3897 w 9659"/>
                  <a:gd name="connsiteY0" fmla="*/ 22037 h 22311"/>
                  <a:gd name="connsiteX1" fmla="*/ 2964 w 9659"/>
                  <a:gd name="connsiteY1" fmla="*/ 22311 h 22311"/>
                  <a:gd name="connsiteX2" fmla="*/ 0 w 9659"/>
                  <a:gd name="connsiteY2" fmla="*/ 18414 h 22311"/>
                  <a:gd name="connsiteX3" fmla="*/ 3622 w 9659"/>
                  <a:gd name="connsiteY3" fmla="*/ 14023 h 22311"/>
                  <a:gd name="connsiteX4" fmla="*/ 2085 w 9659"/>
                  <a:gd name="connsiteY4" fmla="*/ 5324 h 22311"/>
                  <a:gd name="connsiteX5" fmla="*/ 2909 w 9659"/>
                  <a:gd name="connsiteY5" fmla="*/ 5324 h 22311"/>
                  <a:gd name="connsiteX6" fmla="*/ 1921 w 9659"/>
                  <a:gd name="connsiteY6" fmla="*/ 1592 h 22311"/>
                  <a:gd name="connsiteX7" fmla="*/ 6202 w 9659"/>
                  <a:gd name="connsiteY7" fmla="*/ 0 h 22311"/>
                  <a:gd name="connsiteX8" fmla="*/ 8672 w 9659"/>
                  <a:gd name="connsiteY8" fmla="*/ 1290 h 22311"/>
                  <a:gd name="connsiteX9" fmla="*/ 9660 w 9659"/>
                  <a:gd name="connsiteY9" fmla="*/ 6614 h 22311"/>
                  <a:gd name="connsiteX10" fmla="*/ 9660 w 9659"/>
                  <a:gd name="connsiteY10" fmla="*/ 9358 h 22311"/>
                  <a:gd name="connsiteX11" fmla="*/ 5351 w 9659"/>
                  <a:gd name="connsiteY11" fmla="*/ 12404 h 22311"/>
                  <a:gd name="connsiteX12" fmla="*/ 3897 w 9659"/>
                  <a:gd name="connsiteY12" fmla="*/ 22037 h 2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59" h="22311">
                    <a:moveTo>
                      <a:pt x="3897" y="22037"/>
                    </a:moveTo>
                    <a:lnTo>
                      <a:pt x="2964" y="22311"/>
                    </a:lnTo>
                    <a:lnTo>
                      <a:pt x="0" y="18414"/>
                    </a:lnTo>
                    <a:lnTo>
                      <a:pt x="3622" y="14023"/>
                    </a:lnTo>
                    <a:lnTo>
                      <a:pt x="2085" y="5324"/>
                    </a:lnTo>
                    <a:lnTo>
                      <a:pt x="2909" y="5324"/>
                    </a:lnTo>
                    <a:lnTo>
                      <a:pt x="1921" y="1592"/>
                    </a:lnTo>
                    <a:lnTo>
                      <a:pt x="6202" y="0"/>
                    </a:lnTo>
                    <a:lnTo>
                      <a:pt x="8672" y="1290"/>
                    </a:lnTo>
                    <a:lnTo>
                      <a:pt x="9660" y="6614"/>
                    </a:lnTo>
                    <a:lnTo>
                      <a:pt x="9660" y="9358"/>
                    </a:lnTo>
                    <a:lnTo>
                      <a:pt x="5351" y="12404"/>
                    </a:lnTo>
                    <a:lnTo>
                      <a:pt x="3897" y="220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41" name="Freeform: Shape 3140">
                <a:extLst>
                  <a:ext uri="{FF2B5EF4-FFF2-40B4-BE49-F238E27FC236}">
                    <a16:creationId xmlns:a16="http://schemas.microsoft.com/office/drawing/2014/main" id="{1EAD011A-1D3D-3F7D-7CE6-8B56DA88235D}"/>
                  </a:ext>
                </a:extLst>
              </p:cNvPr>
              <p:cNvSpPr/>
              <p:nvPr/>
            </p:nvSpPr>
            <p:spPr>
              <a:xfrm>
                <a:off x="1123977" y="3759173"/>
                <a:ext cx="2599" cy="833"/>
              </a:xfrm>
              <a:custGeom>
                <a:avLst/>
                <a:gdLst>
                  <a:gd name="connsiteX0" fmla="*/ 3705 w 24918"/>
                  <a:gd name="connsiteY0" fmla="*/ 0 h 7986"/>
                  <a:gd name="connsiteX1" fmla="*/ 10127 w 24918"/>
                  <a:gd name="connsiteY1" fmla="*/ 2689 h 7986"/>
                  <a:gd name="connsiteX2" fmla="*/ 22860 w 24918"/>
                  <a:gd name="connsiteY2" fmla="*/ 1070 h 7986"/>
                  <a:gd name="connsiteX3" fmla="*/ 24918 w 24918"/>
                  <a:gd name="connsiteY3" fmla="*/ 5050 h 7986"/>
                  <a:gd name="connsiteX4" fmla="*/ 24314 w 24918"/>
                  <a:gd name="connsiteY4" fmla="*/ 5900 h 7986"/>
                  <a:gd name="connsiteX5" fmla="*/ 18881 w 24918"/>
                  <a:gd name="connsiteY5" fmla="*/ 3870 h 7986"/>
                  <a:gd name="connsiteX6" fmla="*/ 604 w 24918"/>
                  <a:gd name="connsiteY6" fmla="*/ 7986 h 7986"/>
                  <a:gd name="connsiteX7" fmla="*/ 0 w 24918"/>
                  <a:gd name="connsiteY7" fmla="*/ 7465 h 7986"/>
                  <a:gd name="connsiteX8" fmla="*/ 2936 w 24918"/>
                  <a:gd name="connsiteY8" fmla="*/ 4089 h 7986"/>
                  <a:gd name="connsiteX9" fmla="*/ 3732 w 24918"/>
                  <a:gd name="connsiteY9" fmla="*/ 0 h 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18" h="7986">
                    <a:moveTo>
                      <a:pt x="3705" y="0"/>
                    </a:moveTo>
                    <a:lnTo>
                      <a:pt x="10127" y="2689"/>
                    </a:lnTo>
                    <a:lnTo>
                      <a:pt x="22860" y="1070"/>
                    </a:lnTo>
                    <a:lnTo>
                      <a:pt x="24918" y="5050"/>
                    </a:lnTo>
                    <a:lnTo>
                      <a:pt x="24314" y="5900"/>
                    </a:lnTo>
                    <a:lnTo>
                      <a:pt x="18881" y="3870"/>
                    </a:lnTo>
                    <a:lnTo>
                      <a:pt x="604" y="7986"/>
                    </a:lnTo>
                    <a:lnTo>
                      <a:pt x="0" y="7465"/>
                    </a:lnTo>
                    <a:lnTo>
                      <a:pt x="2936" y="4089"/>
                    </a:lnTo>
                    <a:lnTo>
                      <a:pt x="3732"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42" name="Freeform: Shape 3141">
                <a:extLst>
                  <a:ext uri="{FF2B5EF4-FFF2-40B4-BE49-F238E27FC236}">
                    <a16:creationId xmlns:a16="http://schemas.microsoft.com/office/drawing/2014/main" id="{7644C20C-612F-97CF-F361-3C319FAFB2FA}"/>
                  </a:ext>
                </a:extLst>
              </p:cNvPr>
              <p:cNvSpPr/>
              <p:nvPr/>
            </p:nvSpPr>
            <p:spPr>
              <a:xfrm>
                <a:off x="1140979" y="3773728"/>
                <a:ext cx="1314" cy="578"/>
              </a:xfrm>
              <a:custGeom>
                <a:avLst/>
                <a:gdLst>
                  <a:gd name="connsiteX0" fmla="*/ 8013 w 12596"/>
                  <a:gd name="connsiteY0" fmla="*/ 1839 h 5543"/>
                  <a:gd name="connsiteX1" fmla="*/ 12596 w 12596"/>
                  <a:gd name="connsiteY1" fmla="*/ 3870 h 5543"/>
                  <a:gd name="connsiteX2" fmla="*/ 11032 w 12596"/>
                  <a:gd name="connsiteY2" fmla="*/ 5544 h 5543"/>
                  <a:gd name="connsiteX3" fmla="*/ 8480 w 12596"/>
                  <a:gd name="connsiteY3" fmla="*/ 3293 h 5543"/>
                  <a:gd name="connsiteX4" fmla="*/ 4171 w 12596"/>
                  <a:gd name="connsiteY4" fmla="*/ 2992 h 5543"/>
                  <a:gd name="connsiteX5" fmla="*/ 2827 w 12596"/>
                  <a:gd name="connsiteY5" fmla="*/ 4007 h 5543"/>
                  <a:gd name="connsiteX6" fmla="*/ 0 w 12596"/>
                  <a:gd name="connsiteY6" fmla="*/ 2442 h 5543"/>
                  <a:gd name="connsiteX7" fmla="*/ 686 w 12596"/>
                  <a:gd name="connsiteY7" fmla="*/ 0 h 5543"/>
                  <a:gd name="connsiteX8" fmla="*/ 5955 w 12596"/>
                  <a:gd name="connsiteY8" fmla="*/ 1811 h 5543"/>
                  <a:gd name="connsiteX9" fmla="*/ 7986 w 12596"/>
                  <a:gd name="connsiteY9" fmla="*/ 1811 h 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96" h="5543">
                    <a:moveTo>
                      <a:pt x="8013" y="1839"/>
                    </a:moveTo>
                    <a:lnTo>
                      <a:pt x="12596" y="3870"/>
                    </a:lnTo>
                    <a:lnTo>
                      <a:pt x="11032" y="5544"/>
                    </a:lnTo>
                    <a:lnTo>
                      <a:pt x="8480" y="3293"/>
                    </a:lnTo>
                    <a:lnTo>
                      <a:pt x="4171" y="2992"/>
                    </a:lnTo>
                    <a:lnTo>
                      <a:pt x="2827" y="4007"/>
                    </a:lnTo>
                    <a:lnTo>
                      <a:pt x="0" y="2442"/>
                    </a:lnTo>
                    <a:lnTo>
                      <a:pt x="686" y="0"/>
                    </a:lnTo>
                    <a:lnTo>
                      <a:pt x="5955" y="1811"/>
                    </a:lnTo>
                    <a:lnTo>
                      <a:pt x="7986"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43" name="Freeform: Shape 3142">
                <a:extLst>
                  <a:ext uri="{FF2B5EF4-FFF2-40B4-BE49-F238E27FC236}">
                    <a16:creationId xmlns:a16="http://schemas.microsoft.com/office/drawing/2014/main" id="{063F82DC-CA9E-0ECC-4428-642E9AC7ABB9}"/>
                  </a:ext>
                </a:extLst>
              </p:cNvPr>
              <p:cNvSpPr/>
              <p:nvPr/>
            </p:nvSpPr>
            <p:spPr>
              <a:xfrm>
                <a:off x="1137373" y="3772566"/>
                <a:ext cx="910" cy="518"/>
              </a:xfrm>
              <a:custGeom>
                <a:avLst/>
                <a:gdLst>
                  <a:gd name="connsiteX0" fmla="*/ 2881 w 8726"/>
                  <a:gd name="connsiteY0" fmla="*/ 0 h 4967"/>
                  <a:gd name="connsiteX1" fmla="*/ 5626 w 8726"/>
                  <a:gd name="connsiteY1" fmla="*/ 2470 h 4967"/>
                  <a:gd name="connsiteX2" fmla="*/ 7519 w 8726"/>
                  <a:gd name="connsiteY2" fmla="*/ 2113 h 4967"/>
                  <a:gd name="connsiteX3" fmla="*/ 8727 w 8726"/>
                  <a:gd name="connsiteY3" fmla="*/ 3622 h 4967"/>
                  <a:gd name="connsiteX4" fmla="*/ 3842 w 8726"/>
                  <a:gd name="connsiteY4" fmla="*/ 4967 h 4967"/>
                  <a:gd name="connsiteX5" fmla="*/ 1592 w 8726"/>
                  <a:gd name="connsiteY5" fmla="*/ 3238 h 4967"/>
                  <a:gd name="connsiteX6" fmla="*/ 0 w 8726"/>
                  <a:gd name="connsiteY6" fmla="*/ 0 h 4967"/>
                  <a:gd name="connsiteX7" fmla="*/ 2881 w 8726"/>
                  <a:gd name="connsiteY7" fmla="*/ 0 h 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26" h="4967">
                    <a:moveTo>
                      <a:pt x="2881" y="0"/>
                    </a:moveTo>
                    <a:lnTo>
                      <a:pt x="5626" y="2470"/>
                    </a:lnTo>
                    <a:lnTo>
                      <a:pt x="7519" y="2113"/>
                    </a:lnTo>
                    <a:lnTo>
                      <a:pt x="8727" y="3622"/>
                    </a:lnTo>
                    <a:lnTo>
                      <a:pt x="3842" y="4967"/>
                    </a:lnTo>
                    <a:lnTo>
                      <a:pt x="1592" y="3238"/>
                    </a:lnTo>
                    <a:lnTo>
                      <a:pt x="0" y="0"/>
                    </a:lnTo>
                    <a:lnTo>
                      <a:pt x="2881"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44" name="Freeform: Shape 3143">
                <a:extLst>
                  <a:ext uri="{FF2B5EF4-FFF2-40B4-BE49-F238E27FC236}">
                    <a16:creationId xmlns:a16="http://schemas.microsoft.com/office/drawing/2014/main" id="{CD87096E-FB2B-0A39-5EBE-5E6825FBDBEB}"/>
                  </a:ext>
                </a:extLst>
              </p:cNvPr>
              <p:cNvSpPr/>
              <p:nvPr/>
            </p:nvSpPr>
            <p:spPr>
              <a:xfrm>
                <a:off x="1135320" y="3771610"/>
                <a:ext cx="529" cy="810"/>
              </a:xfrm>
              <a:custGeom>
                <a:avLst/>
                <a:gdLst>
                  <a:gd name="connsiteX0" fmla="*/ 5077 w 5076"/>
                  <a:gd name="connsiteY0" fmla="*/ 6751 h 7766"/>
                  <a:gd name="connsiteX1" fmla="*/ 4199 w 5076"/>
                  <a:gd name="connsiteY1" fmla="*/ 7766 h 7766"/>
                  <a:gd name="connsiteX2" fmla="*/ 2388 w 5076"/>
                  <a:gd name="connsiteY2" fmla="*/ 3403 h 7766"/>
                  <a:gd name="connsiteX3" fmla="*/ 0 w 5076"/>
                  <a:gd name="connsiteY3" fmla="*/ 55 h 7766"/>
                  <a:gd name="connsiteX4" fmla="*/ 1921 w 5076"/>
                  <a:gd name="connsiteY4" fmla="*/ 0 h 7766"/>
                  <a:gd name="connsiteX5" fmla="*/ 4171 w 5076"/>
                  <a:gd name="connsiteY5" fmla="*/ 2799 h 7766"/>
                  <a:gd name="connsiteX6" fmla="*/ 5049 w 5076"/>
                  <a:gd name="connsiteY6" fmla="*/ 6778 h 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6" h="7766">
                    <a:moveTo>
                      <a:pt x="5077" y="6751"/>
                    </a:moveTo>
                    <a:lnTo>
                      <a:pt x="4199" y="7766"/>
                    </a:lnTo>
                    <a:lnTo>
                      <a:pt x="2388" y="3403"/>
                    </a:lnTo>
                    <a:lnTo>
                      <a:pt x="0" y="55"/>
                    </a:lnTo>
                    <a:lnTo>
                      <a:pt x="1921" y="0"/>
                    </a:lnTo>
                    <a:lnTo>
                      <a:pt x="4171" y="2799"/>
                    </a:lnTo>
                    <a:lnTo>
                      <a:pt x="5049" y="67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45" name="Freeform: Shape 3144">
                <a:extLst>
                  <a:ext uri="{FF2B5EF4-FFF2-40B4-BE49-F238E27FC236}">
                    <a16:creationId xmlns:a16="http://schemas.microsoft.com/office/drawing/2014/main" id="{EE2DE892-24D9-990A-BF6B-3C9CB4052416}"/>
                  </a:ext>
                </a:extLst>
              </p:cNvPr>
              <p:cNvSpPr/>
              <p:nvPr/>
            </p:nvSpPr>
            <p:spPr>
              <a:xfrm>
                <a:off x="1127792" y="3759125"/>
                <a:ext cx="547" cy="698"/>
              </a:xfrm>
              <a:custGeom>
                <a:avLst/>
                <a:gdLst>
                  <a:gd name="connsiteX0" fmla="*/ 5242 w 5241"/>
                  <a:gd name="connsiteY0" fmla="*/ 5187 h 6695"/>
                  <a:gd name="connsiteX1" fmla="*/ 4501 w 5241"/>
                  <a:gd name="connsiteY1" fmla="*/ 6696 h 6695"/>
                  <a:gd name="connsiteX2" fmla="*/ 1482 w 5241"/>
                  <a:gd name="connsiteY2" fmla="*/ 5927 h 6695"/>
                  <a:gd name="connsiteX3" fmla="*/ 0 w 5241"/>
                  <a:gd name="connsiteY3" fmla="*/ 0 h 6695"/>
                  <a:gd name="connsiteX4" fmla="*/ 1400 w 5241"/>
                  <a:gd name="connsiteY4" fmla="*/ 0 h 6695"/>
                  <a:gd name="connsiteX5" fmla="*/ 5242 w 5241"/>
                  <a:gd name="connsiteY5" fmla="*/ 5214 h 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41" h="6695">
                    <a:moveTo>
                      <a:pt x="5242" y="5187"/>
                    </a:moveTo>
                    <a:lnTo>
                      <a:pt x="4501" y="6696"/>
                    </a:lnTo>
                    <a:lnTo>
                      <a:pt x="1482" y="5927"/>
                    </a:lnTo>
                    <a:lnTo>
                      <a:pt x="0" y="0"/>
                    </a:lnTo>
                    <a:lnTo>
                      <a:pt x="1400" y="0"/>
                    </a:lnTo>
                    <a:lnTo>
                      <a:pt x="5242" y="52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46" name="Freeform: Shape 3145">
                <a:extLst>
                  <a:ext uri="{FF2B5EF4-FFF2-40B4-BE49-F238E27FC236}">
                    <a16:creationId xmlns:a16="http://schemas.microsoft.com/office/drawing/2014/main" id="{31C04B4E-C22C-FCC5-5EE6-19F2A2FE2EE4}"/>
                  </a:ext>
                </a:extLst>
              </p:cNvPr>
              <p:cNvSpPr/>
              <p:nvPr/>
            </p:nvSpPr>
            <p:spPr>
              <a:xfrm>
                <a:off x="1127160" y="3758572"/>
                <a:ext cx="647" cy="541"/>
              </a:xfrm>
              <a:custGeom>
                <a:avLst/>
                <a:gdLst>
                  <a:gd name="connsiteX0" fmla="*/ 4775 w 6202"/>
                  <a:gd name="connsiteY0" fmla="*/ 2003 h 5186"/>
                  <a:gd name="connsiteX1" fmla="*/ 6202 w 6202"/>
                  <a:gd name="connsiteY1" fmla="*/ 5077 h 5186"/>
                  <a:gd name="connsiteX2" fmla="*/ 4199 w 6202"/>
                  <a:gd name="connsiteY2" fmla="*/ 5187 h 5186"/>
                  <a:gd name="connsiteX3" fmla="*/ 3595 w 6202"/>
                  <a:gd name="connsiteY3" fmla="*/ 3074 h 5186"/>
                  <a:gd name="connsiteX4" fmla="*/ 1756 w 6202"/>
                  <a:gd name="connsiteY4" fmla="*/ 3458 h 5186"/>
                  <a:gd name="connsiteX5" fmla="*/ 0 w 6202"/>
                  <a:gd name="connsiteY5" fmla="*/ 2113 h 5186"/>
                  <a:gd name="connsiteX6" fmla="*/ 3046 w 6202"/>
                  <a:gd name="connsiteY6" fmla="*/ 0 h 5186"/>
                  <a:gd name="connsiteX7" fmla="*/ 4775 w 6202"/>
                  <a:gd name="connsiteY7" fmla="*/ 2003 h 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02" h="5186">
                    <a:moveTo>
                      <a:pt x="4775" y="2003"/>
                    </a:moveTo>
                    <a:lnTo>
                      <a:pt x="6202" y="5077"/>
                    </a:lnTo>
                    <a:lnTo>
                      <a:pt x="4199" y="5187"/>
                    </a:lnTo>
                    <a:lnTo>
                      <a:pt x="3595" y="3074"/>
                    </a:lnTo>
                    <a:lnTo>
                      <a:pt x="1756" y="3458"/>
                    </a:lnTo>
                    <a:lnTo>
                      <a:pt x="0" y="2113"/>
                    </a:lnTo>
                    <a:lnTo>
                      <a:pt x="3046" y="0"/>
                    </a:lnTo>
                    <a:lnTo>
                      <a:pt x="4775" y="20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47" name="Freeform: Shape 3146">
                <a:extLst>
                  <a:ext uri="{FF2B5EF4-FFF2-40B4-BE49-F238E27FC236}">
                    <a16:creationId xmlns:a16="http://schemas.microsoft.com/office/drawing/2014/main" id="{6902F5B5-13C7-E068-0D88-0EDEB12895BC}"/>
                  </a:ext>
                </a:extLst>
              </p:cNvPr>
              <p:cNvSpPr/>
              <p:nvPr/>
            </p:nvSpPr>
            <p:spPr>
              <a:xfrm>
                <a:off x="1133050" y="3766246"/>
                <a:ext cx="538" cy="627"/>
              </a:xfrm>
              <a:custGeom>
                <a:avLst/>
                <a:gdLst>
                  <a:gd name="connsiteX0" fmla="*/ 5159 w 5159"/>
                  <a:gd name="connsiteY0" fmla="*/ 3979 h 6009"/>
                  <a:gd name="connsiteX1" fmla="*/ 4638 w 5159"/>
                  <a:gd name="connsiteY1" fmla="*/ 6010 h 6009"/>
                  <a:gd name="connsiteX2" fmla="*/ 1345 w 5159"/>
                  <a:gd name="connsiteY2" fmla="*/ 5735 h 6009"/>
                  <a:gd name="connsiteX3" fmla="*/ 2470 w 5159"/>
                  <a:gd name="connsiteY3" fmla="*/ 2964 h 6009"/>
                  <a:gd name="connsiteX4" fmla="*/ 0 w 5159"/>
                  <a:gd name="connsiteY4" fmla="*/ 823 h 6009"/>
                  <a:gd name="connsiteX5" fmla="*/ 1564 w 5159"/>
                  <a:gd name="connsiteY5" fmla="*/ 0 h 6009"/>
                  <a:gd name="connsiteX6" fmla="*/ 5159 w 5159"/>
                  <a:gd name="connsiteY6" fmla="*/ 3979 h 6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9" h="6009">
                    <a:moveTo>
                      <a:pt x="5159" y="3979"/>
                    </a:moveTo>
                    <a:lnTo>
                      <a:pt x="4638" y="6010"/>
                    </a:lnTo>
                    <a:lnTo>
                      <a:pt x="1345" y="5735"/>
                    </a:lnTo>
                    <a:lnTo>
                      <a:pt x="2470" y="2964"/>
                    </a:lnTo>
                    <a:lnTo>
                      <a:pt x="0" y="823"/>
                    </a:lnTo>
                    <a:lnTo>
                      <a:pt x="1564" y="0"/>
                    </a:lnTo>
                    <a:lnTo>
                      <a:pt x="5159" y="39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48" name="Freeform: Shape 3147">
                <a:extLst>
                  <a:ext uri="{FF2B5EF4-FFF2-40B4-BE49-F238E27FC236}">
                    <a16:creationId xmlns:a16="http://schemas.microsoft.com/office/drawing/2014/main" id="{F9F3B871-B67D-756A-CAC2-5012F19AD03B}"/>
                  </a:ext>
                </a:extLst>
              </p:cNvPr>
              <p:cNvSpPr/>
              <p:nvPr/>
            </p:nvSpPr>
            <p:spPr>
              <a:xfrm>
                <a:off x="1138246" y="3772835"/>
                <a:ext cx="587" cy="535"/>
              </a:xfrm>
              <a:custGeom>
                <a:avLst/>
                <a:gdLst>
                  <a:gd name="connsiteX0" fmla="*/ 5022 w 5625"/>
                  <a:gd name="connsiteY0" fmla="*/ 467 h 5131"/>
                  <a:gd name="connsiteX1" fmla="*/ 5626 w 5625"/>
                  <a:gd name="connsiteY1" fmla="*/ 5132 h 5131"/>
                  <a:gd name="connsiteX2" fmla="*/ 3568 w 5625"/>
                  <a:gd name="connsiteY2" fmla="*/ 4171 h 5131"/>
                  <a:gd name="connsiteX3" fmla="*/ 1784 w 5625"/>
                  <a:gd name="connsiteY3" fmla="*/ 4611 h 5131"/>
                  <a:gd name="connsiteX4" fmla="*/ 0 w 5625"/>
                  <a:gd name="connsiteY4" fmla="*/ 3430 h 5131"/>
                  <a:gd name="connsiteX5" fmla="*/ 2689 w 5625"/>
                  <a:gd name="connsiteY5" fmla="*/ 0 h 5131"/>
                  <a:gd name="connsiteX6" fmla="*/ 4995 w 5625"/>
                  <a:gd name="connsiteY6" fmla="*/ 494 h 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5" h="5131">
                    <a:moveTo>
                      <a:pt x="5022" y="467"/>
                    </a:moveTo>
                    <a:lnTo>
                      <a:pt x="5626" y="5132"/>
                    </a:lnTo>
                    <a:lnTo>
                      <a:pt x="3568" y="4171"/>
                    </a:lnTo>
                    <a:lnTo>
                      <a:pt x="1784" y="4611"/>
                    </a:lnTo>
                    <a:lnTo>
                      <a:pt x="0" y="3430"/>
                    </a:lnTo>
                    <a:lnTo>
                      <a:pt x="2689" y="0"/>
                    </a:lnTo>
                    <a:lnTo>
                      <a:pt x="4995" y="4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49" name="Freeform: Shape 3148">
                <a:extLst>
                  <a:ext uri="{FF2B5EF4-FFF2-40B4-BE49-F238E27FC236}">
                    <a16:creationId xmlns:a16="http://schemas.microsoft.com/office/drawing/2014/main" id="{991AAEEF-ECC7-97BC-4CD4-DE3B4781A6F1}"/>
                  </a:ext>
                </a:extLst>
              </p:cNvPr>
              <p:cNvSpPr/>
              <p:nvPr/>
            </p:nvSpPr>
            <p:spPr>
              <a:xfrm>
                <a:off x="1133749" y="3767729"/>
                <a:ext cx="630" cy="472"/>
              </a:xfrm>
              <a:custGeom>
                <a:avLst/>
                <a:gdLst>
                  <a:gd name="connsiteX0" fmla="*/ 6037 w 6037"/>
                  <a:gd name="connsiteY0" fmla="*/ 3156 h 4528"/>
                  <a:gd name="connsiteX1" fmla="*/ 1317 w 6037"/>
                  <a:gd name="connsiteY1" fmla="*/ 4528 h 4528"/>
                  <a:gd name="connsiteX2" fmla="*/ 0 w 6037"/>
                  <a:gd name="connsiteY2" fmla="*/ 3677 h 4528"/>
                  <a:gd name="connsiteX3" fmla="*/ 4501 w 6037"/>
                  <a:gd name="connsiteY3" fmla="*/ 0 h 4528"/>
                  <a:gd name="connsiteX4" fmla="*/ 6037 w 6037"/>
                  <a:gd name="connsiteY4" fmla="*/ 3156 h 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7" h="4528">
                    <a:moveTo>
                      <a:pt x="6037" y="3156"/>
                    </a:moveTo>
                    <a:lnTo>
                      <a:pt x="1317" y="4528"/>
                    </a:lnTo>
                    <a:lnTo>
                      <a:pt x="0" y="3677"/>
                    </a:lnTo>
                    <a:lnTo>
                      <a:pt x="4501" y="0"/>
                    </a:lnTo>
                    <a:lnTo>
                      <a:pt x="6037"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50" name="Freeform: Shape 3149">
                <a:extLst>
                  <a:ext uri="{FF2B5EF4-FFF2-40B4-BE49-F238E27FC236}">
                    <a16:creationId xmlns:a16="http://schemas.microsoft.com/office/drawing/2014/main" id="{8FF44716-A257-5084-F500-81AAE88D3E25}"/>
                  </a:ext>
                </a:extLst>
              </p:cNvPr>
              <p:cNvSpPr/>
              <p:nvPr/>
            </p:nvSpPr>
            <p:spPr>
              <a:xfrm>
                <a:off x="1138057" y="3773703"/>
                <a:ext cx="590" cy="481"/>
              </a:xfrm>
              <a:custGeom>
                <a:avLst/>
                <a:gdLst>
                  <a:gd name="connsiteX0" fmla="*/ 5626 w 5653"/>
                  <a:gd name="connsiteY0" fmla="*/ 631 h 4610"/>
                  <a:gd name="connsiteX1" fmla="*/ 3403 w 5653"/>
                  <a:gd name="connsiteY1" fmla="*/ 4611 h 4610"/>
                  <a:gd name="connsiteX2" fmla="*/ 0 w 5653"/>
                  <a:gd name="connsiteY2" fmla="*/ 4556 h 4610"/>
                  <a:gd name="connsiteX3" fmla="*/ 466 w 5653"/>
                  <a:gd name="connsiteY3" fmla="*/ 2223 h 4610"/>
                  <a:gd name="connsiteX4" fmla="*/ 3156 w 5653"/>
                  <a:gd name="connsiteY4" fmla="*/ 1619 h 4610"/>
                  <a:gd name="connsiteX5" fmla="*/ 3540 w 5653"/>
                  <a:gd name="connsiteY5" fmla="*/ 0 h 4610"/>
                  <a:gd name="connsiteX6" fmla="*/ 5653 w 5653"/>
                  <a:gd name="connsiteY6" fmla="*/ 631 h 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3" h="4610">
                    <a:moveTo>
                      <a:pt x="5626" y="631"/>
                    </a:moveTo>
                    <a:lnTo>
                      <a:pt x="3403" y="4611"/>
                    </a:lnTo>
                    <a:lnTo>
                      <a:pt x="0" y="4556"/>
                    </a:lnTo>
                    <a:lnTo>
                      <a:pt x="466" y="2223"/>
                    </a:lnTo>
                    <a:lnTo>
                      <a:pt x="3156" y="1619"/>
                    </a:lnTo>
                    <a:lnTo>
                      <a:pt x="3540" y="0"/>
                    </a:lnTo>
                    <a:lnTo>
                      <a:pt x="5653" y="6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51" name="Freeform: Shape 3150">
                <a:extLst>
                  <a:ext uri="{FF2B5EF4-FFF2-40B4-BE49-F238E27FC236}">
                    <a16:creationId xmlns:a16="http://schemas.microsoft.com/office/drawing/2014/main" id="{C2BE1FD8-7C1D-F647-33B4-F3979EF315E2}"/>
                  </a:ext>
                </a:extLst>
              </p:cNvPr>
              <p:cNvSpPr/>
              <p:nvPr/>
            </p:nvSpPr>
            <p:spPr>
              <a:xfrm>
                <a:off x="1141219" y="3776694"/>
                <a:ext cx="512" cy="464"/>
              </a:xfrm>
              <a:custGeom>
                <a:avLst/>
                <a:gdLst>
                  <a:gd name="connsiteX0" fmla="*/ 4912 w 4912"/>
                  <a:gd name="connsiteY0" fmla="*/ 1701 h 4445"/>
                  <a:gd name="connsiteX1" fmla="*/ 768 w 4912"/>
                  <a:gd name="connsiteY1" fmla="*/ 4446 h 4445"/>
                  <a:gd name="connsiteX2" fmla="*/ 0 w 4912"/>
                  <a:gd name="connsiteY2" fmla="*/ 1701 h 4445"/>
                  <a:gd name="connsiteX3" fmla="*/ 2470 w 4912"/>
                  <a:gd name="connsiteY3" fmla="*/ 0 h 4445"/>
                  <a:gd name="connsiteX4" fmla="*/ 4912 w 4912"/>
                  <a:gd name="connsiteY4" fmla="*/ 1701 h 4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 h="4445">
                    <a:moveTo>
                      <a:pt x="4912" y="1701"/>
                    </a:moveTo>
                    <a:lnTo>
                      <a:pt x="768" y="4446"/>
                    </a:lnTo>
                    <a:lnTo>
                      <a:pt x="0" y="1701"/>
                    </a:lnTo>
                    <a:lnTo>
                      <a:pt x="2470" y="0"/>
                    </a:lnTo>
                    <a:lnTo>
                      <a:pt x="4912"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52" name="Freeform: Shape 3151">
                <a:extLst>
                  <a:ext uri="{FF2B5EF4-FFF2-40B4-BE49-F238E27FC236}">
                    <a16:creationId xmlns:a16="http://schemas.microsoft.com/office/drawing/2014/main" id="{181FE1CF-152F-4C2F-28FE-EFDFB1475A64}"/>
                  </a:ext>
                </a:extLst>
              </p:cNvPr>
              <p:cNvSpPr/>
              <p:nvPr/>
            </p:nvSpPr>
            <p:spPr>
              <a:xfrm>
                <a:off x="1136706" y="3768170"/>
                <a:ext cx="361" cy="627"/>
              </a:xfrm>
              <a:custGeom>
                <a:avLst/>
                <a:gdLst>
                  <a:gd name="connsiteX0" fmla="*/ 3458 w 3457"/>
                  <a:gd name="connsiteY0" fmla="*/ 1838 h 6009"/>
                  <a:gd name="connsiteX1" fmla="*/ 2031 w 3457"/>
                  <a:gd name="connsiteY1" fmla="*/ 6010 h 6009"/>
                  <a:gd name="connsiteX2" fmla="*/ 0 w 3457"/>
                  <a:gd name="connsiteY2" fmla="*/ 4857 h 6009"/>
                  <a:gd name="connsiteX3" fmla="*/ 1290 w 3457"/>
                  <a:gd name="connsiteY3" fmla="*/ 110 h 6009"/>
                  <a:gd name="connsiteX4" fmla="*/ 2827 w 3457"/>
                  <a:gd name="connsiteY4" fmla="*/ 0 h 6009"/>
                  <a:gd name="connsiteX5" fmla="*/ 3458 w 3457"/>
                  <a:gd name="connsiteY5" fmla="*/ 1838 h 6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7" h="6009">
                    <a:moveTo>
                      <a:pt x="3458" y="1838"/>
                    </a:moveTo>
                    <a:lnTo>
                      <a:pt x="2031" y="6010"/>
                    </a:lnTo>
                    <a:lnTo>
                      <a:pt x="0" y="4857"/>
                    </a:lnTo>
                    <a:lnTo>
                      <a:pt x="1290" y="110"/>
                    </a:lnTo>
                    <a:lnTo>
                      <a:pt x="2827" y="0"/>
                    </a:lnTo>
                    <a:lnTo>
                      <a:pt x="3458"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53" name="Freeform: Shape 3152">
                <a:extLst>
                  <a:ext uri="{FF2B5EF4-FFF2-40B4-BE49-F238E27FC236}">
                    <a16:creationId xmlns:a16="http://schemas.microsoft.com/office/drawing/2014/main" id="{20D08574-929A-E404-F7D1-E3CB3CAA680A}"/>
                  </a:ext>
                </a:extLst>
              </p:cNvPr>
              <p:cNvSpPr/>
              <p:nvPr/>
            </p:nvSpPr>
            <p:spPr>
              <a:xfrm>
                <a:off x="1127595" y="3764975"/>
                <a:ext cx="733" cy="289"/>
              </a:xfrm>
              <a:custGeom>
                <a:avLst/>
                <a:gdLst>
                  <a:gd name="connsiteX0" fmla="*/ 3897 w 7025"/>
                  <a:gd name="connsiteY0" fmla="*/ 2772 h 2771"/>
                  <a:gd name="connsiteX1" fmla="*/ 1372 w 7025"/>
                  <a:gd name="connsiteY1" fmla="*/ 2772 h 2771"/>
                  <a:gd name="connsiteX2" fmla="*/ 0 w 7025"/>
                  <a:gd name="connsiteY2" fmla="*/ 1235 h 2771"/>
                  <a:gd name="connsiteX3" fmla="*/ 1262 w 7025"/>
                  <a:gd name="connsiteY3" fmla="*/ 137 h 2771"/>
                  <a:gd name="connsiteX4" fmla="*/ 6971 w 7025"/>
                  <a:gd name="connsiteY4" fmla="*/ 0 h 2771"/>
                  <a:gd name="connsiteX5" fmla="*/ 7025 w 7025"/>
                  <a:gd name="connsiteY5" fmla="*/ 1482 h 2771"/>
                  <a:gd name="connsiteX6" fmla="*/ 3897 w 7025"/>
                  <a:gd name="connsiteY6" fmla="*/ 2772 h 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5" h="2771">
                    <a:moveTo>
                      <a:pt x="3897" y="2772"/>
                    </a:moveTo>
                    <a:lnTo>
                      <a:pt x="1372" y="2772"/>
                    </a:lnTo>
                    <a:cubicBezTo>
                      <a:pt x="1372" y="2772"/>
                      <a:pt x="0" y="1235"/>
                      <a:pt x="0" y="1235"/>
                    </a:cubicBezTo>
                    <a:lnTo>
                      <a:pt x="1262" y="137"/>
                    </a:lnTo>
                    <a:lnTo>
                      <a:pt x="6971" y="0"/>
                    </a:lnTo>
                    <a:lnTo>
                      <a:pt x="7025" y="1482"/>
                    </a:lnTo>
                    <a:lnTo>
                      <a:pt x="3897"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54" name="Freeform: Shape 3153">
                <a:extLst>
                  <a:ext uri="{FF2B5EF4-FFF2-40B4-BE49-F238E27FC236}">
                    <a16:creationId xmlns:a16="http://schemas.microsoft.com/office/drawing/2014/main" id="{CB183097-CF54-E330-3E18-3985A841A8C8}"/>
                  </a:ext>
                </a:extLst>
              </p:cNvPr>
              <p:cNvSpPr/>
              <p:nvPr/>
            </p:nvSpPr>
            <p:spPr>
              <a:xfrm>
                <a:off x="1126413" y="3763524"/>
                <a:ext cx="412" cy="484"/>
              </a:xfrm>
              <a:custGeom>
                <a:avLst/>
                <a:gdLst>
                  <a:gd name="connsiteX0" fmla="*/ 3952 w 3951"/>
                  <a:gd name="connsiteY0" fmla="*/ 2991 h 4637"/>
                  <a:gd name="connsiteX1" fmla="*/ 2470 w 3951"/>
                  <a:gd name="connsiteY1" fmla="*/ 4638 h 4637"/>
                  <a:gd name="connsiteX2" fmla="*/ 0 w 3951"/>
                  <a:gd name="connsiteY2" fmla="*/ 2909 h 4637"/>
                  <a:gd name="connsiteX3" fmla="*/ 1482 w 3951"/>
                  <a:gd name="connsiteY3" fmla="*/ 0 h 4637"/>
                  <a:gd name="connsiteX4" fmla="*/ 2689 w 3951"/>
                  <a:gd name="connsiteY4" fmla="*/ 2552 h 4637"/>
                  <a:gd name="connsiteX5" fmla="*/ 3952 w 3951"/>
                  <a:gd name="connsiteY5" fmla="*/ 2991 h 4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1" h="4637">
                    <a:moveTo>
                      <a:pt x="3952" y="2991"/>
                    </a:moveTo>
                    <a:lnTo>
                      <a:pt x="2470" y="4638"/>
                    </a:lnTo>
                    <a:lnTo>
                      <a:pt x="0" y="2909"/>
                    </a:lnTo>
                    <a:lnTo>
                      <a:pt x="1482" y="0"/>
                    </a:lnTo>
                    <a:lnTo>
                      <a:pt x="2689" y="2552"/>
                    </a:lnTo>
                    <a:lnTo>
                      <a:pt x="3952" y="29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55" name="Freeform: Shape 3154">
                <a:extLst>
                  <a:ext uri="{FF2B5EF4-FFF2-40B4-BE49-F238E27FC236}">
                    <a16:creationId xmlns:a16="http://schemas.microsoft.com/office/drawing/2014/main" id="{4EF1F2A5-7FDD-61D8-CD0F-EBBE59327E9E}"/>
                  </a:ext>
                </a:extLst>
              </p:cNvPr>
              <p:cNvSpPr/>
              <p:nvPr/>
            </p:nvSpPr>
            <p:spPr>
              <a:xfrm>
                <a:off x="1121950" y="3762451"/>
                <a:ext cx="366" cy="524"/>
              </a:xfrm>
              <a:custGeom>
                <a:avLst/>
                <a:gdLst>
                  <a:gd name="connsiteX0" fmla="*/ 3512 w 3512"/>
                  <a:gd name="connsiteY0" fmla="*/ 219 h 5021"/>
                  <a:gd name="connsiteX1" fmla="*/ 1866 w 3512"/>
                  <a:gd name="connsiteY1" fmla="*/ 5022 h 5021"/>
                  <a:gd name="connsiteX2" fmla="*/ 0 w 3512"/>
                  <a:gd name="connsiteY2" fmla="*/ 4912 h 5021"/>
                  <a:gd name="connsiteX3" fmla="*/ 2360 w 3512"/>
                  <a:gd name="connsiteY3" fmla="*/ 0 h 5021"/>
                  <a:gd name="connsiteX4" fmla="*/ 3512 w 3512"/>
                  <a:gd name="connsiteY4" fmla="*/ 219 h 5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5021">
                    <a:moveTo>
                      <a:pt x="3512" y="219"/>
                    </a:moveTo>
                    <a:lnTo>
                      <a:pt x="1866" y="5022"/>
                    </a:lnTo>
                    <a:lnTo>
                      <a:pt x="0" y="4912"/>
                    </a:lnTo>
                    <a:lnTo>
                      <a:pt x="2360" y="0"/>
                    </a:lnTo>
                    <a:lnTo>
                      <a:pt x="3512" y="2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56" name="Freeform: Shape 3155">
                <a:extLst>
                  <a:ext uri="{FF2B5EF4-FFF2-40B4-BE49-F238E27FC236}">
                    <a16:creationId xmlns:a16="http://schemas.microsoft.com/office/drawing/2014/main" id="{35A6C8B0-91C2-7FA3-C6B9-786CC28A6A8D}"/>
                  </a:ext>
                </a:extLst>
              </p:cNvPr>
              <p:cNvSpPr/>
              <p:nvPr/>
            </p:nvSpPr>
            <p:spPr>
              <a:xfrm>
                <a:off x="1131098" y="3768456"/>
                <a:ext cx="352" cy="512"/>
              </a:xfrm>
              <a:custGeom>
                <a:avLst/>
                <a:gdLst>
                  <a:gd name="connsiteX0" fmla="*/ 2579 w 3375"/>
                  <a:gd name="connsiteY0" fmla="*/ 2278 h 4912"/>
                  <a:gd name="connsiteX1" fmla="*/ 3375 w 3375"/>
                  <a:gd name="connsiteY1" fmla="*/ 4912 h 4912"/>
                  <a:gd name="connsiteX2" fmla="*/ 1839 w 3375"/>
                  <a:gd name="connsiteY2" fmla="*/ 4391 h 4912"/>
                  <a:gd name="connsiteX3" fmla="*/ 0 w 3375"/>
                  <a:gd name="connsiteY3" fmla="*/ 2717 h 4912"/>
                  <a:gd name="connsiteX4" fmla="*/ 960 w 3375"/>
                  <a:gd name="connsiteY4" fmla="*/ 0 h 4912"/>
                  <a:gd name="connsiteX5" fmla="*/ 2579 w 3375"/>
                  <a:gd name="connsiteY5" fmla="*/ 2250 h 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5" h="4912">
                    <a:moveTo>
                      <a:pt x="2579" y="2278"/>
                    </a:moveTo>
                    <a:lnTo>
                      <a:pt x="3375" y="4912"/>
                    </a:lnTo>
                    <a:lnTo>
                      <a:pt x="1839" y="4391"/>
                    </a:lnTo>
                    <a:lnTo>
                      <a:pt x="0" y="2717"/>
                    </a:lnTo>
                    <a:lnTo>
                      <a:pt x="960" y="0"/>
                    </a:lnTo>
                    <a:lnTo>
                      <a:pt x="2579" y="22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57" name="Freeform: Shape 3156">
                <a:extLst>
                  <a:ext uri="{FF2B5EF4-FFF2-40B4-BE49-F238E27FC236}">
                    <a16:creationId xmlns:a16="http://schemas.microsoft.com/office/drawing/2014/main" id="{6F622B5F-AA0F-6EB9-84D5-9B96B9D8A630}"/>
                  </a:ext>
                </a:extLst>
              </p:cNvPr>
              <p:cNvSpPr/>
              <p:nvPr/>
            </p:nvSpPr>
            <p:spPr>
              <a:xfrm>
                <a:off x="1131399" y="3765771"/>
                <a:ext cx="389" cy="444"/>
              </a:xfrm>
              <a:custGeom>
                <a:avLst/>
                <a:gdLst>
                  <a:gd name="connsiteX0" fmla="*/ 3732 w 3732"/>
                  <a:gd name="connsiteY0" fmla="*/ 714 h 4253"/>
                  <a:gd name="connsiteX1" fmla="*/ 1866 w 3732"/>
                  <a:gd name="connsiteY1" fmla="*/ 4253 h 4253"/>
                  <a:gd name="connsiteX2" fmla="*/ 0 w 3732"/>
                  <a:gd name="connsiteY2" fmla="*/ 2141 h 4253"/>
                  <a:gd name="connsiteX3" fmla="*/ 2333 w 3732"/>
                  <a:gd name="connsiteY3" fmla="*/ 0 h 4253"/>
                  <a:gd name="connsiteX4" fmla="*/ 3732 w 3732"/>
                  <a:gd name="connsiteY4" fmla="*/ 714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4253">
                    <a:moveTo>
                      <a:pt x="3732" y="714"/>
                    </a:moveTo>
                    <a:lnTo>
                      <a:pt x="1866" y="4253"/>
                    </a:lnTo>
                    <a:lnTo>
                      <a:pt x="0" y="2141"/>
                    </a:lnTo>
                    <a:lnTo>
                      <a:pt x="2333" y="0"/>
                    </a:lnTo>
                    <a:lnTo>
                      <a:pt x="3732" y="7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58" name="Freeform: Shape 3157">
                <a:extLst>
                  <a:ext uri="{FF2B5EF4-FFF2-40B4-BE49-F238E27FC236}">
                    <a16:creationId xmlns:a16="http://schemas.microsoft.com/office/drawing/2014/main" id="{28351234-C554-C79D-7167-AEC2C1A75E75}"/>
                  </a:ext>
                </a:extLst>
              </p:cNvPr>
              <p:cNvSpPr/>
              <p:nvPr/>
            </p:nvSpPr>
            <p:spPr>
              <a:xfrm>
                <a:off x="1132675" y="3770110"/>
                <a:ext cx="438" cy="389"/>
              </a:xfrm>
              <a:custGeom>
                <a:avLst/>
                <a:gdLst>
                  <a:gd name="connsiteX0" fmla="*/ 4199 w 4198"/>
                  <a:gd name="connsiteY0" fmla="*/ 1866 h 3732"/>
                  <a:gd name="connsiteX1" fmla="*/ 1893 w 4198"/>
                  <a:gd name="connsiteY1" fmla="*/ 3732 h 3732"/>
                  <a:gd name="connsiteX2" fmla="*/ 0 w 4198"/>
                  <a:gd name="connsiteY2" fmla="*/ 2250 h 3732"/>
                  <a:gd name="connsiteX3" fmla="*/ 3129 w 4198"/>
                  <a:gd name="connsiteY3" fmla="*/ 0 h 3732"/>
                  <a:gd name="connsiteX4" fmla="*/ 4199 w 4198"/>
                  <a:gd name="connsiteY4" fmla="*/ 1866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8" h="3732">
                    <a:moveTo>
                      <a:pt x="4199" y="1866"/>
                    </a:moveTo>
                    <a:lnTo>
                      <a:pt x="1893" y="3732"/>
                    </a:lnTo>
                    <a:lnTo>
                      <a:pt x="0" y="2250"/>
                    </a:lnTo>
                    <a:lnTo>
                      <a:pt x="3129" y="0"/>
                    </a:lnTo>
                    <a:lnTo>
                      <a:pt x="4199" y="18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59" name="Freeform: Shape 3158">
                <a:extLst>
                  <a:ext uri="{FF2B5EF4-FFF2-40B4-BE49-F238E27FC236}">
                    <a16:creationId xmlns:a16="http://schemas.microsoft.com/office/drawing/2014/main" id="{BDFD5B75-DCDC-EEEB-0FAE-36788DE37D05}"/>
                  </a:ext>
                </a:extLst>
              </p:cNvPr>
              <p:cNvSpPr/>
              <p:nvPr/>
            </p:nvSpPr>
            <p:spPr>
              <a:xfrm>
                <a:off x="1129925" y="3763352"/>
                <a:ext cx="469" cy="366"/>
              </a:xfrm>
              <a:custGeom>
                <a:avLst/>
                <a:gdLst>
                  <a:gd name="connsiteX0" fmla="*/ 3732 w 4500"/>
                  <a:gd name="connsiteY0" fmla="*/ 27 h 3512"/>
                  <a:gd name="connsiteX1" fmla="*/ 4501 w 4500"/>
                  <a:gd name="connsiteY1" fmla="*/ 3513 h 3512"/>
                  <a:gd name="connsiteX2" fmla="*/ 0 w 4500"/>
                  <a:gd name="connsiteY2" fmla="*/ 2937 h 3512"/>
                  <a:gd name="connsiteX3" fmla="*/ 521 w 4500"/>
                  <a:gd name="connsiteY3" fmla="*/ 27 h 3512"/>
                  <a:gd name="connsiteX4" fmla="*/ 2223 w 4500"/>
                  <a:gd name="connsiteY4" fmla="*/ 1180 h 3512"/>
                  <a:gd name="connsiteX5" fmla="*/ 3760 w 4500"/>
                  <a:gd name="connsiteY5" fmla="*/ 0 h 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 h="3512">
                    <a:moveTo>
                      <a:pt x="3732" y="27"/>
                    </a:moveTo>
                    <a:lnTo>
                      <a:pt x="4501" y="3513"/>
                    </a:lnTo>
                    <a:lnTo>
                      <a:pt x="0" y="2937"/>
                    </a:lnTo>
                    <a:lnTo>
                      <a:pt x="521" y="27"/>
                    </a:lnTo>
                    <a:lnTo>
                      <a:pt x="2223" y="1180"/>
                    </a:lnTo>
                    <a:lnTo>
                      <a:pt x="376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60" name="Freeform: Shape 3159">
                <a:extLst>
                  <a:ext uri="{FF2B5EF4-FFF2-40B4-BE49-F238E27FC236}">
                    <a16:creationId xmlns:a16="http://schemas.microsoft.com/office/drawing/2014/main" id="{1F52F06D-ADAD-EDC5-F1AE-AE05CEF1D79C}"/>
                  </a:ext>
                </a:extLst>
              </p:cNvPr>
              <p:cNvSpPr/>
              <p:nvPr/>
            </p:nvSpPr>
            <p:spPr>
              <a:xfrm>
                <a:off x="1133142" y="3770245"/>
                <a:ext cx="358" cy="464"/>
              </a:xfrm>
              <a:custGeom>
                <a:avLst/>
                <a:gdLst>
                  <a:gd name="connsiteX0" fmla="*/ 3430 w 3430"/>
                  <a:gd name="connsiteY0" fmla="*/ 1372 h 4445"/>
                  <a:gd name="connsiteX1" fmla="*/ 467 w 3430"/>
                  <a:gd name="connsiteY1" fmla="*/ 4446 h 4445"/>
                  <a:gd name="connsiteX2" fmla="*/ 0 w 3430"/>
                  <a:gd name="connsiteY2" fmla="*/ 1180 h 4445"/>
                  <a:gd name="connsiteX3" fmla="*/ 1317 w 3430"/>
                  <a:gd name="connsiteY3" fmla="*/ 0 h 4445"/>
                  <a:gd name="connsiteX4" fmla="*/ 3403 w 3430"/>
                  <a:gd name="connsiteY4" fmla="*/ 1400 h 4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4445">
                    <a:moveTo>
                      <a:pt x="3430" y="1372"/>
                    </a:moveTo>
                    <a:lnTo>
                      <a:pt x="467" y="4446"/>
                    </a:lnTo>
                    <a:lnTo>
                      <a:pt x="0" y="1180"/>
                    </a:lnTo>
                    <a:lnTo>
                      <a:pt x="1317" y="0"/>
                    </a:lnTo>
                    <a:lnTo>
                      <a:pt x="3403" y="14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61" name="Freeform: Shape 3160">
                <a:extLst>
                  <a:ext uri="{FF2B5EF4-FFF2-40B4-BE49-F238E27FC236}">
                    <a16:creationId xmlns:a16="http://schemas.microsoft.com/office/drawing/2014/main" id="{F506BD45-C7C4-5717-5750-6417F0D080A4}"/>
                  </a:ext>
                </a:extLst>
              </p:cNvPr>
              <p:cNvSpPr/>
              <p:nvPr/>
            </p:nvSpPr>
            <p:spPr>
              <a:xfrm>
                <a:off x="1134825" y="3771024"/>
                <a:ext cx="300" cy="547"/>
              </a:xfrm>
              <a:custGeom>
                <a:avLst/>
                <a:gdLst>
                  <a:gd name="connsiteX0" fmla="*/ 2881 w 2881"/>
                  <a:gd name="connsiteY0" fmla="*/ 2827 h 5241"/>
                  <a:gd name="connsiteX1" fmla="*/ 1400 w 2881"/>
                  <a:gd name="connsiteY1" fmla="*/ 5242 h 5241"/>
                  <a:gd name="connsiteX2" fmla="*/ 0 w 2881"/>
                  <a:gd name="connsiteY2" fmla="*/ 2744 h 5241"/>
                  <a:gd name="connsiteX3" fmla="*/ 2442 w 2881"/>
                  <a:gd name="connsiteY3" fmla="*/ 0 h 5241"/>
                  <a:gd name="connsiteX4" fmla="*/ 2881 w 2881"/>
                  <a:gd name="connsiteY4" fmla="*/ 2827 h 5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1" h="5241">
                    <a:moveTo>
                      <a:pt x="2881" y="2827"/>
                    </a:moveTo>
                    <a:lnTo>
                      <a:pt x="1400" y="5242"/>
                    </a:lnTo>
                    <a:lnTo>
                      <a:pt x="0" y="2744"/>
                    </a:lnTo>
                    <a:lnTo>
                      <a:pt x="2442" y="0"/>
                    </a:lnTo>
                    <a:lnTo>
                      <a:pt x="2881" y="28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62" name="Freeform: Shape 3161">
                <a:extLst>
                  <a:ext uri="{FF2B5EF4-FFF2-40B4-BE49-F238E27FC236}">
                    <a16:creationId xmlns:a16="http://schemas.microsoft.com/office/drawing/2014/main" id="{F2F45426-4CEA-2798-3D92-E477DFDA81AD}"/>
                  </a:ext>
                </a:extLst>
              </p:cNvPr>
              <p:cNvSpPr/>
              <p:nvPr/>
            </p:nvSpPr>
            <p:spPr>
              <a:xfrm>
                <a:off x="1135515" y="3769509"/>
                <a:ext cx="487" cy="338"/>
              </a:xfrm>
              <a:custGeom>
                <a:avLst/>
                <a:gdLst>
                  <a:gd name="connsiteX0" fmla="*/ 4638 w 4665"/>
                  <a:gd name="connsiteY0" fmla="*/ 329 h 3238"/>
                  <a:gd name="connsiteX1" fmla="*/ 3211 w 4665"/>
                  <a:gd name="connsiteY1" fmla="*/ 3238 h 3238"/>
                  <a:gd name="connsiteX2" fmla="*/ 0 w 4665"/>
                  <a:gd name="connsiteY2" fmla="*/ 1509 h 3238"/>
                  <a:gd name="connsiteX3" fmla="*/ 2964 w 4665"/>
                  <a:gd name="connsiteY3" fmla="*/ 0 h 3238"/>
                  <a:gd name="connsiteX4" fmla="*/ 4665 w 4665"/>
                  <a:gd name="connsiteY4" fmla="*/ 329 h 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5" h="3238">
                    <a:moveTo>
                      <a:pt x="4638" y="329"/>
                    </a:moveTo>
                    <a:lnTo>
                      <a:pt x="3211" y="3238"/>
                    </a:lnTo>
                    <a:lnTo>
                      <a:pt x="0" y="1509"/>
                    </a:lnTo>
                    <a:lnTo>
                      <a:pt x="2964" y="0"/>
                    </a:lnTo>
                    <a:lnTo>
                      <a:pt x="4665" y="3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63" name="Freeform: Shape 3162">
                <a:extLst>
                  <a:ext uri="{FF2B5EF4-FFF2-40B4-BE49-F238E27FC236}">
                    <a16:creationId xmlns:a16="http://schemas.microsoft.com/office/drawing/2014/main" id="{28566032-E567-C6FC-052A-1C98BB6798C1}"/>
                  </a:ext>
                </a:extLst>
              </p:cNvPr>
              <p:cNvSpPr/>
              <p:nvPr/>
            </p:nvSpPr>
            <p:spPr>
              <a:xfrm>
                <a:off x="1132152" y="3769595"/>
                <a:ext cx="398" cy="406"/>
              </a:xfrm>
              <a:custGeom>
                <a:avLst/>
                <a:gdLst>
                  <a:gd name="connsiteX0" fmla="*/ 3814 w 3814"/>
                  <a:gd name="connsiteY0" fmla="*/ 2772 h 3897"/>
                  <a:gd name="connsiteX1" fmla="*/ 3430 w 3814"/>
                  <a:gd name="connsiteY1" fmla="*/ 3897 h 3897"/>
                  <a:gd name="connsiteX2" fmla="*/ 0 w 3814"/>
                  <a:gd name="connsiteY2" fmla="*/ 2772 h 3897"/>
                  <a:gd name="connsiteX3" fmla="*/ 0 w 3814"/>
                  <a:gd name="connsiteY3" fmla="*/ 549 h 3897"/>
                  <a:gd name="connsiteX4" fmla="*/ 1097 w 3814"/>
                  <a:gd name="connsiteY4" fmla="*/ 0 h 3897"/>
                  <a:gd name="connsiteX5" fmla="*/ 3814 w 3814"/>
                  <a:gd name="connsiteY5" fmla="*/ 2772 h 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 h="3897">
                    <a:moveTo>
                      <a:pt x="3814" y="2772"/>
                    </a:moveTo>
                    <a:lnTo>
                      <a:pt x="3430" y="3897"/>
                    </a:lnTo>
                    <a:lnTo>
                      <a:pt x="0" y="2772"/>
                    </a:lnTo>
                    <a:lnTo>
                      <a:pt x="0" y="549"/>
                    </a:lnTo>
                    <a:lnTo>
                      <a:pt x="1097" y="0"/>
                    </a:lnTo>
                    <a:lnTo>
                      <a:pt x="3814"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64" name="Freeform: Shape 3163">
                <a:extLst>
                  <a:ext uri="{FF2B5EF4-FFF2-40B4-BE49-F238E27FC236}">
                    <a16:creationId xmlns:a16="http://schemas.microsoft.com/office/drawing/2014/main" id="{4F25DA67-A06A-D9B9-16C2-0B0E855A7E62}"/>
                  </a:ext>
                </a:extLst>
              </p:cNvPr>
              <p:cNvSpPr/>
              <p:nvPr/>
            </p:nvSpPr>
            <p:spPr>
              <a:xfrm>
                <a:off x="1134527" y="3770090"/>
                <a:ext cx="298" cy="515"/>
              </a:xfrm>
              <a:custGeom>
                <a:avLst/>
                <a:gdLst>
                  <a:gd name="connsiteX0" fmla="*/ 2854 w 2854"/>
                  <a:gd name="connsiteY0" fmla="*/ 4803 h 4939"/>
                  <a:gd name="connsiteX1" fmla="*/ 1647 w 2854"/>
                  <a:gd name="connsiteY1" fmla="*/ 4940 h 4939"/>
                  <a:gd name="connsiteX2" fmla="*/ 0 w 2854"/>
                  <a:gd name="connsiteY2" fmla="*/ 1756 h 4939"/>
                  <a:gd name="connsiteX3" fmla="*/ 82 w 2854"/>
                  <a:gd name="connsiteY3" fmla="*/ 0 h 4939"/>
                  <a:gd name="connsiteX4" fmla="*/ 1674 w 2854"/>
                  <a:gd name="connsiteY4" fmla="*/ 604 h 4939"/>
                  <a:gd name="connsiteX5" fmla="*/ 2854 w 2854"/>
                  <a:gd name="connsiteY5" fmla="*/ 4830 h 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 h="4939">
                    <a:moveTo>
                      <a:pt x="2854" y="4803"/>
                    </a:moveTo>
                    <a:lnTo>
                      <a:pt x="1647" y="4940"/>
                    </a:lnTo>
                    <a:lnTo>
                      <a:pt x="0" y="1756"/>
                    </a:lnTo>
                    <a:lnTo>
                      <a:pt x="82" y="0"/>
                    </a:lnTo>
                    <a:lnTo>
                      <a:pt x="1674" y="604"/>
                    </a:lnTo>
                    <a:lnTo>
                      <a:pt x="2854" y="48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65" name="Freeform: Shape 3164">
                <a:extLst>
                  <a:ext uri="{FF2B5EF4-FFF2-40B4-BE49-F238E27FC236}">
                    <a16:creationId xmlns:a16="http://schemas.microsoft.com/office/drawing/2014/main" id="{4ED2F6CC-DD59-5115-496E-98F03C750070}"/>
                  </a:ext>
                </a:extLst>
              </p:cNvPr>
              <p:cNvSpPr/>
              <p:nvPr/>
            </p:nvSpPr>
            <p:spPr>
              <a:xfrm>
                <a:off x="1126227" y="3758598"/>
                <a:ext cx="429" cy="341"/>
              </a:xfrm>
              <a:custGeom>
                <a:avLst/>
                <a:gdLst>
                  <a:gd name="connsiteX0" fmla="*/ 4116 w 4116"/>
                  <a:gd name="connsiteY0" fmla="*/ 2113 h 3265"/>
                  <a:gd name="connsiteX1" fmla="*/ 1427 w 4116"/>
                  <a:gd name="connsiteY1" fmla="*/ 3266 h 3265"/>
                  <a:gd name="connsiteX2" fmla="*/ 0 w 4116"/>
                  <a:gd name="connsiteY2" fmla="*/ 823 h 3265"/>
                  <a:gd name="connsiteX3" fmla="*/ 3101 w 4116"/>
                  <a:gd name="connsiteY3" fmla="*/ 0 h 3265"/>
                  <a:gd name="connsiteX4" fmla="*/ 4089 w 4116"/>
                  <a:gd name="connsiteY4" fmla="*/ 2113 h 3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3265">
                    <a:moveTo>
                      <a:pt x="4116" y="2113"/>
                    </a:moveTo>
                    <a:lnTo>
                      <a:pt x="1427" y="3266"/>
                    </a:lnTo>
                    <a:lnTo>
                      <a:pt x="0" y="823"/>
                    </a:lnTo>
                    <a:lnTo>
                      <a:pt x="3101" y="0"/>
                    </a:lnTo>
                    <a:lnTo>
                      <a:pt x="4089"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66" name="Freeform: Shape 3165">
                <a:extLst>
                  <a:ext uri="{FF2B5EF4-FFF2-40B4-BE49-F238E27FC236}">
                    <a16:creationId xmlns:a16="http://schemas.microsoft.com/office/drawing/2014/main" id="{4C85DDFE-151A-5B9C-EAC8-713BB9ED81F1}"/>
                  </a:ext>
                </a:extLst>
              </p:cNvPr>
              <p:cNvSpPr/>
              <p:nvPr/>
            </p:nvSpPr>
            <p:spPr>
              <a:xfrm>
                <a:off x="1124687" y="3757316"/>
                <a:ext cx="441" cy="326"/>
              </a:xfrm>
              <a:custGeom>
                <a:avLst/>
                <a:gdLst>
                  <a:gd name="connsiteX0" fmla="*/ 4226 w 4226"/>
                  <a:gd name="connsiteY0" fmla="*/ 2141 h 3128"/>
                  <a:gd name="connsiteX1" fmla="*/ 906 w 4226"/>
                  <a:gd name="connsiteY1" fmla="*/ 3129 h 3128"/>
                  <a:gd name="connsiteX2" fmla="*/ 0 w 4226"/>
                  <a:gd name="connsiteY2" fmla="*/ 1400 h 3128"/>
                  <a:gd name="connsiteX3" fmla="*/ 823 w 4226"/>
                  <a:gd name="connsiteY3" fmla="*/ 0 h 3128"/>
                  <a:gd name="connsiteX4" fmla="*/ 3952 w 4226"/>
                  <a:gd name="connsiteY4" fmla="*/ 1153 h 3128"/>
                  <a:gd name="connsiteX5" fmla="*/ 4226 w 4226"/>
                  <a:gd name="connsiteY5" fmla="*/ 2113 h 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6" h="3128">
                    <a:moveTo>
                      <a:pt x="4226" y="2141"/>
                    </a:moveTo>
                    <a:lnTo>
                      <a:pt x="906" y="3129"/>
                    </a:lnTo>
                    <a:lnTo>
                      <a:pt x="0" y="1400"/>
                    </a:lnTo>
                    <a:lnTo>
                      <a:pt x="823" y="0"/>
                    </a:lnTo>
                    <a:lnTo>
                      <a:pt x="3952" y="1153"/>
                    </a:lnTo>
                    <a:lnTo>
                      <a:pt x="4226"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67" name="Freeform: Shape 3166">
                <a:extLst>
                  <a:ext uri="{FF2B5EF4-FFF2-40B4-BE49-F238E27FC236}">
                    <a16:creationId xmlns:a16="http://schemas.microsoft.com/office/drawing/2014/main" id="{104FE1BA-01CA-C8D0-EDBD-F441B842EF1F}"/>
                  </a:ext>
                </a:extLst>
              </p:cNvPr>
              <p:cNvSpPr/>
              <p:nvPr/>
            </p:nvSpPr>
            <p:spPr>
              <a:xfrm>
                <a:off x="1133763" y="3767285"/>
                <a:ext cx="346" cy="389"/>
              </a:xfrm>
              <a:custGeom>
                <a:avLst/>
                <a:gdLst>
                  <a:gd name="connsiteX0" fmla="*/ 3320 w 3320"/>
                  <a:gd name="connsiteY0" fmla="*/ 1619 h 3732"/>
                  <a:gd name="connsiteX1" fmla="*/ 3183 w 3320"/>
                  <a:gd name="connsiteY1" fmla="*/ 3732 h 3732"/>
                  <a:gd name="connsiteX2" fmla="*/ 1345 w 3320"/>
                  <a:gd name="connsiteY2" fmla="*/ 3567 h 3732"/>
                  <a:gd name="connsiteX3" fmla="*/ 0 w 3320"/>
                  <a:gd name="connsiteY3" fmla="*/ 768 h 3732"/>
                  <a:gd name="connsiteX4" fmla="*/ 960 w 3320"/>
                  <a:gd name="connsiteY4" fmla="*/ 0 h 3732"/>
                  <a:gd name="connsiteX5" fmla="*/ 3293 w 3320"/>
                  <a:gd name="connsiteY5" fmla="*/ 1619 h 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0" h="3732">
                    <a:moveTo>
                      <a:pt x="3320" y="1619"/>
                    </a:moveTo>
                    <a:lnTo>
                      <a:pt x="3183" y="3732"/>
                    </a:lnTo>
                    <a:lnTo>
                      <a:pt x="1345" y="3567"/>
                    </a:lnTo>
                    <a:lnTo>
                      <a:pt x="0" y="768"/>
                    </a:lnTo>
                    <a:lnTo>
                      <a:pt x="960" y="0"/>
                    </a:lnTo>
                    <a:lnTo>
                      <a:pt x="3293"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68" name="Freeform: Shape 3167">
                <a:extLst>
                  <a:ext uri="{FF2B5EF4-FFF2-40B4-BE49-F238E27FC236}">
                    <a16:creationId xmlns:a16="http://schemas.microsoft.com/office/drawing/2014/main" id="{C4BF6FC9-A360-0AEF-C800-8999A64244A7}"/>
                  </a:ext>
                </a:extLst>
              </p:cNvPr>
              <p:cNvSpPr/>
              <p:nvPr/>
            </p:nvSpPr>
            <p:spPr>
              <a:xfrm>
                <a:off x="1128399" y="3768287"/>
                <a:ext cx="409" cy="306"/>
              </a:xfrm>
              <a:custGeom>
                <a:avLst/>
                <a:gdLst>
                  <a:gd name="connsiteX0" fmla="*/ 3595 w 3924"/>
                  <a:gd name="connsiteY0" fmla="*/ 0 h 2936"/>
                  <a:gd name="connsiteX1" fmla="*/ 3924 w 3924"/>
                  <a:gd name="connsiteY1" fmla="*/ 2936 h 2936"/>
                  <a:gd name="connsiteX2" fmla="*/ 1482 w 3924"/>
                  <a:gd name="connsiteY2" fmla="*/ 2799 h 2936"/>
                  <a:gd name="connsiteX3" fmla="*/ 0 w 3924"/>
                  <a:gd name="connsiteY3" fmla="*/ 878 h 2936"/>
                  <a:gd name="connsiteX4" fmla="*/ 3595 w 3924"/>
                  <a:gd name="connsiteY4" fmla="*/ 27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2936">
                    <a:moveTo>
                      <a:pt x="3595" y="0"/>
                    </a:moveTo>
                    <a:lnTo>
                      <a:pt x="3924" y="2936"/>
                    </a:lnTo>
                    <a:lnTo>
                      <a:pt x="1482" y="2799"/>
                    </a:lnTo>
                    <a:lnTo>
                      <a:pt x="0" y="878"/>
                    </a:lnTo>
                    <a:lnTo>
                      <a:pt x="3595"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69" name="Freeform: Shape 3168">
                <a:extLst>
                  <a:ext uri="{FF2B5EF4-FFF2-40B4-BE49-F238E27FC236}">
                    <a16:creationId xmlns:a16="http://schemas.microsoft.com/office/drawing/2014/main" id="{BB2B6453-A2BA-90EF-A98A-1886C7E12E73}"/>
                  </a:ext>
                </a:extLst>
              </p:cNvPr>
              <p:cNvSpPr/>
              <p:nvPr/>
            </p:nvSpPr>
            <p:spPr>
              <a:xfrm>
                <a:off x="1131556" y="3765273"/>
                <a:ext cx="306" cy="398"/>
              </a:xfrm>
              <a:custGeom>
                <a:avLst/>
                <a:gdLst>
                  <a:gd name="connsiteX0" fmla="*/ 2223 w 2936"/>
                  <a:gd name="connsiteY0" fmla="*/ 0 h 3814"/>
                  <a:gd name="connsiteX1" fmla="*/ 2937 w 2936"/>
                  <a:gd name="connsiteY1" fmla="*/ 3815 h 3814"/>
                  <a:gd name="connsiteX2" fmla="*/ 0 w 2936"/>
                  <a:gd name="connsiteY2" fmla="*/ 3375 h 3814"/>
                  <a:gd name="connsiteX3" fmla="*/ 686 w 2936"/>
                  <a:gd name="connsiteY3" fmla="*/ 192 h 3814"/>
                  <a:gd name="connsiteX4" fmla="*/ 2196 w 2936"/>
                  <a:gd name="connsiteY4" fmla="*/ 0 h 3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6" h="3814">
                    <a:moveTo>
                      <a:pt x="2223" y="0"/>
                    </a:moveTo>
                    <a:lnTo>
                      <a:pt x="2937" y="3815"/>
                    </a:lnTo>
                    <a:lnTo>
                      <a:pt x="0" y="3375"/>
                    </a:lnTo>
                    <a:lnTo>
                      <a:pt x="686" y="192"/>
                    </a:lnTo>
                    <a:lnTo>
                      <a:pt x="219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0" name="Freeform: Shape 3169">
                <a:extLst>
                  <a:ext uri="{FF2B5EF4-FFF2-40B4-BE49-F238E27FC236}">
                    <a16:creationId xmlns:a16="http://schemas.microsoft.com/office/drawing/2014/main" id="{65EEA0A3-8E73-E33B-6A62-354FC2DCEDCF}"/>
                  </a:ext>
                </a:extLst>
              </p:cNvPr>
              <p:cNvSpPr/>
              <p:nvPr/>
            </p:nvSpPr>
            <p:spPr>
              <a:xfrm>
                <a:off x="1637743" y="3754187"/>
                <a:ext cx="10204" cy="5172"/>
              </a:xfrm>
              <a:custGeom>
                <a:avLst/>
                <a:gdLst>
                  <a:gd name="connsiteX0" fmla="*/ 42097 w 97833"/>
                  <a:gd name="connsiteY0" fmla="*/ 2360 h 49589"/>
                  <a:gd name="connsiteX1" fmla="*/ 57438 w 97833"/>
                  <a:gd name="connsiteY1" fmla="*/ 5406 h 49589"/>
                  <a:gd name="connsiteX2" fmla="*/ 66714 w 97833"/>
                  <a:gd name="connsiteY2" fmla="*/ 10757 h 49589"/>
                  <a:gd name="connsiteX3" fmla="*/ 71159 w 97833"/>
                  <a:gd name="connsiteY3" fmla="*/ 8809 h 49589"/>
                  <a:gd name="connsiteX4" fmla="*/ 75880 w 97833"/>
                  <a:gd name="connsiteY4" fmla="*/ 6723 h 49589"/>
                  <a:gd name="connsiteX5" fmla="*/ 81533 w 97833"/>
                  <a:gd name="connsiteY5" fmla="*/ 10126 h 49589"/>
                  <a:gd name="connsiteX6" fmla="*/ 84112 w 97833"/>
                  <a:gd name="connsiteY6" fmla="*/ 15121 h 49589"/>
                  <a:gd name="connsiteX7" fmla="*/ 82082 w 97833"/>
                  <a:gd name="connsiteY7" fmla="*/ 19320 h 49589"/>
                  <a:gd name="connsiteX8" fmla="*/ 83207 w 97833"/>
                  <a:gd name="connsiteY8" fmla="*/ 22613 h 49589"/>
                  <a:gd name="connsiteX9" fmla="*/ 94651 w 97833"/>
                  <a:gd name="connsiteY9" fmla="*/ 24863 h 49589"/>
                  <a:gd name="connsiteX10" fmla="*/ 97313 w 97833"/>
                  <a:gd name="connsiteY10" fmla="*/ 29117 h 49589"/>
                  <a:gd name="connsiteX11" fmla="*/ 95611 w 97833"/>
                  <a:gd name="connsiteY11" fmla="*/ 36170 h 49589"/>
                  <a:gd name="connsiteX12" fmla="*/ 97834 w 97833"/>
                  <a:gd name="connsiteY12" fmla="*/ 44924 h 49589"/>
                  <a:gd name="connsiteX13" fmla="*/ 85266 w 97833"/>
                  <a:gd name="connsiteY13" fmla="*/ 46790 h 49589"/>
                  <a:gd name="connsiteX14" fmla="*/ 81533 w 97833"/>
                  <a:gd name="connsiteY14" fmla="*/ 45610 h 49589"/>
                  <a:gd name="connsiteX15" fmla="*/ 78789 w 97833"/>
                  <a:gd name="connsiteY15" fmla="*/ 44759 h 49589"/>
                  <a:gd name="connsiteX16" fmla="*/ 74865 w 97833"/>
                  <a:gd name="connsiteY16" fmla="*/ 47119 h 49589"/>
                  <a:gd name="connsiteX17" fmla="*/ 71132 w 97833"/>
                  <a:gd name="connsiteY17" fmla="*/ 47229 h 49589"/>
                  <a:gd name="connsiteX18" fmla="*/ 56697 w 97833"/>
                  <a:gd name="connsiteY18" fmla="*/ 47586 h 49589"/>
                  <a:gd name="connsiteX19" fmla="*/ 47778 w 97833"/>
                  <a:gd name="connsiteY19" fmla="*/ 43963 h 49589"/>
                  <a:gd name="connsiteX20" fmla="*/ 42070 w 97833"/>
                  <a:gd name="connsiteY20" fmla="*/ 46900 h 49589"/>
                  <a:gd name="connsiteX21" fmla="*/ 39628 w 97833"/>
                  <a:gd name="connsiteY21" fmla="*/ 48162 h 49589"/>
                  <a:gd name="connsiteX22" fmla="*/ 34276 w 97833"/>
                  <a:gd name="connsiteY22" fmla="*/ 48931 h 49589"/>
                  <a:gd name="connsiteX23" fmla="*/ 29611 w 97833"/>
                  <a:gd name="connsiteY23" fmla="*/ 49589 h 49589"/>
                  <a:gd name="connsiteX24" fmla="*/ 17810 w 97833"/>
                  <a:gd name="connsiteY24" fmla="*/ 45308 h 49589"/>
                  <a:gd name="connsiteX25" fmla="*/ 13694 w 97833"/>
                  <a:gd name="connsiteY25" fmla="*/ 45885 h 49589"/>
                  <a:gd name="connsiteX26" fmla="*/ 11087 w 97833"/>
                  <a:gd name="connsiteY26" fmla="*/ 46241 h 49589"/>
                  <a:gd name="connsiteX27" fmla="*/ 4583 w 97833"/>
                  <a:gd name="connsiteY27" fmla="*/ 41905 h 49589"/>
                  <a:gd name="connsiteX28" fmla="*/ 0 w 97833"/>
                  <a:gd name="connsiteY28" fmla="*/ 36197 h 49589"/>
                  <a:gd name="connsiteX29" fmla="*/ 4144 w 97833"/>
                  <a:gd name="connsiteY29" fmla="*/ 31285 h 49589"/>
                  <a:gd name="connsiteX30" fmla="*/ 6971 w 97833"/>
                  <a:gd name="connsiteY30" fmla="*/ 32191 h 49589"/>
                  <a:gd name="connsiteX31" fmla="*/ 9934 w 97833"/>
                  <a:gd name="connsiteY31" fmla="*/ 29831 h 49589"/>
                  <a:gd name="connsiteX32" fmla="*/ 11416 w 97833"/>
                  <a:gd name="connsiteY32" fmla="*/ 18277 h 49589"/>
                  <a:gd name="connsiteX33" fmla="*/ 23655 w 97833"/>
                  <a:gd name="connsiteY33" fmla="*/ 2936 h 49589"/>
                  <a:gd name="connsiteX34" fmla="*/ 29721 w 97833"/>
                  <a:gd name="connsiteY34" fmla="*/ 0 h 49589"/>
                  <a:gd name="connsiteX35" fmla="*/ 42097 w 97833"/>
                  <a:gd name="connsiteY35" fmla="*/ 2442 h 49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7833" h="49589">
                    <a:moveTo>
                      <a:pt x="42097" y="2360"/>
                    </a:moveTo>
                    <a:lnTo>
                      <a:pt x="57438" y="5406"/>
                    </a:lnTo>
                    <a:lnTo>
                      <a:pt x="66714" y="10757"/>
                    </a:lnTo>
                    <a:lnTo>
                      <a:pt x="71159" y="8809"/>
                    </a:lnTo>
                    <a:lnTo>
                      <a:pt x="75880" y="6723"/>
                    </a:lnTo>
                    <a:lnTo>
                      <a:pt x="81533" y="10126"/>
                    </a:lnTo>
                    <a:lnTo>
                      <a:pt x="84112" y="15121"/>
                    </a:lnTo>
                    <a:lnTo>
                      <a:pt x="82082" y="19320"/>
                    </a:lnTo>
                    <a:lnTo>
                      <a:pt x="83207" y="22613"/>
                    </a:lnTo>
                    <a:lnTo>
                      <a:pt x="94651" y="24863"/>
                    </a:lnTo>
                    <a:lnTo>
                      <a:pt x="97313" y="29117"/>
                    </a:lnTo>
                    <a:lnTo>
                      <a:pt x="95611" y="36170"/>
                    </a:lnTo>
                    <a:lnTo>
                      <a:pt x="97834" y="44924"/>
                    </a:lnTo>
                    <a:lnTo>
                      <a:pt x="85266" y="46790"/>
                    </a:lnTo>
                    <a:lnTo>
                      <a:pt x="81533" y="45610"/>
                    </a:lnTo>
                    <a:lnTo>
                      <a:pt x="78789" y="44759"/>
                    </a:lnTo>
                    <a:lnTo>
                      <a:pt x="74865" y="47119"/>
                    </a:lnTo>
                    <a:lnTo>
                      <a:pt x="71132" y="47229"/>
                    </a:lnTo>
                    <a:lnTo>
                      <a:pt x="56697" y="47586"/>
                    </a:lnTo>
                    <a:lnTo>
                      <a:pt x="47778" y="43963"/>
                    </a:lnTo>
                    <a:lnTo>
                      <a:pt x="42070" y="46900"/>
                    </a:lnTo>
                    <a:lnTo>
                      <a:pt x="39628" y="48162"/>
                    </a:lnTo>
                    <a:lnTo>
                      <a:pt x="34276" y="48931"/>
                    </a:lnTo>
                    <a:lnTo>
                      <a:pt x="29611" y="49589"/>
                    </a:lnTo>
                    <a:lnTo>
                      <a:pt x="17810" y="45308"/>
                    </a:lnTo>
                    <a:lnTo>
                      <a:pt x="13694" y="45885"/>
                    </a:lnTo>
                    <a:lnTo>
                      <a:pt x="11087" y="46241"/>
                    </a:lnTo>
                    <a:lnTo>
                      <a:pt x="4583" y="41905"/>
                    </a:lnTo>
                    <a:lnTo>
                      <a:pt x="0" y="36197"/>
                    </a:lnTo>
                    <a:lnTo>
                      <a:pt x="4144" y="31285"/>
                    </a:lnTo>
                    <a:lnTo>
                      <a:pt x="6971" y="32191"/>
                    </a:lnTo>
                    <a:lnTo>
                      <a:pt x="9934" y="29831"/>
                    </a:lnTo>
                    <a:lnTo>
                      <a:pt x="11416" y="18277"/>
                    </a:lnTo>
                    <a:lnTo>
                      <a:pt x="23655" y="2936"/>
                    </a:lnTo>
                    <a:lnTo>
                      <a:pt x="29721" y="0"/>
                    </a:lnTo>
                    <a:lnTo>
                      <a:pt x="42097" y="24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1" name="Freeform: Shape 3170">
                <a:extLst>
                  <a:ext uri="{FF2B5EF4-FFF2-40B4-BE49-F238E27FC236}">
                    <a16:creationId xmlns:a16="http://schemas.microsoft.com/office/drawing/2014/main" id="{B812AA41-D341-DBC9-649D-AED2B4038F38}"/>
                  </a:ext>
                </a:extLst>
              </p:cNvPr>
              <p:cNvSpPr/>
              <p:nvPr/>
            </p:nvSpPr>
            <p:spPr>
              <a:xfrm>
                <a:off x="1091724" y="3786732"/>
                <a:ext cx="3429" cy="8312"/>
              </a:xfrm>
              <a:custGeom>
                <a:avLst/>
                <a:gdLst>
                  <a:gd name="connsiteX0" fmla="*/ 32877 w 32876"/>
                  <a:gd name="connsiteY0" fmla="*/ 7108 h 79694"/>
                  <a:gd name="connsiteX1" fmla="*/ 27498 w 32876"/>
                  <a:gd name="connsiteY1" fmla="*/ 26400 h 79694"/>
                  <a:gd name="connsiteX2" fmla="*/ 28843 w 32876"/>
                  <a:gd name="connsiteY2" fmla="*/ 29748 h 79694"/>
                  <a:gd name="connsiteX3" fmla="*/ 26812 w 32876"/>
                  <a:gd name="connsiteY3" fmla="*/ 39436 h 79694"/>
                  <a:gd name="connsiteX4" fmla="*/ 28815 w 32876"/>
                  <a:gd name="connsiteY4" fmla="*/ 46104 h 79694"/>
                  <a:gd name="connsiteX5" fmla="*/ 28019 w 32876"/>
                  <a:gd name="connsiteY5" fmla="*/ 51593 h 79694"/>
                  <a:gd name="connsiteX6" fmla="*/ 22860 w 32876"/>
                  <a:gd name="connsiteY6" fmla="*/ 63640 h 79694"/>
                  <a:gd name="connsiteX7" fmla="*/ 19622 w 32876"/>
                  <a:gd name="connsiteY7" fmla="*/ 67674 h 79694"/>
                  <a:gd name="connsiteX8" fmla="*/ 17207 w 32876"/>
                  <a:gd name="connsiteY8" fmla="*/ 68223 h 79694"/>
                  <a:gd name="connsiteX9" fmla="*/ 9001 w 32876"/>
                  <a:gd name="connsiteY9" fmla="*/ 76813 h 79694"/>
                  <a:gd name="connsiteX10" fmla="*/ 8837 w 32876"/>
                  <a:gd name="connsiteY10" fmla="*/ 79695 h 79694"/>
                  <a:gd name="connsiteX11" fmla="*/ 0 w 32876"/>
                  <a:gd name="connsiteY11" fmla="*/ 78789 h 79694"/>
                  <a:gd name="connsiteX12" fmla="*/ 1509 w 32876"/>
                  <a:gd name="connsiteY12" fmla="*/ 51620 h 79694"/>
                  <a:gd name="connsiteX13" fmla="*/ 1949 w 32876"/>
                  <a:gd name="connsiteY13" fmla="*/ 21021 h 79694"/>
                  <a:gd name="connsiteX14" fmla="*/ 3815 w 32876"/>
                  <a:gd name="connsiteY14" fmla="*/ 16301 h 79694"/>
                  <a:gd name="connsiteX15" fmla="*/ 11526 w 32876"/>
                  <a:gd name="connsiteY15" fmla="*/ 16438 h 79694"/>
                  <a:gd name="connsiteX16" fmla="*/ 21159 w 32876"/>
                  <a:gd name="connsiteY16" fmla="*/ 1153 h 79694"/>
                  <a:gd name="connsiteX17" fmla="*/ 26373 w 32876"/>
                  <a:gd name="connsiteY17" fmla="*/ 0 h 79694"/>
                  <a:gd name="connsiteX18" fmla="*/ 24699 w 32876"/>
                  <a:gd name="connsiteY18" fmla="*/ 3842 h 79694"/>
                  <a:gd name="connsiteX19" fmla="*/ 32191 w 32876"/>
                  <a:gd name="connsiteY19" fmla="*/ 4308 h 79694"/>
                  <a:gd name="connsiteX20" fmla="*/ 32877 w 32876"/>
                  <a:gd name="connsiteY20" fmla="*/ 7163 h 7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876" h="79694">
                    <a:moveTo>
                      <a:pt x="32877" y="7108"/>
                    </a:moveTo>
                    <a:lnTo>
                      <a:pt x="27498" y="26400"/>
                    </a:lnTo>
                    <a:lnTo>
                      <a:pt x="28843" y="29748"/>
                    </a:lnTo>
                    <a:lnTo>
                      <a:pt x="26812" y="39436"/>
                    </a:lnTo>
                    <a:lnTo>
                      <a:pt x="28815" y="46104"/>
                    </a:lnTo>
                    <a:lnTo>
                      <a:pt x="28019" y="51593"/>
                    </a:lnTo>
                    <a:lnTo>
                      <a:pt x="22860" y="63640"/>
                    </a:lnTo>
                    <a:lnTo>
                      <a:pt x="19622" y="67674"/>
                    </a:lnTo>
                    <a:lnTo>
                      <a:pt x="17207" y="68223"/>
                    </a:lnTo>
                    <a:lnTo>
                      <a:pt x="9001" y="76813"/>
                    </a:lnTo>
                    <a:lnTo>
                      <a:pt x="8837" y="79695"/>
                    </a:lnTo>
                    <a:lnTo>
                      <a:pt x="0" y="78789"/>
                    </a:lnTo>
                    <a:lnTo>
                      <a:pt x="1509" y="51620"/>
                    </a:lnTo>
                    <a:lnTo>
                      <a:pt x="1949" y="21021"/>
                    </a:lnTo>
                    <a:lnTo>
                      <a:pt x="3815" y="16301"/>
                    </a:lnTo>
                    <a:lnTo>
                      <a:pt x="11526" y="16438"/>
                    </a:lnTo>
                    <a:lnTo>
                      <a:pt x="21159" y="1153"/>
                    </a:lnTo>
                    <a:lnTo>
                      <a:pt x="26373" y="0"/>
                    </a:lnTo>
                    <a:lnTo>
                      <a:pt x="24699" y="3842"/>
                    </a:lnTo>
                    <a:lnTo>
                      <a:pt x="32191" y="4308"/>
                    </a:lnTo>
                    <a:lnTo>
                      <a:pt x="32877" y="71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4" name="Freeform: Shape 3173">
                <a:extLst>
                  <a:ext uri="{FF2B5EF4-FFF2-40B4-BE49-F238E27FC236}">
                    <a16:creationId xmlns:a16="http://schemas.microsoft.com/office/drawing/2014/main" id="{900CD431-EA16-CC2F-D48C-97BD267D4686}"/>
                  </a:ext>
                </a:extLst>
              </p:cNvPr>
              <p:cNvSpPr/>
              <p:nvPr/>
            </p:nvSpPr>
            <p:spPr>
              <a:xfrm>
                <a:off x="1698610" y="3781391"/>
                <a:ext cx="7328" cy="6366"/>
              </a:xfrm>
              <a:custGeom>
                <a:avLst/>
                <a:gdLst>
                  <a:gd name="connsiteX0" fmla="*/ 63146 w 70254"/>
                  <a:gd name="connsiteY0" fmla="*/ 3211 h 61033"/>
                  <a:gd name="connsiteX1" fmla="*/ 67921 w 70254"/>
                  <a:gd name="connsiteY1" fmla="*/ 4857 h 61033"/>
                  <a:gd name="connsiteX2" fmla="*/ 70254 w 70254"/>
                  <a:gd name="connsiteY2" fmla="*/ 14325 h 61033"/>
                  <a:gd name="connsiteX3" fmla="*/ 68827 w 70254"/>
                  <a:gd name="connsiteY3" fmla="*/ 15698 h 61033"/>
                  <a:gd name="connsiteX4" fmla="*/ 64025 w 70254"/>
                  <a:gd name="connsiteY4" fmla="*/ 20006 h 61033"/>
                  <a:gd name="connsiteX5" fmla="*/ 61966 w 70254"/>
                  <a:gd name="connsiteY5" fmla="*/ 22668 h 61033"/>
                  <a:gd name="connsiteX6" fmla="*/ 60429 w 70254"/>
                  <a:gd name="connsiteY6" fmla="*/ 23135 h 61033"/>
                  <a:gd name="connsiteX7" fmla="*/ 60320 w 70254"/>
                  <a:gd name="connsiteY7" fmla="*/ 25193 h 61033"/>
                  <a:gd name="connsiteX8" fmla="*/ 56862 w 70254"/>
                  <a:gd name="connsiteY8" fmla="*/ 31532 h 61033"/>
                  <a:gd name="connsiteX9" fmla="*/ 56862 w 70254"/>
                  <a:gd name="connsiteY9" fmla="*/ 33919 h 61033"/>
                  <a:gd name="connsiteX10" fmla="*/ 55654 w 70254"/>
                  <a:gd name="connsiteY10" fmla="*/ 35703 h 61033"/>
                  <a:gd name="connsiteX11" fmla="*/ 55462 w 70254"/>
                  <a:gd name="connsiteY11" fmla="*/ 38558 h 61033"/>
                  <a:gd name="connsiteX12" fmla="*/ 53322 w 70254"/>
                  <a:gd name="connsiteY12" fmla="*/ 40588 h 61033"/>
                  <a:gd name="connsiteX13" fmla="*/ 54392 w 70254"/>
                  <a:gd name="connsiteY13" fmla="*/ 42345 h 61033"/>
                  <a:gd name="connsiteX14" fmla="*/ 53020 w 70254"/>
                  <a:gd name="connsiteY14" fmla="*/ 44485 h 61033"/>
                  <a:gd name="connsiteX15" fmla="*/ 48272 w 70254"/>
                  <a:gd name="connsiteY15" fmla="*/ 45665 h 61033"/>
                  <a:gd name="connsiteX16" fmla="*/ 46352 w 70254"/>
                  <a:gd name="connsiteY16" fmla="*/ 47037 h 61033"/>
                  <a:gd name="connsiteX17" fmla="*/ 42701 w 70254"/>
                  <a:gd name="connsiteY17" fmla="*/ 50824 h 61033"/>
                  <a:gd name="connsiteX18" fmla="*/ 42482 w 70254"/>
                  <a:gd name="connsiteY18" fmla="*/ 53404 h 61033"/>
                  <a:gd name="connsiteX19" fmla="*/ 40945 w 70254"/>
                  <a:gd name="connsiteY19" fmla="*/ 54145 h 61033"/>
                  <a:gd name="connsiteX20" fmla="*/ 40423 w 70254"/>
                  <a:gd name="connsiteY20" fmla="*/ 52800 h 61033"/>
                  <a:gd name="connsiteX21" fmla="*/ 35374 w 70254"/>
                  <a:gd name="connsiteY21" fmla="*/ 54420 h 61033"/>
                  <a:gd name="connsiteX22" fmla="*/ 33316 w 70254"/>
                  <a:gd name="connsiteY22" fmla="*/ 53980 h 61033"/>
                  <a:gd name="connsiteX23" fmla="*/ 32383 w 70254"/>
                  <a:gd name="connsiteY23" fmla="*/ 57027 h 61033"/>
                  <a:gd name="connsiteX24" fmla="*/ 32822 w 70254"/>
                  <a:gd name="connsiteY24" fmla="*/ 58783 h 61033"/>
                  <a:gd name="connsiteX25" fmla="*/ 31066 w 70254"/>
                  <a:gd name="connsiteY25" fmla="*/ 59057 h 61033"/>
                  <a:gd name="connsiteX26" fmla="*/ 27937 w 70254"/>
                  <a:gd name="connsiteY26" fmla="*/ 61033 h 61033"/>
                  <a:gd name="connsiteX27" fmla="*/ 27306 w 70254"/>
                  <a:gd name="connsiteY27" fmla="*/ 59387 h 61033"/>
                  <a:gd name="connsiteX28" fmla="*/ 25330 w 70254"/>
                  <a:gd name="connsiteY28" fmla="*/ 58124 h 61033"/>
                  <a:gd name="connsiteX29" fmla="*/ 20198 w 70254"/>
                  <a:gd name="connsiteY29" fmla="*/ 56780 h 61033"/>
                  <a:gd name="connsiteX30" fmla="*/ 16850 w 70254"/>
                  <a:gd name="connsiteY30" fmla="*/ 57273 h 61033"/>
                  <a:gd name="connsiteX31" fmla="*/ 14270 w 70254"/>
                  <a:gd name="connsiteY31" fmla="*/ 55051 h 61033"/>
                  <a:gd name="connsiteX32" fmla="*/ 11142 w 70254"/>
                  <a:gd name="connsiteY32" fmla="*/ 54858 h 61033"/>
                  <a:gd name="connsiteX33" fmla="*/ 5379 w 70254"/>
                  <a:gd name="connsiteY33" fmla="*/ 51401 h 61033"/>
                  <a:gd name="connsiteX34" fmla="*/ 2470 w 70254"/>
                  <a:gd name="connsiteY34" fmla="*/ 50797 h 61033"/>
                  <a:gd name="connsiteX35" fmla="*/ 1757 w 70254"/>
                  <a:gd name="connsiteY35" fmla="*/ 49013 h 61033"/>
                  <a:gd name="connsiteX36" fmla="*/ 2415 w 70254"/>
                  <a:gd name="connsiteY36" fmla="*/ 46626 h 61033"/>
                  <a:gd name="connsiteX37" fmla="*/ 2223 w 70254"/>
                  <a:gd name="connsiteY37" fmla="*/ 43470 h 61033"/>
                  <a:gd name="connsiteX38" fmla="*/ 302 w 70254"/>
                  <a:gd name="connsiteY38" fmla="*/ 40423 h 61033"/>
                  <a:gd name="connsiteX39" fmla="*/ 1153 w 70254"/>
                  <a:gd name="connsiteY39" fmla="*/ 37213 h 61033"/>
                  <a:gd name="connsiteX40" fmla="*/ 0 w 70254"/>
                  <a:gd name="connsiteY40" fmla="*/ 32438 h 61033"/>
                  <a:gd name="connsiteX41" fmla="*/ 1729 w 70254"/>
                  <a:gd name="connsiteY41" fmla="*/ 29831 h 61033"/>
                  <a:gd name="connsiteX42" fmla="*/ 110 w 70254"/>
                  <a:gd name="connsiteY42" fmla="*/ 26867 h 61033"/>
                  <a:gd name="connsiteX43" fmla="*/ 1921 w 70254"/>
                  <a:gd name="connsiteY43" fmla="*/ 23793 h 61033"/>
                  <a:gd name="connsiteX44" fmla="*/ 3787 w 70254"/>
                  <a:gd name="connsiteY44" fmla="*/ 23436 h 61033"/>
                  <a:gd name="connsiteX45" fmla="*/ 7328 w 70254"/>
                  <a:gd name="connsiteY45" fmla="*/ 20966 h 61033"/>
                  <a:gd name="connsiteX46" fmla="*/ 11417 w 70254"/>
                  <a:gd name="connsiteY46" fmla="*/ 17234 h 61033"/>
                  <a:gd name="connsiteX47" fmla="*/ 14792 w 70254"/>
                  <a:gd name="connsiteY47" fmla="*/ 15698 h 61033"/>
                  <a:gd name="connsiteX48" fmla="*/ 16768 w 70254"/>
                  <a:gd name="connsiteY48" fmla="*/ 13639 h 61033"/>
                  <a:gd name="connsiteX49" fmla="*/ 16383 w 70254"/>
                  <a:gd name="connsiteY49" fmla="*/ 10374 h 61033"/>
                  <a:gd name="connsiteX50" fmla="*/ 19073 w 70254"/>
                  <a:gd name="connsiteY50" fmla="*/ 7767 h 61033"/>
                  <a:gd name="connsiteX51" fmla="*/ 25687 w 70254"/>
                  <a:gd name="connsiteY51" fmla="*/ 8453 h 61033"/>
                  <a:gd name="connsiteX52" fmla="*/ 30270 w 70254"/>
                  <a:gd name="connsiteY52" fmla="*/ 4254 h 61033"/>
                  <a:gd name="connsiteX53" fmla="*/ 40561 w 70254"/>
                  <a:gd name="connsiteY53" fmla="*/ 5681 h 61033"/>
                  <a:gd name="connsiteX54" fmla="*/ 50660 w 70254"/>
                  <a:gd name="connsiteY54" fmla="*/ 2223 h 61033"/>
                  <a:gd name="connsiteX55" fmla="*/ 55819 w 70254"/>
                  <a:gd name="connsiteY55" fmla="*/ 3348 h 61033"/>
                  <a:gd name="connsiteX56" fmla="*/ 60210 w 70254"/>
                  <a:gd name="connsiteY56" fmla="*/ 0 h 61033"/>
                  <a:gd name="connsiteX57" fmla="*/ 63201 w 70254"/>
                  <a:gd name="connsiteY57" fmla="*/ 3211 h 6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0254" h="61033">
                    <a:moveTo>
                      <a:pt x="63146" y="3211"/>
                    </a:moveTo>
                    <a:lnTo>
                      <a:pt x="67921" y="4857"/>
                    </a:lnTo>
                    <a:lnTo>
                      <a:pt x="70254" y="14325"/>
                    </a:lnTo>
                    <a:lnTo>
                      <a:pt x="68827" y="15698"/>
                    </a:lnTo>
                    <a:lnTo>
                      <a:pt x="64025" y="20006"/>
                    </a:lnTo>
                    <a:lnTo>
                      <a:pt x="61966" y="22668"/>
                    </a:lnTo>
                    <a:lnTo>
                      <a:pt x="60429" y="23135"/>
                    </a:lnTo>
                    <a:lnTo>
                      <a:pt x="60320" y="25193"/>
                    </a:lnTo>
                    <a:lnTo>
                      <a:pt x="56862" y="31532"/>
                    </a:lnTo>
                    <a:lnTo>
                      <a:pt x="56862" y="33919"/>
                    </a:lnTo>
                    <a:cubicBezTo>
                      <a:pt x="56862" y="33919"/>
                      <a:pt x="55654" y="35703"/>
                      <a:pt x="55654" y="35703"/>
                    </a:cubicBezTo>
                    <a:lnTo>
                      <a:pt x="55462" y="38558"/>
                    </a:lnTo>
                    <a:lnTo>
                      <a:pt x="53322" y="40588"/>
                    </a:lnTo>
                    <a:lnTo>
                      <a:pt x="54392" y="42345"/>
                    </a:lnTo>
                    <a:lnTo>
                      <a:pt x="53020" y="44485"/>
                    </a:lnTo>
                    <a:lnTo>
                      <a:pt x="48272" y="45665"/>
                    </a:lnTo>
                    <a:lnTo>
                      <a:pt x="46352" y="47037"/>
                    </a:lnTo>
                    <a:lnTo>
                      <a:pt x="42701" y="50824"/>
                    </a:lnTo>
                    <a:lnTo>
                      <a:pt x="42482" y="53404"/>
                    </a:lnTo>
                    <a:lnTo>
                      <a:pt x="40945" y="54145"/>
                    </a:lnTo>
                    <a:lnTo>
                      <a:pt x="40423" y="52800"/>
                    </a:lnTo>
                    <a:lnTo>
                      <a:pt x="35374" y="54420"/>
                    </a:lnTo>
                    <a:lnTo>
                      <a:pt x="33316" y="53980"/>
                    </a:lnTo>
                    <a:lnTo>
                      <a:pt x="32383" y="57027"/>
                    </a:lnTo>
                    <a:lnTo>
                      <a:pt x="32822" y="58783"/>
                    </a:lnTo>
                    <a:lnTo>
                      <a:pt x="31066" y="59057"/>
                    </a:lnTo>
                    <a:lnTo>
                      <a:pt x="27937" y="61033"/>
                    </a:lnTo>
                    <a:lnTo>
                      <a:pt x="27306" y="59387"/>
                    </a:lnTo>
                    <a:lnTo>
                      <a:pt x="25330" y="58124"/>
                    </a:lnTo>
                    <a:lnTo>
                      <a:pt x="20198" y="56780"/>
                    </a:lnTo>
                    <a:lnTo>
                      <a:pt x="16850" y="57273"/>
                    </a:lnTo>
                    <a:lnTo>
                      <a:pt x="14270" y="55051"/>
                    </a:lnTo>
                    <a:lnTo>
                      <a:pt x="11142" y="54858"/>
                    </a:lnTo>
                    <a:lnTo>
                      <a:pt x="5379" y="51401"/>
                    </a:lnTo>
                    <a:lnTo>
                      <a:pt x="2470" y="50797"/>
                    </a:lnTo>
                    <a:lnTo>
                      <a:pt x="1757" y="49013"/>
                    </a:lnTo>
                    <a:lnTo>
                      <a:pt x="2415" y="46626"/>
                    </a:lnTo>
                    <a:lnTo>
                      <a:pt x="2223" y="43470"/>
                    </a:lnTo>
                    <a:lnTo>
                      <a:pt x="302" y="40423"/>
                    </a:lnTo>
                    <a:lnTo>
                      <a:pt x="1153" y="37213"/>
                    </a:lnTo>
                    <a:lnTo>
                      <a:pt x="0" y="32438"/>
                    </a:lnTo>
                    <a:lnTo>
                      <a:pt x="1729" y="29831"/>
                    </a:lnTo>
                    <a:lnTo>
                      <a:pt x="110" y="26867"/>
                    </a:lnTo>
                    <a:lnTo>
                      <a:pt x="1921" y="23793"/>
                    </a:lnTo>
                    <a:lnTo>
                      <a:pt x="3787" y="23436"/>
                    </a:lnTo>
                    <a:lnTo>
                      <a:pt x="7328" y="20966"/>
                    </a:lnTo>
                    <a:lnTo>
                      <a:pt x="11417" y="17234"/>
                    </a:lnTo>
                    <a:lnTo>
                      <a:pt x="14792" y="15698"/>
                    </a:lnTo>
                    <a:lnTo>
                      <a:pt x="16768" y="13639"/>
                    </a:lnTo>
                    <a:lnTo>
                      <a:pt x="16383" y="10374"/>
                    </a:lnTo>
                    <a:lnTo>
                      <a:pt x="19073" y="7767"/>
                    </a:lnTo>
                    <a:lnTo>
                      <a:pt x="25687" y="8453"/>
                    </a:lnTo>
                    <a:lnTo>
                      <a:pt x="30270" y="4254"/>
                    </a:lnTo>
                    <a:lnTo>
                      <a:pt x="40561" y="5681"/>
                    </a:lnTo>
                    <a:lnTo>
                      <a:pt x="50660" y="2223"/>
                    </a:lnTo>
                    <a:lnTo>
                      <a:pt x="55819" y="3348"/>
                    </a:lnTo>
                    <a:lnTo>
                      <a:pt x="60210" y="0"/>
                    </a:lnTo>
                    <a:lnTo>
                      <a:pt x="63201"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3" name="Freeform: Shape 3182">
                <a:extLst>
                  <a:ext uri="{FF2B5EF4-FFF2-40B4-BE49-F238E27FC236}">
                    <a16:creationId xmlns:a16="http://schemas.microsoft.com/office/drawing/2014/main" id="{54776483-D611-8B47-85B5-FA6A3C9544BD}"/>
                  </a:ext>
                </a:extLst>
              </p:cNvPr>
              <p:cNvSpPr/>
              <p:nvPr/>
            </p:nvSpPr>
            <p:spPr>
              <a:xfrm>
                <a:off x="1699924" y="3778179"/>
                <a:ext cx="381" cy="415"/>
              </a:xfrm>
              <a:custGeom>
                <a:avLst/>
                <a:gdLst>
                  <a:gd name="connsiteX0" fmla="*/ 3650 w 3650"/>
                  <a:gd name="connsiteY0" fmla="*/ 1537 h 3979"/>
                  <a:gd name="connsiteX1" fmla="*/ 2552 w 3650"/>
                  <a:gd name="connsiteY1" fmla="*/ 3979 h 3979"/>
                  <a:gd name="connsiteX2" fmla="*/ 0 w 3650"/>
                  <a:gd name="connsiteY2" fmla="*/ 1976 h 3979"/>
                  <a:gd name="connsiteX3" fmla="*/ 1921 w 3650"/>
                  <a:gd name="connsiteY3" fmla="*/ 0 h 3979"/>
                  <a:gd name="connsiteX4" fmla="*/ 3650 w 3650"/>
                  <a:gd name="connsiteY4" fmla="*/ 1564 h 3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3979">
                    <a:moveTo>
                      <a:pt x="3650" y="1537"/>
                    </a:moveTo>
                    <a:lnTo>
                      <a:pt x="2552" y="3979"/>
                    </a:lnTo>
                    <a:lnTo>
                      <a:pt x="0" y="1976"/>
                    </a:lnTo>
                    <a:lnTo>
                      <a:pt x="1921" y="0"/>
                    </a:lnTo>
                    <a:lnTo>
                      <a:pt x="3650"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4" name="Freeform: Shape 3183">
                <a:extLst>
                  <a:ext uri="{FF2B5EF4-FFF2-40B4-BE49-F238E27FC236}">
                    <a16:creationId xmlns:a16="http://schemas.microsoft.com/office/drawing/2014/main" id="{6E76A68D-AE21-EEF2-F4E2-A0DEEFC0818F}"/>
                  </a:ext>
                </a:extLst>
              </p:cNvPr>
              <p:cNvSpPr/>
              <p:nvPr/>
            </p:nvSpPr>
            <p:spPr>
              <a:xfrm>
                <a:off x="1711161" y="3775967"/>
                <a:ext cx="449" cy="355"/>
              </a:xfrm>
              <a:custGeom>
                <a:avLst/>
                <a:gdLst>
                  <a:gd name="connsiteX0" fmla="*/ 4309 w 4308"/>
                  <a:gd name="connsiteY0" fmla="*/ 1043 h 3402"/>
                  <a:gd name="connsiteX1" fmla="*/ 2964 w 4308"/>
                  <a:gd name="connsiteY1" fmla="*/ 3403 h 3402"/>
                  <a:gd name="connsiteX2" fmla="*/ 0 w 4308"/>
                  <a:gd name="connsiteY2" fmla="*/ 2909 h 3402"/>
                  <a:gd name="connsiteX3" fmla="*/ 2744 w 4308"/>
                  <a:gd name="connsiteY3" fmla="*/ 0 h 3402"/>
                  <a:gd name="connsiteX4" fmla="*/ 4309 w 4308"/>
                  <a:gd name="connsiteY4" fmla="*/ 1015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3402">
                    <a:moveTo>
                      <a:pt x="4309" y="1043"/>
                    </a:moveTo>
                    <a:lnTo>
                      <a:pt x="2964" y="3403"/>
                    </a:lnTo>
                    <a:lnTo>
                      <a:pt x="0" y="2909"/>
                    </a:lnTo>
                    <a:lnTo>
                      <a:pt x="2744" y="0"/>
                    </a:lnTo>
                    <a:lnTo>
                      <a:pt x="4309" y="10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5" name="Freeform: Shape 3184">
                <a:extLst>
                  <a:ext uri="{FF2B5EF4-FFF2-40B4-BE49-F238E27FC236}">
                    <a16:creationId xmlns:a16="http://schemas.microsoft.com/office/drawing/2014/main" id="{6C111055-D62B-DE00-4281-2085D00A4657}"/>
                  </a:ext>
                </a:extLst>
              </p:cNvPr>
              <p:cNvSpPr/>
              <p:nvPr/>
            </p:nvSpPr>
            <p:spPr>
              <a:xfrm>
                <a:off x="1710660" y="3776170"/>
                <a:ext cx="326" cy="461"/>
              </a:xfrm>
              <a:custGeom>
                <a:avLst/>
                <a:gdLst>
                  <a:gd name="connsiteX0" fmla="*/ 3128 w 3128"/>
                  <a:gd name="connsiteY0" fmla="*/ 3101 h 4418"/>
                  <a:gd name="connsiteX1" fmla="*/ 960 w 3128"/>
                  <a:gd name="connsiteY1" fmla="*/ 4418 h 4418"/>
                  <a:gd name="connsiteX2" fmla="*/ 0 w 3128"/>
                  <a:gd name="connsiteY2" fmla="*/ 1949 h 4418"/>
                  <a:gd name="connsiteX3" fmla="*/ 1921 w 3128"/>
                  <a:gd name="connsiteY3" fmla="*/ 0 h 4418"/>
                  <a:gd name="connsiteX4" fmla="*/ 3128 w 3128"/>
                  <a:gd name="connsiteY4" fmla="*/ 3101 h 4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8" h="4418">
                    <a:moveTo>
                      <a:pt x="3128" y="3101"/>
                    </a:moveTo>
                    <a:lnTo>
                      <a:pt x="960" y="4418"/>
                    </a:lnTo>
                    <a:lnTo>
                      <a:pt x="0" y="1949"/>
                    </a:lnTo>
                    <a:lnTo>
                      <a:pt x="1921" y="0"/>
                    </a:lnTo>
                    <a:lnTo>
                      <a:pt x="3128" y="31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9" name="Freeform: Shape 3188">
                <a:extLst>
                  <a:ext uri="{FF2B5EF4-FFF2-40B4-BE49-F238E27FC236}">
                    <a16:creationId xmlns:a16="http://schemas.microsoft.com/office/drawing/2014/main" id="{EF74CB5F-C03B-F114-8B76-FCC6878927D6}"/>
                  </a:ext>
                </a:extLst>
              </p:cNvPr>
              <p:cNvSpPr/>
              <p:nvPr/>
            </p:nvSpPr>
            <p:spPr>
              <a:xfrm>
                <a:off x="1704466" y="3778614"/>
                <a:ext cx="372" cy="392"/>
              </a:xfrm>
              <a:custGeom>
                <a:avLst/>
                <a:gdLst>
                  <a:gd name="connsiteX0" fmla="*/ 3568 w 3567"/>
                  <a:gd name="connsiteY0" fmla="*/ 851 h 3759"/>
                  <a:gd name="connsiteX1" fmla="*/ 2333 w 3567"/>
                  <a:gd name="connsiteY1" fmla="*/ 3760 h 3759"/>
                  <a:gd name="connsiteX2" fmla="*/ 0 w 3567"/>
                  <a:gd name="connsiteY2" fmla="*/ 2552 h 3759"/>
                  <a:gd name="connsiteX3" fmla="*/ 1455 w 3567"/>
                  <a:gd name="connsiteY3" fmla="*/ 0 h 3759"/>
                  <a:gd name="connsiteX4" fmla="*/ 3568 w 3567"/>
                  <a:gd name="connsiteY4" fmla="*/ 851 h 3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759">
                    <a:moveTo>
                      <a:pt x="3568" y="851"/>
                    </a:moveTo>
                    <a:lnTo>
                      <a:pt x="2333" y="3760"/>
                    </a:lnTo>
                    <a:lnTo>
                      <a:pt x="0" y="2552"/>
                    </a:lnTo>
                    <a:lnTo>
                      <a:pt x="1455" y="0"/>
                    </a:lnTo>
                    <a:lnTo>
                      <a:pt x="3568" y="8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3" name="Freeform: Shape 3192">
                <a:extLst>
                  <a:ext uri="{FF2B5EF4-FFF2-40B4-BE49-F238E27FC236}">
                    <a16:creationId xmlns:a16="http://schemas.microsoft.com/office/drawing/2014/main" id="{0F8166D2-5F59-23B7-A9DC-CDC53B1EB237}"/>
                  </a:ext>
                </a:extLst>
              </p:cNvPr>
              <p:cNvSpPr/>
              <p:nvPr/>
            </p:nvSpPr>
            <p:spPr>
              <a:xfrm>
                <a:off x="1712627" y="3775317"/>
                <a:ext cx="326" cy="401"/>
              </a:xfrm>
              <a:custGeom>
                <a:avLst/>
                <a:gdLst>
                  <a:gd name="connsiteX0" fmla="*/ 3129 w 3128"/>
                  <a:gd name="connsiteY0" fmla="*/ 1866 h 3842"/>
                  <a:gd name="connsiteX1" fmla="*/ 2141 w 3128"/>
                  <a:gd name="connsiteY1" fmla="*/ 3842 h 3842"/>
                  <a:gd name="connsiteX2" fmla="*/ 0 w 3128"/>
                  <a:gd name="connsiteY2" fmla="*/ 2442 h 3842"/>
                  <a:gd name="connsiteX3" fmla="*/ 659 w 3128"/>
                  <a:gd name="connsiteY3" fmla="*/ 522 h 3842"/>
                  <a:gd name="connsiteX4" fmla="*/ 2443 w 3128"/>
                  <a:gd name="connsiteY4" fmla="*/ 0 h 3842"/>
                  <a:gd name="connsiteX5" fmla="*/ 3129 w 3128"/>
                  <a:gd name="connsiteY5" fmla="*/ 1839 h 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3842">
                    <a:moveTo>
                      <a:pt x="3129" y="1866"/>
                    </a:moveTo>
                    <a:lnTo>
                      <a:pt x="2141" y="3842"/>
                    </a:lnTo>
                    <a:lnTo>
                      <a:pt x="0" y="2442"/>
                    </a:lnTo>
                    <a:lnTo>
                      <a:pt x="659" y="522"/>
                    </a:lnTo>
                    <a:lnTo>
                      <a:pt x="2443" y="0"/>
                    </a:lnTo>
                    <a:lnTo>
                      <a:pt x="3129"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8" name="Freeform: Shape 3197">
                <a:extLst>
                  <a:ext uri="{FF2B5EF4-FFF2-40B4-BE49-F238E27FC236}">
                    <a16:creationId xmlns:a16="http://schemas.microsoft.com/office/drawing/2014/main" id="{590F5B58-F0A8-69B9-1F54-7EFCCAEBA53E}"/>
                  </a:ext>
                </a:extLst>
              </p:cNvPr>
              <p:cNvSpPr/>
              <p:nvPr/>
            </p:nvSpPr>
            <p:spPr>
              <a:xfrm>
                <a:off x="1123144" y="3806010"/>
                <a:ext cx="37110" cy="51428"/>
              </a:xfrm>
              <a:custGeom>
                <a:avLst/>
                <a:gdLst>
                  <a:gd name="connsiteX0" fmla="*/ 228820 w 355798"/>
                  <a:gd name="connsiteY0" fmla="*/ 7081 h 493068"/>
                  <a:gd name="connsiteX1" fmla="*/ 229917 w 355798"/>
                  <a:gd name="connsiteY1" fmla="*/ 12349 h 493068"/>
                  <a:gd name="connsiteX2" fmla="*/ 224868 w 355798"/>
                  <a:gd name="connsiteY2" fmla="*/ 17701 h 493068"/>
                  <a:gd name="connsiteX3" fmla="*/ 206207 w 355798"/>
                  <a:gd name="connsiteY3" fmla="*/ 23848 h 493068"/>
                  <a:gd name="connsiteX4" fmla="*/ 198330 w 355798"/>
                  <a:gd name="connsiteY4" fmla="*/ 37625 h 493068"/>
                  <a:gd name="connsiteX5" fmla="*/ 190482 w 355798"/>
                  <a:gd name="connsiteY5" fmla="*/ 40973 h 493068"/>
                  <a:gd name="connsiteX6" fmla="*/ 178956 w 355798"/>
                  <a:gd name="connsiteY6" fmla="*/ 59853 h 493068"/>
                  <a:gd name="connsiteX7" fmla="*/ 176129 w 355798"/>
                  <a:gd name="connsiteY7" fmla="*/ 76758 h 493068"/>
                  <a:gd name="connsiteX8" fmla="*/ 173220 w 355798"/>
                  <a:gd name="connsiteY8" fmla="*/ 85046 h 493068"/>
                  <a:gd name="connsiteX9" fmla="*/ 165262 w 355798"/>
                  <a:gd name="connsiteY9" fmla="*/ 97176 h 493068"/>
                  <a:gd name="connsiteX10" fmla="*/ 169433 w 355798"/>
                  <a:gd name="connsiteY10" fmla="*/ 97532 h 493068"/>
                  <a:gd name="connsiteX11" fmla="*/ 175114 w 355798"/>
                  <a:gd name="connsiteY11" fmla="*/ 94733 h 493068"/>
                  <a:gd name="connsiteX12" fmla="*/ 177145 w 355798"/>
                  <a:gd name="connsiteY12" fmla="*/ 99371 h 493068"/>
                  <a:gd name="connsiteX13" fmla="*/ 182276 w 355798"/>
                  <a:gd name="connsiteY13" fmla="*/ 100332 h 493068"/>
                  <a:gd name="connsiteX14" fmla="*/ 185707 w 355798"/>
                  <a:gd name="connsiteY14" fmla="*/ 113312 h 493068"/>
                  <a:gd name="connsiteX15" fmla="*/ 192842 w 355798"/>
                  <a:gd name="connsiteY15" fmla="*/ 121435 h 493068"/>
                  <a:gd name="connsiteX16" fmla="*/ 194324 w 355798"/>
                  <a:gd name="connsiteY16" fmla="*/ 127473 h 493068"/>
                  <a:gd name="connsiteX17" fmla="*/ 194269 w 355798"/>
                  <a:gd name="connsiteY17" fmla="*/ 130793 h 493068"/>
                  <a:gd name="connsiteX18" fmla="*/ 191031 w 355798"/>
                  <a:gd name="connsiteY18" fmla="*/ 134498 h 493068"/>
                  <a:gd name="connsiteX19" fmla="*/ 191278 w 355798"/>
                  <a:gd name="connsiteY19" fmla="*/ 148384 h 493068"/>
                  <a:gd name="connsiteX20" fmla="*/ 192897 w 355798"/>
                  <a:gd name="connsiteY20" fmla="*/ 150223 h 493068"/>
                  <a:gd name="connsiteX21" fmla="*/ 199154 w 355798"/>
                  <a:gd name="connsiteY21" fmla="*/ 151513 h 493068"/>
                  <a:gd name="connsiteX22" fmla="*/ 204039 w 355798"/>
                  <a:gd name="connsiteY22" fmla="*/ 161063 h 493068"/>
                  <a:gd name="connsiteX23" fmla="*/ 233842 w 355798"/>
                  <a:gd name="connsiteY23" fmla="*/ 162600 h 493068"/>
                  <a:gd name="connsiteX24" fmla="*/ 241965 w 355798"/>
                  <a:gd name="connsiteY24" fmla="*/ 159773 h 493068"/>
                  <a:gd name="connsiteX25" fmla="*/ 254287 w 355798"/>
                  <a:gd name="connsiteY25" fmla="*/ 163697 h 493068"/>
                  <a:gd name="connsiteX26" fmla="*/ 261175 w 355798"/>
                  <a:gd name="connsiteY26" fmla="*/ 162737 h 493068"/>
                  <a:gd name="connsiteX27" fmla="*/ 280632 w 355798"/>
                  <a:gd name="connsiteY27" fmla="*/ 187957 h 493068"/>
                  <a:gd name="connsiteX28" fmla="*/ 286422 w 355798"/>
                  <a:gd name="connsiteY28" fmla="*/ 188835 h 493068"/>
                  <a:gd name="connsiteX29" fmla="*/ 291938 w 355798"/>
                  <a:gd name="connsiteY29" fmla="*/ 185762 h 493068"/>
                  <a:gd name="connsiteX30" fmla="*/ 302861 w 355798"/>
                  <a:gd name="connsiteY30" fmla="*/ 187546 h 493068"/>
                  <a:gd name="connsiteX31" fmla="*/ 313509 w 355798"/>
                  <a:gd name="connsiteY31" fmla="*/ 186530 h 493068"/>
                  <a:gd name="connsiteX32" fmla="*/ 328355 w 355798"/>
                  <a:gd name="connsiteY32" fmla="*/ 183017 h 493068"/>
                  <a:gd name="connsiteX33" fmla="*/ 337357 w 355798"/>
                  <a:gd name="connsiteY33" fmla="*/ 185981 h 493068"/>
                  <a:gd name="connsiteX34" fmla="*/ 338893 w 355798"/>
                  <a:gd name="connsiteY34" fmla="*/ 191964 h 493068"/>
                  <a:gd name="connsiteX35" fmla="*/ 333679 w 355798"/>
                  <a:gd name="connsiteY35" fmla="*/ 199154 h 493068"/>
                  <a:gd name="connsiteX36" fmla="*/ 333158 w 355798"/>
                  <a:gd name="connsiteY36" fmla="*/ 206536 h 493068"/>
                  <a:gd name="connsiteX37" fmla="*/ 327367 w 355798"/>
                  <a:gd name="connsiteY37" fmla="*/ 213067 h 493068"/>
                  <a:gd name="connsiteX38" fmla="*/ 328328 w 355798"/>
                  <a:gd name="connsiteY38" fmla="*/ 218803 h 493068"/>
                  <a:gd name="connsiteX39" fmla="*/ 326489 w 355798"/>
                  <a:gd name="connsiteY39" fmla="*/ 234775 h 493068"/>
                  <a:gd name="connsiteX40" fmla="*/ 328602 w 355798"/>
                  <a:gd name="connsiteY40" fmla="*/ 241855 h 493068"/>
                  <a:gd name="connsiteX41" fmla="*/ 333487 w 355798"/>
                  <a:gd name="connsiteY41" fmla="*/ 256784 h 493068"/>
                  <a:gd name="connsiteX42" fmla="*/ 337823 w 355798"/>
                  <a:gd name="connsiteY42" fmla="*/ 259693 h 493068"/>
                  <a:gd name="connsiteX43" fmla="*/ 342626 w 355798"/>
                  <a:gd name="connsiteY43" fmla="*/ 268502 h 493068"/>
                  <a:gd name="connsiteX44" fmla="*/ 327258 w 355798"/>
                  <a:gd name="connsiteY44" fmla="*/ 284721 h 493068"/>
                  <a:gd name="connsiteX45" fmla="*/ 333432 w 355798"/>
                  <a:gd name="connsiteY45" fmla="*/ 286038 h 493068"/>
                  <a:gd name="connsiteX46" fmla="*/ 346193 w 355798"/>
                  <a:gd name="connsiteY46" fmla="*/ 298690 h 493068"/>
                  <a:gd name="connsiteX47" fmla="*/ 346276 w 355798"/>
                  <a:gd name="connsiteY47" fmla="*/ 303465 h 493068"/>
                  <a:gd name="connsiteX48" fmla="*/ 355798 w 355798"/>
                  <a:gd name="connsiteY48" fmla="*/ 332527 h 493068"/>
                  <a:gd name="connsiteX49" fmla="*/ 349596 w 355798"/>
                  <a:gd name="connsiteY49" fmla="*/ 333460 h 493068"/>
                  <a:gd name="connsiteX50" fmla="*/ 348691 w 355798"/>
                  <a:gd name="connsiteY50" fmla="*/ 318174 h 493068"/>
                  <a:gd name="connsiteX51" fmla="*/ 339827 w 355798"/>
                  <a:gd name="connsiteY51" fmla="*/ 305715 h 493068"/>
                  <a:gd name="connsiteX52" fmla="*/ 336094 w 355798"/>
                  <a:gd name="connsiteY52" fmla="*/ 307087 h 493068"/>
                  <a:gd name="connsiteX53" fmla="*/ 328548 w 355798"/>
                  <a:gd name="connsiteY53" fmla="*/ 315320 h 493068"/>
                  <a:gd name="connsiteX54" fmla="*/ 325117 w 355798"/>
                  <a:gd name="connsiteY54" fmla="*/ 316747 h 493068"/>
                  <a:gd name="connsiteX55" fmla="*/ 322592 w 355798"/>
                  <a:gd name="connsiteY55" fmla="*/ 316445 h 493068"/>
                  <a:gd name="connsiteX56" fmla="*/ 317131 w 355798"/>
                  <a:gd name="connsiteY56" fmla="*/ 310600 h 493068"/>
                  <a:gd name="connsiteX57" fmla="*/ 314716 w 355798"/>
                  <a:gd name="connsiteY57" fmla="*/ 314085 h 493068"/>
                  <a:gd name="connsiteX58" fmla="*/ 316637 w 355798"/>
                  <a:gd name="connsiteY58" fmla="*/ 317625 h 493068"/>
                  <a:gd name="connsiteX59" fmla="*/ 277641 w 355798"/>
                  <a:gd name="connsiteY59" fmla="*/ 316637 h 493068"/>
                  <a:gd name="connsiteX60" fmla="*/ 268996 w 355798"/>
                  <a:gd name="connsiteY60" fmla="*/ 318997 h 493068"/>
                  <a:gd name="connsiteX61" fmla="*/ 268557 w 355798"/>
                  <a:gd name="connsiteY61" fmla="*/ 336122 h 493068"/>
                  <a:gd name="connsiteX62" fmla="*/ 284693 w 355798"/>
                  <a:gd name="connsiteY62" fmla="*/ 337302 h 493068"/>
                  <a:gd name="connsiteX63" fmla="*/ 288782 w 355798"/>
                  <a:gd name="connsiteY63" fmla="*/ 342900 h 493068"/>
                  <a:gd name="connsiteX64" fmla="*/ 288645 w 355798"/>
                  <a:gd name="connsiteY64" fmla="*/ 348938 h 493068"/>
                  <a:gd name="connsiteX65" fmla="*/ 287081 w 355798"/>
                  <a:gd name="connsiteY65" fmla="*/ 350337 h 493068"/>
                  <a:gd name="connsiteX66" fmla="*/ 283074 w 355798"/>
                  <a:gd name="connsiteY66" fmla="*/ 350200 h 493068"/>
                  <a:gd name="connsiteX67" fmla="*/ 278766 w 355798"/>
                  <a:gd name="connsiteY67" fmla="*/ 347456 h 493068"/>
                  <a:gd name="connsiteX68" fmla="*/ 275308 w 355798"/>
                  <a:gd name="connsiteY68" fmla="*/ 349651 h 493068"/>
                  <a:gd name="connsiteX69" fmla="*/ 264139 w 355798"/>
                  <a:gd name="connsiteY69" fmla="*/ 351956 h 493068"/>
                  <a:gd name="connsiteX70" fmla="*/ 262986 w 355798"/>
                  <a:gd name="connsiteY70" fmla="*/ 353466 h 493068"/>
                  <a:gd name="connsiteX71" fmla="*/ 262712 w 355798"/>
                  <a:gd name="connsiteY71" fmla="*/ 373279 h 493068"/>
                  <a:gd name="connsiteX72" fmla="*/ 274650 w 355798"/>
                  <a:gd name="connsiteY72" fmla="*/ 383763 h 493068"/>
                  <a:gd name="connsiteX73" fmla="*/ 275884 w 355798"/>
                  <a:gd name="connsiteY73" fmla="*/ 391227 h 493068"/>
                  <a:gd name="connsiteX74" fmla="*/ 280879 w 355798"/>
                  <a:gd name="connsiteY74" fmla="*/ 403137 h 493068"/>
                  <a:gd name="connsiteX75" fmla="*/ 279562 w 355798"/>
                  <a:gd name="connsiteY75" fmla="*/ 410547 h 493068"/>
                  <a:gd name="connsiteX76" fmla="*/ 265045 w 355798"/>
                  <a:gd name="connsiteY76" fmla="*/ 493068 h 493068"/>
                  <a:gd name="connsiteX77" fmla="*/ 256317 w 355798"/>
                  <a:gd name="connsiteY77" fmla="*/ 482585 h 493068"/>
                  <a:gd name="connsiteX78" fmla="*/ 248496 w 355798"/>
                  <a:gd name="connsiteY78" fmla="*/ 482009 h 493068"/>
                  <a:gd name="connsiteX79" fmla="*/ 244737 w 355798"/>
                  <a:gd name="connsiteY79" fmla="*/ 479292 h 493068"/>
                  <a:gd name="connsiteX80" fmla="*/ 260653 w 355798"/>
                  <a:gd name="connsiteY80" fmla="*/ 452590 h 493068"/>
                  <a:gd name="connsiteX81" fmla="*/ 259309 w 355798"/>
                  <a:gd name="connsiteY81" fmla="*/ 446799 h 493068"/>
                  <a:gd name="connsiteX82" fmla="*/ 238864 w 355798"/>
                  <a:gd name="connsiteY82" fmla="*/ 435301 h 493068"/>
                  <a:gd name="connsiteX83" fmla="*/ 224539 w 355798"/>
                  <a:gd name="connsiteY83" fmla="*/ 437853 h 493068"/>
                  <a:gd name="connsiteX84" fmla="*/ 213616 w 355798"/>
                  <a:gd name="connsiteY84" fmla="*/ 432721 h 493068"/>
                  <a:gd name="connsiteX85" fmla="*/ 198495 w 355798"/>
                  <a:gd name="connsiteY85" fmla="*/ 440350 h 493068"/>
                  <a:gd name="connsiteX86" fmla="*/ 177501 w 355798"/>
                  <a:gd name="connsiteY86" fmla="*/ 440130 h 493068"/>
                  <a:gd name="connsiteX87" fmla="*/ 172315 w 355798"/>
                  <a:gd name="connsiteY87" fmla="*/ 435822 h 493068"/>
                  <a:gd name="connsiteX88" fmla="*/ 170833 w 355798"/>
                  <a:gd name="connsiteY88" fmla="*/ 424351 h 493068"/>
                  <a:gd name="connsiteX89" fmla="*/ 162243 w 355798"/>
                  <a:gd name="connsiteY89" fmla="*/ 419493 h 493068"/>
                  <a:gd name="connsiteX90" fmla="*/ 158675 w 355798"/>
                  <a:gd name="connsiteY90" fmla="*/ 410547 h 493068"/>
                  <a:gd name="connsiteX91" fmla="*/ 156864 w 355798"/>
                  <a:gd name="connsiteY91" fmla="*/ 407528 h 493068"/>
                  <a:gd name="connsiteX92" fmla="*/ 139109 w 355798"/>
                  <a:gd name="connsiteY92" fmla="*/ 397594 h 493068"/>
                  <a:gd name="connsiteX93" fmla="*/ 133510 w 355798"/>
                  <a:gd name="connsiteY93" fmla="*/ 384860 h 493068"/>
                  <a:gd name="connsiteX94" fmla="*/ 124125 w 355798"/>
                  <a:gd name="connsiteY94" fmla="*/ 377533 h 493068"/>
                  <a:gd name="connsiteX95" fmla="*/ 121655 w 355798"/>
                  <a:gd name="connsiteY95" fmla="*/ 373774 h 493068"/>
                  <a:gd name="connsiteX96" fmla="*/ 112132 w 355798"/>
                  <a:gd name="connsiteY96" fmla="*/ 369767 h 493068"/>
                  <a:gd name="connsiteX97" fmla="*/ 108125 w 355798"/>
                  <a:gd name="connsiteY97" fmla="*/ 371249 h 493068"/>
                  <a:gd name="connsiteX98" fmla="*/ 100963 w 355798"/>
                  <a:gd name="connsiteY98" fmla="*/ 369355 h 493068"/>
                  <a:gd name="connsiteX99" fmla="*/ 98795 w 355798"/>
                  <a:gd name="connsiteY99" fmla="*/ 366501 h 493068"/>
                  <a:gd name="connsiteX100" fmla="*/ 93745 w 355798"/>
                  <a:gd name="connsiteY100" fmla="*/ 365788 h 493068"/>
                  <a:gd name="connsiteX101" fmla="*/ 85457 w 355798"/>
                  <a:gd name="connsiteY101" fmla="*/ 358351 h 493068"/>
                  <a:gd name="connsiteX102" fmla="*/ 79448 w 355798"/>
                  <a:gd name="connsiteY102" fmla="*/ 356018 h 493068"/>
                  <a:gd name="connsiteX103" fmla="*/ 75990 w 355798"/>
                  <a:gd name="connsiteY103" fmla="*/ 357610 h 493068"/>
                  <a:gd name="connsiteX104" fmla="*/ 74645 w 355798"/>
                  <a:gd name="connsiteY104" fmla="*/ 360738 h 493068"/>
                  <a:gd name="connsiteX105" fmla="*/ 70638 w 355798"/>
                  <a:gd name="connsiteY105" fmla="*/ 361424 h 493068"/>
                  <a:gd name="connsiteX106" fmla="*/ 60594 w 355798"/>
                  <a:gd name="connsiteY106" fmla="*/ 361013 h 493068"/>
                  <a:gd name="connsiteX107" fmla="*/ 53569 w 355798"/>
                  <a:gd name="connsiteY107" fmla="*/ 357857 h 493068"/>
                  <a:gd name="connsiteX108" fmla="*/ 45446 w 355798"/>
                  <a:gd name="connsiteY108" fmla="*/ 357308 h 493068"/>
                  <a:gd name="connsiteX109" fmla="*/ 43991 w 355798"/>
                  <a:gd name="connsiteY109" fmla="*/ 353411 h 493068"/>
                  <a:gd name="connsiteX110" fmla="*/ 42893 w 355798"/>
                  <a:gd name="connsiteY110" fmla="*/ 350392 h 493068"/>
                  <a:gd name="connsiteX111" fmla="*/ 38311 w 355798"/>
                  <a:gd name="connsiteY111" fmla="*/ 347154 h 493068"/>
                  <a:gd name="connsiteX112" fmla="*/ 37515 w 355798"/>
                  <a:gd name="connsiteY112" fmla="*/ 344409 h 493068"/>
                  <a:gd name="connsiteX113" fmla="*/ 28651 w 355798"/>
                  <a:gd name="connsiteY113" fmla="*/ 343943 h 493068"/>
                  <a:gd name="connsiteX114" fmla="*/ 6312 w 355798"/>
                  <a:gd name="connsiteY114" fmla="*/ 327587 h 493068"/>
                  <a:gd name="connsiteX115" fmla="*/ 3979 w 355798"/>
                  <a:gd name="connsiteY115" fmla="*/ 325501 h 493068"/>
                  <a:gd name="connsiteX116" fmla="*/ 0 w 355798"/>
                  <a:gd name="connsiteY116" fmla="*/ 319546 h 493068"/>
                  <a:gd name="connsiteX117" fmla="*/ 4748 w 355798"/>
                  <a:gd name="connsiteY117" fmla="*/ 315375 h 493068"/>
                  <a:gd name="connsiteX118" fmla="*/ 11306 w 355798"/>
                  <a:gd name="connsiteY118" fmla="*/ 315320 h 493068"/>
                  <a:gd name="connsiteX119" fmla="*/ 8205 w 355798"/>
                  <a:gd name="connsiteY119" fmla="*/ 304727 h 493068"/>
                  <a:gd name="connsiteX120" fmla="*/ 12487 w 355798"/>
                  <a:gd name="connsiteY120" fmla="*/ 295589 h 493068"/>
                  <a:gd name="connsiteX121" fmla="*/ 18826 w 355798"/>
                  <a:gd name="connsiteY121" fmla="*/ 290841 h 493068"/>
                  <a:gd name="connsiteX122" fmla="*/ 27169 w 355798"/>
                  <a:gd name="connsiteY122" fmla="*/ 290841 h 493068"/>
                  <a:gd name="connsiteX123" fmla="*/ 33700 w 355798"/>
                  <a:gd name="connsiteY123" fmla="*/ 288673 h 493068"/>
                  <a:gd name="connsiteX124" fmla="*/ 42152 w 355798"/>
                  <a:gd name="connsiteY124" fmla="*/ 273332 h 493068"/>
                  <a:gd name="connsiteX125" fmla="*/ 51538 w 355798"/>
                  <a:gd name="connsiteY125" fmla="*/ 261916 h 493068"/>
                  <a:gd name="connsiteX126" fmla="*/ 53569 w 355798"/>
                  <a:gd name="connsiteY126" fmla="*/ 256427 h 493068"/>
                  <a:gd name="connsiteX127" fmla="*/ 47833 w 355798"/>
                  <a:gd name="connsiteY127" fmla="*/ 252366 h 493068"/>
                  <a:gd name="connsiteX128" fmla="*/ 43058 w 355798"/>
                  <a:gd name="connsiteY128" fmla="*/ 245423 h 493068"/>
                  <a:gd name="connsiteX129" fmla="*/ 47943 w 355798"/>
                  <a:gd name="connsiteY129" fmla="*/ 235241 h 493068"/>
                  <a:gd name="connsiteX130" fmla="*/ 46214 w 355798"/>
                  <a:gd name="connsiteY130" fmla="*/ 210597 h 493068"/>
                  <a:gd name="connsiteX131" fmla="*/ 43141 w 355798"/>
                  <a:gd name="connsiteY131" fmla="*/ 205685 h 493068"/>
                  <a:gd name="connsiteX132" fmla="*/ 49809 w 355798"/>
                  <a:gd name="connsiteY132" fmla="*/ 199044 h 493068"/>
                  <a:gd name="connsiteX133" fmla="*/ 44430 w 355798"/>
                  <a:gd name="connsiteY133" fmla="*/ 186310 h 493068"/>
                  <a:gd name="connsiteX134" fmla="*/ 47476 w 355798"/>
                  <a:gd name="connsiteY134" fmla="*/ 175855 h 493068"/>
                  <a:gd name="connsiteX135" fmla="*/ 38640 w 355798"/>
                  <a:gd name="connsiteY135" fmla="*/ 166607 h 493068"/>
                  <a:gd name="connsiteX136" fmla="*/ 36801 w 355798"/>
                  <a:gd name="connsiteY136" fmla="*/ 160157 h 493068"/>
                  <a:gd name="connsiteX137" fmla="*/ 31587 w 355798"/>
                  <a:gd name="connsiteY137" fmla="*/ 155465 h 493068"/>
                  <a:gd name="connsiteX138" fmla="*/ 34194 w 355798"/>
                  <a:gd name="connsiteY138" fmla="*/ 148961 h 493068"/>
                  <a:gd name="connsiteX139" fmla="*/ 36582 w 355798"/>
                  <a:gd name="connsiteY139" fmla="*/ 147232 h 493068"/>
                  <a:gd name="connsiteX140" fmla="*/ 36719 w 355798"/>
                  <a:gd name="connsiteY140" fmla="*/ 142127 h 493068"/>
                  <a:gd name="connsiteX141" fmla="*/ 41905 w 355798"/>
                  <a:gd name="connsiteY141" fmla="*/ 146189 h 493068"/>
                  <a:gd name="connsiteX142" fmla="*/ 48080 w 355798"/>
                  <a:gd name="connsiteY142" fmla="*/ 135953 h 493068"/>
                  <a:gd name="connsiteX143" fmla="*/ 52361 w 355798"/>
                  <a:gd name="connsiteY143" fmla="*/ 133949 h 493068"/>
                  <a:gd name="connsiteX144" fmla="*/ 45994 w 355798"/>
                  <a:gd name="connsiteY144" fmla="*/ 118499 h 493068"/>
                  <a:gd name="connsiteX145" fmla="*/ 45007 w 355798"/>
                  <a:gd name="connsiteY145" fmla="*/ 116715 h 493068"/>
                  <a:gd name="connsiteX146" fmla="*/ 47065 w 355798"/>
                  <a:gd name="connsiteY146" fmla="*/ 112379 h 493068"/>
                  <a:gd name="connsiteX147" fmla="*/ 51154 w 355798"/>
                  <a:gd name="connsiteY147" fmla="*/ 118718 h 493068"/>
                  <a:gd name="connsiteX148" fmla="*/ 61225 w 355798"/>
                  <a:gd name="connsiteY148" fmla="*/ 128598 h 493068"/>
                  <a:gd name="connsiteX149" fmla="*/ 61225 w 355798"/>
                  <a:gd name="connsiteY149" fmla="*/ 133565 h 493068"/>
                  <a:gd name="connsiteX150" fmla="*/ 64518 w 355798"/>
                  <a:gd name="connsiteY150" fmla="*/ 134032 h 493068"/>
                  <a:gd name="connsiteX151" fmla="*/ 65479 w 355798"/>
                  <a:gd name="connsiteY151" fmla="*/ 129229 h 493068"/>
                  <a:gd name="connsiteX152" fmla="*/ 61500 w 355798"/>
                  <a:gd name="connsiteY152" fmla="*/ 114931 h 493068"/>
                  <a:gd name="connsiteX153" fmla="*/ 76539 w 355798"/>
                  <a:gd name="connsiteY153" fmla="*/ 105436 h 493068"/>
                  <a:gd name="connsiteX154" fmla="*/ 86007 w 355798"/>
                  <a:gd name="connsiteY154" fmla="*/ 92318 h 493068"/>
                  <a:gd name="connsiteX155" fmla="*/ 98575 w 355798"/>
                  <a:gd name="connsiteY155" fmla="*/ 88394 h 493068"/>
                  <a:gd name="connsiteX156" fmla="*/ 99536 w 355798"/>
                  <a:gd name="connsiteY156" fmla="*/ 84854 h 493068"/>
                  <a:gd name="connsiteX157" fmla="*/ 97450 w 355798"/>
                  <a:gd name="connsiteY157" fmla="*/ 80298 h 493068"/>
                  <a:gd name="connsiteX158" fmla="*/ 100825 w 355798"/>
                  <a:gd name="connsiteY158" fmla="*/ 67263 h 493068"/>
                  <a:gd name="connsiteX159" fmla="*/ 99316 w 355798"/>
                  <a:gd name="connsiteY159" fmla="*/ 65451 h 493068"/>
                  <a:gd name="connsiteX160" fmla="*/ 102362 w 355798"/>
                  <a:gd name="connsiteY160" fmla="*/ 56039 h 493068"/>
                  <a:gd name="connsiteX161" fmla="*/ 120612 w 355798"/>
                  <a:gd name="connsiteY161" fmla="*/ 41137 h 493068"/>
                  <a:gd name="connsiteX162" fmla="*/ 135843 w 355798"/>
                  <a:gd name="connsiteY162" fmla="*/ 43086 h 493068"/>
                  <a:gd name="connsiteX163" fmla="*/ 138669 w 355798"/>
                  <a:gd name="connsiteY163" fmla="*/ 41247 h 493068"/>
                  <a:gd name="connsiteX164" fmla="*/ 139850 w 355798"/>
                  <a:gd name="connsiteY164" fmla="*/ 35923 h 493068"/>
                  <a:gd name="connsiteX165" fmla="*/ 142484 w 355798"/>
                  <a:gd name="connsiteY165" fmla="*/ 33481 h 493068"/>
                  <a:gd name="connsiteX166" fmla="*/ 155986 w 355798"/>
                  <a:gd name="connsiteY166" fmla="*/ 35237 h 493068"/>
                  <a:gd name="connsiteX167" fmla="*/ 167128 w 355798"/>
                  <a:gd name="connsiteY167" fmla="*/ 34112 h 493068"/>
                  <a:gd name="connsiteX168" fmla="*/ 182551 w 355798"/>
                  <a:gd name="connsiteY168" fmla="*/ 22888 h 493068"/>
                  <a:gd name="connsiteX169" fmla="*/ 196080 w 355798"/>
                  <a:gd name="connsiteY169" fmla="*/ 16932 h 493068"/>
                  <a:gd name="connsiteX170" fmla="*/ 199620 w 355798"/>
                  <a:gd name="connsiteY170" fmla="*/ 12130 h 493068"/>
                  <a:gd name="connsiteX171" fmla="*/ 200883 w 355798"/>
                  <a:gd name="connsiteY171" fmla="*/ 6916 h 493068"/>
                  <a:gd name="connsiteX172" fmla="*/ 207030 w 355798"/>
                  <a:gd name="connsiteY172" fmla="*/ 7245 h 493068"/>
                  <a:gd name="connsiteX173" fmla="*/ 208567 w 355798"/>
                  <a:gd name="connsiteY173" fmla="*/ 3897 h 493068"/>
                  <a:gd name="connsiteX174" fmla="*/ 214467 w 355798"/>
                  <a:gd name="connsiteY174" fmla="*/ 0 h 493068"/>
                  <a:gd name="connsiteX175" fmla="*/ 224511 w 355798"/>
                  <a:gd name="connsiteY175" fmla="*/ 2415 h 493068"/>
                  <a:gd name="connsiteX176" fmla="*/ 228792 w 355798"/>
                  <a:gd name="connsiteY176" fmla="*/ 6998 h 493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355798" h="493068">
                    <a:moveTo>
                      <a:pt x="228820" y="7081"/>
                    </a:moveTo>
                    <a:lnTo>
                      <a:pt x="229917" y="12349"/>
                    </a:lnTo>
                    <a:lnTo>
                      <a:pt x="224868" y="17701"/>
                    </a:lnTo>
                    <a:lnTo>
                      <a:pt x="206207" y="23848"/>
                    </a:lnTo>
                    <a:lnTo>
                      <a:pt x="198330" y="37625"/>
                    </a:lnTo>
                    <a:lnTo>
                      <a:pt x="190482" y="40973"/>
                    </a:lnTo>
                    <a:lnTo>
                      <a:pt x="178956" y="59853"/>
                    </a:lnTo>
                    <a:lnTo>
                      <a:pt x="176129" y="76758"/>
                    </a:lnTo>
                    <a:lnTo>
                      <a:pt x="173220" y="85046"/>
                    </a:lnTo>
                    <a:lnTo>
                      <a:pt x="165262" y="97176"/>
                    </a:lnTo>
                    <a:lnTo>
                      <a:pt x="169433" y="97532"/>
                    </a:lnTo>
                    <a:lnTo>
                      <a:pt x="175114" y="94733"/>
                    </a:lnTo>
                    <a:lnTo>
                      <a:pt x="177145" y="99371"/>
                    </a:lnTo>
                    <a:lnTo>
                      <a:pt x="182276" y="100332"/>
                    </a:lnTo>
                    <a:lnTo>
                      <a:pt x="185707" y="113312"/>
                    </a:lnTo>
                    <a:lnTo>
                      <a:pt x="192842" y="121435"/>
                    </a:lnTo>
                    <a:lnTo>
                      <a:pt x="194324" y="127473"/>
                    </a:lnTo>
                    <a:lnTo>
                      <a:pt x="194269" y="130793"/>
                    </a:lnTo>
                    <a:lnTo>
                      <a:pt x="191031" y="134498"/>
                    </a:lnTo>
                    <a:lnTo>
                      <a:pt x="191278" y="148384"/>
                    </a:lnTo>
                    <a:lnTo>
                      <a:pt x="192897" y="150223"/>
                    </a:lnTo>
                    <a:lnTo>
                      <a:pt x="199154" y="151513"/>
                    </a:lnTo>
                    <a:lnTo>
                      <a:pt x="204039" y="161063"/>
                    </a:lnTo>
                    <a:lnTo>
                      <a:pt x="233842" y="162600"/>
                    </a:lnTo>
                    <a:lnTo>
                      <a:pt x="241965" y="159773"/>
                    </a:lnTo>
                    <a:lnTo>
                      <a:pt x="254287" y="163697"/>
                    </a:lnTo>
                    <a:lnTo>
                      <a:pt x="261175" y="162737"/>
                    </a:lnTo>
                    <a:lnTo>
                      <a:pt x="280632" y="187957"/>
                    </a:lnTo>
                    <a:lnTo>
                      <a:pt x="286422" y="188835"/>
                    </a:lnTo>
                    <a:lnTo>
                      <a:pt x="291938" y="185762"/>
                    </a:lnTo>
                    <a:lnTo>
                      <a:pt x="302861" y="187546"/>
                    </a:lnTo>
                    <a:lnTo>
                      <a:pt x="313509" y="186530"/>
                    </a:lnTo>
                    <a:lnTo>
                      <a:pt x="328355" y="183017"/>
                    </a:lnTo>
                    <a:lnTo>
                      <a:pt x="337357" y="185981"/>
                    </a:lnTo>
                    <a:lnTo>
                      <a:pt x="338893" y="191964"/>
                    </a:lnTo>
                    <a:lnTo>
                      <a:pt x="333679" y="199154"/>
                    </a:lnTo>
                    <a:lnTo>
                      <a:pt x="333158" y="206536"/>
                    </a:lnTo>
                    <a:lnTo>
                      <a:pt x="327367" y="213067"/>
                    </a:lnTo>
                    <a:lnTo>
                      <a:pt x="328328" y="218803"/>
                    </a:lnTo>
                    <a:lnTo>
                      <a:pt x="326489" y="234775"/>
                    </a:lnTo>
                    <a:lnTo>
                      <a:pt x="328602" y="241855"/>
                    </a:lnTo>
                    <a:lnTo>
                      <a:pt x="333487" y="256784"/>
                    </a:lnTo>
                    <a:lnTo>
                      <a:pt x="337823" y="259693"/>
                    </a:lnTo>
                    <a:lnTo>
                      <a:pt x="342626" y="268502"/>
                    </a:lnTo>
                    <a:lnTo>
                      <a:pt x="327258" y="284721"/>
                    </a:lnTo>
                    <a:lnTo>
                      <a:pt x="333432" y="286038"/>
                    </a:lnTo>
                    <a:lnTo>
                      <a:pt x="346193" y="298690"/>
                    </a:lnTo>
                    <a:lnTo>
                      <a:pt x="346276" y="303465"/>
                    </a:lnTo>
                    <a:lnTo>
                      <a:pt x="355798" y="332527"/>
                    </a:lnTo>
                    <a:lnTo>
                      <a:pt x="349596" y="333460"/>
                    </a:lnTo>
                    <a:lnTo>
                      <a:pt x="348691" y="318174"/>
                    </a:lnTo>
                    <a:lnTo>
                      <a:pt x="339827" y="305715"/>
                    </a:lnTo>
                    <a:lnTo>
                      <a:pt x="336094" y="307087"/>
                    </a:lnTo>
                    <a:lnTo>
                      <a:pt x="328548" y="315320"/>
                    </a:lnTo>
                    <a:lnTo>
                      <a:pt x="325117" y="316747"/>
                    </a:lnTo>
                    <a:lnTo>
                      <a:pt x="322592" y="316445"/>
                    </a:lnTo>
                    <a:lnTo>
                      <a:pt x="317131" y="310600"/>
                    </a:lnTo>
                    <a:lnTo>
                      <a:pt x="314716" y="314085"/>
                    </a:lnTo>
                    <a:lnTo>
                      <a:pt x="316637" y="317625"/>
                    </a:lnTo>
                    <a:lnTo>
                      <a:pt x="277641" y="316637"/>
                    </a:lnTo>
                    <a:lnTo>
                      <a:pt x="268996" y="318997"/>
                    </a:lnTo>
                    <a:lnTo>
                      <a:pt x="268557" y="336122"/>
                    </a:lnTo>
                    <a:lnTo>
                      <a:pt x="284693" y="337302"/>
                    </a:lnTo>
                    <a:lnTo>
                      <a:pt x="288782" y="342900"/>
                    </a:lnTo>
                    <a:lnTo>
                      <a:pt x="288645" y="348938"/>
                    </a:lnTo>
                    <a:lnTo>
                      <a:pt x="287081" y="350337"/>
                    </a:lnTo>
                    <a:lnTo>
                      <a:pt x="283074" y="350200"/>
                    </a:lnTo>
                    <a:lnTo>
                      <a:pt x="278766" y="347456"/>
                    </a:lnTo>
                    <a:lnTo>
                      <a:pt x="275308" y="349651"/>
                    </a:lnTo>
                    <a:lnTo>
                      <a:pt x="264139" y="351956"/>
                    </a:lnTo>
                    <a:lnTo>
                      <a:pt x="262986" y="353466"/>
                    </a:lnTo>
                    <a:lnTo>
                      <a:pt x="262712" y="373279"/>
                    </a:lnTo>
                    <a:lnTo>
                      <a:pt x="274650" y="383763"/>
                    </a:lnTo>
                    <a:lnTo>
                      <a:pt x="275884" y="391227"/>
                    </a:lnTo>
                    <a:lnTo>
                      <a:pt x="280879" y="403137"/>
                    </a:lnTo>
                    <a:lnTo>
                      <a:pt x="279562" y="410547"/>
                    </a:lnTo>
                    <a:lnTo>
                      <a:pt x="265045" y="493068"/>
                    </a:lnTo>
                    <a:lnTo>
                      <a:pt x="256317" y="482585"/>
                    </a:lnTo>
                    <a:lnTo>
                      <a:pt x="248496" y="482009"/>
                    </a:lnTo>
                    <a:lnTo>
                      <a:pt x="244737" y="479292"/>
                    </a:lnTo>
                    <a:lnTo>
                      <a:pt x="260653" y="452590"/>
                    </a:lnTo>
                    <a:lnTo>
                      <a:pt x="259309" y="446799"/>
                    </a:lnTo>
                    <a:lnTo>
                      <a:pt x="238864" y="435301"/>
                    </a:lnTo>
                    <a:lnTo>
                      <a:pt x="224539" y="437853"/>
                    </a:lnTo>
                    <a:lnTo>
                      <a:pt x="213616" y="432721"/>
                    </a:lnTo>
                    <a:lnTo>
                      <a:pt x="198495" y="440350"/>
                    </a:lnTo>
                    <a:lnTo>
                      <a:pt x="177501" y="440130"/>
                    </a:lnTo>
                    <a:lnTo>
                      <a:pt x="172315" y="435822"/>
                    </a:lnTo>
                    <a:lnTo>
                      <a:pt x="170833" y="424351"/>
                    </a:lnTo>
                    <a:lnTo>
                      <a:pt x="162243" y="419493"/>
                    </a:lnTo>
                    <a:lnTo>
                      <a:pt x="158675" y="410547"/>
                    </a:lnTo>
                    <a:lnTo>
                      <a:pt x="156864" y="407528"/>
                    </a:lnTo>
                    <a:lnTo>
                      <a:pt x="139109" y="397594"/>
                    </a:lnTo>
                    <a:lnTo>
                      <a:pt x="133510" y="384860"/>
                    </a:lnTo>
                    <a:lnTo>
                      <a:pt x="124125" y="377533"/>
                    </a:lnTo>
                    <a:lnTo>
                      <a:pt x="121655" y="373774"/>
                    </a:lnTo>
                    <a:lnTo>
                      <a:pt x="112132" y="369767"/>
                    </a:lnTo>
                    <a:lnTo>
                      <a:pt x="108125" y="371249"/>
                    </a:lnTo>
                    <a:lnTo>
                      <a:pt x="100963" y="369355"/>
                    </a:lnTo>
                    <a:lnTo>
                      <a:pt x="98795" y="366501"/>
                    </a:lnTo>
                    <a:lnTo>
                      <a:pt x="93745" y="365788"/>
                    </a:lnTo>
                    <a:lnTo>
                      <a:pt x="85457" y="358351"/>
                    </a:lnTo>
                    <a:lnTo>
                      <a:pt x="79448" y="356018"/>
                    </a:lnTo>
                    <a:lnTo>
                      <a:pt x="75990" y="357610"/>
                    </a:lnTo>
                    <a:lnTo>
                      <a:pt x="74645" y="360738"/>
                    </a:lnTo>
                    <a:lnTo>
                      <a:pt x="70638" y="361424"/>
                    </a:lnTo>
                    <a:lnTo>
                      <a:pt x="60594" y="361013"/>
                    </a:lnTo>
                    <a:lnTo>
                      <a:pt x="53569" y="357857"/>
                    </a:lnTo>
                    <a:lnTo>
                      <a:pt x="45446" y="357308"/>
                    </a:lnTo>
                    <a:lnTo>
                      <a:pt x="43991" y="353411"/>
                    </a:lnTo>
                    <a:lnTo>
                      <a:pt x="42893" y="350392"/>
                    </a:lnTo>
                    <a:lnTo>
                      <a:pt x="38311" y="347154"/>
                    </a:lnTo>
                    <a:lnTo>
                      <a:pt x="37515" y="344409"/>
                    </a:lnTo>
                    <a:lnTo>
                      <a:pt x="28651" y="343943"/>
                    </a:lnTo>
                    <a:lnTo>
                      <a:pt x="6312" y="327587"/>
                    </a:lnTo>
                    <a:lnTo>
                      <a:pt x="3979" y="325501"/>
                    </a:lnTo>
                    <a:lnTo>
                      <a:pt x="0" y="319546"/>
                    </a:lnTo>
                    <a:lnTo>
                      <a:pt x="4748" y="315375"/>
                    </a:lnTo>
                    <a:lnTo>
                      <a:pt x="11306" y="315320"/>
                    </a:lnTo>
                    <a:lnTo>
                      <a:pt x="8205" y="304727"/>
                    </a:lnTo>
                    <a:lnTo>
                      <a:pt x="12487" y="295589"/>
                    </a:lnTo>
                    <a:lnTo>
                      <a:pt x="18826" y="290841"/>
                    </a:lnTo>
                    <a:lnTo>
                      <a:pt x="27169" y="290841"/>
                    </a:lnTo>
                    <a:cubicBezTo>
                      <a:pt x="27169" y="290841"/>
                      <a:pt x="33700" y="288673"/>
                      <a:pt x="33700" y="288673"/>
                    </a:cubicBezTo>
                    <a:lnTo>
                      <a:pt x="42152" y="273332"/>
                    </a:lnTo>
                    <a:lnTo>
                      <a:pt x="51538" y="261916"/>
                    </a:lnTo>
                    <a:lnTo>
                      <a:pt x="53569" y="256427"/>
                    </a:lnTo>
                    <a:lnTo>
                      <a:pt x="47833" y="252366"/>
                    </a:lnTo>
                    <a:lnTo>
                      <a:pt x="43058" y="245423"/>
                    </a:lnTo>
                    <a:lnTo>
                      <a:pt x="47943" y="235241"/>
                    </a:lnTo>
                    <a:lnTo>
                      <a:pt x="46214" y="210597"/>
                    </a:lnTo>
                    <a:lnTo>
                      <a:pt x="43141" y="205685"/>
                    </a:lnTo>
                    <a:lnTo>
                      <a:pt x="49809" y="199044"/>
                    </a:lnTo>
                    <a:lnTo>
                      <a:pt x="44430" y="186310"/>
                    </a:lnTo>
                    <a:lnTo>
                      <a:pt x="47476" y="175855"/>
                    </a:lnTo>
                    <a:lnTo>
                      <a:pt x="38640" y="166607"/>
                    </a:lnTo>
                    <a:lnTo>
                      <a:pt x="36801" y="160157"/>
                    </a:lnTo>
                    <a:lnTo>
                      <a:pt x="31587" y="155465"/>
                    </a:lnTo>
                    <a:lnTo>
                      <a:pt x="34194" y="148961"/>
                    </a:lnTo>
                    <a:lnTo>
                      <a:pt x="36582" y="147232"/>
                    </a:lnTo>
                    <a:lnTo>
                      <a:pt x="36719" y="142127"/>
                    </a:lnTo>
                    <a:lnTo>
                      <a:pt x="41905" y="146189"/>
                    </a:lnTo>
                    <a:lnTo>
                      <a:pt x="48080" y="135953"/>
                    </a:lnTo>
                    <a:lnTo>
                      <a:pt x="52361" y="133949"/>
                    </a:lnTo>
                    <a:lnTo>
                      <a:pt x="45994" y="118499"/>
                    </a:lnTo>
                    <a:lnTo>
                      <a:pt x="45007" y="116715"/>
                    </a:lnTo>
                    <a:lnTo>
                      <a:pt x="47065" y="112379"/>
                    </a:lnTo>
                    <a:lnTo>
                      <a:pt x="51154" y="118718"/>
                    </a:lnTo>
                    <a:lnTo>
                      <a:pt x="61225" y="128598"/>
                    </a:lnTo>
                    <a:lnTo>
                      <a:pt x="61225" y="133565"/>
                    </a:lnTo>
                    <a:lnTo>
                      <a:pt x="64518" y="134032"/>
                    </a:lnTo>
                    <a:lnTo>
                      <a:pt x="65479" y="129229"/>
                    </a:lnTo>
                    <a:lnTo>
                      <a:pt x="61500" y="114931"/>
                    </a:lnTo>
                    <a:lnTo>
                      <a:pt x="76539" y="105436"/>
                    </a:lnTo>
                    <a:lnTo>
                      <a:pt x="86007" y="92318"/>
                    </a:lnTo>
                    <a:lnTo>
                      <a:pt x="98575" y="88394"/>
                    </a:lnTo>
                    <a:lnTo>
                      <a:pt x="99536" y="84854"/>
                    </a:lnTo>
                    <a:lnTo>
                      <a:pt x="97450" y="80298"/>
                    </a:lnTo>
                    <a:lnTo>
                      <a:pt x="100825" y="67263"/>
                    </a:lnTo>
                    <a:lnTo>
                      <a:pt x="99316" y="65451"/>
                    </a:lnTo>
                    <a:lnTo>
                      <a:pt x="102362" y="56039"/>
                    </a:lnTo>
                    <a:lnTo>
                      <a:pt x="120612" y="41137"/>
                    </a:lnTo>
                    <a:lnTo>
                      <a:pt x="135843" y="43086"/>
                    </a:lnTo>
                    <a:lnTo>
                      <a:pt x="138669" y="41247"/>
                    </a:lnTo>
                    <a:lnTo>
                      <a:pt x="139850" y="35923"/>
                    </a:lnTo>
                    <a:lnTo>
                      <a:pt x="142484" y="33481"/>
                    </a:lnTo>
                    <a:lnTo>
                      <a:pt x="155986" y="35237"/>
                    </a:lnTo>
                    <a:lnTo>
                      <a:pt x="167128" y="34112"/>
                    </a:lnTo>
                    <a:lnTo>
                      <a:pt x="182551" y="22888"/>
                    </a:lnTo>
                    <a:lnTo>
                      <a:pt x="196080" y="16932"/>
                    </a:lnTo>
                    <a:lnTo>
                      <a:pt x="199620" y="12130"/>
                    </a:lnTo>
                    <a:lnTo>
                      <a:pt x="200883" y="6916"/>
                    </a:lnTo>
                    <a:lnTo>
                      <a:pt x="207030" y="7245"/>
                    </a:lnTo>
                    <a:lnTo>
                      <a:pt x="208567" y="3897"/>
                    </a:lnTo>
                    <a:lnTo>
                      <a:pt x="214467" y="0"/>
                    </a:lnTo>
                    <a:lnTo>
                      <a:pt x="224511" y="2415"/>
                    </a:lnTo>
                    <a:lnTo>
                      <a:pt x="228792" y="69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9" name="Freeform: Shape 3198">
                <a:extLst>
                  <a:ext uri="{FF2B5EF4-FFF2-40B4-BE49-F238E27FC236}">
                    <a16:creationId xmlns:a16="http://schemas.microsoft.com/office/drawing/2014/main" id="{62788403-92C2-B6AF-431F-984867F62B33}"/>
                  </a:ext>
                </a:extLst>
              </p:cNvPr>
              <p:cNvSpPr/>
              <p:nvPr/>
            </p:nvSpPr>
            <p:spPr>
              <a:xfrm>
                <a:off x="1102160" y="3809877"/>
                <a:ext cx="9955" cy="9835"/>
              </a:xfrm>
              <a:custGeom>
                <a:avLst/>
                <a:gdLst>
                  <a:gd name="connsiteX0" fmla="*/ 6175 w 95446"/>
                  <a:gd name="connsiteY0" fmla="*/ 82 h 94294"/>
                  <a:gd name="connsiteX1" fmla="*/ 25604 w 95446"/>
                  <a:gd name="connsiteY1" fmla="*/ 7355 h 94294"/>
                  <a:gd name="connsiteX2" fmla="*/ 33947 w 95446"/>
                  <a:gd name="connsiteY2" fmla="*/ 4062 h 94294"/>
                  <a:gd name="connsiteX3" fmla="*/ 42509 w 95446"/>
                  <a:gd name="connsiteY3" fmla="*/ 6888 h 94294"/>
                  <a:gd name="connsiteX4" fmla="*/ 47970 w 95446"/>
                  <a:gd name="connsiteY4" fmla="*/ 12459 h 94294"/>
                  <a:gd name="connsiteX5" fmla="*/ 55325 w 95446"/>
                  <a:gd name="connsiteY5" fmla="*/ 14298 h 94294"/>
                  <a:gd name="connsiteX6" fmla="*/ 62021 w 95446"/>
                  <a:gd name="connsiteY6" fmla="*/ 12102 h 94294"/>
                  <a:gd name="connsiteX7" fmla="*/ 62295 w 95446"/>
                  <a:gd name="connsiteY7" fmla="*/ 7821 h 94294"/>
                  <a:gd name="connsiteX8" fmla="*/ 64409 w 95446"/>
                  <a:gd name="connsiteY8" fmla="*/ 9879 h 94294"/>
                  <a:gd name="connsiteX9" fmla="*/ 71050 w 95446"/>
                  <a:gd name="connsiteY9" fmla="*/ 24946 h 94294"/>
                  <a:gd name="connsiteX10" fmla="*/ 83921 w 95446"/>
                  <a:gd name="connsiteY10" fmla="*/ 39655 h 94294"/>
                  <a:gd name="connsiteX11" fmla="*/ 89519 w 95446"/>
                  <a:gd name="connsiteY11" fmla="*/ 45693 h 94294"/>
                  <a:gd name="connsiteX12" fmla="*/ 95447 w 95446"/>
                  <a:gd name="connsiteY12" fmla="*/ 48684 h 94294"/>
                  <a:gd name="connsiteX13" fmla="*/ 92648 w 95446"/>
                  <a:gd name="connsiteY13" fmla="*/ 50440 h 94294"/>
                  <a:gd name="connsiteX14" fmla="*/ 87131 w 95446"/>
                  <a:gd name="connsiteY14" fmla="*/ 47806 h 94294"/>
                  <a:gd name="connsiteX15" fmla="*/ 84634 w 95446"/>
                  <a:gd name="connsiteY15" fmla="*/ 52691 h 94294"/>
                  <a:gd name="connsiteX16" fmla="*/ 84716 w 95446"/>
                  <a:gd name="connsiteY16" fmla="*/ 62433 h 94294"/>
                  <a:gd name="connsiteX17" fmla="*/ 90534 w 95446"/>
                  <a:gd name="connsiteY17" fmla="*/ 67510 h 94294"/>
                  <a:gd name="connsiteX18" fmla="*/ 85622 w 95446"/>
                  <a:gd name="connsiteY18" fmla="*/ 72696 h 94294"/>
                  <a:gd name="connsiteX19" fmla="*/ 87077 w 95446"/>
                  <a:gd name="connsiteY19" fmla="*/ 81204 h 94294"/>
                  <a:gd name="connsiteX20" fmla="*/ 82027 w 95446"/>
                  <a:gd name="connsiteY20" fmla="*/ 85567 h 94294"/>
                  <a:gd name="connsiteX21" fmla="*/ 84771 w 95446"/>
                  <a:gd name="connsiteY21" fmla="*/ 88860 h 94294"/>
                  <a:gd name="connsiteX22" fmla="*/ 85567 w 95446"/>
                  <a:gd name="connsiteY22" fmla="*/ 94294 h 94294"/>
                  <a:gd name="connsiteX23" fmla="*/ 75496 w 95446"/>
                  <a:gd name="connsiteY23" fmla="*/ 77719 h 94294"/>
                  <a:gd name="connsiteX24" fmla="*/ 72285 w 95446"/>
                  <a:gd name="connsiteY24" fmla="*/ 77115 h 94294"/>
                  <a:gd name="connsiteX25" fmla="*/ 71242 w 95446"/>
                  <a:gd name="connsiteY25" fmla="*/ 81560 h 94294"/>
                  <a:gd name="connsiteX26" fmla="*/ 63832 w 95446"/>
                  <a:gd name="connsiteY26" fmla="*/ 78569 h 94294"/>
                  <a:gd name="connsiteX27" fmla="*/ 63942 w 95446"/>
                  <a:gd name="connsiteY27" fmla="*/ 68745 h 94294"/>
                  <a:gd name="connsiteX28" fmla="*/ 61582 w 95446"/>
                  <a:gd name="connsiteY28" fmla="*/ 63339 h 94294"/>
                  <a:gd name="connsiteX29" fmla="*/ 47943 w 95446"/>
                  <a:gd name="connsiteY29" fmla="*/ 53267 h 94294"/>
                  <a:gd name="connsiteX30" fmla="*/ 36828 w 95446"/>
                  <a:gd name="connsiteY30" fmla="*/ 48053 h 94294"/>
                  <a:gd name="connsiteX31" fmla="*/ 28211 w 95446"/>
                  <a:gd name="connsiteY31" fmla="*/ 36033 h 94294"/>
                  <a:gd name="connsiteX32" fmla="*/ 22229 w 95446"/>
                  <a:gd name="connsiteY32" fmla="*/ 34359 h 94294"/>
                  <a:gd name="connsiteX33" fmla="*/ 24644 w 95446"/>
                  <a:gd name="connsiteY33" fmla="*/ 41000 h 94294"/>
                  <a:gd name="connsiteX34" fmla="*/ 20033 w 95446"/>
                  <a:gd name="connsiteY34" fmla="*/ 45803 h 94294"/>
                  <a:gd name="connsiteX35" fmla="*/ 4720 w 95446"/>
                  <a:gd name="connsiteY35" fmla="*/ 36746 h 94294"/>
                  <a:gd name="connsiteX36" fmla="*/ 0 w 95446"/>
                  <a:gd name="connsiteY36" fmla="*/ 26620 h 94294"/>
                  <a:gd name="connsiteX37" fmla="*/ 3375 w 95446"/>
                  <a:gd name="connsiteY37" fmla="*/ 16686 h 94294"/>
                  <a:gd name="connsiteX38" fmla="*/ 549 w 95446"/>
                  <a:gd name="connsiteY38" fmla="*/ 9001 h 94294"/>
                  <a:gd name="connsiteX39" fmla="*/ 3375 w 95446"/>
                  <a:gd name="connsiteY39" fmla="*/ 3513 h 94294"/>
                  <a:gd name="connsiteX40" fmla="*/ 6175 w 95446"/>
                  <a:gd name="connsiteY40" fmla="*/ 0 h 94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5446" h="94294">
                    <a:moveTo>
                      <a:pt x="6175" y="82"/>
                    </a:moveTo>
                    <a:lnTo>
                      <a:pt x="25604" y="7355"/>
                    </a:lnTo>
                    <a:lnTo>
                      <a:pt x="33947" y="4062"/>
                    </a:lnTo>
                    <a:lnTo>
                      <a:pt x="42509" y="6888"/>
                    </a:lnTo>
                    <a:lnTo>
                      <a:pt x="47970" y="12459"/>
                    </a:lnTo>
                    <a:lnTo>
                      <a:pt x="55325" y="14298"/>
                    </a:lnTo>
                    <a:lnTo>
                      <a:pt x="62021" y="12102"/>
                    </a:lnTo>
                    <a:lnTo>
                      <a:pt x="62295" y="7821"/>
                    </a:lnTo>
                    <a:lnTo>
                      <a:pt x="64409" y="9879"/>
                    </a:lnTo>
                    <a:lnTo>
                      <a:pt x="71050" y="24946"/>
                    </a:lnTo>
                    <a:lnTo>
                      <a:pt x="83921" y="39655"/>
                    </a:lnTo>
                    <a:lnTo>
                      <a:pt x="89519" y="45693"/>
                    </a:lnTo>
                    <a:lnTo>
                      <a:pt x="95447" y="48684"/>
                    </a:lnTo>
                    <a:lnTo>
                      <a:pt x="92648" y="50440"/>
                    </a:lnTo>
                    <a:lnTo>
                      <a:pt x="87131" y="47806"/>
                    </a:lnTo>
                    <a:lnTo>
                      <a:pt x="84634" y="52691"/>
                    </a:lnTo>
                    <a:lnTo>
                      <a:pt x="84716" y="62433"/>
                    </a:lnTo>
                    <a:lnTo>
                      <a:pt x="90534" y="67510"/>
                    </a:lnTo>
                    <a:lnTo>
                      <a:pt x="85622" y="72696"/>
                    </a:lnTo>
                    <a:lnTo>
                      <a:pt x="87077" y="81204"/>
                    </a:lnTo>
                    <a:lnTo>
                      <a:pt x="82027" y="85567"/>
                    </a:lnTo>
                    <a:lnTo>
                      <a:pt x="84771" y="88860"/>
                    </a:lnTo>
                    <a:lnTo>
                      <a:pt x="85567" y="94294"/>
                    </a:lnTo>
                    <a:lnTo>
                      <a:pt x="75496" y="77719"/>
                    </a:lnTo>
                    <a:lnTo>
                      <a:pt x="72285" y="77115"/>
                    </a:lnTo>
                    <a:lnTo>
                      <a:pt x="71242" y="81560"/>
                    </a:lnTo>
                    <a:lnTo>
                      <a:pt x="63832" y="78569"/>
                    </a:lnTo>
                    <a:lnTo>
                      <a:pt x="63942" y="68745"/>
                    </a:lnTo>
                    <a:lnTo>
                      <a:pt x="61582" y="63339"/>
                    </a:lnTo>
                    <a:lnTo>
                      <a:pt x="47943" y="53267"/>
                    </a:lnTo>
                    <a:lnTo>
                      <a:pt x="36828" y="48053"/>
                    </a:lnTo>
                    <a:lnTo>
                      <a:pt x="28211" y="36033"/>
                    </a:lnTo>
                    <a:lnTo>
                      <a:pt x="22229" y="34359"/>
                    </a:lnTo>
                    <a:lnTo>
                      <a:pt x="24644" y="41000"/>
                    </a:lnTo>
                    <a:lnTo>
                      <a:pt x="20033" y="45803"/>
                    </a:lnTo>
                    <a:lnTo>
                      <a:pt x="4720" y="36746"/>
                    </a:lnTo>
                    <a:lnTo>
                      <a:pt x="0" y="26620"/>
                    </a:lnTo>
                    <a:lnTo>
                      <a:pt x="3375" y="16686"/>
                    </a:lnTo>
                    <a:lnTo>
                      <a:pt x="549" y="9001"/>
                    </a:lnTo>
                    <a:lnTo>
                      <a:pt x="3375" y="3513"/>
                    </a:lnTo>
                    <a:lnTo>
                      <a:pt x="6175"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0" name="Freeform: Shape 3199">
                <a:extLst>
                  <a:ext uri="{FF2B5EF4-FFF2-40B4-BE49-F238E27FC236}">
                    <a16:creationId xmlns:a16="http://schemas.microsoft.com/office/drawing/2014/main" id="{A1CDD5FA-94C5-5EEC-04E1-93B605B776DB}"/>
                  </a:ext>
                </a:extLst>
              </p:cNvPr>
              <p:cNvSpPr/>
              <p:nvPr/>
            </p:nvSpPr>
            <p:spPr>
              <a:xfrm>
                <a:off x="1104908" y="3771258"/>
                <a:ext cx="33008" cy="11074"/>
              </a:xfrm>
              <a:custGeom>
                <a:avLst/>
                <a:gdLst>
                  <a:gd name="connsiteX0" fmla="*/ 121518 w 316472"/>
                  <a:gd name="connsiteY0" fmla="*/ 1976 h 106176"/>
                  <a:gd name="connsiteX1" fmla="*/ 120941 w 316472"/>
                  <a:gd name="connsiteY1" fmla="*/ 3979 h 106176"/>
                  <a:gd name="connsiteX2" fmla="*/ 125360 w 316472"/>
                  <a:gd name="connsiteY2" fmla="*/ 3622 h 106176"/>
                  <a:gd name="connsiteX3" fmla="*/ 130107 w 316472"/>
                  <a:gd name="connsiteY3" fmla="*/ 7163 h 106176"/>
                  <a:gd name="connsiteX4" fmla="*/ 136666 w 316472"/>
                  <a:gd name="connsiteY4" fmla="*/ 9001 h 106176"/>
                  <a:gd name="connsiteX5" fmla="*/ 143445 w 316472"/>
                  <a:gd name="connsiteY5" fmla="*/ 8342 h 106176"/>
                  <a:gd name="connsiteX6" fmla="*/ 154586 w 316472"/>
                  <a:gd name="connsiteY6" fmla="*/ 14545 h 106176"/>
                  <a:gd name="connsiteX7" fmla="*/ 163697 w 316472"/>
                  <a:gd name="connsiteY7" fmla="*/ 24726 h 106176"/>
                  <a:gd name="connsiteX8" fmla="*/ 174730 w 316472"/>
                  <a:gd name="connsiteY8" fmla="*/ 25687 h 106176"/>
                  <a:gd name="connsiteX9" fmla="*/ 191689 w 316472"/>
                  <a:gd name="connsiteY9" fmla="*/ 30297 h 106176"/>
                  <a:gd name="connsiteX10" fmla="*/ 200745 w 316472"/>
                  <a:gd name="connsiteY10" fmla="*/ 35319 h 106176"/>
                  <a:gd name="connsiteX11" fmla="*/ 205987 w 316472"/>
                  <a:gd name="connsiteY11" fmla="*/ 41713 h 106176"/>
                  <a:gd name="connsiteX12" fmla="*/ 216553 w 316472"/>
                  <a:gd name="connsiteY12" fmla="*/ 46269 h 106176"/>
                  <a:gd name="connsiteX13" fmla="*/ 217156 w 316472"/>
                  <a:gd name="connsiteY13" fmla="*/ 45363 h 106176"/>
                  <a:gd name="connsiteX14" fmla="*/ 214906 w 316472"/>
                  <a:gd name="connsiteY14" fmla="*/ 42701 h 106176"/>
                  <a:gd name="connsiteX15" fmla="*/ 215043 w 316472"/>
                  <a:gd name="connsiteY15" fmla="*/ 41192 h 106176"/>
                  <a:gd name="connsiteX16" fmla="*/ 216662 w 316472"/>
                  <a:gd name="connsiteY16" fmla="*/ 41384 h 106176"/>
                  <a:gd name="connsiteX17" fmla="*/ 234692 w 316472"/>
                  <a:gd name="connsiteY17" fmla="*/ 55297 h 106176"/>
                  <a:gd name="connsiteX18" fmla="*/ 244956 w 316472"/>
                  <a:gd name="connsiteY18" fmla="*/ 60704 h 106176"/>
                  <a:gd name="connsiteX19" fmla="*/ 251762 w 316472"/>
                  <a:gd name="connsiteY19" fmla="*/ 61554 h 106176"/>
                  <a:gd name="connsiteX20" fmla="*/ 260379 w 316472"/>
                  <a:gd name="connsiteY20" fmla="*/ 66604 h 106176"/>
                  <a:gd name="connsiteX21" fmla="*/ 270313 w 316472"/>
                  <a:gd name="connsiteY21" fmla="*/ 66165 h 106176"/>
                  <a:gd name="connsiteX22" fmla="*/ 274238 w 316472"/>
                  <a:gd name="connsiteY22" fmla="*/ 70034 h 106176"/>
                  <a:gd name="connsiteX23" fmla="*/ 272564 w 316472"/>
                  <a:gd name="connsiteY23" fmla="*/ 74700 h 106176"/>
                  <a:gd name="connsiteX24" fmla="*/ 269106 w 316472"/>
                  <a:gd name="connsiteY24" fmla="*/ 76044 h 106176"/>
                  <a:gd name="connsiteX25" fmla="*/ 268886 w 316472"/>
                  <a:gd name="connsiteY25" fmla="*/ 77993 h 106176"/>
                  <a:gd name="connsiteX26" fmla="*/ 270066 w 316472"/>
                  <a:gd name="connsiteY26" fmla="*/ 79228 h 106176"/>
                  <a:gd name="connsiteX27" fmla="*/ 273991 w 316472"/>
                  <a:gd name="connsiteY27" fmla="*/ 77389 h 106176"/>
                  <a:gd name="connsiteX28" fmla="*/ 273991 w 316472"/>
                  <a:gd name="connsiteY28" fmla="*/ 78761 h 106176"/>
                  <a:gd name="connsiteX29" fmla="*/ 276104 w 316472"/>
                  <a:gd name="connsiteY29" fmla="*/ 79008 h 106176"/>
                  <a:gd name="connsiteX30" fmla="*/ 275665 w 316472"/>
                  <a:gd name="connsiteY30" fmla="*/ 76264 h 106176"/>
                  <a:gd name="connsiteX31" fmla="*/ 282086 w 316472"/>
                  <a:gd name="connsiteY31" fmla="*/ 79886 h 106176"/>
                  <a:gd name="connsiteX32" fmla="*/ 293942 w 316472"/>
                  <a:gd name="connsiteY32" fmla="*/ 79639 h 106176"/>
                  <a:gd name="connsiteX33" fmla="*/ 298854 w 316472"/>
                  <a:gd name="connsiteY33" fmla="*/ 82164 h 106176"/>
                  <a:gd name="connsiteX34" fmla="*/ 306950 w 316472"/>
                  <a:gd name="connsiteY34" fmla="*/ 90452 h 106176"/>
                  <a:gd name="connsiteX35" fmla="*/ 314606 w 316472"/>
                  <a:gd name="connsiteY35" fmla="*/ 91769 h 106176"/>
                  <a:gd name="connsiteX36" fmla="*/ 316472 w 316472"/>
                  <a:gd name="connsiteY36" fmla="*/ 94623 h 106176"/>
                  <a:gd name="connsiteX37" fmla="*/ 312740 w 316472"/>
                  <a:gd name="connsiteY37" fmla="*/ 98712 h 106176"/>
                  <a:gd name="connsiteX38" fmla="*/ 296796 w 316472"/>
                  <a:gd name="connsiteY38" fmla="*/ 100304 h 106176"/>
                  <a:gd name="connsiteX39" fmla="*/ 290155 w 316472"/>
                  <a:gd name="connsiteY39" fmla="*/ 104118 h 106176"/>
                  <a:gd name="connsiteX40" fmla="*/ 287548 w 316472"/>
                  <a:gd name="connsiteY40" fmla="*/ 102582 h 106176"/>
                  <a:gd name="connsiteX41" fmla="*/ 283102 w 316472"/>
                  <a:gd name="connsiteY41" fmla="*/ 104722 h 106176"/>
                  <a:gd name="connsiteX42" fmla="*/ 273963 w 316472"/>
                  <a:gd name="connsiteY42" fmla="*/ 104475 h 106176"/>
                  <a:gd name="connsiteX43" fmla="*/ 268008 w 316472"/>
                  <a:gd name="connsiteY43" fmla="*/ 102472 h 106176"/>
                  <a:gd name="connsiteX44" fmla="*/ 254726 w 316472"/>
                  <a:gd name="connsiteY44" fmla="*/ 101649 h 106176"/>
                  <a:gd name="connsiteX45" fmla="*/ 212820 w 316472"/>
                  <a:gd name="connsiteY45" fmla="*/ 106177 h 106176"/>
                  <a:gd name="connsiteX46" fmla="*/ 211723 w 316472"/>
                  <a:gd name="connsiteY46" fmla="*/ 104530 h 106176"/>
                  <a:gd name="connsiteX47" fmla="*/ 214604 w 316472"/>
                  <a:gd name="connsiteY47" fmla="*/ 100496 h 106176"/>
                  <a:gd name="connsiteX48" fmla="*/ 228216 w 316472"/>
                  <a:gd name="connsiteY48" fmla="*/ 91220 h 106176"/>
                  <a:gd name="connsiteX49" fmla="*/ 229753 w 316472"/>
                  <a:gd name="connsiteY49" fmla="*/ 86116 h 106176"/>
                  <a:gd name="connsiteX50" fmla="*/ 222617 w 316472"/>
                  <a:gd name="connsiteY50" fmla="*/ 79365 h 106176"/>
                  <a:gd name="connsiteX51" fmla="*/ 203352 w 316472"/>
                  <a:gd name="connsiteY51" fmla="*/ 79255 h 106176"/>
                  <a:gd name="connsiteX52" fmla="*/ 198522 w 316472"/>
                  <a:gd name="connsiteY52" fmla="*/ 76072 h 106176"/>
                  <a:gd name="connsiteX53" fmla="*/ 189466 w 316472"/>
                  <a:gd name="connsiteY53" fmla="*/ 68690 h 106176"/>
                  <a:gd name="connsiteX54" fmla="*/ 184664 w 316472"/>
                  <a:gd name="connsiteY54" fmla="*/ 53733 h 106176"/>
                  <a:gd name="connsiteX55" fmla="*/ 180547 w 316472"/>
                  <a:gd name="connsiteY55" fmla="*/ 50385 h 106176"/>
                  <a:gd name="connsiteX56" fmla="*/ 174757 w 316472"/>
                  <a:gd name="connsiteY56" fmla="*/ 50989 h 106176"/>
                  <a:gd name="connsiteX57" fmla="*/ 167567 w 316472"/>
                  <a:gd name="connsiteY57" fmla="*/ 52443 h 106176"/>
                  <a:gd name="connsiteX58" fmla="*/ 149290 w 316472"/>
                  <a:gd name="connsiteY58" fmla="*/ 48107 h 106176"/>
                  <a:gd name="connsiteX59" fmla="*/ 137023 w 316472"/>
                  <a:gd name="connsiteY59" fmla="*/ 41933 h 106176"/>
                  <a:gd name="connsiteX60" fmla="*/ 131397 w 316472"/>
                  <a:gd name="connsiteY60" fmla="*/ 37075 h 106176"/>
                  <a:gd name="connsiteX61" fmla="*/ 119185 w 316472"/>
                  <a:gd name="connsiteY61" fmla="*/ 36911 h 106176"/>
                  <a:gd name="connsiteX62" fmla="*/ 113202 w 316472"/>
                  <a:gd name="connsiteY62" fmla="*/ 35785 h 106176"/>
                  <a:gd name="connsiteX63" fmla="*/ 111720 w 316472"/>
                  <a:gd name="connsiteY63" fmla="*/ 34441 h 106176"/>
                  <a:gd name="connsiteX64" fmla="*/ 110952 w 316472"/>
                  <a:gd name="connsiteY64" fmla="*/ 31203 h 106176"/>
                  <a:gd name="connsiteX65" fmla="*/ 109388 w 316472"/>
                  <a:gd name="connsiteY65" fmla="*/ 31806 h 106176"/>
                  <a:gd name="connsiteX66" fmla="*/ 105271 w 316472"/>
                  <a:gd name="connsiteY66" fmla="*/ 36087 h 106176"/>
                  <a:gd name="connsiteX67" fmla="*/ 101676 w 316472"/>
                  <a:gd name="connsiteY67" fmla="*/ 32437 h 106176"/>
                  <a:gd name="connsiteX68" fmla="*/ 95008 w 316472"/>
                  <a:gd name="connsiteY68" fmla="*/ 33343 h 106176"/>
                  <a:gd name="connsiteX69" fmla="*/ 90260 w 316472"/>
                  <a:gd name="connsiteY69" fmla="*/ 31806 h 106176"/>
                  <a:gd name="connsiteX70" fmla="*/ 82878 w 316472"/>
                  <a:gd name="connsiteY70" fmla="*/ 26537 h 106176"/>
                  <a:gd name="connsiteX71" fmla="*/ 83097 w 316472"/>
                  <a:gd name="connsiteY71" fmla="*/ 25494 h 106176"/>
                  <a:gd name="connsiteX72" fmla="*/ 94761 w 316472"/>
                  <a:gd name="connsiteY72" fmla="*/ 23464 h 106176"/>
                  <a:gd name="connsiteX73" fmla="*/ 95831 w 316472"/>
                  <a:gd name="connsiteY73" fmla="*/ 20884 h 106176"/>
                  <a:gd name="connsiteX74" fmla="*/ 93553 w 316472"/>
                  <a:gd name="connsiteY74" fmla="*/ 18469 h 106176"/>
                  <a:gd name="connsiteX75" fmla="*/ 89272 w 316472"/>
                  <a:gd name="connsiteY75" fmla="*/ 16905 h 106176"/>
                  <a:gd name="connsiteX76" fmla="*/ 63009 w 316472"/>
                  <a:gd name="connsiteY76" fmla="*/ 16273 h 106176"/>
                  <a:gd name="connsiteX77" fmla="*/ 45857 w 316472"/>
                  <a:gd name="connsiteY77" fmla="*/ 31532 h 106176"/>
                  <a:gd name="connsiteX78" fmla="*/ 42207 w 316472"/>
                  <a:gd name="connsiteY78" fmla="*/ 32794 h 106176"/>
                  <a:gd name="connsiteX79" fmla="*/ 38722 w 316472"/>
                  <a:gd name="connsiteY79" fmla="*/ 31532 h 106176"/>
                  <a:gd name="connsiteX80" fmla="*/ 29391 w 316472"/>
                  <a:gd name="connsiteY80" fmla="*/ 33343 h 106176"/>
                  <a:gd name="connsiteX81" fmla="*/ 26043 w 316472"/>
                  <a:gd name="connsiteY81" fmla="*/ 40423 h 106176"/>
                  <a:gd name="connsiteX82" fmla="*/ 19622 w 316472"/>
                  <a:gd name="connsiteY82" fmla="*/ 41686 h 106176"/>
                  <a:gd name="connsiteX83" fmla="*/ 13694 w 316472"/>
                  <a:gd name="connsiteY83" fmla="*/ 45528 h 106176"/>
                  <a:gd name="connsiteX84" fmla="*/ 12267 w 316472"/>
                  <a:gd name="connsiteY84" fmla="*/ 45308 h 106176"/>
                  <a:gd name="connsiteX85" fmla="*/ 13008 w 316472"/>
                  <a:gd name="connsiteY85" fmla="*/ 42125 h 106176"/>
                  <a:gd name="connsiteX86" fmla="*/ 11581 w 316472"/>
                  <a:gd name="connsiteY86" fmla="*/ 40780 h 106176"/>
                  <a:gd name="connsiteX87" fmla="*/ 1756 w 316472"/>
                  <a:gd name="connsiteY87" fmla="*/ 43991 h 106176"/>
                  <a:gd name="connsiteX88" fmla="*/ 0 w 316472"/>
                  <a:gd name="connsiteY88" fmla="*/ 42399 h 106176"/>
                  <a:gd name="connsiteX89" fmla="*/ 4775 w 316472"/>
                  <a:gd name="connsiteY89" fmla="*/ 40533 h 106176"/>
                  <a:gd name="connsiteX90" fmla="*/ 11114 w 316472"/>
                  <a:gd name="connsiteY90" fmla="*/ 37487 h 106176"/>
                  <a:gd name="connsiteX91" fmla="*/ 17069 w 316472"/>
                  <a:gd name="connsiteY91" fmla="*/ 37816 h 106176"/>
                  <a:gd name="connsiteX92" fmla="*/ 14353 w 316472"/>
                  <a:gd name="connsiteY92" fmla="*/ 31532 h 106176"/>
                  <a:gd name="connsiteX93" fmla="*/ 17701 w 316472"/>
                  <a:gd name="connsiteY93" fmla="*/ 24589 h 106176"/>
                  <a:gd name="connsiteX94" fmla="*/ 25055 w 316472"/>
                  <a:gd name="connsiteY94" fmla="*/ 17399 h 106176"/>
                  <a:gd name="connsiteX95" fmla="*/ 49013 w 316472"/>
                  <a:gd name="connsiteY95" fmla="*/ 7190 h 106176"/>
                  <a:gd name="connsiteX96" fmla="*/ 62982 w 316472"/>
                  <a:gd name="connsiteY96" fmla="*/ 5708 h 106176"/>
                  <a:gd name="connsiteX97" fmla="*/ 82192 w 316472"/>
                  <a:gd name="connsiteY97" fmla="*/ 604 h 106176"/>
                  <a:gd name="connsiteX98" fmla="*/ 97148 w 316472"/>
                  <a:gd name="connsiteY98" fmla="*/ 1756 h 106176"/>
                  <a:gd name="connsiteX99" fmla="*/ 99975 w 316472"/>
                  <a:gd name="connsiteY99" fmla="*/ 4116 h 106176"/>
                  <a:gd name="connsiteX100" fmla="*/ 106287 w 316472"/>
                  <a:gd name="connsiteY100" fmla="*/ 2579 h 106176"/>
                  <a:gd name="connsiteX101" fmla="*/ 110787 w 316472"/>
                  <a:gd name="connsiteY101" fmla="*/ 5351 h 106176"/>
                  <a:gd name="connsiteX102" fmla="*/ 114135 w 316472"/>
                  <a:gd name="connsiteY102" fmla="*/ 3595 h 106176"/>
                  <a:gd name="connsiteX103" fmla="*/ 118828 w 316472"/>
                  <a:gd name="connsiteY103" fmla="*/ 4144 h 106176"/>
                  <a:gd name="connsiteX104" fmla="*/ 118389 w 316472"/>
                  <a:gd name="connsiteY104" fmla="*/ 0 h 106176"/>
                  <a:gd name="connsiteX105" fmla="*/ 120475 w 316472"/>
                  <a:gd name="connsiteY105" fmla="*/ 274 h 106176"/>
                  <a:gd name="connsiteX106" fmla="*/ 121435 w 316472"/>
                  <a:gd name="connsiteY106" fmla="*/ 2031 h 10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316472" h="106176">
                    <a:moveTo>
                      <a:pt x="121518" y="1976"/>
                    </a:moveTo>
                    <a:lnTo>
                      <a:pt x="120941" y="3979"/>
                    </a:lnTo>
                    <a:lnTo>
                      <a:pt x="125360" y="3622"/>
                    </a:lnTo>
                    <a:lnTo>
                      <a:pt x="130107" y="7163"/>
                    </a:lnTo>
                    <a:lnTo>
                      <a:pt x="136666" y="9001"/>
                    </a:lnTo>
                    <a:lnTo>
                      <a:pt x="143445" y="8342"/>
                    </a:lnTo>
                    <a:lnTo>
                      <a:pt x="154586" y="14545"/>
                    </a:lnTo>
                    <a:lnTo>
                      <a:pt x="163697" y="24726"/>
                    </a:lnTo>
                    <a:lnTo>
                      <a:pt x="174730" y="25687"/>
                    </a:lnTo>
                    <a:lnTo>
                      <a:pt x="191689" y="30297"/>
                    </a:lnTo>
                    <a:lnTo>
                      <a:pt x="200745" y="35319"/>
                    </a:lnTo>
                    <a:lnTo>
                      <a:pt x="205987" y="41713"/>
                    </a:lnTo>
                    <a:lnTo>
                      <a:pt x="216553" y="46269"/>
                    </a:lnTo>
                    <a:lnTo>
                      <a:pt x="217156" y="45363"/>
                    </a:lnTo>
                    <a:lnTo>
                      <a:pt x="214906" y="42701"/>
                    </a:lnTo>
                    <a:lnTo>
                      <a:pt x="215043" y="41192"/>
                    </a:lnTo>
                    <a:lnTo>
                      <a:pt x="216662" y="41384"/>
                    </a:lnTo>
                    <a:lnTo>
                      <a:pt x="234692" y="55297"/>
                    </a:lnTo>
                    <a:lnTo>
                      <a:pt x="244956" y="60704"/>
                    </a:lnTo>
                    <a:lnTo>
                      <a:pt x="251762" y="61554"/>
                    </a:lnTo>
                    <a:lnTo>
                      <a:pt x="260379" y="66604"/>
                    </a:lnTo>
                    <a:lnTo>
                      <a:pt x="270313" y="66165"/>
                    </a:lnTo>
                    <a:lnTo>
                      <a:pt x="274238" y="70034"/>
                    </a:lnTo>
                    <a:lnTo>
                      <a:pt x="272564" y="74700"/>
                    </a:lnTo>
                    <a:lnTo>
                      <a:pt x="269106" y="76044"/>
                    </a:lnTo>
                    <a:lnTo>
                      <a:pt x="268886" y="77993"/>
                    </a:lnTo>
                    <a:lnTo>
                      <a:pt x="270066" y="79228"/>
                    </a:lnTo>
                    <a:lnTo>
                      <a:pt x="273991" y="77389"/>
                    </a:lnTo>
                    <a:lnTo>
                      <a:pt x="273991" y="78761"/>
                    </a:lnTo>
                    <a:lnTo>
                      <a:pt x="276104" y="79008"/>
                    </a:lnTo>
                    <a:lnTo>
                      <a:pt x="275665" y="76264"/>
                    </a:lnTo>
                    <a:lnTo>
                      <a:pt x="282086" y="79886"/>
                    </a:lnTo>
                    <a:lnTo>
                      <a:pt x="293942" y="79639"/>
                    </a:lnTo>
                    <a:lnTo>
                      <a:pt x="298854" y="82164"/>
                    </a:lnTo>
                    <a:lnTo>
                      <a:pt x="306950" y="90452"/>
                    </a:lnTo>
                    <a:lnTo>
                      <a:pt x="314606" y="91769"/>
                    </a:lnTo>
                    <a:lnTo>
                      <a:pt x="316472" y="94623"/>
                    </a:lnTo>
                    <a:lnTo>
                      <a:pt x="312740" y="98712"/>
                    </a:lnTo>
                    <a:lnTo>
                      <a:pt x="296796" y="100304"/>
                    </a:lnTo>
                    <a:lnTo>
                      <a:pt x="290155" y="104118"/>
                    </a:lnTo>
                    <a:lnTo>
                      <a:pt x="287548" y="102582"/>
                    </a:lnTo>
                    <a:lnTo>
                      <a:pt x="283102" y="104722"/>
                    </a:lnTo>
                    <a:lnTo>
                      <a:pt x="273963" y="104475"/>
                    </a:lnTo>
                    <a:lnTo>
                      <a:pt x="268008" y="102472"/>
                    </a:lnTo>
                    <a:lnTo>
                      <a:pt x="254726" y="101649"/>
                    </a:lnTo>
                    <a:lnTo>
                      <a:pt x="212820" y="106177"/>
                    </a:lnTo>
                    <a:lnTo>
                      <a:pt x="211723" y="104530"/>
                    </a:lnTo>
                    <a:lnTo>
                      <a:pt x="214604" y="100496"/>
                    </a:lnTo>
                    <a:lnTo>
                      <a:pt x="228216" y="91220"/>
                    </a:lnTo>
                    <a:lnTo>
                      <a:pt x="229753" y="86116"/>
                    </a:lnTo>
                    <a:lnTo>
                      <a:pt x="222617" y="79365"/>
                    </a:lnTo>
                    <a:lnTo>
                      <a:pt x="203352" y="79255"/>
                    </a:lnTo>
                    <a:lnTo>
                      <a:pt x="198522" y="76072"/>
                    </a:lnTo>
                    <a:lnTo>
                      <a:pt x="189466" y="68690"/>
                    </a:lnTo>
                    <a:lnTo>
                      <a:pt x="184664" y="53733"/>
                    </a:lnTo>
                    <a:lnTo>
                      <a:pt x="180547" y="50385"/>
                    </a:lnTo>
                    <a:lnTo>
                      <a:pt x="174757" y="50989"/>
                    </a:lnTo>
                    <a:lnTo>
                      <a:pt x="167567" y="52443"/>
                    </a:lnTo>
                    <a:lnTo>
                      <a:pt x="149290" y="48107"/>
                    </a:lnTo>
                    <a:lnTo>
                      <a:pt x="137023" y="41933"/>
                    </a:lnTo>
                    <a:lnTo>
                      <a:pt x="131397" y="37075"/>
                    </a:lnTo>
                    <a:lnTo>
                      <a:pt x="119185" y="36911"/>
                    </a:lnTo>
                    <a:lnTo>
                      <a:pt x="113202" y="35785"/>
                    </a:lnTo>
                    <a:lnTo>
                      <a:pt x="111720" y="34441"/>
                    </a:lnTo>
                    <a:lnTo>
                      <a:pt x="110952" y="31203"/>
                    </a:lnTo>
                    <a:lnTo>
                      <a:pt x="109388" y="31806"/>
                    </a:lnTo>
                    <a:lnTo>
                      <a:pt x="105271" y="36087"/>
                    </a:lnTo>
                    <a:lnTo>
                      <a:pt x="101676" y="32437"/>
                    </a:lnTo>
                    <a:lnTo>
                      <a:pt x="95008" y="33343"/>
                    </a:lnTo>
                    <a:lnTo>
                      <a:pt x="90260" y="31806"/>
                    </a:lnTo>
                    <a:lnTo>
                      <a:pt x="82878" y="26537"/>
                    </a:lnTo>
                    <a:lnTo>
                      <a:pt x="83097" y="25494"/>
                    </a:lnTo>
                    <a:lnTo>
                      <a:pt x="94761" y="23464"/>
                    </a:lnTo>
                    <a:lnTo>
                      <a:pt x="95831" y="20884"/>
                    </a:lnTo>
                    <a:lnTo>
                      <a:pt x="93553" y="18469"/>
                    </a:lnTo>
                    <a:lnTo>
                      <a:pt x="89272" y="16905"/>
                    </a:lnTo>
                    <a:lnTo>
                      <a:pt x="63009" y="16273"/>
                    </a:lnTo>
                    <a:lnTo>
                      <a:pt x="45857" y="31532"/>
                    </a:lnTo>
                    <a:lnTo>
                      <a:pt x="42207" y="32794"/>
                    </a:lnTo>
                    <a:lnTo>
                      <a:pt x="38722" y="31532"/>
                    </a:lnTo>
                    <a:lnTo>
                      <a:pt x="29391" y="33343"/>
                    </a:lnTo>
                    <a:lnTo>
                      <a:pt x="26043" y="40423"/>
                    </a:lnTo>
                    <a:lnTo>
                      <a:pt x="19622" y="41686"/>
                    </a:lnTo>
                    <a:lnTo>
                      <a:pt x="13694" y="45528"/>
                    </a:lnTo>
                    <a:lnTo>
                      <a:pt x="12267" y="45308"/>
                    </a:lnTo>
                    <a:lnTo>
                      <a:pt x="13008" y="42125"/>
                    </a:lnTo>
                    <a:lnTo>
                      <a:pt x="11581" y="40780"/>
                    </a:lnTo>
                    <a:lnTo>
                      <a:pt x="1756" y="43991"/>
                    </a:lnTo>
                    <a:lnTo>
                      <a:pt x="0" y="42399"/>
                    </a:lnTo>
                    <a:lnTo>
                      <a:pt x="4775" y="40533"/>
                    </a:lnTo>
                    <a:lnTo>
                      <a:pt x="11114" y="37487"/>
                    </a:lnTo>
                    <a:lnTo>
                      <a:pt x="17069" y="37816"/>
                    </a:lnTo>
                    <a:lnTo>
                      <a:pt x="14353" y="31532"/>
                    </a:lnTo>
                    <a:lnTo>
                      <a:pt x="17701" y="24589"/>
                    </a:lnTo>
                    <a:lnTo>
                      <a:pt x="25055" y="17399"/>
                    </a:lnTo>
                    <a:lnTo>
                      <a:pt x="49013" y="7190"/>
                    </a:lnTo>
                    <a:lnTo>
                      <a:pt x="62982" y="5708"/>
                    </a:lnTo>
                    <a:lnTo>
                      <a:pt x="82192" y="604"/>
                    </a:lnTo>
                    <a:lnTo>
                      <a:pt x="97148" y="1756"/>
                    </a:lnTo>
                    <a:lnTo>
                      <a:pt x="99975" y="4116"/>
                    </a:lnTo>
                    <a:lnTo>
                      <a:pt x="106287" y="2579"/>
                    </a:lnTo>
                    <a:lnTo>
                      <a:pt x="110787" y="5351"/>
                    </a:lnTo>
                    <a:lnTo>
                      <a:pt x="114135" y="3595"/>
                    </a:lnTo>
                    <a:lnTo>
                      <a:pt x="118828" y="4144"/>
                    </a:lnTo>
                    <a:lnTo>
                      <a:pt x="118389" y="0"/>
                    </a:lnTo>
                    <a:lnTo>
                      <a:pt x="120475" y="274"/>
                    </a:lnTo>
                    <a:lnTo>
                      <a:pt x="121435"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1" name="Freeform: Shape 3200">
                <a:extLst>
                  <a:ext uri="{FF2B5EF4-FFF2-40B4-BE49-F238E27FC236}">
                    <a16:creationId xmlns:a16="http://schemas.microsoft.com/office/drawing/2014/main" id="{406B6CD6-492A-BF8F-C012-B8363151635F}"/>
                  </a:ext>
                </a:extLst>
              </p:cNvPr>
              <p:cNvSpPr/>
              <p:nvPr/>
            </p:nvSpPr>
            <p:spPr>
              <a:xfrm>
                <a:off x="1110398" y="3775503"/>
                <a:ext cx="1786" cy="1514"/>
              </a:xfrm>
              <a:custGeom>
                <a:avLst/>
                <a:gdLst>
                  <a:gd name="connsiteX0" fmla="*/ 10373 w 17124"/>
                  <a:gd name="connsiteY0" fmla="*/ 14517 h 14517"/>
                  <a:gd name="connsiteX1" fmla="*/ 2662 w 17124"/>
                  <a:gd name="connsiteY1" fmla="*/ 14517 h 14517"/>
                  <a:gd name="connsiteX2" fmla="*/ 0 w 17124"/>
                  <a:gd name="connsiteY2" fmla="*/ 11608 h 14517"/>
                  <a:gd name="connsiteX3" fmla="*/ 3760 w 17124"/>
                  <a:gd name="connsiteY3" fmla="*/ 10758 h 14517"/>
                  <a:gd name="connsiteX4" fmla="*/ 1509 w 17124"/>
                  <a:gd name="connsiteY4" fmla="*/ 4007 h 14517"/>
                  <a:gd name="connsiteX5" fmla="*/ 4308 w 17124"/>
                  <a:gd name="connsiteY5" fmla="*/ 0 h 14517"/>
                  <a:gd name="connsiteX6" fmla="*/ 10373 w 17124"/>
                  <a:gd name="connsiteY6" fmla="*/ 604 h 14517"/>
                  <a:gd name="connsiteX7" fmla="*/ 17124 w 17124"/>
                  <a:gd name="connsiteY7" fmla="*/ 6367 h 14517"/>
                  <a:gd name="connsiteX8" fmla="*/ 16575 w 17124"/>
                  <a:gd name="connsiteY8" fmla="*/ 11389 h 14517"/>
                  <a:gd name="connsiteX9" fmla="*/ 10346 w 17124"/>
                  <a:gd name="connsiteY9" fmla="*/ 14517 h 14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24" h="14517">
                    <a:moveTo>
                      <a:pt x="10373" y="14517"/>
                    </a:moveTo>
                    <a:lnTo>
                      <a:pt x="2662" y="14517"/>
                    </a:lnTo>
                    <a:lnTo>
                      <a:pt x="0" y="11608"/>
                    </a:lnTo>
                    <a:lnTo>
                      <a:pt x="3760" y="10758"/>
                    </a:lnTo>
                    <a:lnTo>
                      <a:pt x="1509" y="4007"/>
                    </a:lnTo>
                    <a:lnTo>
                      <a:pt x="4308" y="0"/>
                    </a:lnTo>
                    <a:lnTo>
                      <a:pt x="10373" y="604"/>
                    </a:lnTo>
                    <a:lnTo>
                      <a:pt x="17124" y="6367"/>
                    </a:lnTo>
                    <a:lnTo>
                      <a:pt x="16575" y="11389"/>
                    </a:lnTo>
                    <a:lnTo>
                      <a:pt x="10346" y="145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2" name="Freeform: Shape 3201">
                <a:extLst>
                  <a:ext uri="{FF2B5EF4-FFF2-40B4-BE49-F238E27FC236}">
                    <a16:creationId xmlns:a16="http://schemas.microsoft.com/office/drawing/2014/main" id="{526BF07A-93D5-541E-DDA3-2069AEC214EC}"/>
                  </a:ext>
                </a:extLst>
              </p:cNvPr>
              <p:cNvSpPr/>
              <p:nvPr/>
            </p:nvSpPr>
            <p:spPr>
              <a:xfrm>
                <a:off x="1123934" y="3773242"/>
                <a:ext cx="1952" cy="1065"/>
              </a:xfrm>
              <a:custGeom>
                <a:avLst/>
                <a:gdLst>
                  <a:gd name="connsiteX0" fmla="*/ 3979 w 18716"/>
                  <a:gd name="connsiteY0" fmla="*/ 2333 h 10208"/>
                  <a:gd name="connsiteX1" fmla="*/ 7135 w 18716"/>
                  <a:gd name="connsiteY1" fmla="*/ 2552 h 10208"/>
                  <a:gd name="connsiteX2" fmla="*/ 9797 w 18716"/>
                  <a:gd name="connsiteY2" fmla="*/ 1811 h 10208"/>
                  <a:gd name="connsiteX3" fmla="*/ 13008 w 18716"/>
                  <a:gd name="connsiteY3" fmla="*/ 5571 h 10208"/>
                  <a:gd name="connsiteX4" fmla="*/ 14161 w 18716"/>
                  <a:gd name="connsiteY4" fmla="*/ 5818 h 10208"/>
                  <a:gd name="connsiteX5" fmla="*/ 16466 w 18716"/>
                  <a:gd name="connsiteY5" fmla="*/ 4089 h 10208"/>
                  <a:gd name="connsiteX6" fmla="*/ 18222 w 18716"/>
                  <a:gd name="connsiteY6" fmla="*/ 5626 h 10208"/>
                  <a:gd name="connsiteX7" fmla="*/ 18716 w 18716"/>
                  <a:gd name="connsiteY7" fmla="*/ 9660 h 10208"/>
                  <a:gd name="connsiteX8" fmla="*/ 16987 w 18716"/>
                  <a:gd name="connsiteY8" fmla="*/ 10209 h 10208"/>
                  <a:gd name="connsiteX9" fmla="*/ 14380 w 18716"/>
                  <a:gd name="connsiteY9" fmla="*/ 9605 h 10208"/>
                  <a:gd name="connsiteX10" fmla="*/ 11032 w 18716"/>
                  <a:gd name="connsiteY10" fmla="*/ 5845 h 10208"/>
                  <a:gd name="connsiteX11" fmla="*/ 8425 w 18716"/>
                  <a:gd name="connsiteY11" fmla="*/ 6312 h 10208"/>
                  <a:gd name="connsiteX12" fmla="*/ 4473 w 18716"/>
                  <a:gd name="connsiteY12" fmla="*/ 4528 h 10208"/>
                  <a:gd name="connsiteX13" fmla="*/ 192 w 18716"/>
                  <a:gd name="connsiteY13" fmla="*/ 3568 h 10208"/>
                  <a:gd name="connsiteX14" fmla="*/ 0 w 18716"/>
                  <a:gd name="connsiteY14" fmla="*/ 1235 h 10208"/>
                  <a:gd name="connsiteX15" fmla="*/ 1290 w 18716"/>
                  <a:gd name="connsiteY15" fmla="*/ 0 h 10208"/>
                  <a:gd name="connsiteX16" fmla="*/ 3979 w 18716"/>
                  <a:gd name="connsiteY16" fmla="*/ 2360 h 1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16" h="10208">
                    <a:moveTo>
                      <a:pt x="3979" y="2333"/>
                    </a:moveTo>
                    <a:lnTo>
                      <a:pt x="7135" y="2552"/>
                    </a:lnTo>
                    <a:lnTo>
                      <a:pt x="9797" y="1811"/>
                    </a:lnTo>
                    <a:lnTo>
                      <a:pt x="13008" y="5571"/>
                    </a:lnTo>
                    <a:lnTo>
                      <a:pt x="14161" y="5818"/>
                    </a:lnTo>
                    <a:lnTo>
                      <a:pt x="16466" y="4089"/>
                    </a:lnTo>
                    <a:lnTo>
                      <a:pt x="18222" y="5626"/>
                    </a:lnTo>
                    <a:lnTo>
                      <a:pt x="18716" y="9660"/>
                    </a:lnTo>
                    <a:lnTo>
                      <a:pt x="16987" y="10209"/>
                    </a:lnTo>
                    <a:lnTo>
                      <a:pt x="14380" y="9605"/>
                    </a:lnTo>
                    <a:lnTo>
                      <a:pt x="11032" y="5845"/>
                    </a:lnTo>
                    <a:lnTo>
                      <a:pt x="8425" y="6312"/>
                    </a:lnTo>
                    <a:lnTo>
                      <a:pt x="4473" y="4528"/>
                    </a:lnTo>
                    <a:lnTo>
                      <a:pt x="192" y="3568"/>
                    </a:lnTo>
                    <a:lnTo>
                      <a:pt x="0" y="1235"/>
                    </a:lnTo>
                    <a:lnTo>
                      <a:pt x="1290" y="0"/>
                    </a:lnTo>
                    <a:lnTo>
                      <a:pt x="3979" y="23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3" name="Freeform: Shape 3202">
                <a:extLst>
                  <a:ext uri="{FF2B5EF4-FFF2-40B4-BE49-F238E27FC236}">
                    <a16:creationId xmlns:a16="http://schemas.microsoft.com/office/drawing/2014/main" id="{BA4EA2A9-1D99-D5CE-0D8D-E072013B3877}"/>
                  </a:ext>
                </a:extLst>
              </p:cNvPr>
              <p:cNvSpPr/>
              <p:nvPr/>
            </p:nvSpPr>
            <p:spPr>
              <a:xfrm>
                <a:off x="1125849" y="3774235"/>
                <a:ext cx="1423" cy="1211"/>
              </a:xfrm>
              <a:custGeom>
                <a:avLst/>
                <a:gdLst>
                  <a:gd name="connsiteX0" fmla="*/ 2250 w 13639"/>
                  <a:gd name="connsiteY0" fmla="*/ 0 h 11608"/>
                  <a:gd name="connsiteX1" fmla="*/ 4940 w 13639"/>
                  <a:gd name="connsiteY1" fmla="*/ 2799 h 11608"/>
                  <a:gd name="connsiteX2" fmla="*/ 5982 w 13639"/>
                  <a:gd name="connsiteY2" fmla="*/ 2278 h 11608"/>
                  <a:gd name="connsiteX3" fmla="*/ 7574 w 13639"/>
                  <a:gd name="connsiteY3" fmla="*/ 6477 h 11608"/>
                  <a:gd name="connsiteX4" fmla="*/ 12514 w 13639"/>
                  <a:gd name="connsiteY4" fmla="*/ 7767 h 11608"/>
                  <a:gd name="connsiteX5" fmla="*/ 13639 w 13639"/>
                  <a:gd name="connsiteY5" fmla="*/ 9468 h 11608"/>
                  <a:gd name="connsiteX6" fmla="*/ 12294 w 13639"/>
                  <a:gd name="connsiteY6" fmla="*/ 11608 h 11608"/>
                  <a:gd name="connsiteX7" fmla="*/ 7684 w 13639"/>
                  <a:gd name="connsiteY7" fmla="*/ 10977 h 11608"/>
                  <a:gd name="connsiteX8" fmla="*/ 7218 w 13639"/>
                  <a:gd name="connsiteY8" fmla="*/ 9468 h 11608"/>
                  <a:gd name="connsiteX9" fmla="*/ 4446 w 13639"/>
                  <a:gd name="connsiteY9" fmla="*/ 8453 h 11608"/>
                  <a:gd name="connsiteX10" fmla="*/ 3924 w 13639"/>
                  <a:gd name="connsiteY10" fmla="*/ 6147 h 11608"/>
                  <a:gd name="connsiteX11" fmla="*/ 2278 w 13639"/>
                  <a:gd name="connsiteY11" fmla="*/ 5681 h 11608"/>
                  <a:gd name="connsiteX12" fmla="*/ 0 w 13639"/>
                  <a:gd name="connsiteY12" fmla="*/ 3513 h 11608"/>
                  <a:gd name="connsiteX13" fmla="*/ 1290 w 13639"/>
                  <a:gd name="connsiteY13" fmla="*/ 3156 h 11608"/>
                  <a:gd name="connsiteX14" fmla="*/ 933 w 13639"/>
                  <a:gd name="connsiteY14" fmla="*/ 1317 h 11608"/>
                  <a:gd name="connsiteX15" fmla="*/ 2223 w 13639"/>
                  <a:gd name="connsiteY15" fmla="*/ 27 h 11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39" h="11608">
                    <a:moveTo>
                      <a:pt x="2250" y="0"/>
                    </a:moveTo>
                    <a:lnTo>
                      <a:pt x="4940" y="2799"/>
                    </a:lnTo>
                    <a:lnTo>
                      <a:pt x="5982" y="2278"/>
                    </a:lnTo>
                    <a:lnTo>
                      <a:pt x="7574" y="6477"/>
                    </a:lnTo>
                    <a:lnTo>
                      <a:pt x="12514" y="7767"/>
                    </a:lnTo>
                    <a:lnTo>
                      <a:pt x="13639" y="9468"/>
                    </a:lnTo>
                    <a:lnTo>
                      <a:pt x="12294" y="11608"/>
                    </a:lnTo>
                    <a:lnTo>
                      <a:pt x="7684" y="10977"/>
                    </a:lnTo>
                    <a:lnTo>
                      <a:pt x="7218" y="9468"/>
                    </a:lnTo>
                    <a:lnTo>
                      <a:pt x="4446" y="8453"/>
                    </a:lnTo>
                    <a:lnTo>
                      <a:pt x="3924" y="6147"/>
                    </a:lnTo>
                    <a:lnTo>
                      <a:pt x="2278" y="5681"/>
                    </a:lnTo>
                    <a:lnTo>
                      <a:pt x="0" y="3513"/>
                    </a:lnTo>
                    <a:lnTo>
                      <a:pt x="1290" y="3156"/>
                    </a:lnTo>
                    <a:lnTo>
                      <a:pt x="933" y="1317"/>
                    </a:lnTo>
                    <a:lnTo>
                      <a:pt x="2223"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4" name="Freeform: Shape 3203">
                <a:extLst>
                  <a:ext uri="{FF2B5EF4-FFF2-40B4-BE49-F238E27FC236}">
                    <a16:creationId xmlns:a16="http://schemas.microsoft.com/office/drawing/2014/main" id="{80ABCEAE-BD8D-24B0-8B7C-4AE06A568869}"/>
                  </a:ext>
                </a:extLst>
              </p:cNvPr>
              <p:cNvSpPr/>
              <p:nvPr/>
            </p:nvSpPr>
            <p:spPr>
              <a:xfrm>
                <a:off x="1122234" y="3773099"/>
                <a:ext cx="509" cy="424"/>
              </a:xfrm>
              <a:custGeom>
                <a:avLst/>
                <a:gdLst>
                  <a:gd name="connsiteX0" fmla="*/ 4062 w 4884"/>
                  <a:gd name="connsiteY0" fmla="*/ 3458 h 4061"/>
                  <a:gd name="connsiteX1" fmla="*/ 1866 w 4884"/>
                  <a:gd name="connsiteY1" fmla="*/ 4062 h 4061"/>
                  <a:gd name="connsiteX2" fmla="*/ 0 w 4884"/>
                  <a:gd name="connsiteY2" fmla="*/ 2058 h 4061"/>
                  <a:gd name="connsiteX3" fmla="*/ 1043 w 4884"/>
                  <a:gd name="connsiteY3" fmla="*/ 82 h 4061"/>
                  <a:gd name="connsiteX4" fmla="*/ 4885 w 4884"/>
                  <a:gd name="connsiteY4" fmla="*/ 0 h 4061"/>
                  <a:gd name="connsiteX5" fmla="*/ 4089 w 4884"/>
                  <a:gd name="connsiteY5" fmla="*/ 3485 h 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4" h="4061">
                    <a:moveTo>
                      <a:pt x="4062" y="3458"/>
                    </a:moveTo>
                    <a:lnTo>
                      <a:pt x="1866" y="4062"/>
                    </a:lnTo>
                    <a:lnTo>
                      <a:pt x="0" y="2058"/>
                    </a:lnTo>
                    <a:lnTo>
                      <a:pt x="1043" y="82"/>
                    </a:lnTo>
                    <a:lnTo>
                      <a:pt x="4885" y="0"/>
                    </a:lnTo>
                    <a:lnTo>
                      <a:pt x="4089"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5" name="Freeform: Shape 3204">
                <a:extLst>
                  <a:ext uri="{FF2B5EF4-FFF2-40B4-BE49-F238E27FC236}">
                    <a16:creationId xmlns:a16="http://schemas.microsoft.com/office/drawing/2014/main" id="{19F5BA5D-F456-3A9D-0F69-C550DCF89CB1}"/>
                  </a:ext>
                </a:extLst>
              </p:cNvPr>
              <p:cNvSpPr/>
              <p:nvPr/>
            </p:nvSpPr>
            <p:spPr>
              <a:xfrm>
                <a:off x="1121418" y="3772764"/>
                <a:ext cx="509" cy="418"/>
              </a:xfrm>
              <a:custGeom>
                <a:avLst/>
                <a:gdLst>
                  <a:gd name="connsiteX0" fmla="*/ 4857 w 4884"/>
                  <a:gd name="connsiteY0" fmla="*/ 3046 h 4006"/>
                  <a:gd name="connsiteX1" fmla="*/ 4034 w 4884"/>
                  <a:gd name="connsiteY1" fmla="*/ 4007 h 4006"/>
                  <a:gd name="connsiteX2" fmla="*/ 631 w 4884"/>
                  <a:gd name="connsiteY2" fmla="*/ 3458 h 4006"/>
                  <a:gd name="connsiteX3" fmla="*/ 0 w 4884"/>
                  <a:gd name="connsiteY3" fmla="*/ 384 h 4006"/>
                  <a:gd name="connsiteX4" fmla="*/ 1070 w 4884"/>
                  <a:gd name="connsiteY4" fmla="*/ 0 h 4006"/>
                  <a:gd name="connsiteX5" fmla="*/ 4885 w 4884"/>
                  <a:gd name="connsiteY5" fmla="*/ 3046 h 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4" h="4006">
                    <a:moveTo>
                      <a:pt x="4857" y="3046"/>
                    </a:moveTo>
                    <a:lnTo>
                      <a:pt x="4034" y="4007"/>
                    </a:lnTo>
                    <a:lnTo>
                      <a:pt x="631" y="3458"/>
                    </a:lnTo>
                    <a:lnTo>
                      <a:pt x="0" y="384"/>
                    </a:lnTo>
                    <a:lnTo>
                      <a:pt x="1070" y="0"/>
                    </a:lnTo>
                    <a:lnTo>
                      <a:pt x="4885"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6" name="Freeform: Shape 3205">
                <a:extLst>
                  <a:ext uri="{FF2B5EF4-FFF2-40B4-BE49-F238E27FC236}">
                    <a16:creationId xmlns:a16="http://schemas.microsoft.com/office/drawing/2014/main" id="{B67AFAB3-17FB-1A3C-7BC5-971B3607AAA9}"/>
                  </a:ext>
                </a:extLst>
              </p:cNvPr>
              <p:cNvSpPr/>
              <p:nvPr/>
            </p:nvSpPr>
            <p:spPr>
              <a:xfrm>
                <a:off x="1113423" y="3776359"/>
                <a:ext cx="538" cy="352"/>
              </a:xfrm>
              <a:custGeom>
                <a:avLst/>
                <a:gdLst>
                  <a:gd name="connsiteX0" fmla="*/ 5159 w 5159"/>
                  <a:gd name="connsiteY0" fmla="*/ 1619 h 3375"/>
                  <a:gd name="connsiteX1" fmla="*/ 384 w 5159"/>
                  <a:gd name="connsiteY1" fmla="*/ 3375 h 3375"/>
                  <a:gd name="connsiteX2" fmla="*/ 0 w 5159"/>
                  <a:gd name="connsiteY2" fmla="*/ 2470 h 3375"/>
                  <a:gd name="connsiteX3" fmla="*/ 3293 w 5159"/>
                  <a:gd name="connsiteY3" fmla="*/ 0 h 3375"/>
                  <a:gd name="connsiteX4" fmla="*/ 5132 w 5159"/>
                  <a:gd name="connsiteY4" fmla="*/ 1647 h 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9" h="3375">
                    <a:moveTo>
                      <a:pt x="5159" y="1619"/>
                    </a:moveTo>
                    <a:lnTo>
                      <a:pt x="384" y="3375"/>
                    </a:lnTo>
                    <a:lnTo>
                      <a:pt x="0" y="2470"/>
                    </a:lnTo>
                    <a:lnTo>
                      <a:pt x="3293" y="0"/>
                    </a:lnTo>
                    <a:lnTo>
                      <a:pt x="5132"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7" name="Freeform: Shape 3206">
                <a:extLst>
                  <a:ext uri="{FF2B5EF4-FFF2-40B4-BE49-F238E27FC236}">
                    <a16:creationId xmlns:a16="http://schemas.microsoft.com/office/drawing/2014/main" id="{CF65DB89-A19A-908E-A568-836B61D00E00}"/>
                  </a:ext>
                </a:extLst>
              </p:cNvPr>
              <p:cNvSpPr/>
              <p:nvPr/>
            </p:nvSpPr>
            <p:spPr>
              <a:xfrm>
                <a:off x="1120227" y="3772014"/>
                <a:ext cx="446" cy="384"/>
              </a:xfrm>
              <a:custGeom>
                <a:avLst/>
                <a:gdLst>
                  <a:gd name="connsiteX0" fmla="*/ 4253 w 4280"/>
                  <a:gd name="connsiteY0" fmla="*/ 1455 h 3677"/>
                  <a:gd name="connsiteX1" fmla="*/ 3430 w 4280"/>
                  <a:gd name="connsiteY1" fmla="*/ 3678 h 3677"/>
                  <a:gd name="connsiteX2" fmla="*/ 0 w 4280"/>
                  <a:gd name="connsiteY2" fmla="*/ 796 h 3677"/>
                  <a:gd name="connsiteX3" fmla="*/ 2579 w 4280"/>
                  <a:gd name="connsiteY3" fmla="*/ 0 h 3677"/>
                  <a:gd name="connsiteX4" fmla="*/ 4281 w 4280"/>
                  <a:gd name="connsiteY4" fmla="*/ 1455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0" h="3677">
                    <a:moveTo>
                      <a:pt x="4253" y="1455"/>
                    </a:moveTo>
                    <a:lnTo>
                      <a:pt x="3430" y="3678"/>
                    </a:lnTo>
                    <a:lnTo>
                      <a:pt x="0" y="796"/>
                    </a:lnTo>
                    <a:lnTo>
                      <a:pt x="2579" y="0"/>
                    </a:lnTo>
                    <a:lnTo>
                      <a:pt x="4281" y="14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8" name="Freeform: Shape 3207">
                <a:extLst>
                  <a:ext uri="{FF2B5EF4-FFF2-40B4-BE49-F238E27FC236}">
                    <a16:creationId xmlns:a16="http://schemas.microsoft.com/office/drawing/2014/main" id="{9655056F-B061-FE28-B8F6-DB9A337CAC9F}"/>
                  </a:ext>
                </a:extLst>
              </p:cNvPr>
              <p:cNvSpPr/>
              <p:nvPr/>
            </p:nvSpPr>
            <p:spPr>
              <a:xfrm>
                <a:off x="1123290" y="3773356"/>
                <a:ext cx="475" cy="349"/>
              </a:xfrm>
              <a:custGeom>
                <a:avLst/>
                <a:gdLst>
                  <a:gd name="connsiteX0" fmla="*/ 4556 w 4555"/>
                  <a:gd name="connsiteY0" fmla="*/ 2689 h 3347"/>
                  <a:gd name="connsiteX1" fmla="*/ 3046 w 4555"/>
                  <a:gd name="connsiteY1" fmla="*/ 3348 h 3347"/>
                  <a:gd name="connsiteX2" fmla="*/ 0 w 4555"/>
                  <a:gd name="connsiteY2" fmla="*/ 1839 h 3347"/>
                  <a:gd name="connsiteX3" fmla="*/ 3101 w 4555"/>
                  <a:gd name="connsiteY3" fmla="*/ 0 h 3347"/>
                  <a:gd name="connsiteX4" fmla="*/ 4528 w 4555"/>
                  <a:gd name="connsiteY4" fmla="*/ 2662 h 3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3347">
                    <a:moveTo>
                      <a:pt x="4556" y="2689"/>
                    </a:moveTo>
                    <a:lnTo>
                      <a:pt x="3046" y="3348"/>
                    </a:lnTo>
                    <a:lnTo>
                      <a:pt x="0" y="1839"/>
                    </a:lnTo>
                    <a:lnTo>
                      <a:pt x="3101" y="0"/>
                    </a:lnTo>
                    <a:lnTo>
                      <a:pt x="4528"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9" name="Freeform: Shape 3208">
                <a:extLst>
                  <a:ext uri="{FF2B5EF4-FFF2-40B4-BE49-F238E27FC236}">
                    <a16:creationId xmlns:a16="http://schemas.microsoft.com/office/drawing/2014/main" id="{8C60E8E7-F100-C2F7-0717-B3B15D3EDB39}"/>
                  </a:ext>
                </a:extLst>
              </p:cNvPr>
              <p:cNvSpPr/>
              <p:nvPr/>
            </p:nvSpPr>
            <p:spPr>
              <a:xfrm>
                <a:off x="1117834" y="3771155"/>
                <a:ext cx="532" cy="306"/>
              </a:xfrm>
              <a:custGeom>
                <a:avLst/>
                <a:gdLst>
                  <a:gd name="connsiteX0" fmla="*/ 5104 w 5104"/>
                  <a:gd name="connsiteY0" fmla="*/ 1427 h 2936"/>
                  <a:gd name="connsiteX1" fmla="*/ 1372 w 5104"/>
                  <a:gd name="connsiteY1" fmla="*/ 2937 h 2936"/>
                  <a:gd name="connsiteX2" fmla="*/ 0 w 5104"/>
                  <a:gd name="connsiteY2" fmla="*/ 1235 h 2936"/>
                  <a:gd name="connsiteX3" fmla="*/ 3211 w 5104"/>
                  <a:gd name="connsiteY3" fmla="*/ 0 h 2936"/>
                  <a:gd name="connsiteX4" fmla="*/ 5077 w 5104"/>
                  <a:gd name="connsiteY4" fmla="*/ 1427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4" h="2936">
                    <a:moveTo>
                      <a:pt x="5104" y="1427"/>
                    </a:moveTo>
                    <a:lnTo>
                      <a:pt x="1372" y="2937"/>
                    </a:lnTo>
                    <a:lnTo>
                      <a:pt x="0" y="1235"/>
                    </a:lnTo>
                    <a:lnTo>
                      <a:pt x="3211" y="0"/>
                    </a:lnTo>
                    <a:lnTo>
                      <a:pt x="5077"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0" name="Freeform: Shape 3209">
                <a:extLst>
                  <a:ext uri="{FF2B5EF4-FFF2-40B4-BE49-F238E27FC236}">
                    <a16:creationId xmlns:a16="http://schemas.microsoft.com/office/drawing/2014/main" id="{A26D6A55-ACA2-5CD4-2E8F-83536C888331}"/>
                  </a:ext>
                </a:extLst>
              </p:cNvPr>
              <p:cNvSpPr/>
              <p:nvPr/>
            </p:nvSpPr>
            <p:spPr>
              <a:xfrm>
                <a:off x="1121887" y="3778102"/>
                <a:ext cx="369" cy="426"/>
              </a:xfrm>
              <a:custGeom>
                <a:avLst/>
                <a:gdLst>
                  <a:gd name="connsiteX0" fmla="*/ 3540 w 3540"/>
                  <a:gd name="connsiteY0" fmla="*/ 1866 h 4088"/>
                  <a:gd name="connsiteX1" fmla="*/ 2992 w 3540"/>
                  <a:gd name="connsiteY1" fmla="*/ 4089 h 4088"/>
                  <a:gd name="connsiteX2" fmla="*/ 0 w 3540"/>
                  <a:gd name="connsiteY2" fmla="*/ 2058 h 4088"/>
                  <a:gd name="connsiteX3" fmla="*/ 741 w 3540"/>
                  <a:gd name="connsiteY3" fmla="*/ 0 h 4088"/>
                  <a:gd name="connsiteX4" fmla="*/ 3513 w 3540"/>
                  <a:gd name="connsiteY4" fmla="*/ 1866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 h="4088">
                    <a:moveTo>
                      <a:pt x="3540" y="1866"/>
                    </a:moveTo>
                    <a:lnTo>
                      <a:pt x="2992" y="4089"/>
                    </a:lnTo>
                    <a:lnTo>
                      <a:pt x="0" y="2058"/>
                    </a:lnTo>
                    <a:lnTo>
                      <a:pt x="741" y="0"/>
                    </a:lnTo>
                    <a:lnTo>
                      <a:pt x="3513" y="18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1" name="Freeform: Shape 3210">
                <a:extLst>
                  <a:ext uri="{FF2B5EF4-FFF2-40B4-BE49-F238E27FC236}">
                    <a16:creationId xmlns:a16="http://schemas.microsoft.com/office/drawing/2014/main" id="{C9E59305-960C-E83A-06C3-DAA9755FD70C}"/>
                  </a:ext>
                </a:extLst>
              </p:cNvPr>
              <p:cNvSpPr/>
              <p:nvPr/>
            </p:nvSpPr>
            <p:spPr>
              <a:xfrm>
                <a:off x="1122935" y="3773021"/>
                <a:ext cx="332" cy="426"/>
              </a:xfrm>
              <a:custGeom>
                <a:avLst/>
                <a:gdLst>
                  <a:gd name="connsiteX0" fmla="*/ 3183 w 3183"/>
                  <a:gd name="connsiteY0" fmla="*/ 3787 h 4088"/>
                  <a:gd name="connsiteX1" fmla="*/ 741 w 3183"/>
                  <a:gd name="connsiteY1" fmla="*/ 4089 h 4088"/>
                  <a:gd name="connsiteX2" fmla="*/ 0 w 3183"/>
                  <a:gd name="connsiteY2" fmla="*/ 2442 h 4088"/>
                  <a:gd name="connsiteX3" fmla="*/ 2278 w 3183"/>
                  <a:gd name="connsiteY3" fmla="*/ 0 h 4088"/>
                  <a:gd name="connsiteX4" fmla="*/ 3183 w 3183"/>
                  <a:gd name="connsiteY4" fmla="*/ 3787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 h="4088">
                    <a:moveTo>
                      <a:pt x="3183" y="3787"/>
                    </a:moveTo>
                    <a:lnTo>
                      <a:pt x="741" y="4089"/>
                    </a:lnTo>
                    <a:lnTo>
                      <a:pt x="0" y="2442"/>
                    </a:lnTo>
                    <a:lnTo>
                      <a:pt x="2278" y="0"/>
                    </a:lnTo>
                    <a:lnTo>
                      <a:pt x="3183" y="37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2" name="Freeform: Shape 3211">
                <a:extLst>
                  <a:ext uri="{FF2B5EF4-FFF2-40B4-BE49-F238E27FC236}">
                    <a16:creationId xmlns:a16="http://schemas.microsoft.com/office/drawing/2014/main" id="{4632A2E6-D58E-A277-3FDB-9568004F49F0}"/>
                  </a:ext>
                </a:extLst>
              </p:cNvPr>
              <p:cNvSpPr/>
              <p:nvPr/>
            </p:nvSpPr>
            <p:spPr>
              <a:xfrm>
                <a:off x="1119048" y="3771444"/>
                <a:ext cx="464" cy="306"/>
              </a:xfrm>
              <a:custGeom>
                <a:avLst/>
                <a:gdLst>
                  <a:gd name="connsiteX0" fmla="*/ 4446 w 4445"/>
                  <a:gd name="connsiteY0" fmla="*/ 1866 h 2936"/>
                  <a:gd name="connsiteX1" fmla="*/ 4226 w 4445"/>
                  <a:gd name="connsiteY1" fmla="*/ 2937 h 2936"/>
                  <a:gd name="connsiteX2" fmla="*/ 1427 w 4445"/>
                  <a:gd name="connsiteY2" fmla="*/ 2552 h 2936"/>
                  <a:gd name="connsiteX3" fmla="*/ 0 w 4445"/>
                  <a:gd name="connsiteY3" fmla="*/ 412 h 2936"/>
                  <a:gd name="connsiteX4" fmla="*/ 2003 w 4445"/>
                  <a:gd name="connsiteY4" fmla="*/ 0 h 2936"/>
                  <a:gd name="connsiteX5" fmla="*/ 4418 w 4445"/>
                  <a:gd name="connsiteY5" fmla="*/ 1866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5" h="2936">
                    <a:moveTo>
                      <a:pt x="4446" y="1866"/>
                    </a:moveTo>
                    <a:lnTo>
                      <a:pt x="4226" y="2937"/>
                    </a:lnTo>
                    <a:lnTo>
                      <a:pt x="1427" y="2552"/>
                    </a:lnTo>
                    <a:lnTo>
                      <a:pt x="0" y="412"/>
                    </a:lnTo>
                    <a:lnTo>
                      <a:pt x="2003" y="0"/>
                    </a:lnTo>
                    <a:lnTo>
                      <a:pt x="4418" y="18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3" name="Freeform: Shape 3212">
                <a:extLst>
                  <a:ext uri="{FF2B5EF4-FFF2-40B4-BE49-F238E27FC236}">
                    <a16:creationId xmlns:a16="http://schemas.microsoft.com/office/drawing/2014/main" id="{28EFBDF7-957B-EE30-C3BC-C87603055451}"/>
                  </a:ext>
                </a:extLst>
              </p:cNvPr>
              <p:cNvSpPr/>
              <p:nvPr/>
            </p:nvSpPr>
            <p:spPr>
              <a:xfrm>
                <a:off x="1112633" y="3776422"/>
                <a:ext cx="335" cy="375"/>
              </a:xfrm>
              <a:custGeom>
                <a:avLst/>
                <a:gdLst>
                  <a:gd name="connsiteX0" fmla="*/ 3183 w 3210"/>
                  <a:gd name="connsiteY0" fmla="*/ 1811 h 3595"/>
                  <a:gd name="connsiteX1" fmla="*/ 2251 w 3210"/>
                  <a:gd name="connsiteY1" fmla="*/ 3595 h 3595"/>
                  <a:gd name="connsiteX2" fmla="*/ 0 w 3210"/>
                  <a:gd name="connsiteY2" fmla="*/ 2882 h 3595"/>
                  <a:gd name="connsiteX3" fmla="*/ 549 w 3210"/>
                  <a:gd name="connsiteY3" fmla="*/ 659 h 3595"/>
                  <a:gd name="connsiteX4" fmla="*/ 2278 w 3210"/>
                  <a:gd name="connsiteY4" fmla="*/ 0 h 3595"/>
                  <a:gd name="connsiteX5" fmla="*/ 3211 w 3210"/>
                  <a:gd name="connsiteY5" fmla="*/ 1839 h 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0" h="3595">
                    <a:moveTo>
                      <a:pt x="3183" y="1811"/>
                    </a:moveTo>
                    <a:lnTo>
                      <a:pt x="2251" y="3595"/>
                    </a:lnTo>
                    <a:lnTo>
                      <a:pt x="0" y="2882"/>
                    </a:lnTo>
                    <a:lnTo>
                      <a:pt x="549" y="659"/>
                    </a:lnTo>
                    <a:lnTo>
                      <a:pt x="2278" y="0"/>
                    </a:lnTo>
                    <a:lnTo>
                      <a:pt x="3211"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4" name="Freeform: Shape 3213">
                <a:extLst>
                  <a:ext uri="{FF2B5EF4-FFF2-40B4-BE49-F238E27FC236}">
                    <a16:creationId xmlns:a16="http://schemas.microsoft.com/office/drawing/2014/main" id="{9B4F0C2B-763A-6C0B-DBFD-F90460D8B84A}"/>
                  </a:ext>
                </a:extLst>
              </p:cNvPr>
              <p:cNvSpPr/>
              <p:nvPr/>
            </p:nvSpPr>
            <p:spPr>
              <a:xfrm>
                <a:off x="1116933" y="3770926"/>
                <a:ext cx="329" cy="358"/>
              </a:xfrm>
              <a:custGeom>
                <a:avLst/>
                <a:gdLst>
                  <a:gd name="connsiteX0" fmla="*/ 2936 w 3156"/>
                  <a:gd name="connsiteY0" fmla="*/ 3101 h 3430"/>
                  <a:gd name="connsiteX1" fmla="*/ 1098 w 3156"/>
                  <a:gd name="connsiteY1" fmla="*/ 3430 h 3430"/>
                  <a:gd name="connsiteX2" fmla="*/ 0 w 3156"/>
                  <a:gd name="connsiteY2" fmla="*/ 1756 h 3430"/>
                  <a:gd name="connsiteX3" fmla="*/ 796 w 3156"/>
                  <a:gd name="connsiteY3" fmla="*/ 0 h 3430"/>
                  <a:gd name="connsiteX4" fmla="*/ 3156 w 3156"/>
                  <a:gd name="connsiteY4" fmla="*/ 823 h 3430"/>
                  <a:gd name="connsiteX5" fmla="*/ 2936 w 3156"/>
                  <a:gd name="connsiteY5" fmla="*/ 3074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6" h="3430">
                    <a:moveTo>
                      <a:pt x="2936" y="3101"/>
                    </a:moveTo>
                    <a:lnTo>
                      <a:pt x="1098" y="3430"/>
                    </a:lnTo>
                    <a:lnTo>
                      <a:pt x="0" y="1756"/>
                    </a:lnTo>
                    <a:lnTo>
                      <a:pt x="796" y="0"/>
                    </a:lnTo>
                    <a:lnTo>
                      <a:pt x="3156" y="823"/>
                    </a:lnTo>
                    <a:lnTo>
                      <a:pt x="2936"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5" name="Freeform: Shape 3214">
                <a:extLst>
                  <a:ext uri="{FF2B5EF4-FFF2-40B4-BE49-F238E27FC236}">
                    <a16:creationId xmlns:a16="http://schemas.microsoft.com/office/drawing/2014/main" id="{6124A0A6-8AC2-1234-31CD-413091822928}"/>
                  </a:ext>
                </a:extLst>
              </p:cNvPr>
              <p:cNvSpPr/>
              <p:nvPr/>
            </p:nvSpPr>
            <p:spPr>
              <a:xfrm>
                <a:off x="1153244" y="3806176"/>
                <a:ext cx="1208" cy="1090"/>
              </a:xfrm>
              <a:custGeom>
                <a:avLst/>
                <a:gdLst>
                  <a:gd name="connsiteX0" fmla="*/ 0 w 11580"/>
                  <a:gd name="connsiteY0" fmla="*/ 2525 h 10455"/>
                  <a:gd name="connsiteX1" fmla="*/ 549 w 11580"/>
                  <a:gd name="connsiteY1" fmla="*/ 0 h 10455"/>
                  <a:gd name="connsiteX2" fmla="*/ 2470 w 11580"/>
                  <a:gd name="connsiteY2" fmla="*/ 823 h 10455"/>
                  <a:gd name="connsiteX3" fmla="*/ 3815 w 11580"/>
                  <a:gd name="connsiteY3" fmla="*/ 4199 h 10455"/>
                  <a:gd name="connsiteX4" fmla="*/ 5242 w 11580"/>
                  <a:gd name="connsiteY4" fmla="*/ 5434 h 10455"/>
                  <a:gd name="connsiteX5" fmla="*/ 9029 w 11580"/>
                  <a:gd name="connsiteY5" fmla="*/ 6229 h 10455"/>
                  <a:gd name="connsiteX6" fmla="*/ 11581 w 11580"/>
                  <a:gd name="connsiteY6" fmla="*/ 9303 h 10455"/>
                  <a:gd name="connsiteX7" fmla="*/ 10867 w 11580"/>
                  <a:gd name="connsiteY7" fmla="*/ 10456 h 10455"/>
                  <a:gd name="connsiteX8" fmla="*/ 5845 w 11580"/>
                  <a:gd name="connsiteY8" fmla="*/ 8068 h 10455"/>
                  <a:gd name="connsiteX9" fmla="*/ 3870 w 11580"/>
                  <a:gd name="connsiteY9" fmla="*/ 5598 h 10455"/>
                  <a:gd name="connsiteX10" fmla="*/ 2360 w 11580"/>
                  <a:gd name="connsiteY10" fmla="*/ 5598 h 10455"/>
                  <a:gd name="connsiteX11" fmla="*/ 27 w 11580"/>
                  <a:gd name="connsiteY11" fmla="*/ 2497 h 1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80" h="10455">
                    <a:moveTo>
                      <a:pt x="0" y="2525"/>
                    </a:moveTo>
                    <a:lnTo>
                      <a:pt x="549" y="0"/>
                    </a:lnTo>
                    <a:lnTo>
                      <a:pt x="2470" y="823"/>
                    </a:lnTo>
                    <a:lnTo>
                      <a:pt x="3815" y="4199"/>
                    </a:lnTo>
                    <a:lnTo>
                      <a:pt x="5242" y="5434"/>
                    </a:lnTo>
                    <a:lnTo>
                      <a:pt x="9029" y="6229"/>
                    </a:lnTo>
                    <a:lnTo>
                      <a:pt x="11581" y="9303"/>
                    </a:lnTo>
                    <a:lnTo>
                      <a:pt x="10867" y="10456"/>
                    </a:lnTo>
                    <a:lnTo>
                      <a:pt x="5845" y="8068"/>
                    </a:lnTo>
                    <a:lnTo>
                      <a:pt x="3870" y="5598"/>
                    </a:lnTo>
                    <a:lnTo>
                      <a:pt x="2360" y="5598"/>
                    </a:lnTo>
                    <a:cubicBezTo>
                      <a:pt x="2360" y="5598"/>
                      <a:pt x="27" y="2497"/>
                      <a:pt x="27" y="2497"/>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6" name="Freeform: Shape 3215">
                <a:extLst>
                  <a:ext uri="{FF2B5EF4-FFF2-40B4-BE49-F238E27FC236}">
                    <a16:creationId xmlns:a16="http://schemas.microsoft.com/office/drawing/2014/main" id="{AB6A1C74-4050-42EE-0797-A4FEBE5033A8}"/>
                  </a:ext>
                </a:extLst>
              </p:cNvPr>
              <p:cNvSpPr/>
              <p:nvPr/>
            </p:nvSpPr>
            <p:spPr>
              <a:xfrm>
                <a:off x="1464391" y="3727155"/>
                <a:ext cx="7010" cy="4170"/>
              </a:xfrm>
              <a:custGeom>
                <a:avLst/>
                <a:gdLst>
                  <a:gd name="connsiteX0" fmla="*/ 55 w 67207"/>
                  <a:gd name="connsiteY0" fmla="*/ 22147 h 39984"/>
                  <a:gd name="connsiteX1" fmla="*/ 522 w 67207"/>
                  <a:gd name="connsiteY1" fmla="*/ 20747 h 39984"/>
                  <a:gd name="connsiteX2" fmla="*/ 4007 w 67207"/>
                  <a:gd name="connsiteY2" fmla="*/ 23052 h 39984"/>
                  <a:gd name="connsiteX3" fmla="*/ 6477 w 67207"/>
                  <a:gd name="connsiteY3" fmla="*/ 21433 h 39984"/>
                  <a:gd name="connsiteX4" fmla="*/ 8288 w 67207"/>
                  <a:gd name="connsiteY4" fmla="*/ 18222 h 39984"/>
                  <a:gd name="connsiteX5" fmla="*/ 11197 w 67207"/>
                  <a:gd name="connsiteY5" fmla="*/ 17509 h 39984"/>
                  <a:gd name="connsiteX6" fmla="*/ 16329 w 67207"/>
                  <a:gd name="connsiteY6" fmla="*/ 19457 h 39984"/>
                  <a:gd name="connsiteX7" fmla="*/ 18387 w 67207"/>
                  <a:gd name="connsiteY7" fmla="*/ 18305 h 39984"/>
                  <a:gd name="connsiteX8" fmla="*/ 19540 w 67207"/>
                  <a:gd name="connsiteY8" fmla="*/ 14902 h 39984"/>
                  <a:gd name="connsiteX9" fmla="*/ 19155 w 67207"/>
                  <a:gd name="connsiteY9" fmla="*/ 10072 h 39984"/>
                  <a:gd name="connsiteX10" fmla="*/ 21241 w 67207"/>
                  <a:gd name="connsiteY10" fmla="*/ 11306 h 39984"/>
                  <a:gd name="connsiteX11" fmla="*/ 35567 w 67207"/>
                  <a:gd name="connsiteY11" fmla="*/ 12596 h 39984"/>
                  <a:gd name="connsiteX12" fmla="*/ 40561 w 67207"/>
                  <a:gd name="connsiteY12" fmla="*/ 11636 h 39984"/>
                  <a:gd name="connsiteX13" fmla="*/ 44046 w 67207"/>
                  <a:gd name="connsiteY13" fmla="*/ 9715 h 39984"/>
                  <a:gd name="connsiteX14" fmla="*/ 46352 w 67207"/>
                  <a:gd name="connsiteY14" fmla="*/ 9715 h 39984"/>
                  <a:gd name="connsiteX15" fmla="*/ 50166 w 67207"/>
                  <a:gd name="connsiteY15" fmla="*/ 8453 h 39984"/>
                  <a:gd name="connsiteX16" fmla="*/ 54502 w 67207"/>
                  <a:gd name="connsiteY16" fmla="*/ 6312 h 39984"/>
                  <a:gd name="connsiteX17" fmla="*/ 55819 w 67207"/>
                  <a:gd name="connsiteY17" fmla="*/ 4473 h 39984"/>
                  <a:gd name="connsiteX18" fmla="*/ 59167 w 67207"/>
                  <a:gd name="connsiteY18" fmla="*/ 3870 h 39984"/>
                  <a:gd name="connsiteX19" fmla="*/ 60951 w 67207"/>
                  <a:gd name="connsiteY19" fmla="*/ 2223 h 39984"/>
                  <a:gd name="connsiteX20" fmla="*/ 66769 w 67207"/>
                  <a:gd name="connsiteY20" fmla="*/ 0 h 39984"/>
                  <a:gd name="connsiteX21" fmla="*/ 67208 w 67207"/>
                  <a:gd name="connsiteY21" fmla="*/ 1455 h 39984"/>
                  <a:gd name="connsiteX22" fmla="*/ 64436 w 67207"/>
                  <a:gd name="connsiteY22" fmla="*/ 2415 h 39984"/>
                  <a:gd name="connsiteX23" fmla="*/ 62707 w 67207"/>
                  <a:gd name="connsiteY23" fmla="*/ 4446 h 39984"/>
                  <a:gd name="connsiteX24" fmla="*/ 58975 w 67207"/>
                  <a:gd name="connsiteY24" fmla="*/ 7300 h 39984"/>
                  <a:gd name="connsiteX25" fmla="*/ 55792 w 67207"/>
                  <a:gd name="connsiteY25" fmla="*/ 8809 h 39984"/>
                  <a:gd name="connsiteX26" fmla="*/ 52581 w 67207"/>
                  <a:gd name="connsiteY26" fmla="*/ 12789 h 39984"/>
                  <a:gd name="connsiteX27" fmla="*/ 49700 w 67207"/>
                  <a:gd name="connsiteY27" fmla="*/ 13063 h 39984"/>
                  <a:gd name="connsiteX28" fmla="*/ 47970 w 67207"/>
                  <a:gd name="connsiteY28" fmla="*/ 15368 h 39984"/>
                  <a:gd name="connsiteX29" fmla="*/ 48245 w 67207"/>
                  <a:gd name="connsiteY29" fmla="*/ 18826 h 39984"/>
                  <a:gd name="connsiteX30" fmla="*/ 52142 w 67207"/>
                  <a:gd name="connsiteY30" fmla="*/ 23903 h 39984"/>
                  <a:gd name="connsiteX31" fmla="*/ 46626 w 67207"/>
                  <a:gd name="connsiteY31" fmla="*/ 26592 h 39984"/>
                  <a:gd name="connsiteX32" fmla="*/ 44211 w 67207"/>
                  <a:gd name="connsiteY32" fmla="*/ 25302 h 39984"/>
                  <a:gd name="connsiteX33" fmla="*/ 41905 w 67207"/>
                  <a:gd name="connsiteY33" fmla="*/ 25357 h 39984"/>
                  <a:gd name="connsiteX34" fmla="*/ 40232 w 67207"/>
                  <a:gd name="connsiteY34" fmla="*/ 26894 h 39984"/>
                  <a:gd name="connsiteX35" fmla="*/ 39079 w 67207"/>
                  <a:gd name="connsiteY35" fmla="*/ 31148 h 39984"/>
                  <a:gd name="connsiteX36" fmla="*/ 28980 w 67207"/>
                  <a:gd name="connsiteY36" fmla="*/ 35100 h 39984"/>
                  <a:gd name="connsiteX37" fmla="*/ 25769 w 67207"/>
                  <a:gd name="connsiteY37" fmla="*/ 34853 h 39984"/>
                  <a:gd name="connsiteX38" fmla="*/ 21708 w 67207"/>
                  <a:gd name="connsiteY38" fmla="*/ 37158 h 39984"/>
                  <a:gd name="connsiteX39" fmla="*/ 21543 w 67207"/>
                  <a:gd name="connsiteY39" fmla="*/ 39737 h 39984"/>
                  <a:gd name="connsiteX40" fmla="*/ 19567 w 67207"/>
                  <a:gd name="connsiteY40" fmla="*/ 39985 h 39984"/>
                  <a:gd name="connsiteX41" fmla="*/ 17729 w 67207"/>
                  <a:gd name="connsiteY41" fmla="*/ 36472 h 39984"/>
                  <a:gd name="connsiteX42" fmla="*/ 12761 w 67207"/>
                  <a:gd name="connsiteY42" fmla="*/ 37377 h 39984"/>
                  <a:gd name="connsiteX43" fmla="*/ 6614 w 67207"/>
                  <a:gd name="connsiteY43" fmla="*/ 35155 h 39984"/>
                  <a:gd name="connsiteX44" fmla="*/ 4007 w 67207"/>
                  <a:gd name="connsiteY44" fmla="*/ 32959 h 39984"/>
                  <a:gd name="connsiteX45" fmla="*/ 3513 w 67207"/>
                  <a:gd name="connsiteY45" fmla="*/ 30380 h 39984"/>
                  <a:gd name="connsiteX46" fmla="*/ 1372 w 67207"/>
                  <a:gd name="connsiteY46" fmla="*/ 28074 h 39984"/>
                  <a:gd name="connsiteX47" fmla="*/ 1263 w 67207"/>
                  <a:gd name="connsiteY47" fmla="*/ 24754 h 39984"/>
                  <a:gd name="connsiteX48" fmla="*/ 0 w 67207"/>
                  <a:gd name="connsiteY48" fmla="*/ 22229 h 3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7207" h="39984">
                    <a:moveTo>
                      <a:pt x="55" y="22147"/>
                    </a:moveTo>
                    <a:lnTo>
                      <a:pt x="522" y="20747"/>
                    </a:lnTo>
                    <a:lnTo>
                      <a:pt x="4007" y="23052"/>
                    </a:lnTo>
                    <a:lnTo>
                      <a:pt x="6477" y="21433"/>
                    </a:lnTo>
                    <a:lnTo>
                      <a:pt x="8288" y="18222"/>
                    </a:lnTo>
                    <a:lnTo>
                      <a:pt x="11197" y="17509"/>
                    </a:lnTo>
                    <a:lnTo>
                      <a:pt x="16329" y="19457"/>
                    </a:lnTo>
                    <a:lnTo>
                      <a:pt x="18387" y="18305"/>
                    </a:lnTo>
                    <a:lnTo>
                      <a:pt x="19540" y="14902"/>
                    </a:lnTo>
                    <a:lnTo>
                      <a:pt x="19155" y="10072"/>
                    </a:lnTo>
                    <a:lnTo>
                      <a:pt x="21241" y="11306"/>
                    </a:lnTo>
                    <a:lnTo>
                      <a:pt x="35567" y="12596"/>
                    </a:lnTo>
                    <a:lnTo>
                      <a:pt x="40561" y="11636"/>
                    </a:lnTo>
                    <a:lnTo>
                      <a:pt x="44046" y="9715"/>
                    </a:lnTo>
                    <a:lnTo>
                      <a:pt x="46352" y="9715"/>
                    </a:lnTo>
                    <a:lnTo>
                      <a:pt x="50166" y="8453"/>
                    </a:lnTo>
                    <a:lnTo>
                      <a:pt x="54502" y="6312"/>
                    </a:lnTo>
                    <a:lnTo>
                      <a:pt x="55819" y="4473"/>
                    </a:lnTo>
                    <a:lnTo>
                      <a:pt x="59167" y="3870"/>
                    </a:lnTo>
                    <a:lnTo>
                      <a:pt x="60951" y="2223"/>
                    </a:lnTo>
                    <a:lnTo>
                      <a:pt x="66769" y="0"/>
                    </a:lnTo>
                    <a:lnTo>
                      <a:pt x="67208" y="1455"/>
                    </a:lnTo>
                    <a:lnTo>
                      <a:pt x="64436" y="2415"/>
                    </a:lnTo>
                    <a:lnTo>
                      <a:pt x="62707" y="4446"/>
                    </a:lnTo>
                    <a:lnTo>
                      <a:pt x="58975" y="7300"/>
                    </a:lnTo>
                    <a:lnTo>
                      <a:pt x="55792" y="8809"/>
                    </a:lnTo>
                    <a:lnTo>
                      <a:pt x="52581" y="12789"/>
                    </a:lnTo>
                    <a:lnTo>
                      <a:pt x="49700" y="13063"/>
                    </a:lnTo>
                    <a:lnTo>
                      <a:pt x="47970" y="15368"/>
                    </a:lnTo>
                    <a:lnTo>
                      <a:pt x="48245" y="18826"/>
                    </a:lnTo>
                    <a:lnTo>
                      <a:pt x="52142" y="23903"/>
                    </a:lnTo>
                    <a:lnTo>
                      <a:pt x="46626" y="26592"/>
                    </a:lnTo>
                    <a:lnTo>
                      <a:pt x="44211" y="25302"/>
                    </a:lnTo>
                    <a:lnTo>
                      <a:pt x="41905" y="25357"/>
                    </a:lnTo>
                    <a:lnTo>
                      <a:pt x="40232" y="26894"/>
                    </a:lnTo>
                    <a:lnTo>
                      <a:pt x="39079" y="31148"/>
                    </a:lnTo>
                    <a:lnTo>
                      <a:pt x="28980" y="35100"/>
                    </a:lnTo>
                    <a:lnTo>
                      <a:pt x="25769" y="34853"/>
                    </a:lnTo>
                    <a:lnTo>
                      <a:pt x="21708" y="37158"/>
                    </a:lnTo>
                    <a:lnTo>
                      <a:pt x="21543" y="39737"/>
                    </a:lnTo>
                    <a:lnTo>
                      <a:pt x="19567" y="39985"/>
                    </a:lnTo>
                    <a:lnTo>
                      <a:pt x="17729" y="36472"/>
                    </a:lnTo>
                    <a:lnTo>
                      <a:pt x="12761" y="37377"/>
                    </a:lnTo>
                    <a:lnTo>
                      <a:pt x="6614" y="35155"/>
                    </a:lnTo>
                    <a:lnTo>
                      <a:pt x="4007" y="32959"/>
                    </a:lnTo>
                    <a:lnTo>
                      <a:pt x="3513" y="30380"/>
                    </a:lnTo>
                    <a:lnTo>
                      <a:pt x="1372" y="28074"/>
                    </a:lnTo>
                    <a:lnTo>
                      <a:pt x="1263" y="24754"/>
                    </a:lnTo>
                    <a:lnTo>
                      <a:pt x="0" y="222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7" name="Freeform: Shape 3216">
                <a:extLst>
                  <a:ext uri="{FF2B5EF4-FFF2-40B4-BE49-F238E27FC236}">
                    <a16:creationId xmlns:a16="http://schemas.microsoft.com/office/drawing/2014/main" id="{2FDBDECF-D448-A4A7-96BE-B56648B638ED}"/>
                  </a:ext>
                </a:extLst>
              </p:cNvPr>
              <p:cNvSpPr/>
              <p:nvPr/>
            </p:nvSpPr>
            <p:spPr>
              <a:xfrm>
                <a:off x="1391585" y="3803978"/>
                <a:ext cx="23480" cy="35335"/>
              </a:xfrm>
              <a:custGeom>
                <a:avLst/>
                <a:gdLst>
                  <a:gd name="connsiteX0" fmla="*/ 204971 w 225114"/>
                  <a:gd name="connsiteY0" fmla="*/ 166057 h 338783"/>
                  <a:gd name="connsiteX1" fmla="*/ 197205 w 225114"/>
                  <a:gd name="connsiteY1" fmla="*/ 174098 h 338783"/>
                  <a:gd name="connsiteX2" fmla="*/ 192595 w 225114"/>
                  <a:gd name="connsiteY2" fmla="*/ 186969 h 338783"/>
                  <a:gd name="connsiteX3" fmla="*/ 188203 w 225114"/>
                  <a:gd name="connsiteY3" fmla="*/ 191332 h 338783"/>
                  <a:gd name="connsiteX4" fmla="*/ 183428 w 225114"/>
                  <a:gd name="connsiteY4" fmla="*/ 202447 h 338783"/>
                  <a:gd name="connsiteX5" fmla="*/ 176870 w 225114"/>
                  <a:gd name="connsiteY5" fmla="*/ 206152 h 338783"/>
                  <a:gd name="connsiteX6" fmla="*/ 173549 w 225114"/>
                  <a:gd name="connsiteY6" fmla="*/ 210542 h 338783"/>
                  <a:gd name="connsiteX7" fmla="*/ 178901 w 225114"/>
                  <a:gd name="connsiteY7" fmla="*/ 215702 h 338783"/>
                  <a:gd name="connsiteX8" fmla="*/ 178901 w 225114"/>
                  <a:gd name="connsiteY8" fmla="*/ 226624 h 338783"/>
                  <a:gd name="connsiteX9" fmla="*/ 176733 w 225114"/>
                  <a:gd name="connsiteY9" fmla="*/ 232634 h 338783"/>
                  <a:gd name="connsiteX10" fmla="*/ 180767 w 225114"/>
                  <a:gd name="connsiteY10" fmla="*/ 237272 h 338783"/>
                  <a:gd name="connsiteX11" fmla="*/ 182358 w 225114"/>
                  <a:gd name="connsiteY11" fmla="*/ 251789 h 338783"/>
                  <a:gd name="connsiteX12" fmla="*/ 191222 w 225114"/>
                  <a:gd name="connsiteY12" fmla="*/ 259144 h 338783"/>
                  <a:gd name="connsiteX13" fmla="*/ 194433 w 225114"/>
                  <a:gd name="connsiteY13" fmla="*/ 268228 h 338783"/>
                  <a:gd name="connsiteX14" fmla="*/ 193116 w 225114"/>
                  <a:gd name="connsiteY14" fmla="*/ 271274 h 338783"/>
                  <a:gd name="connsiteX15" fmla="*/ 197535 w 225114"/>
                  <a:gd name="connsiteY15" fmla="*/ 278848 h 338783"/>
                  <a:gd name="connsiteX16" fmla="*/ 212820 w 225114"/>
                  <a:gd name="connsiteY16" fmla="*/ 295890 h 338783"/>
                  <a:gd name="connsiteX17" fmla="*/ 221108 w 225114"/>
                  <a:gd name="connsiteY17" fmla="*/ 301928 h 338783"/>
                  <a:gd name="connsiteX18" fmla="*/ 221958 w 225114"/>
                  <a:gd name="connsiteY18" fmla="*/ 315402 h 338783"/>
                  <a:gd name="connsiteX19" fmla="*/ 225115 w 225114"/>
                  <a:gd name="connsiteY19" fmla="*/ 322729 h 338783"/>
                  <a:gd name="connsiteX20" fmla="*/ 222068 w 225114"/>
                  <a:gd name="connsiteY20" fmla="*/ 324733 h 338783"/>
                  <a:gd name="connsiteX21" fmla="*/ 221465 w 225114"/>
                  <a:gd name="connsiteY21" fmla="*/ 329645 h 338783"/>
                  <a:gd name="connsiteX22" fmla="*/ 223578 w 225114"/>
                  <a:gd name="connsiteY22" fmla="*/ 336561 h 338783"/>
                  <a:gd name="connsiteX23" fmla="*/ 221108 w 225114"/>
                  <a:gd name="connsiteY23" fmla="*/ 338783 h 338783"/>
                  <a:gd name="connsiteX24" fmla="*/ 219489 w 225114"/>
                  <a:gd name="connsiteY24" fmla="*/ 336286 h 338783"/>
                  <a:gd name="connsiteX25" fmla="*/ 211338 w 225114"/>
                  <a:gd name="connsiteY25" fmla="*/ 331731 h 338783"/>
                  <a:gd name="connsiteX26" fmla="*/ 204889 w 225114"/>
                  <a:gd name="connsiteY26" fmla="*/ 330194 h 338783"/>
                  <a:gd name="connsiteX27" fmla="*/ 200444 w 225114"/>
                  <a:gd name="connsiteY27" fmla="*/ 331319 h 338783"/>
                  <a:gd name="connsiteX28" fmla="*/ 196272 w 225114"/>
                  <a:gd name="connsiteY28" fmla="*/ 328355 h 338783"/>
                  <a:gd name="connsiteX29" fmla="*/ 192211 w 225114"/>
                  <a:gd name="connsiteY29" fmla="*/ 329618 h 338783"/>
                  <a:gd name="connsiteX30" fmla="*/ 187902 w 225114"/>
                  <a:gd name="connsiteY30" fmla="*/ 328712 h 338783"/>
                  <a:gd name="connsiteX31" fmla="*/ 177556 w 225114"/>
                  <a:gd name="connsiteY31" fmla="*/ 323388 h 338783"/>
                  <a:gd name="connsiteX32" fmla="*/ 170311 w 225114"/>
                  <a:gd name="connsiteY32" fmla="*/ 323717 h 338783"/>
                  <a:gd name="connsiteX33" fmla="*/ 139987 w 225114"/>
                  <a:gd name="connsiteY33" fmla="*/ 324184 h 338783"/>
                  <a:gd name="connsiteX34" fmla="*/ 137352 w 225114"/>
                  <a:gd name="connsiteY34" fmla="*/ 321138 h 338783"/>
                  <a:gd name="connsiteX35" fmla="*/ 123191 w 225114"/>
                  <a:gd name="connsiteY35" fmla="*/ 322373 h 338783"/>
                  <a:gd name="connsiteX36" fmla="*/ 92318 w 225114"/>
                  <a:gd name="connsiteY36" fmla="*/ 320040 h 338783"/>
                  <a:gd name="connsiteX37" fmla="*/ 84469 w 225114"/>
                  <a:gd name="connsiteY37" fmla="*/ 320534 h 338783"/>
                  <a:gd name="connsiteX38" fmla="*/ 82219 w 225114"/>
                  <a:gd name="connsiteY38" fmla="*/ 324102 h 338783"/>
                  <a:gd name="connsiteX39" fmla="*/ 44567 w 225114"/>
                  <a:gd name="connsiteY39" fmla="*/ 324294 h 338783"/>
                  <a:gd name="connsiteX40" fmla="*/ 39161 w 225114"/>
                  <a:gd name="connsiteY40" fmla="*/ 322043 h 338783"/>
                  <a:gd name="connsiteX41" fmla="*/ 37707 w 225114"/>
                  <a:gd name="connsiteY41" fmla="*/ 318997 h 338783"/>
                  <a:gd name="connsiteX42" fmla="*/ 41521 w 225114"/>
                  <a:gd name="connsiteY42" fmla="*/ 296604 h 338783"/>
                  <a:gd name="connsiteX43" fmla="*/ 38969 w 225114"/>
                  <a:gd name="connsiteY43" fmla="*/ 290127 h 338783"/>
                  <a:gd name="connsiteX44" fmla="*/ 32520 w 225114"/>
                  <a:gd name="connsiteY44" fmla="*/ 282361 h 338783"/>
                  <a:gd name="connsiteX45" fmla="*/ 31614 w 225114"/>
                  <a:gd name="connsiteY45" fmla="*/ 277202 h 338783"/>
                  <a:gd name="connsiteX46" fmla="*/ 33014 w 225114"/>
                  <a:gd name="connsiteY46" fmla="*/ 272509 h 338783"/>
                  <a:gd name="connsiteX47" fmla="*/ 30022 w 225114"/>
                  <a:gd name="connsiteY47" fmla="*/ 270341 h 338783"/>
                  <a:gd name="connsiteX48" fmla="*/ 24671 w 225114"/>
                  <a:gd name="connsiteY48" fmla="*/ 272783 h 338783"/>
                  <a:gd name="connsiteX49" fmla="*/ 14517 w 225114"/>
                  <a:gd name="connsiteY49" fmla="*/ 268255 h 338783"/>
                  <a:gd name="connsiteX50" fmla="*/ 9440 w 225114"/>
                  <a:gd name="connsiteY50" fmla="*/ 255165 h 338783"/>
                  <a:gd name="connsiteX51" fmla="*/ 4912 w 225114"/>
                  <a:gd name="connsiteY51" fmla="*/ 253299 h 338783"/>
                  <a:gd name="connsiteX52" fmla="*/ 3512 w 225114"/>
                  <a:gd name="connsiteY52" fmla="*/ 255494 h 338783"/>
                  <a:gd name="connsiteX53" fmla="*/ 0 w 225114"/>
                  <a:gd name="connsiteY53" fmla="*/ 254808 h 338783"/>
                  <a:gd name="connsiteX54" fmla="*/ 302 w 225114"/>
                  <a:gd name="connsiteY54" fmla="*/ 246712 h 338783"/>
                  <a:gd name="connsiteX55" fmla="*/ 357 w 225114"/>
                  <a:gd name="connsiteY55" fmla="*/ 246603 h 338783"/>
                  <a:gd name="connsiteX56" fmla="*/ 494 w 225114"/>
                  <a:gd name="connsiteY56" fmla="*/ 246466 h 338783"/>
                  <a:gd name="connsiteX57" fmla="*/ 659 w 225114"/>
                  <a:gd name="connsiteY57" fmla="*/ 246383 h 338783"/>
                  <a:gd name="connsiteX58" fmla="*/ 741 w 225114"/>
                  <a:gd name="connsiteY58" fmla="*/ 246383 h 338783"/>
                  <a:gd name="connsiteX59" fmla="*/ 851 w 225114"/>
                  <a:gd name="connsiteY59" fmla="*/ 246438 h 338783"/>
                  <a:gd name="connsiteX60" fmla="*/ 905 w 225114"/>
                  <a:gd name="connsiteY60" fmla="*/ 246575 h 338783"/>
                  <a:gd name="connsiteX61" fmla="*/ 1015 w 225114"/>
                  <a:gd name="connsiteY61" fmla="*/ 246658 h 338783"/>
                  <a:gd name="connsiteX62" fmla="*/ 1152 w 225114"/>
                  <a:gd name="connsiteY62" fmla="*/ 246658 h 338783"/>
                  <a:gd name="connsiteX63" fmla="*/ 1701 w 225114"/>
                  <a:gd name="connsiteY63" fmla="*/ 246658 h 338783"/>
                  <a:gd name="connsiteX64" fmla="*/ 2305 w 225114"/>
                  <a:gd name="connsiteY64" fmla="*/ 246246 h 338783"/>
                  <a:gd name="connsiteX65" fmla="*/ 8342 w 225114"/>
                  <a:gd name="connsiteY65" fmla="*/ 233512 h 338783"/>
                  <a:gd name="connsiteX66" fmla="*/ 11005 w 225114"/>
                  <a:gd name="connsiteY66" fmla="*/ 215098 h 338783"/>
                  <a:gd name="connsiteX67" fmla="*/ 27306 w 225114"/>
                  <a:gd name="connsiteY67" fmla="*/ 199017 h 338783"/>
                  <a:gd name="connsiteX68" fmla="*/ 33590 w 225114"/>
                  <a:gd name="connsiteY68" fmla="*/ 195257 h 338783"/>
                  <a:gd name="connsiteX69" fmla="*/ 37267 w 225114"/>
                  <a:gd name="connsiteY69" fmla="*/ 188561 h 338783"/>
                  <a:gd name="connsiteX70" fmla="*/ 43991 w 225114"/>
                  <a:gd name="connsiteY70" fmla="*/ 183484 h 338783"/>
                  <a:gd name="connsiteX71" fmla="*/ 55380 w 225114"/>
                  <a:gd name="connsiteY71" fmla="*/ 184746 h 338783"/>
                  <a:gd name="connsiteX72" fmla="*/ 61170 w 225114"/>
                  <a:gd name="connsiteY72" fmla="*/ 180026 h 338783"/>
                  <a:gd name="connsiteX73" fmla="*/ 77389 w 225114"/>
                  <a:gd name="connsiteY73" fmla="*/ 195394 h 338783"/>
                  <a:gd name="connsiteX74" fmla="*/ 82795 w 225114"/>
                  <a:gd name="connsiteY74" fmla="*/ 195614 h 338783"/>
                  <a:gd name="connsiteX75" fmla="*/ 86500 w 225114"/>
                  <a:gd name="connsiteY75" fmla="*/ 193199 h 338783"/>
                  <a:gd name="connsiteX76" fmla="*/ 90809 w 225114"/>
                  <a:gd name="connsiteY76" fmla="*/ 183621 h 338783"/>
                  <a:gd name="connsiteX77" fmla="*/ 97423 w 225114"/>
                  <a:gd name="connsiteY77" fmla="*/ 177556 h 338783"/>
                  <a:gd name="connsiteX78" fmla="*/ 102691 w 225114"/>
                  <a:gd name="connsiteY78" fmla="*/ 161008 h 338783"/>
                  <a:gd name="connsiteX79" fmla="*/ 107466 w 225114"/>
                  <a:gd name="connsiteY79" fmla="*/ 152363 h 338783"/>
                  <a:gd name="connsiteX80" fmla="*/ 109717 w 225114"/>
                  <a:gd name="connsiteY80" fmla="*/ 140947 h 338783"/>
                  <a:gd name="connsiteX81" fmla="*/ 110897 w 225114"/>
                  <a:gd name="connsiteY81" fmla="*/ 139547 h 338783"/>
                  <a:gd name="connsiteX82" fmla="*/ 115425 w 225114"/>
                  <a:gd name="connsiteY82" fmla="*/ 134196 h 338783"/>
                  <a:gd name="connsiteX83" fmla="*/ 120091 w 225114"/>
                  <a:gd name="connsiteY83" fmla="*/ 133044 h 338783"/>
                  <a:gd name="connsiteX84" fmla="*/ 125304 w 225114"/>
                  <a:gd name="connsiteY84" fmla="*/ 127967 h 338783"/>
                  <a:gd name="connsiteX85" fmla="*/ 126183 w 225114"/>
                  <a:gd name="connsiteY85" fmla="*/ 122560 h 338783"/>
                  <a:gd name="connsiteX86" fmla="*/ 128021 w 225114"/>
                  <a:gd name="connsiteY86" fmla="*/ 111062 h 338783"/>
                  <a:gd name="connsiteX87" fmla="*/ 137407 w 225114"/>
                  <a:gd name="connsiteY87" fmla="*/ 104311 h 338783"/>
                  <a:gd name="connsiteX88" fmla="*/ 139492 w 225114"/>
                  <a:gd name="connsiteY88" fmla="*/ 91275 h 338783"/>
                  <a:gd name="connsiteX89" fmla="*/ 145722 w 225114"/>
                  <a:gd name="connsiteY89" fmla="*/ 85485 h 338783"/>
                  <a:gd name="connsiteX90" fmla="*/ 148768 w 225114"/>
                  <a:gd name="connsiteY90" fmla="*/ 71955 h 338783"/>
                  <a:gd name="connsiteX91" fmla="*/ 159691 w 225114"/>
                  <a:gd name="connsiteY91" fmla="*/ 54419 h 338783"/>
                  <a:gd name="connsiteX92" fmla="*/ 166634 w 225114"/>
                  <a:gd name="connsiteY92" fmla="*/ 54667 h 338783"/>
                  <a:gd name="connsiteX93" fmla="*/ 179285 w 225114"/>
                  <a:gd name="connsiteY93" fmla="*/ 45116 h 338783"/>
                  <a:gd name="connsiteX94" fmla="*/ 177474 w 225114"/>
                  <a:gd name="connsiteY94" fmla="*/ 40808 h 338783"/>
                  <a:gd name="connsiteX95" fmla="*/ 179944 w 225114"/>
                  <a:gd name="connsiteY95" fmla="*/ 27800 h 338783"/>
                  <a:gd name="connsiteX96" fmla="*/ 174592 w 225114"/>
                  <a:gd name="connsiteY96" fmla="*/ 22037 h 338783"/>
                  <a:gd name="connsiteX97" fmla="*/ 166332 w 225114"/>
                  <a:gd name="connsiteY97" fmla="*/ 20335 h 338783"/>
                  <a:gd name="connsiteX98" fmla="*/ 163176 w 225114"/>
                  <a:gd name="connsiteY98" fmla="*/ 0 h 338783"/>
                  <a:gd name="connsiteX99" fmla="*/ 173961 w 225114"/>
                  <a:gd name="connsiteY99" fmla="*/ 1043 h 338783"/>
                  <a:gd name="connsiteX100" fmla="*/ 177858 w 225114"/>
                  <a:gd name="connsiteY100" fmla="*/ 9221 h 338783"/>
                  <a:gd name="connsiteX101" fmla="*/ 184938 w 225114"/>
                  <a:gd name="connsiteY101" fmla="*/ 14819 h 338783"/>
                  <a:gd name="connsiteX102" fmla="*/ 187243 w 225114"/>
                  <a:gd name="connsiteY102" fmla="*/ 26674 h 338783"/>
                  <a:gd name="connsiteX103" fmla="*/ 191415 w 225114"/>
                  <a:gd name="connsiteY103" fmla="*/ 31148 h 338783"/>
                  <a:gd name="connsiteX104" fmla="*/ 192869 w 225114"/>
                  <a:gd name="connsiteY104" fmla="*/ 38118 h 338783"/>
                  <a:gd name="connsiteX105" fmla="*/ 193555 w 225114"/>
                  <a:gd name="connsiteY105" fmla="*/ 46324 h 338783"/>
                  <a:gd name="connsiteX106" fmla="*/ 191085 w 225114"/>
                  <a:gd name="connsiteY106" fmla="*/ 58179 h 338783"/>
                  <a:gd name="connsiteX107" fmla="*/ 193912 w 225114"/>
                  <a:gd name="connsiteY107" fmla="*/ 71900 h 338783"/>
                  <a:gd name="connsiteX108" fmla="*/ 194543 w 225114"/>
                  <a:gd name="connsiteY108" fmla="*/ 74974 h 338783"/>
                  <a:gd name="connsiteX109" fmla="*/ 199208 w 225114"/>
                  <a:gd name="connsiteY109" fmla="*/ 82494 h 338783"/>
                  <a:gd name="connsiteX110" fmla="*/ 203764 w 225114"/>
                  <a:gd name="connsiteY110" fmla="*/ 87159 h 338783"/>
                  <a:gd name="connsiteX111" fmla="*/ 208484 w 225114"/>
                  <a:gd name="connsiteY111" fmla="*/ 91961 h 338783"/>
                  <a:gd name="connsiteX112" fmla="*/ 203215 w 225114"/>
                  <a:gd name="connsiteY112" fmla="*/ 93910 h 338783"/>
                  <a:gd name="connsiteX113" fmla="*/ 168362 w 225114"/>
                  <a:gd name="connsiteY113" fmla="*/ 92839 h 338783"/>
                  <a:gd name="connsiteX114" fmla="*/ 162133 w 225114"/>
                  <a:gd name="connsiteY114" fmla="*/ 102582 h 338783"/>
                  <a:gd name="connsiteX115" fmla="*/ 178407 w 225114"/>
                  <a:gd name="connsiteY115" fmla="*/ 122478 h 338783"/>
                  <a:gd name="connsiteX116" fmla="*/ 180712 w 225114"/>
                  <a:gd name="connsiteY116" fmla="*/ 125305 h 338783"/>
                  <a:gd name="connsiteX117" fmla="*/ 195229 w 225114"/>
                  <a:gd name="connsiteY117" fmla="*/ 133894 h 338783"/>
                  <a:gd name="connsiteX118" fmla="*/ 197397 w 225114"/>
                  <a:gd name="connsiteY118" fmla="*/ 138148 h 338783"/>
                  <a:gd name="connsiteX119" fmla="*/ 197863 w 225114"/>
                  <a:gd name="connsiteY119" fmla="*/ 139465 h 338783"/>
                  <a:gd name="connsiteX120" fmla="*/ 202227 w 225114"/>
                  <a:gd name="connsiteY120" fmla="*/ 152144 h 338783"/>
                  <a:gd name="connsiteX121" fmla="*/ 207249 w 225114"/>
                  <a:gd name="connsiteY121" fmla="*/ 159444 h 338783"/>
                  <a:gd name="connsiteX122" fmla="*/ 204944 w 225114"/>
                  <a:gd name="connsiteY122" fmla="*/ 165948 h 33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225114" h="338783">
                    <a:moveTo>
                      <a:pt x="204971" y="166057"/>
                    </a:moveTo>
                    <a:lnTo>
                      <a:pt x="197205" y="174098"/>
                    </a:lnTo>
                    <a:lnTo>
                      <a:pt x="192595" y="186969"/>
                    </a:lnTo>
                    <a:lnTo>
                      <a:pt x="188203" y="191332"/>
                    </a:lnTo>
                    <a:lnTo>
                      <a:pt x="183428" y="202447"/>
                    </a:lnTo>
                    <a:lnTo>
                      <a:pt x="176870" y="206152"/>
                    </a:lnTo>
                    <a:lnTo>
                      <a:pt x="173549" y="210542"/>
                    </a:lnTo>
                    <a:lnTo>
                      <a:pt x="178901" y="215702"/>
                    </a:lnTo>
                    <a:lnTo>
                      <a:pt x="178901" y="226624"/>
                    </a:lnTo>
                    <a:lnTo>
                      <a:pt x="176733" y="232634"/>
                    </a:lnTo>
                    <a:lnTo>
                      <a:pt x="180767" y="237272"/>
                    </a:lnTo>
                    <a:lnTo>
                      <a:pt x="182358" y="251789"/>
                    </a:lnTo>
                    <a:lnTo>
                      <a:pt x="191222" y="259144"/>
                    </a:lnTo>
                    <a:lnTo>
                      <a:pt x="194433" y="268228"/>
                    </a:lnTo>
                    <a:lnTo>
                      <a:pt x="193116" y="271274"/>
                    </a:lnTo>
                    <a:lnTo>
                      <a:pt x="197535" y="278848"/>
                    </a:lnTo>
                    <a:lnTo>
                      <a:pt x="212820" y="295890"/>
                    </a:lnTo>
                    <a:lnTo>
                      <a:pt x="221108" y="301928"/>
                    </a:lnTo>
                    <a:lnTo>
                      <a:pt x="221958" y="315402"/>
                    </a:lnTo>
                    <a:lnTo>
                      <a:pt x="225115" y="322729"/>
                    </a:lnTo>
                    <a:lnTo>
                      <a:pt x="222068" y="324733"/>
                    </a:lnTo>
                    <a:lnTo>
                      <a:pt x="221465" y="329645"/>
                    </a:lnTo>
                    <a:lnTo>
                      <a:pt x="223578" y="336561"/>
                    </a:lnTo>
                    <a:lnTo>
                      <a:pt x="221108" y="338783"/>
                    </a:lnTo>
                    <a:lnTo>
                      <a:pt x="219489" y="336286"/>
                    </a:lnTo>
                    <a:lnTo>
                      <a:pt x="211338" y="331731"/>
                    </a:lnTo>
                    <a:lnTo>
                      <a:pt x="204889" y="330194"/>
                    </a:lnTo>
                    <a:lnTo>
                      <a:pt x="200444" y="331319"/>
                    </a:lnTo>
                    <a:lnTo>
                      <a:pt x="196272" y="328355"/>
                    </a:lnTo>
                    <a:lnTo>
                      <a:pt x="192211" y="329618"/>
                    </a:lnTo>
                    <a:lnTo>
                      <a:pt x="187902" y="328712"/>
                    </a:lnTo>
                    <a:lnTo>
                      <a:pt x="177556" y="323388"/>
                    </a:lnTo>
                    <a:lnTo>
                      <a:pt x="170311" y="323717"/>
                    </a:lnTo>
                    <a:lnTo>
                      <a:pt x="139987" y="324184"/>
                    </a:lnTo>
                    <a:lnTo>
                      <a:pt x="137352" y="321138"/>
                    </a:lnTo>
                    <a:lnTo>
                      <a:pt x="123191" y="322373"/>
                    </a:lnTo>
                    <a:lnTo>
                      <a:pt x="92318" y="320040"/>
                    </a:lnTo>
                    <a:lnTo>
                      <a:pt x="84469" y="320534"/>
                    </a:lnTo>
                    <a:lnTo>
                      <a:pt x="82219" y="324102"/>
                    </a:lnTo>
                    <a:lnTo>
                      <a:pt x="44567" y="324294"/>
                    </a:lnTo>
                    <a:lnTo>
                      <a:pt x="39161" y="322043"/>
                    </a:lnTo>
                    <a:lnTo>
                      <a:pt x="37707" y="318997"/>
                    </a:lnTo>
                    <a:lnTo>
                      <a:pt x="41521" y="296604"/>
                    </a:lnTo>
                    <a:lnTo>
                      <a:pt x="38969" y="290127"/>
                    </a:lnTo>
                    <a:lnTo>
                      <a:pt x="32520" y="282361"/>
                    </a:lnTo>
                    <a:lnTo>
                      <a:pt x="31614" y="277202"/>
                    </a:lnTo>
                    <a:lnTo>
                      <a:pt x="33014" y="272509"/>
                    </a:lnTo>
                    <a:lnTo>
                      <a:pt x="30022" y="270341"/>
                    </a:lnTo>
                    <a:lnTo>
                      <a:pt x="24671" y="272783"/>
                    </a:lnTo>
                    <a:lnTo>
                      <a:pt x="14517" y="268255"/>
                    </a:lnTo>
                    <a:lnTo>
                      <a:pt x="9440" y="255165"/>
                    </a:lnTo>
                    <a:lnTo>
                      <a:pt x="4912" y="253299"/>
                    </a:lnTo>
                    <a:lnTo>
                      <a:pt x="3512" y="255494"/>
                    </a:lnTo>
                    <a:lnTo>
                      <a:pt x="0" y="254808"/>
                    </a:lnTo>
                    <a:lnTo>
                      <a:pt x="302" y="246712"/>
                    </a:lnTo>
                    <a:lnTo>
                      <a:pt x="357" y="246603"/>
                    </a:lnTo>
                    <a:lnTo>
                      <a:pt x="494" y="246466"/>
                    </a:lnTo>
                    <a:lnTo>
                      <a:pt x="659" y="246383"/>
                    </a:lnTo>
                    <a:lnTo>
                      <a:pt x="741" y="246383"/>
                    </a:lnTo>
                    <a:lnTo>
                      <a:pt x="851" y="246438"/>
                    </a:lnTo>
                    <a:lnTo>
                      <a:pt x="905" y="246575"/>
                    </a:lnTo>
                    <a:lnTo>
                      <a:pt x="1015" y="246658"/>
                    </a:lnTo>
                    <a:lnTo>
                      <a:pt x="1152" y="246658"/>
                    </a:lnTo>
                    <a:cubicBezTo>
                      <a:pt x="1152" y="246658"/>
                      <a:pt x="1701" y="246658"/>
                      <a:pt x="1701" y="246658"/>
                    </a:cubicBezTo>
                    <a:lnTo>
                      <a:pt x="2305" y="246246"/>
                    </a:lnTo>
                    <a:lnTo>
                      <a:pt x="8342" y="233512"/>
                    </a:lnTo>
                    <a:lnTo>
                      <a:pt x="11005" y="215098"/>
                    </a:lnTo>
                    <a:lnTo>
                      <a:pt x="27306" y="199017"/>
                    </a:lnTo>
                    <a:lnTo>
                      <a:pt x="33590" y="195257"/>
                    </a:lnTo>
                    <a:lnTo>
                      <a:pt x="37267" y="188561"/>
                    </a:lnTo>
                    <a:lnTo>
                      <a:pt x="43991" y="183484"/>
                    </a:lnTo>
                    <a:lnTo>
                      <a:pt x="55380" y="184746"/>
                    </a:lnTo>
                    <a:lnTo>
                      <a:pt x="61170" y="180026"/>
                    </a:lnTo>
                    <a:lnTo>
                      <a:pt x="77389" y="195394"/>
                    </a:lnTo>
                    <a:lnTo>
                      <a:pt x="82795" y="195614"/>
                    </a:lnTo>
                    <a:lnTo>
                      <a:pt x="86500" y="193199"/>
                    </a:lnTo>
                    <a:lnTo>
                      <a:pt x="90809" y="183621"/>
                    </a:lnTo>
                    <a:lnTo>
                      <a:pt x="97423" y="177556"/>
                    </a:lnTo>
                    <a:lnTo>
                      <a:pt x="102691" y="161008"/>
                    </a:lnTo>
                    <a:lnTo>
                      <a:pt x="107466" y="152363"/>
                    </a:lnTo>
                    <a:lnTo>
                      <a:pt x="109717" y="140947"/>
                    </a:lnTo>
                    <a:lnTo>
                      <a:pt x="110897" y="139547"/>
                    </a:lnTo>
                    <a:lnTo>
                      <a:pt x="115425" y="134196"/>
                    </a:lnTo>
                    <a:lnTo>
                      <a:pt x="120091" y="133044"/>
                    </a:lnTo>
                    <a:lnTo>
                      <a:pt x="125304" y="127967"/>
                    </a:lnTo>
                    <a:lnTo>
                      <a:pt x="126183" y="122560"/>
                    </a:lnTo>
                    <a:lnTo>
                      <a:pt x="128021" y="111062"/>
                    </a:lnTo>
                    <a:lnTo>
                      <a:pt x="137407" y="104311"/>
                    </a:lnTo>
                    <a:lnTo>
                      <a:pt x="139492" y="91275"/>
                    </a:lnTo>
                    <a:lnTo>
                      <a:pt x="145722" y="85485"/>
                    </a:lnTo>
                    <a:lnTo>
                      <a:pt x="148768" y="71955"/>
                    </a:lnTo>
                    <a:lnTo>
                      <a:pt x="159691" y="54419"/>
                    </a:lnTo>
                    <a:lnTo>
                      <a:pt x="166634" y="54667"/>
                    </a:lnTo>
                    <a:lnTo>
                      <a:pt x="179285" y="45116"/>
                    </a:lnTo>
                    <a:lnTo>
                      <a:pt x="177474" y="40808"/>
                    </a:lnTo>
                    <a:lnTo>
                      <a:pt x="179944" y="27800"/>
                    </a:lnTo>
                    <a:lnTo>
                      <a:pt x="174592" y="22037"/>
                    </a:lnTo>
                    <a:lnTo>
                      <a:pt x="166332" y="20335"/>
                    </a:lnTo>
                    <a:lnTo>
                      <a:pt x="163176" y="0"/>
                    </a:lnTo>
                    <a:lnTo>
                      <a:pt x="173961" y="1043"/>
                    </a:lnTo>
                    <a:lnTo>
                      <a:pt x="177858" y="9221"/>
                    </a:lnTo>
                    <a:lnTo>
                      <a:pt x="184938" y="14819"/>
                    </a:lnTo>
                    <a:lnTo>
                      <a:pt x="187243" y="26674"/>
                    </a:lnTo>
                    <a:lnTo>
                      <a:pt x="191415" y="31148"/>
                    </a:lnTo>
                    <a:lnTo>
                      <a:pt x="192869" y="38118"/>
                    </a:lnTo>
                    <a:lnTo>
                      <a:pt x="193555" y="46324"/>
                    </a:lnTo>
                    <a:lnTo>
                      <a:pt x="191085" y="58179"/>
                    </a:lnTo>
                    <a:lnTo>
                      <a:pt x="193912" y="71900"/>
                    </a:lnTo>
                    <a:lnTo>
                      <a:pt x="194543" y="74974"/>
                    </a:lnTo>
                    <a:lnTo>
                      <a:pt x="199208" y="82494"/>
                    </a:lnTo>
                    <a:lnTo>
                      <a:pt x="203764" y="87159"/>
                    </a:lnTo>
                    <a:lnTo>
                      <a:pt x="208484" y="91961"/>
                    </a:lnTo>
                    <a:lnTo>
                      <a:pt x="203215" y="93910"/>
                    </a:lnTo>
                    <a:lnTo>
                      <a:pt x="168362" y="92839"/>
                    </a:lnTo>
                    <a:lnTo>
                      <a:pt x="162133" y="102582"/>
                    </a:lnTo>
                    <a:lnTo>
                      <a:pt x="178407" y="122478"/>
                    </a:lnTo>
                    <a:lnTo>
                      <a:pt x="180712" y="125305"/>
                    </a:lnTo>
                    <a:lnTo>
                      <a:pt x="195229" y="133894"/>
                    </a:lnTo>
                    <a:lnTo>
                      <a:pt x="197397" y="138148"/>
                    </a:lnTo>
                    <a:lnTo>
                      <a:pt x="197863" y="139465"/>
                    </a:lnTo>
                    <a:lnTo>
                      <a:pt x="202227" y="152144"/>
                    </a:lnTo>
                    <a:lnTo>
                      <a:pt x="207249" y="159444"/>
                    </a:lnTo>
                    <a:lnTo>
                      <a:pt x="204944" y="165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2" name="Freeform: Shape 3261">
                <a:extLst>
                  <a:ext uri="{FF2B5EF4-FFF2-40B4-BE49-F238E27FC236}">
                    <a16:creationId xmlns:a16="http://schemas.microsoft.com/office/drawing/2014/main" id="{C7FF6F71-4408-07DB-7D3E-6C055239BA5A}"/>
                  </a:ext>
                </a:extLst>
              </p:cNvPr>
              <p:cNvSpPr/>
              <p:nvPr/>
            </p:nvSpPr>
            <p:spPr>
              <a:xfrm>
                <a:off x="1150462" y="3805417"/>
                <a:ext cx="521" cy="564"/>
              </a:xfrm>
              <a:custGeom>
                <a:avLst/>
                <a:gdLst>
                  <a:gd name="connsiteX0" fmla="*/ 0 w 4994"/>
                  <a:gd name="connsiteY0" fmla="*/ 2250 h 5406"/>
                  <a:gd name="connsiteX1" fmla="*/ 604 w 4994"/>
                  <a:gd name="connsiteY1" fmla="*/ 0 h 5406"/>
                  <a:gd name="connsiteX2" fmla="*/ 4994 w 4994"/>
                  <a:gd name="connsiteY2" fmla="*/ 3924 h 5406"/>
                  <a:gd name="connsiteX3" fmla="*/ 4446 w 4994"/>
                  <a:gd name="connsiteY3" fmla="*/ 5406 h 5406"/>
                  <a:gd name="connsiteX4" fmla="*/ 0 w 4994"/>
                  <a:gd name="connsiteY4" fmla="*/ 2278 h 5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4" h="5406">
                    <a:moveTo>
                      <a:pt x="0" y="2250"/>
                    </a:moveTo>
                    <a:lnTo>
                      <a:pt x="604" y="0"/>
                    </a:lnTo>
                    <a:lnTo>
                      <a:pt x="4994" y="3924"/>
                    </a:lnTo>
                    <a:lnTo>
                      <a:pt x="4446" y="5406"/>
                    </a:lnTo>
                    <a:lnTo>
                      <a:pt x="0" y="22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3" name="Freeform: Shape 3262">
                <a:extLst>
                  <a:ext uri="{FF2B5EF4-FFF2-40B4-BE49-F238E27FC236}">
                    <a16:creationId xmlns:a16="http://schemas.microsoft.com/office/drawing/2014/main" id="{8A4D06E7-AB9A-0543-9C3D-8414AF2A7881}"/>
                  </a:ext>
                </a:extLst>
              </p:cNvPr>
              <p:cNvSpPr/>
              <p:nvPr/>
            </p:nvSpPr>
            <p:spPr>
              <a:xfrm>
                <a:off x="1503491" y="3702625"/>
                <a:ext cx="16418" cy="14020"/>
              </a:xfrm>
              <a:custGeom>
                <a:avLst/>
                <a:gdLst>
                  <a:gd name="connsiteX0" fmla="*/ 68936 w 157413"/>
                  <a:gd name="connsiteY0" fmla="*/ 23628 h 134415"/>
                  <a:gd name="connsiteX1" fmla="*/ 82164 w 157413"/>
                  <a:gd name="connsiteY1" fmla="*/ 26592 h 134415"/>
                  <a:gd name="connsiteX2" fmla="*/ 89601 w 157413"/>
                  <a:gd name="connsiteY2" fmla="*/ 16932 h 134415"/>
                  <a:gd name="connsiteX3" fmla="*/ 99234 w 157413"/>
                  <a:gd name="connsiteY3" fmla="*/ 11224 h 134415"/>
                  <a:gd name="connsiteX4" fmla="*/ 99755 w 157413"/>
                  <a:gd name="connsiteY4" fmla="*/ 9770 h 134415"/>
                  <a:gd name="connsiteX5" fmla="*/ 100112 w 157413"/>
                  <a:gd name="connsiteY5" fmla="*/ 9523 h 134415"/>
                  <a:gd name="connsiteX6" fmla="*/ 104777 w 157413"/>
                  <a:gd name="connsiteY6" fmla="*/ 2991 h 134415"/>
                  <a:gd name="connsiteX7" fmla="*/ 109909 w 157413"/>
                  <a:gd name="connsiteY7" fmla="*/ 9358 h 134415"/>
                  <a:gd name="connsiteX8" fmla="*/ 111391 w 157413"/>
                  <a:gd name="connsiteY8" fmla="*/ 11197 h 134415"/>
                  <a:gd name="connsiteX9" fmla="*/ 118526 w 157413"/>
                  <a:gd name="connsiteY9" fmla="*/ 20033 h 134415"/>
                  <a:gd name="connsiteX10" fmla="*/ 124179 w 157413"/>
                  <a:gd name="connsiteY10" fmla="*/ 35237 h 134415"/>
                  <a:gd name="connsiteX11" fmla="*/ 131919 w 157413"/>
                  <a:gd name="connsiteY11" fmla="*/ 43332 h 134415"/>
                  <a:gd name="connsiteX12" fmla="*/ 133730 w 157413"/>
                  <a:gd name="connsiteY12" fmla="*/ 49452 h 134415"/>
                  <a:gd name="connsiteX13" fmla="*/ 146490 w 157413"/>
                  <a:gd name="connsiteY13" fmla="*/ 52169 h 134415"/>
                  <a:gd name="connsiteX14" fmla="*/ 157413 w 157413"/>
                  <a:gd name="connsiteY14" fmla="*/ 59112 h 134415"/>
                  <a:gd name="connsiteX15" fmla="*/ 156480 w 157413"/>
                  <a:gd name="connsiteY15" fmla="*/ 62762 h 134415"/>
                  <a:gd name="connsiteX16" fmla="*/ 143170 w 157413"/>
                  <a:gd name="connsiteY16" fmla="*/ 60978 h 134415"/>
                  <a:gd name="connsiteX17" fmla="*/ 132110 w 157413"/>
                  <a:gd name="connsiteY17" fmla="*/ 68141 h 134415"/>
                  <a:gd name="connsiteX18" fmla="*/ 128955 w 157413"/>
                  <a:gd name="connsiteY18" fmla="*/ 85677 h 134415"/>
                  <a:gd name="connsiteX19" fmla="*/ 125799 w 157413"/>
                  <a:gd name="connsiteY19" fmla="*/ 92098 h 134415"/>
                  <a:gd name="connsiteX20" fmla="*/ 128488 w 157413"/>
                  <a:gd name="connsiteY20" fmla="*/ 99536 h 134415"/>
                  <a:gd name="connsiteX21" fmla="*/ 124673 w 157413"/>
                  <a:gd name="connsiteY21" fmla="*/ 101621 h 134415"/>
                  <a:gd name="connsiteX22" fmla="*/ 123438 w 157413"/>
                  <a:gd name="connsiteY22" fmla="*/ 109744 h 134415"/>
                  <a:gd name="connsiteX23" fmla="*/ 121133 w 157413"/>
                  <a:gd name="connsiteY23" fmla="*/ 112681 h 134415"/>
                  <a:gd name="connsiteX24" fmla="*/ 120859 w 157413"/>
                  <a:gd name="connsiteY24" fmla="*/ 109195 h 134415"/>
                  <a:gd name="connsiteX25" fmla="*/ 118307 w 157413"/>
                  <a:gd name="connsiteY25" fmla="*/ 106149 h 134415"/>
                  <a:gd name="connsiteX26" fmla="*/ 115617 w 157413"/>
                  <a:gd name="connsiteY26" fmla="*/ 107412 h 134415"/>
                  <a:gd name="connsiteX27" fmla="*/ 112599 w 157413"/>
                  <a:gd name="connsiteY27" fmla="*/ 118417 h 134415"/>
                  <a:gd name="connsiteX28" fmla="*/ 113833 w 157413"/>
                  <a:gd name="connsiteY28" fmla="*/ 133373 h 134415"/>
                  <a:gd name="connsiteX29" fmla="*/ 106945 w 157413"/>
                  <a:gd name="connsiteY29" fmla="*/ 134416 h 134415"/>
                  <a:gd name="connsiteX30" fmla="*/ 89025 w 157413"/>
                  <a:gd name="connsiteY30" fmla="*/ 118526 h 134415"/>
                  <a:gd name="connsiteX31" fmla="*/ 89492 w 157413"/>
                  <a:gd name="connsiteY31" fmla="*/ 115261 h 134415"/>
                  <a:gd name="connsiteX32" fmla="*/ 97230 w 157413"/>
                  <a:gd name="connsiteY32" fmla="*/ 111501 h 134415"/>
                  <a:gd name="connsiteX33" fmla="*/ 92071 w 157413"/>
                  <a:gd name="connsiteY33" fmla="*/ 102994 h 134415"/>
                  <a:gd name="connsiteX34" fmla="*/ 97889 w 157413"/>
                  <a:gd name="connsiteY34" fmla="*/ 97642 h 134415"/>
                  <a:gd name="connsiteX35" fmla="*/ 88366 w 157413"/>
                  <a:gd name="connsiteY35" fmla="*/ 86473 h 134415"/>
                  <a:gd name="connsiteX36" fmla="*/ 82219 w 157413"/>
                  <a:gd name="connsiteY36" fmla="*/ 87735 h 134415"/>
                  <a:gd name="connsiteX37" fmla="*/ 53376 w 157413"/>
                  <a:gd name="connsiteY37" fmla="*/ 108098 h 134415"/>
                  <a:gd name="connsiteX38" fmla="*/ 45006 w 157413"/>
                  <a:gd name="connsiteY38" fmla="*/ 116907 h 134415"/>
                  <a:gd name="connsiteX39" fmla="*/ 42482 w 157413"/>
                  <a:gd name="connsiteY39" fmla="*/ 92098 h 134415"/>
                  <a:gd name="connsiteX40" fmla="*/ 33370 w 157413"/>
                  <a:gd name="connsiteY40" fmla="*/ 87241 h 134415"/>
                  <a:gd name="connsiteX41" fmla="*/ 21296 w 157413"/>
                  <a:gd name="connsiteY41" fmla="*/ 76346 h 134415"/>
                  <a:gd name="connsiteX42" fmla="*/ 21241 w 157413"/>
                  <a:gd name="connsiteY42" fmla="*/ 73520 h 134415"/>
                  <a:gd name="connsiteX43" fmla="*/ 25138 w 157413"/>
                  <a:gd name="connsiteY43" fmla="*/ 69705 h 134415"/>
                  <a:gd name="connsiteX44" fmla="*/ 25577 w 157413"/>
                  <a:gd name="connsiteY44" fmla="*/ 65122 h 134415"/>
                  <a:gd name="connsiteX45" fmla="*/ 18826 w 157413"/>
                  <a:gd name="connsiteY45" fmla="*/ 58563 h 134415"/>
                  <a:gd name="connsiteX46" fmla="*/ 14215 w 157413"/>
                  <a:gd name="connsiteY46" fmla="*/ 54063 h 134415"/>
                  <a:gd name="connsiteX47" fmla="*/ 14270 w 157413"/>
                  <a:gd name="connsiteY47" fmla="*/ 48986 h 134415"/>
                  <a:gd name="connsiteX48" fmla="*/ 12267 w 157413"/>
                  <a:gd name="connsiteY48" fmla="*/ 46927 h 134415"/>
                  <a:gd name="connsiteX49" fmla="*/ 13941 w 157413"/>
                  <a:gd name="connsiteY49" fmla="*/ 39381 h 134415"/>
                  <a:gd name="connsiteX50" fmla="*/ 3348 w 157413"/>
                  <a:gd name="connsiteY50" fmla="*/ 31916 h 134415"/>
                  <a:gd name="connsiteX51" fmla="*/ 0 w 157413"/>
                  <a:gd name="connsiteY51" fmla="*/ 23930 h 134415"/>
                  <a:gd name="connsiteX52" fmla="*/ 9111 w 157413"/>
                  <a:gd name="connsiteY52" fmla="*/ 17646 h 134415"/>
                  <a:gd name="connsiteX53" fmla="*/ 18880 w 157413"/>
                  <a:gd name="connsiteY53" fmla="*/ 21158 h 134415"/>
                  <a:gd name="connsiteX54" fmla="*/ 26482 w 157413"/>
                  <a:gd name="connsiteY54" fmla="*/ 27635 h 134415"/>
                  <a:gd name="connsiteX55" fmla="*/ 36252 w 157413"/>
                  <a:gd name="connsiteY55" fmla="*/ 28376 h 134415"/>
                  <a:gd name="connsiteX56" fmla="*/ 43388 w 157413"/>
                  <a:gd name="connsiteY56" fmla="*/ 31971 h 134415"/>
                  <a:gd name="connsiteX57" fmla="*/ 46900 w 157413"/>
                  <a:gd name="connsiteY57" fmla="*/ 30709 h 134415"/>
                  <a:gd name="connsiteX58" fmla="*/ 48904 w 157413"/>
                  <a:gd name="connsiteY58" fmla="*/ 23299 h 134415"/>
                  <a:gd name="connsiteX59" fmla="*/ 34770 w 157413"/>
                  <a:gd name="connsiteY59" fmla="*/ 9303 h 134415"/>
                  <a:gd name="connsiteX60" fmla="*/ 35045 w 157413"/>
                  <a:gd name="connsiteY60" fmla="*/ 6120 h 134415"/>
                  <a:gd name="connsiteX61" fmla="*/ 41412 w 157413"/>
                  <a:gd name="connsiteY61" fmla="*/ 0 h 134415"/>
                  <a:gd name="connsiteX62" fmla="*/ 51839 w 157413"/>
                  <a:gd name="connsiteY62" fmla="*/ 3677 h 134415"/>
                  <a:gd name="connsiteX63" fmla="*/ 56724 w 157413"/>
                  <a:gd name="connsiteY63" fmla="*/ 9303 h 134415"/>
                  <a:gd name="connsiteX64" fmla="*/ 69074 w 157413"/>
                  <a:gd name="connsiteY64" fmla="*/ 23573 h 13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57413" h="134415">
                    <a:moveTo>
                      <a:pt x="68936" y="23628"/>
                    </a:moveTo>
                    <a:lnTo>
                      <a:pt x="82164" y="26592"/>
                    </a:lnTo>
                    <a:lnTo>
                      <a:pt x="89601" y="16932"/>
                    </a:lnTo>
                    <a:lnTo>
                      <a:pt x="99234" y="11224"/>
                    </a:lnTo>
                    <a:lnTo>
                      <a:pt x="99755" y="9770"/>
                    </a:lnTo>
                    <a:lnTo>
                      <a:pt x="100112" y="9523"/>
                    </a:lnTo>
                    <a:lnTo>
                      <a:pt x="104777" y="2991"/>
                    </a:lnTo>
                    <a:lnTo>
                      <a:pt x="109909" y="9358"/>
                    </a:lnTo>
                    <a:lnTo>
                      <a:pt x="111391" y="11197"/>
                    </a:lnTo>
                    <a:lnTo>
                      <a:pt x="118526" y="20033"/>
                    </a:lnTo>
                    <a:lnTo>
                      <a:pt x="124179" y="35237"/>
                    </a:lnTo>
                    <a:lnTo>
                      <a:pt x="131919" y="43332"/>
                    </a:lnTo>
                    <a:lnTo>
                      <a:pt x="133730" y="49452"/>
                    </a:lnTo>
                    <a:lnTo>
                      <a:pt x="146490" y="52169"/>
                    </a:lnTo>
                    <a:lnTo>
                      <a:pt x="157413" y="59112"/>
                    </a:lnTo>
                    <a:lnTo>
                      <a:pt x="156480" y="62762"/>
                    </a:lnTo>
                    <a:lnTo>
                      <a:pt x="143170" y="60978"/>
                    </a:lnTo>
                    <a:lnTo>
                      <a:pt x="132110" y="68141"/>
                    </a:lnTo>
                    <a:lnTo>
                      <a:pt x="128955" y="85677"/>
                    </a:lnTo>
                    <a:lnTo>
                      <a:pt x="125799" y="92098"/>
                    </a:lnTo>
                    <a:lnTo>
                      <a:pt x="128488" y="99536"/>
                    </a:lnTo>
                    <a:lnTo>
                      <a:pt x="124673" y="101621"/>
                    </a:lnTo>
                    <a:lnTo>
                      <a:pt x="123438" y="109744"/>
                    </a:lnTo>
                    <a:lnTo>
                      <a:pt x="121133" y="112681"/>
                    </a:lnTo>
                    <a:lnTo>
                      <a:pt x="120859" y="109195"/>
                    </a:lnTo>
                    <a:lnTo>
                      <a:pt x="118307" y="106149"/>
                    </a:lnTo>
                    <a:lnTo>
                      <a:pt x="115617" y="107412"/>
                    </a:lnTo>
                    <a:lnTo>
                      <a:pt x="112599" y="118417"/>
                    </a:lnTo>
                    <a:lnTo>
                      <a:pt x="113833" y="133373"/>
                    </a:lnTo>
                    <a:lnTo>
                      <a:pt x="106945" y="134416"/>
                    </a:lnTo>
                    <a:lnTo>
                      <a:pt x="89025" y="118526"/>
                    </a:lnTo>
                    <a:lnTo>
                      <a:pt x="89492" y="115261"/>
                    </a:lnTo>
                    <a:lnTo>
                      <a:pt x="97230" y="111501"/>
                    </a:lnTo>
                    <a:lnTo>
                      <a:pt x="92071" y="102994"/>
                    </a:lnTo>
                    <a:lnTo>
                      <a:pt x="97889" y="97642"/>
                    </a:lnTo>
                    <a:lnTo>
                      <a:pt x="88366" y="86473"/>
                    </a:lnTo>
                    <a:lnTo>
                      <a:pt x="82219" y="87735"/>
                    </a:lnTo>
                    <a:lnTo>
                      <a:pt x="53376" y="108098"/>
                    </a:lnTo>
                    <a:lnTo>
                      <a:pt x="45006" y="116907"/>
                    </a:lnTo>
                    <a:lnTo>
                      <a:pt x="42482" y="92098"/>
                    </a:lnTo>
                    <a:lnTo>
                      <a:pt x="33370" y="87241"/>
                    </a:lnTo>
                    <a:lnTo>
                      <a:pt x="21296" y="76346"/>
                    </a:lnTo>
                    <a:lnTo>
                      <a:pt x="21241" y="73520"/>
                    </a:lnTo>
                    <a:lnTo>
                      <a:pt x="25138" y="69705"/>
                    </a:lnTo>
                    <a:lnTo>
                      <a:pt x="25577" y="65122"/>
                    </a:lnTo>
                    <a:lnTo>
                      <a:pt x="18826" y="58563"/>
                    </a:lnTo>
                    <a:lnTo>
                      <a:pt x="14215" y="54063"/>
                    </a:lnTo>
                    <a:lnTo>
                      <a:pt x="14270" y="48986"/>
                    </a:lnTo>
                    <a:lnTo>
                      <a:pt x="12267" y="46927"/>
                    </a:lnTo>
                    <a:lnTo>
                      <a:pt x="13941" y="39381"/>
                    </a:lnTo>
                    <a:lnTo>
                      <a:pt x="3348" y="31916"/>
                    </a:lnTo>
                    <a:lnTo>
                      <a:pt x="0" y="23930"/>
                    </a:lnTo>
                    <a:lnTo>
                      <a:pt x="9111" y="17646"/>
                    </a:lnTo>
                    <a:lnTo>
                      <a:pt x="18880" y="21158"/>
                    </a:lnTo>
                    <a:lnTo>
                      <a:pt x="26482" y="27635"/>
                    </a:lnTo>
                    <a:lnTo>
                      <a:pt x="36252" y="28376"/>
                    </a:lnTo>
                    <a:lnTo>
                      <a:pt x="43388" y="31971"/>
                    </a:lnTo>
                    <a:lnTo>
                      <a:pt x="46900" y="30709"/>
                    </a:lnTo>
                    <a:lnTo>
                      <a:pt x="48904" y="23299"/>
                    </a:lnTo>
                    <a:lnTo>
                      <a:pt x="34770" y="9303"/>
                    </a:lnTo>
                    <a:lnTo>
                      <a:pt x="35045" y="6120"/>
                    </a:lnTo>
                    <a:lnTo>
                      <a:pt x="41412" y="0"/>
                    </a:lnTo>
                    <a:lnTo>
                      <a:pt x="51839" y="3677"/>
                    </a:lnTo>
                    <a:lnTo>
                      <a:pt x="56724" y="9303"/>
                    </a:lnTo>
                    <a:lnTo>
                      <a:pt x="69074" y="235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4" name="Freeform: Shape 3263">
                <a:extLst>
                  <a:ext uri="{FF2B5EF4-FFF2-40B4-BE49-F238E27FC236}">
                    <a16:creationId xmlns:a16="http://schemas.microsoft.com/office/drawing/2014/main" id="{D77BBD55-A8AB-B530-4823-7EB29D826934}"/>
                  </a:ext>
                </a:extLst>
              </p:cNvPr>
              <p:cNvSpPr/>
              <p:nvPr/>
            </p:nvSpPr>
            <p:spPr>
              <a:xfrm>
                <a:off x="1502726" y="3711284"/>
                <a:ext cx="4210" cy="3669"/>
              </a:xfrm>
              <a:custGeom>
                <a:avLst/>
                <a:gdLst>
                  <a:gd name="connsiteX0" fmla="*/ 12926 w 40368"/>
                  <a:gd name="connsiteY0" fmla="*/ 5927 h 35181"/>
                  <a:gd name="connsiteX1" fmla="*/ 19512 w 40368"/>
                  <a:gd name="connsiteY1" fmla="*/ 9578 h 35181"/>
                  <a:gd name="connsiteX2" fmla="*/ 26098 w 40368"/>
                  <a:gd name="connsiteY2" fmla="*/ 7108 h 35181"/>
                  <a:gd name="connsiteX3" fmla="*/ 29556 w 40368"/>
                  <a:gd name="connsiteY3" fmla="*/ 8425 h 35181"/>
                  <a:gd name="connsiteX4" fmla="*/ 31230 w 40368"/>
                  <a:gd name="connsiteY4" fmla="*/ 14023 h 35181"/>
                  <a:gd name="connsiteX5" fmla="*/ 35950 w 40368"/>
                  <a:gd name="connsiteY5" fmla="*/ 19155 h 35181"/>
                  <a:gd name="connsiteX6" fmla="*/ 40369 w 40368"/>
                  <a:gd name="connsiteY6" fmla="*/ 35182 h 35181"/>
                  <a:gd name="connsiteX7" fmla="*/ 26098 w 40368"/>
                  <a:gd name="connsiteY7" fmla="*/ 31203 h 35181"/>
                  <a:gd name="connsiteX8" fmla="*/ 21186 w 40368"/>
                  <a:gd name="connsiteY8" fmla="*/ 29831 h 35181"/>
                  <a:gd name="connsiteX9" fmla="*/ 16767 w 40368"/>
                  <a:gd name="connsiteY9" fmla="*/ 23189 h 35181"/>
                  <a:gd name="connsiteX10" fmla="*/ 11746 w 40368"/>
                  <a:gd name="connsiteY10" fmla="*/ 21021 h 35181"/>
                  <a:gd name="connsiteX11" fmla="*/ 1290 w 40368"/>
                  <a:gd name="connsiteY11" fmla="*/ 5296 h 35181"/>
                  <a:gd name="connsiteX12" fmla="*/ 0 w 40368"/>
                  <a:gd name="connsiteY12" fmla="*/ 2141 h 35181"/>
                  <a:gd name="connsiteX13" fmla="*/ 9111 w 40368"/>
                  <a:gd name="connsiteY13" fmla="*/ 0 h 35181"/>
                  <a:gd name="connsiteX14" fmla="*/ 12953 w 40368"/>
                  <a:gd name="connsiteY14" fmla="*/ 5927 h 3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368" h="35181">
                    <a:moveTo>
                      <a:pt x="12926" y="5927"/>
                    </a:moveTo>
                    <a:lnTo>
                      <a:pt x="19512" y="9578"/>
                    </a:lnTo>
                    <a:lnTo>
                      <a:pt x="26098" y="7108"/>
                    </a:lnTo>
                    <a:lnTo>
                      <a:pt x="29556" y="8425"/>
                    </a:lnTo>
                    <a:lnTo>
                      <a:pt x="31230" y="14023"/>
                    </a:lnTo>
                    <a:lnTo>
                      <a:pt x="35950" y="19155"/>
                    </a:lnTo>
                    <a:lnTo>
                      <a:pt x="40369" y="35182"/>
                    </a:lnTo>
                    <a:lnTo>
                      <a:pt x="26098" y="31203"/>
                    </a:lnTo>
                    <a:lnTo>
                      <a:pt x="21186" y="29831"/>
                    </a:lnTo>
                    <a:lnTo>
                      <a:pt x="16767" y="23189"/>
                    </a:lnTo>
                    <a:lnTo>
                      <a:pt x="11746" y="21021"/>
                    </a:lnTo>
                    <a:lnTo>
                      <a:pt x="1290" y="5296"/>
                    </a:lnTo>
                    <a:lnTo>
                      <a:pt x="0" y="2141"/>
                    </a:lnTo>
                    <a:lnTo>
                      <a:pt x="9111" y="0"/>
                    </a:lnTo>
                    <a:lnTo>
                      <a:pt x="12953" y="59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5" name="Freeform: Shape 3264">
                <a:extLst>
                  <a:ext uri="{FF2B5EF4-FFF2-40B4-BE49-F238E27FC236}">
                    <a16:creationId xmlns:a16="http://schemas.microsoft.com/office/drawing/2014/main" id="{9DE425B2-20CA-C2BE-5224-8AC93E7E758B}"/>
                  </a:ext>
                </a:extLst>
              </p:cNvPr>
              <p:cNvSpPr/>
              <p:nvPr/>
            </p:nvSpPr>
            <p:spPr>
              <a:xfrm>
                <a:off x="1503233" y="3705888"/>
                <a:ext cx="386" cy="455"/>
              </a:xfrm>
              <a:custGeom>
                <a:avLst/>
                <a:gdLst>
                  <a:gd name="connsiteX0" fmla="*/ 3704 w 3704"/>
                  <a:gd name="connsiteY0" fmla="*/ 2717 h 4363"/>
                  <a:gd name="connsiteX1" fmla="*/ 2086 w 3704"/>
                  <a:gd name="connsiteY1" fmla="*/ 4363 h 4363"/>
                  <a:gd name="connsiteX2" fmla="*/ 0 w 3704"/>
                  <a:gd name="connsiteY2" fmla="*/ 1372 h 4363"/>
                  <a:gd name="connsiteX3" fmla="*/ 1125 w 3704"/>
                  <a:gd name="connsiteY3" fmla="*/ 0 h 4363"/>
                  <a:gd name="connsiteX4" fmla="*/ 3458 w 3704"/>
                  <a:gd name="connsiteY4" fmla="*/ 960 h 4363"/>
                  <a:gd name="connsiteX5" fmla="*/ 3704 w 3704"/>
                  <a:gd name="connsiteY5" fmla="*/ 2717 h 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4" h="4363">
                    <a:moveTo>
                      <a:pt x="3704" y="2717"/>
                    </a:moveTo>
                    <a:lnTo>
                      <a:pt x="2086" y="4363"/>
                    </a:lnTo>
                    <a:lnTo>
                      <a:pt x="0" y="1372"/>
                    </a:lnTo>
                    <a:lnTo>
                      <a:pt x="1125" y="0"/>
                    </a:lnTo>
                    <a:lnTo>
                      <a:pt x="3458" y="960"/>
                    </a:lnTo>
                    <a:lnTo>
                      <a:pt x="3704"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6" name="Freeform: Shape 3265">
                <a:extLst>
                  <a:ext uri="{FF2B5EF4-FFF2-40B4-BE49-F238E27FC236}">
                    <a16:creationId xmlns:a16="http://schemas.microsoft.com/office/drawing/2014/main" id="{0A15EC23-BCA0-5498-5B29-3C959DCD4F79}"/>
                  </a:ext>
                </a:extLst>
              </p:cNvPr>
              <p:cNvSpPr/>
              <p:nvPr/>
            </p:nvSpPr>
            <p:spPr>
              <a:xfrm>
                <a:off x="1182400" y="3803165"/>
                <a:ext cx="727" cy="916"/>
              </a:xfrm>
              <a:custGeom>
                <a:avLst/>
                <a:gdLst>
                  <a:gd name="connsiteX0" fmla="*/ 0 w 6970"/>
                  <a:gd name="connsiteY0" fmla="*/ 905 h 8781"/>
                  <a:gd name="connsiteX1" fmla="*/ 1153 w 6970"/>
                  <a:gd name="connsiteY1" fmla="*/ 0 h 8781"/>
                  <a:gd name="connsiteX2" fmla="*/ 3430 w 6970"/>
                  <a:gd name="connsiteY2" fmla="*/ 3320 h 8781"/>
                  <a:gd name="connsiteX3" fmla="*/ 6971 w 6970"/>
                  <a:gd name="connsiteY3" fmla="*/ 5763 h 8781"/>
                  <a:gd name="connsiteX4" fmla="*/ 4418 w 6970"/>
                  <a:gd name="connsiteY4" fmla="*/ 8782 h 8781"/>
                  <a:gd name="connsiteX5" fmla="*/ 1153 w 6970"/>
                  <a:gd name="connsiteY5" fmla="*/ 7959 h 8781"/>
                  <a:gd name="connsiteX6" fmla="*/ 439 w 6970"/>
                  <a:gd name="connsiteY6" fmla="*/ 6257 h 8781"/>
                  <a:gd name="connsiteX7" fmla="*/ 0 w 6970"/>
                  <a:gd name="connsiteY7" fmla="*/ 905 h 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0" h="8781">
                    <a:moveTo>
                      <a:pt x="0" y="905"/>
                    </a:moveTo>
                    <a:lnTo>
                      <a:pt x="1153" y="0"/>
                    </a:lnTo>
                    <a:lnTo>
                      <a:pt x="3430" y="3320"/>
                    </a:lnTo>
                    <a:lnTo>
                      <a:pt x="6971" y="5763"/>
                    </a:lnTo>
                    <a:lnTo>
                      <a:pt x="4418" y="8782"/>
                    </a:lnTo>
                    <a:lnTo>
                      <a:pt x="1153" y="7959"/>
                    </a:lnTo>
                    <a:lnTo>
                      <a:pt x="439" y="6257"/>
                    </a:lnTo>
                    <a:lnTo>
                      <a:pt x="0"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7" name="Freeform: Shape 3266">
                <a:extLst>
                  <a:ext uri="{FF2B5EF4-FFF2-40B4-BE49-F238E27FC236}">
                    <a16:creationId xmlns:a16="http://schemas.microsoft.com/office/drawing/2014/main" id="{D32C62AA-8FCA-DFBA-9257-2049FBC37A83}"/>
                  </a:ext>
                </a:extLst>
              </p:cNvPr>
              <p:cNvSpPr/>
              <p:nvPr/>
            </p:nvSpPr>
            <p:spPr>
              <a:xfrm>
                <a:off x="1635573" y="3760095"/>
                <a:ext cx="14068" cy="18018"/>
              </a:xfrm>
              <a:custGeom>
                <a:avLst/>
                <a:gdLst>
                  <a:gd name="connsiteX0" fmla="*/ 11252 w 134882"/>
                  <a:gd name="connsiteY0" fmla="*/ 192 h 172753"/>
                  <a:gd name="connsiteX1" fmla="*/ 23299 w 134882"/>
                  <a:gd name="connsiteY1" fmla="*/ 7355 h 172753"/>
                  <a:gd name="connsiteX2" fmla="*/ 26043 w 134882"/>
                  <a:gd name="connsiteY2" fmla="*/ 7135 h 172753"/>
                  <a:gd name="connsiteX3" fmla="*/ 27416 w 134882"/>
                  <a:gd name="connsiteY3" fmla="*/ 3869 h 172753"/>
                  <a:gd name="connsiteX4" fmla="*/ 37899 w 134882"/>
                  <a:gd name="connsiteY4" fmla="*/ 15258 h 172753"/>
                  <a:gd name="connsiteX5" fmla="*/ 42674 w 134882"/>
                  <a:gd name="connsiteY5" fmla="*/ 15341 h 172753"/>
                  <a:gd name="connsiteX6" fmla="*/ 47779 w 134882"/>
                  <a:gd name="connsiteY6" fmla="*/ 11938 h 172753"/>
                  <a:gd name="connsiteX7" fmla="*/ 52004 w 134882"/>
                  <a:gd name="connsiteY7" fmla="*/ 19539 h 172753"/>
                  <a:gd name="connsiteX8" fmla="*/ 51730 w 134882"/>
                  <a:gd name="connsiteY8" fmla="*/ 35429 h 172753"/>
                  <a:gd name="connsiteX9" fmla="*/ 55106 w 134882"/>
                  <a:gd name="connsiteY9" fmla="*/ 39792 h 172753"/>
                  <a:gd name="connsiteX10" fmla="*/ 62899 w 134882"/>
                  <a:gd name="connsiteY10" fmla="*/ 41988 h 172753"/>
                  <a:gd name="connsiteX11" fmla="*/ 69706 w 134882"/>
                  <a:gd name="connsiteY11" fmla="*/ 43881 h 172753"/>
                  <a:gd name="connsiteX12" fmla="*/ 91961 w 134882"/>
                  <a:gd name="connsiteY12" fmla="*/ 43634 h 172753"/>
                  <a:gd name="connsiteX13" fmla="*/ 102362 w 134882"/>
                  <a:gd name="connsiteY13" fmla="*/ 43552 h 172753"/>
                  <a:gd name="connsiteX14" fmla="*/ 116304 w 134882"/>
                  <a:gd name="connsiteY14" fmla="*/ 43387 h 172753"/>
                  <a:gd name="connsiteX15" fmla="*/ 123576 w 134882"/>
                  <a:gd name="connsiteY15" fmla="*/ 47010 h 172753"/>
                  <a:gd name="connsiteX16" fmla="*/ 127610 w 134882"/>
                  <a:gd name="connsiteY16" fmla="*/ 49260 h 172753"/>
                  <a:gd name="connsiteX17" fmla="*/ 128845 w 134882"/>
                  <a:gd name="connsiteY17" fmla="*/ 52032 h 172753"/>
                  <a:gd name="connsiteX18" fmla="*/ 123576 w 134882"/>
                  <a:gd name="connsiteY18" fmla="*/ 55874 h 172753"/>
                  <a:gd name="connsiteX19" fmla="*/ 118663 w 134882"/>
                  <a:gd name="connsiteY19" fmla="*/ 67729 h 172753"/>
                  <a:gd name="connsiteX20" fmla="*/ 114410 w 134882"/>
                  <a:gd name="connsiteY20" fmla="*/ 70528 h 172753"/>
                  <a:gd name="connsiteX21" fmla="*/ 111913 w 134882"/>
                  <a:gd name="connsiteY21" fmla="*/ 74919 h 172753"/>
                  <a:gd name="connsiteX22" fmla="*/ 107631 w 134882"/>
                  <a:gd name="connsiteY22" fmla="*/ 75248 h 172753"/>
                  <a:gd name="connsiteX23" fmla="*/ 102362 w 134882"/>
                  <a:gd name="connsiteY23" fmla="*/ 77608 h 172753"/>
                  <a:gd name="connsiteX24" fmla="*/ 97230 w 134882"/>
                  <a:gd name="connsiteY24" fmla="*/ 79859 h 172753"/>
                  <a:gd name="connsiteX25" fmla="*/ 93526 w 134882"/>
                  <a:gd name="connsiteY25" fmla="*/ 84414 h 172753"/>
                  <a:gd name="connsiteX26" fmla="*/ 91961 w 134882"/>
                  <a:gd name="connsiteY26" fmla="*/ 90397 h 172753"/>
                  <a:gd name="connsiteX27" fmla="*/ 91358 w 134882"/>
                  <a:gd name="connsiteY27" fmla="*/ 92593 h 172753"/>
                  <a:gd name="connsiteX28" fmla="*/ 91961 w 134882"/>
                  <a:gd name="connsiteY28" fmla="*/ 94513 h 172753"/>
                  <a:gd name="connsiteX29" fmla="*/ 96270 w 134882"/>
                  <a:gd name="connsiteY29" fmla="*/ 108674 h 172753"/>
                  <a:gd name="connsiteX30" fmla="*/ 99646 w 134882"/>
                  <a:gd name="connsiteY30" fmla="*/ 108153 h 172753"/>
                  <a:gd name="connsiteX31" fmla="*/ 102335 w 134882"/>
                  <a:gd name="connsiteY31" fmla="*/ 110814 h 172753"/>
                  <a:gd name="connsiteX32" fmla="*/ 104750 w 134882"/>
                  <a:gd name="connsiteY32" fmla="*/ 113229 h 172753"/>
                  <a:gd name="connsiteX33" fmla="*/ 108839 w 134882"/>
                  <a:gd name="connsiteY33" fmla="*/ 110732 h 172753"/>
                  <a:gd name="connsiteX34" fmla="*/ 109607 w 134882"/>
                  <a:gd name="connsiteY34" fmla="*/ 104530 h 172753"/>
                  <a:gd name="connsiteX35" fmla="*/ 113532 w 134882"/>
                  <a:gd name="connsiteY35" fmla="*/ 98273 h 172753"/>
                  <a:gd name="connsiteX36" fmla="*/ 114794 w 134882"/>
                  <a:gd name="connsiteY36" fmla="*/ 92263 h 172753"/>
                  <a:gd name="connsiteX37" fmla="*/ 121984 w 134882"/>
                  <a:gd name="connsiteY37" fmla="*/ 91989 h 172753"/>
                  <a:gd name="connsiteX38" fmla="*/ 123548 w 134882"/>
                  <a:gd name="connsiteY38" fmla="*/ 93059 h 172753"/>
                  <a:gd name="connsiteX39" fmla="*/ 126375 w 134882"/>
                  <a:gd name="connsiteY39" fmla="*/ 102746 h 172753"/>
                  <a:gd name="connsiteX40" fmla="*/ 127445 w 134882"/>
                  <a:gd name="connsiteY40" fmla="*/ 116056 h 172753"/>
                  <a:gd name="connsiteX41" fmla="*/ 130656 w 134882"/>
                  <a:gd name="connsiteY41" fmla="*/ 124454 h 172753"/>
                  <a:gd name="connsiteX42" fmla="*/ 133291 w 134882"/>
                  <a:gd name="connsiteY42" fmla="*/ 146079 h 172753"/>
                  <a:gd name="connsiteX43" fmla="*/ 134883 w 134882"/>
                  <a:gd name="connsiteY43" fmla="*/ 167677 h 172753"/>
                  <a:gd name="connsiteX44" fmla="*/ 133126 w 134882"/>
                  <a:gd name="connsiteY44" fmla="*/ 168335 h 172753"/>
                  <a:gd name="connsiteX45" fmla="*/ 131836 w 134882"/>
                  <a:gd name="connsiteY45" fmla="*/ 165426 h 172753"/>
                  <a:gd name="connsiteX46" fmla="*/ 128681 w 134882"/>
                  <a:gd name="connsiteY46" fmla="*/ 164740 h 172753"/>
                  <a:gd name="connsiteX47" fmla="*/ 127281 w 134882"/>
                  <a:gd name="connsiteY47" fmla="*/ 162435 h 172753"/>
                  <a:gd name="connsiteX48" fmla="*/ 126045 w 134882"/>
                  <a:gd name="connsiteY48" fmla="*/ 162078 h 172753"/>
                  <a:gd name="connsiteX49" fmla="*/ 123548 w 134882"/>
                  <a:gd name="connsiteY49" fmla="*/ 164493 h 172753"/>
                  <a:gd name="connsiteX50" fmla="*/ 121408 w 134882"/>
                  <a:gd name="connsiteY50" fmla="*/ 171985 h 172753"/>
                  <a:gd name="connsiteX51" fmla="*/ 119679 w 134882"/>
                  <a:gd name="connsiteY51" fmla="*/ 172753 h 172753"/>
                  <a:gd name="connsiteX52" fmla="*/ 113450 w 134882"/>
                  <a:gd name="connsiteY52" fmla="*/ 160596 h 172753"/>
                  <a:gd name="connsiteX53" fmla="*/ 111364 w 134882"/>
                  <a:gd name="connsiteY53" fmla="*/ 143362 h 172753"/>
                  <a:gd name="connsiteX54" fmla="*/ 107412 w 134882"/>
                  <a:gd name="connsiteY54" fmla="*/ 131973 h 172753"/>
                  <a:gd name="connsiteX55" fmla="*/ 102335 w 134882"/>
                  <a:gd name="connsiteY55" fmla="*/ 125908 h 172753"/>
                  <a:gd name="connsiteX56" fmla="*/ 98383 w 134882"/>
                  <a:gd name="connsiteY56" fmla="*/ 121160 h 172753"/>
                  <a:gd name="connsiteX57" fmla="*/ 95035 w 134882"/>
                  <a:gd name="connsiteY57" fmla="*/ 122231 h 172753"/>
                  <a:gd name="connsiteX58" fmla="*/ 91961 w 134882"/>
                  <a:gd name="connsiteY58" fmla="*/ 126512 h 172753"/>
                  <a:gd name="connsiteX59" fmla="*/ 90370 w 134882"/>
                  <a:gd name="connsiteY59" fmla="*/ 128707 h 172753"/>
                  <a:gd name="connsiteX60" fmla="*/ 83152 w 134882"/>
                  <a:gd name="connsiteY60" fmla="*/ 132330 h 172753"/>
                  <a:gd name="connsiteX61" fmla="*/ 79118 w 134882"/>
                  <a:gd name="connsiteY61" fmla="*/ 141413 h 172753"/>
                  <a:gd name="connsiteX62" fmla="*/ 73054 w 134882"/>
                  <a:gd name="connsiteY62" fmla="*/ 147067 h 172753"/>
                  <a:gd name="connsiteX63" fmla="*/ 69568 w 134882"/>
                  <a:gd name="connsiteY63" fmla="*/ 146408 h 172753"/>
                  <a:gd name="connsiteX64" fmla="*/ 68004 w 134882"/>
                  <a:gd name="connsiteY64" fmla="*/ 143828 h 172753"/>
                  <a:gd name="connsiteX65" fmla="*/ 64573 w 134882"/>
                  <a:gd name="connsiteY65" fmla="*/ 149976 h 172753"/>
                  <a:gd name="connsiteX66" fmla="*/ 62872 w 134882"/>
                  <a:gd name="connsiteY66" fmla="*/ 149756 h 172753"/>
                  <a:gd name="connsiteX67" fmla="*/ 60237 w 134882"/>
                  <a:gd name="connsiteY67" fmla="*/ 149427 h 172753"/>
                  <a:gd name="connsiteX68" fmla="*/ 52800 w 134882"/>
                  <a:gd name="connsiteY68" fmla="*/ 144377 h 172753"/>
                  <a:gd name="connsiteX69" fmla="*/ 50715 w 134882"/>
                  <a:gd name="connsiteY69" fmla="*/ 148549 h 172753"/>
                  <a:gd name="connsiteX70" fmla="*/ 47422 w 134882"/>
                  <a:gd name="connsiteY70" fmla="*/ 150442 h 172753"/>
                  <a:gd name="connsiteX71" fmla="*/ 45199 w 134882"/>
                  <a:gd name="connsiteY71" fmla="*/ 150634 h 172753"/>
                  <a:gd name="connsiteX72" fmla="*/ 42729 w 134882"/>
                  <a:gd name="connsiteY72" fmla="*/ 146655 h 172753"/>
                  <a:gd name="connsiteX73" fmla="*/ 39381 w 134882"/>
                  <a:gd name="connsiteY73" fmla="*/ 151485 h 172753"/>
                  <a:gd name="connsiteX74" fmla="*/ 33563 w 134882"/>
                  <a:gd name="connsiteY74" fmla="*/ 153132 h 172753"/>
                  <a:gd name="connsiteX75" fmla="*/ 30380 w 134882"/>
                  <a:gd name="connsiteY75" fmla="*/ 150168 h 172753"/>
                  <a:gd name="connsiteX76" fmla="*/ 29776 w 134882"/>
                  <a:gd name="connsiteY76" fmla="*/ 140672 h 172753"/>
                  <a:gd name="connsiteX77" fmla="*/ 29776 w 134882"/>
                  <a:gd name="connsiteY77" fmla="*/ 140535 h 172753"/>
                  <a:gd name="connsiteX78" fmla="*/ 24205 w 134882"/>
                  <a:gd name="connsiteY78" fmla="*/ 114519 h 172753"/>
                  <a:gd name="connsiteX79" fmla="*/ 24506 w 134882"/>
                  <a:gd name="connsiteY79" fmla="*/ 107878 h 172753"/>
                  <a:gd name="connsiteX80" fmla="*/ 20884 w 134882"/>
                  <a:gd name="connsiteY80" fmla="*/ 104448 h 172753"/>
                  <a:gd name="connsiteX81" fmla="*/ 19896 w 134882"/>
                  <a:gd name="connsiteY81" fmla="*/ 98328 h 172753"/>
                  <a:gd name="connsiteX82" fmla="*/ 15587 w 134882"/>
                  <a:gd name="connsiteY82" fmla="*/ 91028 h 172753"/>
                  <a:gd name="connsiteX83" fmla="*/ 19210 w 134882"/>
                  <a:gd name="connsiteY83" fmla="*/ 81286 h 172753"/>
                  <a:gd name="connsiteX84" fmla="*/ 18606 w 134882"/>
                  <a:gd name="connsiteY84" fmla="*/ 73739 h 172753"/>
                  <a:gd name="connsiteX85" fmla="*/ 3705 w 134882"/>
                  <a:gd name="connsiteY85" fmla="*/ 65232 h 172753"/>
                  <a:gd name="connsiteX86" fmla="*/ 0 w 134882"/>
                  <a:gd name="connsiteY86" fmla="*/ 58618 h 172753"/>
                  <a:gd name="connsiteX87" fmla="*/ 2579 w 134882"/>
                  <a:gd name="connsiteY87" fmla="*/ 52553 h 172753"/>
                  <a:gd name="connsiteX88" fmla="*/ 8782 w 134882"/>
                  <a:gd name="connsiteY88" fmla="*/ 49809 h 172753"/>
                  <a:gd name="connsiteX89" fmla="*/ 12020 w 134882"/>
                  <a:gd name="connsiteY89" fmla="*/ 43305 h 172753"/>
                  <a:gd name="connsiteX90" fmla="*/ 23299 w 134882"/>
                  <a:gd name="connsiteY90" fmla="*/ 42125 h 172753"/>
                  <a:gd name="connsiteX91" fmla="*/ 25412 w 134882"/>
                  <a:gd name="connsiteY91" fmla="*/ 39600 h 172753"/>
                  <a:gd name="connsiteX92" fmla="*/ 20884 w 134882"/>
                  <a:gd name="connsiteY92" fmla="*/ 33069 h 172753"/>
                  <a:gd name="connsiteX93" fmla="*/ 13914 w 134882"/>
                  <a:gd name="connsiteY93" fmla="*/ 31203 h 172753"/>
                  <a:gd name="connsiteX94" fmla="*/ 2333 w 134882"/>
                  <a:gd name="connsiteY94" fmla="*/ 21598 h 172753"/>
                  <a:gd name="connsiteX95" fmla="*/ 3897 w 134882"/>
                  <a:gd name="connsiteY95" fmla="*/ 12157 h 172753"/>
                  <a:gd name="connsiteX96" fmla="*/ 11115 w 134882"/>
                  <a:gd name="connsiteY96" fmla="*/ 4391 h 172753"/>
                  <a:gd name="connsiteX97" fmla="*/ 11252 w 134882"/>
                  <a:gd name="connsiteY97" fmla="*/ 0 h 17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34882" h="172753">
                    <a:moveTo>
                      <a:pt x="11252" y="192"/>
                    </a:moveTo>
                    <a:lnTo>
                      <a:pt x="23299" y="7355"/>
                    </a:lnTo>
                    <a:lnTo>
                      <a:pt x="26043" y="7135"/>
                    </a:lnTo>
                    <a:lnTo>
                      <a:pt x="27416" y="3869"/>
                    </a:lnTo>
                    <a:lnTo>
                      <a:pt x="37899" y="15258"/>
                    </a:lnTo>
                    <a:lnTo>
                      <a:pt x="42674" y="15341"/>
                    </a:lnTo>
                    <a:lnTo>
                      <a:pt x="47779" y="11938"/>
                    </a:lnTo>
                    <a:lnTo>
                      <a:pt x="52004" y="19539"/>
                    </a:lnTo>
                    <a:lnTo>
                      <a:pt x="51730" y="35429"/>
                    </a:lnTo>
                    <a:lnTo>
                      <a:pt x="55106" y="39792"/>
                    </a:lnTo>
                    <a:lnTo>
                      <a:pt x="62899" y="41988"/>
                    </a:lnTo>
                    <a:lnTo>
                      <a:pt x="69706" y="43881"/>
                    </a:lnTo>
                    <a:lnTo>
                      <a:pt x="91961" y="43634"/>
                    </a:lnTo>
                    <a:lnTo>
                      <a:pt x="102362" y="43552"/>
                    </a:lnTo>
                    <a:lnTo>
                      <a:pt x="116304" y="43387"/>
                    </a:lnTo>
                    <a:lnTo>
                      <a:pt x="123576" y="47010"/>
                    </a:lnTo>
                    <a:lnTo>
                      <a:pt x="127610" y="49260"/>
                    </a:lnTo>
                    <a:lnTo>
                      <a:pt x="128845" y="52032"/>
                    </a:lnTo>
                    <a:lnTo>
                      <a:pt x="123576" y="55874"/>
                    </a:lnTo>
                    <a:lnTo>
                      <a:pt x="118663" y="67729"/>
                    </a:lnTo>
                    <a:lnTo>
                      <a:pt x="114410" y="70528"/>
                    </a:lnTo>
                    <a:lnTo>
                      <a:pt x="111913" y="74919"/>
                    </a:lnTo>
                    <a:lnTo>
                      <a:pt x="107631" y="75248"/>
                    </a:lnTo>
                    <a:lnTo>
                      <a:pt x="102362" y="77608"/>
                    </a:lnTo>
                    <a:lnTo>
                      <a:pt x="97230" y="79859"/>
                    </a:lnTo>
                    <a:lnTo>
                      <a:pt x="93526" y="84414"/>
                    </a:lnTo>
                    <a:lnTo>
                      <a:pt x="91961" y="90397"/>
                    </a:lnTo>
                    <a:lnTo>
                      <a:pt x="91358" y="92593"/>
                    </a:lnTo>
                    <a:lnTo>
                      <a:pt x="91961" y="94513"/>
                    </a:lnTo>
                    <a:lnTo>
                      <a:pt x="96270" y="108674"/>
                    </a:lnTo>
                    <a:lnTo>
                      <a:pt x="99646" y="108153"/>
                    </a:lnTo>
                    <a:lnTo>
                      <a:pt x="102335" y="110814"/>
                    </a:lnTo>
                    <a:lnTo>
                      <a:pt x="104750" y="113229"/>
                    </a:lnTo>
                    <a:lnTo>
                      <a:pt x="108839" y="110732"/>
                    </a:lnTo>
                    <a:lnTo>
                      <a:pt x="109607" y="104530"/>
                    </a:lnTo>
                    <a:lnTo>
                      <a:pt x="113532" y="98273"/>
                    </a:lnTo>
                    <a:lnTo>
                      <a:pt x="114794" y="92263"/>
                    </a:lnTo>
                    <a:lnTo>
                      <a:pt x="121984" y="91989"/>
                    </a:lnTo>
                    <a:lnTo>
                      <a:pt x="123548" y="93059"/>
                    </a:lnTo>
                    <a:lnTo>
                      <a:pt x="126375" y="102746"/>
                    </a:lnTo>
                    <a:lnTo>
                      <a:pt x="127445" y="116056"/>
                    </a:lnTo>
                    <a:lnTo>
                      <a:pt x="130656" y="124454"/>
                    </a:lnTo>
                    <a:lnTo>
                      <a:pt x="133291" y="146079"/>
                    </a:lnTo>
                    <a:lnTo>
                      <a:pt x="134883" y="167677"/>
                    </a:lnTo>
                    <a:lnTo>
                      <a:pt x="133126" y="168335"/>
                    </a:lnTo>
                    <a:lnTo>
                      <a:pt x="131836" y="165426"/>
                    </a:lnTo>
                    <a:lnTo>
                      <a:pt x="128681" y="164740"/>
                    </a:lnTo>
                    <a:lnTo>
                      <a:pt x="127281" y="162435"/>
                    </a:lnTo>
                    <a:lnTo>
                      <a:pt x="126045" y="162078"/>
                    </a:lnTo>
                    <a:lnTo>
                      <a:pt x="123548" y="164493"/>
                    </a:lnTo>
                    <a:lnTo>
                      <a:pt x="121408" y="171985"/>
                    </a:lnTo>
                    <a:lnTo>
                      <a:pt x="119679" y="172753"/>
                    </a:lnTo>
                    <a:lnTo>
                      <a:pt x="113450" y="160596"/>
                    </a:lnTo>
                    <a:lnTo>
                      <a:pt x="111364" y="143362"/>
                    </a:lnTo>
                    <a:lnTo>
                      <a:pt x="107412" y="131973"/>
                    </a:lnTo>
                    <a:lnTo>
                      <a:pt x="102335" y="125908"/>
                    </a:lnTo>
                    <a:lnTo>
                      <a:pt x="98383" y="121160"/>
                    </a:lnTo>
                    <a:lnTo>
                      <a:pt x="95035" y="122231"/>
                    </a:lnTo>
                    <a:lnTo>
                      <a:pt x="91961" y="126512"/>
                    </a:lnTo>
                    <a:lnTo>
                      <a:pt x="90370" y="128707"/>
                    </a:lnTo>
                    <a:lnTo>
                      <a:pt x="83152" y="132330"/>
                    </a:lnTo>
                    <a:lnTo>
                      <a:pt x="79118" y="141413"/>
                    </a:lnTo>
                    <a:lnTo>
                      <a:pt x="73054" y="147067"/>
                    </a:lnTo>
                    <a:lnTo>
                      <a:pt x="69568" y="146408"/>
                    </a:lnTo>
                    <a:lnTo>
                      <a:pt x="68004" y="143828"/>
                    </a:lnTo>
                    <a:lnTo>
                      <a:pt x="64573" y="149976"/>
                    </a:lnTo>
                    <a:lnTo>
                      <a:pt x="62872" y="149756"/>
                    </a:lnTo>
                    <a:lnTo>
                      <a:pt x="60237" y="149427"/>
                    </a:lnTo>
                    <a:lnTo>
                      <a:pt x="52800" y="144377"/>
                    </a:lnTo>
                    <a:lnTo>
                      <a:pt x="50715" y="148549"/>
                    </a:lnTo>
                    <a:lnTo>
                      <a:pt x="47422" y="150442"/>
                    </a:lnTo>
                    <a:lnTo>
                      <a:pt x="45199" y="150634"/>
                    </a:lnTo>
                    <a:lnTo>
                      <a:pt x="42729" y="146655"/>
                    </a:lnTo>
                    <a:lnTo>
                      <a:pt x="39381" y="151485"/>
                    </a:lnTo>
                    <a:lnTo>
                      <a:pt x="33563" y="153132"/>
                    </a:lnTo>
                    <a:lnTo>
                      <a:pt x="30380" y="150168"/>
                    </a:lnTo>
                    <a:lnTo>
                      <a:pt x="29776" y="140672"/>
                    </a:lnTo>
                    <a:lnTo>
                      <a:pt x="29776" y="140535"/>
                    </a:lnTo>
                    <a:cubicBezTo>
                      <a:pt x="29776" y="140535"/>
                      <a:pt x="24205" y="114519"/>
                      <a:pt x="24205" y="114519"/>
                    </a:cubicBezTo>
                    <a:lnTo>
                      <a:pt x="24506" y="107878"/>
                    </a:lnTo>
                    <a:lnTo>
                      <a:pt x="20884" y="104448"/>
                    </a:lnTo>
                    <a:lnTo>
                      <a:pt x="19896" y="98328"/>
                    </a:lnTo>
                    <a:lnTo>
                      <a:pt x="15587" y="91028"/>
                    </a:lnTo>
                    <a:lnTo>
                      <a:pt x="19210" y="81286"/>
                    </a:lnTo>
                    <a:lnTo>
                      <a:pt x="18606" y="73739"/>
                    </a:lnTo>
                    <a:lnTo>
                      <a:pt x="3705" y="65232"/>
                    </a:lnTo>
                    <a:lnTo>
                      <a:pt x="0" y="58618"/>
                    </a:lnTo>
                    <a:lnTo>
                      <a:pt x="2579" y="52553"/>
                    </a:lnTo>
                    <a:lnTo>
                      <a:pt x="8782" y="49809"/>
                    </a:lnTo>
                    <a:lnTo>
                      <a:pt x="12020" y="43305"/>
                    </a:lnTo>
                    <a:lnTo>
                      <a:pt x="23299" y="42125"/>
                    </a:lnTo>
                    <a:lnTo>
                      <a:pt x="25412" y="39600"/>
                    </a:lnTo>
                    <a:lnTo>
                      <a:pt x="20884" y="33069"/>
                    </a:lnTo>
                    <a:lnTo>
                      <a:pt x="13914" y="31203"/>
                    </a:lnTo>
                    <a:lnTo>
                      <a:pt x="2333" y="21598"/>
                    </a:lnTo>
                    <a:lnTo>
                      <a:pt x="3897" y="12157"/>
                    </a:lnTo>
                    <a:lnTo>
                      <a:pt x="11115" y="4391"/>
                    </a:lnTo>
                    <a:lnTo>
                      <a:pt x="11252"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8" name="Freeform: Shape 3267">
                <a:extLst>
                  <a:ext uri="{FF2B5EF4-FFF2-40B4-BE49-F238E27FC236}">
                    <a16:creationId xmlns:a16="http://schemas.microsoft.com/office/drawing/2014/main" id="{5F1FAD62-BA18-C073-E560-A5C4711F5158}"/>
                  </a:ext>
                </a:extLst>
              </p:cNvPr>
              <p:cNvSpPr/>
              <p:nvPr/>
            </p:nvSpPr>
            <p:spPr>
              <a:xfrm>
                <a:off x="1644609" y="3773897"/>
                <a:ext cx="518" cy="1047"/>
              </a:xfrm>
              <a:custGeom>
                <a:avLst/>
                <a:gdLst>
                  <a:gd name="connsiteX0" fmla="*/ 4062 w 4967"/>
                  <a:gd name="connsiteY0" fmla="*/ 7464 h 10043"/>
                  <a:gd name="connsiteX1" fmla="*/ 1235 w 4967"/>
                  <a:gd name="connsiteY1" fmla="*/ 10044 h 10043"/>
                  <a:gd name="connsiteX2" fmla="*/ 0 w 4967"/>
                  <a:gd name="connsiteY2" fmla="*/ 9824 h 10043"/>
                  <a:gd name="connsiteX3" fmla="*/ 1400 w 4967"/>
                  <a:gd name="connsiteY3" fmla="*/ 5022 h 10043"/>
                  <a:gd name="connsiteX4" fmla="*/ 768 w 4967"/>
                  <a:gd name="connsiteY4" fmla="*/ 55 h 10043"/>
                  <a:gd name="connsiteX5" fmla="*/ 3293 w 4967"/>
                  <a:gd name="connsiteY5" fmla="*/ 0 h 10043"/>
                  <a:gd name="connsiteX6" fmla="*/ 4967 w 4967"/>
                  <a:gd name="connsiteY6" fmla="*/ 3375 h 10043"/>
                  <a:gd name="connsiteX7" fmla="*/ 4089 w 4967"/>
                  <a:gd name="connsiteY7" fmla="*/ 7464 h 1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7" h="10043">
                    <a:moveTo>
                      <a:pt x="4062" y="7464"/>
                    </a:moveTo>
                    <a:lnTo>
                      <a:pt x="1235" y="10044"/>
                    </a:lnTo>
                    <a:lnTo>
                      <a:pt x="0" y="9824"/>
                    </a:lnTo>
                    <a:lnTo>
                      <a:pt x="1400" y="5022"/>
                    </a:lnTo>
                    <a:lnTo>
                      <a:pt x="768" y="55"/>
                    </a:lnTo>
                    <a:lnTo>
                      <a:pt x="3293" y="0"/>
                    </a:lnTo>
                    <a:lnTo>
                      <a:pt x="4967" y="3375"/>
                    </a:lnTo>
                    <a:lnTo>
                      <a:pt x="4089" y="74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9" name="Freeform: Shape 3268">
                <a:extLst>
                  <a:ext uri="{FF2B5EF4-FFF2-40B4-BE49-F238E27FC236}">
                    <a16:creationId xmlns:a16="http://schemas.microsoft.com/office/drawing/2014/main" id="{7A647871-0340-A541-8E76-F197F27C6909}"/>
                  </a:ext>
                </a:extLst>
              </p:cNvPr>
              <p:cNvSpPr/>
              <p:nvPr/>
            </p:nvSpPr>
            <p:spPr>
              <a:xfrm>
                <a:off x="1645820" y="3773205"/>
                <a:ext cx="426" cy="753"/>
              </a:xfrm>
              <a:custGeom>
                <a:avLst/>
                <a:gdLst>
                  <a:gd name="connsiteX0" fmla="*/ 4089 w 4088"/>
                  <a:gd name="connsiteY0" fmla="*/ 6861 h 7217"/>
                  <a:gd name="connsiteX1" fmla="*/ 1948 w 4088"/>
                  <a:gd name="connsiteY1" fmla="*/ 7218 h 7217"/>
                  <a:gd name="connsiteX2" fmla="*/ 0 w 4088"/>
                  <a:gd name="connsiteY2" fmla="*/ 3019 h 7217"/>
                  <a:gd name="connsiteX3" fmla="*/ 714 w 4088"/>
                  <a:gd name="connsiteY3" fmla="*/ 0 h 7217"/>
                  <a:gd name="connsiteX4" fmla="*/ 2662 w 4088"/>
                  <a:gd name="connsiteY4" fmla="*/ 1784 h 7217"/>
                  <a:gd name="connsiteX5" fmla="*/ 4089 w 4088"/>
                  <a:gd name="connsiteY5" fmla="*/ 5516 h 7217"/>
                  <a:gd name="connsiteX6" fmla="*/ 4089 w 4088"/>
                  <a:gd name="connsiteY6" fmla="*/ 6861 h 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8" h="7217">
                    <a:moveTo>
                      <a:pt x="4089" y="6861"/>
                    </a:moveTo>
                    <a:lnTo>
                      <a:pt x="1948" y="7218"/>
                    </a:lnTo>
                    <a:lnTo>
                      <a:pt x="0" y="3019"/>
                    </a:lnTo>
                    <a:lnTo>
                      <a:pt x="714" y="0"/>
                    </a:lnTo>
                    <a:lnTo>
                      <a:pt x="2662" y="1784"/>
                    </a:lnTo>
                    <a:lnTo>
                      <a:pt x="4089" y="5516"/>
                    </a:lnTo>
                    <a:lnTo>
                      <a:pt x="4089" y="68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0" name="Freeform: Shape 3269">
                <a:extLst>
                  <a:ext uri="{FF2B5EF4-FFF2-40B4-BE49-F238E27FC236}">
                    <a16:creationId xmlns:a16="http://schemas.microsoft.com/office/drawing/2014/main" id="{02582E43-2B56-D4C6-4669-1D4C5C7E88E0}"/>
                  </a:ext>
                </a:extLst>
              </p:cNvPr>
              <p:cNvSpPr/>
              <p:nvPr/>
            </p:nvSpPr>
            <p:spPr>
              <a:xfrm>
                <a:off x="1644286" y="3774264"/>
                <a:ext cx="272" cy="561"/>
              </a:xfrm>
              <a:custGeom>
                <a:avLst/>
                <a:gdLst>
                  <a:gd name="connsiteX0" fmla="*/ 2278 w 2607"/>
                  <a:gd name="connsiteY0" fmla="*/ 3019 h 5378"/>
                  <a:gd name="connsiteX1" fmla="*/ 988 w 2607"/>
                  <a:gd name="connsiteY1" fmla="*/ 5379 h 5378"/>
                  <a:gd name="connsiteX2" fmla="*/ 0 w 2607"/>
                  <a:gd name="connsiteY2" fmla="*/ 4500 h 5378"/>
                  <a:gd name="connsiteX3" fmla="*/ 1427 w 2607"/>
                  <a:gd name="connsiteY3" fmla="*/ 0 h 5378"/>
                  <a:gd name="connsiteX4" fmla="*/ 2608 w 2607"/>
                  <a:gd name="connsiteY4" fmla="*/ 274 h 5378"/>
                  <a:gd name="connsiteX5" fmla="*/ 2278 w 2607"/>
                  <a:gd name="connsiteY5" fmla="*/ 3046 h 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7" h="5378">
                    <a:moveTo>
                      <a:pt x="2278" y="3019"/>
                    </a:moveTo>
                    <a:lnTo>
                      <a:pt x="988" y="5379"/>
                    </a:lnTo>
                    <a:lnTo>
                      <a:pt x="0" y="4500"/>
                    </a:lnTo>
                    <a:lnTo>
                      <a:pt x="1427" y="0"/>
                    </a:lnTo>
                    <a:lnTo>
                      <a:pt x="2608" y="274"/>
                    </a:lnTo>
                    <a:lnTo>
                      <a:pt x="2278"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1" name="Freeform: Shape 3270">
                <a:extLst>
                  <a:ext uri="{FF2B5EF4-FFF2-40B4-BE49-F238E27FC236}">
                    <a16:creationId xmlns:a16="http://schemas.microsoft.com/office/drawing/2014/main" id="{2763ECC6-5838-2DB8-6E64-6A71D6996688}"/>
                  </a:ext>
                </a:extLst>
              </p:cNvPr>
              <p:cNvSpPr/>
              <p:nvPr/>
            </p:nvSpPr>
            <p:spPr>
              <a:xfrm>
                <a:off x="1348467" y="3797715"/>
                <a:ext cx="24301" cy="17675"/>
              </a:xfrm>
              <a:custGeom>
                <a:avLst/>
                <a:gdLst>
                  <a:gd name="connsiteX0" fmla="*/ 169049 w 232990"/>
                  <a:gd name="connsiteY0" fmla="*/ 2141 h 169460"/>
                  <a:gd name="connsiteX1" fmla="*/ 167786 w 232990"/>
                  <a:gd name="connsiteY1" fmla="*/ 16219 h 169460"/>
                  <a:gd name="connsiteX2" fmla="*/ 170009 w 232990"/>
                  <a:gd name="connsiteY2" fmla="*/ 19292 h 169460"/>
                  <a:gd name="connsiteX3" fmla="*/ 173083 w 232990"/>
                  <a:gd name="connsiteY3" fmla="*/ 23601 h 169460"/>
                  <a:gd name="connsiteX4" fmla="*/ 174620 w 232990"/>
                  <a:gd name="connsiteY4" fmla="*/ 31587 h 169460"/>
                  <a:gd name="connsiteX5" fmla="*/ 181398 w 232990"/>
                  <a:gd name="connsiteY5" fmla="*/ 40780 h 169460"/>
                  <a:gd name="connsiteX6" fmla="*/ 188945 w 232990"/>
                  <a:gd name="connsiteY6" fmla="*/ 44101 h 169460"/>
                  <a:gd name="connsiteX7" fmla="*/ 196190 w 232990"/>
                  <a:gd name="connsiteY7" fmla="*/ 50303 h 169460"/>
                  <a:gd name="connsiteX8" fmla="*/ 192183 w 232990"/>
                  <a:gd name="connsiteY8" fmla="*/ 53514 h 169460"/>
                  <a:gd name="connsiteX9" fmla="*/ 193418 w 232990"/>
                  <a:gd name="connsiteY9" fmla="*/ 62213 h 169460"/>
                  <a:gd name="connsiteX10" fmla="*/ 209198 w 232990"/>
                  <a:gd name="connsiteY10" fmla="*/ 72971 h 169460"/>
                  <a:gd name="connsiteX11" fmla="*/ 215784 w 232990"/>
                  <a:gd name="connsiteY11" fmla="*/ 73684 h 169460"/>
                  <a:gd name="connsiteX12" fmla="*/ 221904 w 232990"/>
                  <a:gd name="connsiteY12" fmla="*/ 71654 h 169460"/>
                  <a:gd name="connsiteX13" fmla="*/ 226267 w 232990"/>
                  <a:gd name="connsiteY13" fmla="*/ 74288 h 169460"/>
                  <a:gd name="connsiteX14" fmla="*/ 227694 w 232990"/>
                  <a:gd name="connsiteY14" fmla="*/ 78761 h 169460"/>
                  <a:gd name="connsiteX15" fmla="*/ 224813 w 232990"/>
                  <a:gd name="connsiteY15" fmla="*/ 83537 h 169460"/>
                  <a:gd name="connsiteX16" fmla="*/ 232991 w 232990"/>
                  <a:gd name="connsiteY16" fmla="*/ 95557 h 169460"/>
                  <a:gd name="connsiteX17" fmla="*/ 229506 w 232990"/>
                  <a:gd name="connsiteY17" fmla="*/ 101923 h 169460"/>
                  <a:gd name="connsiteX18" fmla="*/ 221712 w 232990"/>
                  <a:gd name="connsiteY18" fmla="*/ 108592 h 169460"/>
                  <a:gd name="connsiteX19" fmla="*/ 204423 w 232990"/>
                  <a:gd name="connsiteY19" fmla="*/ 109827 h 169460"/>
                  <a:gd name="connsiteX20" fmla="*/ 188917 w 232990"/>
                  <a:gd name="connsiteY20" fmla="*/ 122697 h 169460"/>
                  <a:gd name="connsiteX21" fmla="*/ 177419 w 232990"/>
                  <a:gd name="connsiteY21" fmla="*/ 124097 h 169460"/>
                  <a:gd name="connsiteX22" fmla="*/ 175306 w 232990"/>
                  <a:gd name="connsiteY22" fmla="*/ 122011 h 169460"/>
                  <a:gd name="connsiteX23" fmla="*/ 169954 w 232990"/>
                  <a:gd name="connsiteY23" fmla="*/ 120886 h 169460"/>
                  <a:gd name="connsiteX24" fmla="*/ 158071 w 232990"/>
                  <a:gd name="connsiteY24" fmla="*/ 118417 h 169460"/>
                  <a:gd name="connsiteX25" fmla="*/ 154531 w 232990"/>
                  <a:gd name="connsiteY25" fmla="*/ 118334 h 169460"/>
                  <a:gd name="connsiteX26" fmla="*/ 144954 w 232990"/>
                  <a:gd name="connsiteY26" fmla="*/ 124070 h 169460"/>
                  <a:gd name="connsiteX27" fmla="*/ 129174 w 232990"/>
                  <a:gd name="connsiteY27" fmla="*/ 122697 h 169460"/>
                  <a:gd name="connsiteX28" fmla="*/ 118910 w 232990"/>
                  <a:gd name="connsiteY28" fmla="*/ 121819 h 169460"/>
                  <a:gd name="connsiteX29" fmla="*/ 103899 w 232990"/>
                  <a:gd name="connsiteY29" fmla="*/ 122588 h 169460"/>
                  <a:gd name="connsiteX30" fmla="*/ 100661 w 232990"/>
                  <a:gd name="connsiteY30" fmla="*/ 122670 h 169460"/>
                  <a:gd name="connsiteX31" fmla="*/ 88311 w 232990"/>
                  <a:gd name="connsiteY31" fmla="*/ 123000 h 169460"/>
                  <a:gd name="connsiteX32" fmla="*/ 86253 w 232990"/>
                  <a:gd name="connsiteY32" fmla="*/ 123054 h 169460"/>
                  <a:gd name="connsiteX33" fmla="*/ 79310 w 232990"/>
                  <a:gd name="connsiteY33" fmla="*/ 123247 h 169460"/>
                  <a:gd name="connsiteX34" fmla="*/ 76154 w 232990"/>
                  <a:gd name="connsiteY34" fmla="*/ 134224 h 169460"/>
                  <a:gd name="connsiteX35" fmla="*/ 80435 w 232990"/>
                  <a:gd name="connsiteY35" fmla="*/ 144844 h 169460"/>
                  <a:gd name="connsiteX36" fmla="*/ 80545 w 232990"/>
                  <a:gd name="connsiteY36" fmla="*/ 159773 h 169460"/>
                  <a:gd name="connsiteX37" fmla="*/ 81286 w 232990"/>
                  <a:gd name="connsiteY37" fmla="*/ 165262 h 169460"/>
                  <a:gd name="connsiteX38" fmla="*/ 83262 w 232990"/>
                  <a:gd name="connsiteY38" fmla="*/ 167704 h 169460"/>
                  <a:gd name="connsiteX39" fmla="*/ 79886 w 232990"/>
                  <a:gd name="connsiteY39" fmla="*/ 169460 h 169460"/>
                  <a:gd name="connsiteX40" fmla="*/ 71489 w 232990"/>
                  <a:gd name="connsiteY40" fmla="*/ 159800 h 169460"/>
                  <a:gd name="connsiteX41" fmla="*/ 67894 w 232990"/>
                  <a:gd name="connsiteY41" fmla="*/ 156041 h 169460"/>
                  <a:gd name="connsiteX42" fmla="*/ 54529 w 232990"/>
                  <a:gd name="connsiteY42" fmla="*/ 154147 h 169460"/>
                  <a:gd name="connsiteX43" fmla="*/ 37734 w 232990"/>
                  <a:gd name="connsiteY43" fmla="*/ 159800 h 169460"/>
                  <a:gd name="connsiteX44" fmla="*/ 34194 w 232990"/>
                  <a:gd name="connsiteY44" fmla="*/ 164219 h 169460"/>
                  <a:gd name="connsiteX45" fmla="*/ 29089 w 232990"/>
                  <a:gd name="connsiteY45" fmla="*/ 160679 h 169460"/>
                  <a:gd name="connsiteX46" fmla="*/ 24479 w 232990"/>
                  <a:gd name="connsiteY46" fmla="*/ 161584 h 169460"/>
                  <a:gd name="connsiteX47" fmla="*/ 21268 w 232990"/>
                  <a:gd name="connsiteY47" fmla="*/ 159773 h 169460"/>
                  <a:gd name="connsiteX48" fmla="*/ 20747 w 232990"/>
                  <a:gd name="connsiteY48" fmla="*/ 157276 h 169460"/>
                  <a:gd name="connsiteX49" fmla="*/ 16768 w 232990"/>
                  <a:gd name="connsiteY49" fmla="*/ 155437 h 169460"/>
                  <a:gd name="connsiteX50" fmla="*/ 11142 w 232990"/>
                  <a:gd name="connsiteY50" fmla="*/ 143801 h 169460"/>
                  <a:gd name="connsiteX51" fmla="*/ 3211 w 232990"/>
                  <a:gd name="connsiteY51" fmla="*/ 143280 h 169460"/>
                  <a:gd name="connsiteX52" fmla="*/ 0 w 232990"/>
                  <a:gd name="connsiteY52" fmla="*/ 139575 h 169460"/>
                  <a:gd name="connsiteX53" fmla="*/ 2415 w 232990"/>
                  <a:gd name="connsiteY53" fmla="*/ 127143 h 169460"/>
                  <a:gd name="connsiteX54" fmla="*/ 905 w 232990"/>
                  <a:gd name="connsiteY54" fmla="*/ 121325 h 169460"/>
                  <a:gd name="connsiteX55" fmla="*/ 6861 w 232990"/>
                  <a:gd name="connsiteY55" fmla="*/ 115480 h 169460"/>
                  <a:gd name="connsiteX56" fmla="*/ 9221 w 232990"/>
                  <a:gd name="connsiteY56" fmla="*/ 108811 h 169460"/>
                  <a:gd name="connsiteX57" fmla="*/ 5818 w 232990"/>
                  <a:gd name="connsiteY57" fmla="*/ 98356 h 169460"/>
                  <a:gd name="connsiteX58" fmla="*/ 11773 w 232990"/>
                  <a:gd name="connsiteY58" fmla="*/ 93828 h 169460"/>
                  <a:gd name="connsiteX59" fmla="*/ 23079 w 232990"/>
                  <a:gd name="connsiteY59" fmla="*/ 92291 h 169460"/>
                  <a:gd name="connsiteX60" fmla="*/ 26126 w 232990"/>
                  <a:gd name="connsiteY60" fmla="*/ 90041 h 169460"/>
                  <a:gd name="connsiteX61" fmla="*/ 31340 w 232990"/>
                  <a:gd name="connsiteY61" fmla="*/ 82137 h 169460"/>
                  <a:gd name="connsiteX62" fmla="*/ 32383 w 232990"/>
                  <a:gd name="connsiteY62" fmla="*/ 75029 h 169460"/>
                  <a:gd name="connsiteX63" fmla="*/ 30763 w 232990"/>
                  <a:gd name="connsiteY63" fmla="*/ 71544 h 169460"/>
                  <a:gd name="connsiteX64" fmla="*/ 36197 w 232990"/>
                  <a:gd name="connsiteY64" fmla="*/ 70940 h 169460"/>
                  <a:gd name="connsiteX65" fmla="*/ 37816 w 232990"/>
                  <a:gd name="connsiteY65" fmla="*/ 68580 h 169460"/>
                  <a:gd name="connsiteX66" fmla="*/ 35127 w 232990"/>
                  <a:gd name="connsiteY66" fmla="*/ 58179 h 169460"/>
                  <a:gd name="connsiteX67" fmla="*/ 43305 w 232990"/>
                  <a:gd name="connsiteY67" fmla="*/ 49672 h 169460"/>
                  <a:gd name="connsiteX68" fmla="*/ 45555 w 232990"/>
                  <a:gd name="connsiteY68" fmla="*/ 48574 h 169460"/>
                  <a:gd name="connsiteX69" fmla="*/ 46900 w 232990"/>
                  <a:gd name="connsiteY69" fmla="*/ 50907 h 169460"/>
                  <a:gd name="connsiteX70" fmla="*/ 60567 w 232990"/>
                  <a:gd name="connsiteY70" fmla="*/ 57246 h 169460"/>
                  <a:gd name="connsiteX71" fmla="*/ 61911 w 232990"/>
                  <a:gd name="connsiteY71" fmla="*/ 54996 h 169460"/>
                  <a:gd name="connsiteX72" fmla="*/ 66220 w 232990"/>
                  <a:gd name="connsiteY72" fmla="*/ 53322 h 169460"/>
                  <a:gd name="connsiteX73" fmla="*/ 66412 w 232990"/>
                  <a:gd name="connsiteY73" fmla="*/ 41357 h 169460"/>
                  <a:gd name="connsiteX74" fmla="*/ 77142 w 232990"/>
                  <a:gd name="connsiteY74" fmla="*/ 42537 h 169460"/>
                  <a:gd name="connsiteX75" fmla="*/ 79694 w 232990"/>
                  <a:gd name="connsiteY75" fmla="*/ 30160 h 169460"/>
                  <a:gd name="connsiteX76" fmla="*/ 86308 w 232990"/>
                  <a:gd name="connsiteY76" fmla="*/ 25851 h 169460"/>
                  <a:gd name="connsiteX77" fmla="*/ 88366 w 232990"/>
                  <a:gd name="connsiteY77" fmla="*/ 24507 h 169460"/>
                  <a:gd name="connsiteX78" fmla="*/ 89793 w 232990"/>
                  <a:gd name="connsiteY78" fmla="*/ 23546 h 169460"/>
                  <a:gd name="connsiteX79" fmla="*/ 100716 w 232990"/>
                  <a:gd name="connsiteY79" fmla="*/ 26894 h 169460"/>
                  <a:gd name="connsiteX80" fmla="*/ 103432 w 232990"/>
                  <a:gd name="connsiteY80" fmla="*/ 25001 h 169460"/>
                  <a:gd name="connsiteX81" fmla="*/ 105436 w 232990"/>
                  <a:gd name="connsiteY81" fmla="*/ 18112 h 169460"/>
                  <a:gd name="connsiteX82" fmla="*/ 113778 w 232990"/>
                  <a:gd name="connsiteY82" fmla="*/ 16219 h 169460"/>
                  <a:gd name="connsiteX83" fmla="*/ 130738 w 232990"/>
                  <a:gd name="connsiteY83" fmla="*/ 7629 h 169460"/>
                  <a:gd name="connsiteX84" fmla="*/ 141386 w 232990"/>
                  <a:gd name="connsiteY84" fmla="*/ 0 h 169460"/>
                  <a:gd name="connsiteX85" fmla="*/ 169021 w 232990"/>
                  <a:gd name="connsiteY85" fmla="*/ 2168 h 16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32990" h="169460">
                    <a:moveTo>
                      <a:pt x="169049" y="2141"/>
                    </a:moveTo>
                    <a:lnTo>
                      <a:pt x="167786" y="16219"/>
                    </a:lnTo>
                    <a:lnTo>
                      <a:pt x="170009" y="19292"/>
                    </a:lnTo>
                    <a:lnTo>
                      <a:pt x="173083" y="23601"/>
                    </a:lnTo>
                    <a:lnTo>
                      <a:pt x="174620" y="31587"/>
                    </a:lnTo>
                    <a:lnTo>
                      <a:pt x="181398" y="40780"/>
                    </a:lnTo>
                    <a:lnTo>
                      <a:pt x="188945" y="44101"/>
                    </a:lnTo>
                    <a:lnTo>
                      <a:pt x="196190" y="50303"/>
                    </a:lnTo>
                    <a:lnTo>
                      <a:pt x="192183" y="53514"/>
                    </a:lnTo>
                    <a:lnTo>
                      <a:pt x="193418" y="62213"/>
                    </a:lnTo>
                    <a:lnTo>
                      <a:pt x="209198" y="72971"/>
                    </a:lnTo>
                    <a:lnTo>
                      <a:pt x="215784" y="73684"/>
                    </a:lnTo>
                    <a:lnTo>
                      <a:pt x="221904" y="71654"/>
                    </a:lnTo>
                    <a:lnTo>
                      <a:pt x="226267" y="74288"/>
                    </a:lnTo>
                    <a:lnTo>
                      <a:pt x="227694" y="78761"/>
                    </a:lnTo>
                    <a:lnTo>
                      <a:pt x="224813" y="83537"/>
                    </a:lnTo>
                    <a:lnTo>
                      <a:pt x="232991" y="95557"/>
                    </a:lnTo>
                    <a:lnTo>
                      <a:pt x="229506" y="101923"/>
                    </a:lnTo>
                    <a:lnTo>
                      <a:pt x="221712" y="108592"/>
                    </a:lnTo>
                    <a:lnTo>
                      <a:pt x="204423" y="109827"/>
                    </a:lnTo>
                    <a:lnTo>
                      <a:pt x="188917" y="122697"/>
                    </a:lnTo>
                    <a:lnTo>
                      <a:pt x="177419" y="124097"/>
                    </a:lnTo>
                    <a:lnTo>
                      <a:pt x="175306" y="122011"/>
                    </a:lnTo>
                    <a:lnTo>
                      <a:pt x="169954" y="120886"/>
                    </a:lnTo>
                    <a:lnTo>
                      <a:pt x="158071" y="118417"/>
                    </a:lnTo>
                    <a:lnTo>
                      <a:pt x="154531" y="118334"/>
                    </a:lnTo>
                    <a:lnTo>
                      <a:pt x="144954" y="124070"/>
                    </a:lnTo>
                    <a:lnTo>
                      <a:pt x="129174" y="122697"/>
                    </a:lnTo>
                    <a:lnTo>
                      <a:pt x="118910" y="121819"/>
                    </a:lnTo>
                    <a:lnTo>
                      <a:pt x="103899" y="122588"/>
                    </a:lnTo>
                    <a:lnTo>
                      <a:pt x="100661" y="122670"/>
                    </a:lnTo>
                    <a:lnTo>
                      <a:pt x="88311" y="123000"/>
                    </a:lnTo>
                    <a:lnTo>
                      <a:pt x="86253" y="123054"/>
                    </a:lnTo>
                    <a:lnTo>
                      <a:pt x="79310" y="123247"/>
                    </a:lnTo>
                    <a:lnTo>
                      <a:pt x="76154" y="134224"/>
                    </a:lnTo>
                    <a:lnTo>
                      <a:pt x="80435" y="144844"/>
                    </a:lnTo>
                    <a:lnTo>
                      <a:pt x="80545" y="159773"/>
                    </a:lnTo>
                    <a:lnTo>
                      <a:pt x="81286" y="165262"/>
                    </a:lnTo>
                    <a:lnTo>
                      <a:pt x="83262" y="167704"/>
                    </a:lnTo>
                    <a:lnTo>
                      <a:pt x="79886" y="169460"/>
                    </a:lnTo>
                    <a:lnTo>
                      <a:pt x="71489" y="159800"/>
                    </a:lnTo>
                    <a:lnTo>
                      <a:pt x="67894" y="156041"/>
                    </a:lnTo>
                    <a:lnTo>
                      <a:pt x="54529" y="154147"/>
                    </a:lnTo>
                    <a:lnTo>
                      <a:pt x="37734" y="159800"/>
                    </a:lnTo>
                    <a:lnTo>
                      <a:pt x="34194" y="164219"/>
                    </a:lnTo>
                    <a:lnTo>
                      <a:pt x="29089" y="160679"/>
                    </a:lnTo>
                    <a:lnTo>
                      <a:pt x="24479" y="161584"/>
                    </a:lnTo>
                    <a:lnTo>
                      <a:pt x="21268" y="159773"/>
                    </a:lnTo>
                    <a:lnTo>
                      <a:pt x="20747" y="157276"/>
                    </a:lnTo>
                    <a:lnTo>
                      <a:pt x="16768" y="155437"/>
                    </a:lnTo>
                    <a:lnTo>
                      <a:pt x="11142" y="143801"/>
                    </a:lnTo>
                    <a:lnTo>
                      <a:pt x="3211" y="143280"/>
                    </a:lnTo>
                    <a:lnTo>
                      <a:pt x="0" y="139575"/>
                    </a:lnTo>
                    <a:lnTo>
                      <a:pt x="2415" y="127143"/>
                    </a:lnTo>
                    <a:lnTo>
                      <a:pt x="905" y="121325"/>
                    </a:lnTo>
                    <a:lnTo>
                      <a:pt x="6861" y="115480"/>
                    </a:lnTo>
                    <a:lnTo>
                      <a:pt x="9221" y="108811"/>
                    </a:lnTo>
                    <a:lnTo>
                      <a:pt x="5818" y="98356"/>
                    </a:lnTo>
                    <a:lnTo>
                      <a:pt x="11773" y="93828"/>
                    </a:lnTo>
                    <a:lnTo>
                      <a:pt x="23079" y="92291"/>
                    </a:lnTo>
                    <a:lnTo>
                      <a:pt x="26126" y="90041"/>
                    </a:lnTo>
                    <a:lnTo>
                      <a:pt x="31340" y="82137"/>
                    </a:lnTo>
                    <a:lnTo>
                      <a:pt x="32383" y="75029"/>
                    </a:lnTo>
                    <a:lnTo>
                      <a:pt x="30763" y="71544"/>
                    </a:lnTo>
                    <a:lnTo>
                      <a:pt x="36197" y="70940"/>
                    </a:lnTo>
                    <a:lnTo>
                      <a:pt x="37816" y="68580"/>
                    </a:lnTo>
                    <a:lnTo>
                      <a:pt x="35127" y="58179"/>
                    </a:lnTo>
                    <a:lnTo>
                      <a:pt x="43305" y="49672"/>
                    </a:lnTo>
                    <a:lnTo>
                      <a:pt x="45555" y="48574"/>
                    </a:lnTo>
                    <a:lnTo>
                      <a:pt x="46900" y="50907"/>
                    </a:lnTo>
                    <a:lnTo>
                      <a:pt x="60567" y="57246"/>
                    </a:lnTo>
                    <a:lnTo>
                      <a:pt x="61911" y="54996"/>
                    </a:lnTo>
                    <a:lnTo>
                      <a:pt x="66220" y="53322"/>
                    </a:lnTo>
                    <a:lnTo>
                      <a:pt x="66412" y="41357"/>
                    </a:lnTo>
                    <a:lnTo>
                      <a:pt x="77142" y="42537"/>
                    </a:lnTo>
                    <a:lnTo>
                      <a:pt x="79694" y="30160"/>
                    </a:lnTo>
                    <a:lnTo>
                      <a:pt x="86308" y="25851"/>
                    </a:lnTo>
                    <a:lnTo>
                      <a:pt x="88366" y="24507"/>
                    </a:lnTo>
                    <a:lnTo>
                      <a:pt x="89793" y="23546"/>
                    </a:lnTo>
                    <a:lnTo>
                      <a:pt x="100716" y="26894"/>
                    </a:lnTo>
                    <a:lnTo>
                      <a:pt x="103432" y="25001"/>
                    </a:lnTo>
                    <a:lnTo>
                      <a:pt x="105436" y="18112"/>
                    </a:lnTo>
                    <a:lnTo>
                      <a:pt x="113778" y="16219"/>
                    </a:lnTo>
                    <a:lnTo>
                      <a:pt x="130738" y="7629"/>
                    </a:lnTo>
                    <a:lnTo>
                      <a:pt x="141386" y="0"/>
                    </a:lnTo>
                    <a:lnTo>
                      <a:pt x="169021"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2" name="Freeform: Shape 3271">
                <a:extLst>
                  <a:ext uri="{FF2B5EF4-FFF2-40B4-BE49-F238E27FC236}">
                    <a16:creationId xmlns:a16="http://schemas.microsoft.com/office/drawing/2014/main" id="{F50BCB26-E792-91B8-B9DB-2B634D02AF51}"/>
                  </a:ext>
                </a:extLst>
              </p:cNvPr>
              <p:cNvSpPr/>
              <p:nvPr/>
            </p:nvSpPr>
            <p:spPr>
              <a:xfrm>
                <a:off x="1520089" y="3761034"/>
                <a:ext cx="650" cy="1457"/>
              </a:xfrm>
              <a:custGeom>
                <a:avLst/>
                <a:gdLst>
                  <a:gd name="connsiteX0" fmla="*/ 0 w 6229"/>
                  <a:gd name="connsiteY0" fmla="*/ 2497 h 13968"/>
                  <a:gd name="connsiteX1" fmla="*/ 1290 w 6229"/>
                  <a:gd name="connsiteY1" fmla="*/ 0 h 13968"/>
                  <a:gd name="connsiteX2" fmla="*/ 3650 w 6229"/>
                  <a:gd name="connsiteY2" fmla="*/ 55 h 13968"/>
                  <a:gd name="connsiteX3" fmla="*/ 6230 w 6229"/>
                  <a:gd name="connsiteY3" fmla="*/ 3678 h 13968"/>
                  <a:gd name="connsiteX4" fmla="*/ 5461 w 6229"/>
                  <a:gd name="connsiteY4" fmla="*/ 12404 h 13968"/>
                  <a:gd name="connsiteX5" fmla="*/ 4254 w 6229"/>
                  <a:gd name="connsiteY5" fmla="*/ 13969 h 13968"/>
                  <a:gd name="connsiteX6" fmla="*/ 3019 w 6229"/>
                  <a:gd name="connsiteY6" fmla="*/ 11087 h 13968"/>
                  <a:gd name="connsiteX7" fmla="*/ 1125 w 6229"/>
                  <a:gd name="connsiteY7" fmla="*/ 9139 h 13968"/>
                  <a:gd name="connsiteX8" fmla="*/ 1921 w 6229"/>
                  <a:gd name="connsiteY8" fmla="*/ 6038 h 13968"/>
                  <a:gd name="connsiteX9" fmla="*/ 1097 w 6229"/>
                  <a:gd name="connsiteY9" fmla="*/ 3129 h 13968"/>
                  <a:gd name="connsiteX10" fmla="*/ 27 w 6229"/>
                  <a:gd name="connsiteY10" fmla="*/ 2497 h 1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29" h="13968">
                    <a:moveTo>
                      <a:pt x="0" y="2497"/>
                    </a:moveTo>
                    <a:lnTo>
                      <a:pt x="1290" y="0"/>
                    </a:lnTo>
                    <a:lnTo>
                      <a:pt x="3650" y="55"/>
                    </a:lnTo>
                    <a:lnTo>
                      <a:pt x="6230" y="3678"/>
                    </a:lnTo>
                    <a:lnTo>
                      <a:pt x="5461" y="12404"/>
                    </a:lnTo>
                    <a:lnTo>
                      <a:pt x="4254" y="13969"/>
                    </a:lnTo>
                    <a:lnTo>
                      <a:pt x="3019" y="11087"/>
                    </a:lnTo>
                    <a:lnTo>
                      <a:pt x="1125" y="9139"/>
                    </a:lnTo>
                    <a:lnTo>
                      <a:pt x="1921" y="6038"/>
                    </a:lnTo>
                    <a:lnTo>
                      <a:pt x="1097" y="3129"/>
                    </a:lnTo>
                    <a:lnTo>
                      <a:pt x="27"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3" name="Freeform: Shape 3272">
                <a:extLst>
                  <a:ext uri="{FF2B5EF4-FFF2-40B4-BE49-F238E27FC236}">
                    <a16:creationId xmlns:a16="http://schemas.microsoft.com/office/drawing/2014/main" id="{73CAA566-3B02-6468-A727-7A6A6DD90380}"/>
                  </a:ext>
                </a:extLst>
              </p:cNvPr>
              <p:cNvSpPr/>
              <p:nvPr/>
            </p:nvSpPr>
            <p:spPr>
              <a:xfrm>
                <a:off x="1454476" y="3851601"/>
                <a:ext cx="5467" cy="6517"/>
              </a:xfrm>
              <a:custGeom>
                <a:avLst/>
                <a:gdLst>
                  <a:gd name="connsiteX0" fmla="*/ 44238 w 52416"/>
                  <a:gd name="connsiteY0" fmla="*/ 2497 h 62487"/>
                  <a:gd name="connsiteX1" fmla="*/ 41219 w 52416"/>
                  <a:gd name="connsiteY1" fmla="*/ 9111 h 62487"/>
                  <a:gd name="connsiteX2" fmla="*/ 42262 w 52416"/>
                  <a:gd name="connsiteY2" fmla="*/ 11115 h 62487"/>
                  <a:gd name="connsiteX3" fmla="*/ 41713 w 52416"/>
                  <a:gd name="connsiteY3" fmla="*/ 12596 h 62487"/>
                  <a:gd name="connsiteX4" fmla="*/ 40643 w 52416"/>
                  <a:gd name="connsiteY4" fmla="*/ 15615 h 62487"/>
                  <a:gd name="connsiteX5" fmla="*/ 42509 w 52416"/>
                  <a:gd name="connsiteY5" fmla="*/ 17701 h 62487"/>
                  <a:gd name="connsiteX6" fmla="*/ 51757 w 52416"/>
                  <a:gd name="connsiteY6" fmla="*/ 20061 h 62487"/>
                  <a:gd name="connsiteX7" fmla="*/ 52416 w 52416"/>
                  <a:gd name="connsiteY7" fmla="*/ 26949 h 62487"/>
                  <a:gd name="connsiteX8" fmla="*/ 41823 w 52416"/>
                  <a:gd name="connsiteY8" fmla="*/ 36143 h 62487"/>
                  <a:gd name="connsiteX9" fmla="*/ 39490 w 52416"/>
                  <a:gd name="connsiteY9" fmla="*/ 42042 h 62487"/>
                  <a:gd name="connsiteX10" fmla="*/ 28623 w 52416"/>
                  <a:gd name="connsiteY10" fmla="*/ 57795 h 62487"/>
                  <a:gd name="connsiteX11" fmla="*/ 20802 w 52416"/>
                  <a:gd name="connsiteY11" fmla="*/ 62488 h 62487"/>
                  <a:gd name="connsiteX12" fmla="*/ 11252 w 52416"/>
                  <a:gd name="connsiteY12" fmla="*/ 62433 h 62487"/>
                  <a:gd name="connsiteX13" fmla="*/ 9687 w 52416"/>
                  <a:gd name="connsiteY13" fmla="*/ 53404 h 62487"/>
                  <a:gd name="connsiteX14" fmla="*/ 5736 w 52416"/>
                  <a:gd name="connsiteY14" fmla="*/ 44430 h 62487"/>
                  <a:gd name="connsiteX15" fmla="*/ 5927 w 52416"/>
                  <a:gd name="connsiteY15" fmla="*/ 22284 h 62487"/>
                  <a:gd name="connsiteX16" fmla="*/ 301 w 52416"/>
                  <a:gd name="connsiteY16" fmla="*/ 14847 h 62487"/>
                  <a:gd name="connsiteX17" fmla="*/ 0 w 52416"/>
                  <a:gd name="connsiteY17" fmla="*/ 12212 h 62487"/>
                  <a:gd name="connsiteX18" fmla="*/ 796 w 52416"/>
                  <a:gd name="connsiteY18" fmla="*/ 8617 h 62487"/>
                  <a:gd name="connsiteX19" fmla="*/ 3101 w 52416"/>
                  <a:gd name="connsiteY19" fmla="*/ 7959 h 62487"/>
                  <a:gd name="connsiteX20" fmla="*/ 7848 w 52416"/>
                  <a:gd name="connsiteY20" fmla="*/ 9687 h 62487"/>
                  <a:gd name="connsiteX21" fmla="*/ 9111 w 52416"/>
                  <a:gd name="connsiteY21" fmla="*/ 12596 h 62487"/>
                  <a:gd name="connsiteX22" fmla="*/ 9907 w 52416"/>
                  <a:gd name="connsiteY22" fmla="*/ 14435 h 62487"/>
                  <a:gd name="connsiteX23" fmla="*/ 19979 w 52416"/>
                  <a:gd name="connsiteY23" fmla="*/ 13913 h 62487"/>
                  <a:gd name="connsiteX24" fmla="*/ 22668 w 52416"/>
                  <a:gd name="connsiteY24" fmla="*/ 12569 h 62487"/>
                  <a:gd name="connsiteX25" fmla="*/ 25412 w 52416"/>
                  <a:gd name="connsiteY25" fmla="*/ 11197 h 62487"/>
                  <a:gd name="connsiteX26" fmla="*/ 27443 w 52416"/>
                  <a:gd name="connsiteY26" fmla="*/ 494 h 62487"/>
                  <a:gd name="connsiteX27" fmla="*/ 32684 w 52416"/>
                  <a:gd name="connsiteY27" fmla="*/ 2854 h 62487"/>
                  <a:gd name="connsiteX28" fmla="*/ 40478 w 52416"/>
                  <a:gd name="connsiteY28" fmla="*/ 0 h 62487"/>
                  <a:gd name="connsiteX29" fmla="*/ 44183 w 52416"/>
                  <a:gd name="connsiteY29" fmla="*/ 2470 h 6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416" h="62487">
                    <a:moveTo>
                      <a:pt x="44238" y="2497"/>
                    </a:moveTo>
                    <a:lnTo>
                      <a:pt x="41219" y="9111"/>
                    </a:lnTo>
                    <a:lnTo>
                      <a:pt x="42262" y="11115"/>
                    </a:lnTo>
                    <a:lnTo>
                      <a:pt x="41713" y="12596"/>
                    </a:lnTo>
                    <a:lnTo>
                      <a:pt x="40643" y="15615"/>
                    </a:lnTo>
                    <a:lnTo>
                      <a:pt x="42509" y="17701"/>
                    </a:lnTo>
                    <a:lnTo>
                      <a:pt x="51757" y="20061"/>
                    </a:lnTo>
                    <a:lnTo>
                      <a:pt x="52416" y="26949"/>
                    </a:lnTo>
                    <a:lnTo>
                      <a:pt x="41823" y="36143"/>
                    </a:lnTo>
                    <a:lnTo>
                      <a:pt x="39490" y="42042"/>
                    </a:lnTo>
                    <a:lnTo>
                      <a:pt x="28623" y="57795"/>
                    </a:lnTo>
                    <a:lnTo>
                      <a:pt x="20802" y="62488"/>
                    </a:lnTo>
                    <a:lnTo>
                      <a:pt x="11252" y="62433"/>
                    </a:lnTo>
                    <a:lnTo>
                      <a:pt x="9687" y="53404"/>
                    </a:lnTo>
                    <a:lnTo>
                      <a:pt x="5736" y="44430"/>
                    </a:lnTo>
                    <a:lnTo>
                      <a:pt x="5927" y="22284"/>
                    </a:lnTo>
                    <a:lnTo>
                      <a:pt x="301" y="14847"/>
                    </a:lnTo>
                    <a:lnTo>
                      <a:pt x="0" y="12212"/>
                    </a:lnTo>
                    <a:lnTo>
                      <a:pt x="796" y="8617"/>
                    </a:lnTo>
                    <a:lnTo>
                      <a:pt x="3101" y="7959"/>
                    </a:lnTo>
                    <a:lnTo>
                      <a:pt x="7848" y="9687"/>
                    </a:lnTo>
                    <a:lnTo>
                      <a:pt x="9111" y="12596"/>
                    </a:lnTo>
                    <a:lnTo>
                      <a:pt x="9907" y="14435"/>
                    </a:lnTo>
                    <a:lnTo>
                      <a:pt x="19979" y="13913"/>
                    </a:lnTo>
                    <a:lnTo>
                      <a:pt x="22668" y="12569"/>
                    </a:lnTo>
                    <a:lnTo>
                      <a:pt x="25412" y="11197"/>
                    </a:lnTo>
                    <a:lnTo>
                      <a:pt x="27443" y="494"/>
                    </a:lnTo>
                    <a:lnTo>
                      <a:pt x="32684" y="2854"/>
                    </a:lnTo>
                    <a:lnTo>
                      <a:pt x="40478" y="0"/>
                    </a:lnTo>
                    <a:lnTo>
                      <a:pt x="44183" y="24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4" name="Freeform: Shape 3273">
                <a:extLst>
                  <a:ext uri="{FF2B5EF4-FFF2-40B4-BE49-F238E27FC236}">
                    <a16:creationId xmlns:a16="http://schemas.microsoft.com/office/drawing/2014/main" id="{727F0307-08C3-EA54-9419-8ADBA68DA003}"/>
                  </a:ext>
                </a:extLst>
              </p:cNvPr>
              <p:cNvSpPr/>
              <p:nvPr/>
            </p:nvSpPr>
            <p:spPr>
              <a:xfrm>
                <a:off x="1367845" y="3806150"/>
                <a:ext cx="9277" cy="19146"/>
              </a:xfrm>
              <a:custGeom>
                <a:avLst/>
                <a:gdLst>
                  <a:gd name="connsiteX0" fmla="*/ 82548 w 88942"/>
                  <a:gd name="connsiteY0" fmla="*/ 20829 h 183566"/>
                  <a:gd name="connsiteX1" fmla="*/ 79063 w 88942"/>
                  <a:gd name="connsiteY1" fmla="*/ 28321 h 183566"/>
                  <a:gd name="connsiteX2" fmla="*/ 85897 w 88942"/>
                  <a:gd name="connsiteY2" fmla="*/ 39353 h 183566"/>
                  <a:gd name="connsiteX3" fmla="*/ 88943 w 88942"/>
                  <a:gd name="connsiteY3" fmla="*/ 55188 h 183566"/>
                  <a:gd name="connsiteX4" fmla="*/ 87626 w 88942"/>
                  <a:gd name="connsiteY4" fmla="*/ 58261 h 183566"/>
                  <a:gd name="connsiteX5" fmla="*/ 83317 w 88942"/>
                  <a:gd name="connsiteY5" fmla="*/ 60375 h 183566"/>
                  <a:gd name="connsiteX6" fmla="*/ 83537 w 88942"/>
                  <a:gd name="connsiteY6" fmla="*/ 66961 h 183566"/>
                  <a:gd name="connsiteX7" fmla="*/ 81560 w 88942"/>
                  <a:gd name="connsiteY7" fmla="*/ 72999 h 183566"/>
                  <a:gd name="connsiteX8" fmla="*/ 74206 w 88942"/>
                  <a:gd name="connsiteY8" fmla="*/ 79557 h 183566"/>
                  <a:gd name="connsiteX9" fmla="*/ 69925 w 88942"/>
                  <a:gd name="connsiteY9" fmla="*/ 86940 h 183566"/>
                  <a:gd name="connsiteX10" fmla="*/ 67098 w 88942"/>
                  <a:gd name="connsiteY10" fmla="*/ 96736 h 183566"/>
                  <a:gd name="connsiteX11" fmla="*/ 58454 w 88942"/>
                  <a:gd name="connsiteY11" fmla="*/ 101814 h 183566"/>
                  <a:gd name="connsiteX12" fmla="*/ 56972 w 88942"/>
                  <a:gd name="connsiteY12" fmla="*/ 118773 h 183566"/>
                  <a:gd name="connsiteX13" fmla="*/ 55627 w 88942"/>
                  <a:gd name="connsiteY13" fmla="*/ 134004 h 183566"/>
                  <a:gd name="connsiteX14" fmla="*/ 58399 w 88942"/>
                  <a:gd name="connsiteY14" fmla="*/ 147835 h 183566"/>
                  <a:gd name="connsiteX15" fmla="*/ 56176 w 88942"/>
                  <a:gd name="connsiteY15" fmla="*/ 179395 h 183566"/>
                  <a:gd name="connsiteX16" fmla="*/ 44019 w 88942"/>
                  <a:gd name="connsiteY16" fmla="*/ 180987 h 183566"/>
                  <a:gd name="connsiteX17" fmla="*/ 24397 w 88942"/>
                  <a:gd name="connsiteY17" fmla="*/ 183566 h 183566"/>
                  <a:gd name="connsiteX18" fmla="*/ 28705 w 88942"/>
                  <a:gd name="connsiteY18" fmla="*/ 180685 h 183566"/>
                  <a:gd name="connsiteX19" fmla="*/ 23354 w 88942"/>
                  <a:gd name="connsiteY19" fmla="*/ 169570 h 183566"/>
                  <a:gd name="connsiteX20" fmla="*/ 24946 w 88942"/>
                  <a:gd name="connsiteY20" fmla="*/ 144789 h 183566"/>
                  <a:gd name="connsiteX21" fmla="*/ 24068 w 88942"/>
                  <a:gd name="connsiteY21" fmla="*/ 102472 h 183566"/>
                  <a:gd name="connsiteX22" fmla="*/ 18332 w 88942"/>
                  <a:gd name="connsiteY22" fmla="*/ 90754 h 183566"/>
                  <a:gd name="connsiteX23" fmla="*/ 15149 w 88942"/>
                  <a:gd name="connsiteY23" fmla="*/ 71873 h 183566"/>
                  <a:gd name="connsiteX24" fmla="*/ 0 w 88942"/>
                  <a:gd name="connsiteY24" fmla="*/ 59579 h 183566"/>
                  <a:gd name="connsiteX25" fmla="*/ 3156 w 88942"/>
                  <a:gd name="connsiteY25" fmla="*/ 41878 h 183566"/>
                  <a:gd name="connsiteX26" fmla="*/ 18661 w 88942"/>
                  <a:gd name="connsiteY26" fmla="*/ 29007 h 183566"/>
                  <a:gd name="connsiteX27" fmla="*/ 35950 w 88942"/>
                  <a:gd name="connsiteY27" fmla="*/ 27772 h 183566"/>
                  <a:gd name="connsiteX28" fmla="*/ 43744 w 88942"/>
                  <a:gd name="connsiteY28" fmla="*/ 21104 h 183566"/>
                  <a:gd name="connsiteX29" fmla="*/ 47229 w 88942"/>
                  <a:gd name="connsiteY29" fmla="*/ 14737 h 183566"/>
                  <a:gd name="connsiteX30" fmla="*/ 48464 w 88942"/>
                  <a:gd name="connsiteY30" fmla="*/ 11883 h 183566"/>
                  <a:gd name="connsiteX31" fmla="*/ 46900 w 88942"/>
                  <a:gd name="connsiteY31" fmla="*/ 4693 h 183566"/>
                  <a:gd name="connsiteX32" fmla="*/ 59881 w 88942"/>
                  <a:gd name="connsiteY32" fmla="*/ 0 h 183566"/>
                  <a:gd name="connsiteX33" fmla="*/ 70830 w 88942"/>
                  <a:gd name="connsiteY33" fmla="*/ 9578 h 183566"/>
                  <a:gd name="connsiteX34" fmla="*/ 74233 w 88942"/>
                  <a:gd name="connsiteY34" fmla="*/ 14764 h 183566"/>
                  <a:gd name="connsiteX35" fmla="*/ 80874 w 88942"/>
                  <a:gd name="connsiteY35" fmla="*/ 18360 h 183566"/>
                  <a:gd name="connsiteX36" fmla="*/ 81204 w 88942"/>
                  <a:gd name="connsiteY36" fmla="*/ 19814 h 183566"/>
                  <a:gd name="connsiteX37" fmla="*/ 82521 w 88942"/>
                  <a:gd name="connsiteY37" fmla="*/ 20829 h 1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8942" h="183566">
                    <a:moveTo>
                      <a:pt x="82548" y="20829"/>
                    </a:moveTo>
                    <a:lnTo>
                      <a:pt x="79063" y="28321"/>
                    </a:lnTo>
                    <a:lnTo>
                      <a:pt x="85897" y="39353"/>
                    </a:lnTo>
                    <a:lnTo>
                      <a:pt x="88943" y="55188"/>
                    </a:lnTo>
                    <a:lnTo>
                      <a:pt x="87626" y="58261"/>
                    </a:lnTo>
                    <a:lnTo>
                      <a:pt x="83317" y="60375"/>
                    </a:lnTo>
                    <a:lnTo>
                      <a:pt x="83537" y="66961"/>
                    </a:lnTo>
                    <a:lnTo>
                      <a:pt x="81560" y="72999"/>
                    </a:lnTo>
                    <a:lnTo>
                      <a:pt x="74206" y="79557"/>
                    </a:lnTo>
                    <a:lnTo>
                      <a:pt x="69925" y="86940"/>
                    </a:lnTo>
                    <a:lnTo>
                      <a:pt x="67098" y="96736"/>
                    </a:lnTo>
                    <a:lnTo>
                      <a:pt x="58454" y="101814"/>
                    </a:lnTo>
                    <a:lnTo>
                      <a:pt x="56972" y="118773"/>
                    </a:lnTo>
                    <a:lnTo>
                      <a:pt x="55627" y="134004"/>
                    </a:lnTo>
                    <a:lnTo>
                      <a:pt x="58399" y="147835"/>
                    </a:lnTo>
                    <a:lnTo>
                      <a:pt x="56176" y="179395"/>
                    </a:lnTo>
                    <a:lnTo>
                      <a:pt x="44019" y="180987"/>
                    </a:lnTo>
                    <a:lnTo>
                      <a:pt x="24397" y="183566"/>
                    </a:lnTo>
                    <a:lnTo>
                      <a:pt x="28705" y="180685"/>
                    </a:lnTo>
                    <a:lnTo>
                      <a:pt x="23354" y="169570"/>
                    </a:lnTo>
                    <a:lnTo>
                      <a:pt x="24946" y="144789"/>
                    </a:lnTo>
                    <a:lnTo>
                      <a:pt x="24068" y="102472"/>
                    </a:lnTo>
                    <a:lnTo>
                      <a:pt x="18332" y="90754"/>
                    </a:lnTo>
                    <a:lnTo>
                      <a:pt x="15149" y="71873"/>
                    </a:lnTo>
                    <a:lnTo>
                      <a:pt x="0" y="59579"/>
                    </a:lnTo>
                    <a:lnTo>
                      <a:pt x="3156" y="41878"/>
                    </a:lnTo>
                    <a:lnTo>
                      <a:pt x="18661" y="29007"/>
                    </a:lnTo>
                    <a:lnTo>
                      <a:pt x="35950" y="27772"/>
                    </a:lnTo>
                    <a:lnTo>
                      <a:pt x="43744" y="21104"/>
                    </a:lnTo>
                    <a:lnTo>
                      <a:pt x="47229" y="14737"/>
                    </a:lnTo>
                    <a:lnTo>
                      <a:pt x="48464" y="11883"/>
                    </a:lnTo>
                    <a:lnTo>
                      <a:pt x="46900" y="4693"/>
                    </a:lnTo>
                    <a:lnTo>
                      <a:pt x="59881" y="0"/>
                    </a:lnTo>
                    <a:lnTo>
                      <a:pt x="70830" y="9578"/>
                    </a:lnTo>
                    <a:lnTo>
                      <a:pt x="74233" y="14764"/>
                    </a:lnTo>
                    <a:lnTo>
                      <a:pt x="80874" y="18360"/>
                    </a:lnTo>
                    <a:lnTo>
                      <a:pt x="81204" y="19814"/>
                    </a:lnTo>
                    <a:lnTo>
                      <a:pt x="82521" y="208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5" name="Freeform: Shape 3274">
                <a:extLst>
                  <a:ext uri="{FF2B5EF4-FFF2-40B4-BE49-F238E27FC236}">
                    <a16:creationId xmlns:a16="http://schemas.microsoft.com/office/drawing/2014/main" id="{9F3B80C1-2971-8F19-9E7A-68FD1B3DD9BF}"/>
                  </a:ext>
                </a:extLst>
              </p:cNvPr>
              <p:cNvSpPr/>
              <p:nvPr/>
            </p:nvSpPr>
            <p:spPr>
              <a:xfrm>
                <a:off x="1172468" y="3788492"/>
                <a:ext cx="352" cy="332"/>
              </a:xfrm>
              <a:custGeom>
                <a:avLst/>
                <a:gdLst>
                  <a:gd name="connsiteX0" fmla="*/ 0 w 3375"/>
                  <a:gd name="connsiteY0" fmla="*/ 1647 h 3183"/>
                  <a:gd name="connsiteX1" fmla="*/ 412 w 3375"/>
                  <a:gd name="connsiteY1" fmla="*/ 55 h 3183"/>
                  <a:gd name="connsiteX2" fmla="*/ 2936 w 3375"/>
                  <a:gd name="connsiteY2" fmla="*/ 0 h 3183"/>
                  <a:gd name="connsiteX3" fmla="*/ 3375 w 3375"/>
                  <a:gd name="connsiteY3" fmla="*/ 1674 h 3183"/>
                  <a:gd name="connsiteX4" fmla="*/ 1152 w 3375"/>
                  <a:gd name="connsiteY4" fmla="*/ 3183 h 3183"/>
                  <a:gd name="connsiteX5" fmla="*/ 27 w 3375"/>
                  <a:gd name="connsiteY5" fmla="*/ 1647 h 3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5" h="3183">
                    <a:moveTo>
                      <a:pt x="0" y="1647"/>
                    </a:moveTo>
                    <a:lnTo>
                      <a:pt x="412" y="55"/>
                    </a:lnTo>
                    <a:lnTo>
                      <a:pt x="2936" y="0"/>
                    </a:lnTo>
                    <a:lnTo>
                      <a:pt x="3375" y="1674"/>
                    </a:lnTo>
                    <a:lnTo>
                      <a:pt x="1152" y="3183"/>
                    </a:lnTo>
                    <a:lnTo>
                      <a:pt x="27"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6" name="Freeform: Shape 3275">
                <a:extLst>
                  <a:ext uri="{FF2B5EF4-FFF2-40B4-BE49-F238E27FC236}">
                    <a16:creationId xmlns:a16="http://schemas.microsoft.com/office/drawing/2014/main" id="{44C126E6-EE4E-3283-C8EB-2115819EB07C}"/>
                  </a:ext>
                </a:extLst>
              </p:cNvPr>
              <p:cNvSpPr/>
              <p:nvPr/>
            </p:nvSpPr>
            <p:spPr>
              <a:xfrm>
                <a:off x="1715323" y="3829017"/>
                <a:ext cx="2885" cy="3097"/>
              </a:xfrm>
              <a:custGeom>
                <a:avLst/>
                <a:gdLst>
                  <a:gd name="connsiteX0" fmla="*/ 19924 w 27662"/>
                  <a:gd name="connsiteY0" fmla="*/ 27937 h 29693"/>
                  <a:gd name="connsiteX1" fmla="*/ 16795 w 27662"/>
                  <a:gd name="connsiteY1" fmla="*/ 29693 h 29693"/>
                  <a:gd name="connsiteX2" fmla="*/ 11553 w 27662"/>
                  <a:gd name="connsiteY2" fmla="*/ 24068 h 29693"/>
                  <a:gd name="connsiteX3" fmla="*/ 7931 w 27662"/>
                  <a:gd name="connsiteY3" fmla="*/ 22201 h 29693"/>
                  <a:gd name="connsiteX4" fmla="*/ 4830 w 27662"/>
                  <a:gd name="connsiteY4" fmla="*/ 15149 h 29693"/>
                  <a:gd name="connsiteX5" fmla="*/ 0 w 27662"/>
                  <a:gd name="connsiteY5" fmla="*/ 12953 h 29693"/>
                  <a:gd name="connsiteX6" fmla="*/ 11636 w 27662"/>
                  <a:gd name="connsiteY6" fmla="*/ 10099 h 29693"/>
                  <a:gd name="connsiteX7" fmla="*/ 27662 w 27662"/>
                  <a:gd name="connsiteY7" fmla="*/ 0 h 29693"/>
                  <a:gd name="connsiteX8" fmla="*/ 27662 w 27662"/>
                  <a:gd name="connsiteY8" fmla="*/ 4007 h 29693"/>
                  <a:gd name="connsiteX9" fmla="*/ 21241 w 27662"/>
                  <a:gd name="connsiteY9" fmla="*/ 8919 h 29693"/>
                  <a:gd name="connsiteX10" fmla="*/ 23463 w 27662"/>
                  <a:gd name="connsiteY10" fmla="*/ 18634 h 29693"/>
                  <a:gd name="connsiteX11" fmla="*/ 22146 w 27662"/>
                  <a:gd name="connsiteY11" fmla="*/ 24095 h 29693"/>
                  <a:gd name="connsiteX12" fmla="*/ 19951 w 27662"/>
                  <a:gd name="connsiteY12" fmla="*/ 27992 h 2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62" h="29693">
                    <a:moveTo>
                      <a:pt x="19924" y="27937"/>
                    </a:moveTo>
                    <a:lnTo>
                      <a:pt x="16795" y="29693"/>
                    </a:lnTo>
                    <a:lnTo>
                      <a:pt x="11553" y="24068"/>
                    </a:lnTo>
                    <a:lnTo>
                      <a:pt x="7931" y="22201"/>
                    </a:lnTo>
                    <a:lnTo>
                      <a:pt x="4830" y="15149"/>
                    </a:lnTo>
                    <a:lnTo>
                      <a:pt x="0" y="12953"/>
                    </a:lnTo>
                    <a:lnTo>
                      <a:pt x="11636" y="10099"/>
                    </a:lnTo>
                    <a:lnTo>
                      <a:pt x="27662" y="0"/>
                    </a:lnTo>
                    <a:lnTo>
                      <a:pt x="27662" y="4007"/>
                    </a:lnTo>
                    <a:lnTo>
                      <a:pt x="21241" y="8919"/>
                    </a:lnTo>
                    <a:lnTo>
                      <a:pt x="23463" y="18634"/>
                    </a:lnTo>
                    <a:lnTo>
                      <a:pt x="22146" y="24095"/>
                    </a:lnTo>
                    <a:lnTo>
                      <a:pt x="19951" y="279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7" name="Freeform: Shape 3276">
                <a:extLst>
                  <a:ext uri="{FF2B5EF4-FFF2-40B4-BE49-F238E27FC236}">
                    <a16:creationId xmlns:a16="http://schemas.microsoft.com/office/drawing/2014/main" id="{8CE439AB-5E67-F576-9AD5-546A96B2680E}"/>
                  </a:ext>
                </a:extLst>
              </p:cNvPr>
              <p:cNvSpPr/>
              <p:nvPr/>
            </p:nvSpPr>
            <p:spPr>
              <a:xfrm>
                <a:off x="1718283" y="3829369"/>
                <a:ext cx="913" cy="1806"/>
              </a:xfrm>
              <a:custGeom>
                <a:avLst/>
                <a:gdLst>
                  <a:gd name="connsiteX0" fmla="*/ 5763 w 8754"/>
                  <a:gd name="connsiteY0" fmla="*/ 3760 h 17316"/>
                  <a:gd name="connsiteX1" fmla="*/ 8755 w 8754"/>
                  <a:gd name="connsiteY1" fmla="*/ 17317 h 17316"/>
                  <a:gd name="connsiteX2" fmla="*/ 1948 w 8754"/>
                  <a:gd name="connsiteY2" fmla="*/ 14984 h 17316"/>
                  <a:gd name="connsiteX3" fmla="*/ 0 w 8754"/>
                  <a:gd name="connsiteY3" fmla="*/ 3183 h 17316"/>
                  <a:gd name="connsiteX4" fmla="*/ 3485 w 8754"/>
                  <a:gd name="connsiteY4" fmla="*/ 0 h 17316"/>
                  <a:gd name="connsiteX5" fmla="*/ 5791 w 8754"/>
                  <a:gd name="connsiteY5" fmla="*/ 3787 h 17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54" h="17316">
                    <a:moveTo>
                      <a:pt x="5763" y="3760"/>
                    </a:moveTo>
                    <a:lnTo>
                      <a:pt x="8755" y="17317"/>
                    </a:lnTo>
                    <a:lnTo>
                      <a:pt x="1948" y="14984"/>
                    </a:lnTo>
                    <a:lnTo>
                      <a:pt x="0" y="3183"/>
                    </a:lnTo>
                    <a:lnTo>
                      <a:pt x="3485" y="0"/>
                    </a:lnTo>
                    <a:lnTo>
                      <a:pt x="5791" y="37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8" name="Freeform: Shape 3277">
                <a:extLst>
                  <a:ext uri="{FF2B5EF4-FFF2-40B4-BE49-F238E27FC236}">
                    <a16:creationId xmlns:a16="http://schemas.microsoft.com/office/drawing/2014/main" id="{18B9D780-F66A-1703-3BCA-6D6E834159FC}"/>
                  </a:ext>
                </a:extLst>
              </p:cNvPr>
              <p:cNvSpPr/>
              <p:nvPr/>
            </p:nvSpPr>
            <p:spPr>
              <a:xfrm>
                <a:off x="1151916" y="3874362"/>
                <a:ext cx="37107" cy="42262"/>
              </a:xfrm>
              <a:custGeom>
                <a:avLst/>
                <a:gdLst>
                  <a:gd name="connsiteX0" fmla="*/ 336094 w 355770"/>
                  <a:gd name="connsiteY0" fmla="*/ 318915 h 405195"/>
                  <a:gd name="connsiteX1" fmla="*/ 335051 w 355770"/>
                  <a:gd name="connsiteY1" fmla="*/ 307663 h 405195"/>
                  <a:gd name="connsiteX2" fmla="*/ 308980 w 355770"/>
                  <a:gd name="connsiteY2" fmla="*/ 291692 h 405195"/>
                  <a:gd name="connsiteX3" fmla="*/ 282608 w 355770"/>
                  <a:gd name="connsiteY3" fmla="*/ 291856 h 405195"/>
                  <a:gd name="connsiteX4" fmla="*/ 231948 w 355770"/>
                  <a:gd name="connsiteY4" fmla="*/ 302669 h 405195"/>
                  <a:gd name="connsiteX5" fmla="*/ 225334 w 355770"/>
                  <a:gd name="connsiteY5" fmla="*/ 316692 h 405195"/>
                  <a:gd name="connsiteX6" fmla="*/ 215674 w 355770"/>
                  <a:gd name="connsiteY6" fmla="*/ 331401 h 405195"/>
                  <a:gd name="connsiteX7" fmla="*/ 215290 w 355770"/>
                  <a:gd name="connsiteY7" fmla="*/ 347483 h 405195"/>
                  <a:gd name="connsiteX8" fmla="*/ 204231 w 355770"/>
                  <a:gd name="connsiteY8" fmla="*/ 384805 h 405195"/>
                  <a:gd name="connsiteX9" fmla="*/ 197343 w 355770"/>
                  <a:gd name="connsiteY9" fmla="*/ 377094 h 405195"/>
                  <a:gd name="connsiteX10" fmla="*/ 167567 w 355770"/>
                  <a:gd name="connsiteY10" fmla="*/ 377341 h 405195"/>
                  <a:gd name="connsiteX11" fmla="*/ 155025 w 355770"/>
                  <a:gd name="connsiteY11" fmla="*/ 401573 h 405195"/>
                  <a:gd name="connsiteX12" fmla="*/ 146271 w 355770"/>
                  <a:gd name="connsiteY12" fmla="*/ 384339 h 405195"/>
                  <a:gd name="connsiteX13" fmla="*/ 137132 w 355770"/>
                  <a:gd name="connsiteY13" fmla="*/ 380415 h 405195"/>
                  <a:gd name="connsiteX14" fmla="*/ 113614 w 355770"/>
                  <a:gd name="connsiteY14" fmla="*/ 379865 h 405195"/>
                  <a:gd name="connsiteX15" fmla="*/ 100167 w 355770"/>
                  <a:gd name="connsiteY15" fmla="*/ 371056 h 405195"/>
                  <a:gd name="connsiteX16" fmla="*/ 96160 w 355770"/>
                  <a:gd name="connsiteY16" fmla="*/ 379427 h 405195"/>
                  <a:gd name="connsiteX17" fmla="*/ 84909 w 355770"/>
                  <a:gd name="connsiteY17" fmla="*/ 384257 h 405195"/>
                  <a:gd name="connsiteX18" fmla="*/ 82027 w 355770"/>
                  <a:gd name="connsiteY18" fmla="*/ 390047 h 405195"/>
                  <a:gd name="connsiteX19" fmla="*/ 76264 w 355770"/>
                  <a:gd name="connsiteY19" fmla="*/ 393944 h 405195"/>
                  <a:gd name="connsiteX20" fmla="*/ 70885 w 355770"/>
                  <a:gd name="connsiteY20" fmla="*/ 402396 h 405195"/>
                  <a:gd name="connsiteX21" fmla="*/ 58865 w 355770"/>
                  <a:gd name="connsiteY21" fmla="*/ 405196 h 405195"/>
                  <a:gd name="connsiteX22" fmla="*/ 50605 w 355770"/>
                  <a:gd name="connsiteY22" fmla="*/ 402643 h 405195"/>
                  <a:gd name="connsiteX23" fmla="*/ 50824 w 355770"/>
                  <a:gd name="connsiteY23" fmla="*/ 394246 h 405195"/>
                  <a:gd name="connsiteX24" fmla="*/ 47668 w 355770"/>
                  <a:gd name="connsiteY24" fmla="*/ 379042 h 405195"/>
                  <a:gd name="connsiteX25" fmla="*/ 45171 w 355770"/>
                  <a:gd name="connsiteY25" fmla="*/ 375804 h 405195"/>
                  <a:gd name="connsiteX26" fmla="*/ 44732 w 355770"/>
                  <a:gd name="connsiteY26" fmla="*/ 369245 h 405195"/>
                  <a:gd name="connsiteX27" fmla="*/ 41714 w 355770"/>
                  <a:gd name="connsiteY27" fmla="*/ 363839 h 405195"/>
                  <a:gd name="connsiteX28" fmla="*/ 41274 w 355770"/>
                  <a:gd name="connsiteY28" fmla="*/ 354179 h 405195"/>
                  <a:gd name="connsiteX29" fmla="*/ 35539 w 355770"/>
                  <a:gd name="connsiteY29" fmla="*/ 344300 h 405195"/>
                  <a:gd name="connsiteX30" fmla="*/ 30956 w 355770"/>
                  <a:gd name="connsiteY30" fmla="*/ 341555 h 405195"/>
                  <a:gd name="connsiteX31" fmla="*/ 30709 w 355770"/>
                  <a:gd name="connsiteY31" fmla="*/ 337247 h 405195"/>
                  <a:gd name="connsiteX32" fmla="*/ 33014 w 355770"/>
                  <a:gd name="connsiteY32" fmla="*/ 333405 h 405195"/>
                  <a:gd name="connsiteX33" fmla="*/ 25110 w 355770"/>
                  <a:gd name="connsiteY33" fmla="*/ 326654 h 405195"/>
                  <a:gd name="connsiteX34" fmla="*/ 26620 w 355770"/>
                  <a:gd name="connsiteY34" fmla="*/ 323525 h 405195"/>
                  <a:gd name="connsiteX35" fmla="*/ 24616 w 355770"/>
                  <a:gd name="connsiteY35" fmla="*/ 316582 h 405195"/>
                  <a:gd name="connsiteX36" fmla="*/ 29858 w 355770"/>
                  <a:gd name="connsiteY36" fmla="*/ 314908 h 405195"/>
                  <a:gd name="connsiteX37" fmla="*/ 31148 w 355770"/>
                  <a:gd name="connsiteY37" fmla="*/ 311340 h 405195"/>
                  <a:gd name="connsiteX38" fmla="*/ 27278 w 355770"/>
                  <a:gd name="connsiteY38" fmla="*/ 305221 h 405195"/>
                  <a:gd name="connsiteX39" fmla="*/ 34029 w 355770"/>
                  <a:gd name="connsiteY39" fmla="*/ 294985 h 405195"/>
                  <a:gd name="connsiteX40" fmla="*/ 19484 w 355770"/>
                  <a:gd name="connsiteY40" fmla="*/ 282059 h 405195"/>
                  <a:gd name="connsiteX41" fmla="*/ 13859 w 355770"/>
                  <a:gd name="connsiteY41" fmla="*/ 256784 h 405195"/>
                  <a:gd name="connsiteX42" fmla="*/ 14709 w 355770"/>
                  <a:gd name="connsiteY42" fmla="*/ 253546 h 405195"/>
                  <a:gd name="connsiteX43" fmla="*/ 8919 w 355770"/>
                  <a:gd name="connsiteY43" fmla="*/ 249786 h 405195"/>
                  <a:gd name="connsiteX44" fmla="*/ 3375 w 355770"/>
                  <a:gd name="connsiteY44" fmla="*/ 236147 h 405195"/>
                  <a:gd name="connsiteX45" fmla="*/ 3293 w 355770"/>
                  <a:gd name="connsiteY45" fmla="*/ 232607 h 405195"/>
                  <a:gd name="connsiteX46" fmla="*/ 0 w 355770"/>
                  <a:gd name="connsiteY46" fmla="*/ 227667 h 405195"/>
                  <a:gd name="connsiteX47" fmla="*/ 5544 w 355770"/>
                  <a:gd name="connsiteY47" fmla="*/ 223276 h 405195"/>
                  <a:gd name="connsiteX48" fmla="*/ 12651 w 355770"/>
                  <a:gd name="connsiteY48" fmla="*/ 212957 h 405195"/>
                  <a:gd name="connsiteX49" fmla="*/ 16411 w 355770"/>
                  <a:gd name="connsiteY49" fmla="*/ 210817 h 405195"/>
                  <a:gd name="connsiteX50" fmla="*/ 17591 w 355770"/>
                  <a:gd name="connsiteY50" fmla="*/ 204230 h 405195"/>
                  <a:gd name="connsiteX51" fmla="*/ 22119 w 355770"/>
                  <a:gd name="connsiteY51" fmla="*/ 200059 h 405195"/>
                  <a:gd name="connsiteX52" fmla="*/ 18798 w 355770"/>
                  <a:gd name="connsiteY52" fmla="*/ 196492 h 405195"/>
                  <a:gd name="connsiteX53" fmla="*/ 14216 w 355770"/>
                  <a:gd name="connsiteY53" fmla="*/ 196437 h 405195"/>
                  <a:gd name="connsiteX54" fmla="*/ 10703 w 355770"/>
                  <a:gd name="connsiteY54" fmla="*/ 194351 h 405195"/>
                  <a:gd name="connsiteX55" fmla="*/ 5489 w 355770"/>
                  <a:gd name="connsiteY55" fmla="*/ 178709 h 405195"/>
                  <a:gd name="connsiteX56" fmla="*/ 9605 w 355770"/>
                  <a:gd name="connsiteY56" fmla="*/ 170037 h 405195"/>
                  <a:gd name="connsiteX57" fmla="*/ 12926 w 355770"/>
                  <a:gd name="connsiteY57" fmla="*/ 166936 h 405195"/>
                  <a:gd name="connsiteX58" fmla="*/ 6998 w 355770"/>
                  <a:gd name="connsiteY58" fmla="*/ 159224 h 405195"/>
                  <a:gd name="connsiteX59" fmla="*/ 6998 w 355770"/>
                  <a:gd name="connsiteY59" fmla="*/ 153955 h 405195"/>
                  <a:gd name="connsiteX60" fmla="*/ 17317 w 355770"/>
                  <a:gd name="connsiteY60" fmla="*/ 141112 h 405195"/>
                  <a:gd name="connsiteX61" fmla="*/ 18332 w 355770"/>
                  <a:gd name="connsiteY61" fmla="*/ 136748 h 405195"/>
                  <a:gd name="connsiteX62" fmla="*/ 21598 w 355770"/>
                  <a:gd name="connsiteY62" fmla="*/ 134937 h 405195"/>
                  <a:gd name="connsiteX63" fmla="*/ 15615 w 355770"/>
                  <a:gd name="connsiteY63" fmla="*/ 119349 h 405195"/>
                  <a:gd name="connsiteX64" fmla="*/ 18853 w 355770"/>
                  <a:gd name="connsiteY64" fmla="*/ 113504 h 405195"/>
                  <a:gd name="connsiteX65" fmla="*/ 18524 w 355770"/>
                  <a:gd name="connsiteY65" fmla="*/ 95200 h 405195"/>
                  <a:gd name="connsiteX66" fmla="*/ 24095 w 355770"/>
                  <a:gd name="connsiteY66" fmla="*/ 90068 h 405195"/>
                  <a:gd name="connsiteX67" fmla="*/ 26153 w 355770"/>
                  <a:gd name="connsiteY67" fmla="*/ 84222 h 405195"/>
                  <a:gd name="connsiteX68" fmla="*/ 23848 w 355770"/>
                  <a:gd name="connsiteY68" fmla="*/ 77911 h 405195"/>
                  <a:gd name="connsiteX69" fmla="*/ 576 w 355770"/>
                  <a:gd name="connsiteY69" fmla="*/ 37569 h 405195"/>
                  <a:gd name="connsiteX70" fmla="*/ 23573 w 355770"/>
                  <a:gd name="connsiteY70" fmla="*/ 39381 h 405195"/>
                  <a:gd name="connsiteX71" fmla="*/ 24616 w 355770"/>
                  <a:gd name="connsiteY71" fmla="*/ 42646 h 405195"/>
                  <a:gd name="connsiteX72" fmla="*/ 28458 w 355770"/>
                  <a:gd name="connsiteY72" fmla="*/ 42317 h 405195"/>
                  <a:gd name="connsiteX73" fmla="*/ 37926 w 355770"/>
                  <a:gd name="connsiteY73" fmla="*/ 38393 h 405195"/>
                  <a:gd name="connsiteX74" fmla="*/ 45116 w 355770"/>
                  <a:gd name="connsiteY74" fmla="*/ 29446 h 405195"/>
                  <a:gd name="connsiteX75" fmla="*/ 54667 w 355770"/>
                  <a:gd name="connsiteY75" fmla="*/ 29529 h 405195"/>
                  <a:gd name="connsiteX76" fmla="*/ 64134 w 355770"/>
                  <a:gd name="connsiteY76" fmla="*/ 20445 h 405195"/>
                  <a:gd name="connsiteX77" fmla="*/ 74782 w 355770"/>
                  <a:gd name="connsiteY77" fmla="*/ 16466 h 405195"/>
                  <a:gd name="connsiteX78" fmla="*/ 83619 w 355770"/>
                  <a:gd name="connsiteY78" fmla="*/ 8699 h 405195"/>
                  <a:gd name="connsiteX79" fmla="*/ 90370 w 355770"/>
                  <a:gd name="connsiteY79" fmla="*/ 5351 h 405195"/>
                  <a:gd name="connsiteX80" fmla="*/ 109964 w 355770"/>
                  <a:gd name="connsiteY80" fmla="*/ 1756 h 405195"/>
                  <a:gd name="connsiteX81" fmla="*/ 118115 w 355770"/>
                  <a:gd name="connsiteY81" fmla="*/ 3595 h 405195"/>
                  <a:gd name="connsiteX82" fmla="*/ 121627 w 355770"/>
                  <a:gd name="connsiteY82" fmla="*/ 0 h 405195"/>
                  <a:gd name="connsiteX83" fmla="*/ 124152 w 355770"/>
                  <a:gd name="connsiteY83" fmla="*/ 714 h 405195"/>
                  <a:gd name="connsiteX84" fmla="*/ 125826 w 355770"/>
                  <a:gd name="connsiteY84" fmla="*/ 4418 h 405195"/>
                  <a:gd name="connsiteX85" fmla="*/ 126403 w 355770"/>
                  <a:gd name="connsiteY85" fmla="*/ 15395 h 405195"/>
                  <a:gd name="connsiteX86" fmla="*/ 122314 w 355770"/>
                  <a:gd name="connsiteY86" fmla="*/ 25247 h 405195"/>
                  <a:gd name="connsiteX87" fmla="*/ 126046 w 355770"/>
                  <a:gd name="connsiteY87" fmla="*/ 37295 h 405195"/>
                  <a:gd name="connsiteX88" fmla="*/ 123603 w 355770"/>
                  <a:gd name="connsiteY88" fmla="*/ 45528 h 405195"/>
                  <a:gd name="connsiteX89" fmla="*/ 125497 w 355770"/>
                  <a:gd name="connsiteY89" fmla="*/ 52004 h 405195"/>
                  <a:gd name="connsiteX90" fmla="*/ 128763 w 355770"/>
                  <a:gd name="connsiteY90" fmla="*/ 55901 h 405195"/>
                  <a:gd name="connsiteX91" fmla="*/ 129750 w 355770"/>
                  <a:gd name="connsiteY91" fmla="*/ 61116 h 405195"/>
                  <a:gd name="connsiteX92" fmla="*/ 133483 w 355770"/>
                  <a:gd name="connsiteY92" fmla="*/ 62405 h 405195"/>
                  <a:gd name="connsiteX93" fmla="*/ 135459 w 355770"/>
                  <a:gd name="connsiteY93" fmla="*/ 68553 h 405195"/>
                  <a:gd name="connsiteX94" fmla="*/ 140892 w 355770"/>
                  <a:gd name="connsiteY94" fmla="*/ 70391 h 405195"/>
                  <a:gd name="connsiteX95" fmla="*/ 150443 w 355770"/>
                  <a:gd name="connsiteY95" fmla="*/ 77883 h 405195"/>
                  <a:gd name="connsiteX96" fmla="*/ 151046 w 355770"/>
                  <a:gd name="connsiteY96" fmla="*/ 80957 h 405195"/>
                  <a:gd name="connsiteX97" fmla="*/ 156206 w 355770"/>
                  <a:gd name="connsiteY97" fmla="*/ 83646 h 405195"/>
                  <a:gd name="connsiteX98" fmla="*/ 165618 w 355770"/>
                  <a:gd name="connsiteY98" fmla="*/ 85156 h 405195"/>
                  <a:gd name="connsiteX99" fmla="*/ 172479 w 355770"/>
                  <a:gd name="connsiteY99" fmla="*/ 82795 h 405195"/>
                  <a:gd name="connsiteX100" fmla="*/ 184664 w 355770"/>
                  <a:gd name="connsiteY100" fmla="*/ 89903 h 405195"/>
                  <a:gd name="connsiteX101" fmla="*/ 190564 w 355770"/>
                  <a:gd name="connsiteY101" fmla="*/ 88586 h 405195"/>
                  <a:gd name="connsiteX102" fmla="*/ 193665 w 355770"/>
                  <a:gd name="connsiteY102" fmla="*/ 93772 h 405195"/>
                  <a:gd name="connsiteX103" fmla="*/ 199812 w 355770"/>
                  <a:gd name="connsiteY103" fmla="*/ 98877 h 405195"/>
                  <a:gd name="connsiteX104" fmla="*/ 203133 w 355770"/>
                  <a:gd name="connsiteY104" fmla="*/ 98575 h 405195"/>
                  <a:gd name="connsiteX105" fmla="*/ 212326 w 355770"/>
                  <a:gd name="connsiteY105" fmla="*/ 103048 h 405195"/>
                  <a:gd name="connsiteX106" fmla="*/ 219132 w 355770"/>
                  <a:gd name="connsiteY106" fmla="*/ 103487 h 405195"/>
                  <a:gd name="connsiteX107" fmla="*/ 220834 w 355770"/>
                  <a:gd name="connsiteY107" fmla="*/ 107576 h 405195"/>
                  <a:gd name="connsiteX108" fmla="*/ 228545 w 355770"/>
                  <a:gd name="connsiteY108" fmla="*/ 114821 h 405195"/>
                  <a:gd name="connsiteX109" fmla="*/ 250280 w 355770"/>
                  <a:gd name="connsiteY109" fmla="*/ 113614 h 405195"/>
                  <a:gd name="connsiteX110" fmla="*/ 259172 w 355770"/>
                  <a:gd name="connsiteY110" fmla="*/ 120008 h 405195"/>
                  <a:gd name="connsiteX111" fmla="*/ 267432 w 355770"/>
                  <a:gd name="connsiteY111" fmla="*/ 123466 h 405195"/>
                  <a:gd name="connsiteX112" fmla="*/ 269957 w 355770"/>
                  <a:gd name="connsiteY112" fmla="*/ 129366 h 405195"/>
                  <a:gd name="connsiteX113" fmla="*/ 267981 w 355770"/>
                  <a:gd name="connsiteY113" fmla="*/ 135267 h 405195"/>
                  <a:gd name="connsiteX114" fmla="*/ 273661 w 355770"/>
                  <a:gd name="connsiteY114" fmla="*/ 148851 h 405195"/>
                  <a:gd name="connsiteX115" fmla="*/ 274265 w 355770"/>
                  <a:gd name="connsiteY115" fmla="*/ 160733 h 405195"/>
                  <a:gd name="connsiteX116" fmla="*/ 273497 w 355770"/>
                  <a:gd name="connsiteY116" fmla="*/ 162462 h 405195"/>
                  <a:gd name="connsiteX117" fmla="*/ 266554 w 355770"/>
                  <a:gd name="connsiteY117" fmla="*/ 163917 h 405195"/>
                  <a:gd name="connsiteX118" fmla="*/ 274869 w 355770"/>
                  <a:gd name="connsiteY118" fmla="*/ 174702 h 405195"/>
                  <a:gd name="connsiteX119" fmla="*/ 277119 w 355770"/>
                  <a:gd name="connsiteY119" fmla="*/ 197672 h 405195"/>
                  <a:gd name="connsiteX120" fmla="*/ 325227 w 355770"/>
                  <a:gd name="connsiteY120" fmla="*/ 199977 h 405195"/>
                  <a:gd name="connsiteX121" fmla="*/ 330798 w 355770"/>
                  <a:gd name="connsiteY121" fmla="*/ 198715 h 405195"/>
                  <a:gd name="connsiteX122" fmla="*/ 330386 w 355770"/>
                  <a:gd name="connsiteY122" fmla="*/ 206508 h 405195"/>
                  <a:gd name="connsiteX123" fmla="*/ 327312 w 355770"/>
                  <a:gd name="connsiteY123" fmla="*/ 211805 h 405195"/>
                  <a:gd name="connsiteX124" fmla="*/ 328932 w 355770"/>
                  <a:gd name="connsiteY124" fmla="*/ 225883 h 405195"/>
                  <a:gd name="connsiteX125" fmla="*/ 337878 w 355770"/>
                  <a:gd name="connsiteY125" fmla="*/ 234747 h 405195"/>
                  <a:gd name="connsiteX126" fmla="*/ 345672 w 355770"/>
                  <a:gd name="connsiteY126" fmla="*/ 236476 h 405195"/>
                  <a:gd name="connsiteX127" fmla="*/ 347785 w 355770"/>
                  <a:gd name="connsiteY127" fmla="*/ 241718 h 405195"/>
                  <a:gd name="connsiteX128" fmla="*/ 355771 w 355770"/>
                  <a:gd name="connsiteY128" fmla="*/ 258678 h 405195"/>
                  <a:gd name="connsiteX129" fmla="*/ 352917 w 355770"/>
                  <a:gd name="connsiteY129" fmla="*/ 261751 h 405195"/>
                  <a:gd name="connsiteX130" fmla="*/ 348443 w 355770"/>
                  <a:gd name="connsiteY130" fmla="*/ 276625 h 405195"/>
                  <a:gd name="connsiteX131" fmla="*/ 348663 w 355770"/>
                  <a:gd name="connsiteY131" fmla="*/ 283349 h 405195"/>
                  <a:gd name="connsiteX132" fmla="*/ 337686 w 355770"/>
                  <a:gd name="connsiteY132" fmla="*/ 304754 h 405195"/>
                  <a:gd name="connsiteX133" fmla="*/ 344354 w 355770"/>
                  <a:gd name="connsiteY133" fmla="*/ 313618 h 405195"/>
                  <a:gd name="connsiteX134" fmla="*/ 335930 w 355770"/>
                  <a:gd name="connsiteY134" fmla="*/ 319052 h 40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355770" h="405195">
                    <a:moveTo>
                      <a:pt x="336094" y="318915"/>
                    </a:moveTo>
                    <a:lnTo>
                      <a:pt x="335051" y="307663"/>
                    </a:lnTo>
                    <a:lnTo>
                      <a:pt x="308980" y="291692"/>
                    </a:lnTo>
                    <a:lnTo>
                      <a:pt x="282608" y="291856"/>
                    </a:lnTo>
                    <a:lnTo>
                      <a:pt x="231948" y="302669"/>
                    </a:lnTo>
                    <a:lnTo>
                      <a:pt x="225334" y="316692"/>
                    </a:lnTo>
                    <a:lnTo>
                      <a:pt x="215674" y="331401"/>
                    </a:lnTo>
                    <a:lnTo>
                      <a:pt x="215290" y="347483"/>
                    </a:lnTo>
                    <a:lnTo>
                      <a:pt x="204231" y="384805"/>
                    </a:lnTo>
                    <a:lnTo>
                      <a:pt x="197343" y="377094"/>
                    </a:lnTo>
                    <a:lnTo>
                      <a:pt x="167567" y="377341"/>
                    </a:lnTo>
                    <a:lnTo>
                      <a:pt x="155025" y="401573"/>
                    </a:lnTo>
                    <a:lnTo>
                      <a:pt x="146271" y="384339"/>
                    </a:lnTo>
                    <a:lnTo>
                      <a:pt x="137132" y="380415"/>
                    </a:lnTo>
                    <a:lnTo>
                      <a:pt x="113614" y="379865"/>
                    </a:lnTo>
                    <a:lnTo>
                      <a:pt x="100167" y="371056"/>
                    </a:lnTo>
                    <a:lnTo>
                      <a:pt x="96160" y="379427"/>
                    </a:lnTo>
                    <a:lnTo>
                      <a:pt x="84909" y="384257"/>
                    </a:lnTo>
                    <a:lnTo>
                      <a:pt x="82027" y="390047"/>
                    </a:lnTo>
                    <a:lnTo>
                      <a:pt x="76264" y="393944"/>
                    </a:lnTo>
                    <a:lnTo>
                      <a:pt x="70885" y="402396"/>
                    </a:lnTo>
                    <a:lnTo>
                      <a:pt x="58865" y="405196"/>
                    </a:lnTo>
                    <a:lnTo>
                      <a:pt x="50605" y="402643"/>
                    </a:lnTo>
                    <a:lnTo>
                      <a:pt x="50824" y="394246"/>
                    </a:lnTo>
                    <a:lnTo>
                      <a:pt x="47668" y="379042"/>
                    </a:lnTo>
                    <a:lnTo>
                      <a:pt x="45171" y="375804"/>
                    </a:lnTo>
                    <a:lnTo>
                      <a:pt x="44732" y="369245"/>
                    </a:lnTo>
                    <a:lnTo>
                      <a:pt x="41714" y="363839"/>
                    </a:lnTo>
                    <a:lnTo>
                      <a:pt x="41274" y="354179"/>
                    </a:lnTo>
                    <a:lnTo>
                      <a:pt x="35539" y="344300"/>
                    </a:lnTo>
                    <a:lnTo>
                      <a:pt x="30956" y="341555"/>
                    </a:lnTo>
                    <a:lnTo>
                      <a:pt x="30709" y="337247"/>
                    </a:lnTo>
                    <a:lnTo>
                      <a:pt x="33014" y="333405"/>
                    </a:lnTo>
                    <a:lnTo>
                      <a:pt x="25110" y="326654"/>
                    </a:lnTo>
                    <a:lnTo>
                      <a:pt x="26620" y="323525"/>
                    </a:lnTo>
                    <a:lnTo>
                      <a:pt x="24616" y="316582"/>
                    </a:lnTo>
                    <a:lnTo>
                      <a:pt x="29858" y="314908"/>
                    </a:lnTo>
                    <a:lnTo>
                      <a:pt x="31148" y="311340"/>
                    </a:lnTo>
                    <a:lnTo>
                      <a:pt x="27278" y="305221"/>
                    </a:lnTo>
                    <a:lnTo>
                      <a:pt x="34029" y="294985"/>
                    </a:lnTo>
                    <a:lnTo>
                      <a:pt x="19484" y="282059"/>
                    </a:lnTo>
                    <a:lnTo>
                      <a:pt x="13859" y="256784"/>
                    </a:lnTo>
                    <a:lnTo>
                      <a:pt x="14709" y="253546"/>
                    </a:lnTo>
                    <a:lnTo>
                      <a:pt x="8919" y="249786"/>
                    </a:lnTo>
                    <a:lnTo>
                      <a:pt x="3375" y="236147"/>
                    </a:lnTo>
                    <a:lnTo>
                      <a:pt x="3293" y="232607"/>
                    </a:lnTo>
                    <a:lnTo>
                      <a:pt x="0" y="227667"/>
                    </a:lnTo>
                    <a:lnTo>
                      <a:pt x="5544" y="223276"/>
                    </a:lnTo>
                    <a:lnTo>
                      <a:pt x="12651" y="212957"/>
                    </a:lnTo>
                    <a:lnTo>
                      <a:pt x="16411" y="210817"/>
                    </a:lnTo>
                    <a:lnTo>
                      <a:pt x="17591" y="204230"/>
                    </a:lnTo>
                    <a:lnTo>
                      <a:pt x="22119" y="200059"/>
                    </a:lnTo>
                    <a:lnTo>
                      <a:pt x="18798" y="196492"/>
                    </a:lnTo>
                    <a:lnTo>
                      <a:pt x="14216" y="196437"/>
                    </a:lnTo>
                    <a:lnTo>
                      <a:pt x="10703" y="194351"/>
                    </a:lnTo>
                    <a:lnTo>
                      <a:pt x="5489" y="178709"/>
                    </a:lnTo>
                    <a:lnTo>
                      <a:pt x="9605" y="170037"/>
                    </a:lnTo>
                    <a:lnTo>
                      <a:pt x="12926" y="166936"/>
                    </a:lnTo>
                    <a:lnTo>
                      <a:pt x="6998" y="159224"/>
                    </a:lnTo>
                    <a:lnTo>
                      <a:pt x="6998" y="153955"/>
                    </a:lnTo>
                    <a:cubicBezTo>
                      <a:pt x="6998" y="153955"/>
                      <a:pt x="17317" y="141112"/>
                      <a:pt x="17317" y="141112"/>
                    </a:cubicBezTo>
                    <a:lnTo>
                      <a:pt x="18332" y="136748"/>
                    </a:lnTo>
                    <a:lnTo>
                      <a:pt x="21598" y="134937"/>
                    </a:lnTo>
                    <a:lnTo>
                      <a:pt x="15615" y="119349"/>
                    </a:lnTo>
                    <a:lnTo>
                      <a:pt x="18853" y="113504"/>
                    </a:lnTo>
                    <a:lnTo>
                      <a:pt x="18524" y="95200"/>
                    </a:lnTo>
                    <a:lnTo>
                      <a:pt x="24095" y="90068"/>
                    </a:lnTo>
                    <a:lnTo>
                      <a:pt x="26153" y="84222"/>
                    </a:lnTo>
                    <a:lnTo>
                      <a:pt x="23848" y="77911"/>
                    </a:lnTo>
                    <a:lnTo>
                      <a:pt x="576" y="37569"/>
                    </a:lnTo>
                    <a:lnTo>
                      <a:pt x="23573" y="39381"/>
                    </a:lnTo>
                    <a:lnTo>
                      <a:pt x="24616" y="42646"/>
                    </a:lnTo>
                    <a:lnTo>
                      <a:pt x="28458" y="42317"/>
                    </a:lnTo>
                    <a:lnTo>
                      <a:pt x="37926" y="38393"/>
                    </a:lnTo>
                    <a:lnTo>
                      <a:pt x="45116" y="29446"/>
                    </a:lnTo>
                    <a:lnTo>
                      <a:pt x="54667" y="29529"/>
                    </a:lnTo>
                    <a:lnTo>
                      <a:pt x="64134" y="20445"/>
                    </a:lnTo>
                    <a:lnTo>
                      <a:pt x="74782" y="16466"/>
                    </a:lnTo>
                    <a:lnTo>
                      <a:pt x="83619" y="8699"/>
                    </a:lnTo>
                    <a:lnTo>
                      <a:pt x="90370" y="5351"/>
                    </a:lnTo>
                    <a:lnTo>
                      <a:pt x="109964" y="1756"/>
                    </a:lnTo>
                    <a:lnTo>
                      <a:pt x="118115" y="3595"/>
                    </a:lnTo>
                    <a:lnTo>
                      <a:pt x="121627" y="0"/>
                    </a:lnTo>
                    <a:lnTo>
                      <a:pt x="124152" y="714"/>
                    </a:lnTo>
                    <a:lnTo>
                      <a:pt x="125826" y="4418"/>
                    </a:lnTo>
                    <a:lnTo>
                      <a:pt x="126403" y="15395"/>
                    </a:lnTo>
                    <a:lnTo>
                      <a:pt x="122314" y="25247"/>
                    </a:lnTo>
                    <a:lnTo>
                      <a:pt x="126046" y="37295"/>
                    </a:lnTo>
                    <a:lnTo>
                      <a:pt x="123603" y="45528"/>
                    </a:lnTo>
                    <a:lnTo>
                      <a:pt x="125497" y="52004"/>
                    </a:lnTo>
                    <a:lnTo>
                      <a:pt x="128763" y="55901"/>
                    </a:lnTo>
                    <a:lnTo>
                      <a:pt x="129750" y="61116"/>
                    </a:lnTo>
                    <a:lnTo>
                      <a:pt x="133483" y="62405"/>
                    </a:lnTo>
                    <a:lnTo>
                      <a:pt x="135459" y="68553"/>
                    </a:lnTo>
                    <a:lnTo>
                      <a:pt x="140892" y="70391"/>
                    </a:lnTo>
                    <a:lnTo>
                      <a:pt x="150443" y="77883"/>
                    </a:lnTo>
                    <a:lnTo>
                      <a:pt x="151046" y="80957"/>
                    </a:lnTo>
                    <a:lnTo>
                      <a:pt x="156206" y="83646"/>
                    </a:lnTo>
                    <a:lnTo>
                      <a:pt x="165618" y="85156"/>
                    </a:lnTo>
                    <a:lnTo>
                      <a:pt x="172479" y="82795"/>
                    </a:lnTo>
                    <a:lnTo>
                      <a:pt x="184664" y="89903"/>
                    </a:lnTo>
                    <a:lnTo>
                      <a:pt x="190564" y="88586"/>
                    </a:lnTo>
                    <a:lnTo>
                      <a:pt x="193665" y="93772"/>
                    </a:lnTo>
                    <a:lnTo>
                      <a:pt x="199812" y="98877"/>
                    </a:lnTo>
                    <a:lnTo>
                      <a:pt x="203133" y="98575"/>
                    </a:lnTo>
                    <a:lnTo>
                      <a:pt x="212326" y="103048"/>
                    </a:lnTo>
                    <a:lnTo>
                      <a:pt x="219132" y="103487"/>
                    </a:lnTo>
                    <a:lnTo>
                      <a:pt x="220834" y="107576"/>
                    </a:lnTo>
                    <a:lnTo>
                      <a:pt x="228545" y="114821"/>
                    </a:lnTo>
                    <a:lnTo>
                      <a:pt x="250280" y="113614"/>
                    </a:lnTo>
                    <a:lnTo>
                      <a:pt x="259172" y="120008"/>
                    </a:lnTo>
                    <a:lnTo>
                      <a:pt x="267432" y="123466"/>
                    </a:lnTo>
                    <a:lnTo>
                      <a:pt x="269957" y="129366"/>
                    </a:lnTo>
                    <a:lnTo>
                      <a:pt x="267981" y="135267"/>
                    </a:lnTo>
                    <a:lnTo>
                      <a:pt x="273661" y="148851"/>
                    </a:lnTo>
                    <a:lnTo>
                      <a:pt x="274265" y="160733"/>
                    </a:lnTo>
                    <a:lnTo>
                      <a:pt x="273497" y="162462"/>
                    </a:lnTo>
                    <a:lnTo>
                      <a:pt x="266554" y="163917"/>
                    </a:lnTo>
                    <a:lnTo>
                      <a:pt x="274869" y="174702"/>
                    </a:lnTo>
                    <a:lnTo>
                      <a:pt x="277119" y="197672"/>
                    </a:lnTo>
                    <a:lnTo>
                      <a:pt x="325227" y="199977"/>
                    </a:lnTo>
                    <a:lnTo>
                      <a:pt x="330798" y="198715"/>
                    </a:lnTo>
                    <a:lnTo>
                      <a:pt x="330386" y="206508"/>
                    </a:lnTo>
                    <a:lnTo>
                      <a:pt x="327312" y="211805"/>
                    </a:lnTo>
                    <a:lnTo>
                      <a:pt x="328932" y="225883"/>
                    </a:lnTo>
                    <a:lnTo>
                      <a:pt x="337878" y="234747"/>
                    </a:lnTo>
                    <a:lnTo>
                      <a:pt x="345672" y="236476"/>
                    </a:lnTo>
                    <a:lnTo>
                      <a:pt x="347785" y="241718"/>
                    </a:lnTo>
                    <a:lnTo>
                      <a:pt x="355771" y="258678"/>
                    </a:lnTo>
                    <a:lnTo>
                      <a:pt x="352917" y="261751"/>
                    </a:lnTo>
                    <a:lnTo>
                      <a:pt x="348443" y="276625"/>
                    </a:lnTo>
                    <a:lnTo>
                      <a:pt x="348663" y="283349"/>
                    </a:lnTo>
                    <a:lnTo>
                      <a:pt x="337686" y="304754"/>
                    </a:lnTo>
                    <a:lnTo>
                      <a:pt x="344354" y="313618"/>
                    </a:lnTo>
                    <a:lnTo>
                      <a:pt x="335930" y="3190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9" name="Freeform: Shape 3278">
                <a:extLst>
                  <a:ext uri="{FF2B5EF4-FFF2-40B4-BE49-F238E27FC236}">
                    <a16:creationId xmlns:a16="http://schemas.microsoft.com/office/drawing/2014/main" id="{DBC95D68-C252-DB95-CAEE-3FCF275B316F}"/>
                  </a:ext>
                </a:extLst>
              </p:cNvPr>
              <p:cNvSpPr/>
              <p:nvPr/>
            </p:nvSpPr>
            <p:spPr>
              <a:xfrm>
                <a:off x="1155497" y="3806385"/>
                <a:ext cx="707" cy="799"/>
              </a:xfrm>
              <a:custGeom>
                <a:avLst/>
                <a:gdLst>
                  <a:gd name="connsiteX0" fmla="*/ 6778 w 6778"/>
                  <a:gd name="connsiteY0" fmla="*/ 5489 h 7656"/>
                  <a:gd name="connsiteX1" fmla="*/ 4720 w 6778"/>
                  <a:gd name="connsiteY1" fmla="*/ 7656 h 7656"/>
                  <a:gd name="connsiteX2" fmla="*/ 3019 w 6778"/>
                  <a:gd name="connsiteY2" fmla="*/ 3156 h 7656"/>
                  <a:gd name="connsiteX3" fmla="*/ 302 w 6778"/>
                  <a:gd name="connsiteY3" fmla="*/ 2607 h 7656"/>
                  <a:gd name="connsiteX4" fmla="*/ 0 w 6778"/>
                  <a:gd name="connsiteY4" fmla="*/ 1647 h 7656"/>
                  <a:gd name="connsiteX5" fmla="*/ 988 w 6778"/>
                  <a:gd name="connsiteY5" fmla="*/ 0 h 7656"/>
                  <a:gd name="connsiteX6" fmla="*/ 4226 w 6778"/>
                  <a:gd name="connsiteY6" fmla="*/ 2333 h 7656"/>
                  <a:gd name="connsiteX7" fmla="*/ 6641 w 6778"/>
                  <a:gd name="connsiteY7" fmla="*/ 2772 h 7656"/>
                  <a:gd name="connsiteX8" fmla="*/ 6751 w 6778"/>
                  <a:gd name="connsiteY8" fmla="*/ 5489 h 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78" h="7656">
                    <a:moveTo>
                      <a:pt x="6778" y="5489"/>
                    </a:moveTo>
                    <a:lnTo>
                      <a:pt x="4720" y="7656"/>
                    </a:lnTo>
                    <a:lnTo>
                      <a:pt x="3019" y="3156"/>
                    </a:lnTo>
                    <a:lnTo>
                      <a:pt x="302" y="2607"/>
                    </a:lnTo>
                    <a:lnTo>
                      <a:pt x="0" y="1647"/>
                    </a:lnTo>
                    <a:lnTo>
                      <a:pt x="988" y="0"/>
                    </a:lnTo>
                    <a:lnTo>
                      <a:pt x="4226" y="2333"/>
                    </a:lnTo>
                    <a:lnTo>
                      <a:pt x="6641" y="2772"/>
                    </a:lnTo>
                    <a:lnTo>
                      <a:pt x="6751" y="54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 name="Freeform: Shape 3279">
                <a:extLst>
                  <a:ext uri="{FF2B5EF4-FFF2-40B4-BE49-F238E27FC236}">
                    <a16:creationId xmlns:a16="http://schemas.microsoft.com/office/drawing/2014/main" id="{804CBC3A-FC99-C02C-40AC-CF8764F89300}"/>
                  </a:ext>
                </a:extLst>
              </p:cNvPr>
              <p:cNvSpPr/>
              <p:nvPr/>
            </p:nvSpPr>
            <p:spPr>
              <a:xfrm>
                <a:off x="1171197" y="3789351"/>
                <a:ext cx="392" cy="269"/>
              </a:xfrm>
              <a:custGeom>
                <a:avLst/>
                <a:gdLst>
                  <a:gd name="connsiteX0" fmla="*/ 3760 w 3759"/>
                  <a:gd name="connsiteY0" fmla="*/ 0 h 2579"/>
                  <a:gd name="connsiteX1" fmla="*/ 3348 w 3759"/>
                  <a:gd name="connsiteY1" fmla="*/ 2579 h 2579"/>
                  <a:gd name="connsiteX2" fmla="*/ 0 w 3759"/>
                  <a:gd name="connsiteY2" fmla="*/ 2003 h 2579"/>
                  <a:gd name="connsiteX3" fmla="*/ 604 w 3759"/>
                  <a:gd name="connsiteY3" fmla="*/ 164 h 2579"/>
                  <a:gd name="connsiteX4" fmla="*/ 3760 w 3759"/>
                  <a:gd name="connsiteY4" fmla="*/ 0 h 2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9" h="2579">
                    <a:moveTo>
                      <a:pt x="3760" y="0"/>
                    </a:moveTo>
                    <a:lnTo>
                      <a:pt x="3348" y="2579"/>
                    </a:lnTo>
                    <a:lnTo>
                      <a:pt x="0" y="2003"/>
                    </a:lnTo>
                    <a:lnTo>
                      <a:pt x="604" y="164"/>
                    </a:lnTo>
                    <a:lnTo>
                      <a:pt x="376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 name="Freeform: Shape 3280">
                <a:extLst>
                  <a:ext uri="{FF2B5EF4-FFF2-40B4-BE49-F238E27FC236}">
                    <a16:creationId xmlns:a16="http://schemas.microsoft.com/office/drawing/2014/main" id="{B4E86A94-858C-735F-C558-79B956C3A09C}"/>
                  </a:ext>
                </a:extLst>
              </p:cNvPr>
              <p:cNvSpPr/>
              <p:nvPr/>
            </p:nvSpPr>
            <p:spPr>
              <a:xfrm>
                <a:off x="1138529" y="3828302"/>
                <a:ext cx="119955" cy="126243"/>
              </a:xfrm>
              <a:custGeom>
                <a:avLst/>
                <a:gdLst>
                  <a:gd name="connsiteX0" fmla="*/ 406705 w 1150080"/>
                  <a:gd name="connsiteY0" fmla="*/ 714 h 1210372"/>
                  <a:gd name="connsiteX1" fmla="*/ 408214 w 1150080"/>
                  <a:gd name="connsiteY1" fmla="*/ 3458 h 1210372"/>
                  <a:gd name="connsiteX2" fmla="*/ 411206 w 1150080"/>
                  <a:gd name="connsiteY2" fmla="*/ 5790 h 1210372"/>
                  <a:gd name="connsiteX3" fmla="*/ 409367 w 1150080"/>
                  <a:gd name="connsiteY3" fmla="*/ 16301 h 1210372"/>
                  <a:gd name="connsiteX4" fmla="*/ 407858 w 1150080"/>
                  <a:gd name="connsiteY4" fmla="*/ 19210 h 1210372"/>
                  <a:gd name="connsiteX5" fmla="*/ 405882 w 1150080"/>
                  <a:gd name="connsiteY5" fmla="*/ 20500 h 1210372"/>
                  <a:gd name="connsiteX6" fmla="*/ 405799 w 1150080"/>
                  <a:gd name="connsiteY6" fmla="*/ 21570 h 1210372"/>
                  <a:gd name="connsiteX7" fmla="*/ 408818 w 1150080"/>
                  <a:gd name="connsiteY7" fmla="*/ 22449 h 1210372"/>
                  <a:gd name="connsiteX8" fmla="*/ 412441 w 1150080"/>
                  <a:gd name="connsiteY8" fmla="*/ 22256 h 1210372"/>
                  <a:gd name="connsiteX9" fmla="*/ 417490 w 1150080"/>
                  <a:gd name="connsiteY9" fmla="*/ 24507 h 1210372"/>
                  <a:gd name="connsiteX10" fmla="*/ 419493 w 1150080"/>
                  <a:gd name="connsiteY10" fmla="*/ 26181 h 1210372"/>
                  <a:gd name="connsiteX11" fmla="*/ 418972 w 1150080"/>
                  <a:gd name="connsiteY11" fmla="*/ 31450 h 1210372"/>
                  <a:gd name="connsiteX12" fmla="*/ 423994 w 1150080"/>
                  <a:gd name="connsiteY12" fmla="*/ 38914 h 1210372"/>
                  <a:gd name="connsiteX13" fmla="*/ 419686 w 1150080"/>
                  <a:gd name="connsiteY13" fmla="*/ 46049 h 1210372"/>
                  <a:gd name="connsiteX14" fmla="*/ 414966 w 1150080"/>
                  <a:gd name="connsiteY14" fmla="*/ 49535 h 1210372"/>
                  <a:gd name="connsiteX15" fmla="*/ 416173 w 1150080"/>
                  <a:gd name="connsiteY15" fmla="*/ 55353 h 1210372"/>
                  <a:gd name="connsiteX16" fmla="*/ 411727 w 1150080"/>
                  <a:gd name="connsiteY16" fmla="*/ 65424 h 1210372"/>
                  <a:gd name="connsiteX17" fmla="*/ 410794 w 1150080"/>
                  <a:gd name="connsiteY17" fmla="*/ 75496 h 1210372"/>
                  <a:gd name="connsiteX18" fmla="*/ 413511 w 1150080"/>
                  <a:gd name="connsiteY18" fmla="*/ 84634 h 1210372"/>
                  <a:gd name="connsiteX19" fmla="*/ 418094 w 1150080"/>
                  <a:gd name="connsiteY19" fmla="*/ 88339 h 1210372"/>
                  <a:gd name="connsiteX20" fmla="*/ 417929 w 1150080"/>
                  <a:gd name="connsiteY20" fmla="*/ 99701 h 1210372"/>
                  <a:gd name="connsiteX21" fmla="*/ 425311 w 1150080"/>
                  <a:gd name="connsiteY21" fmla="*/ 106287 h 1210372"/>
                  <a:gd name="connsiteX22" fmla="*/ 433023 w 1150080"/>
                  <a:gd name="connsiteY22" fmla="*/ 114026 h 1210372"/>
                  <a:gd name="connsiteX23" fmla="*/ 440954 w 1150080"/>
                  <a:gd name="connsiteY23" fmla="*/ 116441 h 1210372"/>
                  <a:gd name="connsiteX24" fmla="*/ 445702 w 1150080"/>
                  <a:gd name="connsiteY24" fmla="*/ 120337 h 1210372"/>
                  <a:gd name="connsiteX25" fmla="*/ 449132 w 1150080"/>
                  <a:gd name="connsiteY25" fmla="*/ 117401 h 1210372"/>
                  <a:gd name="connsiteX26" fmla="*/ 454566 w 1150080"/>
                  <a:gd name="connsiteY26" fmla="*/ 117099 h 1210372"/>
                  <a:gd name="connsiteX27" fmla="*/ 455334 w 1150080"/>
                  <a:gd name="connsiteY27" fmla="*/ 112516 h 1210372"/>
                  <a:gd name="connsiteX28" fmla="*/ 459450 w 1150080"/>
                  <a:gd name="connsiteY28" fmla="*/ 108757 h 1210372"/>
                  <a:gd name="connsiteX29" fmla="*/ 468452 w 1150080"/>
                  <a:gd name="connsiteY29" fmla="*/ 110431 h 1210372"/>
                  <a:gd name="connsiteX30" fmla="*/ 469275 w 1150080"/>
                  <a:gd name="connsiteY30" fmla="*/ 106287 h 1210372"/>
                  <a:gd name="connsiteX31" fmla="*/ 472047 w 1150080"/>
                  <a:gd name="connsiteY31" fmla="*/ 106287 h 1210372"/>
                  <a:gd name="connsiteX32" fmla="*/ 482283 w 1150080"/>
                  <a:gd name="connsiteY32" fmla="*/ 104668 h 1210372"/>
                  <a:gd name="connsiteX33" fmla="*/ 489555 w 1150080"/>
                  <a:gd name="connsiteY33" fmla="*/ 96901 h 1210372"/>
                  <a:gd name="connsiteX34" fmla="*/ 495895 w 1150080"/>
                  <a:gd name="connsiteY34" fmla="*/ 96023 h 1210372"/>
                  <a:gd name="connsiteX35" fmla="*/ 504265 w 1150080"/>
                  <a:gd name="connsiteY35" fmla="*/ 99646 h 1210372"/>
                  <a:gd name="connsiteX36" fmla="*/ 514062 w 1150080"/>
                  <a:gd name="connsiteY36" fmla="*/ 97669 h 1210372"/>
                  <a:gd name="connsiteX37" fmla="*/ 527152 w 1150080"/>
                  <a:gd name="connsiteY37" fmla="*/ 100716 h 1210372"/>
                  <a:gd name="connsiteX38" fmla="*/ 530144 w 1150080"/>
                  <a:gd name="connsiteY38" fmla="*/ 99673 h 1210372"/>
                  <a:gd name="connsiteX39" fmla="*/ 530144 w 1150080"/>
                  <a:gd name="connsiteY39" fmla="*/ 94514 h 1210372"/>
                  <a:gd name="connsiteX40" fmla="*/ 524682 w 1150080"/>
                  <a:gd name="connsiteY40" fmla="*/ 87982 h 1210372"/>
                  <a:gd name="connsiteX41" fmla="*/ 529485 w 1150080"/>
                  <a:gd name="connsiteY41" fmla="*/ 80847 h 1210372"/>
                  <a:gd name="connsiteX42" fmla="*/ 535769 w 1150080"/>
                  <a:gd name="connsiteY42" fmla="*/ 83921 h 1210372"/>
                  <a:gd name="connsiteX43" fmla="*/ 545951 w 1150080"/>
                  <a:gd name="connsiteY43" fmla="*/ 83482 h 1210372"/>
                  <a:gd name="connsiteX44" fmla="*/ 548119 w 1150080"/>
                  <a:gd name="connsiteY44" fmla="*/ 81259 h 1210372"/>
                  <a:gd name="connsiteX45" fmla="*/ 557065 w 1150080"/>
                  <a:gd name="connsiteY45" fmla="*/ 79365 h 1210372"/>
                  <a:gd name="connsiteX46" fmla="*/ 561484 w 1150080"/>
                  <a:gd name="connsiteY46" fmla="*/ 82741 h 1210372"/>
                  <a:gd name="connsiteX47" fmla="*/ 565737 w 1150080"/>
                  <a:gd name="connsiteY47" fmla="*/ 82631 h 1210372"/>
                  <a:gd name="connsiteX48" fmla="*/ 566752 w 1150080"/>
                  <a:gd name="connsiteY48" fmla="*/ 85842 h 1210372"/>
                  <a:gd name="connsiteX49" fmla="*/ 569634 w 1150080"/>
                  <a:gd name="connsiteY49" fmla="*/ 86583 h 1210372"/>
                  <a:gd name="connsiteX50" fmla="*/ 577455 w 1150080"/>
                  <a:gd name="connsiteY50" fmla="*/ 91330 h 1210372"/>
                  <a:gd name="connsiteX51" fmla="*/ 583054 w 1150080"/>
                  <a:gd name="connsiteY51" fmla="*/ 92346 h 1210372"/>
                  <a:gd name="connsiteX52" fmla="*/ 593839 w 1150080"/>
                  <a:gd name="connsiteY52" fmla="*/ 85595 h 1210372"/>
                  <a:gd name="connsiteX53" fmla="*/ 601221 w 1150080"/>
                  <a:gd name="connsiteY53" fmla="*/ 88394 h 1210372"/>
                  <a:gd name="connsiteX54" fmla="*/ 607094 w 1150080"/>
                  <a:gd name="connsiteY54" fmla="*/ 86610 h 1210372"/>
                  <a:gd name="connsiteX55" fmla="*/ 610058 w 1150080"/>
                  <a:gd name="connsiteY55" fmla="*/ 89986 h 1210372"/>
                  <a:gd name="connsiteX56" fmla="*/ 618181 w 1150080"/>
                  <a:gd name="connsiteY56" fmla="*/ 90617 h 1210372"/>
                  <a:gd name="connsiteX57" fmla="*/ 626194 w 1150080"/>
                  <a:gd name="connsiteY57" fmla="*/ 84634 h 1210372"/>
                  <a:gd name="connsiteX58" fmla="*/ 629378 w 1150080"/>
                  <a:gd name="connsiteY58" fmla="*/ 80298 h 1210372"/>
                  <a:gd name="connsiteX59" fmla="*/ 636348 w 1150080"/>
                  <a:gd name="connsiteY59" fmla="*/ 61335 h 1210372"/>
                  <a:gd name="connsiteX60" fmla="*/ 655860 w 1150080"/>
                  <a:gd name="connsiteY60" fmla="*/ 35484 h 1210372"/>
                  <a:gd name="connsiteX61" fmla="*/ 660415 w 1150080"/>
                  <a:gd name="connsiteY61" fmla="*/ 26620 h 1210372"/>
                  <a:gd name="connsiteX62" fmla="*/ 668100 w 1150080"/>
                  <a:gd name="connsiteY62" fmla="*/ 33151 h 1210372"/>
                  <a:gd name="connsiteX63" fmla="*/ 672792 w 1150080"/>
                  <a:gd name="connsiteY63" fmla="*/ 43744 h 1210372"/>
                  <a:gd name="connsiteX64" fmla="*/ 675427 w 1150080"/>
                  <a:gd name="connsiteY64" fmla="*/ 66165 h 1210372"/>
                  <a:gd name="connsiteX65" fmla="*/ 684181 w 1150080"/>
                  <a:gd name="connsiteY65" fmla="*/ 90342 h 1210372"/>
                  <a:gd name="connsiteX66" fmla="*/ 688407 w 1150080"/>
                  <a:gd name="connsiteY66" fmla="*/ 95447 h 1210372"/>
                  <a:gd name="connsiteX67" fmla="*/ 689834 w 1150080"/>
                  <a:gd name="connsiteY67" fmla="*/ 92428 h 1210372"/>
                  <a:gd name="connsiteX68" fmla="*/ 691618 w 1150080"/>
                  <a:gd name="connsiteY68" fmla="*/ 92428 h 1210372"/>
                  <a:gd name="connsiteX69" fmla="*/ 694664 w 1150080"/>
                  <a:gd name="connsiteY69" fmla="*/ 100496 h 1210372"/>
                  <a:gd name="connsiteX70" fmla="*/ 703309 w 1150080"/>
                  <a:gd name="connsiteY70" fmla="*/ 103872 h 1210372"/>
                  <a:gd name="connsiteX71" fmla="*/ 706739 w 1150080"/>
                  <a:gd name="connsiteY71" fmla="*/ 108537 h 1210372"/>
                  <a:gd name="connsiteX72" fmla="*/ 705065 w 1150080"/>
                  <a:gd name="connsiteY72" fmla="*/ 126512 h 1210372"/>
                  <a:gd name="connsiteX73" fmla="*/ 700949 w 1150080"/>
                  <a:gd name="connsiteY73" fmla="*/ 131260 h 1210372"/>
                  <a:gd name="connsiteX74" fmla="*/ 691755 w 1150080"/>
                  <a:gd name="connsiteY74" fmla="*/ 136282 h 1210372"/>
                  <a:gd name="connsiteX75" fmla="*/ 689258 w 1150080"/>
                  <a:gd name="connsiteY75" fmla="*/ 139767 h 1210372"/>
                  <a:gd name="connsiteX76" fmla="*/ 683961 w 1150080"/>
                  <a:gd name="connsiteY76" fmla="*/ 147094 h 1210372"/>
                  <a:gd name="connsiteX77" fmla="*/ 683330 w 1150080"/>
                  <a:gd name="connsiteY77" fmla="*/ 163917 h 1210372"/>
                  <a:gd name="connsiteX78" fmla="*/ 694801 w 1150080"/>
                  <a:gd name="connsiteY78" fmla="*/ 158456 h 1210372"/>
                  <a:gd name="connsiteX79" fmla="*/ 713902 w 1150080"/>
                  <a:gd name="connsiteY79" fmla="*/ 161310 h 1210372"/>
                  <a:gd name="connsiteX80" fmla="*/ 730340 w 1150080"/>
                  <a:gd name="connsiteY80" fmla="*/ 159608 h 1210372"/>
                  <a:gd name="connsiteX81" fmla="*/ 749605 w 1150080"/>
                  <a:gd name="connsiteY81" fmla="*/ 162874 h 1210372"/>
                  <a:gd name="connsiteX82" fmla="*/ 750483 w 1150080"/>
                  <a:gd name="connsiteY82" fmla="*/ 166140 h 1210372"/>
                  <a:gd name="connsiteX83" fmla="*/ 746724 w 1150080"/>
                  <a:gd name="connsiteY83" fmla="*/ 181865 h 1210372"/>
                  <a:gd name="connsiteX84" fmla="*/ 737667 w 1150080"/>
                  <a:gd name="connsiteY84" fmla="*/ 196821 h 1210372"/>
                  <a:gd name="connsiteX85" fmla="*/ 732920 w 1150080"/>
                  <a:gd name="connsiteY85" fmla="*/ 202145 h 1210372"/>
                  <a:gd name="connsiteX86" fmla="*/ 739177 w 1150080"/>
                  <a:gd name="connsiteY86" fmla="*/ 200636 h 1210372"/>
                  <a:gd name="connsiteX87" fmla="*/ 745187 w 1150080"/>
                  <a:gd name="connsiteY87" fmla="*/ 196821 h 1210372"/>
                  <a:gd name="connsiteX88" fmla="*/ 761021 w 1150080"/>
                  <a:gd name="connsiteY88" fmla="*/ 176568 h 1210372"/>
                  <a:gd name="connsiteX89" fmla="*/ 770023 w 1150080"/>
                  <a:gd name="connsiteY89" fmla="*/ 172287 h 1210372"/>
                  <a:gd name="connsiteX90" fmla="*/ 783772 w 1150080"/>
                  <a:gd name="connsiteY90" fmla="*/ 173961 h 1210372"/>
                  <a:gd name="connsiteX91" fmla="*/ 791730 w 1150080"/>
                  <a:gd name="connsiteY91" fmla="*/ 177556 h 1210372"/>
                  <a:gd name="connsiteX92" fmla="*/ 801417 w 1150080"/>
                  <a:gd name="connsiteY92" fmla="*/ 179230 h 1210372"/>
                  <a:gd name="connsiteX93" fmla="*/ 819310 w 1150080"/>
                  <a:gd name="connsiteY93" fmla="*/ 187106 h 1210372"/>
                  <a:gd name="connsiteX94" fmla="*/ 830644 w 1150080"/>
                  <a:gd name="connsiteY94" fmla="*/ 189384 h 1210372"/>
                  <a:gd name="connsiteX95" fmla="*/ 841649 w 1150080"/>
                  <a:gd name="connsiteY95" fmla="*/ 196848 h 1210372"/>
                  <a:gd name="connsiteX96" fmla="*/ 844256 w 1150080"/>
                  <a:gd name="connsiteY96" fmla="*/ 199620 h 1210372"/>
                  <a:gd name="connsiteX97" fmla="*/ 854602 w 1150080"/>
                  <a:gd name="connsiteY97" fmla="*/ 199126 h 1210372"/>
                  <a:gd name="connsiteX98" fmla="*/ 859816 w 1150080"/>
                  <a:gd name="connsiteY98" fmla="*/ 202612 h 1210372"/>
                  <a:gd name="connsiteX99" fmla="*/ 864262 w 1150080"/>
                  <a:gd name="connsiteY99" fmla="*/ 210186 h 1210372"/>
                  <a:gd name="connsiteX100" fmla="*/ 864454 w 1150080"/>
                  <a:gd name="connsiteY100" fmla="*/ 218775 h 1210372"/>
                  <a:gd name="connsiteX101" fmla="*/ 867994 w 1150080"/>
                  <a:gd name="connsiteY101" fmla="*/ 222919 h 1210372"/>
                  <a:gd name="connsiteX102" fmla="*/ 863466 w 1150080"/>
                  <a:gd name="connsiteY102" fmla="*/ 237492 h 1210372"/>
                  <a:gd name="connsiteX103" fmla="*/ 865853 w 1150080"/>
                  <a:gd name="connsiteY103" fmla="*/ 240593 h 1210372"/>
                  <a:gd name="connsiteX104" fmla="*/ 868406 w 1150080"/>
                  <a:gd name="connsiteY104" fmla="*/ 239248 h 1210372"/>
                  <a:gd name="connsiteX105" fmla="*/ 873345 w 1150080"/>
                  <a:gd name="connsiteY105" fmla="*/ 229066 h 1210372"/>
                  <a:gd name="connsiteX106" fmla="*/ 877791 w 1150080"/>
                  <a:gd name="connsiteY106" fmla="*/ 228573 h 1210372"/>
                  <a:gd name="connsiteX107" fmla="*/ 876392 w 1150080"/>
                  <a:gd name="connsiteY107" fmla="*/ 233650 h 1210372"/>
                  <a:gd name="connsiteX108" fmla="*/ 877572 w 1150080"/>
                  <a:gd name="connsiteY108" fmla="*/ 234555 h 1210372"/>
                  <a:gd name="connsiteX109" fmla="*/ 890525 w 1150080"/>
                  <a:gd name="connsiteY109" fmla="*/ 223990 h 1210372"/>
                  <a:gd name="connsiteX110" fmla="*/ 893708 w 1150080"/>
                  <a:gd name="connsiteY110" fmla="*/ 226268 h 1210372"/>
                  <a:gd name="connsiteX111" fmla="*/ 902627 w 1150080"/>
                  <a:gd name="connsiteY111" fmla="*/ 225252 h 1210372"/>
                  <a:gd name="connsiteX112" fmla="*/ 923347 w 1150080"/>
                  <a:gd name="connsiteY112" fmla="*/ 233156 h 1210372"/>
                  <a:gd name="connsiteX113" fmla="*/ 942886 w 1150080"/>
                  <a:gd name="connsiteY113" fmla="*/ 235488 h 1210372"/>
                  <a:gd name="connsiteX114" fmla="*/ 953726 w 1150080"/>
                  <a:gd name="connsiteY114" fmla="*/ 239495 h 1210372"/>
                  <a:gd name="connsiteX115" fmla="*/ 983584 w 1150080"/>
                  <a:gd name="connsiteY115" fmla="*/ 237574 h 1210372"/>
                  <a:gd name="connsiteX116" fmla="*/ 999638 w 1150080"/>
                  <a:gd name="connsiteY116" fmla="*/ 239687 h 1210372"/>
                  <a:gd name="connsiteX117" fmla="*/ 1042614 w 1150080"/>
                  <a:gd name="connsiteY117" fmla="*/ 264495 h 1210372"/>
                  <a:gd name="connsiteX118" fmla="*/ 1065501 w 1150080"/>
                  <a:gd name="connsiteY118" fmla="*/ 286971 h 1210372"/>
                  <a:gd name="connsiteX119" fmla="*/ 1083559 w 1150080"/>
                  <a:gd name="connsiteY119" fmla="*/ 299650 h 1210372"/>
                  <a:gd name="connsiteX120" fmla="*/ 1097198 w 1150080"/>
                  <a:gd name="connsiteY120" fmla="*/ 304288 h 1210372"/>
                  <a:gd name="connsiteX121" fmla="*/ 1117945 w 1150080"/>
                  <a:gd name="connsiteY121" fmla="*/ 304205 h 1210372"/>
                  <a:gd name="connsiteX122" fmla="*/ 1129745 w 1150080"/>
                  <a:gd name="connsiteY122" fmla="*/ 307444 h 1210372"/>
                  <a:gd name="connsiteX123" fmla="*/ 1138994 w 1150080"/>
                  <a:gd name="connsiteY123" fmla="*/ 321000 h 1210372"/>
                  <a:gd name="connsiteX124" fmla="*/ 1150081 w 1150080"/>
                  <a:gd name="connsiteY124" fmla="*/ 361671 h 1210372"/>
                  <a:gd name="connsiteX125" fmla="*/ 1149312 w 1150080"/>
                  <a:gd name="connsiteY125" fmla="*/ 391749 h 1210372"/>
                  <a:gd name="connsiteX126" fmla="*/ 1134767 w 1150080"/>
                  <a:gd name="connsiteY126" fmla="*/ 428001 h 1210372"/>
                  <a:gd name="connsiteX127" fmla="*/ 1106309 w 1150080"/>
                  <a:gd name="connsiteY127" fmla="*/ 462579 h 1210372"/>
                  <a:gd name="connsiteX128" fmla="*/ 1087785 w 1150080"/>
                  <a:gd name="connsiteY128" fmla="*/ 477179 h 1210372"/>
                  <a:gd name="connsiteX129" fmla="*/ 1056061 w 1150080"/>
                  <a:gd name="connsiteY129" fmla="*/ 528607 h 1210372"/>
                  <a:gd name="connsiteX130" fmla="*/ 1045523 w 1150080"/>
                  <a:gd name="connsiteY130" fmla="*/ 538184 h 1210372"/>
                  <a:gd name="connsiteX131" fmla="*/ 1039623 w 1150080"/>
                  <a:gd name="connsiteY131" fmla="*/ 532394 h 1210372"/>
                  <a:gd name="connsiteX132" fmla="*/ 1036165 w 1150080"/>
                  <a:gd name="connsiteY132" fmla="*/ 533354 h 1210372"/>
                  <a:gd name="connsiteX133" fmla="*/ 1036220 w 1150080"/>
                  <a:gd name="connsiteY133" fmla="*/ 541450 h 1210372"/>
                  <a:gd name="connsiteX134" fmla="*/ 1030539 w 1150080"/>
                  <a:gd name="connsiteY134" fmla="*/ 549409 h 1210372"/>
                  <a:gd name="connsiteX135" fmla="*/ 1027108 w 1150080"/>
                  <a:gd name="connsiteY135" fmla="*/ 567164 h 1210372"/>
                  <a:gd name="connsiteX136" fmla="*/ 1028234 w 1150080"/>
                  <a:gd name="connsiteY136" fmla="*/ 576083 h 1210372"/>
                  <a:gd name="connsiteX137" fmla="*/ 1026834 w 1150080"/>
                  <a:gd name="connsiteY137" fmla="*/ 592713 h 1210372"/>
                  <a:gd name="connsiteX138" fmla="*/ 1031115 w 1150080"/>
                  <a:gd name="connsiteY138" fmla="*/ 627100 h 1210372"/>
                  <a:gd name="connsiteX139" fmla="*/ 1022608 w 1150080"/>
                  <a:gd name="connsiteY139" fmla="*/ 665355 h 1210372"/>
                  <a:gd name="connsiteX140" fmla="*/ 1022306 w 1150080"/>
                  <a:gd name="connsiteY140" fmla="*/ 682617 h 1210372"/>
                  <a:gd name="connsiteX141" fmla="*/ 1013250 w 1150080"/>
                  <a:gd name="connsiteY141" fmla="*/ 694719 h 1210372"/>
                  <a:gd name="connsiteX142" fmla="*/ 1008063 w 1150080"/>
                  <a:gd name="connsiteY142" fmla="*/ 706053 h 1210372"/>
                  <a:gd name="connsiteX143" fmla="*/ 1006362 w 1150080"/>
                  <a:gd name="connsiteY143" fmla="*/ 718924 h 1210372"/>
                  <a:gd name="connsiteX144" fmla="*/ 1006965 w 1150080"/>
                  <a:gd name="connsiteY144" fmla="*/ 733029 h 1210372"/>
                  <a:gd name="connsiteX145" fmla="*/ 1005127 w 1150080"/>
                  <a:gd name="connsiteY145" fmla="*/ 740192 h 1210372"/>
                  <a:gd name="connsiteX146" fmla="*/ 996400 w 1150080"/>
                  <a:gd name="connsiteY146" fmla="*/ 751828 h 1210372"/>
                  <a:gd name="connsiteX147" fmla="*/ 986630 w 1150080"/>
                  <a:gd name="connsiteY147" fmla="*/ 772602 h 1210372"/>
                  <a:gd name="connsiteX148" fmla="*/ 976559 w 1150080"/>
                  <a:gd name="connsiteY148" fmla="*/ 783634 h 1210372"/>
                  <a:gd name="connsiteX149" fmla="*/ 971866 w 1150080"/>
                  <a:gd name="connsiteY149" fmla="*/ 792471 h 1210372"/>
                  <a:gd name="connsiteX150" fmla="*/ 968079 w 1150080"/>
                  <a:gd name="connsiteY150" fmla="*/ 803421 h 1210372"/>
                  <a:gd name="connsiteX151" fmla="*/ 966899 w 1150080"/>
                  <a:gd name="connsiteY151" fmla="*/ 818267 h 1210372"/>
                  <a:gd name="connsiteX152" fmla="*/ 945740 w 1150080"/>
                  <a:gd name="connsiteY152" fmla="*/ 831550 h 1210372"/>
                  <a:gd name="connsiteX153" fmla="*/ 941788 w 1150080"/>
                  <a:gd name="connsiteY153" fmla="*/ 836846 h 1210372"/>
                  <a:gd name="connsiteX154" fmla="*/ 939511 w 1150080"/>
                  <a:gd name="connsiteY154" fmla="*/ 844750 h 1210372"/>
                  <a:gd name="connsiteX155" fmla="*/ 936162 w 1150080"/>
                  <a:gd name="connsiteY155" fmla="*/ 847796 h 1210372"/>
                  <a:gd name="connsiteX156" fmla="*/ 910942 w 1150080"/>
                  <a:gd name="connsiteY156" fmla="*/ 848372 h 1210372"/>
                  <a:gd name="connsiteX157" fmla="*/ 906057 w 1150080"/>
                  <a:gd name="connsiteY157" fmla="*/ 842472 h 1210372"/>
                  <a:gd name="connsiteX158" fmla="*/ 902737 w 1150080"/>
                  <a:gd name="connsiteY158" fmla="*/ 848619 h 1210372"/>
                  <a:gd name="connsiteX159" fmla="*/ 899087 w 1150080"/>
                  <a:gd name="connsiteY159" fmla="*/ 850623 h 1210372"/>
                  <a:gd name="connsiteX160" fmla="*/ 893544 w 1150080"/>
                  <a:gd name="connsiteY160" fmla="*/ 851089 h 1210372"/>
                  <a:gd name="connsiteX161" fmla="*/ 883307 w 1150080"/>
                  <a:gd name="connsiteY161" fmla="*/ 848619 h 1210372"/>
                  <a:gd name="connsiteX162" fmla="*/ 863686 w 1150080"/>
                  <a:gd name="connsiteY162" fmla="*/ 852708 h 1210372"/>
                  <a:gd name="connsiteX163" fmla="*/ 861051 w 1150080"/>
                  <a:gd name="connsiteY163" fmla="*/ 860447 h 1210372"/>
                  <a:gd name="connsiteX164" fmla="*/ 852406 w 1150080"/>
                  <a:gd name="connsiteY164" fmla="*/ 863246 h 1210372"/>
                  <a:gd name="connsiteX165" fmla="*/ 841978 w 1150080"/>
                  <a:gd name="connsiteY165" fmla="*/ 870217 h 1210372"/>
                  <a:gd name="connsiteX166" fmla="*/ 841045 w 1150080"/>
                  <a:gd name="connsiteY166" fmla="*/ 877819 h 1210372"/>
                  <a:gd name="connsiteX167" fmla="*/ 823920 w 1150080"/>
                  <a:gd name="connsiteY167" fmla="*/ 876529 h 1210372"/>
                  <a:gd name="connsiteX168" fmla="*/ 808607 w 1150080"/>
                  <a:gd name="connsiteY168" fmla="*/ 883335 h 1210372"/>
                  <a:gd name="connsiteX169" fmla="*/ 770380 w 1150080"/>
                  <a:gd name="connsiteY169" fmla="*/ 910256 h 1210372"/>
                  <a:gd name="connsiteX170" fmla="*/ 757948 w 1150080"/>
                  <a:gd name="connsiteY170" fmla="*/ 927024 h 1210372"/>
                  <a:gd name="connsiteX171" fmla="*/ 753145 w 1150080"/>
                  <a:gd name="connsiteY171" fmla="*/ 925789 h 1210372"/>
                  <a:gd name="connsiteX172" fmla="*/ 749413 w 1150080"/>
                  <a:gd name="connsiteY172" fmla="*/ 928232 h 1210372"/>
                  <a:gd name="connsiteX173" fmla="*/ 748672 w 1150080"/>
                  <a:gd name="connsiteY173" fmla="*/ 930399 h 1210372"/>
                  <a:gd name="connsiteX174" fmla="*/ 750593 w 1150080"/>
                  <a:gd name="connsiteY174" fmla="*/ 935256 h 1210372"/>
                  <a:gd name="connsiteX175" fmla="*/ 745544 w 1150080"/>
                  <a:gd name="connsiteY175" fmla="*/ 951009 h 1210372"/>
                  <a:gd name="connsiteX176" fmla="*/ 746751 w 1150080"/>
                  <a:gd name="connsiteY176" fmla="*/ 957623 h 1210372"/>
                  <a:gd name="connsiteX177" fmla="*/ 744309 w 1150080"/>
                  <a:gd name="connsiteY177" fmla="*/ 969396 h 1210372"/>
                  <a:gd name="connsiteX178" fmla="*/ 747245 w 1150080"/>
                  <a:gd name="connsiteY178" fmla="*/ 985176 h 1210372"/>
                  <a:gd name="connsiteX179" fmla="*/ 746476 w 1150080"/>
                  <a:gd name="connsiteY179" fmla="*/ 995549 h 1210372"/>
                  <a:gd name="connsiteX180" fmla="*/ 750319 w 1150080"/>
                  <a:gd name="connsiteY180" fmla="*/ 997443 h 1210372"/>
                  <a:gd name="connsiteX181" fmla="*/ 745598 w 1150080"/>
                  <a:gd name="connsiteY181" fmla="*/ 1008776 h 1210372"/>
                  <a:gd name="connsiteX182" fmla="*/ 740631 w 1150080"/>
                  <a:gd name="connsiteY182" fmla="*/ 1028700 h 1210372"/>
                  <a:gd name="connsiteX183" fmla="*/ 723672 w 1150080"/>
                  <a:gd name="connsiteY183" fmla="*/ 1044864 h 1210372"/>
                  <a:gd name="connsiteX184" fmla="*/ 712886 w 1150080"/>
                  <a:gd name="connsiteY184" fmla="*/ 1058146 h 1210372"/>
                  <a:gd name="connsiteX185" fmla="*/ 703034 w 1150080"/>
                  <a:gd name="connsiteY185" fmla="*/ 1075408 h 1210372"/>
                  <a:gd name="connsiteX186" fmla="*/ 693210 w 1150080"/>
                  <a:gd name="connsiteY186" fmla="*/ 1099338 h 1210372"/>
                  <a:gd name="connsiteX187" fmla="*/ 680504 w 1150080"/>
                  <a:gd name="connsiteY187" fmla="*/ 1119509 h 1210372"/>
                  <a:gd name="connsiteX188" fmla="*/ 664806 w 1150080"/>
                  <a:gd name="connsiteY188" fmla="*/ 1136057 h 1210372"/>
                  <a:gd name="connsiteX189" fmla="*/ 646173 w 1150080"/>
                  <a:gd name="connsiteY189" fmla="*/ 1148242 h 1210372"/>
                  <a:gd name="connsiteX190" fmla="*/ 646639 w 1150080"/>
                  <a:gd name="connsiteY190" fmla="*/ 1144043 h 1210372"/>
                  <a:gd name="connsiteX191" fmla="*/ 655037 w 1150080"/>
                  <a:gd name="connsiteY191" fmla="*/ 1140174 h 1210372"/>
                  <a:gd name="connsiteX192" fmla="*/ 667194 w 1150080"/>
                  <a:gd name="connsiteY192" fmla="*/ 1129032 h 1210372"/>
                  <a:gd name="connsiteX193" fmla="*/ 671639 w 1150080"/>
                  <a:gd name="connsiteY193" fmla="*/ 1117945 h 1210372"/>
                  <a:gd name="connsiteX194" fmla="*/ 681739 w 1150080"/>
                  <a:gd name="connsiteY194" fmla="*/ 1106666 h 1210372"/>
                  <a:gd name="connsiteX195" fmla="*/ 686651 w 1150080"/>
                  <a:gd name="connsiteY195" fmla="*/ 1091572 h 1210372"/>
                  <a:gd name="connsiteX196" fmla="*/ 682562 w 1150080"/>
                  <a:gd name="connsiteY196" fmla="*/ 1089843 h 1210372"/>
                  <a:gd name="connsiteX197" fmla="*/ 668045 w 1150080"/>
                  <a:gd name="connsiteY197" fmla="*/ 1097829 h 1210372"/>
                  <a:gd name="connsiteX198" fmla="*/ 659757 w 1150080"/>
                  <a:gd name="connsiteY198" fmla="*/ 1117616 h 1210372"/>
                  <a:gd name="connsiteX199" fmla="*/ 648148 w 1150080"/>
                  <a:gd name="connsiteY199" fmla="*/ 1127440 h 1210372"/>
                  <a:gd name="connsiteX200" fmla="*/ 641123 w 1150080"/>
                  <a:gd name="connsiteY200" fmla="*/ 1139762 h 1210372"/>
                  <a:gd name="connsiteX201" fmla="*/ 640492 w 1150080"/>
                  <a:gd name="connsiteY201" fmla="*/ 1155596 h 1210372"/>
                  <a:gd name="connsiteX202" fmla="*/ 627045 w 1150080"/>
                  <a:gd name="connsiteY202" fmla="*/ 1186854 h 1210372"/>
                  <a:gd name="connsiteX203" fmla="*/ 620047 w 1150080"/>
                  <a:gd name="connsiteY203" fmla="*/ 1196267 h 1210372"/>
                  <a:gd name="connsiteX204" fmla="*/ 605118 w 1150080"/>
                  <a:gd name="connsiteY204" fmla="*/ 1210372 h 1210372"/>
                  <a:gd name="connsiteX205" fmla="*/ 601001 w 1150080"/>
                  <a:gd name="connsiteY205" fmla="*/ 1206915 h 1210372"/>
                  <a:gd name="connsiteX206" fmla="*/ 601385 w 1150080"/>
                  <a:gd name="connsiteY206" fmla="*/ 1189845 h 1210372"/>
                  <a:gd name="connsiteX207" fmla="*/ 613515 w 1150080"/>
                  <a:gd name="connsiteY207" fmla="*/ 1174916 h 1210372"/>
                  <a:gd name="connsiteX208" fmla="*/ 599080 w 1150080"/>
                  <a:gd name="connsiteY208" fmla="*/ 1164159 h 1210372"/>
                  <a:gd name="connsiteX209" fmla="*/ 594333 w 1150080"/>
                  <a:gd name="connsiteY209" fmla="*/ 1152687 h 1210372"/>
                  <a:gd name="connsiteX210" fmla="*/ 592192 w 1150080"/>
                  <a:gd name="connsiteY210" fmla="*/ 1151151 h 1210372"/>
                  <a:gd name="connsiteX211" fmla="*/ 574821 w 1150080"/>
                  <a:gd name="connsiteY211" fmla="*/ 1138692 h 1210372"/>
                  <a:gd name="connsiteX212" fmla="*/ 571500 w 1150080"/>
                  <a:gd name="connsiteY212" fmla="*/ 1132297 h 1210372"/>
                  <a:gd name="connsiteX213" fmla="*/ 550397 w 1150080"/>
                  <a:gd name="connsiteY213" fmla="*/ 1123077 h 1210372"/>
                  <a:gd name="connsiteX214" fmla="*/ 540270 w 1150080"/>
                  <a:gd name="connsiteY214" fmla="*/ 1110014 h 1210372"/>
                  <a:gd name="connsiteX215" fmla="*/ 532421 w 1150080"/>
                  <a:gd name="connsiteY215" fmla="*/ 1116655 h 1210372"/>
                  <a:gd name="connsiteX216" fmla="*/ 528552 w 1150080"/>
                  <a:gd name="connsiteY216" fmla="*/ 1116600 h 1210372"/>
                  <a:gd name="connsiteX217" fmla="*/ 527811 w 1150080"/>
                  <a:gd name="connsiteY217" fmla="*/ 1108642 h 1210372"/>
                  <a:gd name="connsiteX218" fmla="*/ 522267 w 1150080"/>
                  <a:gd name="connsiteY218" fmla="*/ 1101067 h 1210372"/>
                  <a:gd name="connsiteX219" fmla="*/ 503442 w 1150080"/>
                  <a:gd name="connsiteY219" fmla="*/ 1084053 h 1210372"/>
                  <a:gd name="connsiteX220" fmla="*/ 496334 w 1150080"/>
                  <a:gd name="connsiteY220" fmla="*/ 1084245 h 1210372"/>
                  <a:gd name="connsiteX221" fmla="*/ 492437 w 1150080"/>
                  <a:gd name="connsiteY221" fmla="*/ 1089377 h 1210372"/>
                  <a:gd name="connsiteX222" fmla="*/ 487388 w 1150080"/>
                  <a:gd name="connsiteY222" fmla="*/ 1090173 h 1210372"/>
                  <a:gd name="connsiteX223" fmla="*/ 483271 w 1150080"/>
                  <a:gd name="connsiteY223" fmla="*/ 1089487 h 1210372"/>
                  <a:gd name="connsiteX224" fmla="*/ 480362 w 1150080"/>
                  <a:gd name="connsiteY224" fmla="*/ 1086440 h 1210372"/>
                  <a:gd name="connsiteX225" fmla="*/ 487388 w 1150080"/>
                  <a:gd name="connsiteY225" fmla="*/ 1080759 h 1210372"/>
                  <a:gd name="connsiteX226" fmla="*/ 491723 w 1150080"/>
                  <a:gd name="connsiteY226" fmla="*/ 1073570 h 1210372"/>
                  <a:gd name="connsiteX227" fmla="*/ 499929 w 1150080"/>
                  <a:gd name="connsiteY227" fmla="*/ 1067395 h 1210372"/>
                  <a:gd name="connsiteX228" fmla="*/ 527811 w 1150080"/>
                  <a:gd name="connsiteY228" fmla="*/ 1030676 h 1210372"/>
                  <a:gd name="connsiteX229" fmla="*/ 532257 w 1150080"/>
                  <a:gd name="connsiteY229" fmla="*/ 1026093 h 1210372"/>
                  <a:gd name="connsiteX230" fmla="*/ 536373 w 1150080"/>
                  <a:gd name="connsiteY230" fmla="*/ 1025873 h 1210372"/>
                  <a:gd name="connsiteX231" fmla="*/ 536812 w 1150080"/>
                  <a:gd name="connsiteY231" fmla="*/ 1020742 h 1210372"/>
                  <a:gd name="connsiteX232" fmla="*/ 558547 w 1150080"/>
                  <a:gd name="connsiteY232" fmla="*/ 1005373 h 1210372"/>
                  <a:gd name="connsiteX233" fmla="*/ 563048 w 1150080"/>
                  <a:gd name="connsiteY233" fmla="*/ 999089 h 1210372"/>
                  <a:gd name="connsiteX234" fmla="*/ 577181 w 1150080"/>
                  <a:gd name="connsiteY234" fmla="*/ 994561 h 1210372"/>
                  <a:gd name="connsiteX235" fmla="*/ 592851 w 1150080"/>
                  <a:gd name="connsiteY235" fmla="*/ 982815 h 1210372"/>
                  <a:gd name="connsiteX236" fmla="*/ 595485 w 1150080"/>
                  <a:gd name="connsiteY236" fmla="*/ 977327 h 1210372"/>
                  <a:gd name="connsiteX237" fmla="*/ 594497 w 1150080"/>
                  <a:gd name="connsiteY237" fmla="*/ 968957 h 1210372"/>
                  <a:gd name="connsiteX238" fmla="*/ 597791 w 1150080"/>
                  <a:gd name="connsiteY238" fmla="*/ 956690 h 1210372"/>
                  <a:gd name="connsiteX239" fmla="*/ 591918 w 1150080"/>
                  <a:gd name="connsiteY239" fmla="*/ 945850 h 1210372"/>
                  <a:gd name="connsiteX240" fmla="*/ 590216 w 1150080"/>
                  <a:gd name="connsiteY240" fmla="*/ 936547 h 1210372"/>
                  <a:gd name="connsiteX241" fmla="*/ 583356 w 1150080"/>
                  <a:gd name="connsiteY241" fmla="*/ 932677 h 1210372"/>
                  <a:gd name="connsiteX242" fmla="*/ 574299 w 1150080"/>
                  <a:gd name="connsiteY242" fmla="*/ 935311 h 1210372"/>
                  <a:gd name="connsiteX243" fmla="*/ 569277 w 1150080"/>
                  <a:gd name="connsiteY243" fmla="*/ 933884 h 1210372"/>
                  <a:gd name="connsiteX244" fmla="*/ 568976 w 1150080"/>
                  <a:gd name="connsiteY244" fmla="*/ 929384 h 1210372"/>
                  <a:gd name="connsiteX245" fmla="*/ 573503 w 1150080"/>
                  <a:gd name="connsiteY245" fmla="*/ 920300 h 1210372"/>
                  <a:gd name="connsiteX246" fmla="*/ 578772 w 1150080"/>
                  <a:gd name="connsiteY246" fmla="*/ 894065 h 1210372"/>
                  <a:gd name="connsiteX247" fmla="*/ 577730 w 1150080"/>
                  <a:gd name="connsiteY247" fmla="*/ 883829 h 1210372"/>
                  <a:gd name="connsiteX248" fmla="*/ 572927 w 1150080"/>
                  <a:gd name="connsiteY248" fmla="*/ 879026 h 1210372"/>
                  <a:gd name="connsiteX249" fmla="*/ 567740 w 1150080"/>
                  <a:gd name="connsiteY249" fmla="*/ 876913 h 1210372"/>
                  <a:gd name="connsiteX250" fmla="*/ 557120 w 1150080"/>
                  <a:gd name="connsiteY250" fmla="*/ 881606 h 1210372"/>
                  <a:gd name="connsiteX251" fmla="*/ 545622 w 1150080"/>
                  <a:gd name="connsiteY251" fmla="*/ 880975 h 1210372"/>
                  <a:gd name="connsiteX252" fmla="*/ 541670 w 1150080"/>
                  <a:gd name="connsiteY252" fmla="*/ 868680 h 1210372"/>
                  <a:gd name="connsiteX253" fmla="*/ 541533 w 1150080"/>
                  <a:gd name="connsiteY253" fmla="*/ 856715 h 1210372"/>
                  <a:gd name="connsiteX254" fmla="*/ 539200 w 1150080"/>
                  <a:gd name="connsiteY254" fmla="*/ 853257 h 1210372"/>
                  <a:gd name="connsiteX255" fmla="*/ 538761 w 1150080"/>
                  <a:gd name="connsiteY255" fmla="*/ 838822 h 1210372"/>
                  <a:gd name="connsiteX256" fmla="*/ 531873 w 1150080"/>
                  <a:gd name="connsiteY256" fmla="*/ 827680 h 1210372"/>
                  <a:gd name="connsiteX257" fmla="*/ 521581 w 1150080"/>
                  <a:gd name="connsiteY257" fmla="*/ 827049 h 1210372"/>
                  <a:gd name="connsiteX258" fmla="*/ 515187 w 1150080"/>
                  <a:gd name="connsiteY258" fmla="*/ 821231 h 1210372"/>
                  <a:gd name="connsiteX259" fmla="*/ 509451 w 1150080"/>
                  <a:gd name="connsiteY259" fmla="*/ 825594 h 1210372"/>
                  <a:gd name="connsiteX260" fmla="*/ 503194 w 1150080"/>
                  <a:gd name="connsiteY260" fmla="*/ 827323 h 1210372"/>
                  <a:gd name="connsiteX261" fmla="*/ 489089 w 1150080"/>
                  <a:gd name="connsiteY261" fmla="*/ 825567 h 1210372"/>
                  <a:gd name="connsiteX262" fmla="*/ 479237 w 1150080"/>
                  <a:gd name="connsiteY262" fmla="*/ 821505 h 1210372"/>
                  <a:gd name="connsiteX263" fmla="*/ 474023 w 1150080"/>
                  <a:gd name="connsiteY263" fmla="*/ 822741 h 1210372"/>
                  <a:gd name="connsiteX264" fmla="*/ 470043 w 1150080"/>
                  <a:gd name="connsiteY264" fmla="*/ 820902 h 1210372"/>
                  <a:gd name="connsiteX265" fmla="*/ 471662 w 1150080"/>
                  <a:gd name="connsiteY265" fmla="*/ 808690 h 1210372"/>
                  <a:gd name="connsiteX266" fmla="*/ 470675 w 1150080"/>
                  <a:gd name="connsiteY266" fmla="*/ 803668 h 1210372"/>
                  <a:gd name="connsiteX267" fmla="*/ 473831 w 1150080"/>
                  <a:gd name="connsiteY267" fmla="*/ 786434 h 1210372"/>
                  <a:gd name="connsiteX268" fmla="*/ 471196 w 1150080"/>
                  <a:gd name="connsiteY268" fmla="*/ 779792 h 1210372"/>
                  <a:gd name="connsiteX269" fmla="*/ 472129 w 1150080"/>
                  <a:gd name="connsiteY269" fmla="*/ 777953 h 1210372"/>
                  <a:gd name="connsiteX270" fmla="*/ 469440 w 1150080"/>
                  <a:gd name="connsiteY270" fmla="*/ 776225 h 1210372"/>
                  <a:gd name="connsiteX271" fmla="*/ 468671 w 1150080"/>
                  <a:gd name="connsiteY271" fmla="*/ 769309 h 1210372"/>
                  <a:gd name="connsiteX272" fmla="*/ 464280 w 1150080"/>
                  <a:gd name="connsiteY272" fmla="*/ 760472 h 1210372"/>
                  <a:gd name="connsiteX273" fmla="*/ 472705 w 1150080"/>
                  <a:gd name="connsiteY273" fmla="*/ 755039 h 1210372"/>
                  <a:gd name="connsiteX274" fmla="*/ 466037 w 1150080"/>
                  <a:gd name="connsiteY274" fmla="*/ 746175 h 1210372"/>
                  <a:gd name="connsiteX275" fmla="*/ 477014 w 1150080"/>
                  <a:gd name="connsiteY275" fmla="*/ 724769 h 1210372"/>
                  <a:gd name="connsiteX276" fmla="*/ 476794 w 1150080"/>
                  <a:gd name="connsiteY276" fmla="*/ 718046 h 1210372"/>
                  <a:gd name="connsiteX277" fmla="*/ 481268 w 1150080"/>
                  <a:gd name="connsiteY277" fmla="*/ 703171 h 1210372"/>
                  <a:gd name="connsiteX278" fmla="*/ 484122 w 1150080"/>
                  <a:gd name="connsiteY278" fmla="*/ 700098 h 1210372"/>
                  <a:gd name="connsiteX279" fmla="*/ 476136 w 1150080"/>
                  <a:gd name="connsiteY279" fmla="*/ 683138 h 1210372"/>
                  <a:gd name="connsiteX280" fmla="*/ 474023 w 1150080"/>
                  <a:gd name="connsiteY280" fmla="*/ 677897 h 1210372"/>
                  <a:gd name="connsiteX281" fmla="*/ 466229 w 1150080"/>
                  <a:gd name="connsiteY281" fmla="*/ 676168 h 1210372"/>
                  <a:gd name="connsiteX282" fmla="*/ 457282 w 1150080"/>
                  <a:gd name="connsiteY282" fmla="*/ 667304 h 1210372"/>
                  <a:gd name="connsiteX283" fmla="*/ 455663 w 1150080"/>
                  <a:gd name="connsiteY283" fmla="*/ 653225 h 1210372"/>
                  <a:gd name="connsiteX284" fmla="*/ 458737 w 1150080"/>
                  <a:gd name="connsiteY284" fmla="*/ 647929 h 1210372"/>
                  <a:gd name="connsiteX285" fmla="*/ 459149 w 1150080"/>
                  <a:gd name="connsiteY285" fmla="*/ 640135 h 1210372"/>
                  <a:gd name="connsiteX286" fmla="*/ 453578 w 1150080"/>
                  <a:gd name="connsiteY286" fmla="*/ 641397 h 1210372"/>
                  <a:gd name="connsiteX287" fmla="*/ 405470 w 1150080"/>
                  <a:gd name="connsiteY287" fmla="*/ 639092 h 1210372"/>
                  <a:gd name="connsiteX288" fmla="*/ 403220 w 1150080"/>
                  <a:gd name="connsiteY288" fmla="*/ 616122 h 1210372"/>
                  <a:gd name="connsiteX289" fmla="*/ 394905 w 1150080"/>
                  <a:gd name="connsiteY289" fmla="*/ 605337 h 1210372"/>
                  <a:gd name="connsiteX290" fmla="*/ 401848 w 1150080"/>
                  <a:gd name="connsiteY290" fmla="*/ 603883 h 1210372"/>
                  <a:gd name="connsiteX291" fmla="*/ 402616 w 1150080"/>
                  <a:gd name="connsiteY291" fmla="*/ 602154 h 1210372"/>
                  <a:gd name="connsiteX292" fmla="*/ 402012 w 1150080"/>
                  <a:gd name="connsiteY292" fmla="*/ 590271 h 1210372"/>
                  <a:gd name="connsiteX293" fmla="*/ 396332 w 1150080"/>
                  <a:gd name="connsiteY293" fmla="*/ 576687 h 1210372"/>
                  <a:gd name="connsiteX294" fmla="*/ 398307 w 1150080"/>
                  <a:gd name="connsiteY294" fmla="*/ 570786 h 1210372"/>
                  <a:gd name="connsiteX295" fmla="*/ 395783 w 1150080"/>
                  <a:gd name="connsiteY295" fmla="*/ 564886 h 1210372"/>
                  <a:gd name="connsiteX296" fmla="*/ 387523 w 1150080"/>
                  <a:gd name="connsiteY296" fmla="*/ 561429 h 1210372"/>
                  <a:gd name="connsiteX297" fmla="*/ 378631 w 1150080"/>
                  <a:gd name="connsiteY297" fmla="*/ 555034 h 1210372"/>
                  <a:gd name="connsiteX298" fmla="*/ 356896 w 1150080"/>
                  <a:gd name="connsiteY298" fmla="*/ 556242 h 1210372"/>
                  <a:gd name="connsiteX299" fmla="*/ 349184 w 1150080"/>
                  <a:gd name="connsiteY299" fmla="*/ 548997 h 1210372"/>
                  <a:gd name="connsiteX300" fmla="*/ 347483 w 1150080"/>
                  <a:gd name="connsiteY300" fmla="*/ 544908 h 1210372"/>
                  <a:gd name="connsiteX301" fmla="*/ 340677 w 1150080"/>
                  <a:gd name="connsiteY301" fmla="*/ 544469 h 1210372"/>
                  <a:gd name="connsiteX302" fmla="*/ 331484 w 1150080"/>
                  <a:gd name="connsiteY302" fmla="*/ 539996 h 1210372"/>
                  <a:gd name="connsiteX303" fmla="*/ 328163 w 1150080"/>
                  <a:gd name="connsiteY303" fmla="*/ 540297 h 1210372"/>
                  <a:gd name="connsiteX304" fmla="*/ 322016 w 1150080"/>
                  <a:gd name="connsiteY304" fmla="*/ 535193 h 1210372"/>
                  <a:gd name="connsiteX305" fmla="*/ 318915 w 1150080"/>
                  <a:gd name="connsiteY305" fmla="*/ 530006 h 1210372"/>
                  <a:gd name="connsiteX306" fmla="*/ 313015 w 1150080"/>
                  <a:gd name="connsiteY306" fmla="*/ 531323 h 1210372"/>
                  <a:gd name="connsiteX307" fmla="*/ 300830 w 1150080"/>
                  <a:gd name="connsiteY307" fmla="*/ 524216 h 1210372"/>
                  <a:gd name="connsiteX308" fmla="*/ 293969 w 1150080"/>
                  <a:gd name="connsiteY308" fmla="*/ 526576 h 1210372"/>
                  <a:gd name="connsiteX309" fmla="*/ 284556 w 1150080"/>
                  <a:gd name="connsiteY309" fmla="*/ 525067 h 1210372"/>
                  <a:gd name="connsiteX310" fmla="*/ 279397 w 1150080"/>
                  <a:gd name="connsiteY310" fmla="*/ 522377 h 1210372"/>
                  <a:gd name="connsiteX311" fmla="*/ 278793 w 1150080"/>
                  <a:gd name="connsiteY311" fmla="*/ 519303 h 1210372"/>
                  <a:gd name="connsiteX312" fmla="*/ 269243 w 1150080"/>
                  <a:gd name="connsiteY312" fmla="*/ 511812 h 1210372"/>
                  <a:gd name="connsiteX313" fmla="*/ 263809 w 1150080"/>
                  <a:gd name="connsiteY313" fmla="*/ 509973 h 1210372"/>
                  <a:gd name="connsiteX314" fmla="*/ 261834 w 1150080"/>
                  <a:gd name="connsiteY314" fmla="*/ 503826 h 1210372"/>
                  <a:gd name="connsiteX315" fmla="*/ 258101 w 1150080"/>
                  <a:gd name="connsiteY315" fmla="*/ 502536 h 1210372"/>
                  <a:gd name="connsiteX316" fmla="*/ 257113 w 1150080"/>
                  <a:gd name="connsiteY316" fmla="*/ 497322 h 1210372"/>
                  <a:gd name="connsiteX317" fmla="*/ 253848 w 1150080"/>
                  <a:gd name="connsiteY317" fmla="*/ 493425 h 1210372"/>
                  <a:gd name="connsiteX318" fmla="*/ 251954 w 1150080"/>
                  <a:gd name="connsiteY318" fmla="*/ 486948 h 1210372"/>
                  <a:gd name="connsiteX319" fmla="*/ 254397 w 1150080"/>
                  <a:gd name="connsiteY319" fmla="*/ 478715 h 1210372"/>
                  <a:gd name="connsiteX320" fmla="*/ 250664 w 1150080"/>
                  <a:gd name="connsiteY320" fmla="*/ 466668 h 1210372"/>
                  <a:gd name="connsiteX321" fmla="*/ 254753 w 1150080"/>
                  <a:gd name="connsiteY321" fmla="*/ 456816 h 1210372"/>
                  <a:gd name="connsiteX322" fmla="*/ 254177 w 1150080"/>
                  <a:gd name="connsiteY322" fmla="*/ 445839 h 1210372"/>
                  <a:gd name="connsiteX323" fmla="*/ 252503 w 1150080"/>
                  <a:gd name="connsiteY323" fmla="*/ 442134 h 1210372"/>
                  <a:gd name="connsiteX324" fmla="*/ 249978 w 1150080"/>
                  <a:gd name="connsiteY324" fmla="*/ 441420 h 1210372"/>
                  <a:gd name="connsiteX325" fmla="*/ 246466 w 1150080"/>
                  <a:gd name="connsiteY325" fmla="*/ 445015 h 1210372"/>
                  <a:gd name="connsiteX326" fmla="*/ 238315 w 1150080"/>
                  <a:gd name="connsiteY326" fmla="*/ 443177 h 1210372"/>
                  <a:gd name="connsiteX327" fmla="*/ 218721 w 1150080"/>
                  <a:gd name="connsiteY327" fmla="*/ 446772 h 1210372"/>
                  <a:gd name="connsiteX328" fmla="*/ 211970 w 1150080"/>
                  <a:gd name="connsiteY328" fmla="*/ 450120 h 1210372"/>
                  <a:gd name="connsiteX329" fmla="*/ 203133 w 1150080"/>
                  <a:gd name="connsiteY329" fmla="*/ 457886 h 1210372"/>
                  <a:gd name="connsiteX330" fmla="*/ 192485 w 1150080"/>
                  <a:gd name="connsiteY330" fmla="*/ 461865 h 1210372"/>
                  <a:gd name="connsiteX331" fmla="*/ 183017 w 1150080"/>
                  <a:gd name="connsiteY331" fmla="*/ 470949 h 1210372"/>
                  <a:gd name="connsiteX332" fmla="*/ 173467 w 1150080"/>
                  <a:gd name="connsiteY332" fmla="*/ 470867 h 1210372"/>
                  <a:gd name="connsiteX333" fmla="*/ 166277 w 1150080"/>
                  <a:gd name="connsiteY333" fmla="*/ 479813 h 1210372"/>
                  <a:gd name="connsiteX334" fmla="*/ 156809 w 1150080"/>
                  <a:gd name="connsiteY334" fmla="*/ 483737 h 1210372"/>
                  <a:gd name="connsiteX335" fmla="*/ 152967 w 1150080"/>
                  <a:gd name="connsiteY335" fmla="*/ 484067 h 1210372"/>
                  <a:gd name="connsiteX336" fmla="*/ 151924 w 1150080"/>
                  <a:gd name="connsiteY336" fmla="*/ 480801 h 1210372"/>
                  <a:gd name="connsiteX337" fmla="*/ 128927 w 1150080"/>
                  <a:gd name="connsiteY337" fmla="*/ 478990 h 1210372"/>
                  <a:gd name="connsiteX338" fmla="*/ 118032 w 1150080"/>
                  <a:gd name="connsiteY338" fmla="*/ 478496 h 1210372"/>
                  <a:gd name="connsiteX339" fmla="*/ 107329 w 1150080"/>
                  <a:gd name="connsiteY339" fmla="*/ 481707 h 1210372"/>
                  <a:gd name="connsiteX340" fmla="*/ 98520 w 1150080"/>
                  <a:gd name="connsiteY340" fmla="*/ 478990 h 1210372"/>
                  <a:gd name="connsiteX341" fmla="*/ 97944 w 1150080"/>
                  <a:gd name="connsiteY341" fmla="*/ 448912 h 1210372"/>
                  <a:gd name="connsiteX342" fmla="*/ 100002 w 1150080"/>
                  <a:gd name="connsiteY342" fmla="*/ 442299 h 1210372"/>
                  <a:gd name="connsiteX343" fmla="*/ 98905 w 1150080"/>
                  <a:gd name="connsiteY343" fmla="*/ 435493 h 1210372"/>
                  <a:gd name="connsiteX344" fmla="*/ 78569 w 1150080"/>
                  <a:gd name="connsiteY344" fmla="*/ 449681 h 1210372"/>
                  <a:gd name="connsiteX345" fmla="*/ 55764 w 1150080"/>
                  <a:gd name="connsiteY345" fmla="*/ 450312 h 1210372"/>
                  <a:gd name="connsiteX346" fmla="*/ 53212 w 1150080"/>
                  <a:gd name="connsiteY346" fmla="*/ 449269 h 1210372"/>
                  <a:gd name="connsiteX347" fmla="*/ 46845 w 1150080"/>
                  <a:gd name="connsiteY347" fmla="*/ 435959 h 1210372"/>
                  <a:gd name="connsiteX348" fmla="*/ 35978 w 1150080"/>
                  <a:gd name="connsiteY348" fmla="*/ 433187 h 1210372"/>
                  <a:gd name="connsiteX349" fmla="*/ 23711 w 1150080"/>
                  <a:gd name="connsiteY349" fmla="*/ 432419 h 1210372"/>
                  <a:gd name="connsiteX350" fmla="*/ 28651 w 1150080"/>
                  <a:gd name="connsiteY350" fmla="*/ 424159 h 1210372"/>
                  <a:gd name="connsiteX351" fmla="*/ 28733 w 1150080"/>
                  <a:gd name="connsiteY351" fmla="*/ 420152 h 1210372"/>
                  <a:gd name="connsiteX352" fmla="*/ 12926 w 1150080"/>
                  <a:gd name="connsiteY352" fmla="*/ 401107 h 1210372"/>
                  <a:gd name="connsiteX353" fmla="*/ 9742 w 1150080"/>
                  <a:gd name="connsiteY353" fmla="*/ 392901 h 1210372"/>
                  <a:gd name="connsiteX354" fmla="*/ 6285 w 1150080"/>
                  <a:gd name="connsiteY354" fmla="*/ 388675 h 1210372"/>
                  <a:gd name="connsiteX355" fmla="*/ 6669 w 1150080"/>
                  <a:gd name="connsiteY355" fmla="*/ 384394 h 1210372"/>
                  <a:gd name="connsiteX356" fmla="*/ 0 w 1150080"/>
                  <a:gd name="connsiteY356" fmla="*/ 376737 h 1210372"/>
                  <a:gd name="connsiteX357" fmla="*/ 988 w 1150080"/>
                  <a:gd name="connsiteY357" fmla="*/ 372237 h 1210372"/>
                  <a:gd name="connsiteX358" fmla="*/ 6586 w 1150080"/>
                  <a:gd name="connsiteY358" fmla="*/ 369822 h 1210372"/>
                  <a:gd name="connsiteX359" fmla="*/ 5269 w 1150080"/>
                  <a:gd name="connsiteY359" fmla="*/ 364086 h 1210372"/>
                  <a:gd name="connsiteX360" fmla="*/ 6751 w 1150080"/>
                  <a:gd name="connsiteY360" fmla="*/ 358405 h 1210372"/>
                  <a:gd name="connsiteX361" fmla="*/ 11883 w 1150080"/>
                  <a:gd name="connsiteY361" fmla="*/ 352615 h 1210372"/>
                  <a:gd name="connsiteX362" fmla="*/ 23190 w 1150080"/>
                  <a:gd name="connsiteY362" fmla="*/ 344547 h 1210372"/>
                  <a:gd name="connsiteX363" fmla="*/ 23052 w 1150080"/>
                  <a:gd name="connsiteY363" fmla="*/ 333103 h 1210372"/>
                  <a:gd name="connsiteX364" fmla="*/ 28623 w 1150080"/>
                  <a:gd name="connsiteY364" fmla="*/ 322126 h 1210372"/>
                  <a:gd name="connsiteX365" fmla="*/ 33014 w 1150080"/>
                  <a:gd name="connsiteY365" fmla="*/ 305358 h 1210372"/>
                  <a:gd name="connsiteX366" fmla="*/ 42564 w 1150080"/>
                  <a:gd name="connsiteY366" fmla="*/ 301050 h 1210372"/>
                  <a:gd name="connsiteX367" fmla="*/ 62625 w 1150080"/>
                  <a:gd name="connsiteY367" fmla="*/ 287301 h 1210372"/>
                  <a:gd name="connsiteX368" fmla="*/ 86967 w 1150080"/>
                  <a:gd name="connsiteY368" fmla="*/ 283706 h 1210372"/>
                  <a:gd name="connsiteX369" fmla="*/ 94980 w 1150080"/>
                  <a:gd name="connsiteY369" fmla="*/ 277531 h 1210372"/>
                  <a:gd name="connsiteX370" fmla="*/ 105107 w 1150080"/>
                  <a:gd name="connsiteY370" fmla="*/ 276927 h 1210372"/>
                  <a:gd name="connsiteX371" fmla="*/ 109306 w 1150080"/>
                  <a:gd name="connsiteY371" fmla="*/ 280851 h 1210372"/>
                  <a:gd name="connsiteX372" fmla="*/ 115425 w 1150080"/>
                  <a:gd name="connsiteY372" fmla="*/ 281620 h 1210372"/>
                  <a:gd name="connsiteX373" fmla="*/ 117538 w 1150080"/>
                  <a:gd name="connsiteY373" fmla="*/ 279315 h 1210372"/>
                  <a:gd name="connsiteX374" fmla="*/ 132056 w 1150080"/>
                  <a:gd name="connsiteY374" fmla="*/ 196794 h 1210372"/>
                  <a:gd name="connsiteX375" fmla="*/ 133373 w 1150080"/>
                  <a:gd name="connsiteY375" fmla="*/ 189384 h 1210372"/>
                  <a:gd name="connsiteX376" fmla="*/ 128378 w 1150080"/>
                  <a:gd name="connsiteY376" fmla="*/ 177474 h 1210372"/>
                  <a:gd name="connsiteX377" fmla="*/ 127144 w 1150080"/>
                  <a:gd name="connsiteY377" fmla="*/ 170009 h 1210372"/>
                  <a:gd name="connsiteX378" fmla="*/ 115206 w 1150080"/>
                  <a:gd name="connsiteY378" fmla="*/ 159526 h 1210372"/>
                  <a:gd name="connsiteX379" fmla="*/ 115480 w 1150080"/>
                  <a:gd name="connsiteY379" fmla="*/ 139712 h 1210372"/>
                  <a:gd name="connsiteX380" fmla="*/ 116633 w 1150080"/>
                  <a:gd name="connsiteY380" fmla="*/ 138203 h 1210372"/>
                  <a:gd name="connsiteX381" fmla="*/ 127802 w 1150080"/>
                  <a:gd name="connsiteY381" fmla="*/ 135898 h 1210372"/>
                  <a:gd name="connsiteX382" fmla="*/ 131260 w 1150080"/>
                  <a:gd name="connsiteY382" fmla="*/ 133702 h 1210372"/>
                  <a:gd name="connsiteX383" fmla="*/ 135568 w 1150080"/>
                  <a:gd name="connsiteY383" fmla="*/ 136446 h 1210372"/>
                  <a:gd name="connsiteX384" fmla="*/ 139575 w 1150080"/>
                  <a:gd name="connsiteY384" fmla="*/ 136584 h 1210372"/>
                  <a:gd name="connsiteX385" fmla="*/ 141139 w 1150080"/>
                  <a:gd name="connsiteY385" fmla="*/ 135184 h 1210372"/>
                  <a:gd name="connsiteX386" fmla="*/ 141276 w 1150080"/>
                  <a:gd name="connsiteY386" fmla="*/ 129147 h 1210372"/>
                  <a:gd name="connsiteX387" fmla="*/ 137187 w 1150080"/>
                  <a:gd name="connsiteY387" fmla="*/ 123548 h 1210372"/>
                  <a:gd name="connsiteX388" fmla="*/ 121051 w 1150080"/>
                  <a:gd name="connsiteY388" fmla="*/ 122368 h 1210372"/>
                  <a:gd name="connsiteX389" fmla="*/ 121490 w 1150080"/>
                  <a:gd name="connsiteY389" fmla="*/ 105244 h 1210372"/>
                  <a:gd name="connsiteX390" fmla="*/ 130135 w 1150080"/>
                  <a:gd name="connsiteY390" fmla="*/ 102884 h 1210372"/>
                  <a:gd name="connsiteX391" fmla="*/ 169131 w 1150080"/>
                  <a:gd name="connsiteY391" fmla="*/ 103872 h 1210372"/>
                  <a:gd name="connsiteX392" fmla="*/ 167210 w 1150080"/>
                  <a:gd name="connsiteY392" fmla="*/ 100332 h 1210372"/>
                  <a:gd name="connsiteX393" fmla="*/ 169625 w 1150080"/>
                  <a:gd name="connsiteY393" fmla="*/ 96846 h 1210372"/>
                  <a:gd name="connsiteX394" fmla="*/ 175086 w 1150080"/>
                  <a:gd name="connsiteY394" fmla="*/ 102692 h 1210372"/>
                  <a:gd name="connsiteX395" fmla="*/ 177611 w 1150080"/>
                  <a:gd name="connsiteY395" fmla="*/ 102994 h 1210372"/>
                  <a:gd name="connsiteX396" fmla="*/ 181042 w 1150080"/>
                  <a:gd name="connsiteY396" fmla="*/ 101566 h 1210372"/>
                  <a:gd name="connsiteX397" fmla="*/ 188588 w 1150080"/>
                  <a:gd name="connsiteY397" fmla="*/ 93334 h 1210372"/>
                  <a:gd name="connsiteX398" fmla="*/ 192321 w 1150080"/>
                  <a:gd name="connsiteY398" fmla="*/ 91961 h 1210372"/>
                  <a:gd name="connsiteX399" fmla="*/ 201185 w 1150080"/>
                  <a:gd name="connsiteY399" fmla="*/ 104421 h 1210372"/>
                  <a:gd name="connsiteX400" fmla="*/ 202090 w 1150080"/>
                  <a:gd name="connsiteY400" fmla="*/ 119706 h 1210372"/>
                  <a:gd name="connsiteX401" fmla="*/ 208292 w 1150080"/>
                  <a:gd name="connsiteY401" fmla="*/ 118773 h 1210372"/>
                  <a:gd name="connsiteX402" fmla="*/ 225609 w 1150080"/>
                  <a:gd name="connsiteY402" fmla="*/ 131946 h 1210372"/>
                  <a:gd name="connsiteX403" fmla="*/ 230384 w 1150080"/>
                  <a:gd name="connsiteY403" fmla="*/ 131946 h 1210372"/>
                  <a:gd name="connsiteX404" fmla="*/ 240154 w 1150080"/>
                  <a:gd name="connsiteY404" fmla="*/ 126457 h 1210372"/>
                  <a:gd name="connsiteX405" fmla="*/ 244572 w 1150080"/>
                  <a:gd name="connsiteY405" fmla="*/ 125991 h 1210372"/>
                  <a:gd name="connsiteX406" fmla="*/ 247069 w 1150080"/>
                  <a:gd name="connsiteY406" fmla="*/ 127857 h 1210372"/>
                  <a:gd name="connsiteX407" fmla="*/ 247234 w 1150080"/>
                  <a:gd name="connsiteY407" fmla="*/ 132797 h 1210372"/>
                  <a:gd name="connsiteX408" fmla="*/ 248826 w 1150080"/>
                  <a:gd name="connsiteY408" fmla="*/ 133839 h 1210372"/>
                  <a:gd name="connsiteX409" fmla="*/ 260956 w 1150080"/>
                  <a:gd name="connsiteY409" fmla="*/ 121682 h 1210372"/>
                  <a:gd name="connsiteX410" fmla="*/ 271987 w 1150080"/>
                  <a:gd name="connsiteY410" fmla="*/ 117182 h 1210372"/>
                  <a:gd name="connsiteX411" fmla="*/ 279370 w 1150080"/>
                  <a:gd name="connsiteY411" fmla="*/ 111940 h 1210372"/>
                  <a:gd name="connsiteX412" fmla="*/ 284474 w 1150080"/>
                  <a:gd name="connsiteY412" fmla="*/ 111803 h 1210372"/>
                  <a:gd name="connsiteX413" fmla="*/ 289771 w 1150080"/>
                  <a:gd name="connsiteY413" fmla="*/ 106259 h 1210372"/>
                  <a:gd name="connsiteX414" fmla="*/ 293229 w 1150080"/>
                  <a:gd name="connsiteY414" fmla="*/ 97368 h 1210372"/>
                  <a:gd name="connsiteX415" fmla="*/ 309529 w 1150080"/>
                  <a:gd name="connsiteY415" fmla="*/ 90507 h 1210372"/>
                  <a:gd name="connsiteX416" fmla="*/ 310682 w 1150080"/>
                  <a:gd name="connsiteY416" fmla="*/ 86281 h 1210372"/>
                  <a:gd name="connsiteX417" fmla="*/ 309529 w 1150080"/>
                  <a:gd name="connsiteY417" fmla="*/ 84113 h 1210372"/>
                  <a:gd name="connsiteX418" fmla="*/ 292597 w 1150080"/>
                  <a:gd name="connsiteY418" fmla="*/ 80627 h 1210372"/>
                  <a:gd name="connsiteX419" fmla="*/ 291966 w 1150080"/>
                  <a:gd name="connsiteY419" fmla="*/ 72477 h 1210372"/>
                  <a:gd name="connsiteX420" fmla="*/ 286752 w 1150080"/>
                  <a:gd name="connsiteY420" fmla="*/ 61362 h 1210372"/>
                  <a:gd name="connsiteX421" fmla="*/ 286340 w 1150080"/>
                  <a:gd name="connsiteY421" fmla="*/ 49891 h 1210372"/>
                  <a:gd name="connsiteX422" fmla="*/ 274787 w 1150080"/>
                  <a:gd name="connsiteY422" fmla="*/ 38201 h 1210372"/>
                  <a:gd name="connsiteX423" fmla="*/ 271740 w 1150080"/>
                  <a:gd name="connsiteY423" fmla="*/ 31258 h 1210372"/>
                  <a:gd name="connsiteX424" fmla="*/ 287273 w 1150080"/>
                  <a:gd name="connsiteY424" fmla="*/ 34029 h 1210372"/>
                  <a:gd name="connsiteX425" fmla="*/ 293695 w 1150080"/>
                  <a:gd name="connsiteY425" fmla="*/ 39600 h 1210372"/>
                  <a:gd name="connsiteX426" fmla="*/ 312768 w 1150080"/>
                  <a:gd name="connsiteY426" fmla="*/ 39490 h 1210372"/>
                  <a:gd name="connsiteX427" fmla="*/ 324513 w 1150080"/>
                  <a:gd name="connsiteY427" fmla="*/ 46900 h 1210372"/>
                  <a:gd name="connsiteX428" fmla="*/ 329014 w 1150080"/>
                  <a:gd name="connsiteY428" fmla="*/ 44732 h 1210372"/>
                  <a:gd name="connsiteX429" fmla="*/ 330935 w 1150080"/>
                  <a:gd name="connsiteY429" fmla="*/ 36884 h 1210372"/>
                  <a:gd name="connsiteX430" fmla="*/ 337357 w 1150080"/>
                  <a:gd name="connsiteY430" fmla="*/ 33481 h 1210372"/>
                  <a:gd name="connsiteX431" fmla="*/ 354509 w 1150080"/>
                  <a:gd name="connsiteY431" fmla="*/ 32602 h 1210372"/>
                  <a:gd name="connsiteX432" fmla="*/ 363674 w 1150080"/>
                  <a:gd name="connsiteY432" fmla="*/ 28952 h 1210372"/>
                  <a:gd name="connsiteX433" fmla="*/ 372374 w 1150080"/>
                  <a:gd name="connsiteY433" fmla="*/ 22229 h 1210372"/>
                  <a:gd name="connsiteX434" fmla="*/ 381512 w 1150080"/>
                  <a:gd name="connsiteY434" fmla="*/ 20335 h 1210372"/>
                  <a:gd name="connsiteX435" fmla="*/ 391803 w 1150080"/>
                  <a:gd name="connsiteY435" fmla="*/ 9934 h 1210372"/>
                  <a:gd name="connsiteX436" fmla="*/ 388840 w 1150080"/>
                  <a:gd name="connsiteY436" fmla="*/ 1811 h 1210372"/>
                  <a:gd name="connsiteX437" fmla="*/ 390870 w 1150080"/>
                  <a:gd name="connsiteY437" fmla="*/ 1153 h 1210372"/>
                  <a:gd name="connsiteX438" fmla="*/ 397429 w 1150080"/>
                  <a:gd name="connsiteY438" fmla="*/ 2168 h 1210372"/>
                  <a:gd name="connsiteX439" fmla="*/ 400640 w 1150080"/>
                  <a:gd name="connsiteY439" fmla="*/ 1564 h 1210372"/>
                  <a:gd name="connsiteX440" fmla="*/ 403823 w 1150080"/>
                  <a:gd name="connsiteY440" fmla="*/ 0 h 1210372"/>
                  <a:gd name="connsiteX441" fmla="*/ 406623 w 1150080"/>
                  <a:gd name="connsiteY441" fmla="*/ 686 h 121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Lst>
                <a:rect l="l" t="t" r="r" b="b"/>
                <a:pathLst>
                  <a:path w="1150080" h="1210372">
                    <a:moveTo>
                      <a:pt x="406705" y="714"/>
                    </a:moveTo>
                    <a:lnTo>
                      <a:pt x="408214" y="3458"/>
                    </a:lnTo>
                    <a:lnTo>
                      <a:pt x="411206" y="5790"/>
                    </a:lnTo>
                    <a:lnTo>
                      <a:pt x="409367" y="16301"/>
                    </a:lnTo>
                    <a:lnTo>
                      <a:pt x="407858" y="19210"/>
                    </a:lnTo>
                    <a:lnTo>
                      <a:pt x="405882" y="20500"/>
                    </a:lnTo>
                    <a:lnTo>
                      <a:pt x="405799" y="21570"/>
                    </a:lnTo>
                    <a:lnTo>
                      <a:pt x="408818" y="22449"/>
                    </a:lnTo>
                    <a:lnTo>
                      <a:pt x="412441" y="22256"/>
                    </a:lnTo>
                    <a:lnTo>
                      <a:pt x="417490" y="24507"/>
                    </a:lnTo>
                    <a:lnTo>
                      <a:pt x="419493" y="26181"/>
                    </a:lnTo>
                    <a:lnTo>
                      <a:pt x="418972" y="31450"/>
                    </a:lnTo>
                    <a:lnTo>
                      <a:pt x="423994" y="38914"/>
                    </a:lnTo>
                    <a:lnTo>
                      <a:pt x="419686" y="46049"/>
                    </a:lnTo>
                    <a:lnTo>
                      <a:pt x="414966" y="49535"/>
                    </a:lnTo>
                    <a:lnTo>
                      <a:pt x="416173" y="55353"/>
                    </a:lnTo>
                    <a:lnTo>
                      <a:pt x="411727" y="65424"/>
                    </a:lnTo>
                    <a:lnTo>
                      <a:pt x="410794" y="75496"/>
                    </a:lnTo>
                    <a:lnTo>
                      <a:pt x="413511" y="84634"/>
                    </a:lnTo>
                    <a:lnTo>
                      <a:pt x="418094" y="88339"/>
                    </a:lnTo>
                    <a:lnTo>
                      <a:pt x="417929" y="99701"/>
                    </a:lnTo>
                    <a:lnTo>
                      <a:pt x="425311" y="106287"/>
                    </a:lnTo>
                    <a:lnTo>
                      <a:pt x="433023" y="114026"/>
                    </a:lnTo>
                    <a:lnTo>
                      <a:pt x="440954" y="116441"/>
                    </a:lnTo>
                    <a:lnTo>
                      <a:pt x="445702" y="120337"/>
                    </a:lnTo>
                    <a:lnTo>
                      <a:pt x="449132" y="117401"/>
                    </a:lnTo>
                    <a:lnTo>
                      <a:pt x="454566" y="117099"/>
                    </a:lnTo>
                    <a:lnTo>
                      <a:pt x="455334" y="112516"/>
                    </a:lnTo>
                    <a:lnTo>
                      <a:pt x="459450" y="108757"/>
                    </a:lnTo>
                    <a:lnTo>
                      <a:pt x="468452" y="110431"/>
                    </a:lnTo>
                    <a:lnTo>
                      <a:pt x="469275" y="106287"/>
                    </a:lnTo>
                    <a:lnTo>
                      <a:pt x="472047" y="106287"/>
                    </a:lnTo>
                    <a:lnTo>
                      <a:pt x="482283" y="104668"/>
                    </a:lnTo>
                    <a:lnTo>
                      <a:pt x="489555" y="96901"/>
                    </a:lnTo>
                    <a:lnTo>
                      <a:pt x="495895" y="96023"/>
                    </a:lnTo>
                    <a:lnTo>
                      <a:pt x="504265" y="99646"/>
                    </a:lnTo>
                    <a:lnTo>
                      <a:pt x="514062" y="97669"/>
                    </a:lnTo>
                    <a:lnTo>
                      <a:pt x="527152" y="100716"/>
                    </a:lnTo>
                    <a:lnTo>
                      <a:pt x="530144" y="99673"/>
                    </a:lnTo>
                    <a:lnTo>
                      <a:pt x="530144" y="94514"/>
                    </a:lnTo>
                    <a:cubicBezTo>
                      <a:pt x="530144" y="94514"/>
                      <a:pt x="524682" y="87982"/>
                      <a:pt x="524682" y="87982"/>
                    </a:cubicBezTo>
                    <a:lnTo>
                      <a:pt x="529485" y="80847"/>
                    </a:lnTo>
                    <a:lnTo>
                      <a:pt x="535769" y="83921"/>
                    </a:lnTo>
                    <a:lnTo>
                      <a:pt x="545951" y="83482"/>
                    </a:lnTo>
                    <a:lnTo>
                      <a:pt x="548119" y="81259"/>
                    </a:lnTo>
                    <a:lnTo>
                      <a:pt x="557065" y="79365"/>
                    </a:lnTo>
                    <a:lnTo>
                      <a:pt x="561484" y="82741"/>
                    </a:lnTo>
                    <a:lnTo>
                      <a:pt x="565737" y="82631"/>
                    </a:lnTo>
                    <a:lnTo>
                      <a:pt x="566752" y="85842"/>
                    </a:lnTo>
                    <a:lnTo>
                      <a:pt x="569634" y="86583"/>
                    </a:lnTo>
                    <a:lnTo>
                      <a:pt x="577455" y="91330"/>
                    </a:lnTo>
                    <a:lnTo>
                      <a:pt x="583054" y="92346"/>
                    </a:lnTo>
                    <a:lnTo>
                      <a:pt x="593839" y="85595"/>
                    </a:lnTo>
                    <a:lnTo>
                      <a:pt x="601221" y="88394"/>
                    </a:lnTo>
                    <a:lnTo>
                      <a:pt x="607094" y="86610"/>
                    </a:lnTo>
                    <a:lnTo>
                      <a:pt x="610058" y="89986"/>
                    </a:lnTo>
                    <a:lnTo>
                      <a:pt x="618181" y="90617"/>
                    </a:lnTo>
                    <a:lnTo>
                      <a:pt x="626194" y="84634"/>
                    </a:lnTo>
                    <a:lnTo>
                      <a:pt x="629378" y="80298"/>
                    </a:lnTo>
                    <a:lnTo>
                      <a:pt x="636348" y="61335"/>
                    </a:lnTo>
                    <a:lnTo>
                      <a:pt x="655860" y="35484"/>
                    </a:lnTo>
                    <a:lnTo>
                      <a:pt x="660415" y="26620"/>
                    </a:lnTo>
                    <a:lnTo>
                      <a:pt x="668100" y="33151"/>
                    </a:lnTo>
                    <a:lnTo>
                      <a:pt x="672792" y="43744"/>
                    </a:lnTo>
                    <a:lnTo>
                      <a:pt x="675427" y="66165"/>
                    </a:lnTo>
                    <a:lnTo>
                      <a:pt x="684181" y="90342"/>
                    </a:lnTo>
                    <a:lnTo>
                      <a:pt x="688407" y="95447"/>
                    </a:lnTo>
                    <a:lnTo>
                      <a:pt x="689834" y="92428"/>
                    </a:lnTo>
                    <a:lnTo>
                      <a:pt x="691618" y="92428"/>
                    </a:lnTo>
                    <a:cubicBezTo>
                      <a:pt x="691618" y="92428"/>
                      <a:pt x="694664" y="100496"/>
                      <a:pt x="694664" y="100496"/>
                    </a:cubicBezTo>
                    <a:lnTo>
                      <a:pt x="703309" y="103872"/>
                    </a:lnTo>
                    <a:lnTo>
                      <a:pt x="706739" y="108537"/>
                    </a:lnTo>
                    <a:lnTo>
                      <a:pt x="705065" y="126512"/>
                    </a:lnTo>
                    <a:lnTo>
                      <a:pt x="700949" y="131260"/>
                    </a:lnTo>
                    <a:lnTo>
                      <a:pt x="691755" y="136282"/>
                    </a:lnTo>
                    <a:lnTo>
                      <a:pt x="689258" y="139767"/>
                    </a:lnTo>
                    <a:lnTo>
                      <a:pt x="683961" y="147094"/>
                    </a:lnTo>
                    <a:lnTo>
                      <a:pt x="683330" y="163917"/>
                    </a:lnTo>
                    <a:lnTo>
                      <a:pt x="694801" y="158456"/>
                    </a:lnTo>
                    <a:lnTo>
                      <a:pt x="713902" y="161310"/>
                    </a:lnTo>
                    <a:lnTo>
                      <a:pt x="730340" y="159608"/>
                    </a:lnTo>
                    <a:lnTo>
                      <a:pt x="749605" y="162874"/>
                    </a:lnTo>
                    <a:lnTo>
                      <a:pt x="750483" y="166140"/>
                    </a:lnTo>
                    <a:lnTo>
                      <a:pt x="746724" y="181865"/>
                    </a:lnTo>
                    <a:lnTo>
                      <a:pt x="737667" y="196821"/>
                    </a:lnTo>
                    <a:lnTo>
                      <a:pt x="732920" y="202145"/>
                    </a:lnTo>
                    <a:lnTo>
                      <a:pt x="739177" y="200636"/>
                    </a:lnTo>
                    <a:lnTo>
                      <a:pt x="745187" y="196821"/>
                    </a:lnTo>
                    <a:lnTo>
                      <a:pt x="761021" y="176568"/>
                    </a:lnTo>
                    <a:lnTo>
                      <a:pt x="770023" y="172287"/>
                    </a:lnTo>
                    <a:lnTo>
                      <a:pt x="783772" y="173961"/>
                    </a:lnTo>
                    <a:lnTo>
                      <a:pt x="791730" y="177556"/>
                    </a:lnTo>
                    <a:lnTo>
                      <a:pt x="801417" y="179230"/>
                    </a:lnTo>
                    <a:lnTo>
                      <a:pt x="819310" y="187106"/>
                    </a:lnTo>
                    <a:lnTo>
                      <a:pt x="830644" y="189384"/>
                    </a:lnTo>
                    <a:lnTo>
                      <a:pt x="841649" y="196848"/>
                    </a:lnTo>
                    <a:lnTo>
                      <a:pt x="844256" y="199620"/>
                    </a:lnTo>
                    <a:lnTo>
                      <a:pt x="854602" y="199126"/>
                    </a:lnTo>
                    <a:lnTo>
                      <a:pt x="859816" y="202612"/>
                    </a:lnTo>
                    <a:lnTo>
                      <a:pt x="864262" y="210186"/>
                    </a:lnTo>
                    <a:lnTo>
                      <a:pt x="864454" y="218775"/>
                    </a:lnTo>
                    <a:lnTo>
                      <a:pt x="867994" y="222919"/>
                    </a:lnTo>
                    <a:lnTo>
                      <a:pt x="863466" y="237492"/>
                    </a:lnTo>
                    <a:lnTo>
                      <a:pt x="865853" y="240593"/>
                    </a:lnTo>
                    <a:lnTo>
                      <a:pt x="868406" y="239248"/>
                    </a:lnTo>
                    <a:lnTo>
                      <a:pt x="873345" y="229066"/>
                    </a:lnTo>
                    <a:lnTo>
                      <a:pt x="877791" y="228573"/>
                    </a:lnTo>
                    <a:lnTo>
                      <a:pt x="876392" y="233650"/>
                    </a:lnTo>
                    <a:lnTo>
                      <a:pt x="877572" y="234555"/>
                    </a:lnTo>
                    <a:lnTo>
                      <a:pt x="890525" y="223990"/>
                    </a:lnTo>
                    <a:lnTo>
                      <a:pt x="893708" y="226268"/>
                    </a:lnTo>
                    <a:lnTo>
                      <a:pt x="902627" y="225252"/>
                    </a:lnTo>
                    <a:lnTo>
                      <a:pt x="923347" y="233156"/>
                    </a:lnTo>
                    <a:lnTo>
                      <a:pt x="942886" y="235488"/>
                    </a:lnTo>
                    <a:lnTo>
                      <a:pt x="953726" y="239495"/>
                    </a:lnTo>
                    <a:lnTo>
                      <a:pt x="983584" y="237574"/>
                    </a:lnTo>
                    <a:lnTo>
                      <a:pt x="999638" y="239687"/>
                    </a:lnTo>
                    <a:lnTo>
                      <a:pt x="1042614" y="264495"/>
                    </a:lnTo>
                    <a:lnTo>
                      <a:pt x="1065501" y="286971"/>
                    </a:lnTo>
                    <a:lnTo>
                      <a:pt x="1083559" y="299650"/>
                    </a:lnTo>
                    <a:lnTo>
                      <a:pt x="1097198" y="304288"/>
                    </a:lnTo>
                    <a:lnTo>
                      <a:pt x="1117945" y="304205"/>
                    </a:lnTo>
                    <a:lnTo>
                      <a:pt x="1129745" y="307444"/>
                    </a:lnTo>
                    <a:lnTo>
                      <a:pt x="1138994" y="321000"/>
                    </a:lnTo>
                    <a:lnTo>
                      <a:pt x="1150081" y="361671"/>
                    </a:lnTo>
                    <a:lnTo>
                      <a:pt x="1149312" y="391749"/>
                    </a:lnTo>
                    <a:lnTo>
                      <a:pt x="1134767" y="428001"/>
                    </a:lnTo>
                    <a:lnTo>
                      <a:pt x="1106309" y="462579"/>
                    </a:lnTo>
                    <a:lnTo>
                      <a:pt x="1087785" y="477179"/>
                    </a:lnTo>
                    <a:lnTo>
                      <a:pt x="1056061" y="528607"/>
                    </a:lnTo>
                    <a:lnTo>
                      <a:pt x="1045523" y="538184"/>
                    </a:lnTo>
                    <a:lnTo>
                      <a:pt x="1039623" y="532394"/>
                    </a:lnTo>
                    <a:lnTo>
                      <a:pt x="1036165" y="533354"/>
                    </a:lnTo>
                    <a:lnTo>
                      <a:pt x="1036220" y="541450"/>
                    </a:lnTo>
                    <a:lnTo>
                      <a:pt x="1030539" y="549409"/>
                    </a:lnTo>
                    <a:lnTo>
                      <a:pt x="1027108" y="567164"/>
                    </a:lnTo>
                    <a:lnTo>
                      <a:pt x="1028234" y="576083"/>
                    </a:lnTo>
                    <a:lnTo>
                      <a:pt x="1026834" y="592713"/>
                    </a:lnTo>
                    <a:lnTo>
                      <a:pt x="1031115" y="627100"/>
                    </a:lnTo>
                    <a:lnTo>
                      <a:pt x="1022608" y="665355"/>
                    </a:lnTo>
                    <a:lnTo>
                      <a:pt x="1022306" y="682617"/>
                    </a:lnTo>
                    <a:lnTo>
                      <a:pt x="1013250" y="694719"/>
                    </a:lnTo>
                    <a:lnTo>
                      <a:pt x="1008063" y="706053"/>
                    </a:lnTo>
                    <a:lnTo>
                      <a:pt x="1006362" y="718924"/>
                    </a:lnTo>
                    <a:lnTo>
                      <a:pt x="1006965" y="733029"/>
                    </a:lnTo>
                    <a:lnTo>
                      <a:pt x="1005127" y="740192"/>
                    </a:lnTo>
                    <a:lnTo>
                      <a:pt x="996400" y="751828"/>
                    </a:lnTo>
                    <a:lnTo>
                      <a:pt x="986630" y="772602"/>
                    </a:lnTo>
                    <a:lnTo>
                      <a:pt x="976559" y="783634"/>
                    </a:lnTo>
                    <a:lnTo>
                      <a:pt x="971866" y="792471"/>
                    </a:lnTo>
                    <a:lnTo>
                      <a:pt x="968079" y="803421"/>
                    </a:lnTo>
                    <a:lnTo>
                      <a:pt x="966899" y="818267"/>
                    </a:lnTo>
                    <a:lnTo>
                      <a:pt x="945740" y="831550"/>
                    </a:lnTo>
                    <a:lnTo>
                      <a:pt x="941788" y="836846"/>
                    </a:lnTo>
                    <a:lnTo>
                      <a:pt x="939511" y="844750"/>
                    </a:lnTo>
                    <a:lnTo>
                      <a:pt x="936162" y="847796"/>
                    </a:lnTo>
                    <a:lnTo>
                      <a:pt x="910942" y="848372"/>
                    </a:lnTo>
                    <a:lnTo>
                      <a:pt x="906057" y="842472"/>
                    </a:lnTo>
                    <a:lnTo>
                      <a:pt x="902737" y="848619"/>
                    </a:lnTo>
                    <a:lnTo>
                      <a:pt x="899087" y="850623"/>
                    </a:lnTo>
                    <a:lnTo>
                      <a:pt x="893544" y="851089"/>
                    </a:lnTo>
                    <a:lnTo>
                      <a:pt x="883307" y="848619"/>
                    </a:lnTo>
                    <a:lnTo>
                      <a:pt x="863686" y="852708"/>
                    </a:lnTo>
                    <a:lnTo>
                      <a:pt x="861051" y="860447"/>
                    </a:lnTo>
                    <a:lnTo>
                      <a:pt x="852406" y="863246"/>
                    </a:lnTo>
                    <a:lnTo>
                      <a:pt x="841978" y="870217"/>
                    </a:lnTo>
                    <a:lnTo>
                      <a:pt x="841045" y="877819"/>
                    </a:lnTo>
                    <a:lnTo>
                      <a:pt x="823920" y="876529"/>
                    </a:lnTo>
                    <a:lnTo>
                      <a:pt x="808607" y="883335"/>
                    </a:lnTo>
                    <a:lnTo>
                      <a:pt x="770380" y="910256"/>
                    </a:lnTo>
                    <a:lnTo>
                      <a:pt x="757948" y="927024"/>
                    </a:lnTo>
                    <a:lnTo>
                      <a:pt x="753145" y="925789"/>
                    </a:lnTo>
                    <a:lnTo>
                      <a:pt x="749413" y="928232"/>
                    </a:lnTo>
                    <a:lnTo>
                      <a:pt x="748672" y="930399"/>
                    </a:lnTo>
                    <a:lnTo>
                      <a:pt x="750593" y="935256"/>
                    </a:lnTo>
                    <a:lnTo>
                      <a:pt x="745544" y="951009"/>
                    </a:lnTo>
                    <a:lnTo>
                      <a:pt x="746751" y="957623"/>
                    </a:lnTo>
                    <a:lnTo>
                      <a:pt x="744309" y="969396"/>
                    </a:lnTo>
                    <a:lnTo>
                      <a:pt x="747245" y="985176"/>
                    </a:lnTo>
                    <a:lnTo>
                      <a:pt x="746476" y="995549"/>
                    </a:lnTo>
                    <a:lnTo>
                      <a:pt x="750319" y="997443"/>
                    </a:lnTo>
                    <a:lnTo>
                      <a:pt x="745598" y="1008776"/>
                    </a:lnTo>
                    <a:lnTo>
                      <a:pt x="740631" y="1028700"/>
                    </a:lnTo>
                    <a:lnTo>
                      <a:pt x="723672" y="1044864"/>
                    </a:lnTo>
                    <a:lnTo>
                      <a:pt x="712886" y="1058146"/>
                    </a:lnTo>
                    <a:lnTo>
                      <a:pt x="703034" y="1075408"/>
                    </a:lnTo>
                    <a:lnTo>
                      <a:pt x="693210" y="1099338"/>
                    </a:lnTo>
                    <a:lnTo>
                      <a:pt x="680504" y="1119509"/>
                    </a:lnTo>
                    <a:lnTo>
                      <a:pt x="664806" y="1136057"/>
                    </a:lnTo>
                    <a:lnTo>
                      <a:pt x="646173" y="1148242"/>
                    </a:lnTo>
                    <a:lnTo>
                      <a:pt x="646639" y="1144043"/>
                    </a:lnTo>
                    <a:lnTo>
                      <a:pt x="655037" y="1140174"/>
                    </a:lnTo>
                    <a:lnTo>
                      <a:pt x="667194" y="1129032"/>
                    </a:lnTo>
                    <a:lnTo>
                      <a:pt x="671639" y="1117945"/>
                    </a:lnTo>
                    <a:lnTo>
                      <a:pt x="681739" y="1106666"/>
                    </a:lnTo>
                    <a:lnTo>
                      <a:pt x="686651" y="1091572"/>
                    </a:lnTo>
                    <a:lnTo>
                      <a:pt x="682562" y="1089843"/>
                    </a:lnTo>
                    <a:lnTo>
                      <a:pt x="668045" y="1097829"/>
                    </a:lnTo>
                    <a:lnTo>
                      <a:pt x="659757" y="1117616"/>
                    </a:lnTo>
                    <a:lnTo>
                      <a:pt x="648148" y="1127440"/>
                    </a:lnTo>
                    <a:lnTo>
                      <a:pt x="641123" y="1139762"/>
                    </a:lnTo>
                    <a:lnTo>
                      <a:pt x="640492" y="1155596"/>
                    </a:lnTo>
                    <a:lnTo>
                      <a:pt x="627045" y="1186854"/>
                    </a:lnTo>
                    <a:lnTo>
                      <a:pt x="620047" y="1196267"/>
                    </a:lnTo>
                    <a:lnTo>
                      <a:pt x="605118" y="1210372"/>
                    </a:lnTo>
                    <a:lnTo>
                      <a:pt x="601001" y="1206915"/>
                    </a:lnTo>
                    <a:lnTo>
                      <a:pt x="601385" y="1189845"/>
                    </a:lnTo>
                    <a:lnTo>
                      <a:pt x="613515" y="1174916"/>
                    </a:lnTo>
                    <a:lnTo>
                      <a:pt x="599080" y="1164159"/>
                    </a:lnTo>
                    <a:lnTo>
                      <a:pt x="594333" y="1152687"/>
                    </a:lnTo>
                    <a:lnTo>
                      <a:pt x="592192" y="1151151"/>
                    </a:lnTo>
                    <a:lnTo>
                      <a:pt x="574821" y="1138692"/>
                    </a:lnTo>
                    <a:lnTo>
                      <a:pt x="571500" y="1132297"/>
                    </a:lnTo>
                    <a:lnTo>
                      <a:pt x="550397" y="1123077"/>
                    </a:lnTo>
                    <a:lnTo>
                      <a:pt x="540270" y="1110014"/>
                    </a:lnTo>
                    <a:lnTo>
                      <a:pt x="532421" y="1116655"/>
                    </a:lnTo>
                    <a:lnTo>
                      <a:pt x="528552" y="1116600"/>
                    </a:lnTo>
                    <a:lnTo>
                      <a:pt x="527811" y="1108642"/>
                    </a:lnTo>
                    <a:lnTo>
                      <a:pt x="522267" y="1101067"/>
                    </a:lnTo>
                    <a:lnTo>
                      <a:pt x="503442" y="1084053"/>
                    </a:lnTo>
                    <a:lnTo>
                      <a:pt x="496334" y="1084245"/>
                    </a:lnTo>
                    <a:lnTo>
                      <a:pt x="492437" y="1089377"/>
                    </a:lnTo>
                    <a:lnTo>
                      <a:pt x="487388" y="1090173"/>
                    </a:lnTo>
                    <a:lnTo>
                      <a:pt x="483271" y="1089487"/>
                    </a:lnTo>
                    <a:lnTo>
                      <a:pt x="480362" y="1086440"/>
                    </a:lnTo>
                    <a:lnTo>
                      <a:pt x="487388" y="1080759"/>
                    </a:lnTo>
                    <a:lnTo>
                      <a:pt x="491723" y="1073570"/>
                    </a:lnTo>
                    <a:lnTo>
                      <a:pt x="499929" y="1067395"/>
                    </a:lnTo>
                    <a:lnTo>
                      <a:pt x="527811" y="1030676"/>
                    </a:lnTo>
                    <a:lnTo>
                      <a:pt x="532257" y="1026093"/>
                    </a:lnTo>
                    <a:lnTo>
                      <a:pt x="536373" y="1025873"/>
                    </a:lnTo>
                    <a:lnTo>
                      <a:pt x="536812" y="1020742"/>
                    </a:lnTo>
                    <a:lnTo>
                      <a:pt x="558547" y="1005373"/>
                    </a:lnTo>
                    <a:lnTo>
                      <a:pt x="563048" y="999089"/>
                    </a:lnTo>
                    <a:lnTo>
                      <a:pt x="577181" y="994561"/>
                    </a:lnTo>
                    <a:lnTo>
                      <a:pt x="592851" y="982815"/>
                    </a:lnTo>
                    <a:lnTo>
                      <a:pt x="595485" y="977327"/>
                    </a:lnTo>
                    <a:lnTo>
                      <a:pt x="594497" y="968957"/>
                    </a:lnTo>
                    <a:lnTo>
                      <a:pt x="597791" y="956690"/>
                    </a:lnTo>
                    <a:lnTo>
                      <a:pt x="591918" y="945850"/>
                    </a:lnTo>
                    <a:lnTo>
                      <a:pt x="590216" y="936547"/>
                    </a:lnTo>
                    <a:lnTo>
                      <a:pt x="583356" y="932677"/>
                    </a:lnTo>
                    <a:lnTo>
                      <a:pt x="574299" y="935311"/>
                    </a:lnTo>
                    <a:lnTo>
                      <a:pt x="569277" y="933884"/>
                    </a:lnTo>
                    <a:lnTo>
                      <a:pt x="568976" y="929384"/>
                    </a:lnTo>
                    <a:lnTo>
                      <a:pt x="573503" y="920300"/>
                    </a:lnTo>
                    <a:lnTo>
                      <a:pt x="578772" y="894065"/>
                    </a:lnTo>
                    <a:lnTo>
                      <a:pt x="577730" y="883829"/>
                    </a:lnTo>
                    <a:lnTo>
                      <a:pt x="572927" y="879026"/>
                    </a:lnTo>
                    <a:lnTo>
                      <a:pt x="567740" y="876913"/>
                    </a:lnTo>
                    <a:lnTo>
                      <a:pt x="557120" y="881606"/>
                    </a:lnTo>
                    <a:lnTo>
                      <a:pt x="545622" y="880975"/>
                    </a:lnTo>
                    <a:lnTo>
                      <a:pt x="541670" y="868680"/>
                    </a:lnTo>
                    <a:lnTo>
                      <a:pt x="541533" y="856715"/>
                    </a:lnTo>
                    <a:lnTo>
                      <a:pt x="539200" y="853257"/>
                    </a:lnTo>
                    <a:lnTo>
                      <a:pt x="538761" y="838822"/>
                    </a:lnTo>
                    <a:lnTo>
                      <a:pt x="531873" y="827680"/>
                    </a:lnTo>
                    <a:lnTo>
                      <a:pt x="521581" y="827049"/>
                    </a:lnTo>
                    <a:lnTo>
                      <a:pt x="515187" y="821231"/>
                    </a:lnTo>
                    <a:lnTo>
                      <a:pt x="509451" y="825594"/>
                    </a:lnTo>
                    <a:lnTo>
                      <a:pt x="503194" y="827323"/>
                    </a:lnTo>
                    <a:lnTo>
                      <a:pt x="489089" y="825567"/>
                    </a:lnTo>
                    <a:lnTo>
                      <a:pt x="479237" y="821505"/>
                    </a:lnTo>
                    <a:lnTo>
                      <a:pt x="474023" y="822741"/>
                    </a:lnTo>
                    <a:lnTo>
                      <a:pt x="470043" y="820902"/>
                    </a:lnTo>
                    <a:lnTo>
                      <a:pt x="471662" y="808690"/>
                    </a:lnTo>
                    <a:lnTo>
                      <a:pt x="470675" y="803668"/>
                    </a:lnTo>
                    <a:lnTo>
                      <a:pt x="473831" y="786434"/>
                    </a:lnTo>
                    <a:lnTo>
                      <a:pt x="471196" y="779792"/>
                    </a:lnTo>
                    <a:lnTo>
                      <a:pt x="472129" y="777953"/>
                    </a:lnTo>
                    <a:lnTo>
                      <a:pt x="469440" y="776225"/>
                    </a:lnTo>
                    <a:lnTo>
                      <a:pt x="468671" y="769309"/>
                    </a:lnTo>
                    <a:lnTo>
                      <a:pt x="464280" y="760472"/>
                    </a:lnTo>
                    <a:lnTo>
                      <a:pt x="472705" y="755039"/>
                    </a:lnTo>
                    <a:lnTo>
                      <a:pt x="466037" y="746175"/>
                    </a:lnTo>
                    <a:lnTo>
                      <a:pt x="477014" y="724769"/>
                    </a:lnTo>
                    <a:lnTo>
                      <a:pt x="476794" y="718046"/>
                    </a:lnTo>
                    <a:lnTo>
                      <a:pt x="481268" y="703171"/>
                    </a:lnTo>
                    <a:lnTo>
                      <a:pt x="484122" y="700098"/>
                    </a:lnTo>
                    <a:lnTo>
                      <a:pt x="476136" y="683138"/>
                    </a:lnTo>
                    <a:lnTo>
                      <a:pt x="474023" y="677897"/>
                    </a:lnTo>
                    <a:lnTo>
                      <a:pt x="466229" y="676168"/>
                    </a:lnTo>
                    <a:lnTo>
                      <a:pt x="457282" y="667304"/>
                    </a:lnTo>
                    <a:lnTo>
                      <a:pt x="455663" y="653225"/>
                    </a:lnTo>
                    <a:lnTo>
                      <a:pt x="458737" y="647929"/>
                    </a:lnTo>
                    <a:lnTo>
                      <a:pt x="459149" y="640135"/>
                    </a:lnTo>
                    <a:lnTo>
                      <a:pt x="453578" y="641397"/>
                    </a:lnTo>
                    <a:lnTo>
                      <a:pt x="405470" y="639092"/>
                    </a:lnTo>
                    <a:lnTo>
                      <a:pt x="403220" y="616122"/>
                    </a:lnTo>
                    <a:lnTo>
                      <a:pt x="394905" y="605337"/>
                    </a:lnTo>
                    <a:lnTo>
                      <a:pt x="401848" y="603883"/>
                    </a:lnTo>
                    <a:lnTo>
                      <a:pt x="402616" y="602154"/>
                    </a:lnTo>
                    <a:lnTo>
                      <a:pt x="402012" y="590271"/>
                    </a:lnTo>
                    <a:lnTo>
                      <a:pt x="396332" y="576687"/>
                    </a:lnTo>
                    <a:lnTo>
                      <a:pt x="398307" y="570786"/>
                    </a:lnTo>
                    <a:lnTo>
                      <a:pt x="395783" y="564886"/>
                    </a:lnTo>
                    <a:lnTo>
                      <a:pt x="387523" y="561429"/>
                    </a:lnTo>
                    <a:lnTo>
                      <a:pt x="378631" y="555034"/>
                    </a:lnTo>
                    <a:lnTo>
                      <a:pt x="356896" y="556242"/>
                    </a:lnTo>
                    <a:lnTo>
                      <a:pt x="349184" y="548997"/>
                    </a:lnTo>
                    <a:lnTo>
                      <a:pt x="347483" y="544908"/>
                    </a:lnTo>
                    <a:lnTo>
                      <a:pt x="340677" y="544469"/>
                    </a:lnTo>
                    <a:lnTo>
                      <a:pt x="331484" y="539996"/>
                    </a:lnTo>
                    <a:lnTo>
                      <a:pt x="328163" y="540297"/>
                    </a:lnTo>
                    <a:lnTo>
                      <a:pt x="322016" y="535193"/>
                    </a:lnTo>
                    <a:lnTo>
                      <a:pt x="318915" y="530006"/>
                    </a:lnTo>
                    <a:lnTo>
                      <a:pt x="313015" y="531323"/>
                    </a:lnTo>
                    <a:lnTo>
                      <a:pt x="300830" y="524216"/>
                    </a:lnTo>
                    <a:lnTo>
                      <a:pt x="293969" y="526576"/>
                    </a:lnTo>
                    <a:lnTo>
                      <a:pt x="284556" y="525067"/>
                    </a:lnTo>
                    <a:lnTo>
                      <a:pt x="279397" y="522377"/>
                    </a:lnTo>
                    <a:lnTo>
                      <a:pt x="278793" y="519303"/>
                    </a:lnTo>
                    <a:lnTo>
                      <a:pt x="269243" y="511812"/>
                    </a:lnTo>
                    <a:lnTo>
                      <a:pt x="263809" y="509973"/>
                    </a:lnTo>
                    <a:lnTo>
                      <a:pt x="261834" y="503826"/>
                    </a:lnTo>
                    <a:lnTo>
                      <a:pt x="258101" y="502536"/>
                    </a:lnTo>
                    <a:lnTo>
                      <a:pt x="257113" y="497322"/>
                    </a:lnTo>
                    <a:lnTo>
                      <a:pt x="253848" y="493425"/>
                    </a:lnTo>
                    <a:lnTo>
                      <a:pt x="251954" y="486948"/>
                    </a:lnTo>
                    <a:lnTo>
                      <a:pt x="254397" y="478715"/>
                    </a:lnTo>
                    <a:lnTo>
                      <a:pt x="250664" y="466668"/>
                    </a:lnTo>
                    <a:lnTo>
                      <a:pt x="254753" y="456816"/>
                    </a:lnTo>
                    <a:lnTo>
                      <a:pt x="254177" y="445839"/>
                    </a:lnTo>
                    <a:lnTo>
                      <a:pt x="252503" y="442134"/>
                    </a:lnTo>
                    <a:lnTo>
                      <a:pt x="249978" y="441420"/>
                    </a:lnTo>
                    <a:lnTo>
                      <a:pt x="246466" y="445015"/>
                    </a:lnTo>
                    <a:lnTo>
                      <a:pt x="238315" y="443177"/>
                    </a:lnTo>
                    <a:lnTo>
                      <a:pt x="218721" y="446772"/>
                    </a:lnTo>
                    <a:lnTo>
                      <a:pt x="211970" y="450120"/>
                    </a:lnTo>
                    <a:lnTo>
                      <a:pt x="203133" y="457886"/>
                    </a:lnTo>
                    <a:lnTo>
                      <a:pt x="192485" y="461865"/>
                    </a:lnTo>
                    <a:lnTo>
                      <a:pt x="183017" y="470949"/>
                    </a:lnTo>
                    <a:lnTo>
                      <a:pt x="173467" y="470867"/>
                    </a:lnTo>
                    <a:lnTo>
                      <a:pt x="166277" y="479813"/>
                    </a:lnTo>
                    <a:lnTo>
                      <a:pt x="156809" y="483737"/>
                    </a:lnTo>
                    <a:lnTo>
                      <a:pt x="152967" y="484067"/>
                    </a:lnTo>
                    <a:lnTo>
                      <a:pt x="151924" y="480801"/>
                    </a:lnTo>
                    <a:lnTo>
                      <a:pt x="128927" y="478990"/>
                    </a:lnTo>
                    <a:lnTo>
                      <a:pt x="118032" y="478496"/>
                    </a:lnTo>
                    <a:lnTo>
                      <a:pt x="107329" y="481707"/>
                    </a:lnTo>
                    <a:lnTo>
                      <a:pt x="98520" y="478990"/>
                    </a:lnTo>
                    <a:lnTo>
                      <a:pt x="97944" y="448912"/>
                    </a:lnTo>
                    <a:lnTo>
                      <a:pt x="100002" y="442299"/>
                    </a:lnTo>
                    <a:lnTo>
                      <a:pt x="98905" y="435493"/>
                    </a:lnTo>
                    <a:lnTo>
                      <a:pt x="78569" y="449681"/>
                    </a:lnTo>
                    <a:lnTo>
                      <a:pt x="55764" y="450312"/>
                    </a:lnTo>
                    <a:lnTo>
                      <a:pt x="53212" y="449269"/>
                    </a:lnTo>
                    <a:lnTo>
                      <a:pt x="46845" y="435959"/>
                    </a:lnTo>
                    <a:lnTo>
                      <a:pt x="35978" y="433187"/>
                    </a:lnTo>
                    <a:lnTo>
                      <a:pt x="23711" y="432419"/>
                    </a:lnTo>
                    <a:lnTo>
                      <a:pt x="28651" y="424159"/>
                    </a:lnTo>
                    <a:lnTo>
                      <a:pt x="28733" y="420152"/>
                    </a:lnTo>
                    <a:lnTo>
                      <a:pt x="12926" y="401107"/>
                    </a:lnTo>
                    <a:lnTo>
                      <a:pt x="9742" y="392901"/>
                    </a:lnTo>
                    <a:lnTo>
                      <a:pt x="6285" y="388675"/>
                    </a:lnTo>
                    <a:lnTo>
                      <a:pt x="6669" y="384394"/>
                    </a:lnTo>
                    <a:lnTo>
                      <a:pt x="0" y="376737"/>
                    </a:lnTo>
                    <a:lnTo>
                      <a:pt x="988" y="372237"/>
                    </a:lnTo>
                    <a:lnTo>
                      <a:pt x="6586" y="369822"/>
                    </a:lnTo>
                    <a:lnTo>
                      <a:pt x="5269" y="364086"/>
                    </a:lnTo>
                    <a:lnTo>
                      <a:pt x="6751" y="358405"/>
                    </a:lnTo>
                    <a:lnTo>
                      <a:pt x="11883" y="352615"/>
                    </a:lnTo>
                    <a:lnTo>
                      <a:pt x="23190" y="344547"/>
                    </a:lnTo>
                    <a:lnTo>
                      <a:pt x="23052" y="333103"/>
                    </a:lnTo>
                    <a:lnTo>
                      <a:pt x="28623" y="322126"/>
                    </a:lnTo>
                    <a:lnTo>
                      <a:pt x="33014" y="305358"/>
                    </a:lnTo>
                    <a:lnTo>
                      <a:pt x="42564" y="301050"/>
                    </a:lnTo>
                    <a:lnTo>
                      <a:pt x="62625" y="287301"/>
                    </a:lnTo>
                    <a:lnTo>
                      <a:pt x="86967" y="283706"/>
                    </a:lnTo>
                    <a:lnTo>
                      <a:pt x="94980" y="277531"/>
                    </a:lnTo>
                    <a:lnTo>
                      <a:pt x="105107" y="276927"/>
                    </a:lnTo>
                    <a:lnTo>
                      <a:pt x="109306" y="280851"/>
                    </a:lnTo>
                    <a:lnTo>
                      <a:pt x="115425" y="281620"/>
                    </a:lnTo>
                    <a:lnTo>
                      <a:pt x="117538" y="279315"/>
                    </a:lnTo>
                    <a:lnTo>
                      <a:pt x="132056" y="196794"/>
                    </a:lnTo>
                    <a:lnTo>
                      <a:pt x="133373" y="189384"/>
                    </a:lnTo>
                    <a:lnTo>
                      <a:pt x="128378" y="177474"/>
                    </a:lnTo>
                    <a:lnTo>
                      <a:pt x="127144" y="170009"/>
                    </a:lnTo>
                    <a:lnTo>
                      <a:pt x="115206" y="159526"/>
                    </a:lnTo>
                    <a:lnTo>
                      <a:pt x="115480" y="139712"/>
                    </a:lnTo>
                    <a:lnTo>
                      <a:pt x="116633" y="138203"/>
                    </a:lnTo>
                    <a:lnTo>
                      <a:pt x="127802" y="135898"/>
                    </a:lnTo>
                    <a:lnTo>
                      <a:pt x="131260" y="133702"/>
                    </a:lnTo>
                    <a:lnTo>
                      <a:pt x="135568" y="136446"/>
                    </a:lnTo>
                    <a:lnTo>
                      <a:pt x="139575" y="136584"/>
                    </a:lnTo>
                    <a:lnTo>
                      <a:pt x="141139" y="135184"/>
                    </a:lnTo>
                    <a:lnTo>
                      <a:pt x="141276" y="129147"/>
                    </a:lnTo>
                    <a:lnTo>
                      <a:pt x="137187" y="123548"/>
                    </a:lnTo>
                    <a:lnTo>
                      <a:pt x="121051" y="122368"/>
                    </a:lnTo>
                    <a:lnTo>
                      <a:pt x="121490" y="105244"/>
                    </a:lnTo>
                    <a:lnTo>
                      <a:pt x="130135" y="102884"/>
                    </a:lnTo>
                    <a:lnTo>
                      <a:pt x="169131" y="103872"/>
                    </a:lnTo>
                    <a:lnTo>
                      <a:pt x="167210" y="100332"/>
                    </a:lnTo>
                    <a:lnTo>
                      <a:pt x="169625" y="96846"/>
                    </a:lnTo>
                    <a:lnTo>
                      <a:pt x="175086" y="102692"/>
                    </a:lnTo>
                    <a:lnTo>
                      <a:pt x="177611" y="102994"/>
                    </a:lnTo>
                    <a:lnTo>
                      <a:pt x="181042" y="101566"/>
                    </a:lnTo>
                    <a:lnTo>
                      <a:pt x="188588" y="93334"/>
                    </a:lnTo>
                    <a:lnTo>
                      <a:pt x="192321" y="91961"/>
                    </a:lnTo>
                    <a:lnTo>
                      <a:pt x="201185" y="104421"/>
                    </a:lnTo>
                    <a:lnTo>
                      <a:pt x="202090" y="119706"/>
                    </a:lnTo>
                    <a:lnTo>
                      <a:pt x="208292" y="118773"/>
                    </a:lnTo>
                    <a:lnTo>
                      <a:pt x="225609" y="131946"/>
                    </a:lnTo>
                    <a:lnTo>
                      <a:pt x="230384" y="131946"/>
                    </a:lnTo>
                    <a:lnTo>
                      <a:pt x="240154" y="126457"/>
                    </a:lnTo>
                    <a:lnTo>
                      <a:pt x="244572" y="125991"/>
                    </a:lnTo>
                    <a:lnTo>
                      <a:pt x="247069" y="127857"/>
                    </a:lnTo>
                    <a:lnTo>
                      <a:pt x="247234" y="132797"/>
                    </a:lnTo>
                    <a:lnTo>
                      <a:pt x="248826" y="133839"/>
                    </a:lnTo>
                    <a:lnTo>
                      <a:pt x="260956" y="121682"/>
                    </a:lnTo>
                    <a:lnTo>
                      <a:pt x="271987" y="117182"/>
                    </a:lnTo>
                    <a:lnTo>
                      <a:pt x="279370" y="111940"/>
                    </a:lnTo>
                    <a:lnTo>
                      <a:pt x="284474" y="111803"/>
                    </a:lnTo>
                    <a:lnTo>
                      <a:pt x="289771" y="106259"/>
                    </a:lnTo>
                    <a:lnTo>
                      <a:pt x="293229" y="97368"/>
                    </a:lnTo>
                    <a:lnTo>
                      <a:pt x="309529" y="90507"/>
                    </a:lnTo>
                    <a:lnTo>
                      <a:pt x="310682" y="86281"/>
                    </a:lnTo>
                    <a:lnTo>
                      <a:pt x="309529" y="84113"/>
                    </a:lnTo>
                    <a:lnTo>
                      <a:pt x="292597" y="80627"/>
                    </a:lnTo>
                    <a:lnTo>
                      <a:pt x="291966" y="72477"/>
                    </a:lnTo>
                    <a:lnTo>
                      <a:pt x="286752" y="61362"/>
                    </a:lnTo>
                    <a:lnTo>
                      <a:pt x="286340" y="49891"/>
                    </a:lnTo>
                    <a:lnTo>
                      <a:pt x="274787" y="38201"/>
                    </a:lnTo>
                    <a:lnTo>
                      <a:pt x="271740" y="31258"/>
                    </a:lnTo>
                    <a:lnTo>
                      <a:pt x="287273" y="34029"/>
                    </a:lnTo>
                    <a:lnTo>
                      <a:pt x="293695" y="39600"/>
                    </a:lnTo>
                    <a:lnTo>
                      <a:pt x="312768" y="39490"/>
                    </a:lnTo>
                    <a:lnTo>
                      <a:pt x="324513" y="46900"/>
                    </a:lnTo>
                    <a:lnTo>
                      <a:pt x="329014" y="44732"/>
                    </a:lnTo>
                    <a:lnTo>
                      <a:pt x="330935" y="36884"/>
                    </a:lnTo>
                    <a:lnTo>
                      <a:pt x="337357" y="33481"/>
                    </a:lnTo>
                    <a:lnTo>
                      <a:pt x="354509" y="32602"/>
                    </a:lnTo>
                    <a:lnTo>
                      <a:pt x="363674" y="28952"/>
                    </a:lnTo>
                    <a:lnTo>
                      <a:pt x="372374" y="22229"/>
                    </a:lnTo>
                    <a:lnTo>
                      <a:pt x="381512" y="20335"/>
                    </a:lnTo>
                    <a:lnTo>
                      <a:pt x="391803" y="9934"/>
                    </a:lnTo>
                    <a:lnTo>
                      <a:pt x="388840" y="1811"/>
                    </a:lnTo>
                    <a:lnTo>
                      <a:pt x="390870" y="1153"/>
                    </a:lnTo>
                    <a:lnTo>
                      <a:pt x="397429" y="2168"/>
                    </a:lnTo>
                    <a:lnTo>
                      <a:pt x="400640" y="1564"/>
                    </a:lnTo>
                    <a:lnTo>
                      <a:pt x="403823" y="0"/>
                    </a:lnTo>
                    <a:lnTo>
                      <a:pt x="406623" y="6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 name="Freeform: Shape 3281">
                <a:extLst>
                  <a:ext uri="{FF2B5EF4-FFF2-40B4-BE49-F238E27FC236}">
                    <a16:creationId xmlns:a16="http://schemas.microsoft.com/office/drawing/2014/main" id="{CE2934F1-6E49-FE1A-8068-40627C57AB81}"/>
                  </a:ext>
                </a:extLst>
              </p:cNvPr>
              <p:cNvSpPr/>
              <p:nvPr/>
            </p:nvSpPr>
            <p:spPr>
              <a:xfrm>
                <a:off x="1210067" y="3842570"/>
                <a:ext cx="3240" cy="1941"/>
              </a:xfrm>
              <a:custGeom>
                <a:avLst/>
                <a:gdLst>
                  <a:gd name="connsiteX0" fmla="*/ 10401 w 31065"/>
                  <a:gd name="connsiteY0" fmla="*/ 10044 h 18606"/>
                  <a:gd name="connsiteX1" fmla="*/ 10922 w 31065"/>
                  <a:gd name="connsiteY1" fmla="*/ 10868 h 18606"/>
                  <a:gd name="connsiteX2" fmla="*/ 29282 w 31065"/>
                  <a:gd name="connsiteY2" fmla="*/ 7355 h 18606"/>
                  <a:gd name="connsiteX3" fmla="*/ 31065 w 31065"/>
                  <a:gd name="connsiteY3" fmla="*/ 9468 h 18606"/>
                  <a:gd name="connsiteX4" fmla="*/ 19869 w 31065"/>
                  <a:gd name="connsiteY4" fmla="*/ 18606 h 18606"/>
                  <a:gd name="connsiteX5" fmla="*/ 10017 w 31065"/>
                  <a:gd name="connsiteY5" fmla="*/ 16795 h 18606"/>
                  <a:gd name="connsiteX6" fmla="*/ 6339 w 31065"/>
                  <a:gd name="connsiteY6" fmla="*/ 14051 h 18606"/>
                  <a:gd name="connsiteX7" fmla="*/ 4967 w 31065"/>
                  <a:gd name="connsiteY7" fmla="*/ 17179 h 18606"/>
                  <a:gd name="connsiteX8" fmla="*/ 2195 w 31065"/>
                  <a:gd name="connsiteY8" fmla="*/ 17179 h 18606"/>
                  <a:gd name="connsiteX9" fmla="*/ 0 w 31065"/>
                  <a:gd name="connsiteY9" fmla="*/ 13721 h 18606"/>
                  <a:gd name="connsiteX10" fmla="*/ 2634 w 31065"/>
                  <a:gd name="connsiteY10" fmla="*/ 12322 h 18606"/>
                  <a:gd name="connsiteX11" fmla="*/ 8150 w 31065"/>
                  <a:gd name="connsiteY11" fmla="*/ 0 h 18606"/>
                  <a:gd name="connsiteX12" fmla="*/ 16219 w 31065"/>
                  <a:gd name="connsiteY12" fmla="*/ 0 h 18606"/>
                  <a:gd name="connsiteX13" fmla="*/ 15944 w 31065"/>
                  <a:gd name="connsiteY13" fmla="*/ 2992 h 18606"/>
                  <a:gd name="connsiteX14" fmla="*/ 10401 w 31065"/>
                  <a:gd name="connsiteY14" fmla="*/ 10017 h 1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65" h="18606">
                    <a:moveTo>
                      <a:pt x="10401" y="10044"/>
                    </a:moveTo>
                    <a:lnTo>
                      <a:pt x="10922" y="10868"/>
                    </a:lnTo>
                    <a:lnTo>
                      <a:pt x="29282" y="7355"/>
                    </a:lnTo>
                    <a:lnTo>
                      <a:pt x="31065" y="9468"/>
                    </a:lnTo>
                    <a:lnTo>
                      <a:pt x="19869" y="18606"/>
                    </a:lnTo>
                    <a:lnTo>
                      <a:pt x="10017" y="16795"/>
                    </a:lnTo>
                    <a:lnTo>
                      <a:pt x="6339" y="14051"/>
                    </a:lnTo>
                    <a:lnTo>
                      <a:pt x="4967" y="17179"/>
                    </a:lnTo>
                    <a:lnTo>
                      <a:pt x="2195" y="17179"/>
                    </a:lnTo>
                    <a:cubicBezTo>
                      <a:pt x="2195" y="17179"/>
                      <a:pt x="0" y="13721"/>
                      <a:pt x="0" y="13721"/>
                    </a:cubicBezTo>
                    <a:lnTo>
                      <a:pt x="2634" y="12322"/>
                    </a:lnTo>
                    <a:lnTo>
                      <a:pt x="8150" y="0"/>
                    </a:lnTo>
                    <a:lnTo>
                      <a:pt x="16219" y="0"/>
                    </a:lnTo>
                    <a:lnTo>
                      <a:pt x="15944" y="2992"/>
                    </a:lnTo>
                    <a:lnTo>
                      <a:pt x="10401" y="100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 name="Freeform: Shape 3282">
                <a:extLst>
                  <a:ext uri="{FF2B5EF4-FFF2-40B4-BE49-F238E27FC236}">
                    <a16:creationId xmlns:a16="http://schemas.microsoft.com/office/drawing/2014/main" id="{3C752A4C-5E36-C79F-F017-D7D721085C0E}"/>
                  </a:ext>
                </a:extLst>
              </p:cNvPr>
              <p:cNvSpPr/>
              <p:nvPr/>
            </p:nvSpPr>
            <p:spPr>
              <a:xfrm>
                <a:off x="1212506" y="3844179"/>
                <a:ext cx="1491" cy="710"/>
              </a:xfrm>
              <a:custGeom>
                <a:avLst/>
                <a:gdLst>
                  <a:gd name="connsiteX0" fmla="*/ 11416 w 14297"/>
                  <a:gd name="connsiteY0" fmla="*/ 6257 h 6806"/>
                  <a:gd name="connsiteX1" fmla="*/ 3403 w 14297"/>
                  <a:gd name="connsiteY1" fmla="*/ 6806 h 6806"/>
                  <a:gd name="connsiteX2" fmla="*/ 0 w 14297"/>
                  <a:gd name="connsiteY2" fmla="*/ 5132 h 6806"/>
                  <a:gd name="connsiteX3" fmla="*/ 4391 w 14297"/>
                  <a:gd name="connsiteY3" fmla="*/ 1427 h 6806"/>
                  <a:gd name="connsiteX4" fmla="*/ 7547 w 14297"/>
                  <a:gd name="connsiteY4" fmla="*/ 0 h 6806"/>
                  <a:gd name="connsiteX5" fmla="*/ 13090 w 14297"/>
                  <a:gd name="connsiteY5" fmla="*/ 878 h 6806"/>
                  <a:gd name="connsiteX6" fmla="*/ 14298 w 14297"/>
                  <a:gd name="connsiteY6" fmla="*/ 3321 h 6806"/>
                  <a:gd name="connsiteX7" fmla="*/ 11389 w 14297"/>
                  <a:gd name="connsiteY7" fmla="*/ 6257 h 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97" h="6806">
                    <a:moveTo>
                      <a:pt x="11416" y="6257"/>
                    </a:moveTo>
                    <a:lnTo>
                      <a:pt x="3403" y="6806"/>
                    </a:lnTo>
                    <a:lnTo>
                      <a:pt x="0" y="5132"/>
                    </a:lnTo>
                    <a:lnTo>
                      <a:pt x="4391" y="1427"/>
                    </a:lnTo>
                    <a:lnTo>
                      <a:pt x="7547" y="0"/>
                    </a:lnTo>
                    <a:lnTo>
                      <a:pt x="13090" y="878"/>
                    </a:lnTo>
                    <a:lnTo>
                      <a:pt x="14298" y="3321"/>
                    </a:lnTo>
                    <a:lnTo>
                      <a:pt x="11389" y="62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 name="Freeform: Shape 3283">
                <a:extLst>
                  <a:ext uri="{FF2B5EF4-FFF2-40B4-BE49-F238E27FC236}">
                    <a16:creationId xmlns:a16="http://schemas.microsoft.com/office/drawing/2014/main" id="{6B4CD918-26DD-ED5C-CA64-C4C6BF9E5D3E}"/>
                  </a:ext>
                </a:extLst>
              </p:cNvPr>
              <p:cNvSpPr/>
              <p:nvPr/>
            </p:nvSpPr>
            <p:spPr>
              <a:xfrm>
                <a:off x="1229359" y="3917266"/>
                <a:ext cx="621" cy="401"/>
              </a:xfrm>
              <a:custGeom>
                <a:avLst/>
                <a:gdLst>
                  <a:gd name="connsiteX0" fmla="*/ 5927 w 5954"/>
                  <a:gd name="connsiteY0" fmla="*/ 1866 h 3842"/>
                  <a:gd name="connsiteX1" fmla="*/ 3348 w 5954"/>
                  <a:gd name="connsiteY1" fmla="*/ 3842 h 3842"/>
                  <a:gd name="connsiteX2" fmla="*/ 0 w 5954"/>
                  <a:gd name="connsiteY2" fmla="*/ 2881 h 3842"/>
                  <a:gd name="connsiteX3" fmla="*/ 2909 w 5954"/>
                  <a:gd name="connsiteY3" fmla="*/ 0 h 3842"/>
                  <a:gd name="connsiteX4" fmla="*/ 5955 w 5954"/>
                  <a:gd name="connsiteY4" fmla="*/ 1838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4" h="3842">
                    <a:moveTo>
                      <a:pt x="5927" y="1866"/>
                    </a:moveTo>
                    <a:lnTo>
                      <a:pt x="3348" y="3842"/>
                    </a:lnTo>
                    <a:lnTo>
                      <a:pt x="0" y="2881"/>
                    </a:lnTo>
                    <a:lnTo>
                      <a:pt x="2909" y="0"/>
                    </a:lnTo>
                    <a:lnTo>
                      <a:pt x="5955"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 name="Freeform: Shape 3284">
                <a:extLst>
                  <a:ext uri="{FF2B5EF4-FFF2-40B4-BE49-F238E27FC236}">
                    <a16:creationId xmlns:a16="http://schemas.microsoft.com/office/drawing/2014/main" id="{CD1AB57C-4119-0BC0-236A-5FB7A3BD5114}"/>
                  </a:ext>
                </a:extLst>
              </p:cNvPr>
              <p:cNvSpPr/>
              <p:nvPr/>
            </p:nvSpPr>
            <p:spPr>
              <a:xfrm>
                <a:off x="1426746" y="3899946"/>
                <a:ext cx="28712" cy="30060"/>
              </a:xfrm>
              <a:custGeom>
                <a:avLst/>
                <a:gdLst>
                  <a:gd name="connsiteX0" fmla="*/ 154999 w 275280"/>
                  <a:gd name="connsiteY0" fmla="*/ 110 h 288205"/>
                  <a:gd name="connsiteX1" fmla="*/ 156288 w 275280"/>
                  <a:gd name="connsiteY1" fmla="*/ 7766 h 288205"/>
                  <a:gd name="connsiteX2" fmla="*/ 174922 w 275280"/>
                  <a:gd name="connsiteY2" fmla="*/ 35895 h 288205"/>
                  <a:gd name="connsiteX3" fmla="*/ 181810 w 275280"/>
                  <a:gd name="connsiteY3" fmla="*/ 53980 h 288205"/>
                  <a:gd name="connsiteX4" fmla="*/ 198248 w 275280"/>
                  <a:gd name="connsiteY4" fmla="*/ 66796 h 288205"/>
                  <a:gd name="connsiteX5" fmla="*/ 211586 w 275280"/>
                  <a:gd name="connsiteY5" fmla="*/ 72175 h 288205"/>
                  <a:gd name="connsiteX6" fmla="*/ 215208 w 275280"/>
                  <a:gd name="connsiteY6" fmla="*/ 83344 h 288205"/>
                  <a:gd name="connsiteX7" fmla="*/ 226103 w 275280"/>
                  <a:gd name="connsiteY7" fmla="*/ 85265 h 288205"/>
                  <a:gd name="connsiteX8" fmla="*/ 226707 w 275280"/>
                  <a:gd name="connsiteY8" fmla="*/ 102143 h 288205"/>
                  <a:gd name="connsiteX9" fmla="*/ 235791 w 275280"/>
                  <a:gd name="connsiteY9" fmla="*/ 116852 h 288205"/>
                  <a:gd name="connsiteX10" fmla="*/ 263782 w 275280"/>
                  <a:gd name="connsiteY10" fmla="*/ 124344 h 288205"/>
                  <a:gd name="connsiteX11" fmla="*/ 267185 w 275280"/>
                  <a:gd name="connsiteY11" fmla="*/ 131946 h 288205"/>
                  <a:gd name="connsiteX12" fmla="*/ 275281 w 275280"/>
                  <a:gd name="connsiteY12" fmla="*/ 137791 h 288205"/>
                  <a:gd name="connsiteX13" fmla="*/ 266554 w 275280"/>
                  <a:gd name="connsiteY13" fmla="*/ 138999 h 288205"/>
                  <a:gd name="connsiteX14" fmla="*/ 260928 w 275280"/>
                  <a:gd name="connsiteY14" fmla="*/ 146189 h 288205"/>
                  <a:gd name="connsiteX15" fmla="*/ 243749 w 275280"/>
                  <a:gd name="connsiteY15" fmla="*/ 151485 h 288205"/>
                  <a:gd name="connsiteX16" fmla="*/ 229067 w 275280"/>
                  <a:gd name="connsiteY16" fmla="*/ 168857 h 288205"/>
                  <a:gd name="connsiteX17" fmla="*/ 214550 w 275280"/>
                  <a:gd name="connsiteY17" fmla="*/ 177830 h 288205"/>
                  <a:gd name="connsiteX18" fmla="*/ 207085 w 275280"/>
                  <a:gd name="connsiteY18" fmla="*/ 184801 h 288205"/>
                  <a:gd name="connsiteX19" fmla="*/ 200966 w 275280"/>
                  <a:gd name="connsiteY19" fmla="*/ 203462 h 288205"/>
                  <a:gd name="connsiteX20" fmla="*/ 188753 w 275280"/>
                  <a:gd name="connsiteY20" fmla="*/ 215455 h 288205"/>
                  <a:gd name="connsiteX21" fmla="*/ 173468 w 275280"/>
                  <a:gd name="connsiteY21" fmla="*/ 220312 h 288205"/>
                  <a:gd name="connsiteX22" fmla="*/ 165371 w 275280"/>
                  <a:gd name="connsiteY22" fmla="*/ 245450 h 288205"/>
                  <a:gd name="connsiteX23" fmla="*/ 158374 w 275280"/>
                  <a:gd name="connsiteY23" fmla="*/ 251734 h 288205"/>
                  <a:gd name="connsiteX24" fmla="*/ 136227 w 275280"/>
                  <a:gd name="connsiteY24" fmla="*/ 254040 h 288205"/>
                  <a:gd name="connsiteX25" fmla="*/ 127994 w 275280"/>
                  <a:gd name="connsiteY25" fmla="*/ 252036 h 288205"/>
                  <a:gd name="connsiteX26" fmla="*/ 122588 w 275280"/>
                  <a:gd name="connsiteY26" fmla="*/ 248606 h 288205"/>
                  <a:gd name="connsiteX27" fmla="*/ 115370 w 275280"/>
                  <a:gd name="connsiteY27" fmla="*/ 247837 h 288205"/>
                  <a:gd name="connsiteX28" fmla="*/ 101649 w 275280"/>
                  <a:gd name="connsiteY28" fmla="*/ 237766 h 288205"/>
                  <a:gd name="connsiteX29" fmla="*/ 89492 w 275280"/>
                  <a:gd name="connsiteY29" fmla="*/ 238040 h 288205"/>
                  <a:gd name="connsiteX30" fmla="*/ 83921 w 275280"/>
                  <a:gd name="connsiteY30" fmla="*/ 244654 h 288205"/>
                  <a:gd name="connsiteX31" fmla="*/ 80079 w 275280"/>
                  <a:gd name="connsiteY31" fmla="*/ 260022 h 288205"/>
                  <a:gd name="connsiteX32" fmla="*/ 76868 w 275280"/>
                  <a:gd name="connsiteY32" fmla="*/ 265099 h 288205"/>
                  <a:gd name="connsiteX33" fmla="*/ 65918 w 275280"/>
                  <a:gd name="connsiteY33" fmla="*/ 272756 h 288205"/>
                  <a:gd name="connsiteX34" fmla="*/ 60183 w 275280"/>
                  <a:gd name="connsiteY34" fmla="*/ 280577 h 288205"/>
                  <a:gd name="connsiteX35" fmla="*/ 53679 w 275280"/>
                  <a:gd name="connsiteY35" fmla="*/ 282910 h 288205"/>
                  <a:gd name="connsiteX36" fmla="*/ 48931 w 275280"/>
                  <a:gd name="connsiteY36" fmla="*/ 288206 h 288205"/>
                  <a:gd name="connsiteX37" fmla="*/ 19814 w 275280"/>
                  <a:gd name="connsiteY37" fmla="*/ 287246 h 288205"/>
                  <a:gd name="connsiteX38" fmla="*/ 18415 w 275280"/>
                  <a:gd name="connsiteY38" fmla="*/ 276762 h 288205"/>
                  <a:gd name="connsiteX39" fmla="*/ 24699 w 275280"/>
                  <a:gd name="connsiteY39" fmla="*/ 264824 h 288205"/>
                  <a:gd name="connsiteX40" fmla="*/ 23272 w 275280"/>
                  <a:gd name="connsiteY40" fmla="*/ 255686 h 288205"/>
                  <a:gd name="connsiteX41" fmla="*/ 11746 w 275280"/>
                  <a:gd name="connsiteY41" fmla="*/ 230274 h 288205"/>
                  <a:gd name="connsiteX42" fmla="*/ 0 w 275280"/>
                  <a:gd name="connsiteY42" fmla="*/ 219846 h 288205"/>
                  <a:gd name="connsiteX43" fmla="*/ 0 w 275280"/>
                  <a:gd name="connsiteY43" fmla="*/ 177172 h 288205"/>
                  <a:gd name="connsiteX44" fmla="*/ 330 w 275280"/>
                  <a:gd name="connsiteY44" fmla="*/ 132302 h 288205"/>
                  <a:gd name="connsiteX45" fmla="*/ 29310 w 275280"/>
                  <a:gd name="connsiteY45" fmla="*/ 130409 h 288205"/>
                  <a:gd name="connsiteX46" fmla="*/ 29693 w 275280"/>
                  <a:gd name="connsiteY46" fmla="*/ 17015 h 288205"/>
                  <a:gd name="connsiteX47" fmla="*/ 78432 w 275280"/>
                  <a:gd name="connsiteY47" fmla="*/ 8946 h 288205"/>
                  <a:gd name="connsiteX48" fmla="*/ 96353 w 275280"/>
                  <a:gd name="connsiteY48" fmla="*/ 6778 h 288205"/>
                  <a:gd name="connsiteX49" fmla="*/ 106754 w 275280"/>
                  <a:gd name="connsiteY49" fmla="*/ 21213 h 288205"/>
                  <a:gd name="connsiteX50" fmla="*/ 123109 w 275280"/>
                  <a:gd name="connsiteY50" fmla="*/ 7876 h 288205"/>
                  <a:gd name="connsiteX51" fmla="*/ 129422 w 275280"/>
                  <a:gd name="connsiteY51" fmla="*/ 5159 h 288205"/>
                  <a:gd name="connsiteX52" fmla="*/ 134334 w 275280"/>
                  <a:gd name="connsiteY52" fmla="*/ 8233 h 288205"/>
                  <a:gd name="connsiteX53" fmla="*/ 141688 w 275280"/>
                  <a:gd name="connsiteY53" fmla="*/ 2031 h 288205"/>
                  <a:gd name="connsiteX54" fmla="*/ 154806 w 275280"/>
                  <a:gd name="connsiteY54" fmla="*/ 0 h 288205"/>
                  <a:gd name="connsiteX55" fmla="*/ 155025 w 275280"/>
                  <a:gd name="connsiteY55" fmla="*/ 247 h 288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75280" h="288205">
                    <a:moveTo>
                      <a:pt x="154999" y="110"/>
                    </a:moveTo>
                    <a:lnTo>
                      <a:pt x="156288" y="7766"/>
                    </a:lnTo>
                    <a:lnTo>
                      <a:pt x="174922" y="35895"/>
                    </a:lnTo>
                    <a:lnTo>
                      <a:pt x="181810" y="53980"/>
                    </a:lnTo>
                    <a:lnTo>
                      <a:pt x="198248" y="66796"/>
                    </a:lnTo>
                    <a:lnTo>
                      <a:pt x="211586" y="72175"/>
                    </a:lnTo>
                    <a:lnTo>
                      <a:pt x="215208" y="83344"/>
                    </a:lnTo>
                    <a:lnTo>
                      <a:pt x="226103" y="85265"/>
                    </a:lnTo>
                    <a:lnTo>
                      <a:pt x="226707" y="102143"/>
                    </a:lnTo>
                    <a:lnTo>
                      <a:pt x="235791" y="116852"/>
                    </a:lnTo>
                    <a:lnTo>
                      <a:pt x="263782" y="124344"/>
                    </a:lnTo>
                    <a:lnTo>
                      <a:pt x="267185" y="131946"/>
                    </a:lnTo>
                    <a:lnTo>
                      <a:pt x="275281" y="137791"/>
                    </a:lnTo>
                    <a:lnTo>
                      <a:pt x="266554" y="138999"/>
                    </a:lnTo>
                    <a:lnTo>
                      <a:pt x="260928" y="146189"/>
                    </a:lnTo>
                    <a:lnTo>
                      <a:pt x="243749" y="151485"/>
                    </a:lnTo>
                    <a:lnTo>
                      <a:pt x="229067" y="168857"/>
                    </a:lnTo>
                    <a:lnTo>
                      <a:pt x="214550" y="177830"/>
                    </a:lnTo>
                    <a:lnTo>
                      <a:pt x="207085" y="184801"/>
                    </a:lnTo>
                    <a:lnTo>
                      <a:pt x="200966" y="203462"/>
                    </a:lnTo>
                    <a:lnTo>
                      <a:pt x="188753" y="215455"/>
                    </a:lnTo>
                    <a:lnTo>
                      <a:pt x="173468" y="220312"/>
                    </a:lnTo>
                    <a:lnTo>
                      <a:pt x="165371" y="245450"/>
                    </a:lnTo>
                    <a:lnTo>
                      <a:pt x="158374" y="251734"/>
                    </a:lnTo>
                    <a:lnTo>
                      <a:pt x="136227" y="254040"/>
                    </a:lnTo>
                    <a:lnTo>
                      <a:pt x="127994" y="252036"/>
                    </a:lnTo>
                    <a:lnTo>
                      <a:pt x="122588" y="248606"/>
                    </a:lnTo>
                    <a:lnTo>
                      <a:pt x="115370" y="247837"/>
                    </a:lnTo>
                    <a:lnTo>
                      <a:pt x="101649" y="237766"/>
                    </a:lnTo>
                    <a:lnTo>
                      <a:pt x="89492" y="238040"/>
                    </a:lnTo>
                    <a:lnTo>
                      <a:pt x="83921" y="244654"/>
                    </a:lnTo>
                    <a:lnTo>
                      <a:pt x="80079" y="260022"/>
                    </a:lnTo>
                    <a:lnTo>
                      <a:pt x="76868" y="265099"/>
                    </a:lnTo>
                    <a:lnTo>
                      <a:pt x="65918" y="272756"/>
                    </a:lnTo>
                    <a:lnTo>
                      <a:pt x="60183" y="280577"/>
                    </a:lnTo>
                    <a:lnTo>
                      <a:pt x="53679" y="282910"/>
                    </a:lnTo>
                    <a:lnTo>
                      <a:pt x="48931" y="288206"/>
                    </a:lnTo>
                    <a:lnTo>
                      <a:pt x="19814" y="287246"/>
                    </a:lnTo>
                    <a:lnTo>
                      <a:pt x="18415" y="276762"/>
                    </a:lnTo>
                    <a:lnTo>
                      <a:pt x="24699" y="264824"/>
                    </a:lnTo>
                    <a:lnTo>
                      <a:pt x="23272" y="255686"/>
                    </a:lnTo>
                    <a:lnTo>
                      <a:pt x="11746" y="230274"/>
                    </a:lnTo>
                    <a:lnTo>
                      <a:pt x="0" y="219846"/>
                    </a:lnTo>
                    <a:lnTo>
                      <a:pt x="0" y="177172"/>
                    </a:lnTo>
                    <a:lnTo>
                      <a:pt x="330" y="132302"/>
                    </a:lnTo>
                    <a:lnTo>
                      <a:pt x="29310" y="130409"/>
                    </a:lnTo>
                    <a:lnTo>
                      <a:pt x="29693" y="17015"/>
                    </a:lnTo>
                    <a:lnTo>
                      <a:pt x="78432" y="8946"/>
                    </a:lnTo>
                    <a:lnTo>
                      <a:pt x="96353" y="6778"/>
                    </a:lnTo>
                    <a:lnTo>
                      <a:pt x="106754" y="21213"/>
                    </a:lnTo>
                    <a:lnTo>
                      <a:pt x="123109" y="7876"/>
                    </a:lnTo>
                    <a:lnTo>
                      <a:pt x="129422" y="5159"/>
                    </a:lnTo>
                    <a:lnTo>
                      <a:pt x="134334" y="8233"/>
                    </a:lnTo>
                    <a:lnTo>
                      <a:pt x="141688" y="2031"/>
                    </a:lnTo>
                    <a:lnTo>
                      <a:pt x="154806" y="0"/>
                    </a:lnTo>
                    <a:lnTo>
                      <a:pt x="155025" y="2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 name="Freeform: Shape 3285">
                <a:extLst>
                  <a:ext uri="{FF2B5EF4-FFF2-40B4-BE49-F238E27FC236}">
                    <a16:creationId xmlns:a16="http://schemas.microsoft.com/office/drawing/2014/main" id="{AD184533-A095-A70A-EE4B-D3DDB01314F8}"/>
                  </a:ext>
                </a:extLst>
              </p:cNvPr>
              <p:cNvSpPr/>
              <p:nvPr/>
            </p:nvSpPr>
            <p:spPr>
              <a:xfrm>
                <a:off x="932847" y="3497891"/>
                <a:ext cx="261757" cy="205616"/>
              </a:xfrm>
              <a:custGeom>
                <a:avLst/>
                <a:gdLst>
                  <a:gd name="connsiteX0" fmla="*/ 1346682 w 2509632"/>
                  <a:gd name="connsiteY0" fmla="*/ 41768 h 1971366"/>
                  <a:gd name="connsiteX1" fmla="*/ 1349755 w 2509632"/>
                  <a:gd name="connsiteY1" fmla="*/ 21543 h 1971366"/>
                  <a:gd name="connsiteX2" fmla="*/ 1352061 w 2509632"/>
                  <a:gd name="connsiteY2" fmla="*/ 17344 h 1971366"/>
                  <a:gd name="connsiteX3" fmla="*/ 1363367 w 2509632"/>
                  <a:gd name="connsiteY3" fmla="*/ 7849 h 1971366"/>
                  <a:gd name="connsiteX4" fmla="*/ 1398192 w 2509632"/>
                  <a:gd name="connsiteY4" fmla="*/ 0 h 1971366"/>
                  <a:gd name="connsiteX5" fmla="*/ 1420696 w 2509632"/>
                  <a:gd name="connsiteY5" fmla="*/ 4803 h 1971366"/>
                  <a:gd name="connsiteX6" fmla="*/ 1436832 w 2509632"/>
                  <a:gd name="connsiteY6" fmla="*/ 17673 h 1971366"/>
                  <a:gd name="connsiteX7" fmla="*/ 1459006 w 2509632"/>
                  <a:gd name="connsiteY7" fmla="*/ 15862 h 1971366"/>
                  <a:gd name="connsiteX8" fmla="*/ 1476734 w 2509632"/>
                  <a:gd name="connsiteY8" fmla="*/ 26702 h 1971366"/>
                  <a:gd name="connsiteX9" fmla="*/ 1483266 w 2509632"/>
                  <a:gd name="connsiteY9" fmla="*/ 30818 h 1971366"/>
                  <a:gd name="connsiteX10" fmla="*/ 1484061 w 2509632"/>
                  <a:gd name="connsiteY10" fmla="*/ 33618 h 1971366"/>
                  <a:gd name="connsiteX11" fmla="*/ 1476734 w 2509632"/>
                  <a:gd name="connsiteY11" fmla="*/ 54666 h 1971366"/>
                  <a:gd name="connsiteX12" fmla="*/ 1450965 w 2509632"/>
                  <a:gd name="connsiteY12" fmla="*/ 120804 h 1971366"/>
                  <a:gd name="connsiteX13" fmla="*/ 1438863 w 2509632"/>
                  <a:gd name="connsiteY13" fmla="*/ 139877 h 1971366"/>
                  <a:gd name="connsiteX14" fmla="*/ 1404779 w 2509632"/>
                  <a:gd name="connsiteY14" fmla="*/ 139740 h 1971366"/>
                  <a:gd name="connsiteX15" fmla="*/ 1391688 w 2509632"/>
                  <a:gd name="connsiteY15" fmla="*/ 144707 h 1971366"/>
                  <a:gd name="connsiteX16" fmla="*/ 1393390 w 2509632"/>
                  <a:gd name="connsiteY16" fmla="*/ 179175 h 1971366"/>
                  <a:gd name="connsiteX17" fmla="*/ 1381205 w 2509632"/>
                  <a:gd name="connsiteY17" fmla="*/ 206069 h 1971366"/>
                  <a:gd name="connsiteX18" fmla="*/ 1372506 w 2509632"/>
                  <a:gd name="connsiteY18" fmla="*/ 217815 h 1971366"/>
                  <a:gd name="connsiteX19" fmla="*/ 1370530 w 2509632"/>
                  <a:gd name="connsiteY19" fmla="*/ 230741 h 1971366"/>
                  <a:gd name="connsiteX20" fmla="*/ 1374893 w 2509632"/>
                  <a:gd name="connsiteY20" fmla="*/ 240949 h 1971366"/>
                  <a:gd name="connsiteX21" fmla="*/ 1389520 w 2509632"/>
                  <a:gd name="connsiteY21" fmla="*/ 244517 h 1971366"/>
                  <a:gd name="connsiteX22" fmla="*/ 1408127 w 2509632"/>
                  <a:gd name="connsiteY22" fmla="*/ 273826 h 1971366"/>
                  <a:gd name="connsiteX23" fmla="*/ 1414795 w 2509632"/>
                  <a:gd name="connsiteY23" fmla="*/ 296110 h 1971366"/>
                  <a:gd name="connsiteX24" fmla="*/ 1419708 w 2509632"/>
                  <a:gd name="connsiteY24" fmla="*/ 327834 h 1971366"/>
                  <a:gd name="connsiteX25" fmla="*/ 1448029 w 2509632"/>
                  <a:gd name="connsiteY25" fmla="*/ 375146 h 1971366"/>
                  <a:gd name="connsiteX26" fmla="*/ 1446080 w 2509632"/>
                  <a:gd name="connsiteY26" fmla="*/ 382720 h 1971366"/>
                  <a:gd name="connsiteX27" fmla="*/ 1435734 w 2509632"/>
                  <a:gd name="connsiteY27" fmla="*/ 386068 h 1971366"/>
                  <a:gd name="connsiteX28" fmla="*/ 1436997 w 2509632"/>
                  <a:gd name="connsiteY28" fmla="*/ 398362 h 1971366"/>
                  <a:gd name="connsiteX29" fmla="*/ 1427337 w 2509632"/>
                  <a:gd name="connsiteY29" fmla="*/ 415404 h 1971366"/>
                  <a:gd name="connsiteX30" fmla="*/ 1426815 w 2509632"/>
                  <a:gd name="connsiteY30" fmla="*/ 423994 h 1971366"/>
                  <a:gd name="connsiteX31" fmla="*/ 1446190 w 2509632"/>
                  <a:gd name="connsiteY31" fmla="*/ 437029 h 1971366"/>
                  <a:gd name="connsiteX32" fmla="*/ 1469132 w 2509632"/>
                  <a:gd name="connsiteY32" fmla="*/ 430745 h 1971366"/>
                  <a:gd name="connsiteX33" fmla="*/ 1476762 w 2509632"/>
                  <a:gd name="connsiteY33" fmla="*/ 436069 h 1971366"/>
                  <a:gd name="connsiteX34" fmla="*/ 1486312 w 2509632"/>
                  <a:gd name="connsiteY34" fmla="*/ 448967 h 1971366"/>
                  <a:gd name="connsiteX35" fmla="*/ 1492239 w 2509632"/>
                  <a:gd name="connsiteY35" fmla="*/ 450422 h 1971366"/>
                  <a:gd name="connsiteX36" fmla="*/ 1490703 w 2509632"/>
                  <a:gd name="connsiteY36" fmla="*/ 458078 h 1971366"/>
                  <a:gd name="connsiteX37" fmla="*/ 1480631 w 2509632"/>
                  <a:gd name="connsiteY37" fmla="*/ 469961 h 1971366"/>
                  <a:gd name="connsiteX38" fmla="*/ 1485681 w 2509632"/>
                  <a:gd name="connsiteY38" fmla="*/ 495593 h 1971366"/>
                  <a:gd name="connsiteX39" fmla="*/ 1486284 w 2509632"/>
                  <a:gd name="connsiteY39" fmla="*/ 523914 h 1971366"/>
                  <a:gd name="connsiteX40" fmla="*/ 1491855 w 2509632"/>
                  <a:gd name="connsiteY40" fmla="*/ 532394 h 1971366"/>
                  <a:gd name="connsiteX41" fmla="*/ 1498332 w 2509632"/>
                  <a:gd name="connsiteY41" fmla="*/ 530116 h 1971366"/>
                  <a:gd name="connsiteX42" fmla="*/ 1502695 w 2509632"/>
                  <a:gd name="connsiteY42" fmla="*/ 504731 h 1971366"/>
                  <a:gd name="connsiteX43" fmla="*/ 1514743 w 2509632"/>
                  <a:gd name="connsiteY43" fmla="*/ 474462 h 1971366"/>
                  <a:gd name="connsiteX44" fmla="*/ 1521055 w 2509632"/>
                  <a:gd name="connsiteY44" fmla="*/ 466201 h 1971366"/>
                  <a:gd name="connsiteX45" fmla="*/ 1533239 w 2509632"/>
                  <a:gd name="connsiteY45" fmla="*/ 469000 h 1971366"/>
                  <a:gd name="connsiteX46" fmla="*/ 1553300 w 2509632"/>
                  <a:gd name="connsiteY46" fmla="*/ 492931 h 1971366"/>
                  <a:gd name="connsiteX47" fmla="*/ 1559063 w 2509632"/>
                  <a:gd name="connsiteY47" fmla="*/ 506899 h 1971366"/>
                  <a:gd name="connsiteX48" fmla="*/ 1561862 w 2509632"/>
                  <a:gd name="connsiteY48" fmla="*/ 533135 h 1971366"/>
                  <a:gd name="connsiteX49" fmla="*/ 1559173 w 2509632"/>
                  <a:gd name="connsiteY49" fmla="*/ 540435 h 1971366"/>
                  <a:gd name="connsiteX50" fmla="*/ 1551681 w 2509632"/>
                  <a:gd name="connsiteY50" fmla="*/ 545676 h 1971366"/>
                  <a:gd name="connsiteX51" fmla="*/ 1551791 w 2509632"/>
                  <a:gd name="connsiteY51" fmla="*/ 570347 h 1971366"/>
                  <a:gd name="connsiteX52" fmla="*/ 1559996 w 2509632"/>
                  <a:gd name="connsiteY52" fmla="*/ 591808 h 1971366"/>
                  <a:gd name="connsiteX53" fmla="*/ 1583762 w 2509632"/>
                  <a:gd name="connsiteY53" fmla="*/ 621007 h 1971366"/>
                  <a:gd name="connsiteX54" fmla="*/ 1601133 w 2509632"/>
                  <a:gd name="connsiteY54" fmla="*/ 600041 h 1971366"/>
                  <a:gd name="connsiteX55" fmla="*/ 1600557 w 2509632"/>
                  <a:gd name="connsiteY55" fmla="*/ 585414 h 1971366"/>
                  <a:gd name="connsiteX56" fmla="*/ 1592598 w 2509632"/>
                  <a:gd name="connsiteY56" fmla="*/ 566505 h 1971366"/>
                  <a:gd name="connsiteX57" fmla="*/ 1593751 w 2509632"/>
                  <a:gd name="connsiteY57" fmla="*/ 552482 h 1971366"/>
                  <a:gd name="connsiteX58" fmla="*/ 1602505 w 2509632"/>
                  <a:gd name="connsiteY58" fmla="*/ 550095 h 1971366"/>
                  <a:gd name="connsiteX59" fmla="*/ 1612851 w 2509632"/>
                  <a:gd name="connsiteY59" fmla="*/ 566313 h 1971366"/>
                  <a:gd name="connsiteX60" fmla="*/ 1621139 w 2509632"/>
                  <a:gd name="connsiteY60" fmla="*/ 551000 h 1971366"/>
                  <a:gd name="connsiteX61" fmla="*/ 1630442 w 2509632"/>
                  <a:gd name="connsiteY61" fmla="*/ 509561 h 1971366"/>
                  <a:gd name="connsiteX62" fmla="*/ 1644438 w 2509632"/>
                  <a:gd name="connsiteY62" fmla="*/ 493589 h 1971366"/>
                  <a:gd name="connsiteX63" fmla="*/ 1645069 w 2509632"/>
                  <a:gd name="connsiteY63" fmla="*/ 481679 h 1971366"/>
                  <a:gd name="connsiteX64" fmla="*/ 1638785 w 2509632"/>
                  <a:gd name="connsiteY64" fmla="*/ 470235 h 1971366"/>
                  <a:gd name="connsiteX65" fmla="*/ 1634668 w 2509632"/>
                  <a:gd name="connsiteY65" fmla="*/ 450778 h 1971366"/>
                  <a:gd name="connsiteX66" fmla="*/ 1634147 w 2509632"/>
                  <a:gd name="connsiteY66" fmla="*/ 431019 h 1971366"/>
                  <a:gd name="connsiteX67" fmla="*/ 1637193 w 2509632"/>
                  <a:gd name="connsiteY67" fmla="*/ 416941 h 1971366"/>
                  <a:gd name="connsiteX68" fmla="*/ 1663346 w 2509632"/>
                  <a:gd name="connsiteY68" fmla="*/ 412084 h 1971366"/>
                  <a:gd name="connsiteX69" fmla="*/ 1693396 w 2509632"/>
                  <a:gd name="connsiteY69" fmla="*/ 422320 h 1971366"/>
                  <a:gd name="connsiteX70" fmla="*/ 1707502 w 2509632"/>
                  <a:gd name="connsiteY70" fmla="*/ 420811 h 1971366"/>
                  <a:gd name="connsiteX71" fmla="*/ 1710740 w 2509632"/>
                  <a:gd name="connsiteY71" fmla="*/ 416667 h 1971366"/>
                  <a:gd name="connsiteX72" fmla="*/ 1709231 w 2509632"/>
                  <a:gd name="connsiteY72" fmla="*/ 407062 h 1971366"/>
                  <a:gd name="connsiteX73" fmla="*/ 1699846 w 2509632"/>
                  <a:gd name="connsiteY73" fmla="*/ 399185 h 1971366"/>
                  <a:gd name="connsiteX74" fmla="*/ 1680498 w 2509632"/>
                  <a:gd name="connsiteY74" fmla="*/ 400174 h 1971366"/>
                  <a:gd name="connsiteX75" fmla="*/ 1642188 w 2509632"/>
                  <a:gd name="connsiteY75" fmla="*/ 391831 h 1971366"/>
                  <a:gd name="connsiteX76" fmla="*/ 1623938 w 2509632"/>
                  <a:gd name="connsiteY76" fmla="*/ 394767 h 1971366"/>
                  <a:gd name="connsiteX77" fmla="*/ 1593449 w 2509632"/>
                  <a:gd name="connsiteY77" fmla="*/ 366364 h 1971366"/>
                  <a:gd name="connsiteX78" fmla="*/ 1560216 w 2509632"/>
                  <a:gd name="connsiteY78" fmla="*/ 372977 h 1971366"/>
                  <a:gd name="connsiteX79" fmla="*/ 1531400 w 2509632"/>
                  <a:gd name="connsiteY79" fmla="*/ 345315 h 1971366"/>
                  <a:gd name="connsiteX80" fmla="*/ 1523140 w 2509632"/>
                  <a:gd name="connsiteY80" fmla="*/ 329371 h 1971366"/>
                  <a:gd name="connsiteX81" fmla="*/ 1522015 w 2509632"/>
                  <a:gd name="connsiteY81" fmla="*/ 316527 h 1971366"/>
                  <a:gd name="connsiteX82" fmla="*/ 1523799 w 2509632"/>
                  <a:gd name="connsiteY82" fmla="*/ 311615 h 1971366"/>
                  <a:gd name="connsiteX83" fmla="*/ 1540621 w 2509632"/>
                  <a:gd name="connsiteY83" fmla="*/ 307526 h 1971366"/>
                  <a:gd name="connsiteX84" fmla="*/ 1561258 w 2509632"/>
                  <a:gd name="connsiteY84" fmla="*/ 314167 h 1971366"/>
                  <a:gd name="connsiteX85" fmla="*/ 1573690 w 2509632"/>
                  <a:gd name="connsiteY85" fmla="*/ 307608 h 1971366"/>
                  <a:gd name="connsiteX86" fmla="*/ 1560518 w 2509632"/>
                  <a:gd name="connsiteY86" fmla="*/ 288618 h 1971366"/>
                  <a:gd name="connsiteX87" fmla="*/ 1510324 w 2509632"/>
                  <a:gd name="connsiteY87" fmla="*/ 278189 h 1971366"/>
                  <a:gd name="connsiteX88" fmla="*/ 1503656 w 2509632"/>
                  <a:gd name="connsiteY88" fmla="*/ 264934 h 1971366"/>
                  <a:gd name="connsiteX89" fmla="*/ 1500884 w 2509632"/>
                  <a:gd name="connsiteY89" fmla="*/ 225911 h 1971366"/>
                  <a:gd name="connsiteX90" fmla="*/ 1505549 w 2509632"/>
                  <a:gd name="connsiteY90" fmla="*/ 202584 h 1971366"/>
                  <a:gd name="connsiteX91" fmla="*/ 1505604 w 2509632"/>
                  <a:gd name="connsiteY91" fmla="*/ 175223 h 1971366"/>
                  <a:gd name="connsiteX92" fmla="*/ 1518557 w 2509632"/>
                  <a:gd name="connsiteY92" fmla="*/ 136145 h 1971366"/>
                  <a:gd name="connsiteX93" fmla="*/ 1526406 w 2509632"/>
                  <a:gd name="connsiteY93" fmla="*/ 103817 h 1971366"/>
                  <a:gd name="connsiteX94" fmla="*/ 1540566 w 2509632"/>
                  <a:gd name="connsiteY94" fmla="*/ 76785 h 1971366"/>
                  <a:gd name="connsiteX95" fmla="*/ 1564799 w 2509632"/>
                  <a:gd name="connsiteY95" fmla="*/ 50632 h 1971366"/>
                  <a:gd name="connsiteX96" fmla="*/ 1601106 w 2509632"/>
                  <a:gd name="connsiteY96" fmla="*/ 34084 h 1971366"/>
                  <a:gd name="connsiteX97" fmla="*/ 1632446 w 2509632"/>
                  <a:gd name="connsiteY97" fmla="*/ 35264 h 1971366"/>
                  <a:gd name="connsiteX98" fmla="*/ 1644191 w 2509632"/>
                  <a:gd name="connsiteY98" fmla="*/ 44018 h 1971366"/>
                  <a:gd name="connsiteX99" fmla="*/ 1641255 w 2509632"/>
                  <a:gd name="connsiteY99" fmla="*/ 59167 h 1971366"/>
                  <a:gd name="connsiteX100" fmla="*/ 1612604 w 2509632"/>
                  <a:gd name="connsiteY100" fmla="*/ 100084 h 1971366"/>
                  <a:gd name="connsiteX101" fmla="*/ 1601819 w 2509632"/>
                  <a:gd name="connsiteY101" fmla="*/ 127088 h 1971366"/>
                  <a:gd name="connsiteX102" fmla="*/ 1599130 w 2509632"/>
                  <a:gd name="connsiteY102" fmla="*/ 145393 h 1971366"/>
                  <a:gd name="connsiteX103" fmla="*/ 1606155 w 2509632"/>
                  <a:gd name="connsiteY103" fmla="*/ 175004 h 1971366"/>
                  <a:gd name="connsiteX104" fmla="*/ 1606924 w 2509632"/>
                  <a:gd name="connsiteY104" fmla="*/ 202063 h 1971366"/>
                  <a:gd name="connsiteX105" fmla="*/ 1610162 w 2509632"/>
                  <a:gd name="connsiteY105" fmla="*/ 220696 h 1971366"/>
                  <a:gd name="connsiteX106" fmla="*/ 1631759 w 2509632"/>
                  <a:gd name="connsiteY106" fmla="*/ 258129 h 1971366"/>
                  <a:gd name="connsiteX107" fmla="*/ 1646579 w 2509632"/>
                  <a:gd name="connsiteY107" fmla="*/ 275033 h 1971366"/>
                  <a:gd name="connsiteX108" fmla="*/ 1647484 w 2509632"/>
                  <a:gd name="connsiteY108" fmla="*/ 280604 h 1971366"/>
                  <a:gd name="connsiteX109" fmla="*/ 1645673 w 2509632"/>
                  <a:gd name="connsiteY109" fmla="*/ 291499 h 1971366"/>
                  <a:gd name="connsiteX110" fmla="*/ 1651024 w 2509632"/>
                  <a:gd name="connsiteY110" fmla="*/ 303135 h 1971366"/>
                  <a:gd name="connsiteX111" fmla="*/ 1656952 w 2509632"/>
                  <a:gd name="connsiteY111" fmla="*/ 273661 h 1971366"/>
                  <a:gd name="connsiteX112" fmla="*/ 1656129 w 2509632"/>
                  <a:gd name="connsiteY112" fmla="*/ 257278 h 1971366"/>
                  <a:gd name="connsiteX113" fmla="*/ 1651656 w 2509632"/>
                  <a:gd name="connsiteY113" fmla="*/ 249347 h 1971366"/>
                  <a:gd name="connsiteX114" fmla="*/ 1638209 w 2509632"/>
                  <a:gd name="connsiteY114" fmla="*/ 241828 h 1971366"/>
                  <a:gd name="connsiteX115" fmla="*/ 1627670 w 2509632"/>
                  <a:gd name="connsiteY115" fmla="*/ 218885 h 1971366"/>
                  <a:gd name="connsiteX116" fmla="*/ 1635848 w 2509632"/>
                  <a:gd name="connsiteY116" fmla="*/ 198330 h 1971366"/>
                  <a:gd name="connsiteX117" fmla="*/ 1647677 w 2509632"/>
                  <a:gd name="connsiteY117" fmla="*/ 195174 h 1971366"/>
                  <a:gd name="connsiteX118" fmla="*/ 1649817 w 2509632"/>
                  <a:gd name="connsiteY118" fmla="*/ 189878 h 1971366"/>
                  <a:gd name="connsiteX119" fmla="*/ 1632308 w 2509632"/>
                  <a:gd name="connsiteY119" fmla="*/ 164960 h 1971366"/>
                  <a:gd name="connsiteX120" fmla="*/ 1629344 w 2509632"/>
                  <a:gd name="connsiteY120" fmla="*/ 150964 h 1971366"/>
                  <a:gd name="connsiteX121" fmla="*/ 1630360 w 2509632"/>
                  <a:gd name="connsiteY121" fmla="*/ 135733 h 1971366"/>
                  <a:gd name="connsiteX122" fmla="*/ 1638181 w 2509632"/>
                  <a:gd name="connsiteY122" fmla="*/ 125277 h 1971366"/>
                  <a:gd name="connsiteX123" fmla="*/ 1640541 w 2509632"/>
                  <a:gd name="connsiteY123" fmla="*/ 110293 h 1971366"/>
                  <a:gd name="connsiteX124" fmla="*/ 1647045 w 2509632"/>
                  <a:gd name="connsiteY124" fmla="*/ 105024 h 1971366"/>
                  <a:gd name="connsiteX125" fmla="*/ 1647539 w 2509632"/>
                  <a:gd name="connsiteY125" fmla="*/ 93251 h 1971366"/>
                  <a:gd name="connsiteX126" fmla="*/ 1650915 w 2509632"/>
                  <a:gd name="connsiteY126" fmla="*/ 85814 h 1971366"/>
                  <a:gd name="connsiteX127" fmla="*/ 1669960 w 2509632"/>
                  <a:gd name="connsiteY127" fmla="*/ 74645 h 1971366"/>
                  <a:gd name="connsiteX128" fmla="*/ 1681541 w 2509632"/>
                  <a:gd name="connsiteY128" fmla="*/ 76044 h 1971366"/>
                  <a:gd name="connsiteX129" fmla="*/ 1688457 w 2509632"/>
                  <a:gd name="connsiteY129" fmla="*/ 62460 h 1971366"/>
                  <a:gd name="connsiteX130" fmla="*/ 1708792 w 2509632"/>
                  <a:gd name="connsiteY130" fmla="*/ 47586 h 1971366"/>
                  <a:gd name="connsiteX131" fmla="*/ 1740763 w 2509632"/>
                  <a:gd name="connsiteY131" fmla="*/ 47723 h 1971366"/>
                  <a:gd name="connsiteX132" fmla="*/ 1754814 w 2509632"/>
                  <a:gd name="connsiteY132" fmla="*/ 63997 h 1971366"/>
                  <a:gd name="connsiteX133" fmla="*/ 1763129 w 2509632"/>
                  <a:gd name="connsiteY133" fmla="*/ 91769 h 1971366"/>
                  <a:gd name="connsiteX134" fmla="*/ 1775286 w 2509632"/>
                  <a:gd name="connsiteY134" fmla="*/ 110540 h 1971366"/>
                  <a:gd name="connsiteX135" fmla="*/ 1780747 w 2509632"/>
                  <a:gd name="connsiteY135" fmla="*/ 135404 h 1971366"/>
                  <a:gd name="connsiteX136" fmla="*/ 1770346 w 2509632"/>
                  <a:gd name="connsiteY136" fmla="*/ 204670 h 1971366"/>
                  <a:gd name="connsiteX137" fmla="*/ 1771966 w 2509632"/>
                  <a:gd name="connsiteY137" fmla="*/ 215098 h 1971366"/>
                  <a:gd name="connsiteX138" fmla="*/ 1781708 w 2509632"/>
                  <a:gd name="connsiteY138" fmla="*/ 207990 h 1971366"/>
                  <a:gd name="connsiteX139" fmla="*/ 1795374 w 2509632"/>
                  <a:gd name="connsiteY139" fmla="*/ 174318 h 1971366"/>
                  <a:gd name="connsiteX140" fmla="*/ 1838926 w 2509632"/>
                  <a:gd name="connsiteY140" fmla="*/ 186146 h 1971366"/>
                  <a:gd name="connsiteX141" fmla="*/ 1841287 w 2509632"/>
                  <a:gd name="connsiteY141" fmla="*/ 181453 h 1971366"/>
                  <a:gd name="connsiteX142" fmla="*/ 1842192 w 2509632"/>
                  <a:gd name="connsiteY142" fmla="*/ 166908 h 1971366"/>
                  <a:gd name="connsiteX143" fmla="*/ 1846693 w 2509632"/>
                  <a:gd name="connsiteY143" fmla="*/ 158675 h 1971366"/>
                  <a:gd name="connsiteX144" fmla="*/ 1865683 w 2509632"/>
                  <a:gd name="connsiteY144" fmla="*/ 146408 h 1971366"/>
                  <a:gd name="connsiteX145" fmla="*/ 1886074 w 2509632"/>
                  <a:gd name="connsiteY145" fmla="*/ 148192 h 1971366"/>
                  <a:gd name="connsiteX146" fmla="*/ 1907424 w 2509632"/>
                  <a:gd name="connsiteY146" fmla="*/ 163807 h 1971366"/>
                  <a:gd name="connsiteX147" fmla="*/ 1930229 w 2509632"/>
                  <a:gd name="connsiteY147" fmla="*/ 169433 h 1971366"/>
                  <a:gd name="connsiteX148" fmla="*/ 1937776 w 2509632"/>
                  <a:gd name="connsiteY148" fmla="*/ 186996 h 1971366"/>
                  <a:gd name="connsiteX149" fmla="*/ 1937447 w 2509632"/>
                  <a:gd name="connsiteY149" fmla="*/ 207304 h 1971366"/>
                  <a:gd name="connsiteX150" fmla="*/ 1948753 w 2509632"/>
                  <a:gd name="connsiteY150" fmla="*/ 209088 h 1971366"/>
                  <a:gd name="connsiteX151" fmla="*/ 1962420 w 2509632"/>
                  <a:gd name="connsiteY151" fmla="*/ 220093 h 1971366"/>
                  <a:gd name="connsiteX152" fmla="*/ 1960472 w 2509632"/>
                  <a:gd name="connsiteY152" fmla="*/ 232222 h 1971366"/>
                  <a:gd name="connsiteX153" fmla="*/ 1946558 w 2509632"/>
                  <a:gd name="connsiteY153" fmla="*/ 248441 h 1971366"/>
                  <a:gd name="connsiteX154" fmla="*/ 1949906 w 2509632"/>
                  <a:gd name="connsiteY154" fmla="*/ 263562 h 1971366"/>
                  <a:gd name="connsiteX155" fmla="*/ 1961020 w 2509632"/>
                  <a:gd name="connsiteY155" fmla="*/ 249182 h 1971366"/>
                  <a:gd name="connsiteX156" fmla="*/ 1972519 w 2509632"/>
                  <a:gd name="connsiteY156" fmla="*/ 244462 h 1971366"/>
                  <a:gd name="connsiteX157" fmla="*/ 1975593 w 2509632"/>
                  <a:gd name="connsiteY157" fmla="*/ 248963 h 1971366"/>
                  <a:gd name="connsiteX158" fmla="*/ 1975373 w 2509632"/>
                  <a:gd name="connsiteY158" fmla="*/ 262218 h 1971366"/>
                  <a:gd name="connsiteX159" fmla="*/ 1982234 w 2509632"/>
                  <a:gd name="connsiteY159" fmla="*/ 266142 h 1971366"/>
                  <a:gd name="connsiteX160" fmla="*/ 1985499 w 2509632"/>
                  <a:gd name="connsiteY160" fmla="*/ 280495 h 1971366"/>
                  <a:gd name="connsiteX161" fmla="*/ 1993485 w 2509632"/>
                  <a:gd name="connsiteY161" fmla="*/ 265044 h 1971366"/>
                  <a:gd name="connsiteX162" fmla="*/ 2006713 w 2509632"/>
                  <a:gd name="connsiteY162" fmla="*/ 253957 h 1971366"/>
                  <a:gd name="connsiteX163" fmla="*/ 2019007 w 2509632"/>
                  <a:gd name="connsiteY163" fmla="*/ 254918 h 1971366"/>
                  <a:gd name="connsiteX164" fmla="*/ 2042114 w 2509632"/>
                  <a:gd name="connsiteY164" fmla="*/ 269270 h 1971366"/>
                  <a:gd name="connsiteX165" fmla="*/ 2048810 w 2509632"/>
                  <a:gd name="connsiteY165" fmla="*/ 284913 h 1971366"/>
                  <a:gd name="connsiteX166" fmla="*/ 2043706 w 2509632"/>
                  <a:gd name="connsiteY166" fmla="*/ 303135 h 1971366"/>
                  <a:gd name="connsiteX167" fmla="*/ 2044337 w 2509632"/>
                  <a:gd name="connsiteY167" fmla="*/ 317872 h 1971366"/>
                  <a:gd name="connsiteX168" fmla="*/ 2050045 w 2509632"/>
                  <a:gd name="connsiteY168" fmla="*/ 317488 h 1971366"/>
                  <a:gd name="connsiteX169" fmla="*/ 2061407 w 2509632"/>
                  <a:gd name="connsiteY169" fmla="*/ 306483 h 1971366"/>
                  <a:gd name="connsiteX170" fmla="*/ 2067801 w 2509632"/>
                  <a:gd name="connsiteY170" fmla="*/ 313756 h 1971366"/>
                  <a:gd name="connsiteX171" fmla="*/ 2064810 w 2509632"/>
                  <a:gd name="connsiteY171" fmla="*/ 328575 h 1971366"/>
                  <a:gd name="connsiteX172" fmla="*/ 2053256 w 2509632"/>
                  <a:gd name="connsiteY172" fmla="*/ 347922 h 1971366"/>
                  <a:gd name="connsiteX173" fmla="*/ 2052872 w 2509632"/>
                  <a:gd name="connsiteY173" fmla="*/ 362796 h 1971366"/>
                  <a:gd name="connsiteX174" fmla="*/ 2063218 w 2509632"/>
                  <a:gd name="connsiteY174" fmla="*/ 342571 h 1971366"/>
                  <a:gd name="connsiteX175" fmla="*/ 2084486 w 2509632"/>
                  <a:gd name="connsiteY175" fmla="*/ 327806 h 1971366"/>
                  <a:gd name="connsiteX176" fmla="*/ 2087780 w 2509632"/>
                  <a:gd name="connsiteY176" fmla="*/ 329124 h 1971366"/>
                  <a:gd name="connsiteX177" fmla="*/ 2090881 w 2509632"/>
                  <a:gd name="connsiteY177" fmla="*/ 339113 h 1971366"/>
                  <a:gd name="connsiteX178" fmla="*/ 2110008 w 2509632"/>
                  <a:gd name="connsiteY178" fmla="*/ 332993 h 1971366"/>
                  <a:gd name="connsiteX179" fmla="*/ 2131524 w 2509632"/>
                  <a:gd name="connsiteY179" fmla="*/ 348910 h 1971366"/>
                  <a:gd name="connsiteX180" fmla="*/ 2133033 w 2509632"/>
                  <a:gd name="connsiteY180" fmla="*/ 355414 h 1971366"/>
                  <a:gd name="connsiteX181" fmla="*/ 2129465 w 2509632"/>
                  <a:gd name="connsiteY181" fmla="*/ 363455 h 1971366"/>
                  <a:gd name="connsiteX182" fmla="*/ 2100129 w 2509632"/>
                  <a:gd name="connsiteY182" fmla="*/ 381073 h 1971366"/>
                  <a:gd name="connsiteX183" fmla="*/ 2096945 w 2509632"/>
                  <a:gd name="connsiteY183" fmla="*/ 389141 h 1971366"/>
                  <a:gd name="connsiteX184" fmla="*/ 2118927 w 2509632"/>
                  <a:gd name="connsiteY184" fmla="*/ 386123 h 1971366"/>
                  <a:gd name="connsiteX185" fmla="*/ 2121177 w 2509632"/>
                  <a:gd name="connsiteY185" fmla="*/ 389526 h 1971366"/>
                  <a:gd name="connsiteX186" fmla="*/ 2121480 w 2509632"/>
                  <a:gd name="connsiteY186" fmla="*/ 398307 h 1971366"/>
                  <a:gd name="connsiteX187" fmla="*/ 2123428 w 2509632"/>
                  <a:gd name="connsiteY187" fmla="*/ 399707 h 1971366"/>
                  <a:gd name="connsiteX188" fmla="*/ 2135009 w 2509632"/>
                  <a:gd name="connsiteY188" fmla="*/ 391117 h 1971366"/>
                  <a:gd name="connsiteX189" fmla="*/ 2144010 w 2509632"/>
                  <a:gd name="connsiteY189" fmla="*/ 375255 h 1971366"/>
                  <a:gd name="connsiteX190" fmla="*/ 2152024 w 2509632"/>
                  <a:gd name="connsiteY190" fmla="*/ 377615 h 1971366"/>
                  <a:gd name="connsiteX191" fmla="*/ 2164071 w 2509632"/>
                  <a:gd name="connsiteY191" fmla="*/ 394438 h 1971366"/>
                  <a:gd name="connsiteX192" fmla="*/ 2166925 w 2509632"/>
                  <a:gd name="connsiteY192" fmla="*/ 417353 h 1971366"/>
                  <a:gd name="connsiteX193" fmla="*/ 2146535 w 2509632"/>
                  <a:gd name="connsiteY193" fmla="*/ 421222 h 1971366"/>
                  <a:gd name="connsiteX194" fmla="*/ 2141019 w 2509632"/>
                  <a:gd name="connsiteY194" fmla="*/ 433599 h 1971366"/>
                  <a:gd name="connsiteX195" fmla="*/ 2149581 w 2509632"/>
                  <a:gd name="connsiteY195" fmla="*/ 427287 h 1971366"/>
                  <a:gd name="connsiteX196" fmla="*/ 2151118 w 2509632"/>
                  <a:gd name="connsiteY196" fmla="*/ 438978 h 1971366"/>
                  <a:gd name="connsiteX197" fmla="*/ 2164620 w 2509632"/>
                  <a:gd name="connsiteY197" fmla="*/ 439637 h 1971366"/>
                  <a:gd name="connsiteX198" fmla="*/ 2177683 w 2509632"/>
                  <a:gd name="connsiteY198" fmla="*/ 451547 h 1971366"/>
                  <a:gd name="connsiteX199" fmla="*/ 2181195 w 2509632"/>
                  <a:gd name="connsiteY199" fmla="*/ 460658 h 1971366"/>
                  <a:gd name="connsiteX200" fmla="*/ 2175570 w 2509632"/>
                  <a:gd name="connsiteY200" fmla="*/ 467546 h 1971366"/>
                  <a:gd name="connsiteX201" fmla="*/ 2147139 w 2509632"/>
                  <a:gd name="connsiteY201" fmla="*/ 461563 h 1971366"/>
                  <a:gd name="connsiteX202" fmla="*/ 2137534 w 2509632"/>
                  <a:gd name="connsiteY202" fmla="*/ 465104 h 1971366"/>
                  <a:gd name="connsiteX203" fmla="*/ 2137479 w 2509632"/>
                  <a:gd name="connsiteY203" fmla="*/ 471553 h 1971366"/>
                  <a:gd name="connsiteX204" fmla="*/ 2144477 w 2509632"/>
                  <a:gd name="connsiteY204" fmla="*/ 482502 h 1971366"/>
                  <a:gd name="connsiteX205" fmla="*/ 2135174 w 2509632"/>
                  <a:gd name="connsiteY205" fmla="*/ 499544 h 1971366"/>
                  <a:gd name="connsiteX206" fmla="*/ 2139235 w 2509632"/>
                  <a:gd name="connsiteY206" fmla="*/ 515050 h 1971366"/>
                  <a:gd name="connsiteX207" fmla="*/ 2166184 w 2509632"/>
                  <a:gd name="connsiteY207" fmla="*/ 528250 h 1971366"/>
                  <a:gd name="connsiteX208" fmla="*/ 2185477 w 2509632"/>
                  <a:gd name="connsiteY208" fmla="*/ 551247 h 1971366"/>
                  <a:gd name="connsiteX209" fmla="*/ 2193353 w 2509632"/>
                  <a:gd name="connsiteY209" fmla="*/ 550314 h 1971366"/>
                  <a:gd name="connsiteX210" fmla="*/ 2197853 w 2509632"/>
                  <a:gd name="connsiteY210" fmla="*/ 565572 h 1971366"/>
                  <a:gd name="connsiteX211" fmla="*/ 2205921 w 2509632"/>
                  <a:gd name="connsiteY211" fmla="*/ 571226 h 1971366"/>
                  <a:gd name="connsiteX212" fmla="*/ 2235944 w 2509632"/>
                  <a:gd name="connsiteY212" fmla="*/ 565161 h 1971366"/>
                  <a:gd name="connsiteX213" fmla="*/ 2240362 w 2509632"/>
                  <a:gd name="connsiteY213" fmla="*/ 578690 h 1971366"/>
                  <a:gd name="connsiteX214" fmla="*/ 2249693 w 2509632"/>
                  <a:gd name="connsiteY214" fmla="*/ 581517 h 1971366"/>
                  <a:gd name="connsiteX215" fmla="*/ 2266598 w 2509632"/>
                  <a:gd name="connsiteY215" fmla="*/ 596446 h 1971366"/>
                  <a:gd name="connsiteX216" fmla="*/ 2265281 w 2509632"/>
                  <a:gd name="connsiteY216" fmla="*/ 612445 h 1971366"/>
                  <a:gd name="connsiteX217" fmla="*/ 2267805 w 2509632"/>
                  <a:gd name="connsiteY217" fmla="*/ 621940 h 1971366"/>
                  <a:gd name="connsiteX218" fmla="*/ 2278563 w 2509632"/>
                  <a:gd name="connsiteY218" fmla="*/ 624822 h 1971366"/>
                  <a:gd name="connsiteX219" fmla="*/ 2290144 w 2509632"/>
                  <a:gd name="connsiteY219" fmla="*/ 621721 h 1971366"/>
                  <a:gd name="connsiteX220" fmla="*/ 2286302 w 2509632"/>
                  <a:gd name="connsiteY220" fmla="*/ 644992 h 1971366"/>
                  <a:gd name="connsiteX221" fmla="*/ 2292669 w 2509632"/>
                  <a:gd name="connsiteY221" fmla="*/ 641809 h 1971366"/>
                  <a:gd name="connsiteX222" fmla="*/ 2302274 w 2509632"/>
                  <a:gd name="connsiteY222" fmla="*/ 649575 h 1971366"/>
                  <a:gd name="connsiteX223" fmla="*/ 2321950 w 2509632"/>
                  <a:gd name="connsiteY223" fmla="*/ 640684 h 1971366"/>
                  <a:gd name="connsiteX224" fmla="*/ 2331309 w 2509632"/>
                  <a:gd name="connsiteY224" fmla="*/ 648148 h 1971366"/>
                  <a:gd name="connsiteX225" fmla="*/ 2339212 w 2509632"/>
                  <a:gd name="connsiteY225" fmla="*/ 662309 h 1971366"/>
                  <a:gd name="connsiteX226" fmla="*/ 2338855 w 2509632"/>
                  <a:gd name="connsiteY226" fmla="*/ 668017 h 1971366"/>
                  <a:gd name="connsiteX227" fmla="*/ 2330897 w 2509632"/>
                  <a:gd name="connsiteY227" fmla="*/ 687721 h 1971366"/>
                  <a:gd name="connsiteX228" fmla="*/ 2314459 w 2509632"/>
                  <a:gd name="connsiteY228" fmla="*/ 691097 h 1971366"/>
                  <a:gd name="connsiteX229" fmla="*/ 2314019 w 2509632"/>
                  <a:gd name="connsiteY229" fmla="*/ 700070 h 1971366"/>
                  <a:gd name="connsiteX230" fmla="*/ 2316187 w 2509632"/>
                  <a:gd name="connsiteY230" fmla="*/ 709922 h 1971366"/>
                  <a:gd name="connsiteX231" fmla="*/ 2303042 w 2509632"/>
                  <a:gd name="connsiteY231" fmla="*/ 738765 h 1971366"/>
                  <a:gd name="connsiteX232" fmla="*/ 2293711 w 2509632"/>
                  <a:gd name="connsiteY232" fmla="*/ 741399 h 1971366"/>
                  <a:gd name="connsiteX233" fmla="*/ 2282625 w 2509632"/>
                  <a:gd name="connsiteY233" fmla="*/ 738490 h 1971366"/>
                  <a:gd name="connsiteX234" fmla="*/ 2280731 w 2509632"/>
                  <a:gd name="connsiteY234" fmla="*/ 748644 h 1971366"/>
                  <a:gd name="connsiteX235" fmla="*/ 2282076 w 2509632"/>
                  <a:gd name="connsiteY235" fmla="*/ 767333 h 1971366"/>
                  <a:gd name="connsiteX236" fmla="*/ 2279194 w 2509632"/>
                  <a:gd name="connsiteY236" fmla="*/ 779710 h 1971366"/>
                  <a:gd name="connsiteX237" fmla="*/ 2275023 w 2509632"/>
                  <a:gd name="connsiteY237" fmla="*/ 786406 h 1971366"/>
                  <a:gd name="connsiteX238" fmla="*/ 2253370 w 2509632"/>
                  <a:gd name="connsiteY238" fmla="*/ 768047 h 1971366"/>
                  <a:gd name="connsiteX239" fmla="*/ 2243683 w 2509632"/>
                  <a:gd name="connsiteY239" fmla="*/ 767772 h 1971366"/>
                  <a:gd name="connsiteX240" fmla="*/ 2232926 w 2509632"/>
                  <a:gd name="connsiteY240" fmla="*/ 751938 h 1971366"/>
                  <a:gd name="connsiteX241" fmla="*/ 2226284 w 2509632"/>
                  <a:gd name="connsiteY241" fmla="*/ 735746 h 1971366"/>
                  <a:gd name="connsiteX242" fmla="*/ 2226284 w 2509632"/>
                  <a:gd name="connsiteY242" fmla="*/ 726196 h 1971366"/>
                  <a:gd name="connsiteX243" fmla="*/ 2236630 w 2509632"/>
                  <a:gd name="connsiteY243" fmla="*/ 713106 h 1971366"/>
                  <a:gd name="connsiteX244" fmla="*/ 2237426 w 2509632"/>
                  <a:gd name="connsiteY244" fmla="*/ 706218 h 1971366"/>
                  <a:gd name="connsiteX245" fmla="*/ 2213304 w 2509632"/>
                  <a:gd name="connsiteY245" fmla="*/ 713462 h 1971366"/>
                  <a:gd name="connsiteX246" fmla="*/ 2203150 w 2509632"/>
                  <a:gd name="connsiteY246" fmla="*/ 702046 h 1971366"/>
                  <a:gd name="connsiteX247" fmla="*/ 2181442 w 2509632"/>
                  <a:gd name="connsiteY247" fmla="*/ 690822 h 1971366"/>
                  <a:gd name="connsiteX248" fmla="*/ 2160064 w 2509632"/>
                  <a:gd name="connsiteY248" fmla="*/ 693896 h 1971366"/>
                  <a:gd name="connsiteX249" fmla="*/ 2168242 w 2509632"/>
                  <a:gd name="connsiteY249" fmla="*/ 712447 h 1971366"/>
                  <a:gd name="connsiteX250" fmla="*/ 2170383 w 2509632"/>
                  <a:gd name="connsiteY250" fmla="*/ 736323 h 1971366"/>
                  <a:gd name="connsiteX251" fmla="*/ 2178369 w 2509632"/>
                  <a:gd name="connsiteY251" fmla="*/ 755066 h 1971366"/>
                  <a:gd name="connsiteX252" fmla="*/ 2185120 w 2509632"/>
                  <a:gd name="connsiteY252" fmla="*/ 783991 h 1971366"/>
                  <a:gd name="connsiteX253" fmla="*/ 2191239 w 2509632"/>
                  <a:gd name="connsiteY253" fmla="*/ 783744 h 1971366"/>
                  <a:gd name="connsiteX254" fmla="*/ 2202875 w 2509632"/>
                  <a:gd name="connsiteY254" fmla="*/ 797795 h 1971366"/>
                  <a:gd name="connsiteX255" fmla="*/ 2212096 w 2509632"/>
                  <a:gd name="connsiteY255" fmla="*/ 796587 h 1971366"/>
                  <a:gd name="connsiteX256" fmla="*/ 2218353 w 2509632"/>
                  <a:gd name="connsiteY256" fmla="*/ 806247 h 1971366"/>
                  <a:gd name="connsiteX257" fmla="*/ 2224116 w 2509632"/>
                  <a:gd name="connsiteY257" fmla="*/ 806549 h 1971366"/>
                  <a:gd name="connsiteX258" fmla="*/ 2226668 w 2509632"/>
                  <a:gd name="connsiteY258" fmla="*/ 810748 h 1971366"/>
                  <a:gd name="connsiteX259" fmla="*/ 2231718 w 2509632"/>
                  <a:gd name="connsiteY259" fmla="*/ 822274 h 1971366"/>
                  <a:gd name="connsiteX260" fmla="*/ 2229111 w 2509632"/>
                  <a:gd name="connsiteY260" fmla="*/ 834486 h 1971366"/>
                  <a:gd name="connsiteX261" fmla="*/ 2235231 w 2509632"/>
                  <a:gd name="connsiteY261" fmla="*/ 835364 h 1971366"/>
                  <a:gd name="connsiteX262" fmla="*/ 2236081 w 2509632"/>
                  <a:gd name="connsiteY262" fmla="*/ 848564 h 1971366"/>
                  <a:gd name="connsiteX263" fmla="*/ 2243683 w 2509632"/>
                  <a:gd name="connsiteY263" fmla="*/ 860804 h 1971366"/>
                  <a:gd name="connsiteX264" fmla="*/ 2251477 w 2509632"/>
                  <a:gd name="connsiteY264" fmla="*/ 866183 h 1971366"/>
                  <a:gd name="connsiteX265" fmla="*/ 2258200 w 2509632"/>
                  <a:gd name="connsiteY265" fmla="*/ 863274 h 1971366"/>
                  <a:gd name="connsiteX266" fmla="*/ 2260423 w 2509632"/>
                  <a:gd name="connsiteY266" fmla="*/ 869970 h 1971366"/>
                  <a:gd name="connsiteX267" fmla="*/ 2257981 w 2509632"/>
                  <a:gd name="connsiteY267" fmla="*/ 880865 h 1971366"/>
                  <a:gd name="connsiteX268" fmla="*/ 2257789 w 2509632"/>
                  <a:gd name="connsiteY268" fmla="*/ 892528 h 1971366"/>
                  <a:gd name="connsiteX269" fmla="*/ 2251230 w 2509632"/>
                  <a:gd name="connsiteY269" fmla="*/ 884377 h 1971366"/>
                  <a:gd name="connsiteX270" fmla="*/ 2247004 w 2509632"/>
                  <a:gd name="connsiteY270" fmla="*/ 898373 h 1971366"/>
                  <a:gd name="connsiteX271" fmla="*/ 2239841 w 2509632"/>
                  <a:gd name="connsiteY271" fmla="*/ 889729 h 1971366"/>
                  <a:gd name="connsiteX272" fmla="*/ 2235121 w 2509632"/>
                  <a:gd name="connsiteY272" fmla="*/ 890168 h 1971366"/>
                  <a:gd name="connsiteX273" fmla="*/ 2236822 w 2509632"/>
                  <a:gd name="connsiteY273" fmla="*/ 903258 h 1971366"/>
                  <a:gd name="connsiteX274" fmla="*/ 2241186 w 2509632"/>
                  <a:gd name="connsiteY274" fmla="*/ 912534 h 1971366"/>
                  <a:gd name="connsiteX275" fmla="*/ 2242668 w 2509632"/>
                  <a:gd name="connsiteY275" fmla="*/ 920932 h 1971366"/>
                  <a:gd name="connsiteX276" fmla="*/ 2240966 w 2509632"/>
                  <a:gd name="connsiteY276" fmla="*/ 925514 h 1971366"/>
                  <a:gd name="connsiteX277" fmla="*/ 2235039 w 2509632"/>
                  <a:gd name="connsiteY277" fmla="*/ 926804 h 1971366"/>
                  <a:gd name="connsiteX278" fmla="*/ 2234353 w 2509632"/>
                  <a:gd name="connsiteY278" fmla="*/ 932046 h 1971366"/>
                  <a:gd name="connsiteX279" fmla="*/ 2240033 w 2509632"/>
                  <a:gd name="connsiteY279" fmla="*/ 947633 h 1971366"/>
                  <a:gd name="connsiteX280" fmla="*/ 2249117 w 2509632"/>
                  <a:gd name="connsiteY280" fmla="*/ 950652 h 1971366"/>
                  <a:gd name="connsiteX281" fmla="*/ 2248156 w 2509632"/>
                  <a:gd name="connsiteY281" fmla="*/ 956470 h 1971366"/>
                  <a:gd name="connsiteX282" fmla="*/ 2238249 w 2509632"/>
                  <a:gd name="connsiteY282" fmla="*/ 953671 h 1971366"/>
                  <a:gd name="connsiteX283" fmla="*/ 2222058 w 2509632"/>
                  <a:gd name="connsiteY283" fmla="*/ 929658 h 1971366"/>
                  <a:gd name="connsiteX284" fmla="*/ 2194890 w 2509632"/>
                  <a:gd name="connsiteY284" fmla="*/ 915909 h 1971366"/>
                  <a:gd name="connsiteX285" fmla="*/ 2188605 w 2509632"/>
                  <a:gd name="connsiteY285" fmla="*/ 919093 h 1971366"/>
                  <a:gd name="connsiteX286" fmla="*/ 2182458 w 2509632"/>
                  <a:gd name="connsiteY286" fmla="*/ 910421 h 1971366"/>
                  <a:gd name="connsiteX287" fmla="*/ 2162013 w 2509632"/>
                  <a:gd name="connsiteY287" fmla="*/ 886984 h 1971366"/>
                  <a:gd name="connsiteX288" fmla="*/ 2160640 w 2509632"/>
                  <a:gd name="connsiteY288" fmla="*/ 885365 h 1971366"/>
                  <a:gd name="connsiteX289" fmla="*/ 2152298 w 2509632"/>
                  <a:gd name="connsiteY289" fmla="*/ 889015 h 1971366"/>
                  <a:gd name="connsiteX290" fmla="*/ 2132210 w 2509632"/>
                  <a:gd name="connsiteY290" fmla="*/ 872330 h 1971366"/>
                  <a:gd name="connsiteX291" fmla="*/ 2126282 w 2509632"/>
                  <a:gd name="connsiteY291" fmla="*/ 874141 h 1971366"/>
                  <a:gd name="connsiteX292" fmla="*/ 2129109 w 2509632"/>
                  <a:gd name="connsiteY292" fmla="*/ 884268 h 1971366"/>
                  <a:gd name="connsiteX293" fmla="*/ 2135064 w 2509632"/>
                  <a:gd name="connsiteY293" fmla="*/ 892555 h 1971366"/>
                  <a:gd name="connsiteX294" fmla="*/ 2146453 w 2509632"/>
                  <a:gd name="connsiteY294" fmla="*/ 903066 h 1971366"/>
                  <a:gd name="connsiteX295" fmla="*/ 2153615 w 2509632"/>
                  <a:gd name="connsiteY295" fmla="*/ 905042 h 1971366"/>
                  <a:gd name="connsiteX296" fmla="*/ 2156085 w 2509632"/>
                  <a:gd name="connsiteY296" fmla="*/ 913055 h 1971366"/>
                  <a:gd name="connsiteX297" fmla="*/ 2162013 w 2509632"/>
                  <a:gd name="connsiteY297" fmla="*/ 919312 h 1971366"/>
                  <a:gd name="connsiteX298" fmla="*/ 2182458 w 2509632"/>
                  <a:gd name="connsiteY298" fmla="*/ 940690 h 1971366"/>
                  <a:gd name="connsiteX299" fmla="*/ 2188303 w 2509632"/>
                  <a:gd name="connsiteY299" fmla="*/ 946755 h 1971366"/>
                  <a:gd name="connsiteX300" fmla="*/ 2195932 w 2509632"/>
                  <a:gd name="connsiteY300" fmla="*/ 960038 h 1971366"/>
                  <a:gd name="connsiteX301" fmla="*/ 2205757 w 2509632"/>
                  <a:gd name="connsiteY301" fmla="*/ 967996 h 1971366"/>
                  <a:gd name="connsiteX302" fmla="*/ 2208666 w 2509632"/>
                  <a:gd name="connsiteY302" fmla="*/ 979440 h 1971366"/>
                  <a:gd name="connsiteX303" fmla="*/ 2204632 w 2509632"/>
                  <a:gd name="connsiteY303" fmla="*/ 988194 h 1971366"/>
                  <a:gd name="connsiteX304" fmla="*/ 2197359 w 2509632"/>
                  <a:gd name="connsiteY304" fmla="*/ 989457 h 1971366"/>
                  <a:gd name="connsiteX305" fmla="*/ 2182458 w 2509632"/>
                  <a:gd name="connsiteY305" fmla="*/ 982678 h 1971366"/>
                  <a:gd name="connsiteX306" fmla="*/ 2162013 w 2509632"/>
                  <a:gd name="connsiteY306" fmla="*/ 973430 h 1971366"/>
                  <a:gd name="connsiteX307" fmla="*/ 2131304 w 2509632"/>
                  <a:gd name="connsiteY307" fmla="*/ 964868 h 1971366"/>
                  <a:gd name="connsiteX308" fmla="*/ 2112067 w 2509632"/>
                  <a:gd name="connsiteY308" fmla="*/ 952710 h 1971366"/>
                  <a:gd name="connsiteX309" fmla="*/ 2107154 w 2509632"/>
                  <a:gd name="connsiteY309" fmla="*/ 946755 h 1971366"/>
                  <a:gd name="connsiteX310" fmla="*/ 2097247 w 2509632"/>
                  <a:gd name="connsiteY310" fmla="*/ 935366 h 1971366"/>
                  <a:gd name="connsiteX311" fmla="*/ 2078668 w 2509632"/>
                  <a:gd name="connsiteY311" fmla="*/ 932238 h 1971366"/>
                  <a:gd name="connsiteX312" fmla="*/ 2077077 w 2509632"/>
                  <a:gd name="connsiteY312" fmla="*/ 933665 h 1971366"/>
                  <a:gd name="connsiteX313" fmla="*/ 2076857 w 2509632"/>
                  <a:gd name="connsiteY313" fmla="*/ 944038 h 1971366"/>
                  <a:gd name="connsiteX314" fmla="*/ 2068432 w 2509632"/>
                  <a:gd name="connsiteY314" fmla="*/ 943544 h 1971366"/>
                  <a:gd name="connsiteX315" fmla="*/ 2058608 w 2509632"/>
                  <a:gd name="connsiteY315" fmla="*/ 931689 h 1971366"/>
                  <a:gd name="connsiteX316" fmla="*/ 2051774 w 2509632"/>
                  <a:gd name="connsiteY316" fmla="*/ 917446 h 1971366"/>
                  <a:gd name="connsiteX317" fmla="*/ 2041044 w 2509632"/>
                  <a:gd name="connsiteY317" fmla="*/ 907731 h 1971366"/>
                  <a:gd name="connsiteX318" fmla="*/ 2030671 w 2509632"/>
                  <a:gd name="connsiteY318" fmla="*/ 892226 h 1971366"/>
                  <a:gd name="connsiteX319" fmla="*/ 2031933 w 2509632"/>
                  <a:gd name="connsiteY319" fmla="*/ 887918 h 1971366"/>
                  <a:gd name="connsiteX320" fmla="*/ 2039233 w 2509632"/>
                  <a:gd name="connsiteY320" fmla="*/ 885256 h 1971366"/>
                  <a:gd name="connsiteX321" fmla="*/ 2038382 w 2509632"/>
                  <a:gd name="connsiteY321" fmla="*/ 877325 h 1971366"/>
                  <a:gd name="connsiteX322" fmla="*/ 2014123 w 2509632"/>
                  <a:gd name="connsiteY322" fmla="*/ 865771 h 1971366"/>
                  <a:gd name="connsiteX323" fmla="*/ 1996038 w 2509632"/>
                  <a:gd name="connsiteY323" fmla="*/ 838356 h 1971366"/>
                  <a:gd name="connsiteX324" fmla="*/ 1978913 w 2509632"/>
                  <a:gd name="connsiteY324" fmla="*/ 837917 h 1971366"/>
                  <a:gd name="connsiteX325" fmla="*/ 1957233 w 2509632"/>
                  <a:gd name="connsiteY325" fmla="*/ 815523 h 1971366"/>
                  <a:gd name="connsiteX326" fmla="*/ 1949138 w 2509632"/>
                  <a:gd name="connsiteY326" fmla="*/ 824524 h 1971366"/>
                  <a:gd name="connsiteX327" fmla="*/ 1923259 w 2509632"/>
                  <a:gd name="connsiteY327" fmla="*/ 819036 h 1971366"/>
                  <a:gd name="connsiteX328" fmla="*/ 1913764 w 2509632"/>
                  <a:gd name="connsiteY328" fmla="*/ 827433 h 1971366"/>
                  <a:gd name="connsiteX329" fmla="*/ 1894169 w 2509632"/>
                  <a:gd name="connsiteY329" fmla="*/ 836736 h 1971366"/>
                  <a:gd name="connsiteX330" fmla="*/ 1874822 w 2509632"/>
                  <a:gd name="connsiteY330" fmla="*/ 834925 h 1971366"/>
                  <a:gd name="connsiteX331" fmla="*/ 1861732 w 2509632"/>
                  <a:gd name="connsiteY331" fmla="*/ 828586 h 1971366"/>
                  <a:gd name="connsiteX332" fmla="*/ 1850946 w 2509632"/>
                  <a:gd name="connsiteY332" fmla="*/ 810775 h 1971366"/>
                  <a:gd name="connsiteX333" fmla="*/ 1850727 w 2509632"/>
                  <a:gd name="connsiteY333" fmla="*/ 796176 h 1971366"/>
                  <a:gd name="connsiteX334" fmla="*/ 1853883 w 2509632"/>
                  <a:gd name="connsiteY334" fmla="*/ 785528 h 1971366"/>
                  <a:gd name="connsiteX335" fmla="*/ 1867220 w 2509632"/>
                  <a:gd name="connsiteY335" fmla="*/ 771120 h 1971366"/>
                  <a:gd name="connsiteX336" fmla="*/ 1871007 w 2509632"/>
                  <a:gd name="connsiteY336" fmla="*/ 759539 h 1971366"/>
                  <a:gd name="connsiteX337" fmla="*/ 1875233 w 2509632"/>
                  <a:gd name="connsiteY337" fmla="*/ 754023 h 1971366"/>
                  <a:gd name="connsiteX338" fmla="*/ 1904872 w 2509632"/>
                  <a:gd name="connsiteY338" fmla="*/ 762778 h 1971366"/>
                  <a:gd name="connsiteX339" fmla="*/ 1932589 w 2509632"/>
                  <a:gd name="connsiteY339" fmla="*/ 763683 h 1971366"/>
                  <a:gd name="connsiteX340" fmla="*/ 1955175 w 2509632"/>
                  <a:gd name="connsiteY340" fmla="*/ 757042 h 1971366"/>
                  <a:gd name="connsiteX341" fmla="*/ 1965329 w 2509632"/>
                  <a:gd name="connsiteY341" fmla="*/ 750236 h 1971366"/>
                  <a:gd name="connsiteX342" fmla="*/ 1979874 w 2509632"/>
                  <a:gd name="connsiteY342" fmla="*/ 748672 h 1971366"/>
                  <a:gd name="connsiteX343" fmla="*/ 1978035 w 2509632"/>
                  <a:gd name="connsiteY343" fmla="*/ 733633 h 1971366"/>
                  <a:gd name="connsiteX344" fmla="*/ 1963161 w 2509632"/>
                  <a:gd name="connsiteY344" fmla="*/ 712557 h 1971366"/>
                  <a:gd name="connsiteX345" fmla="*/ 1961213 w 2509632"/>
                  <a:gd name="connsiteY345" fmla="*/ 702732 h 1971366"/>
                  <a:gd name="connsiteX346" fmla="*/ 1996724 w 2509632"/>
                  <a:gd name="connsiteY346" fmla="*/ 661293 h 1971366"/>
                  <a:gd name="connsiteX347" fmla="*/ 2006905 w 2509632"/>
                  <a:gd name="connsiteY347" fmla="*/ 640684 h 1971366"/>
                  <a:gd name="connsiteX348" fmla="*/ 2016400 w 2509632"/>
                  <a:gd name="connsiteY348" fmla="*/ 629432 h 1971366"/>
                  <a:gd name="connsiteX349" fmla="*/ 2018376 w 2509632"/>
                  <a:gd name="connsiteY349" fmla="*/ 612637 h 1971366"/>
                  <a:gd name="connsiteX350" fmla="*/ 1999139 w 2509632"/>
                  <a:gd name="connsiteY350" fmla="*/ 552482 h 1971366"/>
                  <a:gd name="connsiteX351" fmla="*/ 1978309 w 2509632"/>
                  <a:gd name="connsiteY351" fmla="*/ 532970 h 1971366"/>
                  <a:gd name="connsiteX352" fmla="*/ 1973864 w 2509632"/>
                  <a:gd name="connsiteY352" fmla="*/ 515105 h 1971366"/>
                  <a:gd name="connsiteX353" fmla="*/ 1966043 w 2509632"/>
                  <a:gd name="connsiteY353" fmla="*/ 522734 h 1971366"/>
                  <a:gd name="connsiteX354" fmla="*/ 1962996 w 2509632"/>
                  <a:gd name="connsiteY354" fmla="*/ 532311 h 1971366"/>
                  <a:gd name="connsiteX355" fmla="*/ 1954132 w 2509632"/>
                  <a:gd name="connsiteY355" fmla="*/ 517904 h 1971366"/>
                  <a:gd name="connsiteX356" fmla="*/ 1942990 w 2509632"/>
                  <a:gd name="connsiteY356" fmla="*/ 528689 h 1971366"/>
                  <a:gd name="connsiteX357" fmla="*/ 1934785 w 2509632"/>
                  <a:gd name="connsiteY357" fmla="*/ 517218 h 1971366"/>
                  <a:gd name="connsiteX358" fmla="*/ 1936678 w 2509632"/>
                  <a:gd name="connsiteY358" fmla="*/ 509506 h 1971366"/>
                  <a:gd name="connsiteX359" fmla="*/ 1945433 w 2509632"/>
                  <a:gd name="connsiteY359" fmla="*/ 505582 h 1971366"/>
                  <a:gd name="connsiteX360" fmla="*/ 1944856 w 2509632"/>
                  <a:gd name="connsiteY360" fmla="*/ 495840 h 1971366"/>
                  <a:gd name="connsiteX361" fmla="*/ 1940575 w 2509632"/>
                  <a:gd name="connsiteY361" fmla="*/ 490077 h 1971366"/>
                  <a:gd name="connsiteX362" fmla="*/ 1928665 w 2509632"/>
                  <a:gd name="connsiteY362" fmla="*/ 486591 h 1971366"/>
                  <a:gd name="connsiteX363" fmla="*/ 1906628 w 2509632"/>
                  <a:gd name="connsiteY363" fmla="*/ 502508 h 1971366"/>
                  <a:gd name="connsiteX364" fmla="*/ 1897929 w 2509632"/>
                  <a:gd name="connsiteY364" fmla="*/ 503112 h 1971366"/>
                  <a:gd name="connsiteX365" fmla="*/ 1895432 w 2509632"/>
                  <a:gd name="connsiteY365" fmla="*/ 494056 h 1971366"/>
                  <a:gd name="connsiteX366" fmla="*/ 1896776 w 2509632"/>
                  <a:gd name="connsiteY366" fmla="*/ 485466 h 1971366"/>
                  <a:gd name="connsiteX367" fmla="*/ 1917111 w 2509632"/>
                  <a:gd name="connsiteY367" fmla="*/ 476739 h 1971366"/>
                  <a:gd name="connsiteX368" fmla="*/ 1919993 w 2509632"/>
                  <a:gd name="connsiteY368" fmla="*/ 472129 h 1971366"/>
                  <a:gd name="connsiteX369" fmla="*/ 1920158 w 2509632"/>
                  <a:gd name="connsiteY369" fmla="*/ 465707 h 1971366"/>
                  <a:gd name="connsiteX370" fmla="*/ 1913132 w 2509632"/>
                  <a:gd name="connsiteY370" fmla="*/ 453632 h 1971366"/>
                  <a:gd name="connsiteX371" fmla="*/ 1885443 w 2509632"/>
                  <a:gd name="connsiteY371" fmla="*/ 430471 h 1971366"/>
                  <a:gd name="connsiteX372" fmla="*/ 1878719 w 2509632"/>
                  <a:gd name="connsiteY372" fmla="*/ 416337 h 1971366"/>
                  <a:gd name="connsiteX373" fmla="*/ 1867001 w 2509632"/>
                  <a:gd name="connsiteY373" fmla="*/ 412111 h 1971366"/>
                  <a:gd name="connsiteX374" fmla="*/ 1858274 w 2509632"/>
                  <a:gd name="connsiteY374" fmla="*/ 382637 h 1971366"/>
                  <a:gd name="connsiteX375" fmla="*/ 1843647 w 2509632"/>
                  <a:gd name="connsiteY375" fmla="*/ 377890 h 1971366"/>
                  <a:gd name="connsiteX376" fmla="*/ 1829706 w 2509632"/>
                  <a:gd name="connsiteY376" fmla="*/ 363180 h 1971366"/>
                  <a:gd name="connsiteX377" fmla="*/ 1822104 w 2509632"/>
                  <a:gd name="connsiteY377" fmla="*/ 360985 h 1971366"/>
                  <a:gd name="connsiteX378" fmla="*/ 1819964 w 2509632"/>
                  <a:gd name="connsiteY378" fmla="*/ 366748 h 1971366"/>
                  <a:gd name="connsiteX379" fmla="*/ 1828937 w 2509632"/>
                  <a:gd name="connsiteY379" fmla="*/ 384860 h 1971366"/>
                  <a:gd name="connsiteX380" fmla="*/ 1830309 w 2509632"/>
                  <a:gd name="connsiteY380" fmla="*/ 393670 h 1971366"/>
                  <a:gd name="connsiteX381" fmla="*/ 1829157 w 2509632"/>
                  <a:gd name="connsiteY381" fmla="*/ 399872 h 1971366"/>
                  <a:gd name="connsiteX382" fmla="*/ 1805172 w 2509632"/>
                  <a:gd name="connsiteY382" fmla="*/ 407446 h 1971366"/>
                  <a:gd name="connsiteX383" fmla="*/ 1773832 w 2509632"/>
                  <a:gd name="connsiteY383" fmla="*/ 394328 h 1971366"/>
                  <a:gd name="connsiteX384" fmla="*/ 1764748 w 2509632"/>
                  <a:gd name="connsiteY384" fmla="*/ 398856 h 1971366"/>
                  <a:gd name="connsiteX385" fmla="*/ 1774628 w 2509632"/>
                  <a:gd name="connsiteY385" fmla="*/ 417435 h 1971366"/>
                  <a:gd name="connsiteX386" fmla="*/ 1803141 w 2509632"/>
                  <a:gd name="connsiteY386" fmla="*/ 416722 h 1971366"/>
                  <a:gd name="connsiteX387" fmla="*/ 1806681 w 2509632"/>
                  <a:gd name="connsiteY387" fmla="*/ 420097 h 1971366"/>
                  <a:gd name="connsiteX388" fmla="*/ 1795759 w 2509632"/>
                  <a:gd name="connsiteY388" fmla="*/ 433928 h 1971366"/>
                  <a:gd name="connsiteX389" fmla="*/ 1747706 w 2509632"/>
                  <a:gd name="connsiteY389" fmla="*/ 404949 h 1971366"/>
                  <a:gd name="connsiteX390" fmla="*/ 1728414 w 2509632"/>
                  <a:gd name="connsiteY390" fmla="*/ 420426 h 1971366"/>
                  <a:gd name="connsiteX391" fmla="*/ 1723062 w 2509632"/>
                  <a:gd name="connsiteY391" fmla="*/ 430635 h 1971366"/>
                  <a:gd name="connsiteX392" fmla="*/ 1723886 w 2509632"/>
                  <a:gd name="connsiteY392" fmla="*/ 440295 h 1971366"/>
                  <a:gd name="connsiteX393" fmla="*/ 1730088 w 2509632"/>
                  <a:gd name="connsiteY393" fmla="*/ 456240 h 1971366"/>
                  <a:gd name="connsiteX394" fmla="*/ 1743919 w 2509632"/>
                  <a:gd name="connsiteY394" fmla="*/ 462689 h 1971366"/>
                  <a:gd name="connsiteX395" fmla="*/ 1750972 w 2509632"/>
                  <a:gd name="connsiteY395" fmla="*/ 471827 h 1971366"/>
                  <a:gd name="connsiteX396" fmla="*/ 1749819 w 2509632"/>
                  <a:gd name="connsiteY396" fmla="*/ 486921 h 1971366"/>
                  <a:gd name="connsiteX397" fmla="*/ 1754100 w 2509632"/>
                  <a:gd name="connsiteY397" fmla="*/ 501905 h 1971366"/>
                  <a:gd name="connsiteX398" fmla="*/ 1752701 w 2509632"/>
                  <a:gd name="connsiteY398" fmla="*/ 512745 h 1971366"/>
                  <a:gd name="connsiteX399" fmla="*/ 1741888 w 2509632"/>
                  <a:gd name="connsiteY399" fmla="*/ 523530 h 1971366"/>
                  <a:gd name="connsiteX400" fmla="*/ 1730005 w 2509632"/>
                  <a:gd name="connsiteY400" fmla="*/ 525506 h 1971366"/>
                  <a:gd name="connsiteX401" fmla="*/ 1724188 w 2509632"/>
                  <a:gd name="connsiteY401" fmla="*/ 533711 h 1971366"/>
                  <a:gd name="connsiteX402" fmla="*/ 1734067 w 2509632"/>
                  <a:gd name="connsiteY402" fmla="*/ 567027 h 1971366"/>
                  <a:gd name="connsiteX403" fmla="*/ 1751219 w 2509632"/>
                  <a:gd name="connsiteY403" fmla="*/ 594250 h 1971366"/>
                  <a:gd name="connsiteX404" fmla="*/ 1754457 w 2509632"/>
                  <a:gd name="connsiteY404" fmla="*/ 614366 h 1971366"/>
                  <a:gd name="connsiteX405" fmla="*/ 1747020 w 2509632"/>
                  <a:gd name="connsiteY405" fmla="*/ 637638 h 1971366"/>
                  <a:gd name="connsiteX406" fmla="*/ 1737689 w 2509632"/>
                  <a:gd name="connsiteY406" fmla="*/ 645486 h 1971366"/>
                  <a:gd name="connsiteX407" fmla="*/ 1725395 w 2509632"/>
                  <a:gd name="connsiteY407" fmla="*/ 662830 h 1971366"/>
                  <a:gd name="connsiteX408" fmla="*/ 1701794 w 2509632"/>
                  <a:gd name="connsiteY408" fmla="*/ 680696 h 1971366"/>
                  <a:gd name="connsiteX409" fmla="*/ 1690241 w 2509632"/>
                  <a:gd name="connsiteY409" fmla="*/ 681354 h 1971366"/>
                  <a:gd name="connsiteX410" fmla="*/ 1676300 w 2509632"/>
                  <a:gd name="connsiteY410" fmla="*/ 668319 h 1971366"/>
                  <a:gd name="connsiteX411" fmla="*/ 1679455 w 2509632"/>
                  <a:gd name="connsiteY411" fmla="*/ 691920 h 1971366"/>
                  <a:gd name="connsiteX412" fmla="*/ 1670207 w 2509632"/>
                  <a:gd name="connsiteY412" fmla="*/ 693539 h 1971366"/>
                  <a:gd name="connsiteX413" fmla="*/ 1668451 w 2509632"/>
                  <a:gd name="connsiteY413" fmla="*/ 698753 h 1971366"/>
                  <a:gd name="connsiteX414" fmla="*/ 1683407 w 2509632"/>
                  <a:gd name="connsiteY414" fmla="*/ 719253 h 1971366"/>
                  <a:gd name="connsiteX415" fmla="*/ 1686673 w 2509632"/>
                  <a:gd name="connsiteY415" fmla="*/ 732261 h 1971366"/>
                  <a:gd name="connsiteX416" fmla="*/ 1677342 w 2509632"/>
                  <a:gd name="connsiteY416" fmla="*/ 729681 h 1971366"/>
                  <a:gd name="connsiteX417" fmla="*/ 1661371 w 2509632"/>
                  <a:gd name="connsiteY417" fmla="*/ 703226 h 1971366"/>
                  <a:gd name="connsiteX418" fmla="*/ 1643615 w 2509632"/>
                  <a:gd name="connsiteY418" fmla="*/ 692194 h 1971366"/>
                  <a:gd name="connsiteX419" fmla="*/ 1629839 w 2509632"/>
                  <a:gd name="connsiteY419" fmla="*/ 675454 h 1971366"/>
                  <a:gd name="connsiteX420" fmla="*/ 1601764 w 2509632"/>
                  <a:gd name="connsiteY420" fmla="*/ 680531 h 1971366"/>
                  <a:gd name="connsiteX421" fmla="*/ 1602752 w 2509632"/>
                  <a:gd name="connsiteY421" fmla="*/ 687145 h 1971366"/>
                  <a:gd name="connsiteX422" fmla="*/ 1614388 w 2509632"/>
                  <a:gd name="connsiteY422" fmla="*/ 698341 h 1971366"/>
                  <a:gd name="connsiteX423" fmla="*/ 1615349 w 2509632"/>
                  <a:gd name="connsiteY423" fmla="*/ 708413 h 1971366"/>
                  <a:gd name="connsiteX424" fmla="*/ 1589031 w 2509632"/>
                  <a:gd name="connsiteY424" fmla="*/ 750785 h 1971366"/>
                  <a:gd name="connsiteX425" fmla="*/ 1579398 w 2509632"/>
                  <a:gd name="connsiteY425" fmla="*/ 758716 h 1971366"/>
                  <a:gd name="connsiteX426" fmla="*/ 1556236 w 2509632"/>
                  <a:gd name="connsiteY426" fmla="*/ 756603 h 1971366"/>
                  <a:gd name="connsiteX427" fmla="*/ 1537410 w 2509632"/>
                  <a:gd name="connsiteY427" fmla="*/ 737612 h 1971366"/>
                  <a:gd name="connsiteX428" fmla="*/ 1513343 w 2509632"/>
                  <a:gd name="connsiteY428" fmla="*/ 721037 h 1971366"/>
                  <a:gd name="connsiteX429" fmla="*/ 1506180 w 2509632"/>
                  <a:gd name="connsiteY429" fmla="*/ 725675 h 1971366"/>
                  <a:gd name="connsiteX430" fmla="*/ 1530193 w 2509632"/>
                  <a:gd name="connsiteY430" fmla="*/ 759375 h 1971366"/>
                  <a:gd name="connsiteX431" fmla="*/ 1586314 w 2509632"/>
                  <a:gd name="connsiteY431" fmla="*/ 772767 h 1971366"/>
                  <a:gd name="connsiteX432" fmla="*/ 1587878 w 2509632"/>
                  <a:gd name="connsiteY432" fmla="*/ 778804 h 1971366"/>
                  <a:gd name="connsiteX433" fmla="*/ 1585408 w 2509632"/>
                  <a:gd name="connsiteY433" fmla="*/ 787449 h 1971366"/>
                  <a:gd name="connsiteX434" fmla="*/ 1572620 w 2509632"/>
                  <a:gd name="connsiteY434" fmla="*/ 810885 h 1971366"/>
                  <a:gd name="connsiteX435" fmla="*/ 1571577 w 2509632"/>
                  <a:gd name="connsiteY435" fmla="*/ 812751 h 1971366"/>
                  <a:gd name="connsiteX436" fmla="*/ 1570507 w 2509632"/>
                  <a:gd name="connsiteY436" fmla="*/ 813849 h 1971366"/>
                  <a:gd name="connsiteX437" fmla="*/ 1564360 w 2509632"/>
                  <a:gd name="connsiteY437" fmla="*/ 821012 h 1971366"/>
                  <a:gd name="connsiteX438" fmla="*/ 1556648 w 2509632"/>
                  <a:gd name="connsiteY438" fmla="*/ 839783 h 1971366"/>
                  <a:gd name="connsiteX439" fmla="*/ 1543475 w 2509632"/>
                  <a:gd name="connsiteY439" fmla="*/ 850897 h 1971366"/>
                  <a:gd name="connsiteX440" fmla="*/ 1524512 w 2509632"/>
                  <a:gd name="connsiteY440" fmla="*/ 853888 h 1971366"/>
                  <a:gd name="connsiteX441" fmla="*/ 1505220 w 2509632"/>
                  <a:gd name="connsiteY441" fmla="*/ 846479 h 1971366"/>
                  <a:gd name="connsiteX442" fmla="*/ 1497014 w 2509632"/>
                  <a:gd name="connsiteY442" fmla="*/ 871040 h 1971366"/>
                  <a:gd name="connsiteX443" fmla="*/ 1492624 w 2509632"/>
                  <a:gd name="connsiteY443" fmla="*/ 874937 h 1971366"/>
                  <a:gd name="connsiteX444" fmla="*/ 1491004 w 2509632"/>
                  <a:gd name="connsiteY444" fmla="*/ 876337 h 1971366"/>
                  <a:gd name="connsiteX445" fmla="*/ 1479506 w 2509632"/>
                  <a:gd name="connsiteY445" fmla="*/ 886408 h 1971366"/>
                  <a:gd name="connsiteX446" fmla="*/ 1476487 w 2509632"/>
                  <a:gd name="connsiteY446" fmla="*/ 885146 h 1971366"/>
                  <a:gd name="connsiteX447" fmla="*/ 1459335 w 2509632"/>
                  <a:gd name="connsiteY447" fmla="*/ 878120 h 1971366"/>
                  <a:gd name="connsiteX448" fmla="*/ 1460790 w 2509632"/>
                  <a:gd name="connsiteY448" fmla="*/ 882950 h 1971366"/>
                  <a:gd name="connsiteX449" fmla="*/ 1467266 w 2509632"/>
                  <a:gd name="connsiteY449" fmla="*/ 884542 h 1971366"/>
                  <a:gd name="connsiteX450" fmla="*/ 1476130 w 2509632"/>
                  <a:gd name="connsiteY450" fmla="*/ 895574 h 1971366"/>
                  <a:gd name="connsiteX451" fmla="*/ 1476515 w 2509632"/>
                  <a:gd name="connsiteY451" fmla="*/ 899636 h 1971366"/>
                  <a:gd name="connsiteX452" fmla="*/ 1478298 w 2509632"/>
                  <a:gd name="connsiteY452" fmla="*/ 918324 h 1971366"/>
                  <a:gd name="connsiteX453" fmla="*/ 1476515 w 2509632"/>
                  <a:gd name="connsiteY453" fmla="*/ 920712 h 1971366"/>
                  <a:gd name="connsiteX454" fmla="*/ 1474539 w 2509632"/>
                  <a:gd name="connsiteY454" fmla="*/ 923401 h 1971366"/>
                  <a:gd name="connsiteX455" fmla="*/ 1460433 w 2509632"/>
                  <a:gd name="connsiteY455" fmla="*/ 930152 h 1971366"/>
                  <a:gd name="connsiteX456" fmla="*/ 1434088 w 2509632"/>
                  <a:gd name="connsiteY456" fmla="*/ 932348 h 1971366"/>
                  <a:gd name="connsiteX457" fmla="*/ 1439275 w 2509632"/>
                  <a:gd name="connsiteY457" fmla="*/ 946728 h 1971366"/>
                  <a:gd name="connsiteX458" fmla="*/ 1433923 w 2509632"/>
                  <a:gd name="connsiteY458" fmla="*/ 951009 h 1971366"/>
                  <a:gd name="connsiteX459" fmla="*/ 1432084 w 2509632"/>
                  <a:gd name="connsiteY459" fmla="*/ 957980 h 1971366"/>
                  <a:gd name="connsiteX460" fmla="*/ 1422836 w 2509632"/>
                  <a:gd name="connsiteY460" fmla="*/ 956443 h 1971366"/>
                  <a:gd name="connsiteX461" fmla="*/ 1420558 w 2509632"/>
                  <a:gd name="connsiteY461" fmla="*/ 965224 h 1971366"/>
                  <a:gd name="connsiteX462" fmla="*/ 1406590 w 2509632"/>
                  <a:gd name="connsiteY462" fmla="*/ 980675 h 1971366"/>
                  <a:gd name="connsiteX463" fmla="*/ 1406590 w 2509632"/>
                  <a:gd name="connsiteY463" fmla="*/ 988880 h 1971366"/>
                  <a:gd name="connsiteX464" fmla="*/ 1400992 w 2509632"/>
                  <a:gd name="connsiteY464" fmla="*/ 990829 h 1971366"/>
                  <a:gd name="connsiteX465" fmla="*/ 1399208 w 2509632"/>
                  <a:gd name="connsiteY465" fmla="*/ 1000543 h 1971366"/>
                  <a:gd name="connsiteX466" fmla="*/ 1386200 w 2509632"/>
                  <a:gd name="connsiteY466" fmla="*/ 1014539 h 1971366"/>
                  <a:gd name="connsiteX467" fmla="*/ 1378214 w 2509632"/>
                  <a:gd name="connsiteY467" fmla="*/ 1043849 h 1971366"/>
                  <a:gd name="connsiteX468" fmla="*/ 1368142 w 2509632"/>
                  <a:gd name="connsiteY468" fmla="*/ 1066077 h 1971366"/>
                  <a:gd name="connsiteX469" fmla="*/ 1362215 w 2509632"/>
                  <a:gd name="connsiteY469" fmla="*/ 1074393 h 1971366"/>
                  <a:gd name="connsiteX470" fmla="*/ 1358729 w 2509632"/>
                  <a:gd name="connsiteY470" fmla="*/ 1110782 h 1971366"/>
                  <a:gd name="connsiteX471" fmla="*/ 1360266 w 2509632"/>
                  <a:gd name="connsiteY471" fmla="*/ 1154307 h 1971366"/>
                  <a:gd name="connsiteX472" fmla="*/ 1368444 w 2509632"/>
                  <a:gd name="connsiteY472" fmla="*/ 1172584 h 1971366"/>
                  <a:gd name="connsiteX473" fmla="*/ 1406947 w 2509632"/>
                  <a:gd name="connsiteY473" fmla="*/ 1182024 h 1971366"/>
                  <a:gd name="connsiteX474" fmla="*/ 1426568 w 2509632"/>
                  <a:gd name="connsiteY474" fmla="*/ 1247338 h 1971366"/>
                  <a:gd name="connsiteX475" fmla="*/ 1427007 w 2509632"/>
                  <a:gd name="connsiteY475" fmla="*/ 1258233 h 1971366"/>
                  <a:gd name="connsiteX476" fmla="*/ 1425059 w 2509632"/>
                  <a:gd name="connsiteY476" fmla="*/ 1270967 h 1971366"/>
                  <a:gd name="connsiteX477" fmla="*/ 1447123 w 2509632"/>
                  <a:gd name="connsiteY477" fmla="*/ 1267097 h 1971366"/>
                  <a:gd name="connsiteX478" fmla="*/ 1466772 w 2509632"/>
                  <a:gd name="connsiteY478" fmla="*/ 1259715 h 1971366"/>
                  <a:gd name="connsiteX479" fmla="*/ 1476542 w 2509632"/>
                  <a:gd name="connsiteY479" fmla="*/ 1261444 h 1971366"/>
                  <a:gd name="connsiteX480" fmla="*/ 1486367 w 2509632"/>
                  <a:gd name="connsiteY480" fmla="*/ 1263173 h 1971366"/>
                  <a:gd name="connsiteX481" fmla="*/ 1491032 w 2509632"/>
                  <a:gd name="connsiteY481" fmla="*/ 1265725 h 1971366"/>
                  <a:gd name="connsiteX482" fmla="*/ 1492651 w 2509632"/>
                  <a:gd name="connsiteY482" fmla="*/ 1266603 h 1971366"/>
                  <a:gd name="connsiteX483" fmla="*/ 1503930 w 2509632"/>
                  <a:gd name="connsiteY483" fmla="*/ 1272751 h 1971366"/>
                  <a:gd name="connsiteX484" fmla="*/ 1533102 w 2509632"/>
                  <a:gd name="connsiteY484" fmla="*/ 1281368 h 1971366"/>
                  <a:gd name="connsiteX485" fmla="*/ 1541006 w 2509632"/>
                  <a:gd name="connsiteY485" fmla="*/ 1289683 h 1971366"/>
                  <a:gd name="connsiteX486" fmla="*/ 1558843 w 2509632"/>
                  <a:gd name="connsiteY486" fmla="*/ 1301373 h 1971366"/>
                  <a:gd name="connsiteX487" fmla="*/ 1570534 w 2509632"/>
                  <a:gd name="connsiteY487" fmla="*/ 1321434 h 1971366"/>
                  <a:gd name="connsiteX488" fmla="*/ 1575858 w 2509632"/>
                  <a:gd name="connsiteY488" fmla="*/ 1326127 h 1971366"/>
                  <a:gd name="connsiteX489" fmla="*/ 1597593 w 2509632"/>
                  <a:gd name="connsiteY489" fmla="*/ 1334195 h 1971366"/>
                  <a:gd name="connsiteX490" fmla="*/ 1621057 w 2509632"/>
                  <a:gd name="connsiteY490" fmla="*/ 1344349 h 1971366"/>
                  <a:gd name="connsiteX491" fmla="*/ 1645810 w 2509632"/>
                  <a:gd name="connsiteY491" fmla="*/ 1363312 h 1971366"/>
                  <a:gd name="connsiteX492" fmla="*/ 1659724 w 2509632"/>
                  <a:gd name="connsiteY492" fmla="*/ 1365563 h 1971366"/>
                  <a:gd name="connsiteX493" fmla="*/ 1679510 w 2509632"/>
                  <a:gd name="connsiteY493" fmla="*/ 1363120 h 1971366"/>
                  <a:gd name="connsiteX494" fmla="*/ 1700861 w 2509632"/>
                  <a:gd name="connsiteY494" fmla="*/ 1367648 h 1971366"/>
                  <a:gd name="connsiteX495" fmla="*/ 1706542 w 2509632"/>
                  <a:gd name="connsiteY495" fmla="*/ 1365233 h 1971366"/>
                  <a:gd name="connsiteX496" fmla="*/ 1711426 w 2509632"/>
                  <a:gd name="connsiteY496" fmla="*/ 1370255 h 1971366"/>
                  <a:gd name="connsiteX497" fmla="*/ 1715378 w 2509632"/>
                  <a:gd name="connsiteY497" fmla="*/ 1368554 h 1971366"/>
                  <a:gd name="connsiteX498" fmla="*/ 1726987 w 2509632"/>
                  <a:gd name="connsiteY498" fmla="*/ 1372313 h 1971366"/>
                  <a:gd name="connsiteX499" fmla="*/ 1729182 w 2509632"/>
                  <a:gd name="connsiteY499" fmla="*/ 1387819 h 1971366"/>
                  <a:gd name="connsiteX500" fmla="*/ 1725175 w 2509632"/>
                  <a:gd name="connsiteY500" fmla="*/ 1406123 h 1971366"/>
                  <a:gd name="connsiteX501" fmla="*/ 1723117 w 2509632"/>
                  <a:gd name="connsiteY501" fmla="*/ 1415564 h 1971366"/>
                  <a:gd name="connsiteX502" fmla="*/ 1726959 w 2509632"/>
                  <a:gd name="connsiteY502" fmla="*/ 1425278 h 1971366"/>
                  <a:gd name="connsiteX503" fmla="*/ 1731103 w 2509632"/>
                  <a:gd name="connsiteY503" fmla="*/ 1437189 h 1971366"/>
                  <a:gd name="connsiteX504" fmla="*/ 1731103 w 2509632"/>
                  <a:gd name="connsiteY504" fmla="*/ 1439329 h 1971366"/>
                  <a:gd name="connsiteX505" fmla="*/ 1731295 w 2509632"/>
                  <a:gd name="connsiteY505" fmla="*/ 1448495 h 1971366"/>
                  <a:gd name="connsiteX506" fmla="*/ 1731295 w 2509632"/>
                  <a:gd name="connsiteY506" fmla="*/ 1450608 h 1971366"/>
                  <a:gd name="connsiteX507" fmla="*/ 1731515 w 2509632"/>
                  <a:gd name="connsiteY507" fmla="*/ 1461146 h 1971366"/>
                  <a:gd name="connsiteX508" fmla="*/ 1728359 w 2509632"/>
                  <a:gd name="connsiteY508" fmla="*/ 1472453 h 1971366"/>
                  <a:gd name="connsiteX509" fmla="*/ 1729704 w 2509632"/>
                  <a:gd name="connsiteY509" fmla="*/ 1481701 h 1971366"/>
                  <a:gd name="connsiteX510" fmla="*/ 1746965 w 2509632"/>
                  <a:gd name="connsiteY510" fmla="*/ 1503601 h 1971366"/>
                  <a:gd name="connsiteX511" fmla="*/ 1754402 w 2509632"/>
                  <a:gd name="connsiteY511" fmla="*/ 1519463 h 1971366"/>
                  <a:gd name="connsiteX512" fmla="*/ 1773914 w 2509632"/>
                  <a:gd name="connsiteY512" fmla="*/ 1536011 h 1971366"/>
                  <a:gd name="connsiteX513" fmla="*/ 1783602 w 2509632"/>
                  <a:gd name="connsiteY513" fmla="*/ 1555962 h 1971366"/>
                  <a:gd name="connsiteX514" fmla="*/ 1798064 w 2509632"/>
                  <a:gd name="connsiteY514" fmla="*/ 1563975 h 1971366"/>
                  <a:gd name="connsiteX515" fmla="*/ 1801165 w 2509632"/>
                  <a:gd name="connsiteY515" fmla="*/ 1562082 h 1971366"/>
                  <a:gd name="connsiteX516" fmla="*/ 1805144 w 2509632"/>
                  <a:gd name="connsiteY516" fmla="*/ 1552971 h 1971366"/>
                  <a:gd name="connsiteX517" fmla="*/ 1812307 w 2509632"/>
                  <a:gd name="connsiteY517" fmla="*/ 1544381 h 1971366"/>
                  <a:gd name="connsiteX518" fmla="*/ 1826522 w 2509632"/>
                  <a:gd name="connsiteY518" fmla="*/ 1554617 h 1971366"/>
                  <a:gd name="connsiteX519" fmla="*/ 1827812 w 2509632"/>
                  <a:gd name="connsiteY519" fmla="*/ 1549623 h 1971366"/>
                  <a:gd name="connsiteX520" fmla="*/ 1824245 w 2509632"/>
                  <a:gd name="connsiteY520" fmla="*/ 1539633 h 1971366"/>
                  <a:gd name="connsiteX521" fmla="*/ 1823888 w 2509632"/>
                  <a:gd name="connsiteY521" fmla="*/ 1531456 h 1971366"/>
                  <a:gd name="connsiteX522" fmla="*/ 1833520 w 2509632"/>
                  <a:gd name="connsiteY522" fmla="*/ 1522289 h 1971366"/>
                  <a:gd name="connsiteX523" fmla="*/ 1836566 w 2509632"/>
                  <a:gd name="connsiteY523" fmla="*/ 1512877 h 1971366"/>
                  <a:gd name="connsiteX524" fmla="*/ 1836045 w 2509632"/>
                  <a:gd name="connsiteY524" fmla="*/ 1507498 h 1971366"/>
                  <a:gd name="connsiteX525" fmla="*/ 1828306 w 2509632"/>
                  <a:gd name="connsiteY525" fmla="*/ 1491910 h 1971366"/>
                  <a:gd name="connsiteX526" fmla="*/ 1827620 w 2509632"/>
                  <a:gd name="connsiteY526" fmla="*/ 1485104 h 1971366"/>
                  <a:gd name="connsiteX527" fmla="*/ 1823449 w 2509632"/>
                  <a:gd name="connsiteY527" fmla="*/ 1480329 h 1971366"/>
                  <a:gd name="connsiteX528" fmla="*/ 1823943 w 2509632"/>
                  <a:gd name="connsiteY528" fmla="*/ 1463836 h 1971366"/>
                  <a:gd name="connsiteX529" fmla="*/ 1820595 w 2509632"/>
                  <a:gd name="connsiteY529" fmla="*/ 1453106 h 1971366"/>
                  <a:gd name="connsiteX530" fmla="*/ 1820512 w 2509632"/>
                  <a:gd name="connsiteY530" fmla="*/ 1450581 h 1971366"/>
                  <a:gd name="connsiteX531" fmla="*/ 1820457 w 2509632"/>
                  <a:gd name="connsiteY531" fmla="*/ 1448468 h 1971366"/>
                  <a:gd name="connsiteX532" fmla="*/ 1819497 w 2509632"/>
                  <a:gd name="connsiteY532" fmla="*/ 1429999 h 1971366"/>
                  <a:gd name="connsiteX533" fmla="*/ 1810276 w 2509632"/>
                  <a:gd name="connsiteY533" fmla="*/ 1415509 h 1971366"/>
                  <a:gd name="connsiteX534" fmla="*/ 1805281 w 2509632"/>
                  <a:gd name="connsiteY534" fmla="*/ 1398906 h 1971366"/>
                  <a:gd name="connsiteX535" fmla="*/ 1806955 w 2509632"/>
                  <a:gd name="connsiteY535" fmla="*/ 1388779 h 1971366"/>
                  <a:gd name="connsiteX536" fmla="*/ 1818866 w 2509632"/>
                  <a:gd name="connsiteY536" fmla="*/ 1386886 h 1971366"/>
                  <a:gd name="connsiteX537" fmla="*/ 1840299 w 2509632"/>
                  <a:gd name="connsiteY537" fmla="*/ 1376759 h 1971366"/>
                  <a:gd name="connsiteX538" fmla="*/ 1858576 w 2509632"/>
                  <a:gd name="connsiteY538" fmla="*/ 1363916 h 1971366"/>
                  <a:gd name="connsiteX539" fmla="*/ 1885717 w 2509632"/>
                  <a:gd name="connsiteY539" fmla="*/ 1331506 h 1971366"/>
                  <a:gd name="connsiteX540" fmla="*/ 1893757 w 2509632"/>
                  <a:gd name="connsiteY540" fmla="*/ 1308920 h 1971366"/>
                  <a:gd name="connsiteX541" fmla="*/ 1894142 w 2509632"/>
                  <a:gd name="connsiteY541" fmla="*/ 1276620 h 1971366"/>
                  <a:gd name="connsiteX542" fmla="*/ 1890711 w 2509632"/>
                  <a:gd name="connsiteY542" fmla="*/ 1272201 h 1971366"/>
                  <a:gd name="connsiteX543" fmla="*/ 1889888 w 2509632"/>
                  <a:gd name="connsiteY543" fmla="*/ 1262844 h 1971366"/>
                  <a:gd name="connsiteX544" fmla="*/ 1891178 w 2509632"/>
                  <a:gd name="connsiteY544" fmla="*/ 1261746 h 1971366"/>
                  <a:gd name="connsiteX545" fmla="*/ 1893236 w 2509632"/>
                  <a:gd name="connsiteY545" fmla="*/ 1268634 h 1971366"/>
                  <a:gd name="connsiteX546" fmla="*/ 1893236 w 2509632"/>
                  <a:gd name="connsiteY546" fmla="*/ 1262158 h 1971366"/>
                  <a:gd name="connsiteX547" fmla="*/ 1881381 w 2509632"/>
                  <a:gd name="connsiteY547" fmla="*/ 1227085 h 1971366"/>
                  <a:gd name="connsiteX548" fmla="*/ 1865766 w 2509632"/>
                  <a:gd name="connsiteY548" fmla="*/ 1205680 h 1971366"/>
                  <a:gd name="connsiteX549" fmla="*/ 1835030 w 2509632"/>
                  <a:gd name="connsiteY549" fmla="*/ 1178072 h 1971366"/>
                  <a:gd name="connsiteX550" fmla="*/ 1837335 w 2509632"/>
                  <a:gd name="connsiteY550" fmla="*/ 1168248 h 1971366"/>
                  <a:gd name="connsiteX551" fmla="*/ 1854487 w 2509632"/>
                  <a:gd name="connsiteY551" fmla="*/ 1144400 h 1971366"/>
                  <a:gd name="connsiteX552" fmla="*/ 1859975 w 2509632"/>
                  <a:gd name="connsiteY552" fmla="*/ 1123021 h 1971366"/>
                  <a:gd name="connsiteX553" fmla="*/ 1867083 w 2509632"/>
                  <a:gd name="connsiteY553" fmla="*/ 1115914 h 1971366"/>
                  <a:gd name="connsiteX554" fmla="*/ 1868949 w 2509632"/>
                  <a:gd name="connsiteY554" fmla="*/ 1110508 h 1971366"/>
                  <a:gd name="connsiteX555" fmla="*/ 1863021 w 2509632"/>
                  <a:gd name="connsiteY555" fmla="*/ 1090776 h 1971366"/>
                  <a:gd name="connsiteX556" fmla="*/ 1859975 w 2509632"/>
                  <a:gd name="connsiteY556" fmla="*/ 1063443 h 1971366"/>
                  <a:gd name="connsiteX557" fmla="*/ 1851989 w 2509632"/>
                  <a:gd name="connsiteY557" fmla="*/ 1051752 h 1971366"/>
                  <a:gd name="connsiteX558" fmla="*/ 1858137 w 2509632"/>
                  <a:gd name="connsiteY558" fmla="*/ 1034216 h 1971366"/>
                  <a:gd name="connsiteX559" fmla="*/ 1861018 w 2509632"/>
                  <a:gd name="connsiteY559" fmla="*/ 1014073 h 1971366"/>
                  <a:gd name="connsiteX560" fmla="*/ 1852429 w 2509632"/>
                  <a:gd name="connsiteY560" fmla="*/ 992530 h 1971366"/>
                  <a:gd name="connsiteX561" fmla="*/ 1849849 w 2509632"/>
                  <a:gd name="connsiteY561" fmla="*/ 977135 h 1971366"/>
                  <a:gd name="connsiteX562" fmla="*/ 1850068 w 2509632"/>
                  <a:gd name="connsiteY562" fmla="*/ 970933 h 1971366"/>
                  <a:gd name="connsiteX563" fmla="*/ 1853801 w 2509632"/>
                  <a:gd name="connsiteY563" fmla="*/ 959544 h 1971366"/>
                  <a:gd name="connsiteX564" fmla="*/ 1868318 w 2509632"/>
                  <a:gd name="connsiteY564" fmla="*/ 948210 h 1971366"/>
                  <a:gd name="connsiteX565" fmla="*/ 1883439 w 2509632"/>
                  <a:gd name="connsiteY565" fmla="*/ 949033 h 1971366"/>
                  <a:gd name="connsiteX566" fmla="*/ 1919389 w 2509632"/>
                  <a:gd name="connsiteY566" fmla="*/ 963907 h 1971366"/>
                  <a:gd name="connsiteX567" fmla="*/ 1947354 w 2509632"/>
                  <a:gd name="connsiteY567" fmla="*/ 968243 h 1971366"/>
                  <a:gd name="connsiteX568" fmla="*/ 1980230 w 2509632"/>
                  <a:gd name="connsiteY568" fmla="*/ 956086 h 1971366"/>
                  <a:gd name="connsiteX569" fmla="*/ 2007070 w 2509632"/>
                  <a:gd name="connsiteY569" fmla="*/ 974363 h 1971366"/>
                  <a:gd name="connsiteX570" fmla="*/ 2012339 w 2509632"/>
                  <a:gd name="connsiteY570" fmla="*/ 983886 h 1971366"/>
                  <a:gd name="connsiteX571" fmla="*/ 2022191 w 2509632"/>
                  <a:gd name="connsiteY571" fmla="*/ 991652 h 1971366"/>
                  <a:gd name="connsiteX572" fmla="*/ 2029518 w 2509632"/>
                  <a:gd name="connsiteY572" fmla="*/ 1002904 h 1971366"/>
                  <a:gd name="connsiteX573" fmla="*/ 2039480 w 2509632"/>
                  <a:gd name="connsiteY573" fmla="*/ 1004907 h 1971366"/>
                  <a:gd name="connsiteX574" fmla="*/ 2038986 w 2509632"/>
                  <a:gd name="connsiteY574" fmla="*/ 1020714 h 1971366"/>
                  <a:gd name="connsiteX575" fmla="*/ 2047740 w 2509632"/>
                  <a:gd name="connsiteY575" fmla="*/ 1033557 h 1971366"/>
                  <a:gd name="connsiteX576" fmla="*/ 2067828 w 2509632"/>
                  <a:gd name="connsiteY576" fmla="*/ 1040995 h 1971366"/>
                  <a:gd name="connsiteX577" fmla="*/ 2080809 w 2509632"/>
                  <a:gd name="connsiteY577" fmla="*/ 1041269 h 1971366"/>
                  <a:gd name="connsiteX578" fmla="*/ 2086325 w 2509632"/>
                  <a:gd name="connsiteY578" fmla="*/ 1046456 h 1971366"/>
                  <a:gd name="connsiteX579" fmla="*/ 2089783 w 2509632"/>
                  <a:gd name="connsiteY579" fmla="*/ 1041571 h 1971366"/>
                  <a:gd name="connsiteX580" fmla="*/ 2089124 w 2509632"/>
                  <a:gd name="connsiteY580" fmla="*/ 1047910 h 1971366"/>
                  <a:gd name="connsiteX581" fmla="*/ 2090826 w 2509632"/>
                  <a:gd name="connsiteY581" fmla="*/ 1050709 h 1971366"/>
                  <a:gd name="connsiteX582" fmla="*/ 2102352 w 2509632"/>
                  <a:gd name="connsiteY582" fmla="*/ 1044727 h 1971366"/>
                  <a:gd name="connsiteX583" fmla="*/ 2104382 w 2509632"/>
                  <a:gd name="connsiteY583" fmla="*/ 1053591 h 1971366"/>
                  <a:gd name="connsiteX584" fmla="*/ 2097165 w 2509632"/>
                  <a:gd name="connsiteY584" fmla="*/ 1074091 h 1971366"/>
                  <a:gd name="connsiteX585" fmla="*/ 2099168 w 2509632"/>
                  <a:gd name="connsiteY585" fmla="*/ 1091764 h 1971366"/>
                  <a:gd name="connsiteX586" fmla="*/ 2096973 w 2509632"/>
                  <a:gd name="connsiteY586" fmla="*/ 1105156 h 1971366"/>
                  <a:gd name="connsiteX587" fmla="*/ 2100623 w 2509632"/>
                  <a:gd name="connsiteY587" fmla="*/ 1119619 h 1971366"/>
                  <a:gd name="connsiteX588" fmla="*/ 2098318 w 2509632"/>
                  <a:gd name="connsiteY588" fmla="*/ 1135124 h 1971366"/>
                  <a:gd name="connsiteX589" fmla="*/ 2099388 w 2509632"/>
                  <a:gd name="connsiteY589" fmla="*/ 1139405 h 1971366"/>
                  <a:gd name="connsiteX590" fmla="*/ 2106276 w 2509632"/>
                  <a:gd name="connsiteY590" fmla="*/ 1145141 h 1971366"/>
                  <a:gd name="connsiteX591" fmla="*/ 2107319 w 2509632"/>
                  <a:gd name="connsiteY591" fmla="*/ 1155075 h 1971366"/>
                  <a:gd name="connsiteX592" fmla="*/ 2112176 w 2509632"/>
                  <a:gd name="connsiteY592" fmla="*/ 1157682 h 1971366"/>
                  <a:gd name="connsiteX593" fmla="*/ 2112478 w 2509632"/>
                  <a:gd name="connsiteY593" fmla="*/ 1165723 h 1971366"/>
                  <a:gd name="connsiteX594" fmla="*/ 2130453 w 2509632"/>
                  <a:gd name="connsiteY594" fmla="*/ 1169236 h 1971366"/>
                  <a:gd name="connsiteX595" fmla="*/ 2140937 w 2509632"/>
                  <a:gd name="connsiteY595" fmla="*/ 1185509 h 1971366"/>
                  <a:gd name="connsiteX596" fmla="*/ 2151776 w 2509632"/>
                  <a:gd name="connsiteY596" fmla="*/ 1195718 h 1971366"/>
                  <a:gd name="connsiteX597" fmla="*/ 2163769 w 2509632"/>
                  <a:gd name="connsiteY597" fmla="*/ 1201179 h 1971366"/>
                  <a:gd name="connsiteX598" fmla="*/ 2181881 w 2509632"/>
                  <a:gd name="connsiteY598" fmla="*/ 1190202 h 1971366"/>
                  <a:gd name="connsiteX599" fmla="*/ 2193161 w 2509632"/>
                  <a:gd name="connsiteY599" fmla="*/ 1174422 h 1971366"/>
                  <a:gd name="connsiteX600" fmla="*/ 2203973 w 2509632"/>
                  <a:gd name="connsiteY600" fmla="*/ 1175328 h 1971366"/>
                  <a:gd name="connsiteX601" fmla="*/ 2207074 w 2509632"/>
                  <a:gd name="connsiteY601" fmla="*/ 1164543 h 1971366"/>
                  <a:gd name="connsiteX602" fmla="*/ 2212371 w 2509632"/>
                  <a:gd name="connsiteY602" fmla="*/ 1155981 h 1971366"/>
                  <a:gd name="connsiteX603" fmla="*/ 2214100 w 2509632"/>
                  <a:gd name="connsiteY603" fmla="*/ 1145086 h 1971366"/>
                  <a:gd name="connsiteX604" fmla="*/ 2220247 w 2509632"/>
                  <a:gd name="connsiteY604" fmla="*/ 1130980 h 1971366"/>
                  <a:gd name="connsiteX605" fmla="*/ 2225049 w 2509632"/>
                  <a:gd name="connsiteY605" fmla="*/ 1111029 h 1971366"/>
                  <a:gd name="connsiteX606" fmla="*/ 2240061 w 2509632"/>
                  <a:gd name="connsiteY606" fmla="*/ 1081308 h 1971366"/>
                  <a:gd name="connsiteX607" fmla="*/ 2248842 w 2509632"/>
                  <a:gd name="connsiteY607" fmla="*/ 1080595 h 1971366"/>
                  <a:gd name="connsiteX608" fmla="*/ 2252822 w 2509632"/>
                  <a:gd name="connsiteY608" fmla="*/ 1088251 h 1971366"/>
                  <a:gd name="connsiteX609" fmla="*/ 2255703 w 2509632"/>
                  <a:gd name="connsiteY609" fmla="*/ 1100793 h 1971366"/>
                  <a:gd name="connsiteX610" fmla="*/ 2292833 w 2509632"/>
                  <a:gd name="connsiteY610" fmla="*/ 1171760 h 1971366"/>
                  <a:gd name="connsiteX611" fmla="*/ 2295276 w 2509632"/>
                  <a:gd name="connsiteY611" fmla="*/ 1188473 h 1971366"/>
                  <a:gd name="connsiteX612" fmla="*/ 2302823 w 2509632"/>
                  <a:gd name="connsiteY612" fmla="*/ 1194373 h 1971366"/>
                  <a:gd name="connsiteX613" fmla="*/ 2309244 w 2509632"/>
                  <a:gd name="connsiteY613" fmla="*/ 1211525 h 1971366"/>
                  <a:gd name="connsiteX614" fmla="*/ 2328043 w 2509632"/>
                  <a:gd name="connsiteY614" fmla="*/ 1230049 h 1971366"/>
                  <a:gd name="connsiteX615" fmla="*/ 2327412 w 2509632"/>
                  <a:gd name="connsiteY615" fmla="*/ 1236745 h 1971366"/>
                  <a:gd name="connsiteX616" fmla="*/ 2330814 w 2509632"/>
                  <a:gd name="connsiteY616" fmla="*/ 1246323 h 1971366"/>
                  <a:gd name="connsiteX617" fmla="*/ 2331940 w 2509632"/>
                  <a:gd name="connsiteY617" fmla="*/ 1256175 h 1971366"/>
                  <a:gd name="connsiteX618" fmla="*/ 2338032 w 2509632"/>
                  <a:gd name="connsiteY618" fmla="*/ 1262816 h 1971366"/>
                  <a:gd name="connsiteX619" fmla="*/ 2340941 w 2509632"/>
                  <a:gd name="connsiteY619" fmla="*/ 1272201 h 1971366"/>
                  <a:gd name="connsiteX620" fmla="*/ 2343246 w 2509632"/>
                  <a:gd name="connsiteY620" fmla="*/ 1298629 h 1971366"/>
                  <a:gd name="connsiteX621" fmla="*/ 2336660 w 2509632"/>
                  <a:gd name="connsiteY621" fmla="*/ 1311719 h 1971366"/>
                  <a:gd name="connsiteX622" fmla="*/ 2340419 w 2509632"/>
                  <a:gd name="connsiteY622" fmla="*/ 1320035 h 1971366"/>
                  <a:gd name="connsiteX623" fmla="*/ 2350875 w 2509632"/>
                  <a:gd name="connsiteY623" fmla="*/ 1323657 h 1971366"/>
                  <a:gd name="connsiteX624" fmla="*/ 2362017 w 2509632"/>
                  <a:gd name="connsiteY624" fmla="*/ 1335540 h 1971366"/>
                  <a:gd name="connsiteX625" fmla="*/ 2370113 w 2509632"/>
                  <a:gd name="connsiteY625" fmla="*/ 1339135 h 1971366"/>
                  <a:gd name="connsiteX626" fmla="*/ 2377413 w 2509632"/>
                  <a:gd name="connsiteY626" fmla="*/ 1358290 h 1971366"/>
                  <a:gd name="connsiteX627" fmla="*/ 2383807 w 2509632"/>
                  <a:gd name="connsiteY627" fmla="*/ 1356507 h 1971366"/>
                  <a:gd name="connsiteX628" fmla="*/ 2384411 w 2509632"/>
                  <a:gd name="connsiteY628" fmla="*/ 1362736 h 1971366"/>
                  <a:gd name="connsiteX629" fmla="*/ 2394372 w 2509632"/>
                  <a:gd name="connsiteY629" fmla="*/ 1371545 h 1971366"/>
                  <a:gd name="connsiteX630" fmla="*/ 2406859 w 2509632"/>
                  <a:gd name="connsiteY630" fmla="*/ 1371271 h 1971366"/>
                  <a:gd name="connsiteX631" fmla="*/ 2420718 w 2509632"/>
                  <a:gd name="connsiteY631" fmla="*/ 1385404 h 1971366"/>
                  <a:gd name="connsiteX632" fmla="*/ 2440586 w 2509632"/>
                  <a:gd name="connsiteY632" fmla="*/ 1386364 h 1971366"/>
                  <a:gd name="connsiteX633" fmla="*/ 2458369 w 2509632"/>
                  <a:gd name="connsiteY633" fmla="*/ 1399482 h 1971366"/>
                  <a:gd name="connsiteX634" fmla="*/ 2458369 w 2509632"/>
                  <a:gd name="connsiteY634" fmla="*/ 1403598 h 1971366"/>
                  <a:gd name="connsiteX635" fmla="*/ 2443056 w 2509632"/>
                  <a:gd name="connsiteY635" fmla="*/ 1409883 h 1971366"/>
                  <a:gd name="connsiteX636" fmla="*/ 2440916 w 2509632"/>
                  <a:gd name="connsiteY636" fmla="*/ 1413560 h 1971366"/>
                  <a:gd name="connsiteX637" fmla="*/ 2454665 w 2509632"/>
                  <a:gd name="connsiteY637" fmla="*/ 1419543 h 1971366"/>
                  <a:gd name="connsiteX638" fmla="*/ 2467069 w 2509632"/>
                  <a:gd name="connsiteY638" fmla="*/ 1435048 h 1971366"/>
                  <a:gd name="connsiteX639" fmla="*/ 2475878 w 2509632"/>
                  <a:gd name="connsiteY639" fmla="*/ 1437134 h 1971366"/>
                  <a:gd name="connsiteX640" fmla="*/ 2490835 w 2509632"/>
                  <a:gd name="connsiteY640" fmla="*/ 1448386 h 1971366"/>
                  <a:gd name="connsiteX641" fmla="*/ 2504803 w 2509632"/>
                  <a:gd name="connsiteY641" fmla="*/ 1454423 h 1971366"/>
                  <a:gd name="connsiteX642" fmla="*/ 2504391 w 2509632"/>
                  <a:gd name="connsiteY642" fmla="*/ 1462436 h 1971366"/>
                  <a:gd name="connsiteX643" fmla="*/ 2508178 w 2509632"/>
                  <a:gd name="connsiteY643" fmla="*/ 1468501 h 1971366"/>
                  <a:gd name="connsiteX644" fmla="*/ 2504089 w 2509632"/>
                  <a:gd name="connsiteY644" fmla="*/ 1488782 h 1971366"/>
                  <a:gd name="connsiteX645" fmla="*/ 2509633 w 2509632"/>
                  <a:gd name="connsiteY645" fmla="*/ 1506455 h 1971366"/>
                  <a:gd name="connsiteX646" fmla="*/ 2506669 w 2509632"/>
                  <a:gd name="connsiteY646" fmla="*/ 1523497 h 1971366"/>
                  <a:gd name="connsiteX647" fmla="*/ 2493908 w 2509632"/>
                  <a:gd name="connsiteY647" fmla="*/ 1535545 h 1971366"/>
                  <a:gd name="connsiteX648" fmla="*/ 2479912 w 2509632"/>
                  <a:gd name="connsiteY648" fmla="*/ 1543256 h 1971366"/>
                  <a:gd name="connsiteX649" fmla="*/ 2473298 w 2509632"/>
                  <a:gd name="connsiteY649" fmla="*/ 1551297 h 1971366"/>
                  <a:gd name="connsiteX650" fmla="*/ 2456257 w 2509632"/>
                  <a:gd name="connsiteY650" fmla="*/ 1552065 h 1971366"/>
                  <a:gd name="connsiteX651" fmla="*/ 2432655 w 2509632"/>
                  <a:gd name="connsiteY651" fmla="*/ 1561121 h 1971366"/>
                  <a:gd name="connsiteX652" fmla="*/ 2414351 w 2509632"/>
                  <a:gd name="connsiteY652" fmla="*/ 1574596 h 1971366"/>
                  <a:gd name="connsiteX653" fmla="*/ 2406283 w 2509632"/>
                  <a:gd name="connsiteY653" fmla="*/ 1590485 h 1971366"/>
                  <a:gd name="connsiteX654" fmla="*/ 2398160 w 2509632"/>
                  <a:gd name="connsiteY654" fmla="*/ 1592818 h 1971366"/>
                  <a:gd name="connsiteX655" fmla="*/ 2380267 w 2509632"/>
                  <a:gd name="connsiteY655" fmla="*/ 1610079 h 1971366"/>
                  <a:gd name="connsiteX656" fmla="*/ 2351452 w 2509632"/>
                  <a:gd name="connsiteY656" fmla="*/ 1611013 h 1971366"/>
                  <a:gd name="connsiteX657" fmla="*/ 2333312 w 2509632"/>
                  <a:gd name="connsiteY657" fmla="*/ 1614498 h 1971366"/>
                  <a:gd name="connsiteX658" fmla="*/ 2325106 w 2509632"/>
                  <a:gd name="connsiteY658" fmla="*/ 1610052 h 1971366"/>
                  <a:gd name="connsiteX659" fmla="*/ 2301643 w 2509632"/>
                  <a:gd name="connsiteY659" fmla="*/ 1606210 h 1971366"/>
                  <a:gd name="connsiteX660" fmla="*/ 2282076 w 2509632"/>
                  <a:gd name="connsiteY660" fmla="*/ 1609558 h 1971366"/>
                  <a:gd name="connsiteX661" fmla="*/ 2271702 w 2509632"/>
                  <a:gd name="connsiteY661" fmla="*/ 1607280 h 1971366"/>
                  <a:gd name="connsiteX662" fmla="*/ 2267915 w 2509632"/>
                  <a:gd name="connsiteY662" fmla="*/ 1610546 h 1971366"/>
                  <a:gd name="connsiteX663" fmla="*/ 2262948 w 2509632"/>
                  <a:gd name="connsiteY663" fmla="*/ 1606869 h 1971366"/>
                  <a:gd name="connsiteX664" fmla="*/ 2226339 w 2509632"/>
                  <a:gd name="connsiteY664" fmla="*/ 1605853 h 1971366"/>
                  <a:gd name="connsiteX665" fmla="*/ 2209462 w 2509632"/>
                  <a:gd name="connsiteY665" fmla="*/ 1606951 h 1971366"/>
                  <a:gd name="connsiteX666" fmla="*/ 2201997 w 2509632"/>
                  <a:gd name="connsiteY666" fmla="*/ 1609887 h 1971366"/>
                  <a:gd name="connsiteX667" fmla="*/ 2192913 w 2509632"/>
                  <a:gd name="connsiteY667" fmla="*/ 1609119 h 1971366"/>
                  <a:gd name="connsiteX668" fmla="*/ 2178369 w 2509632"/>
                  <a:gd name="connsiteY668" fmla="*/ 1620975 h 1971366"/>
                  <a:gd name="connsiteX669" fmla="*/ 2172880 w 2509632"/>
                  <a:gd name="connsiteY669" fmla="*/ 1629372 h 1971366"/>
                  <a:gd name="connsiteX670" fmla="*/ 2168352 w 2509632"/>
                  <a:gd name="connsiteY670" fmla="*/ 1644548 h 1971366"/>
                  <a:gd name="connsiteX671" fmla="*/ 2162205 w 2509632"/>
                  <a:gd name="connsiteY671" fmla="*/ 1649625 h 1971366"/>
                  <a:gd name="connsiteX672" fmla="*/ 2144477 w 2509632"/>
                  <a:gd name="connsiteY672" fmla="*/ 1653138 h 1971366"/>
                  <a:gd name="connsiteX673" fmla="*/ 2140333 w 2509632"/>
                  <a:gd name="connsiteY673" fmla="*/ 1659751 h 1971366"/>
                  <a:gd name="connsiteX674" fmla="*/ 2134048 w 2509632"/>
                  <a:gd name="connsiteY674" fmla="*/ 1661700 h 1971366"/>
                  <a:gd name="connsiteX675" fmla="*/ 2130837 w 2509632"/>
                  <a:gd name="connsiteY675" fmla="*/ 1662688 h 1971366"/>
                  <a:gd name="connsiteX676" fmla="*/ 2127188 w 2509632"/>
                  <a:gd name="connsiteY676" fmla="*/ 1668670 h 1971366"/>
                  <a:gd name="connsiteX677" fmla="*/ 2116540 w 2509632"/>
                  <a:gd name="connsiteY677" fmla="*/ 1676684 h 1971366"/>
                  <a:gd name="connsiteX678" fmla="*/ 2107346 w 2509632"/>
                  <a:gd name="connsiteY678" fmla="*/ 1691750 h 1971366"/>
                  <a:gd name="connsiteX679" fmla="*/ 2105343 w 2509632"/>
                  <a:gd name="connsiteY679" fmla="*/ 1695016 h 1971366"/>
                  <a:gd name="connsiteX680" fmla="*/ 2095766 w 2509632"/>
                  <a:gd name="connsiteY680" fmla="*/ 1706487 h 1971366"/>
                  <a:gd name="connsiteX681" fmla="*/ 2092225 w 2509632"/>
                  <a:gd name="connsiteY681" fmla="*/ 1714912 h 1971366"/>
                  <a:gd name="connsiteX682" fmla="*/ 2079492 w 2509632"/>
                  <a:gd name="connsiteY682" fmla="*/ 1732805 h 1971366"/>
                  <a:gd name="connsiteX683" fmla="*/ 2073015 w 2509632"/>
                  <a:gd name="connsiteY683" fmla="*/ 1737250 h 1971366"/>
                  <a:gd name="connsiteX684" fmla="*/ 2065908 w 2509632"/>
                  <a:gd name="connsiteY684" fmla="*/ 1753689 h 1971366"/>
                  <a:gd name="connsiteX685" fmla="*/ 2069475 w 2509632"/>
                  <a:gd name="connsiteY685" fmla="*/ 1753085 h 1971366"/>
                  <a:gd name="connsiteX686" fmla="*/ 2072192 w 2509632"/>
                  <a:gd name="connsiteY686" fmla="*/ 1748776 h 1971366"/>
                  <a:gd name="connsiteX687" fmla="*/ 2076034 w 2509632"/>
                  <a:gd name="connsiteY687" fmla="*/ 1748721 h 1971366"/>
                  <a:gd name="connsiteX688" fmla="*/ 2092225 w 2509632"/>
                  <a:gd name="connsiteY688" fmla="*/ 1727179 h 1971366"/>
                  <a:gd name="connsiteX689" fmla="*/ 2105480 w 2509632"/>
                  <a:gd name="connsiteY689" fmla="*/ 1709313 h 1971366"/>
                  <a:gd name="connsiteX690" fmla="*/ 2107346 w 2509632"/>
                  <a:gd name="connsiteY690" fmla="*/ 1707914 h 1971366"/>
                  <a:gd name="connsiteX691" fmla="*/ 2134076 w 2509632"/>
                  <a:gd name="connsiteY691" fmla="*/ 1687935 h 1971366"/>
                  <a:gd name="connsiteX692" fmla="*/ 2144504 w 2509632"/>
                  <a:gd name="connsiteY692" fmla="*/ 1680114 h 1971366"/>
                  <a:gd name="connsiteX693" fmla="*/ 2162232 w 2509632"/>
                  <a:gd name="connsiteY693" fmla="*/ 1671579 h 1971366"/>
                  <a:gd name="connsiteX694" fmla="*/ 2199033 w 2509632"/>
                  <a:gd name="connsiteY694" fmla="*/ 1656348 h 1971366"/>
                  <a:gd name="connsiteX695" fmla="*/ 2220796 w 2509632"/>
                  <a:gd name="connsiteY695" fmla="*/ 1653851 h 1971366"/>
                  <a:gd name="connsiteX696" fmla="*/ 2241378 w 2509632"/>
                  <a:gd name="connsiteY696" fmla="*/ 1657748 h 1971366"/>
                  <a:gd name="connsiteX697" fmla="*/ 2255127 w 2509632"/>
                  <a:gd name="connsiteY697" fmla="*/ 1668121 h 1971366"/>
                  <a:gd name="connsiteX698" fmla="*/ 2256801 w 2509632"/>
                  <a:gd name="connsiteY698" fmla="*/ 1681349 h 1971366"/>
                  <a:gd name="connsiteX699" fmla="*/ 2255977 w 2509632"/>
                  <a:gd name="connsiteY699" fmla="*/ 1687277 h 1971366"/>
                  <a:gd name="connsiteX700" fmla="*/ 2240143 w 2509632"/>
                  <a:gd name="connsiteY700" fmla="*/ 1700724 h 1971366"/>
                  <a:gd name="connsiteX701" fmla="*/ 2225351 w 2509632"/>
                  <a:gd name="connsiteY701" fmla="*/ 1707337 h 1971366"/>
                  <a:gd name="connsiteX702" fmla="*/ 2208611 w 2509632"/>
                  <a:gd name="connsiteY702" fmla="*/ 1701821 h 1971366"/>
                  <a:gd name="connsiteX703" fmla="*/ 2200131 w 2509632"/>
                  <a:gd name="connsiteY703" fmla="*/ 1705993 h 1971366"/>
                  <a:gd name="connsiteX704" fmla="*/ 2199966 w 2509632"/>
                  <a:gd name="connsiteY704" fmla="*/ 1706102 h 1971366"/>
                  <a:gd name="connsiteX705" fmla="*/ 2199857 w 2509632"/>
                  <a:gd name="connsiteY705" fmla="*/ 1706295 h 1971366"/>
                  <a:gd name="connsiteX706" fmla="*/ 2199774 w 2509632"/>
                  <a:gd name="connsiteY706" fmla="*/ 1706542 h 1971366"/>
                  <a:gd name="connsiteX707" fmla="*/ 2199774 w 2509632"/>
                  <a:gd name="connsiteY707" fmla="*/ 1706816 h 1971366"/>
                  <a:gd name="connsiteX708" fmla="*/ 2199774 w 2509632"/>
                  <a:gd name="connsiteY708" fmla="*/ 1707063 h 1971366"/>
                  <a:gd name="connsiteX709" fmla="*/ 2199884 w 2509632"/>
                  <a:gd name="connsiteY709" fmla="*/ 1707310 h 1971366"/>
                  <a:gd name="connsiteX710" fmla="*/ 2200021 w 2509632"/>
                  <a:gd name="connsiteY710" fmla="*/ 1707474 h 1971366"/>
                  <a:gd name="connsiteX711" fmla="*/ 2218628 w 2509632"/>
                  <a:gd name="connsiteY711" fmla="*/ 1721910 h 1971366"/>
                  <a:gd name="connsiteX712" fmla="*/ 2231608 w 2509632"/>
                  <a:gd name="connsiteY712" fmla="*/ 1717903 h 1971366"/>
                  <a:gd name="connsiteX713" fmla="*/ 2244973 w 2509632"/>
                  <a:gd name="connsiteY713" fmla="*/ 1717162 h 1971366"/>
                  <a:gd name="connsiteX714" fmla="*/ 2229248 w 2509632"/>
                  <a:gd name="connsiteY714" fmla="*/ 1748173 h 1971366"/>
                  <a:gd name="connsiteX715" fmla="*/ 2238798 w 2509632"/>
                  <a:gd name="connsiteY715" fmla="*/ 1751136 h 1971366"/>
                  <a:gd name="connsiteX716" fmla="*/ 2238963 w 2509632"/>
                  <a:gd name="connsiteY716" fmla="*/ 1760632 h 1971366"/>
                  <a:gd name="connsiteX717" fmla="*/ 2249638 w 2509632"/>
                  <a:gd name="connsiteY717" fmla="*/ 1782696 h 1971366"/>
                  <a:gd name="connsiteX718" fmla="*/ 2267421 w 2509632"/>
                  <a:gd name="connsiteY718" fmla="*/ 1789447 h 1971366"/>
                  <a:gd name="connsiteX719" fmla="*/ 2266872 w 2509632"/>
                  <a:gd name="connsiteY719" fmla="*/ 1795237 h 1971366"/>
                  <a:gd name="connsiteX720" fmla="*/ 2269562 w 2509632"/>
                  <a:gd name="connsiteY720" fmla="*/ 1797734 h 1971366"/>
                  <a:gd name="connsiteX721" fmla="*/ 2286576 w 2509632"/>
                  <a:gd name="connsiteY721" fmla="*/ 1805858 h 1971366"/>
                  <a:gd name="connsiteX722" fmla="*/ 2299228 w 2509632"/>
                  <a:gd name="connsiteY722" fmla="*/ 1805858 h 1971366"/>
                  <a:gd name="connsiteX723" fmla="*/ 2309766 w 2509632"/>
                  <a:gd name="connsiteY723" fmla="*/ 1809398 h 1971366"/>
                  <a:gd name="connsiteX724" fmla="*/ 2324009 w 2509632"/>
                  <a:gd name="connsiteY724" fmla="*/ 1803168 h 1971366"/>
                  <a:gd name="connsiteX725" fmla="*/ 2329827 w 2509632"/>
                  <a:gd name="connsiteY725" fmla="*/ 1808904 h 1971366"/>
                  <a:gd name="connsiteX726" fmla="*/ 2335644 w 2509632"/>
                  <a:gd name="connsiteY726" fmla="*/ 1808794 h 1971366"/>
                  <a:gd name="connsiteX727" fmla="*/ 2338087 w 2509632"/>
                  <a:gd name="connsiteY727" fmla="*/ 1805199 h 1971366"/>
                  <a:gd name="connsiteX728" fmla="*/ 2340145 w 2509632"/>
                  <a:gd name="connsiteY728" fmla="*/ 1789666 h 1971366"/>
                  <a:gd name="connsiteX729" fmla="*/ 2358340 w 2509632"/>
                  <a:gd name="connsiteY729" fmla="*/ 1761208 h 1971366"/>
                  <a:gd name="connsiteX730" fmla="*/ 2367424 w 2509632"/>
                  <a:gd name="connsiteY730" fmla="*/ 1752920 h 1971366"/>
                  <a:gd name="connsiteX731" fmla="*/ 2370003 w 2509632"/>
                  <a:gd name="connsiteY731" fmla="*/ 1754732 h 1971366"/>
                  <a:gd name="connsiteX732" fmla="*/ 2372144 w 2509632"/>
                  <a:gd name="connsiteY732" fmla="*/ 1760961 h 1971366"/>
                  <a:gd name="connsiteX733" fmla="*/ 2369153 w 2509632"/>
                  <a:gd name="connsiteY733" fmla="*/ 1780501 h 1971366"/>
                  <a:gd name="connsiteX734" fmla="*/ 2384740 w 2509632"/>
                  <a:gd name="connsiteY734" fmla="*/ 1789776 h 1971366"/>
                  <a:gd name="connsiteX735" fmla="*/ 2384740 w 2509632"/>
                  <a:gd name="connsiteY735" fmla="*/ 1795704 h 1971366"/>
                  <a:gd name="connsiteX736" fmla="*/ 2369344 w 2509632"/>
                  <a:gd name="connsiteY736" fmla="*/ 1809755 h 1971366"/>
                  <a:gd name="connsiteX737" fmla="*/ 2345332 w 2509632"/>
                  <a:gd name="connsiteY737" fmla="*/ 1816094 h 1971366"/>
                  <a:gd name="connsiteX738" fmla="*/ 2343082 w 2509632"/>
                  <a:gd name="connsiteY738" fmla="*/ 1820924 h 1971366"/>
                  <a:gd name="connsiteX739" fmla="*/ 2350958 w 2509632"/>
                  <a:gd name="connsiteY739" fmla="*/ 1823750 h 1971366"/>
                  <a:gd name="connsiteX740" fmla="*/ 2349256 w 2509632"/>
                  <a:gd name="connsiteY740" fmla="*/ 1827592 h 1971366"/>
                  <a:gd name="connsiteX741" fmla="*/ 2341682 w 2509632"/>
                  <a:gd name="connsiteY741" fmla="*/ 1828718 h 1971366"/>
                  <a:gd name="connsiteX742" fmla="*/ 2298871 w 2509632"/>
                  <a:gd name="connsiteY742" fmla="*/ 1849382 h 1971366"/>
                  <a:gd name="connsiteX743" fmla="*/ 2283942 w 2509632"/>
                  <a:gd name="connsiteY743" fmla="*/ 1852675 h 1971366"/>
                  <a:gd name="connsiteX744" fmla="*/ 2275242 w 2509632"/>
                  <a:gd name="connsiteY744" fmla="*/ 1858878 h 1971366"/>
                  <a:gd name="connsiteX745" fmla="*/ 2263305 w 2509632"/>
                  <a:gd name="connsiteY745" fmla="*/ 1854761 h 1971366"/>
                  <a:gd name="connsiteX746" fmla="*/ 2259106 w 2509632"/>
                  <a:gd name="connsiteY746" fmla="*/ 1857862 h 1971366"/>
                  <a:gd name="connsiteX747" fmla="*/ 2258200 w 2509632"/>
                  <a:gd name="connsiteY747" fmla="*/ 1864119 h 1971366"/>
                  <a:gd name="connsiteX748" fmla="*/ 2255209 w 2509632"/>
                  <a:gd name="connsiteY748" fmla="*/ 1868812 h 1971366"/>
                  <a:gd name="connsiteX749" fmla="*/ 2246674 w 2509632"/>
                  <a:gd name="connsiteY749" fmla="*/ 1876578 h 1971366"/>
                  <a:gd name="connsiteX750" fmla="*/ 2243930 w 2509632"/>
                  <a:gd name="connsiteY750" fmla="*/ 1878911 h 1971366"/>
                  <a:gd name="connsiteX751" fmla="*/ 2238359 w 2509632"/>
                  <a:gd name="connsiteY751" fmla="*/ 1886869 h 1971366"/>
                  <a:gd name="connsiteX752" fmla="*/ 2221976 w 2509632"/>
                  <a:gd name="connsiteY752" fmla="*/ 1898697 h 1971366"/>
                  <a:gd name="connsiteX753" fmla="*/ 2214731 w 2509632"/>
                  <a:gd name="connsiteY753" fmla="*/ 1898999 h 1971366"/>
                  <a:gd name="connsiteX754" fmla="*/ 2210450 w 2509632"/>
                  <a:gd name="connsiteY754" fmla="*/ 1892550 h 1971366"/>
                  <a:gd name="connsiteX755" fmla="*/ 2204220 w 2509632"/>
                  <a:gd name="connsiteY755" fmla="*/ 1891370 h 1971366"/>
                  <a:gd name="connsiteX756" fmla="*/ 2202052 w 2509632"/>
                  <a:gd name="connsiteY756" fmla="*/ 1885579 h 1971366"/>
                  <a:gd name="connsiteX757" fmla="*/ 2202217 w 2509632"/>
                  <a:gd name="connsiteY757" fmla="*/ 1876551 h 1971366"/>
                  <a:gd name="connsiteX758" fmla="*/ 2202354 w 2509632"/>
                  <a:gd name="connsiteY758" fmla="*/ 1867385 h 1971366"/>
                  <a:gd name="connsiteX759" fmla="*/ 2209187 w 2509632"/>
                  <a:gd name="connsiteY759" fmla="*/ 1853828 h 1971366"/>
                  <a:gd name="connsiteX760" fmla="*/ 2250955 w 2509632"/>
                  <a:gd name="connsiteY760" fmla="*/ 1826577 h 1971366"/>
                  <a:gd name="connsiteX761" fmla="*/ 2258283 w 2509632"/>
                  <a:gd name="connsiteY761" fmla="*/ 1831489 h 1971366"/>
                  <a:gd name="connsiteX762" fmla="*/ 2272389 w 2509632"/>
                  <a:gd name="connsiteY762" fmla="*/ 1824080 h 1971366"/>
                  <a:gd name="connsiteX763" fmla="*/ 2272526 w 2509632"/>
                  <a:gd name="connsiteY763" fmla="*/ 1823970 h 1971366"/>
                  <a:gd name="connsiteX764" fmla="*/ 2272635 w 2509632"/>
                  <a:gd name="connsiteY764" fmla="*/ 1823805 h 1971366"/>
                  <a:gd name="connsiteX765" fmla="*/ 2272718 w 2509632"/>
                  <a:gd name="connsiteY765" fmla="*/ 1823613 h 1971366"/>
                  <a:gd name="connsiteX766" fmla="*/ 2272718 w 2509632"/>
                  <a:gd name="connsiteY766" fmla="*/ 1823394 h 1971366"/>
                  <a:gd name="connsiteX767" fmla="*/ 2272718 w 2509632"/>
                  <a:gd name="connsiteY767" fmla="*/ 1823147 h 1971366"/>
                  <a:gd name="connsiteX768" fmla="*/ 2272663 w 2509632"/>
                  <a:gd name="connsiteY768" fmla="*/ 1822955 h 1971366"/>
                  <a:gd name="connsiteX769" fmla="*/ 2272553 w 2509632"/>
                  <a:gd name="connsiteY769" fmla="*/ 1822790 h 1971366"/>
                  <a:gd name="connsiteX770" fmla="*/ 2272416 w 2509632"/>
                  <a:gd name="connsiteY770" fmla="*/ 1822653 h 1971366"/>
                  <a:gd name="connsiteX771" fmla="*/ 2272251 w 2509632"/>
                  <a:gd name="connsiteY771" fmla="*/ 1822598 h 1971366"/>
                  <a:gd name="connsiteX772" fmla="*/ 2259216 w 2509632"/>
                  <a:gd name="connsiteY772" fmla="*/ 1820759 h 1971366"/>
                  <a:gd name="connsiteX773" fmla="*/ 2239210 w 2509632"/>
                  <a:gd name="connsiteY773" fmla="*/ 1822351 h 1971366"/>
                  <a:gd name="connsiteX774" fmla="*/ 2239951 w 2509632"/>
                  <a:gd name="connsiteY774" fmla="*/ 1818372 h 1971366"/>
                  <a:gd name="connsiteX775" fmla="*/ 2249391 w 2509632"/>
                  <a:gd name="connsiteY775" fmla="*/ 1808327 h 1971366"/>
                  <a:gd name="connsiteX776" fmla="*/ 2248156 w 2509632"/>
                  <a:gd name="connsiteY776" fmla="*/ 1804074 h 1971366"/>
                  <a:gd name="connsiteX777" fmla="*/ 2241460 w 2509632"/>
                  <a:gd name="connsiteY777" fmla="*/ 1811291 h 1971366"/>
                  <a:gd name="connsiteX778" fmla="*/ 2209791 w 2509632"/>
                  <a:gd name="connsiteY778" fmla="*/ 1827840 h 1971366"/>
                  <a:gd name="connsiteX779" fmla="*/ 2203781 w 2509632"/>
                  <a:gd name="connsiteY779" fmla="*/ 1827236 h 1971366"/>
                  <a:gd name="connsiteX780" fmla="*/ 2194066 w 2509632"/>
                  <a:gd name="connsiteY780" fmla="*/ 1832834 h 1971366"/>
                  <a:gd name="connsiteX781" fmla="*/ 2182567 w 2509632"/>
                  <a:gd name="connsiteY781" fmla="*/ 1835030 h 1971366"/>
                  <a:gd name="connsiteX782" fmla="*/ 2179137 w 2509632"/>
                  <a:gd name="connsiteY782" fmla="*/ 1835633 h 1971366"/>
                  <a:gd name="connsiteX783" fmla="*/ 2177381 w 2509632"/>
                  <a:gd name="connsiteY783" fmla="*/ 1831517 h 1971366"/>
                  <a:gd name="connsiteX784" fmla="*/ 2177381 w 2509632"/>
                  <a:gd name="connsiteY784" fmla="*/ 1830172 h 1971366"/>
                  <a:gd name="connsiteX785" fmla="*/ 2174060 w 2509632"/>
                  <a:gd name="connsiteY785" fmla="*/ 1833054 h 1971366"/>
                  <a:gd name="connsiteX786" fmla="*/ 2172084 w 2509632"/>
                  <a:gd name="connsiteY786" fmla="*/ 1830584 h 1971366"/>
                  <a:gd name="connsiteX787" fmla="*/ 2168819 w 2509632"/>
                  <a:gd name="connsiteY787" fmla="*/ 1829596 h 1971366"/>
                  <a:gd name="connsiteX788" fmla="*/ 2168489 w 2509632"/>
                  <a:gd name="connsiteY788" fmla="*/ 1829514 h 1971366"/>
                  <a:gd name="connsiteX789" fmla="*/ 2165827 w 2509632"/>
                  <a:gd name="connsiteY789" fmla="*/ 1830309 h 1971366"/>
                  <a:gd name="connsiteX790" fmla="*/ 2163357 w 2509632"/>
                  <a:gd name="connsiteY790" fmla="*/ 1826851 h 1971366"/>
                  <a:gd name="connsiteX791" fmla="*/ 2162918 w 2509632"/>
                  <a:gd name="connsiteY791" fmla="*/ 1814448 h 1971366"/>
                  <a:gd name="connsiteX792" fmla="*/ 2153066 w 2509632"/>
                  <a:gd name="connsiteY792" fmla="*/ 1806489 h 1971366"/>
                  <a:gd name="connsiteX793" fmla="*/ 2151969 w 2509632"/>
                  <a:gd name="connsiteY793" fmla="*/ 1749490 h 1971366"/>
                  <a:gd name="connsiteX794" fmla="*/ 2140552 w 2509632"/>
                  <a:gd name="connsiteY794" fmla="*/ 1738156 h 1971366"/>
                  <a:gd name="connsiteX795" fmla="*/ 2120574 w 2509632"/>
                  <a:gd name="connsiteY795" fmla="*/ 1743836 h 1971366"/>
                  <a:gd name="connsiteX796" fmla="*/ 2117034 w 2509632"/>
                  <a:gd name="connsiteY796" fmla="*/ 1741202 h 1971366"/>
                  <a:gd name="connsiteX797" fmla="*/ 2115140 w 2509632"/>
                  <a:gd name="connsiteY797" fmla="*/ 1734808 h 1971366"/>
                  <a:gd name="connsiteX798" fmla="*/ 2112231 w 2509632"/>
                  <a:gd name="connsiteY798" fmla="*/ 1733847 h 1971366"/>
                  <a:gd name="connsiteX799" fmla="*/ 2107237 w 2509632"/>
                  <a:gd name="connsiteY799" fmla="*/ 1740461 h 1971366"/>
                  <a:gd name="connsiteX800" fmla="*/ 2089344 w 2509632"/>
                  <a:gd name="connsiteY800" fmla="*/ 1764995 h 1971366"/>
                  <a:gd name="connsiteX801" fmla="*/ 2086133 w 2509632"/>
                  <a:gd name="connsiteY801" fmla="*/ 1776713 h 1971366"/>
                  <a:gd name="connsiteX802" fmla="*/ 2080425 w 2509632"/>
                  <a:gd name="connsiteY802" fmla="*/ 1786071 h 1971366"/>
                  <a:gd name="connsiteX803" fmla="*/ 2079848 w 2509632"/>
                  <a:gd name="connsiteY803" fmla="*/ 1800287 h 1971366"/>
                  <a:gd name="connsiteX804" fmla="*/ 2068652 w 2509632"/>
                  <a:gd name="connsiteY804" fmla="*/ 1814338 h 1971366"/>
                  <a:gd name="connsiteX805" fmla="*/ 2068597 w 2509632"/>
                  <a:gd name="connsiteY805" fmla="*/ 1819991 h 1971366"/>
                  <a:gd name="connsiteX806" fmla="*/ 2064947 w 2509632"/>
                  <a:gd name="connsiteY806" fmla="*/ 1821061 h 1971366"/>
                  <a:gd name="connsiteX807" fmla="*/ 2062889 w 2509632"/>
                  <a:gd name="connsiteY807" fmla="*/ 1825452 h 1971366"/>
                  <a:gd name="connsiteX808" fmla="*/ 2058800 w 2509632"/>
                  <a:gd name="connsiteY808" fmla="*/ 1823750 h 1971366"/>
                  <a:gd name="connsiteX809" fmla="*/ 2049359 w 2509632"/>
                  <a:gd name="connsiteY809" fmla="*/ 1826165 h 1971366"/>
                  <a:gd name="connsiteX810" fmla="*/ 2040440 w 2509632"/>
                  <a:gd name="connsiteY810" fmla="*/ 1837115 h 1971366"/>
                  <a:gd name="connsiteX811" fmla="*/ 1945735 w 2509632"/>
                  <a:gd name="connsiteY811" fmla="*/ 1837390 h 1971366"/>
                  <a:gd name="connsiteX812" fmla="*/ 1927704 w 2509632"/>
                  <a:gd name="connsiteY812" fmla="*/ 1848559 h 1971366"/>
                  <a:gd name="connsiteX813" fmla="*/ 1915273 w 2509632"/>
                  <a:gd name="connsiteY813" fmla="*/ 1862308 h 1971366"/>
                  <a:gd name="connsiteX814" fmla="*/ 1899603 w 2509632"/>
                  <a:gd name="connsiteY814" fmla="*/ 1874520 h 1971366"/>
                  <a:gd name="connsiteX815" fmla="*/ 1898396 w 2509632"/>
                  <a:gd name="connsiteY815" fmla="*/ 1876386 h 1971366"/>
                  <a:gd name="connsiteX816" fmla="*/ 1887446 w 2509632"/>
                  <a:gd name="connsiteY816" fmla="*/ 1892934 h 1971366"/>
                  <a:gd name="connsiteX817" fmla="*/ 1834316 w 2509632"/>
                  <a:gd name="connsiteY817" fmla="*/ 1893648 h 1971366"/>
                  <a:gd name="connsiteX818" fmla="*/ 1820046 w 2509632"/>
                  <a:gd name="connsiteY818" fmla="*/ 1899960 h 1971366"/>
                  <a:gd name="connsiteX819" fmla="*/ 1822131 w 2509632"/>
                  <a:gd name="connsiteY819" fmla="*/ 1915328 h 1971366"/>
                  <a:gd name="connsiteX820" fmla="*/ 1825644 w 2509632"/>
                  <a:gd name="connsiteY820" fmla="*/ 1923149 h 1971366"/>
                  <a:gd name="connsiteX821" fmla="*/ 1823339 w 2509632"/>
                  <a:gd name="connsiteY821" fmla="*/ 1926991 h 1971366"/>
                  <a:gd name="connsiteX822" fmla="*/ 1815435 w 2509632"/>
                  <a:gd name="connsiteY822" fmla="*/ 1931053 h 1971366"/>
                  <a:gd name="connsiteX823" fmla="*/ 1808931 w 2509632"/>
                  <a:gd name="connsiteY823" fmla="*/ 1934373 h 1971366"/>
                  <a:gd name="connsiteX824" fmla="*/ 1795484 w 2509632"/>
                  <a:gd name="connsiteY824" fmla="*/ 1941124 h 1971366"/>
                  <a:gd name="connsiteX825" fmla="*/ 1791203 w 2509632"/>
                  <a:gd name="connsiteY825" fmla="*/ 1943265 h 1971366"/>
                  <a:gd name="connsiteX826" fmla="*/ 1763101 w 2509632"/>
                  <a:gd name="connsiteY826" fmla="*/ 1949741 h 1971366"/>
                  <a:gd name="connsiteX827" fmla="*/ 1757531 w 2509632"/>
                  <a:gd name="connsiteY827" fmla="*/ 1951031 h 1971366"/>
                  <a:gd name="connsiteX828" fmla="*/ 1725093 w 2509632"/>
                  <a:gd name="connsiteY828" fmla="*/ 1970598 h 1971366"/>
                  <a:gd name="connsiteX829" fmla="*/ 1716037 w 2509632"/>
                  <a:gd name="connsiteY829" fmla="*/ 1971366 h 1971366"/>
                  <a:gd name="connsiteX830" fmla="*/ 1703907 w 2509632"/>
                  <a:gd name="connsiteY830" fmla="*/ 1963326 h 1971366"/>
                  <a:gd name="connsiteX831" fmla="*/ 1702151 w 2509632"/>
                  <a:gd name="connsiteY831" fmla="*/ 1952294 h 1971366"/>
                  <a:gd name="connsiteX832" fmla="*/ 1703111 w 2509632"/>
                  <a:gd name="connsiteY832" fmla="*/ 1949741 h 1971366"/>
                  <a:gd name="connsiteX833" fmla="*/ 1704099 w 2509632"/>
                  <a:gd name="connsiteY833" fmla="*/ 1947107 h 1971366"/>
                  <a:gd name="connsiteX834" fmla="*/ 1711180 w 2509632"/>
                  <a:gd name="connsiteY834" fmla="*/ 1943237 h 1971366"/>
                  <a:gd name="connsiteX835" fmla="*/ 1713100 w 2509632"/>
                  <a:gd name="connsiteY835" fmla="*/ 1941124 h 1971366"/>
                  <a:gd name="connsiteX836" fmla="*/ 1719275 w 2509632"/>
                  <a:gd name="connsiteY836" fmla="*/ 1934373 h 1971366"/>
                  <a:gd name="connsiteX837" fmla="*/ 1720236 w 2509632"/>
                  <a:gd name="connsiteY837" fmla="*/ 1931053 h 1971366"/>
                  <a:gd name="connsiteX838" fmla="*/ 1722541 w 2509632"/>
                  <a:gd name="connsiteY838" fmla="*/ 1923149 h 1971366"/>
                  <a:gd name="connsiteX839" fmla="*/ 1731048 w 2509632"/>
                  <a:gd name="connsiteY839" fmla="*/ 1893757 h 1971366"/>
                  <a:gd name="connsiteX840" fmla="*/ 1728167 w 2509632"/>
                  <a:gd name="connsiteY840" fmla="*/ 1876359 h 1971366"/>
                  <a:gd name="connsiteX841" fmla="*/ 1719824 w 2509632"/>
                  <a:gd name="connsiteY841" fmla="*/ 1825040 h 1971366"/>
                  <a:gd name="connsiteX842" fmla="*/ 1690350 w 2509632"/>
                  <a:gd name="connsiteY842" fmla="*/ 1803937 h 1971366"/>
                  <a:gd name="connsiteX843" fmla="*/ 1691832 w 2509632"/>
                  <a:gd name="connsiteY843" fmla="*/ 1795621 h 1971366"/>
                  <a:gd name="connsiteX844" fmla="*/ 1689390 w 2509632"/>
                  <a:gd name="connsiteY844" fmla="*/ 1791972 h 1971366"/>
                  <a:gd name="connsiteX845" fmla="*/ 1677232 w 2509632"/>
                  <a:gd name="connsiteY845" fmla="*/ 1791066 h 1971366"/>
                  <a:gd name="connsiteX846" fmla="*/ 1673363 w 2509632"/>
                  <a:gd name="connsiteY846" fmla="*/ 1784013 h 1971366"/>
                  <a:gd name="connsiteX847" fmla="*/ 1671607 w 2509632"/>
                  <a:gd name="connsiteY847" fmla="*/ 1774243 h 1971366"/>
                  <a:gd name="connsiteX848" fmla="*/ 1659779 w 2509632"/>
                  <a:gd name="connsiteY848" fmla="*/ 1774682 h 1971366"/>
                  <a:gd name="connsiteX849" fmla="*/ 1654400 w 2509632"/>
                  <a:gd name="connsiteY849" fmla="*/ 1768343 h 1971366"/>
                  <a:gd name="connsiteX850" fmla="*/ 1648527 w 2509632"/>
                  <a:gd name="connsiteY850" fmla="*/ 1755994 h 1971366"/>
                  <a:gd name="connsiteX851" fmla="*/ 1570507 w 2509632"/>
                  <a:gd name="connsiteY851" fmla="*/ 1709807 h 1971366"/>
                  <a:gd name="connsiteX852" fmla="*/ 1548196 w 2509632"/>
                  <a:gd name="connsiteY852" fmla="*/ 1696415 h 1971366"/>
                  <a:gd name="connsiteX853" fmla="*/ 1538536 w 2509632"/>
                  <a:gd name="connsiteY853" fmla="*/ 1698638 h 1971366"/>
                  <a:gd name="connsiteX854" fmla="*/ 1518118 w 2509632"/>
                  <a:gd name="connsiteY854" fmla="*/ 1709643 h 1971366"/>
                  <a:gd name="connsiteX855" fmla="*/ 1503354 w 2509632"/>
                  <a:gd name="connsiteY855" fmla="*/ 1709039 h 1971366"/>
                  <a:gd name="connsiteX856" fmla="*/ 1495231 w 2509632"/>
                  <a:gd name="connsiteY856" fmla="*/ 1704456 h 1971366"/>
                  <a:gd name="connsiteX857" fmla="*/ 1491004 w 2509632"/>
                  <a:gd name="connsiteY857" fmla="*/ 1704456 h 1971366"/>
                  <a:gd name="connsiteX858" fmla="*/ 1486339 w 2509632"/>
                  <a:gd name="connsiteY858" fmla="*/ 1704456 h 1971366"/>
                  <a:gd name="connsiteX859" fmla="*/ 1479067 w 2509632"/>
                  <a:gd name="connsiteY859" fmla="*/ 1704456 h 1971366"/>
                  <a:gd name="connsiteX860" fmla="*/ 1476515 w 2509632"/>
                  <a:gd name="connsiteY860" fmla="*/ 1702151 h 1971366"/>
                  <a:gd name="connsiteX861" fmla="*/ 1473414 w 2509632"/>
                  <a:gd name="connsiteY861" fmla="*/ 1699379 h 1971366"/>
                  <a:gd name="connsiteX862" fmla="*/ 1462272 w 2509632"/>
                  <a:gd name="connsiteY862" fmla="*/ 1705307 h 1971366"/>
                  <a:gd name="connsiteX863" fmla="*/ 1455301 w 2509632"/>
                  <a:gd name="connsiteY863" fmla="*/ 1706102 h 1971366"/>
                  <a:gd name="connsiteX864" fmla="*/ 1447864 w 2509632"/>
                  <a:gd name="connsiteY864" fmla="*/ 1700175 h 1971366"/>
                  <a:gd name="connsiteX865" fmla="*/ 1442129 w 2509632"/>
                  <a:gd name="connsiteY865" fmla="*/ 1697952 h 1971366"/>
                  <a:gd name="connsiteX866" fmla="*/ 1438890 w 2509632"/>
                  <a:gd name="connsiteY866" fmla="*/ 1693369 h 1971366"/>
                  <a:gd name="connsiteX867" fmla="*/ 1433100 w 2509632"/>
                  <a:gd name="connsiteY867" fmla="*/ 1693589 h 1971366"/>
                  <a:gd name="connsiteX868" fmla="*/ 1432084 w 2509632"/>
                  <a:gd name="connsiteY868" fmla="*/ 1698007 h 1971366"/>
                  <a:gd name="connsiteX869" fmla="*/ 1430218 w 2509632"/>
                  <a:gd name="connsiteY869" fmla="*/ 1698281 h 1971366"/>
                  <a:gd name="connsiteX870" fmla="*/ 1425937 w 2509632"/>
                  <a:gd name="connsiteY870" fmla="*/ 1689993 h 1971366"/>
                  <a:gd name="connsiteX871" fmla="*/ 1421409 w 2509632"/>
                  <a:gd name="connsiteY871" fmla="*/ 1688759 h 1971366"/>
                  <a:gd name="connsiteX872" fmla="*/ 1421958 w 2509632"/>
                  <a:gd name="connsiteY872" fmla="*/ 1685603 h 1971366"/>
                  <a:gd name="connsiteX873" fmla="*/ 1412682 w 2509632"/>
                  <a:gd name="connsiteY873" fmla="*/ 1681459 h 1971366"/>
                  <a:gd name="connsiteX874" fmla="*/ 1401842 w 2509632"/>
                  <a:gd name="connsiteY874" fmla="*/ 1681294 h 1971366"/>
                  <a:gd name="connsiteX875" fmla="*/ 1396518 w 2509632"/>
                  <a:gd name="connsiteY875" fmla="*/ 1685191 h 1971366"/>
                  <a:gd name="connsiteX876" fmla="*/ 1389603 w 2509632"/>
                  <a:gd name="connsiteY876" fmla="*/ 1685795 h 1971366"/>
                  <a:gd name="connsiteX877" fmla="*/ 1386117 w 2509632"/>
                  <a:gd name="connsiteY877" fmla="*/ 1681184 h 1971366"/>
                  <a:gd name="connsiteX878" fmla="*/ 1365124 w 2509632"/>
                  <a:gd name="connsiteY878" fmla="*/ 1677013 h 1971366"/>
                  <a:gd name="connsiteX879" fmla="*/ 1362215 w 2509632"/>
                  <a:gd name="connsiteY879" fmla="*/ 1673857 h 1971366"/>
                  <a:gd name="connsiteX880" fmla="*/ 1357385 w 2509632"/>
                  <a:gd name="connsiteY880" fmla="*/ 1650915 h 1971366"/>
                  <a:gd name="connsiteX881" fmla="*/ 1349015 w 2509632"/>
                  <a:gd name="connsiteY881" fmla="*/ 1648061 h 1971366"/>
                  <a:gd name="connsiteX882" fmla="*/ 1347889 w 2509632"/>
                  <a:gd name="connsiteY882" fmla="*/ 1663484 h 1971366"/>
                  <a:gd name="connsiteX883" fmla="*/ 1345886 w 2509632"/>
                  <a:gd name="connsiteY883" fmla="*/ 1664718 h 1971366"/>
                  <a:gd name="connsiteX884" fmla="*/ 912863 w 2509632"/>
                  <a:gd name="connsiteY884" fmla="*/ 1664856 h 1971366"/>
                  <a:gd name="connsiteX885" fmla="*/ 841155 w 2509632"/>
                  <a:gd name="connsiteY885" fmla="*/ 1664801 h 1971366"/>
                  <a:gd name="connsiteX886" fmla="*/ 560056 w 2509632"/>
                  <a:gd name="connsiteY886" fmla="*/ 1664664 h 1971366"/>
                  <a:gd name="connsiteX887" fmla="*/ 536538 w 2509632"/>
                  <a:gd name="connsiteY887" fmla="*/ 1664664 h 1971366"/>
                  <a:gd name="connsiteX888" fmla="*/ 531186 w 2509632"/>
                  <a:gd name="connsiteY888" fmla="*/ 1661343 h 1971366"/>
                  <a:gd name="connsiteX889" fmla="*/ 528332 w 2509632"/>
                  <a:gd name="connsiteY889" fmla="*/ 1664581 h 1971366"/>
                  <a:gd name="connsiteX890" fmla="*/ 526686 w 2509632"/>
                  <a:gd name="connsiteY890" fmla="*/ 1664581 h 1971366"/>
                  <a:gd name="connsiteX891" fmla="*/ 523722 w 2509632"/>
                  <a:gd name="connsiteY891" fmla="*/ 1657940 h 1971366"/>
                  <a:gd name="connsiteX892" fmla="*/ 521609 w 2509632"/>
                  <a:gd name="connsiteY892" fmla="*/ 1640678 h 1971366"/>
                  <a:gd name="connsiteX893" fmla="*/ 515297 w 2509632"/>
                  <a:gd name="connsiteY893" fmla="*/ 1646194 h 1971366"/>
                  <a:gd name="connsiteX894" fmla="*/ 504073 w 2509632"/>
                  <a:gd name="connsiteY894" fmla="*/ 1643093 h 1971366"/>
                  <a:gd name="connsiteX895" fmla="*/ 495648 w 2509632"/>
                  <a:gd name="connsiteY895" fmla="*/ 1634257 h 1971366"/>
                  <a:gd name="connsiteX896" fmla="*/ 494275 w 2509632"/>
                  <a:gd name="connsiteY896" fmla="*/ 1629948 h 1971366"/>
                  <a:gd name="connsiteX897" fmla="*/ 484835 w 2509632"/>
                  <a:gd name="connsiteY897" fmla="*/ 1627478 h 1971366"/>
                  <a:gd name="connsiteX898" fmla="*/ 476904 w 2509632"/>
                  <a:gd name="connsiteY898" fmla="*/ 1619520 h 1971366"/>
                  <a:gd name="connsiteX899" fmla="*/ 473995 w 2509632"/>
                  <a:gd name="connsiteY899" fmla="*/ 1613812 h 1971366"/>
                  <a:gd name="connsiteX900" fmla="*/ 471278 w 2509632"/>
                  <a:gd name="connsiteY900" fmla="*/ 1615705 h 1971366"/>
                  <a:gd name="connsiteX901" fmla="*/ 468671 w 2509632"/>
                  <a:gd name="connsiteY901" fmla="*/ 1613098 h 1971366"/>
                  <a:gd name="connsiteX902" fmla="*/ 466915 w 2509632"/>
                  <a:gd name="connsiteY902" fmla="*/ 1613894 h 1971366"/>
                  <a:gd name="connsiteX903" fmla="*/ 466009 w 2509632"/>
                  <a:gd name="connsiteY903" fmla="*/ 1621496 h 1971366"/>
                  <a:gd name="connsiteX904" fmla="*/ 472623 w 2509632"/>
                  <a:gd name="connsiteY904" fmla="*/ 1630963 h 1971366"/>
                  <a:gd name="connsiteX905" fmla="*/ 474599 w 2509632"/>
                  <a:gd name="connsiteY905" fmla="*/ 1637632 h 1971366"/>
                  <a:gd name="connsiteX906" fmla="*/ 479484 w 2509632"/>
                  <a:gd name="connsiteY906" fmla="*/ 1640898 h 1971366"/>
                  <a:gd name="connsiteX907" fmla="*/ 483710 w 2509632"/>
                  <a:gd name="connsiteY907" fmla="*/ 1647265 h 1971366"/>
                  <a:gd name="connsiteX908" fmla="*/ 507146 w 2509632"/>
                  <a:gd name="connsiteY908" fmla="*/ 1658105 h 1971366"/>
                  <a:gd name="connsiteX909" fmla="*/ 506789 w 2509632"/>
                  <a:gd name="connsiteY909" fmla="*/ 1661837 h 1971366"/>
                  <a:gd name="connsiteX910" fmla="*/ 508107 w 2509632"/>
                  <a:gd name="connsiteY910" fmla="*/ 1666502 h 1971366"/>
                  <a:gd name="connsiteX911" fmla="*/ 509534 w 2509632"/>
                  <a:gd name="connsiteY911" fmla="*/ 1667298 h 1971366"/>
                  <a:gd name="connsiteX912" fmla="*/ 512415 w 2509632"/>
                  <a:gd name="connsiteY912" fmla="*/ 1665953 h 1971366"/>
                  <a:gd name="connsiteX913" fmla="*/ 515763 w 2509632"/>
                  <a:gd name="connsiteY913" fmla="*/ 1670948 h 1971366"/>
                  <a:gd name="connsiteX914" fmla="*/ 520209 w 2509632"/>
                  <a:gd name="connsiteY914" fmla="*/ 1689115 h 1971366"/>
                  <a:gd name="connsiteX915" fmla="*/ 507997 w 2509632"/>
                  <a:gd name="connsiteY915" fmla="*/ 1693808 h 1971366"/>
                  <a:gd name="connsiteX916" fmla="*/ 467134 w 2509632"/>
                  <a:gd name="connsiteY916" fmla="*/ 1675037 h 1971366"/>
                  <a:gd name="connsiteX917" fmla="*/ 465460 w 2509632"/>
                  <a:gd name="connsiteY917" fmla="*/ 1672704 h 1971366"/>
                  <a:gd name="connsiteX918" fmla="*/ 465323 w 2509632"/>
                  <a:gd name="connsiteY918" fmla="*/ 1666749 h 1971366"/>
                  <a:gd name="connsiteX919" fmla="*/ 462414 w 2509632"/>
                  <a:gd name="connsiteY919" fmla="*/ 1668478 h 1971366"/>
                  <a:gd name="connsiteX920" fmla="*/ 460274 w 2509632"/>
                  <a:gd name="connsiteY920" fmla="*/ 1665651 h 1971366"/>
                  <a:gd name="connsiteX921" fmla="*/ 453797 w 2509632"/>
                  <a:gd name="connsiteY921" fmla="*/ 1666502 h 1971366"/>
                  <a:gd name="connsiteX922" fmla="*/ 444357 w 2509632"/>
                  <a:gd name="connsiteY922" fmla="*/ 1660026 h 1971366"/>
                  <a:gd name="connsiteX923" fmla="*/ 438594 w 2509632"/>
                  <a:gd name="connsiteY923" fmla="*/ 1652781 h 1971366"/>
                  <a:gd name="connsiteX924" fmla="*/ 425970 w 2509632"/>
                  <a:gd name="connsiteY924" fmla="*/ 1645646 h 1971366"/>
                  <a:gd name="connsiteX925" fmla="*/ 423335 w 2509632"/>
                  <a:gd name="connsiteY925" fmla="*/ 1638840 h 1971366"/>
                  <a:gd name="connsiteX926" fmla="*/ 416694 w 2509632"/>
                  <a:gd name="connsiteY926" fmla="*/ 1635245 h 1971366"/>
                  <a:gd name="connsiteX927" fmla="*/ 412715 w 2509632"/>
                  <a:gd name="connsiteY927" fmla="*/ 1628357 h 1971366"/>
                  <a:gd name="connsiteX928" fmla="*/ 407309 w 2509632"/>
                  <a:gd name="connsiteY928" fmla="*/ 1624103 h 1971366"/>
                  <a:gd name="connsiteX929" fmla="*/ 405525 w 2509632"/>
                  <a:gd name="connsiteY929" fmla="*/ 1620261 h 1971366"/>
                  <a:gd name="connsiteX930" fmla="*/ 399433 w 2509632"/>
                  <a:gd name="connsiteY930" fmla="*/ 1618697 h 1971366"/>
                  <a:gd name="connsiteX931" fmla="*/ 392709 w 2509632"/>
                  <a:gd name="connsiteY931" fmla="*/ 1614223 h 1971366"/>
                  <a:gd name="connsiteX932" fmla="*/ 386150 w 2509632"/>
                  <a:gd name="connsiteY932" fmla="*/ 1613730 h 1971366"/>
                  <a:gd name="connsiteX933" fmla="*/ 386644 w 2509632"/>
                  <a:gd name="connsiteY933" fmla="*/ 1605497 h 1971366"/>
                  <a:gd name="connsiteX934" fmla="*/ 382802 w 2509632"/>
                  <a:gd name="connsiteY934" fmla="*/ 1598608 h 1971366"/>
                  <a:gd name="connsiteX935" fmla="*/ 377561 w 2509632"/>
                  <a:gd name="connsiteY935" fmla="*/ 1595425 h 1971366"/>
                  <a:gd name="connsiteX936" fmla="*/ 373966 w 2509632"/>
                  <a:gd name="connsiteY936" fmla="*/ 1590814 h 1971366"/>
                  <a:gd name="connsiteX937" fmla="*/ 372813 w 2509632"/>
                  <a:gd name="connsiteY937" fmla="*/ 1583131 h 1971366"/>
                  <a:gd name="connsiteX938" fmla="*/ 386781 w 2509632"/>
                  <a:gd name="connsiteY938" fmla="*/ 1576791 h 1971366"/>
                  <a:gd name="connsiteX939" fmla="*/ 392023 w 2509632"/>
                  <a:gd name="connsiteY939" fmla="*/ 1578987 h 1971366"/>
                  <a:gd name="connsiteX940" fmla="*/ 401436 w 2509632"/>
                  <a:gd name="connsiteY940" fmla="*/ 1587714 h 1971366"/>
                  <a:gd name="connsiteX941" fmla="*/ 409586 w 2509632"/>
                  <a:gd name="connsiteY941" fmla="*/ 1590787 h 1971366"/>
                  <a:gd name="connsiteX942" fmla="*/ 413840 w 2509632"/>
                  <a:gd name="connsiteY942" fmla="*/ 1590101 h 1971366"/>
                  <a:gd name="connsiteX943" fmla="*/ 417600 w 2509632"/>
                  <a:gd name="connsiteY943" fmla="*/ 1592022 h 1971366"/>
                  <a:gd name="connsiteX944" fmla="*/ 421113 w 2509632"/>
                  <a:gd name="connsiteY944" fmla="*/ 1587768 h 1971366"/>
                  <a:gd name="connsiteX945" fmla="*/ 416722 w 2509632"/>
                  <a:gd name="connsiteY945" fmla="*/ 1583185 h 1971366"/>
                  <a:gd name="connsiteX946" fmla="*/ 399323 w 2509632"/>
                  <a:gd name="connsiteY946" fmla="*/ 1576078 h 1971366"/>
                  <a:gd name="connsiteX947" fmla="*/ 390349 w 2509632"/>
                  <a:gd name="connsiteY947" fmla="*/ 1565841 h 1971366"/>
                  <a:gd name="connsiteX948" fmla="*/ 389718 w 2509632"/>
                  <a:gd name="connsiteY948" fmla="*/ 1549513 h 1971366"/>
                  <a:gd name="connsiteX949" fmla="*/ 385766 w 2509632"/>
                  <a:gd name="connsiteY949" fmla="*/ 1537246 h 1971366"/>
                  <a:gd name="connsiteX950" fmla="*/ 386370 w 2509632"/>
                  <a:gd name="connsiteY950" fmla="*/ 1519929 h 1971366"/>
                  <a:gd name="connsiteX951" fmla="*/ 385958 w 2509632"/>
                  <a:gd name="connsiteY951" fmla="*/ 1518832 h 1971366"/>
                  <a:gd name="connsiteX952" fmla="*/ 384613 w 2509632"/>
                  <a:gd name="connsiteY952" fmla="*/ 1520286 h 1971366"/>
                  <a:gd name="connsiteX953" fmla="*/ 382226 w 2509632"/>
                  <a:gd name="connsiteY953" fmla="*/ 1534008 h 1971366"/>
                  <a:gd name="connsiteX954" fmla="*/ 384229 w 2509632"/>
                  <a:gd name="connsiteY954" fmla="*/ 1549760 h 1971366"/>
                  <a:gd name="connsiteX955" fmla="*/ 379674 w 2509632"/>
                  <a:gd name="connsiteY955" fmla="*/ 1547565 h 1971366"/>
                  <a:gd name="connsiteX956" fmla="*/ 378301 w 2509632"/>
                  <a:gd name="connsiteY956" fmla="*/ 1537685 h 1971366"/>
                  <a:gd name="connsiteX957" fmla="*/ 375310 w 2509632"/>
                  <a:gd name="connsiteY957" fmla="*/ 1533075 h 1971366"/>
                  <a:gd name="connsiteX958" fmla="*/ 373499 w 2509632"/>
                  <a:gd name="connsiteY958" fmla="*/ 1524814 h 1971366"/>
                  <a:gd name="connsiteX959" fmla="*/ 369602 w 2509632"/>
                  <a:gd name="connsiteY959" fmla="*/ 1517350 h 1971366"/>
                  <a:gd name="connsiteX960" fmla="*/ 371194 w 2509632"/>
                  <a:gd name="connsiteY960" fmla="*/ 1513535 h 1971366"/>
                  <a:gd name="connsiteX961" fmla="*/ 370014 w 2509632"/>
                  <a:gd name="connsiteY961" fmla="*/ 1506921 h 1971366"/>
                  <a:gd name="connsiteX962" fmla="*/ 373664 w 2509632"/>
                  <a:gd name="connsiteY962" fmla="*/ 1499951 h 1971366"/>
                  <a:gd name="connsiteX963" fmla="*/ 370535 w 2509632"/>
                  <a:gd name="connsiteY963" fmla="*/ 1498002 h 1971366"/>
                  <a:gd name="connsiteX964" fmla="*/ 368751 w 2509632"/>
                  <a:gd name="connsiteY964" fmla="*/ 1495094 h 1971366"/>
                  <a:gd name="connsiteX965" fmla="*/ 367407 w 2509632"/>
                  <a:gd name="connsiteY965" fmla="*/ 1500774 h 1971366"/>
                  <a:gd name="connsiteX966" fmla="*/ 361698 w 2509632"/>
                  <a:gd name="connsiteY966" fmla="*/ 1511038 h 1971366"/>
                  <a:gd name="connsiteX967" fmla="*/ 359613 w 2509632"/>
                  <a:gd name="connsiteY967" fmla="*/ 1504753 h 1971366"/>
                  <a:gd name="connsiteX968" fmla="*/ 359942 w 2509632"/>
                  <a:gd name="connsiteY968" fmla="*/ 1499512 h 1971366"/>
                  <a:gd name="connsiteX969" fmla="*/ 352148 w 2509632"/>
                  <a:gd name="connsiteY969" fmla="*/ 1490373 h 1971366"/>
                  <a:gd name="connsiteX970" fmla="*/ 348142 w 2509632"/>
                  <a:gd name="connsiteY970" fmla="*/ 1481646 h 1971366"/>
                  <a:gd name="connsiteX971" fmla="*/ 346660 w 2509632"/>
                  <a:gd name="connsiteY971" fmla="*/ 1474484 h 1971366"/>
                  <a:gd name="connsiteX972" fmla="*/ 343641 w 2509632"/>
                  <a:gd name="connsiteY972" fmla="*/ 1470532 h 1971366"/>
                  <a:gd name="connsiteX973" fmla="*/ 346028 w 2509632"/>
                  <a:gd name="connsiteY973" fmla="*/ 1465016 h 1971366"/>
                  <a:gd name="connsiteX974" fmla="*/ 348718 w 2509632"/>
                  <a:gd name="connsiteY974" fmla="*/ 1468529 h 1971366"/>
                  <a:gd name="connsiteX975" fmla="*/ 349980 w 2509632"/>
                  <a:gd name="connsiteY975" fmla="*/ 1467788 h 1971366"/>
                  <a:gd name="connsiteX976" fmla="*/ 347373 w 2509632"/>
                  <a:gd name="connsiteY976" fmla="*/ 1449209 h 1971366"/>
                  <a:gd name="connsiteX977" fmla="*/ 346001 w 2509632"/>
                  <a:gd name="connsiteY977" fmla="*/ 1450855 h 1971366"/>
                  <a:gd name="connsiteX978" fmla="*/ 345150 w 2509632"/>
                  <a:gd name="connsiteY978" fmla="*/ 1458869 h 1971366"/>
                  <a:gd name="connsiteX979" fmla="*/ 339223 w 2509632"/>
                  <a:gd name="connsiteY979" fmla="*/ 1462573 h 1971366"/>
                  <a:gd name="connsiteX980" fmla="*/ 339113 w 2509632"/>
                  <a:gd name="connsiteY980" fmla="*/ 1467705 h 1971366"/>
                  <a:gd name="connsiteX981" fmla="*/ 342516 w 2509632"/>
                  <a:gd name="connsiteY981" fmla="*/ 1474648 h 1971366"/>
                  <a:gd name="connsiteX982" fmla="*/ 342269 w 2509632"/>
                  <a:gd name="connsiteY982" fmla="*/ 1477310 h 1971366"/>
                  <a:gd name="connsiteX983" fmla="*/ 326764 w 2509632"/>
                  <a:gd name="connsiteY983" fmla="*/ 1455521 h 1971366"/>
                  <a:gd name="connsiteX984" fmla="*/ 325748 w 2509632"/>
                  <a:gd name="connsiteY984" fmla="*/ 1457689 h 1971366"/>
                  <a:gd name="connsiteX985" fmla="*/ 329316 w 2509632"/>
                  <a:gd name="connsiteY985" fmla="*/ 1467952 h 1971366"/>
                  <a:gd name="connsiteX986" fmla="*/ 329371 w 2509632"/>
                  <a:gd name="connsiteY986" fmla="*/ 1468748 h 1971366"/>
                  <a:gd name="connsiteX987" fmla="*/ 328986 w 2509632"/>
                  <a:gd name="connsiteY987" fmla="*/ 1469325 h 1971366"/>
                  <a:gd name="connsiteX988" fmla="*/ 314963 w 2509632"/>
                  <a:gd name="connsiteY988" fmla="*/ 1458869 h 1971366"/>
                  <a:gd name="connsiteX989" fmla="*/ 309118 w 2509632"/>
                  <a:gd name="connsiteY989" fmla="*/ 1449648 h 1971366"/>
                  <a:gd name="connsiteX990" fmla="*/ 312301 w 2509632"/>
                  <a:gd name="connsiteY990" fmla="*/ 1445943 h 1971366"/>
                  <a:gd name="connsiteX991" fmla="*/ 313509 w 2509632"/>
                  <a:gd name="connsiteY991" fmla="*/ 1438973 h 1971366"/>
                  <a:gd name="connsiteX992" fmla="*/ 308075 w 2509632"/>
                  <a:gd name="connsiteY992" fmla="*/ 1438973 h 1971366"/>
                  <a:gd name="connsiteX993" fmla="*/ 306456 w 2509632"/>
                  <a:gd name="connsiteY993" fmla="*/ 1437573 h 1971366"/>
                  <a:gd name="connsiteX994" fmla="*/ 305440 w 2509632"/>
                  <a:gd name="connsiteY994" fmla="*/ 1433594 h 1971366"/>
                  <a:gd name="connsiteX995" fmla="*/ 302998 w 2509632"/>
                  <a:gd name="connsiteY995" fmla="*/ 1432715 h 1971366"/>
                  <a:gd name="connsiteX996" fmla="*/ 304891 w 2509632"/>
                  <a:gd name="connsiteY996" fmla="*/ 1425855 h 1971366"/>
                  <a:gd name="connsiteX997" fmla="*/ 310023 w 2509632"/>
                  <a:gd name="connsiteY997" fmla="*/ 1424071 h 1971366"/>
                  <a:gd name="connsiteX998" fmla="*/ 313865 w 2509632"/>
                  <a:gd name="connsiteY998" fmla="*/ 1425800 h 1971366"/>
                  <a:gd name="connsiteX999" fmla="*/ 316911 w 2509632"/>
                  <a:gd name="connsiteY999" fmla="*/ 1432139 h 1971366"/>
                  <a:gd name="connsiteX1000" fmla="*/ 320424 w 2509632"/>
                  <a:gd name="connsiteY1000" fmla="*/ 1431371 h 1971366"/>
                  <a:gd name="connsiteX1001" fmla="*/ 320287 w 2509632"/>
                  <a:gd name="connsiteY1001" fmla="*/ 1428654 h 1971366"/>
                  <a:gd name="connsiteX1002" fmla="*/ 319656 w 2509632"/>
                  <a:gd name="connsiteY1002" fmla="*/ 1428434 h 1971366"/>
                  <a:gd name="connsiteX1003" fmla="*/ 318915 w 2509632"/>
                  <a:gd name="connsiteY1003" fmla="*/ 1430273 h 1971366"/>
                  <a:gd name="connsiteX1004" fmla="*/ 317076 w 2509632"/>
                  <a:gd name="connsiteY1004" fmla="*/ 1427776 h 1971366"/>
                  <a:gd name="connsiteX1005" fmla="*/ 316527 w 2509632"/>
                  <a:gd name="connsiteY1005" fmla="*/ 1424867 h 1971366"/>
                  <a:gd name="connsiteX1006" fmla="*/ 318723 w 2509632"/>
                  <a:gd name="connsiteY1006" fmla="*/ 1424620 h 1971366"/>
                  <a:gd name="connsiteX1007" fmla="*/ 319519 w 2509632"/>
                  <a:gd name="connsiteY1007" fmla="*/ 1426431 h 1971366"/>
                  <a:gd name="connsiteX1008" fmla="*/ 320067 w 2509632"/>
                  <a:gd name="connsiteY1008" fmla="*/ 1426486 h 1971366"/>
                  <a:gd name="connsiteX1009" fmla="*/ 320369 w 2509632"/>
                  <a:gd name="connsiteY1009" fmla="*/ 1425580 h 1971366"/>
                  <a:gd name="connsiteX1010" fmla="*/ 320260 w 2509632"/>
                  <a:gd name="connsiteY1010" fmla="*/ 1421848 h 1971366"/>
                  <a:gd name="connsiteX1011" fmla="*/ 315457 w 2509632"/>
                  <a:gd name="connsiteY1011" fmla="*/ 1419516 h 1971366"/>
                  <a:gd name="connsiteX1012" fmla="*/ 309996 w 2509632"/>
                  <a:gd name="connsiteY1012" fmla="*/ 1409279 h 1971366"/>
                  <a:gd name="connsiteX1013" fmla="*/ 313179 w 2509632"/>
                  <a:gd name="connsiteY1013" fmla="*/ 1392731 h 1971366"/>
                  <a:gd name="connsiteX1014" fmla="*/ 319491 w 2509632"/>
                  <a:gd name="connsiteY1014" fmla="*/ 1385898 h 1971366"/>
                  <a:gd name="connsiteX1015" fmla="*/ 322592 w 2509632"/>
                  <a:gd name="connsiteY1015" fmla="*/ 1378543 h 1971366"/>
                  <a:gd name="connsiteX1016" fmla="*/ 319601 w 2509632"/>
                  <a:gd name="connsiteY1016" fmla="*/ 1373384 h 1971366"/>
                  <a:gd name="connsiteX1017" fmla="*/ 323772 w 2509632"/>
                  <a:gd name="connsiteY1017" fmla="*/ 1362791 h 1971366"/>
                  <a:gd name="connsiteX1018" fmla="*/ 323882 w 2509632"/>
                  <a:gd name="connsiteY1018" fmla="*/ 1362516 h 1971366"/>
                  <a:gd name="connsiteX1019" fmla="*/ 320122 w 2509632"/>
                  <a:gd name="connsiteY1019" fmla="*/ 1339657 h 1971366"/>
                  <a:gd name="connsiteX1020" fmla="*/ 323086 w 2509632"/>
                  <a:gd name="connsiteY1020" fmla="*/ 1329914 h 1971366"/>
                  <a:gd name="connsiteX1021" fmla="*/ 319546 w 2509632"/>
                  <a:gd name="connsiteY1021" fmla="*/ 1320748 h 1971366"/>
                  <a:gd name="connsiteX1022" fmla="*/ 306181 w 2509632"/>
                  <a:gd name="connsiteY1022" fmla="*/ 1310923 h 1971366"/>
                  <a:gd name="connsiteX1023" fmla="*/ 270588 w 2509632"/>
                  <a:gd name="connsiteY1023" fmla="*/ 1291878 h 1971366"/>
                  <a:gd name="connsiteX1024" fmla="*/ 262657 w 2509632"/>
                  <a:gd name="connsiteY1024" fmla="*/ 1277882 h 1971366"/>
                  <a:gd name="connsiteX1025" fmla="*/ 261449 w 2509632"/>
                  <a:gd name="connsiteY1025" fmla="*/ 1270637 h 1971366"/>
                  <a:gd name="connsiteX1026" fmla="*/ 255741 w 2509632"/>
                  <a:gd name="connsiteY1026" fmla="*/ 1266247 h 1971366"/>
                  <a:gd name="connsiteX1027" fmla="*/ 254588 w 2509632"/>
                  <a:gd name="connsiteY1027" fmla="*/ 1255955 h 1971366"/>
                  <a:gd name="connsiteX1028" fmla="*/ 225362 w 2509632"/>
                  <a:gd name="connsiteY1028" fmla="*/ 1202469 h 1971366"/>
                  <a:gd name="connsiteX1029" fmla="*/ 221382 w 2509632"/>
                  <a:gd name="connsiteY1029" fmla="*/ 1191053 h 1971366"/>
                  <a:gd name="connsiteX1030" fmla="*/ 210213 w 2509632"/>
                  <a:gd name="connsiteY1030" fmla="*/ 1176947 h 1971366"/>
                  <a:gd name="connsiteX1031" fmla="*/ 198166 w 2509632"/>
                  <a:gd name="connsiteY1031" fmla="*/ 1167534 h 1971366"/>
                  <a:gd name="connsiteX1032" fmla="*/ 188012 w 2509632"/>
                  <a:gd name="connsiteY1032" fmla="*/ 1150739 h 1971366"/>
                  <a:gd name="connsiteX1033" fmla="*/ 177227 w 2509632"/>
                  <a:gd name="connsiteY1033" fmla="*/ 1143631 h 1971366"/>
                  <a:gd name="connsiteX1034" fmla="*/ 173001 w 2509632"/>
                  <a:gd name="connsiteY1034" fmla="*/ 1126424 h 1971366"/>
                  <a:gd name="connsiteX1035" fmla="*/ 161941 w 2509632"/>
                  <a:gd name="connsiteY1035" fmla="*/ 1116106 h 1971366"/>
                  <a:gd name="connsiteX1036" fmla="*/ 152363 w 2509632"/>
                  <a:gd name="connsiteY1036" fmla="*/ 1119811 h 1971366"/>
                  <a:gd name="connsiteX1037" fmla="*/ 139959 w 2509632"/>
                  <a:gd name="connsiteY1037" fmla="*/ 1125684 h 1971366"/>
                  <a:gd name="connsiteX1038" fmla="*/ 137983 w 2509632"/>
                  <a:gd name="connsiteY1038" fmla="*/ 1132627 h 1971366"/>
                  <a:gd name="connsiteX1039" fmla="*/ 134141 w 2509632"/>
                  <a:gd name="connsiteY1039" fmla="*/ 1135947 h 1971366"/>
                  <a:gd name="connsiteX1040" fmla="*/ 133126 w 2509632"/>
                  <a:gd name="connsiteY1040" fmla="*/ 1144647 h 1971366"/>
                  <a:gd name="connsiteX1041" fmla="*/ 130272 w 2509632"/>
                  <a:gd name="connsiteY1041" fmla="*/ 1150300 h 1971366"/>
                  <a:gd name="connsiteX1042" fmla="*/ 104311 w 2509632"/>
                  <a:gd name="connsiteY1042" fmla="*/ 1165037 h 1971366"/>
                  <a:gd name="connsiteX1043" fmla="*/ 97752 w 2509632"/>
                  <a:gd name="connsiteY1043" fmla="*/ 1145195 h 1971366"/>
                  <a:gd name="connsiteX1044" fmla="*/ 71873 w 2509632"/>
                  <a:gd name="connsiteY1044" fmla="*/ 1118494 h 1971366"/>
                  <a:gd name="connsiteX1045" fmla="*/ 66247 w 2509632"/>
                  <a:gd name="connsiteY1045" fmla="*/ 1108230 h 1971366"/>
                  <a:gd name="connsiteX1046" fmla="*/ 54941 w 2509632"/>
                  <a:gd name="connsiteY1046" fmla="*/ 1099146 h 1971366"/>
                  <a:gd name="connsiteX1047" fmla="*/ 55929 w 2509632"/>
                  <a:gd name="connsiteY1047" fmla="*/ 1082900 h 1971366"/>
                  <a:gd name="connsiteX1048" fmla="*/ 39326 w 2509632"/>
                  <a:gd name="connsiteY1048" fmla="*/ 1083723 h 1971366"/>
                  <a:gd name="connsiteX1049" fmla="*/ 29254 w 2509632"/>
                  <a:gd name="connsiteY1049" fmla="*/ 1091215 h 1971366"/>
                  <a:gd name="connsiteX1050" fmla="*/ 17618 w 2509632"/>
                  <a:gd name="connsiteY1050" fmla="*/ 1086028 h 1971366"/>
                  <a:gd name="connsiteX1051" fmla="*/ 11279 w 2509632"/>
                  <a:gd name="connsiteY1051" fmla="*/ 1088471 h 1971366"/>
                  <a:gd name="connsiteX1052" fmla="*/ 631 w 2509632"/>
                  <a:gd name="connsiteY1052" fmla="*/ 1082378 h 1971366"/>
                  <a:gd name="connsiteX1053" fmla="*/ 0 w 2509632"/>
                  <a:gd name="connsiteY1053" fmla="*/ 827955 h 1971366"/>
                  <a:gd name="connsiteX1054" fmla="*/ 0 w 2509632"/>
                  <a:gd name="connsiteY1054" fmla="*/ 825485 h 1971366"/>
                  <a:gd name="connsiteX1055" fmla="*/ 0 w 2509632"/>
                  <a:gd name="connsiteY1055" fmla="*/ 810199 h 1971366"/>
                  <a:gd name="connsiteX1056" fmla="*/ 0 w 2509632"/>
                  <a:gd name="connsiteY1056" fmla="*/ 806714 h 1971366"/>
                  <a:gd name="connsiteX1057" fmla="*/ 0 w 2509632"/>
                  <a:gd name="connsiteY1057" fmla="*/ 804052 h 1971366"/>
                  <a:gd name="connsiteX1058" fmla="*/ 0 w 2509632"/>
                  <a:gd name="connsiteY1058" fmla="*/ 781329 h 1971366"/>
                  <a:gd name="connsiteX1059" fmla="*/ 137 w 2509632"/>
                  <a:gd name="connsiteY1059" fmla="*/ 572982 h 1971366"/>
                  <a:gd name="connsiteX1060" fmla="*/ 220 w 2509632"/>
                  <a:gd name="connsiteY1060" fmla="*/ 430635 h 1971366"/>
                  <a:gd name="connsiteX1061" fmla="*/ 30517 w 2509632"/>
                  <a:gd name="connsiteY1061" fmla="*/ 431678 h 1971366"/>
                  <a:gd name="connsiteX1062" fmla="*/ 49754 w 2509632"/>
                  <a:gd name="connsiteY1062" fmla="*/ 438127 h 1971366"/>
                  <a:gd name="connsiteX1063" fmla="*/ 55929 w 2509632"/>
                  <a:gd name="connsiteY1063" fmla="*/ 433489 h 1971366"/>
                  <a:gd name="connsiteX1064" fmla="*/ 61884 w 2509632"/>
                  <a:gd name="connsiteY1064" fmla="*/ 448610 h 1971366"/>
                  <a:gd name="connsiteX1065" fmla="*/ 91797 w 2509632"/>
                  <a:gd name="connsiteY1065" fmla="*/ 475065 h 1971366"/>
                  <a:gd name="connsiteX1066" fmla="*/ 120118 w 2509632"/>
                  <a:gd name="connsiteY1066" fmla="*/ 490735 h 1971366"/>
                  <a:gd name="connsiteX1067" fmla="*/ 143691 w 2509632"/>
                  <a:gd name="connsiteY1067" fmla="*/ 493727 h 1971366"/>
                  <a:gd name="connsiteX1068" fmla="*/ 152473 w 2509632"/>
                  <a:gd name="connsiteY1068" fmla="*/ 498364 h 1971366"/>
                  <a:gd name="connsiteX1069" fmla="*/ 161584 w 2509632"/>
                  <a:gd name="connsiteY1069" fmla="*/ 503194 h 1971366"/>
                  <a:gd name="connsiteX1070" fmla="*/ 162572 w 2509632"/>
                  <a:gd name="connsiteY1070" fmla="*/ 500670 h 1971366"/>
                  <a:gd name="connsiteX1071" fmla="*/ 160569 w 2509632"/>
                  <a:gd name="connsiteY1071" fmla="*/ 496635 h 1971366"/>
                  <a:gd name="connsiteX1072" fmla="*/ 152473 w 2509632"/>
                  <a:gd name="connsiteY1072" fmla="*/ 489445 h 1971366"/>
                  <a:gd name="connsiteX1073" fmla="*/ 146902 w 2509632"/>
                  <a:gd name="connsiteY1073" fmla="*/ 484506 h 1971366"/>
                  <a:gd name="connsiteX1074" fmla="*/ 143444 w 2509632"/>
                  <a:gd name="connsiteY1074" fmla="*/ 471498 h 1971366"/>
                  <a:gd name="connsiteX1075" fmla="*/ 152473 w 2509632"/>
                  <a:gd name="connsiteY1075" fmla="*/ 460768 h 1971366"/>
                  <a:gd name="connsiteX1076" fmla="*/ 167128 w 2509632"/>
                  <a:gd name="connsiteY1076" fmla="*/ 443204 h 1971366"/>
                  <a:gd name="connsiteX1077" fmla="*/ 183264 w 2509632"/>
                  <a:gd name="connsiteY1077" fmla="*/ 444247 h 1971366"/>
                  <a:gd name="connsiteX1078" fmla="*/ 189027 w 2509632"/>
                  <a:gd name="connsiteY1078" fmla="*/ 439060 h 1971366"/>
                  <a:gd name="connsiteX1079" fmla="*/ 190537 w 2509632"/>
                  <a:gd name="connsiteY1079" fmla="*/ 440213 h 1971366"/>
                  <a:gd name="connsiteX1080" fmla="*/ 195229 w 2509632"/>
                  <a:gd name="connsiteY1080" fmla="*/ 428879 h 1971366"/>
                  <a:gd name="connsiteX1081" fmla="*/ 207414 w 2509632"/>
                  <a:gd name="connsiteY1081" fmla="*/ 437770 h 1971366"/>
                  <a:gd name="connsiteX1082" fmla="*/ 211503 w 2509632"/>
                  <a:gd name="connsiteY1082" fmla="*/ 452480 h 1971366"/>
                  <a:gd name="connsiteX1083" fmla="*/ 230658 w 2509632"/>
                  <a:gd name="connsiteY1083" fmla="*/ 447485 h 1971366"/>
                  <a:gd name="connsiteX1084" fmla="*/ 239440 w 2509632"/>
                  <a:gd name="connsiteY1084" fmla="*/ 430910 h 1971366"/>
                  <a:gd name="connsiteX1085" fmla="*/ 251048 w 2509632"/>
                  <a:gd name="connsiteY1085" fmla="*/ 422704 h 1971366"/>
                  <a:gd name="connsiteX1086" fmla="*/ 262629 w 2509632"/>
                  <a:gd name="connsiteY1086" fmla="*/ 422046 h 1971366"/>
                  <a:gd name="connsiteX1087" fmla="*/ 281181 w 2509632"/>
                  <a:gd name="connsiteY1087" fmla="*/ 406046 h 1971366"/>
                  <a:gd name="connsiteX1088" fmla="*/ 289468 w 2509632"/>
                  <a:gd name="connsiteY1088" fmla="*/ 407309 h 1971366"/>
                  <a:gd name="connsiteX1089" fmla="*/ 299211 w 2509632"/>
                  <a:gd name="connsiteY1089" fmla="*/ 391666 h 1971366"/>
                  <a:gd name="connsiteX1090" fmla="*/ 320506 w 2509632"/>
                  <a:gd name="connsiteY1090" fmla="*/ 393093 h 1971366"/>
                  <a:gd name="connsiteX1091" fmla="*/ 330578 w 2509632"/>
                  <a:gd name="connsiteY1091" fmla="*/ 384531 h 1971366"/>
                  <a:gd name="connsiteX1092" fmla="*/ 335435 w 2509632"/>
                  <a:gd name="connsiteY1092" fmla="*/ 390486 h 1971366"/>
                  <a:gd name="connsiteX1093" fmla="*/ 328108 w 2509632"/>
                  <a:gd name="connsiteY1093" fmla="*/ 403906 h 1971366"/>
                  <a:gd name="connsiteX1094" fmla="*/ 305166 w 2509632"/>
                  <a:gd name="connsiteY1094" fmla="*/ 423774 h 1971366"/>
                  <a:gd name="connsiteX1095" fmla="*/ 299321 w 2509632"/>
                  <a:gd name="connsiteY1095" fmla="*/ 434038 h 1971366"/>
                  <a:gd name="connsiteX1096" fmla="*/ 266389 w 2509632"/>
                  <a:gd name="connsiteY1096" fmla="*/ 441063 h 1971366"/>
                  <a:gd name="connsiteX1097" fmla="*/ 259007 w 2509632"/>
                  <a:gd name="connsiteY1097" fmla="*/ 460877 h 1971366"/>
                  <a:gd name="connsiteX1098" fmla="*/ 262657 w 2509632"/>
                  <a:gd name="connsiteY1098" fmla="*/ 462579 h 1971366"/>
                  <a:gd name="connsiteX1099" fmla="*/ 276296 w 2509632"/>
                  <a:gd name="connsiteY1099" fmla="*/ 447046 h 1971366"/>
                  <a:gd name="connsiteX1100" fmla="*/ 286807 w 2509632"/>
                  <a:gd name="connsiteY1100" fmla="*/ 447897 h 1971366"/>
                  <a:gd name="connsiteX1101" fmla="*/ 294216 w 2509632"/>
                  <a:gd name="connsiteY1101" fmla="*/ 442655 h 1971366"/>
                  <a:gd name="connsiteX1102" fmla="*/ 300583 w 2509632"/>
                  <a:gd name="connsiteY1102" fmla="*/ 448610 h 1971366"/>
                  <a:gd name="connsiteX1103" fmla="*/ 319903 w 2509632"/>
                  <a:gd name="connsiteY1103" fmla="*/ 423390 h 1971366"/>
                  <a:gd name="connsiteX1104" fmla="*/ 342571 w 2509632"/>
                  <a:gd name="connsiteY1104" fmla="*/ 414197 h 1971366"/>
                  <a:gd name="connsiteX1105" fmla="*/ 354453 w 2509632"/>
                  <a:gd name="connsiteY1105" fmla="*/ 421030 h 1971366"/>
                  <a:gd name="connsiteX1106" fmla="*/ 367352 w 2509632"/>
                  <a:gd name="connsiteY1106" fmla="*/ 407885 h 1971366"/>
                  <a:gd name="connsiteX1107" fmla="*/ 373471 w 2509632"/>
                  <a:gd name="connsiteY1107" fmla="*/ 391666 h 1971366"/>
                  <a:gd name="connsiteX1108" fmla="*/ 386342 w 2509632"/>
                  <a:gd name="connsiteY1108" fmla="*/ 381457 h 1971366"/>
                  <a:gd name="connsiteX1109" fmla="*/ 379289 w 2509632"/>
                  <a:gd name="connsiteY1109" fmla="*/ 362384 h 1971366"/>
                  <a:gd name="connsiteX1110" fmla="*/ 380167 w 2509632"/>
                  <a:gd name="connsiteY1110" fmla="*/ 356100 h 1971366"/>
                  <a:gd name="connsiteX1111" fmla="*/ 383269 w 2509632"/>
                  <a:gd name="connsiteY1111" fmla="*/ 352834 h 1971366"/>
                  <a:gd name="connsiteX1112" fmla="*/ 401875 w 2509632"/>
                  <a:gd name="connsiteY1112" fmla="*/ 371715 h 1971366"/>
                  <a:gd name="connsiteX1113" fmla="*/ 422814 w 2509632"/>
                  <a:gd name="connsiteY1113" fmla="*/ 421881 h 1971366"/>
                  <a:gd name="connsiteX1114" fmla="*/ 445811 w 2509632"/>
                  <a:gd name="connsiteY1114" fmla="*/ 449351 h 1971366"/>
                  <a:gd name="connsiteX1115" fmla="*/ 457502 w 2509632"/>
                  <a:gd name="connsiteY1115" fmla="*/ 449187 h 1971366"/>
                  <a:gd name="connsiteX1116" fmla="*/ 463155 w 2509632"/>
                  <a:gd name="connsiteY1116" fmla="*/ 413950 h 1971366"/>
                  <a:gd name="connsiteX1117" fmla="*/ 467820 w 2509632"/>
                  <a:gd name="connsiteY1117" fmla="*/ 415761 h 1971366"/>
                  <a:gd name="connsiteX1118" fmla="*/ 475916 w 2509632"/>
                  <a:gd name="connsiteY1118" fmla="*/ 393422 h 1971366"/>
                  <a:gd name="connsiteX1119" fmla="*/ 482695 w 2509632"/>
                  <a:gd name="connsiteY1119" fmla="*/ 386480 h 1971366"/>
                  <a:gd name="connsiteX1120" fmla="*/ 487579 w 2509632"/>
                  <a:gd name="connsiteY1120" fmla="*/ 396386 h 1971366"/>
                  <a:gd name="connsiteX1121" fmla="*/ 487634 w 2509632"/>
                  <a:gd name="connsiteY1121" fmla="*/ 418368 h 1971366"/>
                  <a:gd name="connsiteX1122" fmla="*/ 492574 w 2509632"/>
                  <a:gd name="connsiteY1122" fmla="*/ 426821 h 1971366"/>
                  <a:gd name="connsiteX1123" fmla="*/ 488979 w 2509632"/>
                  <a:gd name="connsiteY1123" fmla="*/ 442353 h 1971366"/>
                  <a:gd name="connsiteX1124" fmla="*/ 491504 w 2509632"/>
                  <a:gd name="connsiteY1124" fmla="*/ 451519 h 1971366"/>
                  <a:gd name="connsiteX1125" fmla="*/ 506241 w 2509632"/>
                  <a:gd name="connsiteY1125" fmla="*/ 453303 h 1971366"/>
                  <a:gd name="connsiteX1126" fmla="*/ 514528 w 2509632"/>
                  <a:gd name="connsiteY1126" fmla="*/ 449242 h 1971366"/>
                  <a:gd name="connsiteX1127" fmla="*/ 522075 w 2509632"/>
                  <a:gd name="connsiteY1127" fmla="*/ 438621 h 1971366"/>
                  <a:gd name="connsiteX1128" fmla="*/ 527289 w 2509632"/>
                  <a:gd name="connsiteY1128" fmla="*/ 421195 h 1971366"/>
                  <a:gd name="connsiteX1129" fmla="*/ 531625 w 2509632"/>
                  <a:gd name="connsiteY1129" fmla="*/ 415267 h 1971366"/>
                  <a:gd name="connsiteX1130" fmla="*/ 575946 w 2509632"/>
                  <a:gd name="connsiteY1130" fmla="*/ 418999 h 1971366"/>
                  <a:gd name="connsiteX1131" fmla="*/ 610085 w 2509632"/>
                  <a:gd name="connsiteY1131" fmla="*/ 447567 h 1971366"/>
                  <a:gd name="connsiteX1132" fmla="*/ 653445 w 2509632"/>
                  <a:gd name="connsiteY1132" fmla="*/ 462524 h 1971366"/>
                  <a:gd name="connsiteX1133" fmla="*/ 682507 w 2509632"/>
                  <a:gd name="connsiteY1133" fmla="*/ 482338 h 1971366"/>
                  <a:gd name="connsiteX1134" fmla="*/ 726306 w 2509632"/>
                  <a:gd name="connsiteY1134" fmla="*/ 494385 h 1971366"/>
                  <a:gd name="connsiteX1135" fmla="*/ 733441 w 2509632"/>
                  <a:gd name="connsiteY1135" fmla="*/ 485741 h 1971366"/>
                  <a:gd name="connsiteX1136" fmla="*/ 746422 w 2509632"/>
                  <a:gd name="connsiteY1136" fmla="*/ 484753 h 1971366"/>
                  <a:gd name="connsiteX1137" fmla="*/ 764452 w 2509632"/>
                  <a:gd name="connsiteY1137" fmla="*/ 493534 h 1971366"/>
                  <a:gd name="connsiteX1138" fmla="*/ 786845 w 2509632"/>
                  <a:gd name="connsiteY1138" fmla="*/ 516669 h 1971366"/>
                  <a:gd name="connsiteX1139" fmla="*/ 793569 w 2509632"/>
                  <a:gd name="connsiteY1139" fmla="*/ 532805 h 1971366"/>
                  <a:gd name="connsiteX1140" fmla="*/ 790138 w 2509632"/>
                  <a:gd name="connsiteY1140" fmla="*/ 541724 h 1971366"/>
                  <a:gd name="connsiteX1141" fmla="*/ 774715 w 2509632"/>
                  <a:gd name="connsiteY1141" fmla="*/ 543453 h 1971366"/>
                  <a:gd name="connsiteX1142" fmla="*/ 762723 w 2509632"/>
                  <a:gd name="connsiteY1142" fmla="*/ 550479 h 1971366"/>
                  <a:gd name="connsiteX1143" fmla="*/ 755450 w 2509632"/>
                  <a:gd name="connsiteY1143" fmla="*/ 568234 h 1971366"/>
                  <a:gd name="connsiteX1144" fmla="*/ 762119 w 2509632"/>
                  <a:gd name="connsiteY1144" fmla="*/ 577098 h 1971366"/>
                  <a:gd name="connsiteX1145" fmla="*/ 802460 w 2509632"/>
                  <a:gd name="connsiteY1145" fmla="*/ 582367 h 1971366"/>
                  <a:gd name="connsiteX1146" fmla="*/ 829244 w 2509632"/>
                  <a:gd name="connsiteY1146" fmla="*/ 585633 h 1971366"/>
                  <a:gd name="connsiteX1147" fmla="*/ 880261 w 2509632"/>
                  <a:gd name="connsiteY1147" fmla="*/ 578855 h 1971366"/>
                  <a:gd name="connsiteX1148" fmla="*/ 910503 w 2509632"/>
                  <a:gd name="connsiteY1148" fmla="*/ 567548 h 1971366"/>
                  <a:gd name="connsiteX1149" fmla="*/ 924197 w 2509632"/>
                  <a:gd name="connsiteY1149" fmla="*/ 581983 h 1971366"/>
                  <a:gd name="connsiteX1150" fmla="*/ 937397 w 2509632"/>
                  <a:gd name="connsiteY1150" fmla="*/ 586209 h 1971366"/>
                  <a:gd name="connsiteX1151" fmla="*/ 945685 w 2509632"/>
                  <a:gd name="connsiteY1151" fmla="*/ 602154 h 1971366"/>
                  <a:gd name="connsiteX1152" fmla="*/ 961382 w 2509632"/>
                  <a:gd name="connsiteY1152" fmla="*/ 600562 h 1971366"/>
                  <a:gd name="connsiteX1153" fmla="*/ 971975 w 2509632"/>
                  <a:gd name="connsiteY1153" fmla="*/ 626551 h 1971366"/>
                  <a:gd name="connsiteX1154" fmla="*/ 969368 w 2509632"/>
                  <a:gd name="connsiteY1154" fmla="*/ 648423 h 1971366"/>
                  <a:gd name="connsiteX1155" fmla="*/ 978287 w 2509632"/>
                  <a:gd name="connsiteY1155" fmla="*/ 661458 h 1971366"/>
                  <a:gd name="connsiteX1156" fmla="*/ 981443 w 2509632"/>
                  <a:gd name="connsiteY1156" fmla="*/ 645431 h 1971366"/>
                  <a:gd name="connsiteX1157" fmla="*/ 987755 w 2509632"/>
                  <a:gd name="connsiteY1157" fmla="*/ 638461 h 1971366"/>
                  <a:gd name="connsiteX1158" fmla="*/ 979467 w 2509632"/>
                  <a:gd name="connsiteY1158" fmla="*/ 600919 h 1971366"/>
                  <a:gd name="connsiteX1159" fmla="*/ 974198 w 2509632"/>
                  <a:gd name="connsiteY1159" fmla="*/ 586511 h 1971366"/>
                  <a:gd name="connsiteX1160" fmla="*/ 975076 w 2509632"/>
                  <a:gd name="connsiteY1160" fmla="*/ 573339 h 1971366"/>
                  <a:gd name="connsiteX1161" fmla="*/ 984242 w 2509632"/>
                  <a:gd name="connsiteY1161" fmla="*/ 559919 h 1971366"/>
                  <a:gd name="connsiteX1162" fmla="*/ 1005785 w 2509632"/>
                  <a:gd name="connsiteY1162" fmla="*/ 551055 h 1971366"/>
                  <a:gd name="connsiteX1163" fmla="*/ 1030319 w 2509632"/>
                  <a:gd name="connsiteY1163" fmla="*/ 530226 h 1971366"/>
                  <a:gd name="connsiteX1164" fmla="*/ 1033228 w 2509632"/>
                  <a:gd name="connsiteY1164" fmla="*/ 521993 h 1971366"/>
                  <a:gd name="connsiteX1165" fmla="*/ 1022937 w 2509632"/>
                  <a:gd name="connsiteY1165" fmla="*/ 520401 h 1971366"/>
                  <a:gd name="connsiteX1166" fmla="*/ 1009600 w 2509632"/>
                  <a:gd name="connsiteY1166" fmla="*/ 535001 h 1971366"/>
                  <a:gd name="connsiteX1167" fmla="*/ 981498 w 2509632"/>
                  <a:gd name="connsiteY1167" fmla="*/ 538706 h 1971366"/>
                  <a:gd name="connsiteX1168" fmla="*/ 965636 w 2509632"/>
                  <a:gd name="connsiteY1168" fmla="*/ 550945 h 1971366"/>
                  <a:gd name="connsiteX1169" fmla="*/ 954851 w 2509632"/>
                  <a:gd name="connsiteY1169" fmla="*/ 543563 h 1971366"/>
                  <a:gd name="connsiteX1170" fmla="*/ 953204 w 2509632"/>
                  <a:gd name="connsiteY1170" fmla="*/ 534891 h 1971366"/>
                  <a:gd name="connsiteX1171" fmla="*/ 966597 w 2509632"/>
                  <a:gd name="connsiteY1171" fmla="*/ 513184 h 1971366"/>
                  <a:gd name="connsiteX1172" fmla="*/ 1022361 w 2509632"/>
                  <a:gd name="connsiteY1172" fmla="*/ 491119 h 1971366"/>
                  <a:gd name="connsiteX1173" fmla="*/ 1039869 w 2509632"/>
                  <a:gd name="connsiteY1173" fmla="*/ 501493 h 1971366"/>
                  <a:gd name="connsiteX1174" fmla="*/ 1050901 w 2509632"/>
                  <a:gd name="connsiteY1174" fmla="*/ 529210 h 1971366"/>
                  <a:gd name="connsiteX1175" fmla="*/ 1079415 w 2509632"/>
                  <a:gd name="connsiteY1175" fmla="*/ 557971 h 1971366"/>
                  <a:gd name="connsiteX1176" fmla="*/ 1105787 w 2509632"/>
                  <a:gd name="connsiteY1176" fmla="*/ 556132 h 1971366"/>
                  <a:gd name="connsiteX1177" fmla="*/ 1137704 w 2509632"/>
                  <a:gd name="connsiteY1177" fmla="*/ 579157 h 1971366"/>
                  <a:gd name="connsiteX1178" fmla="*/ 1156255 w 2509632"/>
                  <a:gd name="connsiteY1178" fmla="*/ 574436 h 1971366"/>
                  <a:gd name="connsiteX1179" fmla="*/ 1161991 w 2509632"/>
                  <a:gd name="connsiteY1179" fmla="*/ 580090 h 1971366"/>
                  <a:gd name="connsiteX1180" fmla="*/ 1170416 w 2509632"/>
                  <a:gd name="connsiteY1180" fmla="*/ 579596 h 1971366"/>
                  <a:gd name="connsiteX1181" fmla="*/ 1188802 w 2509632"/>
                  <a:gd name="connsiteY1181" fmla="*/ 571857 h 1971366"/>
                  <a:gd name="connsiteX1182" fmla="*/ 1231641 w 2509632"/>
                  <a:gd name="connsiteY1182" fmla="*/ 581050 h 1971366"/>
                  <a:gd name="connsiteX1183" fmla="*/ 1243249 w 2509632"/>
                  <a:gd name="connsiteY1183" fmla="*/ 579404 h 1971366"/>
                  <a:gd name="connsiteX1184" fmla="*/ 1248024 w 2509632"/>
                  <a:gd name="connsiteY1184" fmla="*/ 572625 h 1971366"/>
                  <a:gd name="connsiteX1185" fmla="*/ 1246762 w 2509632"/>
                  <a:gd name="connsiteY1185" fmla="*/ 559398 h 1971366"/>
                  <a:gd name="connsiteX1186" fmla="*/ 1249561 w 2509632"/>
                  <a:gd name="connsiteY1186" fmla="*/ 537498 h 1971366"/>
                  <a:gd name="connsiteX1187" fmla="*/ 1260154 w 2509632"/>
                  <a:gd name="connsiteY1187" fmla="*/ 526027 h 1971366"/>
                  <a:gd name="connsiteX1188" fmla="*/ 1265012 w 2509632"/>
                  <a:gd name="connsiteY1188" fmla="*/ 511510 h 1971366"/>
                  <a:gd name="connsiteX1189" fmla="*/ 1256147 w 2509632"/>
                  <a:gd name="connsiteY1189" fmla="*/ 499654 h 1971366"/>
                  <a:gd name="connsiteX1190" fmla="*/ 1229692 w 2509632"/>
                  <a:gd name="connsiteY1190" fmla="*/ 489555 h 1971366"/>
                  <a:gd name="connsiteX1191" fmla="*/ 1224945 w 2509632"/>
                  <a:gd name="connsiteY1191" fmla="*/ 476108 h 1971366"/>
                  <a:gd name="connsiteX1192" fmla="*/ 1245006 w 2509632"/>
                  <a:gd name="connsiteY1192" fmla="*/ 459368 h 1971366"/>
                  <a:gd name="connsiteX1193" fmla="*/ 1258809 w 2509632"/>
                  <a:gd name="connsiteY1193" fmla="*/ 422814 h 1971366"/>
                  <a:gd name="connsiteX1194" fmla="*/ 1268881 w 2509632"/>
                  <a:gd name="connsiteY1194" fmla="*/ 411754 h 1971366"/>
                  <a:gd name="connsiteX1195" fmla="*/ 1299178 w 2509632"/>
                  <a:gd name="connsiteY1195" fmla="*/ 435053 h 1971366"/>
                  <a:gd name="connsiteX1196" fmla="*/ 1322614 w 2509632"/>
                  <a:gd name="connsiteY1196" fmla="*/ 468561 h 1971366"/>
                  <a:gd name="connsiteX1197" fmla="*/ 1330875 w 2509632"/>
                  <a:gd name="connsiteY1197" fmla="*/ 486674 h 1971366"/>
                  <a:gd name="connsiteX1198" fmla="*/ 1339629 w 2509632"/>
                  <a:gd name="connsiteY1198" fmla="*/ 494632 h 1971366"/>
                  <a:gd name="connsiteX1199" fmla="*/ 1336199 w 2509632"/>
                  <a:gd name="connsiteY1199" fmla="*/ 504923 h 1971366"/>
                  <a:gd name="connsiteX1200" fmla="*/ 1317153 w 2509632"/>
                  <a:gd name="connsiteY1200" fmla="*/ 522240 h 1971366"/>
                  <a:gd name="connsiteX1201" fmla="*/ 1297147 w 2509632"/>
                  <a:gd name="connsiteY1201" fmla="*/ 520785 h 1971366"/>
                  <a:gd name="connsiteX1202" fmla="*/ 1293086 w 2509632"/>
                  <a:gd name="connsiteY1202" fmla="*/ 526054 h 1971366"/>
                  <a:gd name="connsiteX1203" fmla="*/ 1300084 w 2509632"/>
                  <a:gd name="connsiteY1203" fmla="*/ 537965 h 1971366"/>
                  <a:gd name="connsiteX1204" fmla="*/ 1320144 w 2509632"/>
                  <a:gd name="connsiteY1204" fmla="*/ 549518 h 1971366"/>
                  <a:gd name="connsiteX1205" fmla="*/ 1320995 w 2509632"/>
                  <a:gd name="connsiteY1205" fmla="*/ 574629 h 1971366"/>
                  <a:gd name="connsiteX1206" fmla="*/ 1316714 w 2509632"/>
                  <a:gd name="connsiteY1206" fmla="*/ 597077 h 1971366"/>
                  <a:gd name="connsiteX1207" fmla="*/ 1320556 w 2509632"/>
                  <a:gd name="connsiteY1207" fmla="*/ 610195 h 1971366"/>
                  <a:gd name="connsiteX1208" fmla="*/ 1341632 w 2509632"/>
                  <a:gd name="connsiteY1208" fmla="*/ 614668 h 1971366"/>
                  <a:gd name="connsiteX1209" fmla="*/ 1342757 w 2509632"/>
                  <a:gd name="connsiteY1209" fmla="*/ 603718 h 1971366"/>
                  <a:gd name="connsiteX1210" fmla="*/ 1337269 w 2509632"/>
                  <a:gd name="connsiteY1210" fmla="*/ 583136 h 1971366"/>
                  <a:gd name="connsiteX1211" fmla="*/ 1339684 w 2509632"/>
                  <a:gd name="connsiteY1211" fmla="*/ 568454 h 1971366"/>
                  <a:gd name="connsiteX1212" fmla="*/ 1346023 w 2509632"/>
                  <a:gd name="connsiteY1212" fmla="*/ 559014 h 1971366"/>
                  <a:gd name="connsiteX1213" fmla="*/ 1364849 w 2509632"/>
                  <a:gd name="connsiteY1213" fmla="*/ 552290 h 1971366"/>
                  <a:gd name="connsiteX1214" fmla="*/ 1389520 w 2509632"/>
                  <a:gd name="connsiteY1214" fmla="*/ 520017 h 1971366"/>
                  <a:gd name="connsiteX1215" fmla="*/ 1391963 w 2509632"/>
                  <a:gd name="connsiteY1215" fmla="*/ 500889 h 1971366"/>
                  <a:gd name="connsiteX1216" fmla="*/ 1389246 w 2509632"/>
                  <a:gd name="connsiteY1216" fmla="*/ 489665 h 1971366"/>
                  <a:gd name="connsiteX1217" fmla="*/ 1384498 w 2509632"/>
                  <a:gd name="connsiteY1217" fmla="*/ 489089 h 1971366"/>
                  <a:gd name="connsiteX1218" fmla="*/ 1373960 w 2509632"/>
                  <a:gd name="connsiteY1218" fmla="*/ 499298 h 1971366"/>
                  <a:gd name="connsiteX1219" fmla="*/ 1369954 w 2509632"/>
                  <a:gd name="connsiteY1219" fmla="*/ 497569 h 1971366"/>
                  <a:gd name="connsiteX1220" fmla="*/ 1368856 w 2509632"/>
                  <a:gd name="connsiteY1220" fmla="*/ 492162 h 1971366"/>
                  <a:gd name="connsiteX1221" fmla="*/ 1378571 w 2509632"/>
                  <a:gd name="connsiteY1221" fmla="*/ 457776 h 1971366"/>
                  <a:gd name="connsiteX1222" fmla="*/ 1386035 w 2509632"/>
                  <a:gd name="connsiteY1222" fmla="*/ 453962 h 1971366"/>
                  <a:gd name="connsiteX1223" fmla="*/ 1391441 w 2509632"/>
                  <a:gd name="connsiteY1223" fmla="*/ 458462 h 1971366"/>
                  <a:gd name="connsiteX1224" fmla="*/ 1395009 w 2509632"/>
                  <a:gd name="connsiteY1224" fmla="*/ 449955 h 1971366"/>
                  <a:gd name="connsiteX1225" fmla="*/ 1391771 w 2509632"/>
                  <a:gd name="connsiteY1225" fmla="*/ 442326 h 1971366"/>
                  <a:gd name="connsiteX1226" fmla="*/ 1377061 w 2509632"/>
                  <a:gd name="connsiteY1226" fmla="*/ 442271 h 1971366"/>
                  <a:gd name="connsiteX1227" fmla="*/ 1365672 w 2509632"/>
                  <a:gd name="connsiteY1227" fmla="*/ 431760 h 1971366"/>
                  <a:gd name="connsiteX1228" fmla="*/ 1352335 w 2509632"/>
                  <a:gd name="connsiteY1228" fmla="*/ 430278 h 1971366"/>
                  <a:gd name="connsiteX1229" fmla="*/ 1326209 w 2509632"/>
                  <a:gd name="connsiteY1229" fmla="*/ 413730 h 1971366"/>
                  <a:gd name="connsiteX1230" fmla="*/ 1311088 w 2509632"/>
                  <a:gd name="connsiteY1230" fmla="*/ 381320 h 1971366"/>
                  <a:gd name="connsiteX1231" fmla="*/ 1311692 w 2509632"/>
                  <a:gd name="connsiteY1231" fmla="*/ 365733 h 1971366"/>
                  <a:gd name="connsiteX1232" fmla="*/ 1316193 w 2509632"/>
                  <a:gd name="connsiteY1232" fmla="*/ 346824 h 1971366"/>
                  <a:gd name="connsiteX1233" fmla="*/ 1309716 w 2509632"/>
                  <a:gd name="connsiteY1233" fmla="*/ 323964 h 1971366"/>
                  <a:gd name="connsiteX1234" fmla="*/ 1310539 w 2509632"/>
                  <a:gd name="connsiteY1234" fmla="*/ 294930 h 1971366"/>
                  <a:gd name="connsiteX1235" fmla="*/ 1322011 w 2509632"/>
                  <a:gd name="connsiteY1235" fmla="*/ 277064 h 1971366"/>
                  <a:gd name="connsiteX1236" fmla="*/ 1334415 w 2509632"/>
                  <a:gd name="connsiteY1236" fmla="*/ 274539 h 1971366"/>
                  <a:gd name="connsiteX1237" fmla="*/ 1332823 w 2509632"/>
                  <a:gd name="connsiteY1237" fmla="*/ 253683 h 1971366"/>
                  <a:gd name="connsiteX1238" fmla="*/ 1341989 w 2509632"/>
                  <a:gd name="connsiteY1238" fmla="*/ 234363 h 1971366"/>
                  <a:gd name="connsiteX1239" fmla="*/ 1345612 w 2509632"/>
                  <a:gd name="connsiteY1239" fmla="*/ 218144 h 1971366"/>
                  <a:gd name="connsiteX1240" fmla="*/ 1344953 w 2509632"/>
                  <a:gd name="connsiteY1240" fmla="*/ 171491 h 1971366"/>
                  <a:gd name="connsiteX1241" fmla="*/ 1332329 w 2509632"/>
                  <a:gd name="connsiteY1241" fmla="*/ 125360 h 1971366"/>
                  <a:gd name="connsiteX1242" fmla="*/ 1336007 w 2509632"/>
                  <a:gd name="connsiteY1242" fmla="*/ 56423 h 1971366"/>
                  <a:gd name="connsiteX1243" fmla="*/ 1346462 w 2509632"/>
                  <a:gd name="connsiteY1243" fmla="*/ 41741 h 1971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Lst>
                <a:rect l="l" t="t" r="r" b="b"/>
                <a:pathLst>
                  <a:path w="2509632" h="1971366">
                    <a:moveTo>
                      <a:pt x="1346682" y="41768"/>
                    </a:moveTo>
                    <a:lnTo>
                      <a:pt x="1349755" y="21543"/>
                    </a:lnTo>
                    <a:lnTo>
                      <a:pt x="1352061" y="17344"/>
                    </a:lnTo>
                    <a:lnTo>
                      <a:pt x="1363367" y="7849"/>
                    </a:lnTo>
                    <a:lnTo>
                      <a:pt x="1398192" y="0"/>
                    </a:lnTo>
                    <a:lnTo>
                      <a:pt x="1420696" y="4803"/>
                    </a:lnTo>
                    <a:lnTo>
                      <a:pt x="1436832" y="17673"/>
                    </a:lnTo>
                    <a:lnTo>
                      <a:pt x="1459006" y="15862"/>
                    </a:lnTo>
                    <a:lnTo>
                      <a:pt x="1476734" y="26702"/>
                    </a:lnTo>
                    <a:lnTo>
                      <a:pt x="1483266" y="30818"/>
                    </a:lnTo>
                    <a:lnTo>
                      <a:pt x="1484061" y="33618"/>
                    </a:lnTo>
                    <a:lnTo>
                      <a:pt x="1476734" y="54666"/>
                    </a:lnTo>
                    <a:lnTo>
                      <a:pt x="1450965" y="120804"/>
                    </a:lnTo>
                    <a:lnTo>
                      <a:pt x="1438863" y="139877"/>
                    </a:lnTo>
                    <a:lnTo>
                      <a:pt x="1404779" y="139740"/>
                    </a:lnTo>
                    <a:lnTo>
                      <a:pt x="1391688" y="144707"/>
                    </a:lnTo>
                    <a:lnTo>
                      <a:pt x="1393390" y="179175"/>
                    </a:lnTo>
                    <a:lnTo>
                      <a:pt x="1381205" y="206069"/>
                    </a:lnTo>
                    <a:lnTo>
                      <a:pt x="1372506" y="217815"/>
                    </a:lnTo>
                    <a:lnTo>
                      <a:pt x="1370530" y="230741"/>
                    </a:lnTo>
                    <a:lnTo>
                      <a:pt x="1374893" y="240949"/>
                    </a:lnTo>
                    <a:lnTo>
                      <a:pt x="1389520" y="244517"/>
                    </a:lnTo>
                    <a:lnTo>
                      <a:pt x="1408127" y="273826"/>
                    </a:lnTo>
                    <a:lnTo>
                      <a:pt x="1414795" y="296110"/>
                    </a:lnTo>
                    <a:lnTo>
                      <a:pt x="1419708" y="327834"/>
                    </a:lnTo>
                    <a:lnTo>
                      <a:pt x="1448029" y="375146"/>
                    </a:lnTo>
                    <a:lnTo>
                      <a:pt x="1446080" y="382720"/>
                    </a:lnTo>
                    <a:lnTo>
                      <a:pt x="1435734" y="386068"/>
                    </a:lnTo>
                    <a:lnTo>
                      <a:pt x="1436997" y="398362"/>
                    </a:lnTo>
                    <a:lnTo>
                      <a:pt x="1427337" y="415404"/>
                    </a:lnTo>
                    <a:lnTo>
                      <a:pt x="1426815" y="423994"/>
                    </a:lnTo>
                    <a:lnTo>
                      <a:pt x="1446190" y="437029"/>
                    </a:lnTo>
                    <a:lnTo>
                      <a:pt x="1469132" y="430745"/>
                    </a:lnTo>
                    <a:lnTo>
                      <a:pt x="1476762" y="436069"/>
                    </a:lnTo>
                    <a:lnTo>
                      <a:pt x="1486312" y="448967"/>
                    </a:lnTo>
                    <a:lnTo>
                      <a:pt x="1492239" y="450422"/>
                    </a:lnTo>
                    <a:lnTo>
                      <a:pt x="1490703" y="458078"/>
                    </a:lnTo>
                    <a:lnTo>
                      <a:pt x="1480631" y="469961"/>
                    </a:lnTo>
                    <a:lnTo>
                      <a:pt x="1485681" y="495593"/>
                    </a:lnTo>
                    <a:lnTo>
                      <a:pt x="1486284" y="523914"/>
                    </a:lnTo>
                    <a:lnTo>
                      <a:pt x="1491855" y="532394"/>
                    </a:lnTo>
                    <a:lnTo>
                      <a:pt x="1498332" y="530116"/>
                    </a:lnTo>
                    <a:lnTo>
                      <a:pt x="1502695" y="504731"/>
                    </a:lnTo>
                    <a:lnTo>
                      <a:pt x="1514743" y="474462"/>
                    </a:lnTo>
                    <a:lnTo>
                      <a:pt x="1521055" y="466201"/>
                    </a:lnTo>
                    <a:lnTo>
                      <a:pt x="1533239" y="469000"/>
                    </a:lnTo>
                    <a:lnTo>
                      <a:pt x="1553300" y="492931"/>
                    </a:lnTo>
                    <a:lnTo>
                      <a:pt x="1559063" y="506899"/>
                    </a:lnTo>
                    <a:lnTo>
                      <a:pt x="1561862" y="533135"/>
                    </a:lnTo>
                    <a:lnTo>
                      <a:pt x="1559173" y="540435"/>
                    </a:lnTo>
                    <a:lnTo>
                      <a:pt x="1551681" y="545676"/>
                    </a:lnTo>
                    <a:lnTo>
                      <a:pt x="1551791" y="570347"/>
                    </a:lnTo>
                    <a:lnTo>
                      <a:pt x="1559996" y="591808"/>
                    </a:lnTo>
                    <a:lnTo>
                      <a:pt x="1583762" y="621007"/>
                    </a:lnTo>
                    <a:lnTo>
                      <a:pt x="1601133" y="600041"/>
                    </a:lnTo>
                    <a:lnTo>
                      <a:pt x="1600557" y="585414"/>
                    </a:lnTo>
                    <a:lnTo>
                      <a:pt x="1592598" y="566505"/>
                    </a:lnTo>
                    <a:lnTo>
                      <a:pt x="1593751" y="552482"/>
                    </a:lnTo>
                    <a:lnTo>
                      <a:pt x="1602505" y="550095"/>
                    </a:lnTo>
                    <a:lnTo>
                      <a:pt x="1612851" y="566313"/>
                    </a:lnTo>
                    <a:lnTo>
                      <a:pt x="1621139" y="551000"/>
                    </a:lnTo>
                    <a:lnTo>
                      <a:pt x="1630442" y="509561"/>
                    </a:lnTo>
                    <a:lnTo>
                      <a:pt x="1644438" y="493589"/>
                    </a:lnTo>
                    <a:lnTo>
                      <a:pt x="1645069" y="481679"/>
                    </a:lnTo>
                    <a:lnTo>
                      <a:pt x="1638785" y="470235"/>
                    </a:lnTo>
                    <a:lnTo>
                      <a:pt x="1634668" y="450778"/>
                    </a:lnTo>
                    <a:lnTo>
                      <a:pt x="1634147" y="431019"/>
                    </a:lnTo>
                    <a:lnTo>
                      <a:pt x="1637193" y="416941"/>
                    </a:lnTo>
                    <a:lnTo>
                      <a:pt x="1663346" y="412084"/>
                    </a:lnTo>
                    <a:lnTo>
                      <a:pt x="1693396" y="422320"/>
                    </a:lnTo>
                    <a:lnTo>
                      <a:pt x="1707502" y="420811"/>
                    </a:lnTo>
                    <a:lnTo>
                      <a:pt x="1710740" y="416667"/>
                    </a:lnTo>
                    <a:lnTo>
                      <a:pt x="1709231" y="407062"/>
                    </a:lnTo>
                    <a:lnTo>
                      <a:pt x="1699846" y="399185"/>
                    </a:lnTo>
                    <a:lnTo>
                      <a:pt x="1680498" y="400174"/>
                    </a:lnTo>
                    <a:lnTo>
                      <a:pt x="1642188" y="391831"/>
                    </a:lnTo>
                    <a:lnTo>
                      <a:pt x="1623938" y="394767"/>
                    </a:lnTo>
                    <a:lnTo>
                      <a:pt x="1593449" y="366364"/>
                    </a:lnTo>
                    <a:lnTo>
                      <a:pt x="1560216" y="372977"/>
                    </a:lnTo>
                    <a:lnTo>
                      <a:pt x="1531400" y="345315"/>
                    </a:lnTo>
                    <a:lnTo>
                      <a:pt x="1523140" y="329371"/>
                    </a:lnTo>
                    <a:lnTo>
                      <a:pt x="1522015" y="316527"/>
                    </a:lnTo>
                    <a:lnTo>
                      <a:pt x="1523799" y="311615"/>
                    </a:lnTo>
                    <a:lnTo>
                      <a:pt x="1540621" y="307526"/>
                    </a:lnTo>
                    <a:lnTo>
                      <a:pt x="1561258" y="314167"/>
                    </a:lnTo>
                    <a:lnTo>
                      <a:pt x="1573690" y="307608"/>
                    </a:lnTo>
                    <a:lnTo>
                      <a:pt x="1560518" y="288618"/>
                    </a:lnTo>
                    <a:lnTo>
                      <a:pt x="1510324" y="278189"/>
                    </a:lnTo>
                    <a:lnTo>
                      <a:pt x="1503656" y="264934"/>
                    </a:lnTo>
                    <a:lnTo>
                      <a:pt x="1500884" y="225911"/>
                    </a:lnTo>
                    <a:lnTo>
                      <a:pt x="1505549" y="202584"/>
                    </a:lnTo>
                    <a:lnTo>
                      <a:pt x="1505604" y="175223"/>
                    </a:lnTo>
                    <a:lnTo>
                      <a:pt x="1518557" y="136145"/>
                    </a:lnTo>
                    <a:lnTo>
                      <a:pt x="1526406" y="103817"/>
                    </a:lnTo>
                    <a:lnTo>
                      <a:pt x="1540566" y="76785"/>
                    </a:lnTo>
                    <a:lnTo>
                      <a:pt x="1564799" y="50632"/>
                    </a:lnTo>
                    <a:lnTo>
                      <a:pt x="1601106" y="34084"/>
                    </a:lnTo>
                    <a:lnTo>
                      <a:pt x="1632446" y="35264"/>
                    </a:lnTo>
                    <a:lnTo>
                      <a:pt x="1644191" y="44018"/>
                    </a:lnTo>
                    <a:lnTo>
                      <a:pt x="1641255" y="59167"/>
                    </a:lnTo>
                    <a:lnTo>
                      <a:pt x="1612604" y="100084"/>
                    </a:lnTo>
                    <a:lnTo>
                      <a:pt x="1601819" y="127088"/>
                    </a:lnTo>
                    <a:lnTo>
                      <a:pt x="1599130" y="145393"/>
                    </a:lnTo>
                    <a:lnTo>
                      <a:pt x="1606155" y="175004"/>
                    </a:lnTo>
                    <a:lnTo>
                      <a:pt x="1606924" y="202063"/>
                    </a:lnTo>
                    <a:lnTo>
                      <a:pt x="1610162" y="220696"/>
                    </a:lnTo>
                    <a:lnTo>
                      <a:pt x="1631759" y="258129"/>
                    </a:lnTo>
                    <a:lnTo>
                      <a:pt x="1646579" y="275033"/>
                    </a:lnTo>
                    <a:lnTo>
                      <a:pt x="1647484" y="280604"/>
                    </a:lnTo>
                    <a:lnTo>
                      <a:pt x="1645673" y="291499"/>
                    </a:lnTo>
                    <a:lnTo>
                      <a:pt x="1651024" y="303135"/>
                    </a:lnTo>
                    <a:lnTo>
                      <a:pt x="1656952" y="273661"/>
                    </a:lnTo>
                    <a:lnTo>
                      <a:pt x="1656129" y="257278"/>
                    </a:lnTo>
                    <a:lnTo>
                      <a:pt x="1651656" y="249347"/>
                    </a:lnTo>
                    <a:lnTo>
                      <a:pt x="1638209" y="241828"/>
                    </a:lnTo>
                    <a:lnTo>
                      <a:pt x="1627670" y="218885"/>
                    </a:lnTo>
                    <a:lnTo>
                      <a:pt x="1635848" y="198330"/>
                    </a:lnTo>
                    <a:lnTo>
                      <a:pt x="1647677" y="195174"/>
                    </a:lnTo>
                    <a:lnTo>
                      <a:pt x="1649817" y="189878"/>
                    </a:lnTo>
                    <a:lnTo>
                      <a:pt x="1632308" y="164960"/>
                    </a:lnTo>
                    <a:lnTo>
                      <a:pt x="1629344" y="150964"/>
                    </a:lnTo>
                    <a:lnTo>
                      <a:pt x="1630360" y="135733"/>
                    </a:lnTo>
                    <a:lnTo>
                      <a:pt x="1638181" y="125277"/>
                    </a:lnTo>
                    <a:lnTo>
                      <a:pt x="1640541" y="110293"/>
                    </a:lnTo>
                    <a:lnTo>
                      <a:pt x="1647045" y="105024"/>
                    </a:lnTo>
                    <a:lnTo>
                      <a:pt x="1647539" y="93251"/>
                    </a:lnTo>
                    <a:lnTo>
                      <a:pt x="1650915" y="85814"/>
                    </a:lnTo>
                    <a:lnTo>
                      <a:pt x="1669960" y="74645"/>
                    </a:lnTo>
                    <a:lnTo>
                      <a:pt x="1681541" y="76044"/>
                    </a:lnTo>
                    <a:lnTo>
                      <a:pt x="1688457" y="62460"/>
                    </a:lnTo>
                    <a:lnTo>
                      <a:pt x="1708792" y="47586"/>
                    </a:lnTo>
                    <a:lnTo>
                      <a:pt x="1740763" y="47723"/>
                    </a:lnTo>
                    <a:lnTo>
                      <a:pt x="1754814" y="63997"/>
                    </a:lnTo>
                    <a:lnTo>
                      <a:pt x="1763129" y="91769"/>
                    </a:lnTo>
                    <a:lnTo>
                      <a:pt x="1775286" y="110540"/>
                    </a:lnTo>
                    <a:lnTo>
                      <a:pt x="1780747" y="135404"/>
                    </a:lnTo>
                    <a:lnTo>
                      <a:pt x="1770346" y="204670"/>
                    </a:lnTo>
                    <a:lnTo>
                      <a:pt x="1771966" y="215098"/>
                    </a:lnTo>
                    <a:lnTo>
                      <a:pt x="1781708" y="207990"/>
                    </a:lnTo>
                    <a:lnTo>
                      <a:pt x="1795374" y="174318"/>
                    </a:lnTo>
                    <a:lnTo>
                      <a:pt x="1838926" y="186146"/>
                    </a:lnTo>
                    <a:lnTo>
                      <a:pt x="1841287" y="181453"/>
                    </a:lnTo>
                    <a:lnTo>
                      <a:pt x="1842192" y="166908"/>
                    </a:lnTo>
                    <a:lnTo>
                      <a:pt x="1846693" y="158675"/>
                    </a:lnTo>
                    <a:lnTo>
                      <a:pt x="1865683" y="146408"/>
                    </a:lnTo>
                    <a:lnTo>
                      <a:pt x="1886074" y="148192"/>
                    </a:lnTo>
                    <a:lnTo>
                      <a:pt x="1907424" y="163807"/>
                    </a:lnTo>
                    <a:lnTo>
                      <a:pt x="1930229" y="169433"/>
                    </a:lnTo>
                    <a:lnTo>
                      <a:pt x="1937776" y="186996"/>
                    </a:lnTo>
                    <a:lnTo>
                      <a:pt x="1937447" y="207304"/>
                    </a:lnTo>
                    <a:lnTo>
                      <a:pt x="1948753" y="209088"/>
                    </a:lnTo>
                    <a:lnTo>
                      <a:pt x="1962420" y="220093"/>
                    </a:lnTo>
                    <a:lnTo>
                      <a:pt x="1960472" y="232222"/>
                    </a:lnTo>
                    <a:lnTo>
                      <a:pt x="1946558" y="248441"/>
                    </a:lnTo>
                    <a:lnTo>
                      <a:pt x="1949906" y="263562"/>
                    </a:lnTo>
                    <a:lnTo>
                      <a:pt x="1961020" y="249182"/>
                    </a:lnTo>
                    <a:lnTo>
                      <a:pt x="1972519" y="244462"/>
                    </a:lnTo>
                    <a:lnTo>
                      <a:pt x="1975593" y="248963"/>
                    </a:lnTo>
                    <a:lnTo>
                      <a:pt x="1975373" y="262218"/>
                    </a:lnTo>
                    <a:lnTo>
                      <a:pt x="1982234" y="266142"/>
                    </a:lnTo>
                    <a:lnTo>
                      <a:pt x="1985499" y="280495"/>
                    </a:lnTo>
                    <a:lnTo>
                      <a:pt x="1993485" y="265044"/>
                    </a:lnTo>
                    <a:lnTo>
                      <a:pt x="2006713" y="253957"/>
                    </a:lnTo>
                    <a:lnTo>
                      <a:pt x="2019007" y="254918"/>
                    </a:lnTo>
                    <a:lnTo>
                      <a:pt x="2042114" y="269270"/>
                    </a:lnTo>
                    <a:lnTo>
                      <a:pt x="2048810" y="284913"/>
                    </a:lnTo>
                    <a:lnTo>
                      <a:pt x="2043706" y="303135"/>
                    </a:lnTo>
                    <a:lnTo>
                      <a:pt x="2044337" y="317872"/>
                    </a:lnTo>
                    <a:lnTo>
                      <a:pt x="2050045" y="317488"/>
                    </a:lnTo>
                    <a:lnTo>
                      <a:pt x="2061407" y="306483"/>
                    </a:lnTo>
                    <a:lnTo>
                      <a:pt x="2067801" y="313756"/>
                    </a:lnTo>
                    <a:lnTo>
                      <a:pt x="2064810" y="328575"/>
                    </a:lnTo>
                    <a:lnTo>
                      <a:pt x="2053256" y="347922"/>
                    </a:lnTo>
                    <a:lnTo>
                      <a:pt x="2052872" y="362796"/>
                    </a:lnTo>
                    <a:lnTo>
                      <a:pt x="2063218" y="342571"/>
                    </a:lnTo>
                    <a:lnTo>
                      <a:pt x="2084486" y="327806"/>
                    </a:lnTo>
                    <a:lnTo>
                      <a:pt x="2087780" y="329124"/>
                    </a:lnTo>
                    <a:lnTo>
                      <a:pt x="2090881" y="339113"/>
                    </a:lnTo>
                    <a:lnTo>
                      <a:pt x="2110008" y="332993"/>
                    </a:lnTo>
                    <a:lnTo>
                      <a:pt x="2131524" y="348910"/>
                    </a:lnTo>
                    <a:lnTo>
                      <a:pt x="2133033" y="355414"/>
                    </a:lnTo>
                    <a:lnTo>
                      <a:pt x="2129465" y="363455"/>
                    </a:lnTo>
                    <a:lnTo>
                      <a:pt x="2100129" y="381073"/>
                    </a:lnTo>
                    <a:lnTo>
                      <a:pt x="2096945" y="389141"/>
                    </a:lnTo>
                    <a:lnTo>
                      <a:pt x="2118927" y="386123"/>
                    </a:lnTo>
                    <a:lnTo>
                      <a:pt x="2121177" y="389526"/>
                    </a:lnTo>
                    <a:lnTo>
                      <a:pt x="2121480" y="398307"/>
                    </a:lnTo>
                    <a:lnTo>
                      <a:pt x="2123428" y="399707"/>
                    </a:lnTo>
                    <a:lnTo>
                      <a:pt x="2135009" y="391117"/>
                    </a:lnTo>
                    <a:lnTo>
                      <a:pt x="2144010" y="375255"/>
                    </a:lnTo>
                    <a:lnTo>
                      <a:pt x="2152024" y="377615"/>
                    </a:lnTo>
                    <a:lnTo>
                      <a:pt x="2164071" y="394438"/>
                    </a:lnTo>
                    <a:lnTo>
                      <a:pt x="2166925" y="417353"/>
                    </a:lnTo>
                    <a:lnTo>
                      <a:pt x="2146535" y="421222"/>
                    </a:lnTo>
                    <a:lnTo>
                      <a:pt x="2141019" y="433599"/>
                    </a:lnTo>
                    <a:lnTo>
                      <a:pt x="2149581" y="427287"/>
                    </a:lnTo>
                    <a:lnTo>
                      <a:pt x="2151118" y="438978"/>
                    </a:lnTo>
                    <a:lnTo>
                      <a:pt x="2164620" y="439637"/>
                    </a:lnTo>
                    <a:lnTo>
                      <a:pt x="2177683" y="451547"/>
                    </a:lnTo>
                    <a:lnTo>
                      <a:pt x="2181195" y="460658"/>
                    </a:lnTo>
                    <a:lnTo>
                      <a:pt x="2175570" y="467546"/>
                    </a:lnTo>
                    <a:lnTo>
                      <a:pt x="2147139" y="461563"/>
                    </a:lnTo>
                    <a:lnTo>
                      <a:pt x="2137534" y="465104"/>
                    </a:lnTo>
                    <a:lnTo>
                      <a:pt x="2137479" y="471553"/>
                    </a:lnTo>
                    <a:lnTo>
                      <a:pt x="2144477" y="482502"/>
                    </a:lnTo>
                    <a:lnTo>
                      <a:pt x="2135174" y="499544"/>
                    </a:lnTo>
                    <a:lnTo>
                      <a:pt x="2139235" y="515050"/>
                    </a:lnTo>
                    <a:lnTo>
                      <a:pt x="2166184" y="528250"/>
                    </a:lnTo>
                    <a:lnTo>
                      <a:pt x="2185477" y="551247"/>
                    </a:lnTo>
                    <a:lnTo>
                      <a:pt x="2193353" y="550314"/>
                    </a:lnTo>
                    <a:lnTo>
                      <a:pt x="2197853" y="565572"/>
                    </a:lnTo>
                    <a:lnTo>
                      <a:pt x="2205921" y="571226"/>
                    </a:lnTo>
                    <a:lnTo>
                      <a:pt x="2235944" y="565161"/>
                    </a:lnTo>
                    <a:lnTo>
                      <a:pt x="2240362" y="578690"/>
                    </a:lnTo>
                    <a:lnTo>
                      <a:pt x="2249693" y="581517"/>
                    </a:lnTo>
                    <a:lnTo>
                      <a:pt x="2266598" y="596446"/>
                    </a:lnTo>
                    <a:lnTo>
                      <a:pt x="2265281" y="612445"/>
                    </a:lnTo>
                    <a:lnTo>
                      <a:pt x="2267805" y="621940"/>
                    </a:lnTo>
                    <a:lnTo>
                      <a:pt x="2278563" y="624822"/>
                    </a:lnTo>
                    <a:lnTo>
                      <a:pt x="2290144" y="621721"/>
                    </a:lnTo>
                    <a:lnTo>
                      <a:pt x="2286302" y="644992"/>
                    </a:lnTo>
                    <a:lnTo>
                      <a:pt x="2292669" y="641809"/>
                    </a:lnTo>
                    <a:lnTo>
                      <a:pt x="2302274" y="649575"/>
                    </a:lnTo>
                    <a:lnTo>
                      <a:pt x="2321950" y="640684"/>
                    </a:lnTo>
                    <a:lnTo>
                      <a:pt x="2331309" y="648148"/>
                    </a:lnTo>
                    <a:lnTo>
                      <a:pt x="2339212" y="662309"/>
                    </a:lnTo>
                    <a:lnTo>
                      <a:pt x="2338855" y="668017"/>
                    </a:lnTo>
                    <a:lnTo>
                      <a:pt x="2330897" y="687721"/>
                    </a:lnTo>
                    <a:lnTo>
                      <a:pt x="2314459" y="691097"/>
                    </a:lnTo>
                    <a:lnTo>
                      <a:pt x="2314019" y="700070"/>
                    </a:lnTo>
                    <a:lnTo>
                      <a:pt x="2316187" y="709922"/>
                    </a:lnTo>
                    <a:lnTo>
                      <a:pt x="2303042" y="738765"/>
                    </a:lnTo>
                    <a:lnTo>
                      <a:pt x="2293711" y="741399"/>
                    </a:lnTo>
                    <a:lnTo>
                      <a:pt x="2282625" y="738490"/>
                    </a:lnTo>
                    <a:lnTo>
                      <a:pt x="2280731" y="748644"/>
                    </a:lnTo>
                    <a:lnTo>
                      <a:pt x="2282076" y="767333"/>
                    </a:lnTo>
                    <a:lnTo>
                      <a:pt x="2279194" y="779710"/>
                    </a:lnTo>
                    <a:lnTo>
                      <a:pt x="2275023" y="786406"/>
                    </a:lnTo>
                    <a:lnTo>
                      <a:pt x="2253370" y="768047"/>
                    </a:lnTo>
                    <a:lnTo>
                      <a:pt x="2243683" y="767772"/>
                    </a:lnTo>
                    <a:lnTo>
                      <a:pt x="2232926" y="751938"/>
                    </a:lnTo>
                    <a:lnTo>
                      <a:pt x="2226284" y="735746"/>
                    </a:lnTo>
                    <a:lnTo>
                      <a:pt x="2226284" y="726196"/>
                    </a:lnTo>
                    <a:cubicBezTo>
                      <a:pt x="2226284" y="726196"/>
                      <a:pt x="2236630" y="713106"/>
                      <a:pt x="2236630" y="713106"/>
                    </a:cubicBezTo>
                    <a:lnTo>
                      <a:pt x="2237426" y="706218"/>
                    </a:lnTo>
                    <a:lnTo>
                      <a:pt x="2213304" y="713462"/>
                    </a:lnTo>
                    <a:lnTo>
                      <a:pt x="2203150" y="702046"/>
                    </a:lnTo>
                    <a:lnTo>
                      <a:pt x="2181442" y="690822"/>
                    </a:lnTo>
                    <a:lnTo>
                      <a:pt x="2160064" y="693896"/>
                    </a:lnTo>
                    <a:lnTo>
                      <a:pt x="2168242" y="712447"/>
                    </a:lnTo>
                    <a:lnTo>
                      <a:pt x="2170383" y="736323"/>
                    </a:lnTo>
                    <a:lnTo>
                      <a:pt x="2178369" y="755066"/>
                    </a:lnTo>
                    <a:lnTo>
                      <a:pt x="2185120" y="783991"/>
                    </a:lnTo>
                    <a:lnTo>
                      <a:pt x="2191239" y="783744"/>
                    </a:lnTo>
                    <a:lnTo>
                      <a:pt x="2202875" y="797795"/>
                    </a:lnTo>
                    <a:lnTo>
                      <a:pt x="2212096" y="796587"/>
                    </a:lnTo>
                    <a:lnTo>
                      <a:pt x="2218353" y="806247"/>
                    </a:lnTo>
                    <a:lnTo>
                      <a:pt x="2224116" y="806549"/>
                    </a:lnTo>
                    <a:lnTo>
                      <a:pt x="2226668" y="810748"/>
                    </a:lnTo>
                    <a:lnTo>
                      <a:pt x="2231718" y="822274"/>
                    </a:lnTo>
                    <a:lnTo>
                      <a:pt x="2229111" y="834486"/>
                    </a:lnTo>
                    <a:lnTo>
                      <a:pt x="2235231" y="835364"/>
                    </a:lnTo>
                    <a:lnTo>
                      <a:pt x="2236081" y="848564"/>
                    </a:lnTo>
                    <a:lnTo>
                      <a:pt x="2243683" y="860804"/>
                    </a:lnTo>
                    <a:lnTo>
                      <a:pt x="2251477" y="866183"/>
                    </a:lnTo>
                    <a:lnTo>
                      <a:pt x="2258200" y="863274"/>
                    </a:lnTo>
                    <a:lnTo>
                      <a:pt x="2260423" y="869970"/>
                    </a:lnTo>
                    <a:lnTo>
                      <a:pt x="2257981" y="880865"/>
                    </a:lnTo>
                    <a:lnTo>
                      <a:pt x="2257789" y="892528"/>
                    </a:lnTo>
                    <a:lnTo>
                      <a:pt x="2251230" y="884377"/>
                    </a:lnTo>
                    <a:lnTo>
                      <a:pt x="2247004" y="898373"/>
                    </a:lnTo>
                    <a:lnTo>
                      <a:pt x="2239841" y="889729"/>
                    </a:lnTo>
                    <a:lnTo>
                      <a:pt x="2235121" y="890168"/>
                    </a:lnTo>
                    <a:lnTo>
                      <a:pt x="2236822" y="903258"/>
                    </a:lnTo>
                    <a:lnTo>
                      <a:pt x="2241186" y="912534"/>
                    </a:lnTo>
                    <a:lnTo>
                      <a:pt x="2242668" y="920932"/>
                    </a:lnTo>
                    <a:lnTo>
                      <a:pt x="2240966" y="925514"/>
                    </a:lnTo>
                    <a:lnTo>
                      <a:pt x="2235039" y="926804"/>
                    </a:lnTo>
                    <a:lnTo>
                      <a:pt x="2234353" y="932046"/>
                    </a:lnTo>
                    <a:lnTo>
                      <a:pt x="2240033" y="947633"/>
                    </a:lnTo>
                    <a:lnTo>
                      <a:pt x="2249117" y="950652"/>
                    </a:lnTo>
                    <a:lnTo>
                      <a:pt x="2248156" y="956470"/>
                    </a:lnTo>
                    <a:lnTo>
                      <a:pt x="2238249" y="953671"/>
                    </a:lnTo>
                    <a:lnTo>
                      <a:pt x="2222058" y="929658"/>
                    </a:lnTo>
                    <a:lnTo>
                      <a:pt x="2194890" y="915909"/>
                    </a:lnTo>
                    <a:lnTo>
                      <a:pt x="2188605" y="919093"/>
                    </a:lnTo>
                    <a:lnTo>
                      <a:pt x="2182458" y="910421"/>
                    </a:lnTo>
                    <a:lnTo>
                      <a:pt x="2162013" y="886984"/>
                    </a:lnTo>
                    <a:lnTo>
                      <a:pt x="2160640" y="885365"/>
                    </a:lnTo>
                    <a:lnTo>
                      <a:pt x="2152298" y="889015"/>
                    </a:lnTo>
                    <a:lnTo>
                      <a:pt x="2132210" y="872330"/>
                    </a:lnTo>
                    <a:lnTo>
                      <a:pt x="2126282" y="874141"/>
                    </a:lnTo>
                    <a:lnTo>
                      <a:pt x="2129109" y="884268"/>
                    </a:lnTo>
                    <a:lnTo>
                      <a:pt x="2135064" y="892555"/>
                    </a:lnTo>
                    <a:lnTo>
                      <a:pt x="2146453" y="903066"/>
                    </a:lnTo>
                    <a:lnTo>
                      <a:pt x="2153615" y="905042"/>
                    </a:lnTo>
                    <a:lnTo>
                      <a:pt x="2156085" y="913055"/>
                    </a:lnTo>
                    <a:lnTo>
                      <a:pt x="2162013" y="919312"/>
                    </a:lnTo>
                    <a:lnTo>
                      <a:pt x="2182458" y="940690"/>
                    </a:lnTo>
                    <a:lnTo>
                      <a:pt x="2188303" y="946755"/>
                    </a:lnTo>
                    <a:lnTo>
                      <a:pt x="2195932" y="960038"/>
                    </a:lnTo>
                    <a:lnTo>
                      <a:pt x="2205757" y="967996"/>
                    </a:lnTo>
                    <a:lnTo>
                      <a:pt x="2208666" y="979440"/>
                    </a:lnTo>
                    <a:lnTo>
                      <a:pt x="2204632" y="988194"/>
                    </a:lnTo>
                    <a:lnTo>
                      <a:pt x="2197359" y="989457"/>
                    </a:lnTo>
                    <a:lnTo>
                      <a:pt x="2182458" y="982678"/>
                    </a:lnTo>
                    <a:lnTo>
                      <a:pt x="2162013" y="973430"/>
                    </a:lnTo>
                    <a:lnTo>
                      <a:pt x="2131304" y="964868"/>
                    </a:lnTo>
                    <a:lnTo>
                      <a:pt x="2112067" y="952710"/>
                    </a:lnTo>
                    <a:lnTo>
                      <a:pt x="2107154" y="946755"/>
                    </a:lnTo>
                    <a:lnTo>
                      <a:pt x="2097247" y="935366"/>
                    </a:lnTo>
                    <a:lnTo>
                      <a:pt x="2078668" y="932238"/>
                    </a:lnTo>
                    <a:lnTo>
                      <a:pt x="2077077" y="933665"/>
                    </a:lnTo>
                    <a:lnTo>
                      <a:pt x="2076857" y="944038"/>
                    </a:lnTo>
                    <a:lnTo>
                      <a:pt x="2068432" y="943544"/>
                    </a:lnTo>
                    <a:lnTo>
                      <a:pt x="2058608" y="931689"/>
                    </a:lnTo>
                    <a:lnTo>
                      <a:pt x="2051774" y="917446"/>
                    </a:lnTo>
                    <a:lnTo>
                      <a:pt x="2041044" y="907731"/>
                    </a:lnTo>
                    <a:lnTo>
                      <a:pt x="2030671" y="892226"/>
                    </a:lnTo>
                    <a:lnTo>
                      <a:pt x="2031933" y="887918"/>
                    </a:lnTo>
                    <a:lnTo>
                      <a:pt x="2039233" y="885256"/>
                    </a:lnTo>
                    <a:lnTo>
                      <a:pt x="2038382" y="877325"/>
                    </a:lnTo>
                    <a:lnTo>
                      <a:pt x="2014123" y="865771"/>
                    </a:lnTo>
                    <a:lnTo>
                      <a:pt x="1996038" y="838356"/>
                    </a:lnTo>
                    <a:lnTo>
                      <a:pt x="1978913" y="837917"/>
                    </a:lnTo>
                    <a:lnTo>
                      <a:pt x="1957233" y="815523"/>
                    </a:lnTo>
                    <a:lnTo>
                      <a:pt x="1949138" y="824524"/>
                    </a:lnTo>
                    <a:lnTo>
                      <a:pt x="1923259" y="819036"/>
                    </a:lnTo>
                    <a:lnTo>
                      <a:pt x="1913764" y="827433"/>
                    </a:lnTo>
                    <a:lnTo>
                      <a:pt x="1894169" y="836736"/>
                    </a:lnTo>
                    <a:lnTo>
                      <a:pt x="1874822" y="834925"/>
                    </a:lnTo>
                    <a:lnTo>
                      <a:pt x="1861732" y="828586"/>
                    </a:lnTo>
                    <a:lnTo>
                      <a:pt x="1850946" y="810775"/>
                    </a:lnTo>
                    <a:lnTo>
                      <a:pt x="1850727" y="796176"/>
                    </a:lnTo>
                    <a:lnTo>
                      <a:pt x="1853883" y="785528"/>
                    </a:lnTo>
                    <a:lnTo>
                      <a:pt x="1867220" y="771120"/>
                    </a:lnTo>
                    <a:lnTo>
                      <a:pt x="1871007" y="759539"/>
                    </a:lnTo>
                    <a:lnTo>
                      <a:pt x="1875233" y="754023"/>
                    </a:lnTo>
                    <a:lnTo>
                      <a:pt x="1904872" y="762778"/>
                    </a:lnTo>
                    <a:lnTo>
                      <a:pt x="1932589" y="763683"/>
                    </a:lnTo>
                    <a:lnTo>
                      <a:pt x="1955175" y="757042"/>
                    </a:lnTo>
                    <a:lnTo>
                      <a:pt x="1965329" y="750236"/>
                    </a:lnTo>
                    <a:lnTo>
                      <a:pt x="1979874" y="748672"/>
                    </a:lnTo>
                    <a:lnTo>
                      <a:pt x="1978035" y="733633"/>
                    </a:lnTo>
                    <a:lnTo>
                      <a:pt x="1963161" y="712557"/>
                    </a:lnTo>
                    <a:lnTo>
                      <a:pt x="1961213" y="702732"/>
                    </a:lnTo>
                    <a:lnTo>
                      <a:pt x="1996724" y="661293"/>
                    </a:lnTo>
                    <a:lnTo>
                      <a:pt x="2006905" y="640684"/>
                    </a:lnTo>
                    <a:lnTo>
                      <a:pt x="2016400" y="629432"/>
                    </a:lnTo>
                    <a:lnTo>
                      <a:pt x="2018376" y="612637"/>
                    </a:lnTo>
                    <a:lnTo>
                      <a:pt x="1999139" y="552482"/>
                    </a:lnTo>
                    <a:lnTo>
                      <a:pt x="1978309" y="532970"/>
                    </a:lnTo>
                    <a:lnTo>
                      <a:pt x="1973864" y="515105"/>
                    </a:lnTo>
                    <a:lnTo>
                      <a:pt x="1966043" y="522734"/>
                    </a:lnTo>
                    <a:lnTo>
                      <a:pt x="1962996" y="532311"/>
                    </a:lnTo>
                    <a:lnTo>
                      <a:pt x="1954132" y="517904"/>
                    </a:lnTo>
                    <a:lnTo>
                      <a:pt x="1942990" y="528689"/>
                    </a:lnTo>
                    <a:lnTo>
                      <a:pt x="1934785" y="517218"/>
                    </a:lnTo>
                    <a:lnTo>
                      <a:pt x="1936678" y="509506"/>
                    </a:lnTo>
                    <a:lnTo>
                      <a:pt x="1945433" y="505582"/>
                    </a:lnTo>
                    <a:lnTo>
                      <a:pt x="1944856" y="495840"/>
                    </a:lnTo>
                    <a:lnTo>
                      <a:pt x="1940575" y="490077"/>
                    </a:lnTo>
                    <a:lnTo>
                      <a:pt x="1928665" y="486591"/>
                    </a:lnTo>
                    <a:lnTo>
                      <a:pt x="1906628" y="502508"/>
                    </a:lnTo>
                    <a:lnTo>
                      <a:pt x="1897929" y="503112"/>
                    </a:lnTo>
                    <a:lnTo>
                      <a:pt x="1895432" y="494056"/>
                    </a:lnTo>
                    <a:lnTo>
                      <a:pt x="1896776" y="485466"/>
                    </a:lnTo>
                    <a:lnTo>
                      <a:pt x="1917111" y="476739"/>
                    </a:lnTo>
                    <a:lnTo>
                      <a:pt x="1919993" y="472129"/>
                    </a:lnTo>
                    <a:lnTo>
                      <a:pt x="1920158" y="465707"/>
                    </a:lnTo>
                    <a:lnTo>
                      <a:pt x="1913132" y="453632"/>
                    </a:lnTo>
                    <a:lnTo>
                      <a:pt x="1885443" y="430471"/>
                    </a:lnTo>
                    <a:lnTo>
                      <a:pt x="1878719" y="416337"/>
                    </a:lnTo>
                    <a:lnTo>
                      <a:pt x="1867001" y="412111"/>
                    </a:lnTo>
                    <a:lnTo>
                      <a:pt x="1858274" y="382637"/>
                    </a:lnTo>
                    <a:lnTo>
                      <a:pt x="1843647" y="377890"/>
                    </a:lnTo>
                    <a:lnTo>
                      <a:pt x="1829706" y="363180"/>
                    </a:lnTo>
                    <a:lnTo>
                      <a:pt x="1822104" y="360985"/>
                    </a:lnTo>
                    <a:lnTo>
                      <a:pt x="1819964" y="366748"/>
                    </a:lnTo>
                    <a:lnTo>
                      <a:pt x="1828937" y="384860"/>
                    </a:lnTo>
                    <a:lnTo>
                      <a:pt x="1830309" y="393670"/>
                    </a:lnTo>
                    <a:lnTo>
                      <a:pt x="1829157" y="399872"/>
                    </a:lnTo>
                    <a:lnTo>
                      <a:pt x="1805172" y="407446"/>
                    </a:lnTo>
                    <a:lnTo>
                      <a:pt x="1773832" y="394328"/>
                    </a:lnTo>
                    <a:lnTo>
                      <a:pt x="1764748" y="398856"/>
                    </a:lnTo>
                    <a:lnTo>
                      <a:pt x="1774628" y="417435"/>
                    </a:lnTo>
                    <a:lnTo>
                      <a:pt x="1803141" y="416722"/>
                    </a:lnTo>
                    <a:lnTo>
                      <a:pt x="1806681" y="420097"/>
                    </a:lnTo>
                    <a:lnTo>
                      <a:pt x="1795759" y="433928"/>
                    </a:lnTo>
                    <a:lnTo>
                      <a:pt x="1747706" y="404949"/>
                    </a:lnTo>
                    <a:lnTo>
                      <a:pt x="1728414" y="420426"/>
                    </a:lnTo>
                    <a:lnTo>
                      <a:pt x="1723062" y="430635"/>
                    </a:lnTo>
                    <a:lnTo>
                      <a:pt x="1723886" y="440295"/>
                    </a:lnTo>
                    <a:lnTo>
                      <a:pt x="1730088" y="456240"/>
                    </a:lnTo>
                    <a:lnTo>
                      <a:pt x="1743919" y="462689"/>
                    </a:lnTo>
                    <a:lnTo>
                      <a:pt x="1750972" y="471827"/>
                    </a:lnTo>
                    <a:lnTo>
                      <a:pt x="1749819" y="486921"/>
                    </a:lnTo>
                    <a:lnTo>
                      <a:pt x="1754100" y="501905"/>
                    </a:lnTo>
                    <a:lnTo>
                      <a:pt x="1752701" y="512745"/>
                    </a:lnTo>
                    <a:lnTo>
                      <a:pt x="1741888" y="523530"/>
                    </a:lnTo>
                    <a:lnTo>
                      <a:pt x="1730005" y="525506"/>
                    </a:lnTo>
                    <a:lnTo>
                      <a:pt x="1724188" y="533711"/>
                    </a:lnTo>
                    <a:lnTo>
                      <a:pt x="1734067" y="567027"/>
                    </a:lnTo>
                    <a:lnTo>
                      <a:pt x="1751219" y="594250"/>
                    </a:lnTo>
                    <a:lnTo>
                      <a:pt x="1754457" y="614366"/>
                    </a:lnTo>
                    <a:lnTo>
                      <a:pt x="1747020" y="637638"/>
                    </a:lnTo>
                    <a:lnTo>
                      <a:pt x="1737689" y="645486"/>
                    </a:lnTo>
                    <a:lnTo>
                      <a:pt x="1725395" y="662830"/>
                    </a:lnTo>
                    <a:lnTo>
                      <a:pt x="1701794" y="680696"/>
                    </a:lnTo>
                    <a:lnTo>
                      <a:pt x="1690241" y="681354"/>
                    </a:lnTo>
                    <a:lnTo>
                      <a:pt x="1676300" y="668319"/>
                    </a:lnTo>
                    <a:lnTo>
                      <a:pt x="1679455" y="691920"/>
                    </a:lnTo>
                    <a:lnTo>
                      <a:pt x="1670207" y="693539"/>
                    </a:lnTo>
                    <a:lnTo>
                      <a:pt x="1668451" y="698753"/>
                    </a:lnTo>
                    <a:lnTo>
                      <a:pt x="1683407" y="719253"/>
                    </a:lnTo>
                    <a:lnTo>
                      <a:pt x="1686673" y="732261"/>
                    </a:lnTo>
                    <a:lnTo>
                      <a:pt x="1677342" y="729681"/>
                    </a:lnTo>
                    <a:lnTo>
                      <a:pt x="1661371" y="703226"/>
                    </a:lnTo>
                    <a:lnTo>
                      <a:pt x="1643615" y="692194"/>
                    </a:lnTo>
                    <a:lnTo>
                      <a:pt x="1629839" y="675454"/>
                    </a:lnTo>
                    <a:lnTo>
                      <a:pt x="1601764" y="680531"/>
                    </a:lnTo>
                    <a:lnTo>
                      <a:pt x="1602752" y="687145"/>
                    </a:lnTo>
                    <a:lnTo>
                      <a:pt x="1614388" y="698341"/>
                    </a:lnTo>
                    <a:lnTo>
                      <a:pt x="1615349" y="708413"/>
                    </a:lnTo>
                    <a:lnTo>
                      <a:pt x="1589031" y="750785"/>
                    </a:lnTo>
                    <a:lnTo>
                      <a:pt x="1579398" y="758716"/>
                    </a:lnTo>
                    <a:lnTo>
                      <a:pt x="1556236" y="756603"/>
                    </a:lnTo>
                    <a:lnTo>
                      <a:pt x="1537410" y="737612"/>
                    </a:lnTo>
                    <a:lnTo>
                      <a:pt x="1513343" y="721037"/>
                    </a:lnTo>
                    <a:lnTo>
                      <a:pt x="1506180" y="725675"/>
                    </a:lnTo>
                    <a:lnTo>
                      <a:pt x="1530193" y="759375"/>
                    </a:lnTo>
                    <a:lnTo>
                      <a:pt x="1586314" y="772767"/>
                    </a:lnTo>
                    <a:lnTo>
                      <a:pt x="1587878" y="778804"/>
                    </a:lnTo>
                    <a:lnTo>
                      <a:pt x="1585408" y="787449"/>
                    </a:lnTo>
                    <a:lnTo>
                      <a:pt x="1572620" y="810885"/>
                    </a:lnTo>
                    <a:lnTo>
                      <a:pt x="1571577" y="812751"/>
                    </a:lnTo>
                    <a:lnTo>
                      <a:pt x="1570507" y="813849"/>
                    </a:lnTo>
                    <a:lnTo>
                      <a:pt x="1564360" y="821012"/>
                    </a:lnTo>
                    <a:lnTo>
                      <a:pt x="1556648" y="839783"/>
                    </a:lnTo>
                    <a:lnTo>
                      <a:pt x="1543475" y="850897"/>
                    </a:lnTo>
                    <a:lnTo>
                      <a:pt x="1524512" y="853888"/>
                    </a:lnTo>
                    <a:lnTo>
                      <a:pt x="1505220" y="846479"/>
                    </a:lnTo>
                    <a:lnTo>
                      <a:pt x="1497014" y="871040"/>
                    </a:lnTo>
                    <a:lnTo>
                      <a:pt x="1492624" y="874937"/>
                    </a:lnTo>
                    <a:lnTo>
                      <a:pt x="1491004" y="876337"/>
                    </a:lnTo>
                    <a:lnTo>
                      <a:pt x="1479506" y="886408"/>
                    </a:lnTo>
                    <a:lnTo>
                      <a:pt x="1476487" y="885146"/>
                    </a:lnTo>
                    <a:lnTo>
                      <a:pt x="1459335" y="878120"/>
                    </a:lnTo>
                    <a:lnTo>
                      <a:pt x="1460790" y="882950"/>
                    </a:lnTo>
                    <a:lnTo>
                      <a:pt x="1467266" y="884542"/>
                    </a:lnTo>
                    <a:lnTo>
                      <a:pt x="1476130" y="895574"/>
                    </a:lnTo>
                    <a:lnTo>
                      <a:pt x="1476515" y="899636"/>
                    </a:lnTo>
                    <a:lnTo>
                      <a:pt x="1478298" y="918324"/>
                    </a:lnTo>
                    <a:lnTo>
                      <a:pt x="1476515" y="920712"/>
                    </a:lnTo>
                    <a:lnTo>
                      <a:pt x="1474539" y="923401"/>
                    </a:lnTo>
                    <a:lnTo>
                      <a:pt x="1460433" y="930152"/>
                    </a:lnTo>
                    <a:lnTo>
                      <a:pt x="1434088" y="932348"/>
                    </a:lnTo>
                    <a:lnTo>
                      <a:pt x="1439275" y="946728"/>
                    </a:lnTo>
                    <a:lnTo>
                      <a:pt x="1433923" y="951009"/>
                    </a:lnTo>
                    <a:lnTo>
                      <a:pt x="1432084" y="957980"/>
                    </a:lnTo>
                    <a:lnTo>
                      <a:pt x="1422836" y="956443"/>
                    </a:lnTo>
                    <a:lnTo>
                      <a:pt x="1420558" y="965224"/>
                    </a:lnTo>
                    <a:lnTo>
                      <a:pt x="1406590" y="980675"/>
                    </a:lnTo>
                    <a:lnTo>
                      <a:pt x="1406590" y="988880"/>
                    </a:lnTo>
                    <a:cubicBezTo>
                      <a:pt x="1406590" y="988880"/>
                      <a:pt x="1400992" y="990829"/>
                      <a:pt x="1400992" y="990829"/>
                    </a:cubicBezTo>
                    <a:lnTo>
                      <a:pt x="1399208" y="1000543"/>
                    </a:lnTo>
                    <a:lnTo>
                      <a:pt x="1386200" y="1014539"/>
                    </a:lnTo>
                    <a:lnTo>
                      <a:pt x="1378214" y="1043849"/>
                    </a:lnTo>
                    <a:lnTo>
                      <a:pt x="1368142" y="1066077"/>
                    </a:lnTo>
                    <a:lnTo>
                      <a:pt x="1362215" y="1074393"/>
                    </a:lnTo>
                    <a:lnTo>
                      <a:pt x="1358729" y="1110782"/>
                    </a:lnTo>
                    <a:lnTo>
                      <a:pt x="1360266" y="1154307"/>
                    </a:lnTo>
                    <a:lnTo>
                      <a:pt x="1368444" y="1172584"/>
                    </a:lnTo>
                    <a:lnTo>
                      <a:pt x="1406947" y="1182024"/>
                    </a:lnTo>
                    <a:lnTo>
                      <a:pt x="1426568" y="1247338"/>
                    </a:lnTo>
                    <a:lnTo>
                      <a:pt x="1427007" y="1258233"/>
                    </a:lnTo>
                    <a:lnTo>
                      <a:pt x="1425059" y="1270967"/>
                    </a:lnTo>
                    <a:lnTo>
                      <a:pt x="1447123" y="1267097"/>
                    </a:lnTo>
                    <a:lnTo>
                      <a:pt x="1466772" y="1259715"/>
                    </a:lnTo>
                    <a:lnTo>
                      <a:pt x="1476542" y="1261444"/>
                    </a:lnTo>
                    <a:lnTo>
                      <a:pt x="1486367" y="1263173"/>
                    </a:lnTo>
                    <a:lnTo>
                      <a:pt x="1491032" y="1265725"/>
                    </a:lnTo>
                    <a:lnTo>
                      <a:pt x="1492651" y="1266603"/>
                    </a:lnTo>
                    <a:lnTo>
                      <a:pt x="1503930" y="1272751"/>
                    </a:lnTo>
                    <a:lnTo>
                      <a:pt x="1533102" y="1281368"/>
                    </a:lnTo>
                    <a:lnTo>
                      <a:pt x="1541006" y="1289683"/>
                    </a:lnTo>
                    <a:lnTo>
                      <a:pt x="1558843" y="1301373"/>
                    </a:lnTo>
                    <a:lnTo>
                      <a:pt x="1570534" y="1321434"/>
                    </a:lnTo>
                    <a:lnTo>
                      <a:pt x="1575858" y="1326127"/>
                    </a:lnTo>
                    <a:lnTo>
                      <a:pt x="1597593" y="1334195"/>
                    </a:lnTo>
                    <a:lnTo>
                      <a:pt x="1621057" y="1344349"/>
                    </a:lnTo>
                    <a:lnTo>
                      <a:pt x="1645810" y="1363312"/>
                    </a:lnTo>
                    <a:lnTo>
                      <a:pt x="1659724" y="1365563"/>
                    </a:lnTo>
                    <a:lnTo>
                      <a:pt x="1679510" y="1363120"/>
                    </a:lnTo>
                    <a:lnTo>
                      <a:pt x="1700861" y="1367648"/>
                    </a:lnTo>
                    <a:lnTo>
                      <a:pt x="1706542" y="1365233"/>
                    </a:lnTo>
                    <a:lnTo>
                      <a:pt x="1711426" y="1370255"/>
                    </a:lnTo>
                    <a:lnTo>
                      <a:pt x="1715378" y="1368554"/>
                    </a:lnTo>
                    <a:lnTo>
                      <a:pt x="1726987" y="1372313"/>
                    </a:lnTo>
                    <a:lnTo>
                      <a:pt x="1729182" y="1387819"/>
                    </a:lnTo>
                    <a:lnTo>
                      <a:pt x="1725175" y="1406123"/>
                    </a:lnTo>
                    <a:lnTo>
                      <a:pt x="1723117" y="1415564"/>
                    </a:lnTo>
                    <a:lnTo>
                      <a:pt x="1726959" y="1425278"/>
                    </a:lnTo>
                    <a:lnTo>
                      <a:pt x="1731103" y="1437189"/>
                    </a:lnTo>
                    <a:lnTo>
                      <a:pt x="1731103" y="1439329"/>
                    </a:lnTo>
                    <a:cubicBezTo>
                      <a:pt x="1731103" y="1439329"/>
                      <a:pt x="1731295" y="1448495"/>
                      <a:pt x="1731295" y="1448495"/>
                    </a:cubicBezTo>
                    <a:lnTo>
                      <a:pt x="1731295" y="1450608"/>
                    </a:lnTo>
                    <a:cubicBezTo>
                      <a:pt x="1731295" y="1450608"/>
                      <a:pt x="1731515" y="1461146"/>
                      <a:pt x="1731515" y="1461146"/>
                    </a:cubicBezTo>
                    <a:lnTo>
                      <a:pt x="1728359" y="1472453"/>
                    </a:lnTo>
                    <a:lnTo>
                      <a:pt x="1729704" y="1481701"/>
                    </a:lnTo>
                    <a:lnTo>
                      <a:pt x="1746965" y="1503601"/>
                    </a:lnTo>
                    <a:lnTo>
                      <a:pt x="1754402" y="1519463"/>
                    </a:lnTo>
                    <a:lnTo>
                      <a:pt x="1773914" y="1536011"/>
                    </a:lnTo>
                    <a:lnTo>
                      <a:pt x="1783602" y="1555962"/>
                    </a:lnTo>
                    <a:lnTo>
                      <a:pt x="1798064" y="1563975"/>
                    </a:lnTo>
                    <a:lnTo>
                      <a:pt x="1801165" y="1562082"/>
                    </a:lnTo>
                    <a:lnTo>
                      <a:pt x="1805144" y="1552971"/>
                    </a:lnTo>
                    <a:lnTo>
                      <a:pt x="1812307" y="1544381"/>
                    </a:lnTo>
                    <a:lnTo>
                      <a:pt x="1826522" y="1554617"/>
                    </a:lnTo>
                    <a:lnTo>
                      <a:pt x="1827812" y="1549623"/>
                    </a:lnTo>
                    <a:lnTo>
                      <a:pt x="1824245" y="1539633"/>
                    </a:lnTo>
                    <a:lnTo>
                      <a:pt x="1823888" y="1531456"/>
                    </a:lnTo>
                    <a:lnTo>
                      <a:pt x="1833520" y="1522289"/>
                    </a:lnTo>
                    <a:lnTo>
                      <a:pt x="1836566" y="1512877"/>
                    </a:lnTo>
                    <a:lnTo>
                      <a:pt x="1836045" y="1507498"/>
                    </a:lnTo>
                    <a:lnTo>
                      <a:pt x="1828306" y="1491910"/>
                    </a:lnTo>
                    <a:lnTo>
                      <a:pt x="1827620" y="1485104"/>
                    </a:lnTo>
                    <a:lnTo>
                      <a:pt x="1823449" y="1480329"/>
                    </a:lnTo>
                    <a:lnTo>
                      <a:pt x="1823943" y="1463836"/>
                    </a:lnTo>
                    <a:lnTo>
                      <a:pt x="1820595" y="1453106"/>
                    </a:lnTo>
                    <a:lnTo>
                      <a:pt x="1820512" y="1450581"/>
                    </a:lnTo>
                    <a:lnTo>
                      <a:pt x="1820457" y="1448468"/>
                    </a:lnTo>
                    <a:lnTo>
                      <a:pt x="1819497" y="1429999"/>
                    </a:lnTo>
                    <a:lnTo>
                      <a:pt x="1810276" y="1415509"/>
                    </a:lnTo>
                    <a:lnTo>
                      <a:pt x="1805281" y="1398906"/>
                    </a:lnTo>
                    <a:lnTo>
                      <a:pt x="1806955" y="1388779"/>
                    </a:lnTo>
                    <a:lnTo>
                      <a:pt x="1818866" y="1386886"/>
                    </a:lnTo>
                    <a:lnTo>
                      <a:pt x="1840299" y="1376759"/>
                    </a:lnTo>
                    <a:lnTo>
                      <a:pt x="1858576" y="1363916"/>
                    </a:lnTo>
                    <a:lnTo>
                      <a:pt x="1885717" y="1331506"/>
                    </a:lnTo>
                    <a:lnTo>
                      <a:pt x="1893757" y="1308920"/>
                    </a:lnTo>
                    <a:lnTo>
                      <a:pt x="1894142" y="1276620"/>
                    </a:lnTo>
                    <a:lnTo>
                      <a:pt x="1890711" y="1272201"/>
                    </a:lnTo>
                    <a:lnTo>
                      <a:pt x="1889888" y="1262844"/>
                    </a:lnTo>
                    <a:lnTo>
                      <a:pt x="1891178" y="1261746"/>
                    </a:lnTo>
                    <a:lnTo>
                      <a:pt x="1893236" y="1268634"/>
                    </a:lnTo>
                    <a:lnTo>
                      <a:pt x="1893236" y="1262158"/>
                    </a:lnTo>
                    <a:cubicBezTo>
                      <a:pt x="1893236" y="1262158"/>
                      <a:pt x="1881381" y="1227085"/>
                      <a:pt x="1881381" y="1227085"/>
                    </a:cubicBezTo>
                    <a:lnTo>
                      <a:pt x="1865766" y="1205680"/>
                    </a:lnTo>
                    <a:lnTo>
                      <a:pt x="1835030" y="1178072"/>
                    </a:lnTo>
                    <a:lnTo>
                      <a:pt x="1837335" y="1168248"/>
                    </a:lnTo>
                    <a:lnTo>
                      <a:pt x="1854487" y="1144400"/>
                    </a:lnTo>
                    <a:lnTo>
                      <a:pt x="1859975" y="1123021"/>
                    </a:lnTo>
                    <a:lnTo>
                      <a:pt x="1867083" y="1115914"/>
                    </a:lnTo>
                    <a:lnTo>
                      <a:pt x="1868949" y="1110508"/>
                    </a:lnTo>
                    <a:lnTo>
                      <a:pt x="1863021" y="1090776"/>
                    </a:lnTo>
                    <a:lnTo>
                      <a:pt x="1859975" y="1063443"/>
                    </a:lnTo>
                    <a:lnTo>
                      <a:pt x="1851989" y="1051752"/>
                    </a:lnTo>
                    <a:lnTo>
                      <a:pt x="1858137" y="1034216"/>
                    </a:lnTo>
                    <a:lnTo>
                      <a:pt x="1861018" y="1014073"/>
                    </a:lnTo>
                    <a:lnTo>
                      <a:pt x="1852429" y="992530"/>
                    </a:lnTo>
                    <a:lnTo>
                      <a:pt x="1849849" y="977135"/>
                    </a:lnTo>
                    <a:lnTo>
                      <a:pt x="1850068" y="970933"/>
                    </a:lnTo>
                    <a:lnTo>
                      <a:pt x="1853801" y="959544"/>
                    </a:lnTo>
                    <a:lnTo>
                      <a:pt x="1868318" y="948210"/>
                    </a:lnTo>
                    <a:lnTo>
                      <a:pt x="1883439" y="949033"/>
                    </a:lnTo>
                    <a:lnTo>
                      <a:pt x="1919389" y="963907"/>
                    </a:lnTo>
                    <a:lnTo>
                      <a:pt x="1947354" y="968243"/>
                    </a:lnTo>
                    <a:lnTo>
                      <a:pt x="1980230" y="956086"/>
                    </a:lnTo>
                    <a:lnTo>
                      <a:pt x="2007070" y="974363"/>
                    </a:lnTo>
                    <a:lnTo>
                      <a:pt x="2012339" y="983886"/>
                    </a:lnTo>
                    <a:lnTo>
                      <a:pt x="2022191" y="991652"/>
                    </a:lnTo>
                    <a:lnTo>
                      <a:pt x="2029518" y="1002904"/>
                    </a:lnTo>
                    <a:lnTo>
                      <a:pt x="2039480" y="1004907"/>
                    </a:lnTo>
                    <a:lnTo>
                      <a:pt x="2038986" y="1020714"/>
                    </a:lnTo>
                    <a:lnTo>
                      <a:pt x="2047740" y="1033557"/>
                    </a:lnTo>
                    <a:lnTo>
                      <a:pt x="2067828" y="1040995"/>
                    </a:lnTo>
                    <a:lnTo>
                      <a:pt x="2080809" y="1041269"/>
                    </a:lnTo>
                    <a:lnTo>
                      <a:pt x="2086325" y="1046456"/>
                    </a:lnTo>
                    <a:lnTo>
                      <a:pt x="2089783" y="1041571"/>
                    </a:lnTo>
                    <a:lnTo>
                      <a:pt x="2089124" y="1047910"/>
                    </a:lnTo>
                    <a:lnTo>
                      <a:pt x="2090826" y="1050709"/>
                    </a:lnTo>
                    <a:lnTo>
                      <a:pt x="2102352" y="1044727"/>
                    </a:lnTo>
                    <a:lnTo>
                      <a:pt x="2104382" y="1053591"/>
                    </a:lnTo>
                    <a:lnTo>
                      <a:pt x="2097165" y="1074091"/>
                    </a:lnTo>
                    <a:lnTo>
                      <a:pt x="2099168" y="1091764"/>
                    </a:lnTo>
                    <a:lnTo>
                      <a:pt x="2096973" y="1105156"/>
                    </a:lnTo>
                    <a:lnTo>
                      <a:pt x="2100623" y="1119619"/>
                    </a:lnTo>
                    <a:lnTo>
                      <a:pt x="2098318" y="1135124"/>
                    </a:lnTo>
                    <a:lnTo>
                      <a:pt x="2099388" y="1139405"/>
                    </a:lnTo>
                    <a:lnTo>
                      <a:pt x="2106276" y="1145141"/>
                    </a:lnTo>
                    <a:lnTo>
                      <a:pt x="2107319" y="1155075"/>
                    </a:lnTo>
                    <a:lnTo>
                      <a:pt x="2112176" y="1157682"/>
                    </a:lnTo>
                    <a:lnTo>
                      <a:pt x="2112478" y="1165723"/>
                    </a:lnTo>
                    <a:lnTo>
                      <a:pt x="2130453" y="1169236"/>
                    </a:lnTo>
                    <a:lnTo>
                      <a:pt x="2140937" y="1185509"/>
                    </a:lnTo>
                    <a:lnTo>
                      <a:pt x="2151776" y="1195718"/>
                    </a:lnTo>
                    <a:lnTo>
                      <a:pt x="2163769" y="1201179"/>
                    </a:lnTo>
                    <a:lnTo>
                      <a:pt x="2181881" y="1190202"/>
                    </a:lnTo>
                    <a:lnTo>
                      <a:pt x="2193161" y="1174422"/>
                    </a:lnTo>
                    <a:lnTo>
                      <a:pt x="2203973" y="1175328"/>
                    </a:lnTo>
                    <a:lnTo>
                      <a:pt x="2207074" y="1164543"/>
                    </a:lnTo>
                    <a:lnTo>
                      <a:pt x="2212371" y="1155981"/>
                    </a:lnTo>
                    <a:lnTo>
                      <a:pt x="2214100" y="1145086"/>
                    </a:lnTo>
                    <a:lnTo>
                      <a:pt x="2220247" y="1130980"/>
                    </a:lnTo>
                    <a:lnTo>
                      <a:pt x="2225049" y="1111029"/>
                    </a:lnTo>
                    <a:lnTo>
                      <a:pt x="2240061" y="1081308"/>
                    </a:lnTo>
                    <a:lnTo>
                      <a:pt x="2248842" y="1080595"/>
                    </a:lnTo>
                    <a:lnTo>
                      <a:pt x="2252822" y="1088251"/>
                    </a:lnTo>
                    <a:lnTo>
                      <a:pt x="2255703" y="1100793"/>
                    </a:lnTo>
                    <a:lnTo>
                      <a:pt x="2292833" y="1171760"/>
                    </a:lnTo>
                    <a:lnTo>
                      <a:pt x="2295276" y="1188473"/>
                    </a:lnTo>
                    <a:lnTo>
                      <a:pt x="2302823" y="1194373"/>
                    </a:lnTo>
                    <a:lnTo>
                      <a:pt x="2309244" y="1211525"/>
                    </a:lnTo>
                    <a:lnTo>
                      <a:pt x="2328043" y="1230049"/>
                    </a:lnTo>
                    <a:lnTo>
                      <a:pt x="2327412" y="1236745"/>
                    </a:lnTo>
                    <a:lnTo>
                      <a:pt x="2330814" y="1246323"/>
                    </a:lnTo>
                    <a:lnTo>
                      <a:pt x="2331940" y="1256175"/>
                    </a:lnTo>
                    <a:lnTo>
                      <a:pt x="2338032" y="1262816"/>
                    </a:lnTo>
                    <a:lnTo>
                      <a:pt x="2340941" y="1272201"/>
                    </a:lnTo>
                    <a:lnTo>
                      <a:pt x="2343246" y="1298629"/>
                    </a:lnTo>
                    <a:lnTo>
                      <a:pt x="2336660" y="1311719"/>
                    </a:lnTo>
                    <a:lnTo>
                      <a:pt x="2340419" y="1320035"/>
                    </a:lnTo>
                    <a:lnTo>
                      <a:pt x="2350875" y="1323657"/>
                    </a:lnTo>
                    <a:lnTo>
                      <a:pt x="2362017" y="1335540"/>
                    </a:lnTo>
                    <a:lnTo>
                      <a:pt x="2370113" y="1339135"/>
                    </a:lnTo>
                    <a:lnTo>
                      <a:pt x="2377413" y="1358290"/>
                    </a:lnTo>
                    <a:lnTo>
                      <a:pt x="2383807" y="1356507"/>
                    </a:lnTo>
                    <a:lnTo>
                      <a:pt x="2384411" y="1362736"/>
                    </a:lnTo>
                    <a:lnTo>
                      <a:pt x="2394372" y="1371545"/>
                    </a:lnTo>
                    <a:lnTo>
                      <a:pt x="2406859" y="1371271"/>
                    </a:lnTo>
                    <a:lnTo>
                      <a:pt x="2420718" y="1385404"/>
                    </a:lnTo>
                    <a:lnTo>
                      <a:pt x="2440586" y="1386364"/>
                    </a:lnTo>
                    <a:lnTo>
                      <a:pt x="2458369" y="1399482"/>
                    </a:lnTo>
                    <a:lnTo>
                      <a:pt x="2458369" y="1403598"/>
                    </a:lnTo>
                    <a:lnTo>
                      <a:pt x="2443056" y="1409883"/>
                    </a:lnTo>
                    <a:lnTo>
                      <a:pt x="2440916" y="1413560"/>
                    </a:lnTo>
                    <a:lnTo>
                      <a:pt x="2454665" y="1419543"/>
                    </a:lnTo>
                    <a:lnTo>
                      <a:pt x="2467069" y="1435048"/>
                    </a:lnTo>
                    <a:lnTo>
                      <a:pt x="2475878" y="1437134"/>
                    </a:lnTo>
                    <a:lnTo>
                      <a:pt x="2490835" y="1448386"/>
                    </a:lnTo>
                    <a:lnTo>
                      <a:pt x="2504803" y="1454423"/>
                    </a:lnTo>
                    <a:lnTo>
                      <a:pt x="2504391" y="1462436"/>
                    </a:lnTo>
                    <a:lnTo>
                      <a:pt x="2508178" y="1468501"/>
                    </a:lnTo>
                    <a:lnTo>
                      <a:pt x="2504089" y="1488782"/>
                    </a:lnTo>
                    <a:lnTo>
                      <a:pt x="2509633" y="1506455"/>
                    </a:lnTo>
                    <a:lnTo>
                      <a:pt x="2506669" y="1523497"/>
                    </a:lnTo>
                    <a:lnTo>
                      <a:pt x="2493908" y="1535545"/>
                    </a:lnTo>
                    <a:lnTo>
                      <a:pt x="2479912" y="1543256"/>
                    </a:lnTo>
                    <a:lnTo>
                      <a:pt x="2473298" y="1551297"/>
                    </a:lnTo>
                    <a:lnTo>
                      <a:pt x="2456257" y="1552065"/>
                    </a:lnTo>
                    <a:lnTo>
                      <a:pt x="2432655" y="1561121"/>
                    </a:lnTo>
                    <a:lnTo>
                      <a:pt x="2414351" y="1574596"/>
                    </a:lnTo>
                    <a:lnTo>
                      <a:pt x="2406283" y="1590485"/>
                    </a:lnTo>
                    <a:lnTo>
                      <a:pt x="2398160" y="1592818"/>
                    </a:lnTo>
                    <a:lnTo>
                      <a:pt x="2380267" y="1610079"/>
                    </a:lnTo>
                    <a:lnTo>
                      <a:pt x="2351452" y="1611013"/>
                    </a:lnTo>
                    <a:lnTo>
                      <a:pt x="2333312" y="1614498"/>
                    </a:lnTo>
                    <a:lnTo>
                      <a:pt x="2325106" y="1610052"/>
                    </a:lnTo>
                    <a:lnTo>
                      <a:pt x="2301643" y="1606210"/>
                    </a:lnTo>
                    <a:lnTo>
                      <a:pt x="2282076" y="1609558"/>
                    </a:lnTo>
                    <a:lnTo>
                      <a:pt x="2271702" y="1607280"/>
                    </a:lnTo>
                    <a:lnTo>
                      <a:pt x="2267915" y="1610546"/>
                    </a:lnTo>
                    <a:lnTo>
                      <a:pt x="2262948" y="1606869"/>
                    </a:lnTo>
                    <a:lnTo>
                      <a:pt x="2226339" y="1605853"/>
                    </a:lnTo>
                    <a:lnTo>
                      <a:pt x="2209462" y="1606951"/>
                    </a:lnTo>
                    <a:lnTo>
                      <a:pt x="2201997" y="1609887"/>
                    </a:lnTo>
                    <a:lnTo>
                      <a:pt x="2192913" y="1609119"/>
                    </a:lnTo>
                    <a:lnTo>
                      <a:pt x="2178369" y="1620975"/>
                    </a:lnTo>
                    <a:lnTo>
                      <a:pt x="2172880" y="1629372"/>
                    </a:lnTo>
                    <a:lnTo>
                      <a:pt x="2168352" y="1644548"/>
                    </a:lnTo>
                    <a:lnTo>
                      <a:pt x="2162205" y="1649625"/>
                    </a:lnTo>
                    <a:lnTo>
                      <a:pt x="2144477" y="1653138"/>
                    </a:lnTo>
                    <a:lnTo>
                      <a:pt x="2140333" y="1659751"/>
                    </a:lnTo>
                    <a:lnTo>
                      <a:pt x="2134048" y="1661700"/>
                    </a:lnTo>
                    <a:lnTo>
                      <a:pt x="2130837" y="1662688"/>
                    </a:lnTo>
                    <a:lnTo>
                      <a:pt x="2127188" y="1668670"/>
                    </a:lnTo>
                    <a:lnTo>
                      <a:pt x="2116540" y="1676684"/>
                    </a:lnTo>
                    <a:lnTo>
                      <a:pt x="2107346" y="1691750"/>
                    </a:lnTo>
                    <a:lnTo>
                      <a:pt x="2105343" y="1695016"/>
                    </a:lnTo>
                    <a:lnTo>
                      <a:pt x="2095766" y="1706487"/>
                    </a:lnTo>
                    <a:lnTo>
                      <a:pt x="2092225" y="1714912"/>
                    </a:lnTo>
                    <a:lnTo>
                      <a:pt x="2079492" y="1732805"/>
                    </a:lnTo>
                    <a:lnTo>
                      <a:pt x="2073015" y="1737250"/>
                    </a:lnTo>
                    <a:lnTo>
                      <a:pt x="2065908" y="1753689"/>
                    </a:lnTo>
                    <a:lnTo>
                      <a:pt x="2069475" y="1753085"/>
                    </a:lnTo>
                    <a:lnTo>
                      <a:pt x="2072192" y="1748776"/>
                    </a:lnTo>
                    <a:lnTo>
                      <a:pt x="2076034" y="1748721"/>
                    </a:lnTo>
                    <a:lnTo>
                      <a:pt x="2092225" y="1727179"/>
                    </a:lnTo>
                    <a:lnTo>
                      <a:pt x="2105480" y="1709313"/>
                    </a:lnTo>
                    <a:lnTo>
                      <a:pt x="2107346" y="1707914"/>
                    </a:lnTo>
                    <a:lnTo>
                      <a:pt x="2134076" y="1687935"/>
                    </a:lnTo>
                    <a:lnTo>
                      <a:pt x="2144504" y="1680114"/>
                    </a:lnTo>
                    <a:lnTo>
                      <a:pt x="2162232" y="1671579"/>
                    </a:lnTo>
                    <a:lnTo>
                      <a:pt x="2199033" y="1656348"/>
                    </a:lnTo>
                    <a:lnTo>
                      <a:pt x="2220796" y="1653851"/>
                    </a:lnTo>
                    <a:lnTo>
                      <a:pt x="2241378" y="1657748"/>
                    </a:lnTo>
                    <a:lnTo>
                      <a:pt x="2255127" y="1668121"/>
                    </a:lnTo>
                    <a:lnTo>
                      <a:pt x="2256801" y="1681349"/>
                    </a:lnTo>
                    <a:lnTo>
                      <a:pt x="2255977" y="1687277"/>
                    </a:lnTo>
                    <a:lnTo>
                      <a:pt x="2240143" y="1700724"/>
                    </a:lnTo>
                    <a:lnTo>
                      <a:pt x="2225351" y="1707337"/>
                    </a:lnTo>
                    <a:lnTo>
                      <a:pt x="2208611" y="1701821"/>
                    </a:lnTo>
                    <a:lnTo>
                      <a:pt x="2200131" y="1705993"/>
                    </a:lnTo>
                    <a:lnTo>
                      <a:pt x="2199966" y="1706102"/>
                    </a:lnTo>
                    <a:lnTo>
                      <a:pt x="2199857" y="1706295"/>
                    </a:lnTo>
                    <a:lnTo>
                      <a:pt x="2199774" y="1706542"/>
                    </a:lnTo>
                    <a:lnTo>
                      <a:pt x="2199774" y="1706816"/>
                    </a:lnTo>
                    <a:cubicBezTo>
                      <a:pt x="2199774" y="1706816"/>
                      <a:pt x="2199774" y="1707063"/>
                      <a:pt x="2199774" y="1707063"/>
                    </a:cubicBezTo>
                    <a:lnTo>
                      <a:pt x="2199884" y="1707310"/>
                    </a:lnTo>
                    <a:lnTo>
                      <a:pt x="2200021" y="1707474"/>
                    </a:lnTo>
                    <a:lnTo>
                      <a:pt x="2218628" y="1721910"/>
                    </a:lnTo>
                    <a:lnTo>
                      <a:pt x="2231608" y="1717903"/>
                    </a:lnTo>
                    <a:lnTo>
                      <a:pt x="2244973" y="1717162"/>
                    </a:lnTo>
                    <a:lnTo>
                      <a:pt x="2229248" y="1748173"/>
                    </a:lnTo>
                    <a:lnTo>
                      <a:pt x="2238798" y="1751136"/>
                    </a:lnTo>
                    <a:lnTo>
                      <a:pt x="2238963" y="1760632"/>
                    </a:lnTo>
                    <a:lnTo>
                      <a:pt x="2249638" y="1782696"/>
                    </a:lnTo>
                    <a:lnTo>
                      <a:pt x="2267421" y="1789447"/>
                    </a:lnTo>
                    <a:lnTo>
                      <a:pt x="2266872" y="1795237"/>
                    </a:lnTo>
                    <a:lnTo>
                      <a:pt x="2269562" y="1797734"/>
                    </a:lnTo>
                    <a:lnTo>
                      <a:pt x="2286576" y="1805858"/>
                    </a:lnTo>
                    <a:lnTo>
                      <a:pt x="2299228" y="1805858"/>
                    </a:lnTo>
                    <a:lnTo>
                      <a:pt x="2309766" y="1809398"/>
                    </a:lnTo>
                    <a:lnTo>
                      <a:pt x="2324009" y="1803168"/>
                    </a:lnTo>
                    <a:lnTo>
                      <a:pt x="2329827" y="1808904"/>
                    </a:lnTo>
                    <a:lnTo>
                      <a:pt x="2335644" y="1808794"/>
                    </a:lnTo>
                    <a:lnTo>
                      <a:pt x="2338087" y="1805199"/>
                    </a:lnTo>
                    <a:lnTo>
                      <a:pt x="2340145" y="1789666"/>
                    </a:lnTo>
                    <a:lnTo>
                      <a:pt x="2358340" y="1761208"/>
                    </a:lnTo>
                    <a:lnTo>
                      <a:pt x="2367424" y="1752920"/>
                    </a:lnTo>
                    <a:lnTo>
                      <a:pt x="2370003" y="1754732"/>
                    </a:lnTo>
                    <a:lnTo>
                      <a:pt x="2372144" y="1760961"/>
                    </a:lnTo>
                    <a:lnTo>
                      <a:pt x="2369153" y="1780501"/>
                    </a:lnTo>
                    <a:lnTo>
                      <a:pt x="2384740" y="1789776"/>
                    </a:lnTo>
                    <a:lnTo>
                      <a:pt x="2384740" y="1795704"/>
                    </a:lnTo>
                    <a:lnTo>
                      <a:pt x="2369344" y="1809755"/>
                    </a:lnTo>
                    <a:lnTo>
                      <a:pt x="2345332" y="1816094"/>
                    </a:lnTo>
                    <a:lnTo>
                      <a:pt x="2343082" y="1820924"/>
                    </a:lnTo>
                    <a:lnTo>
                      <a:pt x="2350958" y="1823750"/>
                    </a:lnTo>
                    <a:lnTo>
                      <a:pt x="2349256" y="1827592"/>
                    </a:lnTo>
                    <a:lnTo>
                      <a:pt x="2341682" y="1828718"/>
                    </a:lnTo>
                    <a:lnTo>
                      <a:pt x="2298871" y="1849382"/>
                    </a:lnTo>
                    <a:lnTo>
                      <a:pt x="2283942" y="1852675"/>
                    </a:lnTo>
                    <a:lnTo>
                      <a:pt x="2275242" y="1858878"/>
                    </a:lnTo>
                    <a:lnTo>
                      <a:pt x="2263305" y="1854761"/>
                    </a:lnTo>
                    <a:lnTo>
                      <a:pt x="2259106" y="1857862"/>
                    </a:lnTo>
                    <a:lnTo>
                      <a:pt x="2258200" y="1864119"/>
                    </a:lnTo>
                    <a:lnTo>
                      <a:pt x="2255209" y="1868812"/>
                    </a:lnTo>
                    <a:lnTo>
                      <a:pt x="2246674" y="1876578"/>
                    </a:lnTo>
                    <a:lnTo>
                      <a:pt x="2243930" y="1878911"/>
                    </a:lnTo>
                    <a:lnTo>
                      <a:pt x="2238359" y="1886869"/>
                    </a:lnTo>
                    <a:lnTo>
                      <a:pt x="2221976" y="1898697"/>
                    </a:lnTo>
                    <a:lnTo>
                      <a:pt x="2214731" y="1898999"/>
                    </a:lnTo>
                    <a:lnTo>
                      <a:pt x="2210450" y="1892550"/>
                    </a:lnTo>
                    <a:lnTo>
                      <a:pt x="2204220" y="1891370"/>
                    </a:lnTo>
                    <a:lnTo>
                      <a:pt x="2202052" y="1885579"/>
                    </a:lnTo>
                    <a:lnTo>
                      <a:pt x="2202217" y="1876551"/>
                    </a:lnTo>
                    <a:lnTo>
                      <a:pt x="2202354" y="1867385"/>
                    </a:lnTo>
                    <a:lnTo>
                      <a:pt x="2209187" y="1853828"/>
                    </a:lnTo>
                    <a:lnTo>
                      <a:pt x="2250955" y="1826577"/>
                    </a:lnTo>
                    <a:lnTo>
                      <a:pt x="2258283" y="1831489"/>
                    </a:lnTo>
                    <a:lnTo>
                      <a:pt x="2272389" y="1824080"/>
                    </a:lnTo>
                    <a:lnTo>
                      <a:pt x="2272526" y="1823970"/>
                    </a:lnTo>
                    <a:lnTo>
                      <a:pt x="2272635" y="1823805"/>
                    </a:lnTo>
                    <a:lnTo>
                      <a:pt x="2272718" y="1823613"/>
                    </a:lnTo>
                    <a:lnTo>
                      <a:pt x="2272718" y="1823394"/>
                    </a:lnTo>
                    <a:cubicBezTo>
                      <a:pt x="2272718" y="1823394"/>
                      <a:pt x="2272718" y="1823147"/>
                      <a:pt x="2272718" y="1823147"/>
                    </a:cubicBezTo>
                    <a:lnTo>
                      <a:pt x="2272663" y="1822955"/>
                    </a:lnTo>
                    <a:lnTo>
                      <a:pt x="2272553" y="1822790"/>
                    </a:lnTo>
                    <a:lnTo>
                      <a:pt x="2272416" y="1822653"/>
                    </a:lnTo>
                    <a:lnTo>
                      <a:pt x="2272251" y="1822598"/>
                    </a:lnTo>
                    <a:lnTo>
                      <a:pt x="2259216" y="1820759"/>
                    </a:lnTo>
                    <a:lnTo>
                      <a:pt x="2239210" y="1822351"/>
                    </a:lnTo>
                    <a:lnTo>
                      <a:pt x="2239951" y="1818372"/>
                    </a:lnTo>
                    <a:lnTo>
                      <a:pt x="2249391" y="1808327"/>
                    </a:lnTo>
                    <a:lnTo>
                      <a:pt x="2248156" y="1804074"/>
                    </a:lnTo>
                    <a:lnTo>
                      <a:pt x="2241460" y="1811291"/>
                    </a:lnTo>
                    <a:lnTo>
                      <a:pt x="2209791" y="1827840"/>
                    </a:lnTo>
                    <a:lnTo>
                      <a:pt x="2203781" y="1827236"/>
                    </a:lnTo>
                    <a:lnTo>
                      <a:pt x="2194066" y="1832834"/>
                    </a:lnTo>
                    <a:lnTo>
                      <a:pt x="2182567" y="1835030"/>
                    </a:lnTo>
                    <a:lnTo>
                      <a:pt x="2179137" y="1835633"/>
                    </a:lnTo>
                    <a:lnTo>
                      <a:pt x="2177381" y="1831517"/>
                    </a:lnTo>
                    <a:lnTo>
                      <a:pt x="2177381" y="1830172"/>
                    </a:lnTo>
                    <a:lnTo>
                      <a:pt x="2174060" y="1833054"/>
                    </a:lnTo>
                    <a:lnTo>
                      <a:pt x="2172084" y="1830584"/>
                    </a:lnTo>
                    <a:lnTo>
                      <a:pt x="2168819" y="1829596"/>
                    </a:lnTo>
                    <a:lnTo>
                      <a:pt x="2168489" y="1829514"/>
                    </a:lnTo>
                    <a:lnTo>
                      <a:pt x="2165827" y="1830309"/>
                    </a:lnTo>
                    <a:lnTo>
                      <a:pt x="2163357" y="1826851"/>
                    </a:lnTo>
                    <a:lnTo>
                      <a:pt x="2162918" y="1814448"/>
                    </a:lnTo>
                    <a:lnTo>
                      <a:pt x="2153066" y="1806489"/>
                    </a:lnTo>
                    <a:lnTo>
                      <a:pt x="2151969" y="1749490"/>
                    </a:lnTo>
                    <a:lnTo>
                      <a:pt x="2140552" y="1738156"/>
                    </a:lnTo>
                    <a:lnTo>
                      <a:pt x="2120574" y="1743836"/>
                    </a:lnTo>
                    <a:lnTo>
                      <a:pt x="2117034" y="1741202"/>
                    </a:lnTo>
                    <a:lnTo>
                      <a:pt x="2115140" y="1734808"/>
                    </a:lnTo>
                    <a:lnTo>
                      <a:pt x="2112231" y="1733847"/>
                    </a:lnTo>
                    <a:lnTo>
                      <a:pt x="2107237" y="1740461"/>
                    </a:lnTo>
                    <a:lnTo>
                      <a:pt x="2089344" y="1764995"/>
                    </a:lnTo>
                    <a:lnTo>
                      <a:pt x="2086133" y="1776713"/>
                    </a:lnTo>
                    <a:lnTo>
                      <a:pt x="2080425" y="1786071"/>
                    </a:lnTo>
                    <a:lnTo>
                      <a:pt x="2079848" y="1800287"/>
                    </a:lnTo>
                    <a:lnTo>
                      <a:pt x="2068652" y="1814338"/>
                    </a:lnTo>
                    <a:lnTo>
                      <a:pt x="2068597" y="1819991"/>
                    </a:lnTo>
                    <a:lnTo>
                      <a:pt x="2064947" y="1821061"/>
                    </a:lnTo>
                    <a:lnTo>
                      <a:pt x="2062889" y="1825452"/>
                    </a:lnTo>
                    <a:lnTo>
                      <a:pt x="2058800" y="1823750"/>
                    </a:lnTo>
                    <a:lnTo>
                      <a:pt x="2049359" y="1826165"/>
                    </a:lnTo>
                    <a:lnTo>
                      <a:pt x="2040440" y="1837115"/>
                    </a:lnTo>
                    <a:lnTo>
                      <a:pt x="1945735" y="1837390"/>
                    </a:lnTo>
                    <a:lnTo>
                      <a:pt x="1927704" y="1848559"/>
                    </a:lnTo>
                    <a:lnTo>
                      <a:pt x="1915273" y="1862308"/>
                    </a:lnTo>
                    <a:lnTo>
                      <a:pt x="1899603" y="1874520"/>
                    </a:lnTo>
                    <a:lnTo>
                      <a:pt x="1898396" y="1876386"/>
                    </a:lnTo>
                    <a:lnTo>
                      <a:pt x="1887446" y="1892934"/>
                    </a:lnTo>
                    <a:lnTo>
                      <a:pt x="1834316" y="1893648"/>
                    </a:lnTo>
                    <a:lnTo>
                      <a:pt x="1820046" y="1899960"/>
                    </a:lnTo>
                    <a:lnTo>
                      <a:pt x="1822131" y="1915328"/>
                    </a:lnTo>
                    <a:lnTo>
                      <a:pt x="1825644" y="1923149"/>
                    </a:lnTo>
                    <a:lnTo>
                      <a:pt x="1823339" y="1926991"/>
                    </a:lnTo>
                    <a:lnTo>
                      <a:pt x="1815435" y="1931053"/>
                    </a:lnTo>
                    <a:lnTo>
                      <a:pt x="1808931" y="1934373"/>
                    </a:lnTo>
                    <a:lnTo>
                      <a:pt x="1795484" y="1941124"/>
                    </a:lnTo>
                    <a:lnTo>
                      <a:pt x="1791203" y="1943265"/>
                    </a:lnTo>
                    <a:lnTo>
                      <a:pt x="1763101" y="1949741"/>
                    </a:lnTo>
                    <a:lnTo>
                      <a:pt x="1757531" y="1951031"/>
                    </a:lnTo>
                    <a:lnTo>
                      <a:pt x="1725093" y="1970598"/>
                    </a:lnTo>
                    <a:lnTo>
                      <a:pt x="1716037" y="1971366"/>
                    </a:lnTo>
                    <a:lnTo>
                      <a:pt x="1703907" y="1963326"/>
                    </a:lnTo>
                    <a:lnTo>
                      <a:pt x="1702151" y="1952294"/>
                    </a:lnTo>
                    <a:lnTo>
                      <a:pt x="1703111" y="1949741"/>
                    </a:lnTo>
                    <a:lnTo>
                      <a:pt x="1704099" y="1947107"/>
                    </a:lnTo>
                    <a:lnTo>
                      <a:pt x="1711180" y="1943237"/>
                    </a:lnTo>
                    <a:lnTo>
                      <a:pt x="1713100" y="1941124"/>
                    </a:lnTo>
                    <a:lnTo>
                      <a:pt x="1719275" y="1934373"/>
                    </a:lnTo>
                    <a:lnTo>
                      <a:pt x="1720236" y="1931053"/>
                    </a:lnTo>
                    <a:lnTo>
                      <a:pt x="1722541" y="1923149"/>
                    </a:lnTo>
                    <a:lnTo>
                      <a:pt x="1731048" y="1893757"/>
                    </a:lnTo>
                    <a:lnTo>
                      <a:pt x="1728167" y="1876359"/>
                    </a:lnTo>
                    <a:lnTo>
                      <a:pt x="1719824" y="1825040"/>
                    </a:lnTo>
                    <a:lnTo>
                      <a:pt x="1690350" y="1803937"/>
                    </a:lnTo>
                    <a:lnTo>
                      <a:pt x="1691832" y="1795621"/>
                    </a:lnTo>
                    <a:lnTo>
                      <a:pt x="1689390" y="1791972"/>
                    </a:lnTo>
                    <a:lnTo>
                      <a:pt x="1677232" y="1791066"/>
                    </a:lnTo>
                    <a:lnTo>
                      <a:pt x="1673363" y="1784013"/>
                    </a:lnTo>
                    <a:lnTo>
                      <a:pt x="1671607" y="1774243"/>
                    </a:lnTo>
                    <a:lnTo>
                      <a:pt x="1659779" y="1774682"/>
                    </a:lnTo>
                    <a:lnTo>
                      <a:pt x="1654400" y="1768343"/>
                    </a:lnTo>
                    <a:lnTo>
                      <a:pt x="1648527" y="1755994"/>
                    </a:lnTo>
                    <a:lnTo>
                      <a:pt x="1570507" y="1709807"/>
                    </a:lnTo>
                    <a:lnTo>
                      <a:pt x="1548196" y="1696415"/>
                    </a:lnTo>
                    <a:lnTo>
                      <a:pt x="1538536" y="1698638"/>
                    </a:lnTo>
                    <a:lnTo>
                      <a:pt x="1518118" y="1709643"/>
                    </a:lnTo>
                    <a:lnTo>
                      <a:pt x="1503354" y="1709039"/>
                    </a:lnTo>
                    <a:lnTo>
                      <a:pt x="1495231" y="1704456"/>
                    </a:lnTo>
                    <a:lnTo>
                      <a:pt x="1491004" y="1704456"/>
                    </a:lnTo>
                    <a:cubicBezTo>
                      <a:pt x="1491004" y="1704456"/>
                      <a:pt x="1486339" y="1704456"/>
                      <a:pt x="1486339" y="1704456"/>
                    </a:cubicBezTo>
                    <a:lnTo>
                      <a:pt x="1479067" y="1704456"/>
                    </a:lnTo>
                    <a:cubicBezTo>
                      <a:pt x="1479067" y="1704456"/>
                      <a:pt x="1476515" y="1702151"/>
                      <a:pt x="1476515" y="1702151"/>
                    </a:cubicBezTo>
                    <a:lnTo>
                      <a:pt x="1473414" y="1699379"/>
                    </a:lnTo>
                    <a:lnTo>
                      <a:pt x="1462272" y="1705307"/>
                    </a:lnTo>
                    <a:lnTo>
                      <a:pt x="1455301" y="1706102"/>
                    </a:lnTo>
                    <a:lnTo>
                      <a:pt x="1447864" y="1700175"/>
                    </a:lnTo>
                    <a:lnTo>
                      <a:pt x="1442129" y="1697952"/>
                    </a:lnTo>
                    <a:lnTo>
                      <a:pt x="1438890" y="1693369"/>
                    </a:lnTo>
                    <a:lnTo>
                      <a:pt x="1433100" y="1693589"/>
                    </a:lnTo>
                    <a:lnTo>
                      <a:pt x="1432084" y="1698007"/>
                    </a:lnTo>
                    <a:lnTo>
                      <a:pt x="1430218" y="1698281"/>
                    </a:lnTo>
                    <a:lnTo>
                      <a:pt x="1425937" y="1689993"/>
                    </a:lnTo>
                    <a:lnTo>
                      <a:pt x="1421409" y="1688759"/>
                    </a:lnTo>
                    <a:lnTo>
                      <a:pt x="1421958" y="1685603"/>
                    </a:lnTo>
                    <a:lnTo>
                      <a:pt x="1412682" y="1681459"/>
                    </a:lnTo>
                    <a:lnTo>
                      <a:pt x="1401842" y="1681294"/>
                    </a:lnTo>
                    <a:lnTo>
                      <a:pt x="1396518" y="1685191"/>
                    </a:lnTo>
                    <a:lnTo>
                      <a:pt x="1389603" y="1685795"/>
                    </a:lnTo>
                    <a:lnTo>
                      <a:pt x="1386117" y="1681184"/>
                    </a:lnTo>
                    <a:lnTo>
                      <a:pt x="1365124" y="1677013"/>
                    </a:lnTo>
                    <a:lnTo>
                      <a:pt x="1362215" y="1673857"/>
                    </a:lnTo>
                    <a:lnTo>
                      <a:pt x="1357385" y="1650915"/>
                    </a:lnTo>
                    <a:lnTo>
                      <a:pt x="1349015" y="1648061"/>
                    </a:lnTo>
                    <a:lnTo>
                      <a:pt x="1347889" y="1663484"/>
                    </a:lnTo>
                    <a:lnTo>
                      <a:pt x="1345886" y="1664718"/>
                    </a:lnTo>
                    <a:lnTo>
                      <a:pt x="912863" y="1664856"/>
                    </a:lnTo>
                    <a:lnTo>
                      <a:pt x="841155" y="1664801"/>
                    </a:lnTo>
                    <a:lnTo>
                      <a:pt x="560056" y="1664664"/>
                    </a:lnTo>
                    <a:lnTo>
                      <a:pt x="536538" y="1664664"/>
                    </a:lnTo>
                    <a:cubicBezTo>
                      <a:pt x="536538" y="1664664"/>
                      <a:pt x="531186" y="1661343"/>
                      <a:pt x="531186" y="1661343"/>
                    </a:cubicBezTo>
                    <a:lnTo>
                      <a:pt x="528332" y="1664581"/>
                    </a:lnTo>
                    <a:lnTo>
                      <a:pt x="526686" y="1664581"/>
                    </a:lnTo>
                    <a:lnTo>
                      <a:pt x="523722" y="1657940"/>
                    </a:lnTo>
                    <a:lnTo>
                      <a:pt x="521609" y="1640678"/>
                    </a:lnTo>
                    <a:lnTo>
                      <a:pt x="515297" y="1646194"/>
                    </a:lnTo>
                    <a:lnTo>
                      <a:pt x="504073" y="1643093"/>
                    </a:lnTo>
                    <a:lnTo>
                      <a:pt x="495648" y="1634257"/>
                    </a:lnTo>
                    <a:lnTo>
                      <a:pt x="494275" y="1629948"/>
                    </a:lnTo>
                    <a:lnTo>
                      <a:pt x="484835" y="1627478"/>
                    </a:lnTo>
                    <a:lnTo>
                      <a:pt x="476904" y="1619520"/>
                    </a:lnTo>
                    <a:lnTo>
                      <a:pt x="473995" y="1613812"/>
                    </a:lnTo>
                    <a:lnTo>
                      <a:pt x="471278" y="1615705"/>
                    </a:lnTo>
                    <a:lnTo>
                      <a:pt x="468671" y="1613098"/>
                    </a:lnTo>
                    <a:lnTo>
                      <a:pt x="466915" y="1613894"/>
                    </a:lnTo>
                    <a:lnTo>
                      <a:pt x="466009" y="1621496"/>
                    </a:lnTo>
                    <a:lnTo>
                      <a:pt x="472623" y="1630963"/>
                    </a:lnTo>
                    <a:lnTo>
                      <a:pt x="474599" y="1637632"/>
                    </a:lnTo>
                    <a:lnTo>
                      <a:pt x="479484" y="1640898"/>
                    </a:lnTo>
                    <a:lnTo>
                      <a:pt x="483710" y="1647265"/>
                    </a:lnTo>
                    <a:lnTo>
                      <a:pt x="507146" y="1658105"/>
                    </a:lnTo>
                    <a:lnTo>
                      <a:pt x="506789" y="1661837"/>
                    </a:lnTo>
                    <a:lnTo>
                      <a:pt x="508107" y="1666502"/>
                    </a:lnTo>
                    <a:lnTo>
                      <a:pt x="509534" y="1667298"/>
                    </a:lnTo>
                    <a:lnTo>
                      <a:pt x="512415" y="1665953"/>
                    </a:lnTo>
                    <a:lnTo>
                      <a:pt x="515763" y="1670948"/>
                    </a:lnTo>
                    <a:lnTo>
                      <a:pt x="520209" y="1689115"/>
                    </a:lnTo>
                    <a:lnTo>
                      <a:pt x="507997" y="1693808"/>
                    </a:lnTo>
                    <a:lnTo>
                      <a:pt x="467134" y="1675037"/>
                    </a:lnTo>
                    <a:lnTo>
                      <a:pt x="465460" y="1672704"/>
                    </a:lnTo>
                    <a:lnTo>
                      <a:pt x="465323" y="1666749"/>
                    </a:lnTo>
                    <a:lnTo>
                      <a:pt x="462414" y="1668478"/>
                    </a:lnTo>
                    <a:lnTo>
                      <a:pt x="460274" y="1665651"/>
                    </a:lnTo>
                    <a:lnTo>
                      <a:pt x="453797" y="1666502"/>
                    </a:lnTo>
                    <a:lnTo>
                      <a:pt x="444357" y="1660026"/>
                    </a:lnTo>
                    <a:lnTo>
                      <a:pt x="438594" y="1652781"/>
                    </a:lnTo>
                    <a:lnTo>
                      <a:pt x="425970" y="1645646"/>
                    </a:lnTo>
                    <a:lnTo>
                      <a:pt x="423335" y="1638840"/>
                    </a:lnTo>
                    <a:lnTo>
                      <a:pt x="416694" y="1635245"/>
                    </a:lnTo>
                    <a:lnTo>
                      <a:pt x="412715" y="1628357"/>
                    </a:lnTo>
                    <a:lnTo>
                      <a:pt x="407309" y="1624103"/>
                    </a:lnTo>
                    <a:lnTo>
                      <a:pt x="405525" y="1620261"/>
                    </a:lnTo>
                    <a:lnTo>
                      <a:pt x="399433" y="1618697"/>
                    </a:lnTo>
                    <a:lnTo>
                      <a:pt x="392709" y="1614223"/>
                    </a:lnTo>
                    <a:lnTo>
                      <a:pt x="386150" y="1613730"/>
                    </a:lnTo>
                    <a:lnTo>
                      <a:pt x="386644" y="1605497"/>
                    </a:lnTo>
                    <a:lnTo>
                      <a:pt x="382802" y="1598608"/>
                    </a:lnTo>
                    <a:lnTo>
                      <a:pt x="377561" y="1595425"/>
                    </a:lnTo>
                    <a:lnTo>
                      <a:pt x="373966" y="1590814"/>
                    </a:lnTo>
                    <a:lnTo>
                      <a:pt x="372813" y="1583131"/>
                    </a:lnTo>
                    <a:lnTo>
                      <a:pt x="386781" y="1576791"/>
                    </a:lnTo>
                    <a:lnTo>
                      <a:pt x="392023" y="1578987"/>
                    </a:lnTo>
                    <a:lnTo>
                      <a:pt x="401436" y="1587714"/>
                    </a:lnTo>
                    <a:lnTo>
                      <a:pt x="409586" y="1590787"/>
                    </a:lnTo>
                    <a:lnTo>
                      <a:pt x="413840" y="1590101"/>
                    </a:lnTo>
                    <a:lnTo>
                      <a:pt x="417600" y="1592022"/>
                    </a:lnTo>
                    <a:lnTo>
                      <a:pt x="421113" y="1587768"/>
                    </a:lnTo>
                    <a:lnTo>
                      <a:pt x="416722" y="1583185"/>
                    </a:lnTo>
                    <a:lnTo>
                      <a:pt x="399323" y="1576078"/>
                    </a:lnTo>
                    <a:lnTo>
                      <a:pt x="390349" y="1565841"/>
                    </a:lnTo>
                    <a:lnTo>
                      <a:pt x="389718" y="1549513"/>
                    </a:lnTo>
                    <a:lnTo>
                      <a:pt x="385766" y="1537246"/>
                    </a:lnTo>
                    <a:lnTo>
                      <a:pt x="386370" y="1519929"/>
                    </a:lnTo>
                    <a:lnTo>
                      <a:pt x="385958" y="1518832"/>
                    </a:lnTo>
                    <a:lnTo>
                      <a:pt x="384613" y="1520286"/>
                    </a:lnTo>
                    <a:lnTo>
                      <a:pt x="382226" y="1534008"/>
                    </a:lnTo>
                    <a:lnTo>
                      <a:pt x="384229" y="1549760"/>
                    </a:lnTo>
                    <a:lnTo>
                      <a:pt x="379674" y="1547565"/>
                    </a:lnTo>
                    <a:lnTo>
                      <a:pt x="378301" y="1537685"/>
                    </a:lnTo>
                    <a:lnTo>
                      <a:pt x="375310" y="1533075"/>
                    </a:lnTo>
                    <a:lnTo>
                      <a:pt x="373499" y="1524814"/>
                    </a:lnTo>
                    <a:lnTo>
                      <a:pt x="369602" y="1517350"/>
                    </a:lnTo>
                    <a:lnTo>
                      <a:pt x="371194" y="1513535"/>
                    </a:lnTo>
                    <a:lnTo>
                      <a:pt x="370014" y="1506921"/>
                    </a:lnTo>
                    <a:lnTo>
                      <a:pt x="373664" y="1499951"/>
                    </a:lnTo>
                    <a:lnTo>
                      <a:pt x="370535" y="1498002"/>
                    </a:lnTo>
                    <a:lnTo>
                      <a:pt x="368751" y="1495094"/>
                    </a:lnTo>
                    <a:lnTo>
                      <a:pt x="367407" y="1500774"/>
                    </a:lnTo>
                    <a:lnTo>
                      <a:pt x="361698" y="1511038"/>
                    </a:lnTo>
                    <a:lnTo>
                      <a:pt x="359613" y="1504753"/>
                    </a:lnTo>
                    <a:lnTo>
                      <a:pt x="359942" y="1499512"/>
                    </a:lnTo>
                    <a:lnTo>
                      <a:pt x="352148" y="1490373"/>
                    </a:lnTo>
                    <a:lnTo>
                      <a:pt x="348142" y="1481646"/>
                    </a:lnTo>
                    <a:lnTo>
                      <a:pt x="346660" y="1474484"/>
                    </a:lnTo>
                    <a:lnTo>
                      <a:pt x="343641" y="1470532"/>
                    </a:lnTo>
                    <a:lnTo>
                      <a:pt x="346028" y="1465016"/>
                    </a:lnTo>
                    <a:lnTo>
                      <a:pt x="348718" y="1468529"/>
                    </a:lnTo>
                    <a:lnTo>
                      <a:pt x="349980" y="1467788"/>
                    </a:lnTo>
                    <a:lnTo>
                      <a:pt x="347373" y="1449209"/>
                    </a:lnTo>
                    <a:lnTo>
                      <a:pt x="346001" y="1450855"/>
                    </a:lnTo>
                    <a:lnTo>
                      <a:pt x="345150" y="1458869"/>
                    </a:lnTo>
                    <a:lnTo>
                      <a:pt x="339223" y="1462573"/>
                    </a:lnTo>
                    <a:lnTo>
                      <a:pt x="339113" y="1467705"/>
                    </a:lnTo>
                    <a:lnTo>
                      <a:pt x="342516" y="1474648"/>
                    </a:lnTo>
                    <a:lnTo>
                      <a:pt x="342269" y="1477310"/>
                    </a:lnTo>
                    <a:lnTo>
                      <a:pt x="326764" y="1455521"/>
                    </a:lnTo>
                    <a:lnTo>
                      <a:pt x="325748" y="1457689"/>
                    </a:lnTo>
                    <a:lnTo>
                      <a:pt x="329316" y="1467952"/>
                    </a:lnTo>
                    <a:lnTo>
                      <a:pt x="329371" y="1468748"/>
                    </a:lnTo>
                    <a:lnTo>
                      <a:pt x="328986" y="1469325"/>
                    </a:lnTo>
                    <a:lnTo>
                      <a:pt x="314963" y="1458869"/>
                    </a:lnTo>
                    <a:lnTo>
                      <a:pt x="309118" y="1449648"/>
                    </a:lnTo>
                    <a:lnTo>
                      <a:pt x="312301" y="1445943"/>
                    </a:lnTo>
                    <a:lnTo>
                      <a:pt x="313509" y="1438973"/>
                    </a:lnTo>
                    <a:lnTo>
                      <a:pt x="308075" y="1438973"/>
                    </a:lnTo>
                    <a:cubicBezTo>
                      <a:pt x="308075" y="1438973"/>
                      <a:pt x="306456" y="1437573"/>
                      <a:pt x="306456" y="1437573"/>
                    </a:cubicBezTo>
                    <a:lnTo>
                      <a:pt x="305440" y="1433594"/>
                    </a:lnTo>
                    <a:lnTo>
                      <a:pt x="302998" y="1432715"/>
                    </a:lnTo>
                    <a:lnTo>
                      <a:pt x="304891" y="1425855"/>
                    </a:lnTo>
                    <a:lnTo>
                      <a:pt x="310023" y="1424071"/>
                    </a:lnTo>
                    <a:lnTo>
                      <a:pt x="313865" y="1425800"/>
                    </a:lnTo>
                    <a:lnTo>
                      <a:pt x="316911" y="1432139"/>
                    </a:lnTo>
                    <a:lnTo>
                      <a:pt x="320424" y="1431371"/>
                    </a:lnTo>
                    <a:lnTo>
                      <a:pt x="320287" y="1428654"/>
                    </a:lnTo>
                    <a:lnTo>
                      <a:pt x="319656" y="1428434"/>
                    </a:lnTo>
                    <a:lnTo>
                      <a:pt x="318915" y="1430273"/>
                    </a:lnTo>
                    <a:lnTo>
                      <a:pt x="317076" y="1427776"/>
                    </a:lnTo>
                    <a:lnTo>
                      <a:pt x="316527" y="1424867"/>
                    </a:lnTo>
                    <a:lnTo>
                      <a:pt x="318723" y="1424620"/>
                    </a:lnTo>
                    <a:lnTo>
                      <a:pt x="319519" y="1426431"/>
                    </a:lnTo>
                    <a:lnTo>
                      <a:pt x="320067" y="1426486"/>
                    </a:lnTo>
                    <a:lnTo>
                      <a:pt x="320369" y="1425580"/>
                    </a:lnTo>
                    <a:lnTo>
                      <a:pt x="320260" y="1421848"/>
                    </a:lnTo>
                    <a:lnTo>
                      <a:pt x="315457" y="1419516"/>
                    </a:lnTo>
                    <a:lnTo>
                      <a:pt x="309996" y="1409279"/>
                    </a:lnTo>
                    <a:lnTo>
                      <a:pt x="313179" y="1392731"/>
                    </a:lnTo>
                    <a:lnTo>
                      <a:pt x="319491" y="1385898"/>
                    </a:lnTo>
                    <a:lnTo>
                      <a:pt x="322592" y="1378543"/>
                    </a:lnTo>
                    <a:lnTo>
                      <a:pt x="319601" y="1373384"/>
                    </a:lnTo>
                    <a:lnTo>
                      <a:pt x="323772" y="1362791"/>
                    </a:lnTo>
                    <a:lnTo>
                      <a:pt x="323882" y="1362516"/>
                    </a:lnTo>
                    <a:lnTo>
                      <a:pt x="320122" y="1339657"/>
                    </a:lnTo>
                    <a:lnTo>
                      <a:pt x="323086" y="1329914"/>
                    </a:lnTo>
                    <a:lnTo>
                      <a:pt x="319546" y="1320748"/>
                    </a:lnTo>
                    <a:lnTo>
                      <a:pt x="306181" y="1310923"/>
                    </a:lnTo>
                    <a:lnTo>
                      <a:pt x="270588" y="1291878"/>
                    </a:lnTo>
                    <a:lnTo>
                      <a:pt x="262657" y="1277882"/>
                    </a:lnTo>
                    <a:lnTo>
                      <a:pt x="261449" y="1270637"/>
                    </a:lnTo>
                    <a:lnTo>
                      <a:pt x="255741" y="1266247"/>
                    </a:lnTo>
                    <a:lnTo>
                      <a:pt x="254588" y="1255955"/>
                    </a:lnTo>
                    <a:lnTo>
                      <a:pt x="225362" y="1202469"/>
                    </a:lnTo>
                    <a:lnTo>
                      <a:pt x="221382" y="1191053"/>
                    </a:lnTo>
                    <a:lnTo>
                      <a:pt x="210213" y="1176947"/>
                    </a:lnTo>
                    <a:lnTo>
                      <a:pt x="198166" y="1167534"/>
                    </a:lnTo>
                    <a:lnTo>
                      <a:pt x="188012" y="1150739"/>
                    </a:lnTo>
                    <a:lnTo>
                      <a:pt x="177227" y="1143631"/>
                    </a:lnTo>
                    <a:lnTo>
                      <a:pt x="173001" y="1126424"/>
                    </a:lnTo>
                    <a:lnTo>
                      <a:pt x="161941" y="1116106"/>
                    </a:lnTo>
                    <a:lnTo>
                      <a:pt x="152363" y="1119811"/>
                    </a:lnTo>
                    <a:lnTo>
                      <a:pt x="139959" y="1125684"/>
                    </a:lnTo>
                    <a:lnTo>
                      <a:pt x="137983" y="1132627"/>
                    </a:lnTo>
                    <a:lnTo>
                      <a:pt x="134141" y="1135947"/>
                    </a:lnTo>
                    <a:lnTo>
                      <a:pt x="133126" y="1144647"/>
                    </a:lnTo>
                    <a:lnTo>
                      <a:pt x="130272" y="1150300"/>
                    </a:lnTo>
                    <a:lnTo>
                      <a:pt x="104311" y="1165037"/>
                    </a:lnTo>
                    <a:lnTo>
                      <a:pt x="97752" y="1145195"/>
                    </a:lnTo>
                    <a:lnTo>
                      <a:pt x="71873" y="1118494"/>
                    </a:lnTo>
                    <a:lnTo>
                      <a:pt x="66247" y="1108230"/>
                    </a:lnTo>
                    <a:lnTo>
                      <a:pt x="54941" y="1099146"/>
                    </a:lnTo>
                    <a:lnTo>
                      <a:pt x="55929" y="1082900"/>
                    </a:lnTo>
                    <a:lnTo>
                      <a:pt x="39326" y="1083723"/>
                    </a:lnTo>
                    <a:lnTo>
                      <a:pt x="29254" y="1091215"/>
                    </a:lnTo>
                    <a:lnTo>
                      <a:pt x="17618" y="1086028"/>
                    </a:lnTo>
                    <a:lnTo>
                      <a:pt x="11279" y="1088471"/>
                    </a:lnTo>
                    <a:lnTo>
                      <a:pt x="631" y="1082378"/>
                    </a:lnTo>
                    <a:lnTo>
                      <a:pt x="0" y="827955"/>
                    </a:lnTo>
                    <a:lnTo>
                      <a:pt x="0" y="825485"/>
                    </a:lnTo>
                    <a:cubicBezTo>
                      <a:pt x="0" y="825485"/>
                      <a:pt x="0" y="810199"/>
                      <a:pt x="0" y="810199"/>
                    </a:cubicBezTo>
                    <a:lnTo>
                      <a:pt x="0" y="806714"/>
                    </a:lnTo>
                    <a:cubicBezTo>
                      <a:pt x="0" y="806714"/>
                      <a:pt x="0" y="804052"/>
                      <a:pt x="0" y="804052"/>
                    </a:cubicBezTo>
                    <a:lnTo>
                      <a:pt x="0" y="781329"/>
                    </a:lnTo>
                    <a:cubicBezTo>
                      <a:pt x="0" y="781329"/>
                      <a:pt x="137" y="572982"/>
                      <a:pt x="137" y="572982"/>
                    </a:cubicBezTo>
                    <a:lnTo>
                      <a:pt x="220" y="430635"/>
                    </a:lnTo>
                    <a:lnTo>
                      <a:pt x="30517" y="431678"/>
                    </a:lnTo>
                    <a:lnTo>
                      <a:pt x="49754" y="438127"/>
                    </a:lnTo>
                    <a:lnTo>
                      <a:pt x="55929" y="433489"/>
                    </a:lnTo>
                    <a:lnTo>
                      <a:pt x="61884" y="448610"/>
                    </a:lnTo>
                    <a:lnTo>
                      <a:pt x="91797" y="475065"/>
                    </a:lnTo>
                    <a:lnTo>
                      <a:pt x="120118" y="490735"/>
                    </a:lnTo>
                    <a:lnTo>
                      <a:pt x="143691" y="493727"/>
                    </a:lnTo>
                    <a:lnTo>
                      <a:pt x="152473" y="498364"/>
                    </a:lnTo>
                    <a:lnTo>
                      <a:pt x="161584" y="503194"/>
                    </a:lnTo>
                    <a:lnTo>
                      <a:pt x="162572" y="500670"/>
                    </a:lnTo>
                    <a:lnTo>
                      <a:pt x="160569" y="496635"/>
                    </a:lnTo>
                    <a:lnTo>
                      <a:pt x="152473" y="489445"/>
                    </a:lnTo>
                    <a:lnTo>
                      <a:pt x="146902" y="484506"/>
                    </a:lnTo>
                    <a:lnTo>
                      <a:pt x="143444" y="471498"/>
                    </a:lnTo>
                    <a:lnTo>
                      <a:pt x="152473" y="460768"/>
                    </a:lnTo>
                    <a:lnTo>
                      <a:pt x="167128" y="443204"/>
                    </a:lnTo>
                    <a:lnTo>
                      <a:pt x="183264" y="444247"/>
                    </a:lnTo>
                    <a:lnTo>
                      <a:pt x="189027" y="439060"/>
                    </a:lnTo>
                    <a:lnTo>
                      <a:pt x="190537" y="440213"/>
                    </a:lnTo>
                    <a:lnTo>
                      <a:pt x="195229" y="428879"/>
                    </a:lnTo>
                    <a:lnTo>
                      <a:pt x="207414" y="437770"/>
                    </a:lnTo>
                    <a:lnTo>
                      <a:pt x="211503" y="452480"/>
                    </a:lnTo>
                    <a:lnTo>
                      <a:pt x="230658" y="447485"/>
                    </a:lnTo>
                    <a:lnTo>
                      <a:pt x="239440" y="430910"/>
                    </a:lnTo>
                    <a:lnTo>
                      <a:pt x="251048" y="422704"/>
                    </a:lnTo>
                    <a:lnTo>
                      <a:pt x="262629" y="422046"/>
                    </a:lnTo>
                    <a:lnTo>
                      <a:pt x="281181" y="406046"/>
                    </a:lnTo>
                    <a:lnTo>
                      <a:pt x="289468" y="407309"/>
                    </a:lnTo>
                    <a:lnTo>
                      <a:pt x="299211" y="391666"/>
                    </a:lnTo>
                    <a:lnTo>
                      <a:pt x="320506" y="393093"/>
                    </a:lnTo>
                    <a:lnTo>
                      <a:pt x="330578" y="384531"/>
                    </a:lnTo>
                    <a:lnTo>
                      <a:pt x="335435" y="390486"/>
                    </a:lnTo>
                    <a:lnTo>
                      <a:pt x="328108" y="403906"/>
                    </a:lnTo>
                    <a:lnTo>
                      <a:pt x="305166" y="423774"/>
                    </a:lnTo>
                    <a:lnTo>
                      <a:pt x="299321" y="434038"/>
                    </a:lnTo>
                    <a:lnTo>
                      <a:pt x="266389" y="441063"/>
                    </a:lnTo>
                    <a:lnTo>
                      <a:pt x="259007" y="460877"/>
                    </a:lnTo>
                    <a:lnTo>
                      <a:pt x="262657" y="462579"/>
                    </a:lnTo>
                    <a:lnTo>
                      <a:pt x="276296" y="447046"/>
                    </a:lnTo>
                    <a:lnTo>
                      <a:pt x="286807" y="447897"/>
                    </a:lnTo>
                    <a:lnTo>
                      <a:pt x="294216" y="442655"/>
                    </a:lnTo>
                    <a:lnTo>
                      <a:pt x="300583" y="448610"/>
                    </a:lnTo>
                    <a:lnTo>
                      <a:pt x="319903" y="423390"/>
                    </a:lnTo>
                    <a:lnTo>
                      <a:pt x="342571" y="414197"/>
                    </a:lnTo>
                    <a:lnTo>
                      <a:pt x="354453" y="421030"/>
                    </a:lnTo>
                    <a:lnTo>
                      <a:pt x="367352" y="407885"/>
                    </a:lnTo>
                    <a:lnTo>
                      <a:pt x="373471" y="391666"/>
                    </a:lnTo>
                    <a:lnTo>
                      <a:pt x="386342" y="381457"/>
                    </a:lnTo>
                    <a:lnTo>
                      <a:pt x="379289" y="362384"/>
                    </a:lnTo>
                    <a:lnTo>
                      <a:pt x="380167" y="356100"/>
                    </a:lnTo>
                    <a:lnTo>
                      <a:pt x="383269" y="352834"/>
                    </a:lnTo>
                    <a:lnTo>
                      <a:pt x="401875" y="371715"/>
                    </a:lnTo>
                    <a:lnTo>
                      <a:pt x="422814" y="421881"/>
                    </a:lnTo>
                    <a:lnTo>
                      <a:pt x="445811" y="449351"/>
                    </a:lnTo>
                    <a:lnTo>
                      <a:pt x="457502" y="449187"/>
                    </a:lnTo>
                    <a:lnTo>
                      <a:pt x="463155" y="413950"/>
                    </a:lnTo>
                    <a:lnTo>
                      <a:pt x="467820" y="415761"/>
                    </a:lnTo>
                    <a:lnTo>
                      <a:pt x="475916" y="393422"/>
                    </a:lnTo>
                    <a:lnTo>
                      <a:pt x="482695" y="386480"/>
                    </a:lnTo>
                    <a:lnTo>
                      <a:pt x="487579" y="396386"/>
                    </a:lnTo>
                    <a:lnTo>
                      <a:pt x="487634" y="418368"/>
                    </a:lnTo>
                    <a:lnTo>
                      <a:pt x="492574" y="426821"/>
                    </a:lnTo>
                    <a:lnTo>
                      <a:pt x="488979" y="442353"/>
                    </a:lnTo>
                    <a:lnTo>
                      <a:pt x="491504" y="451519"/>
                    </a:lnTo>
                    <a:lnTo>
                      <a:pt x="506241" y="453303"/>
                    </a:lnTo>
                    <a:lnTo>
                      <a:pt x="514528" y="449242"/>
                    </a:lnTo>
                    <a:lnTo>
                      <a:pt x="522075" y="438621"/>
                    </a:lnTo>
                    <a:lnTo>
                      <a:pt x="527289" y="421195"/>
                    </a:lnTo>
                    <a:lnTo>
                      <a:pt x="531625" y="415267"/>
                    </a:lnTo>
                    <a:lnTo>
                      <a:pt x="575946" y="418999"/>
                    </a:lnTo>
                    <a:lnTo>
                      <a:pt x="610085" y="447567"/>
                    </a:lnTo>
                    <a:lnTo>
                      <a:pt x="653445" y="462524"/>
                    </a:lnTo>
                    <a:lnTo>
                      <a:pt x="682507" y="482338"/>
                    </a:lnTo>
                    <a:lnTo>
                      <a:pt x="726306" y="494385"/>
                    </a:lnTo>
                    <a:lnTo>
                      <a:pt x="733441" y="485741"/>
                    </a:lnTo>
                    <a:lnTo>
                      <a:pt x="746422" y="484753"/>
                    </a:lnTo>
                    <a:lnTo>
                      <a:pt x="764452" y="493534"/>
                    </a:lnTo>
                    <a:lnTo>
                      <a:pt x="786845" y="516669"/>
                    </a:lnTo>
                    <a:lnTo>
                      <a:pt x="793569" y="532805"/>
                    </a:lnTo>
                    <a:lnTo>
                      <a:pt x="790138" y="541724"/>
                    </a:lnTo>
                    <a:lnTo>
                      <a:pt x="774715" y="543453"/>
                    </a:lnTo>
                    <a:lnTo>
                      <a:pt x="762723" y="550479"/>
                    </a:lnTo>
                    <a:lnTo>
                      <a:pt x="755450" y="568234"/>
                    </a:lnTo>
                    <a:lnTo>
                      <a:pt x="762119" y="577098"/>
                    </a:lnTo>
                    <a:lnTo>
                      <a:pt x="802460" y="582367"/>
                    </a:lnTo>
                    <a:lnTo>
                      <a:pt x="829244" y="585633"/>
                    </a:lnTo>
                    <a:lnTo>
                      <a:pt x="880261" y="578855"/>
                    </a:lnTo>
                    <a:lnTo>
                      <a:pt x="910503" y="567548"/>
                    </a:lnTo>
                    <a:lnTo>
                      <a:pt x="924197" y="581983"/>
                    </a:lnTo>
                    <a:lnTo>
                      <a:pt x="937397" y="586209"/>
                    </a:lnTo>
                    <a:lnTo>
                      <a:pt x="945685" y="602154"/>
                    </a:lnTo>
                    <a:lnTo>
                      <a:pt x="961382" y="600562"/>
                    </a:lnTo>
                    <a:lnTo>
                      <a:pt x="971975" y="626551"/>
                    </a:lnTo>
                    <a:lnTo>
                      <a:pt x="969368" y="648423"/>
                    </a:lnTo>
                    <a:lnTo>
                      <a:pt x="978287" y="661458"/>
                    </a:lnTo>
                    <a:lnTo>
                      <a:pt x="981443" y="645431"/>
                    </a:lnTo>
                    <a:lnTo>
                      <a:pt x="987755" y="638461"/>
                    </a:lnTo>
                    <a:lnTo>
                      <a:pt x="979467" y="600919"/>
                    </a:lnTo>
                    <a:lnTo>
                      <a:pt x="974198" y="586511"/>
                    </a:lnTo>
                    <a:lnTo>
                      <a:pt x="975076" y="573339"/>
                    </a:lnTo>
                    <a:lnTo>
                      <a:pt x="984242" y="559919"/>
                    </a:lnTo>
                    <a:lnTo>
                      <a:pt x="1005785" y="551055"/>
                    </a:lnTo>
                    <a:lnTo>
                      <a:pt x="1030319" y="530226"/>
                    </a:lnTo>
                    <a:lnTo>
                      <a:pt x="1033228" y="521993"/>
                    </a:lnTo>
                    <a:lnTo>
                      <a:pt x="1022937" y="520401"/>
                    </a:lnTo>
                    <a:lnTo>
                      <a:pt x="1009600" y="535001"/>
                    </a:lnTo>
                    <a:lnTo>
                      <a:pt x="981498" y="538706"/>
                    </a:lnTo>
                    <a:lnTo>
                      <a:pt x="965636" y="550945"/>
                    </a:lnTo>
                    <a:lnTo>
                      <a:pt x="954851" y="543563"/>
                    </a:lnTo>
                    <a:lnTo>
                      <a:pt x="953204" y="534891"/>
                    </a:lnTo>
                    <a:lnTo>
                      <a:pt x="966597" y="513184"/>
                    </a:lnTo>
                    <a:lnTo>
                      <a:pt x="1022361" y="491119"/>
                    </a:lnTo>
                    <a:lnTo>
                      <a:pt x="1039869" y="501493"/>
                    </a:lnTo>
                    <a:lnTo>
                      <a:pt x="1050901" y="529210"/>
                    </a:lnTo>
                    <a:lnTo>
                      <a:pt x="1079415" y="557971"/>
                    </a:lnTo>
                    <a:lnTo>
                      <a:pt x="1105787" y="556132"/>
                    </a:lnTo>
                    <a:lnTo>
                      <a:pt x="1137704" y="579157"/>
                    </a:lnTo>
                    <a:lnTo>
                      <a:pt x="1156255" y="574436"/>
                    </a:lnTo>
                    <a:lnTo>
                      <a:pt x="1161991" y="580090"/>
                    </a:lnTo>
                    <a:lnTo>
                      <a:pt x="1170416" y="579596"/>
                    </a:lnTo>
                    <a:lnTo>
                      <a:pt x="1188802" y="571857"/>
                    </a:lnTo>
                    <a:lnTo>
                      <a:pt x="1231641" y="581050"/>
                    </a:lnTo>
                    <a:lnTo>
                      <a:pt x="1243249" y="579404"/>
                    </a:lnTo>
                    <a:lnTo>
                      <a:pt x="1248024" y="572625"/>
                    </a:lnTo>
                    <a:lnTo>
                      <a:pt x="1246762" y="559398"/>
                    </a:lnTo>
                    <a:lnTo>
                      <a:pt x="1249561" y="537498"/>
                    </a:lnTo>
                    <a:lnTo>
                      <a:pt x="1260154" y="526027"/>
                    </a:lnTo>
                    <a:lnTo>
                      <a:pt x="1265012" y="511510"/>
                    </a:lnTo>
                    <a:lnTo>
                      <a:pt x="1256147" y="499654"/>
                    </a:lnTo>
                    <a:lnTo>
                      <a:pt x="1229692" y="489555"/>
                    </a:lnTo>
                    <a:lnTo>
                      <a:pt x="1224945" y="476108"/>
                    </a:lnTo>
                    <a:lnTo>
                      <a:pt x="1245006" y="459368"/>
                    </a:lnTo>
                    <a:lnTo>
                      <a:pt x="1258809" y="422814"/>
                    </a:lnTo>
                    <a:lnTo>
                      <a:pt x="1268881" y="411754"/>
                    </a:lnTo>
                    <a:lnTo>
                      <a:pt x="1299178" y="435053"/>
                    </a:lnTo>
                    <a:lnTo>
                      <a:pt x="1322614" y="468561"/>
                    </a:lnTo>
                    <a:lnTo>
                      <a:pt x="1330875" y="486674"/>
                    </a:lnTo>
                    <a:lnTo>
                      <a:pt x="1339629" y="494632"/>
                    </a:lnTo>
                    <a:lnTo>
                      <a:pt x="1336199" y="504923"/>
                    </a:lnTo>
                    <a:lnTo>
                      <a:pt x="1317153" y="522240"/>
                    </a:lnTo>
                    <a:lnTo>
                      <a:pt x="1297147" y="520785"/>
                    </a:lnTo>
                    <a:lnTo>
                      <a:pt x="1293086" y="526054"/>
                    </a:lnTo>
                    <a:lnTo>
                      <a:pt x="1300084" y="537965"/>
                    </a:lnTo>
                    <a:lnTo>
                      <a:pt x="1320144" y="549518"/>
                    </a:lnTo>
                    <a:lnTo>
                      <a:pt x="1320995" y="574629"/>
                    </a:lnTo>
                    <a:lnTo>
                      <a:pt x="1316714" y="597077"/>
                    </a:lnTo>
                    <a:lnTo>
                      <a:pt x="1320556" y="610195"/>
                    </a:lnTo>
                    <a:lnTo>
                      <a:pt x="1341632" y="614668"/>
                    </a:lnTo>
                    <a:lnTo>
                      <a:pt x="1342757" y="603718"/>
                    </a:lnTo>
                    <a:lnTo>
                      <a:pt x="1337269" y="583136"/>
                    </a:lnTo>
                    <a:lnTo>
                      <a:pt x="1339684" y="568454"/>
                    </a:lnTo>
                    <a:lnTo>
                      <a:pt x="1346023" y="559014"/>
                    </a:lnTo>
                    <a:lnTo>
                      <a:pt x="1364849" y="552290"/>
                    </a:lnTo>
                    <a:lnTo>
                      <a:pt x="1389520" y="520017"/>
                    </a:lnTo>
                    <a:lnTo>
                      <a:pt x="1391963" y="500889"/>
                    </a:lnTo>
                    <a:lnTo>
                      <a:pt x="1389246" y="489665"/>
                    </a:lnTo>
                    <a:lnTo>
                      <a:pt x="1384498" y="489089"/>
                    </a:lnTo>
                    <a:lnTo>
                      <a:pt x="1373960" y="499298"/>
                    </a:lnTo>
                    <a:lnTo>
                      <a:pt x="1369954" y="497569"/>
                    </a:lnTo>
                    <a:lnTo>
                      <a:pt x="1368856" y="492162"/>
                    </a:lnTo>
                    <a:lnTo>
                      <a:pt x="1378571" y="457776"/>
                    </a:lnTo>
                    <a:lnTo>
                      <a:pt x="1386035" y="453962"/>
                    </a:lnTo>
                    <a:lnTo>
                      <a:pt x="1391441" y="458462"/>
                    </a:lnTo>
                    <a:lnTo>
                      <a:pt x="1395009" y="449955"/>
                    </a:lnTo>
                    <a:lnTo>
                      <a:pt x="1391771" y="442326"/>
                    </a:lnTo>
                    <a:lnTo>
                      <a:pt x="1377061" y="442271"/>
                    </a:lnTo>
                    <a:lnTo>
                      <a:pt x="1365672" y="431760"/>
                    </a:lnTo>
                    <a:lnTo>
                      <a:pt x="1352335" y="430278"/>
                    </a:lnTo>
                    <a:lnTo>
                      <a:pt x="1326209" y="413730"/>
                    </a:lnTo>
                    <a:lnTo>
                      <a:pt x="1311088" y="381320"/>
                    </a:lnTo>
                    <a:lnTo>
                      <a:pt x="1311692" y="365733"/>
                    </a:lnTo>
                    <a:lnTo>
                      <a:pt x="1316193" y="346824"/>
                    </a:lnTo>
                    <a:lnTo>
                      <a:pt x="1309716" y="323964"/>
                    </a:lnTo>
                    <a:lnTo>
                      <a:pt x="1310539" y="294930"/>
                    </a:lnTo>
                    <a:lnTo>
                      <a:pt x="1322011" y="277064"/>
                    </a:lnTo>
                    <a:lnTo>
                      <a:pt x="1334415" y="274539"/>
                    </a:lnTo>
                    <a:lnTo>
                      <a:pt x="1332823" y="253683"/>
                    </a:lnTo>
                    <a:lnTo>
                      <a:pt x="1341989" y="234363"/>
                    </a:lnTo>
                    <a:lnTo>
                      <a:pt x="1345612" y="218144"/>
                    </a:lnTo>
                    <a:lnTo>
                      <a:pt x="1344953" y="171491"/>
                    </a:lnTo>
                    <a:lnTo>
                      <a:pt x="1332329" y="125360"/>
                    </a:lnTo>
                    <a:lnTo>
                      <a:pt x="1336007" y="56423"/>
                    </a:lnTo>
                    <a:lnTo>
                      <a:pt x="1346462" y="417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 name="Freeform: Shape 3287">
                <a:extLst>
                  <a:ext uri="{FF2B5EF4-FFF2-40B4-BE49-F238E27FC236}">
                    <a16:creationId xmlns:a16="http://schemas.microsoft.com/office/drawing/2014/main" id="{E6B74660-DF17-F566-BCDB-7EB0D9D6EAF8}"/>
                  </a:ext>
                </a:extLst>
              </p:cNvPr>
              <p:cNvSpPr/>
              <p:nvPr/>
            </p:nvSpPr>
            <p:spPr>
              <a:xfrm>
                <a:off x="1000244" y="3502482"/>
                <a:ext cx="55618" cy="50242"/>
              </a:xfrm>
              <a:custGeom>
                <a:avLst/>
                <a:gdLst>
                  <a:gd name="connsiteX0" fmla="*/ 424735 w 533244"/>
                  <a:gd name="connsiteY0" fmla="*/ 42207 h 481706"/>
                  <a:gd name="connsiteX1" fmla="*/ 414114 w 533244"/>
                  <a:gd name="connsiteY1" fmla="*/ 69842 h 481706"/>
                  <a:gd name="connsiteX2" fmla="*/ 401820 w 533244"/>
                  <a:gd name="connsiteY2" fmla="*/ 90287 h 481706"/>
                  <a:gd name="connsiteX3" fmla="*/ 408242 w 533244"/>
                  <a:gd name="connsiteY3" fmla="*/ 135596 h 481706"/>
                  <a:gd name="connsiteX4" fmla="*/ 415267 w 533244"/>
                  <a:gd name="connsiteY4" fmla="*/ 167320 h 481706"/>
                  <a:gd name="connsiteX5" fmla="*/ 431019 w 533244"/>
                  <a:gd name="connsiteY5" fmla="*/ 213534 h 481706"/>
                  <a:gd name="connsiteX6" fmla="*/ 432172 w 533244"/>
                  <a:gd name="connsiteY6" fmla="*/ 228133 h 481706"/>
                  <a:gd name="connsiteX7" fmla="*/ 428906 w 533244"/>
                  <a:gd name="connsiteY7" fmla="*/ 248139 h 481706"/>
                  <a:gd name="connsiteX8" fmla="*/ 429592 w 533244"/>
                  <a:gd name="connsiteY8" fmla="*/ 259748 h 481706"/>
                  <a:gd name="connsiteX9" fmla="*/ 445043 w 533244"/>
                  <a:gd name="connsiteY9" fmla="*/ 287218 h 481706"/>
                  <a:gd name="connsiteX10" fmla="*/ 456569 w 533244"/>
                  <a:gd name="connsiteY10" fmla="*/ 300336 h 481706"/>
                  <a:gd name="connsiteX11" fmla="*/ 466284 w 533244"/>
                  <a:gd name="connsiteY11" fmla="*/ 304645 h 481706"/>
                  <a:gd name="connsiteX12" fmla="*/ 473419 w 533244"/>
                  <a:gd name="connsiteY12" fmla="*/ 300995 h 481706"/>
                  <a:gd name="connsiteX13" fmla="*/ 515928 w 533244"/>
                  <a:gd name="connsiteY13" fmla="*/ 339360 h 481706"/>
                  <a:gd name="connsiteX14" fmla="*/ 527427 w 533244"/>
                  <a:gd name="connsiteY14" fmla="*/ 340128 h 481706"/>
                  <a:gd name="connsiteX15" fmla="*/ 533245 w 533244"/>
                  <a:gd name="connsiteY15" fmla="*/ 363976 h 481706"/>
                  <a:gd name="connsiteX16" fmla="*/ 531872 w 533244"/>
                  <a:gd name="connsiteY16" fmla="*/ 374761 h 481706"/>
                  <a:gd name="connsiteX17" fmla="*/ 528250 w 533244"/>
                  <a:gd name="connsiteY17" fmla="*/ 379866 h 481706"/>
                  <a:gd name="connsiteX18" fmla="*/ 516833 w 533244"/>
                  <a:gd name="connsiteY18" fmla="*/ 369986 h 481706"/>
                  <a:gd name="connsiteX19" fmla="*/ 508354 w 533244"/>
                  <a:gd name="connsiteY19" fmla="*/ 374652 h 481706"/>
                  <a:gd name="connsiteX20" fmla="*/ 495099 w 533244"/>
                  <a:gd name="connsiteY20" fmla="*/ 365952 h 481706"/>
                  <a:gd name="connsiteX21" fmla="*/ 487607 w 533244"/>
                  <a:gd name="connsiteY21" fmla="*/ 374130 h 481706"/>
                  <a:gd name="connsiteX22" fmla="*/ 482255 w 533244"/>
                  <a:gd name="connsiteY22" fmla="*/ 389279 h 481706"/>
                  <a:gd name="connsiteX23" fmla="*/ 468589 w 533244"/>
                  <a:gd name="connsiteY23" fmla="*/ 388647 h 481706"/>
                  <a:gd name="connsiteX24" fmla="*/ 471745 w 533244"/>
                  <a:gd name="connsiteY24" fmla="*/ 413868 h 481706"/>
                  <a:gd name="connsiteX25" fmla="*/ 480307 w 533244"/>
                  <a:gd name="connsiteY25" fmla="*/ 405113 h 481706"/>
                  <a:gd name="connsiteX26" fmla="*/ 494879 w 533244"/>
                  <a:gd name="connsiteY26" fmla="*/ 398582 h 481706"/>
                  <a:gd name="connsiteX27" fmla="*/ 500395 w 533244"/>
                  <a:gd name="connsiteY27" fmla="*/ 403741 h 481706"/>
                  <a:gd name="connsiteX28" fmla="*/ 505417 w 533244"/>
                  <a:gd name="connsiteY28" fmla="*/ 423637 h 481706"/>
                  <a:gd name="connsiteX29" fmla="*/ 501218 w 533244"/>
                  <a:gd name="connsiteY29" fmla="*/ 439033 h 481706"/>
                  <a:gd name="connsiteX30" fmla="*/ 479566 w 533244"/>
                  <a:gd name="connsiteY30" fmla="*/ 452151 h 481706"/>
                  <a:gd name="connsiteX31" fmla="*/ 459862 w 533244"/>
                  <a:gd name="connsiteY31" fmla="*/ 454318 h 481706"/>
                  <a:gd name="connsiteX32" fmla="*/ 432611 w 533244"/>
                  <a:gd name="connsiteY32" fmla="*/ 444686 h 481706"/>
                  <a:gd name="connsiteX33" fmla="*/ 413977 w 533244"/>
                  <a:gd name="connsiteY33" fmla="*/ 446168 h 481706"/>
                  <a:gd name="connsiteX34" fmla="*/ 408351 w 533244"/>
                  <a:gd name="connsiteY34" fmla="*/ 431321 h 481706"/>
                  <a:gd name="connsiteX35" fmla="*/ 377231 w 533244"/>
                  <a:gd name="connsiteY35" fmla="*/ 422704 h 481706"/>
                  <a:gd name="connsiteX36" fmla="*/ 371990 w 533244"/>
                  <a:gd name="connsiteY36" fmla="*/ 406403 h 481706"/>
                  <a:gd name="connsiteX37" fmla="*/ 366062 w 533244"/>
                  <a:gd name="connsiteY37" fmla="*/ 401216 h 481706"/>
                  <a:gd name="connsiteX38" fmla="*/ 359064 w 533244"/>
                  <a:gd name="connsiteY38" fmla="*/ 407199 h 481706"/>
                  <a:gd name="connsiteX39" fmla="*/ 351105 w 533244"/>
                  <a:gd name="connsiteY39" fmla="*/ 424817 h 481706"/>
                  <a:gd name="connsiteX40" fmla="*/ 340650 w 533244"/>
                  <a:gd name="connsiteY40" fmla="*/ 436371 h 481706"/>
                  <a:gd name="connsiteX41" fmla="*/ 311917 w 533244"/>
                  <a:gd name="connsiteY41" fmla="*/ 444027 h 481706"/>
                  <a:gd name="connsiteX42" fmla="*/ 288837 w 533244"/>
                  <a:gd name="connsiteY42" fmla="*/ 461536 h 481706"/>
                  <a:gd name="connsiteX43" fmla="*/ 251268 w 533244"/>
                  <a:gd name="connsiteY43" fmla="*/ 469741 h 481706"/>
                  <a:gd name="connsiteX44" fmla="*/ 240949 w 533244"/>
                  <a:gd name="connsiteY44" fmla="*/ 478798 h 481706"/>
                  <a:gd name="connsiteX45" fmla="*/ 229643 w 533244"/>
                  <a:gd name="connsiteY45" fmla="*/ 472925 h 481706"/>
                  <a:gd name="connsiteX46" fmla="*/ 184993 w 533244"/>
                  <a:gd name="connsiteY46" fmla="*/ 479978 h 481706"/>
                  <a:gd name="connsiteX47" fmla="*/ 182688 w 533244"/>
                  <a:gd name="connsiteY47" fmla="*/ 480362 h 481706"/>
                  <a:gd name="connsiteX48" fmla="*/ 174235 w 533244"/>
                  <a:gd name="connsiteY48" fmla="*/ 481707 h 481706"/>
                  <a:gd name="connsiteX49" fmla="*/ 160980 w 533244"/>
                  <a:gd name="connsiteY49" fmla="*/ 455307 h 481706"/>
                  <a:gd name="connsiteX50" fmla="*/ 158236 w 533244"/>
                  <a:gd name="connsiteY50" fmla="*/ 427726 h 481706"/>
                  <a:gd name="connsiteX51" fmla="*/ 156425 w 533244"/>
                  <a:gd name="connsiteY51" fmla="*/ 422649 h 481706"/>
                  <a:gd name="connsiteX52" fmla="*/ 138093 w 533244"/>
                  <a:gd name="connsiteY52" fmla="*/ 415295 h 481706"/>
                  <a:gd name="connsiteX53" fmla="*/ 104283 w 533244"/>
                  <a:gd name="connsiteY53" fmla="*/ 415816 h 481706"/>
                  <a:gd name="connsiteX54" fmla="*/ 76127 w 533244"/>
                  <a:gd name="connsiteY54" fmla="*/ 403220 h 481706"/>
                  <a:gd name="connsiteX55" fmla="*/ 54721 w 533244"/>
                  <a:gd name="connsiteY55" fmla="*/ 373966 h 481706"/>
                  <a:gd name="connsiteX56" fmla="*/ 50742 w 533244"/>
                  <a:gd name="connsiteY56" fmla="*/ 355002 h 481706"/>
                  <a:gd name="connsiteX57" fmla="*/ 56395 w 533244"/>
                  <a:gd name="connsiteY57" fmla="*/ 346687 h 481706"/>
                  <a:gd name="connsiteX58" fmla="*/ 86116 w 533244"/>
                  <a:gd name="connsiteY58" fmla="*/ 335984 h 481706"/>
                  <a:gd name="connsiteX59" fmla="*/ 127226 w 533244"/>
                  <a:gd name="connsiteY59" fmla="*/ 328383 h 481706"/>
                  <a:gd name="connsiteX60" fmla="*/ 156398 w 533244"/>
                  <a:gd name="connsiteY60" fmla="*/ 329810 h 481706"/>
                  <a:gd name="connsiteX61" fmla="*/ 182880 w 533244"/>
                  <a:gd name="connsiteY61" fmla="*/ 330962 h 481706"/>
                  <a:gd name="connsiteX62" fmla="*/ 204587 w 533244"/>
                  <a:gd name="connsiteY62" fmla="*/ 319683 h 481706"/>
                  <a:gd name="connsiteX63" fmla="*/ 198358 w 533244"/>
                  <a:gd name="connsiteY63" fmla="*/ 309914 h 481706"/>
                  <a:gd name="connsiteX64" fmla="*/ 156370 w 533244"/>
                  <a:gd name="connsiteY64" fmla="*/ 294985 h 481706"/>
                  <a:gd name="connsiteX65" fmla="*/ 101923 w 533244"/>
                  <a:gd name="connsiteY65" fmla="*/ 306099 h 481706"/>
                  <a:gd name="connsiteX66" fmla="*/ 88174 w 533244"/>
                  <a:gd name="connsiteY66" fmla="*/ 306209 h 481706"/>
                  <a:gd name="connsiteX67" fmla="*/ 76785 w 533244"/>
                  <a:gd name="connsiteY67" fmla="*/ 299787 h 481706"/>
                  <a:gd name="connsiteX68" fmla="*/ 47943 w 533244"/>
                  <a:gd name="connsiteY68" fmla="*/ 301297 h 481706"/>
                  <a:gd name="connsiteX69" fmla="*/ 28925 w 533244"/>
                  <a:gd name="connsiteY69" fmla="*/ 282032 h 481706"/>
                  <a:gd name="connsiteX70" fmla="*/ 24342 w 533244"/>
                  <a:gd name="connsiteY70" fmla="*/ 266718 h 481706"/>
                  <a:gd name="connsiteX71" fmla="*/ 33041 w 533244"/>
                  <a:gd name="connsiteY71" fmla="*/ 254863 h 481706"/>
                  <a:gd name="connsiteX72" fmla="*/ 76237 w 533244"/>
                  <a:gd name="connsiteY72" fmla="*/ 235131 h 481706"/>
                  <a:gd name="connsiteX73" fmla="*/ 78899 w 533244"/>
                  <a:gd name="connsiteY73" fmla="*/ 228710 h 481706"/>
                  <a:gd name="connsiteX74" fmla="*/ 31504 w 533244"/>
                  <a:gd name="connsiteY74" fmla="*/ 228984 h 481706"/>
                  <a:gd name="connsiteX75" fmla="*/ 28266 w 533244"/>
                  <a:gd name="connsiteY75" fmla="*/ 223852 h 481706"/>
                  <a:gd name="connsiteX76" fmla="*/ 30132 w 533244"/>
                  <a:gd name="connsiteY76" fmla="*/ 211311 h 481706"/>
                  <a:gd name="connsiteX77" fmla="*/ 4967 w 533244"/>
                  <a:gd name="connsiteY77" fmla="*/ 207167 h 481706"/>
                  <a:gd name="connsiteX78" fmla="*/ 1427 w 533244"/>
                  <a:gd name="connsiteY78" fmla="*/ 202996 h 481706"/>
                  <a:gd name="connsiteX79" fmla="*/ 0 w 533244"/>
                  <a:gd name="connsiteY79" fmla="*/ 195120 h 481706"/>
                  <a:gd name="connsiteX80" fmla="*/ 4418 w 533244"/>
                  <a:gd name="connsiteY80" fmla="*/ 175415 h 481706"/>
                  <a:gd name="connsiteX81" fmla="*/ 22201 w 533244"/>
                  <a:gd name="connsiteY81" fmla="*/ 148933 h 481706"/>
                  <a:gd name="connsiteX82" fmla="*/ 22256 w 533244"/>
                  <a:gd name="connsiteY82" fmla="*/ 141716 h 481706"/>
                  <a:gd name="connsiteX83" fmla="*/ 19183 w 533244"/>
                  <a:gd name="connsiteY83" fmla="*/ 131287 h 481706"/>
                  <a:gd name="connsiteX84" fmla="*/ 21954 w 533244"/>
                  <a:gd name="connsiteY84" fmla="*/ 119843 h 481706"/>
                  <a:gd name="connsiteX85" fmla="*/ 57328 w 533244"/>
                  <a:gd name="connsiteY85" fmla="*/ 80106 h 481706"/>
                  <a:gd name="connsiteX86" fmla="*/ 129668 w 533244"/>
                  <a:gd name="connsiteY86" fmla="*/ 41878 h 481706"/>
                  <a:gd name="connsiteX87" fmla="*/ 139410 w 533244"/>
                  <a:gd name="connsiteY87" fmla="*/ 45610 h 481706"/>
                  <a:gd name="connsiteX88" fmla="*/ 146381 w 533244"/>
                  <a:gd name="connsiteY88" fmla="*/ 62817 h 481706"/>
                  <a:gd name="connsiteX89" fmla="*/ 146299 w 533244"/>
                  <a:gd name="connsiteY89" fmla="*/ 83509 h 481706"/>
                  <a:gd name="connsiteX90" fmla="*/ 140179 w 533244"/>
                  <a:gd name="connsiteY90" fmla="*/ 102060 h 481706"/>
                  <a:gd name="connsiteX91" fmla="*/ 139849 w 533244"/>
                  <a:gd name="connsiteY91" fmla="*/ 111995 h 481706"/>
                  <a:gd name="connsiteX92" fmla="*/ 156370 w 533244"/>
                  <a:gd name="connsiteY92" fmla="*/ 108372 h 481706"/>
                  <a:gd name="connsiteX93" fmla="*/ 158675 w 533244"/>
                  <a:gd name="connsiteY93" fmla="*/ 107741 h 481706"/>
                  <a:gd name="connsiteX94" fmla="*/ 173165 w 533244"/>
                  <a:gd name="connsiteY94" fmla="*/ 80627 h 481706"/>
                  <a:gd name="connsiteX95" fmla="*/ 182606 w 533244"/>
                  <a:gd name="connsiteY95" fmla="*/ 82192 h 481706"/>
                  <a:gd name="connsiteX96" fmla="*/ 184911 w 533244"/>
                  <a:gd name="connsiteY96" fmla="*/ 83015 h 481706"/>
                  <a:gd name="connsiteX97" fmla="*/ 225334 w 533244"/>
                  <a:gd name="connsiteY97" fmla="*/ 102198 h 481706"/>
                  <a:gd name="connsiteX98" fmla="*/ 227996 w 533244"/>
                  <a:gd name="connsiteY98" fmla="*/ 112626 h 481706"/>
                  <a:gd name="connsiteX99" fmla="*/ 225993 w 533244"/>
                  <a:gd name="connsiteY99" fmla="*/ 129476 h 481706"/>
                  <a:gd name="connsiteX100" fmla="*/ 230494 w 533244"/>
                  <a:gd name="connsiteY100" fmla="*/ 135212 h 481706"/>
                  <a:gd name="connsiteX101" fmla="*/ 246081 w 533244"/>
                  <a:gd name="connsiteY101" fmla="*/ 121929 h 481706"/>
                  <a:gd name="connsiteX102" fmla="*/ 264687 w 533244"/>
                  <a:gd name="connsiteY102" fmla="*/ 120777 h 481706"/>
                  <a:gd name="connsiteX103" fmla="*/ 259418 w 533244"/>
                  <a:gd name="connsiteY103" fmla="*/ 99838 h 481706"/>
                  <a:gd name="connsiteX104" fmla="*/ 249676 w 533244"/>
                  <a:gd name="connsiteY104" fmla="*/ 83811 h 481706"/>
                  <a:gd name="connsiteX105" fmla="*/ 249402 w 533244"/>
                  <a:gd name="connsiteY105" fmla="*/ 78542 h 481706"/>
                  <a:gd name="connsiteX106" fmla="*/ 274512 w 533244"/>
                  <a:gd name="connsiteY106" fmla="*/ 84003 h 481706"/>
                  <a:gd name="connsiteX107" fmla="*/ 291115 w 533244"/>
                  <a:gd name="connsiteY107" fmla="*/ 99947 h 481706"/>
                  <a:gd name="connsiteX108" fmla="*/ 303821 w 533244"/>
                  <a:gd name="connsiteY108" fmla="*/ 120777 h 481706"/>
                  <a:gd name="connsiteX109" fmla="*/ 318860 w 533244"/>
                  <a:gd name="connsiteY109" fmla="*/ 189713 h 481706"/>
                  <a:gd name="connsiteX110" fmla="*/ 329343 w 533244"/>
                  <a:gd name="connsiteY110" fmla="*/ 203078 h 481706"/>
                  <a:gd name="connsiteX111" fmla="*/ 340842 w 533244"/>
                  <a:gd name="connsiteY111" fmla="*/ 179999 h 481706"/>
                  <a:gd name="connsiteX112" fmla="*/ 332636 w 533244"/>
                  <a:gd name="connsiteY112" fmla="*/ 153653 h 481706"/>
                  <a:gd name="connsiteX113" fmla="*/ 320095 w 533244"/>
                  <a:gd name="connsiteY113" fmla="*/ 74974 h 481706"/>
                  <a:gd name="connsiteX114" fmla="*/ 319738 w 533244"/>
                  <a:gd name="connsiteY114" fmla="*/ 61198 h 481706"/>
                  <a:gd name="connsiteX115" fmla="*/ 322757 w 533244"/>
                  <a:gd name="connsiteY115" fmla="*/ 50221 h 481706"/>
                  <a:gd name="connsiteX116" fmla="*/ 334448 w 533244"/>
                  <a:gd name="connsiteY116" fmla="*/ 44540 h 481706"/>
                  <a:gd name="connsiteX117" fmla="*/ 349706 w 533244"/>
                  <a:gd name="connsiteY117" fmla="*/ 52965 h 481706"/>
                  <a:gd name="connsiteX118" fmla="*/ 359366 w 533244"/>
                  <a:gd name="connsiteY118" fmla="*/ 47559 h 481706"/>
                  <a:gd name="connsiteX119" fmla="*/ 377176 w 533244"/>
                  <a:gd name="connsiteY119" fmla="*/ 59688 h 481706"/>
                  <a:gd name="connsiteX120" fmla="*/ 378301 w 533244"/>
                  <a:gd name="connsiteY120" fmla="*/ 56258 h 481706"/>
                  <a:gd name="connsiteX121" fmla="*/ 377313 w 533244"/>
                  <a:gd name="connsiteY121" fmla="*/ 49891 h 481706"/>
                  <a:gd name="connsiteX122" fmla="*/ 363290 w 533244"/>
                  <a:gd name="connsiteY122" fmla="*/ 16411 h 481706"/>
                  <a:gd name="connsiteX123" fmla="*/ 374322 w 533244"/>
                  <a:gd name="connsiteY123" fmla="*/ 3266 h 481706"/>
                  <a:gd name="connsiteX124" fmla="*/ 406732 w 533244"/>
                  <a:gd name="connsiteY124" fmla="*/ 0 h 481706"/>
                  <a:gd name="connsiteX125" fmla="*/ 419850 w 533244"/>
                  <a:gd name="connsiteY125" fmla="*/ 9084 h 481706"/>
                  <a:gd name="connsiteX126" fmla="*/ 425915 w 533244"/>
                  <a:gd name="connsiteY126" fmla="*/ 22229 h 481706"/>
                  <a:gd name="connsiteX127" fmla="*/ 424625 w 533244"/>
                  <a:gd name="connsiteY127" fmla="*/ 42152 h 48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533244" h="481706">
                    <a:moveTo>
                      <a:pt x="424735" y="42207"/>
                    </a:moveTo>
                    <a:lnTo>
                      <a:pt x="414114" y="69842"/>
                    </a:lnTo>
                    <a:lnTo>
                      <a:pt x="401820" y="90287"/>
                    </a:lnTo>
                    <a:lnTo>
                      <a:pt x="408242" y="135596"/>
                    </a:lnTo>
                    <a:lnTo>
                      <a:pt x="415267" y="167320"/>
                    </a:lnTo>
                    <a:lnTo>
                      <a:pt x="431019" y="213534"/>
                    </a:lnTo>
                    <a:lnTo>
                      <a:pt x="432172" y="228133"/>
                    </a:lnTo>
                    <a:lnTo>
                      <a:pt x="428906" y="248139"/>
                    </a:lnTo>
                    <a:lnTo>
                      <a:pt x="429592" y="259748"/>
                    </a:lnTo>
                    <a:lnTo>
                      <a:pt x="445043" y="287218"/>
                    </a:lnTo>
                    <a:lnTo>
                      <a:pt x="456569" y="300336"/>
                    </a:lnTo>
                    <a:lnTo>
                      <a:pt x="466284" y="304645"/>
                    </a:lnTo>
                    <a:lnTo>
                      <a:pt x="473419" y="300995"/>
                    </a:lnTo>
                    <a:lnTo>
                      <a:pt x="515928" y="339360"/>
                    </a:lnTo>
                    <a:lnTo>
                      <a:pt x="527427" y="340128"/>
                    </a:lnTo>
                    <a:lnTo>
                      <a:pt x="533245" y="363976"/>
                    </a:lnTo>
                    <a:lnTo>
                      <a:pt x="531872" y="374761"/>
                    </a:lnTo>
                    <a:lnTo>
                      <a:pt x="528250" y="379866"/>
                    </a:lnTo>
                    <a:lnTo>
                      <a:pt x="516833" y="369986"/>
                    </a:lnTo>
                    <a:lnTo>
                      <a:pt x="508354" y="374652"/>
                    </a:lnTo>
                    <a:lnTo>
                      <a:pt x="495099" y="365952"/>
                    </a:lnTo>
                    <a:lnTo>
                      <a:pt x="487607" y="374130"/>
                    </a:lnTo>
                    <a:lnTo>
                      <a:pt x="482255" y="389279"/>
                    </a:lnTo>
                    <a:lnTo>
                      <a:pt x="468589" y="388647"/>
                    </a:lnTo>
                    <a:lnTo>
                      <a:pt x="471745" y="413868"/>
                    </a:lnTo>
                    <a:lnTo>
                      <a:pt x="480307" y="405113"/>
                    </a:lnTo>
                    <a:lnTo>
                      <a:pt x="494879" y="398582"/>
                    </a:lnTo>
                    <a:lnTo>
                      <a:pt x="500395" y="403741"/>
                    </a:lnTo>
                    <a:lnTo>
                      <a:pt x="505417" y="423637"/>
                    </a:lnTo>
                    <a:lnTo>
                      <a:pt x="501218" y="439033"/>
                    </a:lnTo>
                    <a:lnTo>
                      <a:pt x="479566" y="452151"/>
                    </a:lnTo>
                    <a:lnTo>
                      <a:pt x="459862" y="454318"/>
                    </a:lnTo>
                    <a:lnTo>
                      <a:pt x="432611" y="444686"/>
                    </a:lnTo>
                    <a:lnTo>
                      <a:pt x="413977" y="446168"/>
                    </a:lnTo>
                    <a:lnTo>
                      <a:pt x="408351" y="431321"/>
                    </a:lnTo>
                    <a:lnTo>
                      <a:pt x="377231" y="422704"/>
                    </a:lnTo>
                    <a:lnTo>
                      <a:pt x="371990" y="406403"/>
                    </a:lnTo>
                    <a:lnTo>
                      <a:pt x="366062" y="401216"/>
                    </a:lnTo>
                    <a:lnTo>
                      <a:pt x="359064" y="407199"/>
                    </a:lnTo>
                    <a:lnTo>
                      <a:pt x="351105" y="424817"/>
                    </a:lnTo>
                    <a:lnTo>
                      <a:pt x="340650" y="436371"/>
                    </a:lnTo>
                    <a:lnTo>
                      <a:pt x="311917" y="444027"/>
                    </a:lnTo>
                    <a:lnTo>
                      <a:pt x="288837" y="461536"/>
                    </a:lnTo>
                    <a:lnTo>
                      <a:pt x="251268" y="469741"/>
                    </a:lnTo>
                    <a:lnTo>
                      <a:pt x="240949" y="478798"/>
                    </a:lnTo>
                    <a:lnTo>
                      <a:pt x="229643" y="472925"/>
                    </a:lnTo>
                    <a:lnTo>
                      <a:pt x="184993" y="479978"/>
                    </a:lnTo>
                    <a:lnTo>
                      <a:pt x="182688" y="480362"/>
                    </a:lnTo>
                    <a:lnTo>
                      <a:pt x="174235" y="481707"/>
                    </a:lnTo>
                    <a:lnTo>
                      <a:pt x="160980" y="455307"/>
                    </a:lnTo>
                    <a:lnTo>
                      <a:pt x="158236" y="427726"/>
                    </a:lnTo>
                    <a:lnTo>
                      <a:pt x="156425" y="422649"/>
                    </a:lnTo>
                    <a:lnTo>
                      <a:pt x="138093" y="415295"/>
                    </a:lnTo>
                    <a:lnTo>
                      <a:pt x="104283" y="415816"/>
                    </a:lnTo>
                    <a:lnTo>
                      <a:pt x="76127" y="403220"/>
                    </a:lnTo>
                    <a:lnTo>
                      <a:pt x="54721" y="373966"/>
                    </a:lnTo>
                    <a:lnTo>
                      <a:pt x="50742" y="355002"/>
                    </a:lnTo>
                    <a:lnTo>
                      <a:pt x="56395" y="346687"/>
                    </a:lnTo>
                    <a:lnTo>
                      <a:pt x="86116" y="335984"/>
                    </a:lnTo>
                    <a:lnTo>
                      <a:pt x="127226" y="328383"/>
                    </a:lnTo>
                    <a:lnTo>
                      <a:pt x="156398" y="329810"/>
                    </a:lnTo>
                    <a:lnTo>
                      <a:pt x="182880" y="330962"/>
                    </a:lnTo>
                    <a:lnTo>
                      <a:pt x="204587" y="319683"/>
                    </a:lnTo>
                    <a:lnTo>
                      <a:pt x="198358" y="309914"/>
                    </a:lnTo>
                    <a:lnTo>
                      <a:pt x="156370" y="294985"/>
                    </a:lnTo>
                    <a:lnTo>
                      <a:pt x="101923" y="306099"/>
                    </a:lnTo>
                    <a:lnTo>
                      <a:pt x="88174" y="306209"/>
                    </a:lnTo>
                    <a:lnTo>
                      <a:pt x="76785" y="299787"/>
                    </a:lnTo>
                    <a:lnTo>
                      <a:pt x="47943" y="301297"/>
                    </a:lnTo>
                    <a:lnTo>
                      <a:pt x="28925" y="282032"/>
                    </a:lnTo>
                    <a:lnTo>
                      <a:pt x="24342" y="266718"/>
                    </a:lnTo>
                    <a:lnTo>
                      <a:pt x="33041" y="254863"/>
                    </a:lnTo>
                    <a:lnTo>
                      <a:pt x="76237" y="235131"/>
                    </a:lnTo>
                    <a:lnTo>
                      <a:pt x="78899" y="228710"/>
                    </a:lnTo>
                    <a:lnTo>
                      <a:pt x="31504" y="228984"/>
                    </a:lnTo>
                    <a:lnTo>
                      <a:pt x="28266" y="223852"/>
                    </a:lnTo>
                    <a:lnTo>
                      <a:pt x="30132" y="211311"/>
                    </a:lnTo>
                    <a:lnTo>
                      <a:pt x="4967" y="207167"/>
                    </a:lnTo>
                    <a:lnTo>
                      <a:pt x="1427" y="202996"/>
                    </a:lnTo>
                    <a:lnTo>
                      <a:pt x="0" y="195120"/>
                    </a:lnTo>
                    <a:lnTo>
                      <a:pt x="4418" y="175415"/>
                    </a:lnTo>
                    <a:lnTo>
                      <a:pt x="22201" y="148933"/>
                    </a:lnTo>
                    <a:lnTo>
                      <a:pt x="22256" y="141716"/>
                    </a:lnTo>
                    <a:lnTo>
                      <a:pt x="19183" y="131287"/>
                    </a:lnTo>
                    <a:lnTo>
                      <a:pt x="21954" y="119843"/>
                    </a:lnTo>
                    <a:lnTo>
                      <a:pt x="57328" y="80106"/>
                    </a:lnTo>
                    <a:lnTo>
                      <a:pt x="129668" y="41878"/>
                    </a:lnTo>
                    <a:lnTo>
                      <a:pt x="139410" y="45610"/>
                    </a:lnTo>
                    <a:lnTo>
                      <a:pt x="146381" y="62817"/>
                    </a:lnTo>
                    <a:lnTo>
                      <a:pt x="146299" y="83509"/>
                    </a:lnTo>
                    <a:lnTo>
                      <a:pt x="140179" y="102060"/>
                    </a:lnTo>
                    <a:lnTo>
                      <a:pt x="139849" y="111995"/>
                    </a:lnTo>
                    <a:lnTo>
                      <a:pt x="156370" y="108372"/>
                    </a:lnTo>
                    <a:lnTo>
                      <a:pt x="158675" y="107741"/>
                    </a:lnTo>
                    <a:lnTo>
                      <a:pt x="173165" y="80627"/>
                    </a:lnTo>
                    <a:lnTo>
                      <a:pt x="182606" y="82192"/>
                    </a:lnTo>
                    <a:lnTo>
                      <a:pt x="184911" y="83015"/>
                    </a:lnTo>
                    <a:lnTo>
                      <a:pt x="225334" y="102198"/>
                    </a:lnTo>
                    <a:lnTo>
                      <a:pt x="227996" y="112626"/>
                    </a:lnTo>
                    <a:lnTo>
                      <a:pt x="225993" y="129476"/>
                    </a:lnTo>
                    <a:lnTo>
                      <a:pt x="230494" y="135212"/>
                    </a:lnTo>
                    <a:lnTo>
                      <a:pt x="246081" y="121929"/>
                    </a:lnTo>
                    <a:lnTo>
                      <a:pt x="264687" y="120777"/>
                    </a:lnTo>
                    <a:lnTo>
                      <a:pt x="259418" y="99838"/>
                    </a:lnTo>
                    <a:lnTo>
                      <a:pt x="249676" y="83811"/>
                    </a:lnTo>
                    <a:lnTo>
                      <a:pt x="249402" y="78542"/>
                    </a:lnTo>
                    <a:lnTo>
                      <a:pt x="274512" y="84003"/>
                    </a:lnTo>
                    <a:lnTo>
                      <a:pt x="291115" y="99947"/>
                    </a:lnTo>
                    <a:lnTo>
                      <a:pt x="303821" y="120777"/>
                    </a:lnTo>
                    <a:lnTo>
                      <a:pt x="318860" y="189713"/>
                    </a:lnTo>
                    <a:lnTo>
                      <a:pt x="329343" y="203078"/>
                    </a:lnTo>
                    <a:lnTo>
                      <a:pt x="340842" y="179999"/>
                    </a:lnTo>
                    <a:lnTo>
                      <a:pt x="332636" y="153653"/>
                    </a:lnTo>
                    <a:lnTo>
                      <a:pt x="320095" y="74974"/>
                    </a:lnTo>
                    <a:lnTo>
                      <a:pt x="319738" y="61198"/>
                    </a:lnTo>
                    <a:lnTo>
                      <a:pt x="322757" y="50221"/>
                    </a:lnTo>
                    <a:lnTo>
                      <a:pt x="334448" y="44540"/>
                    </a:lnTo>
                    <a:lnTo>
                      <a:pt x="349706" y="52965"/>
                    </a:lnTo>
                    <a:lnTo>
                      <a:pt x="359366" y="47559"/>
                    </a:lnTo>
                    <a:lnTo>
                      <a:pt x="377176" y="59688"/>
                    </a:lnTo>
                    <a:lnTo>
                      <a:pt x="378301" y="56258"/>
                    </a:lnTo>
                    <a:lnTo>
                      <a:pt x="377313" y="49891"/>
                    </a:lnTo>
                    <a:lnTo>
                      <a:pt x="363290" y="16411"/>
                    </a:lnTo>
                    <a:lnTo>
                      <a:pt x="374322" y="3266"/>
                    </a:lnTo>
                    <a:lnTo>
                      <a:pt x="406732" y="0"/>
                    </a:lnTo>
                    <a:lnTo>
                      <a:pt x="419850" y="9084"/>
                    </a:lnTo>
                    <a:lnTo>
                      <a:pt x="425915" y="22229"/>
                    </a:lnTo>
                    <a:lnTo>
                      <a:pt x="424625" y="421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 name="Freeform: Shape 3288">
                <a:extLst>
                  <a:ext uri="{FF2B5EF4-FFF2-40B4-BE49-F238E27FC236}">
                    <a16:creationId xmlns:a16="http://schemas.microsoft.com/office/drawing/2014/main" id="{8C904B0A-74B6-4C9F-3E14-E2BF20E3826E}"/>
                  </a:ext>
                </a:extLst>
              </p:cNvPr>
              <p:cNvSpPr/>
              <p:nvPr/>
            </p:nvSpPr>
            <p:spPr>
              <a:xfrm>
                <a:off x="1068631" y="3462064"/>
                <a:ext cx="53231" cy="32201"/>
              </a:xfrm>
              <a:custGeom>
                <a:avLst/>
                <a:gdLst>
                  <a:gd name="connsiteX0" fmla="*/ 27 w 510356"/>
                  <a:gd name="connsiteY0" fmla="*/ 23628 h 308733"/>
                  <a:gd name="connsiteX1" fmla="*/ 3732 w 510356"/>
                  <a:gd name="connsiteY1" fmla="*/ 11389 h 308733"/>
                  <a:gd name="connsiteX2" fmla="*/ 14408 w 510356"/>
                  <a:gd name="connsiteY2" fmla="*/ 1948 h 308733"/>
                  <a:gd name="connsiteX3" fmla="*/ 36582 w 510356"/>
                  <a:gd name="connsiteY3" fmla="*/ 0 h 308733"/>
                  <a:gd name="connsiteX4" fmla="*/ 89217 w 510356"/>
                  <a:gd name="connsiteY4" fmla="*/ 19896 h 308733"/>
                  <a:gd name="connsiteX5" fmla="*/ 100057 w 510356"/>
                  <a:gd name="connsiteY5" fmla="*/ 40753 h 308733"/>
                  <a:gd name="connsiteX6" fmla="*/ 102225 w 510356"/>
                  <a:gd name="connsiteY6" fmla="*/ 64244 h 308733"/>
                  <a:gd name="connsiteX7" fmla="*/ 112763 w 510356"/>
                  <a:gd name="connsiteY7" fmla="*/ 55846 h 308733"/>
                  <a:gd name="connsiteX8" fmla="*/ 163835 w 510356"/>
                  <a:gd name="connsiteY8" fmla="*/ 51154 h 308733"/>
                  <a:gd name="connsiteX9" fmla="*/ 173412 w 510356"/>
                  <a:gd name="connsiteY9" fmla="*/ 63476 h 308733"/>
                  <a:gd name="connsiteX10" fmla="*/ 174812 w 510356"/>
                  <a:gd name="connsiteY10" fmla="*/ 78761 h 308733"/>
                  <a:gd name="connsiteX11" fmla="*/ 189302 w 510356"/>
                  <a:gd name="connsiteY11" fmla="*/ 85430 h 308733"/>
                  <a:gd name="connsiteX12" fmla="*/ 190921 w 510356"/>
                  <a:gd name="connsiteY12" fmla="*/ 86171 h 308733"/>
                  <a:gd name="connsiteX13" fmla="*/ 216882 w 510356"/>
                  <a:gd name="connsiteY13" fmla="*/ 98054 h 308733"/>
                  <a:gd name="connsiteX14" fmla="*/ 217541 w 510356"/>
                  <a:gd name="connsiteY14" fmla="*/ 102829 h 308733"/>
                  <a:gd name="connsiteX15" fmla="*/ 213918 w 510356"/>
                  <a:gd name="connsiteY15" fmla="*/ 109058 h 308733"/>
                  <a:gd name="connsiteX16" fmla="*/ 190921 w 510356"/>
                  <a:gd name="connsiteY16" fmla="*/ 114410 h 308733"/>
                  <a:gd name="connsiteX17" fmla="*/ 189302 w 510356"/>
                  <a:gd name="connsiteY17" fmla="*/ 115096 h 308733"/>
                  <a:gd name="connsiteX18" fmla="*/ 187298 w 510356"/>
                  <a:gd name="connsiteY18" fmla="*/ 117346 h 308733"/>
                  <a:gd name="connsiteX19" fmla="*/ 187051 w 510356"/>
                  <a:gd name="connsiteY19" fmla="*/ 128762 h 308733"/>
                  <a:gd name="connsiteX20" fmla="*/ 189302 w 510356"/>
                  <a:gd name="connsiteY20" fmla="*/ 135047 h 308733"/>
                  <a:gd name="connsiteX21" fmla="*/ 190921 w 510356"/>
                  <a:gd name="connsiteY21" fmla="*/ 136886 h 308733"/>
                  <a:gd name="connsiteX22" fmla="*/ 198934 w 510356"/>
                  <a:gd name="connsiteY22" fmla="*/ 134800 h 308733"/>
                  <a:gd name="connsiteX23" fmla="*/ 207167 w 510356"/>
                  <a:gd name="connsiteY23" fmla="*/ 153022 h 308733"/>
                  <a:gd name="connsiteX24" fmla="*/ 217842 w 510356"/>
                  <a:gd name="connsiteY24" fmla="*/ 157550 h 308733"/>
                  <a:gd name="connsiteX25" fmla="*/ 220916 w 510356"/>
                  <a:gd name="connsiteY25" fmla="*/ 182139 h 308733"/>
                  <a:gd name="connsiteX26" fmla="*/ 228627 w 510356"/>
                  <a:gd name="connsiteY26" fmla="*/ 194708 h 308733"/>
                  <a:gd name="connsiteX27" fmla="*/ 231564 w 510356"/>
                  <a:gd name="connsiteY27" fmla="*/ 193747 h 308733"/>
                  <a:gd name="connsiteX28" fmla="*/ 236751 w 510356"/>
                  <a:gd name="connsiteY28" fmla="*/ 176047 h 308733"/>
                  <a:gd name="connsiteX29" fmla="*/ 251652 w 510356"/>
                  <a:gd name="connsiteY29" fmla="*/ 191662 h 308733"/>
                  <a:gd name="connsiteX30" fmla="*/ 278766 w 510356"/>
                  <a:gd name="connsiteY30" fmla="*/ 180328 h 308733"/>
                  <a:gd name="connsiteX31" fmla="*/ 311395 w 510356"/>
                  <a:gd name="connsiteY31" fmla="*/ 201624 h 308733"/>
                  <a:gd name="connsiteX32" fmla="*/ 319217 w 510356"/>
                  <a:gd name="connsiteY32" fmla="*/ 187737 h 308733"/>
                  <a:gd name="connsiteX33" fmla="*/ 376051 w 510356"/>
                  <a:gd name="connsiteY33" fmla="*/ 155958 h 308733"/>
                  <a:gd name="connsiteX34" fmla="*/ 395316 w 510356"/>
                  <a:gd name="connsiteY34" fmla="*/ 162106 h 308733"/>
                  <a:gd name="connsiteX35" fmla="*/ 424104 w 510356"/>
                  <a:gd name="connsiteY35" fmla="*/ 152610 h 308733"/>
                  <a:gd name="connsiteX36" fmla="*/ 446662 w 510356"/>
                  <a:gd name="connsiteY36" fmla="*/ 155684 h 308733"/>
                  <a:gd name="connsiteX37" fmla="*/ 484725 w 510356"/>
                  <a:gd name="connsiteY37" fmla="*/ 175855 h 308733"/>
                  <a:gd name="connsiteX38" fmla="*/ 502014 w 510356"/>
                  <a:gd name="connsiteY38" fmla="*/ 195229 h 308733"/>
                  <a:gd name="connsiteX39" fmla="*/ 507036 w 510356"/>
                  <a:gd name="connsiteY39" fmla="*/ 211723 h 308733"/>
                  <a:gd name="connsiteX40" fmla="*/ 510357 w 510356"/>
                  <a:gd name="connsiteY40" fmla="*/ 255961 h 308733"/>
                  <a:gd name="connsiteX41" fmla="*/ 485027 w 510356"/>
                  <a:gd name="connsiteY41" fmla="*/ 293777 h 308733"/>
                  <a:gd name="connsiteX42" fmla="*/ 456541 w 510356"/>
                  <a:gd name="connsiteY42" fmla="*/ 296933 h 308733"/>
                  <a:gd name="connsiteX43" fmla="*/ 440185 w 510356"/>
                  <a:gd name="connsiteY43" fmla="*/ 306648 h 308733"/>
                  <a:gd name="connsiteX44" fmla="*/ 409065 w 510356"/>
                  <a:gd name="connsiteY44" fmla="*/ 299046 h 308733"/>
                  <a:gd name="connsiteX45" fmla="*/ 402918 w 510356"/>
                  <a:gd name="connsiteY45" fmla="*/ 289661 h 308733"/>
                  <a:gd name="connsiteX46" fmla="*/ 398280 w 510356"/>
                  <a:gd name="connsiteY46" fmla="*/ 270588 h 308733"/>
                  <a:gd name="connsiteX47" fmla="*/ 391886 w 510356"/>
                  <a:gd name="connsiteY47" fmla="*/ 265044 h 308733"/>
                  <a:gd name="connsiteX48" fmla="*/ 390514 w 510356"/>
                  <a:gd name="connsiteY48" fmla="*/ 268420 h 308733"/>
                  <a:gd name="connsiteX49" fmla="*/ 392105 w 510356"/>
                  <a:gd name="connsiteY49" fmla="*/ 281400 h 308733"/>
                  <a:gd name="connsiteX50" fmla="*/ 390047 w 510356"/>
                  <a:gd name="connsiteY50" fmla="*/ 291060 h 308733"/>
                  <a:gd name="connsiteX51" fmla="*/ 377780 w 510356"/>
                  <a:gd name="connsiteY51" fmla="*/ 300501 h 308733"/>
                  <a:gd name="connsiteX52" fmla="*/ 352450 w 510356"/>
                  <a:gd name="connsiteY52" fmla="*/ 303190 h 308733"/>
                  <a:gd name="connsiteX53" fmla="*/ 345150 w 510356"/>
                  <a:gd name="connsiteY53" fmla="*/ 295616 h 308733"/>
                  <a:gd name="connsiteX54" fmla="*/ 338619 w 510356"/>
                  <a:gd name="connsiteY54" fmla="*/ 303355 h 308733"/>
                  <a:gd name="connsiteX55" fmla="*/ 331154 w 510356"/>
                  <a:gd name="connsiteY55" fmla="*/ 294161 h 308733"/>
                  <a:gd name="connsiteX56" fmla="*/ 321659 w 510356"/>
                  <a:gd name="connsiteY56" fmla="*/ 305934 h 308733"/>
                  <a:gd name="connsiteX57" fmla="*/ 308926 w 510356"/>
                  <a:gd name="connsiteY57" fmla="*/ 300007 h 308733"/>
                  <a:gd name="connsiteX58" fmla="*/ 290786 w 510356"/>
                  <a:gd name="connsiteY58" fmla="*/ 308734 h 308733"/>
                  <a:gd name="connsiteX59" fmla="*/ 246081 w 510356"/>
                  <a:gd name="connsiteY59" fmla="*/ 304013 h 308733"/>
                  <a:gd name="connsiteX60" fmla="*/ 242459 w 510356"/>
                  <a:gd name="connsiteY60" fmla="*/ 298525 h 308733"/>
                  <a:gd name="connsiteX61" fmla="*/ 242239 w 510356"/>
                  <a:gd name="connsiteY61" fmla="*/ 277778 h 308733"/>
                  <a:gd name="connsiteX62" fmla="*/ 239632 w 510356"/>
                  <a:gd name="connsiteY62" fmla="*/ 269984 h 308733"/>
                  <a:gd name="connsiteX63" fmla="*/ 211201 w 510356"/>
                  <a:gd name="connsiteY63" fmla="*/ 298552 h 308733"/>
                  <a:gd name="connsiteX64" fmla="*/ 190948 w 510356"/>
                  <a:gd name="connsiteY64" fmla="*/ 293914 h 308733"/>
                  <a:gd name="connsiteX65" fmla="*/ 189329 w 510356"/>
                  <a:gd name="connsiteY65" fmla="*/ 293420 h 308733"/>
                  <a:gd name="connsiteX66" fmla="*/ 183868 w 510356"/>
                  <a:gd name="connsiteY66" fmla="*/ 291746 h 308733"/>
                  <a:gd name="connsiteX67" fmla="*/ 174812 w 510356"/>
                  <a:gd name="connsiteY67" fmla="*/ 283184 h 308733"/>
                  <a:gd name="connsiteX68" fmla="*/ 173000 w 510356"/>
                  <a:gd name="connsiteY68" fmla="*/ 281483 h 308733"/>
                  <a:gd name="connsiteX69" fmla="*/ 171272 w 510356"/>
                  <a:gd name="connsiteY69" fmla="*/ 270752 h 308733"/>
                  <a:gd name="connsiteX70" fmla="*/ 165481 w 510356"/>
                  <a:gd name="connsiteY70" fmla="*/ 277092 h 308733"/>
                  <a:gd name="connsiteX71" fmla="*/ 162051 w 510356"/>
                  <a:gd name="connsiteY71" fmla="*/ 288069 h 308733"/>
                  <a:gd name="connsiteX72" fmla="*/ 152638 w 510356"/>
                  <a:gd name="connsiteY72" fmla="*/ 287163 h 308733"/>
                  <a:gd name="connsiteX73" fmla="*/ 139795 w 510356"/>
                  <a:gd name="connsiteY73" fmla="*/ 274347 h 308733"/>
                  <a:gd name="connsiteX74" fmla="*/ 135019 w 510356"/>
                  <a:gd name="connsiteY74" fmla="*/ 246740 h 308733"/>
                  <a:gd name="connsiteX75" fmla="*/ 135266 w 510356"/>
                  <a:gd name="connsiteY75" fmla="*/ 234500 h 308733"/>
                  <a:gd name="connsiteX76" fmla="*/ 131809 w 510356"/>
                  <a:gd name="connsiteY76" fmla="*/ 229204 h 308733"/>
                  <a:gd name="connsiteX77" fmla="*/ 127555 w 510356"/>
                  <a:gd name="connsiteY77" fmla="*/ 217458 h 308733"/>
                  <a:gd name="connsiteX78" fmla="*/ 129174 w 510356"/>
                  <a:gd name="connsiteY78" fmla="*/ 199703 h 308733"/>
                  <a:gd name="connsiteX79" fmla="*/ 134992 w 510356"/>
                  <a:gd name="connsiteY79" fmla="*/ 178270 h 308733"/>
                  <a:gd name="connsiteX80" fmla="*/ 134608 w 510356"/>
                  <a:gd name="connsiteY80" fmla="*/ 158483 h 308733"/>
                  <a:gd name="connsiteX81" fmla="*/ 108619 w 510356"/>
                  <a:gd name="connsiteY81" fmla="*/ 95831 h 308733"/>
                  <a:gd name="connsiteX82" fmla="*/ 47449 w 510356"/>
                  <a:gd name="connsiteY82" fmla="*/ 100139 h 308733"/>
                  <a:gd name="connsiteX83" fmla="*/ 41905 w 510356"/>
                  <a:gd name="connsiteY83" fmla="*/ 88970 h 308733"/>
                  <a:gd name="connsiteX84" fmla="*/ 26263 w 510356"/>
                  <a:gd name="connsiteY84" fmla="*/ 79255 h 308733"/>
                  <a:gd name="connsiteX85" fmla="*/ 741 w 510356"/>
                  <a:gd name="connsiteY85" fmla="*/ 41988 h 308733"/>
                  <a:gd name="connsiteX86" fmla="*/ 0 w 510356"/>
                  <a:gd name="connsiteY86" fmla="*/ 23574 h 30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10356" h="308733">
                    <a:moveTo>
                      <a:pt x="27" y="23628"/>
                    </a:moveTo>
                    <a:lnTo>
                      <a:pt x="3732" y="11389"/>
                    </a:lnTo>
                    <a:lnTo>
                      <a:pt x="14408" y="1948"/>
                    </a:lnTo>
                    <a:lnTo>
                      <a:pt x="36582" y="0"/>
                    </a:lnTo>
                    <a:lnTo>
                      <a:pt x="89217" y="19896"/>
                    </a:lnTo>
                    <a:lnTo>
                      <a:pt x="100057" y="40753"/>
                    </a:lnTo>
                    <a:lnTo>
                      <a:pt x="102225" y="64244"/>
                    </a:lnTo>
                    <a:lnTo>
                      <a:pt x="112763" y="55846"/>
                    </a:lnTo>
                    <a:lnTo>
                      <a:pt x="163835" y="51154"/>
                    </a:lnTo>
                    <a:lnTo>
                      <a:pt x="173412" y="63476"/>
                    </a:lnTo>
                    <a:lnTo>
                      <a:pt x="174812" y="78761"/>
                    </a:lnTo>
                    <a:lnTo>
                      <a:pt x="189302" y="85430"/>
                    </a:lnTo>
                    <a:lnTo>
                      <a:pt x="190921" y="86171"/>
                    </a:lnTo>
                    <a:lnTo>
                      <a:pt x="216882" y="98054"/>
                    </a:lnTo>
                    <a:lnTo>
                      <a:pt x="217541" y="102829"/>
                    </a:lnTo>
                    <a:lnTo>
                      <a:pt x="213918" y="109058"/>
                    </a:lnTo>
                    <a:lnTo>
                      <a:pt x="190921" y="114410"/>
                    </a:lnTo>
                    <a:lnTo>
                      <a:pt x="189302" y="115096"/>
                    </a:lnTo>
                    <a:lnTo>
                      <a:pt x="187298" y="117346"/>
                    </a:lnTo>
                    <a:lnTo>
                      <a:pt x="187051" y="128762"/>
                    </a:lnTo>
                    <a:lnTo>
                      <a:pt x="189302" y="135047"/>
                    </a:lnTo>
                    <a:lnTo>
                      <a:pt x="190921" y="136886"/>
                    </a:lnTo>
                    <a:lnTo>
                      <a:pt x="198934" y="134800"/>
                    </a:lnTo>
                    <a:lnTo>
                      <a:pt x="207167" y="153022"/>
                    </a:lnTo>
                    <a:lnTo>
                      <a:pt x="217842" y="157550"/>
                    </a:lnTo>
                    <a:lnTo>
                      <a:pt x="220916" y="182139"/>
                    </a:lnTo>
                    <a:lnTo>
                      <a:pt x="228627" y="194708"/>
                    </a:lnTo>
                    <a:lnTo>
                      <a:pt x="231564" y="193747"/>
                    </a:lnTo>
                    <a:lnTo>
                      <a:pt x="236751" y="176047"/>
                    </a:lnTo>
                    <a:lnTo>
                      <a:pt x="251652" y="191662"/>
                    </a:lnTo>
                    <a:lnTo>
                      <a:pt x="278766" y="180328"/>
                    </a:lnTo>
                    <a:lnTo>
                      <a:pt x="311395" y="201624"/>
                    </a:lnTo>
                    <a:lnTo>
                      <a:pt x="319217" y="187737"/>
                    </a:lnTo>
                    <a:lnTo>
                      <a:pt x="376051" y="155958"/>
                    </a:lnTo>
                    <a:lnTo>
                      <a:pt x="395316" y="162106"/>
                    </a:lnTo>
                    <a:lnTo>
                      <a:pt x="424104" y="152610"/>
                    </a:lnTo>
                    <a:lnTo>
                      <a:pt x="446662" y="155684"/>
                    </a:lnTo>
                    <a:lnTo>
                      <a:pt x="484725" y="175855"/>
                    </a:lnTo>
                    <a:lnTo>
                      <a:pt x="502014" y="195229"/>
                    </a:lnTo>
                    <a:lnTo>
                      <a:pt x="507036" y="211723"/>
                    </a:lnTo>
                    <a:lnTo>
                      <a:pt x="510357" y="255961"/>
                    </a:lnTo>
                    <a:lnTo>
                      <a:pt x="485027" y="293777"/>
                    </a:lnTo>
                    <a:lnTo>
                      <a:pt x="456541" y="296933"/>
                    </a:lnTo>
                    <a:lnTo>
                      <a:pt x="440185" y="306648"/>
                    </a:lnTo>
                    <a:lnTo>
                      <a:pt x="409065" y="299046"/>
                    </a:lnTo>
                    <a:lnTo>
                      <a:pt x="402918" y="289661"/>
                    </a:lnTo>
                    <a:lnTo>
                      <a:pt x="398280" y="270588"/>
                    </a:lnTo>
                    <a:lnTo>
                      <a:pt x="391886" y="265044"/>
                    </a:lnTo>
                    <a:lnTo>
                      <a:pt x="390514" y="268420"/>
                    </a:lnTo>
                    <a:lnTo>
                      <a:pt x="392105" y="281400"/>
                    </a:lnTo>
                    <a:lnTo>
                      <a:pt x="390047" y="291060"/>
                    </a:lnTo>
                    <a:lnTo>
                      <a:pt x="377780" y="300501"/>
                    </a:lnTo>
                    <a:lnTo>
                      <a:pt x="352450" y="303190"/>
                    </a:lnTo>
                    <a:lnTo>
                      <a:pt x="345150" y="295616"/>
                    </a:lnTo>
                    <a:lnTo>
                      <a:pt x="338619" y="303355"/>
                    </a:lnTo>
                    <a:lnTo>
                      <a:pt x="331154" y="294161"/>
                    </a:lnTo>
                    <a:lnTo>
                      <a:pt x="321659" y="305934"/>
                    </a:lnTo>
                    <a:lnTo>
                      <a:pt x="308926" y="300007"/>
                    </a:lnTo>
                    <a:lnTo>
                      <a:pt x="290786" y="308734"/>
                    </a:lnTo>
                    <a:lnTo>
                      <a:pt x="246081" y="304013"/>
                    </a:lnTo>
                    <a:lnTo>
                      <a:pt x="242459" y="298525"/>
                    </a:lnTo>
                    <a:lnTo>
                      <a:pt x="242239" y="277778"/>
                    </a:lnTo>
                    <a:lnTo>
                      <a:pt x="239632" y="269984"/>
                    </a:lnTo>
                    <a:lnTo>
                      <a:pt x="211201" y="298552"/>
                    </a:lnTo>
                    <a:lnTo>
                      <a:pt x="190948" y="293914"/>
                    </a:lnTo>
                    <a:lnTo>
                      <a:pt x="189329" y="293420"/>
                    </a:lnTo>
                    <a:lnTo>
                      <a:pt x="183868" y="291746"/>
                    </a:lnTo>
                    <a:lnTo>
                      <a:pt x="174812" y="283184"/>
                    </a:lnTo>
                    <a:lnTo>
                      <a:pt x="173000" y="281483"/>
                    </a:lnTo>
                    <a:lnTo>
                      <a:pt x="171272" y="270752"/>
                    </a:lnTo>
                    <a:lnTo>
                      <a:pt x="165481" y="277092"/>
                    </a:lnTo>
                    <a:lnTo>
                      <a:pt x="162051" y="288069"/>
                    </a:lnTo>
                    <a:lnTo>
                      <a:pt x="152638" y="287163"/>
                    </a:lnTo>
                    <a:lnTo>
                      <a:pt x="139795" y="274347"/>
                    </a:lnTo>
                    <a:lnTo>
                      <a:pt x="135019" y="246740"/>
                    </a:lnTo>
                    <a:lnTo>
                      <a:pt x="135266" y="234500"/>
                    </a:lnTo>
                    <a:lnTo>
                      <a:pt x="131809" y="229204"/>
                    </a:lnTo>
                    <a:lnTo>
                      <a:pt x="127555" y="217458"/>
                    </a:lnTo>
                    <a:lnTo>
                      <a:pt x="129174" y="199703"/>
                    </a:lnTo>
                    <a:lnTo>
                      <a:pt x="134992" y="178270"/>
                    </a:lnTo>
                    <a:lnTo>
                      <a:pt x="134608" y="158483"/>
                    </a:lnTo>
                    <a:lnTo>
                      <a:pt x="108619" y="95831"/>
                    </a:lnTo>
                    <a:lnTo>
                      <a:pt x="47449" y="100139"/>
                    </a:lnTo>
                    <a:lnTo>
                      <a:pt x="41905" y="88970"/>
                    </a:lnTo>
                    <a:lnTo>
                      <a:pt x="26263" y="79255"/>
                    </a:lnTo>
                    <a:lnTo>
                      <a:pt x="741" y="41988"/>
                    </a:lnTo>
                    <a:lnTo>
                      <a:pt x="0" y="235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 name="Freeform: Shape 3290">
                <a:extLst>
                  <a:ext uri="{FF2B5EF4-FFF2-40B4-BE49-F238E27FC236}">
                    <a16:creationId xmlns:a16="http://schemas.microsoft.com/office/drawing/2014/main" id="{E47AB82C-10C2-7C55-2B82-BD16F11F6917}"/>
                  </a:ext>
                </a:extLst>
              </p:cNvPr>
              <p:cNvSpPr/>
              <p:nvPr/>
            </p:nvSpPr>
            <p:spPr>
              <a:xfrm>
                <a:off x="979609" y="3493257"/>
                <a:ext cx="31912" cy="36220"/>
              </a:xfrm>
              <a:custGeom>
                <a:avLst/>
                <a:gdLst>
                  <a:gd name="connsiteX0" fmla="*/ 31916 w 305961"/>
                  <a:gd name="connsiteY0" fmla="*/ 23244 h 347263"/>
                  <a:gd name="connsiteX1" fmla="*/ 110321 w 305961"/>
                  <a:gd name="connsiteY1" fmla="*/ 4638 h 347263"/>
                  <a:gd name="connsiteX2" fmla="*/ 123082 w 305961"/>
                  <a:gd name="connsiteY2" fmla="*/ 0 h 347263"/>
                  <a:gd name="connsiteX3" fmla="*/ 135733 w 305961"/>
                  <a:gd name="connsiteY3" fmla="*/ 3485 h 347263"/>
                  <a:gd name="connsiteX4" fmla="*/ 157029 w 305961"/>
                  <a:gd name="connsiteY4" fmla="*/ 24836 h 347263"/>
                  <a:gd name="connsiteX5" fmla="*/ 178270 w 305961"/>
                  <a:gd name="connsiteY5" fmla="*/ 34578 h 347263"/>
                  <a:gd name="connsiteX6" fmla="*/ 179999 w 305961"/>
                  <a:gd name="connsiteY6" fmla="*/ 45089 h 347263"/>
                  <a:gd name="connsiteX7" fmla="*/ 185926 w 305961"/>
                  <a:gd name="connsiteY7" fmla="*/ 36527 h 347263"/>
                  <a:gd name="connsiteX8" fmla="*/ 193967 w 305961"/>
                  <a:gd name="connsiteY8" fmla="*/ 37048 h 347263"/>
                  <a:gd name="connsiteX9" fmla="*/ 196464 w 305961"/>
                  <a:gd name="connsiteY9" fmla="*/ 45308 h 347263"/>
                  <a:gd name="connsiteX10" fmla="*/ 195806 w 305961"/>
                  <a:gd name="connsiteY10" fmla="*/ 60320 h 347263"/>
                  <a:gd name="connsiteX11" fmla="*/ 203407 w 305961"/>
                  <a:gd name="connsiteY11" fmla="*/ 53541 h 347263"/>
                  <a:gd name="connsiteX12" fmla="*/ 204807 w 305961"/>
                  <a:gd name="connsiteY12" fmla="*/ 47998 h 347263"/>
                  <a:gd name="connsiteX13" fmla="*/ 203709 w 305961"/>
                  <a:gd name="connsiteY13" fmla="*/ 41274 h 347263"/>
                  <a:gd name="connsiteX14" fmla="*/ 206865 w 305961"/>
                  <a:gd name="connsiteY14" fmla="*/ 37515 h 347263"/>
                  <a:gd name="connsiteX15" fmla="*/ 224703 w 305961"/>
                  <a:gd name="connsiteY15" fmla="*/ 30489 h 347263"/>
                  <a:gd name="connsiteX16" fmla="*/ 245066 w 305961"/>
                  <a:gd name="connsiteY16" fmla="*/ 36417 h 347263"/>
                  <a:gd name="connsiteX17" fmla="*/ 282086 w 305961"/>
                  <a:gd name="connsiteY17" fmla="*/ 77554 h 347263"/>
                  <a:gd name="connsiteX18" fmla="*/ 298772 w 305961"/>
                  <a:gd name="connsiteY18" fmla="*/ 96380 h 347263"/>
                  <a:gd name="connsiteX19" fmla="*/ 305962 w 305961"/>
                  <a:gd name="connsiteY19" fmla="*/ 110403 h 347263"/>
                  <a:gd name="connsiteX20" fmla="*/ 305880 w 305961"/>
                  <a:gd name="connsiteY20" fmla="*/ 113779 h 347263"/>
                  <a:gd name="connsiteX21" fmla="*/ 296220 w 305961"/>
                  <a:gd name="connsiteY21" fmla="*/ 126622 h 347263"/>
                  <a:gd name="connsiteX22" fmla="*/ 282086 w 305961"/>
                  <a:gd name="connsiteY22" fmla="*/ 133839 h 347263"/>
                  <a:gd name="connsiteX23" fmla="*/ 194955 w 305961"/>
                  <a:gd name="connsiteY23" fmla="*/ 200142 h 347263"/>
                  <a:gd name="connsiteX24" fmla="*/ 188835 w 305961"/>
                  <a:gd name="connsiteY24" fmla="*/ 227969 h 347263"/>
                  <a:gd name="connsiteX25" fmla="*/ 175004 w 305961"/>
                  <a:gd name="connsiteY25" fmla="*/ 239934 h 347263"/>
                  <a:gd name="connsiteX26" fmla="*/ 163258 w 305961"/>
                  <a:gd name="connsiteY26" fmla="*/ 236476 h 347263"/>
                  <a:gd name="connsiteX27" fmla="*/ 164932 w 305961"/>
                  <a:gd name="connsiteY27" fmla="*/ 249704 h 347263"/>
                  <a:gd name="connsiteX28" fmla="*/ 157248 w 305961"/>
                  <a:gd name="connsiteY28" fmla="*/ 266389 h 347263"/>
                  <a:gd name="connsiteX29" fmla="*/ 157962 w 305961"/>
                  <a:gd name="connsiteY29" fmla="*/ 291938 h 347263"/>
                  <a:gd name="connsiteX30" fmla="*/ 154394 w 305961"/>
                  <a:gd name="connsiteY30" fmla="*/ 304068 h 347263"/>
                  <a:gd name="connsiteX31" fmla="*/ 131068 w 305961"/>
                  <a:gd name="connsiteY31" fmla="*/ 319217 h 347263"/>
                  <a:gd name="connsiteX32" fmla="*/ 118142 w 305961"/>
                  <a:gd name="connsiteY32" fmla="*/ 313783 h 347263"/>
                  <a:gd name="connsiteX33" fmla="*/ 109662 w 305961"/>
                  <a:gd name="connsiteY33" fmla="*/ 326928 h 347263"/>
                  <a:gd name="connsiteX34" fmla="*/ 87269 w 305961"/>
                  <a:gd name="connsiteY34" fmla="*/ 346330 h 347263"/>
                  <a:gd name="connsiteX35" fmla="*/ 79200 w 305961"/>
                  <a:gd name="connsiteY35" fmla="*/ 347263 h 347263"/>
                  <a:gd name="connsiteX36" fmla="*/ 70117 w 305961"/>
                  <a:gd name="connsiteY36" fmla="*/ 336863 h 347263"/>
                  <a:gd name="connsiteX37" fmla="*/ 67071 w 305961"/>
                  <a:gd name="connsiteY37" fmla="*/ 326928 h 347263"/>
                  <a:gd name="connsiteX38" fmla="*/ 62954 w 305961"/>
                  <a:gd name="connsiteY38" fmla="*/ 310572 h 347263"/>
                  <a:gd name="connsiteX39" fmla="*/ 51785 w 305961"/>
                  <a:gd name="connsiteY39" fmla="*/ 292295 h 347263"/>
                  <a:gd name="connsiteX40" fmla="*/ 25302 w 305961"/>
                  <a:gd name="connsiteY40" fmla="*/ 274814 h 347263"/>
                  <a:gd name="connsiteX41" fmla="*/ 13612 w 305961"/>
                  <a:gd name="connsiteY41" fmla="*/ 263727 h 347263"/>
                  <a:gd name="connsiteX42" fmla="*/ 0 w 305961"/>
                  <a:gd name="connsiteY42" fmla="*/ 263727 h 347263"/>
                  <a:gd name="connsiteX43" fmla="*/ 741 w 305961"/>
                  <a:gd name="connsiteY43" fmla="*/ 247975 h 347263"/>
                  <a:gd name="connsiteX44" fmla="*/ 3458 w 305961"/>
                  <a:gd name="connsiteY44" fmla="*/ 238589 h 347263"/>
                  <a:gd name="connsiteX45" fmla="*/ 7629 w 305961"/>
                  <a:gd name="connsiteY45" fmla="*/ 235214 h 347263"/>
                  <a:gd name="connsiteX46" fmla="*/ 12212 w 305961"/>
                  <a:gd name="connsiteY46" fmla="*/ 216937 h 347263"/>
                  <a:gd name="connsiteX47" fmla="*/ 21570 w 305961"/>
                  <a:gd name="connsiteY47" fmla="*/ 207249 h 347263"/>
                  <a:gd name="connsiteX48" fmla="*/ 19622 w 305961"/>
                  <a:gd name="connsiteY48" fmla="*/ 197370 h 347263"/>
                  <a:gd name="connsiteX49" fmla="*/ 23628 w 305961"/>
                  <a:gd name="connsiteY49" fmla="*/ 194927 h 347263"/>
                  <a:gd name="connsiteX50" fmla="*/ 20555 w 305961"/>
                  <a:gd name="connsiteY50" fmla="*/ 177254 h 347263"/>
                  <a:gd name="connsiteX51" fmla="*/ 27306 w 305961"/>
                  <a:gd name="connsiteY51" fmla="*/ 175717 h 347263"/>
                  <a:gd name="connsiteX52" fmla="*/ 37762 w 305961"/>
                  <a:gd name="connsiteY52" fmla="*/ 169021 h 347263"/>
                  <a:gd name="connsiteX53" fmla="*/ 36664 w 305961"/>
                  <a:gd name="connsiteY53" fmla="*/ 164493 h 347263"/>
                  <a:gd name="connsiteX54" fmla="*/ 27306 w 305961"/>
                  <a:gd name="connsiteY54" fmla="*/ 157550 h 347263"/>
                  <a:gd name="connsiteX55" fmla="*/ 26455 w 305961"/>
                  <a:gd name="connsiteY55" fmla="*/ 153818 h 347263"/>
                  <a:gd name="connsiteX56" fmla="*/ 34002 w 305961"/>
                  <a:gd name="connsiteY56" fmla="*/ 145283 h 347263"/>
                  <a:gd name="connsiteX57" fmla="*/ 40917 w 305961"/>
                  <a:gd name="connsiteY57" fmla="*/ 118526 h 347263"/>
                  <a:gd name="connsiteX58" fmla="*/ 48739 w 305961"/>
                  <a:gd name="connsiteY58" fmla="*/ 111336 h 347263"/>
                  <a:gd name="connsiteX59" fmla="*/ 51620 w 305961"/>
                  <a:gd name="connsiteY59" fmla="*/ 96188 h 347263"/>
                  <a:gd name="connsiteX60" fmla="*/ 58124 w 305961"/>
                  <a:gd name="connsiteY60" fmla="*/ 85210 h 347263"/>
                  <a:gd name="connsiteX61" fmla="*/ 55682 w 305961"/>
                  <a:gd name="connsiteY61" fmla="*/ 77389 h 347263"/>
                  <a:gd name="connsiteX62" fmla="*/ 47504 w 305961"/>
                  <a:gd name="connsiteY62" fmla="*/ 73575 h 347263"/>
                  <a:gd name="connsiteX63" fmla="*/ 42262 w 305961"/>
                  <a:gd name="connsiteY63" fmla="*/ 59332 h 347263"/>
                  <a:gd name="connsiteX64" fmla="*/ 35539 w 305961"/>
                  <a:gd name="connsiteY64" fmla="*/ 33837 h 347263"/>
                  <a:gd name="connsiteX65" fmla="*/ 32053 w 305961"/>
                  <a:gd name="connsiteY65" fmla="*/ 32904 h 347263"/>
                  <a:gd name="connsiteX66" fmla="*/ 32053 w 305961"/>
                  <a:gd name="connsiteY66" fmla="*/ 23244 h 34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5961" h="347263">
                    <a:moveTo>
                      <a:pt x="31916" y="23244"/>
                    </a:moveTo>
                    <a:lnTo>
                      <a:pt x="110321" y="4638"/>
                    </a:lnTo>
                    <a:lnTo>
                      <a:pt x="123082" y="0"/>
                    </a:lnTo>
                    <a:lnTo>
                      <a:pt x="135733" y="3485"/>
                    </a:lnTo>
                    <a:lnTo>
                      <a:pt x="157029" y="24836"/>
                    </a:lnTo>
                    <a:lnTo>
                      <a:pt x="178270" y="34578"/>
                    </a:lnTo>
                    <a:lnTo>
                      <a:pt x="179999" y="45089"/>
                    </a:lnTo>
                    <a:lnTo>
                      <a:pt x="185926" y="36527"/>
                    </a:lnTo>
                    <a:lnTo>
                      <a:pt x="193967" y="37048"/>
                    </a:lnTo>
                    <a:lnTo>
                      <a:pt x="196464" y="45308"/>
                    </a:lnTo>
                    <a:lnTo>
                      <a:pt x="195806" y="60320"/>
                    </a:lnTo>
                    <a:lnTo>
                      <a:pt x="203407" y="53541"/>
                    </a:lnTo>
                    <a:lnTo>
                      <a:pt x="204807" y="47998"/>
                    </a:lnTo>
                    <a:lnTo>
                      <a:pt x="203709" y="41274"/>
                    </a:lnTo>
                    <a:lnTo>
                      <a:pt x="206865" y="37515"/>
                    </a:lnTo>
                    <a:lnTo>
                      <a:pt x="224703" y="30489"/>
                    </a:lnTo>
                    <a:lnTo>
                      <a:pt x="245066" y="36417"/>
                    </a:lnTo>
                    <a:lnTo>
                      <a:pt x="282086" y="77554"/>
                    </a:lnTo>
                    <a:lnTo>
                      <a:pt x="298772" y="96380"/>
                    </a:lnTo>
                    <a:lnTo>
                      <a:pt x="305962" y="110403"/>
                    </a:lnTo>
                    <a:lnTo>
                      <a:pt x="305880" y="113779"/>
                    </a:lnTo>
                    <a:lnTo>
                      <a:pt x="296220" y="126622"/>
                    </a:lnTo>
                    <a:lnTo>
                      <a:pt x="282086" y="133839"/>
                    </a:lnTo>
                    <a:lnTo>
                      <a:pt x="194955" y="200142"/>
                    </a:lnTo>
                    <a:lnTo>
                      <a:pt x="188835" y="227969"/>
                    </a:lnTo>
                    <a:lnTo>
                      <a:pt x="175004" y="239934"/>
                    </a:lnTo>
                    <a:lnTo>
                      <a:pt x="163258" y="236476"/>
                    </a:lnTo>
                    <a:lnTo>
                      <a:pt x="164932" y="249704"/>
                    </a:lnTo>
                    <a:lnTo>
                      <a:pt x="157248" y="266389"/>
                    </a:lnTo>
                    <a:lnTo>
                      <a:pt x="157962" y="291938"/>
                    </a:lnTo>
                    <a:lnTo>
                      <a:pt x="154394" y="304068"/>
                    </a:lnTo>
                    <a:lnTo>
                      <a:pt x="131068" y="319217"/>
                    </a:lnTo>
                    <a:lnTo>
                      <a:pt x="118142" y="313783"/>
                    </a:lnTo>
                    <a:lnTo>
                      <a:pt x="109662" y="326928"/>
                    </a:lnTo>
                    <a:lnTo>
                      <a:pt x="87269" y="346330"/>
                    </a:lnTo>
                    <a:lnTo>
                      <a:pt x="79200" y="347263"/>
                    </a:lnTo>
                    <a:lnTo>
                      <a:pt x="70117" y="336863"/>
                    </a:lnTo>
                    <a:lnTo>
                      <a:pt x="67071" y="326928"/>
                    </a:lnTo>
                    <a:lnTo>
                      <a:pt x="62954" y="310572"/>
                    </a:lnTo>
                    <a:lnTo>
                      <a:pt x="51785" y="292295"/>
                    </a:lnTo>
                    <a:lnTo>
                      <a:pt x="25302" y="274814"/>
                    </a:lnTo>
                    <a:lnTo>
                      <a:pt x="13612" y="263727"/>
                    </a:lnTo>
                    <a:lnTo>
                      <a:pt x="0" y="263727"/>
                    </a:lnTo>
                    <a:lnTo>
                      <a:pt x="741" y="247975"/>
                    </a:lnTo>
                    <a:lnTo>
                      <a:pt x="3458" y="238589"/>
                    </a:lnTo>
                    <a:lnTo>
                      <a:pt x="7629" y="235214"/>
                    </a:lnTo>
                    <a:lnTo>
                      <a:pt x="12212" y="216937"/>
                    </a:lnTo>
                    <a:lnTo>
                      <a:pt x="21570" y="207249"/>
                    </a:lnTo>
                    <a:lnTo>
                      <a:pt x="19622" y="197370"/>
                    </a:lnTo>
                    <a:lnTo>
                      <a:pt x="23628" y="194927"/>
                    </a:lnTo>
                    <a:lnTo>
                      <a:pt x="20555" y="177254"/>
                    </a:lnTo>
                    <a:lnTo>
                      <a:pt x="27306" y="175717"/>
                    </a:lnTo>
                    <a:lnTo>
                      <a:pt x="37762" y="169021"/>
                    </a:lnTo>
                    <a:lnTo>
                      <a:pt x="36664" y="164493"/>
                    </a:lnTo>
                    <a:lnTo>
                      <a:pt x="27306" y="157550"/>
                    </a:lnTo>
                    <a:lnTo>
                      <a:pt x="26455" y="153818"/>
                    </a:lnTo>
                    <a:lnTo>
                      <a:pt x="34002" y="145283"/>
                    </a:lnTo>
                    <a:lnTo>
                      <a:pt x="40917" y="118526"/>
                    </a:lnTo>
                    <a:lnTo>
                      <a:pt x="48739" y="111336"/>
                    </a:lnTo>
                    <a:lnTo>
                      <a:pt x="51620" y="96188"/>
                    </a:lnTo>
                    <a:lnTo>
                      <a:pt x="58124" y="85210"/>
                    </a:lnTo>
                    <a:lnTo>
                      <a:pt x="55682" y="77389"/>
                    </a:lnTo>
                    <a:lnTo>
                      <a:pt x="47504" y="73575"/>
                    </a:lnTo>
                    <a:lnTo>
                      <a:pt x="42262" y="59332"/>
                    </a:lnTo>
                    <a:lnTo>
                      <a:pt x="35539" y="33837"/>
                    </a:lnTo>
                    <a:lnTo>
                      <a:pt x="32053" y="32904"/>
                    </a:lnTo>
                    <a:lnTo>
                      <a:pt x="32053" y="232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 name="Freeform: Shape 3291">
                <a:extLst>
                  <a:ext uri="{FF2B5EF4-FFF2-40B4-BE49-F238E27FC236}">
                    <a16:creationId xmlns:a16="http://schemas.microsoft.com/office/drawing/2014/main" id="{D18C043C-E69A-8F57-6937-49DE78A06BBF}"/>
                  </a:ext>
                </a:extLst>
              </p:cNvPr>
              <p:cNvSpPr/>
              <p:nvPr/>
            </p:nvSpPr>
            <p:spPr>
              <a:xfrm>
                <a:off x="1183273" y="3659078"/>
                <a:ext cx="20580" cy="23245"/>
              </a:xfrm>
              <a:custGeom>
                <a:avLst/>
                <a:gdLst>
                  <a:gd name="connsiteX0" fmla="*/ 61061 w 197315"/>
                  <a:gd name="connsiteY0" fmla="*/ 41631 h 222864"/>
                  <a:gd name="connsiteX1" fmla="*/ 68909 w 197315"/>
                  <a:gd name="connsiteY1" fmla="*/ 34359 h 222864"/>
                  <a:gd name="connsiteX2" fmla="*/ 69294 w 197315"/>
                  <a:gd name="connsiteY2" fmla="*/ 29117 h 222864"/>
                  <a:gd name="connsiteX3" fmla="*/ 77609 w 197315"/>
                  <a:gd name="connsiteY3" fmla="*/ 13721 h 222864"/>
                  <a:gd name="connsiteX4" fmla="*/ 99865 w 197315"/>
                  <a:gd name="connsiteY4" fmla="*/ 0 h 222864"/>
                  <a:gd name="connsiteX5" fmla="*/ 105244 w 197315"/>
                  <a:gd name="connsiteY5" fmla="*/ 4144 h 222864"/>
                  <a:gd name="connsiteX6" fmla="*/ 112983 w 197315"/>
                  <a:gd name="connsiteY6" fmla="*/ 1400 h 222864"/>
                  <a:gd name="connsiteX7" fmla="*/ 114273 w 197315"/>
                  <a:gd name="connsiteY7" fmla="*/ 6147 h 222864"/>
                  <a:gd name="connsiteX8" fmla="*/ 111638 w 197315"/>
                  <a:gd name="connsiteY8" fmla="*/ 11306 h 222864"/>
                  <a:gd name="connsiteX9" fmla="*/ 97340 w 197315"/>
                  <a:gd name="connsiteY9" fmla="*/ 12953 h 222864"/>
                  <a:gd name="connsiteX10" fmla="*/ 99371 w 197315"/>
                  <a:gd name="connsiteY10" fmla="*/ 16521 h 222864"/>
                  <a:gd name="connsiteX11" fmla="*/ 105326 w 197315"/>
                  <a:gd name="connsiteY11" fmla="*/ 18908 h 222864"/>
                  <a:gd name="connsiteX12" fmla="*/ 106616 w 197315"/>
                  <a:gd name="connsiteY12" fmla="*/ 22777 h 222864"/>
                  <a:gd name="connsiteX13" fmla="*/ 78158 w 197315"/>
                  <a:gd name="connsiteY13" fmla="*/ 71681 h 222864"/>
                  <a:gd name="connsiteX14" fmla="*/ 74810 w 197315"/>
                  <a:gd name="connsiteY14" fmla="*/ 83015 h 222864"/>
                  <a:gd name="connsiteX15" fmla="*/ 75194 w 197315"/>
                  <a:gd name="connsiteY15" fmla="*/ 86747 h 222864"/>
                  <a:gd name="connsiteX16" fmla="*/ 77499 w 197315"/>
                  <a:gd name="connsiteY16" fmla="*/ 88339 h 222864"/>
                  <a:gd name="connsiteX17" fmla="*/ 94294 w 197315"/>
                  <a:gd name="connsiteY17" fmla="*/ 68799 h 222864"/>
                  <a:gd name="connsiteX18" fmla="*/ 96791 w 197315"/>
                  <a:gd name="connsiteY18" fmla="*/ 73136 h 222864"/>
                  <a:gd name="connsiteX19" fmla="*/ 105161 w 197315"/>
                  <a:gd name="connsiteY19" fmla="*/ 76072 h 222864"/>
                  <a:gd name="connsiteX20" fmla="*/ 110897 w 197315"/>
                  <a:gd name="connsiteY20" fmla="*/ 75770 h 222864"/>
                  <a:gd name="connsiteX21" fmla="*/ 111172 w 197315"/>
                  <a:gd name="connsiteY21" fmla="*/ 77334 h 222864"/>
                  <a:gd name="connsiteX22" fmla="*/ 98246 w 197315"/>
                  <a:gd name="connsiteY22" fmla="*/ 87872 h 222864"/>
                  <a:gd name="connsiteX23" fmla="*/ 103570 w 197315"/>
                  <a:gd name="connsiteY23" fmla="*/ 91687 h 222864"/>
                  <a:gd name="connsiteX24" fmla="*/ 103680 w 197315"/>
                  <a:gd name="connsiteY24" fmla="*/ 95749 h 222864"/>
                  <a:gd name="connsiteX25" fmla="*/ 108619 w 197315"/>
                  <a:gd name="connsiteY25" fmla="*/ 94075 h 222864"/>
                  <a:gd name="connsiteX26" fmla="*/ 108016 w 197315"/>
                  <a:gd name="connsiteY26" fmla="*/ 98959 h 222864"/>
                  <a:gd name="connsiteX27" fmla="*/ 115590 w 197315"/>
                  <a:gd name="connsiteY27" fmla="*/ 97093 h 222864"/>
                  <a:gd name="connsiteX28" fmla="*/ 118691 w 197315"/>
                  <a:gd name="connsiteY28" fmla="*/ 102445 h 222864"/>
                  <a:gd name="connsiteX29" fmla="*/ 119349 w 197315"/>
                  <a:gd name="connsiteY29" fmla="*/ 96325 h 222864"/>
                  <a:gd name="connsiteX30" fmla="*/ 122478 w 197315"/>
                  <a:gd name="connsiteY30" fmla="*/ 95913 h 222864"/>
                  <a:gd name="connsiteX31" fmla="*/ 122917 w 197315"/>
                  <a:gd name="connsiteY31" fmla="*/ 104283 h 222864"/>
                  <a:gd name="connsiteX32" fmla="*/ 128708 w 197315"/>
                  <a:gd name="connsiteY32" fmla="*/ 105326 h 222864"/>
                  <a:gd name="connsiteX33" fmla="*/ 132111 w 197315"/>
                  <a:gd name="connsiteY33" fmla="*/ 101072 h 222864"/>
                  <a:gd name="connsiteX34" fmla="*/ 133894 w 197315"/>
                  <a:gd name="connsiteY34" fmla="*/ 100990 h 222864"/>
                  <a:gd name="connsiteX35" fmla="*/ 132934 w 197315"/>
                  <a:gd name="connsiteY35" fmla="*/ 94980 h 222864"/>
                  <a:gd name="connsiteX36" fmla="*/ 135596 w 197315"/>
                  <a:gd name="connsiteY36" fmla="*/ 89793 h 222864"/>
                  <a:gd name="connsiteX37" fmla="*/ 139712 w 197315"/>
                  <a:gd name="connsiteY37" fmla="*/ 89683 h 222864"/>
                  <a:gd name="connsiteX38" fmla="*/ 144487 w 197315"/>
                  <a:gd name="connsiteY38" fmla="*/ 103295 h 222864"/>
                  <a:gd name="connsiteX39" fmla="*/ 156507 w 197315"/>
                  <a:gd name="connsiteY39" fmla="*/ 98712 h 222864"/>
                  <a:gd name="connsiteX40" fmla="*/ 171381 w 197315"/>
                  <a:gd name="connsiteY40" fmla="*/ 107769 h 222864"/>
                  <a:gd name="connsiteX41" fmla="*/ 172424 w 197315"/>
                  <a:gd name="connsiteY41" fmla="*/ 110129 h 222864"/>
                  <a:gd name="connsiteX42" fmla="*/ 170393 w 197315"/>
                  <a:gd name="connsiteY42" fmla="*/ 116002 h 222864"/>
                  <a:gd name="connsiteX43" fmla="*/ 160432 w 197315"/>
                  <a:gd name="connsiteY43" fmla="*/ 124920 h 222864"/>
                  <a:gd name="connsiteX44" fmla="*/ 162270 w 197315"/>
                  <a:gd name="connsiteY44" fmla="*/ 127500 h 222864"/>
                  <a:gd name="connsiteX45" fmla="*/ 166140 w 197315"/>
                  <a:gd name="connsiteY45" fmla="*/ 125195 h 222864"/>
                  <a:gd name="connsiteX46" fmla="*/ 168610 w 197315"/>
                  <a:gd name="connsiteY46" fmla="*/ 127527 h 222864"/>
                  <a:gd name="connsiteX47" fmla="*/ 168994 w 197315"/>
                  <a:gd name="connsiteY47" fmla="*/ 133867 h 222864"/>
                  <a:gd name="connsiteX48" fmla="*/ 165591 w 197315"/>
                  <a:gd name="connsiteY48" fmla="*/ 135678 h 222864"/>
                  <a:gd name="connsiteX49" fmla="*/ 163505 w 197315"/>
                  <a:gd name="connsiteY49" fmla="*/ 142374 h 222864"/>
                  <a:gd name="connsiteX50" fmla="*/ 170833 w 197315"/>
                  <a:gd name="connsiteY50" fmla="*/ 141990 h 222864"/>
                  <a:gd name="connsiteX51" fmla="*/ 175113 w 197315"/>
                  <a:gd name="connsiteY51" fmla="*/ 137627 h 222864"/>
                  <a:gd name="connsiteX52" fmla="*/ 179861 w 197315"/>
                  <a:gd name="connsiteY52" fmla="*/ 139081 h 222864"/>
                  <a:gd name="connsiteX53" fmla="*/ 184170 w 197315"/>
                  <a:gd name="connsiteY53" fmla="*/ 135431 h 222864"/>
                  <a:gd name="connsiteX54" fmla="*/ 185871 w 197315"/>
                  <a:gd name="connsiteY54" fmla="*/ 138450 h 222864"/>
                  <a:gd name="connsiteX55" fmla="*/ 184389 w 197315"/>
                  <a:gd name="connsiteY55" fmla="*/ 144597 h 222864"/>
                  <a:gd name="connsiteX56" fmla="*/ 177638 w 197315"/>
                  <a:gd name="connsiteY56" fmla="*/ 148274 h 222864"/>
                  <a:gd name="connsiteX57" fmla="*/ 171409 w 197315"/>
                  <a:gd name="connsiteY57" fmla="*/ 156178 h 222864"/>
                  <a:gd name="connsiteX58" fmla="*/ 162709 w 197315"/>
                  <a:gd name="connsiteY58" fmla="*/ 176266 h 222864"/>
                  <a:gd name="connsiteX59" fmla="*/ 164438 w 197315"/>
                  <a:gd name="connsiteY59" fmla="*/ 179614 h 222864"/>
                  <a:gd name="connsiteX60" fmla="*/ 169954 w 197315"/>
                  <a:gd name="connsiteY60" fmla="*/ 182057 h 222864"/>
                  <a:gd name="connsiteX61" fmla="*/ 178516 w 197315"/>
                  <a:gd name="connsiteY61" fmla="*/ 164658 h 222864"/>
                  <a:gd name="connsiteX62" fmla="*/ 187518 w 197315"/>
                  <a:gd name="connsiteY62" fmla="*/ 160020 h 222864"/>
                  <a:gd name="connsiteX63" fmla="*/ 188149 w 197315"/>
                  <a:gd name="connsiteY63" fmla="*/ 161090 h 222864"/>
                  <a:gd name="connsiteX64" fmla="*/ 181782 w 197315"/>
                  <a:gd name="connsiteY64" fmla="*/ 181261 h 222864"/>
                  <a:gd name="connsiteX65" fmla="*/ 184609 w 197315"/>
                  <a:gd name="connsiteY65" fmla="*/ 186887 h 222864"/>
                  <a:gd name="connsiteX66" fmla="*/ 187655 w 197315"/>
                  <a:gd name="connsiteY66" fmla="*/ 184335 h 222864"/>
                  <a:gd name="connsiteX67" fmla="*/ 187490 w 197315"/>
                  <a:gd name="connsiteY67" fmla="*/ 179367 h 222864"/>
                  <a:gd name="connsiteX68" fmla="*/ 194351 w 197315"/>
                  <a:gd name="connsiteY68" fmla="*/ 175663 h 222864"/>
                  <a:gd name="connsiteX69" fmla="*/ 197315 w 197315"/>
                  <a:gd name="connsiteY69" fmla="*/ 185075 h 222864"/>
                  <a:gd name="connsiteX70" fmla="*/ 192430 w 197315"/>
                  <a:gd name="connsiteY70" fmla="*/ 197644 h 222864"/>
                  <a:gd name="connsiteX71" fmla="*/ 189082 w 197315"/>
                  <a:gd name="connsiteY71" fmla="*/ 213177 h 222864"/>
                  <a:gd name="connsiteX72" fmla="*/ 184773 w 197315"/>
                  <a:gd name="connsiteY72" fmla="*/ 221135 h 222864"/>
                  <a:gd name="connsiteX73" fmla="*/ 181947 w 197315"/>
                  <a:gd name="connsiteY73" fmla="*/ 222288 h 222864"/>
                  <a:gd name="connsiteX74" fmla="*/ 177364 w 197315"/>
                  <a:gd name="connsiteY74" fmla="*/ 219846 h 222864"/>
                  <a:gd name="connsiteX75" fmla="*/ 171601 w 197315"/>
                  <a:gd name="connsiteY75" fmla="*/ 222864 h 222864"/>
                  <a:gd name="connsiteX76" fmla="*/ 168802 w 197315"/>
                  <a:gd name="connsiteY76" fmla="*/ 219187 h 222864"/>
                  <a:gd name="connsiteX77" fmla="*/ 170009 w 197315"/>
                  <a:gd name="connsiteY77" fmla="*/ 204203 h 222864"/>
                  <a:gd name="connsiteX78" fmla="*/ 169213 w 197315"/>
                  <a:gd name="connsiteY78" fmla="*/ 203462 h 222864"/>
                  <a:gd name="connsiteX79" fmla="*/ 157715 w 197315"/>
                  <a:gd name="connsiteY79" fmla="*/ 214769 h 222864"/>
                  <a:gd name="connsiteX80" fmla="*/ 153077 w 197315"/>
                  <a:gd name="connsiteY80" fmla="*/ 214714 h 222864"/>
                  <a:gd name="connsiteX81" fmla="*/ 157303 w 197315"/>
                  <a:gd name="connsiteY81" fmla="*/ 197672 h 222864"/>
                  <a:gd name="connsiteX82" fmla="*/ 160432 w 197315"/>
                  <a:gd name="connsiteY82" fmla="*/ 192211 h 222864"/>
                  <a:gd name="connsiteX83" fmla="*/ 160761 w 197315"/>
                  <a:gd name="connsiteY83" fmla="*/ 185652 h 222864"/>
                  <a:gd name="connsiteX84" fmla="*/ 158538 w 197315"/>
                  <a:gd name="connsiteY84" fmla="*/ 174757 h 222864"/>
                  <a:gd name="connsiteX85" fmla="*/ 155876 w 197315"/>
                  <a:gd name="connsiteY85" fmla="*/ 172534 h 222864"/>
                  <a:gd name="connsiteX86" fmla="*/ 142731 w 197315"/>
                  <a:gd name="connsiteY86" fmla="*/ 189494 h 222864"/>
                  <a:gd name="connsiteX87" fmla="*/ 133867 w 197315"/>
                  <a:gd name="connsiteY87" fmla="*/ 191963 h 222864"/>
                  <a:gd name="connsiteX88" fmla="*/ 127829 w 197315"/>
                  <a:gd name="connsiteY88" fmla="*/ 197644 h 222864"/>
                  <a:gd name="connsiteX89" fmla="*/ 124920 w 197315"/>
                  <a:gd name="connsiteY89" fmla="*/ 205603 h 222864"/>
                  <a:gd name="connsiteX90" fmla="*/ 120777 w 197315"/>
                  <a:gd name="connsiteY90" fmla="*/ 210131 h 222864"/>
                  <a:gd name="connsiteX91" fmla="*/ 106918 w 197315"/>
                  <a:gd name="connsiteY91" fmla="*/ 213534 h 222864"/>
                  <a:gd name="connsiteX92" fmla="*/ 100331 w 197315"/>
                  <a:gd name="connsiteY92" fmla="*/ 210241 h 222864"/>
                  <a:gd name="connsiteX93" fmla="*/ 103268 w 197315"/>
                  <a:gd name="connsiteY93" fmla="*/ 204944 h 222864"/>
                  <a:gd name="connsiteX94" fmla="*/ 117401 w 197315"/>
                  <a:gd name="connsiteY94" fmla="*/ 197617 h 222864"/>
                  <a:gd name="connsiteX95" fmla="*/ 122149 w 197315"/>
                  <a:gd name="connsiteY95" fmla="*/ 188945 h 222864"/>
                  <a:gd name="connsiteX96" fmla="*/ 130189 w 197315"/>
                  <a:gd name="connsiteY96" fmla="*/ 182715 h 222864"/>
                  <a:gd name="connsiteX97" fmla="*/ 129942 w 197315"/>
                  <a:gd name="connsiteY97" fmla="*/ 181234 h 222864"/>
                  <a:gd name="connsiteX98" fmla="*/ 124564 w 197315"/>
                  <a:gd name="connsiteY98" fmla="*/ 181234 h 222864"/>
                  <a:gd name="connsiteX99" fmla="*/ 117154 w 197315"/>
                  <a:gd name="connsiteY99" fmla="*/ 177309 h 222864"/>
                  <a:gd name="connsiteX100" fmla="*/ 115782 w 197315"/>
                  <a:gd name="connsiteY100" fmla="*/ 185569 h 222864"/>
                  <a:gd name="connsiteX101" fmla="*/ 112599 w 197315"/>
                  <a:gd name="connsiteY101" fmla="*/ 187683 h 222864"/>
                  <a:gd name="connsiteX102" fmla="*/ 109881 w 197315"/>
                  <a:gd name="connsiteY102" fmla="*/ 185021 h 222864"/>
                  <a:gd name="connsiteX103" fmla="*/ 105271 w 197315"/>
                  <a:gd name="connsiteY103" fmla="*/ 186695 h 222864"/>
                  <a:gd name="connsiteX104" fmla="*/ 105820 w 197315"/>
                  <a:gd name="connsiteY104" fmla="*/ 183346 h 222864"/>
                  <a:gd name="connsiteX105" fmla="*/ 97944 w 197315"/>
                  <a:gd name="connsiteY105" fmla="*/ 185816 h 222864"/>
                  <a:gd name="connsiteX106" fmla="*/ 97532 w 197315"/>
                  <a:gd name="connsiteY106" fmla="*/ 184389 h 222864"/>
                  <a:gd name="connsiteX107" fmla="*/ 99645 w 197315"/>
                  <a:gd name="connsiteY107" fmla="*/ 182139 h 222864"/>
                  <a:gd name="connsiteX108" fmla="*/ 95063 w 197315"/>
                  <a:gd name="connsiteY108" fmla="*/ 177199 h 222864"/>
                  <a:gd name="connsiteX109" fmla="*/ 91961 w 197315"/>
                  <a:gd name="connsiteY109" fmla="*/ 180245 h 222864"/>
                  <a:gd name="connsiteX110" fmla="*/ 74892 w 197315"/>
                  <a:gd name="connsiteY110" fmla="*/ 183539 h 222864"/>
                  <a:gd name="connsiteX111" fmla="*/ 58179 w 197315"/>
                  <a:gd name="connsiteY111" fmla="*/ 179998 h 222864"/>
                  <a:gd name="connsiteX112" fmla="*/ 49919 w 197315"/>
                  <a:gd name="connsiteY112" fmla="*/ 181672 h 222864"/>
                  <a:gd name="connsiteX113" fmla="*/ 43442 w 197315"/>
                  <a:gd name="connsiteY113" fmla="*/ 179038 h 222864"/>
                  <a:gd name="connsiteX114" fmla="*/ 29995 w 197315"/>
                  <a:gd name="connsiteY114" fmla="*/ 175964 h 222864"/>
                  <a:gd name="connsiteX115" fmla="*/ 24671 w 197315"/>
                  <a:gd name="connsiteY115" fmla="*/ 180081 h 222864"/>
                  <a:gd name="connsiteX116" fmla="*/ 4007 w 197315"/>
                  <a:gd name="connsiteY116" fmla="*/ 181069 h 222864"/>
                  <a:gd name="connsiteX117" fmla="*/ 0 w 197315"/>
                  <a:gd name="connsiteY117" fmla="*/ 168966 h 222864"/>
                  <a:gd name="connsiteX118" fmla="*/ 25961 w 197315"/>
                  <a:gd name="connsiteY118" fmla="*/ 143856 h 222864"/>
                  <a:gd name="connsiteX119" fmla="*/ 20857 w 197315"/>
                  <a:gd name="connsiteY119" fmla="*/ 138477 h 222864"/>
                  <a:gd name="connsiteX120" fmla="*/ 21213 w 197315"/>
                  <a:gd name="connsiteY120" fmla="*/ 131534 h 222864"/>
                  <a:gd name="connsiteX121" fmla="*/ 27745 w 197315"/>
                  <a:gd name="connsiteY121" fmla="*/ 115864 h 222864"/>
                  <a:gd name="connsiteX122" fmla="*/ 32849 w 197315"/>
                  <a:gd name="connsiteY122" fmla="*/ 115480 h 222864"/>
                  <a:gd name="connsiteX123" fmla="*/ 37240 w 197315"/>
                  <a:gd name="connsiteY123" fmla="*/ 111089 h 222864"/>
                  <a:gd name="connsiteX124" fmla="*/ 33974 w 197315"/>
                  <a:gd name="connsiteY124" fmla="*/ 107055 h 222864"/>
                  <a:gd name="connsiteX125" fmla="*/ 34166 w 197315"/>
                  <a:gd name="connsiteY125" fmla="*/ 102143 h 222864"/>
                  <a:gd name="connsiteX126" fmla="*/ 38777 w 197315"/>
                  <a:gd name="connsiteY126" fmla="*/ 96187 h 222864"/>
                  <a:gd name="connsiteX127" fmla="*/ 42619 w 197315"/>
                  <a:gd name="connsiteY127" fmla="*/ 96544 h 222864"/>
                  <a:gd name="connsiteX128" fmla="*/ 41796 w 197315"/>
                  <a:gd name="connsiteY128" fmla="*/ 88997 h 222864"/>
                  <a:gd name="connsiteX129" fmla="*/ 43470 w 197315"/>
                  <a:gd name="connsiteY129" fmla="*/ 83783 h 222864"/>
                  <a:gd name="connsiteX130" fmla="*/ 55819 w 197315"/>
                  <a:gd name="connsiteY130" fmla="*/ 53047 h 222864"/>
                  <a:gd name="connsiteX131" fmla="*/ 61143 w 197315"/>
                  <a:gd name="connsiteY131" fmla="*/ 45445 h 222864"/>
                  <a:gd name="connsiteX132" fmla="*/ 61143 w 197315"/>
                  <a:gd name="connsiteY132" fmla="*/ 41658 h 22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97315" h="222864">
                    <a:moveTo>
                      <a:pt x="61061" y="41631"/>
                    </a:moveTo>
                    <a:lnTo>
                      <a:pt x="68909" y="34359"/>
                    </a:lnTo>
                    <a:lnTo>
                      <a:pt x="69294" y="29117"/>
                    </a:lnTo>
                    <a:lnTo>
                      <a:pt x="77609" y="13721"/>
                    </a:lnTo>
                    <a:lnTo>
                      <a:pt x="99865" y="0"/>
                    </a:lnTo>
                    <a:lnTo>
                      <a:pt x="105244" y="4144"/>
                    </a:lnTo>
                    <a:lnTo>
                      <a:pt x="112983" y="1400"/>
                    </a:lnTo>
                    <a:lnTo>
                      <a:pt x="114273" y="6147"/>
                    </a:lnTo>
                    <a:lnTo>
                      <a:pt x="111638" y="11306"/>
                    </a:lnTo>
                    <a:lnTo>
                      <a:pt x="97340" y="12953"/>
                    </a:lnTo>
                    <a:lnTo>
                      <a:pt x="99371" y="16521"/>
                    </a:lnTo>
                    <a:lnTo>
                      <a:pt x="105326" y="18908"/>
                    </a:lnTo>
                    <a:lnTo>
                      <a:pt x="106616" y="22777"/>
                    </a:lnTo>
                    <a:lnTo>
                      <a:pt x="78158" y="71681"/>
                    </a:lnTo>
                    <a:lnTo>
                      <a:pt x="74810" y="83015"/>
                    </a:lnTo>
                    <a:lnTo>
                      <a:pt x="75194" y="86747"/>
                    </a:lnTo>
                    <a:lnTo>
                      <a:pt x="77499" y="88339"/>
                    </a:lnTo>
                    <a:lnTo>
                      <a:pt x="94294" y="68799"/>
                    </a:lnTo>
                    <a:lnTo>
                      <a:pt x="96791" y="73136"/>
                    </a:lnTo>
                    <a:lnTo>
                      <a:pt x="105161" y="76072"/>
                    </a:lnTo>
                    <a:lnTo>
                      <a:pt x="110897" y="75770"/>
                    </a:lnTo>
                    <a:lnTo>
                      <a:pt x="111172" y="77334"/>
                    </a:lnTo>
                    <a:lnTo>
                      <a:pt x="98246" y="87872"/>
                    </a:lnTo>
                    <a:lnTo>
                      <a:pt x="103570" y="91687"/>
                    </a:lnTo>
                    <a:lnTo>
                      <a:pt x="103680" y="95749"/>
                    </a:lnTo>
                    <a:lnTo>
                      <a:pt x="108619" y="94075"/>
                    </a:lnTo>
                    <a:lnTo>
                      <a:pt x="108016" y="98959"/>
                    </a:lnTo>
                    <a:lnTo>
                      <a:pt x="115590" y="97093"/>
                    </a:lnTo>
                    <a:lnTo>
                      <a:pt x="118691" y="102445"/>
                    </a:lnTo>
                    <a:lnTo>
                      <a:pt x="119349" y="96325"/>
                    </a:lnTo>
                    <a:lnTo>
                      <a:pt x="122478" y="95913"/>
                    </a:lnTo>
                    <a:lnTo>
                      <a:pt x="122917" y="104283"/>
                    </a:lnTo>
                    <a:lnTo>
                      <a:pt x="128708" y="105326"/>
                    </a:lnTo>
                    <a:lnTo>
                      <a:pt x="132111" y="101072"/>
                    </a:lnTo>
                    <a:lnTo>
                      <a:pt x="133894" y="100990"/>
                    </a:lnTo>
                    <a:lnTo>
                      <a:pt x="132934" y="94980"/>
                    </a:lnTo>
                    <a:lnTo>
                      <a:pt x="135596" y="89793"/>
                    </a:lnTo>
                    <a:lnTo>
                      <a:pt x="139712" y="89683"/>
                    </a:lnTo>
                    <a:lnTo>
                      <a:pt x="144487" y="103295"/>
                    </a:lnTo>
                    <a:lnTo>
                      <a:pt x="156507" y="98712"/>
                    </a:lnTo>
                    <a:lnTo>
                      <a:pt x="171381" y="107769"/>
                    </a:lnTo>
                    <a:lnTo>
                      <a:pt x="172424" y="110129"/>
                    </a:lnTo>
                    <a:lnTo>
                      <a:pt x="170393" y="116002"/>
                    </a:lnTo>
                    <a:lnTo>
                      <a:pt x="160432" y="124920"/>
                    </a:lnTo>
                    <a:lnTo>
                      <a:pt x="162270" y="127500"/>
                    </a:lnTo>
                    <a:lnTo>
                      <a:pt x="166140" y="125195"/>
                    </a:lnTo>
                    <a:lnTo>
                      <a:pt x="168610" y="127527"/>
                    </a:lnTo>
                    <a:lnTo>
                      <a:pt x="168994" y="133867"/>
                    </a:lnTo>
                    <a:lnTo>
                      <a:pt x="165591" y="135678"/>
                    </a:lnTo>
                    <a:lnTo>
                      <a:pt x="163505" y="142374"/>
                    </a:lnTo>
                    <a:lnTo>
                      <a:pt x="170833" y="141990"/>
                    </a:lnTo>
                    <a:lnTo>
                      <a:pt x="175113" y="137627"/>
                    </a:lnTo>
                    <a:lnTo>
                      <a:pt x="179861" y="139081"/>
                    </a:lnTo>
                    <a:lnTo>
                      <a:pt x="184170" y="135431"/>
                    </a:lnTo>
                    <a:lnTo>
                      <a:pt x="185871" y="138450"/>
                    </a:lnTo>
                    <a:lnTo>
                      <a:pt x="184389" y="144597"/>
                    </a:lnTo>
                    <a:lnTo>
                      <a:pt x="177638" y="148274"/>
                    </a:lnTo>
                    <a:lnTo>
                      <a:pt x="171409" y="156178"/>
                    </a:lnTo>
                    <a:lnTo>
                      <a:pt x="162709" y="176266"/>
                    </a:lnTo>
                    <a:lnTo>
                      <a:pt x="164438" y="179614"/>
                    </a:lnTo>
                    <a:lnTo>
                      <a:pt x="169954" y="182057"/>
                    </a:lnTo>
                    <a:lnTo>
                      <a:pt x="178516" y="164658"/>
                    </a:lnTo>
                    <a:lnTo>
                      <a:pt x="187518" y="160020"/>
                    </a:lnTo>
                    <a:lnTo>
                      <a:pt x="188149" y="161090"/>
                    </a:lnTo>
                    <a:lnTo>
                      <a:pt x="181782" y="181261"/>
                    </a:lnTo>
                    <a:lnTo>
                      <a:pt x="184609" y="186887"/>
                    </a:lnTo>
                    <a:lnTo>
                      <a:pt x="187655" y="184335"/>
                    </a:lnTo>
                    <a:lnTo>
                      <a:pt x="187490" y="179367"/>
                    </a:lnTo>
                    <a:lnTo>
                      <a:pt x="194351" y="175663"/>
                    </a:lnTo>
                    <a:lnTo>
                      <a:pt x="197315" y="185075"/>
                    </a:lnTo>
                    <a:lnTo>
                      <a:pt x="192430" y="197644"/>
                    </a:lnTo>
                    <a:lnTo>
                      <a:pt x="189082" y="213177"/>
                    </a:lnTo>
                    <a:lnTo>
                      <a:pt x="184773" y="221135"/>
                    </a:lnTo>
                    <a:lnTo>
                      <a:pt x="181947" y="222288"/>
                    </a:lnTo>
                    <a:lnTo>
                      <a:pt x="177364" y="219846"/>
                    </a:lnTo>
                    <a:lnTo>
                      <a:pt x="171601" y="222864"/>
                    </a:lnTo>
                    <a:lnTo>
                      <a:pt x="168802" y="219187"/>
                    </a:lnTo>
                    <a:lnTo>
                      <a:pt x="170009" y="204203"/>
                    </a:lnTo>
                    <a:lnTo>
                      <a:pt x="169213" y="203462"/>
                    </a:lnTo>
                    <a:lnTo>
                      <a:pt x="157715" y="214769"/>
                    </a:lnTo>
                    <a:lnTo>
                      <a:pt x="153077" y="214714"/>
                    </a:lnTo>
                    <a:lnTo>
                      <a:pt x="157303" y="197672"/>
                    </a:lnTo>
                    <a:lnTo>
                      <a:pt x="160432" y="192211"/>
                    </a:lnTo>
                    <a:lnTo>
                      <a:pt x="160761" y="185652"/>
                    </a:lnTo>
                    <a:lnTo>
                      <a:pt x="158538" y="174757"/>
                    </a:lnTo>
                    <a:lnTo>
                      <a:pt x="155876" y="172534"/>
                    </a:lnTo>
                    <a:lnTo>
                      <a:pt x="142731" y="189494"/>
                    </a:lnTo>
                    <a:lnTo>
                      <a:pt x="133867" y="191963"/>
                    </a:lnTo>
                    <a:lnTo>
                      <a:pt x="127829" y="197644"/>
                    </a:lnTo>
                    <a:lnTo>
                      <a:pt x="124920" y="205603"/>
                    </a:lnTo>
                    <a:lnTo>
                      <a:pt x="120777" y="210131"/>
                    </a:lnTo>
                    <a:lnTo>
                      <a:pt x="106918" y="213534"/>
                    </a:lnTo>
                    <a:lnTo>
                      <a:pt x="100331" y="210241"/>
                    </a:lnTo>
                    <a:lnTo>
                      <a:pt x="103268" y="204944"/>
                    </a:lnTo>
                    <a:lnTo>
                      <a:pt x="117401" y="197617"/>
                    </a:lnTo>
                    <a:lnTo>
                      <a:pt x="122149" y="188945"/>
                    </a:lnTo>
                    <a:lnTo>
                      <a:pt x="130189" y="182715"/>
                    </a:lnTo>
                    <a:lnTo>
                      <a:pt x="129942" y="181234"/>
                    </a:lnTo>
                    <a:lnTo>
                      <a:pt x="124564" y="181234"/>
                    </a:lnTo>
                    <a:cubicBezTo>
                      <a:pt x="124564" y="181234"/>
                      <a:pt x="117154" y="177309"/>
                      <a:pt x="117154" y="177309"/>
                    </a:cubicBezTo>
                    <a:lnTo>
                      <a:pt x="115782" y="185569"/>
                    </a:lnTo>
                    <a:lnTo>
                      <a:pt x="112599" y="187683"/>
                    </a:lnTo>
                    <a:lnTo>
                      <a:pt x="109881" y="185021"/>
                    </a:lnTo>
                    <a:lnTo>
                      <a:pt x="105271" y="186695"/>
                    </a:lnTo>
                    <a:lnTo>
                      <a:pt x="105820" y="183346"/>
                    </a:lnTo>
                    <a:lnTo>
                      <a:pt x="97944" y="185816"/>
                    </a:lnTo>
                    <a:lnTo>
                      <a:pt x="97532" y="184389"/>
                    </a:lnTo>
                    <a:lnTo>
                      <a:pt x="99645" y="182139"/>
                    </a:lnTo>
                    <a:lnTo>
                      <a:pt x="95063" y="177199"/>
                    </a:lnTo>
                    <a:lnTo>
                      <a:pt x="91961" y="180245"/>
                    </a:lnTo>
                    <a:lnTo>
                      <a:pt x="74892" y="183539"/>
                    </a:lnTo>
                    <a:lnTo>
                      <a:pt x="58179" y="179998"/>
                    </a:lnTo>
                    <a:lnTo>
                      <a:pt x="49919" y="181672"/>
                    </a:lnTo>
                    <a:lnTo>
                      <a:pt x="43442" y="179038"/>
                    </a:lnTo>
                    <a:lnTo>
                      <a:pt x="29995" y="175964"/>
                    </a:lnTo>
                    <a:lnTo>
                      <a:pt x="24671" y="180081"/>
                    </a:lnTo>
                    <a:lnTo>
                      <a:pt x="4007" y="181069"/>
                    </a:lnTo>
                    <a:lnTo>
                      <a:pt x="0" y="168966"/>
                    </a:lnTo>
                    <a:lnTo>
                      <a:pt x="25961" y="143856"/>
                    </a:lnTo>
                    <a:lnTo>
                      <a:pt x="20857" y="138477"/>
                    </a:lnTo>
                    <a:lnTo>
                      <a:pt x="21213" y="131534"/>
                    </a:lnTo>
                    <a:lnTo>
                      <a:pt x="27745" y="115864"/>
                    </a:lnTo>
                    <a:lnTo>
                      <a:pt x="32849" y="115480"/>
                    </a:lnTo>
                    <a:lnTo>
                      <a:pt x="37240" y="111089"/>
                    </a:lnTo>
                    <a:lnTo>
                      <a:pt x="33974" y="107055"/>
                    </a:lnTo>
                    <a:lnTo>
                      <a:pt x="34166" y="102143"/>
                    </a:lnTo>
                    <a:lnTo>
                      <a:pt x="38777" y="96187"/>
                    </a:lnTo>
                    <a:lnTo>
                      <a:pt x="42619" y="96544"/>
                    </a:lnTo>
                    <a:lnTo>
                      <a:pt x="41796" y="88997"/>
                    </a:lnTo>
                    <a:lnTo>
                      <a:pt x="43470" y="83783"/>
                    </a:lnTo>
                    <a:lnTo>
                      <a:pt x="55819" y="53047"/>
                    </a:lnTo>
                    <a:lnTo>
                      <a:pt x="61143" y="45445"/>
                    </a:lnTo>
                    <a:lnTo>
                      <a:pt x="61143" y="416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 name="Freeform: Shape 3292">
                <a:extLst>
                  <a:ext uri="{FF2B5EF4-FFF2-40B4-BE49-F238E27FC236}">
                    <a16:creationId xmlns:a16="http://schemas.microsoft.com/office/drawing/2014/main" id="{FF4A36F9-453E-2325-60C0-09D2744C613F}"/>
                  </a:ext>
                </a:extLst>
              </p:cNvPr>
              <p:cNvSpPr/>
              <p:nvPr/>
            </p:nvSpPr>
            <p:spPr>
              <a:xfrm>
                <a:off x="1004975" y="3464977"/>
                <a:ext cx="37013" cy="29625"/>
              </a:xfrm>
              <a:custGeom>
                <a:avLst/>
                <a:gdLst>
                  <a:gd name="connsiteX0" fmla="*/ 270643 w 354865"/>
                  <a:gd name="connsiteY0" fmla="*/ 91303 h 284034"/>
                  <a:gd name="connsiteX1" fmla="*/ 285242 w 354865"/>
                  <a:gd name="connsiteY1" fmla="*/ 100716 h 284034"/>
                  <a:gd name="connsiteX2" fmla="*/ 288398 w 354865"/>
                  <a:gd name="connsiteY2" fmla="*/ 117264 h 284034"/>
                  <a:gd name="connsiteX3" fmla="*/ 302339 w 354865"/>
                  <a:gd name="connsiteY3" fmla="*/ 116935 h 284034"/>
                  <a:gd name="connsiteX4" fmla="*/ 310764 w 354865"/>
                  <a:gd name="connsiteY4" fmla="*/ 131891 h 284034"/>
                  <a:gd name="connsiteX5" fmla="*/ 314606 w 354865"/>
                  <a:gd name="connsiteY5" fmla="*/ 109690 h 284034"/>
                  <a:gd name="connsiteX6" fmla="*/ 323196 w 354865"/>
                  <a:gd name="connsiteY6" fmla="*/ 98630 h 284034"/>
                  <a:gd name="connsiteX7" fmla="*/ 351298 w 354865"/>
                  <a:gd name="connsiteY7" fmla="*/ 115864 h 284034"/>
                  <a:gd name="connsiteX8" fmla="*/ 354152 w 354865"/>
                  <a:gd name="connsiteY8" fmla="*/ 125799 h 284034"/>
                  <a:gd name="connsiteX9" fmla="*/ 354865 w 354865"/>
                  <a:gd name="connsiteY9" fmla="*/ 140975 h 284034"/>
                  <a:gd name="connsiteX10" fmla="*/ 350968 w 354865"/>
                  <a:gd name="connsiteY10" fmla="*/ 157660 h 284034"/>
                  <a:gd name="connsiteX11" fmla="*/ 344135 w 354865"/>
                  <a:gd name="connsiteY11" fmla="*/ 185679 h 284034"/>
                  <a:gd name="connsiteX12" fmla="*/ 337576 w 354865"/>
                  <a:gd name="connsiteY12" fmla="*/ 201294 h 284034"/>
                  <a:gd name="connsiteX13" fmla="*/ 330715 w 354865"/>
                  <a:gd name="connsiteY13" fmla="*/ 217595 h 284034"/>
                  <a:gd name="connsiteX14" fmla="*/ 303382 w 354865"/>
                  <a:gd name="connsiteY14" fmla="*/ 228353 h 284034"/>
                  <a:gd name="connsiteX15" fmla="*/ 286779 w 354865"/>
                  <a:gd name="connsiteY15" fmla="*/ 217980 h 284034"/>
                  <a:gd name="connsiteX16" fmla="*/ 271740 w 354865"/>
                  <a:gd name="connsiteY16" fmla="*/ 229039 h 284034"/>
                  <a:gd name="connsiteX17" fmla="*/ 260105 w 354865"/>
                  <a:gd name="connsiteY17" fmla="*/ 220696 h 284034"/>
                  <a:gd name="connsiteX18" fmla="*/ 256647 w 354865"/>
                  <a:gd name="connsiteY18" fmla="*/ 228518 h 284034"/>
                  <a:gd name="connsiteX19" fmla="*/ 253985 w 354865"/>
                  <a:gd name="connsiteY19" fmla="*/ 217513 h 284034"/>
                  <a:gd name="connsiteX20" fmla="*/ 234939 w 354865"/>
                  <a:gd name="connsiteY20" fmla="*/ 235132 h 284034"/>
                  <a:gd name="connsiteX21" fmla="*/ 209664 w 354865"/>
                  <a:gd name="connsiteY21" fmla="*/ 241361 h 284034"/>
                  <a:gd name="connsiteX22" fmla="*/ 198138 w 354865"/>
                  <a:gd name="connsiteY22" fmla="*/ 257717 h 284034"/>
                  <a:gd name="connsiteX23" fmla="*/ 172534 w 354865"/>
                  <a:gd name="connsiteY23" fmla="*/ 275857 h 284034"/>
                  <a:gd name="connsiteX24" fmla="*/ 137380 w 354865"/>
                  <a:gd name="connsiteY24" fmla="*/ 284035 h 284034"/>
                  <a:gd name="connsiteX25" fmla="*/ 113120 w 354865"/>
                  <a:gd name="connsiteY25" fmla="*/ 280824 h 284034"/>
                  <a:gd name="connsiteX26" fmla="*/ 111144 w 354865"/>
                  <a:gd name="connsiteY26" fmla="*/ 277449 h 284034"/>
                  <a:gd name="connsiteX27" fmla="*/ 98410 w 354865"/>
                  <a:gd name="connsiteY27" fmla="*/ 255741 h 284034"/>
                  <a:gd name="connsiteX28" fmla="*/ 103405 w 354865"/>
                  <a:gd name="connsiteY28" fmla="*/ 245395 h 284034"/>
                  <a:gd name="connsiteX29" fmla="*/ 111144 w 354865"/>
                  <a:gd name="connsiteY29" fmla="*/ 241526 h 284034"/>
                  <a:gd name="connsiteX30" fmla="*/ 137407 w 354865"/>
                  <a:gd name="connsiteY30" fmla="*/ 228298 h 284034"/>
                  <a:gd name="connsiteX31" fmla="*/ 139712 w 354865"/>
                  <a:gd name="connsiteY31" fmla="*/ 227118 h 284034"/>
                  <a:gd name="connsiteX32" fmla="*/ 171381 w 354865"/>
                  <a:gd name="connsiteY32" fmla="*/ 220971 h 284034"/>
                  <a:gd name="connsiteX33" fmla="*/ 186640 w 354865"/>
                  <a:gd name="connsiteY33" fmla="*/ 204615 h 284034"/>
                  <a:gd name="connsiteX34" fmla="*/ 187683 w 354865"/>
                  <a:gd name="connsiteY34" fmla="*/ 201322 h 284034"/>
                  <a:gd name="connsiteX35" fmla="*/ 189658 w 354865"/>
                  <a:gd name="connsiteY35" fmla="*/ 195092 h 284034"/>
                  <a:gd name="connsiteX36" fmla="*/ 186063 w 354865"/>
                  <a:gd name="connsiteY36" fmla="*/ 191278 h 284034"/>
                  <a:gd name="connsiteX37" fmla="*/ 176925 w 354865"/>
                  <a:gd name="connsiteY37" fmla="*/ 201322 h 284034"/>
                  <a:gd name="connsiteX38" fmla="*/ 175937 w 354865"/>
                  <a:gd name="connsiteY38" fmla="*/ 202420 h 284034"/>
                  <a:gd name="connsiteX39" fmla="*/ 154147 w 354865"/>
                  <a:gd name="connsiteY39" fmla="*/ 206316 h 284034"/>
                  <a:gd name="connsiteX40" fmla="*/ 151211 w 354865"/>
                  <a:gd name="connsiteY40" fmla="*/ 201349 h 284034"/>
                  <a:gd name="connsiteX41" fmla="*/ 149235 w 354865"/>
                  <a:gd name="connsiteY41" fmla="*/ 198001 h 284034"/>
                  <a:gd name="connsiteX42" fmla="*/ 139712 w 354865"/>
                  <a:gd name="connsiteY42" fmla="*/ 199565 h 284034"/>
                  <a:gd name="connsiteX43" fmla="*/ 138752 w 354865"/>
                  <a:gd name="connsiteY43" fmla="*/ 201349 h 284034"/>
                  <a:gd name="connsiteX44" fmla="*/ 137407 w 354865"/>
                  <a:gd name="connsiteY44" fmla="*/ 203737 h 284034"/>
                  <a:gd name="connsiteX45" fmla="*/ 111144 w 354865"/>
                  <a:gd name="connsiteY45" fmla="*/ 211036 h 284034"/>
                  <a:gd name="connsiteX46" fmla="*/ 109141 w 354865"/>
                  <a:gd name="connsiteY46" fmla="*/ 211585 h 284034"/>
                  <a:gd name="connsiteX47" fmla="*/ 107357 w 354865"/>
                  <a:gd name="connsiteY47" fmla="*/ 201349 h 284034"/>
                  <a:gd name="connsiteX48" fmla="*/ 108866 w 354865"/>
                  <a:gd name="connsiteY48" fmla="*/ 179916 h 284034"/>
                  <a:gd name="connsiteX49" fmla="*/ 104723 w 354865"/>
                  <a:gd name="connsiteY49" fmla="*/ 174098 h 284034"/>
                  <a:gd name="connsiteX50" fmla="*/ 93141 w 354865"/>
                  <a:gd name="connsiteY50" fmla="*/ 201349 h 284034"/>
                  <a:gd name="connsiteX51" fmla="*/ 88751 w 354865"/>
                  <a:gd name="connsiteY51" fmla="*/ 212573 h 284034"/>
                  <a:gd name="connsiteX52" fmla="*/ 72751 w 354865"/>
                  <a:gd name="connsiteY52" fmla="*/ 221108 h 284034"/>
                  <a:gd name="connsiteX53" fmla="*/ 63256 w 354865"/>
                  <a:gd name="connsiteY53" fmla="*/ 205767 h 284034"/>
                  <a:gd name="connsiteX54" fmla="*/ 51757 w 354865"/>
                  <a:gd name="connsiteY54" fmla="*/ 222041 h 284034"/>
                  <a:gd name="connsiteX55" fmla="*/ 41000 w 354865"/>
                  <a:gd name="connsiteY55" fmla="*/ 215565 h 284034"/>
                  <a:gd name="connsiteX56" fmla="*/ 34468 w 354865"/>
                  <a:gd name="connsiteY56" fmla="*/ 201377 h 284034"/>
                  <a:gd name="connsiteX57" fmla="*/ 33700 w 354865"/>
                  <a:gd name="connsiteY57" fmla="*/ 201377 h 284034"/>
                  <a:gd name="connsiteX58" fmla="*/ 20445 w 354865"/>
                  <a:gd name="connsiteY58" fmla="*/ 205630 h 284034"/>
                  <a:gd name="connsiteX59" fmla="*/ 9276 w 354865"/>
                  <a:gd name="connsiteY59" fmla="*/ 201377 h 284034"/>
                  <a:gd name="connsiteX60" fmla="*/ 2525 w 354865"/>
                  <a:gd name="connsiteY60" fmla="*/ 197919 h 284034"/>
                  <a:gd name="connsiteX61" fmla="*/ 0 w 354865"/>
                  <a:gd name="connsiteY61" fmla="*/ 187298 h 284034"/>
                  <a:gd name="connsiteX62" fmla="*/ 10483 w 354865"/>
                  <a:gd name="connsiteY62" fmla="*/ 168857 h 284034"/>
                  <a:gd name="connsiteX63" fmla="*/ 32657 w 354865"/>
                  <a:gd name="connsiteY63" fmla="*/ 158538 h 284034"/>
                  <a:gd name="connsiteX64" fmla="*/ 20500 w 354865"/>
                  <a:gd name="connsiteY64" fmla="*/ 136941 h 284034"/>
                  <a:gd name="connsiteX65" fmla="*/ 29995 w 354865"/>
                  <a:gd name="connsiteY65" fmla="*/ 122917 h 284034"/>
                  <a:gd name="connsiteX66" fmla="*/ 28486 w 354865"/>
                  <a:gd name="connsiteY66" fmla="*/ 105628 h 284034"/>
                  <a:gd name="connsiteX67" fmla="*/ 29995 w 354865"/>
                  <a:gd name="connsiteY67" fmla="*/ 94569 h 284034"/>
                  <a:gd name="connsiteX68" fmla="*/ 47367 w 354865"/>
                  <a:gd name="connsiteY68" fmla="*/ 77225 h 284034"/>
                  <a:gd name="connsiteX69" fmla="*/ 57548 w 354865"/>
                  <a:gd name="connsiteY69" fmla="*/ 53953 h 284034"/>
                  <a:gd name="connsiteX70" fmla="*/ 81314 w 354865"/>
                  <a:gd name="connsiteY70" fmla="*/ 43854 h 284034"/>
                  <a:gd name="connsiteX71" fmla="*/ 95639 w 354865"/>
                  <a:gd name="connsiteY71" fmla="*/ 50824 h 284034"/>
                  <a:gd name="connsiteX72" fmla="*/ 106314 w 354865"/>
                  <a:gd name="connsiteY72" fmla="*/ 73328 h 284034"/>
                  <a:gd name="connsiteX73" fmla="*/ 111117 w 354865"/>
                  <a:gd name="connsiteY73" fmla="*/ 75743 h 284034"/>
                  <a:gd name="connsiteX74" fmla="*/ 137380 w 354865"/>
                  <a:gd name="connsiteY74" fmla="*/ 79338 h 284034"/>
                  <a:gd name="connsiteX75" fmla="*/ 139685 w 354865"/>
                  <a:gd name="connsiteY75" fmla="*/ 80627 h 284034"/>
                  <a:gd name="connsiteX76" fmla="*/ 141551 w 354865"/>
                  <a:gd name="connsiteY76" fmla="*/ 81725 h 284034"/>
                  <a:gd name="connsiteX77" fmla="*/ 163094 w 354865"/>
                  <a:gd name="connsiteY77" fmla="*/ 108619 h 284034"/>
                  <a:gd name="connsiteX78" fmla="*/ 166387 w 354865"/>
                  <a:gd name="connsiteY78" fmla="*/ 124344 h 284034"/>
                  <a:gd name="connsiteX79" fmla="*/ 176596 w 354865"/>
                  <a:gd name="connsiteY79" fmla="*/ 132632 h 284034"/>
                  <a:gd name="connsiteX80" fmla="*/ 185624 w 354865"/>
                  <a:gd name="connsiteY80" fmla="*/ 157770 h 284034"/>
                  <a:gd name="connsiteX81" fmla="*/ 218172 w 354865"/>
                  <a:gd name="connsiteY81" fmla="*/ 158044 h 284034"/>
                  <a:gd name="connsiteX82" fmla="*/ 246465 w 354865"/>
                  <a:gd name="connsiteY82" fmla="*/ 162600 h 284034"/>
                  <a:gd name="connsiteX83" fmla="*/ 249045 w 354865"/>
                  <a:gd name="connsiteY83" fmla="*/ 157742 h 284034"/>
                  <a:gd name="connsiteX84" fmla="*/ 251844 w 354865"/>
                  <a:gd name="connsiteY84" fmla="*/ 150525 h 284034"/>
                  <a:gd name="connsiteX85" fmla="*/ 249374 w 354865"/>
                  <a:gd name="connsiteY85" fmla="*/ 140014 h 284034"/>
                  <a:gd name="connsiteX86" fmla="*/ 229506 w 354865"/>
                  <a:gd name="connsiteY86" fmla="*/ 119267 h 284034"/>
                  <a:gd name="connsiteX87" fmla="*/ 235488 w 354865"/>
                  <a:gd name="connsiteY87" fmla="*/ 99783 h 284034"/>
                  <a:gd name="connsiteX88" fmla="*/ 235845 w 354865"/>
                  <a:gd name="connsiteY88" fmla="*/ 89162 h 284034"/>
                  <a:gd name="connsiteX89" fmla="*/ 218227 w 354865"/>
                  <a:gd name="connsiteY89" fmla="*/ 71379 h 284034"/>
                  <a:gd name="connsiteX90" fmla="*/ 214988 w 354865"/>
                  <a:gd name="connsiteY90" fmla="*/ 68196 h 284034"/>
                  <a:gd name="connsiteX91" fmla="*/ 211613 w 354865"/>
                  <a:gd name="connsiteY91" fmla="*/ 57575 h 284034"/>
                  <a:gd name="connsiteX92" fmla="*/ 218254 w 354865"/>
                  <a:gd name="connsiteY92" fmla="*/ 50248 h 284034"/>
                  <a:gd name="connsiteX93" fmla="*/ 226926 w 354865"/>
                  <a:gd name="connsiteY93" fmla="*/ 40616 h 284034"/>
                  <a:gd name="connsiteX94" fmla="*/ 242212 w 354865"/>
                  <a:gd name="connsiteY94" fmla="*/ 6175 h 284034"/>
                  <a:gd name="connsiteX95" fmla="*/ 256866 w 354865"/>
                  <a:gd name="connsiteY95" fmla="*/ 0 h 284034"/>
                  <a:gd name="connsiteX96" fmla="*/ 264221 w 354865"/>
                  <a:gd name="connsiteY96" fmla="*/ 11389 h 284034"/>
                  <a:gd name="connsiteX97" fmla="*/ 263041 w 354865"/>
                  <a:gd name="connsiteY97" fmla="*/ 28952 h 284034"/>
                  <a:gd name="connsiteX98" fmla="*/ 264303 w 354865"/>
                  <a:gd name="connsiteY98" fmla="*/ 42262 h 284034"/>
                  <a:gd name="connsiteX99" fmla="*/ 273826 w 354865"/>
                  <a:gd name="connsiteY99" fmla="*/ 67235 h 284034"/>
                  <a:gd name="connsiteX100" fmla="*/ 270698 w 354865"/>
                  <a:gd name="connsiteY100" fmla="*/ 91358 h 28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54865" h="284034">
                    <a:moveTo>
                      <a:pt x="270643" y="91303"/>
                    </a:moveTo>
                    <a:lnTo>
                      <a:pt x="285242" y="100716"/>
                    </a:lnTo>
                    <a:lnTo>
                      <a:pt x="288398" y="117264"/>
                    </a:lnTo>
                    <a:lnTo>
                      <a:pt x="302339" y="116935"/>
                    </a:lnTo>
                    <a:lnTo>
                      <a:pt x="310764" y="131891"/>
                    </a:lnTo>
                    <a:lnTo>
                      <a:pt x="314606" y="109690"/>
                    </a:lnTo>
                    <a:lnTo>
                      <a:pt x="323196" y="98630"/>
                    </a:lnTo>
                    <a:lnTo>
                      <a:pt x="351298" y="115864"/>
                    </a:lnTo>
                    <a:lnTo>
                      <a:pt x="354152" y="125799"/>
                    </a:lnTo>
                    <a:lnTo>
                      <a:pt x="354865" y="140975"/>
                    </a:lnTo>
                    <a:lnTo>
                      <a:pt x="350968" y="157660"/>
                    </a:lnTo>
                    <a:lnTo>
                      <a:pt x="344135" y="185679"/>
                    </a:lnTo>
                    <a:lnTo>
                      <a:pt x="337576" y="201294"/>
                    </a:lnTo>
                    <a:lnTo>
                      <a:pt x="330715" y="217595"/>
                    </a:lnTo>
                    <a:lnTo>
                      <a:pt x="303382" y="228353"/>
                    </a:lnTo>
                    <a:lnTo>
                      <a:pt x="286779" y="217980"/>
                    </a:lnTo>
                    <a:lnTo>
                      <a:pt x="271740" y="229039"/>
                    </a:lnTo>
                    <a:lnTo>
                      <a:pt x="260105" y="220696"/>
                    </a:lnTo>
                    <a:lnTo>
                      <a:pt x="256647" y="228518"/>
                    </a:lnTo>
                    <a:lnTo>
                      <a:pt x="253985" y="217513"/>
                    </a:lnTo>
                    <a:lnTo>
                      <a:pt x="234939" y="235132"/>
                    </a:lnTo>
                    <a:lnTo>
                      <a:pt x="209664" y="241361"/>
                    </a:lnTo>
                    <a:lnTo>
                      <a:pt x="198138" y="257717"/>
                    </a:lnTo>
                    <a:lnTo>
                      <a:pt x="172534" y="275857"/>
                    </a:lnTo>
                    <a:lnTo>
                      <a:pt x="137380" y="284035"/>
                    </a:lnTo>
                    <a:lnTo>
                      <a:pt x="113120" y="280824"/>
                    </a:lnTo>
                    <a:lnTo>
                      <a:pt x="111144" y="277449"/>
                    </a:lnTo>
                    <a:lnTo>
                      <a:pt x="98410" y="255741"/>
                    </a:lnTo>
                    <a:lnTo>
                      <a:pt x="103405" y="245395"/>
                    </a:lnTo>
                    <a:lnTo>
                      <a:pt x="111144" y="241526"/>
                    </a:lnTo>
                    <a:lnTo>
                      <a:pt x="137407" y="228298"/>
                    </a:lnTo>
                    <a:lnTo>
                      <a:pt x="139712" y="227118"/>
                    </a:lnTo>
                    <a:lnTo>
                      <a:pt x="171381" y="220971"/>
                    </a:lnTo>
                    <a:lnTo>
                      <a:pt x="186640" y="204615"/>
                    </a:lnTo>
                    <a:lnTo>
                      <a:pt x="187683" y="201322"/>
                    </a:lnTo>
                    <a:lnTo>
                      <a:pt x="189658" y="195092"/>
                    </a:lnTo>
                    <a:lnTo>
                      <a:pt x="186063" y="191278"/>
                    </a:lnTo>
                    <a:lnTo>
                      <a:pt x="176925" y="201322"/>
                    </a:lnTo>
                    <a:lnTo>
                      <a:pt x="175937" y="202420"/>
                    </a:lnTo>
                    <a:lnTo>
                      <a:pt x="154147" y="206316"/>
                    </a:lnTo>
                    <a:lnTo>
                      <a:pt x="151211" y="201349"/>
                    </a:lnTo>
                    <a:lnTo>
                      <a:pt x="149235" y="198001"/>
                    </a:lnTo>
                    <a:lnTo>
                      <a:pt x="139712" y="199565"/>
                    </a:lnTo>
                    <a:lnTo>
                      <a:pt x="138752" y="201349"/>
                    </a:lnTo>
                    <a:lnTo>
                      <a:pt x="137407" y="203737"/>
                    </a:lnTo>
                    <a:lnTo>
                      <a:pt x="111144" y="211036"/>
                    </a:lnTo>
                    <a:lnTo>
                      <a:pt x="109141" y="211585"/>
                    </a:lnTo>
                    <a:lnTo>
                      <a:pt x="107357" y="201349"/>
                    </a:lnTo>
                    <a:lnTo>
                      <a:pt x="108866" y="179916"/>
                    </a:lnTo>
                    <a:lnTo>
                      <a:pt x="104723" y="174098"/>
                    </a:lnTo>
                    <a:lnTo>
                      <a:pt x="93141" y="201349"/>
                    </a:lnTo>
                    <a:lnTo>
                      <a:pt x="88751" y="212573"/>
                    </a:lnTo>
                    <a:lnTo>
                      <a:pt x="72751" y="221108"/>
                    </a:lnTo>
                    <a:lnTo>
                      <a:pt x="63256" y="205767"/>
                    </a:lnTo>
                    <a:lnTo>
                      <a:pt x="51757" y="222041"/>
                    </a:lnTo>
                    <a:lnTo>
                      <a:pt x="41000" y="215565"/>
                    </a:lnTo>
                    <a:lnTo>
                      <a:pt x="34468" y="201377"/>
                    </a:lnTo>
                    <a:lnTo>
                      <a:pt x="33700" y="201377"/>
                    </a:lnTo>
                    <a:lnTo>
                      <a:pt x="20445" y="205630"/>
                    </a:lnTo>
                    <a:lnTo>
                      <a:pt x="9276" y="201377"/>
                    </a:lnTo>
                    <a:lnTo>
                      <a:pt x="2525" y="197919"/>
                    </a:lnTo>
                    <a:lnTo>
                      <a:pt x="0" y="187298"/>
                    </a:lnTo>
                    <a:lnTo>
                      <a:pt x="10483" y="168857"/>
                    </a:lnTo>
                    <a:lnTo>
                      <a:pt x="32657" y="158538"/>
                    </a:lnTo>
                    <a:lnTo>
                      <a:pt x="20500" y="136941"/>
                    </a:lnTo>
                    <a:lnTo>
                      <a:pt x="29995" y="122917"/>
                    </a:lnTo>
                    <a:lnTo>
                      <a:pt x="28486" y="105628"/>
                    </a:lnTo>
                    <a:lnTo>
                      <a:pt x="29995" y="94569"/>
                    </a:lnTo>
                    <a:lnTo>
                      <a:pt x="47367" y="77225"/>
                    </a:lnTo>
                    <a:lnTo>
                      <a:pt x="57548" y="53953"/>
                    </a:lnTo>
                    <a:lnTo>
                      <a:pt x="81314" y="43854"/>
                    </a:lnTo>
                    <a:lnTo>
                      <a:pt x="95639" y="50824"/>
                    </a:lnTo>
                    <a:lnTo>
                      <a:pt x="106314" y="73328"/>
                    </a:lnTo>
                    <a:lnTo>
                      <a:pt x="111117" y="75743"/>
                    </a:lnTo>
                    <a:lnTo>
                      <a:pt x="137380" y="79338"/>
                    </a:lnTo>
                    <a:lnTo>
                      <a:pt x="139685" y="80627"/>
                    </a:lnTo>
                    <a:lnTo>
                      <a:pt x="141551" y="81725"/>
                    </a:lnTo>
                    <a:lnTo>
                      <a:pt x="163094" y="108619"/>
                    </a:lnTo>
                    <a:lnTo>
                      <a:pt x="166387" y="124344"/>
                    </a:lnTo>
                    <a:lnTo>
                      <a:pt x="176596" y="132632"/>
                    </a:lnTo>
                    <a:lnTo>
                      <a:pt x="185624" y="157770"/>
                    </a:lnTo>
                    <a:lnTo>
                      <a:pt x="218172" y="158044"/>
                    </a:lnTo>
                    <a:lnTo>
                      <a:pt x="246465" y="162600"/>
                    </a:lnTo>
                    <a:lnTo>
                      <a:pt x="249045" y="157742"/>
                    </a:lnTo>
                    <a:lnTo>
                      <a:pt x="251844" y="150525"/>
                    </a:lnTo>
                    <a:lnTo>
                      <a:pt x="249374" y="140014"/>
                    </a:lnTo>
                    <a:lnTo>
                      <a:pt x="229506" y="119267"/>
                    </a:lnTo>
                    <a:lnTo>
                      <a:pt x="235488" y="99783"/>
                    </a:lnTo>
                    <a:lnTo>
                      <a:pt x="235845" y="89162"/>
                    </a:lnTo>
                    <a:lnTo>
                      <a:pt x="218227" y="71379"/>
                    </a:lnTo>
                    <a:lnTo>
                      <a:pt x="214988" y="68196"/>
                    </a:lnTo>
                    <a:lnTo>
                      <a:pt x="211613" y="57575"/>
                    </a:lnTo>
                    <a:lnTo>
                      <a:pt x="218254" y="50248"/>
                    </a:lnTo>
                    <a:lnTo>
                      <a:pt x="226926" y="40616"/>
                    </a:lnTo>
                    <a:lnTo>
                      <a:pt x="242212" y="6175"/>
                    </a:lnTo>
                    <a:lnTo>
                      <a:pt x="256866" y="0"/>
                    </a:lnTo>
                    <a:lnTo>
                      <a:pt x="264221" y="11389"/>
                    </a:lnTo>
                    <a:lnTo>
                      <a:pt x="263041" y="28952"/>
                    </a:lnTo>
                    <a:lnTo>
                      <a:pt x="264303" y="42262"/>
                    </a:lnTo>
                    <a:lnTo>
                      <a:pt x="273826" y="67235"/>
                    </a:lnTo>
                    <a:lnTo>
                      <a:pt x="270698" y="913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 name="Freeform: Shape 3293">
                <a:extLst>
                  <a:ext uri="{FF2B5EF4-FFF2-40B4-BE49-F238E27FC236}">
                    <a16:creationId xmlns:a16="http://schemas.microsoft.com/office/drawing/2014/main" id="{C05062EB-E1D9-4D04-7C3B-B5F72BDF4BFA}"/>
                  </a:ext>
                </a:extLst>
              </p:cNvPr>
              <p:cNvSpPr/>
              <p:nvPr/>
            </p:nvSpPr>
            <p:spPr>
              <a:xfrm>
                <a:off x="1098041" y="3572157"/>
                <a:ext cx="20872" cy="20700"/>
              </a:xfrm>
              <a:custGeom>
                <a:avLst/>
                <a:gdLst>
                  <a:gd name="connsiteX0" fmla="*/ 35895 w 200114"/>
                  <a:gd name="connsiteY0" fmla="*/ 20747 h 198467"/>
                  <a:gd name="connsiteX1" fmla="*/ 46324 w 200114"/>
                  <a:gd name="connsiteY1" fmla="*/ 9276 h 198467"/>
                  <a:gd name="connsiteX2" fmla="*/ 57273 w 200114"/>
                  <a:gd name="connsiteY2" fmla="*/ 13831 h 198467"/>
                  <a:gd name="connsiteX3" fmla="*/ 60320 w 200114"/>
                  <a:gd name="connsiteY3" fmla="*/ 2936 h 198467"/>
                  <a:gd name="connsiteX4" fmla="*/ 64491 w 200114"/>
                  <a:gd name="connsiteY4" fmla="*/ 0 h 198467"/>
                  <a:gd name="connsiteX5" fmla="*/ 70611 w 200114"/>
                  <a:gd name="connsiteY5" fmla="*/ 7355 h 198467"/>
                  <a:gd name="connsiteX6" fmla="*/ 75194 w 200114"/>
                  <a:gd name="connsiteY6" fmla="*/ 25055 h 198467"/>
                  <a:gd name="connsiteX7" fmla="*/ 71846 w 200114"/>
                  <a:gd name="connsiteY7" fmla="*/ 31614 h 198467"/>
                  <a:gd name="connsiteX8" fmla="*/ 62817 w 200114"/>
                  <a:gd name="connsiteY8" fmla="*/ 24726 h 198467"/>
                  <a:gd name="connsiteX9" fmla="*/ 58344 w 200114"/>
                  <a:gd name="connsiteY9" fmla="*/ 33590 h 198467"/>
                  <a:gd name="connsiteX10" fmla="*/ 65589 w 200114"/>
                  <a:gd name="connsiteY10" fmla="*/ 52581 h 198467"/>
                  <a:gd name="connsiteX11" fmla="*/ 66357 w 200114"/>
                  <a:gd name="connsiteY11" fmla="*/ 54584 h 198467"/>
                  <a:gd name="connsiteX12" fmla="*/ 69842 w 200114"/>
                  <a:gd name="connsiteY12" fmla="*/ 54694 h 198467"/>
                  <a:gd name="connsiteX13" fmla="*/ 70830 w 200114"/>
                  <a:gd name="connsiteY13" fmla="*/ 52581 h 198467"/>
                  <a:gd name="connsiteX14" fmla="*/ 75743 w 200114"/>
                  <a:gd name="connsiteY14" fmla="*/ 41960 h 198467"/>
                  <a:gd name="connsiteX15" fmla="*/ 79365 w 200114"/>
                  <a:gd name="connsiteY15" fmla="*/ 40808 h 198467"/>
                  <a:gd name="connsiteX16" fmla="*/ 87708 w 200114"/>
                  <a:gd name="connsiteY16" fmla="*/ 52581 h 198467"/>
                  <a:gd name="connsiteX17" fmla="*/ 90891 w 200114"/>
                  <a:gd name="connsiteY17" fmla="*/ 57054 h 198467"/>
                  <a:gd name="connsiteX18" fmla="*/ 95721 w 200114"/>
                  <a:gd name="connsiteY18" fmla="*/ 58618 h 198467"/>
                  <a:gd name="connsiteX19" fmla="*/ 108948 w 200114"/>
                  <a:gd name="connsiteY19" fmla="*/ 62817 h 198467"/>
                  <a:gd name="connsiteX20" fmla="*/ 110952 w 200114"/>
                  <a:gd name="connsiteY20" fmla="*/ 65644 h 198467"/>
                  <a:gd name="connsiteX21" fmla="*/ 119130 w 200114"/>
                  <a:gd name="connsiteY21" fmla="*/ 77060 h 198467"/>
                  <a:gd name="connsiteX22" fmla="*/ 143582 w 200114"/>
                  <a:gd name="connsiteY22" fmla="*/ 91303 h 198467"/>
                  <a:gd name="connsiteX23" fmla="*/ 150635 w 200114"/>
                  <a:gd name="connsiteY23" fmla="*/ 98795 h 198467"/>
                  <a:gd name="connsiteX24" fmla="*/ 156699 w 200114"/>
                  <a:gd name="connsiteY24" fmla="*/ 105189 h 198467"/>
                  <a:gd name="connsiteX25" fmla="*/ 158071 w 200114"/>
                  <a:gd name="connsiteY25" fmla="*/ 110815 h 198467"/>
                  <a:gd name="connsiteX26" fmla="*/ 162270 w 200114"/>
                  <a:gd name="connsiteY26" fmla="*/ 127802 h 198467"/>
                  <a:gd name="connsiteX27" fmla="*/ 159389 w 200114"/>
                  <a:gd name="connsiteY27" fmla="*/ 137105 h 198467"/>
                  <a:gd name="connsiteX28" fmla="*/ 168939 w 200114"/>
                  <a:gd name="connsiteY28" fmla="*/ 135925 h 198467"/>
                  <a:gd name="connsiteX29" fmla="*/ 180684 w 200114"/>
                  <a:gd name="connsiteY29" fmla="*/ 140289 h 198467"/>
                  <a:gd name="connsiteX30" fmla="*/ 186585 w 200114"/>
                  <a:gd name="connsiteY30" fmla="*/ 135843 h 198467"/>
                  <a:gd name="connsiteX31" fmla="*/ 192348 w 200114"/>
                  <a:gd name="connsiteY31" fmla="*/ 141441 h 198467"/>
                  <a:gd name="connsiteX32" fmla="*/ 200114 w 200114"/>
                  <a:gd name="connsiteY32" fmla="*/ 157029 h 198467"/>
                  <a:gd name="connsiteX33" fmla="*/ 182853 w 200114"/>
                  <a:gd name="connsiteY33" fmla="*/ 175059 h 198467"/>
                  <a:gd name="connsiteX34" fmla="*/ 175882 w 200114"/>
                  <a:gd name="connsiteY34" fmla="*/ 175525 h 198467"/>
                  <a:gd name="connsiteX35" fmla="*/ 150497 w 200114"/>
                  <a:gd name="connsiteY35" fmla="*/ 162572 h 198467"/>
                  <a:gd name="connsiteX36" fmla="*/ 139328 w 200114"/>
                  <a:gd name="connsiteY36" fmla="*/ 161282 h 198467"/>
                  <a:gd name="connsiteX37" fmla="*/ 137874 w 200114"/>
                  <a:gd name="connsiteY37" fmla="*/ 158099 h 198467"/>
                  <a:gd name="connsiteX38" fmla="*/ 139493 w 200114"/>
                  <a:gd name="connsiteY38" fmla="*/ 151321 h 198467"/>
                  <a:gd name="connsiteX39" fmla="*/ 138505 w 200114"/>
                  <a:gd name="connsiteY39" fmla="*/ 147506 h 198467"/>
                  <a:gd name="connsiteX40" fmla="*/ 121655 w 200114"/>
                  <a:gd name="connsiteY40" fmla="*/ 142347 h 198467"/>
                  <a:gd name="connsiteX41" fmla="*/ 121956 w 200114"/>
                  <a:gd name="connsiteY41" fmla="*/ 131918 h 198467"/>
                  <a:gd name="connsiteX42" fmla="*/ 118307 w 200114"/>
                  <a:gd name="connsiteY42" fmla="*/ 129998 h 198467"/>
                  <a:gd name="connsiteX43" fmla="*/ 106314 w 200114"/>
                  <a:gd name="connsiteY43" fmla="*/ 135733 h 198467"/>
                  <a:gd name="connsiteX44" fmla="*/ 104009 w 200114"/>
                  <a:gd name="connsiteY44" fmla="*/ 141277 h 198467"/>
                  <a:gd name="connsiteX45" fmla="*/ 102308 w 200114"/>
                  <a:gd name="connsiteY45" fmla="*/ 155602 h 198467"/>
                  <a:gd name="connsiteX46" fmla="*/ 84607 w 200114"/>
                  <a:gd name="connsiteY46" fmla="*/ 167979 h 198467"/>
                  <a:gd name="connsiteX47" fmla="*/ 75715 w 200114"/>
                  <a:gd name="connsiteY47" fmla="*/ 185487 h 198467"/>
                  <a:gd name="connsiteX48" fmla="*/ 54035 w 200114"/>
                  <a:gd name="connsiteY48" fmla="*/ 198468 h 198467"/>
                  <a:gd name="connsiteX49" fmla="*/ 49260 w 200114"/>
                  <a:gd name="connsiteY49" fmla="*/ 197837 h 198467"/>
                  <a:gd name="connsiteX50" fmla="*/ 45336 w 200114"/>
                  <a:gd name="connsiteY50" fmla="*/ 190482 h 198467"/>
                  <a:gd name="connsiteX51" fmla="*/ 45336 w 200114"/>
                  <a:gd name="connsiteY51" fmla="*/ 168500 h 198467"/>
                  <a:gd name="connsiteX52" fmla="*/ 43470 w 200114"/>
                  <a:gd name="connsiteY52" fmla="*/ 162956 h 198467"/>
                  <a:gd name="connsiteX53" fmla="*/ 15780 w 200114"/>
                  <a:gd name="connsiteY53" fmla="*/ 164850 h 198467"/>
                  <a:gd name="connsiteX54" fmla="*/ 4363 w 200114"/>
                  <a:gd name="connsiteY54" fmla="*/ 169351 h 198467"/>
                  <a:gd name="connsiteX55" fmla="*/ 220 w 200114"/>
                  <a:gd name="connsiteY55" fmla="*/ 166277 h 198467"/>
                  <a:gd name="connsiteX56" fmla="*/ 0 w 200114"/>
                  <a:gd name="connsiteY56" fmla="*/ 160404 h 198467"/>
                  <a:gd name="connsiteX57" fmla="*/ 6147 w 200114"/>
                  <a:gd name="connsiteY57" fmla="*/ 148768 h 198467"/>
                  <a:gd name="connsiteX58" fmla="*/ 26400 w 200114"/>
                  <a:gd name="connsiteY58" fmla="*/ 132797 h 198467"/>
                  <a:gd name="connsiteX59" fmla="*/ 24122 w 200114"/>
                  <a:gd name="connsiteY59" fmla="*/ 110760 h 198467"/>
                  <a:gd name="connsiteX60" fmla="*/ 23272 w 200114"/>
                  <a:gd name="connsiteY60" fmla="*/ 102225 h 198467"/>
                  <a:gd name="connsiteX61" fmla="*/ 24040 w 200114"/>
                  <a:gd name="connsiteY61" fmla="*/ 98740 h 198467"/>
                  <a:gd name="connsiteX62" fmla="*/ 28870 w 200114"/>
                  <a:gd name="connsiteY62" fmla="*/ 77005 h 198467"/>
                  <a:gd name="connsiteX63" fmla="*/ 29474 w 200114"/>
                  <a:gd name="connsiteY63" fmla="*/ 65589 h 198467"/>
                  <a:gd name="connsiteX64" fmla="*/ 29831 w 200114"/>
                  <a:gd name="connsiteY64" fmla="*/ 58591 h 198467"/>
                  <a:gd name="connsiteX65" fmla="*/ 30160 w 200114"/>
                  <a:gd name="connsiteY65" fmla="*/ 52553 h 198467"/>
                  <a:gd name="connsiteX66" fmla="*/ 30434 w 200114"/>
                  <a:gd name="connsiteY66" fmla="*/ 47120 h 198467"/>
                  <a:gd name="connsiteX67" fmla="*/ 35868 w 200114"/>
                  <a:gd name="connsiteY67" fmla="*/ 20747 h 19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00114" h="198467">
                    <a:moveTo>
                      <a:pt x="35895" y="20747"/>
                    </a:moveTo>
                    <a:lnTo>
                      <a:pt x="46324" y="9276"/>
                    </a:lnTo>
                    <a:lnTo>
                      <a:pt x="57273" y="13831"/>
                    </a:lnTo>
                    <a:lnTo>
                      <a:pt x="60320" y="2936"/>
                    </a:lnTo>
                    <a:lnTo>
                      <a:pt x="64491" y="0"/>
                    </a:lnTo>
                    <a:lnTo>
                      <a:pt x="70611" y="7355"/>
                    </a:lnTo>
                    <a:lnTo>
                      <a:pt x="75194" y="25055"/>
                    </a:lnTo>
                    <a:lnTo>
                      <a:pt x="71846" y="31614"/>
                    </a:lnTo>
                    <a:lnTo>
                      <a:pt x="62817" y="24726"/>
                    </a:lnTo>
                    <a:lnTo>
                      <a:pt x="58344" y="33590"/>
                    </a:lnTo>
                    <a:lnTo>
                      <a:pt x="65589" y="52581"/>
                    </a:lnTo>
                    <a:lnTo>
                      <a:pt x="66357" y="54584"/>
                    </a:lnTo>
                    <a:lnTo>
                      <a:pt x="69842" y="54694"/>
                    </a:lnTo>
                    <a:lnTo>
                      <a:pt x="70830" y="52581"/>
                    </a:lnTo>
                    <a:lnTo>
                      <a:pt x="75743" y="41960"/>
                    </a:lnTo>
                    <a:lnTo>
                      <a:pt x="79365" y="40808"/>
                    </a:lnTo>
                    <a:lnTo>
                      <a:pt x="87708" y="52581"/>
                    </a:lnTo>
                    <a:lnTo>
                      <a:pt x="90891" y="57054"/>
                    </a:lnTo>
                    <a:lnTo>
                      <a:pt x="95721" y="58618"/>
                    </a:lnTo>
                    <a:lnTo>
                      <a:pt x="108948" y="62817"/>
                    </a:lnTo>
                    <a:lnTo>
                      <a:pt x="110952" y="65644"/>
                    </a:lnTo>
                    <a:lnTo>
                      <a:pt x="119130" y="77060"/>
                    </a:lnTo>
                    <a:lnTo>
                      <a:pt x="143582" y="91303"/>
                    </a:lnTo>
                    <a:lnTo>
                      <a:pt x="150635" y="98795"/>
                    </a:lnTo>
                    <a:lnTo>
                      <a:pt x="156699" y="105189"/>
                    </a:lnTo>
                    <a:lnTo>
                      <a:pt x="158071" y="110815"/>
                    </a:lnTo>
                    <a:lnTo>
                      <a:pt x="162270" y="127802"/>
                    </a:lnTo>
                    <a:lnTo>
                      <a:pt x="159389" y="137105"/>
                    </a:lnTo>
                    <a:lnTo>
                      <a:pt x="168939" y="135925"/>
                    </a:lnTo>
                    <a:lnTo>
                      <a:pt x="180684" y="140289"/>
                    </a:lnTo>
                    <a:lnTo>
                      <a:pt x="186585" y="135843"/>
                    </a:lnTo>
                    <a:lnTo>
                      <a:pt x="192348" y="141441"/>
                    </a:lnTo>
                    <a:lnTo>
                      <a:pt x="200114" y="157029"/>
                    </a:lnTo>
                    <a:lnTo>
                      <a:pt x="182853" y="175059"/>
                    </a:lnTo>
                    <a:lnTo>
                      <a:pt x="175882" y="175525"/>
                    </a:lnTo>
                    <a:lnTo>
                      <a:pt x="150497" y="162572"/>
                    </a:lnTo>
                    <a:lnTo>
                      <a:pt x="139328" y="161282"/>
                    </a:lnTo>
                    <a:lnTo>
                      <a:pt x="137874" y="158099"/>
                    </a:lnTo>
                    <a:lnTo>
                      <a:pt x="139493" y="151321"/>
                    </a:lnTo>
                    <a:lnTo>
                      <a:pt x="138505" y="147506"/>
                    </a:lnTo>
                    <a:lnTo>
                      <a:pt x="121655" y="142347"/>
                    </a:lnTo>
                    <a:lnTo>
                      <a:pt x="121956" y="131918"/>
                    </a:lnTo>
                    <a:lnTo>
                      <a:pt x="118307" y="129998"/>
                    </a:lnTo>
                    <a:lnTo>
                      <a:pt x="106314" y="135733"/>
                    </a:lnTo>
                    <a:lnTo>
                      <a:pt x="104009" y="141277"/>
                    </a:lnTo>
                    <a:lnTo>
                      <a:pt x="102308" y="155602"/>
                    </a:lnTo>
                    <a:lnTo>
                      <a:pt x="84607" y="167979"/>
                    </a:lnTo>
                    <a:lnTo>
                      <a:pt x="75715" y="185487"/>
                    </a:lnTo>
                    <a:lnTo>
                      <a:pt x="54035" y="198468"/>
                    </a:lnTo>
                    <a:lnTo>
                      <a:pt x="49260" y="197837"/>
                    </a:lnTo>
                    <a:lnTo>
                      <a:pt x="45336" y="190482"/>
                    </a:lnTo>
                    <a:lnTo>
                      <a:pt x="45336" y="168500"/>
                    </a:lnTo>
                    <a:cubicBezTo>
                      <a:pt x="45336" y="168500"/>
                      <a:pt x="43470" y="162956"/>
                      <a:pt x="43470" y="162956"/>
                    </a:cubicBezTo>
                    <a:lnTo>
                      <a:pt x="15780" y="164850"/>
                    </a:lnTo>
                    <a:lnTo>
                      <a:pt x="4363" y="169351"/>
                    </a:lnTo>
                    <a:lnTo>
                      <a:pt x="220" y="166277"/>
                    </a:lnTo>
                    <a:lnTo>
                      <a:pt x="0" y="160404"/>
                    </a:lnTo>
                    <a:lnTo>
                      <a:pt x="6147" y="148768"/>
                    </a:lnTo>
                    <a:lnTo>
                      <a:pt x="26400" y="132797"/>
                    </a:lnTo>
                    <a:lnTo>
                      <a:pt x="24122" y="110760"/>
                    </a:lnTo>
                    <a:lnTo>
                      <a:pt x="23272" y="102225"/>
                    </a:lnTo>
                    <a:lnTo>
                      <a:pt x="24040" y="98740"/>
                    </a:lnTo>
                    <a:lnTo>
                      <a:pt x="28870" y="77005"/>
                    </a:lnTo>
                    <a:lnTo>
                      <a:pt x="29474" y="65589"/>
                    </a:lnTo>
                    <a:lnTo>
                      <a:pt x="29831" y="58591"/>
                    </a:lnTo>
                    <a:lnTo>
                      <a:pt x="30160" y="52553"/>
                    </a:lnTo>
                    <a:lnTo>
                      <a:pt x="30434" y="47120"/>
                    </a:lnTo>
                    <a:lnTo>
                      <a:pt x="35868" y="207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 name="Freeform: Shape 3294">
                <a:extLst>
                  <a:ext uri="{FF2B5EF4-FFF2-40B4-BE49-F238E27FC236}">
                    <a16:creationId xmlns:a16="http://schemas.microsoft.com/office/drawing/2014/main" id="{A2871808-5EFB-43B3-245D-B41F4B41C3D9}"/>
                  </a:ext>
                </a:extLst>
              </p:cNvPr>
              <p:cNvSpPr/>
              <p:nvPr/>
            </p:nvSpPr>
            <p:spPr>
              <a:xfrm>
                <a:off x="1050289" y="3500178"/>
                <a:ext cx="19615" cy="27195"/>
              </a:xfrm>
              <a:custGeom>
                <a:avLst/>
                <a:gdLst>
                  <a:gd name="connsiteX0" fmla="*/ 51017 w 188066"/>
                  <a:gd name="connsiteY0" fmla="*/ 20061 h 260735"/>
                  <a:gd name="connsiteX1" fmla="*/ 52636 w 188066"/>
                  <a:gd name="connsiteY1" fmla="*/ 15972 h 260735"/>
                  <a:gd name="connsiteX2" fmla="*/ 63723 w 188066"/>
                  <a:gd name="connsiteY2" fmla="*/ 9468 h 260735"/>
                  <a:gd name="connsiteX3" fmla="*/ 70611 w 188066"/>
                  <a:gd name="connsiteY3" fmla="*/ 11993 h 260735"/>
                  <a:gd name="connsiteX4" fmla="*/ 73767 w 188066"/>
                  <a:gd name="connsiteY4" fmla="*/ 3211 h 260735"/>
                  <a:gd name="connsiteX5" fmla="*/ 78926 w 188066"/>
                  <a:gd name="connsiteY5" fmla="*/ 0 h 260735"/>
                  <a:gd name="connsiteX6" fmla="*/ 104640 w 188066"/>
                  <a:gd name="connsiteY6" fmla="*/ 21460 h 260735"/>
                  <a:gd name="connsiteX7" fmla="*/ 149153 w 188066"/>
                  <a:gd name="connsiteY7" fmla="*/ 6010 h 260735"/>
                  <a:gd name="connsiteX8" fmla="*/ 161090 w 188066"/>
                  <a:gd name="connsiteY8" fmla="*/ 6861 h 260735"/>
                  <a:gd name="connsiteX9" fmla="*/ 169378 w 188066"/>
                  <a:gd name="connsiteY9" fmla="*/ 27141 h 260735"/>
                  <a:gd name="connsiteX10" fmla="*/ 157825 w 188066"/>
                  <a:gd name="connsiteY10" fmla="*/ 41905 h 260735"/>
                  <a:gd name="connsiteX11" fmla="*/ 162106 w 188066"/>
                  <a:gd name="connsiteY11" fmla="*/ 51785 h 260735"/>
                  <a:gd name="connsiteX12" fmla="*/ 162600 w 188066"/>
                  <a:gd name="connsiteY12" fmla="*/ 59002 h 260735"/>
                  <a:gd name="connsiteX13" fmla="*/ 144131 w 188066"/>
                  <a:gd name="connsiteY13" fmla="*/ 70062 h 260735"/>
                  <a:gd name="connsiteX14" fmla="*/ 129641 w 188066"/>
                  <a:gd name="connsiteY14" fmla="*/ 91907 h 260735"/>
                  <a:gd name="connsiteX15" fmla="*/ 129641 w 188066"/>
                  <a:gd name="connsiteY15" fmla="*/ 97834 h 260735"/>
                  <a:gd name="connsiteX16" fmla="*/ 140618 w 188066"/>
                  <a:gd name="connsiteY16" fmla="*/ 90095 h 260735"/>
                  <a:gd name="connsiteX17" fmla="*/ 158291 w 188066"/>
                  <a:gd name="connsiteY17" fmla="*/ 100057 h 260735"/>
                  <a:gd name="connsiteX18" fmla="*/ 166469 w 188066"/>
                  <a:gd name="connsiteY18" fmla="*/ 122862 h 260735"/>
                  <a:gd name="connsiteX19" fmla="*/ 164164 w 188066"/>
                  <a:gd name="connsiteY19" fmla="*/ 133839 h 260735"/>
                  <a:gd name="connsiteX20" fmla="*/ 165097 w 188066"/>
                  <a:gd name="connsiteY20" fmla="*/ 137325 h 260735"/>
                  <a:gd name="connsiteX21" fmla="*/ 171930 w 188066"/>
                  <a:gd name="connsiteY21" fmla="*/ 128708 h 260735"/>
                  <a:gd name="connsiteX22" fmla="*/ 170887 w 188066"/>
                  <a:gd name="connsiteY22" fmla="*/ 119871 h 260735"/>
                  <a:gd name="connsiteX23" fmla="*/ 176431 w 188066"/>
                  <a:gd name="connsiteY23" fmla="*/ 109827 h 260735"/>
                  <a:gd name="connsiteX24" fmla="*/ 178544 w 188066"/>
                  <a:gd name="connsiteY24" fmla="*/ 122835 h 260735"/>
                  <a:gd name="connsiteX25" fmla="*/ 183484 w 188066"/>
                  <a:gd name="connsiteY25" fmla="*/ 130299 h 260735"/>
                  <a:gd name="connsiteX26" fmla="*/ 188067 w 188066"/>
                  <a:gd name="connsiteY26" fmla="*/ 152748 h 260735"/>
                  <a:gd name="connsiteX27" fmla="*/ 179861 w 188066"/>
                  <a:gd name="connsiteY27" fmla="*/ 167073 h 260735"/>
                  <a:gd name="connsiteX28" fmla="*/ 182935 w 188066"/>
                  <a:gd name="connsiteY28" fmla="*/ 179642 h 260735"/>
                  <a:gd name="connsiteX29" fmla="*/ 183456 w 188066"/>
                  <a:gd name="connsiteY29" fmla="*/ 192869 h 260735"/>
                  <a:gd name="connsiteX30" fmla="*/ 180355 w 188066"/>
                  <a:gd name="connsiteY30" fmla="*/ 212381 h 260735"/>
                  <a:gd name="connsiteX31" fmla="*/ 171464 w 188066"/>
                  <a:gd name="connsiteY31" fmla="*/ 213781 h 260735"/>
                  <a:gd name="connsiteX32" fmla="*/ 169735 w 188066"/>
                  <a:gd name="connsiteY32" fmla="*/ 221575 h 260735"/>
                  <a:gd name="connsiteX33" fmla="*/ 154257 w 188066"/>
                  <a:gd name="connsiteY33" fmla="*/ 230823 h 260735"/>
                  <a:gd name="connsiteX34" fmla="*/ 132632 w 188066"/>
                  <a:gd name="connsiteY34" fmla="*/ 227585 h 260735"/>
                  <a:gd name="connsiteX35" fmla="*/ 135212 w 188066"/>
                  <a:gd name="connsiteY35" fmla="*/ 243556 h 260735"/>
                  <a:gd name="connsiteX36" fmla="*/ 120310 w 188066"/>
                  <a:gd name="connsiteY36" fmla="*/ 260736 h 260735"/>
                  <a:gd name="connsiteX37" fmla="*/ 103268 w 188066"/>
                  <a:gd name="connsiteY37" fmla="*/ 254204 h 260735"/>
                  <a:gd name="connsiteX38" fmla="*/ 89025 w 188066"/>
                  <a:gd name="connsiteY38" fmla="*/ 217733 h 260735"/>
                  <a:gd name="connsiteX39" fmla="*/ 60237 w 188066"/>
                  <a:gd name="connsiteY39" fmla="*/ 178517 h 260735"/>
                  <a:gd name="connsiteX40" fmla="*/ 51950 w 188066"/>
                  <a:gd name="connsiteY40" fmla="*/ 177446 h 260735"/>
                  <a:gd name="connsiteX41" fmla="*/ 44293 w 188066"/>
                  <a:gd name="connsiteY41" fmla="*/ 164575 h 260735"/>
                  <a:gd name="connsiteX42" fmla="*/ 37569 w 188066"/>
                  <a:gd name="connsiteY42" fmla="*/ 172205 h 260735"/>
                  <a:gd name="connsiteX43" fmla="*/ 31916 w 188066"/>
                  <a:gd name="connsiteY43" fmla="*/ 166853 h 260735"/>
                  <a:gd name="connsiteX44" fmla="*/ 26537 w 188066"/>
                  <a:gd name="connsiteY44" fmla="*/ 165893 h 260735"/>
                  <a:gd name="connsiteX45" fmla="*/ 22366 w 188066"/>
                  <a:gd name="connsiteY45" fmla="*/ 148000 h 260735"/>
                  <a:gd name="connsiteX46" fmla="*/ 5461 w 188066"/>
                  <a:gd name="connsiteY46" fmla="*/ 132934 h 260735"/>
                  <a:gd name="connsiteX47" fmla="*/ 576 w 188066"/>
                  <a:gd name="connsiteY47" fmla="*/ 125030 h 260735"/>
                  <a:gd name="connsiteX48" fmla="*/ 0 w 188066"/>
                  <a:gd name="connsiteY48" fmla="*/ 116578 h 260735"/>
                  <a:gd name="connsiteX49" fmla="*/ 6230 w 188066"/>
                  <a:gd name="connsiteY49" fmla="*/ 95941 h 260735"/>
                  <a:gd name="connsiteX50" fmla="*/ 13721 w 188066"/>
                  <a:gd name="connsiteY50" fmla="*/ 88723 h 260735"/>
                  <a:gd name="connsiteX51" fmla="*/ 23711 w 188066"/>
                  <a:gd name="connsiteY51" fmla="*/ 89766 h 260735"/>
                  <a:gd name="connsiteX52" fmla="*/ 30379 w 188066"/>
                  <a:gd name="connsiteY52" fmla="*/ 105354 h 260735"/>
                  <a:gd name="connsiteX53" fmla="*/ 31916 w 188066"/>
                  <a:gd name="connsiteY53" fmla="*/ 106012 h 260735"/>
                  <a:gd name="connsiteX54" fmla="*/ 42921 w 188066"/>
                  <a:gd name="connsiteY54" fmla="*/ 123823 h 260735"/>
                  <a:gd name="connsiteX55" fmla="*/ 52004 w 188066"/>
                  <a:gd name="connsiteY55" fmla="*/ 126759 h 260735"/>
                  <a:gd name="connsiteX56" fmla="*/ 69239 w 188066"/>
                  <a:gd name="connsiteY56" fmla="*/ 118471 h 260735"/>
                  <a:gd name="connsiteX57" fmla="*/ 67482 w 188066"/>
                  <a:gd name="connsiteY57" fmla="*/ 101018 h 260735"/>
                  <a:gd name="connsiteX58" fmla="*/ 68196 w 188066"/>
                  <a:gd name="connsiteY58" fmla="*/ 98822 h 260735"/>
                  <a:gd name="connsiteX59" fmla="*/ 73382 w 188066"/>
                  <a:gd name="connsiteY59" fmla="*/ 107302 h 260735"/>
                  <a:gd name="connsiteX60" fmla="*/ 75523 w 188066"/>
                  <a:gd name="connsiteY60" fmla="*/ 105463 h 260735"/>
                  <a:gd name="connsiteX61" fmla="*/ 72889 w 188066"/>
                  <a:gd name="connsiteY61" fmla="*/ 91083 h 260735"/>
                  <a:gd name="connsiteX62" fmla="*/ 69842 w 188066"/>
                  <a:gd name="connsiteY62" fmla="*/ 95200 h 260735"/>
                  <a:gd name="connsiteX63" fmla="*/ 64409 w 188066"/>
                  <a:gd name="connsiteY63" fmla="*/ 80874 h 260735"/>
                  <a:gd name="connsiteX64" fmla="*/ 68772 w 188066"/>
                  <a:gd name="connsiteY64" fmla="*/ 70227 h 260735"/>
                  <a:gd name="connsiteX65" fmla="*/ 73108 w 188066"/>
                  <a:gd name="connsiteY65" fmla="*/ 70117 h 260735"/>
                  <a:gd name="connsiteX66" fmla="*/ 73410 w 188066"/>
                  <a:gd name="connsiteY66" fmla="*/ 66796 h 260735"/>
                  <a:gd name="connsiteX67" fmla="*/ 70528 w 188066"/>
                  <a:gd name="connsiteY67" fmla="*/ 59743 h 260735"/>
                  <a:gd name="connsiteX68" fmla="*/ 62296 w 188066"/>
                  <a:gd name="connsiteY68" fmla="*/ 68415 h 260735"/>
                  <a:gd name="connsiteX69" fmla="*/ 53871 w 188066"/>
                  <a:gd name="connsiteY69" fmla="*/ 69623 h 260735"/>
                  <a:gd name="connsiteX70" fmla="*/ 35456 w 188066"/>
                  <a:gd name="connsiteY70" fmla="*/ 51017 h 260735"/>
                  <a:gd name="connsiteX71" fmla="*/ 35347 w 188066"/>
                  <a:gd name="connsiteY71" fmla="*/ 47586 h 260735"/>
                  <a:gd name="connsiteX72" fmla="*/ 38749 w 188066"/>
                  <a:gd name="connsiteY72" fmla="*/ 41027 h 260735"/>
                  <a:gd name="connsiteX73" fmla="*/ 51017 w 188066"/>
                  <a:gd name="connsiteY73" fmla="*/ 36993 h 260735"/>
                  <a:gd name="connsiteX74" fmla="*/ 60594 w 188066"/>
                  <a:gd name="connsiteY74" fmla="*/ 47120 h 260735"/>
                  <a:gd name="connsiteX75" fmla="*/ 62351 w 188066"/>
                  <a:gd name="connsiteY75" fmla="*/ 44403 h 260735"/>
                  <a:gd name="connsiteX76" fmla="*/ 62268 w 188066"/>
                  <a:gd name="connsiteY76" fmla="*/ 37789 h 260735"/>
                  <a:gd name="connsiteX77" fmla="*/ 51373 w 188066"/>
                  <a:gd name="connsiteY77" fmla="*/ 26510 h 260735"/>
                  <a:gd name="connsiteX78" fmla="*/ 50962 w 188066"/>
                  <a:gd name="connsiteY78" fmla="*/ 19979 h 26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88066" h="260735">
                    <a:moveTo>
                      <a:pt x="51017" y="20061"/>
                    </a:moveTo>
                    <a:lnTo>
                      <a:pt x="52636" y="15972"/>
                    </a:lnTo>
                    <a:lnTo>
                      <a:pt x="63723" y="9468"/>
                    </a:lnTo>
                    <a:lnTo>
                      <a:pt x="70611" y="11993"/>
                    </a:lnTo>
                    <a:lnTo>
                      <a:pt x="73767" y="3211"/>
                    </a:lnTo>
                    <a:lnTo>
                      <a:pt x="78926" y="0"/>
                    </a:lnTo>
                    <a:lnTo>
                      <a:pt x="104640" y="21460"/>
                    </a:lnTo>
                    <a:lnTo>
                      <a:pt x="149153" y="6010"/>
                    </a:lnTo>
                    <a:lnTo>
                      <a:pt x="161090" y="6861"/>
                    </a:lnTo>
                    <a:lnTo>
                      <a:pt x="169378" y="27141"/>
                    </a:lnTo>
                    <a:lnTo>
                      <a:pt x="157825" y="41905"/>
                    </a:lnTo>
                    <a:lnTo>
                      <a:pt x="162106" y="51785"/>
                    </a:lnTo>
                    <a:lnTo>
                      <a:pt x="162600" y="59002"/>
                    </a:lnTo>
                    <a:lnTo>
                      <a:pt x="144131" y="70062"/>
                    </a:lnTo>
                    <a:lnTo>
                      <a:pt x="129641" y="91907"/>
                    </a:lnTo>
                    <a:lnTo>
                      <a:pt x="129641" y="97834"/>
                    </a:lnTo>
                    <a:cubicBezTo>
                      <a:pt x="129641" y="97834"/>
                      <a:pt x="140618" y="90095"/>
                      <a:pt x="140618" y="90095"/>
                    </a:cubicBezTo>
                    <a:lnTo>
                      <a:pt x="158291" y="100057"/>
                    </a:lnTo>
                    <a:lnTo>
                      <a:pt x="166469" y="122862"/>
                    </a:lnTo>
                    <a:lnTo>
                      <a:pt x="164164" y="133839"/>
                    </a:lnTo>
                    <a:lnTo>
                      <a:pt x="165097" y="137325"/>
                    </a:lnTo>
                    <a:lnTo>
                      <a:pt x="171930" y="128708"/>
                    </a:lnTo>
                    <a:lnTo>
                      <a:pt x="170887" y="119871"/>
                    </a:lnTo>
                    <a:lnTo>
                      <a:pt x="176431" y="109827"/>
                    </a:lnTo>
                    <a:lnTo>
                      <a:pt x="178544" y="122835"/>
                    </a:lnTo>
                    <a:lnTo>
                      <a:pt x="183484" y="130299"/>
                    </a:lnTo>
                    <a:lnTo>
                      <a:pt x="188067" y="152748"/>
                    </a:lnTo>
                    <a:lnTo>
                      <a:pt x="179861" y="167073"/>
                    </a:lnTo>
                    <a:lnTo>
                      <a:pt x="182935" y="179642"/>
                    </a:lnTo>
                    <a:lnTo>
                      <a:pt x="183456" y="192869"/>
                    </a:lnTo>
                    <a:lnTo>
                      <a:pt x="180355" y="212381"/>
                    </a:lnTo>
                    <a:lnTo>
                      <a:pt x="171464" y="213781"/>
                    </a:lnTo>
                    <a:lnTo>
                      <a:pt x="169735" y="221575"/>
                    </a:lnTo>
                    <a:lnTo>
                      <a:pt x="154257" y="230823"/>
                    </a:lnTo>
                    <a:lnTo>
                      <a:pt x="132632" y="227585"/>
                    </a:lnTo>
                    <a:lnTo>
                      <a:pt x="135212" y="243556"/>
                    </a:lnTo>
                    <a:lnTo>
                      <a:pt x="120310" y="260736"/>
                    </a:lnTo>
                    <a:lnTo>
                      <a:pt x="103268" y="254204"/>
                    </a:lnTo>
                    <a:lnTo>
                      <a:pt x="89025" y="217733"/>
                    </a:lnTo>
                    <a:lnTo>
                      <a:pt x="60237" y="178517"/>
                    </a:lnTo>
                    <a:lnTo>
                      <a:pt x="51950" y="177446"/>
                    </a:lnTo>
                    <a:lnTo>
                      <a:pt x="44293" y="164575"/>
                    </a:lnTo>
                    <a:lnTo>
                      <a:pt x="37569" y="172205"/>
                    </a:lnTo>
                    <a:lnTo>
                      <a:pt x="31916" y="166853"/>
                    </a:lnTo>
                    <a:lnTo>
                      <a:pt x="26537" y="165893"/>
                    </a:lnTo>
                    <a:lnTo>
                      <a:pt x="22366" y="148000"/>
                    </a:lnTo>
                    <a:lnTo>
                      <a:pt x="5461" y="132934"/>
                    </a:lnTo>
                    <a:lnTo>
                      <a:pt x="576" y="125030"/>
                    </a:lnTo>
                    <a:lnTo>
                      <a:pt x="0" y="116578"/>
                    </a:lnTo>
                    <a:lnTo>
                      <a:pt x="6230" y="95941"/>
                    </a:lnTo>
                    <a:lnTo>
                      <a:pt x="13721" y="88723"/>
                    </a:lnTo>
                    <a:lnTo>
                      <a:pt x="23711" y="89766"/>
                    </a:lnTo>
                    <a:lnTo>
                      <a:pt x="30379" y="105354"/>
                    </a:lnTo>
                    <a:lnTo>
                      <a:pt x="31916" y="106012"/>
                    </a:lnTo>
                    <a:lnTo>
                      <a:pt x="42921" y="123823"/>
                    </a:lnTo>
                    <a:lnTo>
                      <a:pt x="52004" y="126759"/>
                    </a:lnTo>
                    <a:lnTo>
                      <a:pt x="69239" y="118471"/>
                    </a:lnTo>
                    <a:lnTo>
                      <a:pt x="67482" y="101018"/>
                    </a:lnTo>
                    <a:lnTo>
                      <a:pt x="68196" y="98822"/>
                    </a:lnTo>
                    <a:lnTo>
                      <a:pt x="73382" y="107302"/>
                    </a:lnTo>
                    <a:lnTo>
                      <a:pt x="75523" y="105463"/>
                    </a:lnTo>
                    <a:lnTo>
                      <a:pt x="72889" y="91083"/>
                    </a:lnTo>
                    <a:lnTo>
                      <a:pt x="69842" y="95200"/>
                    </a:lnTo>
                    <a:lnTo>
                      <a:pt x="64409" y="80874"/>
                    </a:lnTo>
                    <a:lnTo>
                      <a:pt x="68772" y="70227"/>
                    </a:lnTo>
                    <a:lnTo>
                      <a:pt x="73108" y="70117"/>
                    </a:lnTo>
                    <a:lnTo>
                      <a:pt x="73410" y="66796"/>
                    </a:lnTo>
                    <a:lnTo>
                      <a:pt x="70528" y="59743"/>
                    </a:lnTo>
                    <a:lnTo>
                      <a:pt x="62296" y="68415"/>
                    </a:lnTo>
                    <a:lnTo>
                      <a:pt x="53871" y="69623"/>
                    </a:lnTo>
                    <a:lnTo>
                      <a:pt x="35456" y="51017"/>
                    </a:lnTo>
                    <a:lnTo>
                      <a:pt x="35347" y="47586"/>
                    </a:lnTo>
                    <a:lnTo>
                      <a:pt x="38749" y="41027"/>
                    </a:lnTo>
                    <a:lnTo>
                      <a:pt x="51017" y="36993"/>
                    </a:lnTo>
                    <a:lnTo>
                      <a:pt x="60594" y="47120"/>
                    </a:lnTo>
                    <a:lnTo>
                      <a:pt x="62351" y="44403"/>
                    </a:lnTo>
                    <a:lnTo>
                      <a:pt x="62268" y="37789"/>
                    </a:lnTo>
                    <a:lnTo>
                      <a:pt x="51373" y="26510"/>
                    </a:lnTo>
                    <a:lnTo>
                      <a:pt x="50962" y="199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 name="Freeform: Shape 3295">
                <a:extLst>
                  <a:ext uri="{FF2B5EF4-FFF2-40B4-BE49-F238E27FC236}">
                    <a16:creationId xmlns:a16="http://schemas.microsoft.com/office/drawing/2014/main" id="{9BEFFB7B-50A1-0B04-2D63-9718E8ECA18B}"/>
                  </a:ext>
                </a:extLst>
              </p:cNvPr>
              <p:cNvSpPr/>
              <p:nvPr/>
            </p:nvSpPr>
            <p:spPr>
              <a:xfrm>
                <a:off x="988234" y="3455202"/>
                <a:ext cx="22904" cy="23915"/>
              </a:xfrm>
              <a:custGeom>
                <a:avLst/>
                <a:gdLst>
                  <a:gd name="connsiteX0" fmla="*/ 177309 w 219598"/>
                  <a:gd name="connsiteY0" fmla="*/ 13886 h 229286"/>
                  <a:gd name="connsiteX1" fmla="*/ 177309 w 219598"/>
                  <a:gd name="connsiteY1" fmla="*/ 9221 h 229286"/>
                  <a:gd name="connsiteX2" fmla="*/ 184088 w 219598"/>
                  <a:gd name="connsiteY2" fmla="*/ 0 h 229286"/>
                  <a:gd name="connsiteX3" fmla="*/ 199428 w 219598"/>
                  <a:gd name="connsiteY3" fmla="*/ 1674 h 229286"/>
                  <a:gd name="connsiteX4" fmla="*/ 219599 w 219598"/>
                  <a:gd name="connsiteY4" fmla="*/ 27937 h 229286"/>
                  <a:gd name="connsiteX5" fmla="*/ 217815 w 219598"/>
                  <a:gd name="connsiteY5" fmla="*/ 35676 h 229286"/>
                  <a:gd name="connsiteX6" fmla="*/ 197178 w 219598"/>
                  <a:gd name="connsiteY6" fmla="*/ 47037 h 229286"/>
                  <a:gd name="connsiteX7" fmla="*/ 195998 w 219598"/>
                  <a:gd name="connsiteY7" fmla="*/ 55325 h 229286"/>
                  <a:gd name="connsiteX8" fmla="*/ 199428 w 219598"/>
                  <a:gd name="connsiteY8" fmla="*/ 67235 h 229286"/>
                  <a:gd name="connsiteX9" fmla="*/ 209088 w 219598"/>
                  <a:gd name="connsiteY9" fmla="*/ 76566 h 229286"/>
                  <a:gd name="connsiteX10" fmla="*/ 209088 w 219598"/>
                  <a:gd name="connsiteY10" fmla="*/ 81121 h 229286"/>
                  <a:gd name="connsiteX11" fmla="*/ 206289 w 219598"/>
                  <a:gd name="connsiteY11" fmla="*/ 84332 h 229286"/>
                  <a:gd name="connsiteX12" fmla="*/ 196739 w 219598"/>
                  <a:gd name="connsiteY12" fmla="*/ 78706 h 229286"/>
                  <a:gd name="connsiteX13" fmla="*/ 196300 w 219598"/>
                  <a:gd name="connsiteY13" fmla="*/ 87296 h 229286"/>
                  <a:gd name="connsiteX14" fmla="*/ 204176 w 219598"/>
                  <a:gd name="connsiteY14" fmla="*/ 94623 h 229286"/>
                  <a:gd name="connsiteX15" fmla="*/ 206673 w 219598"/>
                  <a:gd name="connsiteY15" fmla="*/ 107028 h 229286"/>
                  <a:gd name="connsiteX16" fmla="*/ 199428 w 219598"/>
                  <a:gd name="connsiteY16" fmla="*/ 121682 h 229286"/>
                  <a:gd name="connsiteX17" fmla="*/ 176403 w 219598"/>
                  <a:gd name="connsiteY17" fmla="*/ 128625 h 229286"/>
                  <a:gd name="connsiteX18" fmla="*/ 174839 w 219598"/>
                  <a:gd name="connsiteY18" fmla="*/ 133373 h 229286"/>
                  <a:gd name="connsiteX19" fmla="*/ 176211 w 219598"/>
                  <a:gd name="connsiteY19" fmla="*/ 140590 h 229286"/>
                  <a:gd name="connsiteX20" fmla="*/ 174839 w 219598"/>
                  <a:gd name="connsiteY20" fmla="*/ 156892 h 229286"/>
                  <a:gd name="connsiteX21" fmla="*/ 164685 w 219598"/>
                  <a:gd name="connsiteY21" fmla="*/ 165344 h 229286"/>
                  <a:gd name="connsiteX22" fmla="*/ 150580 w 219598"/>
                  <a:gd name="connsiteY22" fmla="*/ 155986 h 229286"/>
                  <a:gd name="connsiteX23" fmla="*/ 145064 w 219598"/>
                  <a:gd name="connsiteY23" fmla="*/ 146518 h 229286"/>
                  <a:gd name="connsiteX24" fmla="*/ 145311 w 219598"/>
                  <a:gd name="connsiteY24" fmla="*/ 140590 h 229286"/>
                  <a:gd name="connsiteX25" fmla="*/ 147945 w 219598"/>
                  <a:gd name="connsiteY25" fmla="*/ 128076 h 229286"/>
                  <a:gd name="connsiteX26" fmla="*/ 148247 w 219598"/>
                  <a:gd name="connsiteY26" fmla="*/ 113504 h 229286"/>
                  <a:gd name="connsiteX27" fmla="*/ 151869 w 219598"/>
                  <a:gd name="connsiteY27" fmla="*/ 105930 h 229286"/>
                  <a:gd name="connsiteX28" fmla="*/ 152144 w 219598"/>
                  <a:gd name="connsiteY28" fmla="*/ 97230 h 229286"/>
                  <a:gd name="connsiteX29" fmla="*/ 138697 w 219598"/>
                  <a:gd name="connsiteY29" fmla="*/ 101018 h 229286"/>
                  <a:gd name="connsiteX30" fmla="*/ 133675 w 219598"/>
                  <a:gd name="connsiteY30" fmla="*/ 109004 h 229286"/>
                  <a:gd name="connsiteX31" fmla="*/ 135925 w 219598"/>
                  <a:gd name="connsiteY31" fmla="*/ 120200 h 229286"/>
                  <a:gd name="connsiteX32" fmla="*/ 134196 w 219598"/>
                  <a:gd name="connsiteY32" fmla="*/ 129009 h 229286"/>
                  <a:gd name="connsiteX33" fmla="*/ 120941 w 219598"/>
                  <a:gd name="connsiteY33" fmla="*/ 133181 h 229286"/>
                  <a:gd name="connsiteX34" fmla="*/ 120502 w 219598"/>
                  <a:gd name="connsiteY34" fmla="*/ 136419 h 229286"/>
                  <a:gd name="connsiteX35" fmla="*/ 128022 w 219598"/>
                  <a:gd name="connsiteY35" fmla="*/ 147616 h 229286"/>
                  <a:gd name="connsiteX36" fmla="*/ 127939 w 219598"/>
                  <a:gd name="connsiteY36" fmla="*/ 158703 h 229286"/>
                  <a:gd name="connsiteX37" fmla="*/ 119020 w 219598"/>
                  <a:gd name="connsiteY37" fmla="*/ 164576 h 229286"/>
                  <a:gd name="connsiteX38" fmla="*/ 117922 w 219598"/>
                  <a:gd name="connsiteY38" fmla="*/ 179971 h 229286"/>
                  <a:gd name="connsiteX39" fmla="*/ 111638 w 219598"/>
                  <a:gd name="connsiteY39" fmla="*/ 183923 h 229286"/>
                  <a:gd name="connsiteX40" fmla="*/ 100524 w 219598"/>
                  <a:gd name="connsiteY40" fmla="*/ 156645 h 229286"/>
                  <a:gd name="connsiteX41" fmla="*/ 97697 w 219598"/>
                  <a:gd name="connsiteY41" fmla="*/ 165124 h 229286"/>
                  <a:gd name="connsiteX42" fmla="*/ 101210 w 219598"/>
                  <a:gd name="connsiteY42" fmla="*/ 199510 h 229286"/>
                  <a:gd name="connsiteX43" fmla="*/ 92483 w 219598"/>
                  <a:gd name="connsiteY43" fmla="*/ 213232 h 229286"/>
                  <a:gd name="connsiteX44" fmla="*/ 82274 w 219598"/>
                  <a:gd name="connsiteY44" fmla="*/ 210625 h 229286"/>
                  <a:gd name="connsiteX45" fmla="*/ 77032 w 219598"/>
                  <a:gd name="connsiteY45" fmla="*/ 219736 h 229286"/>
                  <a:gd name="connsiteX46" fmla="*/ 73053 w 219598"/>
                  <a:gd name="connsiteY46" fmla="*/ 215894 h 229286"/>
                  <a:gd name="connsiteX47" fmla="*/ 73136 w 219598"/>
                  <a:gd name="connsiteY47" fmla="*/ 198001 h 229286"/>
                  <a:gd name="connsiteX48" fmla="*/ 66933 w 219598"/>
                  <a:gd name="connsiteY48" fmla="*/ 195559 h 229286"/>
                  <a:gd name="connsiteX49" fmla="*/ 64134 w 219598"/>
                  <a:gd name="connsiteY49" fmla="*/ 176596 h 229286"/>
                  <a:gd name="connsiteX50" fmla="*/ 60649 w 219598"/>
                  <a:gd name="connsiteY50" fmla="*/ 173275 h 229286"/>
                  <a:gd name="connsiteX51" fmla="*/ 56560 w 219598"/>
                  <a:gd name="connsiteY51" fmla="*/ 186009 h 229286"/>
                  <a:gd name="connsiteX52" fmla="*/ 61335 w 219598"/>
                  <a:gd name="connsiteY52" fmla="*/ 210982 h 229286"/>
                  <a:gd name="connsiteX53" fmla="*/ 54968 w 219598"/>
                  <a:gd name="connsiteY53" fmla="*/ 229286 h 229286"/>
                  <a:gd name="connsiteX54" fmla="*/ 52608 w 219598"/>
                  <a:gd name="connsiteY54" fmla="*/ 227475 h 229286"/>
                  <a:gd name="connsiteX55" fmla="*/ 52526 w 219598"/>
                  <a:gd name="connsiteY55" fmla="*/ 223331 h 229286"/>
                  <a:gd name="connsiteX56" fmla="*/ 56258 w 219598"/>
                  <a:gd name="connsiteY56" fmla="*/ 218062 h 229286"/>
                  <a:gd name="connsiteX57" fmla="*/ 57191 w 219598"/>
                  <a:gd name="connsiteY57" fmla="*/ 203874 h 229286"/>
                  <a:gd name="connsiteX58" fmla="*/ 55901 w 219598"/>
                  <a:gd name="connsiteY58" fmla="*/ 197891 h 229286"/>
                  <a:gd name="connsiteX59" fmla="*/ 47888 w 219598"/>
                  <a:gd name="connsiteY59" fmla="*/ 207414 h 229286"/>
                  <a:gd name="connsiteX60" fmla="*/ 39079 w 219598"/>
                  <a:gd name="connsiteY60" fmla="*/ 195861 h 229286"/>
                  <a:gd name="connsiteX61" fmla="*/ 24781 w 219598"/>
                  <a:gd name="connsiteY61" fmla="*/ 193253 h 229286"/>
                  <a:gd name="connsiteX62" fmla="*/ 16932 w 219598"/>
                  <a:gd name="connsiteY62" fmla="*/ 212573 h 229286"/>
                  <a:gd name="connsiteX63" fmla="*/ 11800 w 219598"/>
                  <a:gd name="connsiteY63" fmla="*/ 210680 h 229286"/>
                  <a:gd name="connsiteX64" fmla="*/ 9413 w 219598"/>
                  <a:gd name="connsiteY64" fmla="*/ 206975 h 229286"/>
                  <a:gd name="connsiteX65" fmla="*/ 7959 w 219598"/>
                  <a:gd name="connsiteY65" fmla="*/ 192567 h 229286"/>
                  <a:gd name="connsiteX66" fmla="*/ 12020 w 219598"/>
                  <a:gd name="connsiteY66" fmla="*/ 190399 h 229286"/>
                  <a:gd name="connsiteX67" fmla="*/ 12459 w 219598"/>
                  <a:gd name="connsiteY67" fmla="*/ 184774 h 229286"/>
                  <a:gd name="connsiteX68" fmla="*/ 7904 w 219598"/>
                  <a:gd name="connsiteY68" fmla="*/ 177638 h 229286"/>
                  <a:gd name="connsiteX69" fmla="*/ 960 w 219598"/>
                  <a:gd name="connsiteY69" fmla="*/ 184005 h 229286"/>
                  <a:gd name="connsiteX70" fmla="*/ 0 w 219598"/>
                  <a:gd name="connsiteY70" fmla="*/ 179285 h 229286"/>
                  <a:gd name="connsiteX71" fmla="*/ 10703 w 219598"/>
                  <a:gd name="connsiteY71" fmla="*/ 154778 h 229286"/>
                  <a:gd name="connsiteX72" fmla="*/ 29501 w 219598"/>
                  <a:gd name="connsiteY72" fmla="*/ 142868 h 229286"/>
                  <a:gd name="connsiteX73" fmla="*/ 35539 w 219598"/>
                  <a:gd name="connsiteY73" fmla="*/ 145695 h 229286"/>
                  <a:gd name="connsiteX74" fmla="*/ 43031 w 219598"/>
                  <a:gd name="connsiteY74" fmla="*/ 140618 h 229286"/>
                  <a:gd name="connsiteX75" fmla="*/ 52142 w 219598"/>
                  <a:gd name="connsiteY75" fmla="*/ 112736 h 229286"/>
                  <a:gd name="connsiteX76" fmla="*/ 73547 w 219598"/>
                  <a:gd name="connsiteY76" fmla="*/ 98658 h 229286"/>
                  <a:gd name="connsiteX77" fmla="*/ 76703 w 219598"/>
                  <a:gd name="connsiteY77" fmla="*/ 86198 h 229286"/>
                  <a:gd name="connsiteX78" fmla="*/ 104366 w 219598"/>
                  <a:gd name="connsiteY78" fmla="*/ 47476 h 229286"/>
                  <a:gd name="connsiteX79" fmla="*/ 111611 w 219598"/>
                  <a:gd name="connsiteY79" fmla="*/ 28596 h 229286"/>
                  <a:gd name="connsiteX80" fmla="*/ 144048 w 219598"/>
                  <a:gd name="connsiteY80" fmla="*/ 19539 h 229286"/>
                  <a:gd name="connsiteX81" fmla="*/ 168829 w 219598"/>
                  <a:gd name="connsiteY81" fmla="*/ 32438 h 229286"/>
                  <a:gd name="connsiteX82" fmla="*/ 181535 w 219598"/>
                  <a:gd name="connsiteY82" fmla="*/ 26757 h 229286"/>
                  <a:gd name="connsiteX83" fmla="*/ 181947 w 219598"/>
                  <a:gd name="connsiteY83" fmla="*/ 20472 h 229286"/>
                  <a:gd name="connsiteX84" fmla="*/ 177254 w 219598"/>
                  <a:gd name="connsiteY84" fmla="*/ 13968 h 229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19598" h="229286">
                    <a:moveTo>
                      <a:pt x="177309" y="13886"/>
                    </a:moveTo>
                    <a:lnTo>
                      <a:pt x="177309" y="9221"/>
                    </a:lnTo>
                    <a:lnTo>
                      <a:pt x="184088" y="0"/>
                    </a:lnTo>
                    <a:lnTo>
                      <a:pt x="199428" y="1674"/>
                    </a:lnTo>
                    <a:lnTo>
                      <a:pt x="219599" y="27937"/>
                    </a:lnTo>
                    <a:lnTo>
                      <a:pt x="217815" y="35676"/>
                    </a:lnTo>
                    <a:lnTo>
                      <a:pt x="197178" y="47037"/>
                    </a:lnTo>
                    <a:lnTo>
                      <a:pt x="195998" y="55325"/>
                    </a:lnTo>
                    <a:lnTo>
                      <a:pt x="199428" y="67235"/>
                    </a:lnTo>
                    <a:lnTo>
                      <a:pt x="209088" y="76566"/>
                    </a:lnTo>
                    <a:lnTo>
                      <a:pt x="209088" y="81121"/>
                    </a:lnTo>
                    <a:lnTo>
                      <a:pt x="206289" y="84332"/>
                    </a:lnTo>
                    <a:lnTo>
                      <a:pt x="196739" y="78706"/>
                    </a:lnTo>
                    <a:lnTo>
                      <a:pt x="196300" y="87296"/>
                    </a:lnTo>
                    <a:lnTo>
                      <a:pt x="204176" y="94623"/>
                    </a:lnTo>
                    <a:lnTo>
                      <a:pt x="206673" y="107028"/>
                    </a:lnTo>
                    <a:lnTo>
                      <a:pt x="199428" y="121682"/>
                    </a:lnTo>
                    <a:lnTo>
                      <a:pt x="176403" y="128625"/>
                    </a:lnTo>
                    <a:lnTo>
                      <a:pt x="174839" y="133373"/>
                    </a:lnTo>
                    <a:lnTo>
                      <a:pt x="176211" y="140590"/>
                    </a:lnTo>
                    <a:lnTo>
                      <a:pt x="174839" y="156892"/>
                    </a:lnTo>
                    <a:lnTo>
                      <a:pt x="164685" y="165344"/>
                    </a:lnTo>
                    <a:lnTo>
                      <a:pt x="150580" y="155986"/>
                    </a:lnTo>
                    <a:lnTo>
                      <a:pt x="145064" y="146518"/>
                    </a:lnTo>
                    <a:lnTo>
                      <a:pt x="145311" y="140590"/>
                    </a:lnTo>
                    <a:lnTo>
                      <a:pt x="147945" y="128076"/>
                    </a:lnTo>
                    <a:lnTo>
                      <a:pt x="148247" y="113504"/>
                    </a:lnTo>
                    <a:lnTo>
                      <a:pt x="151869" y="105930"/>
                    </a:lnTo>
                    <a:lnTo>
                      <a:pt x="152144" y="97230"/>
                    </a:lnTo>
                    <a:lnTo>
                      <a:pt x="138697" y="101018"/>
                    </a:lnTo>
                    <a:lnTo>
                      <a:pt x="133675" y="109004"/>
                    </a:lnTo>
                    <a:lnTo>
                      <a:pt x="135925" y="120200"/>
                    </a:lnTo>
                    <a:lnTo>
                      <a:pt x="134196" y="129009"/>
                    </a:lnTo>
                    <a:lnTo>
                      <a:pt x="120941" y="133181"/>
                    </a:lnTo>
                    <a:lnTo>
                      <a:pt x="120502" y="136419"/>
                    </a:lnTo>
                    <a:lnTo>
                      <a:pt x="128022" y="147616"/>
                    </a:lnTo>
                    <a:lnTo>
                      <a:pt x="127939" y="158703"/>
                    </a:lnTo>
                    <a:lnTo>
                      <a:pt x="119020" y="164576"/>
                    </a:lnTo>
                    <a:lnTo>
                      <a:pt x="117922" y="179971"/>
                    </a:lnTo>
                    <a:lnTo>
                      <a:pt x="111638" y="183923"/>
                    </a:lnTo>
                    <a:lnTo>
                      <a:pt x="100524" y="156645"/>
                    </a:lnTo>
                    <a:lnTo>
                      <a:pt x="97697" y="165124"/>
                    </a:lnTo>
                    <a:lnTo>
                      <a:pt x="101210" y="199510"/>
                    </a:lnTo>
                    <a:lnTo>
                      <a:pt x="92483" y="213232"/>
                    </a:lnTo>
                    <a:lnTo>
                      <a:pt x="82274" y="210625"/>
                    </a:lnTo>
                    <a:lnTo>
                      <a:pt x="77032" y="219736"/>
                    </a:lnTo>
                    <a:lnTo>
                      <a:pt x="73053" y="215894"/>
                    </a:lnTo>
                    <a:lnTo>
                      <a:pt x="73136" y="198001"/>
                    </a:lnTo>
                    <a:lnTo>
                      <a:pt x="66933" y="195559"/>
                    </a:lnTo>
                    <a:lnTo>
                      <a:pt x="64134" y="176596"/>
                    </a:lnTo>
                    <a:lnTo>
                      <a:pt x="60649" y="173275"/>
                    </a:lnTo>
                    <a:lnTo>
                      <a:pt x="56560" y="186009"/>
                    </a:lnTo>
                    <a:lnTo>
                      <a:pt x="61335" y="210982"/>
                    </a:lnTo>
                    <a:lnTo>
                      <a:pt x="54968" y="229286"/>
                    </a:lnTo>
                    <a:lnTo>
                      <a:pt x="52608" y="227475"/>
                    </a:lnTo>
                    <a:lnTo>
                      <a:pt x="52526" y="223331"/>
                    </a:lnTo>
                    <a:lnTo>
                      <a:pt x="56258" y="218062"/>
                    </a:lnTo>
                    <a:lnTo>
                      <a:pt x="57191" y="203874"/>
                    </a:lnTo>
                    <a:lnTo>
                      <a:pt x="55901" y="197891"/>
                    </a:lnTo>
                    <a:lnTo>
                      <a:pt x="47888" y="207414"/>
                    </a:lnTo>
                    <a:lnTo>
                      <a:pt x="39079" y="195861"/>
                    </a:lnTo>
                    <a:lnTo>
                      <a:pt x="24781" y="193253"/>
                    </a:lnTo>
                    <a:lnTo>
                      <a:pt x="16932" y="212573"/>
                    </a:lnTo>
                    <a:lnTo>
                      <a:pt x="11800" y="210680"/>
                    </a:lnTo>
                    <a:lnTo>
                      <a:pt x="9413" y="206975"/>
                    </a:lnTo>
                    <a:lnTo>
                      <a:pt x="7959" y="192567"/>
                    </a:lnTo>
                    <a:lnTo>
                      <a:pt x="12020" y="190399"/>
                    </a:lnTo>
                    <a:lnTo>
                      <a:pt x="12459" y="184774"/>
                    </a:lnTo>
                    <a:lnTo>
                      <a:pt x="7904" y="177638"/>
                    </a:lnTo>
                    <a:lnTo>
                      <a:pt x="960" y="184005"/>
                    </a:lnTo>
                    <a:lnTo>
                      <a:pt x="0" y="179285"/>
                    </a:lnTo>
                    <a:lnTo>
                      <a:pt x="10703" y="154778"/>
                    </a:lnTo>
                    <a:lnTo>
                      <a:pt x="29501" y="142868"/>
                    </a:lnTo>
                    <a:lnTo>
                      <a:pt x="35539" y="145695"/>
                    </a:lnTo>
                    <a:lnTo>
                      <a:pt x="43031" y="140618"/>
                    </a:lnTo>
                    <a:lnTo>
                      <a:pt x="52142" y="112736"/>
                    </a:lnTo>
                    <a:lnTo>
                      <a:pt x="73547" y="98658"/>
                    </a:lnTo>
                    <a:lnTo>
                      <a:pt x="76703" y="86198"/>
                    </a:lnTo>
                    <a:lnTo>
                      <a:pt x="104366" y="47476"/>
                    </a:lnTo>
                    <a:lnTo>
                      <a:pt x="111611" y="28596"/>
                    </a:lnTo>
                    <a:lnTo>
                      <a:pt x="144048" y="19539"/>
                    </a:lnTo>
                    <a:lnTo>
                      <a:pt x="168829" y="32438"/>
                    </a:lnTo>
                    <a:lnTo>
                      <a:pt x="181535" y="26757"/>
                    </a:lnTo>
                    <a:lnTo>
                      <a:pt x="181947" y="20472"/>
                    </a:lnTo>
                    <a:lnTo>
                      <a:pt x="177254" y="139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 name="Freeform: Shape 3296">
                <a:extLst>
                  <a:ext uri="{FF2B5EF4-FFF2-40B4-BE49-F238E27FC236}">
                    <a16:creationId xmlns:a16="http://schemas.microsoft.com/office/drawing/2014/main" id="{51C476B8-52DB-69E9-45BF-1E0F9079DF61}"/>
                  </a:ext>
                </a:extLst>
              </p:cNvPr>
              <p:cNvSpPr/>
              <p:nvPr/>
            </p:nvSpPr>
            <p:spPr>
              <a:xfrm>
                <a:off x="1045704" y="3467493"/>
                <a:ext cx="20652" cy="20709"/>
              </a:xfrm>
              <a:custGeom>
                <a:avLst/>
                <a:gdLst>
                  <a:gd name="connsiteX0" fmla="*/ 103954 w 198001"/>
                  <a:gd name="connsiteY0" fmla="*/ 18250 h 198549"/>
                  <a:gd name="connsiteX1" fmla="*/ 113257 w 198001"/>
                  <a:gd name="connsiteY1" fmla="*/ 5242 h 198549"/>
                  <a:gd name="connsiteX2" fmla="*/ 127665 w 198001"/>
                  <a:gd name="connsiteY2" fmla="*/ 3650 h 198549"/>
                  <a:gd name="connsiteX3" fmla="*/ 148741 w 198001"/>
                  <a:gd name="connsiteY3" fmla="*/ 20061 h 198549"/>
                  <a:gd name="connsiteX4" fmla="*/ 160157 w 198001"/>
                  <a:gd name="connsiteY4" fmla="*/ 1400 h 198549"/>
                  <a:gd name="connsiteX5" fmla="*/ 169598 w 198001"/>
                  <a:gd name="connsiteY5" fmla="*/ 0 h 198549"/>
                  <a:gd name="connsiteX6" fmla="*/ 188780 w 198001"/>
                  <a:gd name="connsiteY6" fmla="*/ 24561 h 198549"/>
                  <a:gd name="connsiteX7" fmla="*/ 194296 w 198001"/>
                  <a:gd name="connsiteY7" fmla="*/ 56176 h 198549"/>
                  <a:gd name="connsiteX8" fmla="*/ 193638 w 198001"/>
                  <a:gd name="connsiteY8" fmla="*/ 100112 h 198549"/>
                  <a:gd name="connsiteX9" fmla="*/ 198001 w 198001"/>
                  <a:gd name="connsiteY9" fmla="*/ 130546 h 198549"/>
                  <a:gd name="connsiteX10" fmla="*/ 190674 w 198001"/>
                  <a:gd name="connsiteY10" fmla="*/ 141222 h 198549"/>
                  <a:gd name="connsiteX11" fmla="*/ 185487 w 198001"/>
                  <a:gd name="connsiteY11" fmla="*/ 157440 h 198549"/>
                  <a:gd name="connsiteX12" fmla="*/ 186859 w 198001"/>
                  <a:gd name="connsiteY12" fmla="*/ 177199 h 198549"/>
                  <a:gd name="connsiteX13" fmla="*/ 178544 w 198001"/>
                  <a:gd name="connsiteY13" fmla="*/ 192869 h 198549"/>
                  <a:gd name="connsiteX14" fmla="*/ 134910 w 198001"/>
                  <a:gd name="connsiteY14" fmla="*/ 198550 h 198549"/>
                  <a:gd name="connsiteX15" fmla="*/ 117758 w 198001"/>
                  <a:gd name="connsiteY15" fmla="*/ 192595 h 198549"/>
                  <a:gd name="connsiteX16" fmla="*/ 113422 w 198001"/>
                  <a:gd name="connsiteY16" fmla="*/ 177172 h 198549"/>
                  <a:gd name="connsiteX17" fmla="*/ 112269 w 198001"/>
                  <a:gd name="connsiteY17" fmla="*/ 153461 h 198549"/>
                  <a:gd name="connsiteX18" fmla="*/ 120694 w 198001"/>
                  <a:gd name="connsiteY18" fmla="*/ 142456 h 198549"/>
                  <a:gd name="connsiteX19" fmla="*/ 122807 w 198001"/>
                  <a:gd name="connsiteY19" fmla="*/ 129943 h 198549"/>
                  <a:gd name="connsiteX20" fmla="*/ 51758 w 198001"/>
                  <a:gd name="connsiteY20" fmla="*/ 135184 h 198549"/>
                  <a:gd name="connsiteX21" fmla="*/ 48217 w 198001"/>
                  <a:gd name="connsiteY21" fmla="*/ 124015 h 198549"/>
                  <a:gd name="connsiteX22" fmla="*/ 52279 w 198001"/>
                  <a:gd name="connsiteY22" fmla="*/ 109580 h 198549"/>
                  <a:gd name="connsiteX23" fmla="*/ 51758 w 198001"/>
                  <a:gd name="connsiteY23" fmla="*/ 102829 h 198549"/>
                  <a:gd name="connsiteX24" fmla="*/ 32245 w 198001"/>
                  <a:gd name="connsiteY24" fmla="*/ 104393 h 198549"/>
                  <a:gd name="connsiteX25" fmla="*/ 20692 w 198001"/>
                  <a:gd name="connsiteY25" fmla="*/ 91934 h 198549"/>
                  <a:gd name="connsiteX26" fmla="*/ 16658 w 198001"/>
                  <a:gd name="connsiteY26" fmla="*/ 75907 h 198549"/>
                  <a:gd name="connsiteX27" fmla="*/ 2744 w 198001"/>
                  <a:gd name="connsiteY27" fmla="*/ 68882 h 198549"/>
                  <a:gd name="connsiteX28" fmla="*/ 0 w 198001"/>
                  <a:gd name="connsiteY28" fmla="*/ 60676 h 198549"/>
                  <a:gd name="connsiteX29" fmla="*/ 5324 w 198001"/>
                  <a:gd name="connsiteY29" fmla="*/ 51922 h 198549"/>
                  <a:gd name="connsiteX30" fmla="*/ 38338 w 198001"/>
                  <a:gd name="connsiteY30" fmla="*/ 44128 h 198549"/>
                  <a:gd name="connsiteX31" fmla="*/ 59112 w 198001"/>
                  <a:gd name="connsiteY31" fmla="*/ 83454 h 198549"/>
                  <a:gd name="connsiteX32" fmla="*/ 71928 w 198001"/>
                  <a:gd name="connsiteY32" fmla="*/ 91220 h 198549"/>
                  <a:gd name="connsiteX33" fmla="*/ 74426 w 198001"/>
                  <a:gd name="connsiteY33" fmla="*/ 79475 h 198549"/>
                  <a:gd name="connsiteX34" fmla="*/ 67098 w 198001"/>
                  <a:gd name="connsiteY34" fmla="*/ 41960 h 198549"/>
                  <a:gd name="connsiteX35" fmla="*/ 69705 w 198001"/>
                  <a:gd name="connsiteY35" fmla="*/ 32191 h 198549"/>
                  <a:gd name="connsiteX36" fmla="*/ 76978 w 198001"/>
                  <a:gd name="connsiteY36" fmla="*/ 28074 h 198549"/>
                  <a:gd name="connsiteX37" fmla="*/ 85320 w 198001"/>
                  <a:gd name="connsiteY37" fmla="*/ 33206 h 198549"/>
                  <a:gd name="connsiteX38" fmla="*/ 121627 w 198001"/>
                  <a:gd name="connsiteY38" fmla="*/ 81533 h 198549"/>
                  <a:gd name="connsiteX39" fmla="*/ 119267 w 198001"/>
                  <a:gd name="connsiteY39" fmla="*/ 52855 h 198549"/>
                  <a:gd name="connsiteX40" fmla="*/ 105848 w 198001"/>
                  <a:gd name="connsiteY40" fmla="*/ 29803 h 198549"/>
                  <a:gd name="connsiteX41" fmla="*/ 103954 w 198001"/>
                  <a:gd name="connsiteY41" fmla="*/ 18167 h 19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8001" h="198549">
                    <a:moveTo>
                      <a:pt x="103954" y="18250"/>
                    </a:moveTo>
                    <a:lnTo>
                      <a:pt x="113257" y="5242"/>
                    </a:lnTo>
                    <a:lnTo>
                      <a:pt x="127665" y="3650"/>
                    </a:lnTo>
                    <a:lnTo>
                      <a:pt x="148741" y="20061"/>
                    </a:lnTo>
                    <a:lnTo>
                      <a:pt x="160157" y="1400"/>
                    </a:lnTo>
                    <a:lnTo>
                      <a:pt x="169598" y="0"/>
                    </a:lnTo>
                    <a:lnTo>
                      <a:pt x="188780" y="24561"/>
                    </a:lnTo>
                    <a:lnTo>
                      <a:pt x="194296" y="56176"/>
                    </a:lnTo>
                    <a:lnTo>
                      <a:pt x="193638" y="100112"/>
                    </a:lnTo>
                    <a:lnTo>
                      <a:pt x="198001" y="130546"/>
                    </a:lnTo>
                    <a:lnTo>
                      <a:pt x="190674" y="141222"/>
                    </a:lnTo>
                    <a:lnTo>
                      <a:pt x="185487" y="157440"/>
                    </a:lnTo>
                    <a:lnTo>
                      <a:pt x="186859" y="177199"/>
                    </a:lnTo>
                    <a:lnTo>
                      <a:pt x="178544" y="192869"/>
                    </a:lnTo>
                    <a:lnTo>
                      <a:pt x="134910" y="198550"/>
                    </a:lnTo>
                    <a:lnTo>
                      <a:pt x="117758" y="192595"/>
                    </a:lnTo>
                    <a:lnTo>
                      <a:pt x="113422" y="177172"/>
                    </a:lnTo>
                    <a:lnTo>
                      <a:pt x="112269" y="153461"/>
                    </a:lnTo>
                    <a:lnTo>
                      <a:pt x="120694" y="142456"/>
                    </a:lnTo>
                    <a:lnTo>
                      <a:pt x="122807" y="129943"/>
                    </a:lnTo>
                    <a:lnTo>
                      <a:pt x="51758" y="135184"/>
                    </a:lnTo>
                    <a:lnTo>
                      <a:pt x="48217" y="124015"/>
                    </a:lnTo>
                    <a:lnTo>
                      <a:pt x="52279" y="109580"/>
                    </a:lnTo>
                    <a:lnTo>
                      <a:pt x="51758" y="102829"/>
                    </a:lnTo>
                    <a:lnTo>
                      <a:pt x="32245" y="104393"/>
                    </a:lnTo>
                    <a:lnTo>
                      <a:pt x="20692" y="91934"/>
                    </a:lnTo>
                    <a:lnTo>
                      <a:pt x="16658" y="75907"/>
                    </a:lnTo>
                    <a:lnTo>
                      <a:pt x="2744" y="68882"/>
                    </a:lnTo>
                    <a:lnTo>
                      <a:pt x="0" y="60676"/>
                    </a:lnTo>
                    <a:lnTo>
                      <a:pt x="5324" y="51922"/>
                    </a:lnTo>
                    <a:lnTo>
                      <a:pt x="38338" y="44128"/>
                    </a:lnTo>
                    <a:lnTo>
                      <a:pt x="59112" y="83454"/>
                    </a:lnTo>
                    <a:lnTo>
                      <a:pt x="71928" y="91220"/>
                    </a:lnTo>
                    <a:lnTo>
                      <a:pt x="74426" y="79475"/>
                    </a:lnTo>
                    <a:lnTo>
                      <a:pt x="67098" y="41960"/>
                    </a:lnTo>
                    <a:lnTo>
                      <a:pt x="69705" y="32191"/>
                    </a:lnTo>
                    <a:lnTo>
                      <a:pt x="76978" y="28074"/>
                    </a:lnTo>
                    <a:lnTo>
                      <a:pt x="85320" y="33206"/>
                    </a:lnTo>
                    <a:lnTo>
                      <a:pt x="121627" y="81533"/>
                    </a:lnTo>
                    <a:lnTo>
                      <a:pt x="119267" y="52855"/>
                    </a:lnTo>
                    <a:lnTo>
                      <a:pt x="105848" y="29803"/>
                    </a:lnTo>
                    <a:lnTo>
                      <a:pt x="103954" y="181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 name="Freeform: Shape 3297">
                <a:extLst>
                  <a:ext uri="{FF2B5EF4-FFF2-40B4-BE49-F238E27FC236}">
                    <a16:creationId xmlns:a16="http://schemas.microsoft.com/office/drawing/2014/main" id="{49E84BBA-F0AF-D024-576F-2B59E8A3452D}"/>
                  </a:ext>
                </a:extLst>
              </p:cNvPr>
              <p:cNvSpPr/>
              <p:nvPr/>
            </p:nvSpPr>
            <p:spPr>
              <a:xfrm>
                <a:off x="1041399" y="3427054"/>
                <a:ext cx="20217" cy="24424"/>
              </a:xfrm>
              <a:custGeom>
                <a:avLst/>
                <a:gdLst>
                  <a:gd name="connsiteX0" fmla="*/ 0 w 193829"/>
                  <a:gd name="connsiteY0" fmla="*/ 38338 h 234170"/>
                  <a:gd name="connsiteX1" fmla="*/ 6888 w 193829"/>
                  <a:gd name="connsiteY1" fmla="*/ 6504 h 234170"/>
                  <a:gd name="connsiteX2" fmla="*/ 52965 w 193829"/>
                  <a:gd name="connsiteY2" fmla="*/ 0 h 234170"/>
                  <a:gd name="connsiteX3" fmla="*/ 79722 w 193829"/>
                  <a:gd name="connsiteY3" fmla="*/ 21927 h 234170"/>
                  <a:gd name="connsiteX4" fmla="*/ 86445 w 193829"/>
                  <a:gd name="connsiteY4" fmla="*/ 41768 h 234170"/>
                  <a:gd name="connsiteX5" fmla="*/ 90068 w 193829"/>
                  <a:gd name="connsiteY5" fmla="*/ 73629 h 234170"/>
                  <a:gd name="connsiteX6" fmla="*/ 96490 w 193829"/>
                  <a:gd name="connsiteY6" fmla="*/ 55764 h 234170"/>
                  <a:gd name="connsiteX7" fmla="*/ 106890 w 193829"/>
                  <a:gd name="connsiteY7" fmla="*/ 45885 h 234170"/>
                  <a:gd name="connsiteX8" fmla="*/ 122698 w 193829"/>
                  <a:gd name="connsiteY8" fmla="*/ 49041 h 234170"/>
                  <a:gd name="connsiteX9" fmla="*/ 125387 w 193829"/>
                  <a:gd name="connsiteY9" fmla="*/ 57411 h 234170"/>
                  <a:gd name="connsiteX10" fmla="*/ 133922 w 193829"/>
                  <a:gd name="connsiteY10" fmla="*/ 65918 h 234170"/>
                  <a:gd name="connsiteX11" fmla="*/ 134032 w 193829"/>
                  <a:gd name="connsiteY11" fmla="*/ 88229 h 234170"/>
                  <a:gd name="connsiteX12" fmla="*/ 154971 w 193829"/>
                  <a:gd name="connsiteY12" fmla="*/ 85650 h 234170"/>
                  <a:gd name="connsiteX13" fmla="*/ 165481 w 193829"/>
                  <a:gd name="connsiteY13" fmla="*/ 99426 h 234170"/>
                  <a:gd name="connsiteX14" fmla="*/ 168472 w 193829"/>
                  <a:gd name="connsiteY14" fmla="*/ 112763 h 234170"/>
                  <a:gd name="connsiteX15" fmla="*/ 176596 w 193829"/>
                  <a:gd name="connsiteY15" fmla="*/ 119816 h 234170"/>
                  <a:gd name="connsiteX16" fmla="*/ 176898 w 193829"/>
                  <a:gd name="connsiteY16" fmla="*/ 128955 h 234170"/>
                  <a:gd name="connsiteX17" fmla="*/ 172863 w 193829"/>
                  <a:gd name="connsiteY17" fmla="*/ 145997 h 234170"/>
                  <a:gd name="connsiteX18" fmla="*/ 173248 w 193829"/>
                  <a:gd name="connsiteY18" fmla="*/ 158867 h 234170"/>
                  <a:gd name="connsiteX19" fmla="*/ 180822 w 193829"/>
                  <a:gd name="connsiteY19" fmla="*/ 167704 h 234170"/>
                  <a:gd name="connsiteX20" fmla="*/ 193830 w 193829"/>
                  <a:gd name="connsiteY20" fmla="*/ 199016 h 234170"/>
                  <a:gd name="connsiteX21" fmla="*/ 191826 w 193829"/>
                  <a:gd name="connsiteY21" fmla="*/ 219352 h 234170"/>
                  <a:gd name="connsiteX22" fmla="*/ 189219 w 193829"/>
                  <a:gd name="connsiteY22" fmla="*/ 226405 h 234170"/>
                  <a:gd name="connsiteX23" fmla="*/ 167814 w 193829"/>
                  <a:gd name="connsiteY23" fmla="*/ 234171 h 234170"/>
                  <a:gd name="connsiteX24" fmla="*/ 151074 w 193829"/>
                  <a:gd name="connsiteY24" fmla="*/ 223935 h 234170"/>
                  <a:gd name="connsiteX25" fmla="*/ 134471 w 193829"/>
                  <a:gd name="connsiteY25" fmla="*/ 180026 h 234170"/>
                  <a:gd name="connsiteX26" fmla="*/ 125387 w 193829"/>
                  <a:gd name="connsiteY26" fmla="*/ 176266 h 234170"/>
                  <a:gd name="connsiteX27" fmla="*/ 120584 w 193829"/>
                  <a:gd name="connsiteY27" fmla="*/ 172534 h 234170"/>
                  <a:gd name="connsiteX28" fmla="*/ 115206 w 193829"/>
                  <a:gd name="connsiteY28" fmla="*/ 181179 h 234170"/>
                  <a:gd name="connsiteX29" fmla="*/ 111089 w 193829"/>
                  <a:gd name="connsiteY29" fmla="*/ 168061 h 234170"/>
                  <a:gd name="connsiteX30" fmla="*/ 100963 w 193829"/>
                  <a:gd name="connsiteY30" fmla="*/ 164274 h 234170"/>
                  <a:gd name="connsiteX31" fmla="*/ 85156 w 193829"/>
                  <a:gd name="connsiteY31" fmla="*/ 168582 h 234170"/>
                  <a:gd name="connsiteX32" fmla="*/ 74535 w 193829"/>
                  <a:gd name="connsiteY32" fmla="*/ 186063 h 234170"/>
                  <a:gd name="connsiteX33" fmla="*/ 73437 w 193829"/>
                  <a:gd name="connsiteY33" fmla="*/ 180245 h 234170"/>
                  <a:gd name="connsiteX34" fmla="*/ 81286 w 193829"/>
                  <a:gd name="connsiteY34" fmla="*/ 166030 h 234170"/>
                  <a:gd name="connsiteX35" fmla="*/ 81972 w 193829"/>
                  <a:gd name="connsiteY35" fmla="*/ 152802 h 234170"/>
                  <a:gd name="connsiteX36" fmla="*/ 49150 w 193829"/>
                  <a:gd name="connsiteY36" fmla="*/ 169982 h 234170"/>
                  <a:gd name="connsiteX37" fmla="*/ 35813 w 193829"/>
                  <a:gd name="connsiteY37" fmla="*/ 166222 h 234170"/>
                  <a:gd name="connsiteX38" fmla="*/ 24177 w 193829"/>
                  <a:gd name="connsiteY38" fmla="*/ 152940 h 234170"/>
                  <a:gd name="connsiteX39" fmla="*/ 19045 w 193829"/>
                  <a:gd name="connsiteY39" fmla="*/ 134718 h 234170"/>
                  <a:gd name="connsiteX40" fmla="*/ 26373 w 193829"/>
                  <a:gd name="connsiteY40" fmla="*/ 122039 h 234170"/>
                  <a:gd name="connsiteX41" fmla="*/ 61088 w 193829"/>
                  <a:gd name="connsiteY41" fmla="*/ 130546 h 234170"/>
                  <a:gd name="connsiteX42" fmla="*/ 62213 w 193829"/>
                  <a:gd name="connsiteY42" fmla="*/ 117758 h 234170"/>
                  <a:gd name="connsiteX43" fmla="*/ 57685 w 193829"/>
                  <a:gd name="connsiteY43" fmla="*/ 112269 h 234170"/>
                  <a:gd name="connsiteX44" fmla="*/ 57630 w 193829"/>
                  <a:gd name="connsiteY44" fmla="*/ 107137 h 234170"/>
                  <a:gd name="connsiteX45" fmla="*/ 61225 w 193829"/>
                  <a:gd name="connsiteY45" fmla="*/ 100249 h 234170"/>
                  <a:gd name="connsiteX46" fmla="*/ 61061 w 193829"/>
                  <a:gd name="connsiteY46" fmla="*/ 95008 h 234170"/>
                  <a:gd name="connsiteX47" fmla="*/ 45857 w 193829"/>
                  <a:gd name="connsiteY47" fmla="*/ 91687 h 234170"/>
                  <a:gd name="connsiteX48" fmla="*/ 45583 w 193829"/>
                  <a:gd name="connsiteY48" fmla="*/ 86720 h 234170"/>
                  <a:gd name="connsiteX49" fmla="*/ 49727 w 193829"/>
                  <a:gd name="connsiteY49" fmla="*/ 72340 h 234170"/>
                  <a:gd name="connsiteX50" fmla="*/ 43607 w 193829"/>
                  <a:gd name="connsiteY50" fmla="*/ 61911 h 234170"/>
                  <a:gd name="connsiteX51" fmla="*/ 20692 w 193829"/>
                  <a:gd name="connsiteY51" fmla="*/ 86445 h 234170"/>
                  <a:gd name="connsiteX52" fmla="*/ 19786 w 193829"/>
                  <a:gd name="connsiteY52" fmla="*/ 79393 h 234170"/>
                  <a:gd name="connsiteX53" fmla="*/ 23327 w 193829"/>
                  <a:gd name="connsiteY53" fmla="*/ 60018 h 234170"/>
                  <a:gd name="connsiteX54" fmla="*/ 22942 w 193829"/>
                  <a:gd name="connsiteY54" fmla="*/ 55325 h 234170"/>
                  <a:gd name="connsiteX55" fmla="*/ 2909 w 193829"/>
                  <a:gd name="connsiteY55" fmla="*/ 53596 h 234170"/>
                  <a:gd name="connsiteX56" fmla="*/ 0 w 193829"/>
                  <a:gd name="connsiteY56" fmla="*/ 38338 h 2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93829" h="234170">
                    <a:moveTo>
                      <a:pt x="0" y="38338"/>
                    </a:moveTo>
                    <a:lnTo>
                      <a:pt x="6888" y="6504"/>
                    </a:lnTo>
                    <a:lnTo>
                      <a:pt x="52965" y="0"/>
                    </a:lnTo>
                    <a:lnTo>
                      <a:pt x="79722" y="21927"/>
                    </a:lnTo>
                    <a:lnTo>
                      <a:pt x="86445" y="41768"/>
                    </a:lnTo>
                    <a:lnTo>
                      <a:pt x="90068" y="73629"/>
                    </a:lnTo>
                    <a:lnTo>
                      <a:pt x="96490" y="55764"/>
                    </a:lnTo>
                    <a:lnTo>
                      <a:pt x="106890" y="45885"/>
                    </a:lnTo>
                    <a:lnTo>
                      <a:pt x="122698" y="49041"/>
                    </a:lnTo>
                    <a:lnTo>
                      <a:pt x="125387" y="57411"/>
                    </a:lnTo>
                    <a:lnTo>
                      <a:pt x="133922" y="65918"/>
                    </a:lnTo>
                    <a:lnTo>
                      <a:pt x="134032" y="88229"/>
                    </a:lnTo>
                    <a:lnTo>
                      <a:pt x="154971" y="85650"/>
                    </a:lnTo>
                    <a:lnTo>
                      <a:pt x="165481" y="99426"/>
                    </a:lnTo>
                    <a:lnTo>
                      <a:pt x="168472" y="112763"/>
                    </a:lnTo>
                    <a:lnTo>
                      <a:pt x="176596" y="119816"/>
                    </a:lnTo>
                    <a:lnTo>
                      <a:pt x="176898" y="128955"/>
                    </a:lnTo>
                    <a:lnTo>
                      <a:pt x="172863" y="145997"/>
                    </a:lnTo>
                    <a:lnTo>
                      <a:pt x="173248" y="158867"/>
                    </a:lnTo>
                    <a:lnTo>
                      <a:pt x="180822" y="167704"/>
                    </a:lnTo>
                    <a:lnTo>
                      <a:pt x="193830" y="199016"/>
                    </a:lnTo>
                    <a:lnTo>
                      <a:pt x="191826" y="219352"/>
                    </a:lnTo>
                    <a:lnTo>
                      <a:pt x="189219" y="226405"/>
                    </a:lnTo>
                    <a:lnTo>
                      <a:pt x="167814" y="234171"/>
                    </a:lnTo>
                    <a:lnTo>
                      <a:pt x="151074" y="223935"/>
                    </a:lnTo>
                    <a:lnTo>
                      <a:pt x="134471" y="180026"/>
                    </a:lnTo>
                    <a:lnTo>
                      <a:pt x="125387" y="176266"/>
                    </a:lnTo>
                    <a:lnTo>
                      <a:pt x="120584" y="172534"/>
                    </a:lnTo>
                    <a:lnTo>
                      <a:pt x="115206" y="181179"/>
                    </a:lnTo>
                    <a:lnTo>
                      <a:pt x="111089" y="168061"/>
                    </a:lnTo>
                    <a:lnTo>
                      <a:pt x="100963" y="164274"/>
                    </a:lnTo>
                    <a:lnTo>
                      <a:pt x="85156" y="168582"/>
                    </a:lnTo>
                    <a:lnTo>
                      <a:pt x="74535" y="186063"/>
                    </a:lnTo>
                    <a:lnTo>
                      <a:pt x="73437" y="180245"/>
                    </a:lnTo>
                    <a:lnTo>
                      <a:pt x="81286" y="166030"/>
                    </a:lnTo>
                    <a:lnTo>
                      <a:pt x="81972" y="152802"/>
                    </a:lnTo>
                    <a:lnTo>
                      <a:pt x="49150" y="169982"/>
                    </a:lnTo>
                    <a:lnTo>
                      <a:pt x="35813" y="166222"/>
                    </a:lnTo>
                    <a:lnTo>
                      <a:pt x="24177" y="152940"/>
                    </a:lnTo>
                    <a:lnTo>
                      <a:pt x="19045" y="134718"/>
                    </a:lnTo>
                    <a:lnTo>
                      <a:pt x="26373" y="122039"/>
                    </a:lnTo>
                    <a:lnTo>
                      <a:pt x="61088" y="130546"/>
                    </a:lnTo>
                    <a:lnTo>
                      <a:pt x="62213" y="117758"/>
                    </a:lnTo>
                    <a:lnTo>
                      <a:pt x="57685" y="112269"/>
                    </a:lnTo>
                    <a:lnTo>
                      <a:pt x="57630" y="107137"/>
                    </a:lnTo>
                    <a:lnTo>
                      <a:pt x="61225" y="100249"/>
                    </a:lnTo>
                    <a:lnTo>
                      <a:pt x="61061" y="95008"/>
                    </a:lnTo>
                    <a:lnTo>
                      <a:pt x="45857" y="91687"/>
                    </a:lnTo>
                    <a:lnTo>
                      <a:pt x="45583" y="86720"/>
                    </a:lnTo>
                    <a:lnTo>
                      <a:pt x="49727" y="72340"/>
                    </a:lnTo>
                    <a:lnTo>
                      <a:pt x="43607" y="61911"/>
                    </a:lnTo>
                    <a:lnTo>
                      <a:pt x="20692" y="86445"/>
                    </a:lnTo>
                    <a:lnTo>
                      <a:pt x="19786" y="79393"/>
                    </a:lnTo>
                    <a:lnTo>
                      <a:pt x="23327" y="60018"/>
                    </a:lnTo>
                    <a:lnTo>
                      <a:pt x="22942" y="55325"/>
                    </a:lnTo>
                    <a:lnTo>
                      <a:pt x="2909" y="53596"/>
                    </a:lnTo>
                    <a:lnTo>
                      <a:pt x="0" y="383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 name="Freeform: Shape 3298">
                <a:extLst>
                  <a:ext uri="{FF2B5EF4-FFF2-40B4-BE49-F238E27FC236}">
                    <a16:creationId xmlns:a16="http://schemas.microsoft.com/office/drawing/2014/main" id="{1CD75654-EAE3-3AAE-0192-55ACECC05E69}"/>
                  </a:ext>
                </a:extLst>
              </p:cNvPr>
              <p:cNvSpPr/>
              <p:nvPr/>
            </p:nvSpPr>
            <p:spPr>
              <a:xfrm>
                <a:off x="957008" y="3645742"/>
                <a:ext cx="6512" cy="11386"/>
              </a:xfrm>
              <a:custGeom>
                <a:avLst/>
                <a:gdLst>
                  <a:gd name="connsiteX0" fmla="*/ 0 w 62432"/>
                  <a:gd name="connsiteY0" fmla="*/ 15478 h 109167"/>
                  <a:gd name="connsiteX1" fmla="*/ 3375 w 62432"/>
                  <a:gd name="connsiteY1" fmla="*/ 0 h 109167"/>
                  <a:gd name="connsiteX2" fmla="*/ 17399 w 62432"/>
                  <a:gd name="connsiteY2" fmla="*/ 7711 h 109167"/>
                  <a:gd name="connsiteX3" fmla="*/ 22997 w 62432"/>
                  <a:gd name="connsiteY3" fmla="*/ 5571 h 109167"/>
                  <a:gd name="connsiteX4" fmla="*/ 32904 w 62432"/>
                  <a:gd name="connsiteY4" fmla="*/ 9166 h 109167"/>
                  <a:gd name="connsiteX5" fmla="*/ 42152 w 62432"/>
                  <a:gd name="connsiteY5" fmla="*/ 5571 h 109167"/>
                  <a:gd name="connsiteX6" fmla="*/ 35484 w 62432"/>
                  <a:gd name="connsiteY6" fmla="*/ 29721 h 109167"/>
                  <a:gd name="connsiteX7" fmla="*/ 33480 w 62432"/>
                  <a:gd name="connsiteY7" fmla="*/ 48053 h 109167"/>
                  <a:gd name="connsiteX8" fmla="*/ 38228 w 62432"/>
                  <a:gd name="connsiteY8" fmla="*/ 49041 h 109167"/>
                  <a:gd name="connsiteX9" fmla="*/ 42537 w 62432"/>
                  <a:gd name="connsiteY9" fmla="*/ 54666 h 109167"/>
                  <a:gd name="connsiteX10" fmla="*/ 43964 w 62432"/>
                  <a:gd name="connsiteY10" fmla="*/ 69705 h 109167"/>
                  <a:gd name="connsiteX11" fmla="*/ 48903 w 62432"/>
                  <a:gd name="connsiteY11" fmla="*/ 75221 h 109167"/>
                  <a:gd name="connsiteX12" fmla="*/ 44814 w 62432"/>
                  <a:gd name="connsiteY12" fmla="*/ 79639 h 109167"/>
                  <a:gd name="connsiteX13" fmla="*/ 46022 w 62432"/>
                  <a:gd name="connsiteY13" fmla="*/ 82466 h 109167"/>
                  <a:gd name="connsiteX14" fmla="*/ 54172 w 62432"/>
                  <a:gd name="connsiteY14" fmla="*/ 88092 h 109167"/>
                  <a:gd name="connsiteX15" fmla="*/ 55243 w 62432"/>
                  <a:gd name="connsiteY15" fmla="*/ 94760 h 109167"/>
                  <a:gd name="connsiteX16" fmla="*/ 59194 w 62432"/>
                  <a:gd name="connsiteY16" fmla="*/ 94815 h 109167"/>
                  <a:gd name="connsiteX17" fmla="*/ 61829 w 62432"/>
                  <a:gd name="connsiteY17" fmla="*/ 98932 h 109167"/>
                  <a:gd name="connsiteX18" fmla="*/ 62433 w 62432"/>
                  <a:gd name="connsiteY18" fmla="*/ 107384 h 109167"/>
                  <a:gd name="connsiteX19" fmla="*/ 61006 w 62432"/>
                  <a:gd name="connsiteY19" fmla="*/ 109168 h 109167"/>
                  <a:gd name="connsiteX20" fmla="*/ 60210 w 62432"/>
                  <a:gd name="connsiteY20" fmla="*/ 107384 h 109167"/>
                  <a:gd name="connsiteX21" fmla="*/ 49891 w 62432"/>
                  <a:gd name="connsiteY21" fmla="*/ 97340 h 109167"/>
                  <a:gd name="connsiteX22" fmla="*/ 39436 w 62432"/>
                  <a:gd name="connsiteY22" fmla="*/ 82466 h 109167"/>
                  <a:gd name="connsiteX23" fmla="*/ 17371 w 62432"/>
                  <a:gd name="connsiteY23" fmla="*/ 56368 h 109167"/>
                  <a:gd name="connsiteX24" fmla="*/ 13365 w 62432"/>
                  <a:gd name="connsiteY24" fmla="*/ 43387 h 109167"/>
                  <a:gd name="connsiteX25" fmla="*/ 14984 w 62432"/>
                  <a:gd name="connsiteY25" fmla="*/ 40012 h 109167"/>
                  <a:gd name="connsiteX26" fmla="*/ 4693 w 62432"/>
                  <a:gd name="connsiteY26" fmla="*/ 32959 h 109167"/>
                  <a:gd name="connsiteX27" fmla="*/ 0 w 62432"/>
                  <a:gd name="connsiteY27" fmla="*/ 15478 h 10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2432" h="109167">
                    <a:moveTo>
                      <a:pt x="0" y="15478"/>
                    </a:moveTo>
                    <a:lnTo>
                      <a:pt x="3375" y="0"/>
                    </a:lnTo>
                    <a:lnTo>
                      <a:pt x="17399" y="7711"/>
                    </a:lnTo>
                    <a:lnTo>
                      <a:pt x="22997" y="5571"/>
                    </a:lnTo>
                    <a:lnTo>
                      <a:pt x="32904" y="9166"/>
                    </a:lnTo>
                    <a:lnTo>
                      <a:pt x="42152" y="5571"/>
                    </a:lnTo>
                    <a:lnTo>
                      <a:pt x="35484" y="29721"/>
                    </a:lnTo>
                    <a:lnTo>
                      <a:pt x="33480" y="48053"/>
                    </a:lnTo>
                    <a:lnTo>
                      <a:pt x="38228" y="49041"/>
                    </a:lnTo>
                    <a:lnTo>
                      <a:pt x="42537" y="54666"/>
                    </a:lnTo>
                    <a:lnTo>
                      <a:pt x="43964" y="69705"/>
                    </a:lnTo>
                    <a:lnTo>
                      <a:pt x="48903" y="75221"/>
                    </a:lnTo>
                    <a:lnTo>
                      <a:pt x="44814" y="79639"/>
                    </a:lnTo>
                    <a:lnTo>
                      <a:pt x="46022" y="82466"/>
                    </a:lnTo>
                    <a:lnTo>
                      <a:pt x="54172" y="88092"/>
                    </a:lnTo>
                    <a:lnTo>
                      <a:pt x="55243" y="94760"/>
                    </a:lnTo>
                    <a:lnTo>
                      <a:pt x="59194" y="94815"/>
                    </a:lnTo>
                    <a:lnTo>
                      <a:pt x="61829" y="98932"/>
                    </a:lnTo>
                    <a:lnTo>
                      <a:pt x="62433" y="107384"/>
                    </a:lnTo>
                    <a:lnTo>
                      <a:pt x="61006" y="109168"/>
                    </a:lnTo>
                    <a:lnTo>
                      <a:pt x="60210" y="107384"/>
                    </a:lnTo>
                    <a:lnTo>
                      <a:pt x="49891" y="97340"/>
                    </a:lnTo>
                    <a:lnTo>
                      <a:pt x="39436" y="82466"/>
                    </a:lnTo>
                    <a:lnTo>
                      <a:pt x="17371" y="56368"/>
                    </a:lnTo>
                    <a:lnTo>
                      <a:pt x="13365" y="43387"/>
                    </a:lnTo>
                    <a:lnTo>
                      <a:pt x="14984" y="40012"/>
                    </a:lnTo>
                    <a:lnTo>
                      <a:pt x="4693" y="32959"/>
                    </a:lnTo>
                    <a:lnTo>
                      <a:pt x="0" y="154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 name="Freeform: Shape 3299">
                <a:extLst>
                  <a:ext uri="{FF2B5EF4-FFF2-40B4-BE49-F238E27FC236}">
                    <a16:creationId xmlns:a16="http://schemas.microsoft.com/office/drawing/2014/main" id="{6143FF5E-198C-1C3D-C92F-31B1B53FB364}"/>
                  </a:ext>
                </a:extLst>
              </p:cNvPr>
              <p:cNvSpPr/>
              <p:nvPr/>
            </p:nvSpPr>
            <p:spPr>
              <a:xfrm>
                <a:off x="1117319" y="3502325"/>
                <a:ext cx="14486" cy="10659"/>
              </a:xfrm>
              <a:custGeom>
                <a:avLst/>
                <a:gdLst>
                  <a:gd name="connsiteX0" fmla="*/ 0 w 138888"/>
                  <a:gd name="connsiteY0" fmla="*/ 34935 h 102197"/>
                  <a:gd name="connsiteX1" fmla="*/ 1015 w 138888"/>
                  <a:gd name="connsiteY1" fmla="*/ 14600 h 102197"/>
                  <a:gd name="connsiteX2" fmla="*/ 5297 w 138888"/>
                  <a:gd name="connsiteY2" fmla="*/ 0 h 102197"/>
                  <a:gd name="connsiteX3" fmla="*/ 41960 w 138888"/>
                  <a:gd name="connsiteY3" fmla="*/ 11718 h 102197"/>
                  <a:gd name="connsiteX4" fmla="*/ 80353 w 138888"/>
                  <a:gd name="connsiteY4" fmla="*/ 9166 h 102197"/>
                  <a:gd name="connsiteX5" fmla="*/ 106396 w 138888"/>
                  <a:gd name="connsiteY5" fmla="*/ 24781 h 102197"/>
                  <a:gd name="connsiteX6" fmla="*/ 114190 w 138888"/>
                  <a:gd name="connsiteY6" fmla="*/ 40753 h 102197"/>
                  <a:gd name="connsiteX7" fmla="*/ 122011 w 138888"/>
                  <a:gd name="connsiteY7" fmla="*/ 46433 h 102197"/>
                  <a:gd name="connsiteX8" fmla="*/ 126951 w 138888"/>
                  <a:gd name="connsiteY8" fmla="*/ 61472 h 102197"/>
                  <a:gd name="connsiteX9" fmla="*/ 133510 w 138888"/>
                  <a:gd name="connsiteY9" fmla="*/ 68251 h 102197"/>
                  <a:gd name="connsiteX10" fmla="*/ 135925 w 138888"/>
                  <a:gd name="connsiteY10" fmla="*/ 80271 h 102197"/>
                  <a:gd name="connsiteX11" fmla="*/ 138889 w 138888"/>
                  <a:gd name="connsiteY11" fmla="*/ 85457 h 102197"/>
                  <a:gd name="connsiteX12" fmla="*/ 138779 w 138888"/>
                  <a:gd name="connsiteY12" fmla="*/ 88805 h 102197"/>
                  <a:gd name="connsiteX13" fmla="*/ 130574 w 138888"/>
                  <a:gd name="connsiteY13" fmla="*/ 94980 h 102197"/>
                  <a:gd name="connsiteX14" fmla="*/ 84140 w 138888"/>
                  <a:gd name="connsiteY14" fmla="*/ 87872 h 102197"/>
                  <a:gd name="connsiteX15" fmla="*/ 42015 w 138888"/>
                  <a:gd name="connsiteY15" fmla="*/ 102198 h 102197"/>
                  <a:gd name="connsiteX16" fmla="*/ 26345 w 138888"/>
                  <a:gd name="connsiteY16" fmla="*/ 89354 h 102197"/>
                  <a:gd name="connsiteX17" fmla="*/ 22284 w 138888"/>
                  <a:gd name="connsiteY17" fmla="*/ 76703 h 102197"/>
                  <a:gd name="connsiteX18" fmla="*/ 20088 w 138888"/>
                  <a:gd name="connsiteY18" fmla="*/ 54063 h 102197"/>
                  <a:gd name="connsiteX19" fmla="*/ 4089 w 138888"/>
                  <a:gd name="connsiteY19" fmla="*/ 48409 h 102197"/>
                  <a:gd name="connsiteX20" fmla="*/ 27 w 138888"/>
                  <a:gd name="connsiteY20" fmla="*/ 34880 h 10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8888" h="102197">
                    <a:moveTo>
                      <a:pt x="0" y="34935"/>
                    </a:moveTo>
                    <a:lnTo>
                      <a:pt x="1015" y="14600"/>
                    </a:lnTo>
                    <a:lnTo>
                      <a:pt x="5297" y="0"/>
                    </a:lnTo>
                    <a:lnTo>
                      <a:pt x="41960" y="11718"/>
                    </a:lnTo>
                    <a:lnTo>
                      <a:pt x="80353" y="9166"/>
                    </a:lnTo>
                    <a:lnTo>
                      <a:pt x="106396" y="24781"/>
                    </a:lnTo>
                    <a:lnTo>
                      <a:pt x="114190" y="40753"/>
                    </a:lnTo>
                    <a:lnTo>
                      <a:pt x="122011" y="46433"/>
                    </a:lnTo>
                    <a:lnTo>
                      <a:pt x="126951" y="61472"/>
                    </a:lnTo>
                    <a:lnTo>
                      <a:pt x="133510" y="68251"/>
                    </a:lnTo>
                    <a:lnTo>
                      <a:pt x="135925" y="80271"/>
                    </a:lnTo>
                    <a:lnTo>
                      <a:pt x="138889" y="85457"/>
                    </a:lnTo>
                    <a:lnTo>
                      <a:pt x="138779" y="88805"/>
                    </a:lnTo>
                    <a:lnTo>
                      <a:pt x="130574" y="94980"/>
                    </a:lnTo>
                    <a:lnTo>
                      <a:pt x="84140" y="87872"/>
                    </a:lnTo>
                    <a:lnTo>
                      <a:pt x="42015" y="102198"/>
                    </a:lnTo>
                    <a:lnTo>
                      <a:pt x="26345" y="89354"/>
                    </a:lnTo>
                    <a:lnTo>
                      <a:pt x="22284" y="76703"/>
                    </a:lnTo>
                    <a:lnTo>
                      <a:pt x="20088" y="54063"/>
                    </a:lnTo>
                    <a:lnTo>
                      <a:pt x="4089" y="48409"/>
                    </a:lnTo>
                    <a:lnTo>
                      <a:pt x="27" y="348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1" name="Freeform: Shape 3300">
                <a:extLst>
                  <a:ext uri="{FF2B5EF4-FFF2-40B4-BE49-F238E27FC236}">
                    <a16:creationId xmlns:a16="http://schemas.microsoft.com/office/drawing/2014/main" id="{978EB024-6DBB-8DC2-B3C6-111AB310A64D}"/>
                  </a:ext>
                </a:extLst>
              </p:cNvPr>
              <p:cNvSpPr/>
              <p:nvPr/>
            </p:nvSpPr>
            <p:spPr>
              <a:xfrm>
                <a:off x="1063613" y="3435985"/>
                <a:ext cx="10591" cy="15502"/>
              </a:xfrm>
              <a:custGeom>
                <a:avLst/>
                <a:gdLst>
                  <a:gd name="connsiteX0" fmla="*/ 1235 w 101539"/>
                  <a:gd name="connsiteY0" fmla="*/ 24424 h 148631"/>
                  <a:gd name="connsiteX1" fmla="*/ 2031 w 101539"/>
                  <a:gd name="connsiteY1" fmla="*/ 6504 h 148631"/>
                  <a:gd name="connsiteX2" fmla="*/ 8343 w 101539"/>
                  <a:gd name="connsiteY2" fmla="*/ 0 h 148631"/>
                  <a:gd name="connsiteX3" fmla="*/ 25961 w 101539"/>
                  <a:gd name="connsiteY3" fmla="*/ 2936 h 148631"/>
                  <a:gd name="connsiteX4" fmla="*/ 63201 w 101539"/>
                  <a:gd name="connsiteY4" fmla="*/ 28897 h 148631"/>
                  <a:gd name="connsiteX5" fmla="*/ 63887 w 101539"/>
                  <a:gd name="connsiteY5" fmla="*/ 43305 h 148631"/>
                  <a:gd name="connsiteX6" fmla="*/ 69541 w 101539"/>
                  <a:gd name="connsiteY6" fmla="*/ 49370 h 148631"/>
                  <a:gd name="connsiteX7" fmla="*/ 81396 w 101539"/>
                  <a:gd name="connsiteY7" fmla="*/ 45006 h 148631"/>
                  <a:gd name="connsiteX8" fmla="*/ 101073 w 101539"/>
                  <a:gd name="connsiteY8" fmla="*/ 63476 h 148631"/>
                  <a:gd name="connsiteX9" fmla="*/ 101155 w 101539"/>
                  <a:gd name="connsiteY9" fmla="*/ 68525 h 148631"/>
                  <a:gd name="connsiteX10" fmla="*/ 93169 w 101539"/>
                  <a:gd name="connsiteY10" fmla="*/ 82494 h 148631"/>
                  <a:gd name="connsiteX11" fmla="*/ 93114 w 101539"/>
                  <a:gd name="connsiteY11" fmla="*/ 87323 h 148631"/>
                  <a:gd name="connsiteX12" fmla="*/ 101100 w 101539"/>
                  <a:gd name="connsiteY12" fmla="*/ 104503 h 148631"/>
                  <a:gd name="connsiteX13" fmla="*/ 101539 w 101539"/>
                  <a:gd name="connsiteY13" fmla="*/ 111089 h 148631"/>
                  <a:gd name="connsiteX14" fmla="*/ 95804 w 101539"/>
                  <a:gd name="connsiteY14" fmla="*/ 126018 h 148631"/>
                  <a:gd name="connsiteX15" fmla="*/ 82356 w 101539"/>
                  <a:gd name="connsiteY15" fmla="*/ 129723 h 148631"/>
                  <a:gd name="connsiteX16" fmla="*/ 62076 w 101539"/>
                  <a:gd name="connsiteY16" fmla="*/ 139163 h 148631"/>
                  <a:gd name="connsiteX17" fmla="*/ 53953 w 101539"/>
                  <a:gd name="connsiteY17" fmla="*/ 133592 h 148631"/>
                  <a:gd name="connsiteX18" fmla="*/ 44375 w 101539"/>
                  <a:gd name="connsiteY18" fmla="*/ 148631 h 148631"/>
                  <a:gd name="connsiteX19" fmla="*/ 38146 w 101539"/>
                  <a:gd name="connsiteY19" fmla="*/ 146792 h 148631"/>
                  <a:gd name="connsiteX20" fmla="*/ 36993 w 101539"/>
                  <a:gd name="connsiteY20" fmla="*/ 143307 h 148631"/>
                  <a:gd name="connsiteX21" fmla="*/ 38146 w 101539"/>
                  <a:gd name="connsiteY21" fmla="*/ 131260 h 148631"/>
                  <a:gd name="connsiteX22" fmla="*/ 25330 w 101539"/>
                  <a:gd name="connsiteY22" fmla="*/ 119569 h 148631"/>
                  <a:gd name="connsiteX23" fmla="*/ 20720 w 101539"/>
                  <a:gd name="connsiteY23" fmla="*/ 117785 h 148631"/>
                  <a:gd name="connsiteX24" fmla="*/ 22256 w 101539"/>
                  <a:gd name="connsiteY24" fmla="*/ 107906 h 148631"/>
                  <a:gd name="connsiteX25" fmla="*/ 39683 w 101539"/>
                  <a:gd name="connsiteY25" fmla="*/ 105271 h 148631"/>
                  <a:gd name="connsiteX26" fmla="*/ 39792 w 101539"/>
                  <a:gd name="connsiteY26" fmla="*/ 100194 h 148631"/>
                  <a:gd name="connsiteX27" fmla="*/ 31285 w 101539"/>
                  <a:gd name="connsiteY27" fmla="*/ 90562 h 148631"/>
                  <a:gd name="connsiteX28" fmla="*/ 17289 w 101539"/>
                  <a:gd name="connsiteY28" fmla="*/ 87488 h 148631"/>
                  <a:gd name="connsiteX29" fmla="*/ 10620 w 101539"/>
                  <a:gd name="connsiteY29" fmla="*/ 75578 h 148631"/>
                  <a:gd name="connsiteX30" fmla="*/ 7904 w 101539"/>
                  <a:gd name="connsiteY30" fmla="*/ 62021 h 148631"/>
                  <a:gd name="connsiteX31" fmla="*/ 1180 w 101539"/>
                  <a:gd name="connsiteY31" fmla="*/ 54913 h 148631"/>
                  <a:gd name="connsiteX32" fmla="*/ 0 w 101539"/>
                  <a:gd name="connsiteY32" fmla="*/ 45610 h 148631"/>
                  <a:gd name="connsiteX33" fmla="*/ 6614 w 101539"/>
                  <a:gd name="connsiteY33" fmla="*/ 40286 h 148631"/>
                  <a:gd name="connsiteX34" fmla="*/ 6724 w 101539"/>
                  <a:gd name="connsiteY34" fmla="*/ 35154 h 148631"/>
                  <a:gd name="connsiteX35" fmla="*/ 1262 w 101539"/>
                  <a:gd name="connsiteY35" fmla="*/ 24452 h 14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1539" h="148631">
                    <a:moveTo>
                      <a:pt x="1235" y="24424"/>
                    </a:moveTo>
                    <a:lnTo>
                      <a:pt x="2031" y="6504"/>
                    </a:lnTo>
                    <a:lnTo>
                      <a:pt x="8343" y="0"/>
                    </a:lnTo>
                    <a:lnTo>
                      <a:pt x="25961" y="2936"/>
                    </a:lnTo>
                    <a:lnTo>
                      <a:pt x="63201" y="28897"/>
                    </a:lnTo>
                    <a:lnTo>
                      <a:pt x="63887" y="43305"/>
                    </a:lnTo>
                    <a:lnTo>
                      <a:pt x="69541" y="49370"/>
                    </a:lnTo>
                    <a:lnTo>
                      <a:pt x="81396" y="45006"/>
                    </a:lnTo>
                    <a:lnTo>
                      <a:pt x="101073" y="63476"/>
                    </a:lnTo>
                    <a:lnTo>
                      <a:pt x="101155" y="68525"/>
                    </a:lnTo>
                    <a:lnTo>
                      <a:pt x="93169" y="82494"/>
                    </a:lnTo>
                    <a:lnTo>
                      <a:pt x="93114" y="87323"/>
                    </a:lnTo>
                    <a:lnTo>
                      <a:pt x="101100" y="104503"/>
                    </a:lnTo>
                    <a:lnTo>
                      <a:pt x="101539" y="111089"/>
                    </a:lnTo>
                    <a:lnTo>
                      <a:pt x="95804" y="126018"/>
                    </a:lnTo>
                    <a:lnTo>
                      <a:pt x="82356" y="129723"/>
                    </a:lnTo>
                    <a:lnTo>
                      <a:pt x="62076" y="139163"/>
                    </a:lnTo>
                    <a:lnTo>
                      <a:pt x="53953" y="133592"/>
                    </a:lnTo>
                    <a:lnTo>
                      <a:pt x="44375" y="148631"/>
                    </a:lnTo>
                    <a:lnTo>
                      <a:pt x="38146" y="146792"/>
                    </a:lnTo>
                    <a:lnTo>
                      <a:pt x="36993" y="143307"/>
                    </a:lnTo>
                    <a:lnTo>
                      <a:pt x="38146" y="131260"/>
                    </a:lnTo>
                    <a:lnTo>
                      <a:pt x="25330" y="119569"/>
                    </a:lnTo>
                    <a:lnTo>
                      <a:pt x="20720" y="117785"/>
                    </a:lnTo>
                    <a:lnTo>
                      <a:pt x="22256" y="107906"/>
                    </a:lnTo>
                    <a:lnTo>
                      <a:pt x="39683" y="105271"/>
                    </a:lnTo>
                    <a:lnTo>
                      <a:pt x="39792" y="100194"/>
                    </a:lnTo>
                    <a:lnTo>
                      <a:pt x="31285" y="90562"/>
                    </a:lnTo>
                    <a:lnTo>
                      <a:pt x="17289" y="87488"/>
                    </a:lnTo>
                    <a:lnTo>
                      <a:pt x="10620" y="75578"/>
                    </a:lnTo>
                    <a:lnTo>
                      <a:pt x="7904" y="62021"/>
                    </a:lnTo>
                    <a:lnTo>
                      <a:pt x="1180" y="54913"/>
                    </a:lnTo>
                    <a:lnTo>
                      <a:pt x="0" y="45610"/>
                    </a:lnTo>
                    <a:lnTo>
                      <a:pt x="6614" y="40286"/>
                    </a:lnTo>
                    <a:lnTo>
                      <a:pt x="6724" y="35154"/>
                    </a:lnTo>
                    <a:lnTo>
                      <a:pt x="1262" y="244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2" name="Freeform: Shape 3301">
                <a:extLst>
                  <a:ext uri="{FF2B5EF4-FFF2-40B4-BE49-F238E27FC236}">
                    <a16:creationId xmlns:a16="http://schemas.microsoft.com/office/drawing/2014/main" id="{58789FF0-AF46-222F-33B4-B1328D0733C7}"/>
                  </a:ext>
                </a:extLst>
              </p:cNvPr>
              <p:cNvSpPr/>
              <p:nvPr/>
            </p:nvSpPr>
            <p:spPr>
              <a:xfrm>
                <a:off x="1069484" y="3480526"/>
                <a:ext cx="9274" cy="11693"/>
              </a:xfrm>
              <a:custGeom>
                <a:avLst/>
                <a:gdLst>
                  <a:gd name="connsiteX0" fmla="*/ 12048 w 88915"/>
                  <a:gd name="connsiteY0" fmla="*/ 20802 h 112104"/>
                  <a:gd name="connsiteX1" fmla="*/ 13529 w 88915"/>
                  <a:gd name="connsiteY1" fmla="*/ 26702 h 112104"/>
                  <a:gd name="connsiteX2" fmla="*/ 24369 w 88915"/>
                  <a:gd name="connsiteY2" fmla="*/ 12102 h 112104"/>
                  <a:gd name="connsiteX3" fmla="*/ 48464 w 88915"/>
                  <a:gd name="connsiteY3" fmla="*/ 0 h 112104"/>
                  <a:gd name="connsiteX4" fmla="*/ 62378 w 88915"/>
                  <a:gd name="connsiteY4" fmla="*/ 7437 h 112104"/>
                  <a:gd name="connsiteX5" fmla="*/ 83591 w 88915"/>
                  <a:gd name="connsiteY5" fmla="*/ 41741 h 112104"/>
                  <a:gd name="connsiteX6" fmla="*/ 86006 w 88915"/>
                  <a:gd name="connsiteY6" fmla="*/ 52251 h 112104"/>
                  <a:gd name="connsiteX7" fmla="*/ 88915 w 88915"/>
                  <a:gd name="connsiteY7" fmla="*/ 78734 h 112104"/>
                  <a:gd name="connsiteX8" fmla="*/ 86967 w 88915"/>
                  <a:gd name="connsiteY8" fmla="*/ 99563 h 112104"/>
                  <a:gd name="connsiteX9" fmla="*/ 56642 w 88915"/>
                  <a:gd name="connsiteY9" fmla="*/ 112105 h 112104"/>
                  <a:gd name="connsiteX10" fmla="*/ 6285 w 88915"/>
                  <a:gd name="connsiteY10" fmla="*/ 80490 h 112104"/>
                  <a:gd name="connsiteX11" fmla="*/ 0 w 88915"/>
                  <a:gd name="connsiteY11" fmla="*/ 68251 h 112104"/>
                  <a:gd name="connsiteX12" fmla="*/ 2141 w 88915"/>
                  <a:gd name="connsiteY12" fmla="*/ 52251 h 112104"/>
                  <a:gd name="connsiteX13" fmla="*/ 8672 w 88915"/>
                  <a:gd name="connsiteY13" fmla="*/ 32877 h 112104"/>
                  <a:gd name="connsiteX14" fmla="*/ 2964 w 88915"/>
                  <a:gd name="connsiteY14" fmla="*/ 8343 h 112104"/>
                  <a:gd name="connsiteX15" fmla="*/ 3375 w 88915"/>
                  <a:gd name="connsiteY15" fmla="*/ 1317 h 112104"/>
                  <a:gd name="connsiteX16" fmla="*/ 12953 w 88915"/>
                  <a:gd name="connsiteY16" fmla="*/ 5845 h 112104"/>
                  <a:gd name="connsiteX17" fmla="*/ 12102 w 88915"/>
                  <a:gd name="connsiteY17" fmla="*/ 20802 h 11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15" h="112104">
                    <a:moveTo>
                      <a:pt x="12048" y="20802"/>
                    </a:moveTo>
                    <a:lnTo>
                      <a:pt x="13529" y="26702"/>
                    </a:lnTo>
                    <a:lnTo>
                      <a:pt x="24369" y="12102"/>
                    </a:lnTo>
                    <a:lnTo>
                      <a:pt x="48464" y="0"/>
                    </a:lnTo>
                    <a:lnTo>
                      <a:pt x="62378" y="7437"/>
                    </a:lnTo>
                    <a:lnTo>
                      <a:pt x="83591" y="41741"/>
                    </a:lnTo>
                    <a:lnTo>
                      <a:pt x="86006" y="52251"/>
                    </a:lnTo>
                    <a:lnTo>
                      <a:pt x="88915" y="78734"/>
                    </a:lnTo>
                    <a:lnTo>
                      <a:pt x="86967" y="99563"/>
                    </a:lnTo>
                    <a:lnTo>
                      <a:pt x="56642" y="112105"/>
                    </a:lnTo>
                    <a:lnTo>
                      <a:pt x="6285" y="80490"/>
                    </a:lnTo>
                    <a:lnTo>
                      <a:pt x="0" y="68251"/>
                    </a:lnTo>
                    <a:lnTo>
                      <a:pt x="2141" y="52251"/>
                    </a:lnTo>
                    <a:lnTo>
                      <a:pt x="8672" y="32877"/>
                    </a:lnTo>
                    <a:lnTo>
                      <a:pt x="2964" y="8343"/>
                    </a:lnTo>
                    <a:lnTo>
                      <a:pt x="3375" y="1317"/>
                    </a:lnTo>
                    <a:lnTo>
                      <a:pt x="12953" y="5845"/>
                    </a:lnTo>
                    <a:lnTo>
                      <a:pt x="12102" y="208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3" name="Freeform: Shape 3302">
                <a:extLst>
                  <a:ext uri="{FF2B5EF4-FFF2-40B4-BE49-F238E27FC236}">
                    <a16:creationId xmlns:a16="http://schemas.microsoft.com/office/drawing/2014/main" id="{12F8B11C-BB7F-8C5E-116E-72732E04B523}"/>
                  </a:ext>
                </a:extLst>
              </p:cNvPr>
              <p:cNvSpPr/>
              <p:nvPr/>
            </p:nvSpPr>
            <p:spPr>
              <a:xfrm>
                <a:off x="1017822" y="3446799"/>
                <a:ext cx="11401" cy="11229"/>
              </a:xfrm>
              <a:custGeom>
                <a:avLst/>
                <a:gdLst>
                  <a:gd name="connsiteX0" fmla="*/ 71132 w 109305"/>
                  <a:gd name="connsiteY0" fmla="*/ 96956 h 107658"/>
                  <a:gd name="connsiteX1" fmla="*/ 38228 w 109305"/>
                  <a:gd name="connsiteY1" fmla="*/ 107659 h 107658"/>
                  <a:gd name="connsiteX2" fmla="*/ 23409 w 109305"/>
                  <a:gd name="connsiteY2" fmla="*/ 96435 h 107658"/>
                  <a:gd name="connsiteX3" fmla="*/ 17838 w 109305"/>
                  <a:gd name="connsiteY3" fmla="*/ 91769 h 107658"/>
                  <a:gd name="connsiteX4" fmla="*/ 16493 w 109305"/>
                  <a:gd name="connsiteY4" fmla="*/ 90644 h 107658"/>
                  <a:gd name="connsiteX5" fmla="*/ 14188 w 109305"/>
                  <a:gd name="connsiteY5" fmla="*/ 88723 h 107658"/>
                  <a:gd name="connsiteX6" fmla="*/ 3897 w 109305"/>
                  <a:gd name="connsiteY6" fmla="*/ 80079 h 107658"/>
                  <a:gd name="connsiteX7" fmla="*/ 3677 w 109305"/>
                  <a:gd name="connsiteY7" fmla="*/ 63750 h 107658"/>
                  <a:gd name="connsiteX8" fmla="*/ 0 w 109305"/>
                  <a:gd name="connsiteY8" fmla="*/ 40698 h 107658"/>
                  <a:gd name="connsiteX9" fmla="*/ 6037 w 109305"/>
                  <a:gd name="connsiteY9" fmla="*/ 27059 h 107658"/>
                  <a:gd name="connsiteX10" fmla="*/ 14161 w 109305"/>
                  <a:gd name="connsiteY10" fmla="*/ 23574 h 107658"/>
                  <a:gd name="connsiteX11" fmla="*/ 16466 w 109305"/>
                  <a:gd name="connsiteY11" fmla="*/ 22586 h 107658"/>
                  <a:gd name="connsiteX12" fmla="*/ 17810 w 109305"/>
                  <a:gd name="connsiteY12" fmla="*/ 22009 h 107658"/>
                  <a:gd name="connsiteX13" fmla="*/ 61966 w 109305"/>
                  <a:gd name="connsiteY13" fmla="*/ 3046 h 107658"/>
                  <a:gd name="connsiteX14" fmla="*/ 90150 w 109305"/>
                  <a:gd name="connsiteY14" fmla="*/ 0 h 107658"/>
                  <a:gd name="connsiteX15" fmla="*/ 95035 w 109305"/>
                  <a:gd name="connsiteY15" fmla="*/ 604 h 107658"/>
                  <a:gd name="connsiteX16" fmla="*/ 105601 w 109305"/>
                  <a:gd name="connsiteY16" fmla="*/ 1921 h 107658"/>
                  <a:gd name="connsiteX17" fmla="*/ 109305 w 109305"/>
                  <a:gd name="connsiteY17" fmla="*/ 11169 h 107658"/>
                  <a:gd name="connsiteX18" fmla="*/ 103899 w 109305"/>
                  <a:gd name="connsiteY18" fmla="*/ 23354 h 107658"/>
                  <a:gd name="connsiteX19" fmla="*/ 95008 w 109305"/>
                  <a:gd name="connsiteY19" fmla="*/ 27882 h 107658"/>
                  <a:gd name="connsiteX20" fmla="*/ 76045 w 109305"/>
                  <a:gd name="connsiteY20" fmla="*/ 37487 h 107658"/>
                  <a:gd name="connsiteX21" fmla="*/ 77609 w 109305"/>
                  <a:gd name="connsiteY21" fmla="*/ 47120 h 107658"/>
                  <a:gd name="connsiteX22" fmla="*/ 93965 w 109305"/>
                  <a:gd name="connsiteY22" fmla="*/ 49150 h 107658"/>
                  <a:gd name="connsiteX23" fmla="*/ 94815 w 109305"/>
                  <a:gd name="connsiteY23" fmla="*/ 69211 h 107658"/>
                  <a:gd name="connsiteX24" fmla="*/ 91248 w 109305"/>
                  <a:gd name="connsiteY24" fmla="*/ 82027 h 107658"/>
                  <a:gd name="connsiteX25" fmla="*/ 71077 w 109305"/>
                  <a:gd name="connsiteY25" fmla="*/ 96983 h 107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9305" h="107658">
                    <a:moveTo>
                      <a:pt x="71132" y="96956"/>
                    </a:moveTo>
                    <a:lnTo>
                      <a:pt x="38228" y="107659"/>
                    </a:lnTo>
                    <a:lnTo>
                      <a:pt x="23409" y="96435"/>
                    </a:lnTo>
                    <a:lnTo>
                      <a:pt x="17838" y="91769"/>
                    </a:lnTo>
                    <a:lnTo>
                      <a:pt x="16493" y="90644"/>
                    </a:lnTo>
                    <a:lnTo>
                      <a:pt x="14188" y="88723"/>
                    </a:lnTo>
                    <a:lnTo>
                      <a:pt x="3897" y="80079"/>
                    </a:lnTo>
                    <a:lnTo>
                      <a:pt x="3677" y="63750"/>
                    </a:lnTo>
                    <a:lnTo>
                      <a:pt x="0" y="40698"/>
                    </a:lnTo>
                    <a:lnTo>
                      <a:pt x="6037" y="27059"/>
                    </a:lnTo>
                    <a:lnTo>
                      <a:pt x="14161" y="23574"/>
                    </a:lnTo>
                    <a:lnTo>
                      <a:pt x="16466" y="22586"/>
                    </a:lnTo>
                    <a:lnTo>
                      <a:pt x="17810" y="22009"/>
                    </a:lnTo>
                    <a:lnTo>
                      <a:pt x="61966" y="3046"/>
                    </a:lnTo>
                    <a:lnTo>
                      <a:pt x="90150" y="0"/>
                    </a:lnTo>
                    <a:lnTo>
                      <a:pt x="95035" y="604"/>
                    </a:lnTo>
                    <a:lnTo>
                      <a:pt x="105601" y="1921"/>
                    </a:lnTo>
                    <a:lnTo>
                      <a:pt x="109305" y="11169"/>
                    </a:lnTo>
                    <a:lnTo>
                      <a:pt x="103899" y="23354"/>
                    </a:lnTo>
                    <a:lnTo>
                      <a:pt x="95008" y="27882"/>
                    </a:lnTo>
                    <a:lnTo>
                      <a:pt x="76045" y="37487"/>
                    </a:lnTo>
                    <a:lnTo>
                      <a:pt x="77609" y="47120"/>
                    </a:lnTo>
                    <a:lnTo>
                      <a:pt x="93965" y="49150"/>
                    </a:lnTo>
                    <a:lnTo>
                      <a:pt x="94815" y="69211"/>
                    </a:lnTo>
                    <a:lnTo>
                      <a:pt x="91248" y="82027"/>
                    </a:lnTo>
                    <a:lnTo>
                      <a:pt x="71077" y="969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4" name="Freeform: Shape 3303">
                <a:extLst>
                  <a:ext uri="{FF2B5EF4-FFF2-40B4-BE49-F238E27FC236}">
                    <a16:creationId xmlns:a16="http://schemas.microsoft.com/office/drawing/2014/main" id="{DCB722E4-1B1C-9BEC-3229-7699C8234D4E}"/>
                  </a:ext>
                </a:extLst>
              </p:cNvPr>
              <p:cNvSpPr/>
              <p:nvPr/>
            </p:nvSpPr>
            <p:spPr>
              <a:xfrm>
                <a:off x="1128451" y="3553784"/>
                <a:ext cx="6861" cy="9134"/>
              </a:xfrm>
              <a:custGeom>
                <a:avLst/>
                <a:gdLst>
                  <a:gd name="connsiteX0" fmla="*/ 42976 w 65780"/>
                  <a:gd name="connsiteY0" fmla="*/ 83591 h 87570"/>
                  <a:gd name="connsiteX1" fmla="*/ 16631 w 65780"/>
                  <a:gd name="connsiteY1" fmla="*/ 87570 h 87570"/>
                  <a:gd name="connsiteX2" fmla="*/ 5900 w 65780"/>
                  <a:gd name="connsiteY2" fmla="*/ 84030 h 87570"/>
                  <a:gd name="connsiteX3" fmla="*/ 851 w 65780"/>
                  <a:gd name="connsiteY3" fmla="*/ 74398 h 87570"/>
                  <a:gd name="connsiteX4" fmla="*/ 55 w 65780"/>
                  <a:gd name="connsiteY4" fmla="*/ 67921 h 87570"/>
                  <a:gd name="connsiteX5" fmla="*/ 0 w 65780"/>
                  <a:gd name="connsiteY5" fmla="*/ 43497 h 87570"/>
                  <a:gd name="connsiteX6" fmla="*/ 8809 w 65780"/>
                  <a:gd name="connsiteY6" fmla="*/ 19594 h 87570"/>
                  <a:gd name="connsiteX7" fmla="*/ 16960 w 65780"/>
                  <a:gd name="connsiteY7" fmla="*/ 6669 h 87570"/>
                  <a:gd name="connsiteX8" fmla="*/ 41686 w 65780"/>
                  <a:gd name="connsiteY8" fmla="*/ 0 h 87570"/>
                  <a:gd name="connsiteX9" fmla="*/ 60676 w 65780"/>
                  <a:gd name="connsiteY9" fmla="*/ 7684 h 87570"/>
                  <a:gd name="connsiteX10" fmla="*/ 64738 w 65780"/>
                  <a:gd name="connsiteY10" fmla="*/ 13008 h 87570"/>
                  <a:gd name="connsiteX11" fmla="*/ 65781 w 65780"/>
                  <a:gd name="connsiteY11" fmla="*/ 17563 h 87570"/>
                  <a:gd name="connsiteX12" fmla="*/ 62213 w 65780"/>
                  <a:gd name="connsiteY12" fmla="*/ 31175 h 87570"/>
                  <a:gd name="connsiteX13" fmla="*/ 64464 w 65780"/>
                  <a:gd name="connsiteY13" fmla="*/ 56862 h 87570"/>
                  <a:gd name="connsiteX14" fmla="*/ 61198 w 65780"/>
                  <a:gd name="connsiteY14" fmla="*/ 67921 h 87570"/>
                  <a:gd name="connsiteX15" fmla="*/ 43031 w 65780"/>
                  <a:gd name="connsiteY15" fmla="*/ 83591 h 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780" h="87570">
                    <a:moveTo>
                      <a:pt x="42976" y="83591"/>
                    </a:moveTo>
                    <a:lnTo>
                      <a:pt x="16631" y="87570"/>
                    </a:lnTo>
                    <a:lnTo>
                      <a:pt x="5900" y="84030"/>
                    </a:lnTo>
                    <a:lnTo>
                      <a:pt x="851" y="74398"/>
                    </a:lnTo>
                    <a:lnTo>
                      <a:pt x="55" y="67921"/>
                    </a:lnTo>
                    <a:lnTo>
                      <a:pt x="0" y="43497"/>
                    </a:lnTo>
                    <a:lnTo>
                      <a:pt x="8809" y="19594"/>
                    </a:lnTo>
                    <a:lnTo>
                      <a:pt x="16960" y="6669"/>
                    </a:lnTo>
                    <a:lnTo>
                      <a:pt x="41686" y="0"/>
                    </a:lnTo>
                    <a:lnTo>
                      <a:pt x="60676" y="7684"/>
                    </a:lnTo>
                    <a:lnTo>
                      <a:pt x="64738" y="13008"/>
                    </a:lnTo>
                    <a:lnTo>
                      <a:pt x="65781" y="17563"/>
                    </a:lnTo>
                    <a:lnTo>
                      <a:pt x="62213" y="31175"/>
                    </a:lnTo>
                    <a:lnTo>
                      <a:pt x="64464" y="56862"/>
                    </a:lnTo>
                    <a:lnTo>
                      <a:pt x="61198" y="67921"/>
                    </a:lnTo>
                    <a:lnTo>
                      <a:pt x="43031" y="835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5" name="Freeform: Shape 3304">
                <a:extLst>
                  <a:ext uri="{FF2B5EF4-FFF2-40B4-BE49-F238E27FC236}">
                    <a16:creationId xmlns:a16="http://schemas.microsoft.com/office/drawing/2014/main" id="{2423A626-1025-39AB-3C05-AEF453715A2A}"/>
                  </a:ext>
                </a:extLst>
              </p:cNvPr>
              <p:cNvSpPr/>
              <p:nvPr/>
            </p:nvSpPr>
            <p:spPr>
              <a:xfrm>
                <a:off x="1167865" y="3680674"/>
                <a:ext cx="7290" cy="4671"/>
              </a:xfrm>
              <a:custGeom>
                <a:avLst/>
                <a:gdLst>
                  <a:gd name="connsiteX0" fmla="*/ 10017 w 69897"/>
                  <a:gd name="connsiteY0" fmla="*/ 11856 h 44787"/>
                  <a:gd name="connsiteX1" fmla="*/ 14161 w 69897"/>
                  <a:gd name="connsiteY1" fmla="*/ 14051 h 44787"/>
                  <a:gd name="connsiteX2" fmla="*/ 17948 w 69897"/>
                  <a:gd name="connsiteY2" fmla="*/ 23711 h 44787"/>
                  <a:gd name="connsiteX3" fmla="*/ 19842 w 69897"/>
                  <a:gd name="connsiteY3" fmla="*/ 23217 h 44787"/>
                  <a:gd name="connsiteX4" fmla="*/ 18579 w 69897"/>
                  <a:gd name="connsiteY4" fmla="*/ 21159 h 44787"/>
                  <a:gd name="connsiteX5" fmla="*/ 22202 w 69897"/>
                  <a:gd name="connsiteY5" fmla="*/ 19457 h 44787"/>
                  <a:gd name="connsiteX6" fmla="*/ 39957 w 69897"/>
                  <a:gd name="connsiteY6" fmla="*/ 25467 h 44787"/>
                  <a:gd name="connsiteX7" fmla="*/ 67647 w 69897"/>
                  <a:gd name="connsiteY7" fmla="*/ 22915 h 44787"/>
                  <a:gd name="connsiteX8" fmla="*/ 69898 w 69897"/>
                  <a:gd name="connsiteY8" fmla="*/ 24314 h 44787"/>
                  <a:gd name="connsiteX9" fmla="*/ 67647 w 69897"/>
                  <a:gd name="connsiteY9" fmla="*/ 26620 h 44787"/>
                  <a:gd name="connsiteX10" fmla="*/ 61363 w 69897"/>
                  <a:gd name="connsiteY10" fmla="*/ 28020 h 44787"/>
                  <a:gd name="connsiteX11" fmla="*/ 57713 w 69897"/>
                  <a:gd name="connsiteY11" fmla="*/ 33536 h 44787"/>
                  <a:gd name="connsiteX12" fmla="*/ 52993 w 69897"/>
                  <a:gd name="connsiteY12" fmla="*/ 33837 h 44787"/>
                  <a:gd name="connsiteX13" fmla="*/ 56258 w 69897"/>
                  <a:gd name="connsiteY13" fmla="*/ 41082 h 44787"/>
                  <a:gd name="connsiteX14" fmla="*/ 54255 w 69897"/>
                  <a:gd name="connsiteY14" fmla="*/ 44046 h 44787"/>
                  <a:gd name="connsiteX15" fmla="*/ 49068 w 69897"/>
                  <a:gd name="connsiteY15" fmla="*/ 44787 h 44787"/>
                  <a:gd name="connsiteX16" fmla="*/ 44540 w 69897"/>
                  <a:gd name="connsiteY16" fmla="*/ 42838 h 44787"/>
                  <a:gd name="connsiteX17" fmla="*/ 40561 w 69897"/>
                  <a:gd name="connsiteY17" fmla="*/ 34853 h 44787"/>
                  <a:gd name="connsiteX18" fmla="*/ 35786 w 69897"/>
                  <a:gd name="connsiteY18" fmla="*/ 34276 h 44787"/>
                  <a:gd name="connsiteX19" fmla="*/ 32218 w 69897"/>
                  <a:gd name="connsiteY19" fmla="*/ 36829 h 44787"/>
                  <a:gd name="connsiteX20" fmla="*/ 21433 w 69897"/>
                  <a:gd name="connsiteY20" fmla="*/ 33014 h 44787"/>
                  <a:gd name="connsiteX21" fmla="*/ 15780 w 69897"/>
                  <a:gd name="connsiteY21" fmla="*/ 26016 h 44787"/>
                  <a:gd name="connsiteX22" fmla="*/ 7657 w 69897"/>
                  <a:gd name="connsiteY22" fmla="*/ 25906 h 44787"/>
                  <a:gd name="connsiteX23" fmla="*/ 8480 w 69897"/>
                  <a:gd name="connsiteY23" fmla="*/ 20720 h 44787"/>
                  <a:gd name="connsiteX24" fmla="*/ 9742 w 69897"/>
                  <a:gd name="connsiteY24" fmla="*/ 18442 h 44787"/>
                  <a:gd name="connsiteX25" fmla="*/ 0 w 69897"/>
                  <a:gd name="connsiteY25" fmla="*/ 15258 h 44787"/>
                  <a:gd name="connsiteX26" fmla="*/ 55 w 69897"/>
                  <a:gd name="connsiteY26" fmla="*/ 12487 h 44787"/>
                  <a:gd name="connsiteX27" fmla="*/ 6010 w 69897"/>
                  <a:gd name="connsiteY27" fmla="*/ 3266 h 44787"/>
                  <a:gd name="connsiteX28" fmla="*/ 11526 w 69897"/>
                  <a:gd name="connsiteY28" fmla="*/ 0 h 44787"/>
                  <a:gd name="connsiteX29" fmla="*/ 10950 w 69897"/>
                  <a:gd name="connsiteY29" fmla="*/ 7327 h 44787"/>
                  <a:gd name="connsiteX30" fmla="*/ 10044 w 69897"/>
                  <a:gd name="connsiteY30" fmla="*/ 11883 h 4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897" h="44787">
                    <a:moveTo>
                      <a:pt x="10017" y="11856"/>
                    </a:moveTo>
                    <a:lnTo>
                      <a:pt x="14161" y="14051"/>
                    </a:lnTo>
                    <a:lnTo>
                      <a:pt x="17948" y="23711"/>
                    </a:lnTo>
                    <a:lnTo>
                      <a:pt x="19842" y="23217"/>
                    </a:lnTo>
                    <a:lnTo>
                      <a:pt x="18579" y="21159"/>
                    </a:lnTo>
                    <a:lnTo>
                      <a:pt x="22202" y="19457"/>
                    </a:lnTo>
                    <a:lnTo>
                      <a:pt x="39957" y="25467"/>
                    </a:lnTo>
                    <a:lnTo>
                      <a:pt x="67647" y="22915"/>
                    </a:lnTo>
                    <a:lnTo>
                      <a:pt x="69898" y="24314"/>
                    </a:lnTo>
                    <a:lnTo>
                      <a:pt x="67647" y="26620"/>
                    </a:lnTo>
                    <a:lnTo>
                      <a:pt x="61363" y="28020"/>
                    </a:lnTo>
                    <a:lnTo>
                      <a:pt x="57713" y="33536"/>
                    </a:lnTo>
                    <a:lnTo>
                      <a:pt x="52993" y="33837"/>
                    </a:lnTo>
                    <a:lnTo>
                      <a:pt x="56258" y="41082"/>
                    </a:lnTo>
                    <a:lnTo>
                      <a:pt x="54255" y="44046"/>
                    </a:lnTo>
                    <a:lnTo>
                      <a:pt x="49068" y="44787"/>
                    </a:lnTo>
                    <a:lnTo>
                      <a:pt x="44540" y="42838"/>
                    </a:lnTo>
                    <a:lnTo>
                      <a:pt x="40561" y="34853"/>
                    </a:lnTo>
                    <a:lnTo>
                      <a:pt x="35786" y="34276"/>
                    </a:lnTo>
                    <a:lnTo>
                      <a:pt x="32218" y="36829"/>
                    </a:lnTo>
                    <a:lnTo>
                      <a:pt x="21433" y="33014"/>
                    </a:lnTo>
                    <a:lnTo>
                      <a:pt x="15780" y="26016"/>
                    </a:lnTo>
                    <a:lnTo>
                      <a:pt x="7657" y="25906"/>
                    </a:lnTo>
                    <a:lnTo>
                      <a:pt x="8480" y="20720"/>
                    </a:lnTo>
                    <a:lnTo>
                      <a:pt x="9742" y="18442"/>
                    </a:lnTo>
                    <a:lnTo>
                      <a:pt x="0" y="15258"/>
                    </a:lnTo>
                    <a:lnTo>
                      <a:pt x="55" y="12487"/>
                    </a:lnTo>
                    <a:lnTo>
                      <a:pt x="6010" y="3266"/>
                    </a:lnTo>
                    <a:lnTo>
                      <a:pt x="11526" y="0"/>
                    </a:lnTo>
                    <a:lnTo>
                      <a:pt x="10950" y="7327"/>
                    </a:lnTo>
                    <a:lnTo>
                      <a:pt x="10044" y="118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6" name="Freeform: Shape 3305">
                <a:extLst>
                  <a:ext uri="{FF2B5EF4-FFF2-40B4-BE49-F238E27FC236}">
                    <a16:creationId xmlns:a16="http://schemas.microsoft.com/office/drawing/2014/main" id="{27919A5A-6CD9-8EC1-4B38-CC1BF212EBB1}"/>
                  </a:ext>
                </a:extLst>
              </p:cNvPr>
              <p:cNvSpPr/>
              <p:nvPr/>
            </p:nvSpPr>
            <p:spPr>
              <a:xfrm>
                <a:off x="1167519" y="3667069"/>
                <a:ext cx="8630" cy="4133"/>
              </a:xfrm>
              <a:custGeom>
                <a:avLst/>
                <a:gdLst>
                  <a:gd name="connsiteX0" fmla="*/ 79310 w 82740"/>
                  <a:gd name="connsiteY0" fmla="*/ 39573 h 39627"/>
                  <a:gd name="connsiteX1" fmla="*/ 70391 w 82740"/>
                  <a:gd name="connsiteY1" fmla="*/ 39628 h 39627"/>
                  <a:gd name="connsiteX2" fmla="*/ 39710 w 82740"/>
                  <a:gd name="connsiteY2" fmla="*/ 31532 h 39627"/>
                  <a:gd name="connsiteX3" fmla="*/ 27635 w 82740"/>
                  <a:gd name="connsiteY3" fmla="*/ 25357 h 39627"/>
                  <a:gd name="connsiteX4" fmla="*/ 20994 w 82740"/>
                  <a:gd name="connsiteY4" fmla="*/ 15368 h 39627"/>
                  <a:gd name="connsiteX5" fmla="*/ 15258 w 82740"/>
                  <a:gd name="connsiteY5" fmla="*/ 11389 h 39627"/>
                  <a:gd name="connsiteX6" fmla="*/ 10950 w 82740"/>
                  <a:gd name="connsiteY6" fmla="*/ 9989 h 39627"/>
                  <a:gd name="connsiteX7" fmla="*/ 0 w 82740"/>
                  <a:gd name="connsiteY7" fmla="*/ 3705 h 39627"/>
                  <a:gd name="connsiteX8" fmla="*/ 2278 w 82740"/>
                  <a:gd name="connsiteY8" fmla="*/ 1290 h 39627"/>
                  <a:gd name="connsiteX9" fmla="*/ 10950 w 82740"/>
                  <a:gd name="connsiteY9" fmla="*/ 0 h 39627"/>
                  <a:gd name="connsiteX10" fmla="*/ 42070 w 82740"/>
                  <a:gd name="connsiteY10" fmla="*/ 8342 h 39627"/>
                  <a:gd name="connsiteX11" fmla="*/ 56450 w 82740"/>
                  <a:gd name="connsiteY11" fmla="*/ 15341 h 39627"/>
                  <a:gd name="connsiteX12" fmla="*/ 61829 w 82740"/>
                  <a:gd name="connsiteY12" fmla="*/ 20500 h 39627"/>
                  <a:gd name="connsiteX13" fmla="*/ 70419 w 82740"/>
                  <a:gd name="connsiteY13" fmla="*/ 25522 h 39627"/>
                  <a:gd name="connsiteX14" fmla="*/ 76895 w 82740"/>
                  <a:gd name="connsiteY14" fmla="*/ 27607 h 39627"/>
                  <a:gd name="connsiteX15" fmla="*/ 82741 w 82740"/>
                  <a:gd name="connsiteY15" fmla="*/ 36554 h 39627"/>
                  <a:gd name="connsiteX16" fmla="*/ 79338 w 82740"/>
                  <a:gd name="connsiteY16" fmla="*/ 39573 h 3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2740" h="39627">
                    <a:moveTo>
                      <a:pt x="79310" y="39573"/>
                    </a:moveTo>
                    <a:lnTo>
                      <a:pt x="70391" y="39628"/>
                    </a:lnTo>
                    <a:lnTo>
                      <a:pt x="39710" y="31532"/>
                    </a:lnTo>
                    <a:lnTo>
                      <a:pt x="27635" y="25357"/>
                    </a:lnTo>
                    <a:lnTo>
                      <a:pt x="20994" y="15368"/>
                    </a:lnTo>
                    <a:lnTo>
                      <a:pt x="15258" y="11389"/>
                    </a:lnTo>
                    <a:lnTo>
                      <a:pt x="10950" y="9989"/>
                    </a:lnTo>
                    <a:lnTo>
                      <a:pt x="0" y="3705"/>
                    </a:lnTo>
                    <a:lnTo>
                      <a:pt x="2278" y="1290"/>
                    </a:lnTo>
                    <a:lnTo>
                      <a:pt x="10950" y="0"/>
                    </a:lnTo>
                    <a:lnTo>
                      <a:pt x="42070" y="8342"/>
                    </a:lnTo>
                    <a:lnTo>
                      <a:pt x="56450" y="15341"/>
                    </a:lnTo>
                    <a:lnTo>
                      <a:pt x="61829" y="20500"/>
                    </a:lnTo>
                    <a:lnTo>
                      <a:pt x="70419" y="25522"/>
                    </a:lnTo>
                    <a:lnTo>
                      <a:pt x="76895" y="27607"/>
                    </a:lnTo>
                    <a:lnTo>
                      <a:pt x="82741" y="36554"/>
                    </a:lnTo>
                    <a:lnTo>
                      <a:pt x="79338" y="395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7" name="Freeform: Shape 3306">
                <a:extLst>
                  <a:ext uri="{FF2B5EF4-FFF2-40B4-BE49-F238E27FC236}">
                    <a16:creationId xmlns:a16="http://schemas.microsoft.com/office/drawing/2014/main" id="{77CF6645-3D7F-D0EF-A374-DA93FF20B859}"/>
                  </a:ext>
                </a:extLst>
              </p:cNvPr>
              <p:cNvSpPr/>
              <p:nvPr/>
            </p:nvSpPr>
            <p:spPr>
              <a:xfrm>
                <a:off x="1017990" y="3436540"/>
                <a:ext cx="12234" cy="7854"/>
              </a:xfrm>
              <a:custGeom>
                <a:avLst/>
                <a:gdLst>
                  <a:gd name="connsiteX0" fmla="*/ 21762 w 117291"/>
                  <a:gd name="connsiteY0" fmla="*/ 40204 h 75303"/>
                  <a:gd name="connsiteX1" fmla="*/ 45994 w 117291"/>
                  <a:gd name="connsiteY1" fmla="*/ 32932 h 75303"/>
                  <a:gd name="connsiteX2" fmla="*/ 76127 w 117291"/>
                  <a:gd name="connsiteY2" fmla="*/ 0 h 75303"/>
                  <a:gd name="connsiteX3" fmla="*/ 93416 w 117291"/>
                  <a:gd name="connsiteY3" fmla="*/ 14161 h 75303"/>
                  <a:gd name="connsiteX4" fmla="*/ 110952 w 117291"/>
                  <a:gd name="connsiteY4" fmla="*/ 28403 h 75303"/>
                  <a:gd name="connsiteX5" fmla="*/ 117291 w 117291"/>
                  <a:gd name="connsiteY5" fmla="*/ 46955 h 75303"/>
                  <a:gd name="connsiteX6" fmla="*/ 111501 w 117291"/>
                  <a:gd name="connsiteY6" fmla="*/ 68553 h 75303"/>
                  <a:gd name="connsiteX7" fmla="*/ 93443 w 117291"/>
                  <a:gd name="connsiteY7" fmla="*/ 70556 h 75303"/>
                  <a:gd name="connsiteX8" fmla="*/ 77718 w 117291"/>
                  <a:gd name="connsiteY8" fmla="*/ 72312 h 75303"/>
                  <a:gd name="connsiteX9" fmla="*/ 61719 w 117291"/>
                  <a:gd name="connsiteY9" fmla="*/ 60567 h 75303"/>
                  <a:gd name="connsiteX10" fmla="*/ 47778 w 117291"/>
                  <a:gd name="connsiteY10" fmla="*/ 75276 h 75303"/>
                  <a:gd name="connsiteX11" fmla="*/ 31834 w 117291"/>
                  <a:gd name="connsiteY11" fmla="*/ 61994 h 75303"/>
                  <a:gd name="connsiteX12" fmla="*/ 21762 w 117291"/>
                  <a:gd name="connsiteY12" fmla="*/ 66412 h 75303"/>
                  <a:gd name="connsiteX13" fmla="*/ 16219 w 117291"/>
                  <a:gd name="connsiteY13" fmla="*/ 69266 h 75303"/>
                  <a:gd name="connsiteX14" fmla="*/ 14874 w 117291"/>
                  <a:gd name="connsiteY14" fmla="*/ 69952 h 75303"/>
                  <a:gd name="connsiteX15" fmla="*/ 12569 w 117291"/>
                  <a:gd name="connsiteY15" fmla="*/ 71132 h 75303"/>
                  <a:gd name="connsiteX16" fmla="*/ 4418 w 117291"/>
                  <a:gd name="connsiteY16" fmla="*/ 75303 h 75303"/>
                  <a:gd name="connsiteX17" fmla="*/ 0 w 117291"/>
                  <a:gd name="connsiteY17" fmla="*/ 68882 h 75303"/>
                  <a:gd name="connsiteX18" fmla="*/ 1427 w 117291"/>
                  <a:gd name="connsiteY18" fmla="*/ 56807 h 75303"/>
                  <a:gd name="connsiteX19" fmla="*/ 4446 w 117291"/>
                  <a:gd name="connsiteY19" fmla="*/ 52636 h 75303"/>
                  <a:gd name="connsiteX20" fmla="*/ 12596 w 117291"/>
                  <a:gd name="connsiteY20" fmla="*/ 46790 h 75303"/>
                  <a:gd name="connsiteX21" fmla="*/ 14902 w 117291"/>
                  <a:gd name="connsiteY21" fmla="*/ 45144 h 75303"/>
                  <a:gd name="connsiteX22" fmla="*/ 16246 w 117291"/>
                  <a:gd name="connsiteY22" fmla="*/ 44183 h 75303"/>
                  <a:gd name="connsiteX23" fmla="*/ 21790 w 117291"/>
                  <a:gd name="connsiteY23" fmla="*/ 40176 h 7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7291" h="75303">
                    <a:moveTo>
                      <a:pt x="21762" y="40204"/>
                    </a:moveTo>
                    <a:lnTo>
                      <a:pt x="45994" y="32932"/>
                    </a:lnTo>
                    <a:lnTo>
                      <a:pt x="76127" y="0"/>
                    </a:lnTo>
                    <a:lnTo>
                      <a:pt x="93416" y="14161"/>
                    </a:lnTo>
                    <a:lnTo>
                      <a:pt x="110952" y="28403"/>
                    </a:lnTo>
                    <a:lnTo>
                      <a:pt x="117291" y="46955"/>
                    </a:lnTo>
                    <a:lnTo>
                      <a:pt x="111501" y="68553"/>
                    </a:lnTo>
                    <a:lnTo>
                      <a:pt x="93443" y="70556"/>
                    </a:lnTo>
                    <a:lnTo>
                      <a:pt x="77718" y="72312"/>
                    </a:lnTo>
                    <a:lnTo>
                      <a:pt x="61719" y="60567"/>
                    </a:lnTo>
                    <a:lnTo>
                      <a:pt x="47778" y="75276"/>
                    </a:lnTo>
                    <a:lnTo>
                      <a:pt x="31834" y="61994"/>
                    </a:lnTo>
                    <a:lnTo>
                      <a:pt x="21762" y="66412"/>
                    </a:lnTo>
                    <a:lnTo>
                      <a:pt x="16219" y="69266"/>
                    </a:lnTo>
                    <a:lnTo>
                      <a:pt x="14874" y="69952"/>
                    </a:lnTo>
                    <a:lnTo>
                      <a:pt x="12569" y="71132"/>
                    </a:lnTo>
                    <a:lnTo>
                      <a:pt x="4418" y="75303"/>
                    </a:lnTo>
                    <a:lnTo>
                      <a:pt x="0" y="68882"/>
                    </a:lnTo>
                    <a:lnTo>
                      <a:pt x="1427" y="56807"/>
                    </a:lnTo>
                    <a:lnTo>
                      <a:pt x="4446" y="52636"/>
                    </a:lnTo>
                    <a:lnTo>
                      <a:pt x="12596" y="46790"/>
                    </a:lnTo>
                    <a:lnTo>
                      <a:pt x="14902" y="45144"/>
                    </a:lnTo>
                    <a:lnTo>
                      <a:pt x="16246" y="44183"/>
                    </a:lnTo>
                    <a:lnTo>
                      <a:pt x="21790" y="401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8" name="Freeform: Shape 3307">
                <a:extLst>
                  <a:ext uri="{FF2B5EF4-FFF2-40B4-BE49-F238E27FC236}">
                    <a16:creationId xmlns:a16="http://schemas.microsoft.com/office/drawing/2014/main" id="{1F349781-A2CE-578F-E407-2A440E8A3E93}"/>
                  </a:ext>
                </a:extLst>
              </p:cNvPr>
              <p:cNvSpPr/>
              <p:nvPr/>
            </p:nvSpPr>
            <p:spPr>
              <a:xfrm>
                <a:off x="1107839" y="3593771"/>
                <a:ext cx="6420" cy="5639"/>
              </a:xfrm>
              <a:custGeom>
                <a:avLst/>
                <a:gdLst>
                  <a:gd name="connsiteX0" fmla="*/ 36252 w 61554"/>
                  <a:gd name="connsiteY0" fmla="*/ 3101 h 54062"/>
                  <a:gd name="connsiteX1" fmla="*/ 44787 w 61554"/>
                  <a:gd name="connsiteY1" fmla="*/ 3815 h 54062"/>
                  <a:gd name="connsiteX2" fmla="*/ 48218 w 61554"/>
                  <a:gd name="connsiteY2" fmla="*/ 192 h 54062"/>
                  <a:gd name="connsiteX3" fmla="*/ 52169 w 61554"/>
                  <a:gd name="connsiteY3" fmla="*/ 0 h 54062"/>
                  <a:gd name="connsiteX4" fmla="*/ 57411 w 61554"/>
                  <a:gd name="connsiteY4" fmla="*/ 2690 h 54062"/>
                  <a:gd name="connsiteX5" fmla="*/ 60457 w 61554"/>
                  <a:gd name="connsiteY5" fmla="*/ 2744 h 54062"/>
                  <a:gd name="connsiteX6" fmla="*/ 61555 w 61554"/>
                  <a:gd name="connsiteY6" fmla="*/ 4610 h 54062"/>
                  <a:gd name="connsiteX7" fmla="*/ 58563 w 61554"/>
                  <a:gd name="connsiteY7" fmla="*/ 12185 h 54062"/>
                  <a:gd name="connsiteX8" fmla="*/ 58893 w 61554"/>
                  <a:gd name="connsiteY8" fmla="*/ 17865 h 54062"/>
                  <a:gd name="connsiteX9" fmla="*/ 53953 w 61554"/>
                  <a:gd name="connsiteY9" fmla="*/ 23985 h 54062"/>
                  <a:gd name="connsiteX10" fmla="*/ 50687 w 61554"/>
                  <a:gd name="connsiteY10" fmla="*/ 25001 h 54062"/>
                  <a:gd name="connsiteX11" fmla="*/ 47229 w 61554"/>
                  <a:gd name="connsiteY11" fmla="*/ 27718 h 54062"/>
                  <a:gd name="connsiteX12" fmla="*/ 43771 w 61554"/>
                  <a:gd name="connsiteY12" fmla="*/ 34523 h 54062"/>
                  <a:gd name="connsiteX13" fmla="*/ 37954 w 61554"/>
                  <a:gd name="connsiteY13" fmla="*/ 39490 h 54062"/>
                  <a:gd name="connsiteX14" fmla="*/ 34002 w 61554"/>
                  <a:gd name="connsiteY14" fmla="*/ 45171 h 54062"/>
                  <a:gd name="connsiteX15" fmla="*/ 26318 w 61554"/>
                  <a:gd name="connsiteY15" fmla="*/ 51099 h 54062"/>
                  <a:gd name="connsiteX16" fmla="*/ 23546 w 61554"/>
                  <a:gd name="connsiteY16" fmla="*/ 51703 h 54062"/>
                  <a:gd name="connsiteX17" fmla="*/ 23354 w 61554"/>
                  <a:gd name="connsiteY17" fmla="*/ 49946 h 54062"/>
                  <a:gd name="connsiteX18" fmla="*/ 19073 w 61554"/>
                  <a:gd name="connsiteY18" fmla="*/ 46626 h 54062"/>
                  <a:gd name="connsiteX19" fmla="*/ 13776 w 61554"/>
                  <a:gd name="connsiteY19" fmla="*/ 48300 h 54062"/>
                  <a:gd name="connsiteX20" fmla="*/ 11306 w 61554"/>
                  <a:gd name="connsiteY20" fmla="*/ 51456 h 54062"/>
                  <a:gd name="connsiteX21" fmla="*/ 7080 w 61554"/>
                  <a:gd name="connsiteY21" fmla="*/ 54063 h 54062"/>
                  <a:gd name="connsiteX22" fmla="*/ 6037 w 61554"/>
                  <a:gd name="connsiteY22" fmla="*/ 43442 h 54062"/>
                  <a:gd name="connsiteX23" fmla="*/ 1564 w 61554"/>
                  <a:gd name="connsiteY23" fmla="*/ 38530 h 54062"/>
                  <a:gd name="connsiteX24" fmla="*/ 0 w 61554"/>
                  <a:gd name="connsiteY24" fmla="*/ 35621 h 54062"/>
                  <a:gd name="connsiteX25" fmla="*/ 1015 w 61554"/>
                  <a:gd name="connsiteY25" fmla="*/ 31752 h 54062"/>
                  <a:gd name="connsiteX26" fmla="*/ 6065 w 61554"/>
                  <a:gd name="connsiteY26" fmla="*/ 27251 h 54062"/>
                  <a:gd name="connsiteX27" fmla="*/ 11197 w 61554"/>
                  <a:gd name="connsiteY27" fmla="*/ 18853 h 54062"/>
                  <a:gd name="connsiteX28" fmla="*/ 10895 w 61554"/>
                  <a:gd name="connsiteY28" fmla="*/ 15231 h 54062"/>
                  <a:gd name="connsiteX29" fmla="*/ 12102 w 61554"/>
                  <a:gd name="connsiteY29" fmla="*/ 10291 h 54062"/>
                  <a:gd name="connsiteX30" fmla="*/ 16603 w 61554"/>
                  <a:gd name="connsiteY30" fmla="*/ 5296 h 54062"/>
                  <a:gd name="connsiteX31" fmla="*/ 19347 w 61554"/>
                  <a:gd name="connsiteY31" fmla="*/ 3650 h 54062"/>
                  <a:gd name="connsiteX32" fmla="*/ 23244 w 61554"/>
                  <a:gd name="connsiteY32" fmla="*/ 4857 h 54062"/>
                  <a:gd name="connsiteX33" fmla="*/ 24507 w 61554"/>
                  <a:gd name="connsiteY33" fmla="*/ 8288 h 54062"/>
                  <a:gd name="connsiteX34" fmla="*/ 27882 w 61554"/>
                  <a:gd name="connsiteY34" fmla="*/ 9056 h 54062"/>
                  <a:gd name="connsiteX35" fmla="*/ 36252 w 61554"/>
                  <a:gd name="connsiteY35" fmla="*/ 3046 h 54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1554" h="54062">
                    <a:moveTo>
                      <a:pt x="36252" y="3101"/>
                    </a:moveTo>
                    <a:lnTo>
                      <a:pt x="44787" y="3815"/>
                    </a:lnTo>
                    <a:lnTo>
                      <a:pt x="48218" y="192"/>
                    </a:lnTo>
                    <a:lnTo>
                      <a:pt x="52169" y="0"/>
                    </a:lnTo>
                    <a:lnTo>
                      <a:pt x="57411" y="2690"/>
                    </a:lnTo>
                    <a:lnTo>
                      <a:pt x="60457" y="2744"/>
                    </a:lnTo>
                    <a:lnTo>
                      <a:pt x="61555" y="4610"/>
                    </a:lnTo>
                    <a:lnTo>
                      <a:pt x="58563" y="12185"/>
                    </a:lnTo>
                    <a:lnTo>
                      <a:pt x="58893" y="17865"/>
                    </a:lnTo>
                    <a:lnTo>
                      <a:pt x="53953" y="23985"/>
                    </a:lnTo>
                    <a:lnTo>
                      <a:pt x="50687" y="25001"/>
                    </a:lnTo>
                    <a:lnTo>
                      <a:pt x="47229" y="27718"/>
                    </a:lnTo>
                    <a:lnTo>
                      <a:pt x="43771" y="34523"/>
                    </a:lnTo>
                    <a:lnTo>
                      <a:pt x="37954" y="39490"/>
                    </a:lnTo>
                    <a:lnTo>
                      <a:pt x="34002" y="45171"/>
                    </a:lnTo>
                    <a:lnTo>
                      <a:pt x="26318" y="51099"/>
                    </a:lnTo>
                    <a:lnTo>
                      <a:pt x="23546" y="51703"/>
                    </a:lnTo>
                    <a:lnTo>
                      <a:pt x="23354" y="49946"/>
                    </a:lnTo>
                    <a:lnTo>
                      <a:pt x="19073" y="46626"/>
                    </a:lnTo>
                    <a:lnTo>
                      <a:pt x="13776" y="48300"/>
                    </a:lnTo>
                    <a:lnTo>
                      <a:pt x="11306" y="51456"/>
                    </a:lnTo>
                    <a:lnTo>
                      <a:pt x="7080" y="54063"/>
                    </a:lnTo>
                    <a:lnTo>
                      <a:pt x="6037" y="43442"/>
                    </a:lnTo>
                    <a:lnTo>
                      <a:pt x="1564" y="38530"/>
                    </a:lnTo>
                    <a:lnTo>
                      <a:pt x="0" y="35621"/>
                    </a:lnTo>
                    <a:lnTo>
                      <a:pt x="1015" y="31752"/>
                    </a:lnTo>
                    <a:lnTo>
                      <a:pt x="6065" y="27251"/>
                    </a:lnTo>
                    <a:lnTo>
                      <a:pt x="11197" y="18853"/>
                    </a:lnTo>
                    <a:lnTo>
                      <a:pt x="10895" y="15231"/>
                    </a:lnTo>
                    <a:lnTo>
                      <a:pt x="12102" y="10291"/>
                    </a:lnTo>
                    <a:lnTo>
                      <a:pt x="16603" y="5296"/>
                    </a:lnTo>
                    <a:lnTo>
                      <a:pt x="19347" y="3650"/>
                    </a:lnTo>
                    <a:lnTo>
                      <a:pt x="23244" y="4857"/>
                    </a:lnTo>
                    <a:lnTo>
                      <a:pt x="24507" y="8288"/>
                    </a:lnTo>
                    <a:lnTo>
                      <a:pt x="27882" y="9056"/>
                    </a:lnTo>
                    <a:lnTo>
                      <a:pt x="36252"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9" name="Freeform: Shape 3308">
                <a:extLst>
                  <a:ext uri="{FF2B5EF4-FFF2-40B4-BE49-F238E27FC236}">
                    <a16:creationId xmlns:a16="http://schemas.microsoft.com/office/drawing/2014/main" id="{EDB81069-E0EA-6F00-120C-776CEB16F2A1}"/>
                  </a:ext>
                </a:extLst>
              </p:cNvPr>
              <p:cNvSpPr/>
              <p:nvPr/>
            </p:nvSpPr>
            <p:spPr>
              <a:xfrm>
                <a:off x="1040173" y="3452054"/>
                <a:ext cx="6080" cy="9517"/>
              </a:xfrm>
              <a:custGeom>
                <a:avLst/>
                <a:gdLst>
                  <a:gd name="connsiteX0" fmla="*/ 29940 w 58288"/>
                  <a:gd name="connsiteY0" fmla="*/ 46187 h 91247"/>
                  <a:gd name="connsiteX1" fmla="*/ 36664 w 58288"/>
                  <a:gd name="connsiteY1" fmla="*/ 47010 h 91247"/>
                  <a:gd name="connsiteX2" fmla="*/ 47092 w 58288"/>
                  <a:gd name="connsiteY2" fmla="*/ 64189 h 91247"/>
                  <a:gd name="connsiteX3" fmla="*/ 49535 w 58288"/>
                  <a:gd name="connsiteY3" fmla="*/ 82411 h 91247"/>
                  <a:gd name="connsiteX4" fmla="*/ 56862 w 58288"/>
                  <a:gd name="connsiteY4" fmla="*/ 79310 h 91247"/>
                  <a:gd name="connsiteX5" fmla="*/ 58289 w 58288"/>
                  <a:gd name="connsiteY5" fmla="*/ 82054 h 91247"/>
                  <a:gd name="connsiteX6" fmla="*/ 56478 w 58288"/>
                  <a:gd name="connsiteY6" fmla="*/ 89162 h 91247"/>
                  <a:gd name="connsiteX7" fmla="*/ 49535 w 58288"/>
                  <a:gd name="connsiteY7" fmla="*/ 91248 h 91247"/>
                  <a:gd name="connsiteX8" fmla="*/ 46461 w 58288"/>
                  <a:gd name="connsiteY8" fmla="*/ 82494 h 91247"/>
                  <a:gd name="connsiteX9" fmla="*/ 37926 w 58288"/>
                  <a:gd name="connsiteY9" fmla="*/ 87516 h 91247"/>
                  <a:gd name="connsiteX10" fmla="*/ 22448 w 58288"/>
                  <a:gd name="connsiteY10" fmla="*/ 80271 h 91247"/>
                  <a:gd name="connsiteX11" fmla="*/ 12130 w 58288"/>
                  <a:gd name="connsiteY11" fmla="*/ 54721 h 91247"/>
                  <a:gd name="connsiteX12" fmla="*/ 4473 w 58288"/>
                  <a:gd name="connsiteY12" fmla="*/ 17289 h 91247"/>
                  <a:gd name="connsiteX13" fmla="*/ 0 w 58288"/>
                  <a:gd name="connsiteY13" fmla="*/ 5489 h 91247"/>
                  <a:gd name="connsiteX14" fmla="*/ 494 w 58288"/>
                  <a:gd name="connsiteY14" fmla="*/ 2689 h 91247"/>
                  <a:gd name="connsiteX15" fmla="*/ 8782 w 58288"/>
                  <a:gd name="connsiteY15" fmla="*/ 0 h 91247"/>
                  <a:gd name="connsiteX16" fmla="*/ 22503 w 58288"/>
                  <a:gd name="connsiteY16" fmla="*/ 15094 h 91247"/>
                  <a:gd name="connsiteX17" fmla="*/ 30050 w 58288"/>
                  <a:gd name="connsiteY17" fmla="*/ 31724 h 91247"/>
                  <a:gd name="connsiteX18" fmla="*/ 29940 w 58288"/>
                  <a:gd name="connsiteY18" fmla="*/ 46159 h 91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88" h="91247">
                    <a:moveTo>
                      <a:pt x="29940" y="46187"/>
                    </a:moveTo>
                    <a:lnTo>
                      <a:pt x="36664" y="47010"/>
                    </a:lnTo>
                    <a:lnTo>
                      <a:pt x="47092" y="64189"/>
                    </a:lnTo>
                    <a:lnTo>
                      <a:pt x="49535" y="82411"/>
                    </a:lnTo>
                    <a:lnTo>
                      <a:pt x="56862" y="79310"/>
                    </a:lnTo>
                    <a:lnTo>
                      <a:pt x="58289" y="82054"/>
                    </a:lnTo>
                    <a:lnTo>
                      <a:pt x="56478" y="89162"/>
                    </a:lnTo>
                    <a:lnTo>
                      <a:pt x="49535" y="91248"/>
                    </a:lnTo>
                    <a:lnTo>
                      <a:pt x="46461" y="82494"/>
                    </a:lnTo>
                    <a:lnTo>
                      <a:pt x="37926" y="87516"/>
                    </a:lnTo>
                    <a:lnTo>
                      <a:pt x="22448" y="80271"/>
                    </a:lnTo>
                    <a:lnTo>
                      <a:pt x="12130" y="54721"/>
                    </a:lnTo>
                    <a:lnTo>
                      <a:pt x="4473" y="17289"/>
                    </a:lnTo>
                    <a:lnTo>
                      <a:pt x="0" y="5489"/>
                    </a:lnTo>
                    <a:lnTo>
                      <a:pt x="494" y="2689"/>
                    </a:lnTo>
                    <a:lnTo>
                      <a:pt x="8782" y="0"/>
                    </a:lnTo>
                    <a:lnTo>
                      <a:pt x="22503" y="15094"/>
                    </a:lnTo>
                    <a:lnTo>
                      <a:pt x="30050" y="31724"/>
                    </a:lnTo>
                    <a:lnTo>
                      <a:pt x="29940" y="461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0" name="Freeform: Shape 3309">
                <a:extLst>
                  <a:ext uri="{FF2B5EF4-FFF2-40B4-BE49-F238E27FC236}">
                    <a16:creationId xmlns:a16="http://schemas.microsoft.com/office/drawing/2014/main" id="{EDC171D0-6EDD-4D2E-1394-3F4DBA55D4DC}"/>
                  </a:ext>
                </a:extLst>
              </p:cNvPr>
              <p:cNvSpPr/>
              <p:nvPr/>
            </p:nvSpPr>
            <p:spPr>
              <a:xfrm>
                <a:off x="999299" y="3474412"/>
                <a:ext cx="5530" cy="7502"/>
              </a:xfrm>
              <a:custGeom>
                <a:avLst/>
                <a:gdLst>
                  <a:gd name="connsiteX0" fmla="*/ 27580 w 53019"/>
                  <a:gd name="connsiteY0" fmla="*/ 67235 h 71928"/>
                  <a:gd name="connsiteX1" fmla="*/ 21845 w 53019"/>
                  <a:gd name="connsiteY1" fmla="*/ 71928 h 71928"/>
                  <a:gd name="connsiteX2" fmla="*/ 11691 w 53019"/>
                  <a:gd name="connsiteY2" fmla="*/ 67235 h 71928"/>
                  <a:gd name="connsiteX3" fmla="*/ 5379 w 53019"/>
                  <a:gd name="connsiteY3" fmla="*/ 64162 h 71928"/>
                  <a:gd name="connsiteX4" fmla="*/ 0 w 53019"/>
                  <a:gd name="connsiteY4" fmla="*/ 58152 h 71928"/>
                  <a:gd name="connsiteX5" fmla="*/ 1180 w 53019"/>
                  <a:gd name="connsiteY5" fmla="*/ 53733 h 71928"/>
                  <a:gd name="connsiteX6" fmla="*/ 20500 w 53019"/>
                  <a:gd name="connsiteY6" fmla="*/ 25001 h 71928"/>
                  <a:gd name="connsiteX7" fmla="*/ 45830 w 53019"/>
                  <a:gd name="connsiteY7" fmla="*/ 0 h 71928"/>
                  <a:gd name="connsiteX8" fmla="*/ 53020 w 53019"/>
                  <a:gd name="connsiteY8" fmla="*/ 4528 h 71928"/>
                  <a:gd name="connsiteX9" fmla="*/ 52663 w 53019"/>
                  <a:gd name="connsiteY9" fmla="*/ 9248 h 71928"/>
                  <a:gd name="connsiteX10" fmla="*/ 40094 w 53019"/>
                  <a:gd name="connsiteY10" fmla="*/ 46379 h 71928"/>
                  <a:gd name="connsiteX11" fmla="*/ 30654 w 53019"/>
                  <a:gd name="connsiteY11" fmla="*/ 64217 h 71928"/>
                  <a:gd name="connsiteX12" fmla="*/ 27553 w 53019"/>
                  <a:gd name="connsiteY12" fmla="*/ 67235 h 7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019" h="71928">
                    <a:moveTo>
                      <a:pt x="27580" y="67235"/>
                    </a:moveTo>
                    <a:lnTo>
                      <a:pt x="21845" y="71928"/>
                    </a:lnTo>
                    <a:lnTo>
                      <a:pt x="11691" y="67235"/>
                    </a:lnTo>
                    <a:lnTo>
                      <a:pt x="5379" y="64162"/>
                    </a:lnTo>
                    <a:lnTo>
                      <a:pt x="0" y="58152"/>
                    </a:lnTo>
                    <a:lnTo>
                      <a:pt x="1180" y="53733"/>
                    </a:lnTo>
                    <a:lnTo>
                      <a:pt x="20500" y="25001"/>
                    </a:lnTo>
                    <a:lnTo>
                      <a:pt x="45830" y="0"/>
                    </a:lnTo>
                    <a:lnTo>
                      <a:pt x="53020" y="4528"/>
                    </a:lnTo>
                    <a:lnTo>
                      <a:pt x="52663" y="9248"/>
                    </a:lnTo>
                    <a:lnTo>
                      <a:pt x="40094" y="46379"/>
                    </a:lnTo>
                    <a:lnTo>
                      <a:pt x="30654" y="64217"/>
                    </a:lnTo>
                    <a:lnTo>
                      <a:pt x="27553" y="67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1" name="Freeform: Shape 3310">
                <a:extLst>
                  <a:ext uri="{FF2B5EF4-FFF2-40B4-BE49-F238E27FC236}">
                    <a16:creationId xmlns:a16="http://schemas.microsoft.com/office/drawing/2014/main" id="{1BCD02CC-C70E-F2BB-ECA6-2CF93A43A3FC}"/>
                  </a:ext>
                </a:extLst>
              </p:cNvPr>
              <p:cNvSpPr/>
              <p:nvPr/>
            </p:nvSpPr>
            <p:spPr>
              <a:xfrm>
                <a:off x="1070134" y="3451710"/>
                <a:ext cx="9288" cy="5052"/>
              </a:xfrm>
              <a:custGeom>
                <a:avLst/>
                <a:gdLst>
                  <a:gd name="connsiteX0" fmla="*/ 0 w 89052"/>
                  <a:gd name="connsiteY0" fmla="*/ 23519 h 48436"/>
                  <a:gd name="connsiteX1" fmla="*/ 906 w 89052"/>
                  <a:gd name="connsiteY1" fmla="*/ 13282 h 48436"/>
                  <a:gd name="connsiteX2" fmla="*/ 6092 w 89052"/>
                  <a:gd name="connsiteY2" fmla="*/ 6230 h 48436"/>
                  <a:gd name="connsiteX3" fmla="*/ 19786 w 89052"/>
                  <a:gd name="connsiteY3" fmla="*/ 0 h 48436"/>
                  <a:gd name="connsiteX4" fmla="*/ 68113 w 89052"/>
                  <a:gd name="connsiteY4" fmla="*/ 5434 h 48436"/>
                  <a:gd name="connsiteX5" fmla="*/ 77499 w 89052"/>
                  <a:gd name="connsiteY5" fmla="*/ 165 h 48436"/>
                  <a:gd name="connsiteX6" fmla="*/ 89052 w 89052"/>
                  <a:gd name="connsiteY6" fmla="*/ 12294 h 48436"/>
                  <a:gd name="connsiteX7" fmla="*/ 89052 w 89052"/>
                  <a:gd name="connsiteY7" fmla="*/ 17152 h 48436"/>
                  <a:gd name="connsiteX8" fmla="*/ 85073 w 89052"/>
                  <a:gd name="connsiteY8" fmla="*/ 20692 h 48436"/>
                  <a:gd name="connsiteX9" fmla="*/ 80902 w 89052"/>
                  <a:gd name="connsiteY9" fmla="*/ 42729 h 48436"/>
                  <a:gd name="connsiteX10" fmla="*/ 74837 w 89052"/>
                  <a:gd name="connsiteY10" fmla="*/ 48437 h 48436"/>
                  <a:gd name="connsiteX11" fmla="*/ 19786 w 89052"/>
                  <a:gd name="connsiteY11" fmla="*/ 42043 h 48436"/>
                  <a:gd name="connsiteX12" fmla="*/ 6202 w 89052"/>
                  <a:gd name="connsiteY12" fmla="*/ 38914 h 48436"/>
                  <a:gd name="connsiteX13" fmla="*/ 0 w 89052"/>
                  <a:gd name="connsiteY13" fmla="*/ 23574 h 48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52" h="48436">
                    <a:moveTo>
                      <a:pt x="0" y="23519"/>
                    </a:moveTo>
                    <a:lnTo>
                      <a:pt x="906" y="13282"/>
                    </a:lnTo>
                    <a:lnTo>
                      <a:pt x="6092" y="6230"/>
                    </a:lnTo>
                    <a:lnTo>
                      <a:pt x="19786" y="0"/>
                    </a:lnTo>
                    <a:lnTo>
                      <a:pt x="68113" y="5434"/>
                    </a:lnTo>
                    <a:lnTo>
                      <a:pt x="77499" y="165"/>
                    </a:lnTo>
                    <a:lnTo>
                      <a:pt x="89052" y="12294"/>
                    </a:lnTo>
                    <a:lnTo>
                      <a:pt x="89052" y="17152"/>
                    </a:lnTo>
                    <a:lnTo>
                      <a:pt x="85073" y="20692"/>
                    </a:lnTo>
                    <a:lnTo>
                      <a:pt x="80902" y="42729"/>
                    </a:lnTo>
                    <a:lnTo>
                      <a:pt x="74837" y="48437"/>
                    </a:lnTo>
                    <a:lnTo>
                      <a:pt x="19786" y="42043"/>
                    </a:lnTo>
                    <a:lnTo>
                      <a:pt x="6202" y="38914"/>
                    </a:lnTo>
                    <a:lnTo>
                      <a:pt x="0" y="235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2" name="Freeform: Shape 3311">
                <a:extLst>
                  <a:ext uri="{FF2B5EF4-FFF2-40B4-BE49-F238E27FC236}">
                    <a16:creationId xmlns:a16="http://schemas.microsoft.com/office/drawing/2014/main" id="{D481E104-D742-D490-EB18-EC21F5DF7E0B}"/>
                  </a:ext>
                </a:extLst>
              </p:cNvPr>
              <p:cNvSpPr/>
              <p:nvPr/>
            </p:nvSpPr>
            <p:spPr>
              <a:xfrm>
                <a:off x="1119188" y="3597655"/>
                <a:ext cx="3003" cy="5364"/>
              </a:xfrm>
              <a:custGeom>
                <a:avLst/>
                <a:gdLst>
                  <a:gd name="connsiteX0" fmla="*/ 16576 w 28787"/>
                  <a:gd name="connsiteY0" fmla="*/ 49480 h 51428"/>
                  <a:gd name="connsiteX1" fmla="*/ 13063 w 28787"/>
                  <a:gd name="connsiteY1" fmla="*/ 51428 h 51428"/>
                  <a:gd name="connsiteX2" fmla="*/ 1811 w 28787"/>
                  <a:gd name="connsiteY2" fmla="*/ 36362 h 51428"/>
                  <a:gd name="connsiteX3" fmla="*/ 0 w 28787"/>
                  <a:gd name="connsiteY3" fmla="*/ 26098 h 51428"/>
                  <a:gd name="connsiteX4" fmla="*/ 2662 w 28787"/>
                  <a:gd name="connsiteY4" fmla="*/ 14270 h 51428"/>
                  <a:gd name="connsiteX5" fmla="*/ 10044 w 28787"/>
                  <a:gd name="connsiteY5" fmla="*/ 2360 h 51428"/>
                  <a:gd name="connsiteX6" fmla="*/ 19594 w 28787"/>
                  <a:gd name="connsiteY6" fmla="*/ 0 h 51428"/>
                  <a:gd name="connsiteX7" fmla="*/ 25714 w 28787"/>
                  <a:gd name="connsiteY7" fmla="*/ 7437 h 51428"/>
                  <a:gd name="connsiteX8" fmla="*/ 28788 w 28787"/>
                  <a:gd name="connsiteY8" fmla="*/ 11142 h 51428"/>
                  <a:gd name="connsiteX9" fmla="*/ 25714 w 28787"/>
                  <a:gd name="connsiteY9" fmla="*/ 22778 h 51428"/>
                  <a:gd name="connsiteX10" fmla="*/ 22119 w 28787"/>
                  <a:gd name="connsiteY10" fmla="*/ 36389 h 51428"/>
                  <a:gd name="connsiteX11" fmla="*/ 16603 w 28787"/>
                  <a:gd name="connsiteY11" fmla="*/ 49480 h 51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787" h="51428">
                    <a:moveTo>
                      <a:pt x="16576" y="49480"/>
                    </a:moveTo>
                    <a:lnTo>
                      <a:pt x="13063" y="51428"/>
                    </a:lnTo>
                    <a:lnTo>
                      <a:pt x="1811" y="36362"/>
                    </a:lnTo>
                    <a:lnTo>
                      <a:pt x="0" y="26098"/>
                    </a:lnTo>
                    <a:lnTo>
                      <a:pt x="2662" y="14270"/>
                    </a:lnTo>
                    <a:lnTo>
                      <a:pt x="10044" y="2360"/>
                    </a:lnTo>
                    <a:lnTo>
                      <a:pt x="19594" y="0"/>
                    </a:lnTo>
                    <a:lnTo>
                      <a:pt x="25714" y="7437"/>
                    </a:lnTo>
                    <a:lnTo>
                      <a:pt x="28788" y="11142"/>
                    </a:lnTo>
                    <a:lnTo>
                      <a:pt x="25714" y="22778"/>
                    </a:lnTo>
                    <a:lnTo>
                      <a:pt x="22119" y="36389"/>
                    </a:lnTo>
                    <a:lnTo>
                      <a:pt x="16603" y="494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3" name="Freeform: Shape 3312">
                <a:extLst>
                  <a:ext uri="{FF2B5EF4-FFF2-40B4-BE49-F238E27FC236}">
                    <a16:creationId xmlns:a16="http://schemas.microsoft.com/office/drawing/2014/main" id="{7EFF8A3E-2D0C-71BD-961D-67FABE6C02E8}"/>
                  </a:ext>
                </a:extLst>
              </p:cNvPr>
              <p:cNvSpPr/>
              <p:nvPr/>
            </p:nvSpPr>
            <p:spPr>
              <a:xfrm>
                <a:off x="1119978" y="3633111"/>
                <a:ext cx="3323" cy="3927"/>
              </a:xfrm>
              <a:custGeom>
                <a:avLst/>
                <a:gdLst>
                  <a:gd name="connsiteX0" fmla="*/ 24068 w 31861"/>
                  <a:gd name="connsiteY0" fmla="*/ 18606 h 37651"/>
                  <a:gd name="connsiteX1" fmla="*/ 20143 w 31861"/>
                  <a:gd name="connsiteY1" fmla="*/ 28458 h 37651"/>
                  <a:gd name="connsiteX2" fmla="*/ 18140 w 31861"/>
                  <a:gd name="connsiteY2" fmla="*/ 30818 h 37651"/>
                  <a:gd name="connsiteX3" fmla="*/ 12322 w 31861"/>
                  <a:gd name="connsiteY3" fmla="*/ 34358 h 37651"/>
                  <a:gd name="connsiteX4" fmla="*/ 11883 w 31861"/>
                  <a:gd name="connsiteY4" fmla="*/ 29803 h 37651"/>
                  <a:gd name="connsiteX5" fmla="*/ 14600 w 31861"/>
                  <a:gd name="connsiteY5" fmla="*/ 24150 h 37651"/>
                  <a:gd name="connsiteX6" fmla="*/ 12843 w 31861"/>
                  <a:gd name="connsiteY6" fmla="*/ 21790 h 37651"/>
                  <a:gd name="connsiteX7" fmla="*/ 3129 w 31861"/>
                  <a:gd name="connsiteY7" fmla="*/ 37652 h 37651"/>
                  <a:gd name="connsiteX8" fmla="*/ 0 w 31861"/>
                  <a:gd name="connsiteY8" fmla="*/ 34386 h 37651"/>
                  <a:gd name="connsiteX9" fmla="*/ 11005 w 31861"/>
                  <a:gd name="connsiteY9" fmla="*/ 18414 h 37651"/>
                  <a:gd name="connsiteX10" fmla="*/ 18140 w 31861"/>
                  <a:gd name="connsiteY10" fmla="*/ 14517 h 37651"/>
                  <a:gd name="connsiteX11" fmla="*/ 19457 w 31861"/>
                  <a:gd name="connsiteY11" fmla="*/ 10950 h 37651"/>
                  <a:gd name="connsiteX12" fmla="*/ 21213 w 31861"/>
                  <a:gd name="connsiteY12" fmla="*/ 1454 h 37651"/>
                  <a:gd name="connsiteX13" fmla="*/ 23052 w 31861"/>
                  <a:gd name="connsiteY13" fmla="*/ 0 h 37651"/>
                  <a:gd name="connsiteX14" fmla="*/ 31010 w 31861"/>
                  <a:gd name="connsiteY14" fmla="*/ 7437 h 37651"/>
                  <a:gd name="connsiteX15" fmla="*/ 31669 w 31861"/>
                  <a:gd name="connsiteY15" fmla="*/ 10950 h 37651"/>
                  <a:gd name="connsiteX16" fmla="*/ 31861 w 31861"/>
                  <a:gd name="connsiteY16" fmla="*/ 14133 h 37651"/>
                  <a:gd name="connsiteX17" fmla="*/ 28266 w 31861"/>
                  <a:gd name="connsiteY17" fmla="*/ 16795 h 37651"/>
                  <a:gd name="connsiteX18" fmla="*/ 24068 w 31861"/>
                  <a:gd name="connsiteY18" fmla="*/ 18634 h 37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861" h="37651">
                    <a:moveTo>
                      <a:pt x="24068" y="18606"/>
                    </a:moveTo>
                    <a:lnTo>
                      <a:pt x="20143" y="28458"/>
                    </a:lnTo>
                    <a:lnTo>
                      <a:pt x="18140" y="30818"/>
                    </a:lnTo>
                    <a:lnTo>
                      <a:pt x="12322" y="34358"/>
                    </a:lnTo>
                    <a:lnTo>
                      <a:pt x="11883" y="29803"/>
                    </a:lnTo>
                    <a:lnTo>
                      <a:pt x="14600" y="24150"/>
                    </a:lnTo>
                    <a:lnTo>
                      <a:pt x="12843" y="21790"/>
                    </a:lnTo>
                    <a:lnTo>
                      <a:pt x="3129" y="37652"/>
                    </a:lnTo>
                    <a:lnTo>
                      <a:pt x="0" y="34386"/>
                    </a:lnTo>
                    <a:lnTo>
                      <a:pt x="11005" y="18414"/>
                    </a:lnTo>
                    <a:lnTo>
                      <a:pt x="18140" y="14517"/>
                    </a:lnTo>
                    <a:lnTo>
                      <a:pt x="19457" y="10950"/>
                    </a:lnTo>
                    <a:lnTo>
                      <a:pt x="21213" y="1454"/>
                    </a:lnTo>
                    <a:lnTo>
                      <a:pt x="23052" y="0"/>
                    </a:lnTo>
                    <a:lnTo>
                      <a:pt x="31010" y="7437"/>
                    </a:lnTo>
                    <a:lnTo>
                      <a:pt x="31669" y="10950"/>
                    </a:lnTo>
                    <a:lnTo>
                      <a:pt x="31861" y="14133"/>
                    </a:lnTo>
                    <a:lnTo>
                      <a:pt x="28266" y="16795"/>
                    </a:lnTo>
                    <a:lnTo>
                      <a:pt x="24068" y="18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4" name="Freeform: Shape 3313">
                <a:extLst>
                  <a:ext uri="{FF2B5EF4-FFF2-40B4-BE49-F238E27FC236}">
                    <a16:creationId xmlns:a16="http://schemas.microsoft.com/office/drawing/2014/main" id="{AC81C75E-4A8E-63DE-E239-CDCB579125B4}"/>
                  </a:ext>
                </a:extLst>
              </p:cNvPr>
              <p:cNvSpPr/>
              <p:nvPr/>
            </p:nvSpPr>
            <p:spPr>
              <a:xfrm>
                <a:off x="1058146" y="3413882"/>
                <a:ext cx="4691" cy="8092"/>
              </a:xfrm>
              <a:custGeom>
                <a:avLst/>
                <a:gdLst>
                  <a:gd name="connsiteX0" fmla="*/ 41137 w 44979"/>
                  <a:gd name="connsiteY0" fmla="*/ 34633 h 77581"/>
                  <a:gd name="connsiteX1" fmla="*/ 44211 w 44979"/>
                  <a:gd name="connsiteY1" fmla="*/ 48629 h 77581"/>
                  <a:gd name="connsiteX2" fmla="*/ 44979 w 44979"/>
                  <a:gd name="connsiteY2" fmla="*/ 57795 h 77581"/>
                  <a:gd name="connsiteX3" fmla="*/ 42921 w 44979"/>
                  <a:gd name="connsiteY3" fmla="*/ 67839 h 77581"/>
                  <a:gd name="connsiteX4" fmla="*/ 38997 w 44979"/>
                  <a:gd name="connsiteY4" fmla="*/ 77581 h 77581"/>
                  <a:gd name="connsiteX5" fmla="*/ 37103 w 44979"/>
                  <a:gd name="connsiteY5" fmla="*/ 76456 h 77581"/>
                  <a:gd name="connsiteX6" fmla="*/ 35676 w 44979"/>
                  <a:gd name="connsiteY6" fmla="*/ 68909 h 77581"/>
                  <a:gd name="connsiteX7" fmla="*/ 25604 w 44979"/>
                  <a:gd name="connsiteY7" fmla="*/ 64326 h 77581"/>
                  <a:gd name="connsiteX8" fmla="*/ 24589 w 44979"/>
                  <a:gd name="connsiteY8" fmla="*/ 59826 h 77581"/>
                  <a:gd name="connsiteX9" fmla="*/ 25879 w 44979"/>
                  <a:gd name="connsiteY9" fmla="*/ 49809 h 77581"/>
                  <a:gd name="connsiteX10" fmla="*/ 18963 w 44979"/>
                  <a:gd name="connsiteY10" fmla="*/ 41110 h 77581"/>
                  <a:gd name="connsiteX11" fmla="*/ 14600 w 44979"/>
                  <a:gd name="connsiteY11" fmla="*/ 40012 h 77581"/>
                  <a:gd name="connsiteX12" fmla="*/ 11883 w 44979"/>
                  <a:gd name="connsiteY12" fmla="*/ 42893 h 77581"/>
                  <a:gd name="connsiteX13" fmla="*/ 4089 w 44979"/>
                  <a:gd name="connsiteY13" fmla="*/ 43689 h 77581"/>
                  <a:gd name="connsiteX14" fmla="*/ 0 w 44979"/>
                  <a:gd name="connsiteY14" fmla="*/ 40231 h 77581"/>
                  <a:gd name="connsiteX15" fmla="*/ 1317 w 44979"/>
                  <a:gd name="connsiteY15" fmla="*/ 21351 h 77581"/>
                  <a:gd name="connsiteX16" fmla="*/ 8370 w 44979"/>
                  <a:gd name="connsiteY16" fmla="*/ 19622 h 77581"/>
                  <a:gd name="connsiteX17" fmla="*/ 20006 w 44979"/>
                  <a:gd name="connsiteY17" fmla="*/ 9166 h 77581"/>
                  <a:gd name="connsiteX18" fmla="*/ 23025 w 44979"/>
                  <a:gd name="connsiteY18" fmla="*/ 4363 h 77581"/>
                  <a:gd name="connsiteX19" fmla="*/ 31642 w 44979"/>
                  <a:gd name="connsiteY19" fmla="*/ 0 h 77581"/>
                  <a:gd name="connsiteX20" fmla="*/ 39106 w 44979"/>
                  <a:gd name="connsiteY20" fmla="*/ 9578 h 77581"/>
                  <a:gd name="connsiteX21" fmla="*/ 41741 w 44979"/>
                  <a:gd name="connsiteY21" fmla="*/ 22860 h 77581"/>
                  <a:gd name="connsiteX22" fmla="*/ 41137 w 44979"/>
                  <a:gd name="connsiteY22" fmla="*/ 34606 h 7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979" h="77581">
                    <a:moveTo>
                      <a:pt x="41137" y="34633"/>
                    </a:moveTo>
                    <a:lnTo>
                      <a:pt x="44211" y="48629"/>
                    </a:lnTo>
                    <a:lnTo>
                      <a:pt x="44979" y="57795"/>
                    </a:lnTo>
                    <a:lnTo>
                      <a:pt x="42921" y="67839"/>
                    </a:lnTo>
                    <a:lnTo>
                      <a:pt x="38997" y="77581"/>
                    </a:lnTo>
                    <a:lnTo>
                      <a:pt x="37103" y="76456"/>
                    </a:lnTo>
                    <a:lnTo>
                      <a:pt x="35676" y="68909"/>
                    </a:lnTo>
                    <a:lnTo>
                      <a:pt x="25604" y="64326"/>
                    </a:lnTo>
                    <a:lnTo>
                      <a:pt x="24589" y="59826"/>
                    </a:lnTo>
                    <a:lnTo>
                      <a:pt x="25879" y="49809"/>
                    </a:lnTo>
                    <a:lnTo>
                      <a:pt x="18963" y="41110"/>
                    </a:lnTo>
                    <a:lnTo>
                      <a:pt x="14600" y="40012"/>
                    </a:lnTo>
                    <a:lnTo>
                      <a:pt x="11883" y="42893"/>
                    </a:lnTo>
                    <a:lnTo>
                      <a:pt x="4089" y="43689"/>
                    </a:lnTo>
                    <a:lnTo>
                      <a:pt x="0" y="40231"/>
                    </a:lnTo>
                    <a:lnTo>
                      <a:pt x="1317" y="21351"/>
                    </a:lnTo>
                    <a:lnTo>
                      <a:pt x="8370" y="19622"/>
                    </a:lnTo>
                    <a:lnTo>
                      <a:pt x="20006" y="9166"/>
                    </a:lnTo>
                    <a:lnTo>
                      <a:pt x="23025" y="4363"/>
                    </a:lnTo>
                    <a:lnTo>
                      <a:pt x="31642" y="0"/>
                    </a:lnTo>
                    <a:lnTo>
                      <a:pt x="39106" y="9578"/>
                    </a:lnTo>
                    <a:lnTo>
                      <a:pt x="41741" y="22860"/>
                    </a:lnTo>
                    <a:lnTo>
                      <a:pt x="41137" y="346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5" name="Freeform: Shape 3314">
                <a:extLst>
                  <a:ext uri="{FF2B5EF4-FFF2-40B4-BE49-F238E27FC236}">
                    <a16:creationId xmlns:a16="http://schemas.microsoft.com/office/drawing/2014/main" id="{CD565CFB-54CB-B4E8-9C14-0F476A92E405}"/>
                  </a:ext>
                </a:extLst>
              </p:cNvPr>
              <p:cNvSpPr/>
              <p:nvPr/>
            </p:nvSpPr>
            <p:spPr>
              <a:xfrm>
                <a:off x="1121793" y="3544851"/>
                <a:ext cx="3678" cy="4720"/>
              </a:xfrm>
              <a:custGeom>
                <a:avLst/>
                <a:gdLst>
                  <a:gd name="connsiteX0" fmla="*/ 20418 w 35264"/>
                  <a:gd name="connsiteY0" fmla="*/ 3595 h 45253"/>
                  <a:gd name="connsiteX1" fmla="*/ 24369 w 35264"/>
                  <a:gd name="connsiteY1" fmla="*/ 0 h 45253"/>
                  <a:gd name="connsiteX2" fmla="*/ 32849 w 35264"/>
                  <a:gd name="connsiteY2" fmla="*/ 549 h 45253"/>
                  <a:gd name="connsiteX3" fmla="*/ 35264 w 35264"/>
                  <a:gd name="connsiteY3" fmla="*/ 7437 h 45253"/>
                  <a:gd name="connsiteX4" fmla="*/ 30572 w 35264"/>
                  <a:gd name="connsiteY4" fmla="*/ 15450 h 45253"/>
                  <a:gd name="connsiteX5" fmla="*/ 27717 w 35264"/>
                  <a:gd name="connsiteY5" fmla="*/ 13557 h 45253"/>
                  <a:gd name="connsiteX6" fmla="*/ 28184 w 35264"/>
                  <a:gd name="connsiteY6" fmla="*/ 17262 h 45253"/>
                  <a:gd name="connsiteX7" fmla="*/ 25714 w 35264"/>
                  <a:gd name="connsiteY7" fmla="*/ 19073 h 45253"/>
                  <a:gd name="connsiteX8" fmla="*/ 25193 w 35264"/>
                  <a:gd name="connsiteY8" fmla="*/ 24699 h 45253"/>
                  <a:gd name="connsiteX9" fmla="*/ 20445 w 35264"/>
                  <a:gd name="connsiteY9" fmla="*/ 30901 h 45253"/>
                  <a:gd name="connsiteX10" fmla="*/ 20280 w 35264"/>
                  <a:gd name="connsiteY10" fmla="*/ 34194 h 45253"/>
                  <a:gd name="connsiteX11" fmla="*/ 17619 w 35264"/>
                  <a:gd name="connsiteY11" fmla="*/ 38640 h 45253"/>
                  <a:gd name="connsiteX12" fmla="*/ 9550 w 35264"/>
                  <a:gd name="connsiteY12" fmla="*/ 41713 h 45253"/>
                  <a:gd name="connsiteX13" fmla="*/ 5653 w 35264"/>
                  <a:gd name="connsiteY13" fmla="*/ 45253 h 45253"/>
                  <a:gd name="connsiteX14" fmla="*/ 1372 w 35264"/>
                  <a:gd name="connsiteY14" fmla="*/ 43278 h 45253"/>
                  <a:gd name="connsiteX15" fmla="*/ 0 w 35264"/>
                  <a:gd name="connsiteY15" fmla="*/ 38365 h 45253"/>
                  <a:gd name="connsiteX16" fmla="*/ 2854 w 35264"/>
                  <a:gd name="connsiteY16" fmla="*/ 34386 h 45253"/>
                  <a:gd name="connsiteX17" fmla="*/ 5598 w 35264"/>
                  <a:gd name="connsiteY17" fmla="*/ 24946 h 45253"/>
                  <a:gd name="connsiteX18" fmla="*/ 9111 w 35264"/>
                  <a:gd name="connsiteY18" fmla="*/ 24534 h 45253"/>
                  <a:gd name="connsiteX19" fmla="*/ 11499 w 35264"/>
                  <a:gd name="connsiteY19" fmla="*/ 22284 h 45253"/>
                  <a:gd name="connsiteX20" fmla="*/ 13475 w 35264"/>
                  <a:gd name="connsiteY20" fmla="*/ 23162 h 45253"/>
                  <a:gd name="connsiteX21" fmla="*/ 16713 w 35264"/>
                  <a:gd name="connsiteY21" fmla="*/ 19677 h 45253"/>
                  <a:gd name="connsiteX22" fmla="*/ 16493 w 35264"/>
                  <a:gd name="connsiteY22" fmla="*/ 15011 h 45253"/>
                  <a:gd name="connsiteX23" fmla="*/ 20802 w 35264"/>
                  <a:gd name="connsiteY23" fmla="*/ 7794 h 45253"/>
                  <a:gd name="connsiteX24" fmla="*/ 20363 w 35264"/>
                  <a:gd name="connsiteY24" fmla="*/ 3568 h 4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264" h="45253">
                    <a:moveTo>
                      <a:pt x="20418" y="3595"/>
                    </a:moveTo>
                    <a:lnTo>
                      <a:pt x="24369" y="0"/>
                    </a:lnTo>
                    <a:lnTo>
                      <a:pt x="32849" y="549"/>
                    </a:lnTo>
                    <a:lnTo>
                      <a:pt x="35264" y="7437"/>
                    </a:lnTo>
                    <a:lnTo>
                      <a:pt x="30572" y="15450"/>
                    </a:lnTo>
                    <a:lnTo>
                      <a:pt x="27717" y="13557"/>
                    </a:lnTo>
                    <a:lnTo>
                      <a:pt x="28184" y="17262"/>
                    </a:lnTo>
                    <a:lnTo>
                      <a:pt x="25714" y="19073"/>
                    </a:lnTo>
                    <a:lnTo>
                      <a:pt x="25193" y="24699"/>
                    </a:lnTo>
                    <a:lnTo>
                      <a:pt x="20445" y="30901"/>
                    </a:lnTo>
                    <a:lnTo>
                      <a:pt x="20280" y="34194"/>
                    </a:lnTo>
                    <a:lnTo>
                      <a:pt x="17619" y="38640"/>
                    </a:lnTo>
                    <a:lnTo>
                      <a:pt x="9550" y="41713"/>
                    </a:lnTo>
                    <a:lnTo>
                      <a:pt x="5653" y="45253"/>
                    </a:lnTo>
                    <a:lnTo>
                      <a:pt x="1372" y="43278"/>
                    </a:lnTo>
                    <a:lnTo>
                      <a:pt x="0" y="38365"/>
                    </a:lnTo>
                    <a:lnTo>
                      <a:pt x="2854" y="34386"/>
                    </a:lnTo>
                    <a:lnTo>
                      <a:pt x="5598" y="24946"/>
                    </a:lnTo>
                    <a:lnTo>
                      <a:pt x="9111" y="24534"/>
                    </a:lnTo>
                    <a:lnTo>
                      <a:pt x="11499" y="22284"/>
                    </a:lnTo>
                    <a:lnTo>
                      <a:pt x="13475" y="23162"/>
                    </a:lnTo>
                    <a:lnTo>
                      <a:pt x="16713" y="19677"/>
                    </a:lnTo>
                    <a:lnTo>
                      <a:pt x="16493" y="15011"/>
                    </a:lnTo>
                    <a:lnTo>
                      <a:pt x="20802" y="7794"/>
                    </a:lnTo>
                    <a:lnTo>
                      <a:pt x="20363" y="35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6" name="Freeform: Shape 3315">
                <a:extLst>
                  <a:ext uri="{FF2B5EF4-FFF2-40B4-BE49-F238E27FC236}">
                    <a16:creationId xmlns:a16="http://schemas.microsoft.com/office/drawing/2014/main" id="{68F35648-B3C7-8D25-CF89-182E58BCE29F}"/>
                  </a:ext>
                </a:extLst>
              </p:cNvPr>
              <p:cNvSpPr/>
              <p:nvPr/>
            </p:nvSpPr>
            <p:spPr>
              <a:xfrm>
                <a:off x="1113773" y="3650983"/>
                <a:ext cx="4099" cy="2464"/>
              </a:xfrm>
              <a:custGeom>
                <a:avLst/>
                <a:gdLst>
                  <a:gd name="connsiteX0" fmla="*/ 29364 w 39298"/>
                  <a:gd name="connsiteY0" fmla="*/ 3348 h 23628"/>
                  <a:gd name="connsiteX1" fmla="*/ 31093 w 39298"/>
                  <a:gd name="connsiteY1" fmla="*/ 4611 h 23628"/>
                  <a:gd name="connsiteX2" fmla="*/ 31889 w 39298"/>
                  <a:gd name="connsiteY2" fmla="*/ 6065 h 23628"/>
                  <a:gd name="connsiteX3" fmla="*/ 35841 w 39298"/>
                  <a:gd name="connsiteY3" fmla="*/ 10511 h 23628"/>
                  <a:gd name="connsiteX4" fmla="*/ 37542 w 39298"/>
                  <a:gd name="connsiteY4" fmla="*/ 15149 h 23628"/>
                  <a:gd name="connsiteX5" fmla="*/ 39299 w 39298"/>
                  <a:gd name="connsiteY5" fmla="*/ 19896 h 23628"/>
                  <a:gd name="connsiteX6" fmla="*/ 38749 w 39298"/>
                  <a:gd name="connsiteY6" fmla="*/ 23628 h 23628"/>
                  <a:gd name="connsiteX7" fmla="*/ 29392 w 39298"/>
                  <a:gd name="connsiteY7" fmla="*/ 22339 h 23628"/>
                  <a:gd name="connsiteX8" fmla="*/ 13694 w 39298"/>
                  <a:gd name="connsiteY8" fmla="*/ 15149 h 23628"/>
                  <a:gd name="connsiteX9" fmla="*/ 0 w 39298"/>
                  <a:gd name="connsiteY9" fmla="*/ 8837 h 23628"/>
                  <a:gd name="connsiteX10" fmla="*/ 4007 w 39298"/>
                  <a:gd name="connsiteY10" fmla="*/ 3019 h 23628"/>
                  <a:gd name="connsiteX11" fmla="*/ 12597 w 39298"/>
                  <a:gd name="connsiteY11" fmla="*/ 686 h 23628"/>
                  <a:gd name="connsiteX12" fmla="*/ 20966 w 39298"/>
                  <a:gd name="connsiteY12" fmla="*/ 0 h 23628"/>
                  <a:gd name="connsiteX13" fmla="*/ 29392 w 39298"/>
                  <a:gd name="connsiteY13" fmla="*/ 3348 h 2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298" h="23628">
                    <a:moveTo>
                      <a:pt x="29364" y="3348"/>
                    </a:moveTo>
                    <a:lnTo>
                      <a:pt x="31093" y="4611"/>
                    </a:lnTo>
                    <a:lnTo>
                      <a:pt x="31889" y="6065"/>
                    </a:lnTo>
                    <a:lnTo>
                      <a:pt x="35841" y="10511"/>
                    </a:lnTo>
                    <a:lnTo>
                      <a:pt x="37542" y="15149"/>
                    </a:lnTo>
                    <a:lnTo>
                      <a:pt x="39299" y="19896"/>
                    </a:lnTo>
                    <a:lnTo>
                      <a:pt x="38749" y="23628"/>
                    </a:lnTo>
                    <a:lnTo>
                      <a:pt x="29392" y="22339"/>
                    </a:lnTo>
                    <a:lnTo>
                      <a:pt x="13694" y="15149"/>
                    </a:lnTo>
                    <a:lnTo>
                      <a:pt x="0" y="8837"/>
                    </a:lnTo>
                    <a:lnTo>
                      <a:pt x="4007" y="3019"/>
                    </a:lnTo>
                    <a:lnTo>
                      <a:pt x="12597" y="686"/>
                    </a:lnTo>
                    <a:lnTo>
                      <a:pt x="20966" y="0"/>
                    </a:lnTo>
                    <a:lnTo>
                      <a:pt x="29392"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7" name="Freeform: Shape 3316">
                <a:extLst>
                  <a:ext uri="{FF2B5EF4-FFF2-40B4-BE49-F238E27FC236}">
                    <a16:creationId xmlns:a16="http://schemas.microsoft.com/office/drawing/2014/main" id="{EE421EB4-B12E-91D4-2F3C-8708BE334D68}"/>
                  </a:ext>
                </a:extLst>
              </p:cNvPr>
              <p:cNvSpPr/>
              <p:nvPr/>
            </p:nvSpPr>
            <p:spPr>
              <a:xfrm>
                <a:off x="1085659" y="3453660"/>
                <a:ext cx="4494" cy="5991"/>
              </a:xfrm>
              <a:custGeom>
                <a:avLst/>
                <a:gdLst>
                  <a:gd name="connsiteX0" fmla="*/ 27717 w 43085"/>
                  <a:gd name="connsiteY0" fmla="*/ 57081 h 57438"/>
                  <a:gd name="connsiteX1" fmla="*/ 26098 w 43085"/>
                  <a:gd name="connsiteY1" fmla="*/ 57438 h 57438"/>
                  <a:gd name="connsiteX2" fmla="*/ 11608 w 43085"/>
                  <a:gd name="connsiteY2" fmla="*/ 47202 h 57438"/>
                  <a:gd name="connsiteX3" fmla="*/ 5242 w 43085"/>
                  <a:gd name="connsiteY3" fmla="*/ 42701 h 57438"/>
                  <a:gd name="connsiteX4" fmla="*/ 851 w 43085"/>
                  <a:gd name="connsiteY4" fmla="*/ 34194 h 57438"/>
                  <a:gd name="connsiteX5" fmla="*/ 0 w 43085"/>
                  <a:gd name="connsiteY5" fmla="*/ 21570 h 57438"/>
                  <a:gd name="connsiteX6" fmla="*/ 1729 w 43085"/>
                  <a:gd name="connsiteY6" fmla="*/ 5928 h 57438"/>
                  <a:gd name="connsiteX7" fmla="*/ 7821 w 43085"/>
                  <a:gd name="connsiteY7" fmla="*/ 0 h 57438"/>
                  <a:gd name="connsiteX8" fmla="*/ 11636 w 43085"/>
                  <a:gd name="connsiteY8" fmla="*/ 1125 h 57438"/>
                  <a:gd name="connsiteX9" fmla="*/ 26126 w 43085"/>
                  <a:gd name="connsiteY9" fmla="*/ 5434 h 57438"/>
                  <a:gd name="connsiteX10" fmla="*/ 27745 w 43085"/>
                  <a:gd name="connsiteY10" fmla="*/ 7190 h 57438"/>
                  <a:gd name="connsiteX11" fmla="*/ 39710 w 43085"/>
                  <a:gd name="connsiteY11" fmla="*/ 20363 h 57438"/>
                  <a:gd name="connsiteX12" fmla="*/ 43086 w 43085"/>
                  <a:gd name="connsiteY12" fmla="*/ 35648 h 57438"/>
                  <a:gd name="connsiteX13" fmla="*/ 37789 w 43085"/>
                  <a:gd name="connsiteY13" fmla="*/ 54886 h 57438"/>
                  <a:gd name="connsiteX14" fmla="*/ 27717 w 43085"/>
                  <a:gd name="connsiteY14" fmla="*/ 57081 h 5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85" h="57438">
                    <a:moveTo>
                      <a:pt x="27717" y="57081"/>
                    </a:moveTo>
                    <a:lnTo>
                      <a:pt x="26098" y="57438"/>
                    </a:lnTo>
                    <a:lnTo>
                      <a:pt x="11608" y="47202"/>
                    </a:lnTo>
                    <a:lnTo>
                      <a:pt x="5242" y="42701"/>
                    </a:lnTo>
                    <a:lnTo>
                      <a:pt x="851" y="34194"/>
                    </a:lnTo>
                    <a:lnTo>
                      <a:pt x="0" y="21570"/>
                    </a:lnTo>
                    <a:lnTo>
                      <a:pt x="1729" y="5928"/>
                    </a:lnTo>
                    <a:lnTo>
                      <a:pt x="7821" y="0"/>
                    </a:lnTo>
                    <a:lnTo>
                      <a:pt x="11636" y="1125"/>
                    </a:lnTo>
                    <a:lnTo>
                      <a:pt x="26126" y="5434"/>
                    </a:lnTo>
                    <a:lnTo>
                      <a:pt x="27745" y="7190"/>
                    </a:lnTo>
                    <a:lnTo>
                      <a:pt x="39710" y="20363"/>
                    </a:lnTo>
                    <a:lnTo>
                      <a:pt x="43086" y="35648"/>
                    </a:lnTo>
                    <a:lnTo>
                      <a:pt x="37789" y="54886"/>
                    </a:lnTo>
                    <a:lnTo>
                      <a:pt x="27717" y="570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8" name="Freeform: Shape 3317">
                <a:extLst>
                  <a:ext uri="{FF2B5EF4-FFF2-40B4-BE49-F238E27FC236}">
                    <a16:creationId xmlns:a16="http://schemas.microsoft.com/office/drawing/2014/main" id="{C4668D9A-3666-4B0D-CDB2-D2B2E40964AD}"/>
                  </a:ext>
                </a:extLst>
              </p:cNvPr>
              <p:cNvSpPr/>
              <p:nvPr/>
            </p:nvSpPr>
            <p:spPr>
              <a:xfrm>
                <a:off x="1136062" y="3555086"/>
                <a:ext cx="4311" cy="3395"/>
              </a:xfrm>
              <a:custGeom>
                <a:avLst/>
                <a:gdLst>
                  <a:gd name="connsiteX0" fmla="*/ 15505 w 41329"/>
                  <a:gd name="connsiteY0" fmla="*/ 8096 h 32547"/>
                  <a:gd name="connsiteX1" fmla="*/ 23354 w 41329"/>
                  <a:gd name="connsiteY1" fmla="*/ 11636 h 32547"/>
                  <a:gd name="connsiteX2" fmla="*/ 29556 w 41329"/>
                  <a:gd name="connsiteY2" fmla="*/ 14408 h 32547"/>
                  <a:gd name="connsiteX3" fmla="*/ 37460 w 41329"/>
                  <a:gd name="connsiteY3" fmla="*/ 13584 h 32547"/>
                  <a:gd name="connsiteX4" fmla="*/ 41329 w 41329"/>
                  <a:gd name="connsiteY4" fmla="*/ 26400 h 32547"/>
                  <a:gd name="connsiteX5" fmla="*/ 38722 w 41329"/>
                  <a:gd name="connsiteY5" fmla="*/ 32547 h 32547"/>
                  <a:gd name="connsiteX6" fmla="*/ 29556 w 41329"/>
                  <a:gd name="connsiteY6" fmla="*/ 32465 h 32547"/>
                  <a:gd name="connsiteX7" fmla="*/ 23354 w 41329"/>
                  <a:gd name="connsiteY7" fmla="*/ 31779 h 32547"/>
                  <a:gd name="connsiteX8" fmla="*/ 8205 w 41329"/>
                  <a:gd name="connsiteY8" fmla="*/ 30077 h 32547"/>
                  <a:gd name="connsiteX9" fmla="*/ 0 w 41329"/>
                  <a:gd name="connsiteY9" fmla="*/ 15889 h 32547"/>
                  <a:gd name="connsiteX10" fmla="*/ 1537 w 41329"/>
                  <a:gd name="connsiteY10" fmla="*/ 8864 h 32547"/>
                  <a:gd name="connsiteX11" fmla="*/ 10950 w 41329"/>
                  <a:gd name="connsiteY11" fmla="*/ 5104 h 32547"/>
                  <a:gd name="connsiteX12" fmla="*/ 12459 w 41329"/>
                  <a:gd name="connsiteY12" fmla="*/ 0 h 32547"/>
                  <a:gd name="connsiteX13" fmla="*/ 15533 w 41329"/>
                  <a:gd name="connsiteY13" fmla="*/ 2223 h 32547"/>
                  <a:gd name="connsiteX14" fmla="*/ 16164 w 41329"/>
                  <a:gd name="connsiteY14" fmla="*/ 5104 h 32547"/>
                  <a:gd name="connsiteX15" fmla="*/ 15505 w 41329"/>
                  <a:gd name="connsiteY15" fmla="*/ 8150 h 3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329" h="32547">
                    <a:moveTo>
                      <a:pt x="15505" y="8096"/>
                    </a:moveTo>
                    <a:lnTo>
                      <a:pt x="23354" y="11636"/>
                    </a:lnTo>
                    <a:lnTo>
                      <a:pt x="29556" y="14408"/>
                    </a:lnTo>
                    <a:lnTo>
                      <a:pt x="37460" y="13584"/>
                    </a:lnTo>
                    <a:lnTo>
                      <a:pt x="41329" y="26400"/>
                    </a:lnTo>
                    <a:lnTo>
                      <a:pt x="38722" y="32547"/>
                    </a:lnTo>
                    <a:lnTo>
                      <a:pt x="29556" y="32465"/>
                    </a:lnTo>
                    <a:lnTo>
                      <a:pt x="23354" y="31779"/>
                    </a:lnTo>
                    <a:lnTo>
                      <a:pt x="8205" y="30077"/>
                    </a:lnTo>
                    <a:lnTo>
                      <a:pt x="0" y="15889"/>
                    </a:lnTo>
                    <a:lnTo>
                      <a:pt x="1537" y="8864"/>
                    </a:lnTo>
                    <a:lnTo>
                      <a:pt x="10950" y="5104"/>
                    </a:lnTo>
                    <a:lnTo>
                      <a:pt x="12459" y="0"/>
                    </a:lnTo>
                    <a:lnTo>
                      <a:pt x="15533" y="2223"/>
                    </a:lnTo>
                    <a:lnTo>
                      <a:pt x="16164" y="5104"/>
                    </a:lnTo>
                    <a:lnTo>
                      <a:pt x="15505" y="81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9" name="Freeform: Shape 3318">
                <a:extLst>
                  <a:ext uri="{FF2B5EF4-FFF2-40B4-BE49-F238E27FC236}">
                    <a16:creationId xmlns:a16="http://schemas.microsoft.com/office/drawing/2014/main" id="{4A168927-7D5C-AEDA-FFB0-B4981C14241F}"/>
                  </a:ext>
                </a:extLst>
              </p:cNvPr>
              <p:cNvSpPr/>
              <p:nvPr/>
            </p:nvSpPr>
            <p:spPr>
              <a:xfrm>
                <a:off x="1044444" y="3466992"/>
                <a:ext cx="4617" cy="4751"/>
              </a:xfrm>
              <a:custGeom>
                <a:avLst/>
                <a:gdLst>
                  <a:gd name="connsiteX0" fmla="*/ 44266 w 44265"/>
                  <a:gd name="connsiteY0" fmla="*/ 34112 h 45555"/>
                  <a:gd name="connsiteX1" fmla="*/ 31038 w 44265"/>
                  <a:gd name="connsiteY1" fmla="*/ 45555 h 45555"/>
                  <a:gd name="connsiteX2" fmla="*/ 8507 w 44265"/>
                  <a:gd name="connsiteY2" fmla="*/ 39161 h 45555"/>
                  <a:gd name="connsiteX3" fmla="*/ 5269 w 44265"/>
                  <a:gd name="connsiteY3" fmla="*/ 24616 h 45555"/>
                  <a:gd name="connsiteX4" fmla="*/ 0 w 44265"/>
                  <a:gd name="connsiteY4" fmla="*/ 13941 h 45555"/>
                  <a:gd name="connsiteX5" fmla="*/ 357 w 44265"/>
                  <a:gd name="connsiteY5" fmla="*/ 11828 h 45555"/>
                  <a:gd name="connsiteX6" fmla="*/ 6998 w 44265"/>
                  <a:gd name="connsiteY6" fmla="*/ 2141 h 45555"/>
                  <a:gd name="connsiteX7" fmla="*/ 10648 w 44265"/>
                  <a:gd name="connsiteY7" fmla="*/ 0 h 45555"/>
                  <a:gd name="connsiteX8" fmla="*/ 17563 w 44265"/>
                  <a:gd name="connsiteY8" fmla="*/ 851 h 45555"/>
                  <a:gd name="connsiteX9" fmla="*/ 44266 w 44265"/>
                  <a:gd name="connsiteY9" fmla="*/ 29666 h 45555"/>
                  <a:gd name="connsiteX10" fmla="*/ 44266 w 44265"/>
                  <a:gd name="connsiteY10" fmla="*/ 34084 h 45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65" h="45555">
                    <a:moveTo>
                      <a:pt x="44266" y="34112"/>
                    </a:moveTo>
                    <a:lnTo>
                      <a:pt x="31038" y="45555"/>
                    </a:lnTo>
                    <a:lnTo>
                      <a:pt x="8507" y="39161"/>
                    </a:lnTo>
                    <a:lnTo>
                      <a:pt x="5269" y="24616"/>
                    </a:lnTo>
                    <a:lnTo>
                      <a:pt x="0" y="13941"/>
                    </a:lnTo>
                    <a:lnTo>
                      <a:pt x="357" y="11828"/>
                    </a:lnTo>
                    <a:lnTo>
                      <a:pt x="6998" y="2141"/>
                    </a:lnTo>
                    <a:lnTo>
                      <a:pt x="10648" y="0"/>
                    </a:lnTo>
                    <a:lnTo>
                      <a:pt x="17563" y="851"/>
                    </a:lnTo>
                    <a:lnTo>
                      <a:pt x="44266" y="29666"/>
                    </a:lnTo>
                    <a:lnTo>
                      <a:pt x="44266" y="340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0" name="Freeform: Shape 3319">
                <a:extLst>
                  <a:ext uri="{FF2B5EF4-FFF2-40B4-BE49-F238E27FC236}">
                    <a16:creationId xmlns:a16="http://schemas.microsoft.com/office/drawing/2014/main" id="{99668D2C-1FD6-5A99-628C-1FF49EDE0EAD}"/>
                  </a:ext>
                </a:extLst>
              </p:cNvPr>
              <p:cNvSpPr/>
              <p:nvPr/>
            </p:nvSpPr>
            <p:spPr>
              <a:xfrm>
                <a:off x="1060759" y="3498298"/>
                <a:ext cx="4940" cy="3274"/>
              </a:xfrm>
              <a:custGeom>
                <a:avLst/>
                <a:gdLst>
                  <a:gd name="connsiteX0" fmla="*/ 19732 w 47366"/>
                  <a:gd name="connsiteY0" fmla="*/ 29117 h 31394"/>
                  <a:gd name="connsiteX1" fmla="*/ 7464 w 47366"/>
                  <a:gd name="connsiteY1" fmla="*/ 31395 h 31394"/>
                  <a:gd name="connsiteX2" fmla="*/ 412 w 47366"/>
                  <a:gd name="connsiteY2" fmla="*/ 24397 h 31394"/>
                  <a:gd name="connsiteX3" fmla="*/ 0 w 47366"/>
                  <a:gd name="connsiteY3" fmla="*/ 22723 h 31394"/>
                  <a:gd name="connsiteX4" fmla="*/ 439 w 47366"/>
                  <a:gd name="connsiteY4" fmla="*/ 20665 h 31394"/>
                  <a:gd name="connsiteX5" fmla="*/ 9084 w 47366"/>
                  <a:gd name="connsiteY5" fmla="*/ 15286 h 31394"/>
                  <a:gd name="connsiteX6" fmla="*/ 10072 w 47366"/>
                  <a:gd name="connsiteY6" fmla="*/ 12596 h 31394"/>
                  <a:gd name="connsiteX7" fmla="*/ 19732 w 47366"/>
                  <a:gd name="connsiteY7" fmla="*/ 7437 h 31394"/>
                  <a:gd name="connsiteX8" fmla="*/ 39710 w 47366"/>
                  <a:gd name="connsiteY8" fmla="*/ 0 h 31394"/>
                  <a:gd name="connsiteX9" fmla="*/ 47147 w 47366"/>
                  <a:gd name="connsiteY9" fmla="*/ 2635 h 31394"/>
                  <a:gd name="connsiteX10" fmla="*/ 47367 w 47366"/>
                  <a:gd name="connsiteY10" fmla="*/ 6257 h 31394"/>
                  <a:gd name="connsiteX11" fmla="*/ 41960 w 47366"/>
                  <a:gd name="connsiteY11" fmla="*/ 16603 h 31394"/>
                  <a:gd name="connsiteX12" fmla="*/ 34578 w 47366"/>
                  <a:gd name="connsiteY12" fmla="*/ 23985 h 31394"/>
                  <a:gd name="connsiteX13" fmla="*/ 19732 w 47366"/>
                  <a:gd name="connsiteY13" fmla="*/ 29117 h 3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366" h="31394">
                    <a:moveTo>
                      <a:pt x="19732" y="29117"/>
                    </a:moveTo>
                    <a:lnTo>
                      <a:pt x="7464" y="31395"/>
                    </a:lnTo>
                    <a:lnTo>
                      <a:pt x="412" y="24397"/>
                    </a:lnTo>
                    <a:lnTo>
                      <a:pt x="0" y="22723"/>
                    </a:lnTo>
                    <a:lnTo>
                      <a:pt x="439" y="20665"/>
                    </a:lnTo>
                    <a:lnTo>
                      <a:pt x="9084" y="15286"/>
                    </a:lnTo>
                    <a:lnTo>
                      <a:pt x="10072" y="12596"/>
                    </a:lnTo>
                    <a:lnTo>
                      <a:pt x="19732" y="7437"/>
                    </a:lnTo>
                    <a:lnTo>
                      <a:pt x="39710" y="0"/>
                    </a:lnTo>
                    <a:lnTo>
                      <a:pt x="47147" y="2635"/>
                    </a:lnTo>
                    <a:lnTo>
                      <a:pt x="47367" y="6257"/>
                    </a:lnTo>
                    <a:lnTo>
                      <a:pt x="41960" y="16603"/>
                    </a:lnTo>
                    <a:lnTo>
                      <a:pt x="34578" y="23985"/>
                    </a:lnTo>
                    <a:lnTo>
                      <a:pt x="19732" y="291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1" name="Freeform: Shape 3320">
                <a:extLst>
                  <a:ext uri="{FF2B5EF4-FFF2-40B4-BE49-F238E27FC236}">
                    <a16:creationId xmlns:a16="http://schemas.microsoft.com/office/drawing/2014/main" id="{C49703C7-9593-DC52-3355-465B006A6D50}"/>
                  </a:ext>
                </a:extLst>
              </p:cNvPr>
              <p:cNvSpPr/>
              <p:nvPr/>
            </p:nvSpPr>
            <p:spPr>
              <a:xfrm>
                <a:off x="1012781" y="3447686"/>
                <a:ext cx="3987" cy="4915"/>
              </a:xfrm>
              <a:custGeom>
                <a:avLst/>
                <a:gdLst>
                  <a:gd name="connsiteX0" fmla="*/ 36252 w 38228"/>
                  <a:gd name="connsiteY0" fmla="*/ 38201 h 47119"/>
                  <a:gd name="connsiteX1" fmla="*/ 20857 w 38228"/>
                  <a:gd name="connsiteY1" fmla="*/ 47120 h 47119"/>
                  <a:gd name="connsiteX2" fmla="*/ 3375 w 38228"/>
                  <a:gd name="connsiteY2" fmla="*/ 27882 h 47119"/>
                  <a:gd name="connsiteX3" fmla="*/ 0 w 38228"/>
                  <a:gd name="connsiteY3" fmla="*/ 17426 h 47119"/>
                  <a:gd name="connsiteX4" fmla="*/ 16575 w 38228"/>
                  <a:gd name="connsiteY4" fmla="*/ 0 h 47119"/>
                  <a:gd name="connsiteX5" fmla="*/ 36252 w 38228"/>
                  <a:gd name="connsiteY5" fmla="*/ 25055 h 47119"/>
                  <a:gd name="connsiteX6" fmla="*/ 38228 w 38228"/>
                  <a:gd name="connsiteY6" fmla="*/ 30434 h 47119"/>
                  <a:gd name="connsiteX7" fmla="*/ 38146 w 38228"/>
                  <a:gd name="connsiteY7" fmla="*/ 34990 h 47119"/>
                  <a:gd name="connsiteX8" fmla="*/ 36252 w 38228"/>
                  <a:gd name="connsiteY8" fmla="*/ 38173 h 47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228" h="47119">
                    <a:moveTo>
                      <a:pt x="36252" y="38201"/>
                    </a:moveTo>
                    <a:lnTo>
                      <a:pt x="20857" y="47120"/>
                    </a:lnTo>
                    <a:lnTo>
                      <a:pt x="3375" y="27882"/>
                    </a:lnTo>
                    <a:lnTo>
                      <a:pt x="0" y="17426"/>
                    </a:lnTo>
                    <a:lnTo>
                      <a:pt x="16575" y="0"/>
                    </a:lnTo>
                    <a:lnTo>
                      <a:pt x="36252" y="25055"/>
                    </a:lnTo>
                    <a:lnTo>
                      <a:pt x="38228" y="30434"/>
                    </a:lnTo>
                    <a:lnTo>
                      <a:pt x="38146" y="34990"/>
                    </a:lnTo>
                    <a:lnTo>
                      <a:pt x="36252" y="381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2" name="Freeform: Shape 3321">
                <a:extLst>
                  <a:ext uri="{FF2B5EF4-FFF2-40B4-BE49-F238E27FC236}">
                    <a16:creationId xmlns:a16="http://schemas.microsoft.com/office/drawing/2014/main" id="{02E858FB-5841-F742-D0C0-F88ABBAAA027}"/>
                  </a:ext>
                </a:extLst>
              </p:cNvPr>
              <p:cNvSpPr/>
              <p:nvPr/>
            </p:nvSpPr>
            <p:spPr>
              <a:xfrm>
                <a:off x="1043995" y="3482804"/>
                <a:ext cx="3335" cy="4766"/>
              </a:xfrm>
              <a:custGeom>
                <a:avLst/>
                <a:gdLst>
                  <a:gd name="connsiteX0" fmla="*/ 29419 w 31971"/>
                  <a:gd name="connsiteY0" fmla="*/ 37542 h 45692"/>
                  <a:gd name="connsiteX1" fmla="*/ 15505 w 31971"/>
                  <a:gd name="connsiteY1" fmla="*/ 45693 h 45692"/>
                  <a:gd name="connsiteX2" fmla="*/ 631 w 31971"/>
                  <a:gd name="connsiteY2" fmla="*/ 36362 h 45692"/>
                  <a:gd name="connsiteX3" fmla="*/ 0 w 31971"/>
                  <a:gd name="connsiteY3" fmla="*/ 30407 h 45692"/>
                  <a:gd name="connsiteX4" fmla="*/ 1372 w 31971"/>
                  <a:gd name="connsiteY4" fmla="*/ 23217 h 45692"/>
                  <a:gd name="connsiteX5" fmla="*/ 3842 w 31971"/>
                  <a:gd name="connsiteY5" fmla="*/ 13557 h 45692"/>
                  <a:gd name="connsiteX6" fmla="*/ 4748 w 31971"/>
                  <a:gd name="connsiteY6" fmla="*/ 9934 h 45692"/>
                  <a:gd name="connsiteX7" fmla="*/ 8480 w 31971"/>
                  <a:gd name="connsiteY7" fmla="*/ 2744 h 45692"/>
                  <a:gd name="connsiteX8" fmla="*/ 12843 w 31971"/>
                  <a:gd name="connsiteY8" fmla="*/ 110 h 45692"/>
                  <a:gd name="connsiteX9" fmla="*/ 20363 w 31971"/>
                  <a:gd name="connsiteY9" fmla="*/ 0 h 45692"/>
                  <a:gd name="connsiteX10" fmla="*/ 27251 w 31971"/>
                  <a:gd name="connsiteY10" fmla="*/ 9962 h 45692"/>
                  <a:gd name="connsiteX11" fmla="*/ 28157 w 31971"/>
                  <a:gd name="connsiteY11" fmla="*/ 13584 h 45692"/>
                  <a:gd name="connsiteX12" fmla="*/ 30572 w 31971"/>
                  <a:gd name="connsiteY12" fmla="*/ 23244 h 45692"/>
                  <a:gd name="connsiteX13" fmla="*/ 31971 w 31971"/>
                  <a:gd name="connsiteY13" fmla="*/ 30434 h 45692"/>
                  <a:gd name="connsiteX14" fmla="*/ 29391 w 31971"/>
                  <a:gd name="connsiteY14" fmla="*/ 37569 h 4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71" h="45692">
                    <a:moveTo>
                      <a:pt x="29419" y="37542"/>
                    </a:moveTo>
                    <a:lnTo>
                      <a:pt x="15505" y="45693"/>
                    </a:lnTo>
                    <a:lnTo>
                      <a:pt x="631" y="36362"/>
                    </a:lnTo>
                    <a:lnTo>
                      <a:pt x="0" y="30407"/>
                    </a:lnTo>
                    <a:lnTo>
                      <a:pt x="1372" y="23217"/>
                    </a:lnTo>
                    <a:lnTo>
                      <a:pt x="3842" y="13557"/>
                    </a:lnTo>
                    <a:lnTo>
                      <a:pt x="4748" y="9934"/>
                    </a:lnTo>
                    <a:lnTo>
                      <a:pt x="8480" y="2744"/>
                    </a:lnTo>
                    <a:lnTo>
                      <a:pt x="12843" y="110"/>
                    </a:lnTo>
                    <a:lnTo>
                      <a:pt x="20363" y="0"/>
                    </a:lnTo>
                    <a:lnTo>
                      <a:pt x="27251" y="9962"/>
                    </a:lnTo>
                    <a:lnTo>
                      <a:pt x="28157" y="13584"/>
                    </a:lnTo>
                    <a:lnTo>
                      <a:pt x="30572" y="23244"/>
                    </a:lnTo>
                    <a:lnTo>
                      <a:pt x="31971" y="30434"/>
                    </a:lnTo>
                    <a:lnTo>
                      <a:pt x="29391" y="375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3" name="Freeform: Shape 3322">
                <a:extLst>
                  <a:ext uri="{FF2B5EF4-FFF2-40B4-BE49-F238E27FC236}">
                    <a16:creationId xmlns:a16="http://schemas.microsoft.com/office/drawing/2014/main" id="{EF8F660B-E678-0C45-DC6E-9F49D39EAF2C}"/>
                  </a:ext>
                </a:extLst>
              </p:cNvPr>
              <p:cNvSpPr/>
              <p:nvPr/>
            </p:nvSpPr>
            <p:spPr>
              <a:xfrm>
                <a:off x="1124572" y="3590356"/>
                <a:ext cx="3071" cy="2688"/>
              </a:xfrm>
              <a:custGeom>
                <a:avLst/>
                <a:gdLst>
                  <a:gd name="connsiteX0" fmla="*/ 26894 w 29446"/>
                  <a:gd name="connsiteY0" fmla="*/ 21762 h 25768"/>
                  <a:gd name="connsiteX1" fmla="*/ 17975 w 29446"/>
                  <a:gd name="connsiteY1" fmla="*/ 25769 h 25768"/>
                  <a:gd name="connsiteX2" fmla="*/ 8562 w 29446"/>
                  <a:gd name="connsiteY2" fmla="*/ 16576 h 25768"/>
                  <a:gd name="connsiteX3" fmla="*/ 7327 w 29446"/>
                  <a:gd name="connsiteY3" fmla="*/ 15588 h 25768"/>
                  <a:gd name="connsiteX4" fmla="*/ 3979 w 29446"/>
                  <a:gd name="connsiteY4" fmla="*/ 10566 h 25768"/>
                  <a:gd name="connsiteX5" fmla="*/ 0 w 29446"/>
                  <a:gd name="connsiteY5" fmla="*/ 3815 h 25768"/>
                  <a:gd name="connsiteX6" fmla="*/ 1263 w 29446"/>
                  <a:gd name="connsiteY6" fmla="*/ 0 h 25768"/>
                  <a:gd name="connsiteX7" fmla="*/ 3979 w 29446"/>
                  <a:gd name="connsiteY7" fmla="*/ 2003 h 25768"/>
                  <a:gd name="connsiteX8" fmla="*/ 20390 w 29446"/>
                  <a:gd name="connsiteY8" fmla="*/ 2607 h 25768"/>
                  <a:gd name="connsiteX9" fmla="*/ 25138 w 29446"/>
                  <a:gd name="connsiteY9" fmla="*/ 5708 h 25768"/>
                  <a:gd name="connsiteX10" fmla="*/ 29447 w 29446"/>
                  <a:gd name="connsiteY10" fmla="*/ 16576 h 25768"/>
                  <a:gd name="connsiteX11" fmla="*/ 26894 w 29446"/>
                  <a:gd name="connsiteY11" fmla="*/ 21762 h 2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46" h="25768">
                    <a:moveTo>
                      <a:pt x="26894" y="21762"/>
                    </a:moveTo>
                    <a:lnTo>
                      <a:pt x="17975" y="25769"/>
                    </a:lnTo>
                    <a:lnTo>
                      <a:pt x="8562" y="16576"/>
                    </a:lnTo>
                    <a:lnTo>
                      <a:pt x="7327" y="15588"/>
                    </a:lnTo>
                    <a:lnTo>
                      <a:pt x="3979" y="10566"/>
                    </a:lnTo>
                    <a:lnTo>
                      <a:pt x="0" y="3815"/>
                    </a:lnTo>
                    <a:lnTo>
                      <a:pt x="1263" y="0"/>
                    </a:lnTo>
                    <a:lnTo>
                      <a:pt x="3979" y="2003"/>
                    </a:lnTo>
                    <a:lnTo>
                      <a:pt x="20390" y="2607"/>
                    </a:lnTo>
                    <a:lnTo>
                      <a:pt x="25138" y="5708"/>
                    </a:lnTo>
                    <a:lnTo>
                      <a:pt x="29447" y="16576"/>
                    </a:lnTo>
                    <a:lnTo>
                      <a:pt x="26894" y="217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4" name="Freeform: Shape 3323">
                <a:extLst>
                  <a:ext uri="{FF2B5EF4-FFF2-40B4-BE49-F238E27FC236}">
                    <a16:creationId xmlns:a16="http://schemas.microsoft.com/office/drawing/2014/main" id="{CC2D0A87-475A-A513-B358-7E1A339B1845}"/>
                  </a:ext>
                </a:extLst>
              </p:cNvPr>
              <p:cNvSpPr/>
              <p:nvPr/>
            </p:nvSpPr>
            <p:spPr>
              <a:xfrm>
                <a:off x="1164616" y="3601963"/>
                <a:ext cx="2373" cy="2731"/>
              </a:xfrm>
              <a:custGeom>
                <a:avLst/>
                <a:gdLst>
                  <a:gd name="connsiteX0" fmla="*/ 1537 w 22750"/>
                  <a:gd name="connsiteY0" fmla="*/ 3979 h 26180"/>
                  <a:gd name="connsiteX1" fmla="*/ 6367 w 22750"/>
                  <a:gd name="connsiteY1" fmla="*/ 2772 h 26180"/>
                  <a:gd name="connsiteX2" fmla="*/ 7026 w 22750"/>
                  <a:gd name="connsiteY2" fmla="*/ 0 h 26180"/>
                  <a:gd name="connsiteX3" fmla="*/ 9413 w 22750"/>
                  <a:gd name="connsiteY3" fmla="*/ 2964 h 26180"/>
                  <a:gd name="connsiteX4" fmla="*/ 18085 w 22750"/>
                  <a:gd name="connsiteY4" fmla="*/ 5187 h 26180"/>
                  <a:gd name="connsiteX5" fmla="*/ 22750 w 22750"/>
                  <a:gd name="connsiteY5" fmla="*/ 10264 h 26180"/>
                  <a:gd name="connsiteX6" fmla="*/ 18305 w 22750"/>
                  <a:gd name="connsiteY6" fmla="*/ 26181 h 26180"/>
                  <a:gd name="connsiteX7" fmla="*/ 9413 w 22750"/>
                  <a:gd name="connsiteY7" fmla="*/ 19238 h 26180"/>
                  <a:gd name="connsiteX8" fmla="*/ 2662 w 22750"/>
                  <a:gd name="connsiteY8" fmla="*/ 13035 h 26180"/>
                  <a:gd name="connsiteX9" fmla="*/ 0 w 22750"/>
                  <a:gd name="connsiteY9" fmla="*/ 7547 h 26180"/>
                  <a:gd name="connsiteX10" fmla="*/ 1537 w 22750"/>
                  <a:gd name="connsiteY10" fmla="*/ 3979 h 2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50" h="26180">
                    <a:moveTo>
                      <a:pt x="1537" y="3979"/>
                    </a:moveTo>
                    <a:lnTo>
                      <a:pt x="6367" y="2772"/>
                    </a:lnTo>
                    <a:lnTo>
                      <a:pt x="7026" y="0"/>
                    </a:lnTo>
                    <a:lnTo>
                      <a:pt x="9413" y="2964"/>
                    </a:lnTo>
                    <a:lnTo>
                      <a:pt x="18085" y="5187"/>
                    </a:lnTo>
                    <a:lnTo>
                      <a:pt x="22750" y="10264"/>
                    </a:lnTo>
                    <a:lnTo>
                      <a:pt x="18305" y="26181"/>
                    </a:lnTo>
                    <a:lnTo>
                      <a:pt x="9413" y="19238"/>
                    </a:lnTo>
                    <a:lnTo>
                      <a:pt x="2662" y="13035"/>
                    </a:lnTo>
                    <a:lnTo>
                      <a:pt x="0" y="7547"/>
                    </a:lnTo>
                    <a:lnTo>
                      <a:pt x="1537" y="39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5" name="Freeform: Shape 3324">
                <a:extLst>
                  <a:ext uri="{FF2B5EF4-FFF2-40B4-BE49-F238E27FC236}">
                    <a16:creationId xmlns:a16="http://schemas.microsoft.com/office/drawing/2014/main" id="{AF96EA7D-D997-690A-3305-3950F760188B}"/>
                  </a:ext>
                </a:extLst>
              </p:cNvPr>
              <p:cNvSpPr/>
              <p:nvPr/>
            </p:nvSpPr>
            <p:spPr>
              <a:xfrm>
                <a:off x="1050956" y="3449939"/>
                <a:ext cx="4482" cy="3111"/>
              </a:xfrm>
              <a:custGeom>
                <a:avLst/>
                <a:gdLst>
                  <a:gd name="connsiteX0" fmla="*/ 0 w 42975"/>
                  <a:gd name="connsiteY0" fmla="*/ 13584 h 29830"/>
                  <a:gd name="connsiteX1" fmla="*/ 1921 w 42975"/>
                  <a:gd name="connsiteY1" fmla="*/ 3760 h 29830"/>
                  <a:gd name="connsiteX2" fmla="*/ 10675 w 42975"/>
                  <a:gd name="connsiteY2" fmla="*/ 0 h 29830"/>
                  <a:gd name="connsiteX3" fmla="*/ 32136 w 42975"/>
                  <a:gd name="connsiteY3" fmla="*/ 3650 h 29830"/>
                  <a:gd name="connsiteX4" fmla="*/ 39682 w 42975"/>
                  <a:gd name="connsiteY4" fmla="*/ 10181 h 29830"/>
                  <a:gd name="connsiteX5" fmla="*/ 42976 w 42975"/>
                  <a:gd name="connsiteY5" fmla="*/ 17673 h 29830"/>
                  <a:gd name="connsiteX6" fmla="*/ 41384 w 42975"/>
                  <a:gd name="connsiteY6" fmla="*/ 25110 h 29830"/>
                  <a:gd name="connsiteX7" fmla="*/ 32136 w 42975"/>
                  <a:gd name="connsiteY7" fmla="*/ 24561 h 29830"/>
                  <a:gd name="connsiteX8" fmla="*/ 12898 w 42975"/>
                  <a:gd name="connsiteY8" fmla="*/ 29831 h 29830"/>
                  <a:gd name="connsiteX9" fmla="*/ 0 w 42975"/>
                  <a:gd name="connsiteY9" fmla="*/ 13584 h 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75" h="29830">
                    <a:moveTo>
                      <a:pt x="0" y="13584"/>
                    </a:moveTo>
                    <a:lnTo>
                      <a:pt x="1921" y="3760"/>
                    </a:lnTo>
                    <a:lnTo>
                      <a:pt x="10675" y="0"/>
                    </a:lnTo>
                    <a:lnTo>
                      <a:pt x="32136" y="3650"/>
                    </a:lnTo>
                    <a:lnTo>
                      <a:pt x="39682" y="10181"/>
                    </a:lnTo>
                    <a:lnTo>
                      <a:pt x="42976" y="17673"/>
                    </a:lnTo>
                    <a:lnTo>
                      <a:pt x="41384" y="25110"/>
                    </a:lnTo>
                    <a:lnTo>
                      <a:pt x="32136" y="24561"/>
                    </a:lnTo>
                    <a:lnTo>
                      <a:pt x="12898" y="29831"/>
                    </a:lnTo>
                    <a:lnTo>
                      <a:pt x="0" y="135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6" name="Freeform: Shape 3325">
                <a:extLst>
                  <a:ext uri="{FF2B5EF4-FFF2-40B4-BE49-F238E27FC236}">
                    <a16:creationId xmlns:a16="http://schemas.microsoft.com/office/drawing/2014/main" id="{D6F2993F-6ECA-EE73-E639-298C1633DB7F}"/>
                  </a:ext>
                </a:extLst>
              </p:cNvPr>
              <p:cNvSpPr/>
              <p:nvPr/>
            </p:nvSpPr>
            <p:spPr>
              <a:xfrm>
                <a:off x="1056775" y="3547109"/>
                <a:ext cx="1998" cy="3844"/>
              </a:xfrm>
              <a:custGeom>
                <a:avLst/>
                <a:gdLst>
                  <a:gd name="connsiteX0" fmla="*/ 15231 w 19155"/>
                  <a:gd name="connsiteY0" fmla="*/ 14106 h 36855"/>
                  <a:gd name="connsiteX1" fmla="*/ 13447 w 19155"/>
                  <a:gd name="connsiteY1" fmla="*/ 16960 h 36855"/>
                  <a:gd name="connsiteX2" fmla="*/ 13502 w 19155"/>
                  <a:gd name="connsiteY2" fmla="*/ 26235 h 36855"/>
                  <a:gd name="connsiteX3" fmla="*/ 12349 w 19155"/>
                  <a:gd name="connsiteY3" fmla="*/ 35456 h 36855"/>
                  <a:gd name="connsiteX4" fmla="*/ 4418 w 19155"/>
                  <a:gd name="connsiteY4" fmla="*/ 31916 h 36855"/>
                  <a:gd name="connsiteX5" fmla="*/ 3705 w 19155"/>
                  <a:gd name="connsiteY5" fmla="*/ 36856 h 36855"/>
                  <a:gd name="connsiteX6" fmla="*/ 1317 w 19155"/>
                  <a:gd name="connsiteY6" fmla="*/ 35511 h 36855"/>
                  <a:gd name="connsiteX7" fmla="*/ 0 w 19155"/>
                  <a:gd name="connsiteY7" fmla="*/ 26235 h 36855"/>
                  <a:gd name="connsiteX8" fmla="*/ 988 w 19155"/>
                  <a:gd name="connsiteY8" fmla="*/ 9523 h 36855"/>
                  <a:gd name="connsiteX9" fmla="*/ 6614 w 19155"/>
                  <a:gd name="connsiteY9" fmla="*/ 7135 h 36855"/>
                  <a:gd name="connsiteX10" fmla="*/ 11800 w 19155"/>
                  <a:gd name="connsiteY10" fmla="*/ 14764 h 36855"/>
                  <a:gd name="connsiteX11" fmla="*/ 11636 w 19155"/>
                  <a:gd name="connsiteY11" fmla="*/ 5516 h 36855"/>
                  <a:gd name="connsiteX12" fmla="*/ 15203 w 19155"/>
                  <a:gd name="connsiteY12" fmla="*/ 0 h 36855"/>
                  <a:gd name="connsiteX13" fmla="*/ 19155 w 19155"/>
                  <a:gd name="connsiteY13" fmla="*/ 9797 h 36855"/>
                  <a:gd name="connsiteX14" fmla="*/ 18524 w 19155"/>
                  <a:gd name="connsiteY14" fmla="*/ 13721 h 36855"/>
                  <a:gd name="connsiteX15" fmla="*/ 15203 w 19155"/>
                  <a:gd name="connsiteY15" fmla="*/ 14161 h 36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155" h="36855">
                    <a:moveTo>
                      <a:pt x="15231" y="14106"/>
                    </a:moveTo>
                    <a:lnTo>
                      <a:pt x="13447" y="16960"/>
                    </a:lnTo>
                    <a:lnTo>
                      <a:pt x="13502" y="26235"/>
                    </a:lnTo>
                    <a:lnTo>
                      <a:pt x="12349" y="35456"/>
                    </a:lnTo>
                    <a:lnTo>
                      <a:pt x="4418" y="31916"/>
                    </a:lnTo>
                    <a:lnTo>
                      <a:pt x="3705" y="36856"/>
                    </a:lnTo>
                    <a:lnTo>
                      <a:pt x="1317" y="35511"/>
                    </a:lnTo>
                    <a:lnTo>
                      <a:pt x="0" y="26235"/>
                    </a:lnTo>
                    <a:lnTo>
                      <a:pt x="988" y="9523"/>
                    </a:lnTo>
                    <a:lnTo>
                      <a:pt x="6614" y="7135"/>
                    </a:lnTo>
                    <a:lnTo>
                      <a:pt x="11800" y="14764"/>
                    </a:lnTo>
                    <a:lnTo>
                      <a:pt x="11636" y="5516"/>
                    </a:lnTo>
                    <a:lnTo>
                      <a:pt x="15203" y="0"/>
                    </a:lnTo>
                    <a:lnTo>
                      <a:pt x="19155" y="9797"/>
                    </a:lnTo>
                    <a:lnTo>
                      <a:pt x="18524" y="13721"/>
                    </a:lnTo>
                    <a:lnTo>
                      <a:pt x="15203" y="141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7" name="Freeform: Shape 3326">
                <a:extLst>
                  <a:ext uri="{FF2B5EF4-FFF2-40B4-BE49-F238E27FC236}">
                    <a16:creationId xmlns:a16="http://schemas.microsoft.com/office/drawing/2014/main" id="{46325D30-4F91-4BFB-F6B7-C8CE4FD583C4}"/>
                  </a:ext>
                </a:extLst>
              </p:cNvPr>
              <p:cNvSpPr/>
              <p:nvPr/>
            </p:nvSpPr>
            <p:spPr>
              <a:xfrm>
                <a:off x="1087571" y="3464963"/>
                <a:ext cx="2585" cy="4577"/>
              </a:xfrm>
              <a:custGeom>
                <a:avLst/>
                <a:gdLst>
                  <a:gd name="connsiteX0" fmla="*/ 21515 w 24781"/>
                  <a:gd name="connsiteY0" fmla="*/ 25055 h 43881"/>
                  <a:gd name="connsiteX1" fmla="*/ 21899 w 24781"/>
                  <a:gd name="connsiteY1" fmla="*/ 42262 h 43881"/>
                  <a:gd name="connsiteX2" fmla="*/ 16082 w 24781"/>
                  <a:gd name="connsiteY2" fmla="*/ 43881 h 43881"/>
                  <a:gd name="connsiteX3" fmla="*/ 9385 w 24781"/>
                  <a:gd name="connsiteY3" fmla="*/ 32547 h 43881"/>
                  <a:gd name="connsiteX4" fmla="*/ 7766 w 24781"/>
                  <a:gd name="connsiteY4" fmla="*/ 29831 h 43881"/>
                  <a:gd name="connsiteX5" fmla="*/ 2909 w 24781"/>
                  <a:gd name="connsiteY5" fmla="*/ 21515 h 43881"/>
                  <a:gd name="connsiteX6" fmla="*/ 0 w 24781"/>
                  <a:gd name="connsiteY6" fmla="*/ 10072 h 43881"/>
                  <a:gd name="connsiteX7" fmla="*/ 4528 w 24781"/>
                  <a:gd name="connsiteY7" fmla="*/ 3074 h 43881"/>
                  <a:gd name="connsiteX8" fmla="*/ 7739 w 24781"/>
                  <a:gd name="connsiteY8" fmla="*/ 2305 h 43881"/>
                  <a:gd name="connsiteX9" fmla="*/ 9358 w 24781"/>
                  <a:gd name="connsiteY9" fmla="*/ 1921 h 43881"/>
                  <a:gd name="connsiteX10" fmla="*/ 17426 w 24781"/>
                  <a:gd name="connsiteY10" fmla="*/ 0 h 43881"/>
                  <a:gd name="connsiteX11" fmla="*/ 24781 w 24781"/>
                  <a:gd name="connsiteY11" fmla="*/ 14133 h 43881"/>
                  <a:gd name="connsiteX12" fmla="*/ 21488 w 24781"/>
                  <a:gd name="connsiteY12" fmla="*/ 25001 h 4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781" h="43881">
                    <a:moveTo>
                      <a:pt x="21515" y="25055"/>
                    </a:moveTo>
                    <a:lnTo>
                      <a:pt x="21899" y="42262"/>
                    </a:lnTo>
                    <a:lnTo>
                      <a:pt x="16082" y="43881"/>
                    </a:lnTo>
                    <a:lnTo>
                      <a:pt x="9385" y="32547"/>
                    </a:lnTo>
                    <a:lnTo>
                      <a:pt x="7766" y="29831"/>
                    </a:lnTo>
                    <a:lnTo>
                      <a:pt x="2909" y="21515"/>
                    </a:lnTo>
                    <a:lnTo>
                      <a:pt x="0" y="10072"/>
                    </a:lnTo>
                    <a:lnTo>
                      <a:pt x="4528" y="3074"/>
                    </a:lnTo>
                    <a:lnTo>
                      <a:pt x="7739" y="2305"/>
                    </a:lnTo>
                    <a:lnTo>
                      <a:pt x="9358" y="1921"/>
                    </a:lnTo>
                    <a:lnTo>
                      <a:pt x="17426" y="0"/>
                    </a:lnTo>
                    <a:lnTo>
                      <a:pt x="24781" y="14133"/>
                    </a:lnTo>
                    <a:lnTo>
                      <a:pt x="21488" y="250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8" name="Freeform: Shape 3327">
                <a:extLst>
                  <a:ext uri="{FF2B5EF4-FFF2-40B4-BE49-F238E27FC236}">
                    <a16:creationId xmlns:a16="http://schemas.microsoft.com/office/drawing/2014/main" id="{7D09174A-79C0-DF23-A726-15F9F8A12AAC}"/>
                  </a:ext>
                </a:extLst>
              </p:cNvPr>
              <p:cNvSpPr/>
              <p:nvPr/>
            </p:nvSpPr>
            <p:spPr>
              <a:xfrm>
                <a:off x="1127858" y="3588919"/>
                <a:ext cx="2516" cy="2235"/>
              </a:xfrm>
              <a:custGeom>
                <a:avLst/>
                <a:gdLst>
                  <a:gd name="connsiteX0" fmla="*/ 27 w 24122"/>
                  <a:gd name="connsiteY0" fmla="*/ 3156 h 21432"/>
                  <a:gd name="connsiteX1" fmla="*/ 3375 w 24122"/>
                  <a:gd name="connsiteY1" fmla="*/ 0 h 21432"/>
                  <a:gd name="connsiteX2" fmla="*/ 15121 w 24122"/>
                  <a:gd name="connsiteY2" fmla="*/ 4144 h 21432"/>
                  <a:gd name="connsiteX3" fmla="*/ 20417 w 24122"/>
                  <a:gd name="connsiteY3" fmla="*/ 8041 h 21432"/>
                  <a:gd name="connsiteX4" fmla="*/ 24122 w 24122"/>
                  <a:gd name="connsiteY4" fmla="*/ 17069 h 21432"/>
                  <a:gd name="connsiteX5" fmla="*/ 21131 w 24122"/>
                  <a:gd name="connsiteY5" fmla="*/ 21433 h 21432"/>
                  <a:gd name="connsiteX6" fmla="*/ 15121 w 24122"/>
                  <a:gd name="connsiteY6" fmla="*/ 19649 h 21432"/>
                  <a:gd name="connsiteX7" fmla="*/ 302 w 24122"/>
                  <a:gd name="connsiteY7" fmla="*/ 4336 h 21432"/>
                  <a:gd name="connsiteX8" fmla="*/ 0 w 24122"/>
                  <a:gd name="connsiteY8" fmla="*/ 3156 h 2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22" h="21432">
                    <a:moveTo>
                      <a:pt x="27" y="3156"/>
                    </a:moveTo>
                    <a:lnTo>
                      <a:pt x="3375" y="0"/>
                    </a:lnTo>
                    <a:lnTo>
                      <a:pt x="15121" y="4144"/>
                    </a:lnTo>
                    <a:lnTo>
                      <a:pt x="20417" y="8041"/>
                    </a:lnTo>
                    <a:lnTo>
                      <a:pt x="24122" y="17069"/>
                    </a:lnTo>
                    <a:lnTo>
                      <a:pt x="21131" y="21433"/>
                    </a:lnTo>
                    <a:lnTo>
                      <a:pt x="15121" y="19649"/>
                    </a:lnTo>
                    <a:lnTo>
                      <a:pt x="302" y="4336"/>
                    </a:lnTo>
                    <a:lnTo>
                      <a:pt x="0"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9" name="Freeform: Shape 3328">
                <a:extLst>
                  <a:ext uri="{FF2B5EF4-FFF2-40B4-BE49-F238E27FC236}">
                    <a16:creationId xmlns:a16="http://schemas.microsoft.com/office/drawing/2014/main" id="{54DAA60F-42F5-7A04-B710-77B31DBE8D33}"/>
                  </a:ext>
                </a:extLst>
              </p:cNvPr>
              <p:cNvSpPr/>
              <p:nvPr/>
            </p:nvSpPr>
            <p:spPr>
              <a:xfrm>
                <a:off x="1123502" y="3541711"/>
                <a:ext cx="2768" cy="2490"/>
              </a:xfrm>
              <a:custGeom>
                <a:avLst/>
                <a:gdLst>
                  <a:gd name="connsiteX0" fmla="*/ 18003 w 26537"/>
                  <a:gd name="connsiteY0" fmla="*/ 14929 h 23875"/>
                  <a:gd name="connsiteX1" fmla="*/ 9797 w 26537"/>
                  <a:gd name="connsiteY1" fmla="*/ 21598 h 23875"/>
                  <a:gd name="connsiteX2" fmla="*/ 5873 w 26537"/>
                  <a:gd name="connsiteY2" fmla="*/ 19539 h 23875"/>
                  <a:gd name="connsiteX3" fmla="*/ 1263 w 26537"/>
                  <a:gd name="connsiteY3" fmla="*/ 23875 h 23875"/>
                  <a:gd name="connsiteX4" fmla="*/ 0 w 26537"/>
                  <a:gd name="connsiteY4" fmla="*/ 22311 h 23875"/>
                  <a:gd name="connsiteX5" fmla="*/ 329 w 26537"/>
                  <a:gd name="connsiteY5" fmla="*/ 19512 h 23875"/>
                  <a:gd name="connsiteX6" fmla="*/ 19814 w 26537"/>
                  <a:gd name="connsiteY6" fmla="*/ 0 h 23875"/>
                  <a:gd name="connsiteX7" fmla="*/ 25495 w 26537"/>
                  <a:gd name="connsiteY7" fmla="*/ 3430 h 23875"/>
                  <a:gd name="connsiteX8" fmla="*/ 26537 w 26537"/>
                  <a:gd name="connsiteY8" fmla="*/ 8068 h 23875"/>
                  <a:gd name="connsiteX9" fmla="*/ 22997 w 26537"/>
                  <a:gd name="connsiteY9" fmla="*/ 13337 h 23875"/>
                  <a:gd name="connsiteX10" fmla="*/ 18003 w 26537"/>
                  <a:gd name="connsiteY10" fmla="*/ 14929 h 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37" h="23875">
                    <a:moveTo>
                      <a:pt x="18003" y="14929"/>
                    </a:moveTo>
                    <a:lnTo>
                      <a:pt x="9797" y="21598"/>
                    </a:lnTo>
                    <a:lnTo>
                      <a:pt x="5873" y="19539"/>
                    </a:lnTo>
                    <a:lnTo>
                      <a:pt x="1263" y="23875"/>
                    </a:lnTo>
                    <a:lnTo>
                      <a:pt x="0" y="22311"/>
                    </a:lnTo>
                    <a:lnTo>
                      <a:pt x="329" y="19512"/>
                    </a:lnTo>
                    <a:lnTo>
                      <a:pt x="19814" y="0"/>
                    </a:lnTo>
                    <a:lnTo>
                      <a:pt x="25495" y="3430"/>
                    </a:lnTo>
                    <a:lnTo>
                      <a:pt x="26537" y="8068"/>
                    </a:lnTo>
                    <a:lnTo>
                      <a:pt x="22997" y="13337"/>
                    </a:lnTo>
                    <a:lnTo>
                      <a:pt x="18003" y="149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0" name="Freeform: Shape 3329">
                <a:extLst>
                  <a:ext uri="{FF2B5EF4-FFF2-40B4-BE49-F238E27FC236}">
                    <a16:creationId xmlns:a16="http://schemas.microsoft.com/office/drawing/2014/main" id="{78E5F971-612D-262B-0A58-408930A10EA2}"/>
                  </a:ext>
                </a:extLst>
              </p:cNvPr>
              <p:cNvSpPr/>
              <p:nvPr/>
            </p:nvSpPr>
            <p:spPr>
              <a:xfrm>
                <a:off x="1013096" y="3464247"/>
                <a:ext cx="4150" cy="2164"/>
              </a:xfrm>
              <a:custGeom>
                <a:avLst/>
                <a:gdLst>
                  <a:gd name="connsiteX0" fmla="*/ 37213 w 39792"/>
                  <a:gd name="connsiteY0" fmla="*/ 20390 h 20746"/>
                  <a:gd name="connsiteX1" fmla="*/ 33233 w 39792"/>
                  <a:gd name="connsiteY1" fmla="*/ 20747 h 20746"/>
                  <a:gd name="connsiteX2" fmla="*/ 12020 w 39792"/>
                  <a:gd name="connsiteY2" fmla="*/ 19814 h 20746"/>
                  <a:gd name="connsiteX3" fmla="*/ 0 w 39792"/>
                  <a:gd name="connsiteY3" fmla="*/ 12541 h 20746"/>
                  <a:gd name="connsiteX4" fmla="*/ 6065 w 39792"/>
                  <a:gd name="connsiteY4" fmla="*/ 2607 h 20746"/>
                  <a:gd name="connsiteX5" fmla="*/ 33233 w 39792"/>
                  <a:gd name="connsiteY5" fmla="*/ 0 h 20746"/>
                  <a:gd name="connsiteX6" fmla="*/ 39655 w 39792"/>
                  <a:gd name="connsiteY6" fmla="*/ 9221 h 20746"/>
                  <a:gd name="connsiteX7" fmla="*/ 39792 w 39792"/>
                  <a:gd name="connsiteY7" fmla="*/ 13392 h 20746"/>
                  <a:gd name="connsiteX8" fmla="*/ 37213 w 39792"/>
                  <a:gd name="connsiteY8" fmla="*/ 20418 h 2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2" h="20746">
                    <a:moveTo>
                      <a:pt x="37213" y="20390"/>
                    </a:moveTo>
                    <a:lnTo>
                      <a:pt x="33233" y="20747"/>
                    </a:lnTo>
                    <a:lnTo>
                      <a:pt x="12020" y="19814"/>
                    </a:lnTo>
                    <a:lnTo>
                      <a:pt x="0" y="12541"/>
                    </a:lnTo>
                    <a:lnTo>
                      <a:pt x="6065" y="2607"/>
                    </a:lnTo>
                    <a:lnTo>
                      <a:pt x="33233" y="0"/>
                    </a:lnTo>
                    <a:lnTo>
                      <a:pt x="39655" y="9221"/>
                    </a:lnTo>
                    <a:lnTo>
                      <a:pt x="39792" y="13392"/>
                    </a:lnTo>
                    <a:lnTo>
                      <a:pt x="37213" y="204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1" name="Freeform: Shape 3330">
                <a:extLst>
                  <a:ext uri="{FF2B5EF4-FFF2-40B4-BE49-F238E27FC236}">
                    <a16:creationId xmlns:a16="http://schemas.microsoft.com/office/drawing/2014/main" id="{85555B23-C305-EE6F-256E-F8A4FC1DAFD7}"/>
                  </a:ext>
                </a:extLst>
              </p:cNvPr>
              <p:cNvSpPr/>
              <p:nvPr/>
            </p:nvSpPr>
            <p:spPr>
              <a:xfrm>
                <a:off x="1100371" y="3431912"/>
                <a:ext cx="3672" cy="2871"/>
              </a:xfrm>
              <a:custGeom>
                <a:avLst/>
                <a:gdLst>
                  <a:gd name="connsiteX0" fmla="*/ 5845 w 35209"/>
                  <a:gd name="connsiteY0" fmla="*/ 27223 h 27525"/>
                  <a:gd name="connsiteX1" fmla="*/ 549 w 35209"/>
                  <a:gd name="connsiteY1" fmla="*/ 27525 h 27525"/>
                  <a:gd name="connsiteX2" fmla="*/ 0 w 35209"/>
                  <a:gd name="connsiteY2" fmla="*/ 25028 h 27525"/>
                  <a:gd name="connsiteX3" fmla="*/ 3320 w 35209"/>
                  <a:gd name="connsiteY3" fmla="*/ 8919 h 27525"/>
                  <a:gd name="connsiteX4" fmla="*/ 7602 w 35209"/>
                  <a:gd name="connsiteY4" fmla="*/ 8754 h 27525"/>
                  <a:gd name="connsiteX5" fmla="*/ 11883 w 35209"/>
                  <a:gd name="connsiteY5" fmla="*/ 3540 h 27525"/>
                  <a:gd name="connsiteX6" fmla="*/ 18085 w 35209"/>
                  <a:gd name="connsiteY6" fmla="*/ 0 h 27525"/>
                  <a:gd name="connsiteX7" fmla="*/ 31312 w 35209"/>
                  <a:gd name="connsiteY7" fmla="*/ 2058 h 27525"/>
                  <a:gd name="connsiteX8" fmla="*/ 35209 w 35209"/>
                  <a:gd name="connsiteY8" fmla="*/ 5434 h 27525"/>
                  <a:gd name="connsiteX9" fmla="*/ 35209 w 35209"/>
                  <a:gd name="connsiteY9" fmla="*/ 10867 h 27525"/>
                  <a:gd name="connsiteX10" fmla="*/ 32712 w 35209"/>
                  <a:gd name="connsiteY10" fmla="*/ 13804 h 27525"/>
                  <a:gd name="connsiteX11" fmla="*/ 19951 w 35209"/>
                  <a:gd name="connsiteY11" fmla="*/ 20829 h 27525"/>
                  <a:gd name="connsiteX12" fmla="*/ 5818 w 35209"/>
                  <a:gd name="connsiteY12" fmla="*/ 27251 h 2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09" h="27525">
                    <a:moveTo>
                      <a:pt x="5845" y="27223"/>
                    </a:moveTo>
                    <a:lnTo>
                      <a:pt x="549" y="27525"/>
                    </a:lnTo>
                    <a:lnTo>
                      <a:pt x="0" y="25028"/>
                    </a:lnTo>
                    <a:lnTo>
                      <a:pt x="3320" y="8919"/>
                    </a:lnTo>
                    <a:lnTo>
                      <a:pt x="7602" y="8754"/>
                    </a:lnTo>
                    <a:lnTo>
                      <a:pt x="11883" y="3540"/>
                    </a:lnTo>
                    <a:lnTo>
                      <a:pt x="18085" y="0"/>
                    </a:lnTo>
                    <a:lnTo>
                      <a:pt x="31312" y="2058"/>
                    </a:lnTo>
                    <a:lnTo>
                      <a:pt x="35209" y="5434"/>
                    </a:lnTo>
                    <a:lnTo>
                      <a:pt x="35209" y="10867"/>
                    </a:lnTo>
                    <a:cubicBezTo>
                      <a:pt x="35209" y="10867"/>
                      <a:pt x="32712" y="13804"/>
                      <a:pt x="32712" y="13804"/>
                    </a:cubicBezTo>
                    <a:lnTo>
                      <a:pt x="19951" y="20829"/>
                    </a:lnTo>
                    <a:lnTo>
                      <a:pt x="5818" y="272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2" name="Freeform: Shape 3331">
                <a:extLst>
                  <a:ext uri="{FF2B5EF4-FFF2-40B4-BE49-F238E27FC236}">
                    <a16:creationId xmlns:a16="http://schemas.microsoft.com/office/drawing/2014/main" id="{B8C8F5A6-FC5B-26F2-BC61-B2EC86DAC0D1}"/>
                  </a:ext>
                </a:extLst>
              </p:cNvPr>
              <p:cNvSpPr/>
              <p:nvPr/>
            </p:nvSpPr>
            <p:spPr>
              <a:xfrm>
                <a:off x="1155500" y="3609402"/>
                <a:ext cx="1795" cy="2230"/>
              </a:xfrm>
              <a:custGeom>
                <a:avLst/>
                <a:gdLst>
                  <a:gd name="connsiteX0" fmla="*/ 9797 w 17206"/>
                  <a:gd name="connsiteY0" fmla="*/ 17948 h 21378"/>
                  <a:gd name="connsiteX1" fmla="*/ 1564 w 17206"/>
                  <a:gd name="connsiteY1" fmla="*/ 21378 h 21378"/>
                  <a:gd name="connsiteX2" fmla="*/ 0 w 17206"/>
                  <a:gd name="connsiteY2" fmla="*/ 18963 h 21378"/>
                  <a:gd name="connsiteX3" fmla="*/ 5187 w 17206"/>
                  <a:gd name="connsiteY3" fmla="*/ 1976 h 21378"/>
                  <a:gd name="connsiteX4" fmla="*/ 9797 w 17206"/>
                  <a:gd name="connsiteY4" fmla="*/ 0 h 21378"/>
                  <a:gd name="connsiteX5" fmla="*/ 17207 w 17206"/>
                  <a:gd name="connsiteY5" fmla="*/ 5516 h 21378"/>
                  <a:gd name="connsiteX6" fmla="*/ 13118 w 17206"/>
                  <a:gd name="connsiteY6" fmla="*/ 16466 h 21378"/>
                  <a:gd name="connsiteX7" fmla="*/ 9797 w 17206"/>
                  <a:gd name="connsiteY7" fmla="*/ 17948 h 21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06" h="21378">
                    <a:moveTo>
                      <a:pt x="9797" y="17948"/>
                    </a:moveTo>
                    <a:lnTo>
                      <a:pt x="1564" y="21378"/>
                    </a:lnTo>
                    <a:lnTo>
                      <a:pt x="0" y="18963"/>
                    </a:lnTo>
                    <a:lnTo>
                      <a:pt x="5187" y="1976"/>
                    </a:lnTo>
                    <a:lnTo>
                      <a:pt x="9797" y="0"/>
                    </a:lnTo>
                    <a:lnTo>
                      <a:pt x="17207" y="5516"/>
                    </a:lnTo>
                    <a:lnTo>
                      <a:pt x="13118" y="16466"/>
                    </a:lnTo>
                    <a:lnTo>
                      <a:pt x="9797" y="17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3" name="Freeform: Shape 3332">
                <a:extLst>
                  <a:ext uri="{FF2B5EF4-FFF2-40B4-BE49-F238E27FC236}">
                    <a16:creationId xmlns:a16="http://schemas.microsoft.com/office/drawing/2014/main" id="{EE94FDD9-7640-E4BB-78BC-33D885725F9D}"/>
                  </a:ext>
                </a:extLst>
              </p:cNvPr>
              <p:cNvSpPr/>
              <p:nvPr/>
            </p:nvSpPr>
            <p:spPr>
              <a:xfrm>
                <a:off x="1128113" y="3544504"/>
                <a:ext cx="2158" cy="2499"/>
              </a:xfrm>
              <a:custGeom>
                <a:avLst/>
                <a:gdLst>
                  <a:gd name="connsiteX0" fmla="*/ 20692 w 20692"/>
                  <a:gd name="connsiteY0" fmla="*/ 4885 h 23957"/>
                  <a:gd name="connsiteX1" fmla="*/ 8892 w 20692"/>
                  <a:gd name="connsiteY1" fmla="*/ 23958 h 23957"/>
                  <a:gd name="connsiteX2" fmla="*/ 2717 w 20692"/>
                  <a:gd name="connsiteY2" fmla="*/ 22503 h 23957"/>
                  <a:gd name="connsiteX3" fmla="*/ 0 w 20692"/>
                  <a:gd name="connsiteY3" fmla="*/ 14682 h 23957"/>
                  <a:gd name="connsiteX4" fmla="*/ 796 w 20692"/>
                  <a:gd name="connsiteY4" fmla="*/ 2031 h 23957"/>
                  <a:gd name="connsiteX5" fmla="*/ 2360 w 20692"/>
                  <a:gd name="connsiteY5" fmla="*/ 0 h 23957"/>
                  <a:gd name="connsiteX6" fmla="*/ 20692 w 20692"/>
                  <a:gd name="connsiteY6" fmla="*/ 2607 h 23957"/>
                  <a:gd name="connsiteX7" fmla="*/ 20692 w 20692"/>
                  <a:gd name="connsiteY7" fmla="*/ 4857 h 2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92" h="23957">
                    <a:moveTo>
                      <a:pt x="20692" y="4885"/>
                    </a:moveTo>
                    <a:lnTo>
                      <a:pt x="8892" y="23958"/>
                    </a:lnTo>
                    <a:lnTo>
                      <a:pt x="2717" y="22503"/>
                    </a:lnTo>
                    <a:lnTo>
                      <a:pt x="0" y="14682"/>
                    </a:lnTo>
                    <a:lnTo>
                      <a:pt x="796" y="2031"/>
                    </a:lnTo>
                    <a:lnTo>
                      <a:pt x="2360" y="0"/>
                    </a:lnTo>
                    <a:lnTo>
                      <a:pt x="20692" y="2607"/>
                    </a:lnTo>
                    <a:lnTo>
                      <a:pt x="20692" y="48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4" name="Freeform: Shape 3333">
                <a:extLst>
                  <a:ext uri="{FF2B5EF4-FFF2-40B4-BE49-F238E27FC236}">
                    <a16:creationId xmlns:a16="http://schemas.microsoft.com/office/drawing/2014/main" id="{BA984D44-7785-A46E-0DEC-8DA5F61142F5}"/>
                  </a:ext>
                </a:extLst>
              </p:cNvPr>
              <p:cNvSpPr/>
              <p:nvPr/>
            </p:nvSpPr>
            <p:spPr>
              <a:xfrm>
                <a:off x="1053709" y="3466022"/>
                <a:ext cx="3000" cy="2642"/>
              </a:xfrm>
              <a:custGeom>
                <a:avLst/>
                <a:gdLst>
                  <a:gd name="connsiteX0" fmla="*/ 0 w 28760"/>
                  <a:gd name="connsiteY0" fmla="*/ 20802 h 25329"/>
                  <a:gd name="connsiteX1" fmla="*/ 988 w 28760"/>
                  <a:gd name="connsiteY1" fmla="*/ 17097 h 25329"/>
                  <a:gd name="connsiteX2" fmla="*/ 7272 w 28760"/>
                  <a:gd name="connsiteY2" fmla="*/ 13557 h 25329"/>
                  <a:gd name="connsiteX3" fmla="*/ 24616 w 28760"/>
                  <a:gd name="connsiteY3" fmla="*/ 0 h 25329"/>
                  <a:gd name="connsiteX4" fmla="*/ 28760 w 28760"/>
                  <a:gd name="connsiteY4" fmla="*/ 2031 h 25329"/>
                  <a:gd name="connsiteX5" fmla="*/ 28760 w 28760"/>
                  <a:gd name="connsiteY5" fmla="*/ 6614 h 25329"/>
                  <a:gd name="connsiteX6" fmla="*/ 5653 w 28760"/>
                  <a:gd name="connsiteY6" fmla="*/ 25330 h 25329"/>
                  <a:gd name="connsiteX7" fmla="*/ 823 w 28760"/>
                  <a:gd name="connsiteY7" fmla="*/ 23327 h 25329"/>
                  <a:gd name="connsiteX8" fmla="*/ 27 w 28760"/>
                  <a:gd name="connsiteY8" fmla="*/ 20774 h 25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0" h="25329">
                    <a:moveTo>
                      <a:pt x="0" y="20802"/>
                    </a:moveTo>
                    <a:lnTo>
                      <a:pt x="988" y="17097"/>
                    </a:lnTo>
                    <a:lnTo>
                      <a:pt x="7272" y="13557"/>
                    </a:lnTo>
                    <a:lnTo>
                      <a:pt x="24616" y="0"/>
                    </a:lnTo>
                    <a:lnTo>
                      <a:pt x="28760" y="2031"/>
                    </a:lnTo>
                    <a:lnTo>
                      <a:pt x="28760" y="6614"/>
                    </a:lnTo>
                    <a:cubicBezTo>
                      <a:pt x="28760" y="6614"/>
                      <a:pt x="5653" y="25330"/>
                      <a:pt x="5653" y="25330"/>
                    </a:cubicBezTo>
                    <a:lnTo>
                      <a:pt x="823" y="23327"/>
                    </a:lnTo>
                    <a:lnTo>
                      <a:pt x="27" y="207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5" name="Freeform: Shape 3334">
                <a:extLst>
                  <a:ext uri="{FF2B5EF4-FFF2-40B4-BE49-F238E27FC236}">
                    <a16:creationId xmlns:a16="http://schemas.microsoft.com/office/drawing/2014/main" id="{08B67121-3446-DA2C-6E55-4A368CC84525}"/>
                  </a:ext>
                </a:extLst>
              </p:cNvPr>
              <p:cNvSpPr/>
              <p:nvPr/>
            </p:nvSpPr>
            <p:spPr>
              <a:xfrm>
                <a:off x="1121306" y="3474635"/>
                <a:ext cx="1923" cy="3460"/>
              </a:xfrm>
              <a:custGeom>
                <a:avLst/>
                <a:gdLst>
                  <a:gd name="connsiteX0" fmla="*/ 5955 w 18441"/>
                  <a:gd name="connsiteY0" fmla="*/ 32959 h 33178"/>
                  <a:gd name="connsiteX1" fmla="*/ 439 w 18441"/>
                  <a:gd name="connsiteY1" fmla="*/ 33179 h 33178"/>
                  <a:gd name="connsiteX2" fmla="*/ 0 w 18441"/>
                  <a:gd name="connsiteY2" fmla="*/ 30928 h 33178"/>
                  <a:gd name="connsiteX3" fmla="*/ 714 w 18441"/>
                  <a:gd name="connsiteY3" fmla="*/ 19073 h 33178"/>
                  <a:gd name="connsiteX4" fmla="*/ 12486 w 18441"/>
                  <a:gd name="connsiteY4" fmla="*/ 0 h 33178"/>
                  <a:gd name="connsiteX5" fmla="*/ 18140 w 18441"/>
                  <a:gd name="connsiteY5" fmla="*/ 1784 h 33178"/>
                  <a:gd name="connsiteX6" fmla="*/ 18442 w 18441"/>
                  <a:gd name="connsiteY6" fmla="*/ 5681 h 33178"/>
                  <a:gd name="connsiteX7" fmla="*/ 12404 w 18441"/>
                  <a:gd name="connsiteY7" fmla="*/ 25851 h 33178"/>
                  <a:gd name="connsiteX8" fmla="*/ 6120 w 18441"/>
                  <a:gd name="connsiteY8" fmla="*/ 30901 h 33178"/>
                  <a:gd name="connsiteX9" fmla="*/ 5927 w 18441"/>
                  <a:gd name="connsiteY9" fmla="*/ 32959 h 3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41" h="33178">
                    <a:moveTo>
                      <a:pt x="5955" y="32959"/>
                    </a:moveTo>
                    <a:lnTo>
                      <a:pt x="439" y="33179"/>
                    </a:lnTo>
                    <a:lnTo>
                      <a:pt x="0" y="30928"/>
                    </a:lnTo>
                    <a:lnTo>
                      <a:pt x="714" y="19073"/>
                    </a:lnTo>
                    <a:lnTo>
                      <a:pt x="12486" y="0"/>
                    </a:lnTo>
                    <a:lnTo>
                      <a:pt x="18140" y="1784"/>
                    </a:lnTo>
                    <a:lnTo>
                      <a:pt x="18442" y="5681"/>
                    </a:lnTo>
                    <a:lnTo>
                      <a:pt x="12404" y="25851"/>
                    </a:lnTo>
                    <a:lnTo>
                      <a:pt x="6120" y="30901"/>
                    </a:lnTo>
                    <a:lnTo>
                      <a:pt x="5927" y="329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6" name="Freeform: Shape 3335">
                <a:extLst>
                  <a:ext uri="{FF2B5EF4-FFF2-40B4-BE49-F238E27FC236}">
                    <a16:creationId xmlns:a16="http://schemas.microsoft.com/office/drawing/2014/main" id="{E47D3C19-9C36-F16D-968C-188026A9003F}"/>
                  </a:ext>
                </a:extLst>
              </p:cNvPr>
              <p:cNvSpPr/>
              <p:nvPr/>
            </p:nvSpPr>
            <p:spPr>
              <a:xfrm>
                <a:off x="1071087" y="3542827"/>
                <a:ext cx="1769" cy="2582"/>
              </a:xfrm>
              <a:custGeom>
                <a:avLst/>
                <a:gdLst>
                  <a:gd name="connsiteX0" fmla="*/ 27 w 16959"/>
                  <a:gd name="connsiteY0" fmla="*/ 18469 h 24753"/>
                  <a:gd name="connsiteX1" fmla="*/ 1153 w 16959"/>
                  <a:gd name="connsiteY1" fmla="*/ 5790 h 24753"/>
                  <a:gd name="connsiteX2" fmla="*/ 7272 w 16959"/>
                  <a:gd name="connsiteY2" fmla="*/ 0 h 24753"/>
                  <a:gd name="connsiteX3" fmla="*/ 16960 w 16959"/>
                  <a:gd name="connsiteY3" fmla="*/ 6394 h 24753"/>
                  <a:gd name="connsiteX4" fmla="*/ 15944 w 16959"/>
                  <a:gd name="connsiteY4" fmla="*/ 17838 h 24753"/>
                  <a:gd name="connsiteX5" fmla="*/ 11389 w 16959"/>
                  <a:gd name="connsiteY5" fmla="*/ 24754 h 24753"/>
                  <a:gd name="connsiteX6" fmla="*/ 8315 w 16959"/>
                  <a:gd name="connsiteY6" fmla="*/ 24754 h 24753"/>
                  <a:gd name="connsiteX7" fmla="*/ 8150 w 16959"/>
                  <a:gd name="connsiteY7" fmla="*/ 7108 h 24753"/>
                  <a:gd name="connsiteX8" fmla="*/ 5763 w 16959"/>
                  <a:gd name="connsiteY8" fmla="*/ 6339 h 24753"/>
                  <a:gd name="connsiteX9" fmla="*/ 4418 w 16959"/>
                  <a:gd name="connsiteY9" fmla="*/ 17289 h 24753"/>
                  <a:gd name="connsiteX10" fmla="*/ 1784 w 16959"/>
                  <a:gd name="connsiteY10" fmla="*/ 21625 h 24753"/>
                  <a:gd name="connsiteX11" fmla="*/ 0 w 16959"/>
                  <a:gd name="connsiteY11" fmla="*/ 18469 h 2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59" h="24753">
                    <a:moveTo>
                      <a:pt x="27" y="18469"/>
                    </a:moveTo>
                    <a:lnTo>
                      <a:pt x="1153" y="5790"/>
                    </a:lnTo>
                    <a:lnTo>
                      <a:pt x="7272" y="0"/>
                    </a:lnTo>
                    <a:lnTo>
                      <a:pt x="16960" y="6394"/>
                    </a:lnTo>
                    <a:lnTo>
                      <a:pt x="15944" y="17838"/>
                    </a:lnTo>
                    <a:lnTo>
                      <a:pt x="11389" y="24754"/>
                    </a:lnTo>
                    <a:lnTo>
                      <a:pt x="8315" y="24754"/>
                    </a:lnTo>
                    <a:lnTo>
                      <a:pt x="8150" y="7108"/>
                    </a:lnTo>
                    <a:lnTo>
                      <a:pt x="5763" y="6339"/>
                    </a:lnTo>
                    <a:lnTo>
                      <a:pt x="4418" y="17289"/>
                    </a:lnTo>
                    <a:lnTo>
                      <a:pt x="1784" y="21625"/>
                    </a:lnTo>
                    <a:lnTo>
                      <a:pt x="0" y="184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7" name="Freeform: Shape 3336">
                <a:extLst>
                  <a:ext uri="{FF2B5EF4-FFF2-40B4-BE49-F238E27FC236}">
                    <a16:creationId xmlns:a16="http://schemas.microsoft.com/office/drawing/2014/main" id="{3763F4C4-88A4-3977-5A2C-2D8E8046EF07}"/>
                  </a:ext>
                </a:extLst>
              </p:cNvPr>
              <p:cNvSpPr/>
              <p:nvPr/>
            </p:nvSpPr>
            <p:spPr>
              <a:xfrm>
                <a:off x="1067443" y="3508336"/>
                <a:ext cx="1812" cy="2822"/>
              </a:xfrm>
              <a:custGeom>
                <a:avLst/>
                <a:gdLst>
                  <a:gd name="connsiteX0" fmla="*/ 14298 w 17371"/>
                  <a:gd name="connsiteY0" fmla="*/ 24863 h 27058"/>
                  <a:gd name="connsiteX1" fmla="*/ 5790 w 17371"/>
                  <a:gd name="connsiteY1" fmla="*/ 27059 h 27058"/>
                  <a:gd name="connsiteX2" fmla="*/ 2525 w 17371"/>
                  <a:gd name="connsiteY2" fmla="*/ 23354 h 27058"/>
                  <a:gd name="connsiteX3" fmla="*/ 0 w 17371"/>
                  <a:gd name="connsiteY3" fmla="*/ 15094 h 27058"/>
                  <a:gd name="connsiteX4" fmla="*/ 137 w 17371"/>
                  <a:gd name="connsiteY4" fmla="*/ 10181 h 27058"/>
                  <a:gd name="connsiteX5" fmla="*/ 2635 w 17371"/>
                  <a:gd name="connsiteY5" fmla="*/ 4144 h 27058"/>
                  <a:gd name="connsiteX6" fmla="*/ 7711 w 17371"/>
                  <a:gd name="connsiteY6" fmla="*/ 0 h 27058"/>
                  <a:gd name="connsiteX7" fmla="*/ 10456 w 17371"/>
                  <a:gd name="connsiteY7" fmla="*/ 165 h 27058"/>
                  <a:gd name="connsiteX8" fmla="*/ 12706 w 17371"/>
                  <a:gd name="connsiteY8" fmla="*/ 5983 h 27058"/>
                  <a:gd name="connsiteX9" fmla="*/ 17015 w 17371"/>
                  <a:gd name="connsiteY9" fmla="*/ 11499 h 27058"/>
                  <a:gd name="connsiteX10" fmla="*/ 17371 w 17371"/>
                  <a:gd name="connsiteY10" fmla="*/ 15807 h 27058"/>
                  <a:gd name="connsiteX11" fmla="*/ 14298 w 17371"/>
                  <a:gd name="connsiteY11" fmla="*/ 24863 h 2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71" h="27058">
                    <a:moveTo>
                      <a:pt x="14298" y="24863"/>
                    </a:moveTo>
                    <a:lnTo>
                      <a:pt x="5790" y="27059"/>
                    </a:lnTo>
                    <a:lnTo>
                      <a:pt x="2525" y="23354"/>
                    </a:lnTo>
                    <a:lnTo>
                      <a:pt x="0" y="15094"/>
                    </a:lnTo>
                    <a:lnTo>
                      <a:pt x="137" y="10181"/>
                    </a:lnTo>
                    <a:lnTo>
                      <a:pt x="2635" y="4144"/>
                    </a:lnTo>
                    <a:lnTo>
                      <a:pt x="7711" y="0"/>
                    </a:lnTo>
                    <a:lnTo>
                      <a:pt x="10456" y="165"/>
                    </a:lnTo>
                    <a:lnTo>
                      <a:pt x="12706" y="5983"/>
                    </a:lnTo>
                    <a:lnTo>
                      <a:pt x="17015" y="11499"/>
                    </a:lnTo>
                    <a:lnTo>
                      <a:pt x="17371" y="15807"/>
                    </a:lnTo>
                    <a:lnTo>
                      <a:pt x="14298" y="248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8" name="Freeform: Shape 3337">
                <a:extLst>
                  <a:ext uri="{FF2B5EF4-FFF2-40B4-BE49-F238E27FC236}">
                    <a16:creationId xmlns:a16="http://schemas.microsoft.com/office/drawing/2014/main" id="{E425577E-EC25-15E9-9E1D-29E83CEFB1D6}"/>
                  </a:ext>
                </a:extLst>
              </p:cNvPr>
              <p:cNvSpPr/>
              <p:nvPr/>
            </p:nvSpPr>
            <p:spPr>
              <a:xfrm>
                <a:off x="1051609" y="3549674"/>
                <a:ext cx="1881" cy="2107"/>
              </a:xfrm>
              <a:custGeom>
                <a:avLst/>
                <a:gdLst>
                  <a:gd name="connsiteX0" fmla="*/ 0 w 18030"/>
                  <a:gd name="connsiteY0" fmla="*/ 10703 h 20198"/>
                  <a:gd name="connsiteX1" fmla="*/ 192 w 18030"/>
                  <a:gd name="connsiteY1" fmla="*/ 9550 h 20198"/>
                  <a:gd name="connsiteX2" fmla="*/ 7300 w 18030"/>
                  <a:gd name="connsiteY2" fmla="*/ 4583 h 20198"/>
                  <a:gd name="connsiteX3" fmla="*/ 8535 w 18030"/>
                  <a:gd name="connsiteY3" fmla="*/ 0 h 20198"/>
                  <a:gd name="connsiteX4" fmla="*/ 14929 w 18030"/>
                  <a:gd name="connsiteY4" fmla="*/ 1564 h 20198"/>
                  <a:gd name="connsiteX5" fmla="*/ 18030 w 18030"/>
                  <a:gd name="connsiteY5" fmla="*/ 6339 h 20198"/>
                  <a:gd name="connsiteX6" fmla="*/ 17317 w 18030"/>
                  <a:gd name="connsiteY6" fmla="*/ 15505 h 20198"/>
                  <a:gd name="connsiteX7" fmla="*/ 15533 w 18030"/>
                  <a:gd name="connsiteY7" fmla="*/ 13914 h 20198"/>
                  <a:gd name="connsiteX8" fmla="*/ 13721 w 18030"/>
                  <a:gd name="connsiteY8" fmla="*/ 20198 h 20198"/>
                  <a:gd name="connsiteX9" fmla="*/ 10840 w 18030"/>
                  <a:gd name="connsiteY9" fmla="*/ 19320 h 20198"/>
                  <a:gd name="connsiteX10" fmla="*/ 9825 w 18030"/>
                  <a:gd name="connsiteY10" fmla="*/ 16246 h 20198"/>
                  <a:gd name="connsiteX11" fmla="*/ 5269 w 18030"/>
                  <a:gd name="connsiteY11" fmla="*/ 17070 h 20198"/>
                  <a:gd name="connsiteX12" fmla="*/ 1976 w 18030"/>
                  <a:gd name="connsiteY12" fmla="*/ 14737 h 20198"/>
                  <a:gd name="connsiteX13" fmla="*/ 0 w 18030"/>
                  <a:gd name="connsiteY13" fmla="*/ 10675 h 2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30" h="20198">
                    <a:moveTo>
                      <a:pt x="0" y="10703"/>
                    </a:moveTo>
                    <a:lnTo>
                      <a:pt x="192" y="9550"/>
                    </a:lnTo>
                    <a:lnTo>
                      <a:pt x="7300" y="4583"/>
                    </a:lnTo>
                    <a:lnTo>
                      <a:pt x="8535" y="0"/>
                    </a:lnTo>
                    <a:lnTo>
                      <a:pt x="14929" y="1564"/>
                    </a:lnTo>
                    <a:lnTo>
                      <a:pt x="18030" y="6339"/>
                    </a:lnTo>
                    <a:lnTo>
                      <a:pt x="17317" y="15505"/>
                    </a:lnTo>
                    <a:lnTo>
                      <a:pt x="15533" y="13914"/>
                    </a:lnTo>
                    <a:lnTo>
                      <a:pt x="13721" y="20198"/>
                    </a:lnTo>
                    <a:lnTo>
                      <a:pt x="10840" y="19320"/>
                    </a:lnTo>
                    <a:lnTo>
                      <a:pt x="9825" y="16246"/>
                    </a:lnTo>
                    <a:lnTo>
                      <a:pt x="5269" y="17070"/>
                    </a:lnTo>
                    <a:lnTo>
                      <a:pt x="1976" y="14737"/>
                    </a:lnTo>
                    <a:lnTo>
                      <a:pt x="0" y="106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9" name="Freeform: Shape 3338">
                <a:extLst>
                  <a:ext uri="{FF2B5EF4-FFF2-40B4-BE49-F238E27FC236}">
                    <a16:creationId xmlns:a16="http://schemas.microsoft.com/office/drawing/2014/main" id="{831BBBBB-2085-DB1C-A9FE-0BF5598F21EA}"/>
                  </a:ext>
                </a:extLst>
              </p:cNvPr>
              <p:cNvSpPr/>
              <p:nvPr/>
            </p:nvSpPr>
            <p:spPr>
              <a:xfrm>
                <a:off x="1122998" y="3633861"/>
                <a:ext cx="1122" cy="2224"/>
              </a:xfrm>
              <a:custGeom>
                <a:avLst/>
                <a:gdLst>
                  <a:gd name="connsiteX0" fmla="*/ 3101 w 10757"/>
                  <a:gd name="connsiteY0" fmla="*/ 21323 h 21323"/>
                  <a:gd name="connsiteX1" fmla="*/ 0 w 10757"/>
                  <a:gd name="connsiteY1" fmla="*/ 21323 h 21323"/>
                  <a:gd name="connsiteX2" fmla="*/ 5489 w 10757"/>
                  <a:gd name="connsiteY2" fmla="*/ 3677 h 21323"/>
                  <a:gd name="connsiteX3" fmla="*/ 7712 w 10757"/>
                  <a:gd name="connsiteY3" fmla="*/ 0 h 21323"/>
                  <a:gd name="connsiteX4" fmla="*/ 10703 w 10757"/>
                  <a:gd name="connsiteY4" fmla="*/ 55 h 21323"/>
                  <a:gd name="connsiteX5" fmla="*/ 10758 w 10757"/>
                  <a:gd name="connsiteY5" fmla="*/ 3677 h 21323"/>
                  <a:gd name="connsiteX6" fmla="*/ 9825 w 10757"/>
                  <a:gd name="connsiteY6" fmla="*/ 12980 h 21323"/>
                  <a:gd name="connsiteX7" fmla="*/ 3129 w 10757"/>
                  <a:gd name="connsiteY7" fmla="*/ 21296 h 2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57" h="21323">
                    <a:moveTo>
                      <a:pt x="3101" y="21323"/>
                    </a:moveTo>
                    <a:lnTo>
                      <a:pt x="0" y="21323"/>
                    </a:lnTo>
                    <a:lnTo>
                      <a:pt x="5489" y="3677"/>
                    </a:lnTo>
                    <a:lnTo>
                      <a:pt x="7712" y="0"/>
                    </a:lnTo>
                    <a:lnTo>
                      <a:pt x="10703" y="55"/>
                    </a:lnTo>
                    <a:lnTo>
                      <a:pt x="10758" y="3677"/>
                    </a:lnTo>
                    <a:lnTo>
                      <a:pt x="9825" y="12980"/>
                    </a:lnTo>
                    <a:lnTo>
                      <a:pt x="3129" y="212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0" name="Freeform: Shape 3339">
                <a:extLst>
                  <a:ext uri="{FF2B5EF4-FFF2-40B4-BE49-F238E27FC236}">
                    <a16:creationId xmlns:a16="http://schemas.microsoft.com/office/drawing/2014/main" id="{829EB890-153D-F980-CACA-87C042C53123}"/>
                  </a:ext>
                </a:extLst>
              </p:cNvPr>
              <p:cNvSpPr/>
              <p:nvPr/>
            </p:nvSpPr>
            <p:spPr>
              <a:xfrm>
                <a:off x="983099" y="3667825"/>
                <a:ext cx="1443" cy="1483"/>
              </a:xfrm>
              <a:custGeom>
                <a:avLst/>
                <a:gdLst>
                  <a:gd name="connsiteX0" fmla="*/ 13831 w 13831"/>
                  <a:gd name="connsiteY0" fmla="*/ 13283 h 14215"/>
                  <a:gd name="connsiteX1" fmla="*/ 8672 w 13831"/>
                  <a:gd name="connsiteY1" fmla="*/ 14216 h 14215"/>
                  <a:gd name="connsiteX2" fmla="*/ 9797 w 13831"/>
                  <a:gd name="connsiteY2" fmla="*/ 11032 h 14215"/>
                  <a:gd name="connsiteX3" fmla="*/ 4610 w 13831"/>
                  <a:gd name="connsiteY3" fmla="*/ 5955 h 14215"/>
                  <a:gd name="connsiteX4" fmla="*/ 521 w 13831"/>
                  <a:gd name="connsiteY4" fmla="*/ 3019 h 14215"/>
                  <a:gd name="connsiteX5" fmla="*/ 0 w 13831"/>
                  <a:gd name="connsiteY5" fmla="*/ 0 h 14215"/>
                  <a:gd name="connsiteX6" fmla="*/ 7355 w 13831"/>
                  <a:gd name="connsiteY6" fmla="*/ 3623 h 14215"/>
                  <a:gd name="connsiteX7" fmla="*/ 13804 w 13831"/>
                  <a:gd name="connsiteY7" fmla="*/ 11306 h 14215"/>
                  <a:gd name="connsiteX8" fmla="*/ 13804 w 13831"/>
                  <a:gd name="connsiteY8" fmla="*/ 13255 h 14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31" h="14215">
                    <a:moveTo>
                      <a:pt x="13831" y="13283"/>
                    </a:moveTo>
                    <a:lnTo>
                      <a:pt x="8672" y="14216"/>
                    </a:lnTo>
                    <a:lnTo>
                      <a:pt x="9797" y="11032"/>
                    </a:lnTo>
                    <a:lnTo>
                      <a:pt x="4610" y="5955"/>
                    </a:lnTo>
                    <a:lnTo>
                      <a:pt x="521" y="3019"/>
                    </a:lnTo>
                    <a:lnTo>
                      <a:pt x="0" y="0"/>
                    </a:lnTo>
                    <a:lnTo>
                      <a:pt x="7355" y="3623"/>
                    </a:lnTo>
                    <a:lnTo>
                      <a:pt x="13804" y="11306"/>
                    </a:lnTo>
                    <a:lnTo>
                      <a:pt x="13804" y="132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1" name="Freeform: Shape 3340">
                <a:extLst>
                  <a:ext uri="{FF2B5EF4-FFF2-40B4-BE49-F238E27FC236}">
                    <a16:creationId xmlns:a16="http://schemas.microsoft.com/office/drawing/2014/main" id="{150F8445-3B88-F0AD-565A-E4F84C4F6FF7}"/>
                  </a:ext>
                </a:extLst>
              </p:cNvPr>
              <p:cNvSpPr/>
              <p:nvPr/>
            </p:nvSpPr>
            <p:spPr>
              <a:xfrm>
                <a:off x="1074361" y="3475946"/>
                <a:ext cx="1846" cy="3040"/>
              </a:xfrm>
              <a:custGeom>
                <a:avLst/>
                <a:gdLst>
                  <a:gd name="connsiteX0" fmla="*/ 17289 w 17700"/>
                  <a:gd name="connsiteY0" fmla="*/ 27827 h 29144"/>
                  <a:gd name="connsiteX1" fmla="*/ 6367 w 17700"/>
                  <a:gd name="connsiteY1" fmla="*/ 29144 h 29144"/>
                  <a:gd name="connsiteX2" fmla="*/ 1592 w 17700"/>
                  <a:gd name="connsiteY2" fmla="*/ 22997 h 29144"/>
                  <a:gd name="connsiteX3" fmla="*/ 2113 w 17700"/>
                  <a:gd name="connsiteY3" fmla="*/ 12294 h 29144"/>
                  <a:gd name="connsiteX4" fmla="*/ 0 w 17700"/>
                  <a:gd name="connsiteY4" fmla="*/ 8535 h 29144"/>
                  <a:gd name="connsiteX5" fmla="*/ 933 w 17700"/>
                  <a:gd name="connsiteY5" fmla="*/ 4693 h 29144"/>
                  <a:gd name="connsiteX6" fmla="*/ 6751 w 17700"/>
                  <a:gd name="connsiteY6" fmla="*/ 3595 h 29144"/>
                  <a:gd name="connsiteX7" fmla="*/ 11032 w 17700"/>
                  <a:gd name="connsiteY7" fmla="*/ 0 h 29144"/>
                  <a:gd name="connsiteX8" fmla="*/ 13419 w 17700"/>
                  <a:gd name="connsiteY8" fmla="*/ 6202 h 29144"/>
                  <a:gd name="connsiteX9" fmla="*/ 14051 w 17700"/>
                  <a:gd name="connsiteY9" fmla="*/ 14353 h 29144"/>
                  <a:gd name="connsiteX10" fmla="*/ 17701 w 17700"/>
                  <a:gd name="connsiteY10" fmla="*/ 25001 h 29144"/>
                  <a:gd name="connsiteX11" fmla="*/ 17262 w 17700"/>
                  <a:gd name="connsiteY11" fmla="*/ 27827 h 2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00" h="29144">
                    <a:moveTo>
                      <a:pt x="17289" y="27827"/>
                    </a:moveTo>
                    <a:lnTo>
                      <a:pt x="6367" y="29144"/>
                    </a:lnTo>
                    <a:lnTo>
                      <a:pt x="1592" y="22997"/>
                    </a:lnTo>
                    <a:lnTo>
                      <a:pt x="2113" y="12294"/>
                    </a:lnTo>
                    <a:lnTo>
                      <a:pt x="0" y="8535"/>
                    </a:lnTo>
                    <a:lnTo>
                      <a:pt x="933" y="4693"/>
                    </a:lnTo>
                    <a:lnTo>
                      <a:pt x="6751" y="3595"/>
                    </a:lnTo>
                    <a:lnTo>
                      <a:pt x="11032" y="0"/>
                    </a:lnTo>
                    <a:lnTo>
                      <a:pt x="13419" y="6202"/>
                    </a:lnTo>
                    <a:lnTo>
                      <a:pt x="14051" y="14353"/>
                    </a:lnTo>
                    <a:lnTo>
                      <a:pt x="17701" y="25001"/>
                    </a:lnTo>
                    <a:lnTo>
                      <a:pt x="17262" y="278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2" name="Freeform: Shape 3341">
                <a:extLst>
                  <a:ext uri="{FF2B5EF4-FFF2-40B4-BE49-F238E27FC236}">
                    <a16:creationId xmlns:a16="http://schemas.microsoft.com/office/drawing/2014/main" id="{3426C637-92E4-0D9B-19D5-14B14D043BED}"/>
                  </a:ext>
                </a:extLst>
              </p:cNvPr>
              <p:cNvSpPr/>
              <p:nvPr/>
            </p:nvSpPr>
            <p:spPr>
              <a:xfrm>
                <a:off x="964748" y="3641451"/>
                <a:ext cx="1382" cy="1703"/>
              </a:xfrm>
              <a:custGeom>
                <a:avLst/>
                <a:gdLst>
                  <a:gd name="connsiteX0" fmla="*/ 3760 w 13254"/>
                  <a:gd name="connsiteY0" fmla="*/ 16273 h 16328"/>
                  <a:gd name="connsiteX1" fmla="*/ 1454 w 13254"/>
                  <a:gd name="connsiteY1" fmla="*/ 16328 h 16328"/>
                  <a:gd name="connsiteX2" fmla="*/ 0 w 13254"/>
                  <a:gd name="connsiteY2" fmla="*/ 14929 h 16328"/>
                  <a:gd name="connsiteX3" fmla="*/ 823 w 13254"/>
                  <a:gd name="connsiteY3" fmla="*/ 12624 h 16328"/>
                  <a:gd name="connsiteX4" fmla="*/ 4062 w 13254"/>
                  <a:gd name="connsiteY4" fmla="*/ 10428 h 16328"/>
                  <a:gd name="connsiteX5" fmla="*/ 5077 w 13254"/>
                  <a:gd name="connsiteY5" fmla="*/ 8425 h 16328"/>
                  <a:gd name="connsiteX6" fmla="*/ 9605 w 13254"/>
                  <a:gd name="connsiteY6" fmla="*/ 3595 h 16328"/>
                  <a:gd name="connsiteX7" fmla="*/ 11416 w 13254"/>
                  <a:gd name="connsiteY7" fmla="*/ 439 h 16328"/>
                  <a:gd name="connsiteX8" fmla="*/ 12487 w 13254"/>
                  <a:gd name="connsiteY8" fmla="*/ 0 h 16328"/>
                  <a:gd name="connsiteX9" fmla="*/ 13255 w 13254"/>
                  <a:gd name="connsiteY9" fmla="*/ 3074 h 16328"/>
                  <a:gd name="connsiteX10" fmla="*/ 9523 w 13254"/>
                  <a:gd name="connsiteY10" fmla="*/ 9824 h 16328"/>
                  <a:gd name="connsiteX11" fmla="*/ 5242 w 13254"/>
                  <a:gd name="connsiteY11" fmla="*/ 13337 h 16328"/>
                  <a:gd name="connsiteX12" fmla="*/ 3787 w 13254"/>
                  <a:gd name="connsiteY12" fmla="*/ 16273 h 1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4" h="16328">
                    <a:moveTo>
                      <a:pt x="3760" y="16273"/>
                    </a:moveTo>
                    <a:lnTo>
                      <a:pt x="1454" y="16328"/>
                    </a:lnTo>
                    <a:lnTo>
                      <a:pt x="0" y="14929"/>
                    </a:lnTo>
                    <a:lnTo>
                      <a:pt x="823" y="12624"/>
                    </a:lnTo>
                    <a:lnTo>
                      <a:pt x="4062" y="10428"/>
                    </a:lnTo>
                    <a:lnTo>
                      <a:pt x="5077" y="8425"/>
                    </a:lnTo>
                    <a:lnTo>
                      <a:pt x="9605" y="3595"/>
                    </a:lnTo>
                    <a:lnTo>
                      <a:pt x="11416" y="439"/>
                    </a:lnTo>
                    <a:lnTo>
                      <a:pt x="12487" y="0"/>
                    </a:lnTo>
                    <a:lnTo>
                      <a:pt x="13255" y="3074"/>
                    </a:lnTo>
                    <a:lnTo>
                      <a:pt x="9523" y="9824"/>
                    </a:lnTo>
                    <a:lnTo>
                      <a:pt x="5242" y="13337"/>
                    </a:lnTo>
                    <a:lnTo>
                      <a:pt x="3787" y="162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3" name="Freeform: Shape 3342">
                <a:extLst>
                  <a:ext uri="{FF2B5EF4-FFF2-40B4-BE49-F238E27FC236}">
                    <a16:creationId xmlns:a16="http://schemas.microsoft.com/office/drawing/2014/main" id="{2738B2D4-2515-9543-00F6-4AE6524A90F8}"/>
                  </a:ext>
                </a:extLst>
              </p:cNvPr>
              <p:cNvSpPr/>
              <p:nvPr/>
            </p:nvSpPr>
            <p:spPr>
              <a:xfrm>
                <a:off x="1069023" y="3543102"/>
                <a:ext cx="1720" cy="2055"/>
              </a:xfrm>
              <a:custGeom>
                <a:avLst/>
                <a:gdLst>
                  <a:gd name="connsiteX0" fmla="*/ 0 w 16493"/>
                  <a:gd name="connsiteY0" fmla="*/ 3074 h 19704"/>
                  <a:gd name="connsiteX1" fmla="*/ 220 w 16493"/>
                  <a:gd name="connsiteY1" fmla="*/ 1674 h 19704"/>
                  <a:gd name="connsiteX2" fmla="*/ 6833 w 16493"/>
                  <a:gd name="connsiteY2" fmla="*/ 521 h 19704"/>
                  <a:gd name="connsiteX3" fmla="*/ 9550 w 16493"/>
                  <a:gd name="connsiteY3" fmla="*/ 4720 h 19704"/>
                  <a:gd name="connsiteX4" fmla="*/ 13090 w 16493"/>
                  <a:gd name="connsiteY4" fmla="*/ 0 h 19704"/>
                  <a:gd name="connsiteX5" fmla="*/ 15725 w 16493"/>
                  <a:gd name="connsiteY5" fmla="*/ 3485 h 19704"/>
                  <a:gd name="connsiteX6" fmla="*/ 16493 w 16493"/>
                  <a:gd name="connsiteY6" fmla="*/ 7849 h 19704"/>
                  <a:gd name="connsiteX7" fmla="*/ 14847 w 16493"/>
                  <a:gd name="connsiteY7" fmla="*/ 19704 h 19704"/>
                  <a:gd name="connsiteX8" fmla="*/ 7959 w 16493"/>
                  <a:gd name="connsiteY8" fmla="*/ 13968 h 19704"/>
                  <a:gd name="connsiteX9" fmla="*/ 7163 w 16493"/>
                  <a:gd name="connsiteY9" fmla="*/ 10620 h 19704"/>
                  <a:gd name="connsiteX10" fmla="*/ 2058 w 16493"/>
                  <a:gd name="connsiteY10" fmla="*/ 8590 h 19704"/>
                  <a:gd name="connsiteX11" fmla="*/ 27 w 16493"/>
                  <a:gd name="connsiteY11" fmla="*/ 3074 h 1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93" h="19704">
                    <a:moveTo>
                      <a:pt x="0" y="3074"/>
                    </a:moveTo>
                    <a:lnTo>
                      <a:pt x="220" y="1674"/>
                    </a:lnTo>
                    <a:lnTo>
                      <a:pt x="6833" y="521"/>
                    </a:lnTo>
                    <a:lnTo>
                      <a:pt x="9550" y="4720"/>
                    </a:lnTo>
                    <a:lnTo>
                      <a:pt x="13090" y="0"/>
                    </a:lnTo>
                    <a:lnTo>
                      <a:pt x="15725" y="3485"/>
                    </a:lnTo>
                    <a:lnTo>
                      <a:pt x="16493" y="7849"/>
                    </a:lnTo>
                    <a:lnTo>
                      <a:pt x="14847" y="19704"/>
                    </a:lnTo>
                    <a:lnTo>
                      <a:pt x="7959" y="13968"/>
                    </a:lnTo>
                    <a:lnTo>
                      <a:pt x="7163" y="10620"/>
                    </a:lnTo>
                    <a:lnTo>
                      <a:pt x="2058" y="8590"/>
                    </a:lnTo>
                    <a:lnTo>
                      <a:pt x="27"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4" name="Freeform: Shape 3343">
                <a:extLst>
                  <a:ext uri="{FF2B5EF4-FFF2-40B4-BE49-F238E27FC236}">
                    <a16:creationId xmlns:a16="http://schemas.microsoft.com/office/drawing/2014/main" id="{7F922600-2FE8-65CA-74BA-B0D0E1C2F776}"/>
                  </a:ext>
                </a:extLst>
              </p:cNvPr>
              <p:cNvSpPr/>
              <p:nvPr/>
            </p:nvSpPr>
            <p:spPr>
              <a:xfrm>
                <a:off x="1097772" y="3538107"/>
                <a:ext cx="2298" cy="1548"/>
              </a:xfrm>
              <a:custGeom>
                <a:avLst/>
                <a:gdLst>
                  <a:gd name="connsiteX0" fmla="*/ 27 w 22036"/>
                  <a:gd name="connsiteY0" fmla="*/ 5955 h 14846"/>
                  <a:gd name="connsiteX1" fmla="*/ 4857 w 22036"/>
                  <a:gd name="connsiteY1" fmla="*/ 0 h 14846"/>
                  <a:gd name="connsiteX2" fmla="*/ 16630 w 22036"/>
                  <a:gd name="connsiteY2" fmla="*/ 2388 h 14846"/>
                  <a:gd name="connsiteX3" fmla="*/ 19704 w 22036"/>
                  <a:gd name="connsiteY3" fmla="*/ 3732 h 14846"/>
                  <a:gd name="connsiteX4" fmla="*/ 22037 w 22036"/>
                  <a:gd name="connsiteY4" fmla="*/ 11471 h 14846"/>
                  <a:gd name="connsiteX5" fmla="*/ 16603 w 22036"/>
                  <a:gd name="connsiteY5" fmla="*/ 14847 h 14846"/>
                  <a:gd name="connsiteX6" fmla="*/ 3485 w 22036"/>
                  <a:gd name="connsiteY6" fmla="*/ 12294 h 14846"/>
                  <a:gd name="connsiteX7" fmla="*/ 0 w 22036"/>
                  <a:gd name="connsiteY7" fmla="*/ 5955 h 14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36" h="14846">
                    <a:moveTo>
                      <a:pt x="27" y="5955"/>
                    </a:moveTo>
                    <a:lnTo>
                      <a:pt x="4857" y="0"/>
                    </a:lnTo>
                    <a:lnTo>
                      <a:pt x="16630" y="2388"/>
                    </a:lnTo>
                    <a:lnTo>
                      <a:pt x="19704" y="3732"/>
                    </a:lnTo>
                    <a:lnTo>
                      <a:pt x="22037" y="11471"/>
                    </a:lnTo>
                    <a:lnTo>
                      <a:pt x="16603" y="14847"/>
                    </a:lnTo>
                    <a:lnTo>
                      <a:pt x="3485" y="12294"/>
                    </a:lnTo>
                    <a:lnTo>
                      <a:pt x="0" y="59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5" name="Freeform: Shape 3344">
                <a:extLst>
                  <a:ext uri="{FF2B5EF4-FFF2-40B4-BE49-F238E27FC236}">
                    <a16:creationId xmlns:a16="http://schemas.microsoft.com/office/drawing/2014/main" id="{6B09138B-BE7F-8725-48EF-866E4DAA6285}"/>
                  </a:ext>
                </a:extLst>
              </p:cNvPr>
              <p:cNvSpPr/>
              <p:nvPr/>
            </p:nvSpPr>
            <p:spPr>
              <a:xfrm>
                <a:off x="1123235" y="3550816"/>
                <a:ext cx="1506" cy="2184"/>
              </a:xfrm>
              <a:custGeom>
                <a:avLst/>
                <a:gdLst>
                  <a:gd name="connsiteX0" fmla="*/ 2360 w 14435"/>
                  <a:gd name="connsiteY0" fmla="*/ 0 h 20939"/>
                  <a:gd name="connsiteX1" fmla="*/ 7437 w 14435"/>
                  <a:gd name="connsiteY1" fmla="*/ 2141 h 20939"/>
                  <a:gd name="connsiteX2" fmla="*/ 11416 w 14435"/>
                  <a:gd name="connsiteY2" fmla="*/ 5132 h 20939"/>
                  <a:gd name="connsiteX3" fmla="*/ 13639 w 14435"/>
                  <a:gd name="connsiteY3" fmla="*/ 5242 h 20939"/>
                  <a:gd name="connsiteX4" fmla="*/ 14435 w 14435"/>
                  <a:gd name="connsiteY4" fmla="*/ 9084 h 20939"/>
                  <a:gd name="connsiteX5" fmla="*/ 12816 w 14435"/>
                  <a:gd name="connsiteY5" fmla="*/ 10895 h 20939"/>
                  <a:gd name="connsiteX6" fmla="*/ 8260 w 14435"/>
                  <a:gd name="connsiteY6" fmla="*/ 10621 h 20939"/>
                  <a:gd name="connsiteX7" fmla="*/ 8480 w 14435"/>
                  <a:gd name="connsiteY7" fmla="*/ 16274 h 20939"/>
                  <a:gd name="connsiteX8" fmla="*/ 3293 w 14435"/>
                  <a:gd name="connsiteY8" fmla="*/ 20939 h 20939"/>
                  <a:gd name="connsiteX9" fmla="*/ 1317 w 14435"/>
                  <a:gd name="connsiteY9" fmla="*/ 19320 h 20939"/>
                  <a:gd name="connsiteX10" fmla="*/ 0 w 14435"/>
                  <a:gd name="connsiteY10" fmla="*/ 13557 h 20939"/>
                  <a:gd name="connsiteX11" fmla="*/ 3320 w 14435"/>
                  <a:gd name="connsiteY11" fmla="*/ 10401 h 20939"/>
                  <a:gd name="connsiteX12" fmla="*/ 5269 w 14435"/>
                  <a:gd name="connsiteY12" fmla="*/ 10675 h 20939"/>
                  <a:gd name="connsiteX13" fmla="*/ 5544 w 14435"/>
                  <a:gd name="connsiteY13" fmla="*/ 7437 h 20939"/>
                  <a:gd name="connsiteX14" fmla="*/ 2470 w 14435"/>
                  <a:gd name="connsiteY14" fmla="*/ 4281 h 20939"/>
                  <a:gd name="connsiteX15" fmla="*/ 2360 w 14435"/>
                  <a:gd name="connsiteY15" fmla="*/ 0 h 2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35" h="20939">
                    <a:moveTo>
                      <a:pt x="2360" y="0"/>
                    </a:moveTo>
                    <a:lnTo>
                      <a:pt x="7437" y="2141"/>
                    </a:lnTo>
                    <a:lnTo>
                      <a:pt x="11416" y="5132"/>
                    </a:lnTo>
                    <a:lnTo>
                      <a:pt x="13639" y="5242"/>
                    </a:lnTo>
                    <a:lnTo>
                      <a:pt x="14435" y="9084"/>
                    </a:lnTo>
                    <a:lnTo>
                      <a:pt x="12816" y="10895"/>
                    </a:lnTo>
                    <a:lnTo>
                      <a:pt x="8260" y="10621"/>
                    </a:lnTo>
                    <a:lnTo>
                      <a:pt x="8480" y="16274"/>
                    </a:lnTo>
                    <a:lnTo>
                      <a:pt x="3293" y="20939"/>
                    </a:lnTo>
                    <a:lnTo>
                      <a:pt x="1317" y="19320"/>
                    </a:lnTo>
                    <a:lnTo>
                      <a:pt x="0" y="13557"/>
                    </a:lnTo>
                    <a:lnTo>
                      <a:pt x="3320" y="10401"/>
                    </a:lnTo>
                    <a:lnTo>
                      <a:pt x="5269" y="10675"/>
                    </a:lnTo>
                    <a:lnTo>
                      <a:pt x="5544" y="7437"/>
                    </a:lnTo>
                    <a:lnTo>
                      <a:pt x="2470" y="4281"/>
                    </a:lnTo>
                    <a:lnTo>
                      <a:pt x="236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6" name="Freeform: Shape 3345">
                <a:extLst>
                  <a:ext uri="{FF2B5EF4-FFF2-40B4-BE49-F238E27FC236}">
                    <a16:creationId xmlns:a16="http://schemas.microsoft.com/office/drawing/2014/main" id="{C454530B-1604-EDD7-B47E-36B0CBC0437F}"/>
                  </a:ext>
                </a:extLst>
              </p:cNvPr>
              <p:cNvSpPr/>
              <p:nvPr/>
            </p:nvSpPr>
            <p:spPr>
              <a:xfrm>
                <a:off x="968733" y="3653010"/>
                <a:ext cx="1073" cy="1806"/>
              </a:xfrm>
              <a:custGeom>
                <a:avLst/>
                <a:gdLst>
                  <a:gd name="connsiteX0" fmla="*/ 0 w 10291"/>
                  <a:gd name="connsiteY0" fmla="*/ 741 h 17316"/>
                  <a:gd name="connsiteX1" fmla="*/ 768 w 10291"/>
                  <a:gd name="connsiteY1" fmla="*/ 0 h 17316"/>
                  <a:gd name="connsiteX2" fmla="*/ 7382 w 10291"/>
                  <a:gd name="connsiteY2" fmla="*/ 5626 h 17316"/>
                  <a:gd name="connsiteX3" fmla="*/ 10291 w 10291"/>
                  <a:gd name="connsiteY3" fmla="*/ 12843 h 17316"/>
                  <a:gd name="connsiteX4" fmla="*/ 9331 w 10291"/>
                  <a:gd name="connsiteY4" fmla="*/ 17317 h 17316"/>
                  <a:gd name="connsiteX5" fmla="*/ 686 w 10291"/>
                  <a:gd name="connsiteY5" fmla="*/ 4556 h 17316"/>
                  <a:gd name="connsiteX6" fmla="*/ 27 w 10291"/>
                  <a:gd name="connsiteY6" fmla="*/ 714 h 17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91" h="17316">
                    <a:moveTo>
                      <a:pt x="0" y="741"/>
                    </a:moveTo>
                    <a:lnTo>
                      <a:pt x="768" y="0"/>
                    </a:lnTo>
                    <a:lnTo>
                      <a:pt x="7382" y="5626"/>
                    </a:lnTo>
                    <a:lnTo>
                      <a:pt x="10291" y="12843"/>
                    </a:lnTo>
                    <a:lnTo>
                      <a:pt x="9331" y="17317"/>
                    </a:lnTo>
                    <a:lnTo>
                      <a:pt x="686" y="4556"/>
                    </a:lnTo>
                    <a:lnTo>
                      <a:pt x="27" y="7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7" name="Freeform: Shape 3346">
                <a:extLst>
                  <a:ext uri="{FF2B5EF4-FFF2-40B4-BE49-F238E27FC236}">
                    <a16:creationId xmlns:a16="http://schemas.microsoft.com/office/drawing/2014/main" id="{67958DF8-14E1-8EC2-66D6-DBD702A2F8C5}"/>
                  </a:ext>
                </a:extLst>
              </p:cNvPr>
              <p:cNvSpPr/>
              <p:nvPr/>
            </p:nvSpPr>
            <p:spPr>
              <a:xfrm>
                <a:off x="1067792" y="3481029"/>
                <a:ext cx="1577" cy="2779"/>
              </a:xfrm>
              <a:custGeom>
                <a:avLst/>
                <a:gdLst>
                  <a:gd name="connsiteX0" fmla="*/ 7821 w 15121"/>
                  <a:gd name="connsiteY0" fmla="*/ 23217 h 26647"/>
                  <a:gd name="connsiteX1" fmla="*/ 5049 w 15121"/>
                  <a:gd name="connsiteY1" fmla="*/ 26647 h 26647"/>
                  <a:gd name="connsiteX2" fmla="*/ 4281 w 15121"/>
                  <a:gd name="connsiteY2" fmla="*/ 23052 h 26647"/>
                  <a:gd name="connsiteX3" fmla="*/ 1564 w 15121"/>
                  <a:gd name="connsiteY3" fmla="*/ 22256 h 26647"/>
                  <a:gd name="connsiteX4" fmla="*/ 0 w 15121"/>
                  <a:gd name="connsiteY4" fmla="*/ 14545 h 26647"/>
                  <a:gd name="connsiteX5" fmla="*/ 1070 w 15121"/>
                  <a:gd name="connsiteY5" fmla="*/ 8178 h 26647"/>
                  <a:gd name="connsiteX6" fmla="*/ 11800 w 15121"/>
                  <a:gd name="connsiteY6" fmla="*/ 3074 h 26647"/>
                  <a:gd name="connsiteX7" fmla="*/ 15121 w 15121"/>
                  <a:gd name="connsiteY7" fmla="*/ 0 h 26647"/>
                  <a:gd name="connsiteX8" fmla="*/ 14874 w 15121"/>
                  <a:gd name="connsiteY8" fmla="*/ 14133 h 26647"/>
                  <a:gd name="connsiteX9" fmla="*/ 12239 w 15121"/>
                  <a:gd name="connsiteY9" fmla="*/ 21296 h 26647"/>
                  <a:gd name="connsiteX10" fmla="*/ 7794 w 15121"/>
                  <a:gd name="connsiteY10" fmla="*/ 23217 h 2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21" h="26647">
                    <a:moveTo>
                      <a:pt x="7821" y="23217"/>
                    </a:moveTo>
                    <a:lnTo>
                      <a:pt x="5049" y="26647"/>
                    </a:lnTo>
                    <a:lnTo>
                      <a:pt x="4281" y="23052"/>
                    </a:lnTo>
                    <a:lnTo>
                      <a:pt x="1564" y="22256"/>
                    </a:lnTo>
                    <a:lnTo>
                      <a:pt x="0" y="14545"/>
                    </a:lnTo>
                    <a:lnTo>
                      <a:pt x="1070" y="8178"/>
                    </a:lnTo>
                    <a:lnTo>
                      <a:pt x="11800" y="3074"/>
                    </a:lnTo>
                    <a:lnTo>
                      <a:pt x="15121" y="0"/>
                    </a:lnTo>
                    <a:lnTo>
                      <a:pt x="14874" y="14133"/>
                    </a:lnTo>
                    <a:lnTo>
                      <a:pt x="12239" y="21296"/>
                    </a:lnTo>
                    <a:lnTo>
                      <a:pt x="7794" y="232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8" name="Freeform: Shape 3347">
                <a:extLst>
                  <a:ext uri="{FF2B5EF4-FFF2-40B4-BE49-F238E27FC236}">
                    <a16:creationId xmlns:a16="http://schemas.microsoft.com/office/drawing/2014/main" id="{BF5CB7B7-95BA-5D03-91D7-7A624044C878}"/>
                  </a:ext>
                </a:extLst>
              </p:cNvPr>
              <p:cNvSpPr/>
              <p:nvPr/>
            </p:nvSpPr>
            <p:spPr>
              <a:xfrm>
                <a:off x="1177368" y="3631416"/>
                <a:ext cx="884" cy="2224"/>
              </a:xfrm>
              <a:custGeom>
                <a:avLst/>
                <a:gdLst>
                  <a:gd name="connsiteX0" fmla="*/ 5928 w 8479"/>
                  <a:gd name="connsiteY0" fmla="*/ 12789 h 21323"/>
                  <a:gd name="connsiteX1" fmla="*/ 6559 w 8479"/>
                  <a:gd name="connsiteY1" fmla="*/ 17207 h 21323"/>
                  <a:gd name="connsiteX2" fmla="*/ 4501 w 8479"/>
                  <a:gd name="connsiteY2" fmla="*/ 21323 h 21323"/>
                  <a:gd name="connsiteX3" fmla="*/ 3403 w 8479"/>
                  <a:gd name="connsiteY3" fmla="*/ 15258 h 21323"/>
                  <a:gd name="connsiteX4" fmla="*/ 0 w 8479"/>
                  <a:gd name="connsiteY4" fmla="*/ 11389 h 21323"/>
                  <a:gd name="connsiteX5" fmla="*/ 1262 w 8479"/>
                  <a:gd name="connsiteY5" fmla="*/ 5571 h 21323"/>
                  <a:gd name="connsiteX6" fmla="*/ 576 w 8479"/>
                  <a:gd name="connsiteY6" fmla="*/ 1811 h 21323"/>
                  <a:gd name="connsiteX7" fmla="*/ 3540 w 8479"/>
                  <a:gd name="connsiteY7" fmla="*/ 0 h 21323"/>
                  <a:gd name="connsiteX8" fmla="*/ 4638 w 8479"/>
                  <a:gd name="connsiteY8" fmla="*/ 1674 h 21323"/>
                  <a:gd name="connsiteX9" fmla="*/ 2525 w 8479"/>
                  <a:gd name="connsiteY9" fmla="*/ 2909 h 21323"/>
                  <a:gd name="connsiteX10" fmla="*/ 2525 w 8479"/>
                  <a:gd name="connsiteY10" fmla="*/ 5681 h 21323"/>
                  <a:gd name="connsiteX11" fmla="*/ 8480 w 8479"/>
                  <a:gd name="connsiteY11" fmla="*/ 9440 h 21323"/>
                  <a:gd name="connsiteX12" fmla="*/ 8480 w 8479"/>
                  <a:gd name="connsiteY12" fmla="*/ 11306 h 21323"/>
                  <a:gd name="connsiteX13" fmla="*/ 5955 w 8479"/>
                  <a:gd name="connsiteY13" fmla="*/ 12789 h 2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79" h="21323">
                    <a:moveTo>
                      <a:pt x="5928" y="12789"/>
                    </a:moveTo>
                    <a:lnTo>
                      <a:pt x="6559" y="17207"/>
                    </a:lnTo>
                    <a:lnTo>
                      <a:pt x="4501" y="21323"/>
                    </a:lnTo>
                    <a:lnTo>
                      <a:pt x="3403" y="15258"/>
                    </a:lnTo>
                    <a:lnTo>
                      <a:pt x="0" y="11389"/>
                    </a:lnTo>
                    <a:lnTo>
                      <a:pt x="1262" y="5571"/>
                    </a:lnTo>
                    <a:lnTo>
                      <a:pt x="576" y="1811"/>
                    </a:lnTo>
                    <a:lnTo>
                      <a:pt x="3540" y="0"/>
                    </a:lnTo>
                    <a:lnTo>
                      <a:pt x="4638" y="1674"/>
                    </a:lnTo>
                    <a:lnTo>
                      <a:pt x="2525" y="2909"/>
                    </a:lnTo>
                    <a:lnTo>
                      <a:pt x="2525" y="5681"/>
                    </a:lnTo>
                    <a:cubicBezTo>
                      <a:pt x="2525" y="5681"/>
                      <a:pt x="8480" y="9440"/>
                      <a:pt x="8480" y="9440"/>
                    </a:cubicBezTo>
                    <a:lnTo>
                      <a:pt x="8480" y="11306"/>
                    </a:lnTo>
                    <a:lnTo>
                      <a:pt x="5955" y="127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9" name="Freeform: Shape 3348">
                <a:extLst>
                  <a:ext uri="{FF2B5EF4-FFF2-40B4-BE49-F238E27FC236}">
                    <a16:creationId xmlns:a16="http://schemas.microsoft.com/office/drawing/2014/main" id="{6375E037-8D29-AAFD-5863-5DDCB1AD1289}"/>
                  </a:ext>
                </a:extLst>
              </p:cNvPr>
              <p:cNvSpPr/>
              <p:nvPr/>
            </p:nvSpPr>
            <p:spPr>
              <a:xfrm>
                <a:off x="1043230" y="3551649"/>
                <a:ext cx="1800" cy="1629"/>
              </a:xfrm>
              <a:custGeom>
                <a:avLst/>
                <a:gdLst>
                  <a:gd name="connsiteX0" fmla="*/ 17262 w 17261"/>
                  <a:gd name="connsiteY0" fmla="*/ 13804 h 15615"/>
                  <a:gd name="connsiteX1" fmla="*/ 13173 w 17261"/>
                  <a:gd name="connsiteY1" fmla="*/ 15615 h 15615"/>
                  <a:gd name="connsiteX2" fmla="*/ 7931 w 17261"/>
                  <a:gd name="connsiteY2" fmla="*/ 13859 h 15615"/>
                  <a:gd name="connsiteX3" fmla="*/ 2113 w 17261"/>
                  <a:gd name="connsiteY3" fmla="*/ 9331 h 15615"/>
                  <a:gd name="connsiteX4" fmla="*/ 0 w 17261"/>
                  <a:gd name="connsiteY4" fmla="*/ 3074 h 15615"/>
                  <a:gd name="connsiteX5" fmla="*/ 2689 w 17261"/>
                  <a:gd name="connsiteY5" fmla="*/ 0 h 15615"/>
                  <a:gd name="connsiteX6" fmla="*/ 17262 w 17261"/>
                  <a:gd name="connsiteY6" fmla="*/ 6696 h 15615"/>
                  <a:gd name="connsiteX7" fmla="*/ 17262 w 17261"/>
                  <a:gd name="connsiteY7" fmla="*/ 13804 h 1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61" h="15615">
                    <a:moveTo>
                      <a:pt x="17262" y="13804"/>
                    </a:moveTo>
                    <a:lnTo>
                      <a:pt x="13173" y="15615"/>
                    </a:lnTo>
                    <a:lnTo>
                      <a:pt x="7931" y="13859"/>
                    </a:lnTo>
                    <a:lnTo>
                      <a:pt x="2113" y="9331"/>
                    </a:lnTo>
                    <a:lnTo>
                      <a:pt x="0" y="3074"/>
                    </a:lnTo>
                    <a:lnTo>
                      <a:pt x="2689" y="0"/>
                    </a:lnTo>
                    <a:lnTo>
                      <a:pt x="17262" y="6696"/>
                    </a:lnTo>
                    <a:lnTo>
                      <a:pt x="17262" y="138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0" name="Freeform: Shape 3349">
                <a:extLst>
                  <a:ext uri="{FF2B5EF4-FFF2-40B4-BE49-F238E27FC236}">
                    <a16:creationId xmlns:a16="http://schemas.microsoft.com/office/drawing/2014/main" id="{BD9CEF86-2A77-D30F-E35E-CD510ABE2BB7}"/>
                  </a:ext>
                </a:extLst>
              </p:cNvPr>
              <p:cNvSpPr/>
              <p:nvPr/>
            </p:nvSpPr>
            <p:spPr>
              <a:xfrm>
                <a:off x="1054348" y="3543030"/>
                <a:ext cx="1299" cy="1983"/>
              </a:xfrm>
              <a:custGeom>
                <a:avLst/>
                <a:gdLst>
                  <a:gd name="connsiteX0" fmla="*/ 7437 w 12459"/>
                  <a:gd name="connsiteY0" fmla="*/ 18579 h 19017"/>
                  <a:gd name="connsiteX1" fmla="*/ 4610 w 12459"/>
                  <a:gd name="connsiteY1" fmla="*/ 19018 h 19017"/>
                  <a:gd name="connsiteX2" fmla="*/ 3376 w 12459"/>
                  <a:gd name="connsiteY2" fmla="*/ 12047 h 19017"/>
                  <a:gd name="connsiteX3" fmla="*/ 1235 w 12459"/>
                  <a:gd name="connsiteY3" fmla="*/ 11855 h 19017"/>
                  <a:gd name="connsiteX4" fmla="*/ 0 w 12459"/>
                  <a:gd name="connsiteY4" fmla="*/ 8370 h 19017"/>
                  <a:gd name="connsiteX5" fmla="*/ 1509 w 12459"/>
                  <a:gd name="connsiteY5" fmla="*/ 1811 h 19017"/>
                  <a:gd name="connsiteX6" fmla="*/ 3897 w 12459"/>
                  <a:gd name="connsiteY6" fmla="*/ 0 h 19017"/>
                  <a:gd name="connsiteX7" fmla="*/ 5379 w 12459"/>
                  <a:gd name="connsiteY7" fmla="*/ 2552 h 19017"/>
                  <a:gd name="connsiteX8" fmla="*/ 10401 w 12459"/>
                  <a:gd name="connsiteY8" fmla="*/ 4226 h 19017"/>
                  <a:gd name="connsiteX9" fmla="*/ 12459 w 12459"/>
                  <a:gd name="connsiteY9" fmla="*/ 7629 h 19017"/>
                  <a:gd name="connsiteX10" fmla="*/ 7437 w 12459"/>
                  <a:gd name="connsiteY10" fmla="*/ 18579 h 1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59" h="19017">
                    <a:moveTo>
                      <a:pt x="7437" y="18579"/>
                    </a:moveTo>
                    <a:lnTo>
                      <a:pt x="4610" y="19018"/>
                    </a:lnTo>
                    <a:lnTo>
                      <a:pt x="3376" y="12047"/>
                    </a:lnTo>
                    <a:lnTo>
                      <a:pt x="1235" y="11855"/>
                    </a:lnTo>
                    <a:lnTo>
                      <a:pt x="0" y="8370"/>
                    </a:lnTo>
                    <a:lnTo>
                      <a:pt x="1509" y="1811"/>
                    </a:lnTo>
                    <a:lnTo>
                      <a:pt x="3897" y="0"/>
                    </a:lnTo>
                    <a:lnTo>
                      <a:pt x="5379" y="2552"/>
                    </a:lnTo>
                    <a:lnTo>
                      <a:pt x="10401" y="4226"/>
                    </a:lnTo>
                    <a:lnTo>
                      <a:pt x="12459" y="7629"/>
                    </a:lnTo>
                    <a:lnTo>
                      <a:pt x="7437" y="185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1" name="Freeform: Shape 3350">
                <a:extLst>
                  <a:ext uri="{FF2B5EF4-FFF2-40B4-BE49-F238E27FC236}">
                    <a16:creationId xmlns:a16="http://schemas.microsoft.com/office/drawing/2014/main" id="{BC8280AD-6428-D977-5F4C-A6F92D7C9ED4}"/>
                  </a:ext>
                </a:extLst>
              </p:cNvPr>
              <p:cNvSpPr/>
              <p:nvPr/>
            </p:nvSpPr>
            <p:spPr>
              <a:xfrm>
                <a:off x="1056683" y="3533167"/>
                <a:ext cx="1483" cy="1818"/>
              </a:xfrm>
              <a:custGeom>
                <a:avLst/>
                <a:gdLst>
                  <a:gd name="connsiteX0" fmla="*/ 0 w 14215"/>
                  <a:gd name="connsiteY0" fmla="*/ 878 h 17426"/>
                  <a:gd name="connsiteX1" fmla="*/ 4995 w 14215"/>
                  <a:gd name="connsiteY1" fmla="*/ 0 h 17426"/>
                  <a:gd name="connsiteX2" fmla="*/ 10456 w 14215"/>
                  <a:gd name="connsiteY2" fmla="*/ 6065 h 17426"/>
                  <a:gd name="connsiteX3" fmla="*/ 11663 w 14215"/>
                  <a:gd name="connsiteY3" fmla="*/ 8919 h 17426"/>
                  <a:gd name="connsiteX4" fmla="*/ 12432 w 14215"/>
                  <a:gd name="connsiteY4" fmla="*/ 4665 h 17426"/>
                  <a:gd name="connsiteX5" fmla="*/ 14215 w 14215"/>
                  <a:gd name="connsiteY5" fmla="*/ 5653 h 17426"/>
                  <a:gd name="connsiteX6" fmla="*/ 13996 w 14215"/>
                  <a:gd name="connsiteY6" fmla="*/ 11032 h 17426"/>
                  <a:gd name="connsiteX7" fmla="*/ 11691 w 14215"/>
                  <a:gd name="connsiteY7" fmla="*/ 10154 h 17426"/>
                  <a:gd name="connsiteX8" fmla="*/ 9331 w 14215"/>
                  <a:gd name="connsiteY8" fmla="*/ 16987 h 17426"/>
                  <a:gd name="connsiteX9" fmla="*/ 6504 w 14215"/>
                  <a:gd name="connsiteY9" fmla="*/ 17426 h 17426"/>
                  <a:gd name="connsiteX10" fmla="*/ 412 w 14215"/>
                  <a:gd name="connsiteY10" fmla="*/ 11993 h 17426"/>
                  <a:gd name="connsiteX11" fmla="*/ 0 w 14215"/>
                  <a:gd name="connsiteY11" fmla="*/ 878 h 1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15" h="17426">
                    <a:moveTo>
                      <a:pt x="0" y="878"/>
                    </a:moveTo>
                    <a:lnTo>
                      <a:pt x="4995" y="0"/>
                    </a:lnTo>
                    <a:lnTo>
                      <a:pt x="10456" y="6065"/>
                    </a:lnTo>
                    <a:lnTo>
                      <a:pt x="11663" y="8919"/>
                    </a:lnTo>
                    <a:lnTo>
                      <a:pt x="12432" y="4665"/>
                    </a:lnTo>
                    <a:lnTo>
                      <a:pt x="14215" y="5653"/>
                    </a:lnTo>
                    <a:lnTo>
                      <a:pt x="13996" y="11032"/>
                    </a:lnTo>
                    <a:lnTo>
                      <a:pt x="11691" y="10154"/>
                    </a:lnTo>
                    <a:lnTo>
                      <a:pt x="9331" y="16987"/>
                    </a:lnTo>
                    <a:lnTo>
                      <a:pt x="6504" y="17426"/>
                    </a:lnTo>
                    <a:lnTo>
                      <a:pt x="412" y="11993"/>
                    </a:lnTo>
                    <a:lnTo>
                      <a:pt x="0" y="8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2" name="Freeform: Shape 3351">
                <a:extLst>
                  <a:ext uri="{FF2B5EF4-FFF2-40B4-BE49-F238E27FC236}">
                    <a16:creationId xmlns:a16="http://schemas.microsoft.com/office/drawing/2014/main" id="{895401C2-0E63-2DA5-51D7-FE255ED10031}"/>
                  </a:ext>
                </a:extLst>
              </p:cNvPr>
              <p:cNvSpPr/>
              <p:nvPr/>
            </p:nvSpPr>
            <p:spPr>
              <a:xfrm>
                <a:off x="1165306" y="3600772"/>
                <a:ext cx="1371" cy="1331"/>
              </a:xfrm>
              <a:custGeom>
                <a:avLst/>
                <a:gdLst>
                  <a:gd name="connsiteX0" fmla="*/ 0 w 13145"/>
                  <a:gd name="connsiteY0" fmla="*/ 2964 h 12761"/>
                  <a:gd name="connsiteX1" fmla="*/ 2744 w 13145"/>
                  <a:gd name="connsiteY1" fmla="*/ 0 h 12761"/>
                  <a:gd name="connsiteX2" fmla="*/ 8233 w 13145"/>
                  <a:gd name="connsiteY2" fmla="*/ 2909 h 12761"/>
                  <a:gd name="connsiteX3" fmla="*/ 11306 w 13145"/>
                  <a:gd name="connsiteY3" fmla="*/ 7464 h 12761"/>
                  <a:gd name="connsiteX4" fmla="*/ 13145 w 13145"/>
                  <a:gd name="connsiteY4" fmla="*/ 8507 h 12761"/>
                  <a:gd name="connsiteX5" fmla="*/ 11224 w 13145"/>
                  <a:gd name="connsiteY5" fmla="*/ 12761 h 12761"/>
                  <a:gd name="connsiteX6" fmla="*/ 3815 w 13145"/>
                  <a:gd name="connsiteY6" fmla="*/ 9633 h 12761"/>
                  <a:gd name="connsiteX7" fmla="*/ 27 w 13145"/>
                  <a:gd name="connsiteY7" fmla="*/ 2964 h 1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5" h="12761">
                    <a:moveTo>
                      <a:pt x="0" y="2964"/>
                    </a:moveTo>
                    <a:lnTo>
                      <a:pt x="2744" y="0"/>
                    </a:lnTo>
                    <a:lnTo>
                      <a:pt x="8233" y="2909"/>
                    </a:lnTo>
                    <a:lnTo>
                      <a:pt x="11306" y="7464"/>
                    </a:lnTo>
                    <a:lnTo>
                      <a:pt x="13145" y="8507"/>
                    </a:lnTo>
                    <a:lnTo>
                      <a:pt x="11224" y="12761"/>
                    </a:lnTo>
                    <a:lnTo>
                      <a:pt x="3815" y="9633"/>
                    </a:lnTo>
                    <a:lnTo>
                      <a:pt x="27"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3" name="Freeform: Shape 3352">
                <a:extLst>
                  <a:ext uri="{FF2B5EF4-FFF2-40B4-BE49-F238E27FC236}">
                    <a16:creationId xmlns:a16="http://schemas.microsoft.com/office/drawing/2014/main" id="{3F17AEE4-D357-4904-46BD-E003F482DEB7}"/>
                  </a:ext>
                </a:extLst>
              </p:cNvPr>
              <p:cNvSpPr/>
              <p:nvPr/>
            </p:nvSpPr>
            <p:spPr>
              <a:xfrm>
                <a:off x="1088544" y="3546860"/>
                <a:ext cx="1068" cy="2150"/>
              </a:xfrm>
              <a:custGeom>
                <a:avLst/>
                <a:gdLst>
                  <a:gd name="connsiteX0" fmla="*/ 0 w 10236"/>
                  <a:gd name="connsiteY0" fmla="*/ 4693 h 20609"/>
                  <a:gd name="connsiteX1" fmla="*/ 2552 w 10236"/>
                  <a:gd name="connsiteY1" fmla="*/ 0 h 20609"/>
                  <a:gd name="connsiteX2" fmla="*/ 4144 w 10236"/>
                  <a:gd name="connsiteY2" fmla="*/ 3074 h 20609"/>
                  <a:gd name="connsiteX3" fmla="*/ 6092 w 10236"/>
                  <a:gd name="connsiteY3" fmla="*/ 604 h 20609"/>
                  <a:gd name="connsiteX4" fmla="*/ 7794 w 10236"/>
                  <a:gd name="connsiteY4" fmla="*/ 3320 h 20609"/>
                  <a:gd name="connsiteX5" fmla="*/ 6175 w 10236"/>
                  <a:gd name="connsiteY5" fmla="*/ 8507 h 20609"/>
                  <a:gd name="connsiteX6" fmla="*/ 4610 w 10236"/>
                  <a:gd name="connsiteY6" fmla="*/ 6669 h 20609"/>
                  <a:gd name="connsiteX7" fmla="*/ 3952 w 10236"/>
                  <a:gd name="connsiteY7" fmla="*/ 11197 h 20609"/>
                  <a:gd name="connsiteX8" fmla="*/ 10236 w 10236"/>
                  <a:gd name="connsiteY8" fmla="*/ 11553 h 20609"/>
                  <a:gd name="connsiteX9" fmla="*/ 9962 w 10236"/>
                  <a:gd name="connsiteY9" fmla="*/ 15999 h 20609"/>
                  <a:gd name="connsiteX10" fmla="*/ 7025 w 10236"/>
                  <a:gd name="connsiteY10" fmla="*/ 20610 h 20609"/>
                  <a:gd name="connsiteX11" fmla="*/ 6037 w 10236"/>
                  <a:gd name="connsiteY11" fmla="*/ 16082 h 20609"/>
                  <a:gd name="connsiteX12" fmla="*/ 3732 w 10236"/>
                  <a:gd name="connsiteY12" fmla="*/ 15752 h 20609"/>
                  <a:gd name="connsiteX13" fmla="*/ 0 w 10236"/>
                  <a:gd name="connsiteY13" fmla="*/ 4720 h 2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36" h="20609">
                    <a:moveTo>
                      <a:pt x="0" y="4693"/>
                    </a:moveTo>
                    <a:lnTo>
                      <a:pt x="2552" y="0"/>
                    </a:lnTo>
                    <a:lnTo>
                      <a:pt x="4144" y="3074"/>
                    </a:lnTo>
                    <a:lnTo>
                      <a:pt x="6092" y="604"/>
                    </a:lnTo>
                    <a:lnTo>
                      <a:pt x="7794" y="3320"/>
                    </a:lnTo>
                    <a:lnTo>
                      <a:pt x="6175" y="8507"/>
                    </a:lnTo>
                    <a:lnTo>
                      <a:pt x="4610" y="6669"/>
                    </a:lnTo>
                    <a:lnTo>
                      <a:pt x="3952" y="11197"/>
                    </a:lnTo>
                    <a:lnTo>
                      <a:pt x="10236" y="11553"/>
                    </a:lnTo>
                    <a:lnTo>
                      <a:pt x="9962" y="15999"/>
                    </a:lnTo>
                    <a:lnTo>
                      <a:pt x="7025" y="20610"/>
                    </a:lnTo>
                    <a:lnTo>
                      <a:pt x="6037" y="16082"/>
                    </a:lnTo>
                    <a:lnTo>
                      <a:pt x="3732" y="15752"/>
                    </a:lnTo>
                    <a:lnTo>
                      <a:pt x="0" y="47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4" name="Freeform: Shape 3353">
                <a:extLst>
                  <a:ext uri="{FF2B5EF4-FFF2-40B4-BE49-F238E27FC236}">
                    <a16:creationId xmlns:a16="http://schemas.microsoft.com/office/drawing/2014/main" id="{0560F44C-2EAF-5D91-0158-4EFA58CC9D59}"/>
                  </a:ext>
                </a:extLst>
              </p:cNvPr>
              <p:cNvSpPr/>
              <p:nvPr/>
            </p:nvSpPr>
            <p:spPr>
              <a:xfrm>
                <a:off x="1183651" y="3673123"/>
                <a:ext cx="1408" cy="876"/>
              </a:xfrm>
              <a:custGeom>
                <a:avLst/>
                <a:gdLst>
                  <a:gd name="connsiteX0" fmla="*/ 0 w 13502"/>
                  <a:gd name="connsiteY0" fmla="*/ 7574 h 8397"/>
                  <a:gd name="connsiteX1" fmla="*/ 165 w 13502"/>
                  <a:gd name="connsiteY1" fmla="*/ 6230 h 8397"/>
                  <a:gd name="connsiteX2" fmla="*/ 4418 w 13502"/>
                  <a:gd name="connsiteY2" fmla="*/ 1455 h 8397"/>
                  <a:gd name="connsiteX3" fmla="*/ 7410 w 13502"/>
                  <a:gd name="connsiteY3" fmla="*/ 0 h 8397"/>
                  <a:gd name="connsiteX4" fmla="*/ 10511 w 13502"/>
                  <a:gd name="connsiteY4" fmla="*/ 4473 h 8397"/>
                  <a:gd name="connsiteX5" fmla="*/ 12020 w 13502"/>
                  <a:gd name="connsiteY5" fmla="*/ 3046 h 8397"/>
                  <a:gd name="connsiteX6" fmla="*/ 13502 w 13502"/>
                  <a:gd name="connsiteY6" fmla="*/ 5818 h 8397"/>
                  <a:gd name="connsiteX7" fmla="*/ 9193 w 13502"/>
                  <a:gd name="connsiteY7" fmla="*/ 6696 h 8397"/>
                  <a:gd name="connsiteX8" fmla="*/ 6147 w 13502"/>
                  <a:gd name="connsiteY8" fmla="*/ 6175 h 8397"/>
                  <a:gd name="connsiteX9" fmla="*/ 741 w 13502"/>
                  <a:gd name="connsiteY9" fmla="*/ 8398 h 8397"/>
                  <a:gd name="connsiteX10" fmla="*/ 55 w 13502"/>
                  <a:gd name="connsiteY10" fmla="*/ 7547 h 8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02" h="8397">
                    <a:moveTo>
                      <a:pt x="0" y="7574"/>
                    </a:moveTo>
                    <a:lnTo>
                      <a:pt x="165" y="6230"/>
                    </a:lnTo>
                    <a:lnTo>
                      <a:pt x="4418" y="1455"/>
                    </a:lnTo>
                    <a:lnTo>
                      <a:pt x="7410" y="0"/>
                    </a:lnTo>
                    <a:lnTo>
                      <a:pt x="10511" y="4473"/>
                    </a:lnTo>
                    <a:lnTo>
                      <a:pt x="12020" y="3046"/>
                    </a:lnTo>
                    <a:lnTo>
                      <a:pt x="13502" y="5818"/>
                    </a:lnTo>
                    <a:lnTo>
                      <a:pt x="9193" y="6696"/>
                    </a:lnTo>
                    <a:lnTo>
                      <a:pt x="6147" y="6175"/>
                    </a:lnTo>
                    <a:lnTo>
                      <a:pt x="741" y="8398"/>
                    </a:lnTo>
                    <a:lnTo>
                      <a:pt x="55" y="75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5" name="Freeform: Shape 3354">
                <a:extLst>
                  <a:ext uri="{FF2B5EF4-FFF2-40B4-BE49-F238E27FC236}">
                    <a16:creationId xmlns:a16="http://schemas.microsoft.com/office/drawing/2014/main" id="{6805612E-2AB9-3E59-483C-AB9E452CBB4A}"/>
                  </a:ext>
                </a:extLst>
              </p:cNvPr>
              <p:cNvSpPr/>
              <p:nvPr/>
            </p:nvSpPr>
            <p:spPr>
              <a:xfrm>
                <a:off x="1071470" y="3492144"/>
                <a:ext cx="1649" cy="1769"/>
              </a:xfrm>
              <a:custGeom>
                <a:avLst/>
                <a:gdLst>
                  <a:gd name="connsiteX0" fmla="*/ 15615 w 15807"/>
                  <a:gd name="connsiteY0" fmla="*/ 15423 h 16959"/>
                  <a:gd name="connsiteX1" fmla="*/ 13173 w 15807"/>
                  <a:gd name="connsiteY1" fmla="*/ 16960 h 16959"/>
                  <a:gd name="connsiteX2" fmla="*/ 5544 w 15807"/>
                  <a:gd name="connsiteY2" fmla="*/ 13886 h 16959"/>
                  <a:gd name="connsiteX3" fmla="*/ 878 w 15807"/>
                  <a:gd name="connsiteY3" fmla="*/ 9934 h 16959"/>
                  <a:gd name="connsiteX4" fmla="*/ 0 w 15807"/>
                  <a:gd name="connsiteY4" fmla="*/ 7108 h 16959"/>
                  <a:gd name="connsiteX5" fmla="*/ 5544 w 15807"/>
                  <a:gd name="connsiteY5" fmla="*/ 0 h 16959"/>
                  <a:gd name="connsiteX6" fmla="*/ 13584 w 15807"/>
                  <a:gd name="connsiteY6" fmla="*/ 5818 h 16959"/>
                  <a:gd name="connsiteX7" fmla="*/ 15807 w 15807"/>
                  <a:gd name="connsiteY7" fmla="*/ 11828 h 16959"/>
                  <a:gd name="connsiteX8" fmla="*/ 15588 w 15807"/>
                  <a:gd name="connsiteY8" fmla="*/ 15423 h 1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07" h="16959">
                    <a:moveTo>
                      <a:pt x="15615" y="15423"/>
                    </a:moveTo>
                    <a:lnTo>
                      <a:pt x="13173" y="16960"/>
                    </a:lnTo>
                    <a:lnTo>
                      <a:pt x="5544" y="13886"/>
                    </a:lnTo>
                    <a:lnTo>
                      <a:pt x="878" y="9934"/>
                    </a:lnTo>
                    <a:lnTo>
                      <a:pt x="0" y="7108"/>
                    </a:lnTo>
                    <a:lnTo>
                      <a:pt x="5544" y="0"/>
                    </a:lnTo>
                    <a:lnTo>
                      <a:pt x="13584" y="5818"/>
                    </a:lnTo>
                    <a:lnTo>
                      <a:pt x="15807" y="11828"/>
                    </a:lnTo>
                    <a:lnTo>
                      <a:pt x="15588" y="154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6" name="Freeform: Shape 3355">
                <a:extLst>
                  <a:ext uri="{FF2B5EF4-FFF2-40B4-BE49-F238E27FC236}">
                    <a16:creationId xmlns:a16="http://schemas.microsoft.com/office/drawing/2014/main" id="{7E196E3F-D306-8CC3-6552-66ED231F11F5}"/>
                  </a:ext>
                </a:extLst>
              </p:cNvPr>
              <p:cNvSpPr/>
              <p:nvPr/>
            </p:nvSpPr>
            <p:spPr>
              <a:xfrm>
                <a:off x="1141698" y="3588504"/>
                <a:ext cx="1646" cy="1062"/>
              </a:xfrm>
              <a:custGeom>
                <a:avLst/>
                <a:gdLst>
                  <a:gd name="connsiteX0" fmla="*/ 0 w 15779"/>
                  <a:gd name="connsiteY0" fmla="*/ 3814 h 10181"/>
                  <a:gd name="connsiteX1" fmla="*/ 1811 w 15779"/>
                  <a:gd name="connsiteY1" fmla="*/ 0 h 10181"/>
                  <a:gd name="connsiteX2" fmla="*/ 8041 w 15779"/>
                  <a:gd name="connsiteY2" fmla="*/ 302 h 10181"/>
                  <a:gd name="connsiteX3" fmla="*/ 15258 w 15779"/>
                  <a:gd name="connsiteY3" fmla="*/ 5132 h 10181"/>
                  <a:gd name="connsiteX4" fmla="*/ 15780 w 15779"/>
                  <a:gd name="connsiteY4" fmla="*/ 10181 h 10181"/>
                  <a:gd name="connsiteX5" fmla="*/ 9166 w 15779"/>
                  <a:gd name="connsiteY5" fmla="*/ 8891 h 10181"/>
                  <a:gd name="connsiteX6" fmla="*/ 8041 w 15779"/>
                  <a:gd name="connsiteY6" fmla="*/ 6696 h 10181"/>
                  <a:gd name="connsiteX7" fmla="*/ 0 w 15779"/>
                  <a:gd name="connsiteY7" fmla="*/ 3814 h 1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 h="10181">
                    <a:moveTo>
                      <a:pt x="0" y="3814"/>
                    </a:moveTo>
                    <a:lnTo>
                      <a:pt x="1811" y="0"/>
                    </a:lnTo>
                    <a:lnTo>
                      <a:pt x="8041" y="302"/>
                    </a:lnTo>
                    <a:lnTo>
                      <a:pt x="15258" y="5132"/>
                    </a:lnTo>
                    <a:lnTo>
                      <a:pt x="15780" y="10181"/>
                    </a:lnTo>
                    <a:lnTo>
                      <a:pt x="9166" y="8891"/>
                    </a:lnTo>
                    <a:lnTo>
                      <a:pt x="8041" y="6696"/>
                    </a:lnTo>
                    <a:lnTo>
                      <a:pt x="0" y="38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7" name="Freeform: Shape 3356">
                <a:extLst>
                  <a:ext uri="{FF2B5EF4-FFF2-40B4-BE49-F238E27FC236}">
                    <a16:creationId xmlns:a16="http://schemas.microsoft.com/office/drawing/2014/main" id="{8BB8D82F-D862-1F03-5A8D-CCC9A9578C9C}"/>
                  </a:ext>
                </a:extLst>
              </p:cNvPr>
              <p:cNvSpPr/>
              <p:nvPr/>
            </p:nvSpPr>
            <p:spPr>
              <a:xfrm>
                <a:off x="1198360" y="3668028"/>
                <a:ext cx="1214" cy="953"/>
              </a:xfrm>
              <a:custGeom>
                <a:avLst/>
                <a:gdLst>
                  <a:gd name="connsiteX0" fmla="*/ 11224 w 11635"/>
                  <a:gd name="connsiteY0" fmla="*/ 5159 h 9138"/>
                  <a:gd name="connsiteX1" fmla="*/ 6669 w 11635"/>
                  <a:gd name="connsiteY1" fmla="*/ 6641 h 9138"/>
                  <a:gd name="connsiteX2" fmla="*/ 5763 w 11635"/>
                  <a:gd name="connsiteY2" fmla="*/ 9138 h 9138"/>
                  <a:gd name="connsiteX3" fmla="*/ 960 w 11635"/>
                  <a:gd name="connsiteY3" fmla="*/ 9138 h 9138"/>
                  <a:gd name="connsiteX4" fmla="*/ 0 w 11635"/>
                  <a:gd name="connsiteY4" fmla="*/ 5187 h 9138"/>
                  <a:gd name="connsiteX5" fmla="*/ 2278 w 11635"/>
                  <a:gd name="connsiteY5" fmla="*/ 3897 h 9138"/>
                  <a:gd name="connsiteX6" fmla="*/ 3568 w 11635"/>
                  <a:gd name="connsiteY6" fmla="*/ 5873 h 9138"/>
                  <a:gd name="connsiteX7" fmla="*/ 3870 w 11635"/>
                  <a:gd name="connsiteY7" fmla="*/ 3403 h 9138"/>
                  <a:gd name="connsiteX8" fmla="*/ 6010 w 11635"/>
                  <a:gd name="connsiteY8" fmla="*/ 796 h 9138"/>
                  <a:gd name="connsiteX9" fmla="*/ 10044 w 11635"/>
                  <a:gd name="connsiteY9" fmla="*/ 0 h 9138"/>
                  <a:gd name="connsiteX10" fmla="*/ 11636 w 11635"/>
                  <a:gd name="connsiteY10" fmla="*/ 1838 h 9138"/>
                  <a:gd name="connsiteX11" fmla="*/ 11252 w 11635"/>
                  <a:gd name="connsiteY11" fmla="*/ 5132 h 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35" h="9138">
                    <a:moveTo>
                      <a:pt x="11224" y="5159"/>
                    </a:moveTo>
                    <a:lnTo>
                      <a:pt x="6669" y="6641"/>
                    </a:lnTo>
                    <a:lnTo>
                      <a:pt x="5763" y="9138"/>
                    </a:lnTo>
                    <a:lnTo>
                      <a:pt x="960" y="9138"/>
                    </a:lnTo>
                    <a:lnTo>
                      <a:pt x="0" y="5187"/>
                    </a:lnTo>
                    <a:lnTo>
                      <a:pt x="2278" y="3897"/>
                    </a:lnTo>
                    <a:lnTo>
                      <a:pt x="3568" y="5873"/>
                    </a:lnTo>
                    <a:lnTo>
                      <a:pt x="3870" y="3403"/>
                    </a:lnTo>
                    <a:lnTo>
                      <a:pt x="6010" y="796"/>
                    </a:lnTo>
                    <a:lnTo>
                      <a:pt x="10044" y="0"/>
                    </a:lnTo>
                    <a:lnTo>
                      <a:pt x="11636" y="1838"/>
                    </a:lnTo>
                    <a:lnTo>
                      <a:pt x="11252" y="513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8" name="Freeform: Shape 3357">
                <a:extLst>
                  <a:ext uri="{FF2B5EF4-FFF2-40B4-BE49-F238E27FC236}">
                    <a16:creationId xmlns:a16="http://schemas.microsoft.com/office/drawing/2014/main" id="{E5CF8CBB-194E-F45B-B186-1B01C44EEE12}"/>
                  </a:ext>
                </a:extLst>
              </p:cNvPr>
              <p:cNvSpPr/>
              <p:nvPr/>
            </p:nvSpPr>
            <p:spPr>
              <a:xfrm>
                <a:off x="1065585" y="3492373"/>
                <a:ext cx="1405" cy="1989"/>
              </a:xfrm>
              <a:custGeom>
                <a:avLst/>
                <a:gdLst>
                  <a:gd name="connsiteX0" fmla="*/ 10703 w 13474"/>
                  <a:gd name="connsiteY0" fmla="*/ 13282 h 19072"/>
                  <a:gd name="connsiteX1" fmla="*/ 1839 w 13474"/>
                  <a:gd name="connsiteY1" fmla="*/ 19073 h 19072"/>
                  <a:gd name="connsiteX2" fmla="*/ 0 w 13474"/>
                  <a:gd name="connsiteY2" fmla="*/ 15121 h 19072"/>
                  <a:gd name="connsiteX3" fmla="*/ 3156 w 13474"/>
                  <a:gd name="connsiteY3" fmla="*/ 9825 h 19072"/>
                  <a:gd name="connsiteX4" fmla="*/ 3842 w 13474"/>
                  <a:gd name="connsiteY4" fmla="*/ 5105 h 19072"/>
                  <a:gd name="connsiteX5" fmla="*/ 8535 w 13474"/>
                  <a:gd name="connsiteY5" fmla="*/ 0 h 19072"/>
                  <a:gd name="connsiteX6" fmla="*/ 12294 w 13474"/>
                  <a:gd name="connsiteY6" fmla="*/ 1153 h 19072"/>
                  <a:gd name="connsiteX7" fmla="*/ 13475 w 13474"/>
                  <a:gd name="connsiteY7" fmla="*/ 5571 h 19072"/>
                  <a:gd name="connsiteX8" fmla="*/ 10648 w 13474"/>
                  <a:gd name="connsiteY8" fmla="*/ 13255 h 1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74" h="19072">
                    <a:moveTo>
                      <a:pt x="10703" y="13282"/>
                    </a:moveTo>
                    <a:lnTo>
                      <a:pt x="1839" y="19073"/>
                    </a:lnTo>
                    <a:lnTo>
                      <a:pt x="0" y="15121"/>
                    </a:lnTo>
                    <a:lnTo>
                      <a:pt x="3156" y="9825"/>
                    </a:lnTo>
                    <a:lnTo>
                      <a:pt x="3842" y="5105"/>
                    </a:lnTo>
                    <a:lnTo>
                      <a:pt x="8535" y="0"/>
                    </a:lnTo>
                    <a:lnTo>
                      <a:pt x="12294" y="1153"/>
                    </a:lnTo>
                    <a:lnTo>
                      <a:pt x="13475" y="5571"/>
                    </a:lnTo>
                    <a:lnTo>
                      <a:pt x="10648" y="132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9" name="Freeform: Shape 3358">
                <a:extLst>
                  <a:ext uri="{FF2B5EF4-FFF2-40B4-BE49-F238E27FC236}">
                    <a16:creationId xmlns:a16="http://schemas.microsoft.com/office/drawing/2014/main" id="{2D7DC60F-F717-BD83-B59D-6DA55F239916}"/>
                  </a:ext>
                </a:extLst>
              </p:cNvPr>
              <p:cNvSpPr/>
              <p:nvPr/>
            </p:nvSpPr>
            <p:spPr>
              <a:xfrm>
                <a:off x="1198812" y="3677649"/>
                <a:ext cx="678" cy="1537"/>
              </a:xfrm>
              <a:custGeom>
                <a:avLst/>
                <a:gdLst>
                  <a:gd name="connsiteX0" fmla="*/ 2882 w 6503"/>
                  <a:gd name="connsiteY0" fmla="*/ 8919 h 14736"/>
                  <a:gd name="connsiteX1" fmla="*/ 5159 w 6503"/>
                  <a:gd name="connsiteY1" fmla="*/ 10483 h 14736"/>
                  <a:gd name="connsiteX2" fmla="*/ 5159 w 6503"/>
                  <a:gd name="connsiteY2" fmla="*/ 13694 h 14736"/>
                  <a:gd name="connsiteX3" fmla="*/ 3019 w 6503"/>
                  <a:gd name="connsiteY3" fmla="*/ 14737 h 14736"/>
                  <a:gd name="connsiteX4" fmla="*/ 2305 w 6503"/>
                  <a:gd name="connsiteY4" fmla="*/ 10840 h 14736"/>
                  <a:gd name="connsiteX5" fmla="*/ 0 w 6503"/>
                  <a:gd name="connsiteY5" fmla="*/ 11526 h 14736"/>
                  <a:gd name="connsiteX6" fmla="*/ 961 w 6503"/>
                  <a:gd name="connsiteY6" fmla="*/ 6668 h 14736"/>
                  <a:gd name="connsiteX7" fmla="*/ 6038 w 6503"/>
                  <a:gd name="connsiteY7" fmla="*/ 0 h 14736"/>
                  <a:gd name="connsiteX8" fmla="*/ 6504 w 6503"/>
                  <a:gd name="connsiteY8" fmla="*/ 2772 h 14736"/>
                  <a:gd name="connsiteX9" fmla="*/ 2909 w 6503"/>
                  <a:gd name="connsiteY9" fmla="*/ 8891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03" h="14736">
                    <a:moveTo>
                      <a:pt x="2882" y="8919"/>
                    </a:moveTo>
                    <a:lnTo>
                      <a:pt x="5159" y="10483"/>
                    </a:lnTo>
                    <a:lnTo>
                      <a:pt x="5159" y="13694"/>
                    </a:lnTo>
                    <a:lnTo>
                      <a:pt x="3019" y="14737"/>
                    </a:lnTo>
                    <a:lnTo>
                      <a:pt x="2305" y="10840"/>
                    </a:lnTo>
                    <a:lnTo>
                      <a:pt x="0" y="11526"/>
                    </a:lnTo>
                    <a:lnTo>
                      <a:pt x="961" y="6668"/>
                    </a:lnTo>
                    <a:lnTo>
                      <a:pt x="6038" y="0"/>
                    </a:lnTo>
                    <a:lnTo>
                      <a:pt x="6504" y="2772"/>
                    </a:lnTo>
                    <a:lnTo>
                      <a:pt x="2909" y="88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0" name="Freeform: Shape 3359">
                <a:extLst>
                  <a:ext uri="{FF2B5EF4-FFF2-40B4-BE49-F238E27FC236}">
                    <a16:creationId xmlns:a16="http://schemas.microsoft.com/office/drawing/2014/main" id="{9DC9634C-5356-7030-D48B-D01B98572891}"/>
                  </a:ext>
                </a:extLst>
              </p:cNvPr>
              <p:cNvSpPr/>
              <p:nvPr/>
            </p:nvSpPr>
            <p:spPr>
              <a:xfrm>
                <a:off x="1122457" y="3553564"/>
                <a:ext cx="1185" cy="1566"/>
              </a:xfrm>
              <a:custGeom>
                <a:avLst/>
                <a:gdLst>
                  <a:gd name="connsiteX0" fmla="*/ 0 w 11361"/>
                  <a:gd name="connsiteY0" fmla="*/ 9962 h 15011"/>
                  <a:gd name="connsiteX1" fmla="*/ 247 w 11361"/>
                  <a:gd name="connsiteY1" fmla="*/ 2168 h 15011"/>
                  <a:gd name="connsiteX2" fmla="*/ 1399 w 11361"/>
                  <a:gd name="connsiteY2" fmla="*/ 0 h 15011"/>
                  <a:gd name="connsiteX3" fmla="*/ 7821 w 11361"/>
                  <a:gd name="connsiteY3" fmla="*/ 302 h 15011"/>
                  <a:gd name="connsiteX4" fmla="*/ 11361 w 11361"/>
                  <a:gd name="connsiteY4" fmla="*/ 6888 h 15011"/>
                  <a:gd name="connsiteX5" fmla="*/ 5241 w 11361"/>
                  <a:gd name="connsiteY5" fmla="*/ 15011 h 15011"/>
                  <a:gd name="connsiteX6" fmla="*/ 3375 w 11361"/>
                  <a:gd name="connsiteY6" fmla="*/ 14819 h 15011"/>
                  <a:gd name="connsiteX7" fmla="*/ 27 w 11361"/>
                  <a:gd name="connsiteY7" fmla="*/ 9962 h 1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61" h="15011">
                    <a:moveTo>
                      <a:pt x="0" y="9962"/>
                    </a:moveTo>
                    <a:lnTo>
                      <a:pt x="247" y="2168"/>
                    </a:lnTo>
                    <a:lnTo>
                      <a:pt x="1399" y="0"/>
                    </a:lnTo>
                    <a:lnTo>
                      <a:pt x="7821" y="302"/>
                    </a:lnTo>
                    <a:lnTo>
                      <a:pt x="11361" y="6888"/>
                    </a:lnTo>
                    <a:lnTo>
                      <a:pt x="5241" y="15011"/>
                    </a:lnTo>
                    <a:lnTo>
                      <a:pt x="3375" y="14819"/>
                    </a:lnTo>
                    <a:lnTo>
                      <a:pt x="27" y="99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1" name="Freeform: Shape 3360">
                <a:extLst>
                  <a:ext uri="{FF2B5EF4-FFF2-40B4-BE49-F238E27FC236}">
                    <a16:creationId xmlns:a16="http://schemas.microsoft.com/office/drawing/2014/main" id="{8BBEDA72-88FF-89C4-662A-CDEE03202C25}"/>
                  </a:ext>
                </a:extLst>
              </p:cNvPr>
              <p:cNvSpPr/>
              <p:nvPr/>
            </p:nvSpPr>
            <p:spPr>
              <a:xfrm>
                <a:off x="1119792" y="3634132"/>
                <a:ext cx="1211" cy="907"/>
              </a:xfrm>
              <a:custGeom>
                <a:avLst/>
                <a:gdLst>
                  <a:gd name="connsiteX0" fmla="*/ 9523 w 11608"/>
                  <a:gd name="connsiteY0" fmla="*/ 4885 h 8699"/>
                  <a:gd name="connsiteX1" fmla="*/ 659 w 11608"/>
                  <a:gd name="connsiteY1" fmla="*/ 8700 h 8699"/>
                  <a:gd name="connsiteX2" fmla="*/ 0 w 11608"/>
                  <a:gd name="connsiteY2" fmla="*/ 7629 h 8699"/>
                  <a:gd name="connsiteX3" fmla="*/ 1043 w 11608"/>
                  <a:gd name="connsiteY3" fmla="*/ 3897 h 8699"/>
                  <a:gd name="connsiteX4" fmla="*/ 6943 w 11608"/>
                  <a:gd name="connsiteY4" fmla="*/ 0 h 8699"/>
                  <a:gd name="connsiteX5" fmla="*/ 11389 w 11608"/>
                  <a:gd name="connsiteY5" fmla="*/ 796 h 8699"/>
                  <a:gd name="connsiteX6" fmla="*/ 11608 w 11608"/>
                  <a:gd name="connsiteY6" fmla="*/ 2580 h 8699"/>
                  <a:gd name="connsiteX7" fmla="*/ 9523 w 11608"/>
                  <a:gd name="connsiteY7" fmla="*/ 4885 h 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08" h="8699">
                    <a:moveTo>
                      <a:pt x="9523" y="4885"/>
                    </a:moveTo>
                    <a:lnTo>
                      <a:pt x="659" y="8700"/>
                    </a:lnTo>
                    <a:lnTo>
                      <a:pt x="0" y="7629"/>
                    </a:lnTo>
                    <a:lnTo>
                      <a:pt x="1043" y="3897"/>
                    </a:lnTo>
                    <a:lnTo>
                      <a:pt x="6943" y="0"/>
                    </a:lnTo>
                    <a:lnTo>
                      <a:pt x="11389" y="796"/>
                    </a:lnTo>
                    <a:lnTo>
                      <a:pt x="11608" y="2580"/>
                    </a:lnTo>
                    <a:lnTo>
                      <a:pt x="9523" y="48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2" name="Freeform: Shape 3361">
                <a:extLst>
                  <a:ext uri="{FF2B5EF4-FFF2-40B4-BE49-F238E27FC236}">
                    <a16:creationId xmlns:a16="http://schemas.microsoft.com/office/drawing/2014/main" id="{915D8762-0B9C-D9C4-9B4B-0B51306E3A04}"/>
                  </a:ext>
                </a:extLst>
              </p:cNvPr>
              <p:cNvSpPr/>
              <p:nvPr/>
            </p:nvSpPr>
            <p:spPr>
              <a:xfrm>
                <a:off x="1172742" y="3562989"/>
                <a:ext cx="1056" cy="1440"/>
              </a:xfrm>
              <a:custGeom>
                <a:avLst/>
                <a:gdLst>
                  <a:gd name="connsiteX0" fmla="*/ 4611 w 10126"/>
                  <a:gd name="connsiteY0" fmla="*/ 10620 h 13803"/>
                  <a:gd name="connsiteX1" fmla="*/ 0 w 10126"/>
                  <a:gd name="connsiteY1" fmla="*/ 13804 h 13803"/>
                  <a:gd name="connsiteX2" fmla="*/ 823 w 10126"/>
                  <a:gd name="connsiteY2" fmla="*/ 6916 h 13803"/>
                  <a:gd name="connsiteX3" fmla="*/ 4611 w 10126"/>
                  <a:gd name="connsiteY3" fmla="*/ 6312 h 13803"/>
                  <a:gd name="connsiteX4" fmla="*/ 7218 w 10126"/>
                  <a:gd name="connsiteY4" fmla="*/ 0 h 13803"/>
                  <a:gd name="connsiteX5" fmla="*/ 10127 w 10126"/>
                  <a:gd name="connsiteY5" fmla="*/ 3430 h 13803"/>
                  <a:gd name="connsiteX6" fmla="*/ 4611 w 10126"/>
                  <a:gd name="connsiteY6" fmla="*/ 10620 h 1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26" h="13803">
                    <a:moveTo>
                      <a:pt x="4611" y="10620"/>
                    </a:moveTo>
                    <a:lnTo>
                      <a:pt x="0" y="13804"/>
                    </a:lnTo>
                    <a:lnTo>
                      <a:pt x="823" y="6916"/>
                    </a:lnTo>
                    <a:lnTo>
                      <a:pt x="4611" y="6312"/>
                    </a:lnTo>
                    <a:lnTo>
                      <a:pt x="7218" y="0"/>
                    </a:lnTo>
                    <a:lnTo>
                      <a:pt x="10127" y="3430"/>
                    </a:lnTo>
                    <a:lnTo>
                      <a:pt x="4611" y="106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3" name="Freeform: Shape 3362">
                <a:extLst>
                  <a:ext uri="{FF2B5EF4-FFF2-40B4-BE49-F238E27FC236}">
                    <a16:creationId xmlns:a16="http://schemas.microsoft.com/office/drawing/2014/main" id="{328E89D4-AE97-2BF1-0ECB-E634A94DC773}"/>
                  </a:ext>
                </a:extLst>
              </p:cNvPr>
              <p:cNvSpPr/>
              <p:nvPr/>
            </p:nvSpPr>
            <p:spPr>
              <a:xfrm>
                <a:off x="1085438" y="3459190"/>
                <a:ext cx="1746" cy="1474"/>
              </a:xfrm>
              <a:custGeom>
                <a:avLst/>
                <a:gdLst>
                  <a:gd name="connsiteX0" fmla="*/ 13721 w 16740"/>
                  <a:gd name="connsiteY0" fmla="*/ 13914 h 14133"/>
                  <a:gd name="connsiteX1" fmla="*/ 6531 w 16740"/>
                  <a:gd name="connsiteY1" fmla="*/ 14133 h 14133"/>
                  <a:gd name="connsiteX2" fmla="*/ 1262 w 16740"/>
                  <a:gd name="connsiteY2" fmla="*/ 9852 h 14133"/>
                  <a:gd name="connsiteX3" fmla="*/ 0 w 16740"/>
                  <a:gd name="connsiteY3" fmla="*/ 5406 h 14133"/>
                  <a:gd name="connsiteX4" fmla="*/ 3211 w 16740"/>
                  <a:gd name="connsiteY4" fmla="*/ 247 h 14133"/>
                  <a:gd name="connsiteX5" fmla="*/ 10374 w 16740"/>
                  <a:gd name="connsiteY5" fmla="*/ 0 h 14133"/>
                  <a:gd name="connsiteX6" fmla="*/ 13694 w 16740"/>
                  <a:gd name="connsiteY6" fmla="*/ 2854 h 14133"/>
                  <a:gd name="connsiteX7" fmla="*/ 16274 w 16740"/>
                  <a:gd name="connsiteY7" fmla="*/ 5269 h 14133"/>
                  <a:gd name="connsiteX8" fmla="*/ 16740 w 16740"/>
                  <a:gd name="connsiteY8" fmla="*/ 9111 h 14133"/>
                  <a:gd name="connsiteX9" fmla="*/ 13694 w 16740"/>
                  <a:gd name="connsiteY9" fmla="*/ 13941 h 1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40" h="14133">
                    <a:moveTo>
                      <a:pt x="13721" y="13914"/>
                    </a:moveTo>
                    <a:lnTo>
                      <a:pt x="6531" y="14133"/>
                    </a:lnTo>
                    <a:lnTo>
                      <a:pt x="1262" y="9852"/>
                    </a:lnTo>
                    <a:lnTo>
                      <a:pt x="0" y="5406"/>
                    </a:lnTo>
                    <a:lnTo>
                      <a:pt x="3211" y="247"/>
                    </a:lnTo>
                    <a:lnTo>
                      <a:pt x="10374" y="0"/>
                    </a:lnTo>
                    <a:lnTo>
                      <a:pt x="13694" y="2854"/>
                    </a:lnTo>
                    <a:lnTo>
                      <a:pt x="16274" y="5269"/>
                    </a:lnTo>
                    <a:lnTo>
                      <a:pt x="16740" y="9111"/>
                    </a:lnTo>
                    <a:lnTo>
                      <a:pt x="13694" y="139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4" name="Freeform: Shape 3363">
                <a:extLst>
                  <a:ext uri="{FF2B5EF4-FFF2-40B4-BE49-F238E27FC236}">
                    <a16:creationId xmlns:a16="http://schemas.microsoft.com/office/drawing/2014/main" id="{B5C2B6E2-9B11-6BB5-48C3-246FD936B9FB}"/>
                  </a:ext>
                </a:extLst>
              </p:cNvPr>
              <p:cNvSpPr/>
              <p:nvPr/>
            </p:nvSpPr>
            <p:spPr>
              <a:xfrm>
                <a:off x="1109911" y="3569630"/>
                <a:ext cx="1119" cy="1202"/>
              </a:xfrm>
              <a:custGeom>
                <a:avLst/>
                <a:gdLst>
                  <a:gd name="connsiteX0" fmla="*/ 0 w 10730"/>
                  <a:gd name="connsiteY0" fmla="*/ 5681 h 11526"/>
                  <a:gd name="connsiteX1" fmla="*/ 1372 w 10730"/>
                  <a:gd name="connsiteY1" fmla="*/ 0 h 11526"/>
                  <a:gd name="connsiteX2" fmla="*/ 3266 w 10730"/>
                  <a:gd name="connsiteY2" fmla="*/ 329 h 11526"/>
                  <a:gd name="connsiteX3" fmla="*/ 3924 w 10730"/>
                  <a:gd name="connsiteY3" fmla="*/ 4583 h 11526"/>
                  <a:gd name="connsiteX4" fmla="*/ 6614 w 10730"/>
                  <a:gd name="connsiteY4" fmla="*/ 4528 h 11526"/>
                  <a:gd name="connsiteX5" fmla="*/ 7410 w 10730"/>
                  <a:gd name="connsiteY5" fmla="*/ 7053 h 11526"/>
                  <a:gd name="connsiteX6" fmla="*/ 10181 w 10730"/>
                  <a:gd name="connsiteY6" fmla="*/ 5735 h 11526"/>
                  <a:gd name="connsiteX7" fmla="*/ 10730 w 10730"/>
                  <a:gd name="connsiteY7" fmla="*/ 8452 h 11526"/>
                  <a:gd name="connsiteX8" fmla="*/ 8562 w 10730"/>
                  <a:gd name="connsiteY8" fmla="*/ 11526 h 11526"/>
                  <a:gd name="connsiteX9" fmla="*/ 0 w 10730"/>
                  <a:gd name="connsiteY9" fmla="*/ 5708 h 1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30" h="11526">
                    <a:moveTo>
                      <a:pt x="0" y="5681"/>
                    </a:moveTo>
                    <a:lnTo>
                      <a:pt x="1372" y="0"/>
                    </a:lnTo>
                    <a:lnTo>
                      <a:pt x="3266" y="329"/>
                    </a:lnTo>
                    <a:lnTo>
                      <a:pt x="3924" y="4583"/>
                    </a:lnTo>
                    <a:lnTo>
                      <a:pt x="6614" y="4528"/>
                    </a:lnTo>
                    <a:lnTo>
                      <a:pt x="7410" y="7053"/>
                    </a:lnTo>
                    <a:lnTo>
                      <a:pt x="10181" y="5735"/>
                    </a:lnTo>
                    <a:lnTo>
                      <a:pt x="10730" y="8452"/>
                    </a:lnTo>
                    <a:lnTo>
                      <a:pt x="8562" y="11526"/>
                    </a:lnTo>
                    <a:lnTo>
                      <a:pt x="0" y="57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5" name="Freeform: Shape 3364">
                <a:extLst>
                  <a:ext uri="{FF2B5EF4-FFF2-40B4-BE49-F238E27FC236}">
                    <a16:creationId xmlns:a16="http://schemas.microsoft.com/office/drawing/2014/main" id="{6262D8F1-A510-B664-2218-EF6314C718FC}"/>
                  </a:ext>
                </a:extLst>
              </p:cNvPr>
              <p:cNvSpPr/>
              <p:nvPr/>
            </p:nvSpPr>
            <p:spPr>
              <a:xfrm>
                <a:off x="1120012" y="3630832"/>
                <a:ext cx="770" cy="1251"/>
              </a:xfrm>
              <a:custGeom>
                <a:avLst/>
                <a:gdLst>
                  <a:gd name="connsiteX0" fmla="*/ 4638 w 7382"/>
                  <a:gd name="connsiteY0" fmla="*/ 8508 h 11992"/>
                  <a:gd name="connsiteX1" fmla="*/ 1976 w 7382"/>
                  <a:gd name="connsiteY1" fmla="*/ 11993 h 11992"/>
                  <a:gd name="connsiteX2" fmla="*/ 0 w 7382"/>
                  <a:gd name="connsiteY2" fmla="*/ 9934 h 11992"/>
                  <a:gd name="connsiteX3" fmla="*/ 1482 w 7382"/>
                  <a:gd name="connsiteY3" fmla="*/ 3979 h 11992"/>
                  <a:gd name="connsiteX4" fmla="*/ 3211 w 7382"/>
                  <a:gd name="connsiteY4" fmla="*/ 659 h 11992"/>
                  <a:gd name="connsiteX5" fmla="*/ 5242 w 7382"/>
                  <a:gd name="connsiteY5" fmla="*/ 0 h 11992"/>
                  <a:gd name="connsiteX6" fmla="*/ 6504 w 7382"/>
                  <a:gd name="connsiteY6" fmla="*/ 2580 h 11992"/>
                  <a:gd name="connsiteX7" fmla="*/ 7382 w 7382"/>
                  <a:gd name="connsiteY7" fmla="*/ 8205 h 11992"/>
                  <a:gd name="connsiteX8" fmla="*/ 4638 w 7382"/>
                  <a:gd name="connsiteY8" fmla="*/ 8535 h 1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82" h="11992">
                    <a:moveTo>
                      <a:pt x="4638" y="8508"/>
                    </a:moveTo>
                    <a:lnTo>
                      <a:pt x="1976" y="11993"/>
                    </a:lnTo>
                    <a:lnTo>
                      <a:pt x="0" y="9934"/>
                    </a:lnTo>
                    <a:lnTo>
                      <a:pt x="1482" y="3979"/>
                    </a:lnTo>
                    <a:lnTo>
                      <a:pt x="3211" y="659"/>
                    </a:lnTo>
                    <a:lnTo>
                      <a:pt x="5242" y="0"/>
                    </a:lnTo>
                    <a:lnTo>
                      <a:pt x="6504" y="2580"/>
                    </a:lnTo>
                    <a:lnTo>
                      <a:pt x="7382" y="8205"/>
                    </a:lnTo>
                    <a:lnTo>
                      <a:pt x="4638" y="85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6" name="Freeform: Shape 3365">
                <a:extLst>
                  <a:ext uri="{FF2B5EF4-FFF2-40B4-BE49-F238E27FC236}">
                    <a16:creationId xmlns:a16="http://schemas.microsoft.com/office/drawing/2014/main" id="{83355160-53AF-1688-C6DC-392AFDD03438}"/>
                  </a:ext>
                </a:extLst>
              </p:cNvPr>
              <p:cNvSpPr/>
              <p:nvPr/>
            </p:nvSpPr>
            <p:spPr>
              <a:xfrm>
                <a:off x="986845" y="3671927"/>
                <a:ext cx="887" cy="902"/>
              </a:xfrm>
              <a:custGeom>
                <a:avLst/>
                <a:gdLst>
                  <a:gd name="connsiteX0" fmla="*/ 0 w 8507"/>
                  <a:gd name="connsiteY0" fmla="*/ 1838 h 8644"/>
                  <a:gd name="connsiteX1" fmla="*/ 0 w 8507"/>
                  <a:gd name="connsiteY1" fmla="*/ 0 h 8644"/>
                  <a:gd name="connsiteX2" fmla="*/ 4144 w 8507"/>
                  <a:gd name="connsiteY2" fmla="*/ 2909 h 8644"/>
                  <a:gd name="connsiteX3" fmla="*/ 4199 w 8507"/>
                  <a:gd name="connsiteY3" fmla="*/ 5818 h 8644"/>
                  <a:gd name="connsiteX4" fmla="*/ 6037 w 8507"/>
                  <a:gd name="connsiteY4" fmla="*/ 4116 h 8644"/>
                  <a:gd name="connsiteX5" fmla="*/ 8507 w 8507"/>
                  <a:gd name="connsiteY5" fmla="*/ 5351 h 8644"/>
                  <a:gd name="connsiteX6" fmla="*/ 8343 w 8507"/>
                  <a:gd name="connsiteY6" fmla="*/ 6806 h 8644"/>
                  <a:gd name="connsiteX7" fmla="*/ 5461 w 8507"/>
                  <a:gd name="connsiteY7" fmla="*/ 8645 h 8644"/>
                  <a:gd name="connsiteX8" fmla="*/ 4528 w 8507"/>
                  <a:gd name="connsiteY8" fmla="*/ 6998 h 8644"/>
                  <a:gd name="connsiteX9" fmla="*/ 659 w 8507"/>
                  <a:gd name="connsiteY9" fmla="*/ 3869 h 8644"/>
                  <a:gd name="connsiteX10" fmla="*/ 27 w 8507"/>
                  <a:gd name="connsiteY10" fmla="*/ 1838 h 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7" h="8644">
                    <a:moveTo>
                      <a:pt x="0" y="1838"/>
                    </a:moveTo>
                    <a:lnTo>
                      <a:pt x="0" y="0"/>
                    </a:lnTo>
                    <a:lnTo>
                      <a:pt x="4144" y="2909"/>
                    </a:lnTo>
                    <a:lnTo>
                      <a:pt x="4199" y="5818"/>
                    </a:lnTo>
                    <a:lnTo>
                      <a:pt x="6037" y="4116"/>
                    </a:lnTo>
                    <a:lnTo>
                      <a:pt x="8507" y="5351"/>
                    </a:lnTo>
                    <a:lnTo>
                      <a:pt x="8343" y="6806"/>
                    </a:lnTo>
                    <a:lnTo>
                      <a:pt x="5461" y="8645"/>
                    </a:lnTo>
                    <a:lnTo>
                      <a:pt x="4528" y="6998"/>
                    </a:lnTo>
                    <a:lnTo>
                      <a:pt x="659" y="3869"/>
                    </a:lnTo>
                    <a:lnTo>
                      <a:pt x="27"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7" name="Freeform: Shape 3366">
                <a:extLst>
                  <a:ext uri="{FF2B5EF4-FFF2-40B4-BE49-F238E27FC236}">
                    <a16:creationId xmlns:a16="http://schemas.microsoft.com/office/drawing/2014/main" id="{3B779E13-7F23-5968-A0D2-08577E8C99AA}"/>
                  </a:ext>
                </a:extLst>
              </p:cNvPr>
              <p:cNvSpPr/>
              <p:nvPr/>
            </p:nvSpPr>
            <p:spPr>
              <a:xfrm>
                <a:off x="1121046" y="3656731"/>
                <a:ext cx="1068" cy="776"/>
              </a:xfrm>
              <a:custGeom>
                <a:avLst/>
                <a:gdLst>
                  <a:gd name="connsiteX0" fmla="*/ 8645 w 10236"/>
                  <a:gd name="connsiteY0" fmla="*/ 5955 h 7437"/>
                  <a:gd name="connsiteX1" fmla="*/ 714 w 10236"/>
                  <a:gd name="connsiteY1" fmla="*/ 7437 h 7437"/>
                  <a:gd name="connsiteX2" fmla="*/ 0 w 10236"/>
                  <a:gd name="connsiteY2" fmla="*/ 5159 h 7437"/>
                  <a:gd name="connsiteX3" fmla="*/ 714 w 10236"/>
                  <a:gd name="connsiteY3" fmla="*/ 2744 h 7437"/>
                  <a:gd name="connsiteX4" fmla="*/ 10236 w 10236"/>
                  <a:gd name="connsiteY4" fmla="*/ 0 h 7437"/>
                  <a:gd name="connsiteX5" fmla="*/ 8617 w 10236"/>
                  <a:gd name="connsiteY5" fmla="*/ 5955 h 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36" h="7437">
                    <a:moveTo>
                      <a:pt x="8645" y="5955"/>
                    </a:moveTo>
                    <a:lnTo>
                      <a:pt x="714" y="7437"/>
                    </a:lnTo>
                    <a:lnTo>
                      <a:pt x="0" y="5159"/>
                    </a:lnTo>
                    <a:lnTo>
                      <a:pt x="714" y="2744"/>
                    </a:lnTo>
                    <a:lnTo>
                      <a:pt x="10236" y="0"/>
                    </a:lnTo>
                    <a:lnTo>
                      <a:pt x="8617" y="59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8" name="Freeform: Shape 3367">
                <a:extLst>
                  <a:ext uri="{FF2B5EF4-FFF2-40B4-BE49-F238E27FC236}">
                    <a16:creationId xmlns:a16="http://schemas.microsoft.com/office/drawing/2014/main" id="{B819E026-81CE-110F-673B-87ECE8D9FE9A}"/>
                  </a:ext>
                </a:extLst>
              </p:cNvPr>
              <p:cNvSpPr/>
              <p:nvPr/>
            </p:nvSpPr>
            <p:spPr>
              <a:xfrm>
                <a:off x="1173687" y="3574330"/>
                <a:ext cx="1010" cy="1225"/>
              </a:xfrm>
              <a:custGeom>
                <a:avLst/>
                <a:gdLst>
                  <a:gd name="connsiteX0" fmla="*/ 0 w 9687"/>
                  <a:gd name="connsiteY0" fmla="*/ 10950 h 11745"/>
                  <a:gd name="connsiteX1" fmla="*/ 1701 w 9687"/>
                  <a:gd name="connsiteY1" fmla="*/ 55 h 11745"/>
                  <a:gd name="connsiteX2" fmla="*/ 6806 w 9687"/>
                  <a:gd name="connsiteY2" fmla="*/ 0 h 11745"/>
                  <a:gd name="connsiteX3" fmla="*/ 9303 w 9687"/>
                  <a:gd name="connsiteY3" fmla="*/ 1949 h 11745"/>
                  <a:gd name="connsiteX4" fmla="*/ 9687 w 9687"/>
                  <a:gd name="connsiteY4" fmla="*/ 4555 h 11745"/>
                  <a:gd name="connsiteX5" fmla="*/ 7958 w 9687"/>
                  <a:gd name="connsiteY5" fmla="*/ 8151 h 11745"/>
                  <a:gd name="connsiteX6" fmla="*/ 2305 w 9687"/>
                  <a:gd name="connsiteY6" fmla="*/ 5955 h 11745"/>
                  <a:gd name="connsiteX7" fmla="*/ 1756 w 9687"/>
                  <a:gd name="connsiteY7" fmla="*/ 11746 h 11745"/>
                  <a:gd name="connsiteX8" fmla="*/ 0 w 9687"/>
                  <a:gd name="connsiteY8" fmla="*/ 10950 h 1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87" h="11745">
                    <a:moveTo>
                      <a:pt x="0" y="10950"/>
                    </a:moveTo>
                    <a:lnTo>
                      <a:pt x="1701" y="55"/>
                    </a:lnTo>
                    <a:lnTo>
                      <a:pt x="6806" y="0"/>
                    </a:lnTo>
                    <a:lnTo>
                      <a:pt x="9303" y="1949"/>
                    </a:lnTo>
                    <a:lnTo>
                      <a:pt x="9687" y="4555"/>
                    </a:lnTo>
                    <a:lnTo>
                      <a:pt x="7958" y="8151"/>
                    </a:lnTo>
                    <a:lnTo>
                      <a:pt x="2305" y="5955"/>
                    </a:lnTo>
                    <a:lnTo>
                      <a:pt x="1756" y="11746"/>
                    </a:lnTo>
                    <a:lnTo>
                      <a:pt x="0" y="109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9" name="Freeform: Shape 3368">
                <a:extLst>
                  <a:ext uri="{FF2B5EF4-FFF2-40B4-BE49-F238E27FC236}">
                    <a16:creationId xmlns:a16="http://schemas.microsoft.com/office/drawing/2014/main" id="{0DCACB32-1613-67F0-1643-5F7B777ECF45}"/>
                  </a:ext>
                </a:extLst>
              </p:cNvPr>
              <p:cNvSpPr/>
              <p:nvPr/>
            </p:nvSpPr>
            <p:spPr>
              <a:xfrm>
                <a:off x="1121180" y="3633288"/>
                <a:ext cx="590" cy="1365"/>
              </a:xfrm>
              <a:custGeom>
                <a:avLst/>
                <a:gdLst>
                  <a:gd name="connsiteX0" fmla="*/ 2744 w 5653"/>
                  <a:gd name="connsiteY0" fmla="*/ 9221 h 13090"/>
                  <a:gd name="connsiteX1" fmla="*/ 960 w 5653"/>
                  <a:gd name="connsiteY1" fmla="*/ 13090 h 13090"/>
                  <a:gd name="connsiteX2" fmla="*/ 0 w 5653"/>
                  <a:gd name="connsiteY2" fmla="*/ 11938 h 13090"/>
                  <a:gd name="connsiteX3" fmla="*/ 1701 w 5653"/>
                  <a:gd name="connsiteY3" fmla="*/ 5434 h 13090"/>
                  <a:gd name="connsiteX4" fmla="*/ 3375 w 5653"/>
                  <a:gd name="connsiteY4" fmla="*/ 1893 h 13090"/>
                  <a:gd name="connsiteX5" fmla="*/ 5653 w 5653"/>
                  <a:gd name="connsiteY5" fmla="*/ 0 h 13090"/>
                  <a:gd name="connsiteX6" fmla="*/ 5653 w 5653"/>
                  <a:gd name="connsiteY6" fmla="*/ 5379 h 13090"/>
                  <a:gd name="connsiteX7" fmla="*/ 3183 w 5653"/>
                  <a:gd name="connsiteY7" fmla="*/ 5845 h 13090"/>
                  <a:gd name="connsiteX8" fmla="*/ 2744 w 5653"/>
                  <a:gd name="connsiteY8" fmla="*/ 9248 h 1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53" h="13090">
                    <a:moveTo>
                      <a:pt x="2744" y="9221"/>
                    </a:moveTo>
                    <a:lnTo>
                      <a:pt x="960" y="13090"/>
                    </a:lnTo>
                    <a:lnTo>
                      <a:pt x="0" y="11938"/>
                    </a:lnTo>
                    <a:lnTo>
                      <a:pt x="1701" y="5434"/>
                    </a:lnTo>
                    <a:lnTo>
                      <a:pt x="3375" y="1893"/>
                    </a:lnTo>
                    <a:lnTo>
                      <a:pt x="5653" y="0"/>
                    </a:lnTo>
                    <a:lnTo>
                      <a:pt x="5653" y="5379"/>
                    </a:lnTo>
                    <a:cubicBezTo>
                      <a:pt x="5653" y="5379"/>
                      <a:pt x="3183" y="5845"/>
                      <a:pt x="3183" y="5845"/>
                    </a:cubicBezTo>
                    <a:lnTo>
                      <a:pt x="2744" y="92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0" name="Freeform: Shape 3369">
                <a:extLst>
                  <a:ext uri="{FF2B5EF4-FFF2-40B4-BE49-F238E27FC236}">
                    <a16:creationId xmlns:a16="http://schemas.microsoft.com/office/drawing/2014/main" id="{035C17A2-E755-789C-BC35-256176201892}"/>
                  </a:ext>
                </a:extLst>
              </p:cNvPr>
              <p:cNvSpPr/>
              <p:nvPr/>
            </p:nvSpPr>
            <p:spPr>
              <a:xfrm>
                <a:off x="1075137" y="3444168"/>
                <a:ext cx="1022" cy="2041"/>
              </a:xfrm>
              <a:custGeom>
                <a:avLst/>
                <a:gdLst>
                  <a:gd name="connsiteX0" fmla="*/ 0 w 9797"/>
                  <a:gd name="connsiteY0" fmla="*/ 5873 h 19566"/>
                  <a:gd name="connsiteX1" fmla="*/ 2552 w 9797"/>
                  <a:gd name="connsiteY1" fmla="*/ 0 h 19566"/>
                  <a:gd name="connsiteX2" fmla="*/ 9797 w 9797"/>
                  <a:gd name="connsiteY2" fmla="*/ 12102 h 19566"/>
                  <a:gd name="connsiteX3" fmla="*/ 8370 w 9797"/>
                  <a:gd name="connsiteY3" fmla="*/ 19567 h 19566"/>
                  <a:gd name="connsiteX4" fmla="*/ 2827 w 9797"/>
                  <a:gd name="connsiteY4" fmla="*/ 15725 h 19566"/>
                  <a:gd name="connsiteX5" fmla="*/ 0 w 9797"/>
                  <a:gd name="connsiteY5" fmla="*/ 5873 h 1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97" h="19566">
                    <a:moveTo>
                      <a:pt x="0" y="5873"/>
                    </a:moveTo>
                    <a:lnTo>
                      <a:pt x="2552" y="0"/>
                    </a:lnTo>
                    <a:lnTo>
                      <a:pt x="9797" y="12102"/>
                    </a:lnTo>
                    <a:lnTo>
                      <a:pt x="8370" y="19567"/>
                    </a:lnTo>
                    <a:lnTo>
                      <a:pt x="2827" y="15725"/>
                    </a:lnTo>
                    <a:lnTo>
                      <a:pt x="0" y="58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1" name="Freeform: Shape 3370">
                <a:extLst>
                  <a:ext uri="{FF2B5EF4-FFF2-40B4-BE49-F238E27FC236}">
                    <a16:creationId xmlns:a16="http://schemas.microsoft.com/office/drawing/2014/main" id="{02EE4D4A-35BE-BC46-0583-51E369CF0C1C}"/>
                  </a:ext>
                </a:extLst>
              </p:cNvPr>
              <p:cNvSpPr/>
              <p:nvPr/>
            </p:nvSpPr>
            <p:spPr>
              <a:xfrm>
                <a:off x="1126207" y="3586578"/>
                <a:ext cx="1279" cy="721"/>
              </a:xfrm>
              <a:custGeom>
                <a:avLst/>
                <a:gdLst>
                  <a:gd name="connsiteX0" fmla="*/ 8562 w 12266"/>
                  <a:gd name="connsiteY0" fmla="*/ 6916 h 6915"/>
                  <a:gd name="connsiteX1" fmla="*/ 6120 w 12266"/>
                  <a:gd name="connsiteY1" fmla="*/ 6916 h 6915"/>
                  <a:gd name="connsiteX2" fmla="*/ 1125 w 12266"/>
                  <a:gd name="connsiteY2" fmla="*/ 5187 h 6915"/>
                  <a:gd name="connsiteX3" fmla="*/ 0 w 12266"/>
                  <a:gd name="connsiteY3" fmla="*/ 1043 h 6915"/>
                  <a:gd name="connsiteX4" fmla="*/ 12267 w 12266"/>
                  <a:gd name="connsiteY4" fmla="*/ 0 h 6915"/>
                  <a:gd name="connsiteX5" fmla="*/ 10648 w 12266"/>
                  <a:gd name="connsiteY5" fmla="*/ 5818 h 6915"/>
                  <a:gd name="connsiteX6" fmla="*/ 8562 w 12266"/>
                  <a:gd name="connsiteY6" fmla="*/ 6888 h 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6" h="6915">
                    <a:moveTo>
                      <a:pt x="8562" y="6916"/>
                    </a:moveTo>
                    <a:lnTo>
                      <a:pt x="6120" y="6916"/>
                    </a:lnTo>
                    <a:lnTo>
                      <a:pt x="1125" y="5187"/>
                    </a:lnTo>
                    <a:lnTo>
                      <a:pt x="0" y="1043"/>
                    </a:lnTo>
                    <a:lnTo>
                      <a:pt x="12267" y="0"/>
                    </a:lnTo>
                    <a:lnTo>
                      <a:pt x="10648" y="5818"/>
                    </a:lnTo>
                    <a:lnTo>
                      <a:pt x="8562" y="68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2" name="Freeform: Shape 3371">
                <a:extLst>
                  <a:ext uri="{FF2B5EF4-FFF2-40B4-BE49-F238E27FC236}">
                    <a16:creationId xmlns:a16="http://schemas.microsoft.com/office/drawing/2014/main" id="{6430C489-AD67-3A2A-C82E-7D1CC9968BBD}"/>
                  </a:ext>
                </a:extLst>
              </p:cNvPr>
              <p:cNvSpPr/>
              <p:nvPr/>
            </p:nvSpPr>
            <p:spPr>
              <a:xfrm>
                <a:off x="963577" y="3643524"/>
                <a:ext cx="721" cy="925"/>
              </a:xfrm>
              <a:custGeom>
                <a:avLst/>
                <a:gdLst>
                  <a:gd name="connsiteX0" fmla="*/ 0 w 6915"/>
                  <a:gd name="connsiteY0" fmla="*/ 7656 h 8864"/>
                  <a:gd name="connsiteX1" fmla="*/ 1372 w 6915"/>
                  <a:gd name="connsiteY1" fmla="*/ 0 h 8864"/>
                  <a:gd name="connsiteX2" fmla="*/ 2689 w 6915"/>
                  <a:gd name="connsiteY2" fmla="*/ 2140 h 8864"/>
                  <a:gd name="connsiteX3" fmla="*/ 6367 w 6915"/>
                  <a:gd name="connsiteY3" fmla="*/ 329 h 8864"/>
                  <a:gd name="connsiteX4" fmla="*/ 6916 w 6915"/>
                  <a:gd name="connsiteY4" fmla="*/ 3211 h 8864"/>
                  <a:gd name="connsiteX5" fmla="*/ 3705 w 6915"/>
                  <a:gd name="connsiteY5" fmla="*/ 8864 h 8864"/>
                  <a:gd name="connsiteX6" fmla="*/ 2717 w 6915"/>
                  <a:gd name="connsiteY6" fmla="*/ 6915 h 8864"/>
                  <a:gd name="connsiteX7" fmla="*/ 0 w 6915"/>
                  <a:gd name="connsiteY7" fmla="*/ 7656 h 8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15" h="8864">
                    <a:moveTo>
                      <a:pt x="0" y="7656"/>
                    </a:moveTo>
                    <a:lnTo>
                      <a:pt x="1372" y="0"/>
                    </a:lnTo>
                    <a:lnTo>
                      <a:pt x="2689" y="2140"/>
                    </a:lnTo>
                    <a:lnTo>
                      <a:pt x="6367" y="329"/>
                    </a:lnTo>
                    <a:lnTo>
                      <a:pt x="6916" y="3211"/>
                    </a:lnTo>
                    <a:lnTo>
                      <a:pt x="3705" y="8864"/>
                    </a:lnTo>
                    <a:lnTo>
                      <a:pt x="2717" y="6915"/>
                    </a:lnTo>
                    <a:lnTo>
                      <a:pt x="0" y="76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3" name="Freeform: Shape 3372">
                <a:extLst>
                  <a:ext uri="{FF2B5EF4-FFF2-40B4-BE49-F238E27FC236}">
                    <a16:creationId xmlns:a16="http://schemas.microsoft.com/office/drawing/2014/main" id="{CC466A4F-A4A2-4D7C-CAF5-C0F8A5D504E0}"/>
                  </a:ext>
                </a:extLst>
              </p:cNvPr>
              <p:cNvSpPr/>
              <p:nvPr/>
            </p:nvSpPr>
            <p:spPr>
              <a:xfrm>
                <a:off x="1159424" y="3552702"/>
                <a:ext cx="896" cy="1148"/>
              </a:xfrm>
              <a:custGeom>
                <a:avLst/>
                <a:gdLst>
                  <a:gd name="connsiteX0" fmla="*/ 0 w 8589"/>
                  <a:gd name="connsiteY0" fmla="*/ 4528 h 11004"/>
                  <a:gd name="connsiteX1" fmla="*/ 1317 w 8589"/>
                  <a:gd name="connsiteY1" fmla="*/ 0 h 11004"/>
                  <a:gd name="connsiteX2" fmla="*/ 8590 w 8589"/>
                  <a:gd name="connsiteY2" fmla="*/ 247 h 11004"/>
                  <a:gd name="connsiteX3" fmla="*/ 8590 w 8589"/>
                  <a:gd name="connsiteY3" fmla="*/ 11005 h 11004"/>
                  <a:gd name="connsiteX4" fmla="*/ 0 w 8589"/>
                  <a:gd name="connsiteY4" fmla="*/ 4528 h 1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9" h="11004">
                    <a:moveTo>
                      <a:pt x="0" y="4528"/>
                    </a:moveTo>
                    <a:lnTo>
                      <a:pt x="1317" y="0"/>
                    </a:lnTo>
                    <a:lnTo>
                      <a:pt x="8590" y="247"/>
                    </a:lnTo>
                    <a:lnTo>
                      <a:pt x="8590" y="11005"/>
                    </a:lnTo>
                    <a:lnTo>
                      <a:pt x="0" y="45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4" name="Freeform: Shape 3373">
                <a:extLst>
                  <a:ext uri="{FF2B5EF4-FFF2-40B4-BE49-F238E27FC236}">
                    <a16:creationId xmlns:a16="http://schemas.microsoft.com/office/drawing/2014/main" id="{5D84F2EA-9027-586A-9596-6527E36B4009}"/>
                  </a:ext>
                </a:extLst>
              </p:cNvPr>
              <p:cNvSpPr/>
              <p:nvPr/>
            </p:nvSpPr>
            <p:spPr>
              <a:xfrm>
                <a:off x="1166505" y="3608643"/>
                <a:ext cx="844" cy="907"/>
              </a:xfrm>
              <a:custGeom>
                <a:avLst/>
                <a:gdLst>
                  <a:gd name="connsiteX0" fmla="*/ 0 w 8095"/>
                  <a:gd name="connsiteY0" fmla="*/ 5022 h 8699"/>
                  <a:gd name="connsiteX1" fmla="*/ 1647 w 8095"/>
                  <a:gd name="connsiteY1" fmla="*/ 631 h 8699"/>
                  <a:gd name="connsiteX2" fmla="*/ 4226 w 8095"/>
                  <a:gd name="connsiteY2" fmla="*/ 0 h 8699"/>
                  <a:gd name="connsiteX3" fmla="*/ 8096 w 8095"/>
                  <a:gd name="connsiteY3" fmla="*/ 3156 h 8699"/>
                  <a:gd name="connsiteX4" fmla="*/ 6367 w 8095"/>
                  <a:gd name="connsiteY4" fmla="*/ 6669 h 8699"/>
                  <a:gd name="connsiteX5" fmla="*/ 4171 w 8095"/>
                  <a:gd name="connsiteY5" fmla="*/ 5269 h 8699"/>
                  <a:gd name="connsiteX6" fmla="*/ 3924 w 8095"/>
                  <a:gd name="connsiteY6" fmla="*/ 8343 h 8699"/>
                  <a:gd name="connsiteX7" fmla="*/ 1235 w 8095"/>
                  <a:gd name="connsiteY7" fmla="*/ 8699 h 8699"/>
                  <a:gd name="connsiteX8" fmla="*/ 0 w 8095"/>
                  <a:gd name="connsiteY8" fmla="*/ 4995 h 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5" h="8699">
                    <a:moveTo>
                      <a:pt x="0" y="5022"/>
                    </a:moveTo>
                    <a:lnTo>
                      <a:pt x="1647" y="631"/>
                    </a:lnTo>
                    <a:lnTo>
                      <a:pt x="4226" y="0"/>
                    </a:lnTo>
                    <a:lnTo>
                      <a:pt x="8096" y="3156"/>
                    </a:lnTo>
                    <a:lnTo>
                      <a:pt x="6367" y="6669"/>
                    </a:lnTo>
                    <a:lnTo>
                      <a:pt x="4171" y="5269"/>
                    </a:lnTo>
                    <a:lnTo>
                      <a:pt x="3924" y="8343"/>
                    </a:lnTo>
                    <a:lnTo>
                      <a:pt x="1235" y="8699"/>
                    </a:lnTo>
                    <a:lnTo>
                      <a:pt x="0" y="49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5" name="Freeform: Shape 3374">
                <a:extLst>
                  <a:ext uri="{FF2B5EF4-FFF2-40B4-BE49-F238E27FC236}">
                    <a16:creationId xmlns:a16="http://schemas.microsoft.com/office/drawing/2014/main" id="{5519B2DC-3AA9-0D62-737C-65D4A7252292}"/>
                  </a:ext>
                </a:extLst>
              </p:cNvPr>
              <p:cNvSpPr/>
              <p:nvPr/>
            </p:nvSpPr>
            <p:spPr>
              <a:xfrm>
                <a:off x="1156879" y="3548566"/>
                <a:ext cx="821" cy="1194"/>
              </a:xfrm>
              <a:custGeom>
                <a:avLst/>
                <a:gdLst>
                  <a:gd name="connsiteX0" fmla="*/ 27 w 7876"/>
                  <a:gd name="connsiteY0" fmla="*/ 1701 h 11443"/>
                  <a:gd name="connsiteX1" fmla="*/ 2004 w 7876"/>
                  <a:gd name="connsiteY1" fmla="*/ 0 h 11443"/>
                  <a:gd name="connsiteX2" fmla="*/ 4007 w 7876"/>
                  <a:gd name="connsiteY2" fmla="*/ 4171 h 11443"/>
                  <a:gd name="connsiteX3" fmla="*/ 6504 w 7876"/>
                  <a:gd name="connsiteY3" fmla="*/ 878 h 11443"/>
                  <a:gd name="connsiteX4" fmla="*/ 7876 w 7876"/>
                  <a:gd name="connsiteY4" fmla="*/ 4116 h 11443"/>
                  <a:gd name="connsiteX5" fmla="*/ 5407 w 7876"/>
                  <a:gd name="connsiteY5" fmla="*/ 11444 h 11443"/>
                  <a:gd name="connsiteX6" fmla="*/ 4226 w 7876"/>
                  <a:gd name="connsiteY6" fmla="*/ 6065 h 11443"/>
                  <a:gd name="connsiteX7" fmla="*/ 1619 w 7876"/>
                  <a:gd name="connsiteY7" fmla="*/ 7821 h 11443"/>
                  <a:gd name="connsiteX8" fmla="*/ 0 w 7876"/>
                  <a:gd name="connsiteY8" fmla="*/ 1701 h 1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76" h="11443">
                    <a:moveTo>
                      <a:pt x="27" y="1701"/>
                    </a:moveTo>
                    <a:lnTo>
                      <a:pt x="2004" y="0"/>
                    </a:lnTo>
                    <a:lnTo>
                      <a:pt x="4007" y="4171"/>
                    </a:lnTo>
                    <a:lnTo>
                      <a:pt x="6504" y="878"/>
                    </a:lnTo>
                    <a:lnTo>
                      <a:pt x="7876" y="4116"/>
                    </a:lnTo>
                    <a:lnTo>
                      <a:pt x="5407" y="11444"/>
                    </a:lnTo>
                    <a:lnTo>
                      <a:pt x="4226" y="6065"/>
                    </a:lnTo>
                    <a:lnTo>
                      <a:pt x="1619" y="7821"/>
                    </a:lnTo>
                    <a:lnTo>
                      <a:pt x="0"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6" name="Freeform: Shape 3375">
                <a:extLst>
                  <a:ext uri="{FF2B5EF4-FFF2-40B4-BE49-F238E27FC236}">
                    <a16:creationId xmlns:a16="http://schemas.microsoft.com/office/drawing/2014/main" id="{CE9648C0-4B1B-F11F-72E7-DB1C361ECA10}"/>
                  </a:ext>
                </a:extLst>
              </p:cNvPr>
              <p:cNvSpPr/>
              <p:nvPr/>
            </p:nvSpPr>
            <p:spPr>
              <a:xfrm>
                <a:off x="1034008" y="3503685"/>
                <a:ext cx="1383" cy="896"/>
              </a:xfrm>
              <a:custGeom>
                <a:avLst/>
                <a:gdLst>
                  <a:gd name="connsiteX0" fmla="*/ 0 w 13255"/>
                  <a:gd name="connsiteY0" fmla="*/ 3266 h 8589"/>
                  <a:gd name="connsiteX1" fmla="*/ 439 w 13255"/>
                  <a:gd name="connsiteY1" fmla="*/ 1482 h 8589"/>
                  <a:gd name="connsiteX2" fmla="*/ 5763 w 13255"/>
                  <a:gd name="connsiteY2" fmla="*/ 0 h 8589"/>
                  <a:gd name="connsiteX3" fmla="*/ 12789 w 13255"/>
                  <a:gd name="connsiteY3" fmla="*/ 906 h 8589"/>
                  <a:gd name="connsiteX4" fmla="*/ 13255 w 13255"/>
                  <a:gd name="connsiteY4" fmla="*/ 4638 h 8589"/>
                  <a:gd name="connsiteX5" fmla="*/ 5516 w 13255"/>
                  <a:gd name="connsiteY5" fmla="*/ 8590 h 8589"/>
                  <a:gd name="connsiteX6" fmla="*/ 1400 w 13255"/>
                  <a:gd name="connsiteY6" fmla="*/ 7794 h 8589"/>
                  <a:gd name="connsiteX7" fmla="*/ 0 w 13255"/>
                  <a:gd name="connsiteY7" fmla="*/ 3266 h 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55" h="8589">
                    <a:moveTo>
                      <a:pt x="0" y="3266"/>
                    </a:moveTo>
                    <a:lnTo>
                      <a:pt x="439" y="1482"/>
                    </a:lnTo>
                    <a:lnTo>
                      <a:pt x="5763" y="0"/>
                    </a:lnTo>
                    <a:lnTo>
                      <a:pt x="12789" y="906"/>
                    </a:lnTo>
                    <a:lnTo>
                      <a:pt x="13255" y="4638"/>
                    </a:lnTo>
                    <a:lnTo>
                      <a:pt x="5516" y="8590"/>
                    </a:lnTo>
                    <a:lnTo>
                      <a:pt x="1400" y="7794"/>
                    </a:lnTo>
                    <a:lnTo>
                      <a:pt x="0"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7" name="Freeform: Shape 3376">
                <a:extLst>
                  <a:ext uri="{FF2B5EF4-FFF2-40B4-BE49-F238E27FC236}">
                    <a16:creationId xmlns:a16="http://schemas.microsoft.com/office/drawing/2014/main" id="{AFB4F201-12BA-DFE7-2CEC-B90ED4A0B1B0}"/>
                  </a:ext>
                </a:extLst>
              </p:cNvPr>
              <p:cNvSpPr/>
              <p:nvPr/>
            </p:nvSpPr>
            <p:spPr>
              <a:xfrm>
                <a:off x="1124083" y="3607934"/>
                <a:ext cx="1048" cy="653"/>
              </a:xfrm>
              <a:custGeom>
                <a:avLst/>
                <a:gdLst>
                  <a:gd name="connsiteX0" fmla="*/ 10044 w 10044"/>
                  <a:gd name="connsiteY0" fmla="*/ 3183 h 6256"/>
                  <a:gd name="connsiteX1" fmla="*/ 1564 w 10044"/>
                  <a:gd name="connsiteY1" fmla="*/ 6257 h 6256"/>
                  <a:gd name="connsiteX2" fmla="*/ 0 w 10044"/>
                  <a:gd name="connsiteY2" fmla="*/ 4665 h 6256"/>
                  <a:gd name="connsiteX3" fmla="*/ 2388 w 10044"/>
                  <a:gd name="connsiteY3" fmla="*/ 2195 h 6256"/>
                  <a:gd name="connsiteX4" fmla="*/ 10044 w 10044"/>
                  <a:gd name="connsiteY4" fmla="*/ 0 h 6256"/>
                  <a:gd name="connsiteX5" fmla="*/ 10044 w 10044"/>
                  <a:gd name="connsiteY5" fmla="*/ 3156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4" h="6256">
                    <a:moveTo>
                      <a:pt x="10044" y="3183"/>
                    </a:moveTo>
                    <a:lnTo>
                      <a:pt x="1564" y="6257"/>
                    </a:lnTo>
                    <a:lnTo>
                      <a:pt x="0" y="4665"/>
                    </a:lnTo>
                    <a:lnTo>
                      <a:pt x="2388" y="2195"/>
                    </a:lnTo>
                    <a:lnTo>
                      <a:pt x="10044" y="0"/>
                    </a:lnTo>
                    <a:lnTo>
                      <a:pt x="10044"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8" name="Freeform: Shape 3377">
                <a:extLst>
                  <a:ext uri="{FF2B5EF4-FFF2-40B4-BE49-F238E27FC236}">
                    <a16:creationId xmlns:a16="http://schemas.microsoft.com/office/drawing/2014/main" id="{90911F2B-79D0-D9E8-18D7-97306B94FD05}"/>
                  </a:ext>
                </a:extLst>
              </p:cNvPr>
              <p:cNvSpPr/>
              <p:nvPr/>
            </p:nvSpPr>
            <p:spPr>
              <a:xfrm>
                <a:off x="1067182" y="3467393"/>
                <a:ext cx="489" cy="2825"/>
              </a:xfrm>
              <a:custGeom>
                <a:avLst/>
                <a:gdLst>
                  <a:gd name="connsiteX0" fmla="*/ 2442 w 4692"/>
                  <a:gd name="connsiteY0" fmla="*/ 12267 h 27086"/>
                  <a:gd name="connsiteX1" fmla="*/ 4693 w 4692"/>
                  <a:gd name="connsiteY1" fmla="*/ 22668 h 27086"/>
                  <a:gd name="connsiteX2" fmla="*/ 2223 w 4692"/>
                  <a:gd name="connsiteY2" fmla="*/ 27086 h 27086"/>
                  <a:gd name="connsiteX3" fmla="*/ 0 w 4692"/>
                  <a:gd name="connsiteY3" fmla="*/ 12432 h 27086"/>
                  <a:gd name="connsiteX4" fmla="*/ 768 w 4692"/>
                  <a:gd name="connsiteY4" fmla="*/ 3430 h 27086"/>
                  <a:gd name="connsiteX5" fmla="*/ 3485 w 4692"/>
                  <a:gd name="connsiteY5" fmla="*/ 0 h 27086"/>
                  <a:gd name="connsiteX6" fmla="*/ 2442 w 4692"/>
                  <a:gd name="connsiteY6" fmla="*/ 12267 h 2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92" h="27086">
                    <a:moveTo>
                      <a:pt x="2442" y="12267"/>
                    </a:moveTo>
                    <a:lnTo>
                      <a:pt x="4693" y="22668"/>
                    </a:lnTo>
                    <a:lnTo>
                      <a:pt x="2223" y="27086"/>
                    </a:lnTo>
                    <a:lnTo>
                      <a:pt x="0" y="12432"/>
                    </a:lnTo>
                    <a:lnTo>
                      <a:pt x="768" y="3430"/>
                    </a:lnTo>
                    <a:lnTo>
                      <a:pt x="3485" y="0"/>
                    </a:lnTo>
                    <a:lnTo>
                      <a:pt x="2442" y="122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9" name="Freeform: Shape 3378">
                <a:extLst>
                  <a:ext uri="{FF2B5EF4-FFF2-40B4-BE49-F238E27FC236}">
                    <a16:creationId xmlns:a16="http://schemas.microsoft.com/office/drawing/2014/main" id="{D26B1385-261B-1ACA-09DA-D61C7702A42A}"/>
                  </a:ext>
                </a:extLst>
              </p:cNvPr>
              <p:cNvSpPr/>
              <p:nvPr/>
            </p:nvSpPr>
            <p:spPr>
              <a:xfrm>
                <a:off x="1072521" y="3459101"/>
                <a:ext cx="979" cy="1460"/>
              </a:xfrm>
              <a:custGeom>
                <a:avLst/>
                <a:gdLst>
                  <a:gd name="connsiteX0" fmla="*/ 8590 w 9385"/>
                  <a:gd name="connsiteY0" fmla="*/ 12761 h 13995"/>
                  <a:gd name="connsiteX1" fmla="*/ 4748 w 9385"/>
                  <a:gd name="connsiteY1" fmla="*/ 13996 h 13995"/>
                  <a:gd name="connsiteX2" fmla="*/ 0 w 9385"/>
                  <a:gd name="connsiteY2" fmla="*/ 4418 h 13995"/>
                  <a:gd name="connsiteX3" fmla="*/ 1427 w 9385"/>
                  <a:gd name="connsiteY3" fmla="*/ 0 h 13995"/>
                  <a:gd name="connsiteX4" fmla="*/ 9386 w 9385"/>
                  <a:gd name="connsiteY4" fmla="*/ 7355 h 13995"/>
                  <a:gd name="connsiteX5" fmla="*/ 8617 w 9385"/>
                  <a:gd name="connsiteY5" fmla="*/ 12761 h 1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85" h="13995">
                    <a:moveTo>
                      <a:pt x="8590" y="12761"/>
                    </a:moveTo>
                    <a:lnTo>
                      <a:pt x="4748" y="13996"/>
                    </a:lnTo>
                    <a:lnTo>
                      <a:pt x="0" y="4418"/>
                    </a:lnTo>
                    <a:lnTo>
                      <a:pt x="1427" y="0"/>
                    </a:lnTo>
                    <a:lnTo>
                      <a:pt x="9386" y="7355"/>
                    </a:lnTo>
                    <a:lnTo>
                      <a:pt x="8617" y="127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0" name="Freeform: Shape 3379">
                <a:extLst>
                  <a:ext uri="{FF2B5EF4-FFF2-40B4-BE49-F238E27FC236}">
                    <a16:creationId xmlns:a16="http://schemas.microsoft.com/office/drawing/2014/main" id="{22DFC880-8AEE-EA8B-B360-133623468CCA}"/>
                  </a:ext>
                </a:extLst>
              </p:cNvPr>
              <p:cNvSpPr/>
              <p:nvPr/>
            </p:nvSpPr>
            <p:spPr>
              <a:xfrm>
                <a:off x="1119683" y="3650016"/>
                <a:ext cx="610" cy="864"/>
              </a:xfrm>
              <a:custGeom>
                <a:avLst/>
                <a:gdLst>
                  <a:gd name="connsiteX0" fmla="*/ 4226 w 5845"/>
                  <a:gd name="connsiteY0" fmla="*/ 3650 h 8287"/>
                  <a:gd name="connsiteX1" fmla="*/ 4857 w 5845"/>
                  <a:gd name="connsiteY1" fmla="*/ 6504 h 8287"/>
                  <a:gd name="connsiteX2" fmla="*/ 2525 w 5845"/>
                  <a:gd name="connsiteY2" fmla="*/ 8288 h 8287"/>
                  <a:gd name="connsiteX3" fmla="*/ 302 w 5845"/>
                  <a:gd name="connsiteY3" fmla="*/ 7053 h 8287"/>
                  <a:gd name="connsiteX4" fmla="*/ 0 w 5845"/>
                  <a:gd name="connsiteY4" fmla="*/ 2278 h 8287"/>
                  <a:gd name="connsiteX5" fmla="*/ 2607 w 5845"/>
                  <a:gd name="connsiteY5" fmla="*/ 0 h 8287"/>
                  <a:gd name="connsiteX6" fmla="*/ 5845 w 5845"/>
                  <a:gd name="connsiteY6" fmla="*/ 1729 h 8287"/>
                  <a:gd name="connsiteX7" fmla="*/ 4199 w 5845"/>
                  <a:gd name="connsiteY7" fmla="*/ 3677 h 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5" h="8287">
                    <a:moveTo>
                      <a:pt x="4226" y="3650"/>
                    </a:moveTo>
                    <a:lnTo>
                      <a:pt x="4857" y="6504"/>
                    </a:lnTo>
                    <a:lnTo>
                      <a:pt x="2525" y="8288"/>
                    </a:lnTo>
                    <a:lnTo>
                      <a:pt x="302" y="7053"/>
                    </a:lnTo>
                    <a:lnTo>
                      <a:pt x="0" y="2278"/>
                    </a:lnTo>
                    <a:lnTo>
                      <a:pt x="2607" y="0"/>
                    </a:lnTo>
                    <a:lnTo>
                      <a:pt x="5845" y="1729"/>
                    </a:lnTo>
                    <a:lnTo>
                      <a:pt x="4199" y="36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1" name="Freeform: Shape 3380">
                <a:extLst>
                  <a:ext uri="{FF2B5EF4-FFF2-40B4-BE49-F238E27FC236}">
                    <a16:creationId xmlns:a16="http://schemas.microsoft.com/office/drawing/2014/main" id="{8F96A297-71CA-0E32-F758-DA69691D656E}"/>
                  </a:ext>
                </a:extLst>
              </p:cNvPr>
              <p:cNvSpPr/>
              <p:nvPr/>
            </p:nvSpPr>
            <p:spPr>
              <a:xfrm>
                <a:off x="1153496" y="3618204"/>
                <a:ext cx="518" cy="1171"/>
              </a:xfrm>
              <a:custGeom>
                <a:avLst/>
                <a:gdLst>
                  <a:gd name="connsiteX0" fmla="*/ 1537 w 4967"/>
                  <a:gd name="connsiteY0" fmla="*/ 0 h 11224"/>
                  <a:gd name="connsiteX1" fmla="*/ 4967 w 4967"/>
                  <a:gd name="connsiteY1" fmla="*/ 1098 h 11224"/>
                  <a:gd name="connsiteX2" fmla="*/ 4501 w 4967"/>
                  <a:gd name="connsiteY2" fmla="*/ 5406 h 11224"/>
                  <a:gd name="connsiteX3" fmla="*/ 2607 w 4967"/>
                  <a:gd name="connsiteY3" fmla="*/ 5406 h 11224"/>
                  <a:gd name="connsiteX4" fmla="*/ 3650 w 4967"/>
                  <a:gd name="connsiteY4" fmla="*/ 8425 h 11224"/>
                  <a:gd name="connsiteX5" fmla="*/ 2442 w 4967"/>
                  <a:gd name="connsiteY5" fmla="*/ 11224 h 11224"/>
                  <a:gd name="connsiteX6" fmla="*/ 0 w 4967"/>
                  <a:gd name="connsiteY6" fmla="*/ 8837 h 11224"/>
                  <a:gd name="connsiteX7" fmla="*/ 1537 w 4967"/>
                  <a:gd name="connsiteY7" fmla="*/ 4830 h 11224"/>
                  <a:gd name="connsiteX8" fmla="*/ 1537 w 4967"/>
                  <a:gd name="connsiteY8" fmla="*/ 27 h 1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67" h="11224">
                    <a:moveTo>
                      <a:pt x="1537" y="0"/>
                    </a:moveTo>
                    <a:lnTo>
                      <a:pt x="4967" y="1098"/>
                    </a:lnTo>
                    <a:lnTo>
                      <a:pt x="4501" y="5406"/>
                    </a:lnTo>
                    <a:lnTo>
                      <a:pt x="2607" y="5406"/>
                    </a:lnTo>
                    <a:cubicBezTo>
                      <a:pt x="2607" y="5406"/>
                      <a:pt x="3650" y="8425"/>
                      <a:pt x="3650" y="8425"/>
                    </a:cubicBezTo>
                    <a:lnTo>
                      <a:pt x="2442" y="11224"/>
                    </a:lnTo>
                    <a:lnTo>
                      <a:pt x="0" y="8837"/>
                    </a:lnTo>
                    <a:lnTo>
                      <a:pt x="1537" y="4830"/>
                    </a:lnTo>
                    <a:lnTo>
                      <a:pt x="1537"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2" name="Freeform: Shape 3381">
                <a:extLst>
                  <a:ext uri="{FF2B5EF4-FFF2-40B4-BE49-F238E27FC236}">
                    <a16:creationId xmlns:a16="http://schemas.microsoft.com/office/drawing/2014/main" id="{01230E48-EBD3-A453-AD49-9616CACA54B3}"/>
                  </a:ext>
                </a:extLst>
              </p:cNvPr>
              <p:cNvSpPr/>
              <p:nvPr/>
            </p:nvSpPr>
            <p:spPr>
              <a:xfrm>
                <a:off x="1137559" y="3595786"/>
                <a:ext cx="965" cy="695"/>
              </a:xfrm>
              <a:custGeom>
                <a:avLst/>
                <a:gdLst>
                  <a:gd name="connsiteX0" fmla="*/ 0 w 9248"/>
                  <a:gd name="connsiteY0" fmla="*/ 2854 h 6668"/>
                  <a:gd name="connsiteX1" fmla="*/ 2552 w 9248"/>
                  <a:gd name="connsiteY1" fmla="*/ 0 h 6668"/>
                  <a:gd name="connsiteX2" fmla="*/ 9139 w 9248"/>
                  <a:gd name="connsiteY2" fmla="*/ 1454 h 6668"/>
                  <a:gd name="connsiteX3" fmla="*/ 9248 w 9248"/>
                  <a:gd name="connsiteY3" fmla="*/ 6669 h 6668"/>
                  <a:gd name="connsiteX4" fmla="*/ 3074 w 9248"/>
                  <a:gd name="connsiteY4" fmla="*/ 5983 h 6668"/>
                  <a:gd name="connsiteX5" fmla="*/ 0 w 9248"/>
                  <a:gd name="connsiteY5" fmla="*/ 2881 h 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8" h="6668">
                    <a:moveTo>
                      <a:pt x="0" y="2854"/>
                    </a:moveTo>
                    <a:lnTo>
                      <a:pt x="2552" y="0"/>
                    </a:lnTo>
                    <a:lnTo>
                      <a:pt x="9139" y="1454"/>
                    </a:lnTo>
                    <a:lnTo>
                      <a:pt x="9248" y="6669"/>
                    </a:lnTo>
                    <a:lnTo>
                      <a:pt x="3074" y="5983"/>
                    </a:lnTo>
                    <a:lnTo>
                      <a:pt x="0" y="28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3" name="Freeform: Shape 3382">
                <a:extLst>
                  <a:ext uri="{FF2B5EF4-FFF2-40B4-BE49-F238E27FC236}">
                    <a16:creationId xmlns:a16="http://schemas.microsoft.com/office/drawing/2014/main" id="{66FF040E-D9C7-E403-6ABA-9405012F5B0B}"/>
                  </a:ext>
                </a:extLst>
              </p:cNvPr>
              <p:cNvSpPr/>
              <p:nvPr/>
            </p:nvSpPr>
            <p:spPr>
              <a:xfrm>
                <a:off x="1163116" y="3601241"/>
                <a:ext cx="850" cy="738"/>
              </a:xfrm>
              <a:custGeom>
                <a:avLst/>
                <a:gdLst>
                  <a:gd name="connsiteX0" fmla="*/ 0 w 8150"/>
                  <a:gd name="connsiteY0" fmla="*/ 4583 h 7080"/>
                  <a:gd name="connsiteX1" fmla="*/ 4116 w 8150"/>
                  <a:gd name="connsiteY1" fmla="*/ 0 h 7080"/>
                  <a:gd name="connsiteX2" fmla="*/ 8041 w 8150"/>
                  <a:gd name="connsiteY2" fmla="*/ 3458 h 7080"/>
                  <a:gd name="connsiteX3" fmla="*/ 8150 w 8150"/>
                  <a:gd name="connsiteY3" fmla="*/ 7080 h 7080"/>
                  <a:gd name="connsiteX4" fmla="*/ 467 w 8150"/>
                  <a:gd name="connsiteY4" fmla="*/ 6504 h 7080"/>
                  <a:gd name="connsiteX5" fmla="*/ 0 w 8150"/>
                  <a:gd name="connsiteY5" fmla="*/ 4583 h 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50" h="7080">
                    <a:moveTo>
                      <a:pt x="0" y="4583"/>
                    </a:moveTo>
                    <a:lnTo>
                      <a:pt x="4116" y="0"/>
                    </a:lnTo>
                    <a:lnTo>
                      <a:pt x="8041" y="3458"/>
                    </a:lnTo>
                    <a:lnTo>
                      <a:pt x="8150" y="7080"/>
                    </a:lnTo>
                    <a:lnTo>
                      <a:pt x="467" y="6504"/>
                    </a:lnTo>
                    <a:lnTo>
                      <a:pt x="0" y="45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4" name="Freeform: Shape 3383">
                <a:extLst>
                  <a:ext uri="{FF2B5EF4-FFF2-40B4-BE49-F238E27FC236}">
                    <a16:creationId xmlns:a16="http://schemas.microsoft.com/office/drawing/2014/main" id="{7D3CFE06-46DE-7538-D67C-5BF3F56647D1}"/>
                  </a:ext>
                </a:extLst>
              </p:cNvPr>
              <p:cNvSpPr/>
              <p:nvPr/>
            </p:nvSpPr>
            <p:spPr>
              <a:xfrm>
                <a:off x="1160225" y="3690489"/>
                <a:ext cx="587" cy="710"/>
              </a:xfrm>
              <a:custGeom>
                <a:avLst/>
                <a:gdLst>
                  <a:gd name="connsiteX0" fmla="*/ 0 w 5625"/>
                  <a:gd name="connsiteY0" fmla="*/ 5818 h 6805"/>
                  <a:gd name="connsiteX1" fmla="*/ 1345 w 5625"/>
                  <a:gd name="connsiteY1" fmla="*/ 1180 h 6805"/>
                  <a:gd name="connsiteX2" fmla="*/ 2662 w 5625"/>
                  <a:gd name="connsiteY2" fmla="*/ 192 h 6805"/>
                  <a:gd name="connsiteX3" fmla="*/ 4089 w 5625"/>
                  <a:gd name="connsiteY3" fmla="*/ 0 h 6805"/>
                  <a:gd name="connsiteX4" fmla="*/ 5626 w 5625"/>
                  <a:gd name="connsiteY4" fmla="*/ 4089 h 6805"/>
                  <a:gd name="connsiteX5" fmla="*/ 4665 w 5625"/>
                  <a:gd name="connsiteY5" fmla="*/ 5790 h 6805"/>
                  <a:gd name="connsiteX6" fmla="*/ 2689 w 5625"/>
                  <a:gd name="connsiteY6" fmla="*/ 5214 h 6805"/>
                  <a:gd name="connsiteX7" fmla="*/ 1290 w 5625"/>
                  <a:gd name="connsiteY7" fmla="*/ 6806 h 6805"/>
                  <a:gd name="connsiteX8" fmla="*/ 27 w 5625"/>
                  <a:gd name="connsiteY8" fmla="*/ 5845 h 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25" h="6805">
                    <a:moveTo>
                      <a:pt x="0" y="5818"/>
                    </a:moveTo>
                    <a:lnTo>
                      <a:pt x="1345" y="1180"/>
                    </a:lnTo>
                    <a:lnTo>
                      <a:pt x="2662" y="192"/>
                    </a:lnTo>
                    <a:lnTo>
                      <a:pt x="4089" y="0"/>
                    </a:lnTo>
                    <a:lnTo>
                      <a:pt x="5626" y="4089"/>
                    </a:lnTo>
                    <a:lnTo>
                      <a:pt x="4665" y="5790"/>
                    </a:lnTo>
                    <a:lnTo>
                      <a:pt x="2689" y="5214"/>
                    </a:lnTo>
                    <a:lnTo>
                      <a:pt x="1290" y="6806"/>
                    </a:lnTo>
                    <a:lnTo>
                      <a:pt x="27" y="58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5" name="Freeform: Shape 3384">
                <a:extLst>
                  <a:ext uri="{FF2B5EF4-FFF2-40B4-BE49-F238E27FC236}">
                    <a16:creationId xmlns:a16="http://schemas.microsoft.com/office/drawing/2014/main" id="{827C64FB-E5BF-0557-4B46-7CC113E0C9D0}"/>
                  </a:ext>
                </a:extLst>
              </p:cNvPr>
              <p:cNvSpPr/>
              <p:nvPr/>
            </p:nvSpPr>
            <p:spPr>
              <a:xfrm>
                <a:off x="1073654" y="3473885"/>
                <a:ext cx="916" cy="1337"/>
              </a:xfrm>
              <a:custGeom>
                <a:avLst/>
                <a:gdLst>
                  <a:gd name="connsiteX0" fmla="*/ 8096 w 8781"/>
                  <a:gd name="connsiteY0" fmla="*/ 6888 h 12815"/>
                  <a:gd name="connsiteX1" fmla="*/ 6806 w 8781"/>
                  <a:gd name="connsiteY1" fmla="*/ 8946 h 12815"/>
                  <a:gd name="connsiteX2" fmla="*/ 6175 w 8781"/>
                  <a:gd name="connsiteY2" fmla="*/ 12377 h 12815"/>
                  <a:gd name="connsiteX3" fmla="*/ 2470 w 8781"/>
                  <a:gd name="connsiteY3" fmla="*/ 12816 h 12815"/>
                  <a:gd name="connsiteX4" fmla="*/ 604 w 8781"/>
                  <a:gd name="connsiteY4" fmla="*/ 10428 h 12815"/>
                  <a:gd name="connsiteX5" fmla="*/ 0 w 8781"/>
                  <a:gd name="connsiteY5" fmla="*/ 6888 h 12815"/>
                  <a:gd name="connsiteX6" fmla="*/ 5077 w 8781"/>
                  <a:gd name="connsiteY6" fmla="*/ 4363 h 12815"/>
                  <a:gd name="connsiteX7" fmla="*/ 6970 w 8781"/>
                  <a:gd name="connsiteY7" fmla="*/ 0 h 12815"/>
                  <a:gd name="connsiteX8" fmla="*/ 8782 w 8781"/>
                  <a:gd name="connsiteY8" fmla="*/ 5681 h 12815"/>
                  <a:gd name="connsiteX9" fmla="*/ 8151 w 8781"/>
                  <a:gd name="connsiteY9" fmla="*/ 6833 h 1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81" h="12815">
                    <a:moveTo>
                      <a:pt x="8096" y="6888"/>
                    </a:moveTo>
                    <a:lnTo>
                      <a:pt x="6806" y="8946"/>
                    </a:lnTo>
                    <a:lnTo>
                      <a:pt x="6175" y="12377"/>
                    </a:lnTo>
                    <a:lnTo>
                      <a:pt x="2470" y="12816"/>
                    </a:lnTo>
                    <a:lnTo>
                      <a:pt x="604" y="10428"/>
                    </a:lnTo>
                    <a:lnTo>
                      <a:pt x="0" y="6888"/>
                    </a:lnTo>
                    <a:lnTo>
                      <a:pt x="5077" y="4363"/>
                    </a:lnTo>
                    <a:lnTo>
                      <a:pt x="6970" y="0"/>
                    </a:lnTo>
                    <a:lnTo>
                      <a:pt x="8782" y="5681"/>
                    </a:lnTo>
                    <a:lnTo>
                      <a:pt x="8151" y="68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6" name="Freeform: Shape 3385">
                <a:extLst>
                  <a:ext uri="{FF2B5EF4-FFF2-40B4-BE49-F238E27FC236}">
                    <a16:creationId xmlns:a16="http://schemas.microsoft.com/office/drawing/2014/main" id="{30349899-9565-BE2A-79C0-841EC7ABB892}"/>
                  </a:ext>
                </a:extLst>
              </p:cNvPr>
              <p:cNvSpPr/>
              <p:nvPr/>
            </p:nvSpPr>
            <p:spPr>
              <a:xfrm>
                <a:off x="1120413" y="3627174"/>
                <a:ext cx="504" cy="1005"/>
              </a:xfrm>
              <a:custGeom>
                <a:avLst/>
                <a:gdLst>
                  <a:gd name="connsiteX0" fmla="*/ 0 w 4829"/>
                  <a:gd name="connsiteY0" fmla="*/ 8699 h 9632"/>
                  <a:gd name="connsiteX1" fmla="*/ 192 w 4829"/>
                  <a:gd name="connsiteY1" fmla="*/ 5461 h 9632"/>
                  <a:gd name="connsiteX2" fmla="*/ 2470 w 4829"/>
                  <a:gd name="connsiteY2" fmla="*/ 0 h 9632"/>
                  <a:gd name="connsiteX3" fmla="*/ 4830 w 4829"/>
                  <a:gd name="connsiteY3" fmla="*/ 4089 h 9632"/>
                  <a:gd name="connsiteX4" fmla="*/ 878 w 4829"/>
                  <a:gd name="connsiteY4" fmla="*/ 9633 h 9632"/>
                  <a:gd name="connsiteX5" fmla="*/ 0 w 4829"/>
                  <a:gd name="connsiteY5" fmla="*/ 8699 h 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9" h="9632">
                    <a:moveTo>
                      <a:pt x="0" y="8699"/>
                    </a:moveTo>
                    <a:lnTo>
                      <a:pt x="192" y="5461"/>
                    </a:lnTo>
                    <a:lnTo>
                      <a:pt x="2470" y="0"/>
                    </a:lnTo>
                    <a:lnTo>
                      <a:pt x="4830" y="4089"/>
                    </a:lnTo>
                    <a:lnTo>
                      <a:pt x="878" y="9633"/>
                    </a:lnTo>
                    <a:lnTo>
                      <a:pt x="0" y="86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7" name="Freeform: Shape 3386">
                <a:extLst>
                  <a:ext uri="{FF2B5EF4-FFF2-40B4-BE49-F238E27FC236}">
                    <a16:creationId xmlns:a16="http://schemas.microsoft.com/office/drawing/2014/main" id="{C51DA8C2-DF6C-9D8F-5E84-152EAA53D7B6}"/>
                  </a:ext>
                </a:extLst>
              </p:cNvPr>
              <p:cNvSpPr/>
              <p:nvPr/>
            </p:nvSpPr>
            <p:spPr>
              <a:xfrm>
                <a:off x="1141763" y="3587225"/>
                <a:ext cx="627" cy="973"/>
              </a:xfrm>
              <a:custGeom>
                <a:avLst/>
                <a:gdLst>
                  <a:gd name="connsiteX0" fmla="*/ 0 w 6009"/>
                  <a:gd name="connsiteY0" fmla="*/ 2799 h 9330"/>
                  <a:gd name="connsiteX1" fmla="*/ 2141 w 6009"/>
                  <a:gd name="connsiteY1" fmla="*/ 0 h 9330"/>
                  <a:gd name="connsiteX2" fmla="*/ 6010 w 6009"/>
                  <a:gd name="connsiteY2" fmla="*/ 4885 h 9330"/>
                  <a:gd name="connsiteX3" fmla="*/ 4062 w 6009"/>
                  <a:gd name="connsiteY3" fmla="*/ 9331 h 9330"/>
                  <a:gd name="connsiteX4" fmla="*/ 0 w 6009"/>
                  <a:gd name="connsiteY4" fmla="*/ 2772 h 9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9" h="9330">
                    <a:moveTo>
                      <a:pt x="0" y="2799"/>
                    </a:moveTo>
                    <a:lnTo>
                      <a:pt x="2141" y="0"/>
                    </a:lnTo>
                    <a:lnTo>
                      <a:pt x="6010" y="4885"/>
                    </a:lnTo>
                    <a:lnTo>
                      <a:pt x="4062" y="9331"/>
                    </a:lnTo>
                    <a:lnTo>
                      <a:pt x="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8" name="Freeform: Shape 3387">
                <a:extLst>
                  <a:ext uri="{FF2B5EF4-FFF2-40B4-BE49-F238E27FC236}">
                    <a16:creationId xmlns:a16="http://schemas.microsoft.com/office/drawing/2014/main" id="{FCA8B7DA-5D9C-5DF6-589F-319B9AC0E671}"/>
                  </a:ext>
                </a:extLst>
              </p:cNvPr>
              <p:cNvSpPr/>
              <p:nvPr/>
            </p:nvSpPr>
            <p:spPr>
              <a:xfrm>
                <a:off x="1084262" y="3540712"/>
                <a:ext cx="644" cy="1173"/>
              </a:xfrm>
              <a:custGeom>
                <a:avLst/>
                <a:gdLst>
                  <a:gd name="connsiteX0" fmla="*/ 0 w 6174"/>
                  <a:gd name="connsiteY0" fmla="*/ 5434 h 11251"/>
                  <a:gd name="connsiteX1" fmla="*/ 1866 w 6174"/>
                  <a:gd name="connsiteY1" fmla="*/ 2223 h 11251"/>
                  <a:gd name="connsiteX2" fmla="*/ 2827 w 6174"/>
                  <a:gd name="connsiteY2" fmla="*/ 4830 h 11251"/>
                  <a:gd name="connsiteX3" fmla="*/ 4583 w 6174"/>
                  <a:gd name="connsiteY3" fmla="*/ 0 h 11251"/>
                  <a:gd name="connsiteX4" fmla="*/ 6175 w 6174"/>
                  <a:gd name="connsiteY4" fmla="*/ 604 h 11251"/>
                  <a:gd name="connsiteX5" fmla="*/ 4638 w 6174"/>
                  <a:gd name="connsiteY5" fmla="*/ 5571 h 11251"/>
                  <a:gd name="connsiteX6" fmla="*/ 4967 w 6174"/>
                  <a:gd name="connsiteY6" fmla="*/ 10374 h 11251"/>
                  <a:gd name="connsiteX7" fmla="*/ 2909 w 6174"/>
                  <a:gd name="connsiteY7" fmla="*/ 11252 h 11251"/>
                  <a:gd name="connsiteX8" fmla="*/ 0 w 6174"/>
                  <a:gd name="connsiteY8" fmla="*/ 5434 h 1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74" h="11251">
                    <a:moveTo>
                      <a:pt x="0" y="5434"/>
                    </a:moveTo>
                    <a:lnTo>
                      <a:pt x="1866" y="2223"/>
                    </a:lnTo>
                    <a:lnTo>
                      <a:pt x="2827" y="4830"/>
                    </a:lnTo>
                    <a:lnTo>
                      <a:pt x="4583" y="0"/>
                    </a:lnTo>
                    <a:lnTo>
                      <a:pt x="6175" y="604"/>
                    </a:lnTo>
                    <a:lnTo>
                      <a:pt x="4638" y="5571"/>
                    </a:lnTo>
                    <a:lnTo>
                      <a:pt x="4967" y="10374"/>
                    </a:lnTo>
                    <a:lnTo>
                      <a:pt x="2909" y="11252"/>
                    </a:lnTo>
                    <a:lnTo>
                      <a:pt x="0" y="54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9" name="Freeform: Shape 3388">
                <a:extLst>
                  <a:ext uri="{FF2B5EF4-FFF2-40B4-BE49-F238E27FC236}">
                    <a16:creationId xmlns:a16="http://schemas.microsoft.com/office/drawing/2014/main" id="{6C2F28F4-99D6-029C-AFEE-A07A687A8649}"/>
                  </a:ext>
                </a:extLst>
              </p:cNvPr>
              <p:cNvSpPr/>
              <p:nvPr/>
            </p:nvSpPr>
            <p:spPr>
              <a:xfrm>
                <a:off x="1119477" y="3613710"/>
                <a:ext cx="638" cy="804"/>
              </a:xfrm>
              <a:custGeom>
                <a:avLst/>
                <a:gdLst>
                  <a:gd name="connsiteX0" fmla="*/ 4171 w 6119"/>
                  <a:gd name="connsiteY0" fmla="*/ 6339 h 7711"/>
                  <a:gd name="connsiteX1" fmla="*/ 1455 w 6119"/>
                  <a:gd name="connsiteY1" fmla="*/ 7711 h 7711"/>
                  <a:gd name="connsiteX2" fmla="*/ 0 w 6119"/>
                  <a:gd name="connsiteY2" fmla="*/ 5296 h 7711"/>
                  <a:gd name="connsiteX3" fmla="*/ 3183 w 6119"/>
                  <a:gd name="connsiteY3" fmla="*/ 0 h 7711"/>
                  <a:gd name="connsiteX4" fmla="*/ 6120 w 6119"/>
                  <a:gd name="connsiteY4" fmla="*/ 1427 h 7711"/>
                  <a:gd name="connsiteX5" fmla="*/ 4171 w 6119"/>
                  <a:gd name="connsiteY5" fmla="*/ 6339 h 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9" h="7711">
                    <a:moveTo>
                      <a:pt x="4171" y="6339"/>
                    </a:moveTo>
                    <a:lnTo>
                      <a:pt x="1455" y="7711"/>
                    </a:lnTo>
                    <a:lnTo>
                      <a:pt x="0" y="5296"/>
                    </a:lnTo>
                    <a:lnTo>
                      <a:pt x="3183" y="0"/>
                    </a:lnTo>
                    <a:lnTo>
                      <a:pt x="6120" y="1427"/>
                    </a:lnTo>
                    <a:lnTo>
                      <a:pt x="4171" y="63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0" name="Freeform: Shape 3389">
                <a:extLst>
                  <a:ext uri="{FF2B5EF4-FFF2-40B4-BE49-F238E27FC236}">
                    <a16:creationId xmlns:a16="http://schemas.microsoft.com/office/drawing/2014/main" id="{CDBFF57D-2C9B-74F5-E7B5-D890883A8AB6}"/>
                  </a:ext>
                </a:extLst>
              </p:cNvPr>
              <p:cNvSpPr/>
              <p:nvPr/>
            </p:nvSpPr>
            <p:spPr>
              <a:xfrm>
                <a:off x="1180694" y="3638586"/>
                <a:ext cx="581" cy="753"/>
              </a:xfrm>
              <a:custGeom>
                <a:avLst/>
                <a:gdLst>
                  <a:gd name="connsiteX0" fmla="*/ 0 w 5571"/>
                  <a:gd name="connsiteY0" fmla="*/ 3074 h 7217"/>
                  <a:gd name="connsiteX1" fmla="*/ 0 w 5571"/>
                  <a:gd name="connsiteY1" fmla="*/ 0 h 7217"/>
                  <a:gd name="connsiteX2" fmla="*/ 2333 w 5571"/>
                  <a:gd name="connsiteY2" fmla="*/ 0 h 7217"/>
                  <a:gd name="connsiteX3" fmla="*/ 2881 w 5571"/>
                  <a:gd name="connsiteY3" fmla="*/ 2415 h 7217"/>
                  <a:gd name="connsiteX4" fmla="*/ 5571 w 5571"/>
                  <a:gd name="connsiteY4" fmla="*/ 2195 h 7217"/>
                  <a:gd name="connsiteX5" fmla="*/ 4857 w 5571"/>
                  <a:gd name="connsiteY5" fmla="*/ 6367 h 7217"/>
                  <a:gd name="connsiteX6" fmla="*/ 2881 w 5571"/>
                  <a:gd name="connsiteY6" fmla="*/ 7218 h 7217"/>
                  <a:gd name="connsiteX7" fmla="*/ 1701 w 5571"/>
                  <a:gd name="connsiteY7" fmla="*/ 3238 h 7217"/>
                  <a:gd name="connsiteX8" fmla="*/ 27 w 5571"/>
                  <a:gd name="connsiteY8" fmla="*/ 3074 h 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1" h="7217">
                    <a:moveTo>
                      <a:pt x="0" y="3074"/>
                    </a:moveTo>
                    <a:lnTo>
                      <a:pt x="0" y="0"/>
                    </a:lnTo>
                    <a:lnTo>
                      <a:pt x="2333" y="0"/>
                    </a:lnTo>
                    <a:lnTo>
                      <a:pt x="2881" y="2415"/>
                    </a:lnTo>
                    <a:lnTo>
                      <a:pt x="5571" y="2195"/>
                    </a:lnTo>
                    <a:lnTo>
                      <a:pt x="4857" y="6367"/>
                    </a:lnTo>
                    <a:lnTo>
                      <a:pt x="2881" y="7218"/>
                    </a:lnTo>
                    <a:lnTo>
                      <a:pt x="1701" y="3238"/>
                    </a:lnTo>
                    <a:lnTo>
                      <a:pt x="27"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1" name="Freeform: Shape 3390">
                <a:extLst>
                  <a:ext uri="{FF2B5EF4-FFF2-40B4-BE49-F238E27FC236}">
                    <a16:creationId xmlns:a16="http://schemas.microsoft.com/office/drawing/2014/main" id="{D167BF52-1824-3F85-8FA0-A386C9252E95}"/>
                  </a:ext>
                </a:extLst>
              </p:cNvPr>
              <p:cNvSpPr/>
              <p:nvPr/>
            </p:nvSpPr>
            <p:spPr>
              <a:xfrm>
                <a:off x="1068857" y="3477881"/>
                <a:ext cx="695" cy="1279"/>
              </a:xfrm>
              <a:custGeom>
                <a:avLst/>
                <a:gdLst>
                  <a:gd name="connsiteX0" fmla="*/ 4116 w 6668"/>
                  <a:gd name="connsiteY0" fmla="*/ 6998 h 12267"/>
                  <a:gd name="connsiteX1" fmla="*/ 3376 w 6668"/>
                  <a:gd name="connsiteY1" fmla="*/ 12267 h 12267"/>
                  <a:gd name="connsiteX2" fmla="*/ 0 w 6668"/>
                  <a:gd name="connsiteY2" fmla="*/ 8480 h 12267"/>
                  <a:gd name="connsiteX3" fmla="*/ 1070 w 6668"/>
                  <a:gd name="connsiteY3" fmla="*/ 4748 h 12267"/>
                  <a:gd name="connsiteX4" fmla="*/ 5900 w 6668"/>
                  <a:gd name="connsiteY4" fmla="*/ 0 h 12267"/>
                  <a:gd name="connsiteX5" fmla="*/ 6669 w 6668"/>
                  <a:gd name="connsiteY5" fmla="*/ 5269 h 12267"/>
                  <a:gd name="connsiteX6" fmla="*/ 4116 w 6668"/>
                  <a:gd name="connsiteY6" fmla="*/ 6998 h 12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8" h="12267">
                    <a:moveTo>
                      <a:pt x="4116" y="6998"/>
                    </a:moveTo>
                    <a:lnTo>
                      <a:pt x="3376" y="12267"/>
                    </a:lnTo>
                    <a:lnTo>
                      <a:pt x="0" y="8480"/>
                    </a:lnTo>
                    <a:lnTo>
                      <a:pt x="1070" y="4748"/>
                    </a:lnTo>
                    <a:lnTo>
                      <a:pt x="5900" y="0"/>
                    </a:lnTo>
                    <a:lnTo>
                      <a:pt x="6669" y="5269"/>
                    </a:lnTo>
                    <a:lnTo>
                      <a:pt x="4116" y="69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2" name="Freeform: Shape 3391">
                <a:extLst>
                  <a:ext uri="{FF2B5EF4-FFF2-40B4-BE49-F238E27FC236}">
                    <a16:creationId xmlns:a16="http://schemas.microsoft.com/office/drawing/2014/main" id="{2EDCDD1D-110F-B4D5-54EC-934C56991CDF}"/>
                  </a:ext>
                </a:extLst>
              </p:cNvPr>
              <p:cNvSpPr/>
              <p:nvPr/>
            </p:nvSpPr>
            <p:spPr>
              <a:xfrm>
                <a:off x="1168492" y="3589454"/>
                <a:ext cx="721" cy="678"/>
              </a:xfrm>
              <a:custGeom>
                <a:avLst/>
                <a:gdLst>
                  <a:gd name="connsiteX0" fmla="*/ 0 w 6915"/>
                  <a:gd name="connsiteY0" fmla="*/ 1921 h 6503"/>
                  <a:gd name="connsiteX1" fmla="*/ 1674 w 6915"/>
                  <a:gd name="connsiteY1" fmla="*/ 0 h 6503"/>
                  <a:gd name="connsiteX2" fmla="*/ 5790 w 6915"/>
                  <a:gd name="connsiteY2" fmla="*/ 549 h 6503"/>
                  <a:gd name="connsiteX3" fmla="*/ 6916 w 6915"/>
                  <a:gd name="connsiteY3" fmla="*/ 3211 h 6503"/>
                  <a:gd name="connsiteX4" fmla="*/ 1674 w 6915"/>
                  <a:gd name="connsiteY4" fmla="*/ 6504 h 6503"/>
                  <a:gd name="connsiteX5" fmla="*/ 0 w 6915"/>
                  <a:gd name="connsiteY5" fmla="*/ 1948 h 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15" h="6503">
                    <a:moveTo>
                      <a:pt x="0" y="1921"/>
                    </a:moveTo>
                    <a:lnTo>
                      <a:pt x="1674" y="0"/>
                    </a:lnTo>
                    <a:lnTo>
                      <a:pt x="5790" y="549"/>
                    </a:lnTo>
                    <a:lnTo>
                      <a:pt x="6916" y="3211"/>
                    </a:lnTo>
                    <a:lnTo>
                      <a:pt x="1674" y="6504"/>
                    </a:lnTo>
                    <a:lnTo>
                      <a:pt x="0" y="1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3" name="Freeform: Shape 3392">
                <a:extLst>
                  <a:ext uri="{FF2B5EF4-FFF2-40B4-BE49-F238E27FC236}">
                    <a16:creationId xmlns:a16="http://schemas.microsoft.com/office/drawing/2014/main" id="{54DD096B-27EA-BD95-000B-67A04EAB5CD6}"/>
                  </a:ext>
                </a:extLst>
              </p:cNvPr>
              <p:cNvSpPr/>
              <p:nvPr/>
            </p:nvSpPr>
            <p:spPr>
              <a:xfrm>
                <a:off x="1118945" y="3614557"/>
                <a:ext cx="572" cy="695"/>
              </a:xfrm>
              <a:custGeom>
                <a:avLst/>
                <a:gdLst>
                  <a:gd name="connsiteX0" fmla="*/ 2278 w 5488"/>
                  <a:gd name="connsiteY0" fmla="*/ 5928 h 6668"/>
                  <a:gd name="connsiteX1" fmla="*/ 0 w 5488"/>
                  <a:gd name="connsiteY1" fmla="*/ 6669 h 6668"/>
                  <a:gd name="connsiteX2" fmla="*/ 823 w 5488"/>
                  <a:gd name="connsiteY2" fmla="*/ 2909 h 6668"/>
                  <a:gd name="connsiteX3" fmla="*/ 2854 w 5488"/>
                  <a:gd name="connsiteY3" fmla="*/ 2717 h 6668"/>
                  <a:gd name="connsiteX4" fmla="*/ 3595 w 5488"/>
                  <a:gd name="connsiteY4" fmla="*/ 0 h 6668"/>
                  <a:gd name="connsiteX5" fmla="*/ 5489 w 5488"/>
                  <a:gd name="connsiteY5" fmla="*/ 1125 h 6668"/>
                  <a:gd name="connsiteX6" fmla="*/ 2250 w 5488"/>
                  <a:gd name="connsiteY6" fmla="*/ 5900 h 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88" h="6668">
                    <a:moveTo>
                      <a:pt x="2278" y="5928"/>
                    </a:moveTo>
                    <a:lnTo>
                      <a:pt x="0" y="6669"/>
                    </a:lnTo>
                    <a:lnTo>
                      <a:pt x="823" y="2909"/>
                    </a:lnTo>
                    <a:lnTo>
                      <a:pt x="2854" y="2717"/>
                    </a:lnTo>
                    <a:lnTo>
                      <a:pt x="3595" y="0"/>
                    </a:lnTo>
                    <a:lnTo>
                      <a:pt x="5489" y="1125"/>
                    </a:lnTo>
                    <a:lnTo>
                      <a:pt x="2250" y="59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4" name="Freeform: Shape 3393">
                <a:extLst>
                  <a:ext uri="{FF2B5EF4-FFF2-40B4-BE49-F238E27FC236}">
                    <a16:creationId xmlns:a16="http://schemas.microsoft.com/office/drawing/2014/main" id="{2DF0129B-F55E-5E91-1EC4-71AA6C29D428}"/>
                  </a:ext>
                </a:extLst>
              </p:cNvPr>
              <p:cNvSpPr/>
              <p:nvPr/>
            </p:nvSpPr>
            <p:spPr>
              <a:xfrm>
                <a:off x="1101379" y="3517515"/>
                <a:ext cx="727" cy="913"/>
              </a:xfrm>
              <a:custGeom>
                <a:avLst/>
                <a:gdLst>
                  <a:gd name="connsiteX0" fmla="*/ 0 w 6970"/>
                  <a:gd name="connsiteY0" fmla="*/ 2223 h 8754"/>
                  <a:gd name="connsiteX1" fmla="*/ 2854 w 6970"/>
                  <a:gd name="connsiteY1" fmla="*/ 0 h 8754"/>
                  <a:gd name="connsiteX2" fmla="*/ 6971 w 6970"/>
                  <a:gd name="connsiteY2" fmla="*/ 3677 h 8754"/>
                  <a:gd name="connsiteX3" fmla="*/ 5544 w 6970"/>
                  <a:gd name="connsiteY3" fmla="*/ 8754 h 8754"/>
                  <a:gd name="connsiteX4" fmla="*/ 1153 w 6970"/>
                  <a:gd name="connsiteY4" fmla="*/ 5104 h 8754"/>
                  <a:gd name="connsiteX5" fmla="*/ 27 w 6970"/>
                  <a:gd name="connsiteY5" fmla="*/ 2223 h 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70" h="8754">
                    <a:moveTo>
                      <a:pt x="0" y="2223"/>
                    </a:moveTo>
                    <a:lnTo>
                      <a:pt x="2854" y="0"/>
                    </a:lnTo>
                    <a:lnTo>
                      <a:pt x="6971" y="3677"/>
                    </a:lnTo>
                    <a:lnTo>
                      <a:pt x="5544" y="8754"/>
                    </a:lnTo>
                    <a:lnTo>
                      <a:pt x="1153" y="5104"/>
                    </a:lnTo>
                    <a:lnTo>
                      <a:pt x="27"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5" name="Freeform: Shape 3394">
                <a:extLst>
                  <a:ext uri="{FF2B5EF4-FFF2-40B4-BE49-F238E27FC236}">
                    <a16:creationId xmlns:a16="http://schemas.microsoft.com/office/drawing/2014/main" id="{CA126733-FCCD-9EA9-9684-98B1B20BDBD6}"/>
                  </a:ext>
                </a:extLst>
              </p:cNvPr>
              <p:cNvSpPr/>
              <p:nvPr/>
            </p:nvSpPr>
            <p:spPr>
              <a:xfrm>
                <a:off x="1126255" y="3596335"/>
                <a:ext cx="730" cy="584"/>
              </a:xfrm>
              <a:custGeom>
                <a:avLst/>
                <a:gdLst>
                  <a:gd name="connsiteX0" fmla="*/ 0 w 6998"/>
                  <a:gd name="connsiteY0" fmla="*/ 1290 h 5598"/>
                  <a:gd name="connsiteX1" fmla="*/ 549 w 6998"/>
                  <a:gd name="connsiteY1" fmla="*/ 82 h 5598"/>
                  <a:gd name="connsiteX2" fmla="*/ 6998 w 6998"/>
                  <a:gd name="connsiteY2" fmla="*/ 0 h 5598"/>
                  <a:gd name="connsiteX3" fmla="*/ 6779 w 6998"/>
                  <a:gd name="connsiteY3" fmla="*/ 5598 h 5598"/>
                  <a:gd name="connsiteX4" fmla="*/ 2717 w 6998"/>
                  <a:gd name="connsiteY4" fmla="*/ 2964 h 5598"/>
                  <a:gd name="connsiteX5" fmla="*/ 2278 w 6998"/>
                  <a:gd name="connsiteY5" fmla="*/ 4940 h 5598"/>
                  <a:gd name="connsiteX6" fmla="*/ 0 w 6998"/>
                  <a:gd name="connsiteY6" fmla="*/ 1262 h 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8" h="5598">
                    <a:moveTo>
                      <a:pt x="0" y="1290"/>
                    </a:moveTo>
                    <a:lnTo>
                      <a:pt x="549" y="82"/>
                    </a:lnTo>
                    <a:lnTo>
                      <a:pt x="6998" y="0"/>
                    </a:lnTo>
                    <a:lnTo>
                      <a:pt x="6779" y="5598"/>
                    </a:lnTo>
                    <a:lnTo>
                      <a:pt x="2717" y="2964"/>
                    </a:lnTo>
                    <a:lnTo>
                      <a:pt x="2278" y="4940"/>
                    </a:lnTo>
                    <a:lnTo>
                      <a:pt x="0" y="12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6" name="Freeform: Shape 3395">
                <a:extLst>
                  <a:ext uri="{FF2B5EF4-FFF2-40B4-BE49-F238E27FC236}">
                    <a16:creationId xmlns:a16="http://schemas.microsoft.com/office/drawing/2014/main" id="{9AD297EF-8113-4E69-329B-558816B1B8EC}"/>
                  </a:ext>
                </a:extLst>
              </p:cNvPr>
              <p:cNvSpPr/>
              <p:nvPr/>
            </p:nvSpPr>
            <p:spPr>
              <a:xfrm>
                <a:off x="1163185" y="3573437"/>
                <a:ext cx="515" cy="919"/>
              </a:xfrm>
              <a:custGeom>
                <a:avLst/>
                <a:gdLst>
                  <a:gd name="connsiteX0" fmla="*/ 0 w 4939"/>
                  <a:gd name="connsiteY0" fmla="*/ 3952 h 8809"/>
                  <a:gd name="connsiteX1" fmla="*/ 988 w 4939"/>
                  <a:gd name="connsiteY1" fmla="*/ 0 h 8809"/>
                  <a:gd name="connsiteX2" fmla="*/ 2442 w 4939"/>
                  <a:gd name="connsiteY2" fmla="*/ 3046 h 8809"/>
                  <a:gd name="connsiteX3" fmla="*/ 4062 w 4939"/>
                  <a:gd name="connsiteY3" fmla="*/ 1180 h 8809"/>
                  <a:gd name="connsiteX4" fmla="*/ 4940 w 4939"/>
                  <a:gd name="connsiteY4" fmla="*/ 5516 h 8809"/>
                  <a:gd name="connsiteX5" fmla="*/ 2909 w 4939"/>
                  <a:gd name="connsiteY5" fmla="*/ 4446 h 8809"/>
                  <a:gd name="connsiteX6" fmla="*/ 2333 w 4939"/>
                  <a:gd name="connsiteY6" fmla="*/ 8727 h 8809"/>
                  <a:gd name="connsiteX7" fmla="*/ 741 w 4939"/>
                  <a:gd name="connsiteY7" fmla="*/ 8809 h 8809"/>
                  <a:gd name="connsiteX8" fmla="*/ 0 w 4939"/>
                  <a:gd name="connsiteY8" fmla="*/ 3952 h 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39" h="8809">
                    <a:moveTo>
                      <a:pt x="0" y="3952"/>
                    </a:moveTo>
                    <a:lnTo>
                      <a:pt x="988" y="0"/>
                    </a:lnTo>
                    <a:lnTo>
                      <a:pt x="2442" y="3046"/>
                    </a:lnTo>
                    <a:lnTo>
                      <a:pt x="4062" y="1180"/>
                    </a:lnTo>
                    <a:lnTo>
                      <a:pt x="4940" y="5516"/>
                    </a:lnTo>
                    <a:lnTo>
                      <a:pt x="2909" y="4446"/>
                    </a:lnTo>
                    <a:lnTo>
                      <a:pt x="2333" y="8727"/>
                    </a:lnTo>
                    <a:lnTo>
                      <a:pt x="741" y="8809"/>
                    </a:lnTo>
                    <a:lnTo>
                      <a:pt x="0" y="39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7" name="Freeform: Shape 3396">
                <a:extLst>
                  <a:ext uri="{FF2B5EF4-FFF2-40B4-BE49-F238E27FC236}">
                    <a16:creationId xmlns:a16="http://schemas.microsoft.com/office/drawing/2014/main" id="{37D77367-286C-2229-61E0-EC6CF498D8C9}"/>
                  </a:ext>
                </a:extLst>
              </p:cNvPr>
              <p:cNvSpPr/>
              <p:nvPr/>
            </p:nvSpPr>
            <p:spPr>
              <a:xfrm>
                <a:off x="1194648" y="3662956"/>
                <a:ext cx="521" cy="578"/>
              </a:xfrm>
              <a:custGeom>
                <a:avLst/>
                <a:gdLst>
                  <a:gd name="connsiteX0" fmla="*/ 27 w 4994"/>
                  <a:gd name="connsiteY0" fmla="*/ 3815 h 5543"/>
                  <a:gd name="connsiteX1" fmla="*/ 1262 w 4994"/>
                  <a:gd name="connsiteY1" fmla="*/ 1921 h 5543"/>
                  <a:gd name="connsiteX2" fmla="*/ 4336 w 4994"/>
                  <a:gd name="connsiteY2" fmla="*/ 0 h 5543"/>
                  <a:gd name="connsiteX3" fmla="*/ 4994 w 4994"/>
                  <a:gd name="connsiteY3" fmla="*/ 2607 h 5543"/>
                  <a:gd name="connsiteX4" fmla="*/ 2003 w 4994"/>
                  <a:gd name="connsiteY4" fmla="*/ 5544 h 5543"/>
                  <a:gd name="connsiteX5" fmla="*/ 0 w 4994"/>
                  <a:gd name="connsiteY5" fmla="*/ 3842 h 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4" h="5543">
                    <a:moveTo>
                      <a:pt x="27" y="3815"/>
                    </a:moveTo>
                    <a:lnTo>
                      <a:pt x="1262" y="1921"/>
                    </a:lnTo>
                    <a:lnTo>
                      <a:pt x="4336" y="0"/>
                    </a:lnTo>
                    <a:lnTo>
                      <a:pt x="4994" y="2607"/>
                    </a:lnTo>
                    <a:lnTo>
                      <a:pt x="2003" y="5544"/>
                    </a:lnTo>
                    <a:lnTo>
                      <a:pt x="0" y="38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8" name="Freeform: Shape 3397">
                <a:extLst>
                  <a:ext uri="{FF2B5EF4-FFF2-40B4-BE49-F238E27FC236}">
                    <a16:creationId xmlns:a16="http://schemas.microsoft.com/office/drawing/2014/main" id="{972493BA-96AD-BE6F-2FF1-B58C72A277DD}"/>
                  </a:ext>
                </a:extLst>
              </p:cNvPr>
              <p:cNvSpPr/>
              <p:nvPr/>
            </p:nvSpPr>
            <p:spPr>
              <a:xfrm>
                <a:off x="1088739" y="3498819"/>
                <a:ext cx="879" cy="784"/>
              </a:xfrm>
              <a:custGeom>
                <a:avLst/>
                <a:gdLst>
                  <a:gd name="connsiteX0" fmla="*/ 0 w 8425"/>
                  <a:gd name="connsiteY0" fmla="*/ 3211 h 7519"/>
                  <a:gd name="connsiteX1" fmla="*/ 521 w 8425"/>
                  <a:gd name="connsiteY1" fmla="*/ 1015 h 7519"/>
                  <a:gd name="connsiteX2" fmla="*/ 6284 w 8425"/>
                  <a:gd name="connsiteY2" fmla="*/ 0 h 7519"/>
                  <a:gd name="connsiteX3" fmla="*/ 8425 w 8425"/>
                  <a:gd name="connsiteY3" fmla="*/ 2415 h 7519"/>
                  <a:gd name="connsiteX4" fmla="*/ 6449 w 8425"/>
                  <a:gd name="connsiteY4" fmla="*/ 7519 h 7519"/>
                  <a:gd name="connsiteX5" fmla="*/ 466 w 8425"/>
                  <a:gd name="connsiteY5" fmla="*/ 4912 h 7519"/>
                  <a:gd name="connsiteX6" fmla="*/ 0 w 8425"/>
                  <a:gd name="connsiteY6" fmla="*/ 3211 h 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25" h="7519">
                    <a:moveTo>
                      <a:pt x="0" y="3211"/>
                    </a:moveTo>
                    <a:lnTo>
                      <a:pt x="521" y="1015"/>
                    </a:lnTo>
                    <a:lnTo>
                      <a:pt x="6284" y="0"/>
                    </a:lnTo>
                    <a:lnTo>
                      <a:pt x="8425" y="2415"/>
                    </a:lnTo>
                    <a:lnTo>
                      <a:pt x="6449" y="7519"/>
                    </a:lnTo>
                    <a:lnTo>
                      <a:pt x="466" y="4912"/>
                    </a:lnTo>
                    <a:lnTo>
                      <a:pt x="0"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9" name="Freeform: Shape 3398">
                <a:extLst>
                  <a:ext uri="{FF2B5EF4-FFF2-40B4-BE49-F238E27FC236}">
                    <a16:creationId xmlns:a16="http://schemas.microsoft.com/office/drawing/2014/main" id="{9CCF7810-1D8D-54D6-CBC1-EDCBA5A12D64}"/>
                  </a:ext>
                </a:extLst>
              </p:cNvPr>
              <p:cNvSpPr/>
              <p:nvPr/>
            </p:nvSpPr>
            <p:spPr>
              <a:xfrm>
                <a:off x="964093" y="3645728"/>
                <a:ext cx="550" cy="578"/>
              </a:xfrm>
              <a:custGeom>
                <a:avLst/>
                <a:gdLst>
                  <a:gd name="connsiteX0" fmla="*/ 0 w 5269"/>
                  <a:gd name="connsiteY0" fmla="*/ 796 h 5543"/>
                  <a:gd name="connsiteX1" fmla="*/ 796 w 5269"/>
                  <a:gd name="connsiteY1" fmla="*/ 0 h 5543"/>
                  <a:gd name="connsiteX2" fmla="*/ 5269 w 5269"/>
                  <a:gd name="connsiteY2" fmla="*/ 4308 h 5543"/>
                  <a:gd name="connsiteX3" fmla="*/ 3815 w 5269"/>
                  <a:gd name="connsiteY3" fmla="*/ 5544 h 5543"/>
                  <a:gd name="connsiteX4" fmla="*/ 27 w 5269"/>
                  <a:gd name="connsiteY4" fmla="*/ 3074 h 5543"/>
                  <a:gd name="connsiteX5" fmla="*/ 27 w 5269"/>
                  <a:gd name="connsiteY5" fmla="*/ 796 h 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69" h="5543">
                    <a:moveTo>
                      <a:pt x="0" y="796"/>
                    </a:moveTo>
                    <a:lnTo>
                      <a:pt x="796" y="0"/>
                    </a:lnTo>
                    <a:lnTo>
                      <a:pt x="5269" y="4308"/>
                    </a:lnTo>
                    <a:lnTo>
                      <a:pt x="3815" y="5544"/>
                    </a:lnTo>
                    <a:lnTo>
                      <a:pt x="27" y="3074"/>
                    </a:lnTo>
                    <a:lnTo>
                      <a:pt x="27" y="7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0" name="Freeform: Shape 3399">
                <a:extLst>
                  <a:ext uri="{FF2B5EF4-FFF2-40B4-BE49-F238E27FC236}">
                    <a16:creationId xmlns:a16="http://schemas.microsoft.com/office/drawing/2014/main" id="{F8946BB1-3785-6A54-59B1-9FE1FB637874}"/>
                  </a:ext>
                </a:extLst>
              </p:cNvPr>
              <p:cNvSpPr/>
              <p:nvPr/>
            </p:nvSpPr>
            <p:spPr>
              <a:xfrm>
                <a:off x="1059551" y="3465962"/>
                <a:ext cx="678" cy="1188"/>
              </a:xfrm>
              <a:custGeom>
                <a:avLst/>
                <a:gdLst>
                  <a:gd name="connsiteX0" fmla="*/ 6477 w 6503"/>
                  <a:gd name="connsiteY0" fmla="*/ 9550 h 11388"/>
                  <a:gd name="connsiteX1" fmla="*/ 2964 w 6503"/>
                  <a:gd name="connsiteY1" fmla="*/ 11389 h 11388"/>
                  <a:gd name="connsiteX2" fmla="*/ 0 w 6503"/>
                  <a:gd name="connsiteY2" fmla="*/ 4418 h 11388"/>
                  <a:gd name="connsiteX3" fmla="*/ 1455 w 6503"/>
                  <a:gd name="connsiteY3" fmla="*/ 0 h 11388"/>
                  <a:gd name="connsiteX4" fmla="*/ 6504 w 6503"/>
                  <a:gd name="connsiteY4" fmla="*/ 4610 h 11388"/>
                  <a:gd name="connsiteX5" fmla="*/ 6504 w 6503"/>
                  <a:gd name="connsiteY5" fmla="*/ 9523 h 1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3" h="11388">
                    <a:moveTo>
                      <a:pt x="6477" y="9550"/>
                    </a:moveTo>
                    <a:lnTo>
                      <a:pt x="2964" y="11389"/>
                    </a:lnTo>
                    <a:lnTo>
                      <a:pt x="0" y="4418"/>
                    </a:lnTo>
                    <a:lnTo>
                      <a:pt x="1455" y="0"/>
                    </a:lnTo>
                    <a:lnTo>
                      <a:pt x="6504" y="4610"/>
                    </a:lnTo>
                    <a:lnTo>
                      <a:pt x="6504" y="95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1" name="Freeform: Shape 3400">
                <a:extLst>
                  <a:ext uri="{FF2B5EF4-FFF2-40B4-BE49-F238E27FC236}">
                    <a16:creationId xmlns:a16="http://schemas.microsoft.com/office/drawing/2014/main" id="{C85727EF-0AA1-5D84-1E04-B5EF716E2127}"/>
                  </a:ext>
                </a:extLst>
              </p:cNvPr>
              <p:cNvSpPr/>
              <p:nvPr/>
            </p:nvSpPr>
            <p:spPr>
              <a:xfrm>
                <a:off x="1114717" y="3544527"/>
                <a:ext cx="655" cy="773"/>
              </a:xfrm>
              <a:custGeom>
                <a:avLst/>
                <a:gdLst>
                  <a:gd name="connsiteX0" fmla="*/ 0 w 6284"/>
                  <a:gd name="connsiteY0" fmla="*/ 1619 h 7409"/>
                  <a:gd name="connsiteX1" fmla="*/ 1427 w 6284"/>
                  <a:gd name="connsiteY1" fmla="*/ 0 h 7409"/>
                  <a:gd name="connsiteX2" fmla="*/ 5406 w 6284"/>
                  <a:gd name="connsiteY2" fmla="*/ 1454 h 7409"/>
                  <a:gd name="connsiteX3" fmla="*/ 6285 w 6284"/>
                  <a:gd name="connsiteY3" fmla="*/ 6888 h 7409"/>
                  <a:gd name="connsiteX4" fmla="*/ 2415 w 6284"/>
                  <a:gd name="connsiteY4" fmla="*/ 7410 h 7409"/>
                  <a:gd name="connsiteX5" fmla="*/ 0 w 6284"/>
                  <a:gd name="connsiteY5" fmla="*/ 1647 h 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4" h="7409">
                    <a:moveTo>
                      <a:pt x="0" y="1619"/>
                    </a:moveTo>
                    <a:lnTo>
                      <a:pt x="1427" y="0"/>
                    </a:lnTo>
                    <a:lnTo>
                      <a:pt x="5406" y="1454"/>
                    </a:lnTo>
                    <a:lnTo>
                      <a:pt x="6285" y="6888"/>
                    </a:lnTo>
                    <a:lnTo>
                      <a:pt x="2415" y="7410"/>
                    </a:lnTo>
                    <a:lnTo>
                      <a:pt x="0"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2" name="Freeform: Shape 3401">
                <a:extLst>
                  <a:ext uri="{FF2B5EF4-FFF2-40B4-BE49-F238E27FC236}">
                    <a16:creationId xmlns:a16="http://schemas.microsoft.com/office/drawing/2014/main" id="{4FF919F1-3810-E5BC-8D91-1E9529FDC411}"/>
                  </a:ext>
                </a:extLst>
              </p:cNvPr>
              <p:cNvSpPr/>
              <p:nvPr/>
            </p:nvSpPr>
            <p:spPr>
              <a:xfrm>
                <a:off x="964096" y="3644219"/>
                <a:ext cx="384" cy="787"/>
              </a:xfrm>
              <a:custGeom>
                <a:avLst/>
                <a:gdLst>
                  <a:gd name="connsiteX0" fmla="*/ 27 w 3677"/>
                  <a:gd name="connsiteY0" fmla="*/ 4967 h 7546"/>
                  <a:gd name="connsiteX1" fmla="*/ 1400 w 3677"/>
                  <a:gd name="connsiteY1" fmla="*/ 0 h 7546"/>
                  <a:gd name="connsiteX2" fmla="*/ 3677 w 3677"/>
                  <a:gd name="connsiteY2" fmla="*/ 4583 h 7546"/>
                  <a:gd name="connsiteX3" fmla="*/ 1701 w 3677"/>
                  <a:gd name="connsiteY3" fmla="*/ 7547 h 7546"/>
                  <a:gd name="connsiteX4" fmla="*/ 0 w 3677"/>
                  <a:gd name="connsiteY4" fmla="*/ 4967 h 7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7" h="7546">
                    <a:moveTo>
                      <a:pt x="27" y="4967"/>
                    </a:moveTo>
                    <a:lnTo>
                      <a:pt x="1400" y="0"/>
                    </a:lnTo>
                    <a:lnTo>
                      <a:pt x="3677" y="4583"/>
                    </a:lnTo>
                    <a:lnTo>
                      <a:pt x="1701" y="7547"/>
                    </a:lnTo>
                    <a:lnTo>
                      <a:pt x="0" y="49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3" name="Freeform: Shape 3402">
                <a:extLst>
                  <a:ext uri="{FF2B5EF4-FFF2-40B4-BE49-F238E27FC236}">
                    <a16:creationId xmlns:a16="http://schemas.microsoft.com/office/drawing/2014/main" id="{45D1C7BA-A892-8D67-B7C9-A97300AD2042}"/>
                  </a:ext>
                </a:extLst>
              </p:cNvPr>
              <p:cNvSpPr/>
              <p:nvPr/>
            </p:nvSpPr>
            <p:spPr>
              <a:xfrm>
                <a:off x="1136620" y="3595523"/>
                <a:ext cx="681" cy="544"/>
              </a:xfrm>
              <a:custGeom>
                <a:avLst/>
                <a:gdLst>
                  <a:gd name="connsiteX0" fmla="*/ 27 w 6531"/>
                  <a:gd name="connsiteY0" fmla="*/ 2086 h 5214"/>
                  <a:gd name="connsiteX1" fmla="*/ 988 w 6531"/>
                  <a:gd name="connsiteY1" fmla="*/ 110 h 5214"/>
                  <a:gd name="connsiteX2" fmla="*/ 4391 w 6531"/>
                  <a:gd name="connsiteY2" fmla="*/ 0 h 5214"/>
                  <a:gd name="connsiteX3" fmla="*/ 6531 w 6531"/>
                  <a:gd name="connsiteY3" fmla="*/ 2058 h 5214"/>
                  <a:gd name="connsiteX4" fmla="*/ 6312 w 6531"/>
                  <a:gd name="connsiteY4" fmla="*/ 5214 h 5214"/>
                  <a:gd name="connsiteX5" fmla="*/ 2634 w 6531"/>
                  <a:gd name="connsiteY5" fmla="*/ 4665 h 5214"/>
                  <a:gd name="connsiteX6" fmla="*/ 0 w 6531"/>
                  <a:gd name="connsiteY6" fmla="*/ 2058 h 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5214">
                    <a:moveTo>
                      <a:pt x="27" y="2086"/>
                    </a:moveTo>
                    <a:lnTo>
                      <a:pt x="988" y="110"/>
                    </a:lnTo>
                    <a:lnTo>
                      <a:pt x="4391" y="0"/>
                    </a:lnTo>
                    <a:lnTo>
                      <a:pt x="6531" y="2058"/>
                    </a:lnTo>
                    <a:lnTo>
                      <a:pt x="6312" y="5214"/>
                    </a:lnTo>
                    <a:lnTo>
                      <a:pt x="2634" y="4665"/>
                    </a:lnTo>
                    <a:lnTo>
                      <a:pt x="0"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4" name="Freeform: Shape 3403">
                <a:extLst>
                  <a:ext uri="{FF2B5EF4-FFF2-40B4-BE49-F238E27FC236}">
                    <a16:creationId xmlns:a16="http://schemas.microsoft.com/office/drawing/2014/main" id="{ABCCDFC1-BBE9-BB0E-EC6B-959E567E2296}"/>
                  </a:ext>
                </a:extLst>
              </p:cNvPr>
              <p:cNvSpPr/>
              <p:nvPr/>
            </p:nvSpPr>
            <p:spPr>
              <a:xfrm>
                <a:off x="1113538" y="3554743"/>
                <a:ext cx="461" cy="970"/>
              </a:xfrm>
              <a:custGeom>
                <a:avLst/>
                <a:gdLst>
                  <a:gd name="connsiteX0" fmla="*/ 0 w 4418"/>
                  <a:gd name="connsiteY0" fmla="*/ 8068 h 9303"/>
                  <a:gd name="connsiteX1" fmla="*/ 2525 w 4418"/>
                  <a:gd name="connsiteY1" fmla="*/ 0 h 9303"/>
                  <a:gd name="connsiteX2" fmla="*/ 4418 w 4418"/>
                  <a:gd name="connsiteY2" fmla="*/ 1839 h 9303"/>
                  <a:gd name="connsiteX3" fmla="*/ 1921 w 4418"/>
                  <a:gd name="connsiteY3" fmla="*/ 9303 h 9303"/>
                  <a:gd name="connsiteX4" fmla="*/ 0 w 4418"/>
                  <a:gd name="connsiteY4" fmla="*/ 8068 h 9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9303">
                    <a:moveTo>
                      <a:pt x="0" y="8068"/>
                    </a:moveTo>
                    <a:lnTo>
                      <a:pt x="2525" y="0"/>
                    </a:lnTo>
                    <a:lnTo>
                      <a:pt x="4418" y="1839"/>
                    </a:lnTo>
                    <a:lnTo>
                      <a:pt x="1921" y="9303"/>
                    </a:lnTo>
                    <a:lnTo>
                      <a:pt x="0" y="80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5" name="Freeform: Shape 3404">
                <a:extLst>
                  <a:ext uri="{FF2B5EF4-FFF2-40B4-BE49-F238E27FC236}">
                    <a16:creationId xmlns:a16="http://schemas.microsoft.com/office/drawing/2014/main" id="{DB6D86D9-6681-2EC5-F5DF-CCC04365E5AF}"/>
                  </a:ext>
                </a:extLst>
              </p:cNvPr>
              <p:cNvSpPr/>
              <p:nvPr/>
            </p:nvSpPr>
            <p:spPr>
              <a:xfrm>
                <a:off x="1122348" y="3654870"/>
                <a:ext cx="487" cy="550"/>
              </a:xfrm>
              <a:custGeom>
                <a:avLst/>
                <a:gdLst>
                  <a:gd name="connsiteX0" fmla="*/ 4007 w 4665"/>
                  <a:gd name="connsiteY0" fmla="*/ 2470 h 5269"/>
                  <a:gd name="connsiteX1" fmla="*/ 1838 w 4665"/>
                  <a:gd name="connsiteY1" fmla="*/ 5269 h 5269"/>
                  <a:gd name="connsiteX2" fmla="*/ 0 w 4665"/>
                  <a:gd name="connsiteY2" fmla="*/ 4583 h 5269"/>
                  <a:gd name="connsiteX3" fmla="*/ 3046 w 4665"/>
                  <a:gd name="connsiteY3" fmla="*/ 0 h 5269"/>
                  <a:gd name="connsiteX4" fmla="*/ 4665 w 4665"/>
                  <a:gd name="connsiteY4" fmla="*/ 0 h 5269"/>
                  <a:gd name="connsiteX5" fmla="*/ 4062 w 4665"/>
                  <a:gd name="connsiteY5" fmla="*/ 2497 h 5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5" h="5269">
                    <a:moveTo>
                      <a:pt x="4007" y="2470"/>
                    </a:moveTo>
                    <a:lnTo>
                      <a:pt x="1838" y="5269"/>
                    </a:lnTo>
                    <a:lnTo>
                      <a:pt x="0" y="4583"/>
                    </a:lnTo>
                    <a:lnTo>
                      <a:pt x="3046" y="0"/>
                    </a:lnTo>
                    <a:lnTo>
                      <a:pt x="4665" y="0"/>
                    </a:lnTo>
                    <a:cubicBezTo>
                      <a:pt x="4665" y="0"/>
                      <a:pt x="4062" y="2497"/>
                      <a:pt x="4062" y="2497"/>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6" name="Freeform: Shape 3405">
                <a:extLst>
                  <a:ext uri="{FF2B5EF4-FFF2-40B4-BE49-F238E27FC236}">
                    <a16:creationId xmlns:a16="http://schemas.microsoft.com/office/drawing/2014/main" id="{ABD9D035-F6B2-9633-895B-06786A2B3059}"/>
                  </a:ext>
                </a:extLst>
              </p:cNvPr>
              <p:cNvSpPr/>
              <p:nvPr/>
            </p:nvSpPr>
            <p:spPr>
              <a:xfrm>
                <a:off x="967923" y="3653482"/>
                <a:ext cx="489" cy="535"/>
              </a:xfrm>
              <a:custGeom>
                <a:avLst/>
                <a:gdLst>
                  <a:gd name="connsiteX0" fmla="*/ 0 w 4692"/>
                  <a:gd name="connsiteY0" fmla="*/ 1811 h 5131"/>
                  <a:gd name="connsiteX1" fmla="*/ 2772 w 4692"/>
                  <a:gd name="connsiteY1" fmla="*/ 0 h 5131"/>
                  <a:gd name="connsiteX2" fmla="*/ 4693 w 4692"/>
                  <a:gd name="connsiteY2" fmla="*/ 3540 h 5131"/>
                  <a:gd name="connsiteX3" fmla="*/ 3321 w 4692"/>
                  <a:gd name="connsiteY3" fmla="*/ 5132 h 5131"/>
                  <a:gd name="connsiteX4" fmla="*/ 0 w 4692"/>
                  <a:gd name="connsiteY4" fmla="*/ 1811 h 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5131">
                    <a:moveTo>
                      <a:pt x="0" y="1811"/>
                    </a:moveTo>
                    <a:lnTo>
                      <a:pt x="2772" y="0"/>
                    </a:lnTo>
                    <a:lnTo>
                      <a:pt x="4693" y="3540"/>
                    </a:lnTo>
                    <a:lnTo>
                      <a:pt x="3321" y="5132"/>
                    </a:lnTo>
                    <a:lnTo>
                      <a:pt x="0"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7" name="Freeform: Shape 3406">
                <a:extLst>
                  <a:ext uri="{FF2B5EF4-FFF2-40B4-BE49-F238E27FC236}">
                    <a16:creationId xmlns:a16="http://schemas.microsoft.com/office/drawing/2014/main" id="{F4184583-575A-54A7-C3AB-EE4E4B5FE9A7}"/>
                  </a:ext>
                </a:extLst>
              </p:cNvPr>
              <p:cNvSpPr/>
              <p:nvPr/>
            </p:nvSpPr>
            <p:spPr>
              <a:xfrm>
                <a:off x="1113635" y="3543946"/>
                <a:ext cx="495" cy="904"/>
              </a:xfrm>
              <a:custGeom>
                <a:avLst/>
                <a:gdLst>
                  <a:gd name="connsiteX0" fmla="*/ 0 w 4747"/>
                  <a:gd name="connsiteY0" fmla="*/ 3238 h 8672"/>
                  <a:gd name="connsiteX1" fmla="*/ 604 w 4747"/>
                  <a:gd name="connsiteY1" fmla="*/ 0 h 8672"/>
                  <a:gd name="connsiteX2" fmla="*/ 4748 w 4747"/>
                  <a:gd name="connsiteY2" fmla="*/ 4007 h 8672"/>
                  <a:gd name="connsiteX3" fmla="*/ 2662 w 4747"/>
                  <a:gd name="connsiteY3" fmla="*/ 8672 h 8672"/>
                  <a:gd name="connsiteX4" fmla="*/ 0 w 4747"/>
                  <a:gd name="connsiteY4" fmla="*/ 3238 h 8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7" h="8672">
                    <a:moveTo>
                      <a:pt x="0" y="3238"/>
                    </a:moveTo>
                    <a:lnTo>
                      <a:pt x="604" y="0"/>
                    </a:lnTo>
                    <a:lnTo>
                      <a:pt x="4748" y="4007"/>
                    </a:lnTo>
                    <a:lnTo>
                      <a:pt x="2662" y="8672"/>
                    </a:lnTo>
                    <a:lnTo>
                      <a:pt x="0"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8" name="Freeform: Shape 3407">
                <a:extLst>
                  <a:ext uri="{FF2B5EF4-FFF2-40B4-BE49-F238E27FC236}">
                    <a16:creationId xmlns:a16="http://schemas.microsoft.com/office/drawing/2014/main" id="{A3AAE8F9-733B-C512-A0AB-8E2AB88BDC65}"/>
                  </a:ext>
                </a:extLst>
              </p:cNvPr>
              <p:cNvSpPr/>
              <p:nvPr/>
            </p:nvSpPr>
            <p:spPr>
              <a:xfrm>
                <a:off x="1140092" y="3523841"/>
                <a:ext cx="467" cy="1053"/>
              </a:xfrm>
              <a:custGeom>
                <a:avLst/>
                <a:gdLst>
                  <a:gd name="connsiteX0" fmla="*/ 3760 w 4473"/>
                  <a:gd name="connsiteY0" fmla="*/ 9550 h 10098"/>
                  <a:gd name="connsiteX1" fmla="*/ 521 w 4473"/>
                  <a:gd name="connsiteY1" fmla="*/ 10099 h 10098"/>
                  <a:gd name="connsiteX2" fmla="*/ 0 w 4473"/>
                  <a:gd name="connsiteY2" fmla="*/ 6833 h 10098"/>
                  <a:gd name="connsiteX3" fmla="*/ 4473 w 4473"/>
                  <a:gd name="connsiteY3" fmla="*/ 0 h 10098"/>
                  <a:gd name="connsiteX4" fmla="*/ 3760 w 4473"/>
                  <a:gd name="connsiteY4" fmla="*/ 9578 h 1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3" h="10098">
                    <a:moveTo>
                      <a:pt x="3760" y="9550"/>
                    </a:moveTo>
                    <a:lnTo>
                      <a:pt x="521" y="10099"/>
                    </a:lnTo>
                    <a:lnTo>
                      <a:pt x="0" y="6833"/>
                    </a:lnTo>
                    <a:lnTo>
                      <a:pt x="4473" y="0"/>
                    </a:lnTo>
                    <a:lnTo>
                      <a:pt x="3760" y="95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9" name="Freeform: Shape 3408">
                <a:extLst>
                  <a:ext uri="{FF2B5EF4-FFF2-40B4-BE49-F238E27FC236}">
                    <a16:creationId xmlns:a16="http://schemas.microsoft.com/office/drawing/2014/main" id="{E0E7756E-E001-B139-ED2F-AA3A92A5D8B0}"/>
                  </a:ext>
                </a:extLst>
              </p:cNvPr>
              <p:cNvSpPr/>
              <p:nvPr/>
            </p:nvSpPr>
            <p:spPr>
              <a:xfrm>
                <a:off x="1143435" y="3589434"/>
                <a:ext cx="395" cy="879"/>
              </a:xfrm>
              <a:custGeom>
                <a:avLst/>
                <a:gdLst>
                  <a:gd name="connsiteX0" fmla="*/ 0 w 3787"/>
                  <a:gd name="connsiteY0" fmla="*/ 3705 h 8425"/>
                  <a:gd name="connsiteX1" fmla="*/ 2305 w 3787"/>
                  <a:gd name="connsiteY1" fmla="*/ 0 h 8425"/>
                  <a:gd name="connsiteX2" fmla="*/ 3787 w 3787"/>
                  <a:gd name="connsiteY2" fmla="*/ 5900 h 8425"/>
                  <a:gd name="connsiteX3" fmla="*/ 2552 w 3787"/>
                  <a:gd name="connsiteY3" fmla="*/ 8425 h 8425"/>
                  <a:gd name="connsiteX4" fmla="*/ 0 w 3787"/>
                  <a:gd name="connsiteY4" fmla="*/ 3705 h 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8425">
                    <a:moveTo>
                      <a:pt x="0" y="3705"/>
                    </a:moveTo>
                    <a:lnTo>
                      <a:pt x="2305" y="0"/>
                    </a:lnTo>
                    <a:lnTo>
                      <a:pt x="3787" y="5900"/>
                    </a:lnTo>
                    <a:lnTo>
                      <a:pt x="2552" y="8425"/>
                    </a:lnTo>
                    <a:lnTo>
                      <a:pt x="0"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0" name="Freeform: Shape 3409">
                <a:extLst>
                  <a:ext uri="{FF2B5EF4-FFF2-40B4-BE49-F238E27FC236}">
                    <a16:creationId xmlns:a16="http://schemas.microsoft.com/office/drawing/2014/main" id="{12A10FC5-45AB-A302-1FC7-B02E61305B77}"/>
                  </a:ext>
                </a:extLst>
              </p:cNvPr>
              <p:cNvSpPr/>
              <p:nvPr/>
            </p:nvSpPr>
            <p:spPr>
              <a:xfrm>
                <a:off x="1066710" y="3462124"/>
                <a:ext cx="664" cy="1030"/>
              </a:xfrm>
              <a:custGeom>
                <a:avLst/>
                <a:gdLst>
                  <a:gd name="connsiteX0" fmla="*/ 6175 w 6366"/>
                  <a:gd name="connsiteY0" fmla="*/ 4940 h 9879"/>
                  <a:gd name="connsiteX1" fmla="*/ 2854 w 6366"/>
                  <a:gd name="connsiteY1" fmla="*/ 9879 h 9879"/>
                  <a:gd name="connsiteX2" fmla="*/ 0 w 6366"/>
                  <a:gd name="connsiteY2" fmla="*/ 5297 h 9879"/>
                  <a:gd name="connsiteX3" fmla="*/ 1647 w 6366"/>
                  <a:gd name="connsiteY3" fmla="*/ 576 h 9879"/>
                  <a:gd name="connsiteX4" fmla="*/ 6367 w 6366"/>
                  <a:gd name="connsiteY4" fmla="*/ 0 h 9879"/>
                  <a:gd name="connsiteX5" fmla="*/ 6175 w 6366"/>
                  <a:gd name="connsiteY5" fmla="*/ 4940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66" h="9879">
                    <a:moveTo>
                      <a:pt x="6175" y="4940"/>
                    </a:moveTo>
                    <a:lnTo>
                      <a:pt x="2854" y="9879"/>
                    </a:lnTo>
                    <a:lnTo>
                      <a:pt x="0" y="5297"/>
                    </a:lnTo>
                    <a:lnTo>
                      <a:pt x="1647" y="576"/>
                    </a:lnTo>
                    <a:lnTo>
                      <a:pt x="6367" y="0"/>
                    </a:lnTo>
                    <a:lnTo>
                      <a:pt x="6175" y="49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1" name="Freeform: Shape 3410">
                <a:extLst>
                  <a:ext uri="{FF2B5EF4-FFF2-40B4-BE49-F238E27FC236}">
                    <a16:creationId xmlns:a16="http://schemas.microsoft.com/office/drawing/2014/main" id="{B318D0EE-1C41-5F6F-795F-24BFD94F2733}"/>
                  </a:ext>
                </a:extLst>
              </p:cNvPr>
              <p:cNvSpPr/>
              <p:nvPr/>
            </p:nvSpPr>
            <p:spPr>
              <a:xfrm>
                <a:off x="1160214" y="3593373"/>
                <a:ext cx="426" cy="801"/>
              </a:xfrm>
              <a:custGeom>
                <a:avLst/>
                <a:gdLst>
                  <a:gd name="connsiteX0" fmla="*/ 0 w 4088"/>
                  <a:gd name="connsiteY0" fmla="*/ 3842 h 7684"/>
                  <a:gd name="connsiteX1" fmla="*/ 2772 w 4088"/>
                  <a:gd name="connsiteY1" fmla="*/ 0 h 7684"/>
                  <a:gd name="connsiteX2" fmla="*/ 4089 w 4088"/>
                  <a:gd name="connsiteY2" fmla="*/ 4748 h 7684"/>
                  <a:gd name="connsiteX3" fmla="*/ 3321 w 4088"/>
                  <a:gd name="connsiteY3" fmla="*/ 7684 h 7684"/>
                  <a:gd name="connsiteX4" fmla="*/ 27 w 4088"/>
                  <a:gd name="connsiteY4" fmla="*/ 3842 h 7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7684">
                    <a:moveTo>
                      <a:pt x="0" y="3842"/>
                    </a:moveTo>
                    <a:lnTo>
                      <a:pt x="2772" y="0"/>
                    </a:lnTo>
                    <a:lnTo>
                      <a:pt x="4089" y="4748"/>
                    </a:lnTo>
                    <a:lnTo>
                      <a:pt x="3321" y="7684"/>
                    </a:lnTo>
                    <a:lnTo>
                      <a:pt x="27" y="38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2" name="Freeform: Shape 3411">
                <a:extLst>
                  <a:ext uri="{FF2B5EF4-FFF2-40B4-BE49-F238E27FC236}">
                    <a16:creationId xmlns:a16="http://schemas.microsoft.com/office/drawing/2014/main" id="{799F57C8-EF06-4BBB-1E24-12053BCCD3A4}"/>
                  </a:ext>
                </a:extLst>
              </p:cNvPr>
              <p:cNvSpPr/>
              <p:nvPr/>
            </p:nvSpPr>
            <p:spPr>
              <a:xfrm>
                <a:off x="1174391" y="3572624"/>
                <a:ext cx="438" cy="856"/>
              </a:xfrm>
              <a:custGeom>
                <a:avLst/>
                <a:gdLst>
                  <a:gd name="connsiteX0" fmla="*/ 27 w 4198"/>
                  <a:gd name="connsiteY0" fmla="*/ 2415 h 8205"/>
                  <a:gd name="connsiteX1" fmla="*/ 1125 w 4198"/>
                  <a:gd name="connsiteY1" fmla="*/ 0 h 8205"/>
                  <a:gd name="connsiteX2" fmla="*/ 1866 w 4198"/>
                  <a:gd name="connsiteY2" fmla="*/ 2223 h 8205"/>
                  <a:gd name="connsiteX3" fmla="*/ 4199 w 4198"/>
                  <a:gd name="connsiteY3" fmla="*/ 2058 h 8205"/>
                  <a:gd name="connsiteX4" fmla="*/ 3979 w 4198"/>
                  <a:gd name="connsiteY4" fmla="*/ 7190 h 8205"/>
                  <a:gd name="connsiteX5" fmla="*/ 3074 w 4198"/>
                  <a:gd name="connsiteY5" fmla="*/ 8206 h 8205"/>
                  <a:gd name="connsiteX6" fmla="*/ 0 w 4198"/>
                  <a:gd name="connsiteY6" fmla="*/ 2415 h 8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 h="8205">
                    <a:moveTo>
                      <a:pt x="27" y="2415"/>
                    </a:moveTo>
                    <a:lnTo>
                      <a:pt x="1125" y="0"/>
                    </a:lnTo>
                    <a:lnTo>
                      <a:pt x="1866" y="2223"/>
                    </a:lnTo>
                    <a:lnTo>
                      <a:pt x="4199" y="2058"/>
                    </a:lnTo>
                    <a:lnTo>
                      <a:pt x="3979" y="7190"/>
                    </a:lnTo>
                    <a:lnTo>
                      <a:pt x="3074" y="8206"/>
                    </a:lnTo>
                    <a:lnTo>
                      <a:pt x="0"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3" name="Freeform: Shape 3412">
                <a:extLst>
                  <a:ext uri="{FF2B5EF4-FFF2-40B4-BE49-F238E27FC236}">
                    <a16:creationId xmlns:a16="http://schemas.microsoft.com/office/drawing/2014/main" id="{BEF3FC94-39E8-8638-6707-573030431CBA}"/>
                  </a:ext>
                </a:extLst>
              </p:cNvPr>
              <p:cNvSpPr/>
              <p:nvPr/>
            </p:nvSpPr>
            <p:spPr>
              <a:xfrm>
                <a:off x="1177385" y="3633984"/>
                <a:ext cx="478" cy="575"/>
              </a:xfrm>
              <a:custGeom>
                <a:avLst/>
                <a:gdLst>
                  <a:gd name="connsiteX0" fmla="*/ 0 w 4583"/>
                  <a:gd name="connsiteY0" fmla="*/ 1564 h 5516"/>
                  <a:gd name="connsiteX1" fmla="*/ 659 w 4583"/>
                  <a:gd name="connsiteY1" fmla="*/ 0 h 5516"/>
                  <a:gd name="connsiteX2" fmla="*/ 4583 w 4583"/>
                  <a:gd name="connsiteY2" fmla="*/ 1537 h 5516"/>
                  <a:gd name="connsiteX3" fmla="*/ 3348 w 4583"/>
                  <a:gd name="connsiteY3" fmla="*/ 5516 h 5516"/>
                  <a:gd name="connsiteX4" fmla="*/ 0 w 4583"/>
                  <a:gd name="connsiteY4" fmla="*/ 1564 h 5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 h="5516">
                    <a:moveTo>
                      <a:pt x="0" y="1564"/>
                    </a:moveTo>
                    <a:lnTo>
                      <a:pt x="659" y="0"/>
                    </a:lnTo>
                    <a:lnTo>
                      <a:pt x="4583" y="1537"/>
                    </a:lnTo>
                    <a:lnTo>
                      <a:pt x="3348" y="5516"/>
                    </a:lnTo>
                    <a:lnTo>
                      <a:pt x="0"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4" name="Freeform: Shape 3413">
                <a:extLst>
                  <a:ext uri="{FF2B5EF4-FFF2-40B4-BE49-F238E27FC236}">
                    <a16:creationId xmlns:a16="http://schemas.microsoft.com/office/drawing/2014/main" id="{BEA80B24-799E-5299-C661-CB883AC270F8}"/>
                  </a:ext>
                </a:extLst>
              </p:cNvPr>
              <p:cNvSpPr/>
              <p:nvPr/>
            </p:nvSpPr>
            <p:spPr>
              <a:xfrm>
                <a:off x="1109164" y="3573294"/>
                <a:ext cx="607" cy="612"/>
              </a:xfrm>
              <a:custGeom>
                <a:avLst/>
                <a:gdLst>
                  <a:gd name="connsiteX0" fmla="*/ 0 w 5817"/>
                  <a:gd name="connsiteY0" fmla="*/ 2140 h 5872"/>
                  <a:gd name="connsiteX1" fmla="*/ 522 w 5817"/>
                  <a:gd name="connsiteY1" fmla="*/ 714 h 5872"/>
                  <a:gd name="connsiteX2" fmla="*/ 5297 w 5817"/>
                  <a:gd name="connsiteY2" fmla="*/ 0 h 5872"/>
                  <a:gd name="connsiteX3" fmla="*/ 5818 w 5817"/>
                  <a:gd name="connsiteY3" fmla="*/ 1949 h 5872"/>
                  <a:gd name="connsiteX4" fmla="*/ 2223 w 5817"/>
                  <a:gd name="connsiteY4" fmla="*/ 5873 h 5872"/>
                  <a:gd name="connsiteX5" fmla="*/ 27 w 5817"/>
                  <a:gd name="connsiteY5" fmla="*/ 2140 h 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7" h="5872">
                    <a:moveTo>
                      <a:pt x="0" y="2140"/>
                    </a:moveTo>
                    <a:lnTo>
                      <a:pt x="522" y="714"/>
                    </a:lnTo>
                    <a:lnTo>
                      <a:pt x="5297" y="0"/>
                    </a:lnTo>
                    <a:lnTo>
                      <a:pt x="5818" y="1949"/>
                    </a:lnTo>
                    <a:lnTo>
                      <a:pt x="2223" y="5873"/>
                    </a:lnTo>
                    <a:lnTo>
                      <a:pt x="27" y="21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5" name="Freeform: Shape 3414">
                <a:extLst>
                  <a:ext uri="{FF2B5EF4-FFF2-40B4-BE49-F238E27FC236}">
                    <a16:creationId xmlns:a16="http://schemas.microsoft.com/office/drawing/2014/main" id="{B63E2323-92CC-AAD1-1E91-941173BD873C}"/>
                  </a:ext>
                </a:extLst>
              </p:cNvPr>
              <p:cNvSpPr/>
              <p:nvPr/>
            </p:nvSpPr>
            <p:spPr>
              <a:xfrm>
                <a:off x="971103" y="3657051"/>
                <a:ext cx="461" cy="535"/>
              </a:xfrm>
              <a:custGeom>
                <a:avLst/>
                <a:gdLst>
                  <a:gd name="connsiteX0" fmla="*/ 0 w 4418"/>
                  <a:gd name="connsiteY0" fmla="*/ 2634 h 5131"/>
                  <a:gd name="connsiteX1" fmla="*/ 2854 w 4418"/>
                  <a:gd name="connsiteY1" fmla="*/ 0 h 5131"/>
                  <a:gd name="connsiteX2" fmla="*/ 4418 w 4418"/>
                  <a:gd name="connsiteY2" fmla="*/ 2360 h 5131"/>
                  <a:gd name="connsiteX3" fmla="*/ 3238 w 4418"/>
                  <a:gd name="connsiteY3" fmla="*/ 5132 h 5131"/>
                  <a:gd name="connsiteX4" fmla="*/ 27 w 4418"/>
                  <a:gd name="connsiteY4" fmla="*/ 2634 h 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5131">
                    <a:moveTo>
                      <a:pt x="0" y="2634"/>
                    </a:moveTo>
                    <a:lnTo>
                      <a:pt x="2854" y="0"/>
                    </a:lnTo>
                    <a:lnTo>
                      <a:pt x="4418" y="2360"/>
                    </a:lnTo>
                    <a:lnTo>
                      <a:pt x="3238" y="5132"/>
                    </a:lnTo>
                    <a:lnTo>
                      <a:pt x="27"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6" name="Freeform: Shape 3415">
                <a:extLst>
                  <a:ext uri="{FF2B5EF4-FFF2-40B4-BE49-F238E27FC236}">
                    <a16:creationId xmlns:a16="http://schemas.microsoft.com/office/drawing/2014/main" id="{0B12449D-CE1C-2675-2E2C-193BEFC6FB81}"/>
                  </a:ext>
                </a:extLst>
              </p:cNvPr>
              <p:cNvSpPr/>
              <p:nvPr/>
            </p:nvSpPr>
            <p:spPr>
              <a:xfrm>
                <a:off x="1087786" y="3542629"/>
                <a:ext cx="452" cy="959"/>
              </a:xfrm>
              <a:custGeom>
                <a:avLst/>
                <a:gdLst>
                  <a:gd name="connsiteX0" fmla="*/ 0 w 4336"/>
                  <a:gd name="connsiteY0" fmla="*/ 4199 h 9193"/>
                  <a:gd name="connsiteX1" fmla="*/ 1756 w 4336"/>
                  <a:gd name="connsiteY1" fmla="*/ 0 h 9193"/>
                  <a:gd name="connsiteX2" fmla="*/ 4336 w 4336"/>
                  <a:gd name="connsiteY2" fmla="*/ 2031 h 9193"/>
                  <a:gd name="connsiteX3" fmla="*/ 1866 w 4336"/>
                  <a:gd name="connsiteY3" fmla="*/ 9193 h 9193"/>
                  <a:gd name="connsiteX4" fmla="*/ 0 w 4336"/>
                  <a:gd name="connsiteY4" fmla="*/ 4171 h 9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9193">
                    <a:moveTo>
                      <a:pt x="0" y="4199"/>
                    </a:moveTo>
                    <a:lnTo>
                      <a:pt x="1756" y="0"/>
                    </a:lnTo>
                    <a:lnTo>
                      <a:pt x="4336" y="2031"/>
                    </a:lnTo>
                    <a:lnTo>
                      <a:pt x="1866" y="9193"/>
                    </a:lnTo>
                    <a:lnTo>
                      <a:pt x="0" y="41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7" name="Freeform: Shape 3416">
                <a:extLst>
                  <a:ext uri="{FF2B5EF4-FFF2-40B4-BE49-F238E27FC236}">
                    <a16:creationId xmlns:a16="http://schemas.microsoft.com/office/drawing/2014/main" id="{1D5DEDE8-CB0B-F1E7-C76E-004AE0E5ED53}"/>
                  </a:ext>
                </a:extLst>
              </p:cNvPr>
              <p:cNvSpPr/>
              <p:nvPr/>
            </p:nvSpPr>
            <p:spPr>
              <a:xfrm>
                <a:off x="1120908" y="3624819"/>
                <a:ext cx="335" cy="850"/>
              </a:xfrm>
              <a:custGeom>
                <a:avLst/>
                <a:gdLst>
                  <a:gd name="connsiteX0" fmla="*/ 2772 w 3210"/>
                  <a:gd name="connsiteY0" fmla="*/ 5022 h 8150"/>
                  <a:gd name="connsiteX1" fmla="*/ 878 w 3210"/>
                  <a:gd name="connsiteY1" fmla="*/ 8150 h 8150"/>
                  <a:gd name="connsiteX2" fmla="*/ 0 w 3210"/>
                  <a:gd name="connsiteY2" fmla="*/ 6916 h 8150"/>
                  <a:gd name="connsiteX3" fmla="*/ 1647 w 3210"/>
                  <a:gd name="connsiteY3" fmla="*/ 878 h 8150"/>
                  <a:gd name="connsiteX4" fmla="*/ 3211 w 3210"/>
                  <a:gd name="connsiteY4" fmla="*/ 0 h 8150"/>
                  <a:gd name="connsiteX5" fmla="*/ 2799 w 3210"/>
                  <a:gd name="connsiteY5" fmla="*/ 5022 h 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0" h="8150">
                    <a:moveTo>
                      <a:pt x="2772" y="5022"/>
                    </a:moveTo>
                    <a:lnTo>
                      <a:pt x="878" y="8150"/>
                    </a:lnTo>
                    <a:lnTo>
                      <a:pt x="0" y="6916"/>
                    </a:lnTo>
                    <a:lnTo>
                      <a:pt x="1647" y="878"/>
                    </a:lnTo>
                    <a:lnTo>
                      <a:pt x="3211" y="0"/>
                    </a:lnTo>
                    <a:lnTo>
                      <a:pt x="2799" y="50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8" name="Freeform: Shape 3417">
                <a:extLst>
                  <a:ext uri="{FF2B5EF4-FFF2-40B4-BE49-F238E27FC236}">
                    <a16:creationId xmlns:a16="http://schemas.microsoft.com/office/drawing/2014/main" id="{678A14EE-67AC-B377-1823-913C15299DA9}"/>
                  </a:ext>
                </a:extLst>
              </p:cNvPr>
              <p:cNvSpPr/>
              <p:nvPr/>
            </p:nvSpPr>
            <p:spPr>
              <a:xfrm>
                <a:off x="1175318" y="3678710"/>
                <a:ext cx="426" cy="515"/>
              </a:xfrm>
              <a:custGeom>
                <a:avLst/>
                <a:gdLst>
                  <a:gd name="connsiteX0" fmla="*/ 0 w 4088"/>
                  <a:gd name="connsiteY0" fmla="*/ 3458 h 4939"/>
                  <a:gd name="connsiteX1" fmla="*/ 2333 w 4088"/>
                  <a:gd name="connsiteY1" fmla="*/ 0 h 4939"/>
                  <a:gd name="connsiteX2" fmla="*/ 4089 w 4088"/>
                  <a:gd name="connsiteY2" fmla="*/ 1866 h 4939"/>
                  <a:gd name="connsiteX3" fmla="*/ 2662 w 4088"/>
                  <a:gd name="connsiteY3" fmla="*/ 4940 h 4939"/>
                  <a:gd name="connsiteX4" fmla="*/ 0 w 4088"/>
                  <a:gd name="connsiteY4" fmla="*/ 3458 h 4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4939">
                    <a:moveTo>
                      <a:pt x="0" y="3458"/>
                    </a:moveTo>
                    <a:lnTo>
                      <a:pt x="2333" y="0"/>
                    </a:lnTo>
                    <a:lnTo>
                      <a:pt x="4089" y="1866"/>
                    </a:lnTo>
                    <a:lnTo>
                      <a:pt x="2662" y="4940"/>
                    </a:lnTo>
                    <a:lnTo>
                      <a:pt x="0" y="34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9" name="Freeform: Shape 3418">
                <a:extLst>
                  <a:ext uri="{FF2B5EF4-FFF2-40B4-BE49-F238E27FC236}">
                    <a16:creationId xmlns:a16="http://schemas.microsoft.com/office/drawing/2014/main" id="{3129E676-329D-9A2F-384F-89BD14D995C8}"/>
                  </a:ext>
                </a:extLst>
              </p:cNvPr>
              <p:cNvSpPr/>
              <p:nvPr/>
            </p:nvSpPr>
            <p:spPr>
              <a:xfrm>
                <a:off x="1119328" y="3544547"/>
                <a:ext cx="504" cy="833"/>
              </a:xfrm>
              <a:custGeom>
                <a:avLst/>
                <a:gdLst>
                  <a:gd name="connsiteX0" fmla="*/ 0 w 4829"/>
                  <a:gd name="connsiteY0" fmla="*/ 3540 h 7985"/>
                  <a:gd name="connsiteX1" fmla="*/ 1372 w 4829"/>
                  <a:gd name="connsiteY1" fmla="*/ 0 h 7985"/>
                  <a:gd name="connsiteX2" fmla="*/ 4830 w 4829"/>
                  <a:gd name="connsiteY2" fmla="*/ 2991 h 7985"/>
                  <a:gd name="connsiteX3" fmla="*/ 3074 w 4829"/>
                  <a:gd name="connsiteY3" fmla="*/ 7986 h 7985"/>
                  <a:gd name="connsiteX4" fmla="*/ 0 w 4829"/>
                  <a:gd name="connsiteY4" fmla="*/ 3568 h 7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9" h="7985">
                    <a:moveTo>
                      <a:pt x="0" y="3540"/>
                    </a:moveTo>
                    <a:lnTo>
                      <a:pt x="1372" y="0"/>
                    </a:lnTo>
                    <a:lnTo>
                      <a:pt x="4830" y="2991"/>
                    </a:lnTo>
                    <a:lnTo>
                      <a:pt x="3074" y="7986"/>
                    </a:lnTo>
                    <a:lnTo>
                      <a:pt x="0" y="35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0" name="Freeform: Shape 3419">
                <a:extLst>
                  <a:ext uri="{FF2B5EF4-FFF2-40B4-BE49-F238E27FC236}">
                    <a16:creationId xmlns:a16="http://schemas.microsoft.com/office/drawing/2014/main" id="{DEA2C305-E8C9-2F67-F301-CC6C27115020}"/>
                  </a:ext>
                </a:extLst>
              </p:cNvPr>
              <p:cNvSpPr/>
              <p:nvPr/>
            </p:nvSpPr>
            <p:spPr>
              <a:xfrm>
                <a:off x="1067809" y="3479964"/>
                <a:ext cx="412" cy="1440"/>
              </a:xfrm>
              <a:custGeom>
                <a:avLst/>
                <a:gdLst>
                  <a:gd name="connsiteX0" fmla="*/ 0 w 3951"/>
                  <a:gd name="connsiteY0" fmla="*/ 6751 h 13803"/>
                  <a:gd name="connsiteX1" fmla="*/ 2195 w 3951"/>
                  <a:gd name="connsiteY1" fmla="*/ 0 h 13803"/>
                  <a:gd name="connsiteX2" fmla="*/ 3952 w 3951"/>
                  <a:gd name="connsiteY2" fmla="*/ 9825 h 13803"/>
                  <a:gd name="connsiteX3" fmla="*/ 1647 w 3951"/>
                  <a:gd name="connsiteY3" fmla="*/ 13804 h 13803"/>
                  <a:gd name="connsiteX4" fmla="*/ 0 w 3951"/>
                  <a:gd name="connsiteY4" fmla="*/ 6751 h 13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13803">
                    <a:moveTo>
                      <a:pt x="0" y="6751"/>
                    </a:moveTo>
                    <a:lnTo>
                      <a:pt x="2195" y="0"/>
                    </a:lnTo>
                    <a:lnTo>
                      <a:pt x="3952" y="9825"/>
                    </a:lnTo>
                    <a:lnTo>
                      <a:pt x="1647" y="13804"/>
                    </a:lnTo>
                    <a:lnTo>
                      <a:pt x="0" y="67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1" name="Freeform: Shape 3420">
                <a:extLst>
                  <a:ext uri="{FF2B5EF4-FFF2-40B4-BE49-F238E27FC236}">
                    <a16:creationId xmlns:a16="http://schemas.microsoft.com/office/drawing/2014/main" id="{C0DDA9BF-A96B-2A46-BF9A-D5EE0BB81E42}"/>
                  </a:ext>
                </a:extLst>
              </p:cNvPr>
              <p:cNvSpPr/>
              <p:nvPr/>
            </p:nvSpPr>
            <p:spPr>
              <a:xfrm>
                <a:off x="1122068" y="3632275"/>
                <a:ext cx="555" cy="478"/>
              </a:xfrm>
              <a:custGeom>
                <a:avLst/>
                <a:gdLst>
                  <a:gd name="connsiteX0" fmla="*/ 0 w 5324"/>
                  <a:gd name="connsiteY0" fmla="*/ 2936 h 4583"/>
                  <a:gd name="connsiteX1" fmla="*/ 3595 w 5324"/>
                  <a:gd name="connsiteY1" fmla="*/ 0 h 4583"/>
                  <a:gd name="connsiteX2" fmla="*/ 5324 w 5324"/>
                  <a:gd name="connsiteY2" fmla="*/ 3320 h 4583"/>
                  <a:gd name="connsiteX3" fmla="*/ 823 w 5324"/>
                  <a:gd name="connsiteY3" fmla="*/ 4583 h 4583"/>
                  <a:gd name="connsiteX4" fmla="*/ 27 w 5324"/>
                  <a:gd name="connsiteY4" fmla="*/ 2909 h 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 h="4583">
                    <a:moveTo>
                      <a:pt x="0" y="2936"/>
                    </a:moveTo>
                    <a:lnTo>
                      <a:pt x="3595" y="0"/>
                    </a:lnTo>
                    <a:lnTo>
                      <a:pt x="5324" y="3320"/>
                    </a:lnTo>
                    <a:lnTo>
                      <a:pt x="823" y="4583"/>
                    </a:lnTo>
                    <a:lnTo>
                      <a:pt x="27"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2" name="Freeform: Shape 3421">
                <a:extLst>
                  <a:ext uri="{FF2B5EF4-FFF2-40B4-BE49-F238E27FC236}">
                    <a16:creationId xmlns:a16="http://schemas.microsoft.com/office/drawing/2014/main" id="{6FDCD4A1-9966-2F63-B313-6CE58F0F4638}"/>
                  </a:ext>
                </a:extLst>
              </p:cNvPr>
              <p:cNvSpPr/>
              <p:nvPr/>
            </p:nvSpPr>
            <p:spPr>
              <a:xfrm>
                <a:off x="962201" y="3653908"/>
                <a:ext cx="398" cy="598"/>
              </a:xfrm>
              <a:custGeom>
                <a:avLst/>
                <a:gdLst>
                  <a:gd name="connsiteX0" fmla="*/ 0 w 3814"/>
                  <a:gd name="connsiteY0" fmla="*/ 3156 h 5735"/>
                  <a:gd name="connsiteX1" fmla="*/ 1784 w 3814"/>
                  <a:gd name="connsiteY1" fmla="*/ 0 h 5735"/>
                  <a:gd name="connsiteX2" fmla="*/ 3815 w 3814"/>
                  <a:gd name="connsiteY2" fmla="*/ 4473 h 5735"/>
                  <a:gd name="connsiteX3" fmla="*/ 988 w 3814"/>
                  <a:gd name="connsiteY3" fmla="*/ 5736 h 5735"/>
                  <a:gd name="connsiteX4" fmla="*/ 0 w 3814"/>
                  <a:gd name="connsiteY4" fmla="*/ 3156 h 5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5735">
                    <a:moveTo>
                      <a:pt x="0" y="3156"/>
                    </a:moveTo>
                    <a:lnTo>
                      <a:pt x="1784" y="0"/>
                    </a:lnTo>
                    <a:lnTo>
                      <a:pt x="3815" y="4473"/>
                    </a:lnTo>
                    <a:lnTo>
                      <a:pt x="988" y="5736"/>
                    </a:lnTo>
                    <a:lnTo>
                      <a:pt x="0"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3" name="Freeform: Shape 3422">
                <a:extLst>
                  <a:ext uri="{FF2B5EF4-FFF2-40B4-BE49-F238E27FC236}">
                    <a16:creationId xmlns:a16="http://schemas.microsoft.com/office/drawing/2014/main" id="{22C4B859-CABD-9C43-68D3-A106BDC2168D}"/>
                  </a:ext>
                </a:extLst>
              </p:cNvPr>
              <p:cNvSpPr/>
              <p:nvPr/>
            </p:nvSpPr>
            <p:spPr>
              <a:xfrm>
                <a:off x="1123507" y="3654684"/>
                <a:ext cx="518" cy="461"/>
              </a:xfrm>
              <a:custGeom>
                <a:avLst/>
                <a:gdLst>
                  <a:gd name="connsiteX0" fmla="*/ 0 w 4967"/>
                  <a:gd name="connsiteY0" fmla="*/ 3677 h 4418"/>
                  <a:gd name="connsiteX1" fmla="*/ 1839 w 4967"/>
                  <a:gd name="connsiteY1" fmla="*/ 1125 h 4418"/>
                  <a:gd name="connsiteX2" fmla="*/ 3870 w 4967"/>
                  <a:gd name="connsiteY2" fmla="*/ 0 h 4418"/>
                  <a:gd name="connsiteX3" fmla="*/ 4967 w 4967"/>
                  <a:gd name="connsiteY3" fmla="*/ 2854 h 4418"/>
                  <a:gd name="connsiteX4" fmla="*/ 1317 w 4967"/>
                  <a:gd name="connsiteY4" fmla="*/ 4418 h 4418"/>
                  <a:gd name="connsiteX5" fmla="*/ 0 w 4967"/>
                  <a:gd name="connsiteY5" fmla="*/ 3705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 h="4418">
                    <a:moveTo>
                      <a:pt x="0" y="3677"/>
                    </a:moveTo>
                    <a:lnTo>
                      <a:pt x="1839" y="1125"/>
                    </a:lnTo>
                    <a:lnTo>
                      <a:pt x="3870" y="0"/>
                    </a:lnTo>
                    <a:lnTo>
                      <a:pt x="4967" y="2854"/>
                    </a:lnTo>
                    <a:lnTo>
                      <a:pt x="1317" y="4418"/>
                    </a:lnTo>
                    <a:lnTo>
                      <a:pt x="0"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4" name="Freeform: Shape 3423">
                <a:extLst>
                  <a:ext uri="{FF2B5EF4-FFF2-40B4-BE49-F238E27FC236}">
                    <a16:creationId xmlns:a16="http://schemas.microsoft.com/office/drawing/2014/main" id="{FC6216FF-F033-C8D2-4FA9-530A78B2C3DB}"/>
                  </a:ext>
                </a:extLst>
              </p:cNvPr>
              <p:cNvSpPr/>
              <p:nvPr/>
            </p:nvSpPr>
            <p:spPr>
              <a:xfrm>
                <a:off x="1113194" y="3553483"/>
                <a:ext cx="610" cy="644"/>
              </a:xfrm>
              <a:custGeom>
                <a:avLst/>
                <a:gdLst>
                  <a:gd name="connsiteX0" fmla="*/ 0 w 5845"/>
                  <a:gd name="connsiteY0" fmla="*/ 1345 h 6174"/>
                  <a:gd name="connsiteX1" fmla="*/ 631 w 5845"/>
                  <a:gd name="connsiteY1" fmla="*/ 0 h 6174"/>
                  <a:gd name="connsiteX2" fmla="*/ 5845 w 5845"/>
                  <a:gd name="connsiteY2" fmla="*/ 2580 h 6174"/>
                  <a:gd name="connsiteX3" fmla="*/ 5845 w 5845"/>
                  <a:gd name="connsiteY3" fmla="*/ 6175 h 6174"/>
                  <a:gd name="connsiteX4" fmla="*/ 247 w 5845"/>
                  <a:gd name="connsiteY4" fmla="*/ 2964 h 6174"/>
                  <a:gd name="connsiteX5" fmla="*/ 0 w 5845"/>
                  <a:gd name="connsiteY5" fmla="*/ 1345 h 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5" h="6174">
                    <a:moveTo>
                      <a:pt x="0" y="1345"/>
                    </a:moveTo>
                    <a:lnTo>
                      <a:pt x="631" y="0"/>
                    </a:lnTo>
                    <a:lnTo>
                      <a:pt x="5845" y="2580"/>
                    </a:lnTo>
                    <a:lnTo>
                      <a:pt x="5845" y="6175"/>
                    </a:lnTo>
                    <a:cubicBezTo>
                      <a:pt x="5845" y="6175"/>
                      <a:pt x="247" y="2964"/>
                      <a:pt x="247" y="2964"/>
                    </a:cubicBezTo>
                    <a:lnTo>
                      <a:pt x="0" y="13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5" name="Freeform: Shape 3424">
                <a:extLst>
                  <a:ext uri="{FF2B5EF4-FFF2-40B4-BE49-F238E27FC236}">
                    <a16:creationId xmlns:a16="http://schemas.microsoft.com/office/drawing/2014/main" id="{B7B0B3E2-2BB9-A05D-6393-0A54AB227434}"/>
                  </a:ext>
                </a:extLst>
              </p:cNvPr>
              <p:cNvSpPr/>
              <p:nvPr/>
            </p:nvSpPr>
            <p:spPr>
              <a:xfrm>
                <a:off x="1170395" y="3561779"/>
                <a:ext cx="518" cy="718"/>
              </a:xfrm>
              <a:custGeom>
                <a:avLst/>
                <a:gdLst>
                  <a:gd name="connsiteX0" fmla="*/ 0 w 4967"/>
                  <a:gd name="connsiteY0" fmla="*/ 5324 h 6888"/>
                  <a:gd name="connsiteX1" fmla="*/ 1921 w 4967"/>
                  <a:gd name="connsiteY1" fmla="*/ 0 h 6888"/>
                  <a:gd name="connsiteX2" fmla="*/ 4967 w 4967"/>
                  <a:gd name="connsiteY2" fmla="*/ 3128 h 6888"/>
                  <a:gd name="connsiteX3" fmla="*/ 4363 w 4967"/>
                  <a:gd name="connsiteY3" fmla="*/ 6888 h 6888"/>
                  <a:gd name="connsiteX4" fmla="*/ 0 w 4967"/>
                  <a:gd name="connsiteY4" fmla="*/ 5296 h 6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 h="6888">
                    <a:moveTo>
                      <a:pt x="0" y="5324"/>
                    </a:moveTo>
                    <a:lnTo>
                      <a:pt x="1921" y="0"/>
                    </a:lnTo>
                    <a:lnTo>
                      <a:pt x="4967" y="3128"/>
                    </a:lnTo>
                    <a:lnTo>
                      <a:pt x="4363" y="6888"/>
                    </a:lnTo>
                    <a:lnTo>
                      <a:pt x="0" y="52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6" name="Freeform: Shape 3425">
                <a:extLst>
                  <a:ext uri="{FF2B5EF4-FFF2-40B4-BE49-F238E27FC236}">
                    <a16:creationId xmlns:a16="http://schemas.microsoft.com/office/drawing/2014/main" id="{307DAD58-5CA8-9B81-BD96-DE7C8F0B03CE}"/>
                  </a:ext>
                </a:extLst>
              </p:cNvPr>
              <p:cNvSpPr/>
              <p:nvPr/>
            </p:nvSpPr>
            <p:spPr>
              <a:xfrm>
                <a:off x="1067074" y="3483757"/>
                <a:ext cx="401" cy="1405"/>
              </a:xfrm>
              <a:custGeom>
                <a:avLst/>
                <a:gdLst>
                  <a:gd name="connsiteX0" fmla="*/ 0 w 3841"/>
                  <a:gd name="connsiteY0" fmla="*/ 3266 h 13474"/>
                  <a:gd name="connsiteX1" fmla="*/ 2991 w 3841"/>
                  <a:gd name="connsiteY1" fmla="*/ 0 h 13474"/>
                  <a:gd name="connsiteX2" fmla="*/ 3842 w 3841"/>
                  <a:gd name="connsiteY2" fmla="*/ 9578 h 13474"/>
                  <a:gd name="connsiteX3" fmla="*/ 2470 w 3841"/>
                  <a:gd name="connsiteY3" fmla="*/ 13474 h 13474"/>
                  <a:gd name="connsiteX4" fmla="*/ 0 w 3841"/>
                  <a:gd name="connsiteY4" fmla="*/ 3238 h 13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1" h="13474">
                    <a:moveTo>
                      <a:pt x="0" y="3266"/>
                    </a:moveTo>
                    <a:lnTo>
                      <a:pt x="2991" y="0"/>
                    </a:lnTo>
                    <a:lnTo>
                      <a:pt x="3842" y="9578"/>
                    </a:lnTo>
                    <a:lnTo>
                      <a:pt x="2470" y="13474"/>
                    </a:lnTo>
                    <a:lnTo>
                      <a:pt x="0"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7" name="Freeform: Shape 3426">
                <a:extLst>
                  <a:ext uri="{FF2B5EF4-FFF2-40B4-BE49-F238E27FC236}">
                    <a16:creationId xmlns:a16="http://schemas.microsoft.com/office/drawing/2014/main" id="{B6B05192-8B75-DF6A-3DBE-5F2B96D4BBB8}"/>
                  </a:ext>
                </a:extLst>
              </p:cNvPr>
              <p:cNvSpPr/>
              <p:nvPr/>
            </p:nvSpPr>
            <p:spPr>
              <a:xfrm>
                <a:off x="1176475" y="3627638"/>
                <a:ext cx="358" cy="750"/>
              </a:xfrm>
              <a:custGeom>
                <a:avLst/>
                <a:gdLst>
                  <a:gd name="connsiteX0" fmla="*/ 27 w 3430"/>
                  <a:gd name="connsiteY0" fmla="*/ 4912 h 7190"/>
                  <a:gd name="connsiteX1" fmla="*/ 1070 w 3430"/>
                  <a:gd name="connsiteY1" fmla="*/ 0 h 7190"/>
                  <a:gd name="connsiteX2" fmla="*/ 3430 w 3430"/>
                  <a:gd name="connsiteY2" fmla="*/ 1894 h 7190"/>
                  <a:gd name="connsiteX3" fmla="*/ 1592 w 3430"/>
                  <a:gd name="connsiteY3" fmla="*/ 7190 h 7190"/>
                  <a:gd name="connsiteX4" fmla="*/ 0 w 3430"/>
                  <a:gd name="connsiteY4" fmla="*/ 4912 h 7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7190">
                    <a:moveTo>
                      <a:pt x="27" y="4912"/>
                    </a:moveTo>
                    <a:lnTo>
                      <a:pt x="1070" y="0"/>
                    </a:lnTo>
                    <a:lnTo>
                      <a:pt x="3430" y="1894"/>
                    </a:lnTo>
                    <a:lnTo>
                      <a:pt x="1592" y="7190"/>
                    </a:lnTo>
                    <a:lnTo>
                      <a:pt x="0" y="49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8" name="Freeform: Shape 3427">
                <a:extLst>
                  <a:ext uri="{FF2B5EF4-FFF2-40B4-BE49-F238E27FC236}">
                    <a16:creationId xmlns:a16="http://schemas.microsoft.com/office/drawing/2014/main" id="{BB8D76ED-4B88-1558-335D-F0FBE13E1946}"/>
                  </a:ext>
                </a:extLst>
              </p:cNvPr>
              <p:cNvSpPr/>
              <p:nvPr/>
            </p:nvSpPr>
            <p:spPr>
              <a:xfrm>
                <a:off x="1123187" y="3619981"/>
                <a:ext cx="363" cy="758"/>
              </a:xfrm>
              <a:custGeom>
                <a:avLst/>
                <a:gdLst>
                  <a:gd name="connsiteX0" fmla="*/ 27 w 3485"/>
                  <a:gd name="connsiteY0" fmla="*/ 2113 h 7272"/>
                  <a:gd name="connsiteX1" fmla="*/ 2717 w 3485"/>
                  <a:gd name="connsiteY1" fmla="*/ 0 h 7272"/>
                  <a:gd name="connsiteX2" fmla="*/ 3485 w 3485"/>
                  <a:gd name="connsiteY2" fmla="*/ 3870 h 7272"/>
                  <a:gd name="connsiteX3" fmla="*/ 1729 w 3485"/>
                  <a:gd name="connsiteY3" fmla="*/ 7272 h 7272"/>
                  <a:gd name="connsiteX4" fmla="*/ 0 w 3485"/>
                  <a:gd name="connsiteY4" fmla="*/ 2113 h 7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7272">
                    <a:moveTo>
                      <a:pt x="27" y="2113"/>
                    </a:moveTo>
                    <a:lnTo>
                      <a:pt x="2717" y="0"/>
                    </a:lnTo>
                    <a:lnTo>
                      <a:pt x="3485" y="3870"/>
                    </a:lnTo>
                    <a:lnTo>
                      <a:pt x="1729" y="7272"/>
                    </a:lnTo>
                    <a:lnTo>
                      <a:pt x="0"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9" name="Freeform: Shape 3428">
                <a:extLst>
                  <a:ext uri="{FF2B5EF4-FFF2-40B4-BE49-F238E27FC236}">
                    <a16:creationId xmlns:a16="http://schemas.microsoft.com/office/drawing/2014/main" id="{A0612DEC-6079-2B39-8FB8-440B53D8339F}"/>
                  </a:ext>
                </a:extLst>
              </p:cNvPr>
              <p:cNvSpPr/>
              <p:nvPr/>
            </p:nvSpPr>
            <p:spPr>
              <a:xfrm>
                <a:off x="983874" y="3503708"/>
                <a:ext cx="710" cy="716"/>
              </a:xfrm>
              <a:custGeom>
                <a:avLst/>
                <a:gdLst>
                  <a:gd name="connsiteX0" fmla="*/ 0 w 6805"/>
                  <a:gd name="connsiteY0" fmla="*/ 0 h 6860"/>
                  <a:gd name="connsiteX1" fmla="*/ 6696 w 6805"/>
                  <a:gd name="connsiteY1" fmla="*/ 1701 h 6860"/>
                  <a:gd name="connsiteX2" fmla="*/ 6806 w 6805"/>
                  <a:gd name="connsiteY2" fmla="*/ 5763 h 6860"/>
                  <a:gd name="connsiteX3" fmla="*/ 1262 w 6805"/>
                  <a:gd name="connsiteY3" fmla="*/ 6861 h 6860"/>
                  <a:gd name="connsiteX4" fmla="*/ 27 w 6805"/>
                  <a:gd name="connsiteY4" fmla="*/ 27 h 6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 h="6860">
                    <a:moveTo>
                      <a:pt x="0" y="0"/>
                    </a:moveTo>
                    <a:lnTo>
                      <a:pt x="6696" y="1701"/>
                    </a:lnTo>
                    <a:lnTo>
                      <a:pt x="6806" y="5763"/>
                    </a:lnTo>
                    <a:lnTo>
                      <a:pt x="1262" y="6861"/>
                    </a:lnTo>
                    <a:lnTo>
                      <a:pt x="27"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0" name="Freeform: Shape 3429">
                <a:extLst>
                  <a:ext uri="{FF2B5EF4-FFF2-40B4-BE49-F238E27FC236}">
                    <a16:creationId xmlns:a16="http://schemas.microsoft.com/office/drawing/2014/main" id="{BEFC25E5-0489-E1D5-278C-CBE11E5017EA}"/>
                  </a:ext>
                </a:extLst>
              </p:cNvPr>
              <p:cNvSpPr/>
              <p:nvPr/>
            </p:nvSpPr>
            <p:spPr>
              <a:xfrm>
                <a:off x="1169811" y="3561761"/>
                <a:ext cx="547" cy="670"/>
              </a:xfrm>
              <a:custGeom>
                <a:avLst/>
                <a:gdLst>
                  <a:gd name="connsiteX0" fmla="*/ 27 w 5241"/>
                  <a:gd name="connsiteY0" fmla="*/ 5324 h 6421"/>
                  <a:gd name="connsiteX1" fmla="*/ 741 w 5241"/>
                  <a:gd name="connsiteY1" fmla="*/ 2936 h 6421"/>
                  <a:gd name="connsiteX2" fmla="*/ 1893 w 5241"/>
                  <a:gd name="connsiteY2" fmla="*/ 686 h 6421"/>
                  <a:gd name="connsiteX3" fmla="*/ 4473 w 5241"/>
                  <a:gd name="connsiteY3" fmla="*/ 0 h 6421"/>
                  <a:gd name="connsiteX4" fmla="*/ 5242 w 5241"/>
                  <a:gd name="connsiteY4" fmla="*/ 2964 h 6421"/>
                  <a:gd name="connsiteX5" fmla="*/ 1262 w 5241"/>
                  <a:gd name="connsiteY5" fmla="*/ 6422 h 6421"/>
                  <a:gd name="connsiteX6" fmla="*/ 0 w 5241"/>
                  <a:gd name="connsiteY6" fmla="*/ 5351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41" h="6421">
                    <a:moveTo>
                      <a:pt x="27" y="5324"/>
                    </a:moveTo>
                    <a:lnTo>
                      <a:pt x="741" y="2936"/>
                    </a:lnTo>
                    <a:lnTo>
                      <a:pt x="1893" y="686"/>
                    </a:lnTo>
                    <a:lnTo>
                      <a:pt x="4473" y="0"/>
                    </a:lnTo>
                    <a:lnTo>
                      <a:pt x="5242" y="2964"/>
                    </a:lnTo>
                    <a:lnTo>
                      <a:pt x="1262" y="6422"/>
                    </a:lnTo>
                    <a:lnTo>
                      <a:pt x="0" y="53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1" name="Freeform: Shape 3430">
                <a:extLst>
                  <a:ext uri="{FF2B5EF4-FFF2-40B4-BE49-F238E27FC236}">
                    <a16:creationId xmlns:a16="http://schemas.microsoft.com/office/drawing/2014/main" id="{3E2CCEB1-B354-1F7F-6C32-CA72B6DBBEB4}"/>
                  </a:ext>
                </a:extLst>
              </p:cNvPr>
              <p:cNvSpPr/>
              <p:nvPr/>
            </p:nvSpPr>
            <p:spPr>
              <a:xfrm>
                <a:off x="1146778" y="3528787"/>
                <a:ext cx="512" cy="847"/>
              </a:xfrm>
              <a:custGeom>
                <a:avLst/>
                <a:gdLst>
                  <a:gd name="connsiteX0" fmla="*/ 4089 w 4912"/>
                  <a:gd name="connsiteY0" fmla="*/ 6531 h 8123"/>
                  <a:gd name="connsiteX1" fmla="*/ 1015 w 4912"/>
                  <a:gd name="connsiteY1" fmla="*/ 8123 h 8123"/>
                  <a:gd name="connsiteX2" fmla="*/ 0 w 4912"/>
                  <a:gd name="connsiteY2" fmla="*/ 3979 h 8123"/>
                  <a:gd name="connsiteX3" fmla="*/ 4912 w 4912"/>
                  <a:gd name="connsiteY3" fmla="*/ 0 h 8123"/>
                  <a:gd name="connsiteX4" fmla="*/ 4116 w 4912"/>
                  <a:gd name="connsiteY4" fmla="*/ 6531 h 8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 h="8123">
                    <a:moveTo>
                      <a:pt x="4089" y="6531"/>
                    </a:moveTo>
                    <a:lnTo>
                      <a:pt x="1015" y="8123"/>
                    </a:lnTo>
                    <a:lnTo>
                      <a:pt x="0" y="3979"/>
                    </a:lnTo>
                    <a:lnTo>
                      <a:pt x="4912" y="0"/>
                    </a:lnTo>
                    <a:lnTo>
                      <a:pt x="4116" y="65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2" name="Freeform: Shape 3431">
                <a:extLst>
                  <a:ext uri="{FF2B5EF4-FFF2-40B4-BE49-F238E27FC236}">
                    <a16:creationId xmlns:a16="http://schemas.microsoft.com/office/drawing/2014/main" id="{E51F5B2C-BAE1-B6D5-C754-93ED78530E09}"/>
                  </a:ext>
                </a:extLst>
              </p:cNvPr>
              <p:cNvSpPr/>
              <p:nvPr/>
            </p:nvSpPr>
            <p:spPr>
              <a:xfrm>
                <a:off x="1189312" y="3645130"/>
                <a:ext cx="378" cy="635"/>
              </a:xfrm>
              <a:custGeom>
                <a:avLst/>
                <a:gdLst>
                  <a:gd name="connsiteX0" fmla="*/ 0 w 3622"/>
                  <a:gd name="connsiteY0" fmla="*/ 2854 h 6092"/>
                  <a:gd name="connsiteX1" fmla="*/ 1619 w 3622"/>
                  <a:gd name="connsiteY1" fmla="*/ 0 h 6092"/>
                  <a:gd name="connsiteX2" fmla="*/ 3622 w 3622"/>
                  <a:gd name="connsiteY2" fmla="*/ 1400 h 6092"/>
                  <a:gd name="connsiteX3" fmla="*/ 3019 w 3622"/>
                  <a:gd name="connsiteY3" fmla="*/ 6092 h 6092"/>
                  <a:gd name="connsiteX4" fmla="*/ 0 w 3622"/>
                  <a:gd name="connsiteY4" fmla="*/ 2854 h 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6092">
                    <a:moveTo>
                      <a:pt x="0" y="2854"/>
                    </a:moveTo>
                    <a:lnTo>
                      <a:pt x="1619" y="0"/>
                    </a:lnTo>
                    <a:lnTo>
                      <a:pt x="3622" y="1400"/>
                    </a:lnTo>
                    <a:lnTo>
                      <a:pt x="3019" y="6092"/>
                    </a:lnTo>
                    <a:lnTo>
                      <a:pt x="0"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3" name="Freeform: Shape 3432">
                <a:extLst>
                  <a:ext uri="{FF2B5EF4-FFF2-40B4-BE49-F238E27FC236}">
                    <a16:creationId xmlns:a16="http://schemas.microsoft.com/office/drawing/2014/main" id="{9202961C-3619-34CD-9001-E5ECC1BA3FBE}"/>
                  </a:ext>
                </a:extLst>
              </p:cNvPr>
              <p:cNvSpPr/>
              <p:nvPr/>
            </p:nvSpPr>
            <p:spPr>
              <a:xfrm>
                <a:off x="1017384" y="3460544"/>
                <a:ext cx="550" cy="1122"/>
              </a:xfrm>
              <a:custGeom>
                <a:avLst/>
                <a:gdLst>
                  <a:gd name="connsiteX0" fmla="*/ 0 w 5269"/>
                  <a:gd name="connsiteY0" fmla="*/ 6257 h 10757"/>
                  <a:gd name="connsiteX1" fmla="*/ 3458 w 5269"/>
                  <a:gd name="connsiteY1" fmla="*/ 0 h 10757"/>
                  <a:gd name="connsiteX2" fmla="*/ 5269 w 5269"/>
                  <a:gd name="connsiteY2" fmla="*/ 8562 h 10757"/>
                  <a:gd name="connsiteX3" fmla="*/ 988 w 5269"/>
                  <a:gd name="connsiteY3" fmla="*/ 10758 h 10757"/>
                  <a:gd name="connsiteX4" fmla="*/ 27 w 5269"/>
                  <a:gd name="connsiteY4" fmla="*/ 6257 h 1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9" h="10757">
                    <a:moveTo>
                      <a:pt x="0" y="6257"/>
                    </a:moveTo>
                    <a:lnTo>
                      <a:pt x="3458" y="0"/>
                    </a:lnTo>
                    <a:lnTo>
                      <a:pt x="5269" y="8562"/>
                    </a:lnTo>
                    <a:lnTo>
                      <a:pt x="988" y="10758"/>
                    </a:lnTo>
                    <a:lnTo>
                      <a:pt x="27" y="62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4" name="Freeform: Shape 3433">
                <a:extLst>
                  <a:ext uri="{FF2B5EF4-FFF2-40B4-BE49-F238E27FC236}">
                    <a16:creationId xmlns:a16="http://schemas.microsoft.com/office/drawing/2014/main" id="{BFE35C9B-BC7A-4ECD-2666-580804079875}"/>
                  </a:ext>
                </a:extLst>
              </p:cNvPr>
              <p:cNvSpPr/>
              <p:nvPr/>
            </p:nvSpPr>
            <p:spPr>
              <a:xfrm>
                <a:off x="1016038" y="3460400"/>
                <a:ext cx="693" cy="887"/>
              </a:xfrm>
              <a:custGeom>
                <a:avLst/>
                <a:gdLst>
                  <a:gd name="connsiteX0" fmla="*/ 5022 w 6641"/>
                  <a:gd name="connsiteY0" fmla="*/ 8205 h 8507"/>
                  <a:gd name="connsiteX1" fmla="*/ 988 w 6641"/>
                  <a:gd name="connsiteY1" fmla="*/ 8507 h 8507"/>
                  <a:gd name="connsiteX2" fmla="*/ 0 w 6641"/>
                  <a:gd name="connsiteY2" fmla="*/ 4720 h 8507"/>
                  <a:gd name="connsiteX3" fmla="*/ 2634 w 6641"/>
                  <a:gd name="connsiteY3" fmla="*/ 0 h 8507"/>
                  <a:gd name="connsiteX4" fmla="*/ 5022 w 6641"/>
                  <a:gd name="connsiteY4" fmla="*/ 933 h 8507"/>
                  <a:gd name="connsiteX5" fmla="*/ 6641 w 6641"/>
                  <a:gd name="connsiteY5" fmla="*/ 2278 h 8507"/>
                  <a:gd name="connsiteX6" fmla="*/ 5735 w 6641"/>
                  <a:gd name="connsiteY6" fmla="*/ 6916 h 8507"/>
                  <a:gd name="connsiteX7" fmla="*/ 5049 w 6641"/>
                  <a:gd name="connsiteY7" fmla="*/ 8233 h 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 h="8507">
                    <a:moveTo>
                      <a:pt x="5022" y="8205"/>
                    </a:moveTo>
                    <a:lnTo>
                      <a:pt x="988" y="8507"/>
                    </a:lnTo>
                    <a:lnTo>
                      <a:pt x="0" y="4720"/>
                    </a:lnTo>
                    <a:lnTo>
                      <a:pt x="2634" y="0"/>
                    </a:lnTo>
                    <a:lnTo>
                      <a:pt x="5022" y="933"/>
                    </a:lnTo>
                    <a:lnTo>
                      <a:pt x="6641" y="2278"/>
                    </a:lnTo>
                    <a:lnTo>
                      <a:pt x="5735" y="6916"/>
                    </a:lnTo>
                    <a:lnTo>
                      <a:pt x="5049" y="82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5" name="Freeform: Shape 3434">
                <a:extLst>
                  <a:ext uri="{FF2B5EF4-FFF2-40B4-BE49-F238E27FC236}">
                    <a16:creationId xmlns:a16="http://schemas.microsoft.com/office/drawing/2014/main" id="{F042F44E-1B49-C2EA-5871-8250869C9FC5}"/>
                  </a:ext>
                </a:extLst>
              </p:cNvPr>
              <p:cNvSpPr/>
              <p:nvPr/>
            </p:nvSpPr>
            <p:spPr>
              <a:xfrm>
                <a:off x="1195320" y="3657123"/>
                <a:ext cx="406" cy="549"/>
              </a:xfrm>
              <a:custGeom>
                <a:avLst/>
                <a:gdLst>
                  <a:gd name="connsiteX0" fmla="*/ 0 w 3897"/>
                  <a:gd name="connsiteY0" fmla="*/ 4720 h 5268"/>
                  <a:gd name="connsiteX1" fmla="*/ 1400 w 3897"/>
                  <a:gd name="connsiteY1" fmla="*/ 823 h 5268"/>
                  <a:gd name="connsiteX2" fmla="*/ 3897 w 3897"/>
                  <a:gd name="connsiteY2" fmla="*/ 0 h 5268"/>
                  <a:gd name="connsiteX3" fmla="*/ 2552 w 3897"/>
                  <a:gd name="connsiteY3" fmla="*/ 5269 h 5268"/>
                  <a:gd name="connsiteX4" fmla="*/ 0 w 3897"/>
                  <a:gd name="connsiteY4" fmla="*/ 4720 h 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7" h="5268">
                    <a:moveTo>
                      <a:pt x="0" y="4720"/>
                    </a:moveTo>
                    <a:lnTo>
                      <a:pt x="1400" y="823"/>
                    </a:lnTo>
                    <a:lnTo>
                      <a:pt x="3897" y="0"/>
                    </a:lnTo>
                    <a:lnTo>
                      <a:pt x="2552" y="5269"/>
                    </a:lnTo>
                    <a:lnTo>
                      <a:pt x="0" y="47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6" name="Freeform: Shape 3435">
                <a:extLst>
                  <a:ext uri="{FF2B5EF4-FFF2-40B4-BE49-F238E27FC236}">
                    <a16:creationId xmlns:a16="http://schemas.microsoft.com/office/drawing/2014/main" id="{85438A2E-A3D5-5D3A-4AE2-A2423EABFFB1}"/>
                  </a:ext>
                </a:extLst>
              </p:cNvPr>
              <p:cNvSpPr/>
              <p:nvPr/>
            </p:nvSpPr>
            <p:spPr>
              <a:xfrm>
                <a:off x="1126043" y="3538946"/>
                <a:ext cx="429" cy="922"/>
              </a:xfrm>
              <a:custGeom>
                <a:avLst/>
                <a:gdLst>
                  <a:gd name="connsiteX0" fmla="*/ 0 w 4116"/>
                  <a:gd name="connsiteY0" fmla="*/ 3732 h 8836"/>
                  <a:gd name="connsiteX1" fmla="*/ 1043 w 4116"/>
                  <a:gd name="connsiteY1" fmla="*/ 0 h 8836"/>
                  <a:gd name="connsiteX2" fmla="*/ 4116 w 4116"/>
                  <a:gd name="connsiteY2" fmla="*/ 1949 h 8836"/>
                  <a:gd name="connsiteX3" fmla="*/ 3375 w 4116"/>
                  <a:gd name="connsiteY3" fmla="*/ 8837 h 8836"/>
                  <a:gd name="connsiteX4" fmla="*/ 0 w 4116"/>
                  <a:gd name="connsiteY4" fmla="*/ 3705 h 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8836">
                    <a:moveTo>
                      <a:pt x="0" y="3732"/>
                    </a:moveTo>
                    <a:lnTo>
                      <a:pt x="1043" y="0"/>
                    </a:lnTo>
                    <a:lnTo>
                      <a:pt x="4116" y="1949"/>
                    </a:lnTo>
                    <a:lnTo>
                      <a:pt x="3375" y="8837"/>
                    </a:lnTo>
                    <a:lnTo>
                      <a:pt x="0"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7" name="Freeform: Shape 3436">
                <a:extLst>
                  <a:ext uri="{FF2B5EF4-FFF2-40B4-BE49-F238E27FC236}">
                    <a16:creationId xmlns:a16="http://schemas.microsoft.com/office/drawing/2014/main" id="{66179132-FB5C-99EA-2228-9E19BD495379}"/>
                  </a:ext>
                </a:extLst>
              </p:cNvPr>
              <p:cNvSpPr/>
              <p:nvPr/>
            </p:nvSpPr>
            <p:spPr>
              <a:xfrm>
                <a:off x="1067274" y="3464285"/>
                <a:ext cx="386" cy="1551"/>
              </a:xfrm>
              <a:custGeom>
                <a:avLst/>
                <a:gdLst>
                  <a:gd name="connsiteX0" fmla="*/ 0 w 3704"/>
                  <a:gd name="connsiteY0" fmla="*/ 4775 h 14874"/>
                  <a:gd name="connsiteX1" fmla="*/ 1153 w 3704"/>
                  <a:gd name="connsiteY1" fmla="*/ 0 h 14874"/>
                  <a:gd name="connsiteX2" fmla="*/ 3705 w 3704"/>
                  <a:gd name="connsiteY2" fmla="*/ 2305 h 14874"/>
                  <a:gd name="connsiteX3" fmla="*/ 3705 w 3704"/>
                  <a:gd name="connsiteY3" fmla="*/ 14874 h 14874"/>
                  <a:gd name="connsiteX4" fmla="*/ 0 w 3704"/>
                  <a:gd name="connsiteY4" fmla="*/ 4775 h 1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 h="14874">
                    <a:moveTo>
                      <a:pt x="0" y="4775"/>
                    </a:moveTo>
                    <a:lnTo>
                      <a:pt x="1153" y="0"/>
                    </a:lnTo>
                    <a:lnTo>
                      <a:pt x="3705" y="2305"/>
                    </a:lnTo>
                    <a:lnTo>
                      <a:pt x="3705" y="14874"/>
                    </a:lnTo>
                    <a:lnTo>
                      <a:pt x="0" y="47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8" name="Freeform: Shape 3437">
                <a:extLst>
                  <a:ext uri="{FF2B5EF4-FFF2-40B4-BE49-F238E27FC236}">
                    <a16:creationId xmlns:a16="http://schemas.microsoft.com/office/drawing/2014/main" id="{71A3ACE7-0613-ED1A-B69B-F5F79037591B}"/>
                  </a:ext>
                </a:extLst>
              </p:cNvPr>
              <p:cNvSpPr/>
              <p:nvPr/>
            </p:nvSpPr>
            <p:spPr>
              <a:xfrm>
                <a:off x="1135506" y="3518197"/>
                <a:ext cx="615" cy="724"/>
              </a:xfrm>
              <a:custGeom>
                <a:avLst/>
                <a:gdLst>
                  <a:gd name="connsiteX0" fmla="*/ 0 w 5900"/>
                  <a:gd name="connsiteY0" fmla="*/ 4720 h 6942"/>
                  <a:gd name="connsiteX1" fmla="*/ 412 w 5900"/>
                  <a:gd name="connsiteY1" fmla="*/ 2854 h 6942"/>
                  <a:gd name="connsiteX2" fmla="*/ 5900 w 5900"/>
                  <a:gd name="connsiteY2" fmla="*/ 0 h 6942"/>
                  <a:gd name="connsiteX3" fmla="*/ 5159 w 5900"/>
                  <a:gd name="connsiteY3" fmla="*/ 6943 h 6942"/>
                  <a:gd name="connsiteX4" fmla="*/ 549 w 5900"/>
                  <a:gd name="connsiteY4" fmla="*/ 6422 h 6942"/>
                  <a:gd name="connsiteX5" fmla="*/ 27 w 5900"/>
                  <a:gd name="connsiteY5" fmla="*/ 4693 h 6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0" h="6942">
                    <a:moveTo>
                      <a:pt x="0" y="4720"/>
                    </a:moveTo>
                    <a:lnTo>
                      <a:pt x="412" y="2854"/>
                    </a:lnTo>
                    <a:lnTo>
                      <a:pt x="5900" y="0"/>
                    </a:lnTo>
                    <a:lnTo>
                      <a:pt x="5159" y="6943"/>
                    </a:lnTo>
                    <a:lnTo>
                      <a:pt x="549" y="6422"/>
                    </a:lnTo>
                    <a:lnTo>
                      <a:pt x="27"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9" name="Freeform: Shape 3438">
                <a:extLst>
                  <a:ext uri="{FF2B5EF4-FFF2-40B4-BE49-F238E27FC236}">
                    <a16:creationId xmlns:a16="http://schemas.microsoft.com/office/drawing/2014/main" id="{D63B4EFE-CE2A-B0E8-77DC-511C0CB6CD7F}"/>
                  </a:ext>
                </a:extLst>
              </p:cNvPr>
              <p:cNvSpPr/>
              <p:nvPr/>
            </p:nvSpPr>
            <p:spPr>
              <a:xfrm>
                <a:off x="1114179" y="3544338"/>
                <a:ext cx="349" cy="1085"/>
              </a:xfrm>
              <a:custGeom>
                <a:avLst/>
                <a:gdLst>
                  <a:gd name="connsiteX0" fmla="*/ 27 w 3347"/>
                  <a:gd name="connsiteY0" fmla="*/ 6257 h 10400"/>
                  <a:gd name="connsiteX1" fmla="*/ 1043 w 3347"/>
                  <a:gd name="connsiteY1" fmla="*/ 0 h 10400"/>
                  <a:gd name="connsiteX2" fmla="*/ 3348 w 3347"/>
                  <a:gd name="connsiteY2" fmla="*/ 3595 h 10400"/>
                  <a:gd name="connsiteX3" fmla="*/ 2881 w 3347"/>
                  <a:gd name="connsiteY3" fmla="*/ 10401 h 10400"/>
                  <a:gd name="connsiteX4" fmla="*/ 0 w 3347"/>
                  <a:gd name="connsiteY4" fmla="*/ 6229 h 1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7" h="10400">
                    <a:moveTo>
                      <a:pt x="27" y="6257"/>
                    </a:moveTo>
                    <a:lnTo>
                      <a:pt x="1043" y="0"/>
                    </a:lnTo>
                    <a:lnTo>
                      <a:pt x="3348" y="3595"/>
                    </a:lnTo>
                    <a:lnTo>
                      <a:pt x="2881" y="10401"/>
                    </a:lnTo>
                    <a:lnTo>
                      <a:pt x="0" y="62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0" name="Freeform: Shape 3439">
                <a:extLst>
                  <a:ext uri="{FF2B5EF4-FFF2-40B4-BE49-F238E27FC236}">
                    <a16:creationId xmlns:a16="http://schemas.microsoft.com/office/drawing/2014/main" id="{6276A358-863F-181F-0945-6AFB5C77A6FF}"/>
                  </a:ext>
                </a:extLst>
              </p:cNvPr>
              <p:cNvSpPr/>
              <p:nvPr/>
            </p:nvSpPr>
            <p:spPr>
              <a:xfrm>
                <a:off x="1068453" y="3526924"/>
                <a:ext cx="449" cy="927"/>
              </a:xfrm>
              <a:custGeom>
                <a:avLst/>
                <a:gdLst>
                  <a:gd name="connsiteX0" fmla="*/ 0 w 4308"/>
                  <a:gd name="connsiteY0" fmla="*/ 2086 h 8891"/>
                  <a:gd name="connsiteX1" fmla="*/ 1564 w 4308"/>
                  <a:gd name="connsiteY1" fmla="*/ 0 h 8891"/>
                  <a:gd name="connsiteX2" fmla="*/ 4309 w 4308"/>
                  <a:gd name="connsiteY2" fmla="*/ 5050 h 8891"/>
                  <a:gd name="connsiteX3" fmla="*/ 4144 w 4308"/>
                  <a:gd name="connsiteY3" fmla="*/ 8891 h 8891"/>
                  <a:gd name="connsiteX4" fmla="*/ 1839 w 4308"/>
                  <a:gd name="connsiteY4" fmla="*/ 8260 h 8891"/>
                  <a:gd name="connsiteX5" fmla="*/ 0 w 4308"/>
                  <a:gd name="connsiteY5" fmla="*/ 2113 h 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8" h="8891">
                    <a:moveTo>
                      <a:pt x="0" y="2086"/>
                    </a:moveTo>
                    <a:lnTo>
                      <a:pt x="1564" y="0"/>
                    </a:lnTo>
                    <a:lnTo>
                      <a:pt x="4309" y="5050"/>
                    </a:lnTo>
                    <a:lnTo>
                      <a:pt x="4144" y="8891"/>
                    </a:lnTo>
                    <a:lnTo>
                      <a:pt x="1839" y="8260"/>
                    </a:lnTo>
                    <a:lnTo>
                      <a:pt x="0"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1" name="Freeform: Shape 3440">
                <a:extLst>
                  <a:ext uri="{FF2B5EF4-FFF2-40B4-BE49-F238E27FC236}">
                    <a16:creationId xmlns:a16="http://schemas.microsoft.com/office/drawing/2014/main" id="{80642431-DD0D-7D8F-230D-A72973601783}"/>
                  </a:ext>
                </a:extLst>
              </p:cNvPr>
              <p:cNvSpPr/>
              <p:nvPr/>
            </p:nvSpPr>
            <p:spPr>
              <a:xfrm>
                <a:off x="1143023" y="3599810"/>
                <a:ext cx="532" cy="529"/>
              </a:xfrm>
              <a:custGeom>
                <a:avLst/>
                <a:gdLst>
                  <a:gd name="connsiteX0" fmla="*/ 27 w 5104"/>
                  <a:gd name="connsiteY0" fmla="*/ 3211 h 5076"/>
                  <a:gd name="connsiteX1" fmla="*/ 1317 w 5104"/>
                  <a:gd name="connsiteY1" fmla="*/ 0 h 5076"/>
                  <a:gd name="connsiteX2" fmla="*/ 3156 w 5104"/>
                  <a:gd name="connsiteY2" fmla="*/ 384 h 5076"/>
                  <a:gd name="connsiteX3" fmla="*/ 5104 w 5104"/>
                  <a:gd name="connsiteY3" fmla="*/ 4089 h 5076"/>
                  <a:gd name="connsiteX4" fmla="*/ 3705 w 5104"/>
                  <a:gd name="connsiteY4" fmla="*/ 5077 h 5076"/>
                  <a:gd name="connsiteX5" fmla="*/ 0 w 5104"/>
                  <a:gd name="connsiteY5" fmla="*/ 3238 h 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4" h="5076">
                    <a:moveTo>
                      <a:pt x="27" y="3211"/>
                    </a:moveTo>
                    <a:lnTo>
                      <a:pt x="1317" y="0"/>
                    </a:lnTo>
                    <a:lnTo>
                      <a:pt x="3156" y="384"/>
                    </a:lnTo>
                    <a:lnTo>
                      <a:pt x="5104" y="4089"/>
                    </a:lnTo>
                    <a:lnTo>
                      <a:pt x="3705" y="5077"/>
                    </a:lnTo>
                    <a:lnTo>
                      <a:pt x="0"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2" name="Freeform: Shape 3441">
                <a:extLst>
                  <a:ext uri="{FF2B5EF4-FFF2-40B4-BE49-F238E27FC236}">
                    <a16:creationId xmlns:a16="http://schemas.microsoft.com/office/drawing/2014/main" id="{32F8875B-27D3-FA11-A40F-A9826D76C109}"/>
                  </a:ext>
                </a:extLst>
              </p:cNvPr>
              <p:cNvSpPr/>
              <p:nvPr/>
            </p:nvSpPr>
            <p:spPr>
              <a:xfrm>
                <a:off x="1194410" y="3668220"/>
                <a:ext cx="438" cy="467"/>
              </a:xfrm>
              <a:custGeom>
                <a:avLst/>
                <a:gdLst>
                  <a:gd name="connsiteX0" fmla="*/ 27 w 4198"/>
                  <a:gd name="connsiteY0" fmla="*/ 3815 h 4473"/>
                  <a:gd name="connsiteX1" fmla="*/ 2305 w 4198"/>
                  <a:gd name="connsiteY1" fmla="*/ 0 h 4473"/>
                  <a:gd name="connsiteX2" fmla="*/ 4199 w 4198"/>
                  <a:gd name="connsiteY2" fmla="*/ 1756 h 4473"/>
                  <a:gd name="connsiteX3" fmla="*/ 3705 w 4198"/>
                  <a:gd name="connsiteY3" fmla="*/ 4473 h 4473"/>
                  <a:gd name="connsiteX4" fmla="*/ 0 w 4198"/>
                  <a:gd name="connsiteY4" fmla="*/ 3842 h 4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8" h="4473">
                    <a:moveTo>
                      <a:pt x="27" y="3815"/>
                    </a:moveTo>
                    <a:lnTo>
                      <a:pt x="2305" y="0"/>
                    </a:lnTo>
                    <a:lnTo>
                      <a:pt x="4199" y="1756"/>
                    </a:lnTo>
                    <a:lnTo>
                      <a:pt x="3705" y="4473"/>
                    </a:lnTo>
                    <a:lnTo>
                      <a:pt x="0" y="38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3" name="Freeform: Shape 3442">
                <a:extLst>
                  <a:ext uri="{FF2B5EF4-FFF2-40B4-BE49-F238E27FC236}">
                    <a16:creationId xmlns:a16="http://schemas.microsoft.com/office/drawing/2014/main" id="{A7CAC1DB-6AC6-8D4A-2E56-40262D3DB488}"/>
                  </a:ext>
                </a:extLst>
              </p:cNvPr>
              <p:cNvSpPr/>
              <p:nvPr/>
            </p:nvSpPr>
            <p:spPr>
              <a:xfrm>
                <a:off x="1133133" y="3583870"/>
                <a:ext cx="329" cy="925"/>
              </a:xfrm>
              <a:custGeom>
                <a:avLst/>
                <a:gdLst>
                  <a:gd name="connsiteX0" fmla="*/ 27 w 3156"/>
                  <a:gd name="connsiteY0" fmla="*/ 0 h 8864"/>
                  <a:gd name="connsiteX1" fmla="*/ 1262 w 3156"/>
                  <a:gd name="connsiteY1" fmla="*/ 412 h 8864"/>
                  <a:gd name="connsiteX2" fmla="*/ 3156 w 3156"/>
                  <a:gd name="connsiteY2" fmla="*/ 6065 h 8864"/>
                  <a:gd name="connsiteX3" fmla="*/ 1756 w 3156"/>
                  <a:gd name="connsiteY3" fmla="*/ 8864 h 8864"/>
                  <a:gd name="connsiteX4" fmla="*/ 467 w 3156"/>
                  <a:gd name="connsiteY4" fmla="*/ 7327 h 8864"/>
                  <a:gd name="connsiteX5" fmla="*/ 0 w 3156"/>
                  <a:gd name="connsiteY5" fmla="*/ 0 h 8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6" h="8864">
                    <a:moveTo>
                      <a:pt x="27" y="0"/>
                    </a:moveTo>
                    <a:lnTo>
                      <a:pt x="1262" y="412"/>
                    </a:lnTo>
                    <a:lnTo>
                      <a:pt x="3156" y="6065"/>
                    </a:lnTo>
                    <a:lnTo>
                      <a:pt x="1756" y="8864"/>
                    </a:lnTo>
                    <a:lnTo>
                      <a:pt x="467" y="7327"/>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4" name="Freeform: Shape 3443">
                <a:extLst>
                  <a:ext uri="{FF2B5EF4-FFF2-40B4-BE49-F238E27FC236}">
                    <a16:creationId xmlns:a16="http://schemas.microsoft.com/office/drawing/2014/main" id="{2E18E886-EBEC-B49B-96FE-E8D6BE5CD400}"/>
                  </a:ext>
                </a:extLst>
              </p:cNvPr>
              <p:cNvSpPr/>
              <p:nvPr/>
            </p:nvSpPr>
            <p:spPr>
              <a:xfrm>
                <a:off x="1062517" y="3495438"/>
                <a:ext cx="521" cy="922"/>
              </a:xfrm>
              <a:custGeom>
                <a:avLst/>
                <a:gdLst>
                  <a:gd name="connsiteX0" fmla="*/ 0 w 4994"/>
                  <a:gd name="connsiteY0" fmla="*/ 4665 h 8836"/>
                  <a:gd name="connsiteX1" fmla="*/ 4199 w 4994"/>
                  <a:gd name="connsiteY1" fmla="*/ 0 h 8836"/>
                  <a:gd name="connsiteX2" fmla="*/ 4994 w 4994"/>
                  <a:gd name="connsiteY2" fmla="*/ 7108 h 8836"/>
                  <a:gd name="connsiteX3" fmla="*/ 1098 w 4994"/>
                  <a:gd name="connsiteY3" fmla="*/ 8837 h 8836"/>
                  <a:gd name="connsiteX4" fmla="*/ 0 w 4994"/>
                  <a:gd name="connsiteY4" fmla="*/ 4665 h 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4" h="8836">
                    <a:moveTo>
                      <a:pt x="0" y="4665"/>
                    </a:moveTo>
                    <a:lnTo>
                      <a:pt x="4199" y="0"/>
                    </a:lnTo>
                    <a:lnTo>
                      <a:pt x="4994" y="7108"/>
                    </a:lnTo>
                    <a:lnTo>
                      <a:pt x="1098" y="8837"/>
                    </a:lnTo>
                    <a:lnTo>
                      <a:pt x="0" y="46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5" name="Freeform: Shape 3444">
                <a:extLst>
                  <a:ext uri="{FF2B5EF4-FFF2-40B4-BE49-F238E27FC236}">
                    <a16:creationId xmlns:a16="http://schemas.microsoft.com/office/drawing/2014/main" id="{F18E33DC-3F9F-4FA2-8596-E01B5891C015}"/>
                  </a:ext>
                </a:extLst>
              </p:cNvPr>
              <p:cNvSpPr/>
              <p:nvPr/>
            </p:nvSpPr>
            <p:spPr>
              <a:xfrm>
                <a:off x="1125746" y="3539756"/>
                <a:ext cx="369" cy="1016"/>
              </a:xfrm>
              <a:custGeom>
                <a:avLst/>
                <a:gdLst>
                  <a:gd name="connsiteX0" fmla="*/ 27 w 3539"/>
                  <a:gd name="connsiteY0" fmla="*/ 2827 h 9742"/>
                  <a:gd name="connsiteX1" fmla="*/ 1372 w 3539"/>
                  <a:gd name="connsiteY1" fmla="*/ 0 h 9742"/>
                  <a:gd name="connsiteX2" fmla="*/ 3540 w 3539"/>
                  <a:gd name="connsiteY2" fmla="*/ 5104 h 9742"/>
                  <a:gd name="connsiteX3" fmla="*/ 2031 w 3539"/>
                  <a:gd name="connsiteY3" fmla="*/ 9742 h 9742"/>
                  <a:gd name="connsiteX4" fmla="*/ 494 w 3539"/>
                  <a:gd name="connsiteY4" fmla="*/ 8480 h 9742"/>
                  <a:gd name="connsiteX5" fmla="*/ 0 w 3539"/>
                  <a:gd name="connsiteY5" fmla="*/ 2827 h 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9" h="9742">
                    <a:moveTo>
                      <a:pt x="27" y="2827"/>
                    </a:moveTo>
                    <a:lnTo>
                      <a:pt x="1372" y="0"/>
                    </a:lnTo>
                    <a:lnTo>
                      <a:pt x="3540" y="5104"/>
                    </a:lnTo>
                    <a:lnTo>
                      <a:pt x="2031" y="9742"/>
                    </a:lnTo>
                    <a:lnTo>
                      <a:pt x="494" y="8480"/>
                    </a:lnTo>
                    <a:lnTo>
                      <a:pt x="0" y="28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6" name="Freeform: Shape 3445">
                <a:extLst>
                  <a:ext uri="{FF2B5EF4-FFF2-40B4-BE49-F238E27FC236}">
                    <a16:creationId xmlns:a16="http://schemas.microsoft.com/office/drawing/2014/main" id="{FBA24CEC-37A0-1597-C4CF-A69C28E1AD3B}"/>
                  </a:ext>
                </a:extLst>
              </p:cNvPr>
              <p:cNvSpPr/>
              <p:nvPr/>
            </p:nvSpPr>
            <p:spPr>
              <a:xfrm>
                <a:off x="1178081" y="3633423"/>
                <a:ext cx="315" cy="733"/>
              </a:xfrm>
              <a:custGeom>
                <a:avLst/>
                <a:gdLst>
                  <a:gd name="connsiteX0" fmla="*/ 27 w 3018"/>
                  <a:gd name="connsiteY0" fmla="*/ 7025 h 7025"/>
                  <a:gd name="connsiteX1" fmla="*/ 110 w 3018"/>
                  <a:gd name="connsiteY1" fmla="*/ 1647 h 7025"/>
                  <a:gd name="connsiteX2" fmla="*/ 2278 w 3018"/>
                  <a:gd name="connsiteY2" fmla="*/ 0 h 7025"/>
                  <a:gd name="connsiteX3" fmla="*/ 3019 w 3018"/>
                  <a:gd name="connsiteY3" fmla="*/ 3815 h 7025"/>
                  <a:gd name="connsiteX4" fmla="*/ 0 w 3018"/>
                  <a:gd name="connsiteY4" fmla="*/ 6998 h 7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 h="7025">
                    <a:moveTo>
                      <a:pt x="27" y="7025"/>
                    </a:moveTo>
                    <a:lnTo>
                      <a:pt x="110" y="1647"/>
                    </a:lnTo>
                    <a:lnTo>
                      <a:pt x="2278" y="0"/>
                    </a:lnTo>
                    <a:lnTo>
                      <a:pt x="3019" y="3815"/>
                    </a:lnTo>
                    <a:lnTo>
                      <a:pt x="0" y="69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7" name="Freeform: Shape 3446">
                <a:extLst>
                  <a:ext uri="{FF2B5EF4-FFF2-40B4-BE49-F238E27FC236}">
                    <a16:creationId xmlns:a16="http://schemas.microsoft.com/office/drawing/2014/main" id="{5616B037-5BE3-05EC-4929-938248965FBE}"/>
                  </a:ext>
                </a:extLst>
              </p:cNvPr>
              <p:cNvSpPr/>
              <p:nvPr/>
            </p:nvSpPr>
            <p:spPr>
              <a:xfrm>
                <a:off x="986708" y="3669545"/>
                <a:ext cx="421" cy="461"/>
              </a:xfrm>
              <a:custGeom>
                <a:avLst/>
                <a:gdLst>
                  <a:gd name="connsiteX0" fmla="*/ 27 w 4034"/>
                  <a:gd name="connsiteY0" fmla="*/ 4226 h 4418"/>
                  <a:gd name="connsiteX1" fmla="*/ 247 w 4034"/>
                  <a:gd name="connsiteY1" fmla="*/ 2360 h 4418"/>
                  <a:gd name="connsiteX2" fmla="*/ 3321 w 4034"/>
                  <a:gd name="connsiteY2" fmla="*/ 0 h 4418"/>
                  <a:gd name="connsiteX3" fmla="*/ 4034 w 4034"/>
                  <a:gd name="connsiteY3" fmla="*/ 2031 h 4418"/>
                  <a:gd name="connsiteX4" fmla="*/ 2525 w 4034"/>
                  <a:gd name="connsiteY4" fmla="*/ 4418 h 4418"/>
                  <a:gd name="connsiteX5" fmla="*/ 0 w 4034"/>
                  <a:gd name="connsiteY5" fmla="*/ 4226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4" h="4418">
                    <a:moveTo>
                      <a:pt x="27" y="4226"/>
                    </a:moveTo>
                    <a:lnTo>
                      <a:pt x="247" y="2360"/>
                    </a:lnTo>
                    <a:lnTo>
                      <a:pt x="3321" y="0"/>
                    </a:lnTo>
                    <a:lnTo>
                      <a:pt x="4034" y="2031"/>
                    </a:lnTo>
                    <a:lnTo>
                      <a:pt x="2525" y="4418"/>
                    </a:lnTo>
                    <a:lnTo>
                      <a:pt x="0"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8" name="Freeform: Shape 3447">
                <a:extLst>
                  <a:ext uri="{FF2B5EF4-FFF2-40B4-BE49-F238E27FC236}">
                    <a16:creationId xmlns:a16="http://schemas.microsoft.com/office/drawing/2014/main" id="{DCF324B1-0CA8-F746-FA38-E41E354A76AE}"/>
                  </a:ext>
                </a:extLst>
              </p:cNvPr>
              <p:cNvSpPr/>
              <p:nvPr/>
            </p:nvSpPr>
            <p:spPr>
              <a:xfrm>
                <a:off x="1163975" y="3573010"/>
                <a:ext cx="535" cy="575"/>
              </a:xfrm>
              <a:custGeom>
                <a:avLst/>
                <a:gdLst>
                  <a:gd name="connsiteX0" fmla="*/ 4309 w 5131"/>
                  <a:gd name="connsiteY0" fmla="*/ 4281 h 5516"/>
                  <a:gd name="connsiteX1" fmla="*/ 0 w 5131"/>
                  <a:gd name="connsiteY1" fmla="*/ 5516 h 5516"/>
                  <a:gd name="connsiteX2" fmla="*/ 329 w 5131"/>
                  <a:gd name="connsiteY2" fmla="*/ 1482 h 5516"/>
                  <a:gd name="connsiteX3" fmla="*/ 5132 w 5131"/>
                  <a:gd name="connsiteY3" fmla="*/ 0 h 5516"/>
                  <a:gd name="connsiteX4" fmla="*/ 4336 w 5131"/>
                  <a:gd name="connsiteY4" fmla="*/ 4281 h 5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1" h="5516">
                    <a:moveTo>
                      <a:pt x="4309" y="4281"/>
                    </a:moveTo>
                    <a:lnTo>
                      <a:pt x="0" y="5516"/>
                    </a:lnTo>
                    <a:lnTo>
                      <a:pt x="329" y="1482"/>
                    </a:lnTo>
                    <a:lnTo>
                      <a:pt x="5132" y="0"/>
                    </a:lnTo>
                    <a:lnTo>
                      <a:pt x="4336"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9" name="Freeform: Shape 3448">
                <a:extLst>
                  <a:ext uri="{FF2B5EF4-FFF2-40B4-BE49-F238E27FC236}">
                    <a16:creationId xmlns:a16="http://schemas.microsoft.com/office/drawing/2014/main" id="{07AFBA9E-210A-3AF7-1A64-04E5F5E677C9}"/>
                  </a:ext>
                </a:extLst>
              </p:cNvPr>
              <p:cNvSpPr/>
              <p:nvPr/>
            </p:nvSpPr>
            <p:spPr>
              <a:xfrm>
                <a:off x="1156971" y="3550132"/>
                <a:ext cx="395" cy="859"/>
              </a:xfrm>
              <a:custGeom>
                <a:avLst/>
                <a:gdLst>
                  <a:gd name="connsiteX0" fmla="*/ 0 w 3787"/>
                  <a:gd name="connsiteY0" fmla="*/ 4199 h 8232"/>
                  <a:gd name="connsiteX1" fmla="*/ 1455 w 3787"/>
                  <a:gd name="connsiteY1" fmla="*/ 0 h 8232"/>
                  <a:gd name="connsiteX2" fmla="*/ 3787 w 3787"/>
                  <a:gd name="connsiteY2" fmla="*/ 631 h 8232"/>
                  <a:gd name="connsiteX3" fmla="*/ 3513 w 3787"/>
                  <a:gd name="connsiteY3" fmla="*/ 8233 h 8232"/>
                  <a:gd name="connsiteX4" fmla="*/ 0 w 3787"/>
                  <a:gd name="connsiteY4" fmla="*/ 4171 h 8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8232">
                    <a:moveTo>
                      <a:pt x="0" y="4199"/>
                    </a:moveTo>
                    <a:lnTo>
                      <a:pt x="1455" y="0"/>
                    </a:lnTo>
                    <a:lnTo>
                      <a:pt x="3787" y="631"/>
                    </a:lnTo>
                    <a:lnTo>
                      <a:pt x="3513" y="8233"/>
                    </a:lnTo>
                    <a:lnTo>
                      <a:pt x="0" y="41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0" name="Freeform: Shape 3449">
                <a:extLst>
                  <a:ext uri="{FF2B5EF4-FFF2-40B4-BE49-F238E27FC236}">
                    <a16:creationId xmlns:a16="http://schemas.microsoft.com/office/drawing/2014/main" id="{227B49DD-2208-FA2C-CB01-DA08F14BBD2C}"/>
                  </a:ext>
                </a:extLst>
              </p:cNvPr>
              <p:cNvSpPr/>
              <p:nvPr/>
            </p:nvSpPr>
            <p:spPr>
              <a:xfrm>
                <a:off x="1166611" y="3591864"/>
                <a:ext cx="441" cy="615"/>
              </a:xfrm>
              <a:custGeom>
                <a:avLst/>
                <a:gdLst>
                  <a:gd name="connsiteX0" fmla="*/ 0 w 4226"/>
                  <a:gd name="connsiteY0" fmla="*/ 0 h 5900"/>
                  <a:gd name="connsiteX1" fmla="*/ 3266 w 4226"/>
                  <a:gd name="connsiteY1" fmla="*/ 0 h 5900"/>
                  <a:gd name="connsiteX2" fmla="*/ 4226 w 4226"/>
                  <a:gd name="connsiteY2" fmla="*/ 5461 h 5900"/>
                  <a:gd name="connsiteX3" fmla="*/ 2168 w 4226"/>
                  <a:gd name="connsiteY3" fmla="*/ 5900 h 5900"/>
                  <a:gd name="connsiteX4" fmla="*/ 0 w 4226"/>
                  <a:gd name="connsiteY4" fmla="*/ 27 h 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 h="5900">
                    <a:moveTo>
                      <a:pt x="0" y="0"/>
                    </a:moveTo>
                    <a:lnTo>
                      <a:pt x="3266" y="0"/>
                    </a:lnTo>
                    <a:lnTo>
                      <a:pt x="4226" y="5461"/>
                    </a:lnTo>
                    <a:lnTo>
                      <a:pt x="2168" y="5900"/>
                    </a:lnTo>
                    <a:lnTo>
                      <a:pt x="0"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1" name="Freeform: Shape 3450">
                <a:extLst>
                  <a:ext uri="{FF2B5EF4-FFF2-40B4-BE49-F238E27FC236}">
                    <a16:creationId xmlns:a16="http://schemas.microsoft.com/office/drawing/2014/main" id="{4D91FA60-5804-5C3E-14E6-AB0AA9AE8A22}"/>
                  </a:ext>
                </a:extLst>
              </p:cNvPr>
              <p:cNvSpPr/>
              <p:nvPr/>
            </p:nvSpPr>
            <p:spPr>
              <a:xfrm>
                <a:off x="1140908" y="3585974"/>
                <a:ext cx="389" cy="716"/>
              </a:xfrm>
              <a:custGeom>
                <a:avLst/>
                <a:gdLst>
                  <a:gd name="connsiteX0" fmla="*/ 0 w 3732"/>
                  <a:gd name="connsiteY0" fmla="*/ 1839 h 6860"/>
                  <a:gd name="connsiteX1" fmla="*/ 714 w 3732"/>
                  <a:gd name="connsiteY1" fmla="*/ 0 h 6860"/>
                  <a:gd name="connsiteX2" fmla="*/ 3622 w 3732"/>
                  <a:gd name="connsiteY2" fmla="*/ 275 h 6860"/>
                  <a:gd name="connsiteX3" fmla="*/ 3732 w 3732"/>
                  <a:gd name="connsiteY3" fmla="*/ 2854 h 6860"/>
                  <a:gd name="connsiteX4" fmla="*/ 1921 w 3732"/>
                  <a:gd name="connsiteY4" fmla="*/ 6861 h 6860"/>
                  <a:gd name="connsiteX5" fmla="*/ 0 w 3732"/>
                  <a:gd name="connsiteY5" fmla="*/ 1839 h 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2" h="6860">
                    <a:moveTo>
                      <a:pt x="0" y="1839"/>
                    </a:moveTo>
                    <a:lnTo>
                      <a:pt x="714" y="0"/>
                    </a:lnTo>
                    <a:lnTo>
                      <a:pt x="3622" y="275"/>
                    </a:lnTo>
                    <a:lnTo>
                      <a:pt x="3732" y="2854"/>
                    </a:lnTo>
                    <a:lnTo>
                      <a:pt x="1921" y="6861"/>
                    </a:lnTo>
                    <a:lnTo>
                      <a:pt x="0"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2" name="Freeform: Shape 3451">
                <a:extLst>
                  <a:ext uri="{FF2B5EF4-FFF2-40B4-BE49-F238E27FC236}">
                    <a16:creationId xmlns:a16="http://schemas.microsoft.com/office/drawing/2014/main" id="{A3377B3D-4935-337F-FE55-DDAE3810BC4F}"/>
                  </a:ext>
                </a:extLst>
              </p:cNvPr>
              <p:cNvSpPr/>
              <p:nvPr/>
            </p:nvSpPr>
            <p:spPr>
              <a:xfrm>
                <a:off x="1124667" y="3628603"/>
                <a:ext cx="444" cy="512"/>
              </a:xfrm>
              <a:custGeom>
                <a:avLst/>
                <a:gdLst>
                  <a:gd name="connsiteX0" fmla="*/ 0 w 4253"/>
                  <a:gd name="connsiteY0" fmla="*/ 3485 h 4912"/>
                  <a:gd name="connsiteX1" fmla="*/ 576 w 4253"/>
                  <a:gd name="connsiteY1" fmla="*/ 1345 h 4912"/>
                  <a:gd name="connsiteX2" fmla="*/ 4253 w 4253"/>
                  <a:gd name="connsiteY2" fmla="*/ 0 h 4912"/>
                  <a:gd name="connsiteX3" fmla="*/ 3677 w 4253"/>
                  <a:gd name="connsiteY3" fmla="*/ 4912 h 4912"/>
                  <a:gd name="connsiteX4" fmla="*/ 0 w 4253"/>
                  <a:gd name="connsiteY4" fmla="*/ 3485 h 4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4912">
                    <a:moveTo>
                      <a:pt x="0" y="3485"/>
                    </a:moveTo>
                    <a:lnTo>
                      <a:pt x="576" y="1345"/>
                    </a:lnTo>
                    <a:lnTo>
                      <a:pt x="4253" y="0"/>
                    </a:lnTo>
                    <a:lnTo>
                      <a:pt x="3677" y="4912"/>
                    </a:lnTo>
                    <a:lnTo>
                      <a:pt x="0"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3" name="Freeform: Shape 3452">
                <a:extLst>
                  <a:ext uri="{FF2B5EF4-FFF2-40B4-BE49-F238E27FC236}">
                    <a16:creationId xmlns:a16="http://schemas.microsoft.com/office/drawing/2014/main" id="{D4CC62B4-D3C4-CF92-BB45-B2E9462D9E5F}"/>
                  </a:ext>
                </a:extLst>
              </p:cNvPr>
              <p:cNvSpPr/>
              <p:nvPr/>
            </p:nvSpPr>
            <p:spPr>
              <a:xfrm>
                <a:off x="1163053" y="3555324"/>
                <a:ext cx="321" cy="1010"/>
              </a:xfrm>
              <a:custGeom>
                <a:avLst/>
                <a:gdLst>
                  <a:gd name="connsiteX0" fmla="*/ 0 w 3073"/>
                  <a:gd name="connsiteY0" fmla="*/ 0 h 9687"/>
                  <a:gd name="connsiteX1" fmla="*/ 2086 w 3073"/>
                  <a:gd name="connsiteY1" fmla="*/ 0 h 9687"/>
                  <a:gd name="connsiteX2" fmla="*/ 3074 w 3073"/>
                  <a:gd name="connsiteY2" fmla="*/ 5242 h 9687"/>
                  <a:gd name="connsiteX3" fmla="*/ 631 w 3073"/>
                  <a:gd name="connsiteY3" fmla="*/ 9687 h 9687"/>
                  <a:gd name="connsiteX4" fmla="*/ 0 w 3073"/>
                  <a:gd name="connsiteY4" fmla="*/ 0 h 9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 h="9687">
                    <a:moveTo>
                      <a:pt x="0" y="0"/>
                    </a:moveTo>
                    <a:lnTo>
                      <a:pt x="2086" y="0"/>
                    </a:lnTo>
                    <a:lnTo>
                      <a:pt x="3074" y="5242"/>
                    </a:lnTo>
                    <a:lnTo>
                      <a:pt x="631" y="9687"/>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4" name="Freeform: Shape 3453">
                <a:extLst>
                  <a:ext uri="{FF2B5EF4-FFF2-40B4-BE49-F238E27FC236}">
                    <a16:creationId xmlns:a16="http://schemas.microsoft.com/office/drawing/2014/main" id="{786A4204-4093-C938-58D1-847263233F96}"/>
                  </a:ext>
                </a:extLst>
              </p:cNvPr>
              <p:cNvSpPr/>
              <p:nvPr/>
            </p:nvSpPr>
            <p:spPr>
              <a:xfrm>
                <a:off x="1124106" y="3554205"/>
                <a:ext cx="489" cy="658"/>
              </a:xfrm>
              <a:custGeom>
                <a:avLst/>
                <a:gdLst>
                  <a:gd name="connsiteX0" fmla="*/ 0 w 4692"/>
                  <a:gd name="connsiteY0" fmla="*/ 3787 h 6311"/>
                  <a:gd name="connsiteX1" fmla="*/ 1564 w 4692"/>
                  <a:gd name="connsiteY1" fmla="*/ 0 h 6311"/>
                  <a:gd name="connsiteX2" fmla="*/ 3595 w 4692"/>
                  <a:gd name="connsiteY2" fmla="*/ 0 h 6311"/>
                  <a:gd name="connsiteX3" fmla="*/ 4693 w 4692"/>
                  <a:gd name="connsiteY3" fmla="*/ 3924 h 6311"/>
                  <a:gd name="connsiteX4" fmla="*/ 2360 w 4692"/>
                  <a:gd name="connsiteY4" fmla="*/ 6312 h 6311"/>
                  <a:gd name="connsiteX5" fmla="*/ 0 w 4692"/>
                  <a:gd name="connsiteY5" fmla="*/ 3787 h 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 h="6311">
                    <a:moveTo>
                      <a:pt x="0" y="3787"/>
                    </a:moveTo>
                    <a:lnTo>
                      <a:pt x="1564" y="0"/>
                    </a:lnTo>
                    <a:lnTo>
                      <a:pt x="3595" y="0"/>
                    </a:lnTo>
                    <a:cubicBezTo>
                      <a:pt x="3595" y="0"/>
                      <a:pt x="4693" y="3924"/>
                      <a:pt x="4693" y="3924"/>
                    </a:cubicBezTo>
                    <a:lnTo>
                      <a:pt x="2360" y="6312"/>
                    </a:lnTo>
                    <a:lnTo>
                      <a:pt x="0" y="37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5" name="Freeform: Shape 3454">
                <a:extLst>
                  <a:ext uri="{FF2B5EF4-FFF2-40B4-BE49-F238E27FC236}">
                    <a16:creationId xmlns:a16="http://schemas.microsoft.com/office/drawing/2014/main" id="{F86FA88B-23B7-A1CC-BAB4-DBC3AC5DFC63}"/>
                  </a:ext>
                </a:extLst>
              </p:cNvPr>
              <p:cNvSpPr/>
              <p:nvPr/>
            </p:nvSpPr>
            <p:spPr>
              <a:xfrm>
                <a:off x="1120210" y="3651123"/>
                <a:ext cx="358" cy="558"/>
              </a:xfrm>
              <a:custGeom>
                <a:avLst/>
                <a:gdLst>
                  <a:gd name="connsiteX0" fmla="*/ 3375 w 3430"/>
                  <a:gd name="connsiteY0" fmla="*/ 4336 h 5351"/>
                  <a:gd name="connsiteX1" fmla="*/ 110 w 3430"/>
                  <a:gd name="connsiteY1" fmla="*/ 5352 h 5351"/>
                  <a:gd name="connsiteX2" fmla="*/ 0 w 3430"/>
                  <a:gd name="connsiteY2" fmla="*/ 2744 h 5351"/>
                  <a:gd name="connsiteX3" fmla="*/ 1592 w 3430"/>
                  <a:gd name="connsiteY3" fmla="*/ 0 h 5351"/>
                  <a:gd name="connsiteX4" fmla="*/ 3430 w 3430"/>
                  <a:gd name="connsiteY4" fmla="*/ 329 h 5351"/>
                  <a:gd name="connsiteX5" fmla="*/ 3375 w 3430"/>
                  <a:gd name="connsiteY5" fmla="*/ 4336 h 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30" h="5351">
                    <a:moveTo>
                      <a:pt x="3375" y="4336"/>
                    </a:moveTo>
                    <a:lnTo>
                      <a:pt x="110" y="5352"/>
                    </a:lnTo>
                    <a:lnTo>
                      <a:pt x="0" y="2744"/>
                    </a:lnTo>
                    <a:lnTo>
                      <a:pt x="1592" y="0"/>
                    </a:lnTo>
                    <a:lnTo>
                      <a:pt x="3430" y="329"/>
                    </a:lnTo>
                    <a:lnTo>
                      <a:pt x="3375" y="43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6" name="Freeform: Shape 3455">
                <a:extLst>
                  <a:ext uri="{FF2B5EF4-FFF2-40B4-BE49-F238E27FC236}">
                    <a16:creationId xmlns:a16="http://schemas.microsoft.com/office/drawing/2014/main" id="{617264A1-3B68-BD97-CDCF-5934D2A59E40}"/>
                  </a:ext>
                </a:extLst>
              </p:cNvPr>
              <p:cNvSpPr/>
              <p:nvPr/>
            </p:nvSpPr>
            <p:spPr>
              <a:xfrm>
                <a:off x="1164356" y="3555811"/>
                <a:ext cx="515" cy="615"/>
              </a:xfrm>
              <a:custGeom>
                <a:avLst/>
                <a:gdLst>
                  <a:gd name="connsiteX0" fmla="*/ 0 w 4939"/>
                  <a:gd name="connsiteY0" fmla="*/ 2799 h 5900"/>
                  <a:gd name="connsiteX1" fmla="*/ 796 w 4939"/>
                  <a:gd name="connsiteY1" fmla="*/ 384 h 5900"/>
                  <a:gd name="connsiteX2" fmla="*/ 4940 w 4939"/>
                  <a:gd name="connsiteY2" fmla="*/ 0 h 5900"/>
                  <a:gd name="connsiteX3" fmla="*/ 4391 w 4939"/>
                  <a:gd name="connsiteY3" fmla="*/ 5900 h 5900"/>
                  <a:gd name="connsiteX4" fmla="*/ 0 w 4939"/>
                  <a:gd name="connsiteY4" fmla="*/ 2799 h 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9" h="5900">
                    <a:moveTo>
                      <a:pt x="0" y="2799"/>
                    </a:moveTo>
                    <a:lnTo>
                      <a:pt x="796" y="384"/>
                    </a:lnTo>
                    <a:lnTo>
                      <a:pt x="4940" y="0"/>
                    </a:lnTo>
                    <a:lnTo>
                      <a:pt x="4391" y="5900"/>
                    </a:lnTo>
                    <a:lnTo>
                      <a:pt x="0" y="27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7" name="Freeform: Shape 3456">
                <a:extLst>
                  <a:ext uri="{FF2B5EF4-FFF2-40B4-BE49-F238E27FC236}">
                    <a16:creationId xmlns:a16="http://schemas.microsoft.com/office/drawing/2014/main" id="{EA15A94C-B754-06DF-387F-8237B0A5EEF4}"/>
                  </a:ext>
                </a:extLst>
              </p:cNvPr>
              <p:cNvSpPr/>
              <p:nvPr/>
            </p:nvSpPr>
            <p:spPr>
              <a:xfrm>
                <a:off x="1158024" y="3590748"/>
                <a:ext cx="349" cy="747"/>
              </a:xfrm>
              <a:custGeom>
                <a:avLst/>
                <a:gdLst>
                  <a:gd name="connsiteX0" fmla="*/ 3348 w 3348"/>
                  <a:gd name="connsiteY0" fmla="*/ 5653 h 7162"/>
                  <a:gd name="connsiteX1" fmla="*/ 0 w 3348"/>
                  <a:gd name="connsiteY1" fmla="*/ 7163 h 7162"/>
                  <a:gd name="connsiteX2" fmla="*/ 604 w 3348"/>
                  <a:gd name="connsiteY2" fmla="*/ 0 h 7162"/>
                  <a:gd name="connsiteX3" fmla="*/ 3348 w 3348"/>
                  <a:gd name="connsiteY3" fmla="*/ 2827 h 7162"/>
                  <a:gd name="connsiteX4" fmla="*/ 3348 w 3348"/>
                  <a:gd name="connsiteY4" fmla="*/ 5681 h 7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 h="7162">
                    <a:moveTo>
                      <a:pt x="3348" y="5653"/>
                    </a:moveTo>
                    <a:lnTo>
                      <a:pt x="0" y="7163"/>
                    </a:lnTo>
                    <a:lnTo>
                      <a:pt x="604" y="0"/>
                    </a:lnTo>
                    <a:lnTo>
                      <a:pt x="3348" y="2827"/>
                    </a:lnTo>
                    <a:lnTo>
                      <a:pt x="3348" y="56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8" name="Freeform: Shape 3457">
                <a:extLst>
                  <a:ext uri="{FF2B5EF4-FFF2-40B4-BE49-F238E27FC236}">
                    <a16:creationId xmlns:a16="http://schemas.microsoft.com/office/drawing/2014/main" id="{A2EE3CAB-32F9-4B85-FFBD-FEEB5FF2C3E4}"/>
                  </a:ext>
                </a:extLst>
              </p:cNvPr>
              <p:cNvSpPr/>
              <p:nvPr/>
            </p:nvSpPr>
            <p:spPr>
              <a:xfrm>
                <a:off x="1121286" y="3631768"/>
                <a:ext cx="243" cy="887"/>
              </a:xfrm>
              <a:custGeom>
                <a:avLst/>
                <a:gdLst>
                  <a:gd name="connsiteX0" fmla="*/ 0 w 2332"/>
                  <a:gd name="connsiteY0" fmla="*/ 302 h 8507"/>
                  <a:gd name="connsiteX1" fmla="*/ 1811 w 2332"/>
                  <a:gd name="connsiteY1" fmla="*/ 0 h 8507"/>
                  <a:gd name="connsiteX2" fmla="*/ 2333 w 2332"/>
                  <a:gd name="connsiteY2" fmla="*/ 8507 h 8507"/>
                  <a:gd name="connsiteX3" fmla="*/ 549 w 2332"/>
                  <a:gd name="connsiteY3" fmla="*/ 8260 h 8507"/>
                  <a:gd name="connsiteX4" fmla="*/ 0 w 2332"/>
                  <a:gd name="connsiteY4" fmla="*/ 302 h 8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 h="8507">
                    <a:moveTo>
                      <a:pt x="0" y="302"/>
                    </a:moveTo>
                    <a:lnTo>
                      <a:pt x="1811" y="0"/>
                    </a:lnTo>
                    <a:lnTo>
                      <a:pt x="2333" y="8507"/>
                    </a:lnTo>
                    <a:lnTo>
                      <a:pt x="549" y="8260"/>
                    </a:lnTo>
                    <a:lnTo>
                      <a:pt x="0" y="3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9" name="Freeform: Shape 3458">
                <a:extLst>
                  <a:ext uri="{FF2B5EF4-FFF2-40B4-BE49-F238E27FC236}">
                    <a16:creationId xmlns:a16="http://schemas.microsoft.com/office/drawing/2014/main" id="{79ED8AD4-0A13-1501-DA53-CC69FF0B3DAC}"/>
                  </a:ext>
                </a:extLst>
              </p:cNvPr>
              <p:cNvSpPr/>
              <p:nvPr/>
            </p:nvSpPr>
            <p:spPr>
              <a:xfrm>
                <a:off x="1080235" y="3600360"/>
                <a:ext cx="575" cy="432"/>
              </a:xfrm>
              <a:custGeom>
                <a:avLst/>
                <a:gdLst>
                  <a:gd name="connsiteX0" fmla="*/ 0 w 5516"/>
                  <a:gd name="connsiteY0" fmla="*/ 960 h 4143"/>
                  <a:gd name="connsiteX1" fmla="*/ 4309 w 5516"/>
                  <a:gd name="connsiteY1" fmla="*/ 0 h 4143"/>
                  <a:gd name="connsiteX2" fmla="*/ 5516 w 5516"/>
                  <a:gd name="connsiteY2" fmla="*/ 2854 h 4143"/>
                  <a:gd name="connsiteX3" fmla="*/ 631 w 5516"/>
                  <a:gd name="connsiteY3" fmla="*/ 4144 h 4143"/>
                  <a:gd name="connsiteX4" fmla="*/ 0 w 5516"/>
                  <a:gd name="connsiteY4" fmla="*/ 988 h 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6" h="4143">
                    <a:moveTo>
                      <a:pt x="0" y="960"/>
                    </a:moveTo>
                    <a:lnTo>
                      <a:pt x="4309" y="0"/>
                    </a:lnTo>
                    <a:lnTo>
                      <a:pt x="5516" y="2854"/>
                    </a:lnTo>
                    <a:lnTo>
                      <a:pt x="631" y="4144"/>
                    </a:lnTo>
                    <a:lnTo>
                      <a:pt x="0"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0" name="Freeform: Shape 3459">
                <a:extLst>
                  <a:ext uri="{FF2B5EF4-FFF2-40B4-BE49-F238E27FC236}">
                    <a16:creationId xmlns:a16="http://schemas.microsoft.com/office/drawing/2014/main" id="{E0108A4B-1EBE-9401-9505-7F0EBA0EDB57}"/>
                  </a:ext>
                </a:extLst>
              </p:cNvPr>
              <p:cNvSpPr/>
              <p:nvPr/>
            </p:nvSpPr>
            <p:spPr>
              <a:xfrm>
                <a:off x="1126645" y="3633717"/>
                <a:ext cx="289" cy="727"/>
              </a:xfrm>
              <a:custGeom>
                <a:avLst/>
                <a:gdLst>
                  <a:gd name="connsiteX0" fmla="*/ 27 w 2771"/>
                  <a:gd name="connsiteY0" fmla="*/ 1207 h 6970"/>
                  <a:gd name="connsiteX1" fmla="*/ 1894 w 2771"/>
                  <a:gd name="connsiteY1" fmla="*/ 0 h 6970"/>
                  <a:gd name="connsiteX2" fmla="*/ 2772 w 2771"/>
                  <a:gd name="connsiteY2" fmla="*/ 4336 h 6970"/>
                  <a:gd name="connsiteX3" fmla="*/ 0 w 2771"/>
                  <a:gd name="connsiteY3" fmla="*/ 6970 h 6970"/>
                  <a:gd name="connsiteX4" fmla="*/ 0 w 2771"/>
                  <a:gd name="connsiteY4" fmla="*/ 1207 h 6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 h="6970">
                    <a:moveTo>
                      <a:pt x="27" y="1207"/>
                    </a:moveTo>
                    <a:lnTo>
                      <a:pt x="1894" y="0"/>
                    </a:lnTo>
                    <a:lnTo>
                      <a:pt x="2772" y="4336"/>
                    </a:lnTo>
                    <a:lnTo>
                      <a:pt x="0" y="6970"/>
                    </a:lnTo>
                    <a:lnTo>
                      <a:pt x="0" y="12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1" name="Freeform: Shape 3460">
                <a:extLst>
                  <a:ext uri="{FF2B5EF4-FFF2-40B4-BE49-F238E27FC236}">
                    <a16:creationId xmlns:a16="http://schemas.microsoft.com/office/drawing/2014/main" id="{333C35B0-1DFC-21E7-AEFA-37CF891CA897}"/>
                  </a:ext>
                </a:extLst>
              </p:cNvPr>
              <p:cNvSpPr/>
              <p:nvPr/>
            </p:nvSpPr>
            <p:spPr>
              <a:xfrm>
                <a:off x="1175061" y="3679409"/>
                <a:ext cx="449" cy="381"/>
              </a:xfrm>
              <a:custGeom>
                <a:avLst/>
                <a:gdLst>
                  <a:gd name="connsiteX0" fmla="*/ 0 w 4308"/>
                  <a:gd name="connsiteY0" fmla="*/ 2717 h 3649"/>
                  <a:gd name="connsiteX1" fmla="*/ 1674 w 4308"/>
                  <a:gd name="connsiteY1" fmla="*/ 0 h 3649"/>
                  <a:gd name="connsiteX2" fmla="*/ 3952 w 4308"/>
                  <a:gd name="connsiteY2" fmla="*/ 1015 h 3649"/>
                  <a:gd name="connsiteX3" fmla="*/ 4309 w 4308"/>
                  <a:gd name="connsiteY3" fmla="*/ 3129 h 3649"/>
                  <a:gd name="connsiteX4" fmla="*/ 768 w 4308"/>
                  <a:gd name="connsiteY4" fmla="*/ 3650 h 3649"/>
                  <a:gd name="connsiteX5" fmla="*/ 27 w 4308"/>
                  <a:gd name="connsiteY5" fmla="*/ 2717 h 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8" h="3649">
                    <a:moveTo>
                      <a:pt x="0" y="2717"/>
                    </a:moveTo>
                    <a:lnTo>
                      <a:pt x="1674" y="0"/>
                    </a:lnTo>
                    <a:lnTo>
                      <a:pt x="3952" y="1015"/>
                    </a:lnTo>
                    <a:lnTo>
                      <a:pt x="4309" y="3129"/>
                    </a:lnTo>
                    <a:lnTo>
                      <a:pt x="768" y="3650"/>
                    </a:lnTo>
                    <a:lnTo>
                      <a:pt x="27"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2" name="Freeform: Shape 3461">
                <a:extLst>
                  <a:ext uri="{FF2B5EF4-FFF2-40B4-BE49-F238E27FC236}">
                    <a16:creationId xmlns:a16="http://schemas.microsoft.com/office/drawing/2014/main" id="{477AC4F7-8F67-8473-DE8B-F3AF7529C89F}"/>
                  </a:ext>
                </a:extLst>
              </p:cNvPr>
              <p:cNvSpPr/>
              <p:nvPr/>
            </p:nvSpPr>
            <p:spPr>
              <a:xfrm>
                <a:off x="1057966" y="3535188"/>
                <a:ext cx="315" cy="1088"/>
              </a:xfrm>
              <a:custGeom>
                <a:avLst/>
                <a:gdLst>
                  <a:gd name="connsiteX0" fmla="*/ 0 w 3018"/>
                  <a:gd name="connsiteY0" fmla="*/ 4171 h 10428"/>
                  <a:gd name="connsiteX1" fmla="*/ 1619 w 3018"/>
                  <a:gd name="connsiteY1" fmla="*/ 0 h 10428"/>
                  <a:gd name="connsiteX2" fmla="*/ 3019 w 3018"/>
                  <a:gd name="connsiteY2" fmla="*/ 2031 h 10428"/>
                  <a:gd name="connsiteX3" fmla="*/ 2415 w 3018"/>
                  <a:gd name="connsiteY3" fmla="*/ 10428 h 10428"/>
                  <a:gd name="connsiteX4" fmla="*/ 604 w 3018"/>
                  <a:gd name="connsiteY4" fmla="*/ 9166 h 10428"/>
                  <a:gd name="connsiteX5" fmla="*/ 0 w 3018"/>
                  <a:gd name="connsiteY5" fmla="*/ 4144 h 1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 h="10428">
                    <a:moveTo>
                      <a:pt x="0" y="4171"/>
                    </a:moveTo>
                    <a:lnTo>
                      <a:pt x="1619" y="0"/>
                    </a:lnTo>
                    <a:lnTo>
                      <a:pt x="3019" y="2031"/>
                    </a:lnTo>
                    <a:lnTo>
                      <a:pt x="2415" y="10428"/>
                    </a:lnTo>
                    <a:lnTo>
                      <a:pt x="604" y="9166"/>
                    </a:lnTo>
                    <a:lnTo>
                      <a:pt x="0" y="41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3" name="Freeform: Shape 3462">
                <a:extLst>
                  <a:ext uri="{FF2B5EF4-FFF2-40B4-BE49-F238E27FC236}">
                    <a16:creationId xmlns:a16="http://schemas.microsoft.com/office/drawing/2014/main" id="{4DC09968-6E4A-6A62-5960-27364C00226F}"/>
                  </a:ext>
                </a:extLst>
              </p:cNvPr>
              <p:cNvSpPr/>
              <p:nvPr/>
            </p:nvSpPr>
            <p:spPr>
              <a:xfrm>
                <a:off x="1067580" y="3507285"/>
                <a:ext cx="464" cy="864"/>
              </a:xfrm>
              <a:custGeom>
                <a:avLst/>
                <a:gdLst>
                  <a:gd name="connsiteX0" fmla="*/ 0 w 4445"/>
                  <a:gd name="connsiteY0" fmla="*/ 4748 h 8287"/>
                  <a:gd name="connsiteX1" fmla="*/ 439 w 4445"/>
                  <a:gd name="connsiteY1" fmla="*/ 3074 h 8287"/>
                  <a:gd name="connsiteX2" fmla="*/ 4254 w 4445"/>
                  <a:gd name="connsiteY2" fmla="*/ 0 h 8287"/>
                  <a:gd name="connsiteX3" fmla="*/ 4446 w 4445"/>
                  <a:gd name="connsiteY3" fmla="*/ 8288 h 8287"/>
                  <a:gd name="connsiteX4" fmla="*/ 494 w 4445"/>
                  <a:gd name="connsiteY4" fmla="*/ 6778 h 8287"/>
                  <a:gd name="connsiteX5" fmla="*/ 0 w 4445"/>
                  <a:gd name="connsiteY5" fmla="*/ 4720 h 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5" h="8287">
                    <a:moveTo>
                      <a:pt x="0" y="4748"/>
                    </a:moveTo>
                    <a:lnTo>
                      <a:pt x="439" y="3074"/>
                    </a:lnTo>
                    <a:lnTo>
                      <a:pt x="4254" y="0"/>
                    </a:lnTo>
                    <a:lnTo>
                      <a:pt x="4446" y="8288"/>
                    </a:lnTo>
                    <a:lnTo>
                      <a:pt x="494" y="6778"/>
                    </a:lnTo>
                    <a:lnTo>
                      <a:pt x="0" y="47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4" name="Freeform: Shape 3463">
                <a:extLst>
                  <a:ext uri="{FF2B5EF4-FFF2-40B4-BE49-F238E27FC236}">
                    <a16:creationId xmlns:a16="http://schemas.microsoft.com/office/drawing/2014/main" id="{CDC45ECC-51EE-732E-95AD-0D368A0843C2}"/>
                  </a:ext>
                </a:extLst>
              </p:cNvPr>
              <p:cNvSpPr/>
              <p:nvPr/>
            </p:nvSpPr>
            <p:spPr>
              <a:xfrm>
                <a:off x="1122360" y="3619807"/>
                <a:ext cx="406" cy="544"/>
              </a:xfrm>
              <a:custGeom>
                <a:avLst/>
                <a:gdLst>
                  <a:gd name="connsiteX0" fmla="*/ 0 w 3897"/>
                  <a:gd name="connsiteY0" fmla="*/ 2854 h 5214"/>
                  <a:gd name="connsiteX1" fmla="*/ 55 w 3897"/>
                  <a:gd name="connsiteY1" fmla="*/ 878 h 5214"/>
                  <a:gd name="connsiteX2" fmla="*/ 3705 w 3897"/>
                  <a:gd name="connsiteY2" fmla="*/ 0 h 5214"/>
                  <a:gd name="connsiteX3" fmla="*/ 3897 w 3897"/>
                  <a:gd name="connsiteY3" fmla="*/ 5214 h 5214"/>
                  <a:gd name="connsiteX4" fmla="*/ 0 w 3897"/>
                  <a:gd name="connsiteY4" fmla="*/ 2881 h 5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7" h="5214">
                    <a:moveTo>
                      <a:pt x="0" y="2854"/>
                    </a:moveTo>
                    <a:lnTo>
                      <a:pt x="55" y="878"/>
                    </a:lnTo>
                    <a:lnTo>
                      <a:pt x="3705" y="0"/>
                    </a:lnTo>
                    <a:lnTo>
                      <a:pt x="3897" y="5214"/>
                    </a:lnTo>
                    <a:lnTo>
                      <a:pt x="0" y="28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5" name="Freeform: Shape 3464">
                <a:extLst>
                  <a:ext uri="{FF2B5EF4-FFF2-40B4-BE49-F238E27FC236}">
                    <a16:creationId xmlns:a16="http://schemas.microsoft.com/office/drawing/2014/main" id="{69486431-C80E-F7B2-62AA-67BE935A0948}"/>
                  </a:ext>
                </a:extLst>
              </p:cNvPr>
              <p:cNvSpPr/>
              <p:nvPr/>
            </p:nvSpPr>
            <p:spPr>
              <a:xfrm>
                <a:off x="1115250" y="3585061"/>
                <a:ext cx="458" cy="564"/>
              </a:xfrm>
              <a:custGeom>
                <a:avLst/>
                <a:gdLst>
                  <a:gd name="connsiteX0" fmla="*/ 3952 w 4390"/>
                  <a:gd name="connsiteY0" fmla="*/ 4803 h 5406"/>
                  <a:gd name="connsiteX1" fmla="*/ 796 w 4390"/>
                  <a:gd name="connsiteY1" fmla="*/ 5406 h 5406"/>
                  <a:gd name="connsiteX2" fmla="*/ 0 w 4390"/>
                  <a:gd name="connsiteY2" fmla="*/ 3238 h 5406"/>
                  <a:gd name="connsiteX3" fmla="*/ 1811 w 4390"/>
                  <a:gd name="connsiteY3" fmla="*/ 0 h 5406"/>
                  <a:gd name="connsiteX4" fmla="*/ 4391 w 4390"/>
                  <a:gd name="connsiteY4" fmla="*/ 1647 h 5406"/>
                  <a:gd name="connsiteX5" fmla="*/ 3979 w 4390"/>
                  <a:gd name="connsiteY5" fmla="*/ 4830 h 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0" h="5406">
                    <a:moveTo>
                      <a:pt x="3952" y="4803"/>
                    </a:moveTo>
                    <a:lnTo>
                      <a:pt x="796" y="5406"/>
                    </a:lnTo>
                    <a:lnTo>
                      <a:pt x="0" y="3238"/>
                    </a:lnTo>
                    <a:lnTo>
                      <a:pt x="1811" y="0"/>
                    </a:lnTo>
                    <a:lnTo>
                      <a:pt x="4391" y="1647"/>
                    </a:lnTo>
                    <a:lnTo>
                      <a:pt x="3979" y="48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6" name="Freeform: Shape 3465">
                <a:extLst>
                  <a:ext uri="{FF2B5EF4-FFF2-40B4-BE49-F238E27FC236}">
                    <a16:creationId xmlns:a16="http://schemas.microsoft.com/office/drawing/2014/main" id="{71608159-A319-9FA3-2992-F41B6545B947}"/>
                  </a:ext>
                </a:extLst>
              </p:cNvPr>
              <p:cNvSpPr/>
              <p:nvPr/>
            </p:nvSpPr>
            <p:spPr>
              <a:xfrm>
                <a:off x="1055974" y="3536387"/>
                <a:ext cx="426" cy="779"/>
              </a:xfrm>
              <a:custGeom>
                <a:avLst/>
                <a:gdLst>
                  <a:gd name="connsiteX0" fmla="*/ 3952 w 4089"/>
                  <a:gd name="connsiteY0" fmla="*/ 4418 h 7464"/>
                  <a:gd name="connsiteX1" fmla="*/ 2196 w 4089"/>
                  <a:gd name="connsiteY1" fmla="*/ 7464 h 7464"/>
                  <a:gd name="connsiteX2" fmla="*/ 0 w 4089"/>
                  <a:gd name="connsiteY2" fmla="*/ 4007 h 7464"/>
                  <a:gd name="connsiteX3" fmla="*/ 1180 w 4089"/>
                  <a:gd name="connsiteY3" fmla="*/ 0 h 7464"/>
                  <a:gd name="connsiteX4" fmla="*/ 4089 w 4089"/>
                  <a:gd name="connsiteY4" fmla="*/ 137 h 7464"/>
                  <a:gd name="connsiteX5" fmla="*/ 3952 w 4089"/>
                  <a:gd name="connsiteY5" fmla="*/ 4418 h 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9" h="7464">
                    <a:moveTo>
                      <a:pt x="3952" y="4418"/>
                    </a:moveTo>
                    <a:lnTo>
                      <a:pt x="2196" y="7464"/>
                    </a:lnTo>
                    <a:lnTo>
                      <a:pt x="0" y="4007"/>
                    </a:lnTo>
                    <a:lnTo>
                      <a:pt x="1180" y="0"/>
                    </a:lnTo>
                    <a:lnTo>
                      <a:pt x="4089" y="137"/>
                    </a:lnTo>
                    <a:lnTo>
                      <a:pt x="3952" y="44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7" name="Freeform: Shape 3466">
                <a:extLst>
                  <a:ext uri="{FF2B5EF4-FFF2-40B4-BE49-F238E27FC236}">
                    <a16:creationId xmlns:a16="http://schemas.microsoft.com/office/drawing/2014/main" id="{134EC100-D73E-3306-18AF-76F2C7714504}"/>
                  </a:ext>
                </a:extLst>
              </p:cNvPr>
              <p:cNvSpPr/>
              <p:nvPr/>
            </p:nvSpPr>
            <p:spPr>
              <a:xfrm>
                <a:off x="1102269" y="3518048"/>
                <a:ext cx="461" cy="784"/>
              </a:xfrm>
              <a:custGeom>
                <a:avLst/>
                <a:gdLst>
                  <a:gd name="connsiteX0" fmla="*/ 0 w 4418"/>
                  <a:gd name="connsiteY0" fmla="*/ 5132 h 7519"/>
                  <a:gd name="connsiteX1" fmla="*/ 0 w 4418"/>
                  <a:gd name="connsiteY1" fmla="*/ 1455 h 7519"/>
                  <a:gd name="connsiteX2" fmla="*/ 3677 w 4418"/>
                  <a:gd name="connsiteY2" fmla="*/ 0 h 7519"/>
                  <a:gd name="connsiteX3" fmla="*/ 4418 w 4418"/>
                  <a:gd name="connsiteY3" fmla="*/ 4748 h 7519"/>
                  <a:gd name="connsiteX4" fmla="*/ 686 w 4418"/>
                  <a:gd name="connsiteY4" fmla="*/ 7519 h 7519"/>
                  <a:gd name="connsiteX5" fmla="*/ 0 w 4418"/>
                  <a:gd name="connsiteY5" fmla="*/ 5132 h 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8" h="7519">
                    <a:moveTo>
                      <a:pt x="0" y="5132"/>
                    </a:moveTo>
                    <a:lnTo>
                      <a:pt x="0" y="1455"/>
                    </a:lnTo>
                    <a:cubicBezTo>
                      <a:pt x="0" y="1455"/>
                      <a:pt x="3677" y="0"/>
                      <a:pt x="3677" y="0"/>
                    </a:cubicBezTo>
                    <a:lnTo>
                      <a:pt x="4418" y="4748"/>
                    </a:lnTo>
                    <a:lnTo>
                      <a:pt x="686" y="7519"/>
                    </a:lnTo>
                    <a:lnTo>
                      <a:pt x="0" y="513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8" name="Freeform: Shape 3467">
                <a:extLst>
                  <a:ext uri="{FF2B5EF4-FFF2-40B4-BE49-F238E27FC236}">
                    <a16:creationId xmlns:a16="http://schemas.microsoft.com/office/drawing/2014/main" id="{A0A3DB41-8236-2D55-0470-AC72E9FBC5D3}"/>
                  </a:ext>
                </a:extLst>
              </p:cNvPr>
              <p:cNvSpPr/>
              <p:nvPr/>
            </p:nvSpPr>
            <p:spPr>
              <a:xfrm>
                <a:off x="1179025" y="3636073"/>
                <a:ext cx="426" cy="458"/>
              </a:xfrm>
              <a:custGeom>
                <a:avLst/>
                <a:gdLst>
                  <a:gd name="connsiteX0" fmla="*/ 0 w 4089"/>
                  <a:gd name="connsiteY0" fmla="*/ 4089 h 4390"/>
                  <a:gd name="connsiteX1" fmla="*/ 1674 w 4089"/>
                  <a:gd name="connsiteY1" fmla="*/ 137 h 4390"/>
                  <a:gd name="connsiteX2" fmla="*/ 4089 w 4089"/>
                  <a:gd name="connsiteY2" fmla="*/ 0 h 4390"/>
                  <a:gd name="connsiteX3" fmla="*/ 3513 w 4089"/>
                  <a:gd name="connsiteY3" fmla="*/ 4391 h 4390"/>
                  <a:gd name="connsiteX4" fmla="*/ 0 w 4089"/>
                  <a:gd name="connsiteY4" fmla="*/ 4062 h 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9" h="4390">
                    <a:moveTo>
                      <a:pt x="0" y="4089"/>
                    </a:moveTo>
                    <a:lnTo>
                      <a:pt x="1674" y="137"/>
                    </a:lnTo>
                    <a:lnTo>
                      <a:pt x="4089" y="0"/>
                    </a:lnTo>
                    <a:lnTo>
                      <a:pt x="3513" y="4391"/>
                    </a:lnTo>
                    <a:lnTo>
                      <a:pt x="0" y="40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9" name="Freeform: Shape 3468">
                <a:extLst>
                  <a:ext uri="{FF2B5EF4-FFF2-40B4-BE49-F238E27FC236}">
                    <a16:creationId xmlns:a16="http://schemas.microsoft.com/office/drawing/2014/main" id="{B9BFFD5D-3CE8-2B9F-E16E-4EBDDFEADEE7}"/>
                  </a:ext>
                </a:extLst>
              </p:cNvPr>
              <p:cNvSpPr/>
              <p:nvPr/>
            </p:nvSpPr>
            <p:spPr>
              <a:xfrm>
                <a:off x="1155082" y="3537563"/>
                <a:ext cx="481" cy="670"/>
              </a:xfrm>
              <a:custGeom>
                <a:avLst/>
                <a:gdLst>
                  <a:gd name="connsiteX0" fmla="*/ 0 w 4610"/>
                  <a:gd name="connsiteY0" fmla="*/ 3430 h 6421"/>
                  <a:gd name="connsiteX1" fmla="*/ 329 w 4610"/>
                  <a:gd name="connsiteY1" fmla="*/ 0 h 6421"/>
                  <a:gd name="connsiteX2" fmla="*/ 3924 w 4610"/>
                  <a:gd name="connsiteY2" fmla="*/ 1207 h 6421"/>
                  <a:gd name="connsiteX3" fmla="*/ 4610 w 4610"/>
                  <a:gd name="connsiteY3" fmla="*/ 5955 h 6421"/>
                  <a:gd name="connsiteX4" fmla="*/ 2168 w 4610"/>
                  <a:gd name="connsiteY4" fmla="*/ 6422 h 6421"/>
                  <a:gd name="connsiteX5" fmla="*/ 0 w 4610"/>
                  <a:gd name="connsiteY5" fmla="*/ 3430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0" h="6421">
                    <a:moveTo>
                      <a:pt x="0" y="3430"/>
                    </a:moveTo>
                    <a:lnTo>
                      <a:pt x="329" y="0"/>
                    </a:lnTo>
                    <a:lnTo>
                      <a:pt x="3924" y="1207"/>
                    </a:lnTo>
                    <a:lnTo>
                      <a:pt x="4610" y="5955"/>
                    </a:lnTo>
                    <a:lnTo>
                      <a:pt x="2168" y="6422"/>
                    </a:lnTo>
                    <a:lnTo>
                      <a:pt x="0" y="34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0" name="Freeform: Shape 3469">
                <a:extLst>
                  <a:ext uri="{FF2B5EF4-FFF2-40B4-BE49-F238E27FC236}">
                    <a16:creationId xmlns:a16="http://schemas.microsoft.com/office/drawing/2014/main" id="{CB0687C9-74A0-A575-7CE6-EF3FD2E17087}"/>
                  </a:ext>
                </a:extLst>
              </p:cNvPr>
              <p:cNvSpPr/>
              <p:nvPr/>
            </p:nvSpPr>
            <p:spPr>
              <a:xfrm>
                <a:off x="1184919" y="3641440"/>
                <a:ext cx="418" cy="452"/>
              </a:xfrm>
              <a:custGeom>
                <a:avLst/>
                <a:gdLst>
                  <a:gd name="connsiteX0" fmla="*/ 0 w 4006"/>
                  <a:gd name="connsiteY0" fmla="*/ 3074 h 4335"/>
                  <a:gd name="connsiteX1" fmla="*/ 219 w 4006"/>
                  <a:gd name="connsiteY1" fmla="*/ 0 h 4335"/>
                  <a:gd name="connsiteX2" fmla="*/ 3403 w 4006"/>
                  <a:gd name="connsiteY2" fmla="*/ 0 h 4335"/>
                  <a:gd name="connsiteX3" fmla="*/ 4007 w 4006"/>
                  <a:gd name="connsiteY3" fmla="*/ 4336 h 4335"/>
                  <a:gd name="connsiteX4" fmla="*/ 0 w 4006"/>
                  <a:gd name="connsiteY4" fmla="*/ 3046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4335">
                    <a:moveTo>
                      <a:pt x="0" y="3074"/>
                    </a:moveTo>
                    <a:lnTo>
                      <a:pt x="219" y="0"/>
                    </a:lnTo>
                    <a:lnTo>
                      <a:pt x="3403" y="0"/>
                    </a:lnTo>
                    <a:lnTo>
                      <a:pt x="4007" y="4336"/>
                    </a:lnTo>
                    <a:lnTo>
                      <a:pt x="0"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1" name="Freeform: Shape 3470">
                <a:extLst>
                  <a:ext uri="{FF2B5EF4-FFF2-40B4-BE49-F238E27FC236}">
                    <a16:creationId xmlns:a16="http://schemas.microsoft.com/office/drawing/2014/main" id="{AC009BBB-14A2-81F6-CD93-6AC404745BEC}"/>
                  </a:ext>
                </a:extLst>
              </p:cNvPr>
              <p:cNvSpPr/>
              <p:nvPr/>
            </p:nvSpPr>
            <p:spPr>
              <a:xfrm>
                <a:off x="983436" y="3500135"/>
                <a:ext cx="369" cy="1019"/>
              </a:xfrm>
              <a:custGeom>
                <a:avLst/>
                <a:gdLst>
                  <a:gd name="connsiteX0" fmla="*/ 0 w 3540"/>
                  <a:gd name="connsiteY0" fmla="*/ 3870 h 9769"/>
                  <a:gd name="connsiteX1" fmla="*/ 3540 w 3540"/>
                  <a:gd name="connsiteY1" fmla="*/ 0 h 9769"/>
                  <a:gd name="connsiteX2" fmla="*/ 3540 w 3540"/>
                  <a:gd name="connsiteY2" fmla="*/ 9770 h 9769"/>
                  <a:gd name="connsiteX3" fmla="*/ 796 w 3540"/>
                  <a:gd name="connsiteY3" fmla="*/ 9550 h 9769"/>
                  <a:gd name="connsiteX4" fmla="*/ 0 w 3540"/>
                  <a:gd name="connsiteY4" fmla="*/ 3870 h 9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 h="9769">
                    <a:moveTo>
                      <a:pt x="0" y="3870"/>
                    </a:moveTo>
                    <a:lnTo>
                      <a:pt x="3540" y="0"/>
                    </a:lnTo>
                    <a:lnTo>
                      <a:pt x="3540" y="9770"/>
                    </a:lnTo>
                    <a:cubicBezTo>
                      <a:pt x="3540" y="9770"/>
                      <a:pt x="796" y="9550"/>
                      <a:pt x="796" y="9550"/>
                    </a:cubicBezTo>
                    <a:lnTo>
                      <a:pt x="0" y="38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2" name="Freeform: Shape 3471">
                <a:extLst>
                  <a:ext uri="{FF2B5EF4-FFF2-40B4-BE49-F238E27FC236}">
                    <a16:creationId xmlns:a16="http://schemas.microsoft.com/office/drawing/2014/main" id="{CC0B2A63-9864-9759-426B-EE1360E98205}"/>
                  </a:ext>
                </a:extLst>
              </p:cNvPr>
              <p:cNvSpPr/>
              <p:nvPr/>
            </p:nvSpPr>
            <p:spPr>
              <a:xfrm>
                <a:off x="1163826" y="3555149"/>
                <a:ext cx="363" cy="781"/>
              </a:xfrm>
              <a:custGeom>
                <a:avLst/>
                <a:gdLst>
                  <a:gd name="connsiteX0" fmla="*/ 0 w 3485"/>
                  <a:gd name="connsiteY0" fmla="*/ 3019 h 7492"/>
                  <a:gd name="connsiteX1" fmla="*/ 522 w 3485"/>
                  <a:gd name="connsiteY1" fmla="*/ 0 h 7492"/>
                  <a:gd name="connsiteX2" fmla="*/ 3485 w 3485"/>
                  <a:gd name="connsiteY2" fmla="*/ 1345 h 7492"/>
                  <a:gd name="connsiteX3" fmla="*/ 2964 w 3485"/>
                  <a:gd name="connsiteY3" fmla="*/ 7492 h 7492"/>
                  <a:gd name="connsiteX4" fmla="*/ 55 w 3485"/>
                  <a:gd name="connsiteY4" fmla="*/ 5598 h 7492"/>
                  <a:gd name="connsiteX5" fmla="*/ 0 w 3485"/>
                  <a:gd name="connsiteY5" fmla="*/ 3019 h 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5" h="7492">
                    <a:moveTo>
                      <a:pt x="0" y="3019"/>
                    </a:moveTo>
                    <a:lnTo>
                      <a:pt x="522" y="0"/>
                    </a:lnTo>
                    <a:lnTo>
                      <a:pt x="3485" y="1345"/>
                    </a:lnTo>
                    <a:lnTo>
                      <a:pt x="2964" y="7492"/>
                    </a:lnTo>
                    <a:lnTo>
                      <a:pt x="55" y="5598"/>
                    </a:lnTo>
                    <a:lnTo>
                      <a:pt x="0"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3" name="Freeform: Shape 3472">
                <a:extLst>
                  <a:ext uri="{FF2B5EF4-FFF2-40B4-BE49-F238E27FC236}">
                    <a16:creationId xmlns:a16="http://schemas.microsoft.com/office/drawing/2014/main" id="{0CA63821-B68F-86EA-7B5F-D7EEE6ACBCF3}"/>
                  </a:ext>
                </a:extLst>
              </p:cNvPr>
              <p:cNvSpPr/>
              <p:nvPr/>
            </p:nvSpPr>
            <p:spPr>
              <a:xfrm>
                <a:off x="1083655" y="3540540"/>
                <a:ext cx="521" cy="578"/>
              </a:xfrm>
              <a:custGeom>
                <a:avLst/>
                <a:gdLst>
                  <a:gd name="connsiteX0" fmla="*/ 0 w 4994"/>
                  <a:gd name="connsiteY0" fmla="*/ 4336 h 5543"/>
                  <a:gd name="connsiteX1" fmla="*/ 1043 w 4994"/>
                  <a:gd name="connsiteY1" fmla="*/ 0 h 5543"/>
                  <a:gd name="connsiteX2" fmla="*/ 4254 w 4994"/>
                  <a:gd name="connsiteY2" fmla="*/ 0 h 5543"/>
                  <a:gd name="connsiteX3" fmla="*/ 4995 w 4994"/>
                  <a:gd name="connsiteY3" fmla="*/ 3211 h 5543"/>
                  <a:gd name="connsiteX4" fmla="*/ 3101 w 4994"/>
                  <a:gd name="connsiteY4" fmla="*/ 5544 h 5543"/>
                  <a:gd name="connsiteX5" fmla="*/ 0 w 4994"/>
                  <a:gd name="connsiteY5" fmla="*/ 4336 h 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4" h="5543">
                    <a:moveTo>
                      <a:pt x="0" y="4336"/>
                    </a:moveTo>
                    <a:lnTo>
                      <a:pt x="1043" y="0"/>
                    </a:lnTo>
                    <a:lnTo>
                      <a:pt x="4254" y="0"/>
                    </a:lnTo>
                    <a:lnTo>
                      <a:pt x="4995" y="3211"/>
                    </a:lnTo>
                    <a:lnTo>
                      <a:pt x="3101" y="5544"/>
                    </a:lnTo>
                    <a:lnTo>
                      <a:pt x="0" y="43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4" name="Freeform: Shape 3473">
                <a:extLst>
                  <a:ext uri="{FF2B5EF4-FFF2-40B4-BE49-F238E27FC236}">
                    <a16:creationId xmlns:a16="http://schemas.microsoft.com/office/drawing/2014/main" id="{4AC0EBBA-9A43-E454-65D7-A13DE4CC0FA4}"/>
                  </a:ext>
                </a:extLst>
              </p:cNvPr>
              <p:cNvSpPr/>
              <p:nvPr/>
            </p:nvSpPr>
            <p:spPr>
              <a:xfrm>
                <a:off x="1056002" y="3510878"/>
                <a:ext cx="395" cy="896"/>
              </a:xfrm>
              <a:custGeom>
                <a:avLst/>
                <a:gdLst>
                  <a:gd name="connsiteX0" fmla="*/ 3677 w 3787"/>
                  <a:gd name="connsiteY0" fmla="*/ 5763 h 8589"/>
                  <a:gd name="connsiteX1" fmla="*/ 1015 w 3787"/>
                  <a:gd name="connsiteY1" fmla="*/ 8590 h 8589"/>
                  <a:gd name="connsiteX2" fmla="*/ 0 w 3787"/>
                  <a:gd name="connsiteY2" fmla="*/ 0 h 8589"/>
                  <a:gd name="connsiteX3" fmla="*/ 3787 w 3787"/>
                  <a:gd name="connsiteY3" fmla="*/ 0 h 8589"/>
                  <a:gd name="connsiteX4" fmla="*/ 3677 w 3787"/>
                  <a:gd name="connsiteY4" fmla="*/ 5763 h 8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8589">
                    <a:moveTo>
                      <a:pt x="3677" y="5763"/>
                    </a:moveTo>
                    <a:lnTo>
                      <a:pt x="1015" y="8590"/>
                    </a:lnTo>
                    <a:lnTo>
                      <a:pt x="0" y="0"/>
                    </a:lnTo>
                    <a:lnTo>
                      <a:pt x="3787" y="0"/>
                    </a:lnTo>
                    <a:cubicBezTo>
                      <a:pt x="3787" y="0"/>
                      <a:pt x="3677" y="5763"/>
                      <a:pt x="3677" y="5763"/>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5" name="Freeform: Shape 3474">
                <a:extLst>
                  <a:ext uri="{FF2B5EF4-FFF2-40B4-BE49-F238E27FC236}">
                    <a16:creationId xmlns:a16="http://schemas.microsoft.com/office/drawing/2014/main" id="{FEB75295-12B5-921F-E6C6-AAF031B61944}"/>
                  </a:ext>
                </a:extLst>
              </p:cNvPr>
              <p:cNvSpPr/>
              <p:nvPr/>
            </p:nvSpPr>
            <p:spPr>
              <a:xfrm>
                <a:off x="1169253" y="3561449"/>
                <a:ext cx="406" cy="664"/>
              </a:xfrm>
              <a:custGeom>
                <a:avLst/>
                <a:gdLst>
                  <a:gd name="connsiteX0" fmla="*/ 0 w 3896"/>
                  <a:gd name="connsiteY0" fmla="*/ 0 h 6366"/>
                  <a:gd name="connsiteX1" fmla="*/ 3897 w 3896"/>
                  <a:gd name="connsiteY1" fmla="*/ 1647 h 6366"/>
                  <a:gd name="connsiteX2" fmla="*/ 3650 w 3896"/>
                  <a:gd name="connsiteY2" fmla="*/ 6367 h 6366"/>
                  <a:gd name="connsiteX3" fmla="*/ 741 w 3896"/>
                  <a:gd name="connsiteY3" fmla="*/ 6092 h 6366"/>
                  <a:gd name="connsiteX4" fmla="*/ 0 w 3896"/>
                  <a:gd name="connsiteY4" fmla="*/ 0 h 6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6" h="6366">
                    <a:moveTo>
                      <a:pt x="0" y="0"/>
                    </a:moveTo>
                    <a:lnTo>
                      <a:pt x="3897" y="1647"/>
                    </a:lnTo>
                    <a:lnTo>
                      <a:pt x="3650" y="6367"/>
                    </a:lnTo>
                    <a:lnTo>
                      <a:pt x="741" y="6092"/>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6" name="Freeform: Shape 3475">
                <a:extLst>
                  <a:ext uri="{FF2B5EF4-FFF2-40B4-BE49-F238E27FC236}">
                    <a16:creationId xmlns:a16="http://schemas.microsoft.com/office/drawing/2014/main" id="{F2B1B0D8-1D3D-D887-1ED1-8648814925E1}"/>
                  </a:ext>
                </a:extLst>
              </p:cNvPr>
              <p:cNvSpPr/>
              <p:nvPr/>
            </p:nvSpPr>
            <p:spPr>
              <a:xfrm>
                <a:off x="1127417" y="3633697"/>
                <a:ext cx="321" cy="581"/>
              </a:xfrm>
              <a:custGeom>
                <a:avLst/>
                <a:gdLst>
                  <a:gd name="connsiteX0" fmla="*/ 0 w 3073"/>
                  <a:gd name="connsiteY0" fmla="*/ 1180 h 5571"/>
                  <a:gd name="connsiteX1" fmla="*/ 2936 w 3073"/>
                  <a:gd name="connsiteY1" fmla="*/ 0 h 5571"/>
                  <a:gd name="connsiteX2" fmla="*/ 3074 w 3073"/>
                  <a:gd name="connsiteY2" fmla="*/ 5132 h 5571"/>
                  <a:gd name="connsiteX3" fmla="*/ 823 w 3073"/>
                  <a:gd name="connsiteY3" fmla="*/ 5571 h 5571"/>
                  <a:gd name="connsiteX4" fmla="*/ 27 w 3073"/>
                  <a:gd name="connsiteY4" fmla="*/ 1208 h 5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 h="5571">
                    <a:moveTo>
                      <a:pt x="0" y="1180"/>
                    </a:moveTo>
                    <a:lnTo>
                      <a:pt x="2936" y="0"/>
                    </a:lnTo>
                    <a:lnTo>
                      <a:pt x="3074" y="5132"/>
                    </a:lnTo>
                    <a:lnTo>
                      <a:pt x="823" y="5571"/>
                    </a:lnTo>
                    <a:lnTo>
                      <a:pt x="27" y="12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7" name="Freeform: Shape 3476">
                <a:extLst>
                  <a:ext uri="{FF2B5EF4-FFF2-40B4-BE49-F238E27FC236}">
                    <a16:creationId xmlns:a16="http://schemas.microsoft.com/office/drawing/2014/main" id="{E330A76F-23EA-B16C-8F9C-7FB0FA280964}"/>
                  </a:ext>
                </a:extLst>
              </p:cNvPr>
              <p:cNvSpPr/>
              <p:nvPr/>
            </p:nvSpPr>
            <p:spPr>
              <a:xfrm>
                <a:off x="1071290" y="3476103"/>
                <a:ext cx="467" cy="890"/>
              </a:xfrm>
              <a:custGeom>
                <a:avLst/>
                <a:gdLst>
                  <a:gd name="connsiteX0" fmla="*/ 0 w 4473"/>
                  <a:gd name="connsiteY0" fmla="*/ 7904 h 8534"/>
                  <a:gd name="connsiteX1" fmla="*/ 741 w 4473"/>
                  <a:gd name="connsiteY1" fmla="*/ 137 h 8534"/>
                  <a:gd name="connsiteX2" fmla="*/ 4473 w 4473"/>
                  <a:gd name="connsiteY2" fmla="*/ 0 h 8534"/>
                  <a:gd name="connsiteX3" fmla="*/ 3266 w 4473"/>
                  <a:gd name="connsiteY3" fmla="*/ 8535 h 8534"/>
                  <a:gd name="connsiteX4" fmla="*/ 0 w 4473"/>
                  <a:gd name="connsiteY4" fmla="*/ 7904 h 8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3" h="8534">
                    <a:moveTo>
                      <a:pt x="0" y="7904"/>
                    </a:moveTo>
                    <a:lnTo>
                      <a:pt x="741" y="137"/>
                    </a:lnTo>
                    <a:lnTo>
                      <a:pt x="4473" y="0"/>
                    </a:lnTo>
                    <a:lnTo>
                      <a:pt x="3266" y="8535"/>
                    </a:lnTo>
                    <a:lnTo>
                      <a:pt x="0" y="79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8" name="Freeform: Shape 3477">
                <a:extLst>
                  <a:ext uri="{FF2B5EF4-FFF2-40B4-BE49-F238E27FC236}">
                    <a16:creationId xmlns:a16="http://schemas.microsoft.com/office/drawing/2014/main" id="{479EEFF6-073C-2381-D7D0-16FB7AB3B586}"/>
                  </a:ext>
                </a:extLst>
              </p:cNvPr>
              <p:cNvSpPr/>
              <p:nvPr/>
            </p:nvSpPr>
            <p:spPr>
              <a:xfrm>
                <a:off x="1115702" y="3473284"/>
                <a:ext cx="532" cy="796"/>
              </a:xfrm>
              <a:custGeom>
                <a:avLst/>
                <a:gdLst>
                  <a:gd name="connsiteX0" fmla="*/ 0 w 5104"/>
                  <a:gd name="connsiteY0" fmla="*/ 4226 h 7629"/>
                  <a:gd name="connsiteX1" fmla="*/ 494 w 5104"/>
                  <a:gd name="connsiteY1" fmla="*/ 631 h 7629"/>
                  <a:gd name="connsiteX2" fmla="*/ 4748 w 5104"/>
                  <a:gd name="connsiteY2" fmla="*/ 0 h 7629"/>
                  <a:gd name="connsiteX3" fmla="*/ 5104 w 5104"/>
                  <a:gd name="connsiteY3" fmla="*/ 5351 h 7629"/>
                  <a:gd name="connsiteX4" fmla="*/ 604 w 5104"/>
                  <a:gd name="connsiteY4" fmla="*/ 7629 h 7629"/>
                  <a:gd name="connsiteX5" fmla="*/ 27 w 5104"/>
                  <a:gd name="connsiteY5" fmla="*/ 4199 h 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4" h="7629">
                    <a:moveTo>
                      <a:pt x="0" y="4226"/>
                    </a:moveTo>
                    <a:lnTo>
                      <a:pt x="494" y="631"/>
                    </a:lnTo>
                    <a:lnTo>
                      <a:pt x="4748" y="0"/>
                    </a:lnTo>
                    <a:lnTo>
                      <a:pt x="5104" y="5351"/>
                    </a:lnTo>
                    <a:lnTo>
                      <a:pt x="604" y="7629"/>
                    </a:lnTo>
                    <a:lnTo>
                      <a:pt x="27" y="41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9" name="Freeform: Shape 3478">
                <a:extLst>
                  <a:ext uri="{FF2B5EF4-FFF2-40B4-BE49-F238E27FC236}">
                    <a16:creationId xmlns:a16="http://schemas.microsoft.com/office/drawing/2014/main" id="{D4508631-6E37-8ADB-EBC0-EA2D634ED713}"/>
                  </a:ext>
                </a:extLst>
              </p:cNvPr>
              <p:cNvSpPr/>
              <p:nvPr/>
            </p:nvSpPr>
            <p:spPr>
              <a:xfrm>
                <a:off x="1140870" y="3587960"/>
                <a:ext cx="492" cy="461"/>
              </a:xfrm>
              <a:custGeom>
                <a:avLst/>
                <a:gdLst>
                  <a:gd name="connsiteX0" fmla="*/ 27 w 4720"/>
                  <a:gd name="connsiteY0" fmla="*/ 2086 h 4418"/>
                  <a:gd name="connsiteX1" fmla="*/ 988 w 4720"/>
                  <a:gd name="connsiteY1" fmla="*/ 0 h 4418"/>
                  <a:gd name="connsiteX2" fmla="*/ 4062 w 4720"/>
                  <a:gd name="connsiteY2" fmla="*/ 384 h 4418"/>
                  <a:gd name="connsiteX3" fmla="*/ 4720 w 4720"/>
                  <a:gd name="connsiteY3" fmla="*/ 3760 h 4418"/>
                  <a:gd name="connsiteX4" fmla="*/ 549 w 4720"/>
                  <a:gd name="connsiteY4" fmla="*/ 4418 h 4418"/>
                  <a:gd name="connsiteX5" fmla="*/ 0 w 4720"/>
                  <a:gd name="connsiteY5" fmla="*/ 2086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0" h="4418">
                    <a:moveTo>
                      <a:pt x="27" y="2086"/>
                    </a:moveTo>
                    <a:lnTo>
                      <a:pt x="988" y="0"/>
                    </a:lnTo>
                    <a:lnTo>
                      <a:pt x="4062" y="384"/>
                    </a:lnTo>
                    <a:lnTo>
                      <a:pt x="4720" y="3760"/>
                    </a:lnTo>
                    <a:lnTo>
                      <a:pt x="549" y="4418"/>
                    </a:lnTo>
                    <a:lnTo>
                      <a:pt x="0"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0" name="Freeform: Shape 3479">
                <a:extLst>
                  <a:ext uri="{FF2B5EF4-FFF2-40B4-BE49-F238E27FC236}">
                    <a16:creationId xmlns:a16="http://schemas.microsoft.com/office/drawing/2014/main" id="{ED97669B-4EF6-40A1-1C5F-3D4A552475B1}"/>
                  </a:ext>
                </a:extLst>
              </p:cNvPr>
              <p:cNvSpPr/>
              <p:nvPr/>
            </p:nvSpPr>
            <p:spPr>
              <a:xfrm>
                <a:off x="1196365" y="3668927"/>
                <a:ext cx="237" cy="638"/>
              </a:xfrm>
              <a:custGeom>
                <a:avLst/>
                <a:gdLst>
                  <a:gd name="connsiteX0" fmla="*/ 27 w 2277"/>
                  <a:gd name="connsiteY0" fmla="*/ 0 h 6119"/>
                  <a:gd name="connsiteX1" fmla="*/ 1948 w 2277"/>
                  <a:gd name="connsiteY1" fmla="*/ 0 h 6119"/>
                  <a:gd name="connsiteX2" fmla="*/ 2278 w 2277"/>
                  <a:gd name="connsiteY2" fmla="*/ 5406 h 6119"/>
                  <a:gd name="connsiteX3" fmla="*/ 521 w 2277"/>
                  <a:gd name="connsiteY3" fmla="*/ 6120 h 6119"/>
                  <a:gd name="connsiteX4" fmla="*/ 0 w 2277"/>
                  <a:gd name="connsiteY4" fmla="*/ 0 h 6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 h="6119">
                    <a:moveTo>
                      <a:pt x="27" y="0"/>
                    </a:moveTo>
                    <a:lnTo>
                      <a:pt x="1948" y="0"/>
                    </a:lnTo>
                    <a:lnTo>
                      <a:pt x="2278" y="5406"/>
                    </a:lnTo>
                    <a:lnTo>
                      <a:pt x="521" y="6120"/>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1" name="Freeform: Shape 3480">
                <a:extLst>
                  <a:ext uri="{FF2B5EF4-FFF2-40B4-BE49-F238E27FC236}">
                    <a16:creationId xmlns:a16="http://schemas.microsoft.com/office/drawing/2014/main" id="{585BEEEA-E569-18C9-6F33-F8845A13DCC5}"/>
                  </a:ext>
                </a:extLst>
              </p:cNvPr>
              <p:cNvSpPr/>
              <p:nvPr/>
            </p:nvSpPr>
            <p:spPr>
              <a:xfrm>
                <a:off x="1122886" y="3477108"/>
                <a:ext cx="466" cy="842"/>
              </a:xfrm>
              <a:custGeom>
                <a:avLst/>
                <a:gdLst>
                  <a:gd name="connsiteX0" fmla="*/ 27 w 4472"/>
                  <a:gd name="connsiteY0" fmla="*/ 7931 h 8068"/>
                  <a:gd name="connsiteX1" fmla="*/ 686 w 4472"/>
                  <a:gd name="connsiteY1" fmla="*/ 0 h 8068"/>
                  <a:gd name="connsiteX2" fmla="*/ 3787 w 4472"/>
                  <a:gd name="connsiteY2" fmla="*/ 988 h 8068"/>
                  <a:gd name="connsiteX3" fmla="*/ 4473 w 4472"/>
                  <a:gd name="connsiteY3" fmla="*/ 8068 h 8068"/>
                  <a:gd name="connsiteX4" fmla="*/ 0 w 4472"/>
                  <a:gd name="connsiteY4" fmla="*/ 7958 h 8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2" h="8068">
                    <a:moveTo>
                      <a:pt x="27" y="7931"/>
                    </a:moveTo>
                    <a:lnTo>
                      <a:pt x="686" y="0"/>
                    </a:lnTo>
                    <a:lnTo>
                      <a:pt x="3787" y="988"/>
                    </a:lnTo>
                    <a:lnTo>
                      <a:pt x="4473" y="8068"/>
                    </a:lnTo>
                    <a:lnTo>
                      <a:pt x="0" y="79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2" name="Freeform: Shape 3481">
                <a:extLst>
                  <a:ext uri="{FF2B5EF4-FFF2-40B4-BE49-F238E27FC236}">
                    <a16:creationId xmlns:a16="http://schemas.microsoft.com/office/drawing/2014/main" id="{A21ED195-E93D-F194-FD44-50995B0DC98B}"/>
                  </a:ext>
                </a:extLst>
              </p:cNvPr>
              <p:cNvSpPr/>
              <p:nvPr/>
            </p:nvSpPr>
            <p:spPr>
              <a:xfrm>
                <a:off x="1194725" y="3661974"/>
                <a:ext cx="255" cy="578"/>
              </a:xfrm>
              <a:custGeom>
                <a:avLst/>
                <a:gdLst>
                  <a:gd name="connsiteX0" fmla="*/ 2140 w 2442"/>
                  <a:gd name="connsiteY0" fmla="*/ 5544 h 5543"/>
                  <a:gd name="connsiteX1" fmla="*/ 0 w 2442"/>
                  <a:gd name="connsiteY1" fmla="*/ 5544 h 5543"/>
                  <a:gd name="connsiteX2" fmla="*/ 0 w 2442"/>
                  <a:gd name="connsiteY2" fmla="*/ 1317 h 5543"/>
                  <a:gd name="connsiteX3" fmla="*/ 2442 w 2442"/>
                  <a:gd name="connsiteY3" fmla="*/ 0 h 5543"/>
                  <a:gd name="connsiteX4" fmla="*/ 2140 w 2442"/>
                  <a:gd name="connsiteY4" fmla="*/ 5516 h 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 h="5543">
                    <a:moveTo>
                      <a:pt x="2140" y="5544"/>
                    </a:moveTo>
                    <a:lnTo>
                      <a:pt x="0" y="5544"/>
                    </a:lnTo>
                    <a:lnTo>
                      <a:pt x="0" y="1317"/>
                    </a:lnTo>
                    <a:lnTo>
                      <a:pt x="2442" y="0"/>
                    </a:lnTo>
                    <a:lnTo>
                      <a:pt x="2140" y="55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3" name="Freeform: Shape 3482">
                <a:extLst>
                  <a:ext uri="{FF2B5EF4-FFF2-40B4-BE49-F238E27FC236}">
                    <a16:creationId xmlns:a16="http://schemas.microsoft.com/office/drawing/2014/main" id="{4D35159E-F6D6-0751-6DAE-1CE42D6550B3}"/>
                  </a:ext>
                </a:extLst>
              </p:cNvPr>
              <p:cNvSpPr/>
              <p:nvPr/>
            </p:nvSpPr>
            <p:spPr>
              <a:xfrm>
                <a:off x="1074499" y="3474626"/>
                <a:ext cx="366" cy="807"/>
              </a:xfrm>
              <a:custGeom>
                <a:avLst/>
                <a:gdLst>
                  <a:gd name="connsiteX0" fmla="*/ 27 w 3512"/>
                  <a:gd name="connsiteY0" fmla="*/ 0 h 7738"/>
                  <a:gd name="connsiteX1" fmla="*/ 2140 w 3512"/>
                  <a:gd name="connsiteY1" fmla="*/ 0 h 7738"/>
                  <a:gd name="connsiteX2" fmla="*/ 2415 w 3512"/>
                  <a:gd name="connsiteY2" fmla="*/ 1098 h 7738"/>
                  <a:gd name="connsiteX3" fmla="*/ 2689 w 3512"/>
                  <a:gd name="connsiteY3" fmla="*/ 2223 h 7738"/>
                  <a:gd name="connsiteX4" fmla="*/ 3238 w 3512"/>
                  <a:gd name="connsiteY4" fmla="*/ 2223 h 7738"/>
                  <a:gd name="connsiteX5" fmla="*/ 3238 w 3512"/>
                  <a:gd name="connsiteY5" fmla="*/ 4446 h 7738"/>
                  <a:gd name="connsiteX6" fmla="*/ 3513 w 3512"/>
                  <a:gd name="connsiteY6" fmla="*/ 5543 h 7738"/>
                  <a:gd name="connsiteX7" fmla="*/ 3513 w 3512"/>
                  <a:gd name="connsiteY7" fmla="*/ 6641 h 7738"/>
                  <a:gd name="connsiteX8" fmla="*/ 2964 w 3512"/>
                  <a:gd name="connsiteY8" fmla="*/ 6641 h 7738"/>
                  <a:gd name="connsiteX9" fmla="*/ 1619 w 3512"/>
                  <a:gd name="connsiteY9" fmla="*/ 7739 h 7738"/>
                  <a:gd name="connsiteX10" fmla="*/ 1345 w 3512"/>
                  <a:gd name="connsiteY10" fmla="*/ 7739 h 7738"/>
                  <a:gd name="connsiteX11" fmla="*/ 1098 w 3512"/>
                  <a:gd name="connsiteY11" fmla="*/ 6641 h 7738"/>
                  <a:gd name="connsiteX12" fmla="*/ 549 w 3512"/>
                  <a:gd name="connsiteY12" fmla="*/ 6641 h 7738"/>
                  <a:gd name="connsiteX13" fmla="*/ 549 w 3512"/>
                  <a:gd name="connsiteY13" fmla="*/ 4418 h 7738"/>
                  <a:gd name="connsiteX14" fmla="*/ 274 w 3512"/>
                  <a:gd name="connsiteY14" fmla="*/ 4418 h 7738"/>
                  <a:gd name="connsiteX15" fmla="*/ 549 w 3512"/>
                  <a:gd name="connsiteY15" fmla="*/ 3321 h 7738"/>
                  <a:gd name="connsiteX16" fmla="*/ 274 w 3512"/>
                  <a:gd name="connsiteY16" fmla="*/ 2223 h 7738"/>
                  <a:gd name="connsiteX17" fmla="*/ 274 w 3512"/>
                  <a:gd name="connsiteY17" fmla="*/ 1098 h 7738"/>
                  <a:gd name="connsiteX18" fmla="*/ 0 w 3512"/>
                  <a:gd name="connsiteY18" fmla="*/ 0 h 7738"/>
                  <a:gd name="connsiteX19" fmla="*/ 0 w 3512"/>
                  <a:gd name="connsiteY19" fmla="*/ 0 h 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12" h="7738">
                    <a:moveTo>
                      <a:pt x="27" y="0"/>
                    </a:moveTo>
                    <a:lnTo>
                      <a:pt x="2140" y="0"/>
                    </a:lnTo>
                    <a:lnTo>
                      <a:pt x="2415" y="1098"/>
                    </a:lnTo>
                    <a:lnTo>
                      <a:pt x="2689" y="2223"/>
                    </a:lnTo>
                    <a:lnTo>
                      <a:pt x="3238" y="2223"/>
                    </a:lnTo>
                    <a:lnTo>
                      <a:pt x="3238" y="4446"/>
                    </a:lnTo>
                    <a:lnTo>
                      <a:pt x="3513" y="5543"/>
                    </a:lnTo>
                    <a:lnTo>
                      <a:pt x="3513" y="6641"/>
                    </a:lnTo>
                    <a:lnTo>
                      <a:pt x="2964" y="6641"/>
                    </a:lnTo>
                    <a:lnTo>
                      <a:pt x="1619" y="7739"/>
                    </a:lnTo>
                    <a:lnTo>
                      <a:pt x="1345" y="7739"/>
                    </a:lnTo>
                    <a:lnTo>
                      <a:pt x="1098" y="6641"/>
                    </a:lnTo>
                    <a:lnTo>
                      <a:pt x="549" y="6641"/>
                    </a:lnTo>
                    <a:lnTo>
                      <a:pt x="549" y="4418"/>
                    </a:lnTo>
                    <a:lnTo>
                      <a:pt x="274" y="4418"/>
                    </a:lnTo>
                    <a:lnTo>
                      <a:pt x="549" y="3321"/>
                    </a:lnTo>
                    <a:lnTo>
                      <a:pt x="274" y="2223"/>
                    </a:lnTo>
                    <a:lnTo>
                      <a:pt x="274" y="1098"/>
                    </a:lnTo>
                    <a:lnTo>
                      <a:pt x="0" y="0"/>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4" name="Freeform: Shape 3483">
                <a:extLst>
                  <a:ext uri="{FF2B5EF4-FFF2-40B4-BE49-F238E27FC236}">
                    <a16:creationId xmlns:a16="http://schemas.microsoft.com/office/drawing/2014/main" id="{65A9D47A-ADF3-571B-9A3B-5DAA1723890C}"/>
                  </a:ext>
                </a:extLst>
              </p:cNvPr>
              <p:cNvSpPr/>
              <p:nvPr/>
            </p:nvSpPr>
            <p:spPr>
              <a:xfrm>
                <a:off x="1159813" y="3689587"/>
                <a:ext cx="172" cy="243"/>
              </a:xfrm>
              <a:custGeom>
                <a:avLst/>
                <a:gdLst>
                  <a:gd name="connsiteX0" fmla="*/ 0 w 1646"/>
                  <a:gd name="connsiteY0" fmla="*/ 439 h 2332"/>
                  <a:gd name="connsiteX1" fmla="*/ 1482 w 1646"/>
                  <a:gd name="connsiteY1" fmla="*/ 0 h 2332"/>
                  <a:gd name="connsiteX2" fmla="*/ 1647 w 1646"/>
                  <a:gd name="connsiteY2" fmla="*/ 1839 h 2332"/>
                  <a:gd name="connsiteX3" fmla="*/ 686 w 1646"/>
                  <a:gd name="connsiteY3" fmla="*/ 2333 h 2332"/>
                  <a:gd name="connsiteX4" fmla="*/ 27 w 1646"/>
                  <a:gd name="connsiteY4" fmla="*/ 467 h 2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 h="2332">
                    <a:moveTo>
                      <a:pt x="0" y="439"/>
                    </a:moveTo>
                    <a:lnTo>
                      <a:pt x="1482" y="0"/>
                    </a:lnTo>
                    <a:lnTo>
                      <a:pt x="1647" y="1839"/>
                    </a:lnTo>
                    <a:lnTo>
                      <a:pt x="686" y="2333"/>
                    </a:lnTo>
                    <a:lnTo>
                      <a:pt x="27" y="4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5" name="Freeform: Shape 3484">
                <a:extLst>
                  <a:ext uri="{FF2B5EF4-FFF2-40B4-BE49-F238E27FC236}">
                    <a16:creationId xmlns:a16="http://schemas.microsoft.com/office/drawing/2014/main" id="{C6D4D53D-D9BE-2153-1CB0-6268C7C1573D}"/>
                  </a:ext>
                </a:extLst>
              </p:cNvPr>
              <p:cNvSpPr/>
              <p:nvPr/>
            </p:nvSpPr>
            <p:spPr>
              <a:xfrm>
                <a:off x="1402802" y="3827990"/>
                <a:ext cx="58589" cy="58125"/>
              </a:xfrm>
              <a:custGeom>
                <a:avLst/>
                <a:gdLst>
                  <a:gd name="connsiteX0" fmla="*/ 448500 w 561730"/>
                  <a:gd name="connsiteY0" fmla="*/ 10044 h 557284"/>
                  <a:gd name="connsiteX1" fmla="*/ 455251 w 561730"/>
                  <a:gd name="connsiteY1" fmla="*/ 14709 h 557284"/>
                  <a:gd name="connsiteX2" fmla="*/ 460246 w 561730"/>
                  <a:gd name="connsiteY2" fmla="*/ 23107 h 557284"/>
                  <a:gd name="connsiteX3" fmla="*/ 465268 w 561730"/>
                  <a:gd name="connsiteY3" fmla="*/ 24040 h 557284"/>
                  <a:gd name="connsiteX4" fmla="*/ 466969 w 561730"/>
                  <a:gd name="connsiteY4" fmla="*/ 27278 h 557284"/>
                  <a:gd name="connsiteX5" fmla="*/ 476547 w 561730"/>
                  <a:gd name="connsiteY5" fmla="*/ 31642 h 557284"/>
                  <a:gd name="connsiteX6" fmla="*/ 487388 w 561730"/>
                  <a:gd name="connsiteY6" fmla="*/ 24095 h 557284"/>
                  <a:gd name="connsiteX7" fmla="*/ 500724 w 561730"/>
                  <a:gd name="connsiteY7" fmla="*/ 29391 h 557284"/>
                  <a:gd name="connsiteX8" fmla="*/ 506350 w 561730"/>
                  <a:gd name="connsiteY8" fmla="*/ 25385 h 557284"/>
                  <a:gd name="connsiteX9" fmla="*/ 508436 w 561730"/>
                  <a:gd name="connsiteY9" fmla="*/ 20884 h 557284"/>
                  <a:gd name="connsiteX10" fmla="*/ 510494 w 561730"/>
                  <a:gd name="connsiteY10" fmla="*/ 20582 h 557284"/>
                  <a:gd name="connsiteX11" fmla="*/ 517602 w 561730"/>
                  <a:gd name="connsiteY11" fmla="*/ 23656 h 557284"/>
                  <a:gd name="connsiteX12" fmla="*/ 518069 w 561730"/>
                  <a:gd name="connsiteY12" fmla="*/ 28815 h 557284"/>
                  <a:gd name="connsiteX13" fmla="*/ 523502 w 561730"/>
                  <a:gd name="connsiteY13" fmla="*/ 33535 h 557284"/>
                  <a:gd name="connsiteX14" fmla="*/ 530418 w 561730"/>
                  <a:gd name="connsiteY14" fmla="*/ 41329 h 557284"/>
                  <a:gd name="connsiteX15" fmla="*/ 539638 w 561730"/>
                  <a:gd name="connsiteY15" fmla="*/ 44622 h 557284"/>
                  <a:gd name="connsiteX16" fmla="*/ 540572 w 561730"/>
                  <a:gd name="connsiteY16" fmla="*/ 51318 h 557284"/>
                  <a:gd name="connsiteX17" fmla="*/ 546335 w 561730"/>
                  <a:gd name="connsiteY17" fmla="*/ 50742 h 557284"/>
                  <a:gd name="connsiteX18" fmla="*/ 548777 w 561730"/>
                  <a:gd name="connsiteY18" fmla="*/ 55188 h 557284"/>
                  <a:gd name="connsiteX19" fmla="*/ 550589 w 561730"/>
                  <a:gd name="connsiteY19" fmla="*/ 55243 h 557284"/>
                  <a:gd name="connsiteX20" fmla="*/ 550890 w 561730"/>
                  <a:gd name="connsiteY20" fmla="*/ 56889 h 557284"/>
                  <a:gd name="connsiteX21" fmla="*/ 546527 w 561730"/>
                  <a:gd name="connsiteY21" fmla="*/ 67070 h 557284"/>
                  <a:gd name="connsiteX22" fmla="*/ 549243 w 561730"/>
                  <a:gd name="connsiteY22" fmla="*/ 73382 h 557284"/>
                  <a:gd name="connsiteX23" fmla="*/ 545512 w 561730"/>
                  <a:gd name="connsiteY23" fmla="*/ 85128 h 557284"/>
                  <a:gd name="connsiteX24" fmla="*/ 549217 w 561730"/>
                  <a:gd name="connsiteY24" fmla="*/ 88147 h 557284"/>
                  <a:gd name="connsiteX25" fmla="*/ 552647 w 561730"/>
                  <a:gd name="connsiteY25" fmla="*/ 87488 h 557284"/>
                  <a:gd name="connsiteX26" fmla="*/ 558465 w 561730"/>
                  <a:gd name="connsiteY26" fmla="*/ 90589 h 557284"/>
                  <a:gd name="connsiteX27" fmla="*/ 561730 w 561730"/>
                  <a:gd name="connsiteY27" fmla="*/ 95886 h 557284"/>
                  <a:gd name="connsiteX28" fmla="*/ 553937 w 561730"/>
                  <a:gd name="connsiteY28" fmla="*/ 106204 h 557284"/>
                  <a:gd name="connsiteX29" fmla="*/ 531379 w 561730"/>
                  <a:gd name="connsiteY29" fmla="*/ 124234 h 557284"/>
                  <a:gd name="connsiteX30" fmla="*/ 528881 w 561730"/>
                  <a:gd name="connsiteY30" fmla="*/ 130656 h 557284"/>
                  <a:gd name="connsiteX31" fmla="*/ 523337 w 561730"/>
                  <a:gd name="connsiteY31" fmla="*/ 133730 h 557284"/>
                  <a:gd name="connsiteX32" fmla="*/ 522075 w 561730"/>
                  <a:gd name="connsiteY32" fmla="*/ 142786 h 557284"/>
                  <a:gd name="connsiteX33" fmla="*/ 521828 w 561730"/>
                  <a:gd name="connsiteY33" fmla="*/ 144377 h 557284"/>
                  <a:gd name="connsiteX34" fmla="*/ 515983 w 561730"/>
                  <a:gd name="connsiteY34" fmla="*/ 155327 h 557284"/>
                  <a:gd name="connsiteX35" fmla="*/ 514611 w 561730"/>
                  <a:gd name="connsiteY35" fmla="*/ 166908 h 557284"/>
                  <a:gd name="connsiteX36" fmla="*/ 513897 w 561730"/>
                  <a:gd name="connsiteY36" fmla="*/ 173165 h 557284"/>
                  <a:gd name="connsiteX37" fmla="*/ 511866 w 561730"/>
                  <a:gd name="connsiteY37" fmla="*/ 190839 h 557284"/>
                  <a:gd name="connsiteX38" fmla="*/ 511564 w 561730"/>
                  <a:gd name="connsiteY38" fmla="*/ 198687 h 557284"/>
                  <a:gd name="connsiteX39" fmla="*/ 509534 w 561730"/>
                  <a:gd name="connsiteY39" fmla="*/ 199922 h 557284"/>
                  <a:gd name="connsiteX40" fmla="*/ 504567 w 561730"/>
                  <a:gd name="connsiteY40" fmla="*/ 203188 h 557284"/>
                  <a:gd name="connsiteX41" fmla="*/ 499764 w 561730"/>
                  <a:gd name="connsiteY41" fmla="*/ 209692 h 557284"/>
                  <a:gd name="connsiteX42" fmla="*/ 498118 w 561730"/>
                  <a:gd name="connsiteY42" fmla="*/ 221986 h 557284"/>
                  <a:gd name="connsiteX43" fmla="*/ 491174 w 561730"/>
                  <a:gd name="connsiteY43" fmla="*/ 229039 h 557284"/>
                  <a:gd name="connsiteX44" fmla="*/ 492080 w 561730"/>
                  <a:gd name="connsiteY44" fmla="*/ 235735 h 557284"/>
                  <a:gd name="connsiteX45" fmla="*/ 495428 w 561730"/>
                  <a:gd name="connsiteY45" fmla="*/ 238644 h 557284"/>
                  <a:gd name="connsiteX46" fmla="*/ 495730 w 561730"/>
                  <a:gd name="connsiteY46" fmla="*/ 241279 h 557284"/>
                  <a:gd name="connsiteX47" fmla="*/ 501356 w 561730"/>
                  <a:gd name="connsiteY47" fmla="*/ 248716 h 557284"/>
                  <a:gd name="connsiteX48" fmla="*/ 501164 w 561730"/>
                  <a:gd name="connsiteY48" fmla="*/ 270862 h 557284"/>
                  <a:gd name="connsiteX49" fmla="*/ 505116 w 561730"/>
                  <a:gd name="connsiteY49" fmla="*/ 279836 h 557284"/>
                  <a:gd name="connsiteX50" fmla="*/ 506680 w 561730"/>
                  <a:gd name="connsiteY50" fmla="*/ 288865 h 557284"/>
                  <a:gd name="connsiteX51" fmla="*/ 504539 w 561730"/>
                  <a:gd name="connsiteY51" fmla="*/ 302943 h 557284"/>
                  <a:gd name="connsiteX52" fmla="*/ 512498 w 561730"/>
                  <a:gd name="connsiteY52" fmla="*/ 326462 h 557284"/>
                  <a:gd name="connsiteX53" fmla="*/ 509095 w 561730"/>
                  <a:gd name="connsiteY53" fmla="*/ 333899 h 557284"/>
                  <a:gd name="connsiteX54" fmla="*/ 510028 w 561730"/>
                  <a:gd name="connsiteY54" fmla="*/ 341885 h 557284"/>
                  <a:gd name="connsiteX55" fmla="*/ 515791 w 561730"/>
                  <a:gd name="connsiteY55" fmla="*/ 353191 h 557284"/>
                  <a:gd name="connsiteX56" fmla="*/ 525835 w 561730"/>
                  <a:gd name="connsiteY56" fmla="*/ 360079 h 557284"/>
                  <a:gd name="connsiteX57" fmla="*/ 532888 w 561730"/>
                  <a:gd name="connsiteY57" fmla="*/ 368834 h 557284"/>
                  <a:gd name="connsiteX58" fmla="*/ 537086 w 561730"/>
                  <a:gd name="connsiteY58" fmla="*/ 381183 h 557284"/>
                  <a:gd name="connsiteX59" fmla="*/ 546308 w 561730"/>
                  <a:gd name="connsiteY59" fmla="*/ 399735 h 557284"/>
                  <a:gd name="connsiteX60" fmla="*/ 541093 w 561730"/>
                  <a:gd name="connsiteY60" fmla="*/ 401793 h 557284"/>
                  <a:gd name="connsiteX61" fmla="*/ 495017 w 561730"/>
                  <a:gd name="connsiteY61" fmla="*/ 407748 h 557284"/>
                  <a:gd name="connsiteX62" fmla="*/ 489747 w 561730"/>
                  <a:gd name="connsiteY62" fmla="*/ 419521 h 557284"/>
                  <a:gd name="connsiteX63" fmla="*/ 476849 w 561730"/>
                  <a:gd name="connsiteY63" fmla="*/ 431047 h 557284"/>
                  <a:gd name="connsiteX64" fmla="*/ 479923 w 561730"/>
                  <a:gd name="connsiteY64" fmla="*/ 434532 h 557284"/>
                  <a:gd name="connsiteX65" fmla="*/ 484698 w 561730"/>
                  <a:gd name="connsiteY65" fmla="*/ 447787 h 557284"/>
                  <a:gd name="connsiteX66" fmla="*/ 482228 w 561730"/>
                  <a:gd name="connsiteY66" fmla="*/ 460438 h 557284"/>
                  <a:gd name="connsiteX67" fmla="*/ 484807 w 561730"/>
                  <a:gd name="connsiteY67" fmla="*/ 472980 h 557284"/>
                  <a:gd name="connsiteX68" fmla="*/ 481240 w 561730"/>
                  <a:gd name="connsiteY68" fmla="*/ 478468 h 557284"/>
                  <a:gd name="connsiteX69" fmla="*/ 476465 w 561730"/>
                  <a:gd name="connsiteY69" fmla="*/ 498008 h 557284"/>
                  <a:gd name="connsiteX70" fmla="*/ 477563 w 561730"/>
                  <a:gd name="connsiteY70" fmla="*/ 507174 h 557284"/>
                  <a:gd name="connsiteX71" fmla="*/ 486866 w 561730"/>
                  <a:gd name="connsiteY71" fmla="*/ 513595 h 557284"/>
                  <a:gd name="connsiteX72" fmla="*/ 495456 w 561730"/>
                  <a:gd name="connsiteY72" fmla="*/ 524463 h 557284"/>
                  <a:gd name="connsiteX73" fmla="*/ 507229 w 561730"/>
                  <a:gd name="connsiteY73" fmla="*/ 527180 h 557284"/>
                  <a:gd name="connsiteX74" fmla="*/ 509397 w 561730"/>
                  <a:gd name="connsiteY74" fmla="*/ 527180 h 557284"/>
                  <a:gd name="connsiteX75" fmla="*/ 507970 w 561730"/>
                  <a:gd name="connsiteY75" fmla="*/ 523777 h 557284"/>
                  <a:gd name="connsiteX76" fmla="*/ 508765 w 561730"/>
                  <a:gd name="connsiteY76" fmla="*/ 520922 h 557284"/>
                  <a:gd name="connsiteX77" fmla="*/ 516998 w 561730"/>
                  <a:gd name="connsiteY77" fmla="*/ 518727 h 557284"/>
                  <a:gd name="connsiteX78" fmla="*/ 517959 w 561730"/>
                  <a:gd name="connsiteY78" fmla="*/ 527180 h 557284"/>
                  <a:gd name="connsiteX79" fmla="*/ 517904 w 561730"/>
                  <a:gd name="connsiteY79" fmla="*/ 555364 h 557284"/>
                  <a:gd name="connsiteX80" fmla="*/ 516230 w 561730"/>
                  <a:gd name="connsiteY80" fmla="*/ 557284 h 557284"/>
                  <a:gd name="connsiteX81" fmla="*/ 512745 w 561730"/>
                  <a:gd name="connsiteY81" fmla="*/ 555885 h 557284"/>
                  <a:gd name="connsiteX82" fmla="*/ 513568 w 561730"/>
                  <a:gd name="connsiteY82" fmla="*/ 551275 h 557284"/>
                  <a:gd name="connsiteX83" fmla="*/ 511949 w 561730"/>
                  <a:gd name="connsiteY83" fmla="*/ 550342 h 557284"/>
                  <a:gd name="connsiteX84" fmla="*/ 500286 w 561730"/>
                  <a:gd name="connsiteY84" fmla="*/ 556379 h 557284"/>
                  <a:gd name="connsiteX85" fmla="*/ 494083 w 561730"/>
                  <a:gd name="connsiteY85" fmla="*/ 555364 h 557284"/>
                  <a:gd name="connsiteX86" fmla="*/ 487881 w 561730"/>
                  <a:gd name="connsiteY86" fmla="*/ 542273 h 557284"/>
                  <a:gd name="connsiteX87" fmla="*/ 484478 w 561730"/>
                  <a:gd name="connsiteY87" fmla="*/ 538925 h 557284"/>
                  <a:gd name="connsiteX88" fmla="*/ 481103 w 561730"/>
                  <a:gd name="connsiteY88" fmla="*/ 538870 h 557284"/>
                  <a:gd name="connsiteX89" fmla="*/ 478770 w 561730"/>
                  <a:gd name="connsiteY89" fmla="*/ 535495 h 557284"/>
                  <a:gd name="connsiteX90" fmla="*/ 479401 w 561730"/>
                  <a:gd name="connsiteY90" fmla="*/ 532229 h 557284"/>
                  <a:gd name="connsiteX91" fmla="*/ 475175 w 561730"/>
                  <a:gd name="connsiteY91" fmla="*/ 527207 h 557284"/>
                  <a:gd name="connsiteX92" fmla="*/ 464089 w 561730"/>
                  <a:gd name="connsiteY92" fmla="*/ 524024 h 557284"/>
                  <a:gd name="connsiteX93" fmla="*/ 461344 w 561730"/>
                  <a:gd name="connsiteY93" fmla="*/ 520840 h 557284"/>
                  <a:gd name="connsiteX94" fmla="*/ 453934 w 561730"/>
                  <a:gd name="connsiteY94" fmla="*/ 521444 h 557284"/>
                  <a:gd name="connsiteX95" fmla="*/ 450367 w 561730"/>
                  <a:gd name="connsiteY95" fmla="*/ 517547 h 557284"/>
                  <a:gd name="connsiteX96" fmla="*/ 448391 w 561730"/>
                  <a:gd name="connsiteY96" fmla="*/ 511290 h 557284"/>
                  <a:gd name="connsiteX97" fmla="*/ 442408 w 561730"/>
                  <a:gd name="connsiteY97" fmla="*/ 506652 h 557284"/>
                  <a:gd name="connsiteX98" fmla="*/ 440817 w 561730"/>
                  <a:gd name="connsiteY98" fmla="*/ 501246 h 557284"/>
                  <a:gd name="connsiteX99" fmla="*/ 437002 w 561730"/>
                  <a:gd name="connsiteY99" fmla="*/ 502069 h 557284"/>
                  <a:gd name="connsiteX100" fmla="*/ 435026 w 561730"/>
                  <a:gd name="connsiteY100" fmla="*/ 509177 h 557284"/>
                  <a:gd name="connsiteX101" fmla="*/ 431816 w 561730"/>
                  <a:gd name="connsiteY101" fmla="*/ 512635 h 557284"/>
                  <a:gd name="connsiteX102" fmla="*/ 426299 w 561730"/>
                  <a:gd name="connsiteY102" fmla="*/ 513513 h 557284"/>
                  <a:gd name="connsiteX103" fmla="*/ 419466 w 561730"/>
                  <a:gd name="connsiteY103" fmla="*/ 511482 h 557284"/>
                  <a:gd name="connsiteX104" fmla="*/ 406595 w 561730"/>
                  <a:gd name="connsiteY104" fmla="*/ 511565 h 557284"/>
                  <a:gd name="connsiteX105" fmla="*/ 395536 w 561730"/>
                  <a:gd name="connsiteY105" fmla="*/ 505939 h 557284"/>
                  <a:gd name="connsiteX106" fmla="*/ 391721 w 561730"/>
                  <a:gd name="connsiteY106" fmla="*/ 506487 h 557284"/>
                  <a:gd name="connsiteX107" fmla="*/ 386671 w 561730"/>
                  <a:gd name="connsiteY107" fmla="*/ 502179 h 557284"/>
                  <a:gd name="connsiteX108" fmla="*/ 384998 w 561730"/>
                  <a:gd name="connsiteY108" fmla="*/ 495263 h 557284"/>
                  <a:gd name="connsiteX109" fmla="*/ 386068 w 561730"/>
                  <a:gd name="connsiteY109" fmla="*/ 489885 h 557284"/>
                  <a:gd name="connsiteX110" fmla="*/ 373307 w 561730"/>
                  <a:gd name="connsiteY110" fmla="*/ 491586 h 557284"/>
                  <a:gd name="connsiteX111" fmla="*/ 360381 w 561730"/>
                  <a:gd name="connsiteY111" fmla="*/ 497431 h 557284"/>
                  <a:gd name="connsiteX112" fmla="*/ 356978 w 561730"/>
                  <a:gd name="connsiteY112" fmla="*/ 495208 h 557284"/>
                  <a:gd name="connsiteX113" fmla="*/ 358625 w 561730"/>
                  <a:gd name="connsiteY113" fmla="*/ 491010 h 557284"/>
                  <a:gd name="connsiteX114" fmla="*/ 357884 w 561730"/>
                  <a:gd name="connsiteY114" fmla="*/ 486317 h 557284"/>
                  <a:gd name="connsiteX115" fmla="*/ 351627 w 561730"/>
                  <a:gd name="connsiteY115" fmla="*/ 484149 h 557284"/>
                  <a:gd name="connsiteX116" fmla="*/ 349953 w 561730"/>
                  <a:gd name="connsiteY116" fmla="*/ 480938 h 557284"/>
                  <a:gd name="connsiteX117" fmla="*/ 347071 w 561730"/>
                  <a:gd name="connsiteY117" fmla="*/ 480225 h 557284"/>
                  <a:gd name="connsiteX118" fmla="*/ 342324 w 561730"/>
                  <a:gd name="connsiteY118" fmla="*/ 484149 h 557284"/>
                  <a:gd name="connsiteX119" fmla="*/ 330990 w 561730"/>
                  <a:gd name="connsiteY119" fmla="*/ 481981 h 557284"/>
                  <a:gd name="connsiteX120" fmla="*/ 321879 w 561730"/>
                  <a:gd name="connsiteY120" fmla="*/ 486921 h 557284"/>
                  <a:gd name="connsiteX121" fmla="*/ 307828 w 561730"/>
                  <a:gd name="connsiteY121" fmla="*/ 486262 h 557284"/>
                  <a:gd name="connsiteX122" fmla="*/ 304151 w 561730"/>
                  <a:gd name="connsiteY122" fmla="*/ 485000 h 557284"/>
                  <a:gd name="connsiteX123" fmla="*/ 301352 w 561730"/>
                  <a:gd name="connsiteY123" fmla="*/ 488348 h 557284"/>
                  <a:gd name="connsiteX124" fmla="*/ 295918 w 561730"/>
                  <a:gd name="connsiteY124" fmla="*/ 490763 h 557284"/>
                  <a:gd name="connsiteX125" fmla="*/ 293640 w 561730"/>
                  <a:gd name="connsiteY125" fmla="*/ 480033 h 557284"/>
                  <a:gd name="connsiteX126" fmla="*/ 297646 w 561730"/>
                  <a:gd name="connsiteY126" fmla="*/ 475614 h 557284"/>
                  <a:gd name="connsiteX127" fmla="*/ 297372 w 561730"/>
                  <a:gd name="connsiteY127" fmla="*/ 464527 h 557284"/>
                  <a:gd name="connsiteX128" fmla="*/ 293695 w 561730"/>
                  <a:gd name="connsiteY128" fmla="*/ 452151 h 557284"/>
                  <a:gd name="connsiteX129" fmla="*/ 284913 w 561730"/>
                  <a:gd name="connsiteY129" fmla="*/ 443177 h 557284"/>
                  <a:gd name="connsiteX130" fmla="*/ 282553 w 561730"/>
                  <a:gd name="connsiteY130" fmla="*/ 436426 h 557284"/>
                  <a:gd name="connsiteX131" fmla="*/ 286559 w 561730"/>
                  <a:gd name="connsiteY131" fmla="*/ 409175 h 557284"/>
                  <a:gd name="connsiteX132" fmla="*/ 281236 w 561730"/>
                  <a:gd name="connsiteY132" fmla="*/ 393121 h 557284"/>
                  <a:gd name="connsiteX133" fmla="*/ 283952 w 561730"/>
                  <a:gd name="connsiteY133" fmla="*/ 379289 h 557284"/>
                  <a:gd name="connsiteX134" fmla="*/ 281839 w 561730"/>
                  <a:gd name="connsiteY134" fmla="*/ 373334 h 557284"/>
                  <a:gd name="connsiteX135" fmla="*/ 246685 w 561730"/>
                  <a:gd name="connsiteY135" fmla="*/ 372703 h 557284"/>
                  <a:gd name="connsiteX136" fmla="*/ 245670 w 561730"/>
                  <a:gd name="connsiteY136" fmla="*/ 369382 h 557284"/>
                  <a:gd name="connsiteX137" fmla="*/ 247508 w 561730"/>
                  <a:gd name="connsiteY137" fmla="*/ 363153 h 557284"/>
                  <a:gd name="connsiteX138" fmla="*/ 246356 w 561730"/>
                  <a:gd name="connsiteY138" fmla="*/ 362082 h 557284"/>
                  <a:gd name="connsiteX139" fmla="*/ 239824 w 561730"/>
                  <a:gd name="connsiteY139" fmla="*/ 362192 h 557284"/>
                  <a:gd name="connsiteX140" fmla="*/ 236558 w 561730"/>
                  <a:gd name="connsiteY140" fmla="*/ 364470 h 557284"/>
                  <a:gd name="connsiteX141" fmla="*/ 217293 w 561730"/>
                  <a:gd name="connsiteY141" fmla="*/ 364662 h 557284"/>
                  <a:gd name="connsiteX142" fmla="*/ 214604 w 561730"/>
                  <a:gd name="connsiteY142" fmla="*/ 372648 h 557284"/>
                  <a:gd name="connsiteX143" fmla="*/ 215482 w 561730"/>
                  <a:gd name="connsiteY143" fmla="*/ 378164 h 557284"/>
                  <a:gd name="connsiteX144" fmla="*/ 211366 w 561730"/>
                  <a:gd name="connsiteY144" fmla="*/ 382528 h 557284"/>
                  <a:gd name="connsiteX145" fmla="*/ 210460 w 561730"/>
                  <a:gd name="connsiteY145" fmla="*/ 393834 h 557284"/>
                  <a:gd name="connsiteX146" fmla="*/ 195696 w 561730"/>
                  <a:gd name="connsiteY146" fmla="*/ 394109 h 557284"/>
                  <a:gd name="connsiteX147" fmla="*/ 192595 w 561730"/>
                  <a:gd name="connsiteY147" fmla="*/ 391913 h 557284"/>
                  <a:gd name="connsiteX148" fmla="*/ 188177 w 561730"/>
                  <a:gd name="connsiteY148" fmla="*/ 391721 h 557284"/>
                  <a:gd name="connsiteX149" fmla="*/ 185240 w 561730"/>
                  <a:gd name="connsiteY149" fmla="*/ 393971 h 557284"/>
                  <a:gd name="connsiteX150" fmla="*/ 175553 w 561730"/>
                  <a:gd name="connsiteY150" fmla="*/ 394438 h 557284"/>
                  <a:gd name="connsiteX151" fmla="*/ 172616 w 561730"/>
                  <a:gd name="connsiteY151" fmla="*/ 396798 h 557284"/>
                  <a:gd name="connsiteX152" fmla="*/ 159059 w 561730"/>
                  <a:gd name="connsiteY152" fmla="*/ 397649 h 557284"/>
                  <a:gd name="connsiteX153" fmla="*/ 156645 w 561730"/>
                  <a:gd name="connsiteY153" fmla="*/ 396359 h 557284"/>
                  <a:gd name="connsiteX154" fmla="*/ 146189 w 561730"/>
                  <a:gd name="connsiteY154" fmla="*/ 377478 h 557284"/>
                  <a:gd name="connsiteX155" fmla="*/ 140179 w 561730"/>
                  <a:gd name="connsiteY155" fmla="*/ 372127 h 557284"/>
                  <a:gd name="connsiteX156" fmla="*/ 138285 w 561730"/>
                  <a:gd name="connsiteY156" fmla="*/ 362385 h 557284"/>
                  <a:gd name="connsiteX157" fmla="*/ 136529 w 561730"/>
                  <a:gd name="connsiteY157" fmla="*/ 360793 h 557284"/>
                  <a:gd name="connsiteX158" fmla="*/ 132220 w 561730"/>
                  <a:gd name="connsiteY158" fmla="*/ 346714 h 557284"/>
                  <a:gd name="connsiteX159" fmla="*/ 132687 w 561730"/>
                  <a:gd name="connsiteY159" fmla="*/ 339552 h 557284"/>
                  <a:gd name="connsiteX160" fmla="*/ 127144 w 561730"/>
                  <a:gd name="connsiteY160" fmla="*/ 330688 h 557284"/>
                  <a:gd name="connsiteX161" fmla="*/ 69732 w 561730"/>
                  <a:gd name="connsiteY161" fmla="*/ 332060 h 557284"/>
                  <a:gd name="connsiteX162" fmla="*/ 51593 w 561730"/>
                  <a:gd name="connsiteY162" fmla="*/ 330194 h 557284"/>
                  <a:gd name="connsiteX163" fmla="*/ 26537 w 561730"/>
                  <a:gd name="connsiteY163" fmla="*/ 331511 h 557284"/>
                  <a:gd name="connsiteX164" fmla="*/ 25796 w 561730"/>
                  <a:gd name="connsiteY164" fmla="*/ 331017 h 557284"/>
                  <a:gd name="connsiteX165" fmla="*/ 25742 w 561730"/>
                  <a:gd name="connsiteY165" fmla="*/ 330962 h 557284"/>
                  <a:gd name="connsiteX166" fmla="*/ 21186 w 561730"/>
                  <a:gd name="connsiteY166" fmla="*/ 330359 h 557284"/>
                  <a:gd name="connsiteX167" fmla="*/ 20171 w 561730"/>
                  <a:gd name="connsiteY167" fmla="*/ 331978 h 557284"/>
                  <a:gd name="connsiteX168" fmla="*/ 18085 w 561730"/>
                  <a:gd name="connsiteY168" fmla="*/ 333515 h 557284"/>
                  <a:gd name="connsiteX169" fmla="*/ 16493 w 561730"/>
                  <a:gd name="connsiteY169" fmla="*/ 334036 h 557284"/>
                  <a:gd name="connsiteX170" fmla="*/ 15615 w 561730"/>
                  <a:gd name="connsiteY170" fmla="*/ 334585 h 557284"/>
                  <a:gd name="connsiteX171" fmla="*/ 11307 w 561730"/>
                  <a:gd name="connsiteY171" fmla="*/ 332801 h 557284"/>
                  <a:gd name="connsiteX172" fmla="*/ 5736 w 561730"/>
                  <a:gd name="connsiteY172" fmla="*/ 334338 h 557284"/>
                  <a:gd name="connsiteX173" fmla="*/ 0 w 561730"/>
                  <a:gd name="connsiteY173" fmla="*/ 327889 h 557284"/>
                  <a:gd name="connsiteX174" fmla="*/ 9605 w 561730"/>
                  <a:gd name="connsiteY174" fmla="*/ 326654 h 557284"/>
                  <a:gd name="connsiteX175" fmla="*/ 9907 w 561730"/>
                  <a:gd name="connsiteY175" fmla="*/ 311176 h 557284"/>
                  <a:gd name="connsiteX176" fmla="*/ 8617 w 561730"/>
                  <a:gd name="connsiteY176" fmla="*/ 307608 h 557284"/>
                  <a:gd name="connsiteX177" fmla="*/ 15451 w 561730"/>
                  <a:gd name="connsiteY177" fmla="*/ 303327 h 557284"/>
                  <a:gd name="connsiteX178" fmla="*/ 19951 w 561730"/>
                  <a:gd name="connsiteY178" fmla="*/ 298086 h 557284"/>
                  <a:gd name="connsiteX179" fmla="*/ 26291 w 561730"/>
                  <a:gd name="connsiteY179" fmla="*/ 296165 h 557284"/>
                  <a:gd name="connsiteX180" fmla="*/ 28760 w 561730"/>
                  <a:gd name="connsiteY180" fmla="*/ 294793 h 557284"/>
                  <a:gd name="connsiteX181" fmla="*/ 37323 w 561730"/>
                  <a:gd name="connsiteY181" fmla="*/ 300473 h 557284"/>
                  <a:gd name="connsiteX182" fmla="*/ 44074 w 561730"/>
                  <a:gd name="connsiteY182" fmla="*/ 296384 h 557284"/>
                  <a:gd name="connsiteX183" fmla="*/ 46324 w 561730"/>
                  <a:gd name="connsiteY183" fmla="*/ 289606 h 557284"/>
                  <a:gd name="connsiteX184" fmla="*/ 52087 w 561730"/>
                  <a:gd name="connsiteY184" fmla="*/ 290209 h 557284"/>
                  <a:gd name="connsiteX185" fmla="*/ 63805 w 561730"/>
                  <a:gd name="connsiteY185" fmla="*/ 285270 h 557284"/>
                  <a:gd name="connsiteX186" fmla="*/ 66138 w 561730"/>
                  <a:gd name="connsiteY186" fmla="*/ 288426 h 557284"/>
                  <a:gd name="connsiteX187" fmla="*/ 64244 w 561730"/>
                  <a:gd name="connsiteY187" fmla="*/ 292871 h 557284"/>
                  <a:gd name="connsiteX188" fmla="*/ 65232 w 561730"/>
                  <a:gd name="connsiteY188" fmla="*/ 300391 h 557284"/>
                  <a:gd name="connsiteX189" fmla="*/ 73520 w 561730"/>
                  <a:gd name="connsiteY189" fmla="*/ 302092 h 557284"/>
                  <a:gd name="connsiteX190" fmla="*/ 78075 w 561730"/>
                  <a:gd name="connsiteY190" fmla="*/ 299019 h 557284"/>
                  <a:gd name="connsiteX191" fmla="*/ 88311 w 561730"/>
                  <a:gd name="connsiteY191" fmla="*/ 286038 h 557284"/>
                  <a:gd name="connsiteX192" fmla="*/ 95282 w 561730"/>
                  <a:gd name="connsiteY192" fmla="*/ 283047 h 557284"/>
                  <a:gd name="connsiteX193" fmla="*/ 100167 w 561730"/>
                  <a:gd name="connsiteY193" fmla="*/ 276845 h 557284"/>
                  <a:gd name="connsiteX194" fmla="*/ 108207 w 561730"/>
                  <a:gd name="connsiteY194" fmla="*/ 273799 h 557284"/>
                  <a:gd name="connsiteX195" fmla="*/ 117566 w 561730"/>
                  <a:gd name="connsiteY195" fmla="*/ 256153 h 557284"/>
                  <a:gd name="connsiteX196" fmla="*/ 118252 w 561730"/>
                  <a:gd name="connsiteY196" fmla="*/ 222096 h 557284"/>
                  <a:gd name="connsiteX197" fmla="*/ 127582 w 561730"/>
                  <a:gd name="connsiteY197" fmla="*/ 212271 h 557284"/>
                  <a:gd name="connsiteX198" fmla="*/ 133730 w 561730"/>
                  <a:gd name="connsiteY198" fmla="*/ 200169 h 557284"/>
                  <a:gd name="connsiteX199" fmla="*/ 135157 w 561730"/>
                  <a:gd name="connsiteY199" fmla="*/ 197288 h 557284"/>
                  <a:gd name="connsiteX200" fmla="*/ 141798 w 561730"/>
                  <a:gd name="connsiteY200" fmla="*/ 191085 h 557284"/>
                  <a:gd name="connsiteX201" fmla="*/ 151595 w 561730"/>
                  <a:gd name="connsiteY201" fmla="*/ 186612 h 557284"/>
                  <a:gd name="connsiteX202" fmla="*/ 161721 w 561730"/>
                  <a:gd name="connsiteY202" fmla="*/ 175223 h 557284"/>
                  <a:gd name="connsiteX203" fmla="*/ 161639 w 561730"/>
                  <a:gd name="connsiteY203" fmla="*/ 173412 h 557284"/>
                  <a:gd name="connsiteX204" fmla="*/ 161337 w 561730"/>
                  <a:gd name="connsiteY204" fmla="*/ 167155 h 557284"/>
                  <a:gd name="connsiteX205" fmla="*/ 161173 w 561730"/>
                  <a:gd name="connsiteY205" fmla="*/ 163752 h 557284"/>
                  <a:gd name="connsiteX206" fmla="*/ 164685 w 561730"/>
                  <a:gd name="connsiteY206" fmla="*/ 152638 h 557284"/>
                  <a:gd name="connsiteX207" fmla="*/ 169296 w 561730"/>
                  <a:gd name="connsiteY207" fmla="*/ 146408 h 557284"/>
                  <a:gd name="connsiteX208" fmla="*/ 168061 w 561730"/>
                  <a:gd name="connsiteY208" fmla="*/ 143060 h 557284"/>
                  <a:gd name="connsiteX209" fmla="*/ 166963 w 561730"/>
                  <a:gd name="connsiteY209" fmla="*/ 140042 h 557284"/>
                  <a:gd name="connsiteX210" fmla="*/ 166195 w 561730"/>
                  <a:gd name="connsiteY210" fmla="*/ 129311 h 557284"/>
                  <a:gd name="connsiteX211" fmla="*/ 172644 w 561730"/>
                  <a:gd name="connsiteY211" fmla="*/ 112654 h 557284"/>
                  <a:gd name="connsiteX212" fmla="*/ 173302 w 561730"/>
                  <a:gd name="connsiteY212" fmla="*/ 92565 h 557284"/>
                  <a:gd name="connsiteX213" fmla="*/ 188616 w 561730"/>
                  <a:gd name="connsiteY213" fmla="*/ 65232 h 557284"/>
                  <a:gd name="connsiteX214" fmla="*/ 189028 w 561730"/>
                  <a:gd name="connsiteY214" fmla="*/ 55956 h 557284"/>
                  <a:gd name="connsiteX215" fmla="*/ 188122 w 561730"/>
                  <a:gd name="connsiteY215" fmla="*/ 47504 h 557284"/>
                  <a:gd name="connsiteX216" fmla="*/ 189659 w 561730"/>
                  <a:gd name="connsiteY216" fmla="*/ 38283 h 557284"/>
                  <a:gd name="connsiteX217" fmla="*/ 187271 w 561730"/>
                  <a:gd name="connsiteY217" fmla="*/ 30736 h 557284"/>
                  <a:gd name="connsiteX218" fmla="*/ 193144 w 561730"/>
                  <a:gd name="connsiteY218" fmla="*/ 27717 h 557284"/>
                  <a:gd name="connsiteX219" fmla="*/ 202831 w 561730"/>
                  <a:gd name="connsiteY219" fmla="*/ 13584 h 557284"/>
                  <a:gd name="connsiteX220" fmla="*/ 212436 w 561730"/>
                  <a:gd name="connsiteY220" fmla="*/ 7355 h 557284"/>
                  <a:gd name="connsiteX221" fmla="*/ 220751 w 561730"/>
                  <a:gd name="connsiteY221" fmla="*/ 6861 h 557284"/>
                  <a:gd name="connsiteX222" fmla="*/ 239577 w 561730"/>
                  <a:gd name="connsiteY222" fmla="*/ 18277 h 557284"/>
                  <a:gd name="connsiteX223" fmla="*/ 241745 w 561730"/>
                  <a:gd name="connsiteY223" fmla="*/ 21213 h 557284"/>
                  <a:gd name="connsiteX224" fmla="*/ 246630 w 561730"/>
                  <a:gd name="connsiteY224" fmla="*/ 27827 h 557284"/>
                  <a:gd name="connsiteX225" fmla="*/ 256235 w 561730"/>
                  <a:gd name="connsiteY225" fmla="*/ 27607 h 557284"/>
                  <a:gd name="connsiteX226" fmla="*/ 260598 w 561730"/>
                  <a:gd name="connsiteY226" fmla="*/ 29446 h 557284"/>
                  <a:gd name="connsiteX227" fmla="*/ 264742 w 561730"/>
                  <a:gd name="connsiteY227" fmla="*/ 31148 h 557284"/>
                  <a:gd name="connsiteX228" fmla="*/ 274183 w 561730"/>
                  <a:gd name="connsiteY228" fmla="*/ 32602 h 557284"/>
                  <a:gd name="connsiteX229" fmla="*/ 280001 w 561730"/>
                  <a:gd name="connsiteY229" fmla="*/ 31450 h 557284"/>
                  <a:gd name="connsiteX230" fmla="*/ 294024 w 561730"/>
                  <a:gd name="connsiteY230" fmla="*/ 35758 h 557284"/>
                  <a:gd name="connsiteX231" fmla="*/ 297839 w 561730"/>
                  <a:gd name="connsiteY231" fmla="*/ 36938 h 557284"/>
                  <a:gd name="connsiteX232" fmla="*/ 303492 w 561730"/>
                  <a:gd name="connsiteY232" fmla="*/ 34770 h 557284"/>
                  <a:gd name="connsiteX233" fmla="*/ 306072 w 561730"/>
                  <a:gd name="connsiteY233" fmla="*/ 27004 h 557284"/>
                  <a:gd name="connsiteX234" fmla="*/ 315539 w 561730"/>
                  <a:gd name="connsiteY234" fmla="*/ 16466 h 557284"/>
                  <a:gd name="connsiteX235" fmla="*/ 325337 w 561730"/>
                  <a:gd name="connsiteY235" fmla="*/ 20582 h 557284"/>
                  <a:gd name="connsiteX236" fmla="*/ 329590 w 561730"/>
                  <a:gd name="connsiteY236" fmla="*/ 22394 h 557284"/>
                  <a:gd name="connsiteX237" fmla="*/ 335490 w 561730"/>
                  <a:gd name="connsiteY237" fmla="*/ 18167 h 557284"/>
                  <a:gd name="connsiteX238" fmla="*/ 352450 w 561730"/>
                  <a:gd name="connsiteY238" fmla="*/ 13310 h 557284"/>
                  <a:gd name="connsiteX239" fmla="*/ 358597 w 561730"/>
                  <a:gd name="connsiteY239" fmla="*/ 8041 h 557284"/>
                  <a:gd name="connsiteX240" fmla="*/ 363482 w 561730"/>
                  <a:gd name="connsiteY240" fmla="*/ 9166 h 557284"/>
                  <a:gd name="connsiteX241" fmla="*/ 368916 w 561730"/>
                  <a:gd name="connsiteY241" fmla="*/ 13667 h 557284"/>
                  <a:gd name="connsiteX242" fmla="*/ 382994 w 561730"/>
                  <a:gd name="connsiteY242" fmla="*/ 10593 h 557284"/>
                  <a:gd name="connsiteX243" fmla="*/ 385821 w 561730"/>
                  <a:gd name="connsiteY243" fmla="*/ 9083 h 557284"/>
                  <a:gd name="connsiteX244" fmla="*/ 387111 w 561730"/>
                  <a:gd name="connsiteY244" fmla="*/ 2388 h 557284"/>
                  <a:gd name="connsiteX245" fmla="*/ 389690 w 561730"/>
                  <a:gd name="connsiteY245" fmla="*/ 1207 h 557284"/>
                  <a:gd name="connsiteX246" fmla="*/ 392352 w 561730"/>
                  <a:gd name="connsiteY246" fmla="*/ 0 h 557284"/>
                  <a:gd name="connsiteX247" fmla="*/ 401628 w 561730"/>
                  <a:gd name="connsiteY247" fmla="*/ 4885 h 557284"/>
                  <a:gd name="connsiteX248" fmla="*/ 411151 w 561730"/>
                  <a:gd name="connsiteY248" fmla="*/ 3677 h 557284"/>
                  <a:gd name="connsiteX249" fmla="*/ 420481 w 561730"/>
                  <a:gd name="connsiteY249" fmla="*/ 9138 h 557284"/>
                  <a:gd name="connsiteX250" fmla="*/ 427205 w 561730"/>
                  <a:gd name="connsiteY250" fmla="*/ 8068 h 557284"/>
                  <a:gd name="connsiteX251" fmla="*/ 431075 w 561730"/>
                  <a:gd name="connsiteY251" fmla="*/ 9138 h 557284"/>
                  <a:gd name="connsiteX252" fmla="*/ 438154 w 561730"/>
                  <a:gd name="connsiteY252" fmla="*/ 5104 h 557284"/>
                  <a:gd name="connsiteX253" fmla="*/ 446662 w 561730"/>
                  <a:gd name="connsiteY253" fmla="*/ 8123 h 557284"/>
                  <a:gd name="connsiteX254" fmla="*/ 448418 w 561730"/>
                  <a:gd name="connsiteY254" fmla="*/ 10374 h 55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Lst>
                <a:rect l="l" t="t" r="r" b="b"/>
                <a:pathLst>
                  <a:path w="561730" h="557284">
                    <a:moveTo>
                      <a:pt x="448500" y="10044"/>
                    </a:moveTo>
                    <a:lnTo>
                      <a:pt x="455251" y="14709"/>
                    </a:lnTo>
                    <a:lnTo>
                      <a:pt x="460246" y="23107"/>
                    </a:lnTo>
                    <a:lnTo>
                      <a:pt x="465268" y="24040"/>
                    </a:lnTo>
                    <a:lnTo>
                      <a:pt x="466969" y="27278"/>
                    </a:lnTo>
                    <a:lnTo>
                      <a:pt x="476547" y="31642"/>
                    </a:lnTo>
                    <a:lnTo>
                      <a:pt x="487388" y="24095"/>
                    </a:lnTo>
                    <a:lnTo>
                      <a:pt x="500724" y="29391"/>
                    </a:lnTo>
                    <a:lnTo>
                      <a:pt x="506350" y="25385"/>
                    </a:lnTo>
                    <a:lnTo>
                      <a:pt x="508436" y="20884"/>
                    </a:lnTo>
                    <a:lnTo>
                      <a:pt x="510494" y="20582"/>
                    </a:lnTo>
                    <a:lnTo>
                      <a:pt x="517602" y="23656"/>
                    </a:lnTo>
                    <a:lnTo>
                      <a:pt x="518069" y="28815"/>
                    </a:lnTo>
                    <a:lnTo>
                      <a:pt x="523502" y="33535"/>
                    </a:lnTo>
                    <a:lnTo>
                      <a:pt x="530418" y="41329"/>
                    </a:lnTo>
                    <a:lnTo>
                      <a:pt x="539638" y="44622"/>
                    </a:lnTo>
                    <a:lnTo>
                      <a:pt x="540572" y="51318"/>
                    </a:lnTo>
                    <a:lnTo>
                      <a:pt x="546335" y="50742"/>
                    </a:lnTo>
                    <a:lnTo>
                      <a:pt x="548777" y="55188"/>
                    </a:lnTo>
                    <a:lnTo>
                      <a:pt x="550589" y="55243"/>
                    </a:lnTo>
                    <a:lnTo>
                      <a:pt x="550890" y="56889"/>
                    </a:lnTo>
                    <a:lnTo>
                      <a:pt x="546527" y="67070"/>
                    </a:lnTo>
                    <a:lnTo>
                      <a:pt x="549243" y="73382"/>
                    </a:lnTo>
                    <a:lnTo>
                      <a:pt x="545512" y="85128"/>
                    </a:lnTo>
                    <a:lnTo>
                      <a:pt x="549217" y="88147"/>
                    </a:lnTo>
                    <a:lnTo>
                      <a:pt x="552647" y="87488"/>
                    </a:lnTo>
                    <a:lnTo>
                      <a:pt x="558465" y="90589"/>
                    </a:lnTo>
                    <a:lnTo>
                      <a:pt x="561730" y="95886"/>
                    </a:lnTo>
                    <a:lnTo>
                      <a:pt x="553937" y="106204"/>
                    </a:lnTo>
                    <a:lnTo>
                      <a:pt x="531379" y="124234"/>
                    </a:lnTo>
                    <a:lnTo>
                      <a:pt x="528881" y="130656"/>
                    </a:lnTo>
                    <a:lnTo>
                      <a:pt x="523337" y="133730"/>
                    </a:lnTo>
                    <a:lnTo>
                      <a:pt x="522075" y="142786"/>
                    </a:lnTo>
                    <a:lnTo>
                      <a:pt x="521828" y="144377"/>
                    </a:lnTo>
                    <a:lnTo>
                      <a:pt x="515983" y="155327"/>
                    </a:lnTo>
                    <a:lnTo>
                      <a:pt x="514611" y="166908"/>
                    </a:lnTo>
                    <a:lnTo>
                      <a:pt x="513897" y="173165"/>
                    </a:lnTo>
                    <a:lnTo>
                      <a:pt x="511866" y="190839"/>
                    </a:lnTo>
                    <a:lnTo>
                      <a:pt x="511564" y="198687"/>
                    </a:lnTo>
                    <a:lnTo>
                      <a:pt x="509534" y="199922"/>
                    </a:lnTo>
                    <a:lnTo>
                      <a:pt x="504567" y="203188"/>
                    </a:lnTo>
                    <a:lnTo>
                      <a:pt x="499764" y="209692"/>
                    </a:lnTo>
                    <a:lnTo>
                      <a:pt x="498118" y="221986"/>
                    </a:lnTo>
                    <a:lnTo>
                      <a:pt x="491174" y="229039"/>
                    </a:lnTo>
                    <a:lnTo>
                      <a:pt x="492080" y="235735"/>
                    </a:lnTo>
                    <a:lnTo>
                      <a:pt x="495428" y="238644"/>
                    </a:lnTo>
                    <a:lnTo>
                      <a:pt x="495730" y="241279"/>
                    </a:lnTo>
                    <a:lnTo>
                      <a:pt x="501356" y="248716"/>
                    </a:lnTo>
                    <a:lnTo>
                      <a:pt x="501164" y="270862"/>
                    </a:lnTo>
                    <a:lnTo>
                      <a:pt x="505116" y="279836"/>
                    </a:lnTo>
                    <a:lnTo>
                      <a:pt x="506680" y="288865"/>
                    </a:lnTo>
                    <a:lnTo>
                      <a:pt x="504539" y="302943"/>
                    </a:lnTo>
                    <a:lnTo>
                      <a:pt x="512498" y="326462"/>
                    </a:lnTo>
                    <a:lnTo>
                      <a:pt x="509095" y="333899"/>
                    </a:lnTo>
                    <a:lnTo>
                      <a:pt x="510028" y="341885"/>
                    </a:lnTo>
                    <a:lnTo>
                      <a:pt x="515791" y="353191"/>
                    </a:lnTo>
                    <a:lnTo>
                      <a:pt x="525835" y="360079"/>
                    </a:lnTo>
                    <a:lnTo>
                      <a:pt x="532888" y="368834"/>
                    </a:lnTo>
                    <a:lnTo>
                      <a:pt x="537086" y="381183"/>
                    </a:lnTo>
                    <a:lnTo>
                      <a:pt x="546308" y="399735"/>
                    </a:lnTo>
                    <a:lnTo>
                      <a:pt x="541093" y="401793"/>
                    </a:lnTo>
                    <a:lnTo>
                      <a:pt x="495017" y="407748"/>
                    </a:lnTo>
                    <a:lnTo>
                      <a:pt x="489747" y="419521"/>
                    </a:lnTo>
                    <a:lnTo>
                      <a:pt x="476849" y="431047"/>
                    </a:lnTo>
                    <a:lnTo>
                      <a:pt x="479923" y="434532"/>
                    </a:lnTo>
                    <a:lnTo>
                      <a:pt x="484698" y="447787"/>
                    </a:lnTo>
                    <a:lnTo>
                      <a:pt x="482228" y="460438"/>
                    </a:lnTo>
                    <a:lnTo>
                      <a:pt x="484807" y="472980"/>
                    </a:lnTo>
                    <a:lnTo>
                      <a:pt x="481240" y="478468"/>
                    </a:lnTo>
                    <a:lnTo>
                      <a:pt x="476465" y="498008"/>
                    </a:lnTo>
                    <a:lnTo>
                      <a:pt x="477563" y="507174"/>
                    </a:lnTo>
                    <a:lnTo>
                      <a:pt x="486866" y="513595"/>
                    </a:lnTo>
                    <a:lnTo>
                      <a:pt x="495456" y="524463"/>
                    </a:lnTo>
                    <a:lnTo>
                      <a:pt x="507229" y="527180"/>
                    </a:lnTo>
                    <a:lnTo>
                      <a:pt x="509397" y="527180"/>
                    </a:lnTo>
                    <a:lnTo>
                      <a:pt x="507970" y="523777"/>
                    </a:lnTo>
                    <a:lnTo>
                      <a:pt x="508765" y="520922"/>
                    </a:lnTo>
                    <a:lnTo>
                      <a:pt x="516998" y="518727"/>
                    </a:lnTo>
                    <a:lnTo>
                      <a:pt x="517959" y="527180"/>
                    </a:lnTo>
                    <a:lnTo>
                      <a:pt x="517904" y="555364"/>
                    </a:lnTo>
                    <a:lnTo>
                      <a:pt x="516230" y="557284"/>
                    </a:lnTo>
                    <a:lnTo>
                      <a:pt x="512745" y="555885"/>
                    </a:lnTo>
                    <a:lnTo>
                      <a:pt x="513568" y="551275"/>
                    </a:lnTo>
                    <a:lnTo>
                      <a:pt x="511949" y="550342"/>
                    </a:lnTo>
                    <a:lnTo>
                      <a:pt x="500286" y="556379"/>
                    </a:lnTo>
                    <a:lnTo>
                      <a:pt x="494083" y="555364"/>
                    </a:lnTo>
                    <a:lnTo>
                      <a:pt x="487881" y="542273"/>
                    </a:lnTo>
                    <a:lnTo>
                      <a:pt x="484478" y="538925"/>
                    </a:lnTo>
                    <a:lnTo>
                      <a:pt x="481103" y="538870"/>
                    </a:lnTo>
                    <a:lnTo>
                      <a:pt x="478770" y="535495"/>
                    </a:lnTo>
                    <a:lnTo>
                      <a:pt x="479401" y="532229"/>
                    </a:lnTo>
                    <a:lnTo>
                      <a:pt x="475175" y="527207"/>
                    </a:lnTo>
                    <a:lnTo>
                      <a:pt x="464089" y="524024"/>
                    </a:lnTo>
                    <a:lnTo>
                      <a:pt x="461344" y="520840"/>
                    </a:lnTo>
                    <a:lnTo>
                      <a:pt x="453934" y="521444"/>
                    </a:lnTo>
                    <a:lnTo>
                      <a:pt x="450367" y="517547"/>
                    </a:lnTo>
                    <a:lnTo>
                      <a:pt x="448391" y="511290"/>
                    </a:lnTo>
                    <a:lnTo>
                      <a:pt x="442408" y="506652"/>
                    </a:lnTo>
                    <a:lnTo>
                      <a:pt x="440817" y="501246"/>
                    </a:lnTo>
                    <a:lnTo>
                      <a:pt x="437002" y="502069"/>
                    </a:lnTo>
                    <a:lnTo>
                      <a:pt x="435026" y="509177"/>
                    </a:lnTo>
                    <a:lnTo>
                      <a:pt x="431816" y="512635"/>
                    </a:lnTo>
                    <a:lnTo>
                      <a:pt x="426299" y="513513"/>
                    </a:lnTo>
                    <a:lnTo>
                      <a:pt x="419466" y="511482"/>
                    </a:lnTo>
                    <a:lnTo>
                      <a:pt x="406595" y="511565"/>
                    </a:lnTo>
                    <a:lnTo>
                      <a:pt x="395536" y="505939"/>
                    </a:lnTo>
                    <a:lnTo>
                      <a:pt x="391721" y="506487"/>
                    </a:lnTo>
                    <a:lnTo>
                      <a:pt x="386671" y="502179"/>
                    </a:lnTo>
                    <a:lnTo>
                      <a:pt x="384998" y="495263"/>
                    </a:lnTo>
                    <a:lnTo>
                      <a:pt x="386068" y="489885"/>
                    </a:lnTo>
                    <a:lnTo>
                      <a:pt x="373307" y="491586"/>
                    </a:lnTo>
                    <a:lnTo>
                      <a:pt x="360381" y="497431"/>
                    </a:lnTo>
                    <a:lnTo>
                      <a:pt x="356978" y="495208"/>
                    </a:lnTo>
                    <a:lnTo>
                      <a:pt x="358625" y="491010"/>
                    </a:lnTo>
                    <a:lnTo>
                      <a:pt x="357884" y="486317"/>
                    </a:lnTo>
                    <a:lnTo>
                      <a:pt x="351627" y="484149"/>
                    </a:lnTo>
                    <a:lnTo>
                      <a:pt x="349953" y="480938"/>
                    </a:lnTo>
                    <a:lnTo>
                      <a:pt x="347071" y="480225"/>
                    </a:lnTo>
                    <a:lnTo>
                      <a:pt x="342324" y="484149"/>
                    </a:lnTo>
                    <a:lnTo>
                      <a:pt x="330990" y="481981"/>
                    </a:lnTo>
                    <a:lnTo>
                      <a:pt x="321879" y="486921"/>
                    </a:lnTo>
                    <a:lnTo>
                      <a:pt x="307828" y="486262"/>
                    </a:lnTo>
                    <a:lnTo>
                      <a:pt x="304151" y="485000"/>
                    </a:lnTo>
                    <a:lnTo>
                      <a:pt x="301352" y="488348"/>
                    </a:lnTo>
                    <a:lnTo>
                      <a:pt x="295918" y="490763"/>
                    </a:lnTo>
                    <a:lnTo>
                      <a:pt x="293640" y="480033"/>
                    </a:lnTo>
                    <a:lnTo>
                      <a:pt x="297646" y="475614"/>
                    </a:lnTo>
                    <a:lnTo>
                      <a:pt x="297372" y="464527"/>
                    </a:lnTo>
                    <a:lnTo>
                      <a:pt x="293695" y="452151"/>
                    </a:lnTo>
                    <a:lnTo>
                      <a:pt x="284913" y="443177"/>
                    </a:lnTo>
                    <a:lnTo>
                      <a:pt x="282553" y="436426"/>
                    </a:lnTo>
                    <a:lnTo>
                      <a:pt x="286559" y="409175"/>
                    </a:lnTo>
                    <a:lnTo>
                      <a:pt x="281236" y="393121"/>
                    </a:lnTo>
                    <a:lnTo>
                      <a:pt x="283952" y="379289"/>
                    </a:lnTo>
                    <a:lnTo>
                      <a:pt x="281839" y="373334"/>
                    </a:lnTo>
                    <a:lnTo>
                      <a:pt x="246685" y="372703"/>
                    </a:lnTo>
                    <a:lnTo>
                      <a:pt x="245670" y="369382"/>
                    </a:lnTo>
                    <a:lnTo>
                      <a:pt x="247508" y="363153"/>
                    </a:lnTo>
                    <a:lnTo>
                      <a:pt x="246356" y="362082"/>
                    </a:lnTo>
                    <a:lnTo>
                      <a:pt x="239824" y="362192"/>
                    </a:lnTo>
                    <a:lnTo>
                      <a:pt x="236558" y="364470"/>
                    </a:lnTo>
                    <a:lnTo>
                      <a:pt x="217293" y="364662"/>
                    </a:lnTo>
                    <a:lnTo>
                      <a:pt x="214604" y="372648"/>
                    </a:lnTo>
                    <a:lnTo>
                      <a:pt x="215482" y="378164"/>
                    </a:lnTo>
                    <a:lnTo>
                      <a:pt x="211366" y="382528"/>
                    </a:lnTo>
                    <a:lnTo>
                      <a:pt x="210460" y="393834"/>
                    </a:lnTo>
                    <a:lnTo>
                      <a:pt x="195696" y="394109"/>
                    </a:lnTo>
                    <a:lnTo>
                      <a:pt x="192595" y="391913"/>
                    </a:lnTo>
                    <a:lnTo>
                      <a:pt x="188177" y="391721"/>
                    </a:lnTo>
                    <a:lnTo>
                      <a:pt x="185240" y="393971"/>
                    </a:lnTo>
                    <a:lnTo>
                      <a:pt x="175553" y="394438"/>
                    </a:lnTo>
                    <a:lnTo>
                      <a:pt x="172616" y="396798"/>
                    </a:lnTo>
                    <a:lnTo>
                      <a:pt x="159059" y="397649"/>
                    </a:lnTo>
                    <a:lnTo>
                      <a:pt x="156645" y="396359"/>
                    </a:lnTo>
                    <a:lnTo>
                      <a:pt x="146189" y="377478"/>
                    </a:lnTo>
                    <a:lnTo>
                      <a:pt x="140179" y="372127"/>
                    </a:lnTo>
                    <a:lnTo>
                      <a:pt x="138285" y="362385"/>
                    </a:lnTo>
                    <a:lnTo>
                      <a:pt x="136529" y="360793"/>
                    </a:lnTo>
                    <a:lnTo>
                      <a:pt x="132220" y="346714"/>
                    </a:lnTo>
                    <a:lnTo>
                      <a:pt x="132687" y="339552"/>
                    </a:lnTo>
                    <a:lnTo>
                      <a:pt x="127144" y="330688"/>
                    </a:lnTo>
                    <a:lnTo>
                      <a:pt x="69732" y="332060"/>
                    </a:lnTo>
                    <a:lnTo>
                      <a:pt x="51593" y="330194"/>
                    </a:lnTo>
                    <a:lnTo>
                      <a:pt x="26537" y="331511"/>
                    </a:lnTo>
                    <a:lnTo>
                      <a:pt x="25796" y="331017"/>
                    </a:lnTo>
                    <a:lnTo>
                      <a:pt x="25742" y="330962"/>
                    </a:lnTo>
                    <a:lnTo>
                      <a:pt x="21186" y="330359"/>
                    </a:lnTo>
                    <a:lnTo>
                      <a:pt x="20171" y="331978"/>
                    </a:lnTo>
                    <a:lnTo>
                      <a:pt x="18085" y="333515"/>
                    </a:lnTo>
                    <a:lnTo>
                      <a:pt x="16493" y="334036"/>
                    </a:lnTo>
                    <a:lnTo>
                      <a:pt x="15615" y="334585"/>
                    </a:lnTo>
                    <a:lnTo>
                      <a:pt x="11307" y="332801"/>
                    </a:lnTo>
                    <a:lnTo>
                      <a:pt x="5736" y="334338"/>
                    </a:lnTo>
                    <a:lnTo>
                      <a:pt x="0" y="327889"/>
                    </a:lnTo>
                    <a:lnTo>
                      <a:pt x="9605" y="326654"/>
                    </a:lnTo>
                    <a:lnTo>
                      <a:pt x="9907" y="311176"/>
                    </a:lnTo>
                    <a:lnTo>
                      <a:pt x="8617" y="307608"/>
                    </a:lnTo>
                    <a:lnTo>
                      <a:pt x="15451" y="303327"/>
                    </a:lnTo>
                    <a:lnTo>
                      <a:pt x="19951" y="298086"/>
                    </a:lnTo>
                    <a:lnTo>
                      <a:pt x="26291" y="296165"/>
                    </a:lnTo>
                    <a:lnTo>
                      <a:pt x="28760" y="294793"/>
                    </a:lnTo>
                    <a:lnTo>
                      <a:pt x="37323" y="300473"/>
                    </a:lnTo>
                    <a:lnTo>
                      <a:pt x="44074" y="296384"/>
                    </a:lnTo>
                    <a:lnTo>
                      <a:pt x="46324" y="289606"/>
                    </a:lnTo>
                    <a:lnTo>
                      <a:pt x="52087" y="290209"/>
                    </a:lnTo>
                    <a:lnTo>
                      <a:pt x="63805" y="285270"/>
                    </a:lnTo>
                    <a:lnTo>
                      <a:pt x="66138" y="288426"/>
                    </a:lnTo>
                    <a:lnTo>
                      <a:pt x="64244" y="292871"/>
                    </a:lnTo>
                    <a:lnTo>
                      <a:pt x="65232" y="300391"/>
                    </a:lnTo>
                    <a:lnTo>
                      <a:pt x="73520" y="302092"/>
                    </a:lnTo>
                    <a:lnTo>
                      <a:pt x="78075" y="299019"/>
                    </a:lnTo>
                    <a:lnTo>
                      <a:pt x="88311" y="286038"/>
                    </a:lnTo>
                    <a:lnTo>
                      <a:pt x="95282" y="283047"/>
                    </a:lnTo>
                    <a:lnTo>
                      <a:pt x="100167" y="276845"/>
                    </a:lnTo>
                    <a:lnTo>
                      <a:pt x="108207" y="273799"/>
                    </a:lnTo>
                    <a:lnTo>
                      <a:pt x="117566" y="256153"/>
                    </a:lnTo>
                    <a:lnTo>
                      <a:pt x="118252" y="222096"/>
                    </a:lnTo>
                    <a:lnTo>
                      <a:pt x="127582" y="212271"/>
                    </a:lnTo>
                    <a:lnTo>
                      <a:pt x="133730" y="200169"/>
                    </a:lnTo>
                    <a:lnTo>
                      <a:pt x="135157" y="197288"/>
                    </a:lnTo>
                    <a:lnTo>
                      <a:pt x="141798" y="191085"/>
                    </a:lnTo>
                    <a:lnTo>
                      <a:pt x="151595" y="186612"/>
                    </a:lnTo>
                    <a:lnTo>
                      <a:pt x="161721" y="175223"/>
                    </a:lnTo>
                    <a:lnTo>
                      <a:pt x="161639" y="173412"/>
                    </a:lnTo>
                    <a:lnTo>
                      <a:pt x="161337" y="167155"/>
                    </a:lnTo>
                    <a:lnTo>
                      <a:pt x="161173" y="163752"/>
                    </a:lnTo>
                    <a:lnTo>
                      <a:pt x="164685" y="152638"/>
                    </a:lnTo>
                    <a:lnTo>
                      <a:pt x="169296" y="146408"/>
                    </a:lnTo>
                    <a:lnTo>
                      <a:pt x="168061" y="143060"/>
                    </a:lnTo>
                    <a:lnTo>
                      <a:pt x="166963" y="140042"/>
                    </a:lnTo>
                    <a:lnTo>
                      <a:pt x="166195" y="129311"/>
                    </a:lnTo>
                    <a:lnTo>
                      <a:pt x="172644" y="112654"/>
                    </a:lnTo>
                    <a:lnTo>
                      <a:pt x="173302" y="92565"/>
                    </a:lnTo>
                    <a:lnTo>
                      <a:pt x="188616" y="65232"/>
                    </a:lnTo>
                    <a:lnTo>
                      <a:pt x="189028" y="55956"/>
                    </a:lnTo>
                    <a:lnTo>
                      <a:pt x="188122" y="47504"/>
                    </a:lnTo>
                    <a:lnTo>
                      <a:pt x="189659" y="38283"/>
                    </a:lnTo>
                    <a:lnTo>
                      <a:pt x="187271" y="30736"/>
                    </a:lnTo>
                    <a:lnTo>
                      <a:pt x="193144" y="27717"/>
                    </a:lnTo>
                    <a:lnTo>
                      <a:pt x="202831" y="13584"/>
                    </a:lnTo>
                    <a:lnTo>
                      <a:pt x="212436" y="7355"/>
                    </a:lnTo>
                    <a:lnTo>
                      <a:pt x="220751" y="6861"/>
                    </a:lnTo>
                    <a:lnTo>
                      <a:pt x="239577" y="18277"/>
                    </a:lnTo>
                    <a:lnTo>
                      <a:pt x="241745" y="21213"/>
                    </a:lnTo>
                    <a:lnTo>
                      <a:pt x="246630" y="27827"/>
                    </a:lnTo>
                    <a:lnTo>
                      <a:pt x="256235" y="27607"/>
                    </a:lnTo>
                    <a:lnTo>
                      <a:pt x="260598" y="29446"/>
                    </a:lnTo>
                    <a:lnTo>
                      <a:pt x="264742" y="31148"/>
                    </a:lnTo>
                    <a:lnTo>
                      <a:pt x="274183" y="32602"/>
                    </a:lnTo>
                    <a:lnTo>
                      <a:pt x="280001" y="31450"/>
                    </a:lnTo>
                    <a:lnTo>
                      <a:pt x="294024" y="35758"/>
                    </a:lnTo>
                    <a:lnTo>
                      <a:pt x="297839" y="36938"/>
                    </a:lnTo>
                    <a:lnTo>
                      <a:pt x="303492" y="34770"/>
                    </a:lnTo>
                    <a:lnTo>
                      <a:pt x="306072" y="27004"/>
                    </a:lnTo>
                    <a:lnTo>
                      <a:pt x="315539" y="16466"/>
                    </a:lnTo>
                    <a:lnTo>
                      <a:pt x="325337" y="20582"/>
                    </a:lnTo>
                    <a:lnTo>
                      <a:pt x="329590" y="22394"/>
                    </a:lnTo>
                    <a:lnTo>
                      <a:pt x="335490" y="18167"/>
                    </a:lnTo>
                    <a:lnTo>
                      <a:pt x="352450" y="13310"/>
                    </a:lnTo>
                    <a:lnTo>
                      <a:pt x="358597" y="8041"/>
                    </a:lnTo>
                    <a:lnTo>
                      <a:pt x="363482" y="9166"/>
                    </a:lnTo>
                    <a:lnTo>
                      <a:pt x="368916" y="13667"/>
                    </a:lnTo>
                    <a:lnTo>
                      <a:pt x="382994" y="10593"/>
                    </a:lnTo>
                    <a:lnTo>
                      <a:pt x="385821" y="9083"/>
                    </a:lnTo>
                    <a:lnTo>
                      <a:pt x="387111" y="2388"/>
                    </a:lnTo>
                    <a:lnTo>
                      <a:pt x="389690" y="1207"/>
                    </a:lnTo>
                    <a:lnTo>
                      <a:pt x="392352" y="0"/>
                    </a:lnTo>
                    <a:lnTo>
                      <a:pt x="401628" y="4885"/>
                    </a:lnTo>
                    <a:lnTo>
                      <a:pt x="411151" y="3677"/>
                    </a:lnTo>
                    <a:lnTo>
                      <a:pt x="420481" y="9138"/>
                    </a:lnTo>
                    <a:lnTo>
                      <a:pt x="427205" y="8068"/>
                    </a:lnTo>
                    <a:lnTo>
                      <a:pt x="431075" y="9138"/>
                    </a:lnTo>
                    <a:lnTo>
                      <a:pt x="438154" y="5104"/>
                    </a:lnTo>
                    <a:lnTo>
                      <a:pt x="446662" y="8123"/>
                    </a:lnTo>
                    <a:lnTo>
                      <a:pt x="448418" y="103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6" name="Freeform: Shape 3485">
                <a:extLst>
                  <a:ext uri="{FF2B5EF4-FFF2-40B4-BE49-F238E27FC236}">
                    <a16:creationId xmlns:a16="http://schemas.microsoft.com/office/drawing/2014/main" id="{6A945646-79B3-AB6C-8CB9-02817DA7733F}"/>
                  </a:ext>
                </a:extLst>
              </p:cNvPr>
              <p:cNvSpPr/>
              <p:nvPr/>
            </p:nvSpPr>
            <p:spPr>
              <a:xfrm>
                <a:off x="1409683" y="3810524"/>
                <a:ext cx="39898" cy="27109"/>
              </a:xfrm>
              <a:custGeom>
                <a:avLst/>
                <a:gdLst>
                  <a:gd name="connsiteX0" fmla="*/ 248167 w 382527"/>
                  <a:gd name="connsiteY0" fmla="*/ 1839 h 259912"/>
                  <a:gd name="connsiteX1" fmla="*/ 252091 w 382527"/>
                  <a:gd name="connsiteY1" fmla="*/ 8205 h 259912"/>
                  <a:gd name="connsiteX2" fmla="*/ 253271 w 382527"/>
                  <a:gd name="connsiteY2" fmla="*/ 9248 h 259912"/>
                  <a:gd name="connsiteX3" fmla="*/ 259501 w 382527"/>
                  <a:gd name="connsiteY3" fmla="*/ 14709 h 259912"/>
                  <a:gd name="connsiteX4" fmla="*/ 261532 w 382527"/>
                  <a:gd name="connsiteY4" fmla="*/ 16493 h 259912"/>
                  <a:gd name="connsiteX5" fmla="*/ 266498 w 382527"/>
                  <a:gd name="connsiteY5" fmla="*/ 24534 h 259912"/>
                  <a:gd name="connsiteX6" fmla="*/ 271054 w 382527"/>
                  <a:gd name="connsiteY6" fmla="*/ 31916 h 259912"/>
                  <a:gd name="connsiteX7" fmla="*/ 272207 w 382527"/>
                  <a:gd name="connsiteY7" fmla="*/ 38530 h 259912"/>
                  <a:gd name="connsiteX8" fmla="*/ 270615 w 382527"/>
                  <a:gd name="connsiteY8" fmla="*/ 48355 h 259912"/>
                  <a:gd name="connsiteX9" fmla="*/ 270506 w 382527"/>
                  <a:gd name="connsiteY9" fmla="*/ 51620 h 259912"/>
                  <a:gd name="connsiteX10" fmla="*/ 266279 w 382527"/>
                  <a:gd name="connsiteY10" fmla="*/ 54749 h 259912"/>
                  <a:gd name="connsiteX11" fmla="*/ 265566 w 382527"/>
                  <a:gd name="connsiteY11" fmla="*/ 57301 h 259912"/>
                  <a:gd name="connsiteX12" fmla="*/ 265676 w 382527"/>
                  <a:gd name="connsiteY12" fmla="*/ 59853 h 259912"/>
                  <a:gd name="connsiteX13" fmla="*/ 268090 w 382527"/>
                  <a:gd name="connsiteY13" fmla="*/ 61006 h 259912"/>
                  <a:gd name="connsiteX14" fmla="*/ 267157 w 382527"/>
                  <a:gd name="connsiteY14" fmla="*/ 65396 h 259912"/>
                  <a:gd name="connsiteX15" fmla="*/ 268392 w 382527"/>
                  <a:gd name="connsiteY15" fmla="*/ 67373 h 259912"/>
                  <a:gd name="connsiteX16" fmla="*/ 286148 w 382527"/>
                  <a:gd name="connsiteY16" fmla="*/ 68690 h 259912"/>
                  <a:gd name="connsiteX17" fmla="*/ 287794 w 382527"/>
                  <a:gd name="connsiteY17" fmla="*/ 70172 h 259912"/>
                  <a:gd name="connsiteX18" fmla="*/ 286340 w 382527"/>
                  <a:gd name="connsiteY18" fmla="*/ 75496 h 259912"/>
                  <a:gd name="connsiteX19" fmla="*/ 286807 w 382527"/>
                  <a:gd name="connsiteY19" fmla="*/ 76813 h 259912"/>
                  <a:gd name="connsiteX20" fmla="*/ 287849 w 382527"/>
                  <a:gd name="connsiteY20" fmla="*/ 79832 h 259912"/>
                  <a:gd name="connsiteX21" fmla="*/ 304837 w 382527"/>
                  <a:gd name="connsiteY21" fmla="*/ 83975 h 259912"/>
                  <a:gd name="connsiteX22" fmla="*/ 310545 w 382527"/>
                  <a:gd name="connsiteY22" fmla="*/ 90452 h 259912"/>
                  <a:gd name="connsiteX23" fmla="*/ 316911 w 382527"/>
                  <a:gd name="connsiteY23" fmla="*/ 93114 h 259912"/>
                  <a:gd name="connsiteX24" fmla="*/ 318860 w 382527"/>
                  <a:gd name="connsiteY24" fmla="*/ 97011 h 259912"/>
                  <a:gd name="connsiteX25" fmla="*/ 316198 w 382527"/>
                  <a:gd name="connsiteY25" fmla="*/ 101868 h 259912"/>
                  <a:gd name="connsiteX26" fmla="*/ 317159 w 382527"/>
                  <a:gd name="connsiteY26" fmla="*/ 104476 h 259912"/>
                  <a:gd name="connsiteX27" fmla="*/ 322537 w 382527"/>
                  <a:gd name="connsiteY27" fmla="*/ 109031 h 259912"/>
                  <a:gd name="connsiteX28" fmla="*/ 323772 w 382527"/>
                  <a:gd name="connsiteY28" fmla="*/ 109717 h 259912"/>
                  <a:gd name="connsiteX29" fmla="*/ 339524 w 382527"/>
                  <a:gd name="connsiteY29" fmla="*/ 118307 h 259912"/>
                  <a:gd name="connsiteX30" fmla="*/ 343311 w 382527"/>
                  <a:gd name="connsiteY30" fmla="*/ 124015 h 259912"/>
                  <a:gd name="connsiteX31" fmla="*/ 350584 w 382527"/>
                  <a:gd name="connsiteY31" fmla="*/ 128735 h 259912"/>
                  <a:gd name="connsiteX32" fmla="*/ 349486 w 382527"/>
                  <a:gd name="connsiteY32" fmla="*/ 135513 h 259912"/>
                  <a:gd name="connsiteX33" fmla="*/ 354563 w 382527"/>
                  <a:gd name="connsiteY33" fmla="*/ 141633 h 259912"/>
                  <a:gd name="connsiteX34" fmla="*/ 355524 w 382527"/>
                  <a:gd name="connsiteY34" fmla="*/ 145420 h 259912"/>
                  <a:gd name="connsiteX35" fmla="*/ 358351 w 382527"/>
                  <a:gd name="connsiteY35" fmla="*/ 147863 h 259912"/>
                  <a:gd name="connsiteX36" fmla="*/ 364717 w 382527"/>
                  <a:gd name="connsiteY36" fmla="*/ 149372 h 259912"/>
                  <a:gd name="connsiteX37" fmla="*/ 374652 w 382527"/>
                  <a:gd name="connsiteY37" fmla="*/ 156590 h 259912"/>
                  <a:gd name="connsiteX38" fmla="*/ 377204 w 382527"/>
                  <a:gd name="connsiteY38" fmla="*/ 161090 h 259912"/>
                  <a:gd name="connsiteX39" fmla="*/ 377341 w 382527"/>
                  <a:gd name="connsiteY39" fmla="*/ 168719 h 259912"/>
                  <a:gd name="connsiteX40" fmla="*/ 382527 w 382527"/>
                  <a:gd name="connsiteY40" fmla="*/ 177501 h 259912"/>
                  <a:gd name="connsiteX41" fmla="*/ 380771 w 382527"/>
                  <a:gd name="connsiteY41" fmla="*/ 175251 h 259912"/>
                  <a:gd name="connsiteX42" fmla="*/ 372264 w 382527"/>
                  <a:gd name="connsiteY42" fmla="*/ 172232 h 259912"/>
                  <a:gd name="connsiteX43" fmla="*/ 365184 w 382527"/>
                  <a:gd name="connsiteY43" fmla="*/ 176266 h 259912"/>
                  <a:gd name="connsiteX44" fmla="*/ 361314 w 382527"/>
                  <a:gd name="connsiteY44" fmla="*/ 175196 h 259912"/>
                  <a:gd name="connsiteX45" fmla="*/ 354591 w 382527"/>
                  <a:gd name="connsiteY45" fmla="*/ 176266 h 259912"/>
                  <a:gd name="connsiteX46" fmla="*/ 345260 w 382527"/>
                  <a:gd name="connsiteY46" fmla="*/ 170805 h 259912"/>
                  <a:gd name="connsiteX47" fmla="*/ 335738 w 382527"/>
                  <a:gd name="connsiteY47" fmla="*/ 172013 h 259912"/>
                  <a:gd name="connsiteX48" fmla="*/ 326462 w 382527"/>
                  <a:gd name="connsiteY48" fmla="*/ 167128 h 259912"/>
                  <a:gd name="connsiteX49" fmla="*/ 323800 w 382527"/>
                  <a:gd name="connsiteY49" fmla="*/ 168335 h 259912"/>
                  <a:gd name="connsiteX50" fmla="*/ 321220 w 382527"/>
                  <a:gd name="connsiteY50" fmla="*/ 169515 h 259912"/>
                  <a:gd name="connsiteX51" fmla="*/ 319930 w 382527"/>
                  <a:gd name="connsiteY51" fmla="*/ 176211 h 259912"/>
                  <a:gd name="connsiteX52" fmla="*/ 317104 w 382527"/>
                  <a:gd name="connsiteY52" fmla="*/ 177721 h 259912"/>
                  <a:gd name="connsiteX53" fmla="*/ 303025 w 382527"/>
                  <a:gd name="connsiteY53" fmla="*/ 180794 h 259912"/>
                  <a:gd name="connsiteX54" fmla="*/ 297592 w 382527"/>
                  <a:gd name="connsiteY54" fmla="*/ 176294 h 259912"/>
                  <a:gd name="connsiteX55" fmla="*/ 292707 w 382527"/>
                  <a:gd name="connsiteY55" fmla="*/ 175168 h 259912"/>
                  <a:gd name="connsiteX56" fmla="*/ 286559 w 382527"/>
                  <a:gd name="connsiteY56" fmla="*/ 180438 h 259912"/>
                  <a:gd name="connsiteX57" fmla="*/ 269600 w 382527"/>
                  <a:gd name="connsiteY57" fmla="*/ 185295 h 259912"/>
                  <a:gd name="connsiteX58" fmla="*/ 263700 w 382527"/>
                  <a:gd name="connsiteY58" fmla="*/ 189521 h 259912"/>
                  <a:gd name="connsiteX59" fmla="*/ 259446 w 382527"/>
                  <a:gd name="connsiteY59" fmla="*/ 187710 h 259912"/>
                  <a:gd name="connsiteX60" fmla="*/ 249649 w 382527"/>
                  <a:gd name="connsiteY60" fmla="*/ 183594 h 259912"/>
                  <a:gd name="connsiteX61" fmla="*/ 240181 w 382527"/>
                  <a:gd name="connsiteY61" fmla="*/ 194132 h 259912"/>
                  <a:gd name="connsiteX62" fmla="*/ 237602 w 382527"/>
                  <a:gd name="connsiteY62" fmla="*/ 201898 h 259912"/>
                  <a:gd name="connsiteX63" fmla="*/ 231948 w 382527"/>
                  <a:gd name="connsiteY63" fmla="*/ 204066 h 259912"/>
                  <a:gd name="connsiteX64" fmla="*/ 228133 w 382527"/>
                  <a:gd name="connsiteY64" fmla="*/ 202886 h 259912"/>
                  <a:gd name="connsiteX65" fmla="*/ 214110 w 382527"/>
                  <a:gd name="connsiteY65" fmla="*/ 198577 h 259912"/>
                  <a:gd name="connsiteX66" fmla="*/ 208292 w 382527"/>
                  <a:gd name="connsiteY66" fmla="*/ 199730 h 259912"/>
                  <a:gd name="connsiteX67" fmla="*/ 198852 w 382527"/>
                  <a:gd name="connsiteY67" fmla="*/ 198276 h 259912"/>
                  <a:gd name="connsiteX68" fmla="*/ 194708 w 382527"/>
                  <a:gd name="connsiteY68" fmla="*/ 196574 h 259912"/>
                  <a:gd name="connsiteX69" fmla="*/ 190344 w 382527"/>
                  <a:gd name="connsiteY69" fmla="*/ 194735 h 259912"/>
                  <a:gd name="connsiteX70" fmla="*/ 180739 w 382527"/>
                  <a:gd name="connsiteY70" fmla="*/ 194955 h 259912"/>
                  <a:gd name="connsiteX71" fmla="*/ 175855 w 382527"/>
                  <a:gd name="connsiteY71" fmla="*/ 188341 h 259912"/>
                  <a:gd name="connsiteX72" fmla="*/ 173687 w 382527"/>
                  <a:gd name="connsiteY72" fmla="*/ 185405 h 259912"/>
                  <a:gd name="connsiteX73" fmla="*/ 154861 w 382527"/>
                  <a:gd name="connsiteY73" fmla="*/ 173989 h 259912"/>
                  <a:gd name="connsiteX74" fmla="*/ 146545 w 382527"/>
                  <a:gd name="connsiteY74" fmla="*/ 174482 h 259912"/>
                  <a:gd name="connsiteX75" fmla="*/ 136940 w 382527"/>
                  <a:gd name="connsiteY75" fmla="*/ 180712 h 259912"/>
                  <a:gd name="connsiteX76" fmla="*/ 127253 w 382527"/>
                  <a:gd name="connsiteY76" fmla="*/ 194845 h 259912"/>
                  <a:gd name="connsiteX77" fmla="*/ 121380 w 382527"/>
                  <a:gd name="connsiteY77" fmla="*/ 197864 h 259912"/>
                  <a:gd name="connsiteX78" fmla="*/ 123767 w 382527"/>
                  <a:gd name="connsiteY78" fmla="*/ 205411 h 259912"/>
                  <a:gd name="connsiteX79" fmla="*/ 122231 w 382527"/>
                  <a:gd name="connsiteY79" fmla="*/ 214631 h 259912"/>
                  <a:gd name="connsiteX80" fmla="*/ 123136 w 382527"/>
                  <a:gd name="connsiteY80" fmla="*/ 223084 h 259912"/>
                  <a:gd name="connsiteX81" fmla="*/ 119404 w 382527"/>
                  <a:gd name="connsiteY81" fmla="*/ 218419 h 259912"/>
                  <a:gd name="connsiteX82" fmla="*/ 113586 w 382527"/>
                  <a:gd name="connsiteY82" fmla="*/ 219571 h 259912"/>
                  <a:gd name="connsiteX83" fmla="*/ 110540 w 382527"/>
                  <a:gd name="connsiteY83" fmla="*/ 222288 h 259912"/>
                  <a:gd name="connsiteX84" fmla="*/ 107083 w 382527"/>
                  <a:gd name="connsiteY84" fmla="*/ 220120 h 259912"/>
                  <a:gd name="connsiteX85" fmla="*/ 100935 w 382527"/>
                  <a:gd name="connsiteY85" fmla="*/ 220642 h 259912"/>
                  <a:gd name="connsiteX86" fmla="*/ 98465 w 382527"/>
                  <a:gd name="connsiteY86" fmla="*/ 218309 h 259912"/>
                  <a:gd name="connsiteX87" fmla="*/ 89437 w 382527"/>
                  <a:gd name="connsiteY87" fmla="*/ 216662 h 259912"/>
                  <a:gd name="connsiteX88" fmla="*/ 76456 w 382527"/>
                  <a:gd name="connsiteY88" fmla="*/ 221300 h 259912"/>
                  <a:gd name="connsiteX89" fmla="*/ 65588 w 382527"/>
                  <a:gd name="connsiteY89" fmla="*/ 221355 h 259912"/>
                  <a:gd name="connsiteX90" fmla="*/ 63530 w 382527"/>
                  <a:gd name="connsiteY90" fmla="*/ 223523 h 259912"/>
                  <a:gd name="connsiteX91" fmla="*/ 61280 w 382527"/>
                  <a:gd name="connsiteY91" fmla="*/ 231838 h 259912"/>
                  <a:gd name="connsiteX92" fmla="*/ 60676 w 382527"/>
                  <a:gd name="connsiteY92" fmla="*/ 242459 h 259912"/>
                  <a:gd name="connsiteX93" fmla="*/ 51565 w 382527"/>
                  <a:gd name="connsiteY93" fmla="*/ 259912 h 259912"/>
                  <a:gd name="connsiteX94" fmla="*/ 48409 w 382527"/>
                  <a:gd name="connsiteY94" fmla="*/ 252585 h 259912"/>
                  <a:gd name="connsiteX95" fmla="*/ 47559 w 382527"/>
                  <a:gd name="connsiteY95" fmla="*/ 239111 h 259912"/>
                  <a:gd name="connsiteX96" fmla="*/ 39271 w 382527"/>
                  <a:gd name="connsiteY96" fmla="*/ 233073 h 259912"/>
                  <a:gd name="connsiteX97" fmla="*/ 23985 w 382527"/>
                  <a:gd name="connsiteY97" fmla="*/ 216031 h 259912"/>
                  <a:gd name="connsiteX98" fmla="*/ 19567 w 382527"/>
                  <a:gd name="connsiteY98" fmla="*/ 208457 h 259912"/>
                  <a:gd name="connsiteX99" fmla="*/ 20884 w 382527"/>
                  <a:gd name="connsiteY99" fmla="*/ 205411 h 259912"/>
                  <a:gd name="connsiteX100" fmla="*/ 17673 w 382527"/>
                  <a:gd name="connsiteY100" fmla="*/ 196327 h 259912"/>
                  <a:gd name="connsiteX101" fmla="*/ 8809 w 382527"/>
                  <a:gd name="connsiteY101" fmla="*/ 188972 h 259912"/>
                  <a:gd name="connsiteX102" fmla="*/ 7217 w 382527"/>
                  <a:gd name="connsiteY102" fmla="*/ 174455 h 259912"/>
                  <a:gd name="connsiteX103" fmla="*/ 3183 w 382527"/>
                  <a:gd name="connsiteY103" fmla="*/ 169817 h 259912"/>
                  <a:gd name="connsiteX104" fmla="*/ 5351 w 382527"/>
                  <a:gd name="connsiteY104" fmla="*/ 163807 h 259912"/>
                  <a:gd name="connsiteX105" fmla="*/ 5351 w 382527"/>
                  <a:gd name="connsiteY105" fmla="*/ 152885 h 259912"/>
                  <a:gd name="connsiteX106" fmla="*/ 0 w 382527"/>
                  <a:gd name="connsiteY106" fmla="*/ 147725 h 259912"/>
                  <a:gd name="connsiteX107" fmla="*/ 3320 w 382527"/>
                  <a:gd name="connsiteY107" fmla="*/ 143335 h 259912"/>
                  <a:gd name="connsiteX108" fmla="*/ 9879 w 382527"/>
                  <a:gd name="connsiteY108" fmla="*/ 139630 h 259912"/>
                  <a:gd name="connsiteX109" fmla="*/ 14655 w 382527"/>
                  <a:gd name="connsiteY109" fmla="*/ 128515 h 259912"/>
                  <a:gd name="connsiteX110" fmla="*/ 19045 w 382527"/>
                  <a:gd name="connsiteY110" fmla="*/ 124152 h 259912"/>
                  <a:gd name="connsiteX111" fmla="*/ 23655 w 382527"/>
                  <a:gd name="connsiteY111" fmla="*/ 111281 h 259912"/>
                  <a:gd name="connsiteX112" fmla="*/ 31422 w 382527"/>
                  <a:gd name="connsiteY112" fmla="*/ 103240 h 259912"/>
                  <a:gd name="connsiteX113" fmla="*/ 43826 w 382527"/>
                  <a:gd name="connsiteY113" fmla="*/ 104860 h 259912"/>
                  <a:gd name="connsiteX114" fmla="*/ 56560 w 382527"/>
                  <a:gd name="connsiteY114" fmla="*/ 99234 h 259912"/>
                  <a:gd name="connsiteX115" fmla="*/ 62323 w 382527"/>
                  <a:gd name="connsiteY115" fmla="*/ 94047 h 259912"/>
                  <a:gd name="connsiteX116" fmla="*/ 70967 w 382527"/>
                  <a:gd name="connsiteY116" fmla="*/ 102609 h 259912"/>
                  <a:gd name="connsiteX117" fmla="*/ 95419 w 382527"/>
                  <a:gd name="connsiteY117" fmla="*/ 90095 h 259912"/>
                  <a:gd name="connsiteX118" fmla="*/ 121627 w 382527"/>
                  <a:gd name="connsiteY118" fmla="*/ 87735 h 259912"/>
                  <a:gd name="connsiteX119" fmla="*/ 130793 w 382527"/>
                  <a:gd name="connsiteY119" fmla="*/ 78734 h 259912"/>
                  <a:gd name="connsiteX120" fmla="*/ 132083 w 382527"/>
                  <a:gd name="connsiteY120" fmla="*/ 76785 h 259912"/>
                  <a:gd name="connsiteX121" fmla="*/ 132961 w 382527"/>
                  <a:gd name="connsiteY121" fmla="*/ 75468 h 259912"/>
                  <a:gd name="connsiteX122" fmla="*/ 136968 w 382527"/>
                  <a:gd name="connsiteY122" fmla="*/ 69486 h 259912"/>
                  <a:gd name="connsiteX123" fmla="*/ 131150 w 382527"/>
                  <a:gd name="connsiteY123" fmla="*/ 64244 h 259912"/>
                  <a:gd name="connsiteX124" fmla="*/ 132083 w 382527"/>
                  <a:gd name="connsiteY124" fmla="*/ 61802 h 259912"/>
                  <a:gd name="connsiteX125" fmla="*/ 136117 w 382527"/>
                  <a:gd name="connsiteY125" fmla="*/ 59826 h 259912"/>
                  <a:gd name="connsiteX126" fmla="*/ 137956 w 382527"/>
                  <a:gd name="connsiteY126" fmla="*/ 58947 h 259912"/>
                  <a:gd name="connsiteX127" fmla="*/ 154888 w 382527"/>
                  <a:gd name="connsiteY127" fmla="*/ 58591 h 259912"/>
                  <a:gd name="connsiteX128" fmla="*/ 165618 w 382527"/>
                  <a:gd name="connsiteY128" fmla="*/ 55435 h 259912"/>
                  <a:gd name="connsiteX129" fmla="*/ 174949 w 382527"/>
                  <a:gd name="connsiteY129" fmla="*/ 55160 h 259912"/>
                  <a:gd name="connsiteX130" fmla="*/ 175855 w 382527"/>
                  <a:gd name="connsiteY130" fmla="*/ 54392 h 259912"/>
                  <a:gd name="connsiteX131" fmla="*/ 182880 w 382527"/>
                  <a:gd name="connsiteY131" fmla="*/ 48327 h 259912"/>
                  <a:gd name="connsiteX132" fmla="*/ 189988 w 382527"/>
                  <a:gd name="connsiteY132" fmla="*/ 44101 h 259912"/>
                  <a:gd name="connsiteX133" fmla="*/ 193363 w 382527"/>
                  <a:gd name="connsiteY133" fmla="*/ 37432 h 259912"/>
                  <a:gd name="connsiteX134" fmla="*/ 194708 w 382527"/>
                  <a:gd name="connsiteY134" fmla="*/ 36088 h 259912"/>
                  <a:gd name="connsiteX135" fmla="*/ 200114 w 382527"/>
                  <a:gd name="connsiteY135" fmla="*/ 30763 h 259912"/>
                  <a:gd name="connsiteX136" fmla="*/ 203956 w 382527"/>
                  <a:gd name="connsiteY136" fmla="*/ 29831 h 259912"/>
                  <a:gd name="connsiteX137" fmla="*/ 207853 w 382527"/>
                  <a:gd name="connsiteY137" fmla="*/ 24479 h 259912"/>
                  <a:gd name="connsiteX138" fmla="*/ 213863 w 382527"/>
                  <a:gd name="connsiteY138" fmla="*/ 20143 h 259912"/>
                  <a:gd name="connsiteX139" fmla="*/ 214906 w 382527"/>
                  <a:gd name="connsiteY139" fmla="*/ 10895 h 259912"/>
                  <a:gd name="connsiteX140" fmla="*/ 215866 w 382527"/>
                  <a:gd name="connsiteY140" fmla="*/ 9221 h 259912"/>
                  <a:gd name="connsiteX141" fmla="*/ 218528 w 382527"/>
                  <a:gd name="connsiteY141" fmla="*/ 4638 h 259912"/>
                  <a:gd name="connsiteX142" fmla="*/ 237244 w 382527"/>
                  <a:gd name="connsiteY142" fmla="*/ 0 h 259912"/>
                  <a:gd name="connsiteX143" fmla="*/ 248139 w 382527"/>
                  <a:gd name="connsiteY143" fmla="*/ 1839 h 25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382527" h="259912">
                    <a:moveTo>
                      <a:pt x="248167" y="1839"/>
                    </a:moveTo>
                    <a:lnTo>
                      <a:pt x="252091" y="8205"/>
                    </a:lnTo>
                    <a:lnTo>
                      <a:pt x="253271" y="9248"/>
                    </a:lnTo>
                    <a:lnTo>
                      <a:pt x="259501" y="14709"/>
                    </a:lnTo>
                    <a:lnTo>
                      <a:pt x="261532" y="16493"/>
                    </a:lnTo>
                    <a:lnTo>
                      <a:pt x="266498" y="24534"/>
                    </a:lnTo>
                    <a:lnTo>
                      <a:pt x="271054" y="31916"/>
                    </a:lnTo>
                    <a:lnTo>
                      <a:pt x="272207" y="38530"/>
                    </a:lnTo>
                    <a:lnTo>
                      <a:pt x="270615" y="48355"/>
                    </a:lnTo>
                    <a:lnTo>
                      <a:pt x="270506" y="51620"/>
                    </a:lnTo>
                    <a:lnTo>
                      <a:pt x="266279" y="54749"/>
                    </a:lnTo>
                    <a:lnTo>
                      <a:pt x="265566" y="57301"/>
                    </a:lnTo>
                    <a:lnTo>
                      <a:pt x="265676" y="59853"/>
                    </a:lnTo>
                    <a:lnTo>
                      <a:pt x="268090" y="61006"/>
                    </a:lnTo>
                    <a:lnTo>
                      <a:pt x="267157" y="65396"/>
                    </a:lnTo>
                    <a:lnTo>
                      <a:pt x="268392" y="67373"/>
                    </a:lnTo>
                    <a:lnTo>
                      <a:pt x="286148" y="68690"/>
                    </a:lnTo>
                    <a:lnTo>
                      <a:pt x="287794" y="70172"/>
                    </a:lnTo>
                    <a:lnTo>
                      <a:pt x="286340" y="75496"/>
                    </a:lnTo>
                    <a:lnTo>
                      <a:pt x="286807" y="76813"/>
                    </a:lnTo>
                    <a:lnTo>
                      <a:pt x="287849" y="79832"/>
                    </a:lnTo>
                    <a:lnTo>
                      <a:pt x="304837" y="83975"/>
                    </a:lnTo>
                    <a:lnTo>
                      <a:pt x="310545" y="90452"/>
                    </a:lnTo>
                    <a:lnTo>
                      <a:pt x="316911" y="93114"/>
                    </a:lnTo>
                    <a:lnTo>
                      <a:pt x="318860" y="97011"/>
                    </a:lnTo>
                    <a:lnTo>
                      <a:pt x="316198" y="101868"/>
                    </a:lnTo>
                    <a:lnTo>
                      <a:pt x="317159" y="104476"/>
                    </a:lnTo>
                    <a:lnTo>
                      <a:pt x="322537" y="109031"/>
                    </a:lnTo>
                    <a:lnTo>
                      <a:pt x="323772" y="109717"/>
                    </a:lnTo>
                    <a:lnTo>
                      <a:pt x="339524" y="118307"/>
                    </a:lnTo>
                    <a:lnTo>
                      <a:pt x="343311" y="124015"/>
                    </a:lnTo>
                    <a:lnTo>
                      <a:pt x="350584" y="128735"/>
                    </a:lnTo>
                    <a:lnTo>
                      <a:pt x="349486" y="135513"/>
                    </a:lnTo>
                    <a:lnTo>
                      <a:pt x="354563" y="141633"/>
                    </a:lnTo>
                    <a:lnTo>
                      <a:pt x="355524" y="145420"/>
                    </a:lnTo>
                    <a:lnTo>
                      <a:pt x="358351" y="147863"/>
                    </a:lnTo>
                    <a:lnTo>
                      <a:pt x="364717" y="149372"/>
                    </a:lnTo>
                    <a:lnTo>
                      <a:pt x="374652" y="156590"/>
                    </a:lnTo>
                    <a:lnTo>
                      <a:pt x="377204" y="161090"/>
                    </a:lnTo>
                    <a:lnTo>
                      <a:pt x="377341" y="168719"/>
                    </a:lnTo>
                    <a:lnTo>
                      <a:pt x="382527" y="177501"/>
                    </a:lnTo>
                    <a:lnTo>
                      <a:pt x="380771" y="175251"/>
                    </a:lnTo>
                    <a:lnTo>
                      <a:pt x="372264" y="172232"/>
                    </a:lnTo>
                    <a:lnTo>
                      <a:pt x="365184" y="176266"/>
                    </a:lnTo>
                    <a:lnTo>
                      <a:pt x="361314" y="175196"/>
                    </a:lnTo>
                    <a:lnTo>
                      <a:pt x="354591" y="176266"/>
                    </a:lnTo>
                    <a:lnTo>
                      <a:pt x="345260" y="170805"/>
                    </a:lnTo>
                    <a:lnTo>
                      <a:pt x="335738" y="172013"/>
                    </a:lnTo>
                    <a:lnTo>
                      <a:pt x="326462" y="167128"/>
                    </a:lnTo>
                    <a:lnTo>
                      <a:pt x="323800" y="168335"/>
                    </a:lnTo>
                    <a:lnTo>
                      <a:pt x="321220" y="169515"/>
                    </a:lnTo>
                    <a:lnTo>
                      <a:pt x="319930" y="176211"/>
                    </a:lnTo>
                    <a:lnTo>
                      <a:pt x="317104" y="177721"/>
                    </a:lnTo>
                    <a:lnTo>
                      <a:pt x="303025" y="180794"/>
                    </a:lnTo>
                    <a:lnTo>
                      <a:pt x="297592" y="176294"/>
                    </a:lnTo>
                    <a:lnTo>
                      <a:pt x="292707" y="175168"/>
                    </a:lnTo>
                    <a:lnTo>
                      <a:pt x="286559" y="180438"/>
                    </a:lnTo>
                    <a:lnTo>
                      <a:pt x="269600" y="185295"/>
                    </a:lnTo>
                    <a:lnTo>
                      <a:pt x="263700" y="189521"/>
                    </a:lnTo>
                    <a:lnTo>
                      <a:pt x="259446" y="187710"/>
                    </a:lnTo>
                    <a:lnTo>
                      <a:pt x="249649" y="183594"/>
                    </a:lnTo>
                    <a:lnTo>
                      <a:pt x="240181" y="194132"/>
                    </a:lnTo>
                    <a:lnTo>
                      <a:pt x="237602" y="201898"/>
                    </a:lnTo>
                    <a:lnTo>
                      <a:pt x="231948" y="204066"/>
                    </a:lnTo>
                    <a:lnTo>
                      <a:pt x="228133" y="202886"/>
                    </a:lnTo>
                    <a:lnTo>
                      <a:pt x="214110" y="198577"/>
                    </a:lnTo>
                    <a:lnTo>
                      <a:pt x="208292" y="199730"/>
                    </a:lnTo>
                    <a:lnTo>
                      <a:pt x="198852" y="198276"/>
                    </a:lnTo>
                    <a:lnTo>
                      <a:pt x="194708" y="196574"/>
                    </a:lnTo>
                    <a:lnTo>
                      <a:pt x="190344" y="194735"/>
                    </a:lnTo>
                    <a:lnTo>
                      <a:pt x="180739" y="194955"/>
                    </a:lnTo>
                    <a:lnTo>
                      <a:pt x="175855" y="188341"/>
                    </a:lnTo>
                    <a:lnTo>
                      <a:pt x="173687" y="185405"/>
                    </a:lnTo>
                    <a:lnTo>
                      <a:pt x="154861" y="173989"/>
                    </a:lnTo>
                    <a:lnTo>
                      <a:pt x="146545" y="174482"/>
                    </a:lnTo>
                    <a:lnTo>
                      <a:pt x="136940" y="180712"/>
                    </a:lnTo>
                    <a:lnTo>
                      <a:pt x="127253" y="194845"/>
                    </a:lnTo>
                    <a:lnTo>
                      <a:pt x="121380" y="197864"/>
                    </a:lnTo>
                    <a:lnTo>
                      <a:pt x="123767" y="205411"/>
                    </a:lnTo>
                    <a:lnTo>
                      <a:pt x="122231" y="214631"/>
                    </a:lnTo>
                    <a:lnTo>
                      <a:pt x="123136" y="223084"/>
                    </a:lnTo>
                    <a:lnTo>
                      <a:pt x="119404" y="218419"/>
                    </a:lnTo>
                    <a:lnTo>
                      <a:pt x="113586" y="219571"/>
                    </a:lnTo>
                    <a:lnTo>
                      <a:pt x="110540" y="222288"/>
                    </a:lnTo>
                    <a:lnTo>
                      <a:pt x="107083" y="220120"/>
                    </a:lnTo>
                    <a:lnTo>
                      <a:pt x="100935" y="220642"/>
                    </a:lnTo>
                    <a:lnTo>
                      <a:pt x="98465" y="218309"/>
                    </a:lnTo>
                    <a:lnTo>
                      <a:pt x="89437" y="216662"/>
                    </a:lnTo>
                    <a:lnTo>
                      <a:pt x="76456" y="221300"/>
                    </a:lnTo>
                    <a:lnTo>
                      <a:pt x="65588" y="221355"/>
                    </a:lnTo>
                    <a:lnTo>
                      <a:pt x="63530" y="223523"/>
                    </a:lnTo>
                    <a:lnTo>
                      <a:pt x="61280" y="231838"/>
                    </a:lnTo>
                    <a:lnTo>
                      <a:pt x="60676" y="242459"/>
                    </a:lnTo>
                    <a:lnTo>
                      <a:pt x="51565" y="259912"/>
                    </a:lnTo>
                    <a:lnTo>
                      <a:pt x="48409" y="252585"/>
                    </a:lnTo>
                    <a:lnTo>
                      <a:pt x="47559" y="239111"/>
                    </a:lnTo>
                    <a:lnTo>
                      <a:pt x="39271" y="233073"/>
                    </a:lnTo>
                    <a:lnTo>
                      <a:pt x="23985" y="216031"/>
                    </a:lnTo>
                    <a:lnTo>
                      <a:pt x="19567" y="208457"/>
                    </a:lnTo>
                    <a:lnTo>
                      <a:pt x="20884" y="205411"/>
                    </a:lnTo>
                    <a:lnTo>
                      <a:pt x="17673" y="196327"/>
                    </a:lnTo>
                    <a:lnTo>
                      <a:pt x="8809" y="188972"/>
                    </a:lnTo>
                    <a:lnTo>
                      <a:pt x="7217" y="174455"/>
                    </a:lnTo>
                    <a:lnTo>
                      <a:pt x="3183" y="169817"/>
                    </a:lnTo>
                    <a:lnTo>
                      <a:pt x="5351" y="163807"/>
                    </a:lnTo>
                    <a:lnTo>
                      <a:pt x="5351" y="152885"/>
                    </a:lnTo>
                    <a:lnTo>
                      <a:pt x="0" y="147725"/>
                    </a:lnTo>
                    <a:lnTo>
                      <a:pt x="3320" y="143335"/>
                    </a:lnTo>
                    <a:lnTo>
                      <a:pt x="9879" y="139630"/>
                    </a:lnTo>
                    <a:lnTo>
                      <a:pt x="14655" y="128515"/>
                    </a:lnTo>
                    <a:lnTo>
                      <a:pt x="19045" y="124152"/>
                    </a:lnTo>
                    <a:lnTo>
                      <a:pt x="23655" y="111281"/>
                    </a:lnTo>
                    <a:lnTo>
                      <a:pt x="31422" y="103240"/>
                    </a:lnTo>
                    <a:lnTo>
                      <a:pt x="43826" y="104860"/>
                    </a:lnTo>
                    <a:lnTo>
                      <a:pt x="56560" y="99234"/>
                    </a:lnTo>
                    <a:lnTo>
                      <a:pt x="62323" y="94047"/>
                    </a:lnTo>
                    <a:lnTo>
                      <a:pt x="70967" y="102609"/>
                    </a:lnTo>
                    <a:lnTo>
                      <a:pt x="95419" y="90095"/>
                    </a:lnTo>
                    <a:lnTo>
                      <a:pt x="121627" y="87735"/>
                    </a:lnTo>
                    <a:lnTo>
                      <a:pt x="130793" y="78734"/>
                    </a:lnTo>
                    <a:lnTo>
                      <a:pt x="132083" y="76785"/>
                    </a:lnTo>
                    <a:lnTo>
                      <a:pt x="132961" y="75468"/>
                    </a:lnTo>
                    <a:lnTo>
                      <a:pt x="136968" y="69486"/>
                    </a:lnTo>
                    <a:lnTo>
                      <a:pt x="131150" y="64244"/>
                    </a:lnTo>
                    <a:lnTo>
                      <a:pt x="132083" y="61802"/>
                    </a:lnTo>
                    <a:lnTo>
                      <a:pt x="136117" y="59826"/>
                    </a:lnTo>
                    <a:lnTo>
                      <a:pt x="137956" y="58947"/>
                    </a:lnTo>
                    <a:lnTo>
                      <a:pt x="154888" y="58591"/>
                    </a:lnTo>
                    <a:lnTo>
                      <a:pt x="165618" y="55435"/>
                    </a:lnTo>
                    <a:lnTo>
                      <a:pt x="174949" y="55160"/>
                    </a:lnTo>
                    <a:lnTo>
                      <a:pt x="175855" y="54392"/>
                    </a:lnTo>
                    <a:lnTo>
                      <a:pt x="182880" y="48327"/>
                    </a:lnTo>
                    <a:lnTo>
                      <a:pt x="189988" y="44101"/>
                    </a:lnTo>
                    <a:lnTo>
                      <a:pt x="193363" y="37432"/>
                    </a:lnTo>
                    <a:lnTo>
                      <a:pt x="194708" y="36088"/>
                    </a:lnTo>
                    <a:lnTo>
                      <a:pt x="200114" y="30763"/>
                    </a:lnTo>
                    <a:lnTo>
                      <a:pt x="203956" y="29831"/>
                    </a:lnTo>
                    <a:lnTo>
                      <a:pt x="207853" y="24479"/>
                    </a:lnTo>
                    <a:lnTo>
                      <a:pt x="213863" y="20143"/>
                    </a:lnTo>
                    <a:lnTo>
                      <a:pt x="214906" y="10895"/>
                    </a:lnTo>
                    <a:lnTo>
                      <a:pt x="215866" y="9221"/>
                    </a:lnTo>
                    <a:lnTo>
                      <a:pt x="218528" y="4638"/>
                    </a:lnTo>
                    <a:lnTo>
                      <a:pt x="237244" y="0"/>
                    </a:lnTo>
                    <a:lnTo>
                      <a:pt x="248139"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7" name="Freeform: Shape 3486">
                <a:extLst>
                  <a:ext uri="{FF2B5EF4-FFF2-40B4-BE49-F238E27FC236}">
                    <a16:creationId xmlns:a16="http://schemas.microsoft.com/office/drawing/2014/main" id="{67A7E89A-90FD-AB45-F8A3-1D6BDBC8BAAC}"/>
                  </a:ext>
                </a:extLst>
              </p:cNvPr>
              <p:cNvSpPr/>
              <p:nvPr/>
            </p:nvSpPr>
            <p:spPr>
              <a:xfrm>
                <a:off x="1399757" y="3833133"/>
                <a:ext cx="22784" cy="26677"/>
              </a:xfrm>
              <a:custGeom>
                <a:avLst/>
                <a:gdLst>
                  <a:gd name="connsiteX0" fmla="*/ 218309 w 218446"/>
                  <a:gd name="connsiteY0" fmla="*/ 6394 h 255768"/>
                  <a:gd name="connsiteX1" fmla="*/ 217897 w 218446"/>
                  <a:gd name="connsiteY1" fmla="*/ 15670 h 255768"/>
                  <a:gd name="connsiteX2" fmla="*/ 202584 w 218446"/>
                  <a:gd name="connsiteY2" fmla="*/ 43003 h 255768"/>
                  <a:gd name="connsiteX3" fmla="*/ 201925 w 218446"/>
                  <a:gd name="connsiteY3" fmla="*/ 63091 h 255768"/>
                  <a:gd name="connsiteX4" fmla="*/ 195477 w 218446"/>
                  <a:gd name="connsiteY4" fmla="*/ 79749 h 255768"/>
                  <a:gd name="connsiteX5" fmla="*/ 196245 w 218446"/>
                  <a:gd name="connsiteY5" fmla="*/ 90479 h 255768"/>
                  <a:gd name="connsiteX6" fmla="*/ 197343 w 218446"/>
                  <a:gd name="connsiteY6" fmla="*/ 93498 h 255768"/>
                  <a:gd name="connsiteX7" fmla="*/ 198577 w 218446"/>
                  <a:gd name="connsiteY7" fmla="*/ 96846 h 255768"/>
                  <a:gd name="connsiteX8" fmla="*/ 193967 w 218446"/>
                  <a:gd name="connsiteY8" fmla="*/ 103076 h 255768"/>
                  <a:gd name="connsiteX9" fmla="*/ 190454 w 218446"/>
                  <a:gd name="connsiteY9" fmla="*/ 114190 h 255768"/>
                  <a:gd name="connsiteX10" fmla="*/ 190619 w 218446"/>
                  <a:gd name="connsiteY10" fmla="*/ 117593 h 255768"/>
                  <a:gd name="connsiteX11" fmla="*/ 190921 w 218446"/>
                  <a:gd name="connsiteY11" fmla="*/ 123850 h 255768"/>
                  <a:gd name="connsiteX12" fmla="*/ 191003 w 218446"/>
                  <a:gd name="connsiteY12" fmla="*/ 125662 h 255768"/>
                  <a:gd name="connsiteX13" fmla="*/ 180877 w 218446"/>
                  <a:gd name="connsiteY13" fmla="*/ 137050 h 255768"/>
                  <a:gd name="connsiteX14" fmla="*/ 171079 w 218446"/>
                  <a:gd name="connsiteY14" fmla="*/ 141524 h 255768"/>
                  <a:gd name="connsiteX15" fmla="*/ 164438 w 218446"/>
                  <a:gd name="connsiteY15" fmla="*/ 147726 h 255768"/>
                  <a:gd name="connsiteX16" fmla="*/ 163011 w 218446"/>
                  <a:gd name="connsiteY16" fmla="*/ 150607 h 255768"/>
                  <a:gd name="connsiteX17" fmla="*/ 156864 w 218446"/>
                  <a:gd name="connsiteY17" fmla="*/ 162710 h 255768"/>
                  <a:gd name="connsiteX18" fmla="*/ 147534 w 218446"/>
                  <a:gd name="connsiteY18" fmla="*/ 172534 h 255768"/>
                  <a:gd name="connsiteX19" fmla="*/ 146848 w 218446"/>
                  <a:gd name="connsiteY19" fmla="*/ 206591 h 255768"/>
                  <a:gd name="connsiteX20" fmla="*/ 137489 w 218446"/>
                  <a:gd name="connsiteY20" fmla="*/ 224236 h 255768"/>
                  <a:gd name="connsiteX21" fmla="*/ 129449 w 218446"/>
                  <a:gd name="connsiteY21" fmla="*/ 227283 h 255768"/>
                  <a:gd name="connsiteX22" fmla="*/ 124564 w 218446"/>
                  <a:gd name="connsiteY22" fmla="*/ 233485 h 255768"/>
                  <a:gd name="connsiteX23" fmla="*/ 117593 w 218446"/>
                  <a:gd name="connsiteY23" fmla="*/ 236476 h 255768"/>
                  <a:gd name="connsiteX24" fmla="*/ 107357 w 218446"/>
                  <a:gd name="connsiteY24" fmla="*/ 249457 h 255768"/>
                  <a:gd name="connsiteX25" fmla="*/ 102802 w 218446"/>
                  <a:gd name="connsiteY25" fmla="*/ 252530 h 255768"/>
                  <a:gd name="connsiteX26" fmla="*/ 94514 w 218446"/>
                  <a:gd name="connsiteY26" fmla="*/ 250829 h 255768"/>
                  <a:gd name="connsiteX27" fmla="*/ 93526 w 218446"/>
                  <a:gd name="connsiteY27" fmla="*/ 243310 h 255768"/>
                  <a:gd name="connsiteX28" fmla="*/ 95420 w 218446"/>
                  <a:gd name="connsiteY28" fmla="*/ 238864 h 255768"/>
                  <a:gd name="connsiteX29" fmla="*/ 93087 w 218446"/>
                  <a:gd name="connsiteY29" fmla="*/ 235708 h 255768"/>
                  <a:gd name="connsiteX30" fmla="*/ 81368 w 218446"/>
                  <a:gd name="connsiteY30" fmla="*/ 240648 h 255768"/>
                  <a:gd name="connsiteX31" fmla="*/ 75605 w 218446"/>
                  <a:gd name="connsiteY31" fmla="*/ 240044 h 255768"/>
                  <a:gd name="connsiteX32" fmla="*/ 73355 w 218446"/>
                  <a:gd name="connsiteY32" fmla="*/ 246822 h 255768"/>
                  <a:gd name="connsiteX33" fmla="*/ 66604 w 218446"/>
                  <a:gd name="connsiteY33" fmla="*/ 250911 h 255768"/>
                  <a:gd name="connsiteX34" fmla="*/ 58042 w 218446"/>
                  <a:gd name="connsiteY34" fmla="*/ 245230 h 255768"/>
                  <a:gd name="connsiteX35" fmla="*/ 55572 w 218446"/>
                  <a:gd name="connsiteY35" fmla="*/ 246603 h 255768"/>
                  <a:gd name="connsiteX36" fmla="*/ 46406 w 218446"/>
                  <a:gd name="connsiteY36" fmla="*/ 238946 h 255768"/>
                  <a:gd name="connsiteX37" fmla="*/ 36033 w 218446"/>
                  <a:gd name="connsiteY37" fmla="*/ 244572 h 255768"/>
                  <a:gd name="connsiteX38" fmla="*/ 33096 w 218446"/>
                  <a:gd name="connsiteY38" fmla="*/ 248743 h 255768"/>
                  <a:gd name="connsiteX39" fmla="*/ 23162 w 218446"/>
                  <a:gd name="connsiteY39" fmla="*/ 255769 h 255768"/>
                  <a:gd name="connsiteX40" fmla="*/ 18991 w 218446"/>
                  <a:gd name="connsiteY40" fmla="*/ 250198 h 255768"/>
                  <a:gd name="connsiteX41" fmla="*/ 17069 w 218446"/>
                  <a:gd name="connsiteY41" fmla="*/ 242733 h 255768"/>
                  <a:gd name="connsiteX42" fmla="*/ 0 w 218446"/>
                  <a:gd name="connsiteY42" fmla="*/ 226048 h 255768"/>
                  <a:gd name="connsiteX43" fmla="*/ 5242 w 218446"/>
                  <a:gd name="connsiteY43" fmla="*/ 215400 h 255768"/>
                  <a:gd name="connsiteX44" fmla="*/ 10730 w 218446"/>
                  <a:gd name="connsiteY44" fmla="*/ 213589 h 255768"/>
                  <a:gd name="connsiteX45" fmla="*/ 19265 w 218446"/>
                  <a:gd name="connsiteY45" fmla="*/ 216635 h 255768"/>
                  <a:gd name="connsiteX46" fmla="*/ 23135 w 218446"/>
                  <a:gd name="connsiteY46" fmla="*/ 209225 h 255768"/>
                  <a:gd name="connsiteX47" fmla="*/ 23518 w 218446"/>
                  <a:gd name="connsiteY47" fmla="*/ 197068 h 255768"/>
                  <a:gd name="connsiteX48" fmla="*/ 13804 w 218446"/>
                  <a:gd name="connsiteY48" fmla="*/ 189549 h 255768"/>
                  <a:gd name="connsiteX49" fmla="*/ 13804 w 218446"/>
                  <a:gd name="connsiteY49" fmla="*/ 179614 h 255768"/>
                  <a:gd name="connsiteX50" fmla="*/ 22558 w 218446"/>
                  <a:gd name="connsiteY50" fmla="*/ 178407 h 255768"/>
                  <a:gd name="connsiteX51" fmla="*/ 35785 w 218446"/>
                  <a:gd name="connsiteY51" fmla="*/ 179340 h 255768"/>
                  <a:gd name="connsiteX52" fmla="*/ 38749 w 218446"/>
                  <a:gd name="connsiteY52" fmla="*/ 173357 h 255768"/>
                  <a:gd name="connsiteX53" fmla="*/ 37679 w 218446"/>
                  <a:gd name="connsiteY53" fmla="*/ 165646 h 255768"/>
                  <a:gd name="connsiteX54" fmla="*/ 41631 w 218446"/>
                  <a:gd name="connsiteY54" fmla="*/ 163807 h 255768"/>
                  <a:gd name="connsiteX55" fmla="*/ 47504 w 218446"/>
                  <a:gd name="connsiteY55" fmla="*/ 165536 h 255768"/>
                  <a:gd name="connsiteX56" fmla="*/ 56313 w 218446"/>
                  <a:gd name="connsiteY56" fmla="*/ 177474 h 255768"/>
                  <a:gd name="connsiteX57" fmla="*/ 67181 w 218446"/>
                  <a:gd name="connsiteY57" fmla="*/ 179395 h 255768"/>
                  <a:gd name="connsiteX58" fmla="*/ 75633 w 218446"/>
                  <a:gd name="connsiteY58" fmla="*/ 171958 h 255768"/>
                  <a:gd name="connsiteX59" fmla="*/ 79832 w 218446"/>
                  <a:gd name="connsiteY59" fmla="*/ 179587 h 255768"/>
                  <a:gd name="connsiteX60" fmla="*/ 84991 w 218446"/>
                  <a:gd name="connsiteY60" fmla="*/ 180191 h 255768"/>
                  <a:gd name="connsiteX61" fmla="*/ 93938 w 218446"/>
                  <a:gd name="connsiteY61" fmla="*/ 161886 h 255768"/>
                  <a:gd name="connsiteX62" fmla="*/ 96325 w 218446"/>
                  <a:gd name="connsiteY62" fmla="*/ 150525 h 255768"/>
                  <a:gd name="connsiteX63" fmla="*/ 94953 w 218446"/>
                  <a:gd name="connsiteY63" fmla="*/ 136309 h 255768"/>
                  <a:gd name="connsiteX64" fmla="*/ 95913 w 218446"/>
                  <a:gd name="connsiteY64" fmla="*/ 126704 h 255768"/>
                  <a:gd name="connsiteX65" fmla="*/ 93635 w 218446"/>
                  <a:gd name="connsiteY65" fmla="*/ 123301 h 255768"/>
                  <a:gd name="connsiteX66" fmla="*/ 81286 w 218446"/>
                  <a:gd name="connsiteY66" fmla="*/ 114712 h 255768"/>
                  <a:gd name="connsiteX67" fmla="*/ 80051 w 218446"/>
                  <a:gd name="connsiteY67" fmla="*/ 105189 h 255768"/>
                  <a:gd name="connsiteX68" fmla="*/ 84936 w 218446"/>
                  <a:gd name="connsiteY68" fmla="*/ 94486 h 255768"/>
                  <a:gd name="connsiteX69" fmla="*/ 86336 w 218446"/>
                  <a:gd name="connsiteY69" fmla="*/ 93471 h 255768"/>
                  <a:gd name="connsiteX70" fmla="*/ 92977 w 218446"/>
                  <a:gd name="connsiteY70" fmla="*/ 88531 h 255768"/>
                  <a:gd name="connsiteX71" fmla="*/ 95227 w 218446"/>
                  <a:gd name="connsiteY71" fmla="*/ 79996 h 255768"/>
                  <a:gd name="connsiteX72" fmla="*/ 90287 w 218446"/>
                  <a:gd name="connsiteY72" fmla="*/ 70748 h 255768"/>
                  <a:gd name="connsiteX73" fmla="*/ 86006 w 218446"/>
                  <a:gd name="connsiteY73" fmla="*/ 67866 h 255768"/>
                  <a:gd name="connsiteX74" fmla="*/ 80134 w 218446"/>
                  <a:gd name="connsiteY74" fmla="*/ 67180 h 255768"/>
                  <a:gd name="connsiteX75" fmla="*/ 60100 w 218446"/>
                  <a:gd name="connsiteY75" fmla="*/ 69952 h 255768"/>
                  <a:gd name="connsiteX76" fmla="*/ 57767 w 218446"/>
                  <a:gd name="connsiteY76" fmla="*/ 58179 h 255768"/>
                  <a:gd name="connsiteX77" fmla="*/ 61747 w 218446"/>
                  <a:gd name="connsiteY77" fmla="*/ 44705 h 255768"/>
                  <a:gd name="connsiteX78" fmla="*/ 92071 w 218446"/>
                  <a:gd name="connsiteY78" fmla="*/ 44238 h 255768"/>
                  <a:gd name="connsiteX79" fmla="*/ 99316 w 218446"/>
                  <a:gd name="connsiteY79" fmla="*/ 43909 h 255768"/>
                  <a:gd name="connsiteX80" fmla="*/ 109662 w 218446"/>
                  <a:gd name="connsiteY80" fmla="*/ 49233 h 255768"/>
                  <a:gd name="connsiteX81" fmla="*/ 113970 w 218446"/>
                  <a:gd name="connsiteY81" fmla="*/ 50138 h 255768"/>
                  <a:gd name="connsiteX82" fmla="*/ 118033 w 218446"/>
                  <a:gd name="connsiteY82" fmla="*/ 48876 h 255768"/>
                  <a:gd name="connsiteX83" fmla="*/ 122203 w 218446"/>
                  <a:gd name="connsiteY83" fmla="*/ 51840 h 255768"/>
                  <a:gd name="connsiteX84" fmla="*/ 126649 w 218446"/>
                  <a:gd name="connsiteY84" fmla="*/ 50715 h 255768"/>
                  <a:gd name="connsiteX85" fmla="*/ 133099 w 218446"/>
                  <a:gd name="connsiteY85" fmla="*/ 52252 h 255768"/>
                  <a:gd name="connsiteX86" fmla="*/ 141249 w 218446"/>
                  <a:gd name="connsiteY86" fmla="*/ 56807 h 255768"/>
                  <a:gd name="connsiteX87" fmla="*/ 142868 w 218446"/>
                  <a:gd name="connsiteY87" fmla="*/ 59304 h 255768"/>
                  <a:gd name="connsiteX88" fmla="*/ 145338 w 218446"/>
                  <a:gd name="connsiteY88" fmla="*/ 57082 h 255768"/>
                  <a:gd name="connsiteX89" fmla="*/ 143225 w 218446"/>
                  <a:gd name="connsiteY89" fmla="*/ 50166 h 255768"/>
                  <a:gd name="connsiteX90" fmla="*/ 143829 w 218446"/>
                  <a:gd name="connsiteY90" fmla="*/ 45253 h 255768"/>
                  <a:gd name="connsiteX91" fmla="*/ 146875 w 218446"/>
                  <a:gd name="connsiteY91" fmla="*/ 43250 h 255768"/>
                  <a:gd name="connsiteX92" fmla="*/ 155986 w 218446"/>
                  <a:gd name="connsiteY92" fmla="*/ 25796 h 255768"/>
                  <a:gd name="connsiteX93" fmla="*/ 156589 w 218446"/>
                  <a:gd name="connsiteY93" fmla="*/ 15176 h 255768"/>
                  <a:gd name="connsiteX94" fmla="*/ 158840 w 218446"/>
                  <a:gd name="connsiteY94" fmla="*/ 6861 h 255768"/>
                  <a:gd name="connsiteX95" fmla="*/ 160898 w 218446"/>
                  <a:gd name="connsiteY95" fmla="*/ 4693 h 255768"/>
                  <a:gd name="connsiteX96" fmla="*/ 171766 w 218446"/>
                  <a:gd name="connsiteY96" fmla="*/ 4638 h 255768"/>
                  <a:gd name="connsiteX97" fmla="*/ 184746 w 218446"/>
                  <a:gd name="connsiteY97" fmla="*/ 0 h 255768"/>
                  <a:gd name="connsiteX98" fmla="*/ 193775 w 218446"/>
                  <a:gd name="connsiteY98" fmla="*/ 1647 h 255768"/>
                  <a:gd name="connsiteX99" fmla="*/ 196245 w 218446"/>
                  <a:gd name="connsiteY99" fmla="*/ 3979 h 255768"/>
                  <a:gd name="connsiteX100" fmla="*/ 202392 w 218446"/>
                  <a:gd name="connsiteY100" fmla="*/ 3458 h 255768"/>
                  <a:gd name="connsiteX101" fmla="*/ 205850 w 218446"/>
                  <a:gd name="connsiteY101" fmla="*/ 5626 h 255768"/>
                  <a:gd name="connsiteX102" fmla="*/ 208896 w 218446"/>
                  <a:gd name="connsiteY102" fmla="*/ 2909 h 255768"/>
                  <a:gd name="connsiteX103" fmla="*/ 214714 w 218446"/>
                  <a:gd name="connsiteY103" fmla="*/ 1756 h 255768"/>
                  <a:gd name="connsiteX104" fmla="*/ 218446 w 218446"/>
                  <a:gd name="connsiteY104" fmla="*/ 6422 h 25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218446" h="255768">
                    <a:moveTo>
                      <a:pt x="218309" y="6394"/>
                    </a:moveTo>
                    <a:lnTo>
                      <a:pt x="217897" y="15670"/>
                    </a:lnTo>
                    <a:lnTo>
                      <a:pt x="202584" y="43003"/>
                    </a:lnTo>
                    <a:lnTo>
                      <a:pt x="201925" y="63091"/>
                    </a:lnTo>
                    <a:lnTo>
                      <a:pt x="195477" y="79749"/>
                    </a:lnTo>
                    <a:lnTo>
                      <a:pt x="196245" y="90479"/>
                    </a:lnTo>
                    <a:lnTo>
                      <a:pt x="197343" y="93498"/>
                    </a:lnTo>
                    <a:lnTo>
                      <a:pt x="198577" y="96846"/>
                    </a:lnTo>
                    <a:lnTo>
                      <a:pt x="193967" y="103076"/>
                    </a:lnTo>
                    <a:lnTo>
                      <a:pt x="190454" y="114190"/>
                    </a:lnTo>
                    <a:lnTo>
                      <a:pt x="190619" y="117593"/>
                    </a:lnTo>
                    <a:lnTo>
                      <a:pt x="190921" y="123850"/>
                    </a:lnTo>
                    <a:lnTo>
                      <a:pt x="191003" y="125662"/>
                    </a:lnTo>
                    <a:lnTo>
                      <a:pt x="180877" y="137050"/>
                    </a:lnTo>
                    <a:lnTo>
                      <a:pt x="171079" y="141524"/>
                    </a:lnTo>
                    <a:lnTo>
                      <a:pt x="164438" y="147726"/>
                    </a:lnTo>
                    <a:lnTo>
                      <a:pt x="163011" y="150607"/>
                    </a:lnTo>
                    <a:lnTo>
                      <a:pt x="156864" y="162710"/>
                    </a:lnTo>
                    <a:lnTo>
                      <a:pt x="147534" y="172534"/>
                    </a:lnTo>
                    <a:lnTo>
                      <a:pt x="146848" y="206591"/>
                    </a:lnTo>
                    <a:lnTo>
                      <a:pt x="137489" y="224236"/>
                    </a:lnTo>
                    <a:lnTo>
                      <a:pt x="129449" y="227283"/>
                    </a:lnTo>
                    <a:lnTo>
                      <a:pt x="124564" y="233485"/>
                    </a:lnTo>
                    <a:lnTo>
                      <a:pt x="117593" y="236476"/>
                    </a:lnTo>
                    <a:lnTo>
                      <a:pt x="107357" y="249457"/>
                    </a:lnTo>
                    <a:lnTo>
                      <a:pt x="102802" y="252530"/>
                    </a:lnTo>
                    <a:lnTo>
                      <a:pt x="94514" y="250829"/>
                    </a:lnTo>
                    <a:lnTo>
                      <a:pt x="93526" y="243310"/>
                    </a:lnTo>
                    <a:lnTo>
                      <a:pt x="95420" y="238864"/>
                    </a:lnTo>
                    <a:lnTo>
                      <a:pt x="93087" y="235708"/>
                    </a:lnTo>
                    <a:lnTo>
                      <a:pt x="81368" y="240648"/>
                    </a:lnTo>
                    <a:lnTo>
                      <a:pt x="75605" y="240044"/>
                    </a:lnTo>
                    <a:lnTo>
                      <a:pt x="73355" y="246822"/>
                    </a:lnTo>
                    <a:lnTo>
                      <a:pt x="66604" y="250911"/>
                    </a:lnTo>
                    <a:lnTo>
                      <a:pt x="58042" y="245230"/>
                    </a:lnTo>
                    <a:lnTo>
                      <a:pt x="55572" y="246603"/>
                    </a:lnTo>
                    <a:lnTo>
                      <a:pt x="46406" y="238946"/>
                    </a:lnTo>
                    <a:lnTo>
                      <a:pt x="36033" y="244572"/>
                    </a:lnTo>
                    <a:lnTo>
                      <a:pt x="33096" y="248743"/>
                    </a:lnTo>
                    <a:lnTo>
                      <a:pt x="23162" y="255769"/>
                    </a:lnTo>
                    <a:lnTo>
                      <a:pt x="18991" y="250198"/>
                    </a:lnTo>
                    <a:lnTo>
                      <a:pt x="17069" y="242733"/>
                    </a:lnTo>
                    <a:lnTo>
                      <a:pt x="0" y="226048"/>
                    </a:lnTo>
                    <a:lnTo>
                      <a:pt x="5242" y="215400"/>
                    </a:lnTo>
                    <a:lnTo>
                      <a:pt x="10730" y="213589"/>
                    </a:lnTo>
                    <a:lnTo>
                      <a:pt x="19265" y="216635"/>
                    </a:lnTo>
                    <a:lnTo>
                      <a:pt x="23135" y="209225"/>
                    </a:lnTo>
                    <a:lnTo>
                      <a:pt x="23518" y="197068"/>
                    </a:lnTo>
                    <a:lnTo>
                      <a:pt x="13804" y="189549"/>
                    </a:lnTo>
                    <a:lnTo>
                      <a:pt x="13804" y="179614"/>
                    </a:lnTo>
                    <a:lnTo>
                      <a:pt x="22558" y="178407"/>
                    </a:lnTo>
                    <a:lnTo>
                      <a:pt x="35785" y="179340"/>
                    </a:lnTo>
                    <a:lnTo>
                      <a:pt x="38749" y="173357"/>
                    </a:lnTo>
                    <a:lnTo>
                      <a:pt x="37679" y="165646"/>
                    </a:lnTo>
                    <a:lnTo>
                      <a:pt x="41631" y="163807"/>
                    </a:lnTo>
                    <a:lnTo>
                      <a:pt x="47504" y="165536"/>
                    </a:lnTo>
                    <a:lnTo>
                      <a:pt x="56313" y="177474"/>
                    </a:lnTo>
                    <a:lnTo>
                      <a:pt x="67181" y="179395"/>
                    </a:lnTo>
                    <a:lnTo>
                      <a:pt x="75633" y="171958"/>
                    </a:lnTo>
                    <a:lnTo>
                      <a:pt x="79832" y="179587"/>
                    </a:lnTo>
                    <a:lnTo>
                      <a:pt x="84991" y="180191"/>
                    </a:lnTo>
                    <a:lnTo>
                      <a:pt x="93938" y="161886"/>
                    </a:lnTo>
                    <a:lnTo>
                      <a:pt x="96325" y="150525"/>
                    </a:lnTo>
                    <a:lnTo>
                      <a:pt x="94953" y="136309"/>
                    </a:lnTo>
                    <a:lnTo>
                      <a:pt x="95913" y="126704"/>
                    </a:lnTo>
                    <a:lnTo>
                      <a:pt x="93635" y="123301"/>
                    </a:lnTo>
                    <a:lnTo>
                      <a:pt x="81286" y="114712"/>
                    </a:lnTo>
                    <a:lnTo>
                      <a:pt x="80051" y="105189"/>
                    </a:lnTo>
                    <a:lnTo>
                      <a:pt x="84936" y="94486"/>
                    </a:lnTo>
                    <a:lnTo>
                      <a:pt x="86336" y="93471"/>
                    </a:lnTo>
                    <a:lnTo>
                      <a:pt x="92977" y="88531"/>
                    </a:lnTo>
                    <a:lnTo>
                      <a:pt x="95227" y="79996"/>
                    </a:lnTo>
                    <a:lnTo>
                      <a:pt x="90287" y="70748"/>
                    </a:lnTo>
                    <a:lnTo>
                      <a:pt x="86006" y="67866"/>
                    </a:lnTo>
                    <a:lnTo>
                      <a:pt x="80134" y="67180"/>
                    </a:lnTo>
                    <a:lnTo>
                      <a:pt x="60100" y="69952"/>
                    </a:lnTo>
                    <a:lnTo>
                      <a:pt x="57767" y="58179"/>
                    </a:lnTo>
                    <a:lnTo>
                      <a:pt x="61747" y="44705"/>
                    </a:lnTo>
                    <a:lnTo>
                      <a:pt x="92071" y="44238"/>
                    </a:lnTo>
                    <a:lnTo>
                      <a:pt x="99316" y="43909"/>
                    </a:lnTo>
                    <a:lnTo>
                      <a:pt x="109662" y="49233"/>
                    </a:lnTo>
                    <a:lnTo>
                      <a:pt x="113970" y="50138"/>
                    </a:lnTo>
                    <a:lnTo>
                      <a:pt x="118033" y="48876"/>
                    </a:lnTo>
                    <a:lnTo>
                      <a:pt x="122203" y="51840"/>
                    </a:lnTo>
                    <a:lnTo>
                      <a:pt x="126649" y="50715"/>
                    </a:lnTo>
                    <a:lnTo>
                      <a:pt x="133099" y="52252"/>
                    </a:lnTo>
                    <a:lnTo>
                      <a:pt x="141249" y="56807"/>
                    </a:lnTo>
                    <a:lnTo>
                      <a:pt x="142868" y="59304"/>
                    </a:lnTo>
                    <a:lnTo>
                      <a:pt x="145338" y="57082"/>
                    </a:lnTo>
                    <a:lnTo>
                      <a:pt x="143225" y="50166"/>
                    </a:lnTo>
                    <a:lnTo>
                      <a:pt x="143829" y="45253"/>
                    </a:lnTo>
                    <a:lnTo>
                      <a:pt x="146875" y="43250"/>
                    </a:lnTo>
                    <a:lnTo>
                      <a:pt x="155986" y="25796"/>
                    </a:lnTo>
                    <a:lnTo>
                      <a:pt x="156589" y="15176"/>
                    </a:lnTo>
                    <a:lnTo>
                      <a:pt x="158840" y="6861"/>
                    </a:lnTo>
                    <a:lnTo>
                      <a:pt x="160898" y="4693"/>
                    </a:lnTo>
                    <a:lnTo>
                      <a:pt x="171766" y="4638"/>
                    </a:lnTo>
                    <a:lnTo>
                      <a:pt x="184746" y="0"/>
                    </a:lnTo>
                    <a:lnTo>
                      <a:pt x="193775" y="1647"/>
                    </a:lnTo>
                    <a:lnTo>
                      <a:pt x="196245" y="3979"/>
                    </a:lnTo>
                    <a:lnTo>
                      <a:pt x="202392" y="3458"/>
                    </a:lnTo>
                    <a:lnTo>
                      <a:pt x="205850" y="5626"/>
                    </a:lnTo>
                    <a:lnTo>
                      <a:pt x="208896" y="2909"/>
                    </a:lnTo>
                    <a:lnTo>
                      <a:pt x="214714" y="1756"/>
                    </a:lnTo>
                    <a:lnTo>
                      <a:pt x="218446" y="64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8" name="Freeform: Shape 3487">
                <a:extLst>
                  <a:ext uri="{FF2B5EF4-FFF2-40B4-BE49-F238E27FC236}">
                    <a16:creationId xmlns:a16="http://schemas.microsoft.com/office/drawing/2014/main" id="{421283C1-7F03-7A3B-0E61-18D59D6333F8}"/>
                  </a:ext>
                </a:extLst>
              </p:cNvPr>
              <p:cNvSpPr/>
              <p:nvPr/>
            </p:nvSpPr>
            <p:spPr>
              <a:xfrm>
                <a:off x="1339176" y="3811397"/>
                <a:ext cx="18502" cy="19667"/>
              </a:xfrm>
              <a:custGeom>
                <a:avLst/>
                <a:gdLst>
                  <a:gd name="connsiteX0" fmla="*/ 89053 w 177391"/>
                  <a:gd name="connsiteY0" fmla="*/ 8397 h 188560"/>
                  <a:gd name="connsiteX1" fmla="*/ 92263 w 177391"/>
                  <a:gd name="connsiteY1" fmla="*/ 12102 h 188560"/>
                  <a:gd name="connsiteX2" fmla="*/ 100194 w 177391"/>
                  <a:gd name="connsiteY2" fmla="*/ 12624 h 188560"/>
                  <a:gd name="connsiteX3" fmla="*/ 105820 w 177391"/>
                  <a:gd name="connsiteY3" fmla="*/ 24259 h 188560"/>
                  <a:gd name="connsiteX4" fmla="*/ 109799 w 177391"/>
                  <a:gd name="connsiteY4" fmla="*/ 26098 h 188560"/>
                  <a:gd name="connsiteX5" fmla="*/ 110321 w 177391"/>
                  <a:gd name="connsiteY5" fmla="*/ 28595 h 188560"/>
                  <a:gd name="connsiteX6" fmla="*/ 113532 w 177391"/>
                  <a:gd name="connsiteY6" fmla="*/ 30407 h 188560"/>
                  <a:gd name="connsiteX7" fmla="*/ 118142 w 177391"/>
                  <a:gd name="connsiteY7" fmla="*/ 29501 h 188560"/>
                  <a:gd name="connsiteX8" fmla="*/ 123247 w 177391"/>
                  <a:gd name="connsiteY8" fmla="*/ 33041 h 188560"/>
                  <a:gd name="connsiteX9" fmla="*/ 126787 w 177391"/>
                  <a:gd name="connsiteY9" fmla="*/ 28623 h 188560"/>
                  <a:gd name="connsiteX10" fmla="*/ 143582 w 177391"/>
                  <a:gd name="connsiteY10" fmla="*/ 22970 h 188560"/>
                  <a:gd name="connsiteX11" fmla="*/ 156947 w 177391"/>
                  <a:gd name="connsiteY11" fmla="*/ 24863 h 188560"/>
                  <a:gd name="connsiteX12" fmla="*/ 160541 w 177391"/>
                  <a:gd name="connsiteY12" fmla="*/ 28623 h 188560"/>
                  <a:gd name="connsiteX13" fmla="*/ 168939 w 177391"/>
                  <a:gd name="connsiteY13" fmla="*/ 38283 h 188560"/>
                  <a:gd name="connsiteX14" fmla="*/ 172315 w 177391"/>
                  <a:gd name="connsiteY14" fmla="*/ 36526 h 188560"/>
                  <a:gd name="connsiteX15" fmla="*/ 172397 w 177391"/>
                  <a:gd name="connsiteY15" fmla="*/ 43058 h 188560"/>
                  <a:gd name="connsiteX16" fmla="*/ 170366 w 177391"/>
                  <a:gd name="connsiteY16" fmla="*/ 48437 h 188560"/>
                  <a:gd name="connsiteX17" fmla="*/ 174922 w 177391"/>
                  <a:gd name="connsiteY17" fmla="*/ 57054 h 188560"/>
                  <a:gd name="connsiteX18" fmla="*/ 175333 w 177391"/>
                  <a:gd name="connsiteY18" fmla="*/ 59771 h 188560"/>
                  <a:gd name="connsiteX19" fmla="*/ 177391 w 177391"/>
                  <a:gd name="connsiteY19" fmla="*/ 73876 h 188560"/>
                  <a:gd name="connsiteX20" fmla="*/ 175333 w 177391"/>
                  <a:gd name="connsiteY20" fmla="*/ 76758 h 188560"/>
                  <a:gd name="connsiteX21" fmla="*/ 167841 w 177391"/>
                  <a:gd name="connsiteY21" fmla="*/ 87268 h 188560"/>
                  <a:gd name="connsiteX22" fmla="*/ 163725 w 177391"/>
                  <a:gd name="connsiteY22" fmla="*/ 103981 h 188560"/>
                  <a:gd name="connsiteX23" fmla="*/ 157386 w 177391"/>
                  <a:gd name="connsiteY23" fmla="*/ 114574 h 188560"/>
                  <a:gd name="connsiteX24" fmla="*/ 156151 w 177391"/>
                  <a:gd name="connsiteY24" fmla="*/ 121463 h 188560"/>
                  <a:gd name="connsiteX25" fmla="*/ 162490 w 177391"/>
                  <a:gd name="connsiteY25" fmla="*/ 147149 h 188560"/>
                  <a:gd name="connsiteX26" fmla="*/ 169708 w 177391"/>
                  <a:gd name="connsiteY26" fmla="*/ 153269 h 188560"/>
                  <a:gd name="connsiteX27" fmla="*/ 170586 w 177391"/>
                  <a:gd name="connsiteY27" fmla="*/ 164027 h 188560"/>
                  <a:gd name="connsiteX28" fmla="*/ 159993 w 177391"/>
                  <a:gd name="connsiteY28" fmla="*/ 167045 h 188560"/>
                  <a:gd name="connsiteX29" fmla="*/ 133675 w 177391"/>
                  <a:gd name="connsiteY29" fmla="*/ 162352 h 188560"/>
                  <a:gd name="connsiteX30" fmla="*/ 82247 w 177391"/>
                  <a:gd name="connsiteY30" fmla="*/ 168143 h 188560"/>
                  <a:gd name="connsiteX31" fmla="*/ 48519 w 177391"/>
                  <a:gd name="connsiteY31" fmla="*/ 179724 h 188560"/>
                  <a:gd name="connsiteX32" fmla="*/ 30050 w 177391"/>
                  <a:gd name="connsiteY32" fmla="*/ 188561 h 188560"/>
                  <a:gd name="connsiteX33" fmla="*/ 28486 w 177391"/>
                  <a:gd name="connsiteY33" fmla="*/ 173494 h 188560"/>
                  <a:gd name="connsiteX34" fmla="*/ 29419 w 177391"/>
                  <a:gd name="connsiteY34" fmla="*/ 167759 h 188560"/>
                  <a:gd name="connsiteX35" fmla="*/ 33974 w 177391"/>
                  <a:gd name="connsiteY35" fmla="*/ 160075 h 188560"/>
                  <a:gd name="connsiteX36" fmla="*/ 32630 w 177391"/>
                  <a:gd name="connsiteY36" fmla="*/ 145640 h 188560"/>
                  <a:gd name="connsiteX37" fmla="*/ 23354 w 177391"/>
                  <a:gd name="connsiteY37" fmla="*/ 141441 h 188560"/>
                  <a:gd name="connsiteX38" fmla="*/ 18579 w 177391"/>
                  <a:gd name="connsiteY38" fmla="*/ 131946 h 188560"/>
                  <a:gd name="connsiteX39" fmla="*/ 9907 w 177391"/>
                  <a:gd name="connsiteY39" fmla="*/ 131479 h 188560"/>
                  <a:gd name="connsiteX40" fmla="*/ 0 w 177391"/>
                  <a:gd name="connsiteY40" fmla="*/ 125442 h 188560"/>
                  <a:gd name="connsiteX41" fmla="*/ 6230 w 177391"/>
                  <a:gd name="connsiteY41" fmla="*/ 116934 h 188560"/>
                  <a:gd name="connsiteX42" fmla="*/ 7602 w 177391"/>
                  <a:gd name="connsiteY42" fmla="*/ 109909 h 188560"/>
                  <a:gd name="connsiteX43" fmla="*/ 7492 w 177391"/>
                  <a:gd name="connsiteY43" fmla="*/ 105655 h 188560"/>
                  <a:gd name="connsiteX44" fmla="*/ 2141 w 177391"/>
                  <a:gd name="connsiteY44" fmla="*/ 94102 h 188560"/>
                  <a:gd name="connsiteX45" fmla="*/ 10319 w 177391"/>
                  <a:gd name="connsiteY45" fmla="*/ 93745 h 188560"/>
                  <a:gd name="connsiteX46" fmla="*/ 13338 w 177391"/>
                  <a:gd name="connsiteY46" fmla="*/ 88202 h 188560"/>
                  <a:gd name="connsiteX47" fmla="*/ 14325 w 177391"/>
                  <a:gd name="connsiteY47" fmla="*/ 81286 h 188560"/>
                  <a:gd name="connsiteX48" fmla="*/ 16768 w 177391"/>
                  <a:gd name="connsiteY48" fmla="*/ 79365 h 188560"/>
                  <a:gd name="connsiteX49" fmla="*/ 15368 w 177391"/>
                  <a:gd name="connsiteY49" fmla="*/ 76236 h 188560"/>
                  <a:gd name="connsiteX50" fmla="*/ 9248 w 177391"/>
                  <a:gd name="connsiteY50" fmla="*/ 73739 h 188560"/>
                  <a:gd name="connsiteX51" fmla="*/ 9687 w 177391"/>
                  <a:gd name="connsiteY51" fmla="*/ 66988 h 188560"/>
                  <a:gd name="connsiteX52" fmla="*/ 17179 w 177391"/>
                  <a:gd name="connsiteY52" fmla="*/ 66412 h 188560"/>
                  <a:gd name="connsiteX53" fmla="*/ 25934 w 177391"/>
                  <a:gd name="connsiteY53" fmla="*/ 69211 h 188560"/>
                  <a:gd name="connsiteX54" fmla="*/ 23025 w 177391"/>
                  <a:gd name="connsiteY54" fmla="*/ 59112 h 188560"/>
                  <a:gd name="connsiteX55" fmla="*/ 17536 w 177391"/>
                  <a:gd name="connsiteY55" fmla="*/ 56615 h 188560"/>
                  <a:gd name="connsiteX56" fmla="*/ 18469 w 177391"/>
                  <a:gd name="connsiteY56" fmla="*/ 51620 h 188560"/>
                  <a:gd name="connsiteX57" fmla="*/ 21817 w 177391"/>
                  <a:gd name="connsiteY57" fmla="*/ 47915 h 188560"/>
                  <a:gd name="connsiteX58" fmla="*/ 18716 w 177391"/>
                  <a:gd name="connsiteY58" fmla="*/ 44952 h 188560"/>
                  <a:gd name="connsiteX59" fmla="*/ 19485 w 177391"/>
                  <a:gd name="connsiteY59" fmla="*/ 39161 h 188560"/>
                  <a:gd name="connsiteX60" fmla="*/ 14847 w 177391"/>
                  <a:gd name="connsiteY60" fmla="*/ 39051 h 188560"/>
                  <a:gd name="connsiteX61" fmla="*/ 12240 w 177391"/>
                  <a:gd name="connsiteY61" fmla="*/ 36033 h 188560"/>
                  <a:gd name="connsiteX62" fmla="*/ 12240 w 177391"/>
                  <a:gd name="connsiteY62" fmla="*/ 28623 h 188560"/>
                  <a:gd name="connsiteX63" fmla="*/ 11691 w 177391"/>
                  <a:gd name="connsiteY63" fmla="*/ 22174 h 188560"/>
                  <a:gd name="connsiteX64" fmla="*/ 16603 w 177391"/>
                  <a:gd name="connsiteY64" fmla="*/ 16109 h 188560"/>
                  <a:gd name="connsiteX65" fmla="*/ 20994 w 177391"/>
                  <a:gd name="connsiteY65" fmla="*/ 14215 h 188560"/>
                  <a:gd name="connsiteX66" fmla="*/ 24177 w 177391"/>
                  <a:gd name="connsiteY66" fmla="*/ 8590 h 188560"/>
                  <a:gd name="connsiteX67" fmla="*/ 31422 w 177391"/>
                  <a:gd name="connsiteY67" fmla="*/ 7574 h 188560"/>
                  <a:gd name="connsiteX68" fmla="*/ 34908 w 177391"/>
                  <a:gd name="connsiteY68" fmla="*/ 12926 h 188560"/>
                  <a:gd name="connsiteX69" fmla="*/ 44375 w 177391"/>
                  <a:gd name="connsiteY69" fmla="*/ 15835 h 188560"/>
                  <a:gd name="connsiteX70" fmla="*/ 46790 w 177391"/>
                  <a:gd name="connsiteY70" fmla="*/ 10922 h 188560"/>
                  <a:gd name="connsiteX71" fmla="*/ 55325 w 177391"/>
                  <a:gd name="connsiteY71" fmla="*/ 9578 h 188560"/>
                  <a:gd name="connsiteX72" fmla="*/ 55682 w 177391"/>
                  <a:gd name="connsiteY72" fmla="*/ 2168 h 188560"/>
                  <a:gd name="connsiteX73" fmla="*/ 61308 w 177391"/>
                  <a:gd name="connsiteY73" fmla="*/ 4089 h 188560"/>
                  <a:gd name="connsiteX74" fmla="*/ 63091 w 177391"/>
                  <a:gd name="connsiteY74" fmla="*/ 851 h 188560"/>
                  <a:gd name="connsiteX75" fmla="*/ 67098 w 177391"/>
                  <a:gd name="connsiteY75" fmla="*/ 0 h 188560"/>
                  <a:gd name="connsiteX76" fmla="*/ 69650 w 177391"/>
                  <a:gd name="connsiteY76" fmla="*/ 7766 h 188560"/>
                  <a:gd name="connsiteX77" fmla="*/ 68498 w 177391"/>
                  <a:gd name="connsiteY77" fmla="*/ 13117 h 188560"/>
                  <a:gd name="connsiteX78" fmla="*/ 70638 w 177391"/>
                  <a:gd name="connsiteY78" fmla="*/ 14956 h 188560"/>
                  <a:gd name="connsiteX79" fmla="*/ 74233 w 177391"/>
                  <a:gd name="connsiteY79" fmla="*/ 14956 h 188560"/>
                  <a:gd name="connsiteX80" fmla="*/ 81533 w 177391"/>
                  <a:gd name="connsiteY80" fmla="*/ 8397 h 188560"/>
                  <a:gd name="connsiteX81" fmla="*/ 88943 w 177391"/>
                  <a:gd name="connsiteY81" fmla="*/ 8480 h 18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77391" h="188560">
                    <a:moveTo>
                      <a:pt x="89053" y="8397"/>
                    </a:moveTo>
                    <a:lnTo>
                      <a:pt x="92263" y="12102"/>
                    </a:lnTo>
                    <a:lnTo>
                      <a:pt x="100194" y="12624"/>
                    </a:lnTo>
                    <a:lnTo>
                      <a:pt x="105820" y="24259"/>
                    </a:lnTo>
                    <a:lnTo>
                      <a:pt x="109799" y="26098"/>
                    </a:lnTo>
                    <a:lnTo>
                      <a:pt x="110321" y="28595"/>
                    </a:lnTo>
                    <a:lnTo>
                      <a:pt x="113532" y="30407"/>
                    </a:lnTo>
                    <a:lnTo>
                      <a:pt x="118142" y="29501"/>
                    </a:lnTo>
                    <a:lnTo>
                      <a:pt x="123247" y="33041"/>
                    </a:lnTo>
                    <a:lnTo>
                      <a:pt x="126787" y="28623"/>
                    </a:lnTo>
                    <a:lnTo>
                      <a:pt x="143582" y="22970"/>
                    </a:lnTo>
                    <a:lnTo>
                      <a:pt x="156947" y="24863"/>
                    </a:lnTo>
                    <a:lnTo>
                      <a:pt x="160541" y="28623"/>
                    </a:lnTo>
                    <a:lnTo>
                      <a:pt x="168939" y="38283"/>
                    </a:lnTo>
                    <a:lnTo>
                      <a:pt x="172315" y="36526"/>
                    </a:lnTo>
                    <a:lnTo>
                      <a:pt x="172397" y="43058"/>
                    </a:lnTo>
                    <a:lnTo>
                      <a:pt x="170366" y="48437"/>
                    </a:lnTo>
                    <a:lnTo>
                      <a:pt x="174922" y="57054"/>
                    </a:lnTo>
                    <a:lnTo>
                      <a:pt x="175333" y="59771"/>
                    </a:lnTo>
                    <a:lnTo>
                      <a:pt x="177391" y="73876"/>
                    </a:lnTo>
                    <a:lnTo>
                      <a:pt x="175333" y="76758"/>
                    </a:lnTo>
                    <a:lnTo>
                      <a:pt x="167841" y="87268"/>
                    </a:lnTo>
                    <a:lnTo>
                      <a:pt x="163725" y="103981"/>
                    </a:lnTo>
                    <a:lnTo>
                      <a:pt x="157386" y="114574"/>
                    </a:lnTo>
                    <a:lnTo>
                      <a:pt x="156151" y="121463"/>
                    </a:lnTo>
                    <a:lnTo>
                      <a:pt x="162490" y="147149"/>
                    </a:lnTo>
                    <a:lnTo>
                      <a:pt x="169708" y="153269"/>
                    </a:lnTo>
                    <a:lnTo>
                      <a:pt x="170586" y="164027"/>
                    </a:lnTo>
                    <a:lnTo>
                      <a:pt x="159993" y="167045"/>
                    </a:lnTo>
                    <a:lnTo>
                      <a:pt x="133675" y="162352"/>
                    </a:lnTo>
                    <a:lnTo>
                      <a:pt x="82247" y="168143"/>
                    </a:lnTo>
                    <a:lnTo>
                      <a:pt x="48519" y="179724"/>
                    </a:lnTo>
                    <a:lnTo>
                      <a:pt x="30050" y="188561"/>
                    </a:lnTo>
                    <a:lnTo>
                      <a:pt x="28486" y="173494"/>
                    </a:lnTo>
                    <a:lnTo>
                      <a:pt x="29419" y="167759"/>
                    </a:lnTo>
                    <a:lnTo>
                      <a:pt x="33974" y="160075"/>
                    </a:lnTo>
                    <a:lnTo>
                      <a:pt x="32630" y="145640"/>
                    </a:lnTo>
                    <a:lnTo>
                      <a:pt x="23354" y="141441"/>
                    </a:lnTo>
                    <a:lnTo>
                      <a:pt x="18579" y="131946"/>
                    </a:lnTo>
                    <a:lnTo>
                      <a:pt x="9907" y="131479"/>
                    </a:lnTo>
                    <a:lnTo>
                      <a:pt x="0" y="125442"/>
                    </a:lnTo>
                    <a:lnTo>
                      <a:pt x="6230" y="116934"/>
                    </a:lnTo>
                    <a:lnTo>
                      <a:pt x="7602" y="109909"/>
                    </a:lnTo>
                    <a:lnTo>
                      <a:pt x="7492" y="105655"/>
                    </a:lnTo>
                    <a:lnTo>
                      <a:pt x="2141" y="94102"/>
                    </a:lnTo>
                    <a:lnTo>
                      <a:pt x="10319" y="93745"/>
                    </a:lnTo>
                    <a:lnTo>
                      <a:pt x="13338" y="88202"/>
                    </a:lnTo>
                    <a:lnTo>
                      <a:pt x="14325" y="81286"/>
                    </a:lnTo>
                    <a:lnTo>
                      <a:pt x="16768" y="79365"/>
                    </a:lnTo>
                    <a:lnTo>
                      <a:pt x="15368" y="76236"/>
                    </a:lnTo>
                    <a:lnTo>
                      <a:pt x="9248" y="73739"/>
                    </a:lnTo>
                    <a:lnTo>
                      <a:pt x="9687" y="66988"/>
                    </a:lnTo>
                    <a:lnTo>
                      <a:pt x="17179" y="66412"/>
                    </a:lnTo>
                    <a:lnTo>
                      <a:pt x="25934" y="69211"/>
                    </a:lnTo>
                    <a:lnTo>
                      <a:pt x="23025" y="59112"/>
                    </a:lnTo>
                    <a:lnTo>
                      <a:pt x="17536" y="56615"/>
                    </a:lnTo>
                    <a:lnTo>
                      <a:pt x="18469" y="51620"/>
                    </a:lnTo>
                    <a:lnTo>
                      <a:pt x="21817" y="47915"/>
                    </a:lnTo>
                    <a:lnTo>
                      <a:pt x="18716" y="44952"/>
                    </a:lnTo>
                    <a:lnTo>
                      <a:pt x="19485" y="39161"/>
                    </a:lnTo>
                    <a:lnTo>
                      <a:pt x="14847" y="39051"/>
                    </a:lnTo>
                    <a:lnTo>
                      <a:pt x="12240" y="36033"/>
                    </a:lnTo>
                    <a:lnTo>
                      <a:pt x="12240" y="28623"/>
                    </a:lnTo>
                    <a:cubicBezTo>
                      <a:pt x="12240" y="28623"/>
                      <a:pt x="11691" y="22174"/>
                      <a:pt x="11691" y="22174"/>
                    </a:cubicBezTo>
                    <a:lnTo>
                      <a:pt x="16603" y="16109"/>
                    </a:lnTo>
                    <a:lnTo>
                      <a:pt x="20994" y="14215"/>
                    </a:lnTo>
                    <a:lnTo>
                      <a:pt x="24177" y="8590"/>
                    </a:lnTo>
                    <a:lnTo>
                      <a:pt x="31422" y="7574"/>
                    </a:lnTo>
                    <a:lnTo>
                      <a:pt x="34908" y="12926"/>
                    </a:lnTo>
                    <a:lnTo>
                      <a:pt x="44375" y="15835"/>
                    </a:lnTo>
                    <a:lnTo>
                      <a:pt x="46790" y="10922"/>
                    </a:lnTo>
                    <a:lnTo>
                      <a:pt x="55325" y="9578"/>
                    </a:lnTo>
                    <a:lnTo>
                      <a:pt x="55682" y="2168"/>
                    </a:lnTo>
                    <a:lnTo>
                      <a:pt x="61308" y="4089"/>
                    </a:lnTo>
                    <a:lnTo>
                      <a:pt x="63091" y="851"/>
                    </a:lnTo>
                    <a:lnTo>
                      <a:pt x="67098" y="0"/>
                    </a:lnTo>
                    <a:lnTo>
                      <a:pt x="69650" y="7766"/>
                    </a:lnTo>
                    <a:lnTo>
                      <a:pt x="68498" y="13117"/>
                    </a:lnTo>
                    <a:lnTo>
                      <a:pt x="70638" y="14956"/>
                    </a:lnTo>
                    <a:lnTo>
                      <a:pt x="74233" y="14956"/>
                    </a:lnTo>
                    <a:cubicBezTo>
                      <a:pt x="74233" y="14956"/>
                      <a:pt x="81533" y="8397"/>
                      <a:pt x="81533" y="8397"/>
                    </a:cubicBezTo>
                    <a:lnTo>
                      <a:pt x="88943" y="84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9" name="Freeform: Shape 3488">
                <a:extLst>
                  <a:ext uri="{FF2B5EF4-FFF2-40B4-BE49-F238E27FC236}">
                    <a16:creationId xmlns:a16="http://schemas.microsoft.com/office/drawing/2014/main" id="{F3373AE6-0400-E4B6-1C7C-2D2D6EC5797E}"/>
                  </a:ext>
                </a:extLst>
              </p:cNvPr>
              <p:cNvSpPr/>
              <p:nvPr/>
            </p:nvSpPr>
            <p:spPr>
              <a:xfrm>
                <a:off x="1133537" y="3899001"/>
                <a:ext cx="26193" cy="151469"/>
              </a:xfrm>
              <a:custGeom>
                <a:avLst/>
                <a:gdLst>
                  <a:gd name="connsiteX0" fmla="*/ 226898 w 251130"/>
                  <a:gd name="connsiteY0" fmla="*/ 166414 h 1452227"/>
                  <a:gd name="connsiteX1" fmla="*/ 235159 w 251130"/>
                  <a:gd name="connsiteY1" fmla="*/ 168967 h 1452227"/>
                  <a:gd name="connsiteX2" fmla="*/ 247179 w 251130"/>
                  <a:gd name="connsiteY2" fmla="*/ 166167 h 1452227"/>
                  <a:gd name="connsiteX3" fmla="*/ 250582 w 251130"/>
                  <a:gd name="connsiteY3" fmla="*/ 171052 h 1452227"/>
                  <a:gd name="connsiteX4" fmla="*/ 251131 w 251130"/>
                  <a:gd name="connsiteY4" fmla="*/ 175443 h 1452227"/>
                  <a:gd name="connsiteX5" fmla="*/ 242514 w 251130"/>
                  <a:gd name="connsiteY5" fmla="*/ 202584 h 1452227"/>
                  <a:gd name="connsiteX6" fmla="*/ 217458 w 251130"/>
                  <a:gd name="connsiteY6" fmla="*/ 217046 h 1452227"/>
                  <a:gd name="connsiteX7" fmla="*/ 208457 w 251130"/>
                  <a:gd name="connsiteY7" fmla="*/ 227722 h 1452227"/>
                  <a:gd name="connsiteX8" fmla="*/ 210296 w 251130"/>
                  <a:gd name="connsiteY8" fmla="*/ 238754 h 1452227"/>
                  <a:gd name="connsiteX9" fmla="*/ 206893 w 251130"/>
                  <a:gd name="connsiteY9" fmla="*/ 248716 h 1452227"/>
                  <a:gd name="connsiteX10" fmla="*/ 210186 w 251130"/>
                  <a:gd name="connsiteY10" fmla="*/ 272235 h 1452227"/>
                  <a:gd name="connsiteX11" fmla="*/ 206975 w 251130"/>
                  <a:gd name="connsiteY11" fmla="*/ 284913 h 1452227"/>
                  <a:gd name="connsiteX12" fmla="*/ 212189 w 251130"/>
                  <a:gd name="connsiteY12" fmla="*/ 301187 h 1452227"/>
                  <a:gd name="connsiteX13" fmla="*/ 207826 w 251130"/>
                  <a:gd name="connsiteY13" fmla="*/ 305935 h 1452227"/>
                  <a:gd name="connsiteX14" fmla="*/ 199017 w 251130"/>
                  <a:gd name="connsiteY14" fmla="*/ 309063 h 1452227"/>
                  <a:gd name="connsiteX15" fmla="*/ 188835 w 251130"/>
                  <a:gd name="connsiteY15" fmla="*/ 332966 h 1452227"/>
                  <a:gd name="connsiteX16" fmla="*/ 175553 w 251130"/>
                  <a:gd name="connsiteY16" fmla="*/ 349898 h 1452227"/>
                  <a:gd name="connsiteX17" fmla="*/ 171134 w 251130"/>
                  <a:gd name="connsiteY17" fmla="*/ 369273 h 1452227"/>
                  <a:gd name="connsiteX18" fmla="*/ 165591 w 251130"/>
                  <a:gd name="connsiteY18" fmla="*/ 380827 h 1452227"/>
                  <a:gd name="connsiteX19" fmla="*/ 167567 w 251130"/>
                  <a:gd name="connsiteY19" fmla="*/ 410547 h 1452227"/>
                  <a:gd name="connsiteX20" fmla="*/ 159992 w 251130"/>
                  <a:gd name="connsiteY20" fmla="*/ 420482 h 1452227"/>
                  <a:gd name="connsiteX21" fmla="*/ 155272 w 251130"/>
                  <a:gd name="connsiteY21" fmla="*/ 436316 h 1452227"/>
                  <a:gd name="connsiteX22" fmla="*/ 149207 w 251130"/>
                  <a:gd name="connsiteY22" fmla="*/ 447705 h 1452227"/>
                  <a:gd name="connsiteX23" fmla="*/ 149262 w 251130"/>
                  <a:gd name="connsiteY23" fmla="*/ 457063 h 1452227"/>
                  <a:gd name="connsiteX24" fmla="*/ 155766 w 251130"/>
                  <a:gd name="connsiteY24" fmla="*/ 470976 h 1452227"/>
                  <a:gd name="connsiteX25" fmla="*/ 155931 w 251130"/>
                  <a:gd name="connsiteY25" fmla="*/ 479978 h 1452227"/>
                  <a:gd name="connsiteX26" fmla="*/ 162270 w 251130"/>
                  <a:gd name="connsiteY26" fmla="*/ 500313 h 1452227"/>
                  <a:gd name="connsiteX27" fmla="*/ 163396 w 251130"/>
                  <a:gd name="connsiteY27" fmla="*/ 511510 h 1452227"/>
                  <a:gd name="connsiteX28" fmla="*/ 169378 w 251130"/>
                  <a:gd name="connsiteY28" fmla="*/ 519770 h 1452227"/>
                  <a:gd name="connsiteX29" fmla="*/ 168527 w 251130"/>
                  <a:gd name="connsiteY29" fmla="*/ 543755 h 1452227"/>
                  <a:gd name="connsiteX30" fmla="*/ 157605 w 251130"/>
                  <a:gd name="connsiteY30" fmla="*/ 564804 h 1452227"/>
                  <a:gd name="connsiteX31" fmla="*/ 149921 w 251130"/>
                  <a:gd name="connsiteY31" fmla="*/ 585661 h 1452227"/>
                  <a:gd name="connsiteX32" fmla="*/ 153159 w 251130"/>
                  <a:gd name="connsiteY32" fmla="*/ 602675 h 1452227"/>
                  <a:gd name="connsiteX33" fmla="*/ 151677 w 251130"/>
                  <a:gd name="connsiteY33" fmla="*/ 614997 h 1452227"/>
                  <a:gd name="connsiteX34" fmla="*/ 142539 w 251130"/>
                  <a:gd name="connsiteY34" fmla="*/ 626359 h 1452227"/>
                  <a:gd name="connsiteX35" fmla="*/ 135074 w 251130"/>
                  <a:gd name="connsiteY35" fmla="*/ 631902 h 1452227"/>
                  <a:gd name="connsiteX36" fmla="*/ 131589 w 251130"/>
                  <a:gd name="connsiteY36" fmla="*/ 640354 h 1452227"/>
                  <a:gd name="connsiteX37" fmla="*/ 129997 w 251130"/>
                  <a:gd name="connsiteY37" fmla="*/ 675619 h 1452227"/>
                  <a:gd name="connsiteX38" fmla="*/ 137297 w 251130"/>
                  <a:gd name="connsiteY38" fmla="*/ 709456 h 1452227"/>
                  <a:gd name="connsiteX39" fmla="*/ 134086 w 251130"/>
                  <a:gd name="connsiteY39" fmla="*/ 715109 h 1452227"/>
                  <a:gd name="connsiteX40" fmla="*/ 123521 w 251130"/>
                  <a:gd name="connsiteY40" fmla="*/ 724358 h 1452227"/>
                  <a:gd name="connsiteX41" fmla="*/ 120996 w 251130"/>
                  <a:gd name="connsiteY41" fmla="*/ 741647 h 1452227"/>
                  <a:gd name="connsiteX42" fmla="*/ 115535 w 251130"/>
                  <a:gd name="connsiteY42" fmla="*/ 750812 h 1452227"/>
                  <a:gd name="connsiteX43" fmla="*/ 115535 w 251130"/>
                  <a:gd name="connsiteY43" fmla="*/ 760253 h 1452227"/>
                  <a:gd name="connsiteX44" fmla="*/ 112406 w 251130"/>
                  <a:gd name="connsiteY44" fmla="*/ 770352 h 1452227"/>
                  <a:gd name="connsiteX45" fmla="*/ 112955 w 251130"/>
                  <a:gd name="connsiteY45" fmla="*/ 777926 h 1452227"/>
                  <a:gd name="connsiteX46" fmla="*/ 108317 w 251130"/>
                  <a:gd name="connsiteY46" fmla="*/ 791291 h 1452227"/>
                  <a:gd name="connsiteX47" fmla="*/ 109607 w 251130"/>
                  <a:gd name="connsiteY47" fmla="*/ 826555 h 1452227"/>
                  <a:gd name="connsiteX48" fmla="*/ 111775 w 251130"/>
                  <a:gd name="connsiteY48" fmla="*/ 841237 h 1452227"/>
                  <a:gd name="connsiteX49" fmla="*/ 104091 w 251130"/>
                  <a:gd name="connsiteY49" fmla="*/ 851172 h 1452227"/>
                  <a:gd name="connsiteX50" fmla="*/ 103131 w 251130"/>
                  <a:gd name="connsiteY50" fmla="*/ 873263 h 1452227"/>
                  <a:gd name="connsiteX51" fmla="*/ 104256 w 251130"/>
                  <a:gd name="connsiteY51" fmla="*/ 878176 h 1452227"/>
                  <a:gd name="connsiteX52" fmla="*/ 111117 w 251130"/>
                  <a:gd name="connsiteY52" fmla="*/ 888906 h 1452227"/>
                  <a:gd name="connsiteX53" fmla="*/ 109827 w 251130"/>
                  <a:gd name="connsiteY53" fmla="*/ 899745 h 1452227"/>
                  <a:gd name="connsiteX54" fmla="*/ 114218 w 251130"/>
                  <a:gd name="connsiteY54" fmla="*/ 907402 h 1452227"/>
                  <a:gd name="connsiteX55" fmla="*/ 112132 w 251130"/>
                  <a:gd name="connsiteY55" fmla="*/ 933171 h 1452227"/>
                  <a:gd name="connsiteX56" fmla="*/ 115343 w 251130"/>
                  <a:gd name="connsiteY56" fmla="*/ 936519 h 1452227"/>
                  <a:gd name="connsiteX57" fmla="*/ 126265 w 251130"/>
                  <a:gd name="connsiteY57" fmla="*/ 939840 h 1452227"/>
                  <a:gd name="connsiteX58" fmla="*/ 128378 w 251130"/>
                  <a:gd name="connsiteY58" fmla="*/ 943434 h 1452227"/>
                  <a:gd name="connsiteX59" fmla="*/ 124234 w 251130"/>
                  <a:gd name="connsiteY59" fmla="*/ 951119 h 1452227"/>
                  <a:gd name="connsiteX60" fmla="*/ 123576 w 251130"/>
                  <a:gd name="connsiteY60" fmla="*/ 952353 h 1452227"/>
                  <a:gd name="connsiteX61" fmla="*/ 106945 w 251130"/>
                  <a:gd name="connsiteY61" fmla="*/ 955098 h 1452227"/>
                  <a:gd name="connsiteX62" fmla="*/ 108921 w 251130"/>
                  <a:gd name="connsiteY62" fmla="*/ 958665 h 1452227"/>
                  <a:gd name="connsiteX63" fmla="*/ 118526 w 251130"/>
                  <a:gd name="connsiteY63" fmla="*/ 964566 h 1452227"/>
                  <a:gd name="connsiteX64" fmla="*/ 123054 w 251130"/>
                  <a:gd name="connsiteY64" fmla="*/ 972963 h 1452227"/>
                  <a:gd name="connsiteX65" fmla="*/ 120036 w 251130"/>
                  <a:gd name="connsiteY65" fmla="*/ 980949 h 1452227"/>
                  <a:gd name="connsiteX66" fmla="*/ 113230 w 251130"/>
                  <a:gd name="connsiteY66" fmla="*/ 990445 h 1452227"/>
                  <a:gd name="connsiteX67" fmla="*/ 115178 w 251130"/>
                  <a:gd name="connsiteY67" fmla="*/ 1002080 h 1452227"/>
                  <a:gd name="connsiteX68" fmla="*/ 110842 w 251130"/>
                  <a:gd name="connsiteY68" fmla="*/ 1012289 h 1452227"/>
                  <a:gd name="connsiteX69" fmla="*/ 114163 w 251130"/>
                  <a:gd name="connsiteY69" fmla="*/ 1031225 h 1452227"/>
                  <a:gd name="connsiteX70" fmla="*/ 108098 w 251130"/>
                  <a:gd name="connsiteY70" fmla="*/ 1041242 h 1452227"/>
                  <a:gd name="connsiteX71" fmla="*/ 107357 w 251130"/>
                  <a:gd name="connsiteY71" fmla="*/ 1055622 h 1452227"/>
                  <a:gd name="connsiteX72" fmla="*/ 95611 w 251130"/>
                  <a:gd name="connsiteY72" fmla="*/ 1069727 h 1452227"/>
                  <a:gd name="connsiteX73" fmla="*/ 91714 w 251130"/>
                  <a:gd name="connsiteY73" fmla="*/ 1085864 h 1452227"/>
                  <a:gd name="connsiteX74" fmla="*/ 94980 w 251130"/>
                  <a:gd name="connsiteY74" fmla="*/ 1095908 h 1452227"/>
                  <a:gd name="connsiteX75" fmla="*/ 95419 w 251130"/>
                  <a:gd name="connsiteY75" fmla="*/ 1103043 h 1452227"/>
                  <a:gd name="connsiteX76" fmla="*/ 89245 w 251130"/>
                  <a:gd name="connsiteY76" fmla="*/ 1112566 h 1452227"/>
                  <a:gd name="connsiteX77" fmla="*/ 87104 w 251130"/>
                  <a:gd name="connsiteY77" fmla="*/ 1125739 h 1452227"/>
                  <a:gd name="connsiteX78" fmla="*/ 72669 w 251130"/>
                  <a:gd name="connsiteY78" fmla="*/ 1139734 h 1452227"/>
                  <a:gd name="connsiteX79" fmla="*/ 62103 w 251130"/>
                  <a:gd name="connsiteY79" fmla="*/ 1146705 h 1452227"/>
                  <a:gd name="connsiteX80" fmla="*/ 60512 w 251130"/>
                  <a:gd name="connsiteY80" fmla="*/ 1158231 h 1452227"/>
                  <a:gd name="connsiteX81" fmla="*/ 61884 w 251130"/>
                  <a:gd name="connsiteY81" fmla="*/ 1169894 h 1452227"/>
                  <a:gd name="connsiteX82" fmla="*/ 60484 w 251130"/>
                  <a:gd name="connsiteY82" fmla="*/ 1181557 h 1452227"/>
                  <a:gd name="connsiteX83" fmla="*/ 61280 w 251130"/>
                  <a:gd name="connsiteY83" fmla="*/ 1195170 h 1452227"/>
                  <a:gd name="connsiteX84" fmla="*/ 72806 w 251130"/>
                  <a:gd name="connsiteY84" fmla="*/ 1213089 h 1452227"/>
                  <a:gd name="connsiteX85" fmla="*/ 83975 w 251130"/>
                  <a:gd name="connsiteY85" fmla="*/ 1209686 h 1452227"/>
                  <a:gd name="connsiteX86" fmla="*/ 95200 w 251130"/>
                  <a:gd name="connsiteY86" fmla="*/ 1211608 h 1452227"/>
                  <a:gd name="connsiteX87" fmla="*/ 97258 w 251130"/>
                  <a:gd name="connsiteY87" fmla="*/ 1222914 h 1452227"/>
                  <a:gd name="connsiteX88" fmla="*/ 95172 w 251130"/>
                  <a:gd name="connsiteY88" fmla="*/ 1230900 h 1452227"/>
                  <a:gd name="connsiteX89" fmla="*/ 96215 w 251130"/>
                  <a:gd name="connsiteY89" fmla="*/ 1239709 h 1452227"/>
                  <a:gd name="connsiteX90" fmla="*/ 93800 w 251130"/>
                  <a:gd name="connsiteY90" fmla="*/ 1252114 h 1452227"/>
                  <a:gd name="connsiteX91" fmla="*/ 103872 w 251130"/>
                  <a:gd name="connsiteY91" fmla="*/ 1264600 h 1452227"/>
                  <a:gd name="connsiteX92" fmla="*/ 107769 w 251130"/>
                  <a:gd name="connsiteY92" fmla="*/ 1272860 h 1452227"/>
                  <a:gd name="connsiteX93" fmla="*/ 163588 w 251130"/>
                  <a:gd name="connsiteY93" fmla="*/ 1274479 h 1452227"/>
                  <a:gd name="connsiteX94" fmla="*/ 192951 w 251130"/>
                  <a:gd name="connsiteY94" fmla="*/ 1283096 h 1452227"/>
                  <a:gd name="connsiteX95" fmla="*/ 207277 w 251130"/>
                  <a:gd name="connsiteY95" fmla="*/ 1288887 h 1452227"/>
                  <a:gd name="connsiteX96" fmla="*/ 210268 w 251130"/>
                  <a:gd name="connsiteY96" fmla="*/ 1292646 h 1452227"/>
                  <a:gd name="connsiteX97" fmla="*/ 185871 w 251130"/>
                  <a:gd name="connsiteY97" fmla="*/ 1284578 h 1452227"/>
                  <a:gd name="connsiteX98" fmla="*/ 180657 w 251130"/>
                  <a:gd name="connsiteY98" fmla="*/ 1287762 h 1452227"/>
                  <a:gd name="connsiteX99" fmla="*/ 173083 w 251130"/>
                  <a:gd name="connsiteY99" fmla="*/ 1297861 h 1452227"/>
                  <a:gd name="connsiteX100" fmla="*/ 143691 w 251130"/>
                  <a:gd name="connsiteY100" fmla="*/ 1309277 h 1452227"/>
                  <a:gd name="connsiteX101" fmla="*/ 138752 w 251130"/>
                  <a:gd name="connsiteY101" fmla="*/ 1321544 h 1452227"/>
                  <a:gd name="connsiteX102" fmla="*/ 135404 w 251130"/>
                  <a:gd name="connsiteY102" fmla="*/ 1354942 h 1452227"/>
                  <a:gd name="connsiteX103" fmla="*/ 130656 w 251130"/>
                  <a:gd name="connsiteY103" fmla="*/ 1362270 h 1452227"/>
                  <a:gd name="connsiteX104" fmla="*/ 122697 w 251130"/>
                  <a:gd name="connsiteY104" fmla="*/ 1364026 h 1452227"/>
                  <a:gd name="connsiteX105" fmla="*/ 101237 w 251130"/>
                  <a:gd name="connsiteY105" fmla="*/ 1354558 h 1452227"/>
                  <a:gd name="connsiteX106" fmla="*/ 98905 w 251130"/>
                  <a:gd name="connsiteY106" fmla="*/ 1356561 h 1452227"/>
                  <a:gd name="connsiteX107" fmla="*/ 102801 w 251130"/>
                  <a:gd name="connsiteY107" fmla="*/ 1363971 h 1452227"/>
                  <a:gd name="connsiteX108" fmla="*/ 131836 w 251130"/>
                  <a:gd name="connsiteY108" fmla="*/ 1376650 h 1452227"/>
                  <a:gd name="connsiteX109" fmla="*/ 134278 w 251130"/>
                  <a:gd name="connsiteY109" fmla="*/ 1382083 h 1452227"/>
                  <a:gd name="connsiteX110" fmla="*/ 135212 w 251130"/>
                  <a:gd name="connsiteY110" fmla="*/ 1391414 h 1452227"/>
                  <a:gd name="connsiteX111" fmla="*/ 146820 w 251130"/>
                  <a:gd name="connsiteY111" fmla="*/ 1391167 h 1452227"/>
                  <a:gd name="connsiteX112" fmla="*/ 146820 w 251130"/>
                  <a:gd name="connsiteY112" fmla="*/ 1387599 h 1452227"/>
                  <a:gd name="connsiteX113" fmla="*/ 139849 w 251130"/>
                  <a:gd name="connsiteY113" fmla="*/ 1381452 h 1452227"/>
                  <a:gd name="connsiteX114" fmla="*/ 138779 w 251130"/>
                  <a:gd name="connsiteY114" fmla="*/ 1369377 h 1452227"/>
                  <a:gd name="connsiteX115" fmla="*/ 148713 w 251130"/>
                  <a:gd name="connsiteY115" fmla="*/ 1353872 h 1452227"/>
                  <a:gd name="connsiteX116" fmla="*/ 154915 w 251130"/>
                  <a:gd name="connsiteY116" fmla="*/ 1376952 h 1452227"/>
                  <a:gd name="connsiteX117" fmla="*/ 155574 w 251130"/>
                  <a:gd name="connsiteY117" fmla="*/ 1387078 h 1452227"/>
                  <a:gd name="connsiteX118" fmla="*/ 162572 w 251130"/>
                  <a:gd name="connsiteY118" fmla="*/ 1386584 h 1452227"/>
                  <a:gd name="connsiteX119" fmla="*/ 168527 w 251130"/>
                  <a:gd name="connsiteY119" fmla="*/ 1391085 h 1452227"/>
                  <a:gd name="connsiteX120" fmla="*/ 173769 w 251130"/>
                  <a:gd name="connsiteY120" fmla="*/ 1389740 h 1452227"/>
                  <a:gd name="connsiteX121" fmla="*/ 186585 w 251130"/>
                  <a:gd name="connsiteY121" fmla="*/ 1393115 h 1452227"/>
                  <a:gd name="connsiteX122" fmla="*/ 185405 w 251130"/>
                  <a:gd name="connsiteY122" fmla="*/ 1388917 h 1452227"/>
                  <a:gd name="connsiteX123" fmla="*/ 165948 w 251130"/>
                  <a:gd name="connsiteY123" fmla="*/ 1376677 h 1452227"/>
                  <a:gd name="connsiteX124" fmla="*/ 161200 w 251130"/>
                  <a:gd name="connsiteY124" fmla="*/ 1366139 h 1452227"/>
                  <a:gd name="connsiteX125" fmla="*/ 163505 w 251130"/>
                  <a:gd name="connsiteY125" fmla="*/ 1358318 h 1452227"/>
                  <a:gd name="connsiteX126" fmla="*/ 179010 w 251130"/>
                  <a:gd name="connsiteY126" fmla="*/ 1349042 h 1452227"/>
                  <a:gd name="connsiteX127" fmla="*/ 180986 w 251130"/>
                  <a:gd name="connsiteY127" fmla="*/ 1342730 h 1452227"/>
                  <a:gd name="connsiteX128" fmla="*/ 177309 w 251130"/>
                  <a:gd name="connsiteY128" fmla="*/ 1340727 h 1452227"/>
                  <a:gd name="connsiteX129" fmla="*/ 156315 w 251130"/>
                  <a:gd name="connsiteY129" fmla="*/ 1342373 h 1452227"/>
                  <a:gd name="connsiteX130" fmla="*/ 152391 w 251130"/>
                  <a:gd name="connsiteY130" fmla="*/ 1338175 h 1452227"/>
                  <a:gd name="connsiteX131" fmla="*/ 152199 w 251130"/>
                  <a:gd name="connsiteY131" fmla="*/ 1328048 h 1452227"/>
                  <a:gd name="connsiteX132" fmla="*/ 158758 w 251130"/>
                  <a:gd name="connsiteY132" fmla="*/ 1319513 h 1452227"/>
                  <a:gd name="connsiteX133" fmla="*/ 159197 w 251130"/>
                  <a:gd name="connsiteY133" fmla="*/ 1311856 h 1452227"/>
                  <a:gd name="connsiteX134" fmla="*/ 169021 w 251130"/>
                  <a:gd name="connsiteY134" fmla="*/ 1310759 h 1452227"/>
                  <a:gd name="connsiteX135" fmla="*/ 179312 w 251130"/>
                  <a:gd name="connsiteY135" fmla="*/ 1299123 h 1452227"/>
                  <a:gd name="connsiteX136" fmla="*/ 189000 w 251130"/>
                  <a:gd name="connsiteY136" fmla="*/ 1304612 h 1452227"/>
                  <a:gd name="connsiteX137" fmla="*/ 199401 w 251130"/>
                  <a:gd name="connsiteY137" fmla="*/ 1302389 h 1452227"/>
                  <a:gd name="connsiteX138" fmla="*/ 205081 w 251130"/>
                  <a:gd name="connsiteY138" fmla="*/ 1304859 h 1452227"/>
                  <a:gd name="connsiteX139" fmla="*/ 205081 w 251130"/>
                  <a:gd name="connsiteY139" fmla="*/ 1364986 h 1452227"/>
                  <a:gd name="connsiteX140" fmla="*/ 205081 w 251130"/>
                  <a:gd name="connsiteY140" fmla="*/ 1388148 h 1452227"/>
                  <a:gd name="connsiteX141" fmla="*/ 205081 w 251130"/>
                  <a:gd name="connsiteY141" fmla="*/ 1416579 h 1452227"/>
                  <a:gd name="connsiteX142" fmla="*/ 240263 w 251130"/>
                  <a:gd name="connsiteY142" fmla="*/ 1419488 h 1452227"/>
                  <a:gd name="connsiteX143" fmla="*/ 245807 w 251130"/>
                  <a:gd name="connsiteY143" fmla="*/ 1422974 h 1452227"/>
                  <a:gd name="connsiteX144" fmla="*/ 247426 w 251130"/>
                  <a:gd name="connsiteY144" fmla="*/ 1427364 h 1452227"/>
                  <a:gd name="connsiteX145" fmla="*/ 239138 w 251130"/>
                  <a:gd name="connsiteY145" fmla="*/ 1435460 h 1452227"/>
                  <a:gd name="connsiteX146" fmla="*/ 225828 w 251130"/>
                  <a:gd name="connsiteY146" fmla="*/ 1433429 h 1452227"/>
                  <a:gd name="connsiteX147" fmla="*/ 218034 w 251130"/>
                  <a:gd name="connsiteY147" fmla="*/ 1426678 h 1452227"/>
                  <a:gd name="connsiteX148" fmla="*/ 214412 w 251130"/>
                  <a:gd name="connsiteY148" fmla="*/ 1426953 h 1452227"/>
                  <a:gd name="connsiteX149" fmla="*/ 213671 w 251130"/>
                  <a:gd name="connsiteY149" fmla="*/ 1437216 h 1452227"/>
                  <a:gd name="connsiteX150" fmla="*/ 219050 w 251130"/>
                  <a:gd name="connsiteY150" fmla="*/ 1447782 h 1452227"/>
                  <a:gd name="connsiteX151" fmla="*/ 217897 w 251130"/>
                  <a:gd name="connsiteY151" fmla="*/ 1452228 h 1452227"/>
                  <a:gd name="connsiteX152" fmla="*/ 200251 w 251130"/>
                  <a:gd name="connsiteY152" fmla="*/ 1449538 h 1452227"/>
                  <a:gd name="connsiteX153" fmla="*/ 193116 w 251130"/>
                  <a:gd name="connsiteY153" fmla="*/ 1442595 h 1452227"/>
                  <a:gd name="connsiteX154" fmla="*/ 188341 w 251130"/>
                  <a:gd name="connsiteY154" fmla="*/ 1447672 h 1452227"/>
                  <a:gd name="connsiteX155" fmla="*/ 177913 w 251130"/>
                  <a:gd name="connsiteY155" fmla="*/ 1445778 h 1452227"/>
                  <a:gd name="connsiteX156" fmla="*/ 170037 w 251130"/>
                  <a:gd name="connsiteY156" fmla="*/ 1437820 h 1452227"/>
                  <a:gd name="connsiteX157" fmla="*/ 161228 w 251130"/>
                  <a:gd name="connsiteY157" fmla="*/ 1418637 h 1452227"/>
                  <a:gd name="connsiteX158" fmla="*/ 145365 w 251130"/>
                  <a:gd name="connsiteY158" fmla="*/ 1425745 h 1452227"/>
                  <a:gd name="connsiteX159" fmla="*/ 128982 w 251130"/>
                  <a:gd name="connsiteY159" fmla="*/ 1419845 h 1452227"/>
                  <a:gd name="connsiteX160" fmla="*/ 128653 w 251130"/>
                  <a:gd name="connsiteY160" fmla="*/ 1416497 h 1452227"/>
                  <a:gd name="connsiteX161" fmla="*/ 134772 w 251130"/>
                  <a:gd name="connsiteY161" fmla="*/ 1413560 h 1452227"/>
                  <a:gd name="connsiteX162" fmla="*/ 128076 w 251130"/>
                  <a:gd name="connsiteY162" fmla="*/ 1405327 h 1452227"/>
                  <a:gd name="connsiteX163" fmla="*/ 116578 w 251130"/>
                  <a:gd name="connsiteY163" fmla="*/ 1406480 h 1452227"/>
                  <a:gd name="connsiteX164" fmla="*/ 107796 w 251130"/>
                  <a:gd name="connsiteY164" fmla="*/ 1403489 h 1452227"/>
                  <a:gd name="connsiteX165" fmla="*/ 108427 w 251130"/>
                  <a:gd name="connsiteY165" fmla="*/ 1396848 h 1452227"/>
                  <a:gd name="connsiteX166" fmla="*/ 114876 w 251130"/>
                  <a:gd name="connsiteY166" fmla="*/ 1388395 h 1452227"/>
                  <a:gd name="connsiteX167" fmla="*/ 103186 w 251130"/>
                  <a:gd name="connsiteY167" fmla="*/ 1383922 h 1452227"/>
                  <a:gd name="connsiteX168" fmla="*/ 94870 w 251130"/>
                  <a:gd name="connsiteY168" fmla="*/ 1387325 h 1452227"/>
                  <a:gd name="connsiteX169" fmla="*/ 89574 w 251130"/>
                  <a:gd name="connsiteY169" fmla="*/ 1376869 h 1452227"/>
                  <a:gd name="connsiteX170" fmla="*/ 76785 w 251130"/>
                  <a:gd name="connsiteY170" fmla="*/ 1374399 h 1452227"/>
                  <a:gd name="connsiteX171" fmla="*/ 71900 w 251130"/>
                  <a:gd name="connsiteY171" fmla="*/ 1366907 h 1452227"/>
                  <a:gd name="connsiteX172" fmla="*/ 69485 w 251130"/>
                  <a:gd name="connsiteY172" fmla="*/ 1358263 h 1452227"/>
                  <a:gd name="connsiteX173" fmla="*/ 60814 w 251130"/>
                  <a:gd name="connsiteY173" fmla="*/ 1359470 h 1452227"/>
                  <a:gd name="connsiteX174" fmla="*/ 57109 w 251130"/>
                  <a:gd name="connsiteY174" fmla="*/ 1355629 h 1452227"/>
                  <a:gd name="connsiteX175" fmla="*/ 55791 w 251130"/>
                  <a:gd name="connsiteY175" fmla="*/ 1336446 h 1452227"/>
                  <a:gd name="connsiteX176" fmla="*/ 39079 w 251130"/>
                  <a:gd name="connsiteY176" fmla="*/ 1328487 h 1452227"/>
                  <a:gd name="connsiteX177" fmla="*/ 32355 w 251130"/>
                  <a:gd name="connsiteY177" fmla="*/ 1318772 h 1452227"/>
                  <a:gd name="connsiteX178" fmla="*/ 34852 w 251130"/>
                  <a:gd name="connsiteY178" fmla="*/ 1316357 h 1452227"/>
                  <a:gd name="connsiteX179" fmla="*/ 55737 w 251130"/>
                  <a:gd name="connsiteY179" fmla="*/ 1326786 h 1452227"/>
                  <a:gd name="connsiteX180" fmla="*/ 74315 w 251130"/>
                  <a:gd name="connsiteY180" fmla="*/ 1342099 h 1452227"/>
                  <a:gd name="connsiteX181" fmla="*/ 76621 w 251130"/>
                  <a:gd name="connsiteY181" fmla="*/ 1341440 h 1452227"/>
                  <a:gd name="connsiteX182" fmla="*/ 64189 w 251130"/>
                  <a:gd name="connsiteY182" fmla="*/ 1321736 h 1452227"/>
                  <a:gd name="connsiteX183" fmla="*/ 63421 w 251130"/>
                  <a:gd name="connsiteY183" fmla="*/ 1310594 h 1452227"/>
                  <a:gd name="connsiteX184" fmla="*/ 55407 w 251130"/>
                  <a:gd name="connsiteY184" fmla="*/ 1309689 h 1452227"/>
                  <a:gd name="connsiteX185" fmla="*/ 46488 w 251130"/>
                  <a:gd name="connsiteY185" fmla="*/ 1304914 h 1452227"/>
                  <a:gd name="connsiteX186" fmla="*/ 45116 w 251130"/>
                  <a:gd name="connsiteY186" fmla="*/ 1293442 h 1452227"/>
                  <a:gd name="connsiteX187" fmla="*/ 38612 w 251130"/>
                  <a:gd name="connsiteY187" fmla="*/ 1284222 h 1452227"/>
                  <a:gd name="connsiteX188" fmla="*/ 37377 w 251130"/>
                  <a:gd name="connsiteY188" fmla="*/ 1265917 h 1452227"/>
                  <a:gd name="connsiteX189" fmla="*/ 46955 w 251130"/>
                  <a:gd name="connsiteY189" fmla="*/ 1252882 h 1452227"/>
                  <a:gd name="connsiteX190" fmla="*/ 47915 w 251130"/>
                  <a:gd name="connsiteY190" fmla="*/ 1248519 h 1452227"/>
                  <a:gd name="connsiteX191" fmla="*/ 37954 w 251130"/>
                  <a:gd name="connsiteY191" fmla="*/ 1225768 h 1452227"/>
                  <a:gd name="connsiteX192" fmla="*/ 26016 w 251130"/>
                  <a:gd name="connsiteY192" fmla="*/ 1245719 h 1452227"/>
                  <a:gd name="connsiteX193" fmla="*/ 19484 w 251130"/>
                  <a:gd name="connsiteY193" fmla="*/ 1249561 h 1452227"/>
                  <a:gd name="connsiteX194" fmla="*/ 11910 w 251130"/>
                  <a:gd name="connsiteY194" fmla="*/ 1248161 h 1452227"/>
                  <a:gd name="connsiteX195" fmla="*/ 17124 w 251130"/>
                  <a:gd name="connsiteY195" fmla="*/ 1231064 h 1452227"/>
                  <a:gd name="connsiteX196" fmla="*/ 18414 w 251130"/>
                  <a:gd name="connsiteY196" fmla="*/ 1214325 h 1452227"/>
                  <a:gd name="connsiteX197" fmla="*/ 25247 w 251130"/>
                  <a:gd name="connsiteY197" fmla="*/ 1211004 h 1452227"/>
                  <a:gd name="connsiteX198" fmla="*/ 27717 w 251130"/>
                  <a:gd name="connsiteY198" fmla="*/ 1200740 h 1452227"/>
                  <a:gd name="connsiteX199" fmla="*/ 35731 w 251130"/>
                  <a:gd name="connsiteY199" fmla="*/ 1199642 h 1452227"/>
                  <a:gd name="connsiteX200" fmla="*/ 30928 w 251130"/>
                  <a:gd name="connsiteY200" fmla="*/ 1188336 h 1452227"/>
                  <a:gd name="connsiteX201" fmla="*/ 36142 w 251130"/>
                  <a:gd name="connsiteY201" fmla="*/ 1180322 h 1452227"/>
                  <a:gd name="connsiteX202" fmla="*/ 37185 w 251130"/>
                  <a:gd name="connsiteY202" fmla="*/ 1173160 h 1452227"/>
                  <a:gd name="connsiteX203" fmla="*/ 35264 w 251130"/>
                  <a:gd name="connsiteY203" fmla="*/ 1170662 h 1452227"/>
                  <a:gd name="connsiteX204" fmla="*/ 30818 w 251130"/>
                  <a:gd name="connsiteY204" fmla="*/ 1177112 h 1452227"/>
                  <a:gd name="connsiteX205" fmla="*/ 25742 w 251130"/>
                  <a:gd name="connsiteY205" fmla="*/ 1180076 h 1452227"/>
                  <a:gd name="connsiteX206" fmla="*/ 18661 w 251130"/>
                  <a:gd name="connsiteY206" fmla="*/ 1173709 h 1452227"/>
                  <a:gd name="connsiteX207" fmla="*/ 11773 w 251130"/>
                  <a:gd name="connsiteY207" fmla="*/ 1173462 h 1452227"/>
                  <a:gd name="connsiteX208" fmla="*/ 3320 w 251130"/>
                  <a:gd name="connsiteY208" fmla="*/ 1169318 h 1452227"/>
                  <a:gd name="connsiteX209" fmla="*/ 6806 w 251130"/>
                  <a:gd name="connsiteY209" fmla="*/ 1146567 h 1452227"/>
                  <a:gd name="connsiteX210" fmla="*/ 0 w 251130"/>
                  <a:gd name="connsiteY210" fmla="*/ 1135590 h 1452227"/>
                  <a:gd name="connsiteX211" fmla="*/ 796 w 251130"/>
                  <a:gd name="connsiteY211" fmla="*/ 1112868 h 1452227"/>
                  <a:gd name="connsiteX212" fmla="*/ 4363 w 251130"/>
                  <a:gd name="connsiteY212" fmla="*/ 1098076 h 1452227"/>
                  <a:gd name="connsiteX213" fmla="*/ 11800 w 251130"/>
                  <a:gd name="connsiteY213" fmla="*/ 1096292 h 1452227"/>
                  <a:gd name="connsiteX214" fmla="*/ 11910 w 251130"/>
                  <a:gd name="connsiteY214" fmla="*/ 1082955 h 1452227"/>
                  <a:gd name="connsiteX215" fmla="*/ 16438 w 251130"/>
                  <a:gd name="connsiteY215" fmla="*/ 1079689 h 1452227"/>
                  <a:gd name="connsiteX216" fmla="*/ 23080 w 251130"/>
                  <a:gd name="connsiteY216" fmla="*/ 1085782 h 1452227"/>
                  <a:gd name="connsiteX217" fmla="*/ 26620 w 251130"/>
                  <a:gd name="connsiteY217" fmla="*/ 1099942 h 1452227"/>
                  <a:gd name="connsiteX218" fmla="*/ 34688 w 251130"/>
                  <a:gd name="connsiteY218" fmla="*/ 1115228 h 1452227"/>
                  <a:gd name="connsiteX219" fmla="*/ 29364 w 251130"/>
                  <a:gd name="connsiteY219" fmla="*/ 1087593 h 1452227"/>
                  <a:gd name="connsiteX220" fmla="*/ 31340 w 251130"/>
                  <a:gd name="connsiteY220" fmla="*/ 1082872 h 1452227"/>
                  <a:gd name="connsiteX221" fmla="*/ 30928 w 251130"/>
                  <a:gd name="connsiteY221" fmla="*/ 1072856 h 1452227"/>
                  <a:gd name="connsiteX222" fmla="*/ 38777 w 251130"/>
                  <a:gd name="connsiteY222" fmla="*/ 1056335 h 1452227"/>
                  <a:gd name="connsiteX223" fmla="*/ 40478 w 251130"/>
                  <a:gd name="connsiteY223" fmla="*/ 1048130 h 1452227"/>
                  <a:gd name="connsiteX224" fmla="*/ 35786 w 251130"/>
                  <a:gd name="connsiteY224" fmla="*/ 1040089 h 1452227"/>
                  <a:gd name="connsiteX225" fmla="*/ 29227 w 251130"/>
                  <a:gd name="connsiteY225" fmla="*/ 1039815 h 1452227"/>
                  <a:gd name="connsiteX226" fmla="*/ 15094 w 251130"/>
                  <a:gd name="connsiteY226" fmla="*/ 1034051 h 1452227"/>
                  <a:gd name="connsiteX227" fmla="*/ 5296 w 251130"/>
                  <a:gd name="connsiteY227" fmla="*/ 1039567 h 1452227"/>
                  <a:gd name="connsiteX228" fmla="*/ 1948 w 251130"/>
                  <a:gd name="connsiteY228" fmla="*/ 1032954 h 1452227"/>
                  <a:gd name="connsiteX229" fmla="*/ 5379 w 251130"/>
                  <a:gd name="connsiteY229" fmla="*/ 1025654 h 1452227"/>
                  <a:gd name="connsiteX230" fmla="*/ 18798 w 251130"/>
                  <a:gd name="connsiteY230" fmla="*/ 1012755 h 1452227"/>
                  <a:gd name="connsiteX231" fmla="*/ 18798 w 251130"/>
                  <a:gd name="connsiteY231" fmla="*/ 1002410 h 1452227"/>
                  <a:gd name="connsiteX232" fmla="*/ 26702 w 251130"/>
                  <a:gd name="connsiteY232" fmla="*/ 995302 h 1452227"/>
                  <a:gd name="connsiteX233" fmla="*/ 31340 w 251130"/>
                  <a:gd name="connsiteY233" fmla="*/ 985450 h 1452227"/>
                  <a:gd name="connsiteX234" fmla="*/ 36609 w 251130"/>
                  <a:gd name="connsiteY234" fmla="*/ 984270 h 1452227"/>
                  <a:gd name="connsiteX235" fmla="*/ 41933 w 251130"/>
                  <a:gd name="connsiteY235" fmla="*/ 986301 h 1452227"/>
                  <a:gd name="connsiteX236" fmla="*/ 40588 w 251130"/>
                  <a:gd name="connsiteY236" fmla="*/ 979824 h 1452227"/>
                  <a:gd name="connsiteX237" fmla="*/ 32877 w 251130"/>
                  <a:gd name="connsiteY237" fmla="*/ 972936 h 1452227"/>
                  <a:gd name="connsiteX238" fmla="*/ 34660 w 251130"/>
                  <a:gd name="connsiteY238" fmla="*/ 961822 h 1452227"/>
                  <a:gd name="connsiteX239" fmla="*/ 31422 w 251130"/>
                  <a:gd name="connsiteY239" fmla="*/ 951256 h 1452227"/>
                  <a:gd name="connsiteX240" fmla="*/ 30956 w 251130"/>
                  <a:gd name="connsiteY240" fmla="*/ 949884 h 1452227"/>
                  <a:gd name="connsiteX241" fmla="*/ 33865 w 251130"/>
                  <a:gd name="connsiteY241" fmla="*/ 947716 h 1452227"/>
                  <a:gd name="connsiteX242" fmla="*/ 32630 w 251130"/>
                  <a:gd name="connsiteY242" fmla="*/ 938714 h 1452227"/>
                  <a:gd name="connsiteX243" fmla="*/ 37679 w 251130"/>
                  <a:gd name="connsiteY243" fmla="*/ 926640 h 1452227"/>
                  <a:gd name="connsiteX244" fmla="*/ 53404 w 251130"/>
                  <a:gd name="connsiteY244" fmla="*/ 927298 h 1452227"/>
                  <a:gd name="connsiteX245" fmla="*/ 52938 w 251130"/>
                  <a:gd name="connsiteY245" fmla="*/ 921810 h 1452227"/>
                  <a:gd name="connsiteX246" fmla="*/ 47696 w 251130"/>
                  <a:gd name="connsiteY246" fmla="*/ 916349 h 1452227"/>
                  <a:gd name="connsiteX247" fmla="*/ 49754 w 251130"/>
                  <a:gd name="connsiteY247" fmla="*/ 914593 h 1452227"/>
                  <a:gd name="connsiteX248" fmla="*/ 57630 w 251130"/>
                  <a:gd name="connsiteY248" fmla="*/ 924664 h 1452227"/>
                  <a:gd name="connsiteX249" fmla="*/ 53706 w 251130"/>
                  <a:gd name="connsiteY249" fmla="*/ 936876 h 1452227"/>
                  <a:gd name="connsiteX250" fmla="*/ 57713 w 251130"/>
                  <a:gd name="connsiteY250" fmla="*/ 949609 h 1452227"/>
                  <a:gd name="connsiteX251" fmla="*/ 57493 w 251130"/>
                  <a:gd name="connsiteY251" fmla="*/ 951228 h 1452227"/>
                  <a:gd name="connsiteX252" fmla="*/ 53596 w 251130"/>
                  <a:gd name="connsiteY252" fmla="*/ 980785 h 1452227"/>
                  <a:gd name="connsiteX253" fmla="*/ 57493 w 251130"/>
                  <a:gd name="connsiteY253" fmla="*/ 982651 h 1452227"/>
                  <a:gd name="connsiteX254" fmla="*/ 58399 w 251130"/>
                  <a:gd name="connsiteY254" fmla="*/ 987453 h 1452227"/>
                  <a:gd name="connsiteX255" fmla="*/ 56532 w 251130"/>
                  <a:gd name="connsiteY255" fmla="*/ 991872 h 1452227"/>
                  <a:gd name="connsiteX256" fmla="*/ 53020 w 251130"/>
                  <a:gd name="connsiteY256" fmla="*/ 994012 h 1452227"/>
                  <a:gd name="connsiteX257" fmla="*/ 55737 w 251130"/>
                  <a:gd name="connsiteY257" fmla="*/ 1003425 h 1452227"/>
                  <a:gd name="connsiteX258" fmla="*/ 54968 w 251130"/>
                  <a:gd name="connsiteY258" fmla="*/ 1015198 h 1452227"/>
                  <a:gd name="connsiteX259" fmla="*/ 56231 w 251130"/>
                  <a:gd name="connsiteY259" fmla="*/ 1015500 h 1452227"/>
                  <a:gd name="connsiteX260" fmla="*/ 61609 w 251130"/>
                  <a:gd name="connsiteY260" fmla="*/ 986904 h 1452227"/>
                  <a:gd name="connsiteX261" fmla="*/ 64985 w 251130"/>
                  <a:gd name="connsiteY261" fmla="*/ 977821 h 1452227"/>
                  <a:gd name="connsiteX262" fmla="*/ 60814 w 251130"/>
                  <a:gd name="connsiteY262" fmla="*/ 971125 h 1452227"/>
                  <a:gd name="connsiteX263" fmla="*/ 65424 w 251130"/>
                  <a:gd name="connsiteY263" fmla="*/ 965087 h 1452227"/>
                  <a:gd name="connsiteX264" fmla="*/ 65150 w 251130"/>
                  <a:gd name="connsiteY264" fmla="*/ 951146 h 1452227"/>
                  <a:gd name="connsiteX265" fmla="*/ 65095 w 251130"/>
                  <a:gd name="connsiteY265" fmla="*/ 947030 h 1452227"/>
                  <a:gd name="connsiteX266" fmla="*/ 68278 w 251130"/>
                  <a:gd name="connsiteY266" fmla="*/ 937837 h 1452227"/>
                  <a:gd name="connsiteX267" fmla="*/ 72806 w 251130"/>
                  <a:gd name="connsiteY267" fmla="*/ 933693 h 1452227"/>
                  <a:gd name="connsiteX268" fmla="*/ 69239 w 251130"/>
                  <a:gd name="connsiteY268" fmla="*/ 922413 h 1452227"/>
                  <a:gd name="connsiteX269" fmla="*/ 75276 w 251130"/>
                  <a:gd name="connsiteY269" fmla="*/ 911957 h 1452227"/>
                  <a:gd name="connsiteX270" fmla="*/ 75523 w 251130"/>
                  <a:gd name="connsiteY270" fmla="*/ 907430 h 1452227"/>
                  <a:gd name="connsiteX271" fmla="*/ 74700 w 251130"/>
                  <a:gd name="connsiteY271" fmla="*/ 896233 h 1452227"/>
                  <a:gd name="connsiteX272" fmla="*/ 82493 w 251130"/>
                  <a:gd name="connsiteY272" fmla="*/ 879328 h 1452227"/>
                  <a:gd name="connsiteX273" fmla="*/ 81368 w 251130"/>
                  <a:gd name="connsiteY273" fmla="*/ 868159 h 1452227"/>
                  <a:gd name="connsiteX274" fmla="*/ 84332 w 251130"/>
                  <a:gd name="connsiteY274" fmla="*/ 859871 h 1452227"/>
                  <a:gd name="connsiteX275" fmla="*/ 83619 w 251130"/>
                  <a:gd name="connsiteY275" fmla="*/ 853312 h 1452227"/>
                  <a:gd name="connsiteX276" fmla="*/ 90233 w 251130"/>
                  <a:gd name="connsiteY276" fmla="*/ 848455 h 1452227"/>
                  <a:gd name="connsiteX277" fmla="*/ 89546 w 251130"/>
                  <a:gd name="connsiteY277" fmla="*/ 842527 h 1452227"/>
                  <a:gd name="connsiteX278" fmla="*/ 82878 w 251130"/>
                  <a:gd name="connsiteY278" fmla="*/ 837779 h 1452227"/>
                  <a:gd name="connsiteX279" fmla="*/ 84991 w 251130"/>
                  <a:gd name="connsiteY279" fmla="*/ 829546 h 1452227"/>
                  <a:gd name="connsiteX280" fmla="*/ 83179 w 251130"/>
                  <a:gd name="connsiteY280" fmla="*/ 823893 h 1452227"/>
                  <a:gd name="connsiteX281" fmla="*/ 77417 w 251130"/>
                  <a:gd name="connsiteY281" fmla="*/ 822054 h 1452227"/>
                  <a:gd name="connsiteX282" fmla="*/ 73465 w 251130"/>
                  <a:gd name="connsiteY282" fmla="*/ 832236 h 1452227"/>
                  <a:gd name="connsiteX283" fmla="*/ 62049 w 251130"/>
                  <a:gd name="connsiteY283" fmla="*/ 835282 h 1452227"/>
                  <a:gd name="connsiteX284" fmla="*/ 64326 w 251130"/>
                  <a:gd name="connsiteY284" fmla="*/ 850293 h 1452227"/>
                  <a:gd name="connsiteX285" fmla="*/ 60896 w 251130"/>
                  <a:gd name="connsiteY285" fmla="*/ 856468 h 1452227"/>
                  <a:gd name="connsiteX286" fmla="*/ 61362 w 251130"/>
                  <a:gd name="connsiteY286" fmla="*/ 859542 h 1452227"/>
                  <a:gd name="connsiteX287" fmla="*/ 56889 w 251130"/>
                  <a:gd name="connsiteY287" fmla="*/ 863246 h 1452227"/>
                  <a:gd name="connsiteX288" fmla="*/ 61554 w 251130"/>
                  <a:gd name="connsiteY288" fmla="*/ 880783 h 1452227"/>
                  <a:gd name="connsiteX289" fmla="*/ 54666 w 251130"/>
                  <a:gd name="connsiteY289" fmla="*/ 894586 h 1452227"/>
                  <a:gd name="connsiteX290" fmla="*/ 51016 w 251130"/>
                  <a:gd name="connsiteY290" fmla="*/ 896891 h 1452227"/>
                  <a:gd name="connsiteX291" fmla="*/ 44430 w 251130"/>
                  <a:gd name="connsiteY291" fmla="*/ 895986 h 1452227"/>
                  <a:gd name="connsiteX292" fmla="*/ 36801 w 251130"/>
                  <a:gd name="connsiteY292" fmla="*/ 888082 h 1452227"/>
                  <a:gd name="connsiteX293" fmla="*/ 41521 w 251130"/>
                  <a:gd name="connsiteY293" fmla="*/ 871205 h 1452227"/>
                  <a:gd name="connsiteX294" fmla="*/ 41905 w 251130"/>
                  <a:gd name="connsiteY294" fmla="*/ 855508 h 1452227"/>
                  <a:gd name="connsiteX295" fmla="*/ 46104 w 251130"/>
                  <a:gd name="connsiteY295" fmla="*/ 836489 h 1452227"/>
                  <a:gd name="connsiteX296" fmla="*/ 52938 w 251130"/>
                  <a:gd name="connsiteY296" fmla="*/ 833992 h 1452227"/>
                  <a:gd name="connsiteX297" fmla="*/ 56176 w 251130"/>
                  <a:gd name="connsiteY297" fmla="*/ 830507 h 1452227"/>
                  <a:gd name="connsiteX298" fmla="*/ 51209 w 251130"/>
                  <a:gd name="connsiteY298" fmla="*/ 816730 h 1452227"/>
                  <a:gd name="connsiteX299" fmla="*/ 49891 w 251130"/>
                  <a:gd name="connsiteY299" fmla="*/ 800100 h 1452227"/>
                  <a:gd name="connsiteX300" fmla="*/ 56341 w 251130"/>
                  <a:gd name="connsiteY300" fmla="*/ 765028 h 1452227"/>
                  <a:gd name="connsiteX301" fmla="*/ 63668 w 251130"/>
                  <a:gd name="connsiteY301" fmla="*/ 755450 h 1452227"/>
                  <a:gd name="connsiteX302" fmla="*/ 68799 w 251130"/>
                  <a:gd name="connsiteY302" fmla="*/ 739534 h 1452227"/>
                  <a:gd name="connsiteX303" fmla="*/ 61884 w 251130"/>
                  <a:gd name="connsiteY303" fmla="*/ 709758 h 1452227"/>
                  <a:gd name="connsiteX304" fmla="*/ 61884 w 251130"/>
                  <a:gd name="connsiteY304" fmla="*/ 690959 h 1452227"/>
                  <a:gd name="connsiteX305" fmla="*/ 57301 w 251130"/>
                  <a:gd name="connsiteY305" fmla="*/ 675619 h 1452227"/>
                  <a:gd name="connsiteX306" fmla="*/ 57630 w 251130"/>
                  <a:gd name="connsiteY306" fmla="*/ 660223 h 1452227"/>
                  <a:gd name="connsiteX307" fmla="*/ 59524 w 251130"/>
                  <a:gd name="connsiteY307" fmla="*/ 657534 h 1452227"/>
                  <a:gd name="connsiteX308" fmla="*/ 66384 w 251130"/>
                  <a:gd name="connsiteY308" fmla="*/ 657260 h 1452227"/>
                  <a:gd name="connsiteX309" fmla="*/ 69650 w 251130"/>
                  <a:gd name="connsiteY309" fmla="*/ 654405 h 1452227"/>
                  <a:gd name="connsiteX310" fmla="*/ 71599 w 251130"/>
                  <a:gd name="connsiteY310" fmla="*/ 643456 h 1452227"/>
                  <a:gd name="connsiteX311" fmla="*/ 77142 w 251130"/>
                  <a:gd name="connsiteY311" fmla="*/ 635223 h 1452227"/>
                  <a:gd name="connsiteX312" fmla="*/ 82384 w 251130"/>
                  <a:gd name="connsiteY312" fmla="*/ 614860 h 1452227"/>
                  <a:gd name="connsiteX313" fmla="*/ 87488 w 251130"/>
                  <a:gd name="connsiteY313" fmla="*/ 605091 h 1452227"/>
                  <a:gd name="connsiteX314" fmla="*/ 88696 w 251130"/>
                  <a:gd name="connsiteY314" fmla="*/ 596693 h 1452227"/>
                  <a:gd name="connsiteX315" fmla="*/ 99700 w 251130"/>
                  <a:gd name="connsiteY315" fmla="*/ 578306 h 1452227"/>
                  <a:gd name="connsiteX316" fmla="*/ 103734 w 251130"/>
                  <a:gd name="connsiteY316" fmla="*/ 564173 h 1452227"/>
                  <a:gd name="connsiteX317" fmla="*/ 106095 w 251130"/>
                  <a:gd name="connsiteY317" fmla="*/ 546500 h 1452227"/>
                  <a:gd name="connsiteX318" fmla="*/ 115096 w 251130"/>
                  <a:gd name="connsiteY318" fmla="*/ 528909 h 1452227"/>
                  <a:gd name="connsiteX319" fmla="*/ 114711 w 251130"/>
                  <a:gd name="connsiteY319" fmla="*/ 512223 h 1452227"/>
                  <a:gd name="connsiteX320" fmla="*/ 121518 w 251130"/>
                  <a:gd name="connsiteY320" fmla="*/ 492738 h 1452227"/>
                  <a:gd name="connsiteX321" fmla="*/ 114355 w 251130"/>
                  <a:gd name="connsiteY321" fmla="*/ 421387 h 1452227"/>
                  <a:gd name="connsiteX322" fmla="*/ 116002 w 251130"/>
                  <a:gd name="connsiteY322" fmla="*/ 414417 h 1452227"/>
                  <a:gd name="connsiteX323" fmla="*/ 122204 w 251130"/>
                  <a:gd name="connsiteY323" fmla="*/ 407967 h 1452227"/>
                  <a:gd name="connsiteX324" fmla="*/ 125442 w 251130"/>
                  <a:gd name="connsiteY324" fmla="*/ 399487 h 1452227"/>
                  <a:gd name="connsiteX325" fmla="*/ 125167 w 251130"/>
                  <a:gd name="connsiteY325" fmla="*/ 384558 h 1452227"/>
                  <a:gd name="connsiteX326" fmla="*/ 121188 w 251130"/>
                  <a:gd name="connsiteY326" fmla="*/ 375256 h 1452227"/>
                  <a:gd name="connsiteX327" fmla="*/ 120584 w 251130"/>
                  <a:gd name="connsiteY327" fmla="*/ 367324 h 1452227"/>
                  <a:gd name="connsiteX328" fmla="*/ 128790 w 251130"/>
                  <a:gd name="connsiteY328" fmla="*/ 348773 h 1452227"/>
                  <a:gd name="connsiteX329" fmla="*/ 132138 w 251130"/>
                  <a:gd name="connsiteY329" fmla="*/ 330852 h 1452227"/>
                  <a:gd name="connsiteX330" fmla="*/ 136803 w 251130"/>
                  <a:gd name="connsiteY330" fmla="*/ 321632 h 1452227"/>
                  <a:gd name="connsiteX331" fmla="*/ 136748 w 251130"/>
                  <a:gd name="connsiteY331" fmla="*/ 308734 h 1452227"/>
                  <a:gd name="connsiteX332" fmla="*/ 140234 w 251130"/>
                  <a:gd name="connsiteY332" fmla="*/ 301050 h 1452227"/>
                  <a:gd name="connsiteX333" fmla="*/ 144021 w 251130"/>
                  <a:gd name="connsiteY333" fmla="*/ 284254 h 1452227"/>
                  <a:gd name="connsiteX334" fmla="*/ 143966 w 251130"/>
                  <a:gd name="connsiteY334" fmla="*/ 261367 h 1452227"/>
                  <a:gd name="connsiteX335" fmla="*/ 150140 w 251130"/>
                  <a:gd name="connsiteY335" fmla="*/ 246630 h 1452227"/>
                  <a:gd name="connsiteX336" fmla="*/ 147780 w 251130"/>
                  <a:gd name="connsiteY336" fmla="*/ 220422 h 1452227"/>
                  <a:gd name="connsiteX337" fmla="*/ 151348 w 251130"/>
                  <a:gd name="connsiteY337" fmla="*/ 192650 h 1452227"/>
                  <a:gd name="connsiteX338" fmla="*/ 147067 w 251130"/>
                  <a:gd name="connsiteY338" fmla="*/ 187161 h 1452227"/>
                  <a:gd name="connsiteX339" fmla="*/ 146655 w 251130"/>
                  <a:gd name="connsiteY339" fmla="*/ 183511 h 1452227"/>
                  <a:gd name="connsiteX340" fmla="*/ 147972 w 251130"/>
                  <a:gd name="connsiteY340" fmla="*/ 176513 h 1452227"/>
                  <a:gd name="connsiteX341" fmla="*/ 152116 w 251130"/>
                  <a:gd name="connsiteY341" fmla="*/ 173522 h 1452227"/>
                  <a:gd name="connsiteX342" fmla="*/ 155300 w 251130"/>
                  <a:gd name="connsiteY342" fmla="*/ 167704 h 1452227"/>
                  <a:gd name="connsiteX343" fmla="*/ 161694 w 251130"/>
                  <a:gd name="connsiteY343" fmla="*/ 124536 h 1452227"/>
                  <a:gd name="connsiteX344" fmla="*/ 158675 w 251130"/>
                  <a:gd name="connsiteY344" fmla="*/ 101786 h 1452227"/>
                  <a:gd name="connsiteX345" fmla="*/ 159992 w 251130"/>
                  <a:gd name="connsiteY345" fmla="*/ 76319 h 1452227"/>
                  <a:gd name="connsiteX346" fmla="*/ 153077 w 251130"/>
                  <a:gd name="connsiteY346" fmla="*/ 26428 h 1452227"/>
                  <a:gd name="connsiteX347" fmla="*/ 167073 w 251130"/>
                  <a:gd name="connsiteY347" fmla="*/ 21707 h 1452227"/>
                  <a:gd name="connsiteX348" fmla="*/ 171134 w 251130"/>
                  <a:gd name="connsiteY348" fmla="*/ 14600 h 1452227"/>
                  <a:gd name="connsiteX349" fmla="*/ 170146 w 251130"/>
                  <a:gd name="connsiteY349" fmla="*/ 5544 h 1452227"/>
                  <a:gd name="connsiteX350" fmla="*/ 174867 w 251130"/>
                  <a:gd name="connsiteY350" fmla="*/ 4254 h 1452227"/>
                  <a:gd name="connsiteX351" fmla="*/ 179669 w 251130"/>
                  <a:gd name="connsiteY351" fmla="*/ 0 h 1452227"/>
                  <a:gd name="connsiteX352" fmla="*/ 185213 w 251130"/>
                  <a:gd name="connsiteY352" fmla="*/ 13639 h 1452227"/>
                  <a:gd name="connsiteX353" fmla="*/ 191003 w 251130"/>
                  <a:gd name="connsiteY353" fmla="*/ 17399 h 1452227"/>
                  <a:gd name="connsiteX354" fmla="*/ 190153 w 251130"/>
                  <a:gd name="connsiteY354" fmla="*/ 20637 h 1452227"/>
                  <a:gd name="connsiteX355" fmla="*/ 195778 w 251130"/>
                  <a:gd name="connsiteY355" fmla="*/ 45912 h 1452227"/>
                  <a:gd name="connsiteX356" fmla="*/ 210323 w 251130"/>
                  <a:gd name="connsiteY356" fmla="*/ 58838 h 1452227"/>
                  <a:gd name="connsiteX357" fmla="*/ 203572 w 251130"/>
                  <a:gd name="connsiteY357" fmla="*/ 69074 h 1452227"/>
                  <a:gd name="connsiteX358" fmla="*/ 207441 w 251130"/>
                  <a:gd name="connsiteY358" fmla="*/ 75194 h 1452227"/>
                  <a:gd name="connsiteX359" fmla="*/ 206152 w 251130"/>
                  <a:gd name="connsiteY359" fmla="*/ 78762 h 1452227"/>
                  <a:gd name="connsiteX360" fmla="*/ 200910 w 251130"/>
                  <a:gd name="connsiteY360" fmla="*/ 80436 h 1452227"/>
                  <a:gd name="connsiteX361" fmla="*/ 202913 w 251130"/>
                  <a:gd name="connsiteY361" fmla="*/ 87378 h 1452227"/>
                  <a:gd name="connsiteX362" fmla="*/ 201404 w 251130"/>
                  <a:gd name="connsiteY362" fmla="*/ 90507 h 1452227"/>
                  <a:gd name="connsiteX363" fmla="*/ 209308 w 251130"/>
                  <a:gd name="connsiteY363" fmla="*/ 97258 h 1452227"/>
                  <a:gd name="connsiteX364" fmla="*/ 207002 w 251130"/>
                  <a:gd name="connsiteY364" fmla="*/ 101100 h 1452227"/>
                  <a:gd name="connsiteX365" fmla="*/ 207249 w 251130"/>
                  <a:gd name="connsiteY365" fmla="*/ 105409 h 1452227"/>
                  <a:gd name="connsiteX366" fmla="*/ 211832 w 251130"/>
                  <a:gd name="connsiteY366" fmla="*/ 108153 h 1452227"/>
                  <a:gd name="connsiteX367" fmla="*/ 217568 w 251130"/>
                  <a:gd name="connsiteY367" fmla="*/ 118032 h 1452227"/>
                  <a:gd name="connsiteX368" fmla="*/ 218007 w 251130"/>
                  <a:gd name="connsiteY368" fmla="*/ 127692 h 1452227"/>
                  <a:gd name="connsiteX369" fmla="*/ 221026 w 251130"/>
                  <a:gd name="connsiteY369" fmla="*/ 133098 h 1452227"/>
                  <a:gd name="connsiteX370" fmla="*/ 221465 w 251130"/>
                  <a:gd name="connsiteY370" fmla="*/ 139657 h 1452227"/>
                  <a:gd name="connsiteX371" fmla="*/ 223962 w 251130"/>
                  <a:gd name="connsiteY371" fmla="*/ 142896 h 1452227"/>
                  <a:gd name="connsiteX372" fmla="*/ 227118 w 251130"/>
                  <a:gd name="connsiteY372" fmla="*/ 158099 h 1452227"/>
                  <a:gd name="connsiteX373" fmla="*/ 226898 w 251130"/>
                  <a:gd name="connsiteY373" fmla="*/ 166497 h 145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Lst>
                <a:rect l="l" t="t" r="r" b="b"/>
                <a:pathLst>
                  <a:path w="251130" h="1452227">
                    <a:moveTo>
                      <a:pt x="226898" y="166414"/>
                    </a:moveTo>
                    <a:lnTo>
                      <a:pt x="235159" y="168967"/>
                    </a:lnTo>
                    <a:lnTo>
                      <a:pt x="247179" y="166167"/>
                    </a:lnTo>
                    <a:lnTo>
                      <a:pt x="250582" y="171052"/>
                    </a:lnTo>
                    <a:lnTo>
                      <a:pt x="251131" y="175443"/>
                    </a:lnTo>
                    <a:lnTo>
                      <a:pt x="242514" y="202584"/>
                    </a:lnTo>
                    <a:lnTo>
                      <a:pt x="217458" y="217046"/>
                    </a:lnTo>
                    <a:lnTo>
                      <a:pt x="208457" y="227722"/>
                    </a:lnTo>
                    <a:lnTo>
                      <a:pt x="210296" y="238754"/>
                    </a:lnTo>
                    <a:lnTo>
                      <a:pt x="206893" y="248716"/>
                    </a:lnTo>
                    <a:lnTo>
                      <a:pt x="210186" y="272235"/>
                    </a:lnTo>
                    <a:lnTo>
                      <a:pt x="206975" y="284913"/>
                    </a:lnTo>
                    <a:lnTo>
                      <a:pt x="212189" y="301187"/>
                    </a:lnTo>
                    <a:lnTo>
                      <a:pt x="207826" y="305935"/>
                    </a:lnTo>
                    <a:lnTo>
                      <a:pt x="199017" y="309063"/>
                    </a:lnTo>
                    <a:lnTo>
                      <a:pt x="188835" y="332966"/>
                    </a:lnTo>
                    <a:lnTo>
                      <a:pt x="175553" y="349898"/>
                    </a:lnTo>
                    <a:lnTo>
                      <a:pt x="171134" y="369273"/>
                    </a:lnTo>
                    <a:lnTo>
                      <a:pt x="165591" y="380827"/>
                    </a:lnTo>
                    <a:lnTo>
                      <a:pt x="167567" y="410547"/>
                    </a:lnTo>
                    <a:lnTo>
                      <a:pt x="159992" y="420482"/>
                    </a:lnTo>
                    <a:lnTo>
                      <a:pt x="155272" y="436316"/>
                    </a:lnTo>
                    <a:lnTo>
                      <a:pt x="149207" y="447705"/>
                    </a:lnTo>
                    <a:lnTo>
                      <a:pt x="149262" y="457063"/>
                    </a:lnTo>
                    <a:lnTo>
                      <a:pt x="155766" y="470976"/>
                    </a:lnTo>
                    <a:lnTo>
                      <a:pt x="155931" y="479978"/>
                    </a:lnTo>
                    <a:lnTo>
                      <a:pt x="162270" y="500313"/>
                    </a:lnTo>
                    <a:lnTo>
                      <a:pt x="163396" y="511510"/>
                    </a:lnTo>
                    <a:lnTo>
                      <a:pt x="169378" y="519770"/>
                    </a:lnTo>
                    <a:lnTo>
                      <a:pt x="168527" y="543755"/>
                    </a:lnTo>
                    <a:lnTo>
                      <a:pt x="157605" y="564804"/>
                    </a:lnTo>
                    <a:lnTo>
                      <a:pt x="149921" y="585661"/>
                    </a:lnTo>
                    <a:lnTo>
                      <a:pt x="153159" y="602675"/>
                    </a:lnTo>
                    <a:lnTo>
                      <a:pt x="151677" y="614997"/>
                    </a:lnTo>
                    <a:lnTo>
                      <a:pt x="142539" y="626359"/>
                    </a:lnTo>
                    <a:lnTo>
                      <a:pt x="135074" y="631902"/>
                    </a:lnTo>
                    <a:lnTo>
                      <a:pt x="131589" y="640354"/>
                    </a:lnTo>
                    <a:lnTo>
                      <a:pt x="129997" y="675619"/>
                    </a:lnTo>
                    <a:lnTo>
                      <a:pt x="137297" y="709456"/>
                    </a:lnTo>
                    <a:lnTo>
                      <a:pt x="134086" y="715109"/>
                    </a:lnTo>
                    <a:lnTo>
                      <a:pt x="123521" y="724358"/>
                    </a:lnTo>
                    <a:lnTo>
                      <a:pt x="120996" y="741647"/>
                    </a:lnTo>
                    <a:lnTo>
                      <a:pt x="115535" y="750812"/>
                    </a:lnTo>
                    <a:lnTo>
                      <a:pt x="115535" y="760253"/>
                    </a:lnTo>
                    <a:cubicBezTo>
                      <a:pt x="115535" y="760253"/>
                      <a:pt x="112406" y="770352"/>
                      <a:pt x="112406" y="770352"/>
                    </a:cubicBezTo>
                    <a:lnTo>
                      <a:pt x="112955" y="777926"/>
                    </a:lnTo>
                    <a:lnTo>
                      <a:pt x="108317" y="791291"/>
                    </a:lnTo>
                    <a:lnTo>
                      <a:pt x="109607" y="826555"/>
                    </a:lnTo>
                    <a:lnTo>
                      <a:pt x="111775" y="841237"/>
                    </a:lnTo>
                    <a:lnTo>
                      <a:pt x="104091" y="851172"/>
                    </a:lnTo>
                    <a:lnTo>
                      <a:pt x="103131" y="873263"/>
                    </a:lnTo>
                    <a:lnTo>
                      <a:pt x="104256" y="878176"/>
                    </a:lnTo>
                    <a:lnTo>
                      <a:pt x="111117" y="888906"/>
                    </a:lnTo>
                    <a:lnTo>
                      <a:pt x="109827" y="899745"/>
                    </a:lnTo>
                    <a:lnTo>
                      <a:pt x="114218" y="907402"/>
                    </a:lnTo>
                    <a:lnTo>
                      <a:pt x="112132" y="933171"/>
                    </a:lnTo>
                    <a:lnTo>
                      <a:pt x="115343" y="936519"/>
                    </a:lnTo>
                    <a:lnTo>
                      <a:pt x="126265" y="939840"/>
                    </a:lnTo>
                    <a:lnTo>
                      <a:pt x="128378" y="943434"/>
                    </a:lnTo>
                    <a:lnTo>
                      <a:pt x="124234" y="951119"/>
                    </a:lnTo>
                    <a:lnTo>
                      <a:pt x="123576" y="952353"/>
                    </a:lnTo>
                    <a:lnTo>
                      <a:pt x="106945" y="955098"/>
                    </a:lnTo>
                    <a:lnTo>
                      <a:pt x="108921" y="958665"/>
                    </a:lnTo>
                    <a:lnTo>
                      <a:pt x="118526" y="964566"/>
                    </a:lnTo>
                    <a:lnTo>
                      <a:pt x="123054" y="972963"/>
                    </a:lnTo>
                    <a:lnTo>
                      <a:pt x="120036" y="980949"/>
                    </a:lnTo>
                    <a:lnTo>
                      <a:pt x="113230" y="990445"/>
                    </a:lnTo>
                    <a:lnTo>
                      <a:pt x="115178" y="1002080"/>
                    </a:lnTo>
                    <a:lnTo>
                      <a:pt x="110842" y="1012289"/>
                    </a:lnTo>
                    <a:lnTo>
                      <a:pt x="114163" y="1031225"/>
                    </a:lnTo>
                    <a:lnTo>
                      <a:pt x="108098" y="1041242"/>
                    </a:lnTo>
                    <a:lnTo>
                      <a:pt x="107357" y="1055622"/>
                    </a:lnTo>
                    <a:lnTo>
                      <a:pt x="95611" y="1069727"/>
                    </a:lnTo>
                    <a:lnTo>
                      <a:pt x="91714" y="1085864"/>
                    </a:lnTo>
                    <a:lnTo>
                      <a:pt x="94980" y="1095908"/>
                    </a:lnTo>
                    <a:lnTo>
                      <a:pt x="95419" y="1103043"/>
                    </a:lnTo>
                    <a:lnTo>
                      <a:pt x="89245" y="1112566"/>
                    </a:lnTo>
                    <a:lnTo>
                      <a:pt x="87104" y="1125739"/>
                    </a:lnTo>
                    <a:lnTo>
                      <a:pt x="72669" y="1139734"/>
                    </a:lnTo>
                    <a:lnTo>
                      <a:pt x="62103" y="1146705"/>
                    </a:lnTo>
                    <a:lnTo>
                      <a:pt x="60512" y="1158231"/>
                    </a:lnTo>
                    <a:lnTo>
                      <a:pt x="61884" y="1169894"/>
                    </a:lnTo>
                    <a:lnTo>
                      <a:pt x="60484" y="1181557"/>
                    </a:lnTo>
                    <a:lnTo>
                      <a:pt x="61280" y="1195170"/>
                    </a:lnTo>
                    <a:lnTo>
                      <a:pt x="72806" y="1213089"/>
                    </a:lnTo>
                    <a:lnTo>
                      <a:pt x="83975" y="1209686"/>
                    </a:lnTo>
                    <a:lnTo>
                      <a:pt x="95200" y="1211608"/>
                    </a:lnTo>
                    <a:lnTo>
                      <a:pt x="97258" y="1222914"/>
                    </a:lnTo>
                    <a:lnTo>
                      <a:pt x="95172" y="1230900"/>
                    </a:lnTo>
                    <a:lnTo>
                      <a:pt x="96215" y="1239709"/>
                    </a:lnTo>
                    <a:lnTo>
                      <a:pt x="93800" y="1252114"/>
                    </a:lnTo>
                    <a:lnTo>
                      <a:pt x="103872" y="1264600"/>
                    </a:lnTo>
                    <a:lnTo>
                      <a:pt x="107769" y="1272860"/>
                    </a:lnTo>
                    <a:lnTo>
                      <a:pt x="163588" y="1274479"/>
                    </a:lnTo>
                    <a:lnTo>
                      <a:pt x="192951" y="1283096"/>
                    </a:lnTo>
                    <a:lnTo>
                      <a:pt x="207277" y="1288887"/>
                    </a:lnTo>
                    <a:lnTo>
                      <a:pt x="210268" y="1292646"/>
                    </a:lnTo>
                    <a:lnTo>
                      <a:pt x="185871" y="1284578"/>
                    </a:lnTo>
                    <a:lnTo>
                      <a:pt x="180657" y="1287762"/>
                    </a:lnTo>
                    <a:lnTo>
                      <a:pt x="173083" y="1297861"/>
                    </a:lnTo>
                    <a:lnTo>
                      <a:pt x="143691" y="1309277"/>
                    </a:lnTo>
                    <a:lnTo>
                      <a:pt x="138752" y="1321544"/>
                    </a:lnTo>
                    <a:lnTo>
                      <a:pt x="135404" y="1354942"/>
                    </a:lnTo>
                    <a:lnTo>
                      <a:pt x="130656" y="1362270"/>
                    </a:lnTo>
                    <a:lnTo>
                      <a:pt x="122697" y="1364026"/>
                    </a:lnTo>
                    <a:lnTo>
                      <a:pt x="101237" y="1354558"/>
                    </a:lnTo>
                    <a:lnTo>
                      <a:pt x="98905" y="1356561"/>
                    </a:lnTo>
                    <a:lnTo>
                      <a:pt x="102801" y="1363971"/>
                    </a:lnTo>
                    <a:lnTo>
                      <a:pt x="131836" y="1376650"/>
                    </a:lnTo>
                    <a:lnTo>
                      <a:pt x="134278" y="1382083"/>
                    </a:lnTo>
                    <a:lnTo>
                      <a:pt x="135212" y="1391414"/>
                    </a:lnTo>
                    <a:lnTo>
                      <a:pt x="146820" y="1391167"/>
                    </a:lnTo>
                    <a:lnTo>
                      <a:pt x="146820" y="1387599"/>
                    </a:lnTo>
                    <a:lnTo>
                      <a:pt x="139849" y="1381452"/>
                    </a:lnTo>
                    <a:lnTo>
                      <a:pt x="138779" y="1369377"/>
                    </a:lnTo>
                    <a:lnTo>
                      <a:pt x="148713" y="1353872"/>
                    </a:lnTo>
                    <a:lnTo>
                      <a:pt x="154915" y="1376952"/>
                    </a:lnTo>
                    <a:lnTo>
                      <a:pt x="155574" y="1387078"/>
                    </a:lnTo>
                    <a:lnTo>
                      <a:pt x="162572" y="1386584"/>
                    </a:lnTo>
                    <a:lnTo>
                      <a:pt x="168527" y="1391085"/>
                    </a:lnTo>
                    <a:lnTo>
                      <a:pt x="173769" y="1389740"/>
                    </a:lnTo>
                    <a:lnTo>
                      <a:pt x="186585" y="1393115"/>
                    </a:lnTo>
                    <a:lnTo>
                      <a:pt x="185405" y="1388917"/>
                    </a:lnTo>
                    <a:lnTo>
                      <a:pt x="165948" y="1376677"/>
                    </a:lnTo>
                    <a:lnTo>
                      <a:pt x="161200" y="1366139"/>
                    </a:lnTo>
                    <a:lnTo>
                      <a:pt x="163505" y="1358318"/>
                    </a:lnTo>
                    <a:lnTo>
                      <a:pt x="179010" y="1349042"/>
                    </a:lnTo>
                    <a:lnTo>
                      <a:pt x="180986" y="1342730"/>
                    </a:lnTo>
                    <a:lnTo>
                      <a:pt x="177309" y="1340727"/>
                    </a:lnTo>
                    <a:lnTo>
                      <a:pt x="156315" y="1342373"/>
                    </a:lnTo>
                    <a:lnTo>
                      <a:pt x="152391" y="1338175"/>
                    </a:lnTo>
                    <a:lnTo>
                      <a:pt x="152199" y="1328048"/>
                    </a:lnTo>
                    <a:lnTo>
                      <a:pt x="158758" y="1319513"/>
                    </a:lnTo>
                    <a:lnTo>
                      <a:pt x="159197" y="1311856"/>
                    </a:lnTo>
                    <a:lnTo>
                      <a:pt x="169021" y="1310759"/>
                    </a:lnTo>
                    <a:lnTo>
                      <a:pt x="179312" y="1299123"/>
                    </a:lnTo>
                    <a:lnTo>
                      <a:pt x="189000" y="1304612"/>
                    </a:lnTo>
                    <a:lnTo>
                      <a:pt x="199401" y="1302389"/>
                    </a:lnTo>
                    <a:lnTo>
                      <a:pt x="205081" y="1304859"/>
                    </a:lnTo>
                    <a:lnTo>
                      <a:pt x="205081" y="1364986"/>
                    </a:lnTo>
                    <a:cubicBezTo>
                      <a:pt x="205081" y="1364986"/>
                      <a:pt x="205081" y="1388148"/>
                      <a:pt x="205081" y="1388148"/>
                    </a:cubicBezTo>
                    <a:lnTo>
                      <a:pt x="205081" y="1416579"/>
                    </a:lnTo>
                    <a:lnTo>
                      <a:pt x="240263" y="1419488"/>
                    </a:lnTo>
                    <a:lnTo>
                      <a:pt x="245807" y="1422974"/>
                    </a:lnTo>
                    <a:lnTo>
                      <a:pt x="247426" y="1427364"/>
                    </a:lnTo>
                    <a:lnTo>
                      <a:pt x="239138" y="1435460"/>
                    </a:lnTo>
                    <a:lnTo>
                      <a:pt x="225828" y="1433429"/>
                    </a:lnTo>
                    <a:lnTo>
                      <a:pt x="218034" y="1426678"/>
                    </a:lnTo>
                    <a:lnTo>
                      <a:pt x="214412" y="1426953"/>
                    </a:lnTo>
                    <a:lnTo>
                      <a:pt x="213671" y="1437216"/>
                    </a:lnTo>
                    <a:lnTo>
                      <a:pt x="219050" y="1447782"/>
                    </a:lnTo>
                    <a:lnTo>
                      <a:pt x="217897" y="1452228"/>
                    </a:lnTo>
                    <a:lnTo>
                      <a:pt x="200251" y="1449538"/>
                    </a:lnTo>
                    <a:lnTo>
                      <a:pt x="193116" y="1442595"/>
                    </a:lnTo>
                    <a:lnTo>
                      <a:pt x="188341" y="1447672"/>
                    </a:lnTo>
                    <a:lnTo>
                      <a:pt x="177913" y="1445778"/>
                    </a:lnTo>
                    <a:lnTo>
                      <a:pt x="170037" y="1437820"/>
                    </a:lnTo>
                    <a:lnTo>
                      <a:pt x="161228" y="1418637"/>
                    </a:lnTo>
                    <a:lnTo>
                      <a:pt x="145365" y="1425745"/>
                    </a:lnTo>
                    <a:lnTo>
                      <a:pt x="128982" y="1419845"/>
                    </a:lnTo>
                    <a:lnTo>
                      <a:pt x="128653" y="1416497"/>
                    </a:lnTo>
                    <a:lnTo>
                      <a:pt x="134772" y="1413560"/>
                    </a:lnTo>
                    <a:lnTo>
                      <a:pt x="128076" y="1405327"/>
                    </a:lnTo>
                    <a:lnTo>
                      <a:pt x="116578" y="1406480"/>
                    </a:lnTo>
                    <a:lnTo>
                      <a:pt x="107796" y="1403489"/>
                    </a:lnTo>
                    <a:lnTo>
                      <a:pt x="108427" y="1396848"/>
                    </a:lnTo>
                    <a:lnTo>
                      <a:pt x="114876" y="1388395"/>
                    </a:lnTo>
                    <a:lnTo>
                      <a:pt x="103186" y="1383922"/>
                    </a:lnTo>
                    <a:lnTo>
                      <a:pt x="94870" y="1387325"/>
                    </a:lnTo>
                    <a:lnTo>
                      <a:pt x="89574" y="1376869"/>
                    </a:lnTo>
                    <a:lnTo>
                      <a:pt x="76785" y="1374399"/>
                    </a:lnTo>
                    <a:lnTo>
                      <a:pt x="71900" y="1366907"/>
                    </a:lnTo>
                    <a:lnTo>
                      <a:pt x="69485" y="1358263"/>
                    </a:lnTo>
                    <a:lnTo>
                      <a:pt x="60814" y="1359470"/>
                    </a:lnTo>
                    <a:lnTo>
                      <a:pt x="57109" y="1355629"/>
                    </a:lnTo>
                    <a:lnTo>
                      <a:pt x="55791" y="1336446"/>
                    </a:lnTo>
                    <a:lnTo>
                      <a:pt x="39079" y="1328487"/>
                    </a:lnTo>
                    <a:lnTo>
                      <a:pt x="32355" y="1318772"/>
                    </a:lnTo>
                    <a:lnTo>
                      <a:pt x="34852" y="1316357"/>
                    </a:lnTo>
                    <a:lnTo>
                      <a:pt x="55737" y="1326786"/>
                    </a:lnTo>
                    <a:lnTo>
                      <a:pt x="74315" y="1342099"/>
                    </a:lnTo>
                    <a:lnTo>
                      <a:pt x="76621" y="1341440"/>
                    </a:lnTo>
                    <a:lnTo>
                      <a:pt x="64189" y="1321736"/>
                    </a:lnTo>
                    <a:lnTo>
                      <a:pt x="63421" y="1310594"/>
                    </a:lnTo>
                    <a:lnTo>
                      <a:pt x="55407" y="1309689"/>
                    </a:lnTo>
                    <a:lnTo>
                      <a:pt x="46488" y="1304914"/>
                    </a:lnTo>
                    <a:lnTo>
                      <a:pt x="45116" y="1293442"/>
                    </a:lnTo>
                    <a:lnTo>
                      <a:pt x="38612" y="1284222"/>
                    </a:lnTo>
                    <a:lnTo>
                      <a:pt x="37377" y="1265917"/>
                    </a:lnTo>
                    <a:lnTo>
                      <a:pt x="46955" y="1252882"/>
                    </a:lnTo>
                    <a:lnTo>
                      <a:pt x="47915" y="1248519"/>
                    </a:lnTo>
                    <a:lnTo>
                      <a:pt x="37954" y="1225768"/>
                    </a:lnTo>
                    <a:lnTo>
                      <a:pt x="26016" y="1245719"/>
                    </a:lnTo>
                    <a:lnTo>
                      <a:pt x="19484" y="1249561"/>
                    </a:lnTo>
                    <a:lnTo>
                      <a:pt x="11910" y="1248161"/>
                    </a:lnTo>
                    <a:lnTo>
                      <a:pt x="17124" y="1231064"/>
                    </a:lnTo>
                    <a:lnTo>
                      <a:pt x="18414" y="1214325"/>
                    </a:lnTo>
                    <a:lnTo>
                      <a:pt x="25247" y="1211004"/>
                    </a:lnTo>
                    <a:lnTo>
                      <a:pt x="27717" y="1200740"/>
                    </a:lnTo>
                    <a:lnTo>
                      <a:pt x="35731" y="1199642"/>
                    </a:lnTo>
                    <a:lnTo>
                      <a:pt x="30928" y="1188336"/>
                    </a:lnTo>
                    <a:lnTo>
                      <a:pt x="36142" y="1180322"/>
                    </a:lnTo>
                    <a:lnTo>
                      <a:pt x="37185" y="1173160"/>
                    </a:lnTo>
                    <a:lnTo>
                      <a:pt x="35264" y="1170662"/>
                    </a:lnTo>
                    <a:lnTo>
                      <a:pt x="30818" y="1177112"/>
                    </a:lnTo>
                    <a:lnTo>
                      <a:pt x="25742" y="1180076"/>
                    </a:lnTo>
                    <a:lnTo>
                      <a:pt x="18661" y="1173709"/>
                    </a:lnTo>
                    <a:lnTo>
                      <a:pt x="11773" y="1173462"/>
                    </a:lnTo>
                    <a:lnTo>
                      <a:pt x="3320" y="1169318"/>
                    </a:lnTo>
                    <a:lnTo>
                      <a:pt x="6806" y="1146567"/>
                    </a:lnTo>
                    <a:lnTo>
                      <a:pt x="0" y="1135590"/>
                    </a:lnTo>
                    <a:lnTo>
                      <a:pt x="796" y="1112868"/>
                    </a:lnTo>
                    <a:lnTo>
                      <a:pt x="4363" y="1098076"/>
                    </a:lnTo>
                    <a:lnTo>
                      <a:pt x="11800" y="1096292"/>
                    </a:lnTo>
                    <a:lnTo>
                      <a:pt x="11910" y="1082955"/>
                    </a:lnTo>
                    <a:lnTo>
                      <a:pt x="16438" y="1079689"/>
                    </a:lnTo>
                    <a:lnTo>
                      <a:pt x="23080" y="1085782"/>
                    </a:lnTo>
                    <a:lnTo>
                      <a:pt x="26620" y="1099942"/>
                    </a:lnTo>
                    <a:lnTo>
                      <a:pt x="34688" y="1115228"/>
                    </a:lnTo>
                    <a:lnTo>
                      <a:pt x="29364" y="1087593"/>
                    </a:lnTo>
                    <a:lnTo>
                      <a:pt x="31340" y="1082872"/>
                    </a:lnTo>
                    <a:lnTo>
                      <a:pt x="30928" y="1072856"/>
                    </a:lnTo>
                    <a:lnTo>
                      <a:pt x="38777" y="1056335"/>
                    </a:lnTo>
                    <a:lnTo>
                      <a:pt x="40478" y="1048130"/>
                    </a:lnTo>
                    <a:lnTo>
                      <a:pt x="35786" y="1040089"/>
                    </a:lnTo>
                    <a:lnTo>
                      <a:pt x="29227" y="1039815"/>
                    </a:lnTo>
                    <a:lnTo>
                      <a:pt x="15094" y="1034051"/>
                    </a:lnTo>
                    <a:lnTo>
                      <a:pt x="5296" y="1039567"/>
                    </a:lnTo>
                    <a:lnTo>
                      <a:pt x="1948" y="1032954"/>
                    </a:lnTo>
                    <a:lnTo>
                      <a:pt x="5379" y="1025654"/>
                    </a:lnTo>
                    <a:lnTo>
                      <a:pt x="18798" y="1012755"/>
                    </a:lnTo>
                    <a:lnTo>
                      <a:pt x="18798" y="1002410"/>
                    </a:lnTo>
                    <a:cubicBezTo>
                      <a:pt x="18798" y="1002410"/>
                      <a:pt x="26702" y="995302"/>
                      <a:pt x="26702" y="995302"/>
                    </a:cubicBezTo>
                    <a:lnTo>
                      <a:pt x="31340" y="985450"/>
                    </a:lnTo>
                    <a:lnTo>
                      <a:pt x="36609" y="984270"/>
                    </a:lnTo>
                    <a:lnTo>
                      <a:pt x="41933" y="986301"/>
                    </a:lnTo>
                    <a:lnTo>
                      <a:pt x="40588" y="979824"/>
                    </a:lnTo>
                    <a:lnTo>
                      <a:pt x="32877" y="972936"/>
                    </a:lnTo>
                    <a:lnTo>
                      <a:pt x="34660" y="961822"/>
                    </a:lnTo>
                    <a:lnTo>
                      <a:pt x="31422" y="951256"/>
                    </a:lnTo>
                    <a:lnTo>
                      <a:pt x="30956" y="949884"/>
                    </a:lnTo>
                    <a:lnTo>
                      <a:pt x="33865" y="947716"/>
                    </a:lnTo>
                    <a:lnTo>
                      <a:pt x="32630" y="938714"/>
                    </a:lnTo>
                    <a:lnTo>
                      <a:pt x="37679" y="926640"/>
                    </a:lnTo>
                    <a:lnTo>
                      <a:pt x="53404" y="927298"/>
                    </a:lnTo>
                    <a:lnTo>
                      <a:pt x="52938" y="921810"/>
                    </a:lnTo>
                    <a:lnTo>
                      <a:pt x="47696" y="916349"/>
                    </a:lnTo>
                    <a:lnTo>
                      <a:pt x="49754" y="914593"/>
                    </a:lnTo>
                    <a:lnTo>
                      <a:pt x="57630" y="924664"/>
                    </a:lnTo>
                    <a:lnTo>
                      <a:pt x="53706" y="936876"/>
                    </a:lnTo>
                    <a:lnTo>
                      <a:pt x="57713" y="949609"/>
                    </a:lnTo>
                    <a:lnTo>
                      <a:pt x="57493" y="951228"/>
                    </a:lnTo>
                    <a:lnTo>
                      <a:pt x="53596" y="980785"/>
                    </a:lnTo>
                    <a:lnTo>
                      <a:pt x="57493" y="982651"/>
                    </a:lnTo>
                    <a:lnTo>
                      <a:pt x="58399" y="987453"/>
                    </a:lnTo>
                    <a:lnTo>
                      <a:pt x="56532" y="991872"/>
                    </a:lnTo>
                    <a:lnTo>
                      <a:pt x="53020" y="994012"/>
                    </a:lnTo>
                    <a:lnTo>
                      <a:pt x="55737" y="1003425"/>
                    </a:lnTo>
                    <a:lnTo>
                      <a:pt x="54968" y="1015198"/>
                    </a:lnTo>
                    <a:lnTo>
                      <a:pt x="56231" y="1015500"/>
                    </a:lnTo>
                    <a:lnTo>
                      <a:pt x="61609" y="986904"/>
                    </a:lnTo>
                    <a:lnTo>
                      <a:pt x="64985" y="977821"/>
                    </a:lnTo>
                    <a:lnTo>
                      <a:pt x="60814" y="971125"/>
                    </a:lnTo>
                    <a:lnTo>
                      <a:pt x="65424" y="965087"/>
                    </a:lnTo>
                    <a:lnTo>
                      <a:pt x="65150" y="951146"/>
                    </a:lnTo>
                    <a:lnTo>
                      <a:pt x="65095" y="947030"/>
                    </a:lnTo>
                    <a:lnTo>
                      <a:pt x="68278" y="937837"/>
                    </a:lnTo>
                    <a:lnTo>
                      <a:pt x="72806" y="933693"/>
                    </a:lnTo>
                    <a:lnTo>
                      <a:pt x="69239" y="922413"/>
                    </a:lnTo>
                    <a:lnTo>
                      <a:pt x="75276" y="911957"/>
                    </a:lnTo>
                    <a:lnTo>
                      <a:pt x="75523" y="907430"/>
                    </a:lnTo>
                    <a:lnTo>
                      <a:pt x="74700" y="896233"/>
                    </a:lnTo>
                    <a:lnTo>
                      <a:pt x="82493" y="879328"/>
                    </a:lnTo>
                    <a:lnTo>
                      <a:pt x="81368" y="868159"/>
                    </a:lnTo>
                    <a:lnTo>
                      <a:pt x="84332" y="859871"/>
                    </a:lnTo>
                    <a:lnTo>
                      <a:pt x="83619" y="853312"/>
                    </a:lnTo>
                    <a:lnTo>
                      <a:pt x="90233" y="848455"/>
                    </a:lnTo>
                    <a:lnTo>
                      <a:pt x="89546" y="842527"/>
                    </a:lnTo>
                    <a:lnTo>
                      <a:pt x="82878" y="837779"/>
                    </a:lnTo>
                    <a:lnTo>
                      <a:pt x="84991" y="829546"/>
                    </a:lnTo>
                    <a:lnTo>
                      <a:pt x="83179" y="823893"/>
                    </a:lnTo>
                    <a:lnTo>
                      <a:pt x="77417" y="822054"/>
                    </a:lnTo>
                    <a:lnTo>
                      <a:pt x="73465" y="832236"/>
                    </a:lnTo>
                    <a:lnTo>
                      <a:pt x="62049" y="835282"/>
                    </a:lnTo>
                    <a:lnTo>
                      <a:pt x="64326" y="850293"/>
                    </a:lnTo>
                    <a:lnTo>
                      <a:pt x="60896" y="856468"/>
                    </a:lnTo>
                    <a:lnTo>
                      <a:pt x="61362" y="859542"/>
                    </a:lnTo>
                    <a:lnTo>
                      <a:pt x="56889" y="863246"/>
                    </a:lnTo>
                    <a:lnTo>
                      <a:pt x="61554" y="880783"/>
                    </a:lnTo>
                    <a:lnTo>
                      <a:pt x="54666" y="894586"/>
                    </a:lnTo>
                    <a:lnTo>
                      <a:pt x="51016" y="896891"/>
                    </a:lnTo>
                    <a:lnTo>
                      <a:pt x="44430" y="895986"/>
                    </a:lnTo>
                    <a:lnTo>
                      <a:pt x="36801" y="888082"/>
                    </a:lnTo>
                    <a:lnTo>
                      <a:pt x="41521" y="871205"/>
                    </a:lnTo>
                    <a:lnTo>
                      <a:pt x="41905" y="855508"/>
                    </a:lnTo>
                    <a:lnTo>
                      <a:pt x="46104" y="836489"/>
                    </a:lnTo>
                    <a:lnTo>
                      <a:pt x="52938" y="833992"/>
                    </a:lnTo>
                    <a:lnTo>
                      <a:pt x="56176" y="830507"/>
                    </a:lnTo>
                    <a:lnTo>
                      <a:pt x="51209" y="816730"/>
                    </a:lnTo>
                    <a:lnTo>
                      <a:pt x="49891" y="800100"/>
                    </a:lnTo>
                    <a:lnTo>
                      <a:pt x="56341" y="765028"/>
                    </a:lnTo>
                    <a:lnTo>
                      <a:pt x="63668" y="755450"/>
                    </a:lnTo>
                    <a:lnTo>
                      <a:pt x="68799" y="739534"/>
                    </a:lnTo>
                    <a:lnTo>
                      <a:pt x="61884" y="709758"/>
                    </a:lnTo>
                    <a:lnTo>
                      <a:pt x="61884" y="690959"/>
                    </a:lnTo>
                    <a:lnTo>
                      <a:pt x="57301" y="675619"/>
                    </a:lnTo>
                    <a:lnTo>
                      <a:pt x="57630" y="660223"/>
                    </a:lnTo>
                    <a:lnTo>
                      <a:pt x="59524" y="657534"/>
                    </a:lnTo>
                    <a:lnTo>
                      <a:pt x="66384" y="657260"/>
                    </a:lnTo>
                    <a:lnTo>
                      <a:pt x="69650" y="654405"/>
                    </a:lnTo>
                    <a:lnTo>
                      <a:pt x="71599" y="643456"/>
                    </a:lnTo>
                    <a:lnTo>
                      <a:pt x="77142" y="635223"/>
                    </a:lnTo>
                    <a:lnTo>
                      <a:pt x="82384" y="614860"/>
                    </a:lnTo>
                    <a:lnTo>
                      <a:pt x="87488" y="605091"/>
                    </a:lnTo>
                    <a:lnTo>
                      <a:pt x="88696" y="596693"/>
                    </a:lnTo>
                    <a:lnTo>
                      <a:pt x="99700" y="578306"/>
                    </a:lnTo>
                    <a:lnTo>
                      <a:pt x="103734" y="564173"/>
                    </a:lnTo>
                    <a:lnTo>
                      <a:pt x="106095" y="546500"/>
                    </a:lnTo>
                    <a:lnTo>
                      <a:pt x="115096" y="528909"/>
                    </a:lnTo>
                    <a:lnTo>
                      <a:pt x="114711" y="512223"/>
                    </a:lnTo>
                    <a:lnTo>
                      <a:pt x="121518" y="492738"/>
                    </a:lnTo>
                    <a:lnTo>
                      <a:pt x="114355" y="421387"/>
                    </a:lnTo>
                    <a:lnTo>
                      <a:pt x="116002" y="414417"/>
                    </a:lnTo>
                    <a:lnTo>
                      <a:pt x="122204" y="407967"/>
                    </a:lnTo>
                    <a:lnTo>
                      <a:pt x="125442" y="399487"/>
                    </a:lnTo>
                    <a:lnTo>
                      <a:pt x="125167" y="384558"/>
                    </a:lnTo>
                    <a:lnTo>
                      <a:pt x="121188" y="375256"/>
                    </a:lnTo>
                    <a:lnTo>
                      <a:pt x="120584" y="367324"/>
                    </a:lnTo>
                    <a:lnTo>
                      <a:pt x="128790" y="348773"/>
                    </a:lnTo>
                    <a:lnTo>
                      <a:pt x="132138" y="330852"/>
                    </a:lnTo>
                    <a:lnTo>
                      <a:pt x="136803" y="321632"/>
                    </a:lnTo>
                    <a:lnTo>
                      <a:pt x="136748" y="308734"/>
                    </a:lnTo>
                    <a:lnTo>
                      <a:pt x="140234" y="301050"/>
                    </a:lnTo>
                    <a:lnTo>
                      <a:pt x="144021" y="284254"/>
                    </a:lnTo>
                    <a:lnTo>
                      <a:pt x="143966" y="261367"/>
                    </a:lnTo>
                    <a:lnTo>
                      <a:pt x="150140" y="246630"/>
                    </a:lnTo>
                    <a:lnTo>
                      <a:pt x="147780" y="220422"/>
                    </a:lnTo>
                    <a:lnTo>
                      <a:pt x="151348" y="192650"/>
                    </a:lnTo>
                    <a:lnTo>
                      <a:pt x="147067" y="187161"/>
                    </a:lnTo>
                    <a:lnTo>
                      <a:pt x="146655" y="183511"/>
                    </a:lnTo>
                    <a:lnTo>
                      <a:pt x="147972" y="176513"/>
                    </a:lnTo>
                    <a:lnTo>
                      <a:pt x="152116" y="173522"/>
                    </a:lnTo>
                    <a:lnTo>
                      <a:pt x="155300" y="167704"/>
                    </a:lnTo>
                    <a:lnTo>
                      <a:pt x="161694" y="124536"/>
                    </a:lnTo>
                    <a:lnTo>
                      <a:pt x="158675" y="101786"/>
                    </a:lnTo>
                    <a:lnTo>
                      <a:pt x="159992" y="76319"/>
                    </a:lnTo>
                    <a:lnTo>
                      <a:pt x="153077" y="26428"/>
                    </a:lnTo>
                    <a:lnTo>
                      <a:pt x="167073" y="21707"/>
                    </a:lnTo>
                    <a:lnTo>
                      <a:pt x="171134" y="14600"/>
                    </a:lnTo>
                    <a:lnTo>
                      <a:pt x="170146" y="5544"/>
                    </a:lnTo>
                    <a:lnTo>
                      <a:pt x="174867" y="4254"/>
                    </a:lnTo>
                    <a:lnTo>
                      <a:pt x="179669" y="0"/>
                    </a:lnTo>
                    <a:lnTo>
                      <a:pt x="185213" y="13639"/>
                    </a:lnTo>
                    <a:lnTo>
                      <a:pt x="191003" y="17399"/>
                    </a:lnTo>
                    <a:lnTo>
                      <a:pt x="190153" y="20637"/>
                    </a:lnTo>
                    <a:lnTo>
                      <a:pt x="195778" y="45912"/>
                    </a:lnTo>
                    <a:lnTo>
                      <a:pt x="210323" y="58838"/>
                    </a:lnTo>
                    <a:lnTo>
                      <a:pt x="203572" y="69074"/>
                    </a:lnTo>
                    <a:lnTo>
                      <a:pt x="207441" y="75194"/>
                    </a:lnTo>
                    <a:lnTo>
                      <a:pt x="206152" y="78762"/>
                    </a:lnTo>
                    <a:lnTo>
                      <a:pt x="200910" y="80436"/>
                    </a:lnTo>
                    <a:lnTo>
                      <a:pt x="202913" y="87378"/>
                    </a:lnTo>
                    <a:lnTo>
                      <a:pt x="201404" y="90507"/>
                    </a:lnTo>
                    <a:lnTo>
                      <a:pt x="209308" y="97258"/>
                    </a:lnTo>
                    <a:lnTo>
                      <a:pt x="207002" y="101100"/>
                    </a:lnTo>
                    <a:lnTo>
                      <a:pt x="207249" y="105409"/>
                    </a:lnTo>
                    <a:lnTo>
                      <a:pt x="211832" y="108153"/>
                    </a:lnTo>
                    <a:lnTo>
                      <a:pt x="217568" y="118032"/>
                    </a:lnTo>
                    <a:lnTo>
                      <a:pt x="218007" y="127692"/>
                    </a:lnTo>
                    <a:lnTo>
                      <a:pt x="221026" y="133098"/>
                    </a:lnTo>
                    <a:lnTo>
                      <a:pt x="221465" y="139657"/>
                    </a:lnTo>
                    <a:lnTo>
                      <a:pt x="223962" y="142896"/>
                    </a:lnTo>
                    <a:lnTo>
                      <a:pt x="227118" y="158099"/>
                    </a:lnTo>
                    <a:lnTo>
                      <a:pt x="226898" y="166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0" name="Freeform: Shape 3489">
                <a:extLst>
                  <a:ext uri="{FF2B5EF4-FFF2-40B4-BE49-F238E27FC236}">
                    <a16:creationId xmlns:a16="http://schemas.microsoft.com/office/drawing/2014/main" id="{2F2FDA7B-C962-9D8D-C36B-EF3EBBA5EA2A}"/>
                  </a:ext>
                </a:extLst>
              </p:cNvPr>
              <p:cNvSpPr/>
              <p:nvPr/>
            </p:nvSpPr>
            <p:spPr>
              <a:xfrm>
                <a:off x="1133969" y="4022179"/>
                <a:ext cx="2032" cy="3672"/>
              </a:xfrm>
              <a:custGeom>
                <a:avLst/>
                <a:gdLst>
                  <a:gd name="connsiteX0" fmla="*/ 19484 w 19484"/>
                  <a:gd name="connsiteY0" fmla="*/ 6971 h 35209"/>
                  <a:gd name="connsiteX1" fmla="*/ 10236 w 19484"/>
                  <a:gd name="connsiteY1" fmla="*/ 23684 h 35209"/>
                  <a:gd name="connsiteX2" fmla="*/ 7025 w 19484"/>
                  <a:gd name="connsiteY2" fmla="*/ 27306 h 35209"/>
                  <a:gd name="connsiteX3" fmla="*/ 5132 w 19484"/>
                  <a:gd name="connsiteY3" fmla="*/ 34606 h 35209"/>
                  <a:gd name="connsiteX4" fmla="*/ 2113 w 19484"/>
                  <a:gd name="connsiteY4" fmla="*/ 35210 h 35209"/>
                  <a:gd name="connsiteX5" fmla="*/ 27 w 19484"/>
                  <a:gd name="connsiteY5" fmla="*/ 29721 h 35209"/>
                  <a:gd name="connsiteX6" fmla="*/ 219 w 19484"/>
                  <a:gd name="connsiteY6" fmla="*/ 23684 h 35209"/>
                  <a:gd name="connsiteX7" fmla="*/ 4501 w 19484"/>
                  <a:gd name="connsiteY7" fmla="*/ 16576 h 35209"/>
                  <a:gd name="connsiteX8" fmla="*/ 4089 w 19484"/>
                  <a:gd name="connsiteY8" fmla="*/ 15176 h 35209"/>
                  <a:gd name="connsiteX9" fmla="*/ 0 w 19484"/>
                  <a:gd name="connsiteY9" fmla="*/ 15423 h 35209"/>
                  <a:gd name="connsiteX10" fmla="*/ 796 w 19484"/>
                  <a:gd name="connsiteY10" fmla="*/ 6971 h 35209"/>
                  <a:gd name="connsiteX11" fmla="*/ 2662 w 19484"/>
                  <a:gd name="connsiteY11" fmla="*/ 4940 h 35209"/>
                  <a:gd name="connsiteX12" fmla="*/ 1619 w 19484"/>
                  <a:gd name="connsiteY12" fmla="*/ 440 h 35209"/>
                  <a:gd name="connsiteX13" fmla="*/ 7355 w 19484"/>
                  <a:gd name="connsiteY13" fmla="*/ 0 h 35209"/>
                  <a:gd name="connsiteX14" fmla="*/ 19484 w 19484"/>
                  <a:gd name="connsiteY14" fmla="*/ 6971 h 3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484" h="35209">
                    <a:moveTo>
                      <a:pt x="19484" y="6971"/>
                    </a:moveTo>
                    <a:lnTo>
                      <a:pt x="10236" y="23684"/>
                    </a:lnTo>
                    <a:lnTo>
                      <a:pt x="7025" y="27306"/>
                    </a:lnTo>
                    <a:lnTo>
                      <a:pt x="5132" y="34606"/>
                    </a:lnTo>
                    <a:lnTo>
                      <a:pt x="2113" y="35210"/>
                    </a:lnTo>
                    <a:lnTo>
                      <a:pt x="27" y="29721"/>
                    </a:lnTo>
                    <a:lnTo>
                      <a:pt x="219" y="23684"/>
                    </a:lnTo>
                    <a:lnTo>
                      <a:pt x="4501" y="16576"/>
                    </a:lnTo>
                    <a:lnTo>
                      <a:pt x="4089" y="15176"/>
                    </a:lnTo>
                    <a:lnTo>
                      <a:pt x="0" y="15423"/>
                    </a:lnTo>
                    <a:lnTo>
                      <a:pt x="796" y="6971"/>
                    </a:lnTo>
                    <a:lnTo>
                      <a:pt x="2662" y="4940"/>
                    </a:lnTo>
                    <a:lnTo>
                      <a:pt x="1619" y="440"/>
                    </a:lnTo>
                    <a:lnTo>
                      <a:pt x="7355" y="0"/>
                    </a:lnTo>
                    <a:lnTo>
                      <a:pt x="19484" y="69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1" name="Freeform: Shape 3490">
                <a:extLst>
                  <a:ext uri="{FF2B5EF4-FFF2-40B4-BE49-F238E27FC236}">
                    <a16:creationId xmlns:a16="http://schemas.microsoft.com/office/drawing/2014/main" id="{79A2BCCA-FAC1-D638-D493-A44252BB40AB}"/>
                  </a:ext>
                </a:extLst>
              </p:cNvPr>
              <p:cNvSpPr/>
              <p:nvPr/>
            </p:nvSpPr>
            <p:spPr>
              <a:xfrm>
                <a:off x="1135086" y="4030173"/>
                <a:ext cx="1838" cy="3546"/>
              </a:xfrm>
              <a:custGeom>
                <a:avLst/>
                <a:gdLst>
                  <a:gd name="connsiteX0" fmla="*/ 11169 w 17618"/>
                  <a:gd name="connsiteY0" fmla="*/ 1976 h 34001"/>
                  <a:gd name="connsiteX1" fmla="*/ 14408 w 17618"/>
                  <a:gd name="connsiteY1" fmla="*/ 12459 h 34001"/>
                  <a:gd name="connsiteX2" fmla="*/ 17618 w 17618"/>
                  <a:gd name="connsiteY2" fmla="*/ 15230 h 34001"/>
                  <a:gd name="connsiteX3" fmla="*/ 15834 w 17618"/>
                  <a:gd name="connsiteY3" fmla="*/ 19155 h 34001"/>
                  <a:gd name="connsiteX4" fmla="*/ 14709 w 17618"/>
                  <a:gd name="connsiteY4" fmla="*/ 32136 h 34001"/>
                  <a:gd name="connsiteX5" fmla="*/ 11142 w 17618"/>
                  <a:gd name="connsiteY5" fmla="*/ 34002 h 34001"/>
                  <a:gd name="connsiteX6" fmla="*/ 5982 w 17618"/>
                  <a:gd name="connsiteY6" fmla="*/ 29528 h 34001"/>
                  <a:gd name="connsiteX7" fmla="*/ 6394 w 17618"/>
                  <a:gd name="connsiteY7" fmla="*/ 23738 h 34001"/>
                  <a:gd name="connsiteX8" fmla="*/ 1564 w 17618"/>
                  <a:gd name="connsiteY8" fmla="*/ 16877 h 34001"/>
                  <a:gd name="connsiteX9" fmla="*/ 0 w 17618"/>
                  <a:gd name="connsiteY9" fmla="*/ 8973 h 34001"/>
                  <a:gd name="connsiteX10" fmla="*/ 2388 w 17618"/>
                  <a:gd name="connsiteY10" fmla="*/ 4034 h 34001"/>
                  <a:gd name="connsiteX11" fmla="*/ 5406 w 17618"/>
                  <a:gd name="connsiteY11" fmla="*/ 7052 h 34001"/>
                  <a:gd name="connsiteX12" fmla="*/ 5927 w 17618"/>
                  <a:gd name="connsiteY12" fmla="*/ 0 h 34001"/>
                  <a:gd name="connsiteX13" fmla="*/ 11169 w 17618"/>
                  <a:gd name="connsiteY13" fmla="*/ 1976 h 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618" h="34001">
                    <a:moveTo>
                      <a:pt x="11169" y="1976"/>
                    </a:moveTo>
                    <a:lnTo>
                      <a:pt x="14408" y="12459"/>
                    </a:lnTo>
                    <a:lnTo>
                      <a:pt x="17618" y="15230"/>
                    </a:lnTo>
                    <a:lnTo>
                      <a:pt x="15834" y="19155"/>
                    </a:lnTo>
                    <a:lnTo>
                      <a:pt x="14709" y="32136"/>
                    </a:lnTo>
                    <a:lnTo>
                      <a:pt x="11142" y="34002"/>
                    </a:lnTo>
                    <a:lnTo>
                      <a:pt x="5982" y="29528"/>
                    </a:lnTo>
                    <a:lnTo>
                      <a:pt x="6394" y="23738"/>
                    </a:lnTo>
                    <a:lnTo>
                      <a:pt x="1564" y="16877"/>
                    </a:lnTo>
                    <a:lnTo>
                      <a:pt x="0" y="8973"/>
                    </a:lnTo>
                    <a:lnTo>
                      <a:pt x="2388" y="4034"/>
                    </a:lnTo>
                    <a:lnTo>
                      <a:pt x="5406" y="7052"/>
                    </a:lnTo>
                    <a:lnTo>
                      <a:pt x="5927" y="0"/>
                    </a:lnTo>
                    <a:lnTo>
                      <a:pt x="11169"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2" name="Freeform: Shape 3491">
                <a:extLst>
                  <a:ext uri="{FF2B5EF4-FFF2-40B4-BE49-F238E27FC236}">
                    <a16:creationId xmlns:a16="http://schemas.microsoft.com/office/drawing/2014/main" id="{57C7660E-F909-A499-6C04-C5252DB542B3}"/>
                  </a:ext>
                </a:extLst>
              </p:cNvPr>
              <p:cNvSpPr/>
              <p:nvPr/>
            </p:nvSpPr>
            <p:spPr>
              <a:xfrm>
                <a:off x="1137393" y="4028399"/>
                <a:ext cx="721" cy="630"/>
              </a:xfrm>
              <a:custGeom>
                <a:avLst/>
                <a:gdLst>
                  <a:gd name="connsiteX0" fmla="*/ 6916 w 6915"/>
                  <a:gd name="connsiteY0" fmla="*/ 5297 h 6037"/>
                  <a:gd name="connsiteX1" fmla="*/ 604 w 6915"/>
                  <a:gd name="connsiteY1" fmla="*/ 6038 h 6037"/>
                  <a:gd name="connsiteX2" fmla="*/ 0 w 6915"/>
                  <a:gd name="connsiteY2" fmla="*/ 5187 h 6037"/>
                  <a:gd name="connsiteX3" fmla="*/ 2470 w 6915"/>
                  <a:gd name="connsiteY3" fmla="*/ 0 h 6037"/>
                  <a:gd name="connsiteX4" fmla="*/ 4638 w 6915"/>
                  <a:gd name="connsiteY4" fmla="*/ 275 h 6037"/>
                  <a:gd name="connsiteX5" fmla="*/ 6888 w 6915"/>
                  <a:gd name="connsiteY5" fmla="*/ 5297 h 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15" h="6037">
                    <a:moveTo>
                      <a:pt x="6916" y="5297"/>
                    </a:moveTo>
                    <a:lnTo>
                      <a:pt x="604" y="6038"/>
                    </a:lnTo>
                    <a:lnTo>
                      <a:pt x="0" y="5187"/>
                    </a:lnTo>
                    <a:lnTo>
                      <a:pt x="2470" y="0"/>
                    </a:lnTo>
                    <a:lnTo>
                      <a:pt x="4638" y="275"/>
                    </a:lnTo>
                    <a:lnTo>
                      <a:pt x="6888" y="52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3" name="Freeform: Shape 3492">
                <a:extLst>
                  <a:ext uri="{FF2B5EF4-FFF2-40B4-BE49-F238E27FC236}">
                    <a16:creationId xmlns:a16="http://schemas.microsoft.com/office/drawing/2014/main" id="{979AE77D-80D9-DAD3-F7E3-1804C63251CC}"/>
                  </a:ext>
                </a:extLst>
              </p:cNvPr>
              <p:cNvSpPr/>
              <p:nvPr/>
            </p:nvSpPr>
            <p:spPr>
              <a:xfrm>
                <a:off x="1136640" y="4028788"/>
                <a:ext cx="475" cy="484"/>
              </a:xfrm>
              <a:custGeom>
                <a:avLst/>
                <a:gdLst>
                  <a:gd name="connsiteX0" fmla="*/ 4556 w 4555"/>
                  <a:gd name="connsiteY0" fmla="*/ 3513 h 4637"/>
                  <a:gd name="connsiteX1" fmla="*/ 1756 w 4555"/>
                  <a:gd name="connsiteY1" fmla="*/ 4638 h 4637"/>
                  <a:gd name="connsiteX2" fmla="*/ 0 w 4555"/>
                  <a:gd name="connsiteY2" fmla="*/ 2882 h 4637"/>
                  <a:gd name="connsiteX3" fmla="*/ 4254 w 4555"/>
                  <a:gd name="connsiteY3" fmla="*/ 0 h 4637"/>
                  <a:gd name="connsiteX4" fmla="*/ 4556 w 4555"/>
                  <a:gd name="connsiteY4" fmla="*/ 3485 h 4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4637">
                    <a:moveTo>
                      <a:pt x="4556" y="3513"/>
                    </a:moveTo>
                    <a:lnTo>
                      <a:pt x="1756" y="4638"/>
                    </a:lnTo>
                    <a:lnTo>
                      <a:pt x="0" y="2882"/>
                    </a:lnTo>
                    <a:lnTo>
                      <a:pt x="4254" y="0"/>
                    </a:lnTo>
                    <a:lnTo>
                      <a:pt x="4556"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4" name="Freeform: Shape 3493">
                <a:extLst>
                  <a:ext uri="{FF2B5EF4-FFF2-40B4-BE49-F238E27FC236}">
                    <a16:creationId xmlns:a16="http://schemas.microsoft.com/office/drawing/2014/main" id="{585F0EA3-4B14-9A83-3A54-252A1734AAE9}"/>
                  </a:ext>
                </a:extLst>
              </p:cNvPr>
              <p:cNvSpPr/>
              <p:nvPr/>
            </p:nvSpPr>
            <p:spPr>
              <a:xfrm>
                <a:off x="1136033" y="4023281"/>
                <a:ext cx="366" cy="481"/>
              </a:xfrm>
              <a:custGeom>
                <a:avLst/>
                <a:gdLst>
                  <a:gd name="connsiteX0" fmla="*/ 3513 w 3512"/>
                  <a:gd name="connsiteY0" fmla="*/ 3458 h 4610"/>
                  <a:gd name="connsiteX1" fmla="*/ 933 w 3512"/>
                  <a:gd name="connsiteY1" fmla="*/ 4610 h 4610"/>
                  <a:gd name="connsiteX2" fmla="*/ 0 w 3512"/>
                  <a:gd name="connsiteY2" fmla="*/ 2470 h 4610"/>
                  <a:gd name="connsiteX3" fmla="*/ 1153 w 3512"/>
                  <a:gd name="connsiteY3" fmla="*/ 0 h 4610"/>
                  <a:gd name="connsiteX4" fmla="*/ 3211 w 3512"/>
                  <a:gd name="connsiteY4" fmla="*/ 741 h 4610"/>
                  <a:gd name="connsiteX5" fmla="*/ 3513 w 3512"/>
                  <a:gd name="connsiteY5" fmla="*/ 3458 h 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 h="4610">
                    <a:moveTo>
                      <a:pt x="3513" y="3458"/>
                    </a:moveTo>
                    <a:lnTo>
                      <a:pt x="933" y="4610"/>
                    </a:lnTo>
                    <a:lnTo>
                      <a:pt x="0" y="2470"/>
                    </a:lnTo>
                    <a:lnTo>
                      <a:pt x="1153" y="0"/>
                    </a:lnTo>
                    <a:lnTo>
                      <a:pt x="3211" y="741"/>
                    </a:lnTo>
                    <a:lnTo>
                      <a:pt x="3513" y="34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5" name="Freeform: Shape 3494">
                <a:extLst>
                  <a:ext uri="{FF2B5EF4-FFF2-40B4-BE49-F238E27FC236}">
                    <a16:creationId xmlns:a16="http://schemas.microsoft.com/office/drawing/2014/main" id="{1C03C5E1-295C-4F5F-88BD-DA10CFBFE7C8}"/>
                  </a:ext>
                </a:extLst>
              </p:cNvPr>
              <p:cNvSpPr/>
              <p:nvPr/>
            </p:nvSpPr>
            <p:spPr>
              <a:xfrm>
                <a:off x="1141577" y="3985295"/>
                <a:ext cx="180" cy="209"/>
              </a:xfrm>
              <a:custGeom>
                <a:avLst/>
                <a:gdLst>
                  <a:gd name="connsiteX0" fmla="*/ 1372 w 1728"/>
                  <a:gd name="connsiteY0" fmla="*/ 192 h 2003"/>
                  <a:gd name="connsiteX1" fmla="*/ 1729 w 1728"/>
                  <a:gd name="connsiteY1" fmla="*/ 2003 h 2003"/>
                  <a:gd name="connsiteX2" fmla="*/ 329 w 1728"/>
                  <a:gd name="connsiteY2" fmla="*/ 1701 h 2003"/>
                  <a:gd name="connsiteX3" fmla="*/ 0 w 1728"/>
                  <a:gd name="connsiteY3" fmla="*/ 960 h 2003"/>
                  <a:gd name="connsiteX4" fmla="*/ 467 w 1728"/>
                  <a:gd name="connsiteY4" fmla="*/ 0 h 2003"/>
                  <a:gd name="connsiteX5" fmla="*/ 1372 w 1728"/>
                  <a:gd name="connsiteY5" fmla="*/ 192 h 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8" h="2003">
                    <a:moveTo>
                      <a:pt x="1372" y="192"/>
                    </a:moveTo>
                    <a:lnTo>
                      <a:pt x="1729" y="2003"/>
                    </a:lnTo>
                    <a:lnTo>
                      <a:pt x="329" y="1701"/>
                    </a:lnTo>
                    <a:lnTo>
                      <a:pt x="0" y="960"/>
                    </a:lnTo>
                    <a:lnTo>
                      <a:pt x="467" y="0"/>
                    </a:lnTo>
                    <a:lnTo>
                      <a:pt x="1372" y="1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6" name="Freeform: Shape 3495">
                <a:extLst>
                  <a:ext uri="{FF2B5EF4-FFF2-40B4-BE49-F238E27FC236}">
                    <a16:creationId xmlns:a16="http://schemas.microsoft.com/office/drawing/2014/main" id="{A0E4A0DF-3192-47AD-44CC-7F5880948084}"/>
                  </a:ext>
                </a:extLst>
              </p:cNvPr>
              <p:cNvSpPr/>
              <p:nvPr/>
            </p:nvSpPr>
            <p:spPr>
              <a:xfrm>
                <a:off x="1141443" y="3985343"/>
                <a:ext cx="140" cy="183"/>
              </a:xfrm>
              <a:custGeom>
                <a:avLst/>
                <a:gdLst>
                  <a:gd name="connsiteX0" fmla="*/ 1317 w 1344"/>
                  <a:gd name="connsiteY0" fmla="*/ 1180 h 1756"/>
                  <a:gd name="connsiteX1" fmla="*/ 604 w 1344"/>
                  <a:gd name="connsiteY1" fmla="*/ 1756 h 1756"/>
                  <a:gd name="connsiteX2" fmla="*/ 0 w 1344"/>
                  <a:gd name="connsiteY2" fmla="*/ 961 h 1756"/>
                  <a:gd name="connsiteX3" fmla="*/ 988 w 1344"/>
                  <a:gd name="connsiteY3" fmla="*/ 0 h 1756"/>
                  <a:gd name="connsiteX4" fmla="*/ 1345 w 1344"/>
                  <a:gd name="connsiteY4" fmla="*/ 1207 h 1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 h="1756">
                    <a:moveTo>
                      <a:pt x="1317" y="1180"/>
                    </a:moveTo>
                    <a:lnTo>
                      <a:pt x="604" y="1756"/>
                    </a:lnTo>
                    <a:lnTo>
                      <a:pt x="0" y="961"/>
                    </a:lnTo>
                    <a:lnTo>
                      <a:pt x="988" y="0"/>
                    </a:lnTo>
                    <a:lnTo>
                      <a:pt x="1345" y="12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7" name="Freeform: Shape 3496">
                <a:extLst>
                  <a:ext uri="{FF2B5EF4-FFF2-40B4-BE49-F238E27FC236}">
                    <a16:creationId xmlns:a16="http://schemas.microsoft.com/office/drawing/2014/main" id="{32CDBAA1-7455-32DF-61C5-AD6708E35D5A}"/>
                  </a:ext>
                </a:extLst>
              </p:cNvPr>
              <p:cNvSpPr/>
              <p:nvPr/>
            </p:nvSpPr>
            <p:spPr>
              <a:xfrm>
                <a:off x="1493561" y="3805145"/>
                <a:ext cx="4966" cy="5581"/>
              </a:xfrm>
              <a:custGeom>
                <a:avLst/>
                <a:gdLst>
                  <a:gd name="connsiteX0" fmla="*/ 43524 w 47613"/>
                  <a:gd name="connsiteY0" fmla="*/ 37542 h 53513"/>
                  <a:gd name="connsiteX1" fmla="*/ 41796 w 47613"/>
                  <a:gd name="connsiteY1" fmla="*/ 40341 h 53513"/>
                  <a:gd name="connsiteX2" fmla="*/ 40890 w 47613"/>
                  <a:gd name="connsiteY2" fmla="*/ 41823 h 53513"/>
                  <a:gd name="connsiteX3" fmla="*/ 39792 w 47613"/>
                  <a:gd name="connsiteY3" fmla="*/ 43634 h 53513"/>
                  <a:gd name="connsiteX4" fmla="*/ 35758 w 47613"/>
                  <a:gd name="connsiteY4" fmla="*/ 50111 h 53513"/>
                  <a:gd name="connsiteX5" fmla="*/ 34935 w 47613"/>
                  <a:gd name="connsiteY5" fmla="*/ 51483 h 53513"/>
                  <a:gd name="connsiteX6" fmla="*/ 30901 w 47613"/>
                  <a:gd name="connsiteY6" fmla="*/ 51758 h 53513"/>
                  <a:gd name="connsiteX7" fmla="*/ 24890 w 47613"/>
                  <a:gd name="connsiteY7" fmla="*/ 48959 h 53513"/>
                  <a:gd name="connsiteX8" fmla="*/ 20198 w 47613"/>
                  <a:gd name="connsiteY8" fmla="*/ 50193 h 53513"/>
                  <a:gd name="connsiteX9" fmla="*/ 7409 w 47613"/>
                  <a:gd name="connsiteY9" fmla="*/ 53514 h 53513"/>
                  <a:gd name="connsiteX10" fmla="*/ 960 w 47613"/>
                  <a:gd name="connsiteY10" fmla="*/ 51291 h 53513"/>
                  <a:gd name="connsiteX11" fmla="*/ 0 w 47613"/>
                  <a:gd name="connsiteY11" fmla="*/ 36801 h 53513"/>
                  <a:gd name="connsiteX12" fmla="*/ 1536 w 47613"/>
                  <a:gd name="connsiteY12" fmla="*/ 30297 h 53513"/>
                  <a:gd name="connsiteX13" fmla="*/ 18332 w 47613"/>
                  <a:gd name="connsiteY13" fmla="*/ 7272 h 53513"/>
                  <a:gd name="connsiteX14" fmla="*/ 20170 w 47613"/>
                  <a:gd name="connsiteY14" fmla="*/ 6559 h 53513"/>
                  <a:gd name="connsiteX15" fmla="*/ 21597 w 47613"/>
                  <a:gd name="connsiteY15" fmla="*/ 6477 h 53513"/>
                  <a:gd name="connsiteX16" fmla="*/ 27580 w 47613"/>
                  <a:gd name="connsiteY16" fmla="*/ 9852 h 53513"/>
                  <a:gd name="connsiteX17" fmla="*/ 32547 w 47613"/>
                  <a:gd name="connsiteY17" fmla="*/ 3183 h 53513"/>
                  <a:gd name="connsiteX18" fmla="*/ 39545 w 47613"/>
                  <a:gd name="connsiteY18" fmla="*/ 0 h 53513"/>
                  <a:gd name="connsiteX19" fmla="*/ 45582 w 47613"/>
                  <a:gd name="connsiteY19" fmla="*/ 8343 h 53513"/>
                  <a:gd name="connsiteX20" fmla="*/ 47613 w 47613"/>
                  <a:gd name="connsiteY20" fmla="*/ 19594 h 53513"/>
                  <a:gd name="connsiteX21" fmla="*/ 36883 w 47613"/>
                  <a:gd name="connsiteY21" fmla="*/ 27141 h 53513"/>
                  <a:gd name="connsiteX22" fmla="*/ 29720 w 47613"/>
                  <a:gd name="connsiteY22" fmla="*/ 29035 h 53513"/>
                  <a:gd name="connsiteX23" fmla="*/ 27003 w 47613"/>
                  <a:gd name="connsiteY23" fmla="*/ 33920 h 53513"/>
                  <a:gd name="connsiteX24" fmla="*/ 39298 w 47613"/>
                  <a:gd name="connsiteY24" fmla="*/ 33782 h 53513"/>
                  <a:gd name="connsiteX25" fmla="*/ 43497 w 47613"/>
                  <a:gd name="connsiteY25" fmla="*/ 37570 h 5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7613" h="53513">
                    <a:moveTo>
                      <a:pt x="43524" y="37542"/>
                    </a:moveTo>
                    <a:lnTo>
                      <a:pt x="41796" y="40341"/>
                    </a:lnTo>
                    <a:lnTo>
                      <a:pt x="40890" y="41823"/>
                    </a:lnTo>
                    <a:lnTo>
                      <a:pt x="39792" y="43634"/>
                    </a:lnTo>
                    <a:lnTo>
                      <a:pt x="35758" y="50111"/>
                    </a:lnTo>
                    <a:lnTo>
                      <a:pt x="34935" y="51483"/>
                    </a:lnTo>
                    <a:lnTo>
                      <a:pt x="30901" y="51758"/>
                    </a:lnTo>
                    <a:lnTo>
                      <a:pt x="24890" y="48959"/>
                    </a:lnTo>
                    <a:lnTo>
                      <a:pt x="20198" y="50193"/>
                    </a:lnTo>
                    <a:lnTo>
                      <a:pt x="7409" y="53514"/>
                    </a:lnTo>
                    <a:lnTo>
                      <a:pt x="960" y="51291"/>
                    </a:lnTo>
                    <a:lnTo>
                      <a:pt x="0" y="36801"/>
                    </a:lnTo>
                    <a:lnTo>
                      <a:pt x="1536" y="30297"/>
                    </a:lnTo>
                    <a:lnTo>
                      <a:pt x="18332" y="7272"/>
                    </a:lnTo>
                    <a:lnTo>
                      <a:pt x="20170" y="6559"/>
                    </a:lnTo>
                    <a:lnTo>
                      <a:pt x="21597" y="6477"/>
                    </a:lnTo>
                    <a:lnTo>
                      <a:pt x="27580" y="9852"/>
                    </a:lnTo>
                    <a:lnTo>
                      <a:pt x="32547" y="3183"/>
                    </a:lnTo>
                    <a:lnTo>
                      <a:pt x="39545" y="0"/>
                    </a:lnTo>
                    <a:lnTo>
                      <a:pt x="45582" y="8343"/>
                    </a:lnTo>
                    <a:lnTo>
                      <a:pt x="47613" y="19594"/>
                    </a:lnTo>
                    <a:lnTo>
                      <a:pt x="36883" y="27141"/>
                    </a:lnTo>
                    <a:lnTo>
                      <a:pt x="29720" y="29035"/>
                    </a:lnTo>
                    <a:lnTo>
                      <a:pt x="27003" y="33920"/>
                    </a:lnTo>
                    <a:lnTo>
                      <a:pt x="39298" y="33782"/>
                    </a:lnTo>
                    <a:lnTo>
                      <a:pt x="43497" y="375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8" name="Freeform: Shape 3497">
                <a:extLst>
                  <a:ext uri="{FF2B5EF4-FFF2-40B4-BE49-F238E27FC236}">
                    <a16:creationId xmlns:a16="http://schemas.microsoft.com/office/drawing/2014/main" id="{36E71666-FDEE-F949-F373-C340D7D426C2}"/>
                  </a:ext>
                </a:extLst>
              </p:cNvPr>
              <p:cNvSpPr/>
              <p:nvPr/>
            </p:nvSpPr>
            <p:spPr>
              <a:xfrm>
                <a:off x="1176850" y="3795946"/>
                <a:ext cx="635" cy="1288"/>
              </a:xfrm>
              <a:custGeom>
                <a:avLst/>
                <a:gdLst>
                  <a:gd name="connsiteX0" fmla="*/ 0 w 6092"/>
                  <a:gd name="connsiteY0" fmla="*/ 3567 h 12349"/>
                  <a:gd name="connsiteX1" fmla="*/ 522 w 6092"/>
                  <a:gd name="connsiteY1" fmla="*/ 0 h 12349"/>
                  <a:gd name="connsiteX2" fmla="*/ 5489 w 6092"/>
                  <a:gd name="connsiteY2" fmla="*/ 2415 h 12349"/>
                  <a:gd name="connsiteX3" fmla="*/ 6093 w 6092"/>
                  <a:gd name="connsiteY3" fmla="*/ 10593 h 12349"/>
                  <a:gd name="connsiteX4" fmla="*/ 3787 w 6092"/>
                  <a:gd name="connsiteY4" fmla="*/ 12349 h 12349"/>
                  <a:gd name="connsiteX5" fmla="*/ 2964 w 6092"/>
                  <a:gd name="connsiteY5" fmla="*/ 11828 h 12349"/>
                  <a:gd name="connsiteX6" fmla="*/ 0 w 6092"/>
                  <a:gd name="connsiteY6" fmla="*/ 3567 h 12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2" h="12349">
                    <a:moveTo>
                      <a:pt x="0" y="3567"/>
                    </a:moveTo>
                    <a:lnTo>
                      <a:pt x="522" y="0"/>
                    </a:lnTo>
                    <a:lnTo>
                      <a:pt x="5489" y="2415"/>
                    </a:lnTo>
                    <a:lnTo>
                      <a:pt x="6093" y="10593"/>
                    </a:lnTo>
                    <a:lnTo>
                      <a:pt x="3787" y="12349"/>
                    </a:lnTo>
                    <a:lnTo>
                      <a:pt x="2964" y="11828"/>
                    </a:lnTo>
                    <a:lnTo>
                      <a:pt x="0" y="35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9" name="Freeform: Shape 3498">
                <a:extLst>
                  <a:ext uri="{FF2B5EF4-FFF2-40B4-BE49-F238E27FC236}">
                    <a16:creationId xmlns:a16="http://schemas.microsoft.com/office/drawing/2014/main" id="{F8379D88-2A95-3564-C715-570CE2DE4D74}"/>
                  </a:ext>
                </a:extLst>
              </p:cNvPr>
              <p:cNvSpPr/>
              <p:nvPr/>
            </p:nvSpPr>
            <p:spPr>
              <a:xfrm>
                <a:off x="1144603" y="3782092"/>
                <a:ext cx="11091" cy="7327"/>
              </a:xfrm>
              <a:custGeom>
                <a:avLst/>
                <a:gdLst>
                  <a:gd name="connsiteX0" fmla="*/ 28815 w 106341"/>
                  <a:gd name="connsiteY0" fmla="*/ 82 h 70253"/>
                  <a:gd name="connsiteX1" fmla="*/ 50879 w 106341"/>
                  <a:gd name="connsiteY1" fmla="*/ 8288 h 70253"/>
                  <a:gd name="connsiteX2" fmla="*/ 58700 w 106341"/>
                  <a:gd name="connsiteY2" fmla="*/ 7986 h 70253"/>
                  <a:gd name="connsiteX3" fmla="*/ 65671 w 106341"/>
                  <a:gd name="connsiteY3" fmla="*/ 18963 h 70253"/>
                  <a:gd name="connsiteX4" fmla="*/ 81643 w 106341"/>
                  <a:gd name="connsiteY4" fmla="*/ 20006 h 70253"/>
                  <a:gd name="connsiteX5" fmla="*/ 79612 w 106341"/>
                  <a:gd name="connsiteY5" fmla="*/ 22339 h 70253"/>
                  <a:gd name="connsiteX6" fmla="*/ 70418 w 106341"/>
                  <a:gd name="connsiteY6" fmla="*/ 22393 h 70253"/>
                  <a:gd name="connsiteX7" fmla="*/ 70364 w 106341"/>
                  <a:gd name="connsiteY7" fmla="*/ 25440 h 70253"/>
                  <a:gd name="connsiteX8" fmla="*/ 92428 w 106341"/>
                  <a:gd name="connsiteY8" fmla="*/ 29007 h 70253"/>
                  <a:gd name="connsiteX9" fmla="*/ 106342 w 106341"/>
                  <a:gd name="connsiteY9" fmla="*/ 41274 h 70253"/>
                  <a:gd name="connsiteX10" fmla="*/ 103323 w 106341"/>
                  <a:gd name="connsiteY10" fmla="*/ 47174 h 70253"/>
                  <a:gd name="connsiteX11" fmla="*/ 98822 w 106341"/>
                  <a:gd name="connsiteY11" fmla="*/ 50220 h 70253"/>
                  <a:gd name="connsiteX12" fmla="*/ 99590 w 106341"/>
                  <a:gd name="connsiteY12" fmla="*/ 56203 h 70253"/>
                  <a:gd name="connsiteX13" fmla="*/ 95254 w 106341"/>
                  <a:gd name="connsiteY13" fmla="*/ 54557 h 70253"/>
                  <a:gd name="connsiteX14" fmla="*/ 90726 w 106341"/>
                  <a:gd name="connsiteY14" fmla="*/ 47860 h 70253"/>
                  <a:gd name="connsiteX15" fmla="*/ 82192 w 106341"/>
                  <a:gd name="connsiteY15" fmla="*/ 46022 h 70253"/>
                  <a:gd name="connsiteX16" fmla="*/ 60896 w 106341"/>
                  <a:gd name="connsiteY16" fmla="*/ 45445 h 70253"/>
                  <a:gd name="connsiteX17" fmla="*/ 53047 w 106341"/>
                  <a:gd name="connsiteY17" fmla="*/ 51702 h 70253"/>
                  <a:gd name="connsiteX18" fmla="*/ 45473 w 106341"/>
                  <a:gd name="connsiteY18" fmla="*/ 52745 h 70253"/>
                  <a:gd name="connsiteX19" fmla="*/ 42015 w 106341"/>
                  <a:gd name="connsiteY19" fmla="*/ 51511 h 70253"/>
                  <a:gd name="connsiteX20" fmla="*/ 38585 w 106341"/>
                  <a:gd name="connsiteY20" fmla="*/ 47147 h 70253"/>
                  <a:gd name="connsiteX21" fmla="*/ 31093 w 106341"/>
                  <a:gd name="connsiteY21" fmla="*/ 50824 h 70253"/>
                  <a:gd name="connsiteX22" fmla="*/ 27086 w 106341"/>
                  <a:gd name="connsiteY22" fmla="*/ 50961 h 70253"/>
                  <a:gd name="connsiteX23" fmla="*/ 25192 w 106341"/>
                  <a:gd name="connsiteY23" fmla="*/ 57987 h 70253"/>
                  <a:gd name="connsiteX24" fmla="*/ 15944 w 106341"/>
                  <a:gd name="connsiteY24" fmla="*/ 70254 h 70253"/>
                  <a:gd name="connsiteX25" fmla="*/ 10346 w 106341"/>
                  <a:gd name="connsiteY25" fmla="*/ 66384 h 70253"/>
                  <a:gd name="connsiteX26" fmla="*/ 6531 w 106341"/>
                  <a:gd name="connsiteY26" fmla="*/ 58508 h 70253"/>
                  <a:gd name="connsiteX27" fmla="*/ 7656 w 106341"/>
                  <a:gd name="connsiteY27" fmla="*/ 49041 h 70253"/>
                  <a:gd name="connsiteX28" fmla="*/ 3074 w 106341"/>
                  <a:gd name="connsiteY28" fmla="*/ 45747 h 70253"/>
                  <a:gd name="connsiteX29" fmla="*/ 0 w 106341"/>
                  <a:gd name="connsiteY29" fmla="*/ 40094 h 70253"/>
                  <a:gd name="connsiteX30" fmla="*/ 4418 w 106341"/>
                  <a:gd name="connsiteY30" fmla="*/ 39436 h 70253"/>
                  <a:gd name="connsiteX31" fmla="*/ 6641 w 106341"/>
                  <a:gd name="connsiteY31" fmla="*/ 36691 h 70253"/>
                  <a:gd name="connsiteX32" fmla="*/ 7218 w 106341"/>
                  <a:gd name="connsiteY32" fmla="*/ 32904 h 70253"/>
                  <a:gd name="connsiteX33" fmla="*/ 5132 w 106341"/>
                  <a:gd name="connsiteY33" fmla="*/ 29446 h 70253"/>
                  <a:gd name="connsiteX34" fmla="*/ 10181 w 106341"/>
                  <a:gd name="connsiteY34" fmla="*/ 23217 h 70253"/>
                  <a:gd name="connsiteX35" fmla="*/ 6257 w 106341"/>
                  <a:gd name="connsiteY35" fmla="*/ 18551 h 70253"/>
                  <a:gd name="connsiteX36" fmla="*/ 8590 w 106341"/>
                  <a:gd name="connsiteY36" fmla="*/ 14243 h 70253"/>
                  <a:gd name="connsiteX37" fmla="*/ 6394 w 106341"/>
                  <a:gd name="connsiteY37" fmla="*/ 6614 h 70253"/>
                  <a:gd name="connsiteX38" fmla="*/ 10346 w 106341"/>
                  <a:gd name="connsiteY38" fmla="*/ 1098 h 70253"/>
                  <a:gd name="connsiteX39" fmla="*/ 20362 w 106341"/>
                  <a:gd name="connsiteY39" fmla="*/ 2086 h 70253"/>
                  <a:gd name="connsiteX40" fmla="*/ 28842 w 106341"/>
                  <a:gd name="connsiteY40" fmla="*/ 0 h 7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6341" h="70253">
                    <a:moveTo>
                      <a:pt x="28815" y="82"/>
                    </a:moveTo>
                    <a:lnTo>
                      <a:pt x="50879" y="8288"/>
                    </a:lnTo>
                    <a:lnTo>
                      <a:pt x="58700" y="7986"/>
                    </a:lnTo>
                    <a:lnTo>
                      <a:pt x="65671" y="18963"/>
                    </a:lnTo>
                    <a:lnTo>
                      <a:pt x="81643" y="20006"/>
                    </a:lnTo>
                    <a:lnTo>
                      <a:pt x="79612" y="22339"/>
                    </a:lnTo>
                    <a:lnTo>
                      <a:pt x="70418" y="22393"/>
                    </a:lnTo>
                    <a:lnTo>
                      <a:pt x="70364" y="25440"/>
                    </a:lnTo>
                    <a:lnTo>
                      <a:pt x="92428" y="29007"/>
                    </a:lnTo>
                    <a:lnTo>
                      <a:pt x="106342" y="41274"/>
                    </a:lnTo>
                    <a:lnTo>
                      <a:pt x="103323" y="47174"/>
                    </a:lnTo>
                    <a:lnTo>
                      <a:pt x="98822" y="50220"/>
                    </a:lnTo>
                    <a:lnTo>
                      <a:pt x="99590" y="56203"/>
                    </a:lnTo>
                    <a:lnTo>
                      <a:pt x="95254" y="54557"/>
                    </a:lnTo>
                    <a:lnTo>
                      <a:pt x="90726" y="47860"/>
                    </a:lnTo>
                    <a:lnTo>
                      <a:pt x="82192" y="46022"/>
                    </a:lnTo>
                    <a:lnTo>
                      <a:pt x="60896" y="45445"/>
                    </a:lnTo>
                    <a:lnTo>
                      <a:pt x="53047" y="51702"/>
                    </a:lnTo>
                    <a:lnTo>
                      <a:pt x="45473" y="52745"/>
                    </a:lnTo>
                    <a:lnTo>
                      <a:pt x="42015" y="51511"/>
                    </a:lnTo>
                    <a:lnTo>
                      <a:pt x="38585" y="47147"/>
                    </a:lnTo>
                    <a:lnTo>
                      <a:pt x="31093" y="50824"/>
                    </a:lnTo>
                    <a:lnTo>
                      <a:pt x="27086" y="50961"/>
                    </a:lnTo>
                    <a:lnTo>
                      <a:pt x="25192" y="57987"/>
                    </a:lnTo>
                    <a:lnTo>
                      <a:pt x="15944" y="70254"/>
                    </a:lnTo>
                    <a:lnTo>
                      <a:pt x="10346" y="66384"/>
                    </a:lnTo>
                    <a:lnTo>
                      <a:pt x="6531" y="58508"/>
                    </a:lnTo>
                    <a:lnTo>
                      <a:pt x="7656" y="49041"/>
                    </a:lnTo>
                    <a:lnTo>
                      <a:pt x="3074" y="45747"/>
                    </a:lnTo>
                    <a:lnTo>
                      <a:pt x="0" y="40094"/>
                    </a:lnTo>
                    <a:lnTo>
                      <a:pt x="4418" y="39436"/>
                    </a:lnTo>
                    <a:lnTo>
                      <a:pt x="6641" y="36691"/>
                    </a:lnTo>
                    <a:lnTo>
                      <a:pt x="7218" y="32904"/>
                    </a:lnTo>
                    <a:lnTo>
                      <a:pt x="5132" y="29446"/>
                    </a:lnTo>
                    <a:lnTo>
                      <a:pt x="10181" y="23217"/>
                    </a:lnTo>
                    <a:lnTo>
                      <a:pt x="6257" y="18551"/>
                    </a:lnTo>
                    <a:lnTo>
                      <a:pt x="8590" y="14243"/>
                    </a:lnTo>
                    <a:lnTo>
                      <a:pt x="6394" y="6614"/>
                    </a:lnTo>
                    <a:lnTo>
                      <a:pt x="10346" y="1098"/>
                    </a:lnTo>
                    <a:lnTo>
                      <a:pt x="20362" y="2086"/>
                    </a:lnTo>
                    <a:lnTo>
                      <a:pt x="28842"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0" name="Freeform: Shape 3499">
                <a:extLst>
                  <a:ext uri="{FF2B5EF4-FFF2-40B4-BE49-F238E27FC236}">
                    <a16:creationId xmlns:a16="http://schemas.microsoft.com/office/drawing/2014/main" id="{CC014DA1-5748-1E0F-DF20-2924EFA0829D}"/>
                  </a:ext>
                </a:extLst>
              </p:cNvPr>
              <p:cNvSpPr/>
              <p:nvPr/>
            </p:nvSpPr>
            <p:spPr>
              <a:xfrm>
                <a:off x="1145819" y="3789454"/>
                <a:ext cx="418" cy="341"/>
              </a:xfrm>
              <a:custGeom>
                <a:avLst/>
                <a:gdLst>
                  <a:gd name="connsiteX0" fmla="*/ 2662 w 4006"/>
                  <a:gd name="connsiteY0" fmla="*/ 3238 h 3265"/>
                  <a:gd name="connsiteX1" fmla="*/ 0 w 4006"/>
                  <a:gd name="connsiteY1" fmla="*/ 3238 h 3265"/>
                  <a:gd name="connsiteX2" fmla="*/ 1537 w 4006"/>
                  <a:gd name="connsiteY2" fmla="*/ 0 h 3265"/>
                  <a:gd name="connsiteX3" fmla="*/ 4007 w 4006"/>
                  <a:gd name="connsiteY3" fmla="*/ 1701 h 3265"/>
                  <a:gd name="connsiteX4" fmla="*/ 2662 w 4006"/>
                  <a:gd name="connsiteY4" fmla="*/ 3266 h 3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3265">
                    <a:moveTo>
                      <a:pt x="2662" y="3238"/>
                    </a:moveTo>
                    <a:lnTo>
                      <a:pt x="0" y="3238"/>
                    </a:lnTo>
                    <a:cubicBezTo>
                      <a:pt x="0" y="3238"/>
                      <a:pt x="1537" y="0"/>
                      <a:pt x="1537" y="0"/>
                    </a:cubicBezTo>
                    <a:lnTo>
                      <a:pt x="4007" y="1701"/>
                    </a:lnTo>
                    <a:lnTo>
                      <a:pt x="2662"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1" name="Freeform: Shape 3500">
                <a:extLst>
                  <a:ext uri="{FF2B5EF4-FFF2-40B4-BE49-F238E27FC236}">
                    <a16:creationId xmlns:a16="http://schemas.microsoft.com/office/drawing/2014/main" id="{2589B8D4-C602-8EDA-A08D-7A59266930A8}"/>
                  </a:ext>
                </a:extLst>
              </p:cNvPr>
              <p:cNvSpPr/>
              <p:nvPr/>
            </p:nvSpPr>
            <p:spPr>
              <a:xfrm>
                <a:off x="1338809" y="3721832"/>
                <a:ext cx="63386" cy="63229"/>
              </a:xfrm>
              <a:custGeom>
                <a:avLst/>
                <a:gdLst>
                  <a:gd name="connsiteX0" fmla="*/ 509067 w 607724"/>
                  <a:gd name="connsiteY0" fmla="*/ 4994 h 606215"/>
                  <a:gd name="connsiteX1" fmla="*/ 508601 w 607724"/>
                  <a:gd name="connsiteY1" fmla="*/ 9440 h 606215"/>
                  <a:gd name="connsiteX2" fmla="*/ 496965 w 607724"/>
                  <a:gd name="connsiteY2" fmla="*/ 21241 h 606215"/>
                  <a:gd name="connsiteX3" fmla="*/ 501493 w 607724"/>
                  <a:gd name="connsiteY3" fmla="*/ 26153 h 606215"/>
                  <a:gd name="connsiteX4" fmla="*/ 498118 w 607724"/>
                  <a:gd name="connsiteY4" fmla="*/ 45967 h 606215"/>
                  <a:gd name="connsiteX5" fmla="*/ 500478 w 607724"/>
                  <a:gd name="connsiteY5" fmla="*/ 53486 h 606215"/>
                  <a:gd name="connsiteX6" fmla="*/ 500258 w 607724"/>
                  <a:gd name="connsiteY6" fmla="*/ 63695 h 606215"/>
                  <a:gd name="connsiteX7" fmla="*/ 502865 w 607724"/>
                  <a:gd name="connsiteY7" fmla="*/ 67949 h 606215"/>
                  <a:gd name="connsiteX8" fmla="*/ 498227 w 607724"/>
                  <a:gd name="connsiteY8" fmla="*/ 78597 h 606215"/>
                  <a:gd name="connsiteX9" fmla="*/ 497651 w 607724"/>
                  <a:gd name="connsiteY9" fmla="*/ 86967 h 606215"/>
                  <a:gd name="connsiteX10" fmla="*/ 478002 w 607724"/>
                  <a:gd name="connsiteY10" fmla="*/ 107686 h 606215"/>
                  <a:gd name="connsiteX11" fmla="*/ 476547 w 607724"/>
                  <a:gd name="connsiteY11" fmla="*/ 117813 h 606215"/>
                  <a:gd name="connsiteX12" fmla="*/ 484506 w 607724"/>
                  <a:gd name="connsiteY12" fmla="*/ 137928 h 606215"/>
                  <a:gd name="connsiteX13" fmla="*/ 493315 w 607724"/>
                  <a:gd name="connsiteY13" fmla="*/ 143582 h 606215"/>
                  <a:gd name="connsiteX14" fmla="*/ 498529 w 607724"/>
                  <a:gd name="connsiteY14" fmla="*/ 151458 h 606215"/>
                  <a:gd name="connsiteX15" fmla="*/ 501685 w 607724"/>
                  <a:gd name="connsiteY15" fmla="*/ 164027 h 606215"/>
                  <a:gd name="connsiteX16" fmla="*/ 521526 w 607724"/>
                  <a:gd name="connsiteY16" fmla="*/ 179312 h 606215"/>
                  <a:gd name="connsiteX17" fmla="*/ 535797 w 607724"/>
                  <a:gd name="connsiteY17" fmla="*/ 241663 h 606215"/>
                  <a:gd name="connsiteX18" fmla="*/ 531488 w 607724"/>
                  <a:gd name="connsiteY18" fmla="*/ 246026 h 606215"/>
                  <a:gd name="connsiteX19" fmla="*/ 542987 w 607724"/>
                  <a:gd name="connsiteY19" fmla="*/ 271219 h 606215"/>
                  <a:gd name="connsiteX20" fmla="*/ 546115 w 607724"/>
                  <a:gd name="connsiteY20" fmla="*/ 291005 h 606215"/>
                  <a:gd name="connsiteX21" fmla="*/ 544441 w 607724"/>
                  <a:gd name="connsiteY21" fmla="*/ 308047 h 606215"/>
                  <a:gd name="connsiteX22" fmla="*/ 547679 w 607724"/>
                  <a:gd name="connsiteY22" fmla="*/ 321851 h 606215"/>
                  <a:gd name="connsiteX23" fmla="*/ 542794 w 607724"/>
                  <a:gd name="connsiteY23" fmla="*/ 340403 h 606215"/>
                  <a:gd name="connsiteX24" fmla="*/ 546554 w 607724"/>
                  <a:gd name="connsiteY24" fmla="*/ 355579 h 606215"/>
                  <a:gd name="connsiteX25" fmla="*/ 546060 w 607724"/>
                  <a:gd name="connsiteY25" fmla="*/ 363208 h 606215"/>
                  <a:gd name="connsiteX26" fmla="*/ 544304 w 607724"/>
                  <a:gd name="connsiteY26" fmla="*/ 366336 h 606215"/>
                  <a:gd name="connsiteX27" fmla="*/ 535138 w 607724"/>
                  <a:gd name="connsiteY27" fmla="*/ 371029 h 606215"/>
                  <a:gd name="connsiteX28" fmla="*/ 531955 w 607724"/>
                  <a:gd name="connsiteY28" fmla="*/ 377560 h 606215"/>
                  <a:gd name="connsiteX29" fmla="*/ 549079 w 607724"/>
                  <a:gd name="connsiteY29" fmla="*/ 404180 h 606215"/>
                  <a:gd name="connsiteX30" fmla="*/ 550589 w 607724"/>
                  <a:gd name="connsiteY30" fmla="*/ 420179 h 606215"/>
                  <a:gd name="connsiteX31" fmla="*/ 554952 w 607724"/>
                  <a:gd name="connsiteY31" fmla="*/ 424049 h 606215"/>
                  <a:gd name="connsiteX32" fmla="*/ 557038 w 607724"/>
                  <a:gd name="connsiteY32" fmla="*/ 429043 h 606215"/>
                  <a:gd name="connsiteX33" fmla="*/ 562197 w 607724"/>
                  <a:gd name="connsiteY33" fmla="*/ 432639 h 606215"/>
                  <a:gd name="connsiteX34" fmla="*/ 571143 w 607724"/>
                  <a:gd name="connsiteY34" fmla="*/ 430498 h 606215"/>
                  <a:gd name="connsiteX35" fmla="*/ 590435 w 607724"/>
                  <a:gd name="connsiteY35" fmla="*/ 441283 h 606215"/>
                  <a:gd name="connsiteX36" fmla="*/ 596144 w 607724"/>
                  <a:gd name="connsiteY36" fmla="*/ 440460 h 606215"/>
                  <a:gd name="connsiteX37" fmla="*/ 607725 w 607724"/>
                  <a:gd name="connsiteY37" fmla="*/ 463896 h 606215"/>
                  <a:gd name="connsiteX38" fmla="*/ 516614 w 607724"/>
                  <a:gd name="connsiteY38" fmla="*/ 521993 h 606215"/>
                  <a:gd name="connsiteX39" fmla="*/ 475340 w 607724"/>
                  <a:gd name="connsiteY39" fmla="*/ 548064 h 606215"/>
                  <a:gd name="connsiteX40" fmla="*/ 462332 w 607724"/>
                  <a:gd name="connsiteY40" fmla="*/ 559699 h 606215"/>
                  <a:gd name="connsiteX41" fmla="*/ 446470 w 607724"/>
                  <a:gd name="connsiteY41" fmla="*/ 573833 h 606215"/>
                  <a:gd name="connsiteX42" fmla="*/ 438978 w 607724"/>
                  <a:gd name="connsiteY42" fmla="*/ 580474 h 606215"/>
                  <a:gd name="connsiteX43" fmla="*/ 429730 w 607724"/>
                  <a:gd name="connsiteY43" fmla="*/ 588679 h 606215"/>
                  <a:gd name="connsiteX44" fmla="*/ 425284 w 607724"/>
                  <a:gd name="connsiteY44" fmla="*/ 592604 h 606215"/>
                  <a:gd name="connsiteX45" fmla="*/ 400503 w 607724"/>
                  <a:gd name="connsiteY45" fmla="*/ 597735 h 606215"/>
                  <a:gd name="connsiteX46" fmla="*/ 379674 w 607724"/>
                  <a:gd name="connsiteY46" fmla="*/ 602044 h 606215"/>
                  <a:gd name="connsiteX47" fmla="*/ 352560 w 607724"/>
                  <a:gd name="connsiteY47" fmla="*/ 606215 h 606215"/>
                  <a:gd name="connsiteX48" fmla="*/ 347812 w 607724"/>
                  <a:gd name="connsiteY48" fmla="*/ 601303 h 606215"/>
                  <a:gd name="connsiteX49" fmla="*/ 350419 w 607724"/>
                  <a:gd name="connsiteY49" fmla="*/ 591039 h 606215"/>
                  <a:gd name="connsiteX50" fmla="*/ 349047 w 607724"/>
                  <a:gd name="connsiteY50" fmla="*/ 580392 h 606215"/>
                  <a:gd name="connsiteX51" fmla="*/ 334557 w 607724"/>
                  <a:gd name="connsiteY51" fmla="*/ 573888 h 606215"/>
                  <a:gd name="connsiteX52" fmla="*/ 325611 w 607724"/>
                  <a:gd name="connsiteY52" fmla="*/ 572790 h 606215"/>
                  <a:gd name="connsiteX53" fmla="*/ 320314 w 607724"/>
                  <a:gd name="connsiteY53" fmla="*/ 566752 h 606215"/>
                  <a:gd name="connsiteX54" fmla="*/ 308377 w 607724"/>
                  <a:gd name="connsiteY54" fmla="*/ 565408 h 606215"/>
                  <a:gd name="connsiteX55" fmla="*/ 301269 w 607724"/>
                  <a:gd name="connsiteY55" fmla="*/ 556983 h 606215"/>
                  <a:gd name="connsiteX56" fmla="*/ 290621 w 607724"/>
                  <a:gd name="connsiteY56" fmla="*/ 551576 h 606215"/>
                  <a:gd name="connsiteX57" fmla="*/ 287136 w 607724"/>
                  <a:gd name="connsiteY57" fmla="*/ 539913 h 606215"/>
                  <a:gd name="connsiteX58" fmla="*/ 262602 w 607724"/>
                  <a:gd name="connsiteY58" fmla="*/ 521609 h 606215"/>
                  <a:gd name="connsiteX59" fmla="*/ 221794 w 607724"/>
                  <a:gd name="connsiteY59" fmla="*/ 493096 h 606215"/>
                  <a:gd name="connsiteX60" fmla="*/ 193281 w 607724"/>
                  <a:gd name="connsiteY60" fmla="*/ 473090 h 606215"/>
                  <a:gd name="connsiteX61" fmla="*/ 180931 w 607724"/>
                  <a:gd name="connsiteY61" fmla="*/ 464390 h 606215"/>
                  <a:gd name="connsiteX62" fmla="*/ 178873 w 607724"/>
                  <a:gd name="connsiteY62" fmla="*/ 462935 h 606215"/>
                  <a:gd name="connsiteX63" fmla="*/ 112736 w 607724"/>
                  <a:gd name="connsiteY63" fmla="*/ 415981 h 606215"/>
                  <a:gd name="connsiteX64" fmla="*/ 0 w 607724"/>
                  <a:gd name="connsiteY64" fmla="*/ 340128 h 606215"/>
                  <a:gd name="connsiteX65" fmla="*/ 0 w 607724"/>
                  <a:gd name="connsiteY65" fmla="*/ 328547 h 606215"/>
                  <a:gd name="connsiteX66" fmla="*/ 851 w 607724"/>
                  <a:gd name="connsiteY66" fmla="*/ 293256 h 606215"/>
                  <a:gd name="connsiteX67" fmla="*/ 31779 w 607724"/>
                  <a:gd name="connsiteY67" fmla="*/ 271740 h 606215"/>
                  <a:gd name="connsiteX68" fmla="*/ 38145 w 607724"/>
                  <a:gd name="connsiteY68" fmla="*/ 270643 h 606215"/>
                  <a:gd name="connsiteX69" fmla="*/ 44128 w 607724"/>
                  <a:gd name="connsiteY69" fmla="*/ 266718 h 606215"/>
                  <a:gd name="connsiteX70" fmla="*/ 55435 w 607724"/>
                  <a:gd name="connsiteY70" fmla="*/ 267898 h 606215"/>
                  <a:gd name="connsiteX71" fmla="*/ 65616 w 607724"/>
                  <a:gd name="connsiteY71" fmla="*/ 264907 h 606215"/>
                  <a:gd name="connsiteX72" fmla="*/ 84030 w 607724"/>
                  <a:gd name="connsiteY72" fmla="*/ 263398 h 606215"/>
                  <a:gd name="connsiteX73" fmla="*/ 86775 w 607724"/>
                  <a:gd name="connsiteY73" fmla="*/ 265977 h 606215"/>
                  <a:gd name="connsiteX74" fmla="*/ 91714 w 607724"/>
                  <a:gd name="connsiteY74" fmla="*/ 266444 h 606215"/>
                  <a:gd name="connsiteX75" fmla="*/ 99563 w 607724"/>
                  <a:gd name="connsiteY75" fmla="*/ 253738 h 606215"/>
                  <a:gd name="connsiteX76" fmla="*/ 109278 w 607724"/>
                  <a:gd name="connsiteY76" fmla="*/ 245725 h 606215"/>
                  <a:gd name="connsiteX77" fmla="*/ 119459 w 607724"/>
                  <a:gd name="connsiteY77" fmla="*/ 240181 h 606215"/>
                  <a:gd name="connsiteX78" fmla="*/ 128543 w 607724"/>
                  <a:gd name="connsiteY78" fmla="*/ 231893 h 606215"/>
                  <a:gd name="connsiteX79" fmla="*/ 147314 w 607724"/>
                  <a:gd name="connsiteY79" fmla="*/ 226158 h 606215"/>
                  <a:gd name="connsiteX80" fmla="*/ 150635 w 607724"/>
                  <a:gd name="connsiteY80" fmla="*/ 216278 h 606215"/>
                  <a:gd name="connsiteX81" fmla="*/ 144076 w 607724"/>
                  <a:gd name="connsiteY81" fmla="*/ 207524 h 606215"/>
                  <a:gd name="connsiteX82" fmla="*/ 146820 w 607724"/>
                  <a:gd name="connsiteY82" fmla="*/ 202364 h 606215"/>
                  <a:gd name="connsiteX83" fmla="*/ 147286 w 607724"/>
                  <a:gd name="connsiteY83" fmla="*/ 195174 h 606215"/>
                  <a:gd name="connsiteX84" fmla="*/ 157825 w 607724"/>
                  <a:gd name="connsiteY84" fmla="*/ 191662 h 606215"/>
                  <a:gd name="connsiteX85" fmla="*/ 171244 w 607724"/>
                  <a:gd name="connsiteY85" fmla="*/ 188094 h 606215"/>
                  <a:gd name="connsiteX86" fmla="*/ 169159 w 607724"/>
                  <a:gd name="connsiteY86" fmla="*/ 180273 h 606215"/>
                  <a:gd name="connsiteX87" fmla="*/ 170585 w 607724"/>
                  <a:gd name="connsiteY87" fmla="*/ 177474 h 606215"/>
                  <a:gd name="connsiteX88" fmla="*/ 178928 w 607724"/>
                  <a:gd name="connsiteY88" fmla="*/ 176870 h 606215"/>
                  <a:gd name="connsiteX89" fmla="*/ 180986 w 607724"/>
                  <a:gd name="connsiteY89" fmla="*/ 176705 h 606215"/>
                  <a:gd name="connsiteX90" fmla="*/ 193336 w 607724"/>
                  <a:gd name="connsiteY90" fmla="*/ 175772 h 606215"/>
                  <a:gd name="connsiteX91" fmla="*/ 196409 w 607724"/>
                  <a:gd name="connsiteY91" fmla="*/ 175525 h 606215"/>
                  <a:gd name="connsiteX92" fmla="*/ 219269 w 607724"/>
                  <a:gd name="connsiteY92" fmla="*/ 178269 h 606215"/>
                  <a:gd name="connsiteX93" fmla="*/ 220339 w 607724"/>
                  <a:gd name="connsiteY93" fmla="*/ 177062 h 606215"/>
                  <a:gd name="connsiteX94" fmla="*/ 218172 w 607724"/>
                  <a:gd name="connsiteY94" fmla="*/ 174482 h 606215"/>
                  <a:gd name="connsiteX95" fmla="*/ 218748 w 607724"/>
                  <a:gd name="connsiteY95" fmla="*/ 169433 h 606215"/>
                  <a:gd name="connsiteX96" fmla="*/ 221821 w 607724"/>
                  <a:gd name="connsiteY96" fmla="*/ 166579 h 606215"/>
                  <a:gd name="connsiteX97" fmla="*/ 224868 w 607724"/>
                  <a:gd name="connsiteY97" fmla="*/ 163752 h 606215"/>
                  <a:gd name="connsiteX98" fmla="*/ 221821 w 607724"/>
                  <a:gd name="connsiteY98" fmla="*/ 161282 h 606215"/>
                  <a:gd name="connsiteX99" fmla="*/ 214165 w 607724"/>
                  <a:gd name="connsiteY99" fmla="*/ 155108 h 606215"/>
                  <a:gd name="connsiteX100" fmla="*/ 210268 w 607724"/>
                  <a:gd name="connsiteY100" fmla="*/ 148933 h 606215"/>
                  <a:gd name="connsiteX101" fmla="*/ 211146 w 607724"/>
                  <a:gd name="connsiteY101" fmla="*/ 144295 h 606215"/>
                  <a:gd name="connsiteX102" fmla="*/ 206014 w 607724"/>
                  <a:gd name="connsiteY102" fmla="*/ 135980 h 606215"/>
                  <a:gd name="connsiteX103" fmla="*/ 207990 w 607724"/>
                  <a:gd name="connsiteY103" fmla="*/ 126512 h 606215"/>
                  <a:gd name="connsiteX104" fmla="*/ 204505 w 607724"/>
                  <a:gd name="connsiteY104" fmla="*/ 121627 h 606215"/>
                  <a:gd name="connsiteX105" fmla="*/ 206207 w 607724"/>
                  <a:gd name="connsiteY105" fmla="*/ 107851 h 606215"/>
                  <a:gd name="connsiteX106" fmla="*/ 203078 w 607724"/>
                  <a:gd name="connsiteY106" fmla="*/ 97423 h 606215"/>
                  <a:gd name="connsiteX107" fmla="*/ 204450 w 607724"/>
                  <a:gd name="connsiteY107" fmla="*/ 93663 h 606215"/>
                  <a:gd name="connsiteX108" fmla="*/ 201184 w 607724"/>
                  <a:gd name="connsiteY108" fmla="*/ 89245 h 606215"/>
                  <a:gd name="connsiteX109" fmla="*/ 202913 w 607724"/>
                  <a:gd name="connsiteY109" fmla="*/ 84744 h 606215"/>
                  <a:gd name="connsiteX110" fmla="*/ 193336 w 607724"/>
                  <a:gd name="connsiteY110" fmla="*/ 75770 h 606215"/>
                  <a:gd name="connsiteX111" fmla="*/ 189933 w 607724"/>
                  <a:gd name="connsiteY111" fmla="*/ 72587 h 606215"/>
                  <a:gd name="connsiteX112" fmla="*/ 198824 w 607724"/>
                  <a:gd name="connsiteY112" fmla="*/ 72587 h 606215"/>
                  <a:gd name="connsiteX113" fmla="*/ 203297 w 607724"/>
                  <a:gd name="connsiteY113" fmla="*/ 70968 h 606215"/>
                  <a:gd name="connsiteX114" fmla="*/ 211530 w 607724"/>
                  <a:gd name="connsiteY114" fmla="*/ 64875 h 606215"/>
                  <a:gd name="connsiteX115" fmla="*/ 214851 w 607724"/>
                  <a:gd name="connsiteY115" fmla="*/ 64134 h 606215"/>
                  <a:gd name="connsiteX116" fmla="*/ 217650 w 607724"/>
                  <a:gd name="connsiteY116" fmla="*/ 61939 h 606215"/>
                  <a:gd name="connsiteX117" fmla="*/ 220120 w 607724"/>
                  <a:gd name="connsiteY117" fmla="*/ 55078 h 606215"/>
                  <a:gd name="connsiteX118" fmla="*/ 221849 w 607724"/>
                  <a:gd name="connsiteY118" fmla="*/ 53788 h 606215"/>
                  <a:gd name="connsiteX119" fmla="*/ 227036 w 607724"/>
                  <a:gd name="connsiteY119" fmla="*/ 49809 h 606215"/>
                  <a:gd name="connsiteX120" fmla="*/ 229396 w 607724"/>
                  <a:gd name="connsiteY120" fmla="*/ 49809 h 606215"/>
                  <a:gd name="connsiteX121" fmla="*/ 230932 w 607724"/>
                  <a:gd name="connsiteY121" fmla="*/ 47998 h 606215"/>
                  <a:gd name="connsiteX122" fmla="*/ 236586 w 607724"/>
                  <a:gd name="connsiteY122" fmla="*/ 49837 h 606215"/>
                  <a:gd name="connsiteX123" fmla="*/ 239879 w 607724"/>
                  <a:gd name="connsiteY123" fmla="*/ 47312 h 606215"/>
                  <a:gd name="connsiteX124" fmla="*/ 241141 w 607724"/>
                  <a:gd name="connsiteY124" fmla="*/ 44019 h 606215"/>
                  <a:gd name="connsiteX125" fmla="*/ 244105 w 607724"/>
                  <a:gd name="connsiteY125" fmla="*/ 42866 h 606215"/>
                  <a:gd name="connsiteX126" fmla="*/ 245889 w 607724"/>
                  <a:gd name="connsiteY126" fmla="*/ 43936 h 606215"/>
                  <a:gd name="connsiteX127" fmla="*/ 246246 w 607724"/>
                  <a:gd name="connsiteY127" fmla="*/ 45336 h 606215"/>
                  <a:gd name="connsiteX128" fmla="*/ 247481 w 607724"/>
                  <a:gd name="connsiteY128" fmla="*/ 46296 h 606215"/>
                  <a:gd name="connsiteX129" fmla="*/ 251378 w 607724"/>
                  <a:gd name="connsiteY129" fmla="*/ 47065 h 606215"/>
                  <a:gd name="connsiteX130" fmla="*/ 253216 w 607724"/>
                  <a:gd name="connsiteY130" fmla="*/ 46434 h 606215"/>
                  <a:gd name="connsiteX131" fmla="*/ 255659 w 607724"/>
                  <a:gd name="connsiteY131" fmla="*/ 44485 h 606215"/>
                  <a:gd name="connsiteX132" fmla="*/ 259171 w 607724"/>
                  <a:gd name="connsiteY132" fmla="*/ 37817 h 606215"/>
                  <a:gd name="connsiteX133" fmla="*/ 262657 w 607724"/>
                  <a:gd name="connsiteY133" fmla="*/ 34743 h 606215"/>
                  <a:gd name="connsiteX134" fmla="*/ 265346 w 607724"/>
                  <a:gd name="connsiteY134" fmla="*/ 32410 h 606215"/>
                  <a:gd name="connsiteX135" fmla="*/ 274402 w 607724"/>
                  <a:gd name="connsiteY135" fmla="*/ 27607 h 606215"/>
                  <a:gd name="connsiteX136" fmla="*/ 280577 w 607724"/>
                  <a:gd name="connsiteY136" fmla="*/ 25796 h 606215"/>
                  <a:gd name="connsiteX137" fmla="*/ 281620 w 607724"/>
                  <a:gd name="connsiteY137" fmla="*/ 24589 h 606215"/>
                  <a:gd name="connsiteX138" fmla="*/ 282827 w 607724"/>
                  <a:gd name="connsiteY138" fmla="*/ 23189 h 606215"/>
                  <a:gd name="connsiteX139" fmla="*/ 286559 w 607724"/>
                  <a:gd name="connsiteY139" fmla="*/ 21653 h 606215"/>
                  <a:gd name="connsiteX140" fmla="*/ 292981 w 607724"/>
                  <a:gd name="connsiteY140" fmla="*/ 20747 h 606215"/>
                  <a:gd name="connsiteX141" fmla="*/ 294930 w 607724"/>
                  <a:gd name="connsiteY141" fmla="*/ 19457 h 606215"/>
                  <a:gd name="connsiteX142" fmla="*/ 299183 w 607724"/>
                  <a:gd name="connsiteY142" fmla="*/ 20034 h 606215"/>
                  <a:gd name="connsiteX143" fmla="*/ 314304 w 607724"/>
                  <a:gd name="connsiteY143" fmla="*/ 18743 h 606215"/>
                  <a:gd name="connsiteX144" fmla="*/ 322455 w 607724"/>
                  <a:gd name="connsiteY144" fmla="*/ 16466 h 606215"/>
                  <a:gd name="connsiteX145" fmla="*/ 323717 w 607724"/>
                  <a:gd name="connsiteY145" fmla="*/ 16109 h 606215"/>
                  <a:gd name="connsiteX146" fmla="*/ 326599 w 607724"/>
                  <a:gd name="connsiteY146" fmla="*/ 17728 h 606215"/>
                  <a:gd name="connsiteX147" fmla="*/ 330359 w 607724"/>
                  <a:gd name="connsiteY147" fmla="*/ 17783 h 606215"/>
                  <a:gd name="connsiteX148" fmla="*/ 336670 w 607724"/>
                  <a:gd name="connsiteY148" fmla="*/ 14435 h 606215"/>
                  <a:gd name="connsiteX149" fmla="*/ 340402 w 607724"/>
                  <a:gd name="connsiteY149" fmla="*/ 10236 h 606215"/>
                  <a:gd name="connsiteX150" fmla="*/ 342571 w 607724"/>
                  <a:gd name="connsiteY150" fmla="*/ 9770 h 606215"/>
                  <a:gd name="connsiteX151" fmla="*/ 347428 w 607724"/>
                  <a:gd name="connsiteY151" fmla="*/ 12322 h 606215"/>
                  <a:gd name="connsiteX152" fmla="*/ 349157 w 607724"/>
                  <a:gd name="connsiteY152" fmla="*/ 11746 h 606215"/>
                  <a:gd name="connsiteX153" fmla="*/ 350364 w 607724"/>
                  <a:gd name="connsiteY153" fmla="*/ 9907 h 606215"/>
                  <a:gd name="connsiteX154" fmla="*/ 356073 w 607724"/>
                  <a:gd name="connsiteY154" fmla="*/ 11389 h 606215"/>
                  <a:gd name="connsiteX155" fmla="*/ 359338 w 607724"/>
                  <a:gd name="connsiteY155" fmla="*/ 10593 h 606215"/>
                  <a:gd name="connsiteX156" fmla="*/ 368751 w 607724"/>
                  <a:gd name="connsiteY156" fmla="*/ 6147 h 606215"/>
                  <a:gd name="connsiteX157" fmla="*/ 395261 w 607724"/>
                  <a:gd name="connsiteY157" fmla="*/ 7135 h 606215"/>
                  <a:gd name="connsiteX158" fmla="*/ 411205 w 607724"/>
                  <a:gd name="connsiteY158" fmla="*/ 15999 h 606215"/>
                  <a:gd name="connsiteX159" fmla="*/ 416310 w 607724"/>
                  <a:gd name="connsiteY159" fmla="*/ 14627 h 606215"/>
                  <a:gd name="connsiteX160" fmla="*/ 421744 w 607724"/>
                  <a:gd name="connsiteY160" fmla="*/ 10126 h 606215"/>
                  <a:gd name="connsiteX161" fmla="*/ 436755 w 607724"/>
                  <a:gd name="connsiteY161" fmla="*/ 6504 h 606215"/>
                  <a:gd name="connsiteX162" fmla="*/ 440295 w 607724"/>
                  <a:gd name="connsiteY162" fmla="*/ 1400 h 606215"/>
                  <a:gd name="connsiteX163" fmla="*/ 444576 w 607724"/>
                  <a:gd name="connsiteY163" fmla="*/ 0 h 606215"/>
                  <a:gd name="connsiteX164" fmla="*/ 449379 w 607724"/>
                  <a:gd name="connsiteY164" fmla="*/ 3897 h 606215"/>
                  <a:gd name="connsiteX165" fmla="*/ 459093 w 607724"/>
                  <a:gd name="connsiteY165" fmla="*/ 6916 h 606215"/>
                  <a:gd name="connsiteX166" fmla="*/ 466448 w 607724"/>
                  <a:gd name="connsiteY166" fmla="*/ 4803 h 606215"/>
                  <a:gd name="connsiteX167" fmla="*/ 468150 w 607724"/>
                  <a:gd name="connsiteY167" fmla="*/ 247 h 606215"/>
                  <a:gd name="connsiteX168" fmla="*/ 481871 w 607724"/>
                  <a:gd name="connsiteY168" fmla="*/ 4473 h 606215"/>
                  <a:gd name="connsiteX169" fmla="*/ 486536 w 607724"/>
                  <a:gd name="connsiteY169" fmla="*/ 8535 h 606215"/>
                  <a:gd name="connsiteX170" fmla="*/ 496224 w 607724"/>
                  <a:gd name="connsiteY170" fmla="*/ 5351 h 606215"/>
                  <a:gd name="connsiteX171" fmla="*/ 502536 w 607724"/>
                  <a:gd name="connsiteY171" fmla="*/ 6641 h 606215"/>
                  <a:gd name="connsiteX172" fmla="*/ 509122 w 607724"/>
                  <a:gd name="connsiteY172" fmla="*/ 5159 h 60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607724" h="606215">
                    <a:moveTo>
                      <a:pt x="509067" y="4994"/>
                    </a:moveTo>
                    <a:lnTo>
                      <a:pt x="508601" y="9440"/>
                    </a:lnTo>
                    <a:lnTo>
                      <a:pt x="496965" y="21241"/>
                    </a:lnTo>
                    <a:lnTo>
                      <a:pt x="501493" y="26153"/>
                    </a:lnTo>
                    <a:lnTo>
                      <a:pt x="498118" y="45967"/>
                    </a:lnTo>
                    <a:lnTo>
                      <a:pt x="500478" y="53486"/>
                    </a:lnTo>
                    <a:lnTo>
                      <a:pt x="500258" y="63695"/>
                    </a:lnTo>
                    <a:lnTo>
                      <a:pt x="502865" y="67949"/>
                    </a:lnTo>
                    <a:lnTo>
                      <a:pt x="498227" y="78597"/>
                    </a:lnTo>
                    <a:lnTo>
                      <a:pt x="497651" y="86967"/>
                    </a:lnTo>
                    <a:lnTo>
                      <a:pt x="478002" y="107686"/>
                    </a:lnTo>
                    <a:lnTo>
                      <a:pt x="476547" y="117813"/>
                    </a:lnTo>
                    <a:lnTo>
                      <a:pt x="484506" y="137928"/>
                    </a:lnTo>
                    <a:lnTo>
                      <a:pt x="493315" y="143582"/>
                    </a:lnTo>
                    <a:lnTo>
                      <a:pt x="498529" y="151458"/>
                    </a:lnTo>
                    <a:lnTo>
                      <a:pt x="501685" y="164027"/>
                    </a:lnTo>
                    <a:lnTo>
                      <a:pt x="521526" y="179312"/>
                    </a:lnTo>
                    <a:lnTo>
                      <a:pt x="535797" y="241663"/>
                    </a:lnTo>
                    <a:lnTo>
                      <a:pt x="531488" y="246026"/>
                    </a:lnTo>
                    <a:lnTo>
                      <a:pt x="542987" y="271219"/>
                    </a:lnTo>
                    <a:lnTo>
                      <a:pt x="546115" y="291005"/>
                    </a:lnTo>
                    <a:lnTo>
                      <a:pt x="544441" y="308047"/>
                    </a:lnTo>
                    <a:lnTo>
                      <a:pt x="547679" y="321851"/>
                    </a:lnTo>
                    <a:lnTo>
                      <a:pt x="542794" y="340403"/>
                    </a:lnTo>
                    <a:lnTo>
                      <a:pt x="546554" y="355579"/>
                    </a:lnTo>
                    <a:lnTo>
                      <a:pt x="546060" y="363208"/>
                    </a:lnTo>
                    <a:lnTo>
                      <a:pt x="544304" y="366336"/>
                    </a:lnTo>
                    <a:lnTo>
                      <a:pt x="535138" y="371029"/>
                    </a:lnTo>
                    <a:lnTo>
                      <a:pt x="531955" y="377560"/>
                    </a:lnTo>
                    <a:lnTo>
                      <a:pt x="549079" y="404180"/>
                    </a:lnTo>
                    <a:lnTo>
                      <a:pt x="550589" y="420179"/>
                    </a:lnTo>
                    <a:lnTo>
                      <a:pt x="554952" y="424049"/>
                    </a:lnTo>
                    <a:lnTo>
                      <a:pt x="557038" y="429043"/>
                    </a:lnTo>
                    <a:lnTo>
                      <a:pt x="562197" y="432639"/>
                    </a:lnTo>
                    <a:lnTo>
                      <a:pt x="571143" y="430498"/>
                    </a:lnTo>
                    <a:lnTo>
                      <a:pt x="590435" y="441283"/>
                    </a:lnTo>
                    <a:lnTo>
                      <a:pt x="596144" y="440460"/>
                    </a:lnTo>
                    <a:lnTo>
                      <a:pt x="607725" y="463896"/>
                    </a:lnTo>
                    <a:lnTo>
                      <a:pt x="516614" y="521993"/>
                    </a:lnTo>
                    <a:lnTo>
                      <a:pt x="475340" y="548064"/>
                    </a:lnTo>
                    <a:lnTo>
                      <a:pt x="462332" y="559699"/>
                    </a:lnTo>
                    <a:lnTo>
                      <a:pt x="446470" y="573833"/>
                    </a:lnTo>
                    <a:lnTo>
                      <a:pt x="438978" y="580474"/>
                    </a:lnTo>
                    <a:lnTo>
                      <a:pt x="429730" y="588679"/>
                    </a:lnTo>
                    <a:lnTo>
                      <a:pt x="425284" y="592604"/>
                    </a:lnTo>
                    <a:lnTo>
                      <a:pt x="400503" y="597735"/>
                    </a:lnTo>
                    <a:lnTo>
                      <a:pt x="379674" y="602044"/>
                    </a:lnTo>
                    <a:lnTo>
                      <a:pt x="352560" y="606215"/>
                    </a:lnTo>
                    <a:lnTo>
                      <a:pt x="347812" y="601303"/>
                    </a:lnTo>
                    <a:lnTo>
                      <a:pt x="350419" y="591039"/>
                    </a:lnTo>
                    <a:lnTo>
                      <a:pt x="349047" y="580392"/>
                    </a:lnTo>
                    <a:lnTo>
                      <a:pt x="334557" y="573888"/>
                    </a:lnTo>
                    <a:lnTo>
                      <a:pt x="325611" y="572790"/>
                    </a:lnTo>
                    <a:lnTo>
                      <a:pt x="320314" y="566752"/>
                    </a:lnTo>
                    <a:lnTo>
                      <a:pt x="308377" y="565408"/>
                    </a:lnTo>
                    <a:lnTo>
                      <a:pt x="301269" y="556983"/>
                    </a:lnTo>
                    <a:lnTo>
                      <a:pt x="290621" y="551576"/>
                    </a:lnTo>
                    <a:lnTo>
                      <a:pt x="287136" y="539913"/>
                    </a:lnTo>
                    <a:lnTo>
                      <a:pt x="262602" y="521609"/>
                    </a:lnTo>
                    <a:lnTo>
                      <a:pt x="221794" y="493096"/>
                    </a:lnTo>
                    <a:lnTo>
                      <a:pt x="193281" y="473090"/>
                    </a:lnTo>
                    <a:lnTo>
                      <a:pt x="180931" y="464390"/>
                    </a:lnTo>
                    <a:lnTo>
                      <a:pt x="178873" y="462935"/>
                    </a:lnTo>
                    <a:lnTo>
                      <a:pt x="112736" y="415981"/>
                    </a:lnTo>
                    <a:lnTo>
                      <a:pt x="0" y="340128"/>
                    </a:lnTo>
                    <a:lnTo>
                      <a:pt x="0" y="328547"/>
                    </a:lnTo>
                    <a:lnTo>
                      <a:pt x="851" y="293256"/>
                    </a:lnTo>
                    <a:lnTo>
                      <a:pt x="31779" y="271740"/>
                    </a:lnTo>
                    <a:lnTo>
                      <a:pt x="38145" y="270643"/>
                    </a:lnTo>
                    <a:lnTo>
                      <a:pt x="44128" y="266718"/>
                    </a:lnTo>
                    <a:lnTo>
                      <a:pt x="55435" y="267898"/>
                    </a:lnTo>
                    <a:lnTo>
                      <a:pt x="65616" y="264907"/>
                    </a:lnTo>
                    <a:lnTo>
                      <a:pt x="84030" y="263398"/>
                    </a:lnTo>
                    <a:lnTo>
                      <a:pt x="86775" y="265977"/>
                    </a:lnTo>
                    <a:lnTo>
                      <a:pt x="91714" y="266444"/>
                    </a:lnTo>
                    <a:lnTo>
                      <a:pt x="99563" y="253738"/>
                    </a:lnTo>
                    <a:lnTo>
                      <a:pt x="109278" y="245725"/>
                    </a:lnTo>
                    <a:lnTo>
                      <a:pt x="119459" y="240181"/>
                    </a:lnTo>
                    <a:lnTo>
                      <a:pt x="128543" y="231893"/>
                    </a:lnTo>
                    <a:lnTo>
                      <a:pt x="147314" y="226158"/>
                    </a:lnTo>
                    <a:lnTo>
                      <a:pt x="150635" y="216278"/>
                    </a:lnTo>
                    <a:lnTo>
                      <a:pt x="144076" y="207524"/>
                    </a:lnTo>
                    <a:lnTo>
                      <a:pt x="146820" y="202364"/>
                    </a:lnTo>
                    <a:lnTo>
                      <a:pt x="147286" y="195174"/>
                    </a:lnTo>
                    <a:lnTo>
                      <a:pt x="157825" y="191662"/>
                    </a:lnTo>
                    <a:lnTo>
                      <a:pt x="171244" y="188094"/>
                    </a:lnTo>
                    <a:lnTo>
                      <a:pt x="169159" y="180273"/>
                    </a:lnTo>
                    <a:lnTo>
                      <a:pt x="170585" y="177474"/>
                    </a:lnTo>
                    <a:lnTo>
                      <a:pt x="178928" y="176870"/>
                    </a:lnTo>
                    <a:lnTo>
                      <a:pt x="180986" y="176705"/>
                    </a:lnTo>
                    <a:lnTo>
                      <a:pt x="193336" y="175772"/>
                    </a:lnTo>
                    <a:lnTo>
                      <a:pt x="196409" y="175525"/>
                    </a:lnTo>
                    <a:lnTo>
                      <a:pt x="219269" y="178269"/>
                    </a:lnTo>
                    <a:lnTo>
                      <a:pt x="220339" y="177062"/>
                    </a:lnTo>
                    <a:lnTo>
                      <a:pt x="218172" y="174482"/>
                    </a:lnTo>
                    <a:lnTo>
                      <a:pt x="218748" y="169433"/>
                    </a:lnTo>
                    <a:lnTo>
                      <a:pt x="221821" y="166579"/>
                    </a:lnTo>
                    <a:lnTo>
                      <a:pt x="224868" y="163752"/>
                    </a:lnTo>
                    <a:lnTo>
                      <a:pt x="221821" y="161282"/>
                    </a:lnTo>
                    <a:lnTo>
                      <a:pt x="214165" y="155108"/>
                    </a:lnTo>
                    <a:lnTo>
                      <a:pt x="210268" y="148933"/>
                    </a:lnTo>
                    <a:lnTo>
                      <a:pt x="211146" y="144295"/>
                    </a:lnTo>
                    <a:lnTo>
                      <a:pt x="206014" y="135980"/>
                    </a:lnTo>
                    <a:lnTo>
                      <a:pt x="207990" y="126512"/>
                    </a:lnTo>
                    <a:lnTo>
                      <a:pt x="204505" y="121627"/>
                    </a:lnTo>
                    <a:lnTo>
                      <a:pt x="206207" y="107851"/>
                    </a:lnTo>
                    <a:lnTo>
                      <a:pt x="203078" y="97423"/>
                    </a:lnTo>
                    <a:lnTo>
                      <a:pt x="204450" y="93663"/>
                    </a:lnTo>
                    <a:lnTo>
                      <a:pt x="201184" y="89245"/>
                    </a:lnTo>
                    <a:lnTo>
                      <a:pt x="202913" y="84744"/>
                    </a:lnTo>
                    <a:lnTo>
                      <a:pt x="193336" y="75770"/>
                    </a:lnTo>
                    <a:lnTo>
                      <a:pt x="189933" y="72587"/>
                    </a:lnTo>
                    <a:lnTo>
                      <a:pt x="198824" y="72587"/>
                    </a:lnTo>
                    <a:cubicBezTo>
                      <a:pt x="198824" y="72587"/>
                      <a:pt x="203297" y="70968"/>
                      <a:pt x="203297" y="70968"/>
                    </a:cubicBezTo>
                    <a:lnTo>
                      <a:pt x="211530" y="64875"/>
                    </a:lnTo>
                    <a:lnTo>
                      <a:pt x="214851" y="64134"/>
                    </a:lnTo>
                    <a:lnTo>
                      <a:pt x="217650" y="61939"/>
                    </a:lnTo>
                    <a:lnTo>
                      <a:pt x="220120" y="55078"/>
                    </a:lnTo>
                    <a:lnTo>
                      <a:pt x="221849" y="53788"/>
                    </a:lnTo>
                    <a:lnTo>
                      <a:pt x="227036" y="49809"/>
                    </a:lnTo>
                    <a:lnTo>
                      <a:pt x="229396" y="49809"/>
                    </a:lnTo>
                    <a:lnTo>
                      <a:pt x="230932" y="47998"/>
                    </a:lnTo>
                    <a:lnTo>
                      <a:pt x="236586" y="49837"/>
                    </a:lnTo>
                    <a:lnTo>
                      <a:pt x="239879" y="47312"/>
                    </a:lnTo>
                    <a:lnTo>
                      <a:pt x="241141" y="44019"/>
                    </a:lnTo>
                    <a:lnTo>
                      <a:pt x="244105" y="42866"/>
                    </a:lnTo>
                    <a:lnTo>
                      <a:pt x="245889" y="43936"/>
                    </a:lnTo>
                    <a:lnTo>
                      <a:pt x="246246" y="45336"/>
                    </a:lnTo>
                    <a:lnTo>
                      <a:pt x="247481" y="46296"/>
                    </a:lnTo>
                    <a:lnTo>
                      <a:pt x="251378" y="47065"/>
                    </a:lnTo>
                    <a:lnTo>
                      <a:pt x="253216" y="46434"/>
                    </a:lnTo>
                    <a:lnTo>
                      <a:pt x="255659" y="44485"/>
                    </a:lnTo>
                    <a:lnTo>
                      <a:pt x="259171" y="37817"/>
                    </a:lnTo>
                    <a:lnTo>
                      <a:pt x="262657" y="34743"/>
                    </a:lnTo>
                    <a:lnTo>
                      <a:pt x="265346" y="32410"/>
                    </a:lnTo>
                    <a:lnTo>
                      <a:pt x="274402" y="27607"/>
                    </a:lnTo>
                    <a:lnTo>
                      <a:pt x="280577" y="25796"/>
                    </a:lnTo>
                    <a:lnTo>
                      <a:pt x="281620" y="24589"/>
                    </a:lnTo>
                    <a:lnTo>
                      <a:pt x="282827" y="23189"/>
                    </a:lnTo>
                    <a:lnTo>
                      <a:pt x="286559" y="21653"/>
                    </a:lnTo>
                    <a:lnTo>
                      <a:pt x="292981" y="20747"/>
                    </a:lnTo>
                    <a:lnTo>
                      <a:pt x="294930" y="19457"/>
                    </a:lnTo>
                    <a:lnTo>
                      <a:pt x="299183" y="20034"/>
                    </a:lnTo>
                    <a:lnTo>
                      <a:pt x="314304" y="18743"/>
                    </a:lnTo>
                    <a:lnTo>
                      <a:pt x="322455" y="16466"/>
                    </a:lnTo>
                    <a:lnTo>
                      <a:pt x="323717" y="16109"/>
                    </a:lnTo>
                    <a:lnTo>
                      <a:pt x="326599" y="17728"/>
                    </a:lnTo>
                    <a:lnTo>
                      <a:pt x="330359" y="17783"/>
                    </a:lnTo>
                    <a:lnTo>
                      <a:pt x="336670" y="14435"/>
                    </a:lnTo>
                    <a:lnTo>
                      <a:pt x="340402" y="10236"/>
                    </a:lnTo>
                    <a:lnTo>
                      <a:pt x="342571" y="9770"/>
                    </a:lnTo>
                    <a:lnTo>
                      <a:pt x="347428" y="12322"/>
                    </a:lnTo>
                    <a:lnTo>
                      <a:pt x="349157" y="11746"/>
                    </a:lnTo>
                    <a:lnTo>
                      <a:pt x="350364" y="9907"/>
                    </a:lnTo>
                    <a:lnTo>
                      <a:pt x="356073" y="11389"/>
                    </a:lnTo>
                    <a:lnTo>
                      <a:pt x="359338" y="10593"/>
                    </a:lnTo>
                    <a:lnTo>
                      <a:pt x="368751" y="6147"/>
                    </a:lnTo>
                    <a:lnTo>
                      <a:pt x="395261" y="7135"/>
                    </a:lnTo>
                    <a:lnTo>
                      <a:pt x="411205" y="15999"/>
                    </a:lnTo>
                    <a:lnTo>
                      <a:pt x="416310" y="14627"/>
                    </a:lnTo>
                    <a:lnTo>
                      <a:pt x="421744" y="10126"/>
                    </a:lnTo>
                    <a:lnTo>
                      <a:pt x="436755" y="6504"/>
                    </a:lnTo>
                    <a:lnTo>
                      <a:pt x="440295" y="1400"/>
                    </a:lnTo>
                    <a:lnTo>
                      <a:pt x="444576" y="0"/>
                    </a:lnTo>
                    <a:lnTo>
                      <a:pt x="449379" y="3897"/>
                    </a:lnTo>
                    <a:lnTo>
                      <a:pt x="459093" y="6916"/>
                    </a:lnTo>
                    <a:lnTo>
                      <a:pt x="466448" y="4803"/>
                    </a:lnTo>
                    <a:lnTo>
                      <a:pt x="468150" y="247"/>
                    </a:lnTo>
                    <a:lnTo>
                      <a:pt x="481871" y="4473"/>
                    </a:lnTo>
                    <a:lnTo>
                      <a:pt x="486536" y="8535"/>
                    </a:lnTo>
                    <a:lnTo>
                      <a:pt x="496224" y="5351"/>
                    </a:lnTo>
                    <a:lnTo>
                      <a:pt x="502536" y="6641"/>
                    </a:lnTo>
                    <a:lnTo>
                      <a:pt x="509122" y="51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2" name="Freeform: Shape 3501">
                <a:extLst>
                  <a:ext uri="{FF2B5EF4-FFF2-40B4-BE49-F238E27FC236}">
                    <a16:creationId xmlns:a16="http://schemas.microsoft.com/office/drawing/2014/main" id="{94143597-A72D-C66D-3EAB-07940ECEE94D}"/>
                  </a:ext>
                </a:extLst>
              </p:cNvPr>
              <p:cNvSpPr/>
              <p:nvPr/>
            </p:nvSpPr>
            <p:spPr>
              <a:xfrm>
                <a:off x="1117219" y="3840103"/>
                <a:ext cx="17369" cy="19573"/>
              </a:xfrm>
              <a:custGeom>
                <a:avLst/>
                <a:gdLst>
                  <a:gd name="connsiteX0" fmla="*/ 117566 w 166523"/>
                  <a:gd name="connsiteY0" fmla="*/ 34276 h 187655"/>
                  <a:gd name="connsiteX1" fmla="*/ 127610 w 166523"/>
                  <a:gd name="connsiteY1" fmla="*/ 34688 h 187655"/>
                  <a:gd name="connsiteX2" fmla="*/ 131616 w 166523"/>
                  <a:gd name="connsiteY2" fmla="*/ 34002 h 187655"/>
                  <a:gd name="connsiteX3" fmla="*/ 132961 w 166523"/>
                  <a:gd name="connsiteY3" fmla="*/ 30873 h 187655"/>
                  <a:gd name="connsiteX4" fmla="*/ 136419 w 166523"/>
                  <a:gd name="connsiteY4" fmla="*/ 29282 h 187655"/>
                  <a:gd name="connsiteX5" fmla="*/ 142429 w 166523"/>
                  <a:gd name="connsiteY5" fmla="*/ 31614 h 187655"/>
                  <a:gd name="connsiteX6" fmla="*/ 150717 w 166523"/>
                  <a:gd name="connsiteY6" fmla="*/ 39052 h 187655"/>
                  <a:gd name="connsiteX7" fmla="*/ 155766 w 166523"/>
                  <a:gd name="connsiteY7" fmla="*/ 39765 h 187655"/>
                  <a:gd name="connsiteX8" fmla="*/ 157934 w 166523"/>
                  <a:gd name="connsiteY8" fmla="*/ 42619 h 187655"/>
                  <a:gd name="connsiteX9" fmla="*/ 165097 w 166523"/>
                  <a:gd name="connsiteY9" fmla="*/ 44513 h 187655"/>
                  <a:gd name="connsiteX10" fmla="*/ 156480 w 166523"/>
                  <a:gd name="connsiteY10" fmla="*/ 45363 h 187655"/>
                  <a:gd name="connsiteX11" fmla="*/ 155437 w 166523"/>
                  <a:gd name="connsiteY11" fmla="*/ 47943 h 187655"/>
                  <a:gd name="connsiteX12" fmla="*/ 158291 w 166523"/>
                  <a:gd name="connsiteY12" fmla="*/ 50797 h 187655"/>
                  <a:gd name="connsiteX13" fmla="*/ 164521 w 166523"/>
                  <a:gd name="connsiteY13" fmla="*/ 57054 h 187655"/>
                  <a:gd name="connsiteX14" fmla="*/ 165865 w 166523"/>
                  <a:gd name="connsiteY14" fmla="*/ 58426 h 187655"/>
                  <a:gd name="connsiteX15" fmla="*/ 166524 w 166523"/>
                  <a:gd name="connsiteY15" fmla="*/ 68635 h 187655"/>
                  <a:gd name="connsiteX16" fmla="*/ 162600 w 166523"/>
                  <a:gd name="connsiteY16" fmla="*/ 71709 h 187655"/>
                  <a:gd name="connsiteX17" fmla="*/ 158318 w 166523"/>
                  <a:gd name="connsiteY17" fmla="*/ 83783 h 187655"/>
                  <a:gd name="connsiteX18" fmla="*/ 156398 w 166523"/>
                  <a:gd name="connsiteY18" fmla="*/ 87763 h 187655"/>
                  <a:gd name="connsiteX19" fmla="*/ 138971 w 166523"/>
                  <a:gd name="connsiteY19" fmla="*/ 107137 h 187655"/>
                  <a:gd name="connsiteX20" fmla="*/ 125908 w 166523"/>
                  <a:gd name="connsiteY20" fmla="*/ 117291 h 187655"/>
                  <a:gd name="connsiteX21" fmla="*/ 87900 w 166523"/>
                  <a:gd name="connsiteY21" fmla="*/ 132714 h 187655"/>
                  <a:gd name="connsiteX22" fmla="*/ 81149 w 166523"/>
                  <a:gd name="connsiteY22" fmla="*/ 139822 h 187655"/>
                  <a:gd name="connsiteX23" fmla="*/ 80682 w 166523"/>
                  <a:gd name="connsiteY23" fmla="*/ 144021 h 187655"/>
                  <a:gd name="connsiteX24" fmla="*/ 75852 w 166523"/>
                  <a:gd name="connsiteY24" fmla="*/ 145064 h 187655"/>
                  <a:gd name="connsiteX25" fmla="*/ 66522 w 166523"/>
                  <a:gd name="connsiteY25" fmla="*/ 173797 h 187655"/>
                  <a:gd name="connsiteX26" fmla="*/ 54282 w 166523"/>
                  <a:gd name="connsiteY26" fmla="*/ 187655 h 187655"/>
                  <a:gd name="connsiteX27" fmla="*/ 47504 w 166523"/>
                  <a:gd name="connsiteY27" fmla="*/ 186173 h 187655"/>
                  <a:gd name="connsiteX28" fmla="*/ 41329 w 166523"/>
                  <a:gd name="connsiteY28" fmla="*/ 176376 h 187655"/>
                  <a:gd name="connsiteX29" fmla="*/ 37844 w 166523"/>
                  <a:gd name="connsiteY29" fmla="*/ 173577 h 187655"/>
                  <a:gd name="connsiteX30" fmla="*/ 31697 w 166523"/>
                  <a:gd name="connsiteY30" fmla="*/ 172863 h 187655"/>
                  <a:gd name="connsiteX31" fmla="*/ 23381 w 166523"/>
                  <a:gd name="connsiteY31" fmla="*/ 169296 h 187655"/>
                  <a:gd name="connsiteX32" fmla="*/ 15204 w 166523"/>
                  <a:gd name="connsiteY32" fmla="*/ 172013 h 187655"/>
                  <a:gd name="connsiteX33" fmla="*/ 13776 w 166523"/>
                  <a:gd name="connsiteY33" fmla="*/ 161749 h 187655"/>
                  <a:gd name="connsiteX34" fmla="*/ 21131 w 166523"/>
                  <a:gd name="connsiteY34" fmla="*/ 155135 h 187655"/>
                  <a:gd name="connsiteX35" fmla="*/ 19951 w 166523"/>
                  <a:gd name="connsiteY35" fmla="*/ 142923 h 187655"/>
                  <a:gd name="connsiteX36" fmla="*/ 19951 w 166523"/>
                  <a:gd name="connsiteY36" fmla="*/ 142758 h 187655"/>
                  <a:gd name="connsiteX37" fmla="*/ 29007 w 166523"/>
                  <a:gd name="connsiteY37" fmla="*/ 133949 h 187655"/>
                  <a:gd name="connsiteX38" fmla="*/ 32273 w 166523"/>
                  <a:gd name="connsiteY38" fmla="*/ 120530 h 187655"/>
                  <a:gd name="connsiteX39" fmla="*/ 26043 w 166523"/>
                  <a:gd name="connsiteY39" fmla="*/ 117621 h 187655"/>
                  <a:gd name="connsiteX40" fmla="*/ 25577 w 166523"/>
                  <a:gd name="connsiteY40" fmla="*/ 112462 h 187655"/>
                  <a:gd name="connsiteX41" fmla="*/ 17591 w 166523"/>
                  <a:gd name="connsiteY41" fmla="*/ 121024 h 187655"/>
                  <a:gd name="connsiteX42" fmla="*/ 0 w 166523"/>
                  <a:gd name="connsiteY42" fmla="*/ 109168 h 187655"/>
                  <a:gd name="connsiteX43" fmla="*/ 4336 w 166523"/>
                  <a:gd name="connsiteY43" fmla="*/ 100222 h 187655"/>
                  <a:gd name="connsiteX44" fmla="*/ 2388 w 166523"/>
                  <a:gd name="connsiteY44" fmla="*/ 89245 h 187655"/>
                  <a:gd name="connsiteX45" fmla="*/ 3485 w 166523"/>
                  <a:gd name="connsiteY45" fmla="*/ 83756 h 187655"/>
                  <a:gd name="connsiteX46" fmla="*/ 4062 w 166523"/>
                  <a:gd name="connsiteY46" fmla="*/ 81588 h 187655"/>
                  <a:gd name="connsiteX47" fmla="*/ 329 w 166523"/>
                  <a:gd name="connsiteY47" fmla="*/ 72587 h 187655"/>
                  <a:gd name="connsiteX48" fmla="*/ 2497 w 166523"/>
                  <a:gd name="connsiteY48" fmla="*/ 70144 h 187655"/>
                  <a:gd name="connsiteX49" fmla="*/ 10181 w 166523"/>
                  <a:gd name="connsiteY49" fmla="*/ 67757 h 187655"/>
                  <a:gd name="connsiteX50" fmla="*/ 13831 w 166523"/>
                  <a:gd name="connsiteY50" fmla="*/ 58865 h 187655"/>
                  <a:gd name="connsiteX51" fmla="*/ 13557 w 166523"/>
                  <a:gd name="connsiteY51" fmla="*/ 56999 h 187655"/>
                  <a:gd name="connsiteX52" fmla="*/ 12898 w 166523"/>
                  <a:gd name="connsiteY52" fmla="*/ 52416 h 187655"/>
                  <a:gd name="connsiteX53" fmla="*/ 14353 w 166523"/>
                  <a:gd name="connsiteY53" fmla="*/ 50742 h 187655"/>
                  <a:gd name="connsiteX54" fmla="*/ 24863 w 166523"/>
                  <a:gd name="connsiteY54" fmla="*/ 38832 h 187655"/>
                  <a:gd name="connsiteX55" fmla="*/ 25988 w 166523"/>
                  <a:gd name="connsiteY55" fmla="*/ 26647 h 187655"/>
                  <a:gd name="connsiteX56" fmla="*/ 26126 w 166523"/>
                  <a:gd name="connsiteY56" fmla="*/ 25055 h 187655"/>
                  <a:gd name="connsiteX57" fmla="*/ 24068 w 166523"/>
                  <a:gd name="connsiteY57" fmla="*/ 21570 h 187655"/>
                  <a:gd name="connsiteX58" fmla="*/ 24424 w 166523"/>
                  <a:gd name="connsiteY58" fmla="*/ 18689 h 187655"/>
                  <a:gd name="connsiteX59" fmla="*/ 34907 w 166523"/>
                  <a:gd name="connsiteY59" fmla="*/ 13365 h 187655"/>
                  <a:gd name="connsiteX60" fmla="*/ 50879 w 166523"/>
                  <a:gd name="connsiteY60" fmla="*/ 9139 h 187655"/>
                  <a:gd name="connsiteX61" fmla="*/ 59935 w 166523"/>
                  <a:gd name="connsiteY61" fmla="*/ 0 h 187655"/>
                  <a:gd name="connsiteX62" fmla="*/ 63311 w 166523"/>
                  <a:gd name="connsiteY62" fmla="*/ 796 h 187655"/>
                  <a:gd name="connsiteX63" fmla="*/ 85649 w 166523"/>
                  <a:gd name="connsiteY63" fmla="*/ 17152 h 187655"/>
                  <a:gd name="connsiteX64" fmla="*/ 94513 w 166523"/>
                  <a:gd name="connsiteY64" fmla="*/ 17619 h 187655"/>
                  <a:gd name="connsiteX65" fmla="*/ 95309 w 166523"/>
                  <a:gd name="connsiteY65" fmla="*/ 20363 h 187655"/>
                  <a:gd name="connsiteX66" fmla="*/ 99893 w 166523"/>
                  <a:gd name="connsiteY66" fmla="*/ 23601 h 187655"/>
                  <a:gd name="connsiteX67" fmla="*/ 100990 w 166523"/>
                  <a:gd name="connsiteY67" fmla="*/ 26620 h 187655"/>
                  <a:gd name="connsiteX68" fmla="*/ 102445 w 166523"/>
                  <a:gd name="connsiteY68" fmla="*/ 30517 h 187655"/>
                  <a:gd name="connsiteX69" fmla="*/ 110568 w 166523"/>
                  <a:gd name="connsiteY69" fmla="*/ 31066 h 187655"/>
                  <a:gd name="connsiteX70" fmla="*/ 117593 w 166523"/>
                  <a:gd name="connsiteY70" fmla="*/ 34222 h 18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66523" h="187655">
                    <a:moveTo>
                      <a:pt x="117566" y="34276"/>
                    </a:moveTo>
                    <a:lnTo>
                      <a:pt x="127610" y="34688"/>
                    </a:lnTo>
                    <a:lnTo>
                      <a:pt x="131616" y="34002"/>
                    </a:lnTo>
                    <a:lnTo>
                      <a:pt x="132961" y="30873"/>
                    </a:lnTo>
                    <a:lnTo>
                      <a:pt x="136419" y="29282"/>
                    </a:lnTo>
                    <a:lnTo>
                      <a:pt x="142429" y="31614"/>
                    </a:lnTo>
                    <a:lnTo>
                      <a:pt x="150717" y="39052"/>
                    </a:lnTo>
                    <a:lnTo>
                      <a:pt x="155766" y="39765"/>
                    </a:lnTo>
                    <a:lnTo>
                      <a:pt x="157934" y="42619"/>
                    </a:lnTo>
                    <a:lnTo>
                      <a:pt x="165097" y="44513"/>
                    </a:lnTo>
                    <a:lnTo>
                      <a:pt x="156480" y="45363"/>
                    </a:lnTo>
                    <a:lnTo>
                      <a:pt x="155437" y="47943"/>
                    </a:lnTo>
                    <a:lnTo>
                      <a:pt x="158291" y="50797"/>
                    </a:lnTo>
                    <a:lnTo>
                      <a:pt x="164521" y="57054"/>
                    </a:lnTo>
                    <a:lnTo>
                      <a:pt x="165865" y="58426"/>
                    </a:lnTo>
                    <a:lnTo>
                      <a:pt x="166524" y="68635"/>
                    </a:lnTo>
                    <a:lnTo>
                      <a:pt x="162600" y="71709"/>
                    </a:lnTo>
                    <a:lnTo>
                      <a:pt x="158318" y="83783"/>
                    </a:lnTo>
                    <a:lnTo>
                      <a:pt x="156398" y="87763"/>
                    </a:lnTo>
                    <a:lnTo>
                      <a:pt x="138971" y="107137"/>
                    </a:lnTo>
                    <a:lnTo>
                      <a:pt x="125908" y="117291"/>
                    </a:lnTo>
                    <a:lnTo>
                      <a:pt x="87900" y="132714"/>
                    </a:lnTo>
                    <a:lnTo>
                      <a:pt x="81149" y="139822"/>
                    </a:lnTo>
                    <a:lnTo>
                      <a:pt x="80682" y="144021"/>
                    </a:lnTo>
                    <a:lnTo>
                      <a:pt x="75852" y="145064"/>
                    </a:lnTo>
                    <a:lnTo>
                      <a:pt x="66522" y="173797"/>
                    </a:lnTo>
                    <a:lnTo>
                      <a:pt x="54282" y="187655"/>
                    </a:lnTo>
                    <a:lnTo>
                      <a:pt x="47504" y="186173"/>
                    </a:lnTo>
                    <a:lnTo>
                      <a:pt x="41329" y="176376"/>
                    </a:lnTo>
                    <a:lnTo>
                      <a:pt x="37844" y="173577"/>
                    </a:lnTo>
                    <a:lnTo>
                      <a:pt x="31697" y="172863"/>
                    </a:lnTo>
                    <a:lnTo>
                      <a:pt x="23381" y="169296"/>
                    </a:lnTo>
                    <a:lnTo>
                      <a:pt x="15204" y="172013"/>
                    </a:lnTo>
                    <a:lnTo>
                      <a:pt x="13776" y="161749"/>
                    </a:lnTo>
                    <a:lnTo>
                      <a:pt x="21131" y="155135"/>
                    </a:lnTo>
                    <a:lnTo>
                      <a:pt x="19951" y="142923"/>
                    </a:lnTo>
                    <a:lnTo>
                      <a:pt x="19951" y="142758"/>
                    </a:lnTo>
                    <a:lnTo>
                      <a:pt x="29007" y="133949"/>
                    </a:lnTo>
                    <a:lnTo>
                      <a:pt x="32273" y="120530"/>
                    </a:lnTo>
                    <a:lnTo>
                      <a:pt x="26043" y="117621"/>
                    </a:lnTo>
                    <a:lnTo>
                      <a:pt x="25577" y="112462"/>
                    </a:lnTo>
                    <a:lnTo>
                      <a:pt x="17591" y="121024"/>
                    </a:lnTo>
                    <a:lnTo>
                      <a:pt x="0" y="109168"/>
                    </a:lnTo>
                    <a:lnTo>
                      <a:pt x="4336" y="100222"/>
                    </a:lnTo>
                    <a:lnTo>
                      <a:pt x="2388" y="89245"/>
                    </a:lnTo>
                    <a:lnTo>
                      <a:pt x="3485" y="83756"/>
                    </a:lnTo>
                    <a:lnTo>
                      <a:pt x="4062" y="81588"/>
                    </a:lnTo>
                    <a:lnTo>
                      <a:pt x="329" y="72587"/>
                    </a:lnTo>
                    <a:lnTo>
                      <a:pt x="2497" y="70144"/>
                    </a:lnTo>
                    <a:lnTo>
                      <a:pt x="10181" y="67757"/>
                    </a:lnTo>
                    <a:lnTo>
                      <a:pt x="13831" y="58865"/>
                    </a:lnTo>
                    <a:lnTo>
                      <a:pt x="13557" y="56999"/>
                    </a:lnTo>
                    <a:lnTo>
                      <a:pt x="12898" y="52416"/>
                    </a:lnTo>
                    <a:lnTo>
                      <a:pt x="14353" y="50742"/>
                    </a:lnTo>
                    <a:lnTo>
                      <a:pt x="24863" y="38832"/>
                    </a:lnTo>
                    <a:lnTo>
                      <a:pt x="25988" y="26647"/>
                    </a:lnTo>
                    <a:lnTo>
                      <a:pt x="26126" y="25055"/>
                    </a:lnTo>
                    <a:lnTo>
                      <a:pt x="24068" y="21570"/>
                    </a:lnTo>
                    <a:lnTo>
                      <a:pt x="24424" y="18689"/>
                    </a:lnTo>
                    <a:lnTo>
                      <a:pt x="34907" y="13365"/>
                    </a:lnTo>
                    <a:lnTo>
                      <a:pt x="50879" y="9139"/>
                    </a:lnTo>
                    <a:lnTo>
                      <a:pt x="59935" y="0"/>
                    </a:lnTo>
                    <a:lnTo>
                      <a:pt x="63311" y="796"/>
                    </a:lnTo>
                    <a:lnTo>
                      <a:pt x="85649" y="17152"/>
                    </a:lnTo>
                    <a:lnTo>
                      <a:pt x="94513" y="17619"/>
                    </a:lnTo>
                    <a:lnTo>
                      <a:pt x="95309" y="20363"/>
                    </a:lnTo>
                    <a:lnTo>
                      <a:pt x="99893" y="23601"/>
                    </a:lnTo>
                    <a:lnTo>
                      <a:pt x="100990" y="26620"/>
                    </a:lnTo>
                    <a:lnTo>
                      <a:pt x="102445" y="30517"/>
                    </a:lnTo>
                    <a:lnTo>
                      <a:pt x="110568" y="31066"/>
                    </a:lnTo>
                    <a:lnTo>
                      <a:pt x="117593" y="342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3" name="Freeform: Shape 3502">
                <a:extLst>
                  <a:ext uri="{FF2B5EF4-FFF2-40B4-BE49-F238E27FC236}">
                    <a16:creationId xmlns:a16="http://schemas.microsoft.com/office/drawing/2014/main" id="{223A2572-29B1-87AF-FAB2-953DE8F3ED1A}"/>
                  </a:ext>
                </a:extLst>
              </p:cNvPr>
              <p:cNvSpPr/>
              <p:nvPr/>
            </p:nvSpPr>
            <p:spPr>
              <a:xfrm>
                <a:off x="1119157" y="3852674"/>
                <a:ext cx="1128" cy="1093"/>
              </a:xfrm>
              <a:custGeom>
                <a:avLst/>
                <a:gdLst>
                  <a:gd name="connsiteX0" fmla="*/ 10785 w 10812"/>
                  <a:gd name="connsiteY0" fmla="*/ 2223 h 10483"/>
                  <a:gd name="connsiteX1" fmla="*/ 2360 w 10812"/>
                  <a:gd name="connsiteY1" fmla="*/ 10483 h 10483"/>
                  <a:gd name="connsiteX2" fmla="*/ 0 w 10812"/>
                  <a:gd name="connsiteY2" fmla="*/ 8425 h 10483"/>
                  <a:gd name="connsiteX3" fmla="*/ 1317 w 10812"/>
                  <a:gd name="connsiteY3" fmla="*/ 2223 h 10483"/>
                  <a:gd name="connsiteX4" fmla="*/ 6751 w 10812"/>
                  <a:gd name="connsiteY4" fmla="*/ 0 h 10483"/>
                  <a:gd name="connsiteX5" fmla="*/ 10812 w 10812"/>
                  <a:gd name="connsiteY5" fmla="*/ 2223 h 1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12" h="10483">
                    <a:moveTo>
                      <a:pt x="10785" y="2223"/>
                    </a:moveTo>
                    <a:lnTo>
                      <a:pt x="2360" y="10483"/>
                    </a:lnTo>
                    <a:lnTo>
                      <a:pt x="0" y="8425"/>
                    </a:lnTo>
                    <a:lnTo>
                      <a:pt x="1317" y="2223"/>
                    </a:lnTo>
                    <a:lnTo>
                      <a:pt x="6751" y="0"/>
                    </a:lnTo>
                    <a:lnTo>
                      <a:pt x="10812"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4" name="Freeform: Shape 3503">
                <a:extLst>
                  <a:ext uri="{FF2B5EF4-FFF2-40B4-BE49-F238E27FC236}">
                    <a16:creationId xmlns:a16="http://schemas.microsoft.com/office/drawing/2014/main" id="{A665B847-12DB-E5A6-56DF-5AFBFB8E5D9D}"/>
                  </a:ext>
                </a:extLst>
              </p:cNvPr>
              <p:cNvSpPr/>
              <p:nvPr/>
            </p:nvSpPr>
            <p:spPr>
              <a:xfrm>
                <a:off x="1441206" y="3741991"/>
                <a:ext cx="33796" cy="33249"/>
              </a:xfrm>
              <a:custGeom>
                <a:avLst/>
                <a:gdLst>
                  <a:gd name="connsiteX0" fmla="*/ 15945 w 324019"/>
                  <a:gd name="connsiteY0" fmla="*/ 4336 h 318777"/>
                  <a:gd name="connsiteX1" fmla="*/ 21516 w 324019"/>
                  <a:gd name="connsiteY1" fmla="*/ 4885 h 318777"/>
                  <a:gd name="connsiteX2" fmla="*/ 37048 w 324019"/>
                  <a:gd name="connsiteY2" fmla="*/ 1592 h 318777"/>
                  <a:gd name="connsiteX3" fmla="*/ 74782 w 324019"/>
                  <a:gd name="connsiteY3" fmla="*/ 9797 h 318777"/>
                  <a:gd name="connsiteX4" fmla="*/ 82027 w 324019"/>
                  <a:gd name="connsiteY4" fmla="*/ 15121 h 318777"/>
                  <a:gd name="connsiteX5" fmla="*/ 91056 w 324019"/>
                  <a:gd name="connsiteY5" fmla="*/ 14984 h 318777"/>
                  <a:gd name="connsiteX6" fmla="*/ 96215 w 324019"/>
                  <a:gd name="connsiteY6" fmla="*/ 19073 h 318777"/>
                  <a:gd name="connsiteX7" fmla="*/ 110211 w 324019"/>
                  <a:gd name="connsiteY7" fmla="*/ 20253 h 318777"/>
                  <a:gd name="connsiteX8" fmla="*/ 128543 w 324019"/>
                  <a:gd name="connsiteY8" fmla="*/ 28403 h 318777"/>
                  <a:gd name="connsiteX9" fmla="*/ 136996 w 324019"/>
                  <a:gd name="connsiteY9" fmla="*/ 26125 h 318777"/>
                  <a:gd name="connsiteX10" fmla="*/ 156041 w 324019"/>
                  <a:gd name="connsiteY10" fmla="*/ 13008 h 318777"/>
                  <a:gd name="connsiteX11" fmla="*/ 161337 w 324019"/>
                  <a:gd name="connsiteY11" fmla="*/ 12239 h 318777"/>
                  <a:gd name="connsiteX12" fmla="*/ 167128 w 324019"/>
                  <a:gd name="connsiteY12" fmla="*/ 7163 h 318777"/>
                  <a:gd name="connsiteX13" fmla="*/ 187079 w 324019"/>
                  <a:gd name="connsiteY13" fmla="*/ 2497 h 318777"/>
                  <a:gd name="connsiteX14" fmla="*/ 201240 w 324019"/>
                  <a:gd name="connsiteY14" fmla="*/ 6806 h 318777"/>
                  <a:gd name="connsiteX15" fmla="*/ 211888 w 324019"/>
                  <a:gd name="connsiteY15" fmla="*/ 5461 h 318777"/>
                  <a:gd name="connsiteX16" fmla="*/ 235187 w 324019"/>
                  <a:gd name="connsiteY16" fmla="*/ 21021 h 318777"/>
                  <a:gd name="connsiteX17" fmla="*/ 242788 w 324019"/>
                  <a:gd name="connsiteY17" fmla="*/ 20061 h 318777"/>
                  <a:gd name="connsiteX18" fmla="*/ 245670 w 324019"/>
                  <a:gd name="connsiteY18" fmla="*/ 17920 h 318777"/>
                  <a:gd name="connsiteX19" fmla="*/ 249731 w 324019"/>
                  <a:gd name="connsiteY19" fmla="*/ 20308 h 318777"/>
                  <a:gd name="connsiteX20" fmla="*/ 264386 w 324019"/>
                  <a:gd name="connsiteY20" fmla="*/ 18249 h 318777"/>
                  <a:gd name="connsiteX21" fmla="*/ 279562 w 324019"/>
                  <a:gd name="connsiteY21" fmla="*/ 11581 h 318777"/>
                  <a:gd name="connsiteX22" fmla="*/ 281017 w 324019"/>
                  <a:gd name="connsiteY22" fmla="*/ 15039 h 318777"/>
                  <a:gd name="connsiteX23" fmla="*/ 283349 w 324019"/>
                  <a:gd name="connsiteY23" fmla="*/ 22448 h 318777"/>
                  <a:gd name="connsiteX24" fmla="*/ 299732 w 324019"/>
                  <a:gd name="connsiteY24" fmla="*/ 73931 h 318777"/>
                  <a:gd name="connsiteX25" fmla="*/ 295259 w 324019"/>
                  <a:gd name="connsiteY25" fmla="*/ 80051 h 318777"/>
                  <a:gd name="connsiteX26" fmla="*/ 291170 w 324019"/>
                  <a:gd name="connsiteY26" fmla="*/ 99947 h 318777"/>
                  <a:gd name="connsiteX27" fmla="*/ 285298 w 324019"/>
                  <a:gd name="connsiteY27" fmla="*/ 115590 h 318777"/>
                  <a:gd name="connsiteX28" fmla="*/ 285407 w 324019"/>
                  <a:gd name="connsiteY28" fmla="*/ 124371 h 318777"/>
                  <a:gd name="connsiteX29" fmla="*/ 279452 w 324019"/>
                  <a:gd name="connsiteY29" fmla="*/ 131589 h 318777"/>
                  <a:gd name="connsiteX30" fmla="*/ 268118 w 324019"/>
                  <a:gd name="connsiteY30" fmla="*/ 124866 h 318777"/>
                  <a:gd name="connsiteX31" fmla="*/ 261148 w 324019"/>
                  <a:gd name="connsiteY31" fmla="*/ 115590 h 318777"/>
                  <a:gd name="connsiteX32" fmla="*/ 250994 w 324019"/>
                  <a:gd name="connsiteY32" fmla="*/ 105299 h 318777"/>
                  <a:gd name="connsiteX33" fmla="*/ 248524 w 324019"/>
                  <a:gd name="connsiteY33" fmla="*/ 90452 h 318777"/>
                  <a:gd name="connsiteX34" fmla="*/ 235873 w 324019"/>
                  <a:gd name="connsiteY34" fmla="*/ 75111 h 318777"/>
                  <a:gd name="connsiteX35" fmla="*/ 232305 w 324019"/>
                  <a:gd name="connsiteY35" fmla="*/ 60649 h 318777"/>
                  <a:gd name="connsiteX36" fmla="*/ 229396 w 324019"/>
                  <a:gd name="connsiteY36" fmla="*/ 58783 h 318777"/>
                  <a:gd name="connsiteX37" fmla="*/ 224841 w 324019"/>
                  <a:gd name="connsiteY37" fmla="*/ 71159 h 318777"/>
                  <a:gd name="connsiteX38" fmla="*/ 231729 w 324019"/>
                  <a:gd name="connsiteY38" fmla="*/ 79365 h 318777"/>
                  <a:gd name="connsiteX39" fmla="*/ 233951 w 324019"/>
                  <a:gd name="connsiteY39" fmla="*/ 93608 h 318777"/>
                  <a:gd name="connsiteX40" fmla="*/ 248441 w 324019"/>
                  <a:gd name="connsiteY40" fmla="*/ 115562 h 318777"/>
                  <a:gd name="connsiteX41" fmla="*/ 260077 w 324019"/>
                  <a:gd name="connsiteY41" fmla="*/ 128104 h 318777"/>
                  <a:gd name="connsiteX42" fmla="*/ 258486 w 324019"/>
                  <a:gd name="connsiteY42" fmla="*/ 130162 h 318777"/>
                  <a:gd name="connsiteX43" fmla="*/ 258787 w 324019"/>
                  <a:gd name="connsiteY43" fmla="*/ 135952 h 318777"/>
                  <a:gd name="connsiteX44" fmla="*/ 268173 w 324019"/>
                  <a:gd name="connsiteY44" fmla="*/ 149290 h 318777"/>
                  <a:gd name="connsiteX45" fmla="*/ 268392 w 324019"/>
                  <a:gd name="connsiteY45" fmla="*/ 153241 h 318777"/>
                  <a:gd name="connsiteX46" fmla="*/ 272536 w 324019"/>
                  <a:gd name="connsiteY46" fmla="*/ 161365 h 318777"/>
                  <a:gd name="connsiteX47" fmla="*/ 271521 w 324019"/>
                  <a:gd name="connsiteY47" fmla="*/ 167649 h 318777"/>
                  <a:gd name="connsiteX48" fmla="*/ 292954 w 324019"/>
                  <a:gd name="connsiteY48" fmla="*/ 206783 h 318777"/>
                  <a:gd name="connsiteX49" fmla="*/ 307581 w 324019"/>
                  <a:gd name="connsiteY49" fmla="*/ 239522 h 318777"/>
                  <a:gd name="connsiteX50" fmla="*/ 324019 w 324019"/>
                  <a:gd name="connsiteY50" fmla="*/ 256070 h 318777"/>
                  <a:gd name="connsiteX51" fmla="*/ 322565 w 324019"/>
                  <a:gd name="connsiteY51" fmla="*/ 257387 h 318777"/>
                  <a:gd name="connsiteX52" fmla="*/ 318037 w 324019"/>
                  <a:gd name="connsiteY52" fmla="*/ 256235 h 318777"/>
                  <a:gd name="connsiteX53" fmla="*/ 316692 w 324019"/>
                  <a:gd name="connsiteY53" fmla="*/ 258183 h 318777"/>
                  <a:gd name="connsiteX54" fmla="*/ 317131 w 324019"/>
                  <a:gd name="connsiteY54" fmla="*/ 271027 h 318777"/>
                  <a:gd name="connsiteX55" fmla="*/ 320836 w 324019"/>
                  <a:gd name="connsiteY55" fmla="*/ 282333 h 318777"/>
                  <a:gd name="connsiteX56" fmla="*/ 309201 w 324019"/>
                  <a:gd name="connsiteY56" fmla="*/ 293146 h 318777"/>
                  <a:gd name="connsiteX57" fmla="*/ 301187 w 324019"/>
                  <a:gd name="connsiteY57" fmla="*/ 292158 h 318777"/>
                  <a:gd name="connsiteX58" fmla="*/ 293448 w 324019"/>
                  <a:gd name="connsiteY58" fmla="*/ 308816 h 318777"/>
                  <a:gd name="connsiteX59" fmla="*/ 278601 w 324019"/>
                  <a:gd name="connsiteY59" fmla="*/ 312273 h 318777"/>
                  <a:gd name="connsiteX60" fmla="*/ 275638 w 324019"/>
                  <a:gd name="connsiteY60" fmla="*/ 318750 h 318777"/>
                  <a:gd name="connsiteX61" fmla="*/ 249072 w 324019"/>
                  <a:gd name="connsiteY61" fmla="*/ 318750 h 318777"/>
                  <a:gd name="connsiteX62" fmla="*/ 199758 w 324019"/>
                  <a:gd name="connsiteY62" fmla="*/ 318695 h 318777"/>
                  <a:gd name="connsiteX63" fmla="*/ 197343 w 324019"/>
                  <a:gd name="connsiteY63" fmla="*/ 314277 h 318777"/>
                  <a:gd name="connsiteX64" fmla="*/ 190400 w 324019"/>
                  <a:gd name="connsiteY64" fmla="*/ 318777 h 318777"/>
                  <a:gd name="connsiteX65" fmla="*/ 8398 w 324019"/>
                  <a:gd name="connsiteY65" fmla="*/ 318777 h 318777"/>
                  <a:gd name="connsiteX66" fmla="*/ 8398 w 324019"/>
                  <a:gd name="connsiteY66" fmla="*/ 83866 h 318777"/>
                  <a:gd name="connsiteX67" fmla="*/ 0 w 324019"/>
                  <a:gd name="connsiteY67" fmla="*/ 51236 h 318777"/>
                  <a:gd name="connsiteX68" fmla="*/ 6257 w 324019"/>
                  <a:gd name="connsiteY68" fmla="*/ 39929 h 318777"/>
                  <a:gd name="connsiteX69" fmla="*/ 8425 w 324019"/>
                  <a:gd name="connsiteY69" fmla="*/ 32163 h 318777"/>
                  <a:gd name="connsiteX70" fmla="*/ 6724 w 324019"/>
                  <a:gd name="connsiteY70" fmla="*/ 22421 h 318777"/>
                  <a:gd name="connsiteX71" fmla="*/ 4803 w 324019"/>
                  <a:gd name="connsiteY71" fmla="*/ 9029 h 318777"/>
                  <a:gd name="connsiteX72" fmla="*/ 12761 w 324019"/>
                  <a:gd name="connsiteY72" fmla="*/ 219 h 318777"/>
                  <a:gd name="connsiteX73" fmla="*/ 13365 w 324019"/>
                  <a:gd name="connsiteY73" fmla="*/ 0 h 318777"/>
                  <a:gd name="connsiteX74" fmla="*/ 13694 w 324019"/>
                  <a:gd name="connsiteY74" fmla="*/ 3375 h 318777"/>
                  <a:gd name="connsiteX75" fmla="*/ 15972 w 324019"/>
                  <a:gd name="connsiteY75" fmla="*/ 4308 h 3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24019" h="318777">
                    <a:moveTo>
                      <a:pt x="15945" y="4336"/>
                    </a:moveTo>
                    <a:lnTo>
                      <a:pt x="21516" y="4885"/>
                    </a:lnTo>
                    <a:lnTo>
                      <a:pt x="37048" y="1592"/>
                    </a:lnTo>
                    <a:lnTo>
                      <a:pt x="74782" y="9797"/>
                    </a:lnTo>
                    <a:lnTo>
                      <a:pt x="82027" y="15121"/>
                    </a:lnTo>
                    <a:lnTo>
                      <a:pt x="91056" y="14984"/>
                    </a:lnTo>
                    <a:lnTo>
                      <a:pt x="96215" y="19073"/>
                    </a:lnTo>
                    <a:lnTo>
                      <a:pt x="110211" y="20253"/>
                    </a:lnTo>
                    <a:lnTo>
                      <a:pt x="128543" y="28403"/>
                    </a:lnTo>
                    <a:lnTo>
                      <a:pt x="136996" y="26125"/>
                    </a:lnTo>
                    <a:lnTo>
                      <a:pt x="156041" y="13008"/>
                    </a:lnTo>
                    <a:lnTo>
                      <a:pt x="161337" y="12239"/>
                    </a:lnTo>
                    <a:lnTo>
                      <a:pt x="167128" y="7163"/>
                    </a:lnTo>
                    <a:lnTo>
                      <a:pt x="187079" y="2497"/>
                    </a:lnTo>
                    <a:lnTo>
                      <a:pt x="201240" y="6806"/>
                    </a:lnTo>
                    <a:lnTo>
                      <a:pt x="211888" y="5461"/>
                    </a:lnTo>
                    <a:lnTo>
                      <a:pt x="235187" y="21021"/>
                    </a:lnTo>
                    <a:lnTo>
                      <a:pt x="242788" y="20061"/>
                    </a:lnTo>
                    <a:lnTo>
                      <a:pt x="245670" y="17920"/>
                    </a:lnTo>
                    <a:lnTo>
                      <a:pt x="249731" y="20308"/>
                    </a:lnTo>
                    <a:lnTo>
                      <a:pt x="264386" y="18249"/>
                    </a:lnTo>
                    <a:lnTo>
                      <a:pt x="279562" y="11581"/>
                    </a:lnTo>
                    <a:lnTo>
                      <a:pt x="281017" y="15039"/>
                    </a:lnTo>
                    <a:lnTo>
                      <a:pt x="283349" y="22448"/>
                    </a:lnTo>
                    <a:lnTo>
                      <a:pt x="299732" y="73931"/>
                    </a:lnTo>
                    <a:lnTo>
                      <a:pt x="295259" y="80051"/>
                    </a:lnTo>
                    <a:lnTo>
                      <a:pt x="291170" y="99947"/>
                    </a:lnTo>
                    <a:lnTo>
                      <a:pt x="285298" y="115590"/>
                    </a:lnTo>
                    <a:lnTo>
                      <a:pt x="285407" y="124371"/>
                    </a:lnTo>
                    <a:lnTo>
                      <a:pt x="279452" y="131589"/>
                    </a:lnTo>
                    <a:lnTo>
                      <a:pt x="268118" y="124866"/>
                    </a:lnTo>
                    <a:lnTo>
                      <a:pt x="261148" y="115590"/>
                    </a:lnTo>
                    <a:lnTo>
                      <a:pt x="250994" y="105299"/>
                    </a:lnTo>
                    <a:lnTo>
                      <a:pt x="248524" y="90452"/>
                    </a:lnTo>
                    <a:lnTo>
                      <a:pt x="235873" y="75111"/>
                    </a:lnTo>
                    <a:lnTo>
                      <a:pt x="232305" y="60649"/>
                    </a:lnTo>
                    <a:lnTo>
                      <a:pt x="229396" y="58783"/>
                    </a:lnTo>
                    <a:lnTo>
                      <a:pt x="224841" y="71159"/>
                    </a:lnTo>
                    <a:lnTo>
                      <a:pt x="231729" y="79365"/>
                    </a:lnTo>
                    <a:lnTo>
                      <a:pt x="233951" y="93608"/>
                    </a:lnTo>
                    <a:lnTo>
                      <a:pt x="248441" y="115562"/>
                    </a:lnTo>
                    <a:lnTo>
                      <a:pt x="260077" y="128104"/>
                    </a:lnTo>
                    <a:lnTo>
                      <a:pt x="258486" y="130162"/>
                    </a:lnTo>
                    <a:lnTo>
                      <a:pt x="258787" y="135952"/>
                    </a:lnTo>
                    <a:lnTo>
                      <a:pt x="268173" y="149290"/>
                    </a:lnTo>
                    <a:lnTo>
                      <a:pt x="268392" y="153241"/>
                    </a:lnTo>
                    <a:lnTo>
                      <a:pt x="272536" y="161365"/>
                    </a:lnTo>
                    <a:lnTo>
                      <a:pt x="271521" y="167649"/>
                    </a:lnTo>
                    <a:lnTo>
                      <a:pt x="292954" y="206783"/>
                    </a:lnTo>
                    <a:lnTo>
                      <a:pt x="307581" y="239522"/>
                    </a:lnTo>
                    <a:lnTo>
                      <a:pt x="324019" y="256070"/>
                    </a:lnTo>
                    <a:lnTo>
                      <a:pt x="322565" y="257387"/>
                    </a:lnTo>
                    <a:lnTo>
                      <a:pt x="318037" y="256235"/>
                    </a:lnTo>
                    <a:lnTo>
                      <a:pt x="316692" y="258183"/>
                    </a:lnTo>
                    <a:lnTo>
                      <a:pt x="317131" y="271027"/>
                    </a:lnTo>
                    <a:lnTo>
                      <a:pt x="320836" y="282333"/>
                    </a:lnTo>
                    <a:lnTo>
                      <a:pt x="309201" y="293146"/>
                    </a:lnTo>
                    <a:lnTo>
                      <a:pt x="301187" y="292158"/>
                    </a:lnTo>
                    <a:lnTo>
                      <a:pt x="293448" y="308816"/>
                    </a:lnTo>
                    <a:lnTo>
                      <a:pt x="278601" y="312273"/>
                    </a:lnTo>
                    <a:lnTo>
                      <a:pt x="275638" y="318750"/>
                    </a:lnTo>
                    <a:lnTo>
                      <a:pt x="249072" y="318750"/>
                    </a:lnTo>
                    <a:cubicBezTo>
                      <a:pt x="249072" y="318750"/>
                      <a:pt x="199758" y="318695"/>
                      <a:pt x="199758" y="318695"/>
                    </a:cubicBezTo>
                    <a:lnTo>
                      <a:pt x="197343" y="314277"/>
                    </a:lnTo>
                    <a:lnTo>
                      <a:pt x="190400" y="318777"/>
                    </a:lnTo>
                    <a:lnTo>
                      <a:pt x="8398" y="318777"/>
                    </a:lnTo>
                    <a:cubicBezTo>
                      <a:pt x="8398" y="318777"/>
                      <a:pt x="8398" y="83866"/>
                      <a:pt x="8398" y="83866"/>
                    </a:cubicBezTo>
                    <a:lnTo>
                      <a:pt x="0" y="51236"/>
                    </a:lnTo>
                    <a:lnTo>
                      <a:pt x="6257" y="39929"/>
                    </a:lnTo>
                    <a:lnTo>
                      <a:pt x="8425" y="32163"/>
                    </a:lnTo>
                    <a:lnTo>
                      <a:pt x="6724" y="22421"/>
                    </a:lnTo>
                    <a:lnTo>
                      <a:pt x="4803" y="9029"/>
                    </a:lnTo>
                    <a:lnTo>
                      <a:pt x="12761" y="219"/>
                    </a:lnTo>
                    <a:lnTo>
                      <a:pt x="13365" y="0"/>
                    </a:lnTo>
                    <a:lnTo>
                      <a:pt x="13694" y="3375"/>
                    </a:lnTo>
                    <a:lnTo>
                      <a:pt x="15972" y="43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5" name="Freeform: Shape 3504">
                <a:extLst>
                  <a:ext uri="{FF2B5EF4-FFF2-40B4-BE49-F238E27FC236}">
                    <a16:creationId xmlns:a16="http://schemas.microsoft.com/office/drawing/2014/main" id="{47370A59-8D4B-0F50-BC25-88BAF638FCF9}"/>
                  </a:ext>
                </a:extLst>
              </p:cNvPr>
              <p:cNvSpPr/>
              <p:nvPr/>
            </p:nvSpPr>
            <p:spPr>
              <a:xfrm>
                <a:off x="1468819" y="3756131"/>
                <a:ext cx="349" cy="489"/>
              </a:xfrm>
              <a:custGeom>
                <a:avLst/>
                <a:gdLst>
                  <a:gd name="connsiteX0" fmla="*/ 3349 w 3348"/>
                  <a:gd name="connsiteY0" fmla="*/ 2497 h 4692"/>
                  <a:gd name="connsiteX1" fmla="*/ 2113 w 3348"/>
                  <a:gd name="connsiteY1" fmla="*/ 4693 h 4692"/>
                  <a:gd name="connsiteX2" fmla="*/ 0 w 3348"/>
                  <a:gd name="connsiteY2" fmla="*/ 2058 h 4692"/>
                  <a:gd name="connsiteX3" fmla="*/ 2058 w 3348"/>
                  <a:gd name="connsiteY3" fmla="*/ 0 h 4692"/>
                  <a:gd name="connsiteX4" fmla="*/ 3349 w 3348"/>
                  <a:gd name="connsiteY4" fmla="*/ 2497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 h="4692">
                    <a:moveTo>
                      <a:pt x="3349" y="2497"/>
                    </a:moveTo>
                    <a:lnTo>
                      <a:pt x="2113" y="4693"/>
                    </a:lnTo>
                    <a:lnTo>
                      <a:pt x="0" y="2058"/>
                    </a:lnTo>
                    <a:lnTo>
                      <a:pt x="2058" y="0"/>
                    </a:lnTo>
                    <a:lnTo>
                      <a:pt x="3349"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6" name="Freeform: Shape 3505">
                <a:extLst>
                  <a:ext uri="{FF2B5EF4-FFF2-40B4-BE49-F238E27FC236}">
                    <a16:creationId xmlns:a16="http://schemas.microsoft.com/office/drawing/2014/main" id="{46C590EC-8289-A8D3-38BD-CBFC110DB338}"/>
                  </a:ext>
                </a:extLst>
              </p:cNvPr>
              <p:cNvSpPr/>
              <p:nvPr/>
            </p:nvSpPr>
            <p:spPr>
              <a:xfrm>
                <a:off x="1476396" y="3769861"/>
                <a:ext cx="321" cy="358"/>
              </a:xfrm>
              <a:custGeom>
                <a:avLst/>
                <a:gdLst>
                  <a:gd name="connsiteX0" fmla="*/ 2277 w 3073"/>
                  <a:gd name="connsiteY0" fmla="*/ 3128 h 3430"/>
                  <a:gd name="connsiteX1" fmla="*/ 55 w 3073"/>
                  <a:gd name="connsiteY1" fmla="*/ 3430 h 3430"/>
                  <a:gd name="connsiteX2" fmla="*/ 0 w 3073"/>
                  <a:gd name="connsiteY2" fmla="*/ 1262 h 3430"/>
                  <a:gd name="connsiteX3" fmla="*/ 933 w 3073"/>
                  <a:gd name="connsiteY3" fmla="*/ 0 h 3430"/>
                  <a:gd name="connsiteX4" fmla="*/ 3073 w 3073"/>
                  <a:gd name="connsiteY4" fmla="*/ 741 h 3430"/>
                  <a:gd name="connsiteX5" fmla="*/ 2277 w 3073"/>
                  <a:gd name="connsiteY5" fmla="*/ 3128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 h="3430">
                    <a:moveTo>
                      <a:pt x="2277" y="3128"/>
                    </a:moveTo>
                    <a:lnTo>
                      <a:pt x="55" y="3430"/>
                    </a:lnTo>
                    <a:lnTo>
                      <a:pt x="0" y="1262"/>
                    </a:lnTo>
                    <a:lnTo>
                      <a:pt x="933" y="0"/>
                    </a:lnTo>
                    <a:lnTo>
                      <a:pt x="3073" y="741"/>
                    </a:lnTo>
                    <a:lnTo>
                      <a:pt x="2277" y="31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7" name="Freeform: Shape 3506">
                <a:extLst>
                  <a:ext uri="{FF2B5EF4-FFF2-40B4-BE49-F238E27FC236}">
                    <a16:creationId xmlns:a16="http://schemas.microsoft.com/office/drawing/2014/main" id="{83E752A4-EA73-B87C-8B23-A135441AE582}"/>
                  </a:ext>
                </a:extLst>
              </p:cNvPr>
              <p:cNvSpPr/>
              <p:nvPr/>
            </p:nvSpPr>
            <p:spPr>
              <a:xfrm>
                <a:off x="1312954" y="3756079"/>
                <a:ext cx="25855" cy="23213"/>
              </a:xfrm>
              <a:custGeom>
                <a:avLst/>
                <a:gdLst>
                  <a:gd name="connsiteX0" fmla="*/ 1070 w 247892"/>
                  <a:gd name="connsiteY0" fmla="*/ 221602 h 222562"/>
                  <a:gd name="connsiteX1" fmla="*/ 1263 w 247892"/>
                  <a:gd name="connsiteY1" fmla="*/ 222562 h 222562"/>
                  <a:gd name="connsiteX2" fmla="*/ 686 w 247892"/>
                  <a:gd name="connsiteY2" fmla="*/ 221602 h 222562"/>
                  <a:gd name="connsiteX3" fmla="*/ 0 w 247892"/>
                  <a:gd name="connsiteY3" fmla="*/ 219461 h 222562"/>
                  <a:gd name="connsiteX4" fmla="*/ 4254 w 247892"/>
                  <a:gd name="connsiteY4" fmla="*/ 189768 h 222562"/>
                  <a:gd name="connsiteX5" fmla="*/ 9358 w 247892"/>
                  <a:gd name="connsiteY5" fmla="*/ 177748 h 222562"/>
                  <a:gd name="connsiteX6" fmla="*/ 11883 w 247892"/>
                  <a:gd name="connsiteY6" fmla="*/ 175031 h 222562"/>
                  <a:gd name="connsiteX7" fmla="*/ 15670 w 247892"/>
                  <a:gd name="connsiteY7" fmla="*/ 174592 h 222562"/>
                  <a:gd name="connsiteX8" fmla="*/ 18003 w 247892"/>
                  <a:gd name="connsiteY8" fmla="*/ 172671 h 222562"/>
                  <a:gd name="connsiteX9" fmla="*/ 23656 w 247892"/>
                  <a:gd name="connsiteY9" fmla="*/ 156617 h 222562"/>
                  <a:gd name="connsiteX10" fmla="*/ 27498 w 247892"/>
                  <a:gd name="connsiteY10" fmla="*/ 152226 h 222562"/>
                  <a:gd name="connsiteX11" fmla="*/ 26729 w 247892"/>
                  <a:gd name="connsiteY11" fmla="*/ 148686 h 222562"/>
                  <a:gd name="connsiteX12" fmla="*/ 28815 w 247892"/>
                  <a:gd name="connsiteY12" fmla="*/ 145310 h 222562"/>
                  <a:gd name="connsiteX13" fmla="*/ 39436 w 247892"/>
                  <a:gd name="connsiteY13" fmla="*/ 126869 h 222562"/>
                  <a:gd name="connsiteX14" fmla="*/ 39628 w 247892"/>
                  <a:gd name="connsiteY14" fmla="*/ 121682 h 222562"/>
                  <a:gd name="connsiteX15" fmla="*/ 64793 w 247892"/>
                  <a:gd name="connsiteY15" fmla="*/ 96846 h 222562"/>
                  <a:gd name="connsiteX16" fmla="*/ 67455 w 247892"/>
                  <a:gd name="connsiteY16" fmla="*/ 75770 h 222562"/>
                  <a:gd name="connsiteX17" fmla="*/ 75852 w 247892"/>
                  <a:gd name="connsiteY17" fmla="*/ 56341 h 222562"/>
                  <a:gd name="connsiteX18" fmla="*/ 77636 w 247892"/>
                  <a:gd name="connsiteY18" fmla="*/ 48492 h 222562"/>
                  <a:gd name="connsiteX19" fmla="*/ 85869 w 247892"/>
                  <a:gd name="connsiteY19" fmla="*/ 41356 h 222562"/>
                  <a:gd name="connsiteX20" fmla="*/ 96078 w 247892"/>
                  <a:gd name="connsiteY20" fmla="*/ 36554 h 222562"/>
                  <a:gd name="connsiteX21" fmla="*/ 103515 w 247892"/>
                  <a:gd name="connsiteY21" fmla="*/ 30654 h 222562"/>
                  <a:gd name="connsiteX22" fmla="*/ 115343 w 247892"/>
                  <a:gd name="connsiteY22" fmla="*/ 0 h 222562"/>
                  <a:gd name="connsiteX23" fmla="*/ 247893 w 247892"/>
                  <a:gd name="connsiteY23" fmla="*/ 192 h 222562"/>
                  <a:gd name="connsiteX24" fmla="*/ 247893 w 247892"/>
                  <a:gd name="connsiteY24" fmla="*/ 11773 h 222562"/>
                  <a:gd name="connsiteX25" fmla="*/ 246767 w 247892"/>
                  <a:gd name="connsiteY25" fmla="*/ 54886 h 222562"/>
                  <a:gd name="connsiteX26" fmla="*/ 150141 w 247892"/>
                  <a:gd name="connsiteY26" fmla="*/ 55517 h 222562"/>
                  <a:gd name="connsiteX27" fmla="*/ 149702 w 247892"/>
                  <a:gd name="connsiteY27" fmla="*/ 136035 h 222562"/>
                  <a:gd name="connsiteX28" fmla="*/ 132001 w 247892"/>
                  <a:gd name="connsiteY28" fmla="*/ 143362 h 222562"/>
                  <a:gd name="connsiteX29" fmla="*/ 120969 w 247892"/>
                  <a:gd name="connsiteY29" fmla="*/ 150909 h 222562"/>
                  <a:gd name="connsiteX30" fmla="*/ 117209 w 247892"/>
                  <a:gd name="connsiteY30" fmla="*/ 155848 h 222562"/>
                  <a:gd name="connsiteX31" fmla="*/ 116358 w 247892"/>
                  <a:gd name="connsiteY31" fmla="*/ 160212 h 222562"/>
                  <a:gd name="connsiteX32" fmla="*/ 118170 w 247892"/>
                  <a:gd name="connsiteY32" fmla="*/ 168692 h 222562"/>
                  <a:gd name="connsiteX33" fmla="*/ 119899 w 247892"/>
                  <a:gd name="connsiteY33" fmla="*/ 204533 h 222562"/>
                  <a:gd name="connsiteX34" fmla="*/ 28815 w 247892"/>
                  <a:gd name="connsiteY34" fmla="*/ 204697 h 222562"/>
                  <a:gd name="connsiteX35" fmla="*/ 4803 w 247892"/>
                  <a:gd name="connsiteY35" fmla="*/ 205164 h 222562"/>
                  <a:gd name="connsiteX36" fmla="*/ 1619 w 247892"/>
                  <a:gd name="connsiteY36" fmla="*/ 214467 h 222562"/>
                  <a:gd name="connsiteX37" fmla="*/ 906 w 247892"/>
                  <a:gd name="connsiteY37" fmla="*/ 218144 h 222562"/>
                  <a:gd name="connsiteX38" fmla="*/ 1125 w 247892"/>
                  <a:gd name="connsiteY38" fmla="*/ 221602 h 22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7892" h="222562">
                    <a:moveTo>
                      <a:pt x="1070" y="221602"/>
                    </a:moveTo>
                    <a:lnTo>
                      <a:pt x="1263" y="222562"/>
                    </a:lnTo>
                    <a:lnTo>
                      <a:pt x="686" y="221602"/>
                    </a:lnTo>
                    <a:lnTo>
                      <a:pt x="0" y="219461"/>
                    </a:lnTo>
                    <a:lnTo>
                      <a:pt x="4254" y="189768"/>
                    </a:lnTo>
                    <a:lnTo>
                      <a:pt x="9358" y="177748"/>
                    </a:lnTo>
                    <a:lnTo>
                      <a:pt x="11883" y="175031"/>
                    </a:lnTo>
                    <a:lnTo>
                      <a:pt x="15670" y="174592"/>
                    </a:lnTo>
                    <a:lnTo>
                      <a:pt x="18003" y="172671"/>
                    </a:lnTo>
                    <a:lnTo>
                      <a:pt x="23656" y="156617"/>
                    </a:lnTo>
                    <a:lnTo>
                      <a:pt x="27498" y="152226"/>
                    </a:lnTo>
                    <a:lnTo>
                      <a:pt x="26729" y="148686"/>
                    </a:lnTo>
                    <a:lnTo>
                      <a:pt x="28815" y="145310"/>
                    </a:lnTo>
                    <a:lnTo>
                      <a:pt x="39436" y="126869"/>
                    </a:lnTo>
                    <a:lnTo>
                      <a:pt x="39628" y="121682"/>
                    </a:lnTo>
                    <a:lnTo>
                      <a:pt x="64793" y="96846"/>
                    </a:lnTo>
                    <a:lnTo>
                      <a:pt x="67455" y="75770"/>
                    </a:lnTo>
                    <a:lnTo>
                      <a:pt x="75852" y="56341"/>
                    </a:lnTo>
                    <a:lnTo>
                      <a:pt x="77636" y="48492"/>
                    </a:lnTo>
                    <a:lnTo>
                      <a:pt x="85869" y="41356"/>
                    </a:lnTo>
                    <a:lnTo>
                      <a:pt x="96078" y="36554"/>
                    </a:lnTo>
                    <a:lnTo>
                      <a:pt x="103515" y="30654"/>
                    </a:lnTo>
                    <a:lnTo>
                      <a:pt x="115343" y="0"/>
                    </a:lnTo>
                    <a:lnTo>
                      <a:pt x="247893" y="192"/>
                    </a:lnTo>
                    <a:lnTo>
                      <a:pt x="247893" y="11773"/>
                    </a:lnTo>
                    <a:lnTo>
                      <a:pt x="246767" y="54886"/>
                    </a:lnTo>
                    <a:lnTo>
                      <a:pt x="150141" y="55517"/>
                    </a:lnTo>
                    <a:lnTo>
                      <a:pt x="149702" y="136035"/>
                    </a:lnTo>
                    <a:lnTo>
                      <a:pt x="132001" y="143362"/>
                    </a:lnTo>
                    <a:lnTo>
                      <a:pt x="120969" y="150909"/>
                    </a:lnTo>
                    <a:lnTo>
                      <a:pt x="117209" y="155848"/>
                    </a:lnTo>
                    <a:lnTo>
                      <a:pt x="116358" y="160212"/>
                    </a:lnTo>
                    <a:lnTo>
                      <a:pt x="118170" y="168692"/>
                    </a:lnTo>
                    <a:lnTo>
                      <a:pt x="119899" y="204533"/>
                    </a:lnTo>
                    <a:lnTo>
                      <a:pt x="28815" y="204697"/>
                    </a:lnTo>
                    <a:lnTo>
                      <a:pt x="4803" y="205164"/>
                    </a:lnTo>
                    <a:lnTo>
                      <a:pt x="1619" y="214467"/>
                    </a:lnTo>
                    <a:lnTo>
                      <a:pt x="906" y="218144"/>
                    </a:lnTo>
                    <a:lnTo>
                      <a:pt x="1125" y="2216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8" name="Freeform: Shape 3507">
                <a:extLst>
                  <a:ext uri="{FF2B5EF4-FFF2-40B4-BE49-F238E27FC236}">
                    <a16:creationId xmlns:a16="http://schemas.microsoft.com/office/drawing/2014/main" id="{00875790-1F8C-AA17-9EB6-612B200C6CE4}"/>
                  </a:ext>
                </a:extLst>
              </p:cNvPr>
              <p:cNvSpPr/>
              <p:nvPr/>
            </p:nvSpPr>
            <p:spPr>
              <a:xfrm>
                <a:off x="1316328" y="3769352"/>
                <a:ext cx="346" cy="386"/>
              </a:xfrm>
              <a:custGeom>
                <a:avLst/>
                <a:gdLst>
                  <a:gd name="connsiteX0" fmla="*/ 3320 w 3320"/>
                  <a:gd name="connsiteY0" fmla="*/ 1674 h 3704"/>
                  <a:gd name="connsiteX1" fmla="*/ 1921 w 3320"/>
                  <a:gd name="connsiteY1" fmla="*/ 3705 h 3704"/>
                  <a:gd name="connsiteX2" fmla="*/ 0 w 3320"/>
                  <a:gd name="connsiteY2" fmla="*/ 2250 h 3704"/>
                  <a:gd name="connsiteX3" fmla="*/ 247 w 3320"/>
                  <a:gd name="connsiteY3" fmla="*/ 741 h 3704"/>
                  <a:gd name="connsiteX4" fmla="*/ 2579 w 3320"/>
                  <a:gd name="connsiteY4" fmla="*/ 0 h 3704"/>
                  <a:gd name="connsiteX5" fmla="*/ 3320 w 3320"/>
                  <a:gd name="connsiteY5" fmla="*/ 1674 h 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0" h="3704">
                    <a:moveTo>
                      <a:pt x="3320" y="1674"/>
                    </a:moveTo>
                    <a:lnTo>
                      <a:pt x="1921" y="3705"/>
                    </a:lnTo>
                    <a:lnTo>
                      <a:pt x="0" y="2250"/>
                    </a:lnTo>
                    <a:lnTo>
                      <a:pt x="247" y="741"/>
                    </a:lnTo>
                    <a:lnTo>
                      <a:pt x="2579" y="0"/>
                    </a:lnTo>
                    <a:lnTo>
                      <a:pt x="3320" y="16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9" name="Freeform: Shape 3508">
                <a:extLst>
                  <a:ext uri="{FF2B5EF4-FFF2-40B4-BE49-F238E27FC236}">
                    <a16:creationId xmlns:a16="http://schemas.microsoft.com/office/drawing/2014/main" id="{312D20B4-6378-E88B-9D0B-10D27FE45E93}"/>
                  </a:ext>
                </a:extLst>
              </p:cNvPr>
              <p:cNvSpPr/>
              <p:nvPr/>
            </p:nvSpPr>
            <p:spPr>
              <a:xfrm>
                <a:off x="1477217" y="3788286"/>
                <a:ext cx="20477" cy="17884"/>
              </a:xfrm>
              <a:custGeom>
                <a:avLst/>
                <a:gdLst>
                  <a:gd name="connsiteX0" fmla="*/ 83042 w 196327"/>
                  <a:gd name="connsiteY0" fmla="*/ 61335 h 171463"/>
                  <a:gd name="connsiteX1" fmla="*/ 96380 w 196327"/>
                  <a:gd name="connsiteY1" fmla="*/ 87763 h 171463"/>
                  <a:gd name="connsiteX2" fmla="*/ 98657 w 196327"/>
                  <a:gd name="connsiteY2" fmla="*/ 87296 h 171463"/>
                  <a:gd name="connsiteX3" fmla="*/ 98822 w 196327"/>
                  <a:gd name="connsiteY3" fmla="*/ 80161 h 171463"/>
                  <a:gd name="connsiteX4" fmla="*/ 101704 w 196327"/>
                  <a:gd name="connsiteY4" fmla="*/ 78734 h 171463"/>
                  <a:gd name="connsiteX5" fmla="*/ 105738 w 196327"/>
                  <a:gd name="connsiteY5" fmla="*/ 81917 h 171463"/>
                  <a:gd name="connsiteX6" fmla="*/ 107083 w 196327"/>
                  <a:gd name="connsiteY6" fmla="*/ 88147 h 171463"/>
                  <a:gd name="connsiteX7" fmla="*/ 109799 w 196327"/>
                  <a:gd name="connsiteY7" fmla="*/ 91769 h 171463"/>
                  <a:gd name="connsiteX8" fmla="*/ 113257 w 196327"/>
                  <a:gd name="connsiteY8" fmla="*/ 91111 h 171463"/>
                  <a:gd name="connsiteX9" fmla="*/ 116002 w 196327"/>
                  <a:gd name="connsiteY9" fmla="*/ 93251 h 171463"/>
                  <a:gd name="connsiteX10" fmla="*/ 121765 w 196327"/>
                  <a:gd name="connsiteY10" fmla="*/ 93882 h 171463"/>
                  <a:gd name="connsiteX11" fmla="*/ 128104 w 196327"/>
                  <a:gd name="connsiteY11" fmla="*/ 99947 h 171463"/>
                  <a:gd name="connsiteX12" fmla="*/ 138203 w 196327"/>
                  <a:gd name="connsiteY12" fmla="*/ 104009 h 171463"/>
                  <a:gd name="connsiteX13" fmla="*/ 153736 w 196327"/>
                  <a:gd name="connsiteY13" fmla="*/ 123054 h 171463"/>
                  <a:gd name="connsiteX14" fmla="*/ 161557 w 196327"/>
                  <a:gd name="connsiteY14" fmla="*/ 127061 h 171463"/>
                  <a:gd name="connsiteX15" fmla="*/ 169543 w 196327"/>
                  <a:gd name="connsiteY15" fmla="*/ 134141 h 171463"/>
                  <a:gd name="connsiteX16" fmla="*/ 175608 w 196327"/>
                  <a:gd name="connsiteY16" fmla="*/ 145777 h 171463"/>
                  <a:gd name="connsiteX17" fmla="*/ 176925 w 196327"/>
                  <a:gd name="connsiteY17" fmla="*/ 146875 h 171463"/>
                  <a:gd name="connsiteX18" fmla="*/ 184691 w 196327"/>
                  <a:gd name="connsiteY18" fmla="*/ 153214 h 171463"/>
                  <a:gd name="connsiteX19" fmla="*/ 187491 w 196327"/>
                  <a:gd name="connsiteY19" fmla="*/ 153516 h 171463"/>
                  <a:gd name="connsiteX20" fmla="*/ 188259 w 196327"/>
                  <a:gd name="connsiteY20" fmla="*/ 156480 h 171463"/>
                  <a:gd name="connsiteX21" fmla="*/ 192128 w 196327"/>
                  <a:gd name="connsiteY21" fmla="*/ 156562 h 171463"/>
                  <a:gd name="connsiteX22" fmla="*/ 196327 w 196327"/>
                  <a:gd name="connsiteY22" fmla="*/ 161611 h 171463"/>
                  <a:gd name="connsiteX23" fmla="*/ 189329 w 196327"/>
                  <a:gd name="connsiteY23" fmla="*/ 164795 h 171463"/>
                  <a:gd name="connsiteX24" fmla="*/ 184362 w 196327"/>
                  <a:gd name="connsiteY24" fmla="*/ 171464 h 171463"/>
                  <a:gd name="connsiteX25" fmla="*/ 178379 w 196327"/>
                  <a:gd name="connsiteY25" fmla="*/ 168088 h 171463"/>
                  <a:gd name="connsiteX26" fmla="*/ 176952 w 196327"/>
                  <a:gd name="connsiteY26" fmla="*/ 168170 h 171463"/>
                  <a:gd name="connsiteX27" fmla="*/ 175114 w 196327"/>
                  <a:gd name="connsiteY27" fmla="*/ 168884 h 171463"/>
                  <a:gd name="connsiteX28" fmla="*/ 169763 w 196327"/>
                  <a:gd name="connsiteY28" fmla="*/ 160898 h 171463"/>
                  <a:gd name="connsiteX29" fmla="*/ 163423 w 196327"/>
                  <a:gd name="connsiteY29" fmla="*/ 156644 h 171463"/>
                  <a:gd name="connsiteX30" fmla="*/ 153022 w 196327"/>
                  <a:gd name="connsiteY30" fmla="*/ 142072 h 171463"/>
                  <a:gd name="connsiteX31" fmla="*/ 142347 w 196327"/>
                  <a:gd name="connsiteY31" fmla="*/ 134553 h 171463"/>
                  <a:gd name="connsiteX32" fmla="*/ 129860 w 196327"/>
                  <a:gd name="connsiteY32" fmla="*/ 118855 h 171463"/>
                  <a:gd name="connsiteX33" fmla="*/ 111913 w 196327"/>
                  <a:gd name="connsiteY33" fmla="*/ 110650 h 171463"/>
                  <a:gd name="connsiteX34" fmla="*/ 107933 w 196327"/>
                  <a:gd name="connsiteY34" fmla="*/ 107055 h 171463"/>
                  <a:gd name="connsiteX35" fmla="*/ 101786 w 196327"/>
                  <a:gd name="connsiteY35" fmla="*/ 109031 h 171463"/>
                  <a:gd name="connsiteX36" fmla="*/ 92373 w 196327"/>
                  <a:gd name="connsiteY36" fmla="*/ 104832 h 171463"/>
                  <a:gd name="connsiteX37" fmla="*/ 83345 w 196327"/>
                  <a:gd name="connsiteY37" fmla="*/ 108729 h 171463"/>
                  <a:gd name="connsiteX38" fmla="*/ 79063 w 196327"/>
                  <a:gd name="connsiteY38" fmla="*/ 103350 h 171463"/>
                  <a:gd name="connsiteX39" fmla="*/ 69706 w 196327"/>
                  <a:gd name="connsiteY39" fmla="*/ 107851 h 171463"/>
                  <a:gd name="connsiteX40" fmla="*/ 60484 w 196327"/>
                  <a:gd name="connsiteY40" fmla="*/ 109662 h 171463"/>
                  <a:gd name="connsiteX41" fmla="*/ 43250 w 196327"/>
                  <a:gd name="connsiteY41" fmla="*/ 96874 h 171463"/>
                  <a:gd name="connsiteX42" fmla="*/ 31752 w 196327"/>
                  <a:gd name="connsiteY42" fmla="*/ 115480 h 171463"/>
                  <a:gd name="connsiteX43" fmla="*/ 23765 w 196327"/>
                  <a:gd name="connsiteY43" fmla="*/ 109525 h 171463"/>
                  <a:gd name="connsiteX44" fmla="*/ 17124 w 196327"/>
                  <a:gd name="connsiteY44" fmla="*/ 114190 h 171463"/>
                  <a:gd name="connsiteX45" fmla="*/ 7849 w 196327"/>
                  <a:gd name="connsiteY45" fmla="*/ 113202 h 171463"/>
                  <a:gd name="connsiteX46" fmla="*/ 3238 w 196327"/>
                  <a:gd name="connsiteY46" fmla="*/ 114766 h 171463"/>
                  <a:gd name="connsiteX47" fmla="*/ 2196 w 196327"/>
                  <a:gd name="connsiteY47" fmla="*/ 112104 h 171463"/>
                  <a:gd name="connsiteX48" fmla="*/ 1345 w 196327"/>
                  <a:gd name="connsiteY48" fmla="*/ 102829 h 171463"/>
                  <a:gd name="connsiteX49" fmla="*/ 0 w 196327"/>
                  <a:gd name="connsiteY49" fmla="*/ 87872 h 171463"/>
                  <a:gd name="connsiteX50" fmla="*/ 3320 w 196327"/>
                  <a:gd name="connsiteY50" fmla="*/ 83619 h 171463"/>
                  <a:gd name="connsiteX51" fmla="*/ 10950 w 196327"/>
                  <a:gd name="connsiteY51" fmla="*/ 62076 h 171463"/>
                  <a:gd name="connsiteX52" fmla="*/ 14490 w 196327"/>
                  <a:gd name="connsiteY52" fmla="*/ 52855 h 171463"/>
                  <a:gd name="connsiteX53" fmla="*/ 13310 w 196327"/>
                  <a:gd name="connsiteY53" fmla="*/ 42646 h 171463"/>
                  <a:gd name="connsiteX54" fmla="*/ 15862 w 196327"/>
                  <a:gd name="connsiteY54" fmla="*/ 37487 h 171463"/>
                  <a:gd name="connsiteX55" fmla="*/ 16795 w 196327"/>
                  <a:gd name="connsiteY55" fmla="*/ 29089 h 171463"/>
                  <a:gd name="connsiteX56" fmla="*/ 27828 w 196327"/>
                  <a:gd name="connsiteY56" fmla="*/ 28870 h 171463"/>
                  <a:gd name="connsiteX57" fmla="*/ 33234 w 196327"/>
                  <a:gd name="connsiteY57" fmla="*/ 19869 h 171463"/>
                  <a:gd name="connsiteX58" fmla="*/ 37954 w 196327"/>
                  <a:gd name="connsiteY58" fmla="*/ 19073 h 171463"/>
                  <a:gd name="connsiteX59" fmla="*/ 39820 w 196327"/>
                  <a:gd name="connsiteY59" fmla="*/ 16301 h 171463"/>
                  <a:gd name="connsiteX60" fmla="*/ 52773 w 196327"/>
                  <a:gd name="connsiteY60" fmla="*/ 13584 h 171463"/>
                  <a:gd name="connsiteX61" fmla="*/ 62323 w 196327"/>
                  <a:gd name="connsiteY61" fmla="*/ 0 h 171463"/>
                  <a:gd name="connsiteX62" fmla="*/ 73218 w 196327"/>
                  <a:gd name="connsiteY62" fmla="*/ 20664 h 171463"/>
                  <a:gd name="connsiteX63" fmla="*/ 83097 w 196327"/>
                  <a:gd name="connsiteY63" fmla="*/ 61280 h 1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96327" h="171463">
                    <a:moveTo>
                      <a:pt x="83042" y="61335"/>
                    </a:moveTo>
                    <a:lnTo>
                      <a:pt x="96380" y="87763"/>
                    </a:lnTo>
                    <a:lnTo>
                      <a:pt x="98657" y="87296"/>
                    </a:lnTo>
                    <a:lnTo>
                      <a:pt x="98822" y="80161"/>
                    </a:lnTo>
                    <a:lnTo>
                      <a:pt x="101704" y="78734"/>
                    </a:lnTo>
                    <a:lnTo>
                      <a:pt x="105738" y="81917"/>
                    </a:lnTo>
                    <a:lnTo>
                      <a:pt x="107083" y="88147"/>
                    </a:lnTo>
                    <a:lnTo>
                      <a:pt x="109799" y="91769"/>
                    </a:lnTo>
                    <a:lnTo>
                      <a:pt x="113257" y="91111"/>
                    </a:lnTo>
                    <a:lnTo>
                      <a:pt x="116002" y="93251"/>
                    </a:lnTo>
                    <a:lnTo>
                      <a:pt x="121765" y="93882"/>
                    </a:lnTo>
                    <a:lnTo>
                      <a:pt x="128104" y="99947"/>
                    </a:lnTo>
                    <a:lnTo>
                      <a:pt x="138203" y="104009"/>
                    </a:lnTo>
                    <a:lnTo>
                      <a:pt x="153736" y="123054"/>
                    </a:lnTo>
                    <a:lnTo>
                      <a:pt x="161557" y="127061"/>
                    </a:lnTo>
                    <a:lnTo>
                      <a:pt x="169543" y="134141"/>
                    </a:lnTo>
                    <a:lnTo>
                      <a:pt x="175608" y="145777"/>
                    </a:lnTo>
                    <a:lnTo>
                      <a:pt x="176925" y="146875"/>
                    </a:lnTo>
                    <a:lnTo>
                      <a:pt x="184691" y="153214"/>
                    </a:lnTo>
                    <a:lnTo>
                      <a:pt x="187491" y="153516"/>
                    </a:lnTo>
                    <a:lnTo>
                      <a:pt x="188259" y="156480"/>
                    </a:lnTo>
                    <a:lnTo>
                      <a:pt x="192128" y="156562"/>
                    </a:lnTo>
                    <a:lnTo>
                      <a:pt x="196327" y="161611"/>
                    </a:lnTo>
                    <a:lnTo>
                      <a:pt x="189329" y="164795"/>
                    </a:lnTo>
                    <a:lnTo>
                      <a:pt x="184362" y="171464"/>
                    </a:lnTo>
                    <a:lnTo>
                      <a:pt x="178379" y="168088"/>
                    </a:lnTo>
                    <a:lnTo>
                      <a:pt x="176952" y="168170"/>
                    </a:lnTo>
                    <a:lnTo>
                      <a:pt x="175114" y="168884"/>
                    </a:lnTo>
                    <a:lnTo>
                      <a:pt x="169763" y="160898"/>
                    </a:lnTo>
                    <a:lnTo>
                      <a:pt x="163423" y="156644"/>
                    </a:lnTo>
                    <a:lnTo>
                      <a:pt x="153022" y="142072"/>
                    </a:lnTo>
                    <a:lnTo>
                      <a:pt x="142347" y="134553"/>
                    </a:lnTo>
                    <a:lnTo>
                      <a:pt x="129860" y="118855"/>
                    </a:lnTo>
                    <a:lnTo>
                      <a:pt x="111913" y="110650"/>
                    </a:lnTo>
                    <a:lnTo>
                      <a:pt x="107933" y="107055"/>
                    </a:lnTo>
                    <a:lnTo>
                      <a:pt x="101786" y="109031"/>
                    </a:lnTo>
                    <a:lnTo>
                      <a:pt x="92373" y="104832"/>
                    </a:lnTo>
                    <a:lnTo>
                      <a:pt x="83345" y="108729"/>
                    </a:lnTo>
                    <a:lnTo>
                      <a:pt x="79063" y="103350"/>
                    </a:lnTo>
                    <a:lnTo>
                      <a:pt x="69706" y="107851"/>
                    </a:lnTo>
                    <a:lnTo>
                      <a:pt x="60484" y="109662"/>
                    </a:lnTo>
                    <a:lnTo>
                      <a:pt x="43250" y="96874"/>
                    </a:lnTo>
                    <a:lnTo>
                      <a:pt x="31752" y="115480"/>
                    </a:lnTo>
                    <a:lnTo>
                      <a:pt x="23765" y="109525"/>
                    </a:lnTo>
                    <a:lnTo>
                      <a:pt x="17124" y="114190"/>
                    </a:lnTo>
                    <a:lnTo>
                      <a:pt x="7849" y="113202"/>
                    </a:lnTo>
                    <a:lnTo>
                      <a:pt x="3238" y="114766"/>
                    </a:lnTo>
                    <a:lnTo>
                      <a:pt x="2196" y="112104"/>
                    </a:lnTo>
                    <a:lnTo>
                      <a:pt x="1345" y="102829"/>
                    </a:lnTo>
                    <a:lnTo>
                      <a:pt x="0" y="87872"/>
                    </a:lnTo>
                    <a:lnTo>
                      <a:pt x="3320" y="83619"/>
                    </a:lnTo>
                    <a:lnTo>
                      <a:pt x="10950" y="62076"/>
                    </a:lnTo>
                    <a:lnTo>
                      <a:pt x="14490" y="52855"/>
                    </a:lnTo>
                    <a:lnTo>
                      <a:pt x="13310" y="42646"/>
                    </a:lnTo>
                    <a:lnTo>
                      <a:pt x="15862" y="37487"/>
                    </a:lnTo>
                    <a:lnTo>
                      <a:pt x="16795" y="29089"/>
                    </a:lnTo>
                    <a:lnTo>
                      <a:pt x="27828" y="28870"/>
                    </a:lnTo>
                    <a:lnTo>
                      <a:pt x="33234" y="19869"/>
                    </a:lnTo>
                    <a:lnTo>
                      <a:pt x="37954" y="19073"/>
                    </a:lnTo>
                    <a:lnTo>
                      <a:pt x="39820" y="16301"/>
                    </a:lnTo>
                    <a:lnTo>
                      <a:pt x="52773" y="13584"/>
                    </a:lnTo>
                    <a:lnTo>
                      <a:pt x="62323" y="0"/>
                    </a:lnTo>
                    <a:lnTo>
                      <a:pt x="73218" y="20664"/>
                    </a:lnTo>
                    <a:lnTo>
                      <a:pt x="83097" y="612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0" name="Freeform: Shape 3509">
                <a:extLst>
                  <a:ext uri="{FF2B5EF4-FFF2-40B4-BE49-F238E27FC236}">
                    <a16:creationId xmlns:a16="http://schemas.microsoft.com/office/drawing/2014/main" id="{B8BBA7FE-C5AB-11FA-A46F-28938392E9D6}"/>
                  </a:ext>
                </a:extLst>
              </p:cNvPr>
              <p:cNvSpPr/>
              <p:nvPr/>
            </p:nvSpPr>
            <p:spPr>
              <a:xfrm>
                <a:off x="1487894" y="3795187"/>
                <a:ext cx="847" cy="884"/>
              </a:xfrm>
              <a:custGeom>
                <a:avLst/>
                <a:gdLst>
                  <a:gd name="connsiteX0" fmla="*/ 7822 w 8123"/>
                  <a:gd name="connsiteY0" fmla="*/ 7547 h 8479"/>
                  <a:gd name="connsiteX1" fmla="*/ 3787 w 8123"/>
                  <a:gd name="connsiteY1" fmla="*/ 8480 h 8479"/>
                  <a:gd name="connsiteX2" fmla="*/ 1756 w 8123"/>
                  <a:gd name="connsiteY2" fmla="*/ 7272 h 8479"/>
                  <a:gd name="connsiteX3" fmla="*/ 4254 w 8123"/>
                  <a:gd name="connsiteY3" fmla="*/ 5763 h 8479"/>
                  <a:gd name="connsiteX4" fmla="*/ 2387 w 8123"/>
                  <a:gd name="connsiteY4" fmla="*/ 3815 h 8479"/>
                  <a:gd name="connsiteX5" fmla="*/ 0 w 8123"/>
                  <a:gd name="connsiteY5" fmla="*/ 3211 h 8479"/>
                  <a:gd name="connsiteX6" fmla="*/ 2525 w 8123"/>
                  <a:gd name="connsiteY6" fmla="*/ 0 h 8479"/>
                  <a:gd name="connsiteX7" fmla="*/ 4391 w 8123"/>
                  <a:gd name="connsiteY7" fmla="*/ 247 h 8479"/>
                  <a:gd name="connsiteX8" fmla="*/ 6120 w 8123"/>
                  <a:gd name="connsiteY8" fmla="*/ 2909 h 8479"/>
                  <a:gd name="connsiteX9" fmla="*/ 6175 w 8123"/>
                  <a:gd name="connsiteY9" fmla="*/ 4693 h 8479"/>
                  <a:gd name="connsiteX10" fmla="*/ 8123 w 8123"/>
                  <a:gd name="connsiteY10" fmla="*/ 5489 h 8479"/>
                  <a:gd name="connsiteX11" fmla="*/ 6723 w 8123"/>
                  <a:gd name="connsiteY11" fmla="*/ 6504 h 8479"/>
                  <a:gd name="connsiteX12" fmla="*/ 7794 w 8123"/>
                  <a:gd name="connsiteY12" fmla="*/ 7547 h 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23" h="8479">
                    <a:moveTo>
                      <a:pt x="7822" y="7547"/>
                    </a:moveTo>
                    <a:lnTo>
                      <a:pt x="3787" y="8480"/>
                    </a:lnTo>
                    <a:lnTo>
                      <a:pt x="1756" y="7272"/>
                    </a:lnTo>
                    <a:lnTo>
                      <a:pt x="4254" y="5763"/>
                    </a:lnTo>
                    <a:lnTo>
                      <a:pt x="2387" y="3815"/>
                    </a:lnTo>
                    <a:lnTo>
                      <a:pt x="0" y="3211"/>
                    </a:lnTo>
                    <a:lnTo>
                      <a:pt x="2525" y="0"/>
                    </a:lnTo>
                    <a:lnTo>
                      <a:pt x="4391" y="247"/>
                    </a:lnTo>
                    <a:lnTo>
                      <a:pt x="6120" y="2909"/>
                    </a:lnTo>
                    <a:lnTo>
                      <a:pt x="6175" y="4693"/>
                    </a:lnTo>
                    <a:lnTo>
                      <a:pt x="8123" y="5489"/>
                    </a:lnTo>
                    <a:lnTo>
                      <a:pt x="6723" y="6504"/>
                    </a:lnTo>
                    <a:lnTo>
                      <a:pt x="7794" y="75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1" name="Freeform: Shape 3510">
                <a:extLst>
                  <a:ext uri="{FF2B5EF4-FFF2-40B4-BE49-F238E27FC236}">
                    <a16:creationId xmlns:a16="http://schemas.microsoft.com/office/drawing/2014/main" id="{9189FE23-FEF2-ED11-D11D-9A32872794D2}"/>
                  </a:ext>
                </a:extLst>
              </p:cNvPr>
              <p:cNvSpPr/>
              <p:nvPr/>
            </p:nvSpPr>
            <p:spPr>
              <a:xfrm>
                <a:off x="1488043" y="3794165"/>
                <a:ext cx="627" cy="538"/>
              </a:xfrm>
              <a:custGeom>
                <a:avLst/>
                <a:gdLst>
                  <a:gd name="connsiteX0" fmla="*/ 6010 w 6009"/>
                  <a:gd name="connsiteY0" fmla="*/ 2113 h 5159"/>
                  <a:gd name="connsiteX1" fmla="*/ 4995 w 6009"/>
                  <a:gd name="connsiteY1" fmla="*/ 4418 h 5159"/>
                  <a:gd name="connsiteX2" fmla="*/ 2799 w 6009"/>
                  <a:gd name="connsiteY2" fmla="*/ 3924 h 5159"/>
                  <a:gd name="connsiteX3" fmla="*/ 2552 w 6009"/>
                  <a:gd name="connsiteY3" fmla="*/ 5159 h 5159"/>
                  <a:gd name="connsiteX4" fmla="*/ 0 w 6009"/>
                  <a:gd name="connsiteY4" fmla="*/ 5159 h 5159"/>
                  <a:gd name="connsiteX5" fmla="*/ 192 w 6009"/>
                  <a:gd name="connsiteY5" fmla="*/ 3540 h 5159"/>
                  <a:gd name="connsiteX6" fmla="*/ 3704 w 6009"/>
                  <a:gd name="connsiteY6" fmla="*/ 2168 h 5159"/>
                  <a:gd name="connsiteX7" fmla="*/ 5571 w 6009"/>
                  <a:gd name="connsiteY7" fmla="*/ 0 h 5159"/>
                  <a:gd name="connsiteX8" fmla="*/ 6010 w 6009"/>
                  <a:gd name="connsiteY8" fmla="*/ 2086 h 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9" h="5159">
                    <a:moveTo>
                      <a:pt x="6010" y="2113"/>
                    </a:moveTo>
                    <a:lnTo>
                      <a:pt x="4995" y="4418"/>
                    </a:lnTo>
                    <a:lnTo>
                      <a:pt x="2799" y="3924"/>
                    </a:lnTo>
                    <a:lnTo>
                      <a:pt x="2552" y="5159"/>
                    </a:lnTo>
                    <a:lnTo>
                      <a:pt x="0" y="5159"/>
                    </a:lnTo>
                    <a:lnTo>
                      <a:pt x="192" y="3540"/>
                    </a:lnTo>
                    <a:lnTo>
                      <a:pt x="3704" y="2168"/>
                    </a:lnTo>
                    <a:lnTo>
                      <a:pt x="5571" y="0"/>
                    </a:lnTo>
                    <a:lnTo>
                      <a:pt x="6010"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2" name="Freeform: Shape 3511">
                <a:extLst>
                  <a:ext uri="{FF2B5EF4-FFF2-40B4-BE49-F238E27FC236}">
                    <a16:creationId xmlns:a16="http://schemas.microsoft.com/office/drawing/2014/main" id="{CE2CFFD1-A1A2-2241-4E1F-3BFCAD7A2720}"/>
                  </a:ext>
                </a:extLst>
              </p:cNvPr>
              <p:cNvSpPr/>
              <p:nvPr/>
            </p:nvSpPr>
            <p:spPr>
              <a:xfrm>
                <a:off x="1488801" y="3795766"/>
                <a:ext cx="587" cy="355"/>
              </a:xfrm>
              <a:custGeom>
                <a:avLst/>
                <a:gdLst>
                  <a:gd name="connsiteX0" fmla="*/ 5626 w 5625"/>
                  <a:gd name="connsiteY0" fmla="*/ 2442 h 3402"/>
                  <a:gd name="connsiteX1" fmla="*/ 4062 w 5625"/>
                  <a:gd name="connsiteY1" fmla="*/ 3403 h 3402"/>
                  <a:gd name="connsiteX2" fmla="*/ 0 w 5625"/>
                  <a:gd name="connsiteY2" fmla="*/ 2552 h 3402"/>
                  <a:gd name="connsiteX3" fmla="*/ 2689 w 5625"/>
                  <a:gd name="connsiteY3" fmla="*/ 0 h 3402"/>
                  <a:gd name="connsiteX4" fmla="*/ 5626 w 5625"/>
                  <a:gd name="connsiteY4" fmla="*/ 2442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 h="3402">
                    <a:moveTo>
                      <a:pt x="5626" y="2442"/>
                    </a:moveTo>
                    <a:lnTo>
                      <a:pt x="4062" y="3403"/>
                    </a:lnTo>
                    <a:lnTo>
                      <a:pt x="0" y="2552"/>
                    </a:lnTo>
                    <a:lnTo>
                      <a:pt x="2689" y="0"/>
                    </a:lnTo>
                    <a:lnTo>
                      <a:pt x="5626" y="24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3" name="Freeform: Shape 3512">
                <a:extLst>
                  <a:ext uri="{FF2B5EF4-FFF2-40B4-BE49-F238E27FC236}">
                    <a16:creationId xmlns:a16="http://schemas.microsoft.com/office/drawing/2014/main" id="{54BD834C-DE00-4C70-332E-F1C346037420}"/>
                  </a:ext>
                </a:extLst>
              </p:cNvPr>
              <p:cNvSpPr/>
              <p:nvPr/>
            </p:nvSpPr>
            <p:spPr>
              <a:xfrm>
                <a:off x="1488764" y="3797260"/>
                <a:ext cx="283" cy="461"/>
              </a:xfrm>
              <a:custGeom>
                <a:avLst/>
                <a:gdLst>
                  <a:gd name="connsiteX0" fmla="*/ 2717 w 2716"/>
                  <a:gd name="connsiteY0" fmla="*/ 3375 h 4418"/>
                  <a:gd name="connsiteX1" fmla="*/ 1372 w 2716"/>
                  <a:gd name="connsiteY1" fmla="*/ 4418 h 4418"/>
                  <a:gd name="connsiteX2" fmla="*/ 0 w 2716"/>
                  <a:gd name="connsiteY2" fmla="*/ 2689 h 4418"/>
                  <a:gd name="connsiteX3" fmla="*/ 0 w 2716"/>
                  <a:gd name="connsiteY3" fmla="*/ 0 h 4418"/>
                  <a:gd name="connsiteX4" fmla="*/ 1646 w 2716"/>
                  <a:gd name="connsiteY4" fmla="*/ 768 h 4418"/>
                  <a:gd name="connsiteX5" fmla="*/ 2717 w 2716"/>
                  <a:gd name="connsiteY5" fmla="*/ 3348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6" h="4418">
                    <a:moveTo>
                      <a:pt x="2717" y="3375"/>
                    </a:moveTo>
                    <a:lnTo>
                      <a:pt x="1372" y="4418"/>
                    </a:lnTo>
                    <a:lnTo>
                      <a:pt x="0" y="2689"/>
                    </a:lnTo>
                    <a:lnTo>
                      <a:pt x="0" y="0"/>
                    </a:lnTo>
                    <a:lnTo>
                      <a:pt x="1646" y="768"/>
                    </a:lnTo>
                    <a:lnTo>
                      <a:pt x="2717"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4" name="Freeform: Shape 3513">
                <a:extLst>
                  <a:ext uri="{FF2B5EF4-FFF2-40B4-BE49-F238E27FC236}">
                    <a16:creationId xmlns:a16="http://schemas.microsoft.com/office/drawing/2014/main" id="{ACE42D07-9C5F-6AC2-4C5A-DBA316E8BFC9}"/>
                  </a:ext>
                </a:extLst>
              </p:cNvPr>
              <p:cNvSpPr/>
              <p:nvPr/>
            </p:nvSpPr>
            <p:spPr>
              <a:xfrm>
                <a:off x="1392349" y="3837361"/>
                <a:ext cx="17446" cy="19349"/>
              </a:xfrm>
              <a:custGeom>
                <a:avLst/>
                <a:gdLst>
                  <a:gd name="connsiteX0" fmla="*/ 132687 w 167264"/>
                  <a:gd name="connsiteY0" fmla="*/ 4171 h 185514"/>
                  <a:gd name="connsiteX1" fmla="*/ 128708 w 167264"/>
                  <a:gd name="connsiteY1" fmla="*/ 17646 h 185514"/>
                  <a:gd name="connsiteX2" fmla="*/ 131040 w 167264"/>
                  <a:gd name="connsiteY2" fmla="*/ 29419 h 185514"/>
                  <a:gd name="connsiteX3" fmla="*/ 151074 w 167264"/>
                  <a:gd name="connsiteY3" fmla="*/ 26647 h 185514"/>
                  <a:gd name="connsiteX4" fmla="*/ 156946 w 167264"/>
                  <a:gd name="connsiteY4" fmla="*/ 27333 h 185514"/>
                  <a:gd name="connsiteX5" fmla="*/ 161228 w 167264"/>
                  <a:gd name="connsiteY5" fmla="*/ 30215 h 185514"/>
                  <a:gd name="connsiteX6" fmla="*/ 166167 w 167264"/>
                  <a:gd name="connsiteY6" fmla="*/ 39463 h 185514"/>
                  <a:gd name="connsiteX7" fmla="*/ 163917 w 167264"/>
                  <a:gd name="connsiteY7" fmla="*/ 47998 h 185514"/>
                  <a:gd name="connsiteX8" fmla="*/ 157276 w 167264"/>
                  <a:gd name="connsiteY8" fmla="*/ 52938 h 185514"/>
                  <a:gd name="connsiteX9" fmla="*/ 155876 w 167264"/>
                  <a:gd name="connsiteY9" fmla="*/ 53953 h 185514"/>
                  <a:gd name="connsiteX10" fmla="*/ 150991 w 167264"/>
                  <a:gd name="connsiteY10" fmla="*/ 64656 h 185514"/>
                  <a:gd name="connsiteX11" fmla="*/ 152226 w 167264"/>
                  <a:gd name="connsiteY11" fmla="*/ 74178 h 185514"/>
                  <a:gd name="connsiteX12" fmla="*/ 164575 w 167264"/>
                  <a:gd name="connsiteY12" fmla="*/ 82768 h 185514"/>
                  <a:gd name="connsiteX13" fmla="*/ 166853 w 167264"/>
                  <a:gd name="connsiteY13" fmla="*/ 86171 h 185514"/>
                  <a:gd name="connsiteX14" fmla="*/ 165893 w 167264"/>
                  <a:gd name="connsiteY14" fmla="*/ 95776 h 185514"/>
                  <a:gd name="connsiteX15" fmla="*/ 167265 w 167264"/>
                  <a:gd name="connsiteY15" fmla="*/ 109991 h 185514"/>
                  <a:gd name="connsiteX16" fmla="*/ 164878 w 167264"/>
                  <a:gd name="connsiteY16" fmla="*/ 121353 h 185514"/>
                  <a:gd name="connsiteX17" fmla="*/ 155931 w 167264"/>
                  <a:gd name="connsiteY17" fmla="*/ 139657 h 185514"/>
                  <a:gd name="connsiteX18" fmla="*/ 150772 w 167264"/>
                  <a:gd name="connsiteY18" fmla="*/ 139054 h 185514"/>
                  <a:gd name="connsiteX19" fmla="*/ 146573 w 167264"/>
                  <a:gd name="connsiteY19" fmla="*/ 131424 h 185514"/>
                  <a:gd name="connsiteX20" fmla="*/ 138121 w 167264"/>
                  <a:gd name="connsiteY20" fmla="*/ 138861 h 185514"/>
                  <a:gd name="connsiteX21" fmla="*/ 127253 w 167264"/>
                  <a:gd name="connsiteY21" fmla="*/ 136941 h 185514"/>
                  <a:gd name="connsiteX22" fmla="*/ 118444 w 167264"/>
                  <a:gd name="connsiteY22" fmla="*/ 125003 h 185514"/>
                  <a:gd name="connsiteX23" fmla="*/ 112571 w 167264"/>
                  <a:gd name="connsiteY23" fmla="*/ 123274 h 185514"/>
                  <a:gd name="connsiteX24" fmla="*/ 108620 w 167264"/>
                  <a:gd name="connsiteY24" fmla="*/ 125112 h 185514"/>
                  <a:gd name="connsiteX25" fmla="*/ 109690 w 167264"/>
                  <a:gd name="connsiteY25" fmla="*/ 132824 h 185514"/>
                  <a:gd name="connsiteX26" fmla="*/ 106726 w 167264"/>
                  <a:gd name="connsiteY26" fmla="*/ 138806 h 185514"/>
                  <a:gd name="connsiteX27" fmla="*/ 93498 w 167264"/>
                  <a:gd name="connsiteY27" fmla="*/ 137873 h 185514"/>
                  <a:gd name="connsiteX28" fmla="*/ 84744 w 167264"/>
                  <a:gd name="connsiteY28" fmla="*/ 139081 h 185514"/>
                  <a:gd name="connsiteX29" fmla="*/ 84744 w 167264"/>
                  <a:gd name="connsiteY29" fmla="*/ 149016 h 185514"/>
                  <a:gd name="connsiteX30" fmla="*/ 94459 w 167264"/>
                  <a:gd name="connsiteY30" fmla="*/ 156535 h 185514"/>
                  <a:gd name="connsiteX31" fmla="*/ 94075 w 167264"/>
                  <a:gd name="connsiteY31" fmla="*/ 168692 h 185514"/>
                  <a:gd name="connsiteX32" fmla="*/ 90205 w 167264"/>
                  <a:gd name="connsiteY32" fmla="*/ 176102 h 185514"/>
                  <a:gd name="connsiteX33" fmla="*/ 81670 w 167264"/>
                  <a:gd name="connsiteY33" fmla="*/ 173056 h 185514"/>
                  <a:gd name="connsiteX34" fmla="*/ 76182 w 167264"/>
                  <a:gd name="connsiteY34" fmla="*/ 174867 h 185514"/>
                  <a:gd name="connsiteX35" fmla="*/ 70940 w 167264"/>
                  <a:gd name="connsiteY35" fmla="*/ 185514 h 185514"/>
                  <a:gd name="connsiteX36" fmla="*/ 56094 w 167264"/>
                  <a:gd name="connsiteY36" fmla="*/ 170421 h 185514"/>
                  <a:gd name="connsiteX37" fmla="*/ 52252 w 167264"/>
                  <a:gd name="connsiteY37" fmla="*/ 163807 h 185514"/>
                  <a:gd name="connsiteX38" fmla="*/ 25687 w 167264"/>
                  <a:gd name="connsiteY38" fmla="*/ 139740 h 185514"/>
                  <a:gd name="connsiteX39" fmla="*/ 15341 w 167264"/>
                  <a:gd name="connsiteY39" fmla="*/ 124371 h 185514"/>
                  <a:gd name="connsiteX40" fmla="*/ 9605 w 167264"/>
                  <a:gd name="connsiteY40" fmla="*/ 110074 h 185514"/>
                  <a:gd name="connsiteX41" fmla="*/ 0 w 167264"/>
                  <a:gd name="connsiteY41" fmla="*/ 91632 h 185514"/>
                  <a:gd name="connsiteX42" fmla="*/ 9221 w 167264"/>
                  <a:gd name="connsiteY42" fmla="*/ 86912 h 185514"/>
                  <a:gd name="connsiteX43" fmla="*/ 12157 w 167264"/>
                  <a:gd name="connsiteY43" fmla="*/ 83344 h 185514"/>
                  <a:gd name="connsiteX44" fmla="*/ 13337 w 167264"/>
                  <a:gd name="connsiteY44" fmla="*/ 77087 h 185514"/>
                  <a:gd name="connsiteX45" fmla="*/ 16329 w 167264"/>
                  <a:gd name="connsiteY45" fmla="*/ 61527 h 185514"/>
                  <a:gd name="connsiteX46" fmla="*/ 22750 w 167264"/>
                  <a:gd name="connsiteY46" fmla="*/ 63668 h 185514"/>
                  <a:gd name="connsiteX47" fmla="*/ 26373 w 167264"/>
                  <a:gd name="connsiteY47" fmla="*/ 62790 h 185514"/>
                  <a:gd name="connsiteX48" fmla="*/ 20802 w 167264"/>
                  <a:gd name="connsiteY48" fmla="*/ 58399 h 185514"/>
                  <a:gd name="connsiteX49" fmla="*/ 17234 w 167264"/>
                  <a:gd name="connsiteY49" fmla="*/ 52993 h 185514"/>
                  <a:gd name="connsiteX50" fmla="*/ 18908 w 167264"/>
                  <a:gd name="connsiteY50" fmla="*/ 51154 h 185514"/>
                  <a:gd name="connsiteX51" fmla="*/ 23711 w 167264"/>
                  <a:gd name="connsiteY51" fmla="*/ 51757 h 185514"/>
                  <a:gd name="connsiteX52" fmla="*/ 23464 w 167264"/>
                  <a:gd name="connsiteY52" fmla="*/ 41878 h 185514"/>
                  <a:gd name="connsiteX53" fmla="*/ 25687 w 167264"/>
                  <a:gd name="connsiteY53" fmla="*/ 36856 h 185514"/>
                  <a:gd name="connsiteX54" fmla="*/ 34057 w 167264"/>
                  <a:gd name="connsiteY54" fmla="*/ 40286 h 185514"/>
                  <a:gd name="connsiteX55" fmla="*/ 37130 w 167264"/>
                  <a:gd name="connsiteY55" fmla="*/ 38695 h 185514"/>
                  <a:gd name="connsiteX56" fmla="*/ 74206 w 167264"/>
                  <a:gd name="connsiteY56" fmla="*/ 38338 h 185514"/>
                  <a:gd name="connsiteX57" fmla="*/ 74865 w 167264"/>
                  <a:gd name="connsiteY57" fmla="*/ 4062 h 185514"/>
                  <a:gd name="connsiteX58" fmla="*/ 77115 w 167264"/>
                  <a:gd name="connsiteY58" fmla="*/ 494 h 185514"/>
                  <a:gd name="connsiteX59" fmla="*/ 84964 w 167264"/>
                  <a:gd name="connsiteY59" fmla="*/ 0 h 185514"/>
                  <a:gd name="connsiteX60" fmla="*/ 115837 w 167264"/>
                  <a:gd name="connsiteY60" fmla="*/ 2333 h 185514"/>
                  <a:gd name="connsiteX61" fmla="*/ 129998 w 167264"/>
                  <a:gd name="connsiteY61" fmla="*/ 1098 h 185514"/>
                  <a:gd name="connsiteX62" fmla="*/ 132632 w 167264"/>
                  <a:gd name="connsiteY62" fmla="*/ 4144 h 18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67264" h="185514">
                    <a:moveTo>
                      <a:pt x="132687" y="4171"/>
                    </a:moveTo>
                    <a:lnTo>
                      <a:pt x="128708" y="17646"/>
                    </a:lnTo>
                    <a:lnTo>
                      <a:pt x="131040" y="29419"/>
                    </a:lnTo>
                    <a:lnTo>
                      <a:pt x="151074" y="26647"/>
                    </a:lnTo>
                    <a:lnTo>
                      <a:pt x="156946" y="27333"/>
                    </a:lnTo>
                    <a:lnTo>
                      <a:pt x="161228" y="30215"/>
                    </a:lnTo>
                    <a:lnTo>
                      <a:pt x="166167" y="39463"/>
                    </a:lnTo>
                    <a:lnTo>
                      <a:pt x="163917" y="47998"/>
                    </a:lnTo>
                    <a:lnTo>
                      <a:pt x="157276" y="52938"/>
                    </a:lnTo>
                    <a:lnTo>
                      <a:pt x="155876" y="53953"/>
                    </a:lnTo>
                    <a:lnTo>
                      <a:pt x="150991" y="64656"/>
                    </a:lnTo>
                    <a:lnTo>
                      <a:pt x="152226" y="74178"/>
                    </a:lnTo>
                    <a:lnTo>
                      <a:pt x="164575" y="82768"/>
                    </a:lnTo>
                    <a:lnTo>
                      <a:pt x="166853" y="86171"/>
                    </a:lnTo>
                    <a:lnTo>
                      <a:pt x="165893" y="95776"/>
                    </a:lnTo>
                    <a:lnTo>
                      <a:pt x="167265" y="109991"/>
                    </a:lnTo>
                    <a:lnTo>
                      <a:pt x="164878" y="121353"/>
                    </a:lnTo>
                    <a:lnTo>
                      <a:pt x="155931" y="139657"/>
                    </a:lnTo>
                    <a:lnTo>
                      <a:pt x="150772" y="139054"/>
                    </a:lnTo>
                    <a:lnTo>
                      <a:pt x="146573" y="131424"/>
                    </a:lnTo>
                    <a:lnTo>
                      <a:pt x="138121" y="138861"/>
                    </a:lnTo>
                    <a:lnTo>
                      <a:pt x="127253" y="136941"/>
                    </a:lnTo>
                    <a:lnTo>
                      <a:pt x="118444" y="125003"/>
                    </a:lnTo>
                    <a:lnTo>
                      <a:pt x="112571" y="123274"/>
                    </a:lnTo>
                    <a:lnTo>
                      <a:pt x="108620" y="125112"/>
                    </a:lnTo>
                    <a:lnTo>
                      <a:pt x="109690" y="132824"/>
                    </a:lnTo>
                    <a:lnTo>
                      <a:pt x="106726" y="138806"/>
                    </a:lnTo>
                    <a:lnTo>
                      <a:pt x="93498" y="137873"/>
                    </a:lnTo>
                    <a:lnTo>
                      <a:pt x="84744" y="139081"/>
                    </a:lnTo>
                    <a:lnTo>
                      <a:pt x="84744" y="149016"/>
                    </a:lnTo>
                    <a:lnTo>
                      <a:pt x="94459" y="156535"/>
                    </a:lnTo>
                    <a:lnTo>
                      <a:pt x="94075" y="168692"/>
                    </a:lnTo>
                    <a:lnTo>
                      <a:pt x="90205" y="176102"/>
                    </a:lnTo>
                    <a:lnTo>
                      <a:pt x="81670" y="173056"/>
                    </a:lnTo>
                    <a:lnTo>
                      <a:pt x="76182" y="174867"/>
                    </a:lnTo>
                    <a:lnTo>
                      <a:pt x="70940" y="185514"/>
                    </a:lnTo>
                    <a:lnTo>
                      <a:pt x="56094" y="170421"/>
                    </a:lnTo>
                    <a:lnTo>
                      <a:pt x="52252" y="163807"/>
                    </a:lnTo>
                    <a:lnTo>
                      <a:pt x="25687" y="139740"/>
                    </a:lnTo>
                    <a:lnTo>
                      <a:pt x="15341" y="124371"/>
                    </a:lnTo>
                    <a:lnTo>
                      <a:pt x="9605" y="110074"/>
                    </a:lnTo>
                    <a:lnTo>
                      <a:pt x="0" y="91632"/>
                    </a:lnTo>
                    <a:lnTo>
                      <a:pt x="9221" y="86912"/>
                    </a:lnTo>
                    <a:lnTo>
                      <a:pt x="12157" y="83344"/>
                    </a:lnTo>
                    <a:lnTo>
                      <a:pt x="13337" y="77087"/>
                    </a:lnTo>
                    <a:lnTo>
                      <a:pt x="16329" y="61527"/>
                    </a:lnTo>
                    <a:lnTo>
                      <a:pt x="22750" y="63668"/>
                    </a:lnTo>
                    <a:lnTo>
                      <a:pt x="26373" y="62790"/>
                    </a:lnTo>
                    <a:lnTo>
                      <a:pt x="20802" y="58399"/>
                    </a:lnTo>
                    <a:lnTo>
                      <a:pt x="17234" y="52993"/>
                    </a:lnTo>
                    <a:lnTo>
                      <a:pt x="18908" y="51154"/>
                    </a:lnTo>
                    <a:lnTo>
                      <a:pt x="23711" y="51757"/>
                    </a:lnTo>
                    <a:lnTo>
                      <a:pt x="23464" y="41878"/>
                    </a:lnTo>
                    <a:lnTo>
                      <a:pt x="25687" y="36856"/>
                    </a:lnTo>
                    <a:lnTo>
                      <a:pt x="34057" y="40286"/>
                    </a:lnTo>
                    <a:lnTo>
                      <a:pt x="37130" y="38695"/>
                    </a:lnTo>
                    <a:lnTo>
                      <a:pt x="74206" y="38338"/>
                    </a:lnTo>
                    <a:lnTo>
                      <a:pt x="74865" y="4062"/>
                    </a:lnTo>
                    <a:lnTo>
                      <a:pt x="77115" y="494"/>
                    </a:lnTo>
                    <a:lnTo>
                      <a:pt x="84964" y="0"/>
                    </a:lnTo>
                    <a:lnTo>
                      <a:pt x="115837" y="2333"/>
                    </a:lnTo>
                    <a:lnTo>
                      <a:pt x="129998" y="1098"/>
                    </a:lnTo>
                    <a:lnTo>
                      <a:pt x="132632" y="41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5" name="Freeform: Shape 3514">
                <a:extLst>
                  <a:ext uri="{FF2B5EF4-FFF2-40B4-BE49-F238E27FC236}">
                    <a16:creationId xmlns:a16="http://schemas.microsoft.com/office/drawing/2014/main" id="{16697A8F-379A-CDF5-9D88-ECEEC51687EA}"/>
                  </a:ext>
                </a:extLst>
              </p:cNvPr>
              <p:cNvSpPr/>
              <p:nvPr/>
            </p:nvSpPr>
            <p:spPr>
              <a:xfrm>
                <a:off x="1175920" y="3806628"/>
                <a:ext cx="498" cy="710"/>
              </a:xfrm>
              <a:custGeom>
                <a:avLst/>
                <a:gdLst>
                  <a:gd name="connsiteX0" fmla="*/ 0 w 4775"/>
                  <a:gd name="connsiteY0" fmla="*/ 6806 h 6805"/>
                  <a:gd name="connsiteX1" fmla="*/ 55 w 4775"/>
                  <a:gd name="connsiteY1" fmla="*/ 4583 h 6805"/>
                  <a:gd name="connsiteX2" fmla="*/ 1208 w 4775"/>
                  <a:gd name="connsiteY2" fmla="*/ 1564 h 6805"/>
                  <a:gd name="connsiteX3" fmla="*/ 3101 w 4775"/>
                  <a:gd name="connsiteY3" fmla="*/ 0 h 6805"/>
                  <a:gd name="connsiteX4" fmla="*/ 4775 w 4775"/>
                  <a:gd name="connsiteY4" fmla="*/ 576 h 6805"/>
                  <a:gd name="connsiteX5" fmla="*/ 4775 w 4775"/>
                  <a:gd name="connsiteY5" fmla="*/ 3403 h 6805"/>
                  <a:gd name="connsiteX6" fmla="*/ 3485 w 4775"/>
                  <a:gd name="connsiteY6" fmla="*/ 6202 h 6805"/>
                  <a:gd name="connsiteX7" fmla="*/ 0 w 4775"/>
                  <a:gd name="connsiteY7" fmla="*/ 6806 h 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75" h="6805">
                    <a:moveTo>
                      <a:pt x="0" y="6806"/>
                    </a:moveTo>
                    <a:lnTo>
                      <a:pt x="55" y="4583"/>
                    </a:lnTo>
                    <a:lnTo>
                      <a:pt x="1208" y="1564"/>
                    </a:lnTo>
                    <a:lnTo>
                      <a:pt x="3101" y="0"/>
                    </a:lnTo>
                    <a:lnTo>
                      <a:pt x="4775" y="576"/>
                    </a:lnTo>
                    <a:lnTo>
                      <a:pt x="4775" y="3403"/>
                    </a:lnTo>
                    <a:cubicBezTo>
                      <a:pt x="4775" y="3403"/>
                      <a:pt x="3485" y="6202"/>
                      <a:pt x="3485" y="6202"/>
                    </a:cubicBezTo>
                    <a:lnTo>
                      <a:pt x="0" y="68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6" name="Freeform: Shape 3515">
                <a:extLst>
                  <a:ext uri="{FF2B5EF4-FFF2-40B4-BE49-F238E27FC236}">
                    <a16:creationId xmlns:a16="http://schemas.microsoft.com/office/drawing/2014/main" id="{D3BD7919-5C3D-0F10-274D-46E263F35B33}"/>
                  </a:ext>
                </a:extLst>
              </p:cNvPr>
              <p:cNvSpPr/>
              <p:nvPr/>
            </p:nvSpPr>
            <p:spPr>
              <a:xfrm>
                <a:off x="1488123" y="3695696"/>
                <a:ext cx="20454" cy="10267"/>
              </a:xfrm>
              <a:custGeom>
                <a:avLst/>
                <a:gdLst>
                  <a:gd name="connsiteX0" fmla="*/ 188616 w 196107"/>
                  <a:gd name="connsiteY0" fmla="*/ 66467 h 98437"/>
                  <a:gd name="connsiteX1" fmla="*/ 182249 w 196107"/>
                  <a:gd name="connsiteY1" fmla="*/ 72587 h 98437"/>
                  <a:gd name="connsiteX2" fmla="*/ 181974 w 196107"/>
                  <a:gd name="connsiteY2" fmla="*/ 75770 h 98437"/>
                  <a:gd name="connsiteX3" fmla="*/ 196107 w 196107"/>
                  <a:gd name="connsiteY3" fmla="*/ 89766 h 98437"/>
                  <a:gd name="connsiteX4" fmla="*/ 194104 w 196107"/>
                  <a:gd name="connsiteY4" fmla="*/ 97176 h 98437"/>
                  <a:gd name="connsiteX5" fmla="*/ 190591 w 196107"/>
                  <a:gd name="connsiteY5" fmla="*/ 98438 h 98437"/>
                  <a:gd name="connsiteX6" fmla="*/ 183456 w 196107"/>
                  <a:gd name="connsiteY6" fmla="*/ 94843 h 98437"/>
                  <a:gd name="connsiteX7" fmla="*/ 173687 w 196107"/>
                  <a:gd name="connsiteY7" fmla="*/ 94102 h 98437"/>
                  <a:gd name="connsiteX8" fmla="*/ 166085 w 196107"/>
                  <a:gd name="connsiteY8" fmla="*/ 87626 h 98437"/>
                  <a:gd name="connsiteX9" fmla="*/ 156315 w 196107"/>
                  <a:gd name="connsiteY9" fmla="*/ 84113 h 98437"/>
                  <a:gd name="connsiteX10" fmla="*/ 147204 w 196107"/>
                  <a:gd name="connsiteY10" fmla="*/ 90397 h 98437"/>
                  <a:gd name="connsiteX11" fmla="*/ 135129 w 196107"/>
                  <a:gd name="connsiteY11" fmla="*/ 93690 h 98437"/>
                  <a:gd name="connsiteX12" fmla="*/ 132165 w 196107"/>
                  <a:gd name="connsiteY12" fmla="*/ 94486 h 98437"/>
                  <a:gd name="connsiteX13" fmla="*/ 123329 w 196107"/>
                  <a:gd name="connsiteY13" fmla="*/ 92922 h 98437"/>
                  <a:gd name="connsiteX14" fmla="*/ 119926 w 196107"/>
                  <a:gd name="connsiteY14" fmla="*/ 94047 h 98437"/>
                  <a:gd name="connsiteX15" fmla="*/ 110128 w 196107"/>
                  <a:gd name="connsiteY15" fmla="*/ 97231 h 98437"/>
                  <a:gd name="connsiteX16" fmla="*/ 101923 w 196107"/>
                  <a:gd name="connsiteY16" fmla="*/ 97121 h 98437"/>
                  <a:gd name="connsiteX17" fmla="*/ 99837 w 196107"/>
                  <a:gd name="connsiteY17" fmla="*/ 94541 h 98437"/>
                  <a:gd name="connsiteX18" fmla="*/ 95007 w 196107"/>
                  <a:gd name="connsiteY18" fmla="*/ 94431 h 98437"/>
                  <a:gd name="connsiteX19" fmla="*/ 92784 w 196107"/>
                  <a:gd name="connsiteY19" fmla="*/ 89903 h 98437"/>
                  <a:gd name="connsiteX20" fmla="*/ 82933 w 196107"/>
                  <a:gd name="connsiteY20" fmla="*/ 82356 h 98437"/>
                  <a:gd name="connsiteX21" fmla="*/ 81999 w 196107"/>
                  <a:gd name="connsiteY21" fmla="*/ 79008 h 98437"/>
                  <a:gd name="connsiteX22" fmla="*/ 76703 w 196107"/>
                  <a:gd name="connsiteY22" fmla="*/ 79283 h 98437"/>
                  <a:gd name="connsiteX23" fmla="*/ 73739 w 196107"/>
                  <a:gd name="connsiteY23" fmla="*/ 84799 h 98437"/>
                  <a:gd name="connsiteX24" fmla="*/ 72312 w 196107"/>
                  <a:gd name="connsiteY24" fmla="*/ 84387 h 98437"/>
                  <a:gd name="connsiteX25" fmla="*/ 63777 w 196107"/>
                  <a:gd name="connsiteY25" fmla="*/ 82027 h 98437"/>
                  <a:gd name="connsiteX26" fmla="*/ 57356 w 196107"/>
                  <a:gd name="connsiteY26" fmla="*/ 81945 h 98437"/>
                  <a:gd name="connsiteX27" fmla="*/ 53184 w 196107"/>
                  <a:gd name="connsiteY27" fmla="*/ 84387 h 98437"/>
                  <a:gd name="connsiteX28" fmla="*/ 45226 w 196107"/>
                  <a:gd name="connsiteY28" fmla="*/ 81561 h 98437"/>
                  <a:gd name="connsiteX29" fmla="*/ 47476 w 196107"/>
                  <a:gd name="connsiteY29" fmla="*/ 77581 h 98437"/>
                  <a:gd name="connsiteX30" fmla="*/ 48519 w 196107"/>
                  <a:gd name="connsiteY30" fmla="*/ 75743 h 98437"/>
                  <a:gd name="connsiteX31" fmla="*/ 51511 w 196107"/>
                  <a:gd name="connsiteY31" fmla="*/ 70501 h 98437"/>
                  <a:gd name="connsiteX32" fmla="*/ 51263 w 196107"/>
                  <a:gd name="connsiteY32" fmla="*/ 63256 h 98437"/>
                  <a:gd name="connsiteX33" fmla="*/ 45775 w 196107"/>
                  <a:gd name="connsiteY33" fmla="*/ 46735 h 98437"/>
                  <a:gd name="connsiteX34" fmla="*/ 42701 w 196107"/>
                  <a:gd name="connsiteY34" fmla="*/ 37487 h 98437"/>
                  <a:gd name="connsiteX35" fmla="*/ 41521 w 196107"/>
                  <a:gd name="connsiteY35" fmla="*/ 33865 h 98437"/>
                  <a:gd name="connsiteX36" fmla="*/ 33728 w 196107"/>
                  <a:gd name="connsiteY36" fmla="*/ 30078 h 98437"/>
                  <a:gd name="connsiteX37" fmla="*/ 26126 w 196107"/>
                  <a:gd name="connsiteY37" fmla="*/ 20966 h 98437"/>
                  <a:gd name="connsiteX38" fmla="*/ 10016 w 196107"/>
                  <a:gd name="connsiteY38" fmla="*/ 16164 h 98437"/>
                  <a:gd name="connsiteX39" fmla="*/ 5900 w 196107"/>
                  <a:gd name="connsiteY39" fmla="*/ 10099 h 98437"/>
                  <a:gd name="connsiteX40" fmla="*/ 0 w 196107"/>
                  <a:gd name="connsiteY40" fmla="*/ 7190 h 98437"/>
                  <a:gd name="connsiteX41" fmla="*/ 3183 w 196107"/>
                  <a:gd name="connsiteY41" fmla="*/ 2058 h 98437"/>
                  <a:gd name="connsiteX42" fmla="*/ 4473 w 196107"/>
                  <a:gd name="connsiteY42" fmla="*/ 0 h 98437"/>
                  <a:gd name="connsiteX43" fmla="*/ 18442 w 196107"/>
                  <a:gd name="connsiteY43" fmla="*/ 522 h 98437"/>
                  <a:gd name="connsiteX44" fmla="*/ 22037 w 196107"/>
                  <a:gd name="connsiteY44" fmla="*/ 2086 h 98437"/>
                  <a:gd name="connsiteX45" fmla="*/ 47998 w 196107"/>
                  <a:gd name="connsiteY45" fmla="*/ 13420 h 98437"/>
                  <a:gd name="connsiteX46" fmla="*/ 70418 w 196107"/>
                  <a:gd name="connsiteY46" fmla="*/ 13338 h 98437"/>
                  <a:gd name="connsiteX47" fmla="*/ 72257 w 196107"/>
                  <a:gd name="connsiteY47" fmla="*/ 14161 h 98437"/>
                  <a:gd name="connsiteX48" fmla="*/ 77004 w 196107"/>
                  <a:gd name="connsiteY48" fmla="*/ 16301 h 98437"/>
                  <a:gd name="connsiteX49" fmla="*/ 83234 w 196107"/>
                  <a:gd name="connsiteY49" fmla="*/ 16109 h 98437"/>
                  <a:gd name="connsiteX50" fmla="*/ 93608 w 196107"/>
                  <a:gd name="connsiteY50" fmla="*/ 24918 h 98437"/>
                  <a:gd name="connsiteX51" fmla="*/ 95502 w 196107"/>
                  <a:gd name="connsiteY51" fmla="*/ 25769 h 98437"/>
                  <a:gd name="connsiteX52" fmla="*/ 108921 w 196107"/>
                  <a:gd name="connsiteY52" fmla="*/ 31779 h 98437"/>
                  <a:gd name="connsiteX53" fmla="*/ 110787 w 196107"/>
                  <a:gd name="connsiteY53" fmla="*/ 37460 h 98437"/>
                  <a:gd name="connsiteX54" fmla="*/ 111583 w 196107"/>
                  <a:gd name="connsiteY54" fmla="*/ 38667 h 98437"/>
                  <a:gd name="connsiteX55" fmla="*/ 115206 w 196107"/>
                  <a:gd name="connsiteY55" fmla="*/ 40067 h 98437"/>
                  <a:gd name="connsiteX56" fmla="*/ 121956 w 196107"/>
                  <a:gd name="connsiteY56" fmla="*/ 37460 h 98437"/>
                  <a:gd name="connsiteX57" fmla="*/ 123960 w 196107"/>
                  <a:gd name="connsiteY57" fmla="*/ 37460 h 98437"/>
                  <a:gd name="connsiteX58" fmla="*/ 123960 w 196107"/>
                  <a:gd name="connsiteY58" fmla="*/ 36664 h 98437"/>
                  <a:gd name="connsiteX59" fmla="*/ 133976 w 196107"/>
                  <a:gd name="connsiteY59" fmla="*/ 32630 h 98437"/>
                  <a:gd name="connsiteX60" fmla="*/ 138038 w 196107"/>
                  <a:gd name="connsiteY60" fmla="*/ 33261 h 98437"/>
                  <a:gd name="connsiteX61" fmla="*/ 141221 w 196107"/>
                  <a:gd name="connsiteY61" fmla="*/ 37405 h 98437"/>
                  <a:gd name="connsiteX62" fmla="*/ 144899 w 196107"/>
                  <a:gd name="connsiteY62" fmla="*/ 33096 h 98437"/>
                  <a:gd name="connsiteX63" fmla="*/ 151540 w 196107"/>
                  <a:gd name="connsiteY63" fmla="*/ 35100 h 98437"/>
                  <a:gd name="connsiteX64" fmla="*/ 153681 w 196107"/>
                  <a:gd name="connsiteY64" fmla="*/ 37487 h 98437"/>
                  <a:gd name="connsiteX65" fmla="*/ 157001 w 196107"/>
                  <a:gd name="connsiteY65" fmla="*/ 41192 h 98437"/>
                  <a:gd name="connsiteX66" fmla="*/ 165042 w 196107"/>
                  <a:gd name="connsiteY66" fmla="*/ 42564 h 98437"/>
                  <a:gd name="connsiteX67" fmla="*/ 168417 w 196107"/>
                  <a:gd name="connsiteY67" fmla="*/ 43168 h 98437"/>
                  <a:gd name="connsiteX68" fmla="*/ 168417 w 196107"/>
                  <a:gd name="connsiteY68" fmla="*/ 49535 h 98437"/>
                  <a:gd name="connsiteX69" fmla="*/ 165645 w 196107"/>
                  <a:gd name="connsiteY69" fmla="*/ 53953 h 98437"/>
                  <a:gd name="connsiteX70" fmla="*/ 182606 w 196107"/>
                  <a:gd name="connsiteY70" fmla="*/ 63256 h 98437"/>
                  <a:gd name="connsiteX71" fmla="*/ 188451 w 196107"/>
                  <a:gd name="connsiteY71" fmla="*/ 66412 h 98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96107" h="98437">
                    <a:moveTo>
                      <a:pt x="188616" y="66467"/>
                    </a:moveTo>
                    <a:lnTo>
                      <a:pt x="182249" y="72587"/>
                    </a:lnTo>
                    <a:lnTo>
                      <a:pt x="181974" y="75770"/>
                    </a:lnTo>
                    <a:lnTo>
                      <a:pt x="196107" y="89766"/>
                    </a:lnTo>
                    <a:lnTo>
                      <a:pt x="194104" y="97176"/>
                    </a:lnTo>
                    <a:lnTo>
                      <a:pt x="190591" y="98438"/>
                    </a:lnTo>
                    <a:lnTo>
                      <a:pt x="183456" y="94843"/>
                    </a:lnTo>
                    <a:lnTo>
                      <a:pt x="173687" y="94102"/>
                    </a:lnTo>
                    <a:lnTo>
                      <a:pt x="166085" y="87626"/>
                    </a:lnTo>
                    <a:lnTo>
                      <a:pt x="156315" y="84113"/>
                    </a:lnTo>
                    <a:lnTo>
                      <a:pt x="147204" y="90397"/>
                    </a:lnTo>
                    <a:lnTo>
                      <a:pt x="135129" y="93690"/>
                    </a:lnTo>
                    <a:lnTo>
                      <a:pt x="132165" y="94486"/>
                    </a:lnTo>
                    <a:lnTo>
                      <a:pt x="123329" y="92922"/>
                    </a:lnTo>
                    <a:lnTo>
                      <a:pt x="119926" y="94047"/>
                    </a:lnTo>
                    <a:lnTo>
                      <a:pt x="110128" y="97231"/>
                    </a:lnTo>
                    <a:lnTo>
                      <a:pt x="101923" y="97121"/>
                    </a:lnTo>
                    <a:lnTo>
                      <a:pt x="99837" y="94541"/>
                    </a:lnTo>
                    <a:lnTo>
                      <a:pt x="95007" y="94431"/>
                    </a:lnTo>
                    <a:lnTo>
                      <a:pt x="92784" y="89903"/>
                    </a:lnTo>
                    <a:lnTo>
                      <a:pt x="82933" y="82356"/>
                    </a:lnTo>
                    <a:lnTo>
                      <a:pt x="81999" y="79008"/>
                    </a:lnTo>
                    <a:lnTo>
                      <a:pt x="76703" y="79283"/>
                    </a:lnTo>
                    <a:lnTo>
                      <a:pt x="73739" y="84799"/>
                    </a:lnTo>
                    <a:lnTo>
                      <a:pt x="72312" y="84387"/>
                    </a:lnTo>
                    <a:lnTo>
                      <a:pt x="63777" y="82027"/>
                    </a:lnTo>
                    <a:lnTo>
                      <a:pt x="57356" y="81945"/>
                    </a:lnTo>
                    <a:lnTo>
                      <a:pt x="53184" y="84387"/>
                    </a:lnTo>
                    <a:lnTo>
                      <a:pt x="45226" y="81561"/>
                    </a:lnTo>
                    <a:lnTo>
                      <a:pt x="47476" y="77581"/>
                    </a:lnTo>
                    <a:lnTo>
                      <a:pt x="48519" y="75743"/>
                    </a:lnTo>
                    <a:lnTo>
                      <a:pt x="51511" y="70501"/>
                    </a:lnTo>
                    <a:lnTo>
                      <a:pt x="51263" y="63256"/>
                    </a:lnTo>
                    <a:lnTo>
                      <a:pt x="45775" y="46735"/>
                    </a:lnTo>
                    <a:lnTo>
                      <a:pt x="42701" y="37487"/>
                    </a:lnTo>
                    <a:lnTo>
                      <a:pt x="41521" y="33865"/>
                    </a:lnTo>
                    <a:lnTo>
                      <a:pt x="33728" y="30078"/>
                    </a:lnTo>
                    <a:lnTo>
                      <a:pt x="26126" y="20966"/>
                    </a:lnTo>
                    <a:lnTo>
                      <a:pt x="10016" y="16164"/>
                    </a:lnTo>
                    <a:lnTo>
                      <a:pt x="5900" y="10099"/>
                    </a:lnTo>
                    <a:lnTo>
                      <a:pt x="0" y="7190"/>
                    </a:lnTo>
                    <a:lnTo>
                      <a:pt x="3183" y="2058"/>
                    </a:lnTo>
                    <a:lnTo>
                      <a:pt x="4473" y="0"/>
                    </a:lnTo>
                    <a:lnTo>
                      <a:pt x="18442" y="522"/>
                    </a:lnTo>
                    <a:lnTo>
                      <a:pt x="22037" y="2086"/>
                    </a:lnTo>
                    <a:lnTo>
                      <a:pt x="47998" y="13420"/>
                    </a:lnTo>
                    <a:lnTo>
                      <a:pt x="70418" y="13338"/>
                    </a:lnTo>
                    <a:lnTo>
                      <a:pt x="72257" y="14161"/>
                    </a:lnTo>
                    <a:lnTo>
                      <a:pt x="77004" y="16301"/>
                    </a:lnTo>
                    <a:lnTo>
                      <a:pt x="83234" y="16109"/>
                    </a:lnTo>
                    <a:lnTo>
                      <a:pt x="93608" y="24918"/>
                    </a:lnTo>
                    <a:lnTo>
                      <a:pt x="95502" y="25769"/>
                    </a:lnTo>
                    <a:lnTo>
                      <a:pt x="108921" y="31779"/>
                    </a:lnTo>
                    <a:lnTo>
                      <a:pt x="110787" y="37460"/>
                    </a:lnTo>
                    <a:lnTo>
                      <a:pt x="111583" y="38667"/>
                    </a:lnTo>
                    <a:lnTo>
                      <a:pt x="115206" y="40067"/>
                    </a:lnTo>
                    <a:lnTo>
                      <a:pt x="121956" y="37460"/>
                    </a:lnTo>
                    <a:lnTo>
                      <a:pt x="123960" y="37460"/>
                    </a:lnTo>
                    <a:lnTo>
                      <a:pt x="123960" y="36664"/>
                    </a:lnTo>
                    <a:lnTo>
                      <a:pt x="133976" y="32630"/>
                    </a:lnTo>
                    <a:lnTo>
                      <a:pt x="138038" y="33261"/>
                    </a:lnTo>
                    <a:lnTo>
                      <a:pt x="141221" y="37405"/>
                    </a:lnTo>
                    <a:lnTo>
                      <a:pt x="144899" y="33096"/>
                    </a:lnTo>
                    <a:lnTo>
                      <a:pt x="151540" y="35100"/>
                    </a:lnTo>
                    <a:lnTo>
                      <a:pt x="153681" y="37487"/>
                    </a:lnTo>
                    <a:lnTo>
                      <a:pt x="157001" y="41192"/>
                    </a:lnTo>
                    <a:lnTo>
                      <a:pt x="165042" y="42564"/>
                    </a:lnTo>
                    <a:lnTo>
                      <a:pt x="168417" y="43168"/>
                    </a:lnTo>
                    <a:lnTo>
                      <a:pt x="168417" y="49535"/>
                    </a:lnTo>
                    <a:cubicBezTo>
                      <a:pt x="168417" y="49535"/>
                      <a:pt x="165645" y="53953"/>
                      <a:pt x="165645" y="53953"/>
                    </a:cubicBezTo>
                    <a:lnTo>
                      <a:pt x="182606" y="63256"/>
                    </a:lnTo>
                    <a:lnTo>
                      <a:pt x="188451" y="664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7" name="Freeform: Shape 3516">
                <a:extLst>
                  <a:ext uri="{FF2B5EF4-FFF2-40B4-BE49-F238E27FC236}">
                    <a16:creationId xmlns:a16="http://schemas.microsoft.com/office/drawing/2014/main" id="{65675EA0-19A1-98D7-6919-101CAF40FD52}"/>
                  </a:ext>
                </a:extLst>
              </p:cNvPr>
              <p:cNvSpPr/>
              <p:nvPr/>
            </p:nvSpPr>
            <p:spPr>
              <a:xfrm>
                <a:off x="1091292" y="3794761"/>
                <a:ext cx="19043" cy="9523"/>
              </a:xfrm>
              <a:custGeom>
                <a:avLst/>
                <a:gdLst>
                  <a:gd name="connsiteX0" fmla="*/ 102170 w 182578"/>
                  <a:gd name="connsiteY0" fmla="*/ 0 h 91302"/>
                  <a:gd name="connsiteX1" fmla="*/ 114574 w 182578"/>
                  <a:gd name="connsiteY1" fmla="*/ 3485 h 91302"/>
                  <a:gd name="connsiteX2" fmla="*/ 128598 w 182578"/>
                  <a:gd name="connsiteY2" fmla="*/ 604 h 91302"/>
                  <a:gd name="connsiteX3" fmla="*/ 149015 w 182578"/>
                  <a:gd name="connsiteY3" fmla="*/ 6120 h 91302"/>
                  <a:gd name="connsiteX4" fmla="*/ 157193 w 182578"/>
                  <a:gd name="connsiteY4" fmla="*/ 13584 h 91302"/>
                  <a:gd name="connsiteX5" fmla="*/ 154559 w 182578"/>
                  <a:gd name="connsiteY5" fmla="*/ 16493 h 91302"/>
                  <a:gd name="connsiteX6" fmla="*/ 154696 w 182578"/>
                  <a:gd name="connsiteY6" fmla="*/ 19100 h 91302"/>
                  <a:gd name="connsiteX7" fmla="*/ 158264 w 182578"/>
                  <a:gd name="connsiteY7" fmla="*/ 18469 h 91302"/>
                  <a:gd name="connsiteX8" fmla="*/ 165152 w 182578"/>
                  <a:gd name="connsiteY8" fmla="*/ 22942 h 91302"/>
                  <a:gd name="connsiteX9" fmla="*/ 168966 w 182578"/>
                  <a:gd name="connsiteY9" fmla="*/ 20774 h 91302"/>
                  <a:gd name="connsiteX10" fmla="*/ 173220 w 182578"/>
                  <a:gd name="connsiteY10" fmla="*/ 21927 h 91302"/>
                  <a:gd name="connsiteX11" fmla="*/ 182578 w 182578"/>
                  <a:gd name="connsiteY11" fmla="*/ 30242 h 91302"/>
                  <a:gd name="connsiteX12" fmla="*/ 174839 w 182578"/>
                  <a:gd name="connsiteY12" fmla="*/ 29885 h 91302"/>
                  <a:gd name="connsiteX13" fmla="*/ 162545 w 182578"/>
                  <a:gd name="connsiteY13" fmla="*/ 36801 h 91302"/>
                  <a:gd name="connsiteX14" fmla="*/ 150662 w 182578"/>
                  <a:gd name="connsiteY14" fmla="*/ 38338 h 91302"/>
                  <a:gd name="connsiteX15" fmla="*/ 143801 w 182578"/>
                  <a:gd name="connsiteY15" fmla="*/ 41356 h 91302"/>
                  <a:gd name="connsiteX16" fmla="*/ 137297 w 182578"/>
                  <a:gd name="connsiteY16" fmla="*/ 40286 h 91302"/>
                  <a:gd name="connsiteX17" fmla="*/ 134114 w 182578"/>
                  <a:gd name="connsiteY17" fmla="*/ 36389 h 91302"/>
                  <a:gd name="connsiteX18" fmla="*/ 131699 w 182578"/>
                  <a:gd name="connsiteY18" fmla="*/ 36005 h 91302"/>
                  <a:gd name="connsiteX19" fmla="*/ 124070 w 182578"/>
                  <a:gd name="connsiteY19" fmla="*/ 43826 h 91302"/>
                  <a:gd name="connsiteX20" fmla="*/ 121957 w 182578"/>
                  <a:gd name="connsiteY20" fmla="*/ 49013 h 91302"/>
                  <a:gd name="connsiteX21" fmla="*/ 122643 w 182578"/>
                  <a:gd name="connsiteY21" fmla="*/ 52279 h 91302"/>
                  <a:gd name="connsiteX22" fmla="*/ 117703 w 182578"/>
                  <a:gd name="connsiteY22" fmla="*/ 53678 h 91302"/>
                  <a:gd name="connsiteX23" fmla="*/ 114821 w 182578"/>
                  <a:gd name="connsiteY23" fmla="*/ 57301 h 91302"/>
                  <a:gd name="connsiteX24" fmla="*/ 106616 w 182578"/>
                  <a:gd name="connsiteY24" fmla="*/ 61664 h 91302"/>
                  <a:gd name="connsiteX25" fmla="*/ 105409 w 182578"/>
                  <a:gd name="connsiteY25" fmla="*/ 65122 h 91302"/>
                  <a:gd name="connsiteX26" fmla="*/ 99947 w 182578"/>
                  <a:gd name="connsiteY26" fmla="*/ 62323 h 91302"/>
                  <a:gd name="connsiteX27" fmla="*/ 97258 w 182578"/>
                  <a:gd name="connsiteY27" fmla="*/ 58701 h 91302"/>
                  <a:gd name="connsiteX28" fmla="*/ 88092 w 182578"/>
                  <a:gd name="connsiteY28" fmla="*/ 67400 h 91302"/>
                  <a:gd name="connsiteX29" fmla="*/ 78624 w 182578"/>
                  <a:gd name="connsiteY29" fmla="*/ 67098 h 91302"/>
                  <a:gd name="connsiteX30" fmla="*/ 75852 w 182578"/>
                  <a:gd name="connsiteY30" fmla="*/ 69595 h 91302"/>
                  <a:gd name="connsiteX31" fmla="*/ 77225 w 182578"/>
                  <a:gd name="connsiteY31" fmla="*/ 81835 h 91302"/>
                  <a:gd name="connsiteX32" fmla="*/ 72395 w 182578"/>
                  <a:gd name="connsiteY32" fmla="*/ 83042 h 91302"/>
                  <a:gd name="connsiteX33" fmla="*/ 71050 w 182578"/>
                  <a:gd name="connsiteY33" fmla="*/ 88229 h 91302"/>
                  <a:gd name="connsiteX34" fmla="*/ 68607 w 182578"/>
                  <a:gd name="connsiteY34" fmla="*/ 90589 h 91302"/>
                  <a:gd name="connsiteX35" fmla="*/ 60018 w 182578"/>
                  <a:gd name="connsiteY35" fmla="*/ 91303 h 91302"/>
                  <a:gd name="connsiteX36" fmla="*/ 54749 w 182578"/>
                  <a:gd name="connsiteY36" fmla="*/ 80298 h 91302"/>
                  <a:gd name="connsiteX37" fmla="*/ 51565 w 182578"/>
                  <a:gd name="connsiteY37" fmla="*/ 81780 h 91302"/>
                  <a:gd name="connsiteX38" fmla="*/ 50111 w 182578"/>
                  <a:gd name="connsiteY38" fmla="*/ 82411 h 91302"/>
                  <a:gd name="connsiteX39" fmla="*/ 50550 w 182578"/>
                  <a:gd name="connsiteY39" fmla="*/ 78624 h 91302"/>
                  <a:gd name="connsiteX40" fmla="*/ 45171 w 182578"/>
                  <a:gd name="connsiteY40" fmla="*/ 78459 h 91302"/>
                  <a:gd name="connsiteX41" fmla="*/ 47723 w 182578"/>
                  <a:gd name="connsiteY41" fmla="*/ 76484 h 91302"/>
                  <a:gd name="connsiteX42" fmla="*/ 46379 w 182578"/>
                  <a:gd name="connsiteY42" fmla="*/ 74398 h 91302"/>
                  <a:gd name="connsiteX43" fmla="*/ 47806 w 182578"/>
                  <a:gd name="connsiteY43" fmla="*/ 66631 h 91302"/>
                  <a:gd name="connsiteX44" fmla="*/ 46406 w 182578"/>
                  <a:gd name="connsiteY44" fmla="*/ 64601 h 91302"/>
                  <a:gd name="connsiteX45" fmla="*/ 39628 w 182578"/>
                  <a:gd name="connsiteY45" fmla="*/ 63832 h 91302"/>
                  <a:gd name="connsiteX46" fmla="*/ 35237 w 182578"/>
                  <a:gd name="connsiteY46" fmla="*/ 60786 h 91302"/>
                  <a:gd name="connsiteX47" fmla="*/ 26126 w 182578"/>
                  <a:gd name="connsiteY47" fmla="*/ 64518 h 91302"/>
                  <a:gd name="connsiteX48" fmla="*/ 24150 w 182578"/>
                  <a:gd name="connsiteY48" fmla="*/ 61280 h 91302"/>
                  <a:gd name="connsiteX49" fmla="*/ 10977 w 182578"/>
                  <a:gd name="connsiteY49" fmla="*/ 53568 h 91302"/>
                  <a:gd name="connsiteX50" fmla="*/ 7876 w 182578"/>
                  <a:gd name="connsiteY50" fmla="*/ 49233 h 91302"/>
                  <a:gd name="connsiteX51" fmla="*/ 0 w 182578"/>
                  <a:gd name="connsiteY51" fmla="*/ 47833 h 91302"/>
                  <a:gd name="connsiteX52" fmla="*/ 5818 w 182578"/>
                  <a:gd name="connsiteY52" fmla="*/ 41576 h 91302"/>
                  <a:gd name="connsiteX53" fmla="*/ 4281 w 182578"/>
                  <a:gd name="connsiteY53" fmla="*/ 34825 h 91302"/>
                  <a:gd name="connsiteX54" fmla="*/ 6175 w 182578"/>
                  <a:gd name="connsiteY54" fmla="*/ 28513 h 91302"/>
                  <a:gd name="connsiteX55" fmla="*/ 21790 w 182578"/>
                  <a:gd name="connsiteY55" fmla="*/ 17920 h 91302"/>
                  <a:gd name="connsiteX56" fmla="*/ 33261 w 182578"/>
                  <a:gd name="connsiteY56" fmla="*/ 8205 h 91302"/>
                  <a:gd name="connsiteX57" fmla="*/ 36307 w 182578"/>
                  <a:gd name="connsiteY57" fmla="*/ 8315 h 91302"/>
                  <a:gd name="connsiteX58" fmla="*/ 47065 w 182578"/>
                  <a:gd name="connsiteY58" fmla="*/ 2799 h 91302"/>
                  <a:gd name="connsiteX59" fmla="*/ 51565 w 182578"/>
                  <a:gd name="connsiteY59" fmla="*/ 4528 h 91302"/>
                  <a:gd name="connsiteX60" fmla="*/ 54447 w 182578"/>
                  <a:gd name="connsiteY60" fmla="*/ 5626 h 91302"/>
                  <a:gd name="connsiteX61" fmla="*/ 71654 w 182578"/>
                  <a:gd name="connsiteY61" fmla="*/ 6806 h 91302"/>
                  <a:gd name="connsiteX62" fmla="*/ 88147 w 182578"/>
                  <a:gd name="connsiteY62" fmla="*/ 5790 h 91302"/>
                  <a:gd name="connsiteX63" fmla="*/ 102170 w 182578"/>
                  <a:gd name="connsiteY63" fmla="*/ 55 h 9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82578" h="91302">
                    <a:moveTo>
                      <a:pt x="102170" y="0"/>
                    </a:moveTo>
                    <a:lnTo>
                      <a:pt x="114574" y="3485"/>
                    </a:lnTo>
                    <a:lnTo>
                      <a:pt x="128598" y="604"/>
                    </a:lnTo>
                    <a:lnTo>
                      <a:pt x="149015" y="6120"/>
                    </a:lnTo>
                    <a:lnTo>
                      <a:pt x="157193" y="13584"/>
                    </a:lnTo>
                    <a:lnTo>
                      <a:pt x="154559" y="16493"/>
                    </a:lnTo>
                    <a:lnTo>
                      <a:pt x="154696" y="19100"/>
                    </a:lnTo>
                    <a:lnTo>
                      <a:pt x="158264" y="18469"/>
                    </a:lnTo>
                    <a:lnTo>
                      <a:pt x="165152" y="22942"/>
                    </a:lnTo>
                    <a:lnTo>
                      <a:pt x="168966" y="20774"/>
                    </a:lnTo>
                    <a:lnTo>
                      <a:pt x="173220" y="21927"/>
                    </a:lnTo>
                    <a:lnTo>
                      <a:pt x="182578" y="30242"/>
                    </a:lnTo>
                    <a:lnTo>
                      <a:pt x="174839" y="29885"/>
                    </a:lnTo>
                    <a:lnTo>
                      <a:pt x="162545" y="36801"/>
                    </a:lnTo>
                    <a:lnTo>
                      <a:pt x="150662" y="38338"/>
                    </a:lnTo>
                    <a:lnTo>
                      <a:pt x="143801" y="41356"/>
                    </a:lnTo>
                    <a:lnTo>
                      <a:pt x="137297" y="40286"/>
                    </a:lnTo>
                    <a:lnTo>
                      <a:pt x="134114" y="36389"/>
                    </a:lnTo>
                    <a:lnTo>
                      <a:pt x="131699" y="36005"/>
                    </a:lnTo>
                    <a:lnTo>
                      <a:pt x="124070" y="43826"/>
                    </a:lnTo>
                    <a:lnTo>
                      <a:pt x="121957" y="49013"/>
                    </a:lnTo>
                    <a:lnTo>
                      <a:pt x="122643" y="52279"/>
                    </a:lnTo>
                    <a:lnTo>
                      <a:pt x="117703" y="53678"/>
                    </a:lnTo>
                    <a:lnTo>
                      <a:pt x="114821" y="57301"/>
                    </a:lnTo>
                    <a:lnTo>
                      <a:pt x="106616" y="61664"/>
                    </a:lnTo>
                    <a:lnTo>
                      <a:pt x="105409" y="65122"/>
                    </a:lnTo>
                    <a:lnTo>
                      <a:pt x="99947" y="62323"/>
                    </a:lnTo>
                    <a:lnTo>
                      <a:pt x="97258" y="58701"/>
                    </a:lnTo>
                    <a:lnTo>
                      <a:pt x="88092" y="67400"/>
                    </a:lnTo>
                    <a:lnTo>
                      <a:pt x="78624" y="67098"/>
                    </a:lnTo>
                    <a:lnTo>
                      <a:pt x="75852" y="69595"/>
                    </a:lnTo>
                    <a:lnTo>
                      <a:pt x="77225" y="81835"/>
                    </a:lnTo>
                    <a:lnTo>
                      <a:pt x="72395" y="83042"/>
                    </a:lnTo>
                    <a:lnTo>
                      <a:pt x="71050" y="88229"/>
                    </a:lnTo>
                    <a:lnTo>
                      <a:pt x="68607" y="90589"/>
                    </a:lnTo>
                    <a:lnTo>
                      <a:pt x="60018" y="91303"/>
                    </a:lnTo>
                    <a:lnTo>
                      <a:pt x="54749" y="80298"/>
                    </a:lnTo>
                    <a:lnTo>
                      <a:pt x="51565" y="81780"/>
                    </a:lnTo>
                    <a:lnTo>
                      <a:pt x="50111" y="82411"/>
                    </a:lnTo>
                    <a:lnTo>
                      <a:pt x="50550" y="78624"/>
                    </a:lnTo>
                    <a:lnTo>
                      <a:pt x="45171" y="78459"/>
                    </a:lnTo>
                    <a:lnTo>
                      <a:pt x="47723" y="76484"/>
                    </a:lnTo>
                    <a:lnTo>
                      <a:pt x="46379" y="74398"/>
                    </a:lnTo>
                    <a:lnTo>
                      <a:pt x="47806" y="66631"/>
                    </a:lnTo>
                    <a:lnTo>
                      <a:pt x="46406" y="64601"/>
                    </a:lnTo>
                    <a:lnTo>
                      <a:pt x="39628" y="63832"/>
                    </a:lnTo>
                    <a:lnTo>
                      <a:pt x="35237" y="60786"/>
                    </a:lnTo>
                    <a:lnTo>
                      <a:pt x="26126" y="64518"/>
                    </a:lnTo>
                    <a:lnTo>
                      <a:pt x="24150" y="61280"/>
                    </a:lnTo>
                    <a:lnTo>
                      <a:pt x="10977" y="53568"/>
                    </a:lnTo>
                    <a:lnTo>
                      <a:pt x="7876" y="49233"/>
                    </a:lnTo>
                    <a:lnTo>
                      <a:pt x="0" y="47833"/>
                    </a:lnTo>
                    <a:lnTo>
                      <a:pt x="5818" y="41576"/>
                    </a:lnTo>
                    <a:lnTo>
                      <a:pt x="4281" y="34825"/>
                    </a:lnTo>
                    <a:lnTo>
                      <a:pt x="6175" y="28513"/>
                    </a:lnTo>
                    <a:lnTo>
                      <a:pt x="21790" y="17920"/>
                    </a:lnTo>
                    <a:lnTo>
                      <a:pt x="33261" y="8205"/>
                    </a:lnTo>
                    <a:lnTo>
                      <a:pt x="36307" y="8315"/>
                    </a:lnTo>
                    <a:lnTo>
                      <a:pt x="47065" y="2799"/>
                    </a:lnTo>
                    <a:lnTo>
                      <a:pt x="51565" y="4528"/>
                    </a:lnTo>
                    <a:lnTo>
                      <a:pt x="54447" y="5626"/>
                    </a:lnTo>
                    <a:lnTo>
                      <a:pt x="71654" y="6806"/>
                    </a:lnTo>
                    <a:lnTo>
                      <a:pt x="88147" y="5790"/>
                    </a:lnTo>
                    <a:lnTo>
                      <a:pt x="102170" y="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8" name="Freeform: Shape 3517">
                <a:extLst>
                  <a:ext uri="{FF2B5EF4-FFF2-40B4-BE49-F238E27FC236}">
                    <a16:creationId xmlns:a16="http://schemas.microsoft.com/office/drawing/2014/main" id="{3FE7155F-A972-6470-90ED-44D430BA9F11}"/>
                  </a:ext>
                </a:extLst>
              </p:cNvPr>
              <p:cNvSpPr/>
              <p:nvPr/>
            </p:nvSpPr>
            <p:spPr>
              <a:xfrm>
                <a:off x="1437588" y="3727241"/>
                <a:ext cx="8381" cy="2691"/>
              </a:xfrm>
              <a:custGeom>
                <a:avLst/>
                <a:gdLst>
                  <a:gd name="connsiteX0" fmla="*/ 6175 w 80353"/>
                  <a:gd name="connsiteY0" fmla="*/ 0 h 25796"/>
                  <a:gd name="connsiteX1" fmla="*/ 9139 w 80353"/>
                  <a:gd name="connsiteY1" fmla="*/ 4363 h 25796"/>
                  <a:gd name="connsiteX2" fmla="*/ 18497 w 80353"/>
                  <a:gd name="connsiteY2" fmla="*/ 2964 h 25796"/>
                  <a:gd name="connsiteX3" fmla="*/ 19320 w 80353"/>
                  <a:gd name="connsiteY3" fmla="*/ 6696 h 25796"/>
                  <a:gd name="connsiteX4" fmla="*/ 23024 w 80353"/>
                  <a:gd name="connsiteY4" fmla="*/ 10950 h 25796"/>
                  <a:gd name="connsiteX5" fmla="*/ 40972 w 80353"/>
                  <a:gd name="connsiteY5" fmla="*/ 9056 h 25796"/>
                  <a:gd name="connsiteX6" fmla="*/ 48025 w 80353"/>
                  <a:gd name="connsiteY6" fmla="*/ 11252 h 25796"/>
                  <a:gd name="connsiteX7" fmla="*/ 57520 w 80353"/>
                  <a:gd name="connsiteY7" fmla="*/ 12980 h 25796"/>
                  <a:gd name="connsiteX8" fmla="*/ 63420 w 80353"/>
                  <a:gd name="connsiteY8" fmla="*/ 12267 h 25796"/>
                  <a:gd name="connsiteX9" fmla="*/ 66247 w 80353"/>
                  <a:gd name="connsiteY9" fmla="*/ 19265 h 25796"/>
                  <a:gd name="connsiteX10" fmla="*/ 79091 w 80353"/>
                  <a:gd name="connsiteY10" fmla="*/ 15011 h 25796"/>
                  <a:gd name="connsiteX11" fmla="*/ 80353 w 80353"/>
                  <a:gd name="connsiteY11" fmla="*/ 17509 h 25796"/>
                  <a:gd name="connsiteX12" fmla="*/ 75797 w 80353"/>
                  <a:gd name="connsiteY12" fmla="*/ 23189 h 25796"/>
                  <a:gd name="connsiteX13" fmla="*/ 59277 w 80353"/>
                  <a:gd name="connsiteY13" fmla="*/ 24013 h 25796"/>
                  <a:gd name="connsiteX14" fmla="*/ 48025 w 80353"/>
                  <a:gd name="connsiteY14" fmla="*/ 25330 h 25796"/>
                  <a:gd name="connsiteX15" fmla="*/ 36773 w 80353"/>
                  <a:gd name="connsiteY15" fmla="*/ 25796 h 25796"/>
                  <a:gd name="connsiteX16" fmla="*/ 34935 w 80353"/>
                  <a:gd name="connsiteY16" fmla="*/ 20362 h 25796"/>
                  <a:gd name="connsiteX17" fmla="*/ 22147 w 80353"/>
                  <a:gd name="connsiteY17" fmla="*/ 17344 h 25796"/>
                  <a:gd name="connsiteX18" fmla="*/ 2223 w 80353"/>
                  <a:gd name="connsiteY18" fmla="*/ 15176 h 25796"/>
                  <a:gd name="connsiteX19" fmla="*/ 0 w 80353"/>
                  <a:gd name="connsiteY19" fmla="*/ 11581 h 25796"/>
                  <a:gd name="connsiteX20" fmla="*/ 1372 w 80353"/>
                  <a:gd name="connsiteY20" fmla="*/ 4803 h 25796"/>
                  <a:gd name="connsiteX21" fmla="*/ 4885 w 80353"/>
                  <a:gd name="connsiteY21" fmla="*/ 4967 h 25796"/>
                  <a:gd name="connsiteX22" fmla="*/ 6147 w 80353"/>
                  <a:gd name="connsiteY22" fmla="*/ 0 h 2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353" h="25796">
                    <a:moveTo>
                      <a:pt x="6175" y="0"/>
                    </a:moveTo>
                    <a:lnTo>
                      <a:pt x="9139" y="4363"/>
                    </a:lnTo>
                    <a:lnTo>
                      <a:pt x="18497" y="2964"/>
                    </a:lnTo>
                    <a:lnTo>
                      <a:pt x="19320" y="6696"/>
                    </a:lnTo>
                    <a:lnTo>
                      <a:pt x="23024" y="10950"/>
                    </a:lnTo>
                    <a:lnTo>
                      <a:pt x="40972" y="9056"/>
                    </a:lnTo>
                    <a:lnTo>
                      <a:pt x="48025" y="11252"/>
                    </a:lnTo>
                    <a:lnTo>
                      <a:pt x="57520" y="12980"/>
                    </a:lnTo>
                    <a:lnTo>
                      <a:pt x="63420" y="12267"/>
                    </a:lnTo>
                    <a:lnTo>
                      <a:pt x="66247" y="19265"/>
                    </a:lnTo>
                    <a:lnTo>
                      <a:pt x="79091" y="15011"/>
                    </a:lnTo>
                    <a:lnTo>
                      <a:pt x="80353" y="17509"/>
                    </a:lnTo>
                    <a:lnTo>
                      <a:pt x="75797" y="23189"/>
                    </a:lnTo>
                    <a:lnTo>
                      <a:pt x="59277" y="24013"/>
                    </a:lnTo>
                    <a:lnTo>
                      <a:pt x="48025" y="25330"/>
                    </a:lnTo>
                    <a:lnTo>
                      <a:pt x="36773" y="25796"/>
                    </a:lnTo>
                    <a:lnTo>
                      <a:pt x="34935" y="20362"/>
                    </a:lnTo>
                    <a:lnTo>
                      <a:pt x="22147" y="17344"/>
                    </a:lnTo>
                    <a:lnTo>
                      <a:pt x="2223" y="15176"/>
                    </a:lnTo>
                    <a:lnTo>
                      <a:pt x="0" y="11581"/>
                    </a:lnTo>
                    <a:lnTo>
                      <a:pt x="1372" y="4803"/>
                    </a:lnTo>
                    <a:lnTo>
                      <a:pt x="4885" y="4967"/>
                    </a:lnTo>
                    <a:lnTo>
                      <a:pt x="614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9" name="Freeform: Shape 3518">
                <a:extLst>
                  <a:ext uri="{FF2B5EF4-FFF2-40B4-BE49-F238E27FC236}">
                    <a16:creationId xmlns:a16="http://schemas.microsoft.com/office/drawing/2014/main" id="{BFE584C2-3265-6262-6672-AC2A5829974B}"/>
                  </a:ext>
                </a:extLst>
              </p:cNvPr>
              <p:cNvSpPr/>
              <p:nvPr/>
            </p:nvSpPr>
            <p:spPr>
              <a:xfrm>
                <a:off x="1444715" y="3712829"/>
                <a:ext cx="2261" cy="1600"/>
              </a:xfrm>
              <a:custGeom>
                <a:avLst/>
                <a:gdLst>
                  <a:gd name="connsiteX0" fmla="*/ 16192 w 21680"/>
                  <a:gd name="connsiteY0" fmla="*/ 4363 h 15340"/>
                  <a:gd name="connsiteX1" fmla="*/ 21680 w 21680"/>
                  <a:gd name="connsiteY1" fmla="*/ 12816 h 15340"/>
                  <a:gd name="connsiteX2" fmla="*/ 19375 w 21680"/>
                  <a:gd name="connsiteY2" fmla="*/ 15341 h 15340"/>
                  <a:gd name="connsiteX3" fmla="*/ 9084 w 21680"/>
                  <a:gd name="connsiteY3" fmla="*/ 13447 h 15340"/>
                  <a:gd name="connsiteX4" fmla="*/ 9084 w 21680"/>
                  <a:gd name="connsiteY4" fmla="*/ 8644 h 15340"/>
                  <a:gd name="connsiteX5" fmla="*/ 5297 w 21680"/>
                  <a:gd name="connsiteY5" fmla="*/ 10812 h 15340"/>
                  <a:gd name="connsiteX6" fmla="*/ 0 w 21680"/>
                  <a:gd name="connsiteY6" fmla="*/ 7574 h 15340"/>
                  <a:gd name="connsiteX7" fmla="*/ 1372 w 21680"/>
                  <a:gd name="connsiteY7" fmla="*/ 4144 h 15340"/>
                  <a:gd name="connsiteX8" fmla="*/ 9221 w 21680"/>
                  <a:gd name="connsiteY8" fmla="*/ 2140 h 15340"/>
                  <a:gd name="connsiteX9" fmla="*/ 9742 w 21680"/>
                  <a:gd name="connsiteY9" fmla="*/ 357 h 15340"/>
                  <a:gd name="connsiteX10" fmla="*/ 14216 w 21680"/>
                  <a:gd name="connsiteY10" fmla="*/ 0 h 15340"/>
                  <a:gd name="connsiteX11" fmla="*/ 16521 w 21680"/>
                  <a:gd name="connsiteY11" fmla="*/ 2113 h 15340"/>
                  <a:gd name="connsiteX12" fmla="*/ 16192 w 21680"/>
                  <a:gd name="connsiteY12" fmla="*/ 4363 h 1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80" h="15340">
                    <a:moveTo>
                      <a:pt x="16192" y="4363"/>
                    </a:moveTo>
                    <a:lnTo>
                      <a:pt x="21680" y="12816"/>
                    </a:lnTo>
                    <a:lnTo>
                      <a:pt x="19375" y="15341"/>
                    </a:lnTo>
                    <a:lnTo>
                      <a:pt x="9084" y="13447"/>
                    </a:lnTo>
                    <a:lnTo>
                      <a:pt x="9084" y="8644"/>
                    </a:lnTo>
                    <a:lnTo>
                      <a:pt x="5297" y="10812"/>
                    </a:lnTo>
                    <a:lnTo>
                      <a:pt x="0" y="7574"/>
                    </a:lnTo>
                    <a:lnTo>
                      <a:pt x="1372" y="4144"/>
                    </a:lnTo>
                    <a:lnTo>
                      <a:pt x="9221" y="2140"/>
                    </a:lnTo>
                    <a:lnTo>
                      <a:pt x="9742" y="357"/>
                    </a:lnTo>
                    <a:lnTo>
                      <a:pt x="14216" y="0"/>
                    </a:lnTo>
                    <a:lnTo>
                      <a:pt x="16521" y="2113"/>
                    </a:lnTo>
                    <a:lnTo>
                      <a:pt x="16192" y="43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0" name="Freeform: Shape 3519">
                <a:extLst>
                  <a:ext uri="{FF2B5EF4-FFF2-40B4-BE49-F238E27FC236}">
                    <a16:creationId xmlns:a16="http://schemas.microsoft.com/office/drawing/2014/main" id="{3D95455A-CCCB-DD0D-DDE8-98111A464142}"/>
                  </a:ext>
                </a:extLst>
              </p:cNvPr>
              <p:cNvSpPr/>
              <p:nvPr/>
            </p:nvSpPr>
            <p:spPr>
              <a:xfrm>
                <a:off x="1450451" y="3724325"/>
                <a:ext cx="1531" cy="1915"/>
              </a:xfrm>
              <a:custGeom>
                <a:avLst/>
                <a:gdLst>
                  <a:gd name="connsiteX0" fmla="*/ 4665 w 14682"/>
                  <a:gd name="connsiteY0" fmla="*/ 17042 h 18359"/>
                  <a:gd name="connsiteX1" fmla="*/ 494 w 14682"/>
                  <a:gd name="connsiteY1" fmla="*/ 18360 h 18359"/>
                  <a:gd name="connsiteX2" fmla="*/ 0 w 14682"/>
                  <a:gd name="connsiteY2" fmla="*/ 10154 h 18359"/>
                  <a:gd name="connsiteX3" fmla="*/ 4638 w 14682"/>
                  <a:gd name="connsiteY3" fmla="*/ 3678 h 18359"/>
                  <a:gd name="connsiteX4" fmla="*/ 12514 w 14682"/>
                  <a:gd name="connsiteY4" fmla="*/ 0 h 18359"/>
                  <a:gd name="connsiteX5" fmla="*/ 14682 w 14682"/>
                  <a:gd name="connsiteY5" fmla="*/ 878 h 18359"/>
                  <a:gd name="connsiteX6" fmla="*/ 10154 w 14682"/>
                  <a:gd name="connsiteY6" fmla="*/ 12734 h 18359"/>
                  <a:gd name="connsiteX7" fmla="*/ 4638 w 14682"/>
                  <a:gd name="connsiteY7" fmla="*/ 17015 h 1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82" h="18359">
                    <a:moveTo>
                      <a:pt x="4665" y="17042"/>
                    </a:moveTo>
                    <a:lnTo>
                      <a:pt x="494" y="18360"/>
                    </a:lnTo>
                    <a:lnTo>
                      <a:pt x="0" y="10154"/>
                    </a:lnTo>
                    <a:lnTo>
                      <a:pt x="4638" y="3678"/>
                    </a:lnTo>
                    <a:lnTo>
                      <a:pt x="12514" y="0"/>
                    </a:lnTo>
                    <a:lnTo>
                      <a:pt x="14682" y="878"/>
                    </a:lnTo>
                    <a:lnTo>
                      <a:pt x="10154" y="12734"/>
                    </a:lnTo>
                    <a:lnTo>
                      <a:pt x="4638" y="170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1" name="Freeform: Shape 3520">
                <a:extLst>
                  <a:ext uri="{FF2B5EF4-FFF2-40B4-BE49-F238E27FC236}">
                    <a16:creationId xmlns:a16="http://schemas.microsoft.com/office/drawing/2014/main" id="{B73F90A3-62FD-8492-00B0-73667500B33D}"/>
                  </a:ext>
                </a:extLst>
              </p:cNvPr>
              <p:cNvSpPr/>
              <p:nvPr/>
            </p:nvSpPr>
            <p:spPr>
              <a:xfrm>
                <a:off x="1444630" y="3715892"/>
                <a:ext cx="1030" cy="1795"/>
              </a:xfrm>
              <a:custGeom>
                <a:avLst/>
                <a:gdLst>
                  <a:gd name="connsiteX0" fmla="*/ 5077 w 9879"/>
                  <a:gd name="connsiteY0" fmla="*/ 0 h 17206"/>
                  <a:gd name="connsiteX1" fmla="*/ 8370 w 9879"/>
                  <a:gd name="connsiteY1" fmla="*/ 2305 h 17206"/>
                  <a:gd name="connsiteX2" fmla="*/ 9879 w 9879"/>
                  <a:gd name="connsiteY2" fmla="*/ 1921 h 17206"/>
                  <a:gd name="connsiteX3" fmla="*/ 9001 w 9879"/>
                  <a:gd name="connsiteY3" fmla="*/ 7163 h 17206"/>
                  <a:gd name="connsiteX4" fmla="*/ 9659 w 9879"/>
                  <a:gd name="connsiteY4" fmla="*/ 11169 h 17206"/>
                  <a:gd name="connsiteX5" fmla="*/ 8096 w 9879"/>
                  <a:gd name="connsiteY5" fmla="*/ 12596 h 17206"/>
                  <a:gd name="connsiteX6" fmla="*/ 7931 w 9879"/>
                  <a:gd name="connsiteY6" fmla="*/ 14874 h 17206"/>
                  <a:gd name="connsiteX7" fmla="*/ 5324 w 9879"/>
                  <a:gd name="connsiteY7" fmla="*/ 17207 h 17206"/>
                  <a:gd name="connsiteX8" fmla="*/ 988 w 9879"/>
                  <a:gd name="connsiteY8" fmla="*/ 13639 h 17206"/>
                  <a:gd name="connsiteX9" fmla="*/ 4803 w 9879"/>
                  <a:gd name="connsiteY9" fmla="*/ 9907 h 17206"/>
                  <a:gd name="connsiteX10" fmla="*/ 4693 w 9879"/>
                  <a:gd name="connsiteY10" fmla="*/ 8178 h 17206"/>
                  <a:gd name="connsiteX11" fmla="*/ 0 w 9879"/>
                  <a:gd name="connsiteY11" fmla="*/ 2305 h 17206"/>
                  <a:gd name="connsiteX12" fmla="*/ 549 w 9879"/>
                  <a:gd name="connsiteY12" fmla="*/ 1125 h 17206"/>
                  <a:gd name="connsiteX13" fmla="*/ 5077 w 9879"/>
                  <a:gd name="connsiteY13" fmla="*/ 0 h 1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79" h="17206">
                    <a:moveTo>
                      <a:pt x="5077" y="0"/>
                    </a:moveTo>
                    <a:lnTo>
                      <a:pt x="8370" y="2305"/>
                    </a:lnTo>
                    <a:lnTo>
                      <a:pt x="9879" y="1921"/>
                    </a:lnTo>
                    <a:lnTo>
                      <a:pt x="9001" y="7163"/>
                    </a:lnTo>
                    <a:lnTo>
                      <a:pt x="9659" y="11169"/>
                    </a:lnTo>
                    <a:lnTo>
                      <a:pt x="8096" y="12596"/>
                    </a:lnTo>
                    <a:lnTo>
                      <a:pt x="7931" y="14874"/>
                    </a:lnTo>
                    <a:lnTo>
                      <a:pt x="5324" y="17207"/>
                    </a:lnTo>
                    <a:lnTo>
                      <a:pt x="988" y="13639"/>
                    </a:lnTo>
                    <a:lnTo>
                      <a:pt x="4803" y="9907"/>
                    </a:lnTo>
                    <a:lnTo>
                      <a:pt x="4693" y="8178"/>
                    </a:lnTo>
                    <a:lnTo>
                      <a:pt x="0" y="2305"/>
                    </a:lnTo>
                    <a:lnTo>
                      <a:pt x="549" y="1125"/>
                    </a:lnTo>
                    <a:lnTo>
                      <a:pt x="507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2" name="Freeform: Shape 3521">
                <a:extLst>
                  <a:ext uri="{FF2B5EF4-FFF2-40B4-BE49-F238E27FC236}">
                    <a16:creationId xmlns:a16="http://schemas.microsoft.com/office/drawing/2014/main" id="{612F1929-49E8-9FB9-4DB1-2319B4EC10B7}"/>
                  </a:ext>
                </a:extLst>
              </p:cNvPr>
              <p:cNvSpPr/>
              <p:nvPr/>
            </p:nvSpPr>
            <p:spPr>
              <a:xfrm>
                <a:off x="1428683" y="3718571"/>
                <a:ext cx="819" cy="999"/>
              </a:xfrm>
              <a:custGeom>
                <a:avLst/>
                <a:gdLst>
                  <a:gd name="connsiteX0" fmla="*/ 7822 w 7848"/>
                  <a:gd name="connsiteY0" fmla="*/ 6614 h 9577"/>
                  <a:gd name="connsiteX1" fmla="*/ 5736 w 7848"/>
                  <a:gd name="connsiteY1" fmla="*/ 9578 h 9577"/>
                  <a:gd name="connsiteX2" fmla="*/ 0 w 7848"/>
                  <a:gd name="connsiteY2" fmla="*/ 3787 h 9577"/>
                  <a:gd name="connsiteX3" fmla="*/ 220 w 7848"/>
                  <a:gd name="connsiteY3" fmla="*/ 1564 h 9577"/>
                  <a:gd name="connsiteX4" fmla="*/ 1894 w 7848"/>
                  <a:gd name="connsiteY4" fmla="*/ 0 h 9577"/>
                  <a:gd name="connsiteX5" fmla="*/ 3678 w 7848"/>
                  <a:gd name="connsiteY5" fmla="*/ 2278 h 9577"/>
                  <a:gd name="connsiteX6" fmla="*/ 6998 w 7848"/>
                  <a:gd name="connsiteY6" fmla="*/ 3787 h 9577"/>
                  <a:gd name="connsiteX7" fmla="*/ 7849 w 7848"/>
                  <a:gd name="connsiteY7" fmla="*/ 6641 h 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8" h="9577">
                    <a:moveTo>
                      <a:pt x="7822" y="6614"/>
                    </a:moveTo>
                    <a:lnTo>
                      <a:pt x="5736" y="9578"/>
                    </a:lnTo>
                    <a:lnTo>
                      <a:pt x="0" y="3787"/>
                    </a:lnTo>
                    <a:lnTo>
                      <a:pt x="220" y="1564"/>
                    </a:lnTo>
                    <a:lnTo>
                      <a:pt x="1894" y="0"/>
                    </a:lnTo>
                    <a:lnTo>
                      <a:pt x="3678" y="2278"/>
                    </a:lnTo>
                    <a:lnTo>
                      <a:pt x="6998" y="3787"/>
                    </a:lnTo>
                    <a:lnTo>
                      <a:pt x="7849" y="66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3" name="Freeform: Shape 3522">
                <a:extLst>
                  <a:ext uri="{FF2B5EF4-FFF2-40B4-BE49-F238E27FC236}">
                    <a16:creationId xmlns:a16="http://schemas.microsoft.com/office/drawing/2014/main" id="{ACD159DF-03FD-197E-0C74-8CBF2A6D39FE}"/>
                  </a:ext>
                </a:extLst>
              </p:cNvPr>
              <p:cNvSpPr/>
              <p:nvPr/>
            </p:nvSpPr>
            <p:spPr>
              <a:xfrm>
                <a:off x="1443178" y="3721356"/>
                <a:ext cx="741" cy="1088"/>
              </a:xfrm>
              <a:custGeom>
                <a:avLst/>
                <a:gdLst>
                  <a:gd name="connsiteX0" fmla="*/ 5653 w 7107"/>
                  <a:gd name="connsiteY0" fmla="*/ 8974 h 10428"/>
                  <a:gd name="connsiteX1" fmla="*/ 2717 w 7107"/>
                  <a:gd name="connsiteY1" fmla="*/ 10428 h 10428"/>
                  <a:gd name="connsiteX2" fmla="*/ 878 w 7107"/>
                  <a:gd name="connsiteY2" fmla="*/ 8123 h 10428"/>
                  <a:gd name="connsiteX3" fmla="*/ 0 w 7107"/>
                  <a:gd name="connsiteY3" fmla="*/ 4995 h 10428"/>
                  <a:gd name="connsiteX4" fmla="*/ 576 w 7107"/>
                  <a:gd name="connsiteY4" fmla="*/ 3403 h 10428"/>
                  <a:gd name="connsiteX5" fmla="*/ 5077 w 7107"/>
                  <a:gd name="connsiteY5" fmla="*/ 0 h 10428"/>
                  <a:gd name="connsiteX6" fmla="*/ 7107 w 7107"/>
                  <a:gd name="connsiteY6" fmla="*/ 3101 h 10428"/>
                  <a:gd name="connsiteX7" fmla="*/ 5653 w 7107"/>
                  <a:gd name="connsiteY7" fmla="*/ 8974 h 1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07" h="10428">
                    <a:moveTo>
                      <a:pt x="5653" y="8974"/>
                    </a:moveTo>
                    <a:lnTo>
                      <a:pt x="2717" y="10428"/>
                    </a:lnTo>
                    <a:lnTo>
                      <a:pt x="878" y="8123"/>
                    </a:lnTo>
                    <a:lnTo>
                      <a:pt x="0" y="4995"/>
                    </a:lnTo>
                    <a:lnTo>
                      <a:pt x="576" y="3403"/>
                    </a:lnTo>
                    <a:lnTo>
                      <a:pt x="5077" y="0"/>
                    </a:lnTo>
                    <a:lnTo>
                      <a:pt x="7107" y="3101"/>
                    </a:lnTo>
                    <a:lnTo>
                      <a:pt x="5653" y="89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4" name="Freeform: Shape 3523">
                <a:extLst>
                  <a:ext uri="{FF2B5EF4-FFF2-40B4-BE49-F238E27FC236}">
                    <a16:creationId xmlns:a16="http://schemas.microsoft.com/office/drawing/2014/main" id="{9C2414E1-9FD5-5F15-106C-E209EA847AD1}"/>
                  </a:ext>
                </a:extLst>
              </p:cNvPr>
              <p:cNvSpPr/>
              <p:nvPr/>
            </p:nvSpPr>
            <p:spPr>
              <a:xfrm>
                <a:off x="1441203" y="3718377"/>
                <a:ext cx="821" cy="990"/>
              </a:xfrm>
              <a:custGeom>
                <a:avLst/>
                <a:gdLst>
                  <a:gd name="connsiteX0" fmla="*/ 7876 w 7876"/>
                  <a:gd name="connsiteY0" fmla="*/ 8178 h 9495"/>
                  <a:gd name="connsiteX1" fmla="*/ 6614 w 7876"/>
                  <a:gd name="connsiteY1" fmla="*/ 9495 h 9495"/>
                  <a:gd name="connsiteX2" fmla="*/ 2992 w 7876"/>
                  <a:gd name="connsiteY2" fmla="*/ 5653 h 9495"/>
                  <a:gd name="connsiteX3" fmla="*/ 0 w 7876"/>
                  <a:gd name="connsiteY3" fmla="*/ 2909 h 9495"/>
                  <a:gd name="connsiteX4" fmla="*/ 302 w 7876"/>
                  <a:gd name="connsiteY4" fmla="*/ 0 h 9495"/>
                  <a:gd name="connsiteX5" fmla="*/ 6587 w 7876"/>
                  <a:gd name="connsiteY5" fmla="*/ 2991 h 9495"/>
                  <a:gd name="connsiteX6" fmla="*/ 7684 w 7876"/>
                  <a:gd name="connsiteY6" fmla="*/ 5653 h 9495"/>
                  <a:gd name="connsiteX7" fmla="*/ 7876 w 7876"/>
                  <a:gd name="connsiteY7" fmla="*/ 8178 h 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76" h="9495">
                    <a:moveTo>
                      <a:pt x="7876" y="8178"/>
                    </a:moveTo>
                    <a:lnTo>
                      <a:pt x="6614" y="9495"/>
                    </a:lnTo>
                    <a:lnTo>
                      <a:pt x="2992" y="5653"/>
                    </a:lnTo>
                    <a:lnTo>
                      <a:pt x="0" y="2909"/>
                    </a:lnTo>
                    <a:lnTo>
                      <a:pt x="302" y="0"/>
                    </a:lnTo>
                    <a:lnTo>
                      <a:pt x="6587" y="2991"/>
                    </a:lnTo>
                    <a:lnTo>
                      <a:pt x="7684" y="5653"/>
                    </a:lnTo>
                    <a:lnTo>
                      <a:pt x="7876" y="81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5" name="Freeform: Shape 3524">
                <a:extLst>
                  <a:ext uri="{FF2B5EF4-FFF2-40B4-BE49-F238E27FC236}">
                    <a16:creationId xmlns:a16="http://schemas.microsoft.com/office/drawing/2014/main" id="{3521E001-E069-C957-8E73-68258F8CA2D6}"/>
                  </a:ext>
                </a:extLst>
              </p:cNvPr>
              <p:cNvSpPr/>
              <p:nvPr/>
            </p:nvSpPr>
            <p:spPr>
              <a:xfrm>
                <a:off x="1445033" y="3719482"/>
                <a:ext cx="1199" cy="675"/>
              </a:xfrm>
              <a:custGeom>
                <a:avLst/>
                <a:gdLst>
                  <a:gd name="connsiteX0" fmla="*/ 4254 w 11498"/>
                  <a:gd name="connsiteY0" fmla="*/ 4994 h 6476"/>
                  <a:gd name="connsiteX1" fmla="*/ 2799 w 11498"/>
                  <a:gd name="connsiteY1" fmla="*/ 6477 h 6476"/>
                  <a:gd name="connsiteX2" fmla="*/ 0 w 11498"/>
                  <a:gd name="connsiteY2" fmla="*/ 6312 h 6476"/>
                  <a:gd name="connsiteX3" fmla="*/ 2827 w 11498"/>
                  <a:gd name="connsiteY3" fmla="*/ 2086 h 6476"/>
                  <a:gd name="connsiteX4" fmla="*/ 7135 w 11498"/>
                  <a:gd name="connsiteY4" fmla="*/ 2086 h 6476"/>
                  <a:gd name="connsiteX5" fmla="*/ 10181 w 11498"/>
                  <a:gd name="connsiteY5" fmla="*/ 0 h 6476"/>
                  <a:gd name="connsiteX6" fmla="*/ 11498 w 11498"/>
                  <a:gd name="connsiteY6" fmla="*/ 988 h 6476"/>
                  <a:gd name="connsiteX7" fmla="*/ 7602 w 11498"/>
                  <a:gd name="connsiteY7" fmla="*/ 4418 h 6476"/>
                  <a:gd name="connsiteX8" fmla="*/ 4281 w 11498"/>
                  <a:gd name="connsiteY8" fmla="*/ 4994 h 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8" h="6476">
                    <a:moveTo>
                      <a:pt x="4254" y="4994"/>
                    </a:moveTo>
                    <a:lnTo>
                      <a:pt x="2799" y="6477"/>
                    </a:lnTo>
                    <a:lnTo>
                      <a:pt x="0" y="6312"/>
                    </a:lnTo>
                    <a:lnTo>
                      <a:pt x="2827" y="2086"/>
                    </a:lnTo>
                    <a:lnTo>
                      <a:pt x="7135" y="2086"/>
                    </a:lnTo>
                    <a:cubicBezTo>
                      <a:pt x="7135" y="2086"/>
                      <a:pt x="10181" y="0"/>
                      <a:pt x="10181" y="0"/>
                    </a:cubicBezTo>
                    <a:lnTo>
                      <a:pt x="11498" y="988"/>
                    </a:lnTo>
                    <a:lnTo>
                      <a:pt x="7602" y="4418"/>
                    </a:lnTo>
                    <a:lnTo>
                      <a:pt x="4281" y="49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6" name="Freeform: Shape 3525">
                <a:extLst>
                  <a:ext uri="{FF2B5EF4-FFF2-40B4-BE49-F238E27FC236}">
                    <a16:creationId xmlns:a16="http://schemas.microsoft.com/office/drawing/2014/main" id="{3F8A90B2-13B5-A053-FA77-5A81A761B642}"/>
                  </a:ext>
                </a:extLst>
              </p:cNvPr>
              <p:cNvSpPr/>
              <p:nvPr/>
            </p:nvSpPr>
            <p:spPr>
              <a:xfrm>
                <a:off x="1444403" y="3722249"/>
                <a:ext cx="990" cy="807"/>
              </a:xfrm>
              <a:custGeom>
                <a:avLst/>
                <a:gdLst>
                  <a:gd name="connsiteX0" fmla="*/ 9495 w 9495"/>
                  <a:gd name="connsiteY0" fmla="*/ 1784 h 7739"/>
                  <a:gd name="connsiteX1" fmla="*/ 6943 w 9495"/>
                  <a:gd name="connsiteY1" fmla="*/ 4336 h 7739"/>
                  <a:gd name="connsiteX2" fmla="*/ 5434 w 9495"/>
                  <a:gd name="connsiteY2" fmla="*/ 3650 h 7739"/>
                  <a:gd name="connsiteX3" fmla="*/ 4555 w 9495"/>
                  <a:gd name="connsiteY3" fmla="*/ 5983 h 7739"/>
                  <a:gd name="connsiteX4" fmla="*/ 1729 w 9495"/>
                  <a:gd name="connsiteY4" fmla="*/ 7739 h 7739"/>
                  <a:gd name="connsiteX5" fmla="*/ 0 w 9495"/>
                  <a:gd name="connsiteY5" fmla="*/ 6531 h 7739"/>
                  <a:gd name="connsiteX6" fmla="*/ 3897 w 9495"/>
                  <a:gd name="connsiteY6" fmla="*/ 2333 h 7739"/>
                  <a:gd name="connsiteX7" fmla="*/ 4528 w 9495"/>
                  <a:gd name="connsiteY7" fmla="*/ 2937 h 7739"/>
                  <a:gd name="connsiteX8" fmla="*/ 8343 w 9495"/>
                  <a:gd name="connsiteY8" fmla="*/ 0 h 7739"/>
                  <a:gd name="connsiteX9" fmla="*/ 9468 w 9495"/>
                  <a:gd name="connsiteY9" fmla="*/ 1784 h 7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95" h="7739">
                    <a:moveTo>
                      <a:pt x="9495" y="1784"/>
                    </a:moveTo>
                    <a:lnTo>
                      <a:pt x="6943" y="4336"/>
                    </a:lnTo>
                    <a:lnTo>
                      <a:pt x="5434" y="3650"/>
                    </a:lnTo>
                    <a:lnTo>
                      <a:pt x="4555" y="5983"/>
                    </a:lnTo>
                    <a:lnTo>
                      <a:pt x="1729" y="7739"/>
                    </a:lnTo>
                    <a:lnTo>
                      <a:pt x="0" y="6531"/>
                    </a:lnTo>
                    <a:lnTo>
                      <a:pt x="3897" y="2333"/>
                    </a:lnTo>
                    <a:lnTo>
                      <a:pt x="4528" y="2937"/>
                    </a:lnTo>
                    <a:lnTo>
                      <a:pt x="8343" y="0"/>
                    </a:lnTo>
                    <a:lnTo>
                      <a:pt x="9468"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7" name="Freeform: Shape 3526">
                <a:extLst>
                  <a:ext uri="{FF2B5EF4-FFF2-40B4-BE49-F238E27FC236}">
                    <a16:creationId xmlns:a16="http://schemas.microsoft.com/office/drawing/2014/main" id="{582C176C-38D2-1F1B-D38C-7D8BBCBA4FBF}"/>
                  </a:ext>
                </a:extLst>
              </p:cNvPr>
              <p:cNvSpPr/>
              <p:nvPr/>
            </p:nvSpPr>
            <p:spPr>
              <a:xfrm>
                <a:off x="1448405" y="3726672"/>
                <a:ext cx="489" cy="1463"/>
              </a:xfrm>
              <a:custGeom>
                <a:avLst/>
                <a:gdLst>
                  <a:gd name="connsiteX0" fmla="*/ 3897 w 4692"/>
                  <a:gd name="connsiteY0" fmla="*/ 12569 h 14023"/>
                  <a:gd name="connsiteX1" fmla="*/ 2525 w 4692"/>
                  <a:gd name="connsiteY1" fmla="*/ 14023 h 14023"/>
                  <a:gd name="connsiteX2" fmla="*/ 549 w 4692"/>
                  <a:gd name="connsiteY2" fmla="*/ 13255 h 14023"/>
                  <a:gd name="connsiteX3" fmla="*/ 1701 w 4692"/>
                  <a:gd name="connsiteY3" fmla="*/ 11828 h 14023"/>
                  <a:gd name="connsiteX4" fmla="*/ 1482 w 4692"/>
                  <a:gd name="connsiteY4" fmla="*/ 9495 h 14023"/>
                  <a:gd name="connsiteX5" fmla="*/ 0 w 4692"/>
                  <a:gd name="connsiteY5" fmla="*/ 7629 h 14023"/>
                  <a:gd name="connsiteX6" fmla="*/ 1729 w 4692"/>
                  <a:gd name="connsiteY6" fmla="*/ 5900 h 14023"/>
                  <a:gd name="connsiteX7" fmla="*/ 3018 w 4692"/>
                  <a:gd name="connsiteY7" fmla="*/ 2826 h 14023"/>
                  <a:gd name="connsiteX8" fmla="*/ 3101 w 4692"/>
                  <a:gd name="connsiteY8" fmla="*/ 110 h 14023"/>
                  <a:gd name="connsiteX9" fmla="*/ 4418 w 4692"/>
                  <a:gd name="connsiteY9" fmla="*/ 0 h 14023"/>
                  <a:gd name="connsiteX10" fmla="*/ 4665 w 4692"/>
                  <a:gd name="connsiteY10" fmla="*/ 2772 h 14023"/>
                  <a:gd name="connsiteX11" fmla="*/ 2689 w 4692"/>
                  <a:gd name="connsiteY11" fmla="*/ 7053 h 14023"/>
                  <a:gd name="connsiteX12" fmla="*/ 4693 w 4692"/>
                  <a:gd name="connsiteY12" fmla="*/ 9605 h 14023"/>
                  <a:gd name="connsiteX13" fmla="*/ 3924 w 4692"/>
                  <a:gd name="connsiteY13" fmla="*/ 12596 h 14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 h="14023">
                    <a:moveTo>
                      <a:pt x="3897" y="12569"/>
                    </a:moveTo>
                    <a:lnTo>
                      <a:pt x="2525" y="14023"/>
                    </a:lnTo>
                    <a:lnTo>
                      <a:pt x="549" y="13255"/>
                    </a:lnTo>
                    <a:lnTo>
                      <a:pt x="1701" y="11828"/>
                    </a:lnTo>
                    <a:lnTo>
                      <a:pt x="1482" y="9495"/>
                    </a:lnTo>
                    <a:lnTo>
                      <a:pt x="0" y="7629"/>
                    </a:lnTo>
                    <a:lnTo>
                      <a:pt x="1729" y="5900"/>
                    </a:lnTo>
                    <a:lnTo>
                      <a:pt x="3018" y="2826"/>
                    </a:lnTo>
                    <a:lnTo>
                      <a:pt x="3101" y="110"/>
                    </a:lnTo>
                    <a:lnTo>
                      <a:pt x="4418" y="0"/>
                    </a:lnTo>
                    <a:lnTo>
                      <a:pt x="4665" y="2772"/>
                    </a:lnTo>
                    <a:lnTo>
                      <a:pt x="2689" y="7053"/>
                    </a:lnTo>
                    <a:lnTo>
                      <a:pt x="4693" y="9605"/>
                    </a:lnTo>
                    <a:lnTo>
                      <a:pt x="3924" y="125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8" name="Freeform: Shape 3527">
                <a:extLst>
                  <a:ext uri="{FF2B5EF4-FFF2-40B4-BE49-F238E27FC236}">
                    <a16:creationId xmlns:a16="http://schemas.microsoft.com/office/drawing/2014/main" id="{024CCFDA-0AC3-AF10-E494-865AC5F6DA4C}"/>
                  </a:ext>
                </a:extLst>
              </p:cNvPr>
              <p:cNvSpPr/>
              <p:nvPr/>
            </p:nvSpPr>
            <p:spPr>
              <a:xfrm>
                <a:off x="1447000" y="3718998"/>
                <a:ext cx="1165" cy="627"/>
              </a:xfrm>
              <a:custGeom>
                <a:avLst/>
                <a:gdLst>
                  <a:gd name="connsiteX0" fmla="*/ 11169 w 11169"/>
                  <a:gd name="connsiteY0" fmla="*/ 3595 h 6010"/>
                  <a:gd name="connsiteX1" fmla="*/ 6752 w 11169"/>
                  <a:gd name="connsiteY1" fmla="*/ 6010 h 6010"/>
                  <a:gd name="connsiteX2" fmla="*/ 385 w 11169"/>
                  <a:gd name="connsiteY2" fmla="*/ 3485 h 6010"/>
                  <a:gd name="connsiteX3" fmla="*/ 0 w 11169"/>
                  <a:gd name="connsiteY3" fmla="*/ 2882 h 6010"/>
                  <a:gd name="connsiteX4" fmla="*/ 4940 w 11169"/>
                  <a:gd name="connsiteY4" fmla="*/ 0 h 6010"/>
                  <a:gd name="connsiteX5" fmla="*/ 11087 w 11169"/>
                  <a:gd name="connsiteY5" fmla="*/ 2305 h 6010"/>
                  <a:gd name="connsiteX6" fmla="*/ 11169 w 11169"/>
                  <a:gd name="connsiteY6" fmla="*/ 3595 h 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69" h="6010">
                    <a:moveTo>
                      <a:pt x="11169" y="3595"/>
                    </a:moveTo>
                    <a:lnTo>
                      <a:pt x="6752" y="6010"/>
                    </a:lnTo>
                    <a:lnTo>
                      <a:pt x="385" y="3485"/>
                    </a:lnTo>
                    <a:lnTo>
                      <a:pt x="0" y="2882"/>
                    </a:lnTo>
                    <a:lnTo>
                      <a:pt x="4940" y="0"/>
                    </a:lnTo>
                    <a:lnTo>
                      <a:pt x="11087" y="2305"/>
                    </a:lnTo>
                    <a:lnTo>
                      <a:pt x="11169" y="35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9" name="Freeform: Shape 3528">
                <a:extLst>
                  <a:ext uri="{FF2B5EF4-FFF2-40B4-BE49-F238E27FC236}">
                    <a16:creationId xmlns:a16="http://schemas.microsoft.com/office/drawing/2014/main" id="{78DC289A-025E-B644-2399-46E673E00170}"/>
                  </a:ext>
                </a:extLst>
              </p:cNvPr>
              <p:cNvSpPr/>
              <p:nvPr/>
            </p:nvSpPr>
            <p:spPr>
              <a:xfrm>
                <a:off x="1448236" y="3722438"/>
                <a:ext cx="1088" cy="632"/>
              </a:xfrm>
              <a:custGeom>
                <a:avLst/>
                <a:gdLst>
                  <a:gd name="connsiteX0" fmla="*/ 4857 w 10428"/>
                  <a:gd name="connsiteY0" fmla="*/ 4144 h 6064"/>
                  <a:gd name="connsiteX1" fmla="*/ 2717 w 10428"/>
                  <a:gd name="connsiteY1" fmla="*/ 6065 h 6064"/>
                  <a:gd name="connsiteX2" fmla="*/ 0 w 10428"/>
                  <a:gd name="connsiteY2" fmla="*/ 4967 h 6064"/>
                  <a:gd name="connsiteX3" fmla="*/ 1921 w 10428"/>
                  <a:gd name="connsiteY3" fmla="*/ 2525 h 6064"/>
                  <a:gd name="connsiteX4" fmla="*/ 8178 w 10428"/>
                  <a:gd name="connsiteY4" fmla="*/ 0 h 6064"/>
                  <a:gd name="connsiteX5" fmla="*/ 10428 w 10428"/>
                  <a:gd name="connsiteY5" fmla="*/ 2113 h 6064"/>
                  <a:gd name="connsiteX6" fmla="*/ 4857 w 10428"/>
                  <a:gd name="connsiteY6" fmla="*/ 4116 h 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8" h="6064">
                    <a:moveTo>
                      <a:pt x="4857" y="4144"/>
                    </a:moveTo>
                    <a:lnTo>
                      <a:pt x="2717" y="6065"/>
                    </a:lnTo>
                    <a:lnTo>
                      <a:pt x="0" y="4967"/>
                    </a:lnTo>
                    <a:lnTo>
                      <a:pt x="1921" y="2525"/>
                    </a:lnTo>
                    <a:lnTo>
                      <a:pt x="8178" y="0"/>
                    </a:lnTo>
                    <a:lnTo>
                      <a:pt x="10428" y="2113"/>
                    </a:lnTo>
                    <a:lnTo>
                      <a:pt x="4857" y="41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0" name="Freeform: Shape 3529">
                <a:extLst>
                  <a:ext uri="{FF2B5EF4-FFF2-40B4-BE49-F238E27FC236}">
                    <a16:creationId xmlns:a16="http://schemas.microsoft.com/office/drawing/2014/main" id="{D350160C-9B9E-A471-6114-B9D763FCA7AC}"/>
                  </a:ext>
                </a:extLst>
              </p:cNvPr>
              <p:cNvSpPr/>
              <p:nvPr/>
            </p:nvSpPr>
            <p:spPr>
              <a:xfrm>
                <a:off x="1435616" y="3724493"/>
                <a:ext cx="604" cy="950"/>
              </a:xfrm>
              <a:custGeom>
                <a:avLst/>
                <a:gdLst>
                  <a:gd name="connsiteX0" fmla="*/ 4803 w 5790"/>
                  <a:gd name="connsiteY0" fmla="*/ 5982 h 9110"/>
                  <a:gd name="connsiteX1" fmla="*/ 4528 w 5790"/>
                  <a:gd name="connsiteY1" fmla="*/ 9111 h 9110"/>
                  <a:gd name="connsiteX2" fmla="*/ 1509 w 5790"/>
                  <a:gd name="connsiteY2" fmla="*/ 8178 h 9110"/>
                  <a:gd name="connsiteX3" fmla="*/ 275 w 5790"/>
                  <a:gd name="connsiteY3" fmla="*/ 5461 h 9110"/>
                  <a:gd name="connsiteX4" fmla="*/ 0 w 5790"/>
                  <a:gd name="connsiteY4" fmla="*/ 2223 h 9110"/>
                  <a:gd name="connsiteX5" fmla="*/ 1729 w 5790"/>
                  <a:gd name="connsiteY5" fmla="*/ 0 h 9110"/>
                  <a:gd name="connsiteX6" fmla="*/ 3239 w 5790"/>
                  <a:gd name="connsiteY6" fmla="*/ 2662 h 9110"/>
                  <a:gd name="connsiteX7" fmla="*/ 5791 w 5790"/>
                  <a:gd name="connsiteY7" fmla="*/ 4885 h 9110"/>
                  <a:gd name="connsiteX8" fmla="*/ 4803 w 5790"/>
                  <a:gd name="connsiteY8" fmla="*/ 5982 h 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90" h="9110">
                    <a:moveTo>
                      <a:pt x="4803" y="5982"/>
                    </a:moveTo>
                    <a:lnTo>
                      <a:pt x="4528" y="9111"/>
                    </a:lnTo>
                    <a:lnTo>
                      <a:pt x="1509" y="8178"/>
                    </a:lnTo>
                    <a:lnTo>
                      <a:pt x="275" y="5461"/>
                    </a:lnTo>
                    <a:lnTo>
                      <a:pt x="0" y="2223"/>
                    </a:lnTo>
                    <a:lnTo>
                      <a:pt x="1729" y="0"/>
                    </a:lnTo>
                    <a:lnTo>
                      <a:pt x="3239" y="2662"/>
                    </a:lnTo>
                    <a:lnTo>
                      <a:pt x="5791" y="4885"/>
                    </a:lnTo>
                    <a:lnTo>
                      <a:pt x="4803" y="59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1" name="Freeform: Shape 3530">
                <a:extLst>
                  <a:ext uri="{FF2B5EF4-FFF2-40B4-BE49-F238E27FC236}">
                    <a16:creationId xmlns:a16="http://schemas.microsoft.com/office/drawing/2014/main" id="{916D03CA-338C-F238-86C8-B6043070AB78}"/>
                  </a:ext>
                </a:extLst>
              </p:cNvPr>
              <p:cNvSpPr/>
              <p:nvPr/>
            </p:nvSpPr>
            <p:spPr>
              <a:xfrm>
                <a:off x="1445906" y="3723411"/>
                <a:ext cx="721" cy="635"/>
              </a:xfrm>
              <a:custGeom>
                <a:avLst/>
                <a:gdLst>
                  <a:gd name="connsiteX0" fmla="*/ 6916 w 6915"/>
                  <a:gd name="connsiteY0" fmla="*/ 2662 h 6092"/>
                  <a:gd name="connsiteX1" fmla="*/ 4199 w 6915"/>
                  <a:gd name="connsiteY1" fmla="*/ 4171 h 6092"/>
                  <a:gd name="connsiteX2" fmla="*/ 3897 w 6915"/>
                  <a:gd name="connsiteY2" fmla="*/ 6092 h 6092"/>
                  <a:gd name="connsiteX3" fmla="*/ 878 w 6915"/>
                  <a:gd name="connsiteY3" fmla="*/ 5296 h 6092"/>
                  <a:gd name="connsiteX4" fmla="*/ 0 w 6915"/>
                  <a:gd name="connsiteY4" fmla="*/ 2881 h 6092"/>
                  <a:gd name="connsiteX5" fmla="*/ 4007 w 6915"/>
                  <a:gd name="connsiteY5" fmla="*/ 2964 h 6092"/>
                  <a:gd name="connsiteX6" fmla="*/ 3540 w 6915"/>
                  <a:gd name="connsiteY6" fmla="*/ 247 h 6092"/>
                  <a:gd name="connsiteX7" fmla="*/ 5269 w 6915"/>
                  <a:gd name="connsiteY7" fmla="*/ 0 h 6092"/>
                  <a:gd name="connsiteX8" fmla="*/ 6916 w 6915"/>
                  <a:gd name="connsiteY8" fmla="*/ 2662 h 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15" h="6092">
                    <a:moveTo>
                      <a:pt x="6916" y="2662"/>
                    </a:moveTo>
                    <a:lnTo>
                      <a:pt x="4199" y="4171"/>
                    </a:lnTo>
                    <a:lnTo>
                      <a:pt x="3897" y="6092"/>
                    </a:lnTo>
                    <a:lnTo>
                      <a:pt x="878" y="5296"/>
                    </a:lnTo>
                    <a:lnTo>
                      <a:pt x="0" y="2881"/>
                    </a:lnTo>
                    <a:lnTo>
                      <a:pt x="4007" y="2964"/>
                    </a:lnTo>
                    <a:lnTo>
                      <a:pt x="3540" y="247"/>
                    </a:lnTo>
                    <a:lnTo>
                      <a:pt x="5269" y="0"/>
                    </a:lnTo>
                    <a:lnTo>
                      <a:pt x="6916"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2" name="Freeform: Shape 3531">
                <a:extLst>
                  <a:ext uri="{FF2B5EF4-FFF2-40B4-BE49-F238E27FC236}">
                    <a16:creationId xmlns:a16="http://schemas.microsoft.com/office/drawing/2014/main" id="{E5CB47D7-171C-8648-9EBD-B3E8A8EF2542}"/>
                  </a:ext>
                </a:extLst>
              </p:cNvPr>
              <p:cNvSpPr/>
              <p:nvPr/>
            </p:nvSpPr>
            <p:spPr>
              <a:xfrm>
                <a:off x="1442074" y="3719519"/>
                <a:ext cx="718" cy="570"/>
              </a:xfrm>
              <a:custGeom>
                <a:avLst/>
                <a:gdLst>
                  <a:gd name="connsiteX0" fmla="*/ 6751 w 6888"/>
                  <a:gd name="connsiteY0" fmla="*/ 5159 h 5461"/>
                  <a:gd name="connsiteX1" fmla="*/ 5050 w 6888"/>
                  <a:gd name="connsiteY1" fmla="*/ 5461 h 5461"/>
                  <a:gd name="connsiteX2" fmla="*/ 0 w 6888"/>
                  <a:gd name="connsiteY2" fmla="*/ 686 h 5461"/>
                  <a:gd name="connsiteX3" fmla="*/ 1043 w 6888"/>
                  <a:gd name="connsiteY3" fmla="*/ 0 h 5461"/>
                  <a:gd name="connsiteX4" fmla="*/ 6888 w 6888"/>
                  <a:gd name="connsiteY4" fmla="*/ 2031 h 5461"/>
                  <a:gd name="connsiteX5" fmla="*/ 6723 w 6888"/>
                  <a:gd name="connsiteY5" fmla="*/ 5159 h 5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88" h="5461">
                    <a:moveTo>
                      <a:pt x="6751" y="5159"/>
                    </a:moveTo>
                    <a:lnTo>
                      <a:pt x="5050" y="5461"/>
                    </a:lnTo>
                    <a:lnTo>
                      <a:pt x="0" y="686"/>
                    </a:lnTo>
                    <a:lnTo>
                      <a:pt x="1043" y="0"/>
                    </a:lnTo>
                    <a:lnTo>
                      <a:pt x="6888" y="2031"/>
                    </a:lnTo>
                    <a:lnTo>
                      <a:pt x="6723" y="51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3" name="Freeform: Shape 3532">
                <a:extLst>
                  <a:ext uri="{FF2B5EF4-FFF2-40B4-BE49-F238E27FC236}">
                    <a16:creationId xmlns:a16="http://schemas.microsoft.com/office/drawing/2014/main" id="{48F5B267-084C-121B-B988-F3F01D2651BE}"/>
                  </a:ext>
                </a:extLst>
              </p:cNvPr>
              <p:cNvSpPr/>
              <p:nvPr/>
            </p:nvSpPr>
            <p:spPr>
              <a:xfrm>
                <a:off x="1442211" y="3721643"/>
                <a:ext cx="690" cy="572"/>
              </a:xfrm>
              <a:custGeom>
                <a:avLst/>
                <a:gdLst>
                  <a:gd name="connsiteX0" fmla="*/ 6614 w 6614"/>
                  <a:gd name="connsiteY0" fmla="*/ 2607 h 5488"/>
                  <a:gd name="connsiteX1" fmla="*/ 3705 w 6614"/>
                  <a:gd name="connsiteY1" fmla="*/ 5489 h 5488"/>
                  <a:gd name="connsiteX2" fmla="*/ 0 w 6614"/>
                  <a:gd name="connsiteY2" fmla="*/ 4556 h 5488"/>
                  <a:gd name="connsiteX3" fmla="*/ 3705 w 6614"/>
                  <a:gd name="connsiteY3" fmla="*/ 0 h 5488"/>
                  <a:gd name="connsiteX4" fmla="*/ 6092 w 6614"/>
                  <a:gd name="connsiteY4" fmla="*/ 384 h 5488"/>
                  <a:gd name="connsiteX5" fmla="*/ 6614 w 6614"/>
                  <a:gd name="connsiteY5" fmla="*/ 2635 h 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14" h="5488">
                    <a:moveTo>
                      <a:pt x="6614" y="2607"/>
                    </a:moveTo>
                    <a:lnTo>
                      <a:pt x="3705" y="5489"/>
                    </a:lnTo>
                    <a:lnTo>
                      <a:pt x="0" y="4556"/>
                    </a:lnTo>
                    <a:lnTo>
                      <a:pt x="3705" y="0"/>
                    </a:lnTo>
                    <a:lnTo>
                      <a:pt x="6092" y="384"/>
                    </a:lnTo>
                    <a:lnTo>
                      <a:pt x="6614" y="26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4" name="Freeform: Shape 3533">
                <a:extLst>
                  <a:ext uri="{FF2B5EF4-FFF2-40B4-BE49-F238E27FC236}">
                    <a16:creationId xmlns:a16="http://schemas.microsoft.com/office/drawing/2014/main" id="{38F56D08-8967-06C4-AF71-059B4F6CB26A}"/>
                  </a:ext>
                </a:extLst>
              </p:cNvPr>
              <p:cNvSpPr/>
              <p:nvPr/>
            </p:nvSpPr>
            <p:spPr>
              <a:xfrm>
                <a:off x="1443442" y="3708301"/>
                <a:ext cx="801" cy="487"/>
              </a:xfrm>
              <a:custGeom>
                <a:avLst/>
                <a:gdLst>
                  <a:gd name="connsiteX0" fmla="*/ 7684 w 7684"/>
                  <a:gd name="connsiteY0" fmla="*/ 3595 h 4665"/>
                  <a:gd name="connsiteX1" fmla="*/ 3403 w 7684"/>
                  <a:gd name="connsiteY1" fmla="*/ 4666 h 4665"/>
                  <a:gd name="connsiteX2" fmla="*/ 0 w 7684"/>
                  <a:gd name="connsiteY2" fmla="*/ 1537 h 4665"/>
                  <a:gd name="connsiteX3" fmla="*/ 3595 w 7684"/>
                  <a:gd name="connsiteY3" fmla="*/ 0 h 4665"/>
                  <a:gd name="connsiteX4" fmla="*/ 6449 w 7684"/>
                  <a:gd name="connsiteY4" fmla="*/ 686 h 4665"/>
                  <a:gd name="connsiteX5" fmla="*/ 7684 w 7684"/>
                  <a:gd name="connsiteY5" fmla="*/ 3595 h 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84" h="4665">
                    <a:moveTo>
                      <a:pt x="7684" y="3595"/>
                    </a:moveTo>
                    <a:lnTo>
                      <a:pt x="3403" y="4666"/>
                    </a:lnTo>
                    <a:lnTo>
                      <a:pt x="0" y="1537"/>
                    </a:lnTo>
                    <a:lnTo>
                      <a:pt x="3595" y="0"/>
                    </a:lnTo>
                    <a:lnTo>
                      <a:pt x="6449" y="686"/>
                    </a:lnTo>
                    <a:lnTo>
                      <a:pt x="7684" y="35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5" name="Freeform: Shape 3534">
                <a:extLst>
                  <a:ext uri="{FF2B5EF4-FFF2-40B4-BE49-F238E27FC236}">
                    <a16:creationId xmlns:a16="http://schemas.microsoft.com/office/drawing/2014/main" id="{58F583E1-A482-72CD-EC2C-FDCA385646C9}"/>
                  </a:ext>
                </a:extLst>
              </p:cNvPr>
              <p:cNvSpPr/>
              <p:nvPr/>
            </p:nvSpPr>
            <p:spPr>
              <a:xfrm>
                <a:off x="1439815" y="3719459"/>
                <a:ext cx="478" cy="675"/>
              </a:xfrm>
              <a:custGeom>
                <a:avLst/>
                <a:gdLst>
                  <a:gd name="connsiteX0" fmla="*/ 4583 w 4582"/>
                  <a:gd name="connsiteY0" fmla="*/ 1263 h 6476"/>
                  <a:gd name="connsiteX1" fmla="*/ 933 w 4582"/>
                  <a:gd name="connsiteY1" fmla="*/ 6477 h 6476"/>
                  <a:gd name="connsiteX2" fmla="*/ 0 w 4582"/>
                  <a:gd name="connsiteY2" fmla="*/ 4116 h 6476"/>
                  <a:gd name="connsiteX3" fmla="*/ 933 w 4582"/>
                  <a:gd name="connsiteY3" fmla="*/ 1125 h 6476"/>
                  <a:gd name="connsiteX4" fmla="*/ 2634 w 4582"/>
                  <a:gd name="connsiteY4" fmla="*/ 0 h 6476"/>
                  <a:gd name="connsiteX5" fmla="*/ 4583 w 4582"/>
                  <a:gd name="connsiteY5" fmla="*/ 1263 h 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2" h="6476">
                    <a:moveTo>
                      <a:pt x="4583" y="1263"/>
                    </a:moveTo>
                    <a:lnTo>
                      <a:pt x="933" y="6477"/>
                    </a:lnTo>
                    <a:lnTo>
                      <a:pt x="0" y="4116"/>
                    </a:lnTo>
                    <a:lnTo>
                      <a:pt x="933" y="1125"/>
                    </a:lnTo>
                    <a:lnTo>
                      <a:pt x="2634" y="0"/>
                    </a:lnTo>
                    <a:lnTo>
                      <a:pt x="4583" y="12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6" name="Freeform: Shape 3535">
                <a:extLst>
                  <a:ext uri="{FF2B5EF4-FFF2-40B4-BE49-F238E27FC236}">
                    <a16:creationId xmlns:a16="http://schemas.microsoft.com/office/drawing/2014/main" id="{3992798C-AEE3-0747-35B2-0DC666168169}"/>
                  </a:ext>
                </a:extLst>
              </p:cNvPr>
              <p:cNvSpPr/>
              <p:nvPr/>
            </p:nvSpPr>
            <p:spPr>
              <a:xfrm>
                <a:off x="1440004" y="3723025"/>
                <a:ext cx="678" cy="404"/>
              </a:xfrm>
              <a:custGeom>
                <a:avLst/>
                <a:gdLst>
                  <a:gd name="connsiteX0" fmla="*/ 6504 w 6504"/>
                  <a:gd name="connsiteY0" fmla="*/ 2305 h 3869"/>
                  <a:gd name="connsiteX1" fmla="*/ 4391 w 6504"/>
                  <a:gd name="connsiteY1" fmla="*/ 3869 h 3869"/>
                  <a:gd name="connsiteX2" fmla="*/ 0 w 6504"/>
                  <a:gd name="connsiteY2" fmla="*/ 3787 h 3869"/>
                  <a:gd name="connsiteX3" fmla="*/ 631 w 6504"/>
                  <a:gd name="connsiteY3" fmla="*/ 878 h 3869"/>
                  <a:gd name="connsiteX4" fmla="*/ 2662 w 6504"/>
                  <a:gd name="connsiteY4" fmla="*/ 0 h 3869"/>
                  <a:gd name="connsiteX5" fmla="*/ 5681 w 6504"/>
                  <a:gd name="connsiteY5" fmla="*/ 137 h 3869"/>
                  <a:gd name="connsiteX6" fmla="*/ 6504 w 6504"/>
                  <a:gd name="connsiteY6" fmla="*/ 2305 h 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4" h="3869">
                    <a:moveTo>
                      <a:pt x="6504" y="2305"/>
                    </a:moveTo>
                    <a:lnTo>
                      <a:pt x="4391" y="3869"/>
                    </a:lnTo>
                    <a:lnTo>
                      <a:pt x="0" y="3787"/>
                    </a:lnTo>
                    <a:lnTo>
                      <a:pt x="631" y="878"/>
                    </a:lnTo>
                    <a:lnTo>
                      <a:pt x="2662" y="0"/>
                    </a:lnTo>
                    <a:lnTo>
                      <a:pt x="5681" y="137"/>
                    </a:lnTo>
                    <a:lnTo>
                      <a:pt x="6504" y="23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7" name="Freeform: Shape 3536">
                <a:extLst>
                  <a:ext uri="{FF2B5EF4-FFF2-40B4-BE49-F238E27FC236}">
                    <a16:creationId xmlns:a16="http://schemas.microsoft.com/office/drawing/2014/main" id="{CE0B5404-F42B-A8B1-7773-ABD0F0987E5C}"/>
                  </a:ext>
                </a:extLst>
              </p:cNvPr>
              <p:cNvSpPr/>
              <p:nvPr/>
            </p:nvSpPr>
            <p:spPr>
              <a:xfrm>
                <a:off x="1442855" y="3722931"/>
                <a:ext cx="481" cy="570"/>
              </a:xfrm>
              <a:custGeom>
                <a:avLst/>
                <a:gdLst>
                  <a:gd name="connsiteX0" fmla="*/ 4583 w 4610"/>
                  <a:gd name="connsiteY0" fmla="*/ 2827 h 5461"/>
                  <a:gd name="connsiteX1" fmla="*/ 3156 w 4610"/>
                  <a:gd name="connsiteY1" fmla="*/ 5461 h 5461"/>
                  <a:gd name="connsiteX2" fmla="*/ 0 w 4610"/>
                  <a:gd name="connsiteY2" fmla="*/ 2196 h 5461"/>
                  <a:gd name="connsiteX3" fmla="*/ 576 w 4610"/>
                  <a:gd name="connsiteY3" fmla="*/ 0 h 5461"/>
                  <a:gd name="connsiteX4" fmla="*/ 4611 w 4610"/>
                  <a:gd name="connsiteY4" fmla="*/ 2854 h 5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5461">
                    <a:moveTo>
                      <a:pt x="4583" y="2827"/>
                    </a:moveTo>
                    <a:lnTo>
                      <a:pt x="3156" y="5461"/>
                    </a:lnTo>
                    <a:lnTo>
                      <a:pt x="0" y="2196"/>
                    </a:lnTo>
                    <a:lnTo>
                      <a:pt x="576" y="0"/>
                    </a:lnTo>
                    <a:lnTo>
                      <a:pt x="4611"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8" name="Freeform: Shape 3537">
                <a:extLst>
                  <a:ext uri="{FF2B5EF4-FFF2-40B4-BE49-F238E27FC236}">
                    <a16:creationId xmlns:a16="http://schemas.microsoft.com/office/drawing/2014/main" id="{907B6127-653F-A236-A577-36597FF642B6}"/>
                  </a:ext>
                </a:extLst>
              </p:cNvPr>
              <p:cNvSpPr/>
              <p:nvPr/>
            </p:nvSpPr>
            <p:spPr>
              <a:xfrm>
                <a:off x="1440574" y="3722682"/>
                <a:ext cx="478" cy="432"/>
              </a:xfrm>
              <a:custGeom>
                <a:avLst/>
                <a:gdLst>
                  <a:gd name="connsiteX0" fmla="*/ 4583 w 4583"/>
                  <a:gd name="connsiteY0" fmla="*/ 2772 h 4143"/>
                  <a:gd name="connsiteX1" fmla="*/ 4391 w 4583"/>
                  <a:gd name="connsiteY1" fmla="*/ 4144 h 4143"/>
                  <a:gd name="connsiteX2" fmla="*/ 0 w 4583"/>
                  <a:gd name="connsiteY2" fmla="*/ 2196 h 4143"/>
                  <a:gd name="connsiteX3" fmla="*/ 1509 w 4583"/>
                  <a:gd name="connsiteY3" fmla="*/ 0 h 4143"/>
                  <a:gd name="connsiteX4" fmla="*/ 4583 w 4583"/>
                  <a:gd name="connsiteY4" fmla="*/ 2799 h 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 h="4143">
                    <a:moveTo>
                      <a:pt x="4583" y="2772"/>
                    </a:moveTo>
                    <a:lnTo>
                      <a:pt x="4391" y="4144"/>
                    </a:lnTo>
                    <a:lnTo>
                      <a:pt x="0" y="2196"/>
                    </a:lnTo>
                    <a:lnTo>
                      <a:pt x="1509" y="0"/>
                    </a:lnTo>
                    <a:lnTo>
                      <a:pt x="4583" y="27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9" name="Freeform: Shape 3538">
                <a:extLst>
                  <a:ext uri="{FF2B5EF4-FFF2-40B4-BE49-F238E27FC236}">
                    <a16:creationId xmlns:a16="http://schemas.microsoft.com/office/drawing/2014/main" id="{EA36106A-6CE8-2325-E0CB-24D8A665E272}"/>
                  </a:ext>
                </a:extLst>
              </p:cNvPr>
              <p:cNvSpPr/>
              <p:nvPr/>
            </p:nvSpPr>
            <p:spPr>
              <a:xfrm>
                <a:off x="1447678" y="3728071"/>
                <a:ext cx="487" cy="421"/>
              </a:xfrm>
              <a:custGeom>
                <a:avLst/>
                <a:gdLst>
                  <a:gd name="connsiteX0" fmla="*/ 4665 w 4665"/>
                  <a:gd name="connsiteY0" fmla="*/ 1015 h 4034"/>
                  <a:gd name="connsiteX1" fmla="*/ 1564 w 4665"/>
                  <a:gd name="connsiteY1" fmla="*/ 4034 h 4034"/>
                  <a:gd name="connsiteX2" fmla="*/ 0 w 4665"/>
                  <a:gd name="connsiteY2" fmla="*/ 3046 h 4034"/>
                  <a:gd name="connsiteX3" fmla="*/ 2333 w 4665"/>
                  <a:gd name="connsiteY3" fmla="*/ 0 h 4034"/>
                  <a:gd name="connsiteX4" fmla="*/ 4665 w 4665"/>
                  <a:gd name="connsiteY4" fmla="*/ 1015 h 4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5" h="4034">
                    <a:moveTo>
                      <a:pt x="4665" y="1015"/>
                    </a:moveTo>
                    <a:lnTo>
                      <a:pt x="1564" y="4034"/>
                    </a:lnTo>
                    <a:lnTo>
                      <a:pt x="0" y="3046"/>
                    </a:lnTo>
                    <a:lnTo>
                      <a:pt x="2333" y="0"/>
                    </a:lnTo>
                    <a:lnTo>
                      <a:pt x="4665" y="10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0" name="Freeform: Shape 3539">
                <a:extLst>
                  <a:ext uri="{FF2B5EF4-FFF2-40B4-BE49-F238E27FC236}">
                    <a16:creationId xmlns:a16="http://schemas.microsoft.com/office/drawing/2014/main" id="{E10FBF13-AE06-9461-C2B7-C7D0D6C6E1A2}"/>
                  </a:ext>
                </a:extLst>
              </p:cNvPr>
              <p:cNvSpPr/>
              <p:nvPr/>
            </p:nvSpPr>
            <p:spPr>
              <a:xfrm>
                <a:off x="1441003" y="3721986"/>
                <a:ext cx="395" cy="504"/>
              </a:xfrm>
              <a:custGeom>
                <a:avLst/>
                <a:gdLst>
                  <a:gd name="connsiteX0" fmla="*/ 3760 w 3787"/>
                  <a:gd name="connsiteY0" fmla="*/ 3348 h 4829"/>
                  <a:gd name="connsiteX1" fmla="*/ 1948 w 3787"/>
                  <a:gd name="connsiteY1" fmla="*/ 4830 h 4829"/>
                  <a:gd name="connsiteX2" fmla="*/ 0 w 3787"/>
                  <a:gd name="connsiteY2" fmla="*/ 1976 h 4829"/>
                  <a:gd name="connsiteX3" fmla="*/ 1455 w 3787"/>
                  <a:gd name="connsiteY3" fmla="*/ 0 h 4829"/>
                  <a:gd name="connsiteX4" fmla="*/ 3787 w 3787"/>
                  <a:gd name="connsiteY4" fmla="*/ 3348 h 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4829">
                    <a:moveTo>
                      <a:pt x="3760" y="3348"/>
                    </a:moveTo>
                    <a:lnTo>
                      <a:pt x="1948" y="4830"/>
                    </a:lnTo>
                    <a:lnTo>
                      <a:pt x="0" y="1976"/>
                    </a:lnTo>
                    <a:lnTo>
                      <a:pt x="1455" y="0"/>
                    </a:lnTo>
                    <a:lnTo>
                      <a:pt x="3787"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1" name="Freeform: Shape 3540">
                <a:extLst>
                  <a:ext uri="{FF2B5EF4-FFF2-40B4-BE49-F238E27FC236}">
                    <a16:creationId xmlns:a16="http://schemas.microsoft.com/office/drawing/2014/main" id="{231C7886-2B63-9722-873F-82D6182184A9}"/>
                  </a:ext>
                </a:extLst>
              </p:cNvPr>
              <p:cNvSpPr/>
              <p:nvPr/>
            </p:nvSpPr>
            <p:spPr>
              <a:xfrm>
                <a:off x="1439017" y="3730101"/>
                <a:ext cx="489" cy="386"/>
              </a:xfrm>
              <a:custGeom>
                <a:avLst/>
                <a:gdLst>
                  <a:gd name="connsiteX0" fmla="*/ 4693 w 4692"/>
                  <a:gd name="connsiteY0" fmla="*/ 1262 h 3704"/>
                  <a:gd name="connsiteX1" fmla="*/ 3238 w 4692"/>
                  <a:gd name="connsiteY1" fmla="*/ 3705 h 3704"/>
                  <a:gd name="connsiteX2" fmla="*/ 0 w 4692"/>
                  <a:gd name="connsiteY2" fmla="*/ 1043 h 3704"/>
                  <a:gd name="connsiteX3" fmla="*/ 1537 w 4692"/>
                  <a:gd name="connsiteY3" fmla="*/ 0 h 3704"/>
                  <a:gd name="connsiteX4" fmla="*/ 4693 w 4692"/>
                  <a:gd name="connsiteY4" fmla="*/ 1262 h 3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3704">
                    <a:moveTo>
                      <a:pt x="4693" y="1262"/>
                    </a:moveTo>
                    <a:lnTo>
                      <a:pt x="3238" y="3705"/>
                    </a:lnTo>
                    <a:lnTo>
                      <a:pt x="0" y="1043"/>
                    </a:lnTo>
                    <a:lnTo>
                      <a:pt x="1537" y="0"/>
                    </a:lnTo>
                    <a:lnTo>
                      <a:pt x="4693" y="12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2" name="Freeform: Shape 3541">
                <a:extLst>
                  <a:ext uri="{FF2B5EF4-FFF2-40B4-BE49-F238E27FC236}">
                    <a16:creationId xmlns:a16="http://schemas.microsoft.com/office/drawing/2014/main" id="{8FA88612-D0C6-C820-8263-C960051768FA}"/>
                  </a:ext>
                </a:extLst>
              </p:cNvPr>
              <p:cNvSpPr/>
              <p:nvPr/>
            </p:nvSpPr>
            <p:spPr>
              <a:xfrm>
                <a:off x="1447918" y="3722020"/>
                <a:ext cx="469" cy="401"/>
              </a:xfrm>
              <a:custGeom>
                <a:avLst/>
                <a:gdLst>
                  <a:gd name="connsiteX0" fmla="*/ 3952 w 4500"/>
                  <a:gd name="connsiteY0" fmla="*/ 2607 h 3841"/>
                  <a:gd name="connsiteX1" fmla="*/ 1097 w 4500"/>
                  <a:gd name="connsiteY1" fmla="*/ 3842 h 3841"/>
                  <a:gd name="connsiteX2" fmla="*/ 0 w 4500"/>
                  <a:gd name="connsiteY2" fmla="*/ 1976 h 3841"/>
                  <a:gd name="connsiteX3" fmla="*/ 2470 w 4500"/>
                  <a:gd name="connsiteY3" fmla="*/ 0 h 3841"/>
                  <a:gd name="connsiteX4" fmla="*/ 4500 w 4500"/>
                  <a:gd name="connsiteY4" fmla="*/ 1043 h 3841"/>
                  <a:gd name="connsiteX5" fmla="*/ 3924 w 4500"/>
                  <a:gd name="connsiteY5" fmla="*/ 2634 h 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 h="3841">
                    <a:moveTo>
                      <a:pt x="3952" y="2607"/>
                    </a:moveTo>
                    <a:lnTo>
                      <a:pt x="1097" y="3842"/>
                    </a:lnTo>
                    <a:lnTo>
                      <a:pt x="0" y="1976"/>
                    </a:lnTo>
                    <a:lnTo>
                      <a:pt x="2470" y="0"/>
                    </a:lnTo>
                    <a:lnTo>
                      <a:pt x="4500" y="1043"/>
                    </a:lnTo>
                    <a:lnTo>
                      <a:pt x="3924"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3" name="Freeform: Shape 3542">
                <a:extLst>
                  <a:ext uri="{FF2B5EF4-FFF2-40B4-BE49-F238E27FC236}">
                    <a16:creationId xmlns:a16="http://schemas.microsoft.com/office/drawing/2014/main" id="{7430ACCC-2C38-6C45-2042-FC22E5F35E1E}"/>
                  </a:ext>
                </a:extLst>
              </p:cNvPr>
              <p:cNvSpPr/>
              <p:nvPr/>
            </p:nvSpPr>
            <p:spPr>
              <a:xfrm>
                <a:off x="1444209" y="3724305"/>
                <a:ext cx="444" cy="415"/>
              </a:xfrm>
              <a:custGeom>
                <a:avLst/>
                <a:gdLst>
                  <a:gd name="connsiteX0" fmla="*/ 4254 w 4253"/>
                  <a:gd name="connsiteY0" fmla="*/ 1811 h 3979"/>
                  <a:gd name="connsiteX1" fmla="*/ 2744 w 4253"/>
                  <a:gd name="connsiteY1" fmla="*/ 3979 h 3979"/>
                  <a:gd name="connsiteX2" fmla="*/ 0 w 4253"/>
                  <a:gd name="connsiteY2" fmla="*/ 2470 h 3979"/>
                  <a:gd name="connsiteX3" fmla="*/ 2003 w 4253"/>
                  <a:gd name="connsiteY3" fmla="*/ 0 h 3979"/>
                  <a:gd name="connsiteX4" fmla="*/ 4226 w 4253"/>
                  <a:gd name="connsiteY4" fmla="*/ 1811 h 3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3979">
                    <a:moveTo>
                      <a:pt x="4254" y="1811"/>
                    </a:moveTo>
                    <a:lnTo>
                      <a:pt x="2744" y="3979"/>
                    </a:lnTo>
                    <a:lnTo>
                      <a:pt x="0" y="2470"/>
                    </a:lnTo>
                    <a:lnTo>
                      <a:pt x="2003" y="0"/>
                    </a:lnTo>
                    <a:lnTo>
                      <a:pt x="4226"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4" name="Freeform: Shape 3543">
                <a:extLst>
                  <a:ext uri="{FF2B5EF4-FFF2-40B4-BE49-F238E27FC236}">
                    <a16:creationId xmlns:a16="http://schemas.microsoft.com/office/drawing/2014/main" id="{F69C1FA9-9323-27F7-AF4F-414936F9E435}"/>
                  </a:ext>
                </a:extLst>
              </p:cNvPr>
              <p:cNvSpPr/>
              <p:nvPr/>
            </p:nvSpPr>
            <p:spPr>
              <a:xfrm>
                <a:off x="1447873" y="3720151"/>
                <a:ext cx="489" cy="378"/>
              </a:xfrm>
              <a:custGeom>
                <a:avLst/>
                <a:gdLst>
                  <a:gd name="connsiteX0" fmla="*/ 4665 w 4692"/>
                  <a:gd name="connsiteY0" fmla="*/ 2442 h 3622"/>
                  <a:gd name="connsiteX1" fmla="*/ 2388 w 4692"/>
                  <a:gd name="connsiteY1" fmla="*/ 3622 h 3622"/>
                  <a:gd name="connsiteX2" fmla="*/ 0 w 4692"/>
                  <a:gd name="connsiteY2" fmla="*/ 988 h 3622"/>
                  <a:gd name="connsiteX3" fmla="*/ 2882 w 4692"/>
                  <a:gd name="connsiteY3" fmla="*/ 0 h 3622"/>
                  <a:gd name="connsiteX4" fmla="*/ 4693 w 4692"/>
                  <a:gd name="connsiteY4" fmla="*/ 2442 h 3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3622">
                    <a:moveTo>
                      <a:pt x="4665" y="2442"/>
                    </a:moveTo>
                    <a:lnTo>
                      <a:pt x="2388" y="3622"/>
                    </a:lnTo>
                    <a:lnTo>
                      <a:pt x="0" y="988"/>
                    </a:lnTo>
                    <a:lnTo>
                      <a:pt x="2882" y="0"/>
                    </a:lnTo>
                    <a:lnTo>
                      <a:pt x="4693" y="24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5" name="Freeform: Shape 3544">
                <a:extLst>
                  <a:ext uri="{FF2B5EF4-FFF2-40B4-BE49-F238E27FC236}">
                    <a16:creationId xmlns:a16="http://schemas.microsoft.com/office/drawing/2014/main" id="{CB172F4F-BE7C-0AA8-5192-96C63E92647B}"/>
                  </a:ext>
                </a:extLst>
              </p:cNvPr>
              <p:cNvSpPr/>
              <p:nvPr/>
            </p:nvSpPr>
            <p:spPr>
              <a:xfrm>
                <a:off x="1450532" y="3723420"/>
                <a:ext cx="452" cy="404"/>
              </a:xfrm>
              <a:custGeom>
                <a:avLst/>
                <a:gdLst>
                  <a:gd name="connsiteX0" fmla="*/ 4336 w 4336"/>
                  <a:gd name="connsiteY0" fmla="*/ 2634 h 3869"/>
                  <a:gd name="connsiteX1" fmla="*/ 1400 w 4336"/>
                  <a:gd name="connsiteY1" fmla="*/ 3869 h 3869"/>
                  <a:gd name="connsiteX2" fmla="*/ 0 w 4336"/>
                  <a:gd name="connsiteY2" fmla="*/ 357 h 3869"/>
                  <a:gd name="connsiteX3" fmla="*/ 1729 w 4336"/>
                  <a:gd name="connsiteY3" fmla="*/ 0 h 3869"/>
                  <a:gd name="connsiteX4" fmla="*/ 4336 w 4336"/>
                  <a:gd name="connsiteY4" fmla="*/ 2634 h 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3869">
                    <a:moveTo>
                      <a:pt x="4336" y="2634"/>
                    </a:moveTo>
                    <a:lnTo>
                      <a:pt x="1400" y="3869"/>
                    </a:lnTo>
                    <a:lnTo>
                      <a:pt x="0" y="357"/>
                    </a:lnTo>
                    <a:lnTo>
                      <a:pt x="1729" y="0"/>
                    </a:lnTo>
                    <a:lnTo>
                      <a:pt x="4336"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6" name="Freeform: Shape 3545">
                <a:extLst>
                  <a:ext uri="{FF2B5EF4-FFF2-40B4-BE49-F238E27FC236}">
                    <a16:creationId xmlns:a16="http://schemas.microsoft.com/office/drawing/2014/main" id="{8C07A811-98E9-EDCD-5D2D-C60FA70D4C59}"/>
                  </a:ext>
                </a:extLst>
              </p:cNvPr>
              <p:cNvSpPr/>
              <p:nvPr/>
            </p:nvSpPr>
            <p:spPr>
              <a:xfrm>
                <a:off x="1438490" y="3722581"/>
                <a:ext cx="481" cy="363"/>
              </a:xfrm>
              <a:custGeom>
                <a:avLst/>
                <a:gdLst>
                  <a:gd name="connsiteX0" fmla="*/ 4611 w 4610"/>
                  <a:gd name="connsiteY0" fmla="*/ 2497 h 3485"/>
                  <a:gd name="connsiteX1" fmla="*/ 1839 w 4610"/>
                  <a:gd name="connsiteY1" fmla="*/ 3485 h 3485"/>
                  <a:gd name="connsiteX2" fmla="*/ 0 w 4610"/>
                  <a:gd name="connsiteY2" fmla="*/ 1125 h 3485"/>
                  <a:gd name="connsiteX3" fmla="*/ 2772 w 4610"/>
                  <a:gd name="connsiteY3" fmla="*/ 0 h 3485"/>
                  <a:gd name="connsiteX4" fmla="*/ 4611 w 4610"/>
                  <a:gd name="connsiteY4" fmla="*/ 2497 h 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3485">
                    <a:moveTo>
                      <a:pt x="4611" y="2497"/>
                    </a:moveTo>
                    <a:lnTo>
                      <a:pt x="1839" y="3485"/>
                    </a:lnTo>
                    <a:lnTo>
                      <a:pt x="0" y="1125"/>
                    </a:lnTo>
                    <a:lnTo>
                      <a:pt x="2772" y="0"/>
                    </a:lnTo>
                    <a:lnTo>
                      <a:pt x="4611"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7" name="Freeform: Shape 3546">
                <a:extLst>
                  <a:ext uri="{FF2B5EF4-FFF2-40B4-BE49-F238E27FC236}">
                    <a16:creationId xmlns:a16="http://schemas.microsoft.com/office/drawing/2014/main" id="{396C0E30-DEB2-D1A6-A94E-B7C181F9EB63}"/>
                  </a:ext>
                </a:extLst>
              </p:cNvPr>
              <p:cNvSpPr/>
              <p:nvPr/>
            </p:nvSpPr>
            <p:spPr>
              <a:xfrm>
                <a:off x="1447226" y="3720861"/>
                <a:ext cx="426" cy="412"/>
              </a:xfrm>
              <a:custGeom>
                <a:avLst/>
                <a:gdLst>
                  <a:gd name="connsiteX0" fmla="*/ 2937 w 4088"/>
                  <a:gd name="connsiteY0" fmla="*/ 3101 h 3951"/>
                  <a:gd name="connsiteX1" fmla="*/ 0 w 4088"/>
                  <a:gd name="connsiteY1" fmla="*/ 3952 h 3951"/>
                  <a:gd name="connsiteX2" fmla="*/ 1290 w 4088"/>
                  <a:gd name="connsiteY2" fmla="*/ 0 h 3951"/>
                  <a:gd name="connsiteX3" fmla="*/ 4089 w 4088"/>
                  <a:gd name="connsiteY3" fmla="*/ 878 h 3951"/>
                  <a:gd name="connsiteX4" fmla="*/ 2937 w 4088"/>
                  <a:gd name="connsiteY4" fmla="*/ 3074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3951">
                    <a:moveTo>
                      <a:pt x="2937" y="3101"/>
                    </a:moveTo>
                    <a:lnTo>
                      <a:pt x="0" y="3952"/>
                    </a:lnTo>
                    <a:lnTo>
                      <a:pt x="1290" y="0"/>
                    </a:lnTo>
                    <a:lnTo>
                      <a:pt x="4089" y="878"/>
                    </a:lnTo>
                    <a:lnTo>
                      <a:pt x="2937"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8" name="Freeform: Shape 3547">
                <a:extLst>
                  <a:ext uri="{FF2B5EF4-FFF2-40B4-BE49-F238E27FC236}">
                    <a16:creationId xmlns:a16="http://schemas.microsoft.com/office/drawing/2014/main" id="{28188250-0C8D-B240-7C54-76662946A799}"/>
                  </a:ext>
                </a:extLst>
              </p:cNvPr>
              <p:cNvSpPr/>
              <p:nvPr/>
            </p:nvSpPr>
            <p:spPr>
              <a:xfrm>
                <a:off x="1441658" y="3723340"/>
                <a:ext cx="343" cy="481"/>
              </a:xfrm>
              <a:custGeom>
                <a:avLst/>
                <a:gdLst>
                  <a:gd name="connsiteX0" fmla="*/ 3293 w 3293"/>
                  <a:gd name="connsiteY0" fmla="*/ 4062 h 4610"/>
                  <a:gd name="connsiteX1" fmla="*/ 961 w 3293"/>
                  <a:gd name="connsiteY1" fmla="*/ 4610 h 4610"/>
                  <a:gd name="connsiteX2" fmla="*/ 0 w 3293"/>
                  <a:gd name="connsiteY2" fmla="*/ 2333 h 4610"/>
                  <a:gd name="connsiteX3" fmla="*/ 2223 w 3293"/>
                  <a:gd name="connsiteY3" fmla="*/ 0 h 4610"/>
                  <a:gd name="connsiteX4" fmla="*/ 3293 w 3293"/>
                  <a:gd name="connsiteY4" fmla="*/ 4089 h 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 h="4610">
                    <a:moveTo>
                      <a:pt x="3293" y="4062"/>
                    </a:moveTo>
                    <a:lnTo>
                      <a:pt x="961" y="4610"/>
                    </a:lnTo>
                    <a:lnTo>
                      <a:pt x="0" y="2333"/>
                    </a:lnTo>
                    <a:lnTo>
                      <a:pt x="2223" y="0"/>
                    </a:lnTo>
                    <a:lnTo>
                      <a:pt x="3293" y="40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9" name="Freeform: Shape 3548">
                <a:extLst>
                  <a:ext uri="{FF2B5EF4-FFF2-40B4-BE49-F238E27FC236}">
                    <a16:creationId xmlns:a16="http://schemas.microsoft.com/office/drawing/2014/main" id="{6EB50158-7F3B-6E04-A957-4F14C3AFAC1F}"/>
                  </a:ext>
                </a:extLst>
              </p:cNvPr>
              <p:cNvSpPr/>
              <p:nvPr/>
            </p:nvSpPr>
            <p:spPr>
              <a:xfrm>
                <a:off x="1437208" y="3719150"/>
                <a:ext cx="409" cy="406"/>
              </a:xfrm>
              <a:custGeom>
                <a:avLst/>
                <a:gdLst>
                  <a:gd name="connsiteX0" fmla="*/ 3513 w 3924"/>
                  <a:gd name="connsiteY0" fmla="*/ 3101 h 3897"/>
                  <a:gd name="connsiteX1" fmla="*/ 2031 w 3924"/>
                  <a:gd name="connsiteY1" fmla="*/ 3897 h 3897"/>
                  <a:gd name="connsiteX2" fmla="*/ 0 w 3924"/>
                  <a:gd name="connsiteY2" fmla="*/ 247 h 3897"/>
                  <a:gd name="connsiteX3" fmla="*/ 3925 w 3924"/>
                  <a:gd name="connsiteY3" fmla="*/ 0 h 3897"/>
                  <a:gd name="connsiteX4" fmla="*/ 3513 w 3924"/>
                  <a:gd name="connsiteY4" fmla="*/ 3074 h 3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3897">
                    <a:moveTo>
                      <a:pt x="3513" y="3101"/>
                    </a:moveTo>
                    <a:lnTo>
                      <a:pt x="2031" y="3897"/>
                    </a:lnTo>
                    <a:lnTo>
                      <a:pt x="0" y="247"/>
                    </a:lnTo>
                    <a:lnTo>
                      <a:pt x="3925" y="0"/>
                    </a:lnTo>
                    <a:lnTo>
                      <a:pt x="3513"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0" name="Freeform: Shape 3549">
                <a:extLst>
                  <a:ext uri="{FF2B5EF4-FFF2-40B4-BE49-F238E27FC236}">
                    <a16:creationId xmlns:a16="http://schemas.microsoft.com/office/drawing/2014/main" id="{1E8CAC11-6E69-ED40-9D17-549164785C1D}"/>
                  </a:ext>
                </a:extLst>
              </p:cNvPr>
              <p:cNvSpPr/>
              <p:nvPr/>
            </p:nvSpPr>
            <p:spPr>
              <a:xfrm>
                <a:off x="1440141" y="3720343"/>
                <a:ext cx="306" cy="529"/>
              </a:xfrm>
              <a:custGeom>
                <a:avLst/>
                <a:gdLst>
                  <a:gd name="connsiteX0" fmla="*/ 1812 w 2936"/>
                  <a:gd name="connsiteY0" fmla="*/ 4693 h 5076"/>
                  <a:gd name="connsiteX1" fmla="*/ 330 w 2936"/>
                  <a:gd name="connsiteY1" fmla="*/ 5077 h 5076"/>
                  <a:gd name="connsiteX2" fmla="*/ 0 w 2936"/>
                  <a:gd name="connsiteY2" fmla="*/ 1592 h 5076"/>
                  <a:gd name="connsiteX3" fmla="*/ 1181 w 2936"/>
                  <a:gd name="connsiteY3" fmla="*/ 0 h 5076"/>
                  <a:gd name="connsiteX4" fmla="*/ 2937 w 2936"/>
                  <a:gd name="connsiteY4" fmla="*/ 2058 h 5076"/>
                  <a:gd name="connsiteX5" fmla="*/ 1812 w 2936"/>
                  <a:gd name="connsiteY5" fmla="*/ 4693 h 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6" h="5076">
                    <a:moveTo>
                      <a:pt x="1812" y="4693"/>
                    </a:moveTo>
                    <a:lnTo>
                      <a:pt x="330" y="5077"/>
                    </a:lnTo>
                    <a:lnTo>
                      <a:pt x="0" y="1592"/>
                    </a:lnTo>
                    <a:lnTo>
                      <a:pt x="1181" y="0"/>
                    </a:lnTo>
                    <a:lnTo>
                      <a:pt x="2937" y="2058"/>
                    </a:lnTo>
                    <a:lnTo>
                      <a:pt x="1812"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1" name="Freeform: Shape 3550">
                <a:extLst>
                  <a:ext uri="{FF2B5EF4-FFF2-40B4-BE49-F238E27FC236}">
                    <a16:creationId xmlns:a16="http://schemas.microsoft.com/office/drawing/2014/main" id="{DB027B81-D7C9-F562-67DC-98F042CC0CE9}"/>
                  </a:ext>
                </a:extLst>
              </p:cNvPr>
              <p:cNvSpPr/>
              <p:nvPr/>
            </p:nvSpPr>
            <p:spPr>
              <a:xfrm>
                <a:off x="1437222" y="3722358"/>
                <a:ext cx="381" cy="412"/>
              </a:xfrm>
              <a:custGeom>
                <a:avLst/>
                <a:gdLst>
                  <a:gd name="connsiteX0" fmla="*/ 2525 w 3650"/>
                  <a:gd name="connsiteY0" fmla="*/ 165 h 3951"/>
                  <a:gd name="connsiteX1" fmla="*/ 3650 w 3650"/>
                  <a:gd name="connsiteY1" fmla="*/ 3952 h 3951"/>
                  <a:gd name="connsiteX2" fmla="*/ 933 w 3650"/>
                  <a:gd name="connsiteY2" fmla="*/ 3211 h 3951"/>
                  <a:gd name="connsiteX3" fmla="*/ 0 w 3650"/>
                  <a:gd name="connsiteY3" fmla="*/ 0 h 3951"/>
                  <a:gd name="connsiteX4" fmla="*/ 2525 w 3650"/>
                  <a:gd name="connsiteY4" fmla="*/ 192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3951">
                    <a:moveTo>
                      <a:pt x="2525" y="165"/>
                    </a:moveTo>
                    <a:lnTo>
                      <a:pt x="3650" y="3952"/>
                    </a:lnTo>
                    <a:lnTo>
                      <a:pt x="933" y="3211"/>
                    </a:lnTo>
                    <a:lnTo>
                      <a:pt x="0" y="0"/>
                    </a:lnTo>
                    <a:lnTo>
                      <a:pt x="2525" y="1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2" name="Freeform: Shape 3551">
                <a:extLst>
                  <a:ext uri="{FF2B5EF4-FFF2-40B4-BE49-F238E27FC236}">
                    <a16:creationId xmlns:a16="http://schemas.microsoft.com/office/drawing/2014/main" id="{AE175EA0-6E98-AFE5-6BD7-DD21C5C3D396}"/>
                  </a:ext>
                </a:extLst>
              </p:cNvPr>
              <p:cNvSpPr/>
              <p:nvPr/>
            </p:nvSpPr>
            <p:spPr>
              <a:xfrm>
                <a:off x="1443321" y="3724222"/>
                <a:ext cx="295" cy="527"/>
              </a:xfrm>
              <a:custGeom>
                <a:avLst/>
                <a:gdLst>
                  <a:gd name="connsiteX0" fmla="*/ 2772 w 2826"/>
                  <a:gd name="connsiteY0" fmla="*/ 3650 h 5049"/>
                  <a:gd name="connsiteX1" fmla="*/ 988 w 2826"/>
                  <a:gd name="connsiteY1" fmla="*/ 5049 h 5049"/>
                  <a:gd name="connsiteX2" fmla="*/ 0 w 2826"/>
                  <a:gd name="connsiteY2" fmla="*/ 3787 h 5049"/>
                  <a:gd name="connsiteX3" fmla="*/ 1262 w 2826"/>
                  <a:gd name="connsiteY3" fmla="*/ 0 h 5049"/>
                  <a:gd name="connsiteX4" fmla="*/ 2827 w 2826"/>
                  <a:gd name="connsiteY4" fmla="*/ 1509 h 5049"/>
                  <a:gd name="connsiteX5" fmla="*/ 2772 w 2826"/>
                  <a:gd name="connsiteY5" fmla="*/ 3650 h 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6" h="5049">
                    <a:moveTo>
                      <a:pt x="2772" y="3650"/>
                    </a:moveTo>
                    <a:lnTo>
                      <a:pt x="988" y="5049"/>
                    </a:lnTo>
                    <a:lnTo>
                      <a:pt x="0" y="3787"/>
                    </a:lnTo>
                    <a:lnTo>
                      <a:pt x="1262" y="0"/>
                    </a:lnTo>
                    <a:lnTo>
                      <a:pt x="2827" y="1509"/>
                    </a:lnTo>
                    <a:lnTo>
                      <a:pt x="2772" y="36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3" name="Freeform: Shape 3552">
                <a:extLst>
                  <a:ext uri="{FF2B5EF4-FFF2-40B4-BE49-F238E27FC236}">
                    <a16:creationId xmlns:a16="http://schemas.microsoft.com/office/drawing/2014/main" id="{463B5F63-6D2B-7B37-CEEA-0C3B8C40F389}"/>
                  </a:ext>
                </a:extLst>
              </p:cNvPr>
              <p:cNvSpPr/>
              <p:nvPr/>
            </p:nvSpPr>
            <p:spPr>
              <a:xfrm>
                <a:off x="1438559" y="3720140"/>
                <a:ext cx="475" cy="329"/>
              </a:xfrm>
              <a:custGeom>
                <a:avLst/>
                <a:gdLst>
                  <a:gd name="connsiteX0" fmla="*/ 4556 w 4555"/>
                  <a:gd name="connsiteY0" fmla="*/ 2607 h 3156"/>
                  <a:gd name="connsiteX1" fmla="*/ 1592 w 4555"/>
                  <a:gd name="connsiteY1" fmla="*/ 3156 h 3156"/>
                  <a:gd name="connsiteX2" fmla="*/ 0 w 4555"/>
                  <a:gd name="connsiteY2" fmla="*/ 659 h 3156"/>
                  <a:gd name="connsiteX3" fmla="*/ 3211 w 4555"/>
                  <a:gd name="connsiteY3" fmla="*/ 0 h 3156"/>
                  <a:gd name="connsiteX4" fmla="*/ 4528 w 4555"/>
                  <a:gd name="connsiteY4" fmla="*/ 2635 h 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3156">
                    <a:moveTo>
                      <a:pt x="4556" y="2607"/>
                    </a:moveTo>
                    <a:lnTo>
                      <a:pt x="1592" y="3156"/>
                    </a:lnTo>
                    <a:lnTo>
                      <a:pt x="0" y="659"/>
                    </a:lnTo>
                    <a:lnTo>
                      <a:pt x="3211" y="0"/>
                    </a:lnTo>
                    <a:lnTo>
                      <a:pt x="4528" y="26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4" name="Freeform: Shape 3553">
                <a:extLst>
                  <a:ext uri="{FF2B5EF4-FFF2-40B4-BE49-F238E27FC236}">
                    <a16:creationId xmlns:a16="http://schemas.microsoft.com/office/drawing/2014/main" id="{6FBB2249-5CA5-5270-AD76-3AF3418DD336}"/>
                  </a:ext>
                </a:extLst>
              </p:cNvPr>
              <p:cNvSpPr/>
              <p:nvPr/>
            </p:nvSpPr>
            <p:spPr>
              <a:xfrm>
                <a:off x="1442652" y="3720343"/>
                <a:ext cx="283" cy="547"/>
              </a:xfrm>
              <a:custGeom>
                <a:avLst/>
                <a:gdLst>
                  <a:gd name="connsiteX0" fmla="*/ 2717 w 2716"/>
                  <a:gd name="connsiteY0" fmla="*/ 3485 h 5241"/>
                  <a:gd name="connsiteX1" fmla="*/ 302 w 2716"/>
                  <a:gd name="connsiteY1" fmla="*/ 5241 h 5241"/>
                  <a:gd name="connsiteX2" fmla="*/ 0 w 2716"/>
                  <a:gd name="connsiteY2" fmla="*/ 1592 h 5241"/>
                  <a:gd name="connsiteX3" fmla="*/ 2113 w 2716"/>
                  <a:gd name="connsiteY3" fmla="*/ 0 h 5241"/>
                  <a:gd name="connsiteX4" fmla="*/ 2717 w 2716"/>
                  <a:gd name="connsiteY4" fmla="*/ 3485 h 5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6" h="5241">
                    <a:moveTo>
                      <a:pt x="2717" y="3485"/>
                    </a:moveTo>
                    <a:lnTo>
                      <a:pt x="302" y="5241"/>
                    </a:lnTo>
                    <a:lnTo>
                      <a:pt x="0" y="1592"/>
                    </a:lnTo>
                    <a:lnTo>
                      <a:pt x="2113" y="0"/>
                    </a:lnTo>
                    <a:lnTo>
                      <a:pt x="2717"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5" name="Freeform: Shape 3554">
                <a:extLst>
                  <a:ext uri="{FF2B5EF4-FFF2-40B4-BE49-F238E27FC236}">
                    <a16:creationId xmlns:a16="http://schemas.microsoft.com/office/drawing/2014/main" id="{8413D37F-39EF-DB99-9008-D345462E1E74}"/>
                  </a:ext>
                </a:extLst>
              </p:cNvPr>
              <p:cNvSpPr/>
              <p:nvPr/>
            </p:nvSpPr>
            <p:spPr>
              <a:xfrm>
                <a:off x="1449058" y="3724053"/>
                <a:ext cx="392" cy="384"/>
              </a:xfrm>
              <a:custGeom>
                <a:avLst/>
                <a:gdLst>
                  <a:gd name="connsiteX0" fmla="*/ 3759 w 3759"/>
                  <a:gd name="connsiteY0" fmla="*/ 1811 h 3677"/>
                  <a:gd name="connsiteX1" fmla="*/ 1180 w 3759"/>
                  <a:gd name="connsiteY1" fmla="*/ 3677 h 3677"/>
                  <a:gd name="connsiteX2" fmla="*/ 0 w 3759"/>
                  <a:gd name="connsiteY2" fmla="*/ 2579 h 3677"/>
                  <a:gd name="connsiteX3" fmla="*/ 109 w 3759"/>
                  <a:gd name="connsiteY3" fmla="*/ 796 h 3677"/>
                  <a:gd name="connsiteX4" fmla="*/ 2908 w 3759"/>
                  <a:gd name="connsiteY4" fmla="*/ 0 h 3677"/>
                  <a:gd name="connsiteX5" fmla="*/ 3759 w 3759"/>
                  <a:gd name="connsiteY5" fmla="*/ 1811 h 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9" h="3677">
                    <a:moveTo>
                      <a:pt x="3759" y="1811"/>
                    </a:moveTo>
                    <a:lnTo>
                      <a:pt x="1180" y="3677"/>
                    </a:lnTo>
                    <a:lnTo>
                      <a:pt x="0" y="2579"/>
                    </a:lnTo>
                    <a:lnTo>
                      <a:pt x="109" y="796"/>
                    </a:lnTo>
                    <a:lnTo>
                      <a:pt x="2908" y="0"/>
                    </a:lnTo>
                    <a:lnTo>
                      <a:pt x="3759"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6" name="Freeform: Shape 3555">
                <a:extLst>
                  <a:ext uri="{FF2B5EF4-FFF2-40B4-BE49-F238E27FC236}">
                    <a16:creationId xmlns:a16="http://schemas.microsoft.com/office/drawing/2014/main" id="{0F8B6303-D5A0-8C45-26C2-A055B1762A49}"/>
                  </a:ext>
                </a:extLst>
              </p:cNvPr>
              <p:cNvSpPr/>
              <p:nvPr/>
            </p:nvSpPr>
            <p:spPr>
              <a:xfrm>
                <a:off x="1442251" y="3723174"/>
                <a:ext cx="372" cy="398"/>
              </a:xfrm>
              <a:custGeom>
                <a:avLst/>
                <a:gdLst>
                  <a:gd name="connsiteX0" fmla="*/ 3568 w 3567"/>
                  <a:gd name="connsiteY0" fmla="*/ 1894 h 3814"/>
                  <a:gd name="connsiteX1" fmla="*/ 1784 w 3567"/>
                  <a:gd name="connsiteY1" fmla="*/ 3815 h 3814"/>
                  <a:gd name="connsiteX2" fmla="*/ 0 w 3567"/>
                  <a:gd name="connsiteY2" fmla="*/ 2415 h 3814"/>
                  <a:gd name="connsiteX3" fmla="*/ 356 w 3567"/>
                  <a:gd name="connsiteY3" fmla="*/ 714 h 3814"/>
                  <a:gd name="connsiteX4" fmla="*/ 3293 w 3567"/>
                  <a:gd name="connsiteY4" fmla="*/ 0 h 3814"/>
                  <a:gd name="connsiteX5" fmla="*/ 3568 w 3567"/>
                  <a:gd name="connsiteY5" fmla="*/ 1866 h 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3814">
                    <a:moveTo>
                      <a:pt x="3568" y="1894"/>
                    </a:moveTo>
                    <a:lnTo>
                      <a:pt x="1784" y="3815"/>
                    </a:lnTo>
                    <a:lnTo>
                      <a:pt x="0" y="2415"/>
                    </a:lnTo>
                    <a:lnTo>
                      <a:pt x="356" y="714"/>
                    </a:lnTo>
                    <a:lnTo>
                      <a:pt x="3293" y="0"/>
                    </a:lnTo>
                    <a:lnTo>
                      <a:pt x="3568" y="18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7" name="Freeform: Shape 3556">
                <a:extLst>
                  <a:ext uri="{FF2B5EF4-FFF2-40B4-BE49-F238E27FC236}">
                    <a16:creationId xmlns:a16="http://schemas.microsoft.com/office/drawing/2014/main" id="{8268D437-4FF6-CD6D-B75B-0BA53091FFA0}"/>
                  </a:ext>
                </a:extLst>
              </p:cNvPr>
              <p:cNvSpPr/>
              <p:nvPr/>
            </p:nvSpPr>
            <p:spPr>
              <a:xfrm>
                <a:off x="1437199" y="3720646"/>
                <a:ext cx="395" cy="375"/>
              </a:xfrm>
              <a:custGeom>
                <a:avLst/>
                <a:gdLst>
                  <a:gd name="connsiteX0" fmla="*/ 3294 w 3787"/>
                  <a:gd name="connsiteY0" fmla="*/ 0 h 3595"/>
                  <a:gd name="connsiteX1" fmla="*/ 3787 w 3787"/>
                  <a:gd name="connsiteY1" fmla="*/ 3595 h 3595"/>
                  <a:gd name="connsiteX2" fmla="*/ 0 w 3787"/>
                  <a:gd name="connsiteY2" fmla="*/ 2058 h 3595"/>
                  <a:gd name="connsiteX3" fmla="*/ 1071 w 3787"/>
                  <a:gd name="connsiteY3" fmla="*/ 0 h 3595"/>
                  <a:gd name="connsiteX4" fmla="*/ 3294 w 3787"/>
                  <a:gd name="connsiteY4" fmla="*/ 0 h 3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3595">
                    <a:moveTo>
                      <a:pt x="3294" y="0"/>
                    </a:moveTo>
                    <a:lnTo>
                      <a:pt x="3787" y="3595"/>
                    </a:lnTo>
                    <a:lnTo>
                      <a:pt x="0" y="2058"/>
                    </a:lnTo>
                    <a:lnTo>
                      <a:pt x="1071" y="0"/>
                    </a:lnTo>
                    <a:lnTo>
                      <a:pt x="329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8" name="Freeform: Shape 3557">
                <a:extLst>
                  <a:ext uri="{FF2B5EF4-FFF2-40B4-BE49-F238E27FC236}">
                    <a16:creationId xmlns:a16="http://schemas.microsoft.com/office/drawing/2014/main" id="{635C7900-336E-26AB-3D35-1470F8AD7372}"/>
                  </a:ext>
                </a:extLst>
              </p:cNvPr>
              <p:cNvSpPr/>
              <p:nvPr/>
            </p:nvSpPr>
            <p:spPr>
              <a:xfrm>
                <a:off x="1447916" y="3722919"/>
                <a:ext cx="309" cy="475"/>
              </a:xfrm>
              <a:custGeom>
                <a:avLst/>
                <a:gdLst>
                  <a:gd name="connsiteX0" fmla="*/ 2963 w 2963"/>
                  <a:gd name="connsiteY0" fmla="*/ 3101 h 4555"/>
                  <a:gd name="connsiteX1" fmla="*/ 1756 w 2963"/>
                  <a:gd name="connsiteY1" fmla="*/ 4555 h 4555"/>
                  <a:gd name="connsiteX2" fmla="*/ 0 w 2963"/>
                  <a:gd name="connsiteY2" fmla="*/ 2909 h 4555"/>
                  <a:gd name="connsiteX3" fmla="*/ 301 w 2963"/>
                  <a:gd name="connsiteY3" fmla="*/ 604 h 4555"/>
                  <a:gd name="connsiteX4" fmla="*/ 2086 w 2963"/>
                  <a:gd name="connsiteY4" fmla="*/ 0 h 4555"/>
                  <a:gd name="connsiteX5" fmla="*/ 2963 w 2963"/>
                  <a:gd name="connsiteY5" fmla="*/ 3074 h 4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3" h="4555">
                    <a:moveTo>
                      <a:pt x="2963" y="3101"/>
                    </a:moveTo>
                    <a:lnTo>
                      <a:pt x="1756" y="4555"/>
                    </a:lnTo>
                    <a:lnTo>
                      <a:pt x="0" y="2909"/>
                    </a:lnTo>
                    <a:lnTo>
                      <a:pt x="301" y="604"/>
                    </a:lnTo>
                    <a:lnTo>
                      <a:pt x="2086" y="0"/>
                    </a:lnTo>
                    <a:lnTo>
                      <a:pt x="2963"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9" name="Freeform: Shape 3558">
                <a:extLst>
                  <a:ext uri="{FF2B5EF4-FFF2-40B4-BE49-F238E27FC236}">
                    <a16:creationId xmlns:a16="http://schemas.microsoft.com/office/drawing/2014/main" id="{E0089DEE-32D2-4060-9D66-15AE3D287A34}"/>
                  </a:ext>
                </a:extLst>
              </p:cNvPr>
              <p:cNvSpPr/>
              <p:nvPr/>
            </p:nvSpPr>
            <p:spPr>
              <a:xfrm>
                <a:off x="1440336" y="3721305"/>
                <a:ext cx="361" cy="401"/>
              </a:xfrm>
              <a:custGeom>
                <a:avLst/>
                <a:gdLst>
                  <a:gd name="connsiteX0" fmla="*/ 3457 w 3457"/>
                  <a:gd name="connsiteY0" fmla="*/ 2799 h 3841"/>
                  <a:gd name="connsiteX1" fmla="*/ 1866 w 3457"/>
                  <a:gd name="connsiteY1" fmla="*/ 3842 h 3841"/>
                  <a:gd name="connsiteX2" fmla="*/ 0 w 3457"/>
                  <a:gd name="connsiteY2" fmla="*/ 2579 h 3841"/>
                  <a:gd name="connsiteX3" fmla="*/ 1070 w 3457"/>
                  <a:gd name="connsiteY3" fmla="*/ 0 h 3841"/>
                  <a:gd name="connsiteX4" fmla="*/ 3018 w 3457"/>
                  <a:gd name="connsiteY4" fmla="*/ 494 h 3841"/>
                  <a:gd name="connsiteX5" fmla="*/ 3457 w 3457"/>
                  <a:gd name="connsiteY5" fmla="*/ 2799 h 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7" h="3841">
                    <a:moveTo>
                      <a:pt x="3457" y="2799"/>
                    </a:moveTo>
                    <a:lnTo>
                      <a:pt x="1866" y="3842"/>
                    </a:lnTo>
                    <a:lnTo>
                      <a:pt x="0" y="2579"/>
                    </a:lnTo>
                    <a:lnTo>
                      <a:pt x="1070" y="0"/>
                    </a:lnTo>
                    <a:lnTo>
                      <a:pt x="3018" y="494"/>
                    </a:lnTo>
                    <a:lnTo>
                      <a:pt x="3457" y="27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0" name="Freeform: Shape 3559">
                <a:extLst>
                  <a:ext uri="{FF2B5EF4-FFF2-40B4-BE49-F238E27FC236}">
                    <a16:creationId xmlns:a16="http://schemas.microsoft.com/office/drawing/2014/main" id="{7CD842FB-3B56-4F59-35D8-7576CA51969E}"/>
                  </a:ext>
                </a:extLst>
              </p:cNvPr>
              <p:cNvSpPr/>
              <p:nvPr/>
            </p:nvSpPr>
            <p:spPr>
              <a:xfrm>
                <a:off x="1436206" y="3720961"/>
                <a:ext cx="384" cy="366"/>
              </a:xfrm>
              <a:custGeom>
                <a:avLst/>
                <a:gdLst>
                  <a:gd name="connsiteX0" fmla="*/ 3678 w 3677"/>
                  <a:gd name="connsiteY0" fmla="*/ 1070 h 3512"/>
                  <a:gd name="connsiteX1" fmla="*/ 2553 w 3677"/>
                  <a:gd name="connsiteY1" fmla="*/ 3513 h 3512"/>
                  <a:gd name="connsiteX2" fmla="*/ 604 w 3677"/>
                  <a:gd name="connsiteY2" fmla="*/ 3513 h 3512"/>
                  <a:gd name="connsiteX3" fmla="*/ 0 w 3677"/>
                  <a:gd name="connsiteY3" fmla="*/ 1564 h 3512"/>
                  <a:gd name="connsiteX4" fmla="*/ 906 w 3677"/>
                  <a:gd name="connsiteY4" fmla="*/ 0 h 3512"/>
                  <a:gd name="connsiteX5" fmla="*/ 3678 w 3677"/>
                  <a:gd name="connsiteY5" fmla="*/ 1070 h 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7" h="3512">
                    <a:moveTo>
                      <a:pt x="3678" y="1070"/>
                    </a:moveTo>
                    <a:lnTo>
                      <a:pt x="2553" y="3513"/>
                    </a:lnTo>
                    <a:lnTo>
                      <a:pt x="604" y="3513"/>
                    </a:lnTo>
                    <a:cubicBezTo>
                      <a:pt x="604" y="3513"/>
                      <a:pt x="0" y="1564"/>
                      <a:pt x="0" y="1564"/>
                    </a:cubicBezTo>
                    <a:lnTo>
                      <a:pt x="906" y="0"/>
                    </a:lnTo>
                    <a:lnTo>
                      <a:pt x="3678" y="10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1" name="Freeform: Shape 3560">
                <a:extLst>
                  <a:ext uri="{FF2B5EF4-FFF2-40B4-BE49-F238E27FC236}">
                    <a16:creationId xmlns:a16="http://schemas.microsoft.com/office/drawing/2014/main" id="{C8FD1D5C-DBF6-9A47-4E0B-48F27551BB54}"/>
                  </a:ext>
                </a:extLst>
              </p:cNvPr>
              <p:cNvSpPr/>
              <p:nvPr/>
            </p:nvSpPr>
            <p:spPr>
              <a:xfrm>
                <a:off x="1443010" y="3720211"/>
                <a:ext cx="432" cy="329"/>
              </a:xfrm>
              <a:custGeom>
                <a:avLst/>
                <a:gdLst>
                  <a:gd name="connsiteX0" fmla="*/ 4144 w 4143"/>
                  <a:gd name="connsiteY0" fmla="*/ 1701 h 3156"/>
                  <a:gd name="connsiteX1" fmla="*/ 2992 w 4143"/>
                  <a:gd name="connsiteY1" fmla="*/ 3156 h 3156"/>
                  <a:gd name="connsiteX2" fmla="*/ 0 w 4143"/>
                  <a:gd name="connsiteY2" fmla="*/ 2196 h 3156"/>
                  <a:gd name="connsiteX3" fmla="*/ 220 w 4143"/>
                  <a:gd name="connsiteY3" fmla="*/ 165 h 3156"/>
                  <a:gd name="connsiteX4" fmla="*/ 3129 w 4143"/>
                  <a:gd name="connsiteY4" fmla="*/ 0 h 3156"/>
                  <a:gd name="connsiteX5" fmla="*/ 4144 w 4143"/>
                  <a:gd name="connsiteY5" fmla="*/ 1729 h 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3" h="3156">
                    <a:moveTo>
                      <a:pt x="4144" y="1701"/>
                    </a:moveTo>
                    <a:lnTo>
                      <a:pt x="2992" y="3156"/>
                    </a:lnTo>
                    <a:lnTo>
                      <a:pt x="0" y="2196"/>
                    </a:lnTo>
                    <a:lnTo>
                      <a:pt x="220" y="165"/>
                    </a:lnTo>
                    <a:lnTo>
                      <a:pt x="3129" y="0"/>
                    </a:lnTo>
                    <a:lnTo>
                      <a:pt x="4144" y="17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2" name="Freeform: Shape 3561">
                <a:extLst>
                  <a:ext uri="{FF2B5EF4-FFF2-40B4-BE49-F238E27FC236}">
                    <a16:creationId xmlns:a16="http://schemas.microsoft.com/office/drawing/2014/main" id="{BEC6EB4E-7CF6-8C7D-8B37-6C4C083ECEA7}"/>
                  </a:ext>
                </a:extLst>
              </p:cNvPr>
              <p:cNvSpPr/>
              <p:nvPr/>
            </p:nvSpPr>
            <p:spPr>
              <a:xfrm>
                <a:off x="1443714" y="3715801"/>
                <a:ext cx="326" cy="441"/>
              </a:xfrm>
              <a:custGeom>
                <a:avLst/>
                <a:gdLst>
                  <a:gd name="connsiteX0" fmla="*/ 3129 w 3128"/>
                  <a:gd name="connsiteY0" fmla="*/ 1180 h 4225"/>
                  <a:gd name="connsiteX1" fmla="*/ 2662 w 3128"/>
                  <a:gd name="connsiteY1" fmla="*/ 4226 h 4225"/>
                  <a:gd name="connsiteX2" fmla="*/ 247 w 3128"/>
                  <a:gd name="connsiteY2" fmla="*/ 3430 h 4225"/>
                  <a:gd name="connsiteX3" fmla="*/ 0 w 3128"/>
                  <a:gd name="connsiteY3" fmla="*/ 1564 h 4225"/>
                  <a:gd name="connsiteX4" fmla="*/ 1812 w 3128"/>
                  <a:gd name="connsiteY4" fmla="*/ 0 h 4225"/>
                  <a:gd name="connsiteX5" fmla="*/ 3129 w 3128"/>
                  <a:gd name="connsiteY5" fmla="*/ 1180 h 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4225">
                    <a:moveTo>
                      <a:pt x="3129" y="1180"/>
                    </a:moveTo>
                    <a:lnTo>
                      <a:pt x="2662" y="4226"/>
                    </a:lnTo>
                    <a:lnTo>
                      <a:pt x="247" y="3430"/>
                    </a:lnTo>
                    <a:lnTo>
                      <a:pt x="0" y="1564"/>
                    </a:lnTo>
                    <a:lnTo>
                      <a:pt x="1812" y="0"/>
                    </a:lnTo>
                    <a:lnTo>
                      <a:pt x="3129"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3" name="Freeform: Shape 3562">
                <a:extLst>
                  <a:ext uri="{FF2B5EF4-FFF2-40B4-BE49-F238E27FC236}">
                    <a16:creationId xmlns:a16="http://schemas.microsoft.com/office/drawing/2014/main" id="{5CAA9B7F-F91A-CED1-21DF-C817B18FE9B0}"/>
                  </a:ext>
                </a:extLst>
              </p:cNvPr>
              <p:cNvSpPr/>
              <p:nvPr/>
            </p:nvSpPr>
            <p:spPr>
              <a:xfrm>
                <a:off x="1448537" y="3723535"/>
                <a:ext cx="395" cy="341"/>
              </a:xfrm>
              <a:custGeom>
                <a:avLst/>
                <a:gdLst>
                  <a:gd name="connsiteX0" fmla="*/ 3787 w 3786"/>
                  <a:gd name="connsiteY0" fmla="*/ 2141 h 3265"/>
                  <a:gd name="connsiteX1" fmla="*/ 2882 w 3786"/>
                  <a:gd name="connsiteY1" fmla="*/ 3266 h 3265"/>
                  <a:gd name="connsiteX2" fmla="*/ 0 w 3786"/>
                  <a:gd name="connsiteY2" fmla="*/ 2442 h 3265"/>
                  <a:gd name="connsiteX3" fmla="*/ 247 w 3786"/>
                  <a:gd name="connsiteY3" fmla="*/ 467 h 3265"/>
                  <a:gd name="connsiteX4" fmla="*/ 2827 w 3786"/>
                  <a:gd name="connsiteY4" fmla="*/ 0 h 3265"/>
                  <a:gd name="connsiteX5" fmla="*/ 3787 w 3786"/>
                  <a:gd name="connsiteY5" fmla="*/ 2141 h 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6" h="3265">
                    <a:moveTo>
                      <a:pt x="3787" y="2141"/>
                    </a:moveTo>
                    <a:lnTo>
                      <a:pt x="2882" y="3266"/>
                    </a:lnTo>
                    <a:lnTo>
                      <a:pt x="0" y="2442"/>
                    </a:lnTo>
                    <a:lnTo>
                      <a:pt x="247" y="467"/>
                    </a:lnTo>
                    <a:lnTo>
                      <a:pt x="2827" y="0"/>
                    </a:lnTo>
                    <a:lnTo>
                      <a:pt x="3787"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4" name="Freeform: Shape 3563">
                <a:extLst>
                  <a:ext uri="{FF2B5EF4-FFF2-40B4-BE49-F238E27FC236}">
                    <a16:creationId xmlns:a16="http://schemas.microsoft.com/office/drawing/2014/main" id="{FB15BE24-A710-B0C5-1296-7A3A7AB00A07}"/>
                  </a:ext>
                </a:extLst>
              </p:cNvPr>
              <p:cNvSpPr/>
              <p:nvPr/>
            </p:nvSpPr>
            <p:spPr>
              <a:xfrm>
                <a:off x="1441681" y="3720157"/>
                <a:ext cx="240" cy="549"/>
              </a:xfrm>
              <a:custGeom>
                <a:avLst/>
                <a:gdLst>
                  <a:gd name="connsiteX0" fmla="*/ 2277 w 2304"/>
                  <a:gd name="connsiteY0" fmla="*/ 4638 h 5268"/>
                  <a:gd name="connsiteX1" fmla="*/ 356 w 2304"/>
                  <a:gd name="connsiteY1" fmla="*/ 5269 h 5268"/>
                  <a:gd name="connsiteX2" fmla="*/ 0 w 2304"/>
                  <a:gd name="connsiteY2" fmla="*/ 3019 h 5268"/>
                  <a:gd name="connsiteX3" fmla="*/ 494 w 2304"/>
                  <a:gd name="connsiteY3" fmla="*/ 0 h 5268"/>
                  <a:gd name="connsiteX4" fmla="*/ 2222 w 2304"/>
                  <a:gd name="connsiteY4" fmla="*/ 933 h 5268"/>
                  <a:gd name="connsiteX5" fmla="*/ 2305 w 2304"/>
                  <a:gd name="connsiteY5" fmla="*/ 4610 h 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 h="5268">
                    <a:moveTo>
                      <a:pt x="2277" y="4638"/>
                    </a:moveTo>
                    <a:lnTo>
                      <a:pt x="356" y="5269"/>
                    </a:lnTo>
                    <a:lnTo>
                      <a:pt x="0" y="3019"/>
                    </a:lnTo>
                    <a:lnTo>
                      <a:pt x="494" y="0"/>
                    </a:lnTo>
                    <a:lnTo>
                      <a:pt x="2222" y="933"/>
                    </a:lnTo>
                    <a:lnTo>
                      <a:pt x="2305" y="46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5" name="Freeform: Shape 3564">
                <a:extLst>
                  <a:ext uri="{FF2B5EF4-FFF2-40B4-BE49-F238E27FC236}">
                    <a16:creationId xmlns:a16="http://schemas.microsoft.com/office/drawing/2014/main" id="{BDD4E944-59D1-3C1B-CEE2-5A39E067911D}"/>
                  </a:ext>
                </a:extLst>
              </p:cNvPr>
              <p:cNvSpPr/>
              <p:nvPr/>
            </p:nvSpPr>
            <p:spPr>
              <a:xfrm>
                <a:off x="1116000" y="3844591"/>
                <a:ext cx="38659" cy="57149"/>
              </a:xfrm>
              <a:custGeom>
                <a:avLst/>
                <a:gdLst>
                  <a:gd name="connsiteX0" fmla="*/ 333679 w 370645"/>
                  <a:gd name="connsiteY0" fmla="*/ 123247 h 547926"/>
                  <a:gd name="connsiteX1" fmla="*/ 331566 w 370645"/>
                  <a:gd name="connsiteY1" fmla="*/ 125552 h 547926"/>
                  <a:gd name="connsiteX2" fmla="*/ 325446 w 370645"/>
                  <a:gd name="connsiteY2" fmla="*/ 124783 h 547926"/>
                  <a:gd name="connsiteX3" fmla="*/ 321248 w 370645"/>
                  <a:gd name="connsiteY3" fmla="*/ 120859 h 547926"/>
                  <a:gd name="connsiteX4" fmla="*/ 311121 w 370645"/>
                  <a:gd name="connsiteY4" fmla="*/ 121463 h 547926"/>
                  <a:gd name="connsiteX5" fmla="*/ 303108 w 370645"/>
                  <a:gd name="connsiteY5" fmla="*/ 127637 h 547926"/>
                  <a:gd name="connsiteX6" fmla="*/ 278766 w 370645"/>
                  <a:gd name="connsiteY6" fmla="*/ 131232 h 547926"/>
                  <a:gd name="connsiteX7" fmla="*/ 258705 w 370645"/>
                  <a:gd name="connsiteY7" fmla="*/ 144981 h 547926"/>
                  <a:gd name="connsiteX8" fmla="*/ 249155 w 370645"/>
                  <a:gd name="connsiteY8" fmla="*/ 149290 h 547926"/>
                  <a:gd name="connsiteX9" fmla="*/ 244764 w 370645"/>
                  <a:gd name="connsiteY9" fmla="*/ 166057 h 547926"/>
                  <a:gd name="connsiteX10" fmla="*/ 239193 w 370645"/>
                  <a:gd name="connsiteY10" fmla="*/ 177035 h 547926"/>
                  <a:gd name="connsiteX11" fmla="*/ 239330 w 370645"/>
                  <a:gd name="connsiteY11" fmla="*/ 188478 h 547926"/>
                  <a:gd name="connsiteX12" fmla="*/ 228024 w 370645"/>
                  <a:gd name="connsiteY12" fmla="*/ 196547 h 547926"/>
                  <a:gd name="connsiteX13" fmla="*/ 222892 w 370645"/>
                  <a:gd name="connsiteY13" fmla="*/ 202337 h 547926"/>
                  <a:gd name="connsiteX14" fmla="*/ 221410 w 370645"/>
                  <a:gd name="connsiteY14" fmla="*/ 208018 h 547926"/>
                  <a:gd name="connsiteX15" fmla="*/ 222727 w 370645"/>
                  <a:gd name="connsiteY15" fmla="*/ 213753 h 547926"/>
                  <a:gd name="connsiteX16" fmla="*/ 217129 w 370645"/>
                  <a:gd name="connsiteY16" fmla="*/ 216168 h 547926"/>
                  <a:gd name="connsiteX17" fmla="*/ 216141 w 370645"/>
                  <a:gd name="connsiteY17" fmla="*/ 220669 h 547926"/>
                  <a:gd name="connsiteX18" fmla="*/ 222809 w 370645"/>
                  <a:gd name="connsiteY18" fmla="*/ 228325 h 547926"/>
                  <a:gd name="connsiteX19" fmla="*/ 222425 w 370645"/>
                  <a:gd name="connsiteY19" fmla="*/ 232607 h 547926"/>
                  <a:gd name="connsiteX20" fmla="*/ 225883 w 370645"/>
                  <a:gd name="connsiteY20" fmla="*/ 236833 h 547926"/>
                  <a:gd name="connsiteX21" fmla="*/ 229066 w 370645"/>
                  <a:gd name="connsiteY21" fmla="*/ 245038 h 547926"/>
                  <a:gd name="connsiteX22" fmla="*/ 244874 w 370645"/>
                  <a:gd name="connsiteY22" fmla="*/ 264084 h 547926"/>
                  <a:gd name="connsiteX23" fmla="*/ 244791 w 370645"/>
                  <a:gd name="connsiteY23" fmla="*/ 268090 h 547926"/>
                  <a:gd name="connsiteX24" fmla="*/ 239852 w 370645"/>
                  <a:gd name="connsiteY24" fmla="*/ 276351 h 547926"/>
                  <a:gd name="connsiteX25" fmla="*/ 252119 w 370645"/>
                  <a:gd name="connsiteY25" fmla="*/ 277119 h 547926"/>
                  <a:gd name="connsiteX26" fmla="*/ 262986 w 370645"/>
                  <a:gd name="connsiteY26" fmla="*/ 279891 h 547926"/>
                  <a:gd name="connsiteX27" fmla="*/ 269353 w 370645"/>
                  <a:gd name="connsiteY27" fmla="*/ 293201 h 547926"/>
                  <a:gd name="connsiteX28" fmla="*/ 271905 w 370645"/>
                  <a:gd name="connsiteY28" fmla="*/ 294244 h 547926"/>
                  <a:gd name="connsiteX29" fmla="*/ 294710 w 370645"/>
                  <a:gd name="connsiteY29" fmla="*/ 293612 h 547926"/>
                  <a:gd name="connsiteX30" fmla="*/ 315046 w 370645"/>
                  <a:gd name="connsiteY30" fmla="*/ 279424 h 547926"/>
                  <a:gd name="connsiteX31" fmla="*/ 316143 w 370645"/>
                  <a:gd name="connsiteY31" fmla="*/ 286230 h 547926"/>
                  <a:gd name="connsiteX32" fmla="*/ 314085 w 370645"/>
                  <a:gd name="connsiteY32" fmla="*/ 292844 h 547926"/>
                  <a:gd name="connsiteX33" fmla="*/ 314661 w 370645"/>
                  <a:gd name="connsiteY33" fmla="*/ 322922 h 547926"/>
                  <a:gd name="connsiteX34" fmla="*/ 323470 w 370645"/>
                  <a:gd name="connsiteY34" fmla="*/ 325638 h 547926"/>
                  <a:gd name="connsiteX35" fmla="*/ 334173 w 370645"/>
                  <a:gd name="connsiteY35" fmla="*/ 322428 h 547926"/>
                  <a:gd name="connsiteX36" fmla="*/ 345068 w 370645"/>
                  <a:gd name="connsiteY36" fmla="*/ 322922 h 547926"/>
                  <a:gd name="connsiteX37" fmla="*/ 368340 w 370645"/>
                  <a:gd name="connsiteY37" fmla="*/ 363263 h 547926"/>
                  <a:gd name="connsiteX38" fmla="*/ 370645 w 370645"/>
                  <a:gd name="connsiteY38" fmla="*/ 369575 h 547926"/>
                  <a:gd name="connsiteX39" fmla="*/ 368587 w 370645"/>
                  <a:gd name="connsiteY39" fmla="*/ 375420 h 547926"/>
                  <a:gd name="connsiteX40" fmla="*/ 363016 w 370645"/>
                  <a:gd name="connsiteY40" fmla="*/ 380552 h 547926"/>
                  <a:gd name="connsiteX41" fmla="*/ 363345 w 370645"/>
                  <a:gd name="connsiteY41" fmla="*/ 398856 h 547926"/>
                  <a:gd name="connsiteX42" fmla="*/ 360107 w 370645"/>
                  <a:gd name="connsiteY42" fmla="*/ 404702 h 547926"/>
                  <a:gd name="connsiteX43" fmla="*/ 366089 w 370645"/>
                  <a:gd name="connsiteY43" fmla="*/ 420289 h 547926"/>
                  <a:gd name="connsiteX44" fmla="*/ 362824 w 370645"/>
                  <a:gd name="connsiteY44" fmla="*/ 422100 h 547926"/>
                  <a:gd name="connsiteX45" fmla="*/ 361808 w 370645"/>
                  <a:gd name="connsiteY45" fmla="*/ 426464 h 547926"/>
                  <a:gd name="connsiteX46" fmla="*/ 351517 w 370645"/>
                  <a:gd name="connsiteY46" fmla="*/ 439307 h 547926"/>
                  <a:gd name="connsiteX47" fmla="*/ 351517 w 370645"/>
                  <a:gd name="connsiteY47" fmla="*/ 444576 h 547926"/>
                  <a:gd name="connsiteX48" fmla="*/ 357417 w 370645"/>
                  <a:gd name="connsiteY48" fmla="*/ 452288 h 547926"/>
                  <a:gd name="connsiteX49" fmla="*/ 354097 w 370645"/>
                  <a:gd name="connsiteY49" fmla="*/ 455389 h 547926"/>
                  <a:gd name="connsiteX50" fmla="*/ 349980 w 370645"/>
                  <a:gd name="connsiteY50" fmla="*/ 464061 h 547926"/>
                  <a:gd name="connsiteX51" fmla="*/ 355195 w 370645"/>
                  <a:gd name="connsiteY51" fmla="*/ 479703 h 547926"/>
                  <a:gd name="connsiteX52" fmla="*/ 358707 w 370645"/>
                  <a:gd name="connsiteY52" fmla="*/ 481789 h 547926"/>
                  <a:gd name="connsiteX53" fmla="*/ 363290 w 370645"/>
                  <a:gd name="connsiteY53" fmla="*/ 481844 h 547926"/>
                  <a:gd name="connsiteX54" fmla="*/ 366611 w 370645"/>
                  <a:gd name="connsiteY54" fmla="*/ 485411 h 547926"/>
                  <a:gd name="connsiteX55" fmla="*/ 362083 w 370645"/>
                  <a:gd name="connsiteY55" fmla="*/ 489583 h 547926"/>
                  <a:gd name="connsiteX56" fmla="*/ 360903 w 370645"/>
                  <a:gd name="connsiteY56" fmla="*/ 496169 h 547926"/>
                  <a:gd name="connsiteX57" fmla="*/ 357143 w 370645"/>
                  <a:gd name="connsiteY57" fmla="*/ 498309 h 547926"/>
                  <a:gd name="connsiteX58" fmla="*/ 350035 w 370645"/>
                  <a:gd name="connsiteY58" fmla="*/ 508628 h 547926"/>
                  <a:gd name="connsiteX59" fmla="*/ 344492 w 370645"/>
                  <a:gd name="connsiteY59" fmla="*/ 513019 h 547926"/>
                  <a:gd name="connsiteX60" fmla="*/ 347785 w 370645"/>
                  <a:gd name="connsiteY60" fmla="*/ 517959 h 547926"/>
                  <a:gd name="connsiteX61" fmla="*/ 347867 w 370645"/>
                  <a:gd name="connsiteY61" fmla="*/ 521499 h 547926"/>
                  <a:gd name="connsiteX62" fmla="*/ 343065 w 370645"/>
                  <a:gd name="connsiteY62" fmla="*/ 525752 h 547926"/>
                  <a:gd name="connsiteX63" fmla="*/ 338345 w 370645"/>
                  <a:gd name="connsiteY63" fmla="*/ 527043 h 547926"/>
                  <a:gd name="connsiteX64" fmla="*/ 339333 w 370645"/>
                  <a:gd name="connsiteY64" fmla="*/ 536099 h 547926"/>
                  <a:gd name="connsiteX65" fmla="*/ 335271 w 370645"/>
                  <a:gd name="connsiteY65" fmla="*/ 543206 h 547926"/>
                  <a:gd name="connsiteX66" fmla="*/ 321275 w 370645"/>
                  <a:gd name="connsiteY66" fmla="*/ 547927 h 547926"/>
                  <a:gd name="connsiteX67" fmla="*/ 303574 w 370645"/>
                  <a:gd name="connsiteY67" fmla="*/ 533985 h 547926"/>
                  <a:gd name="connsiteX68" fmla="*/ 292460 w 370645"/>
                  <a:gd name="connsiteY68" fmla="*/ 527591 h 547926"/>
                  <a:gd name="connsiteX69" fmla="*/ 291390 w 370645"/>
                  <a:gd name="connsiteY69" fmla="*/ 518974 h 547926"/>
                  <a:gd name="connsiteX70" fmla="*/ 288673 w 370645"/>
                  <a:gd name="connsiteY70" fmla="*/ 515324 h 547926"/>
                  <a:gd name="connsiteX71" fmla="*/ 279260 w 370645"/>
                  <a:gd name="connsiteY71" fmla="*/ 511565 h 547926"/>
                  <a:gd name="connsiteX72" fmla="*/ 260708 w 370645"/>
                  <a:gd name="connsiteY72" fmla="*/ 497404 h 547926"/>
                  <a:gd name="connsiteX73" fmla="*/ 251899 w 370645"/>
                  <a:gd name="connsiteY73" fmla="*/ 495099 h 547926"/>
                  <a:gd name="connsiteX74" fmla="*/ 233320 w 370645"/>
                  <a:gd name="connsiteY74" fmla="*/ 485302 h 547926"/>
                  <a:gd name="connsiteX75" fmla="*/ 222014 w 370645"/>
                  <a:gd name="connsiteY75" fmla="*/ 481432 h 547926"/>
                  <a:gd name="connsiteX76" fmla="*/ 211887 w 370645"/>
                  <a:gd name="connsiteY76" fmla="*/ 473611 h 547926"/>
                  <a:gd name="connsiteX77" fmla="*/ 182798 w 370645"/>
                  <a:gd name="connsiteY77" fmla="*/ 458105 h 547926"/>
                  <a:gd name="connsiteX78" fmla="*/ 169460 w 370645"/>
                  <a:gd name="connsiteY78" fmla="*/ 441859 h 547926"/>
                  <a:gd name="connsiteX79" fmla="*/ 159087 w 370645"/>
                  <a:gd name="connsiteY79" fmla="*/ 435136 h 547926"/>
                  <a:gd name="connsiteX80" fmla="*/ 156425 w 370645"/>
                  <a:gd name="connsiteY80" fmla="*/ 428988 h 547926"/>
                  <a:gd name="connsiteX81" fmla="*/ 148220 w 370645"/>
                  <a:gd name="connsiteY81" fmla="*/ 418780 h 547926"/>
                  <a:gd name="connsiteX82" fmla="*/ 147259 w 370645"/>
                  <a:gd name="connsiteY82" fmla="*/ 413072 h 547926"/>
                  <a:gd name="connsiteX83" fmla="*/ 144707 w 370645"/>
                  <a:gd name="connsiteY83" fmla="*/ 410547 h 547926"/>
                  <a:gd name="connsiteX84" fmla="*/ 148576 w 370645"/>
                  <a:gd name="connsiteY84" fmla="*/ 408461 h 547926"/>
                  <a:gd name="connsiteX85" fmla="*/ 149537 w 370645"/>
                  <a:gd name="connsiteY85" fmla="*/ 396249 h 547926"/>
                  <a:gd name="connsiteX86" fmla="*/ 132852 w 370645"/>
                  <a:gd name="connsiteY86" fmla="*/ 369684 h 547926"/>
                  <a:gd name="connsiteX87" fmla="*/ 132138 w 370645"/>
                  <a:gd name="connsiteY87" fmla="*/ 365211 h 547926"/>
                  <a:gd name="connsiteX88" fmla="*/ 123192 w 370645"/>
                  <a:gd name="connsiteY88" fmla="*/ 356183 h 547926"/>
                  <a:gd name="connsiteX89" fmla="*/ 120859 w 370645"/>
                  <a:gd name="connsiteY89" fmla="*/ 345782 h 547926"/>
                  <a:gd name="connsiteX90" fmla="*/ 118005 w 370645"/>
                  <a:gd name="connsiteY90" fmla="*/ 340869 h 547926"/>
                  <a:gd name="connsiteX91" fmla="*/ 108372 w 370645"/>
                  <a:gd name="connsiteY91" fmla="*/ 332938 h 547926"/>
                  <a:gd name="connsiteX92" fmla="*/ 106396 w 370645"/>
                  <a:gd name="connsiteY92" fmla="*/ 321659 h 547926"/>
                  <a:gd name="connsiteX93" fmla="*/ 93526 w 370645"/>
                  <a:gd name="connsiteY93" fmla="*/ 299869 h 547926"/>
                  <a:gd name="connsiteX94" fmla="*/ 89574 w 370645"/>
                  <a:gd name="connsiteY94" fmla="*/ 287300 h 547926"/>
                  <a:gd name="connsiteX95" fmla="*/ 67784 w 370645"/>
                  <a:gd name="connsiteY95" fmla="*/ 241224 h 547926"/>
                  <a:gd name="connsiteX96" fmla="*/ 54996 w 370645"/>
                  <a:gd name="connsiteY96" fmla="*/ 227063 h 547926"/>
                  <a:gd name="connsiteX97" fmla="*/ 46872 w 370645"/>
                  <a:gd name="connsiteY97" fmla="*/ 208594 h 547926"/>
                  <a:gd name="connsiteX98" fmla="*/ 37844 w 370645"/>
                  <a:gd name="connsiteY98" fmla="*/ 197260 h 547926"/>
                  <a:gd name="connsiteX99" fmla="*/ 15615 w 370645"/>
                  <a:gd name="connsiteY99" fmla="*/ 184362 h 547926"/>
                  <a:gd name="connsiteX100" fmla="*/ 5653 w 370645"/>
                  <a:gd name="connsiteY100" fmla="*/ 176239 h 547926"/>
                  <a:gd name="connsiteX101" fmla="*/ 5544 w 370645"/>
                  <a:gd name="connsiteY101" fmla="*/ 171656 h 547926"/>
                  <a:gd name="connsiteX102" fmla="*/ 10895 w 370645"/>
                  <a:gd name="connsiteY102" fmla="*/ 169460 h 547926"/>
                  <a:gd name="connsiteX103" fmla="*/ 12569 w 370645"/>
                  <a:gd name="connsiteY103" fmla="*/ 164411 h 547926"/>
                  <a:gd name="connsiteX104" fmla="*/ 10730 w 370645"/>
                  <a:gd name="connsiteY104" fmla="*/ 159965 h 547926"/>
                  <a:gd name="connsiteX105" fmla="*/ 4391 w 370645"/>
                  <a:gd name="connsiteY105" fmla="*/ 153022 h 547926"/>
                  <a:gd name="connsiteX106" fmla="*/ 5955 w 370645"/>
                  <a:gd name="connsiteY106" fmla="*/ 145667 h 547926"/>
                  <a:gd name="connsiteX107" fmla="*/ 0 w 370645"/>
                  <a:gd name="connsiteY107" fmla="*/ 136337 h 547926"/>
                  <a:gd name="connsiteX108" fmla="*/ 2360 w 370645"/>
                  <a:gd name="connsiteY108" fmla="*/ 124426 h 547926"/>
                  <a:gd name="connsiteX109" fmla="*/ 17097 w 370645"/>
                  <a:gd name="connsiteY109" fmla="*/ 107549 h 547926"/>
                  <a:gd name="connsiteX110" fmla="*/ 26812 w 370645"/>
                  <a:gd name="connsiteY110" fmla="*/ 100606 h 547926"/>
                  <a:gd name="connsiteX111" fmla="*/ 31614 w 370645"/>
                  <a:gd name="connsiteY111" fmla="*/ 99893 h 547926"/>
                  <a:gd name="connsiteX112" fmla="*/ 32794 w 370645"/>
                  <a:gd name="connsiteY112" fmla="*/ 112104 h 547926"/>
                  <a:gd name="connsiteX113" fmla="*/ 25440 w 370645"/>
                  <a:gd name="connsiteY113" fmla="*/ 118718 h 547926"/>
                  <a:gd name="connsiteX114" fmla="*/ 26867 w 370645"/>
                  <a:gd name="connsiteY114" fmla="*/ 128982 h 547926"/>
                  <a:gd name="connsiteX115" fmla="*/ 35045 w 370645"/>
                  <a:gd name="connsiteY115" fmla="*/ 126265 h 547926"/>
                  <a:gd name="connsiteX116" fmla="*/ 43360 w 370645"/>
                  <a:gd name="connsiteY116" fmla="*/ 129833 h 547926"/>
                  <a:gd name="connsiteX117" fmla="*/ 49507 w 370645"/>
                  <a:gd name="connsiteY117" fmla="*/ 130546 h 547926"/>
                  <a:gd name="connsiteX118" fmla="*/ 52993 w 370645"/>
                  <a:gd name="connsiteY118" fmla="*/ 133345 h 547926"/>
                  <a:gd name="connsiteX119" fmla="*/ 59167 w 370645"/>
                  <a:gd name="connsiteY119" fmla="*/ 143143 h 547926"/>
                  <a:gd name="connsiteX120" fmla="*/ 65946 w 370645"/>
                  <a:gd name="connsiteY120" fmla="*/ 144624 h 547926"/>
                  <a:gd name="connsiteX121" fmla="*/ 78185 w 370645"/>
                  <a:gd name="connsiteY121" fmla="*/ 130766 h 547926"/>
                  <a:gd name="connsiteX122" fmla="*/ 87516 w 370645"/>
                  <a:gd name="connsiteY122" fmla="*/ 102033 h 547926"/>
                  <a:gd name="connsiteX123" fmla="*/ 92346 w 370645"/>
                  <a:gd name="connsiteY123" fmla="*/ 100990 h 547926"/>
                  <a:gd name="connsiteX124" fmla="*/ 92812 w 370645"/>
                  <a:gd name="connsiteY124" fmla="*/ 96791 h 547926"/>
                  <a:gd name="connsiteX125" fmla="*/ 99563 w 370645"/>
                  <a:gd name="connsiteY125" fmla="*/ 89683 h 547926"/>
                  <a:gd name="connsiteX126" fmla="*/ 137572 w 370645"/>
                  <a:gd name="connsiteY126" fmla="*/ 74261 h 547926"/>
                  <a:gd name="connsiteX127" fmla="*/ 150635 w 370645"/>
                  <a:gd name="connsiteY127" fmla="*/ 64107 h 547926"/>
                  <a:gd name="connsiteX128" fmla="*/ 168061 w 370645"/>
                  <a:gd name="connsiteY128" fmla="*/ 44732 h 547926"/>
                  <a:gd name="connsiteX129" fmla="*/ 169982 w 370645"/>
                  <a:gd name="connsiteY129" fmla="*/ 40753 h 547926"/>
                  <a:gd name="connsiteX130" fmla="*/ 174263 w 370645"/>
                  <a:gd name="connsiteY130" fmla="*/ 28678 h 547926"/>
                  <a:gd name="connsiteX131" fmla="*/ 178187 w 370645"/>
                  <a:gd name="connsiteY131" fmla="*/ 25604 h 547926"/>
                  <a:gd name="connsiteX132" fmla="*/ 177528 w 370645"/>
                  <a:gd name="connsiteY132" fmla="*/ 15395 h 547926"/>
                  <a:gd name="connsiteX133" fmla="*/ 176184 w 370645"/>
                  <a:gd name="connsiteY133" fmla="*/ 14023 h 547926"/>
                  <a:gd name="connsiteX134" fmla="*/ 169955 w 370645"/>
                  <a:gd name="connsiteY134" fmla="*/ 7766 h 547926"/>
                  <a:gd name="connsiteX135" fmla="*/ 167100 w 370645"/>
                  <a:gd name="connsiteY135" fmla="*/ 4912 h 547926"/>
                  <a:gd name="connsiteX136" fmla="*/ 168143 w 370645"/>
                  <a:gd name="connsiteY136" fmla="*/ 2333 h 547926"/>
                  <a:gd name="connsiteX137" fmla="*/ 176760 w 370645"/>
                  <a:gd name="connsiteY137" fmla="*/ 1482 h 547926"/>
                  <a:gd name="connsiteX138" fmla="*/ 180767 w 370645"/>
                  <a:gd name="connsiteY138" fmla="*/ 0 h 547926"/>
                  <a:gd name="connsiteX139" fmla="*/ 190290 w 370645"/>
                  <a:gd name="connsiteY139" fmla="*/ 4007 h 547926"/>
                  <a:gd name="connsiteX140" fmla="*/ 192759 w 370645"/>
                  <a:gd name="connsiteY140" fmla="*/ 7766 h 547926"/>
                  <a:gd name="connsiteX141" fmla="*/ 202145 w 370645"/>
                  <a:gd name="connsiteY141" fmla="*/ 15094 h 547926"/>
                  <a:gd name="connsiteX142" fmla="*/ 207743 w 370645"/>
                  <a:gd name="connsiteY142" fmla="*/ 27827 h 547926"/>
                  <a:gd name="connsiteX143" fmla="*/ 225499 w 370645"/>
                  <a:gd name="connsiteY143" fmla="*/ 37762 h 547926"/>
                  <a:gd name="connsiteX144" fmla="*/ 227310 w 370645"/>
                  <a:gd name="connsiteY144" fmla="*/ 40780 h 547926"/>
                  <a:gd name="connsiteX145" fmla="*/ 230878 w 370645"/>
                  <a:gd name="connsiteY145" fmla="*/ 49727 h 547926"/>
                  <a:gd name="connsiteX146" fmla="*/ 239467 w 370645"/>
                  <a:gd name="connsiteY146" fmla="*/ 54584 h 547926"/>
                  <a:gd name="connsiteX147" fmla="*/ 240949 w 370645"/>
                  <a:gd name="connsiteY147" fmla="*/ 66055 h 547926"/>
                  <a:gd name="connsiteX148" fmla="*/ 246136 w 370645"/>
                  <a:gd name="connsiteY148" fmla="*/ 70364 h 547926"/>
                  <a:gd name="connsiteX149" fmla="*/ 267130 w 370645"/>
                  <a:gd name="connsiteY149" fmla="*/ 70583 h 547926"/>
                  <a:gd name="connsiteX150" fmla="*/ 282251 w 370645"/>
                  <a:gd name="connsiteY150" fmla="*/ 62954 h 547926"/>
                  <a:gd name="connsiteX151" fmla="*/ 293173 w 370645"/>
                  <a:gd name="connsiteY151" fmla="*/ 68086 h 547926"/>
                  <a:gd name="connsiteX152" fmla="*/ 307499 w 370645"/>
                  <a:gd name="connsiteY152" fmla="*/ 65534 h 547926"/>
                  <a:gd name="connsiteX153" fmla="*/ 327944 w 370645"/>
                  <a:gd name="connsiteY153" fmla="*/ 77032 h 547926"/>
                  <a:gd name="connsiteX154" fmla="*/ 329288 w 370645"/>
                  <a:gd name="connsiteY154" fmla="*/ 82823 h 547926"/>
                  <a:gd name="connsiteX155" fmla="*/ 313371 w 370645"/>
                  <a:gd name="connsiteY155" fmla="*/ 109525 h 547926"/>
                  <a:gd name="connsiteX156" fmla="*/ 317131 w 370645"/>
                  <a:gd name="connsiteY156" fmla="*/ 112242 h 547926"/>
                  <a:gd name="connsiteX157" fmla="*/ 324952 w 370645"/>
                  <a:gd name="connsiteY157" fmla="*/ 112818 h 547926"/>
                  <a:gd name="connsiteX158" fmla="*/ 333679 w 370645"/>
                  <a:gd name="connsiteY158" fmla="*/ 123301 h 54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370645" h="547926">
                    <a:moveTo>
                      <a:pt x="333679" y="123247"/>
                    </a:moveTo>
                    <a:lnTo>
                      <a:pt x="331566" y="125552"/>
                    </a:lnTo>
                    <a:lnTo>
                      <a:pt x="325446" y="124783"/>
                    </a:lnTo>
                    <a:lnTo>
                      <a:pt x="321248" y="120859"/>
                    </a:lnTo>
                    <a:lnTo>
                      <a:pt x="311121" y="121463"/>
                    </a:lnTo>
                    <a:lnTo>
                      <a:pt x="303108" y="127637"/>
                    </a:lnTo>
                    <a:lnTo>
                      <a:pt x="278766" y="131232"/>
                    </a:lnTo>
                    <a:lnTo>
                      <a:pt x="258705" y="144981"/>
                    </a:lnTo>
                    <a:lnTo>
                      <a:pt x="249155" y="149290"/>
                    </a:lnTo>
                    <a:lnTo>
                      <a:pt x="244764" y="166057"/>
                    </a:lnTo>
                    <a:lnTo>
                      <a:pt x="239193" y="177035"/>
                    </a:lnTo>
                    <a:lnTo>
                      <a:pt x="239330" y="188478"/>
                    </a:lnTo>
                    <a:lnTo>
                      <a:pt x="228024" y="196547"/>
                    </a:lnTo>
                    <a:lnTo>
                      <a:pt x="222892" y="202337"/>
                    </a:lnTo>
                    <a:lnTo>
                      <a:pt x="221410" y="208018"/>
                    </a:lnTo>
                    <a:lnTo>
                      <a:pt x="222727" y="213753"/>
                    </a:lnTo>
                    <a:lnTo>
                      <a:pt x="217129" y="216168"/>
                    </a:lnTo>
                    <a:lnTo>
                      <a:pt x="216141" y="220669"/>
                    </a:lnTo>
                    <a:lnTo>
                      <a:pt x="222809" y="228325"/>
                    </a:lnTo>
                    <a:lnTo>
                      <a:pt x="222425" y="232607"/>
                    </a:lnTo>
                    <a:lnTo>
                      <a:pt x="225883" y="236833"/>
                    </a:lnTo>
                    <a:lnTo>
                      <a:pt x="229066" y="245038"/>
                    </a:lnTo>
                    <a:lnTo>
                      <a:pt x="244874" y="264084"/>
                    </a:lnTo>
                    <a:lnTo>
                      <a:pt x="244791" y="268090"/>
                    </a:lnTo>
                    <a:lnTo>
                      <a:pt x="239852" y="276351"/>
                    </a:lnTo>
                    <a:lnTo>
                      <a:pt x="252119" y="277119"/>
                    </a:lnTo>
                    <a:lnTo>
                      <a:pt x="262986" y="279891"/>
                    </a:lnTo>
                    <a:lnTo>
                      <a:pt x="269353" y="293201"/>
                    </a:lnTo>
                    <a:lnTo>
                      <a:pt x="271905" y="294244"/>
                    </a:lnTo>
                    <a:lnTo>
                      <a:pt x="294710" y="293612"/>
                    </a:lnTo>
                    <a:lnTo>
                      <a:pt x="315046" y="279424"/>
                    </a:lnTo>
                    <a:lnTo>
                      <a:pt x="316143" y="286230"/>
                    </a:lnTo>
                    <a:lnTo>
                      <a:pt x="314085" y="292844"/>
                    </a:lnTo>
                    <a:lnTo>
                      <a:pt x="314661" y="322922"/>
                    </a:lnTo>
                    <a:lnTo>
                      <a:pt x="323470" y="325638"/>
                    </a:lnTo>
                    <a:lnTo>
                      <a:pt x="334173" y="322428"/>
                    </a:lnTo>
                    <a:lnTo>
                      <a:pt x="345068" y="322922"/>
                    </a:lnTo>
                    <a:lnTo>
                      <a:pt x="368340" y="363263"/>
                    </a:lnTo>
                    <a:lnTo>
                      <a:pt x="370645" y="369575"/>
                    </a:lnTo>
                    <a:lnTo>
                      <a:pt x="368587" y="375420"/>
                    </a:lnTo>
                    <a:lnTo>
                      <a:pt x="363016" y="380552"/>
                    </a:lnTo>
                    <a:lnTo>
                      <a:pt x="363345" y="398856"/>
                    </a:lnTo>
                    <a:lnTo>
                      <a:pt x="360107" y="404702"/>
                    </a:lnTo>
                    <a:lnTo>
                      <a:pt x="366089" y="420289"/>
                    </a:lnTo>
                    <a:lnTo>
                      <a:pt x="362824" y="422100"/>
                    </a:lnTo>
                    <a:lnTo>
                      <a:pt x="361808" y="426464"/>
                    </a:lnTo>
                    <a:lnTo>
                      <a:pt x="351517" y="439307"/>
                    </a:lnTo>
                    <a:lnTo>
                      <a:pt x="351517" y="444576"/>
                    </a:lnTo>
                    <a:cubicBezTo>
                      <a:pt x="351517" y="444576"/>
                      <a:pt x="357417" y="452288"/>
                      <a:pt x="357417" y="452288"/>
                    </a:cubicBezTo>
                    <a:lnTo>
                      <a:pt x="354097" y="455389"/>
                    </a:lnTo>
                    <a:lnTo>
                      <a:pt x="349980" y="464061"/>
                    </a:lnTo>
                    <a:lnTo>
                      <a:pt x="355195" y="479703"/>
                    </a:lnTo>
                    <a:lnTo>
                      <a:pt x="358707" y="481789"/>
                    </a:lnTo>
                    <a:lnTo>
                      <a:pt x="363290" y="481844"/>
                    </a:lnTo>
                    <a:lnTo>
                      <a:pt x="366611" y="485411"/>
                    </a:lnTo>
                    <a:lnTo>
                      <a:pt x="362083" y="489583"/>
                    </a:lnTo>
                    <a:lnTo>
                      <a:pt x="360903" y="496169"/>
                    </a:lnTo>
                    <a:lnTo>
                      <a:pt x="357143" y="498309"/>
                    </a:lnTo>
                    <a:lnTo>
                      <a:pt x="350035" y="508628"/>
                    </a:lnTo>
                    <a:lnTo>
                      <a:pt x="344492" y="513019"/>
                    </a:lnTo>
                    <a:lnTo>
                      <a:pt x="347785" y="517959"/>
                    </a:lnTo>
                    <a:lnTo>
                      <a:pt x="347867" y="521499"/>
                    </a:lnTo>
                    <a:lnTo>
                      <a:pt x="343065" y="525752"/>
                    </a:lnTo>
                    <a:lnTo>
                      <a:pt x="338345" y="527043"/>
                    </a:lnTo>
                    <a:lnTo>
                      <a:pt x="339333" y="536099"/>
                    </a:lnTo>
                    <a:lnTo>
                      <a:pt x="335271" y="543206"/>
                    </a:lnTo>
                    <a:lnTo>
                      <a:pt x="321275" y="547927"/>
                    </a:lnTo>
                    <a:lnTo>
                      <a:pt x="303574" y="533985"/>
                    </a:lnTo>
                    <a:lnTo>
                      <a:pt x="292460" y="527591"/>
                    </a:lnTo>
                    <a:lnTo>
                      <a:pt x="291390" y="518974"/>
                    </a:lnTo>
                    <a:lnTo>
                      <a:pt x="288673" y="515324"/>
                    </a:lnTo>
                    <a:lnTo>
                      <a:pt x="279260" y="511565"/>
                    </a:lnTo>
                    <a:lnTo>
                      <a:pt x="260708" y="497404"/>
                    </a:lnTo>
                    <a:lnTo>
                      <a:pt x="251899" y="495099"/>
                    </a:lnTo>
                    <a:lnTo>
                      <a:pt x="233320" y="485302"/>
                    </a:lnTo>
                    <a:lnTo>
                      <a:pt x="222014" y="481432"/>
                    </a:lnTo>
                    <a:lnTo>
                      <a:pt x="211887" y="473611"/>
                    </a:lnTo>
                    <a:lnTo>
                      <a:pt x="182798" y="458105"/>
                    </a:lnTo>
                    <a:lnTo>
                      <a:pt x="169460" y="441859"/>
                    </a:lnTo>
                    <a:lnTo>
                      <a:pt x="159087" y="435136"/>
                    </a:lnTo>
                    <a:lnTo>
                      <a:pt x="156425" y="428988"/>
                    </a:lnTo>
                    <a:lnTo>
                      <a:pt x="148220" y="418780"/>
                    </a:lnTo>
                    <a:lnTo>
                      <a:pt x="147259" y="413072"/>
                    </a:lnTo>
                    <a:lnTo>
                      <a:pt x="144707" y="410547"/>
                    </a:lnTo>
                    <a:lnTo>
                      <a:pt x="148576" y="408461"/>
                    </a:lnTo>
                    <a:lnTo>
                      <a:pt x="149537" y="396249"/>
                    </a:lnTo>
                    <a:lnTo>
                      <a:pt x="132852" y="369684"/>
                    </a:lnTo>
                    <a:lnTo>
                      <a:pt x="132138" y="365211"/>
                    </a:lnTo>
                    <a:lnTo>
                      <a:pt x="123192" y="356183"/>
                    </a:lnTo>
                    <a:lnTo>
                      <a:pt x="120859" y="345782"/>
                    </a:lnTo>
                    <a:lnTo>
                      <a:pt x="118005" y="340869"/>
                    </a:lnTo>
                    <a:lnTo>
                      <a:pt x="108372" y="332938"/>
                    </a:lnTo>
                    <a:lnTo>
                      <a:pt x="106396" y="321659"/>
                    </a:lnTo>
                    <a:lnTo>
                      <a:pt x="93526" y="299869"/>
                    </a:lnTo>
                    <a:lnTo>
                      <a:pt x="89574" y="287300"/>
                    </a:lnTo>
                    <a:lnTo>
                      <a:pt x="67784" y="241224"/>
                    </a:lnTo>
                    <a:lnTo>
                      <a:pt x="54996" y="227063"/>
                    </a:lnTo>
                    <a:lnTo>
                      <a:pt x="46872" y="208594"/>
                    </a:lnTo>
                    <a:lnTo>
                      <a:pt x="37844" y="197260"/>
                    </a:lnTo>
                    <a:lnTo>
                      <a:pt x="15615" y="184362"/>
                    </a:lnTo>
                    <a:lnTo>
                      <a:pt x="5653" y="176239"/>
                    </a:lnTo>
                    <a:lnTo>
                      <a:pt x="5544" y="171656"/>
                    </a:lnTo>
                    <a:lnTo>
                      <a:pt x="10895" y="169460"/>
                    </a:lnTo>
                    <a:lnTo>
                      <a:pt x="12569" y="164411"/>
                    </a:lnTo>
                    <a:lnTo>
                      <a:pt x="10730" y="159965"/>
                    </a:lnTo>
                    <a:lnTo>
                      <a:pt x="4391" y="153022"/>
                    </a:lnTo>
                    <a:lnTo>
                      <a:pt x="5955" y="145667"/>
                    </a:lnTo>
                    <a:lnTo>
                      <a:pt x="0" y="136337"/>
                    </a:lnTo>
                    <a:lnTo>
                      <a:pt x="2360" y="124426"/>
                    </a:lnTo>
                    <a:lnTo>
                      <a:pt x="17097" y="107549"/>
                    </a:lnTo>
                    <a:lnTo>
                      <a:pt x="26812" y="100606"/>
                    </a:lnTo>
                    <a:lnTo>
                      <a:pt x="31614" y="99893"/>
                    </a:lnTo>
                    <a:lnTo>
                      <a:pt x="32794" y="112104"/>
                    </a:lnTo>
                    <a:lnTo>
                      <a:pt x="25440" y="118718"/>
                    </a:lnTo>
                    <a:lnTo>
                      <a:pt x="26867" y="128982"/>
                    </a:lnTo>
                    <a:lnTo>
                      <a:pt x="35045" y="126265"/>
                    </a:lnTo>
                    <a:lnTo>
                      <a:pt x="43360" y="129833"/>
                    </a:lnTo>
                    <a:lnTo>
                      <a:pt x="49507" y="130546"/>
                    </a:lnTo>
                    <a:lnTo>
                      <a:pt x="52993" y="133345"/>
                    </a:lnTo>
                    <a:lnTo>
                      <a:pt x="59167" y="143143"/>
                    </a:lnTo>
                    <a:lnTo>
                      <a:pt x="65946" y="144624"/>
                    </a:lnTo>
                    <a:lnTo>
                      <a:pt x="78185" y="130766"/>
                    </a:lnTo>
                    <a:lnTo>
                      <a:pt x="87516" y="102033"/>
                    </a:lnTo>
                    <a:lnTo>
                      <a:pt x="92346" y="100990"/>
                    </a:lnTo>
                    <a:lnTo>
                      <a:pt x="92812" y="96791"/>
                    </a:lnTo>
                    <a:lnTo>
                      <a:pt x="99563" y="89683"/>
                    </a:lnTo>
                    <a:lnTo>
                      <a:pt x="137572" y="74261"/>
                    </a:lnTo>
                    <a:lnTo>
                      <a:pt x="150635" y="64107"/>
                    </a:lnTo>
                    <a:lnTo>
                      <a:pt x="168061" y="44732"/>
                    </a:lnTo>
                    <a:lnTo>
                      <a:pt x="169982" y="40753"/>
                    </a:lnTo>
                    <a:lnTo>
                      <a:pt x="174263" y="28678"/>
                    </a:lnTo>
                    <a:lnTo>
                      <a:pt x="178187" y="25604"/>
                    </a:lnTo>
                    <a:lnTo>
                      <a:pt x="177528" y="15395"/>
                    </a:lnTo>
                    <a:lnTo>
                      <a:pt x="176184" y="14023"/>
                    </a:lnTo>
                    <a:lnTo>
                      <a:pt x="169955" y="7766"/>
                    </a:lnTo>
                    <a:lnTo>
                      <a:pt x="167100" y="4912"/>
                    </a:lnTo>
                    <a:lnTo>
                      <a:pt x="168143" y="2333"/>
                    </a:lnTo>
                    <a:lnTo>
                      <a:pt x="176760" y="1482"/>
                    </a:lnTo>
                    <a:lnTo>
                      <a:pt x="180767" y="0"/>
                    </a:lnTo>
                    <a:lnTo>
                      <a:pt x="190290" y="4007"/>
                    </a:lnTo>
                    <a:lnTo>
                      <a:pt x="192759" y="7766"/>
                    </a:lnTo>
                    <a:lnTo>
                      <a:pt x="202145" y="15094"/>
                    </a:lnTo>
                    <a:lnTo>
                      <a:pt x="207743" y="27827"/>
                    </a:lnTo>
                    <a:lnTo>
                      <a:pt x="225499" y="37762"/>
                    </a:lnTo>
                    <a:lnTo>
                      <a:pt x="227310" y="40780"/>
                    </a:lnTo>
                    <a:lnTo>
                      <a:pt x="230878" y="49727"/>
                    </a:lnTo>
                    <a:lnTo>
                      <a:pt x="239467" y="54584"/>
                    </a:lnTo>
                    <a:lnTo>
                      <a:pt x="240949" y="66055"/>
                    </a:lnTo>
                    <a:lnTo>
                      <a:pt x="246136" y="70364"/>
                    </a:lnTo>
                    <a:lnTo>
                      <a:pt x="267130" y="70583"/>
                    </a:lnTo>
                    <a:lnTo>
                      <a:pt x="282251" y="62954"/>
                    </a:lnTo>
                    <a:lnTo>
                      <a:pt x="293173" y="68086"/>
                    </a:lnTo>
                    <a:lnTo>
                      <a:pt x="307499" y="65534"/>
                    </a:lnTo>
                    <a:lnTo>
                      <a:pt x="327944" y="77032"/>
                    </a:lnTo>
                    <a:lnTo>
                      <a:pt x="329288" y="82823"/>
                    </a:lnTo>
                    <a:lnTo>
                      <a:pt x="313371" y="109525"/>
                    </a:lnTo>
                    <a:lnTo>
                      <a:pt x="317131" y="112242"/>
                    </a:lnTo>
                    <a:lnTo>
                      <a:pt x="324952" y="112818"/>
                    </a:lnTo>
                    <a:lnTo>
                      <a:pt x="333679" y="1233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6" name="Freeform: Shape 3565">
                <a:extLst>
                  <a:ext uri="{FF2B5EF4-FFF2-40B4-BE49-F238E27FC236}">
                    <a16:creationId xmlns:a16="http://schemas.microsoft.com/office/drawing/2014/main" id="{68CF57B6-8B17-0062-5FED-CE0FD1FA77F1}"/>
                  </a:ext>
                </a:extLst>
              </p:cNvPr>
              <p:cNvSpPr/>
              <p:nvPr/>
            </p:nvSpPr>
            <p:spPr>
              <a:xfrm>
                <a:off x="1348870" y="3726251"/>
                <a:ext cx="172" cy="177"/>
              </a:xfrm>
              <a:custGeom>
                <a:avLst/>
                <a:gdLst>
                  <a:gd name="connsiteX0" fmla="*/ 1345 w 1646"/>
                  <a:gd name="connsiteY0" fmla="*/ 1674 h 1701"/>
                  <a:gd name="connsiteX1" fmla="*/ 0 w 1646"/>
                  <a:gd name="connsiteY1" fmla="*/ 357 h 1701"/>
                  <a:gd name="connsiteX2" fmla="*/ 275 w 1646"/>
                  <a:gd name="connsiteY2" fmla="*/ 0 h 1701"/>
                  <a:gd name="connsiteX3" fmla="*/ 549 w 1646"/>
                  <a:gd name="connsiteY3" fmla="*/ 0 h 1701"/>
                  <a:gd name="connsiteX4" fmla="*/ 1098 w 1646"/>
                  <a:gd name="connsiteY4" fmla="*/ 357 h 1701"/>
                  <a:gd name="connsiteX5" fmla="*/ 1372 w 1646"/>
                  <a:gd name="connsiteY5" fmla="*/ 686 h 1701"/>
                  <a:gd name="connsiteX6" fmla="*/ 1372 w 1646"/>
                  <a:gd name="connsiteY6" fmla="*/ 1015 h 1701"/>
                  <a:gd name="connsiteX7" fmla="*/ 1647 w 1646"/>
                  <a:gd name="connsiteY7" fmla="*/ 1372 h 1701"/>
                  <a:gd name="connsiteX8" fmla="*/ 1372 w 1646"/>
                  <a:gd name="connsiteY8" fmla="*/ 1372 h 1701"/>
                  <a:gd name="connsiteX9" fmla="*/ 1372 w 1646"/>
                  <a:gd name="connsiteY9" fmla="*/ 1701 h 1701"/>
                  <a:gd name="connsiteX10" fmla="*/ 1372 w 1646"/>
                  <a:gd name="connsiteY10" fmla="*/ 1701 h 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6" h="1701">
                    <a:moveTo>
                      <a:pt x="1345" y="1674"/>
                    </a:moveTo>
                    <a:lnTo>
                      <a:pt x="0" y="357"/>
                    </a:lnTo>
                    <a:lnTo>
                      <a:pt x="275" y="0"/>
                    </a:lnTo>
                    <a:lnTo>
                      <a:pt x="549" y="0"/>
                    </a:lnTo>
                    <a:lnTo>
                      <a:pt x="1098" y="357"/>
                    </a:lnTo>
                    <a:lnTo>
                      <a:pt x="1372" y="686"/>
                    </a:lnTo>
                    <a:lnTo>
                      <a:pt x="1372" y="1015"/>
                    </a:lnTo>
                    <a:lnTo>
                      <a:pt x="1647" y="1372"/>
                    </a:lnTo>
                    <a:lnTo>
                      <a:pt x="1372" y="1372"/>
                    </a:lnTo>
                    <a:lnTo>
                      <a:pt x="1372" y="1701"/>
                    </a:lnTo>
                    <a:lnTo>
                      <a:pt x="1372"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7" name="Freeform: Shape 3566">
                <a:extLst>
                  <a:ext uri="{FF2B5EF4-FFF2-40B4-BE49-F238E27FC236}">
                    <a16:creationId xmlns:a16="http://schemas.microsoft.com/office/drawing/2014/main" id="{91E14FB1-CDD4-4952-604F-A2EC70DA985A}"/>
                  </a:ext>
                </a:extLst>
              </p:cNvPr>
              <p:cNvSpPr/>
              <p:nvPr/>
            </p:nvSpPr>
            <p:spPr>
              <a:xfrm>
                <a:off x="1356281" y="3728512"/>
                <a:ext cx="129" cy="177"/>
              </a:xfrm>
              <a:custGeom>
                <a:avLst/>
                <a:gdLst>
                  <a:gd name="connsiteX0" fmla="*/ 549 w 1235"/>
                  <a:gd name="connsiteY0" fmla="*/ 0 h 1701"/>
                  <a:gd name="connsiteX1" fmla="*/ 1235 w 1235"/>
                  <a:gd name="connsiteY1" fmla="*/ 1701 h 1701"/>
                  <a:gd name="connsiteX2" fmla="*/ 0 w 1235"/>
                  <a:gd name="connsiteY2" fmla="*/ 1098 h 1701"/>
                  <a:gd name="connsiteX3" fmla="*/ 549 w 1235"/>
                  <a:gd name="connsiteY3" fmla="*/ 0 h 1701"/>
                </a:gdLst>
                <a:ahLst/>
                <a:cxnLst>
                  <a:cxn ang="0">
                    <a:pos x="connsiteX0" y="connsiteY0"/>
                  </a:cxn>
                  <a:cxn ang="0">
                    <a:pos x="connsiteX1" y="connsiteY1"/>
                  </a:cxn>
                  <a:cxn ang="0">
                    <a:pos x="connsiteX2" y="connsiteY2"/>
                  </a:cxn>
                  <a:cxn ang="0">
                    <a:pos x="connsiteX3" y="connsiteY3"/>
                  </a:cxn>
                </a:cxnLst>
                <a:rect l="l" t="t" r="r" b="b"/>
                <a:pathLst>
                  <a:path w="1235" h="1701">
                    <a:moveTo>
                      <a:pt x="549" y="0"/>
                    </a:moveTo>
                    <a:lnTo>
                      <a:pt x="1235" y="1701"/>
                    </a:lnTo>
                    <a:lnTo>
                      <a:pt x="0" y="1098"/>
                    </a:lnTo>
                    <a:lnTo>
                      <a:pt x="549"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8" name="Freeform: Shape 3567">
                <a:extLst>
                  <a:ext uri="{FF2B5EF4-FFF2-40B4-BE49-F238E27FC236}">
                    <a16:creationId xmlns:a16="http://schemas.microsoft.com/office/drawing/2014/main" id="{D68A9070-C8E8-75A4-342D-44D50DE5F985}"/>
                  </a:ext>
                </a:extLst>
              </p:cNvPr>
              <p:cNvSpPr/>
              <p:nvPr/>
            </p:nvSpPr>
            <p:spPr>
              <a:xfrm>
                <a:off x="1466695" y="3798393"/>
                <a:ext cx="45766" cy="35513"/>
              </a:xfrm>
              <a:custGeom>
                <a:avLst/>
                <a:gdLst>
                  <a:gd name="connsiteX0" fmla="*/ 275912 w 438786"/>
                  <a:gd name="connsiteY0" fmla="*/ 71983 h 340485"/>
                  <a:gd name="connsiteX1" fmla="*/ 259116 w 438786"/>
                  <a:gd name="connsiteY1" fmla="*/ 95008 h 340485"/>
                  <a:gd name="connsiteX2" fmla="*/ 257580 w 438786"/>
                  <a:gd name="connsiteY2" fmla="*/ 101512 h 340485"/>
                  <a:gd name="connsiteX3" fmla="*/ 258540 w 438786"/>
                  <a:gd name="connsiteY3" fmla="*/ 116002 h 340485"/>
                  <a:gd name="connsiteX4" fmla="*/ 264990 w 438786"/>
                  <a:gd name="connsiteY4" fmla="*/ 118224 h 340485"/>
                  <a:gd name="connsiteX5" fmla="*/ 277778 w 438786"/>
                  <a:gd name="connsiteY5" fmla="*/ 114904 h 340485"/>
                  <a:gd name="connsiteX6" fmla="*/ 282470 w 438786"/>
                  <a:gd name="connsiteY6" fmla="*/ 113669 h 340485"/>
                  <a:gd name="connsiteX7" fmla="*/ 288481 w 438786"/>
                  <a:gd name="connsiteY7" fmla="*/ 116468 h 340485"/>
                  <a:gd name="connsiteX8" fmla="*/ 292515 w 438786"/>
                  <a:gd name="connsiteY8" fmla="*/ 116193 h 340485"/>
                  <a:gd name="connsiteX9" fmla="*/ 284721 w 438786"/>
                  <a:gd name="connsiteY9" fmla="*/ 128790 h 340485"/>
                  <a:gd name="connsiteX10" fmla="*/ 289386 w 438786"/>
                  <a:gd name="connsiteY10" fmla="*/ 138999 h 340485"/>
                  <a:gd name="connsiteX11" fmla="*/ 290731 w 438786"/>
                  <a:gd name="connsiteY11" fmla="*/ 140838 h 340485"/>
                  <a:gd name="connsiteX12" fmla="*/ 300473 w 438786"/>
                  <a:gd name="connsiteY12" fmla="*/ 151183 h 340485"/>
                  <a:gd name="connsiteX13" fmla="*/ 303849 w 438786"/>
                  <a:gd name="connsiteY13" fmla="*/ 158785 h 340485"/>
                  <a:gd name="connsiteX14" fmla="*/ 324733 w 438786"/>
                  <a:gd name="connsiteY14" fmla="*/ 176184 h 340485"/>
                  <a:gd name="connsiteX15" fmla="*/ 325803 w 438786"/>
                  <a:gd name="connsiteY15" fmla="*/ 176870 h 340485"/>
                  <a:gd name="connsiteX16" fmla="*/ 371523 w 438786"/>
                  <a:gd name="connsiteY16" fmla="*/ 192266 h 340485"/>
                  <a:gd name="connsiteX17" fmla="*/ 374075 w 438786"/>
                  <a:gd name="connsiteY17" fmla="*/ 193116 h 340485"/>
                  <a:gd name="connsiteX18" fmla="*/ 409751 w 438786"/>
                  <a:gd name="connsiteY18" fmla="*/ 205136 h 340485"/>
                  <a:gd name="connsiteX19" fmla="*/ 416722 w 438786"/>
                  <a:gd name="connsiteY19" fmla="*/ 205575 h 340485"/>
                  <a:gd name="connsiteX20" fmla="*/ 434944 w 438786"/>
                  <a:gd name="connsiteY20" fmla="*/ 205658 h 340485"/>
                  <a:gd name="connsiteX21" fmla="*/ 437633 w 438786"/>
                  <a:gd name="connsiteY21" fmla="*/ 205658 h 340485"/>
                  <a:gd name="connsiteX22" fmla="*/ 438786 w 438786"/>
                  <a:gd name="connsiteY22" fmla="*/ 206426 h 340485"/>
                  <a:gd name="connsiteX23" fmla="*/ 434944 w 438786"/>
                  <a:gd name="connsiteY23" fmla="*/ 210488 h 340485"/>
                  <a:gd name="connsiteX24" fmla="*/ 416722 w 438786"/>
                  <a:gd name="connsiteY24" fmla="*/ 229753 h 340485"/>
                  <a:gd name="connsiteX25" fmla="*/ 371523 w 438786"/>
                  <a:gd name="connsiteY25" fmla="*/ 276269 h 340485"/>
                  <a:gd name="connsiteX26" fmla="*/ 352203 w 438786"/>
                  <a:gd name="connsiteY26" fmla="*/ 296137 h 340485"/>
                  <a:gd name="connsiteX27" fmla="*/ 340568 w 438786"/>
                  <a:gd name="connsiteY27" fmla="*/ 295918 h 340485"/>
                  <a:gd name="connsiteX28" fmla="*/ 325364 w 438786"/>
                  <a:gd name="connsiteY28" fmla="*/ 295643 h 340485"/>
                  <a:gd name="connsiteX29" fmla="*/ 323910 w 438786"/>
                  <a:gd name="connsiteY29" fmla="*/ 295643 h 340485"/>
                  <a:gd name="connsiteX30" fmla="*/ 312630 w 438786"/>
                  <a:gd name="connsiteY30" fmla="*/ 298333 h 340485"/>
                  <a:gd name="connsiteX31" fmla="*/ 298168 w 438786"/>
                  <a:gd name="connsiteY31" fmla="*/ 304645 h 340485"/>
                  <a:gd name="connsiteX32" fmla="*/ 289633 w 438786"/>
                  <a:gd name="connsiteY32" fmla="*/ 314936 h 340485"/>
                  <a:gd name="connsiteX33" fmla="*/ 281757 w 438786"/>
                  <a:gd name="connsiteY33" fmla="*/ 317351 h 340485"/>
                  <a:gd name="connsiteX34" fmla="*/ 277723 w 438786"/>
                  <a:gd name="connsiteY34" fmla="*/ 317762 h 340485"/>
                  <a:gd name="connsiteX35" fmla="*/ 266828 w 438786"/>
                  <a:gd name="connsiteY35" fmla="*/ 318833 h 340485"/>
                  <a:gd name="connsiteX36" fmla="*/ 261339 w 438786"/>
                  <a:gd name="connsiteY36" fmla="*/ 324403 h 340485"/>
                  <a:gd name="connsiteX37" fmla="*/ 240647 w 438786"/>
                  <a:gd name="connsiteY37" fmla="*/ 325282 h 340485"/>
                  <a:gd name="connsiteX38" fmla="*/ 227283 w 438786"/>
                  <a:gd name="connsiteY38" fmla="*/ 316088 h 340485"/>
                  <a:gd name="connsiteX39" fmla="*/ 202639 w 438786"/>
                  <a:gd name="connsiteY39" fmla="*/ 327285 h 340485"/>
                  <a:gd name="connsiteX40" fmla="*/ 192458 w 438786"/>
                  <a:gd name="connsiteY40" fmla="*/ 339772 h 340485"/>
                  <a:gd name="connsiteX41" fmla="*/ 189796 w 438786"/>
                  <a:gd name="connsiteY41" fmla="*/ 340485 h 340485"/>
                  <a:gd name="connsiteX42" fmla="*/ 162655 w 438786"/>
                  <a:gd name="connsiteY42" fmla="*/ 334887 h 340485"/>
                  <a:gd name="connsiteX43" fmla="*/ 150058 w 438786"/>
                  <a:gd name="connsiteY43" fmla="*/ 334722 h 340485"/>
                  <a:gd name="connsiteX44" fmla="*/ 113285 w 438786"/>
                  <a:gd name="connsiteY44" fmla="*/ 311313 h 340485"/>
                  <a:gd name="connsiteX45" fmla="*/ 90562 w 438786"/>
                  <a:gd name="connsiteY45" fmla="*/ 310407 h 340485"/>
                  <a:gd name="connsiteX46" fmla="*/ 85979 w 438786"/>
                  <a:gd name="connsiteY46" fmla="*/ 305577 h 340485"/>
                  <a:gd name="connsiteX47" fmla="*/ 82356 w 438786"/>
                  <a:gd name="connsiteY47" fmla="*/ 299650 h 340485"/>
                  <a:gd name="connsiteX48" fmla="*/ 81725 w 438786"/>
                  <a:gd name="connsiteY48" fmla="*/ 284858 h 340485"/>
                  <a:gd name="connsiteX49" fmla="*/ 74617 w 438786"/>
                  <a:gd name="connsiteY49" fmla="*/ 282553 h 340485"/>
                  <a:gd name="connsiteX50" fmla="*/ 68141 w 438786"/>
                  <a:gd name="connsiteY50" fmla="*/ 283596 h 340485"/>
                  <a:gd name="connsiteX51" fmla="*/ 61829 w 438786"/>
                  <a:gd name="connsiteY51" fmla="*/ 274704 h 340485"/>
                  <a:gd name="connsiteX52" fmla="*/ 58152 w 438786"/>
                  <a:gd name="connsiteY52" fmla="*/ 266334 h 340485"/>
                  <a:gd name="connsiteX53" fmla="*/ 56889 w 438786"/>
                  <a:gd name="connsiteY53" fmla="*/ 249649 h 340485"/>
                  <a:gd name="connsiteX54" fmla="*/ 35045 w 438786"/>
                  <a:gd name="connsiteY54" fmla="*/ 234144 h 340485"/>
                  <a:gd name="connsiteX55" fmla="*/ 29803 w 438786"/>
                  <a:gd name="connsiteY55" fmla="*/ 227942 h 340485"/>
                  <a:gd name="connsiteX56" fmla="*/ 26702 w 438786"/>
                  <a:gd name="connsiteY56" fmla="*/ 220916 h 340485"/>
                  <a:gd name="connsiteX57" fmla="*/ 21543 w 438786"/>
                  <a:gd name="connsiteY57" fmla="*/ 216690 h 340485"/>
                  <a:gd name="connsiteX58" fmla="*/ 7986 w 438786"/>
                  <a:gd name="connsiteY58" fmla="*/ 213534 h 340485"/>
                  <a:gd name="connsiteX59" fmla="*/ 0 w 438786"/>
                  <a:gd name="connsiteY59" fmla="*/ 209225 h 340485"/>
                  <a:gd name="connsiteX60" fmla="*/ 6723 w 438786"/>
                  <a:gd name="connsiteY60" fmla="*/ 193281 h 340485"/>
                  <a:gd name="connsiteX61" fmla="*/ 7849 w 438786"/>
                  <a:gd name="connsiteY61" fmla="*/ 193116 h 340485"/>
                  <a:gd name="connsiteX62" fmla="*/ 15972 w 438786"/>
                  <a:gd name="connsiteY62" fmla="*/ 191991 h 340485"/>
                  <a:gd name="connsiteX63" fmla="*/ 19347 w 438786"/>
                  <a:gd name="connsiteY63" fmla="*/ 193116 h 340485"/>
                  <a:gd name="connsiteX64" fmla="*/ 21954 w 438786"/>
                  <a:gd name="connsiteY64" fmla="*/ 193967 h 340485"/>
                  <a:gd name="connsiteX65" fmla="*/ 23409 w 438786"/>
                  <a:gd name="connsiteY65" fmla="*/ 193116 h 340485"/>
                  <a:gd name="connsiteX66" fmla="*/ 31724 w 438786"/>
                  <a:gd name="connsiteY66" fmla="*/ 188149 h 340485"/>
                  <a:gd name="connsiteX67" fmla="*/ 31862 w 438786"/>
                  <a:gd name="connsiteY67" fmla="*/ 176157 h 340485"/>
                  <a:gd name="connsiteX68" fmla="*/ 32053 w 438786"/>
                  <a:gd name="connsiteY68" fmla="*/ 160953 h 340485"/>
                  <a:gd name="connsiteX69" fmla="*/ 35621 w 438786"/>
                  <a:gd name="connsiteY69" fmla="*/ 145558 h 340485"/>
                  <a:gd name="connsiteX70" fmla="*/ 38667 w 438786"/>
                  <a:gd name="connsiteY70" fmla="*/ 140838 h 340485"/>
                  <a:gd name="connsiteX71" fmla="*/ 38338 w 438786"/>
                  <a:gd name="connsiteY71" fmla="*/ 128076 h 340485"/>
                  <a:gd name="connsiteX72" fmla="*/ 40643 w 438786"/>
                  <a:gd name="connsiteY72" fmla="*/ 125552 h 340485"/>
                  <a:gd name="connsiteX73" fmla="*/ 45583 w 438786"/>
                  <a:gd name="connsiteY73" fmla="*/ 120200 h 340485"/>
                  <a:gd name="connsiteX74" fmla="*/ 52059 w 438786"/>
                  <a:gd name="connsiteY74" fmla="*/ 123329 h 340485"/>
                  <a:gd name="connsiteX75" fmla="*/ 55792 w 438786"/>
                  <a:gd name="connsiteY75" fmla="*/ 120832 h 340485"/>
                  <a:gd name="connsiteX76" fmla="*/ 60978 w 438786"/>
                  <a:gd name="connsiteY76" fmla="*/ 92867 h 340485"/>
                  <a:gd name="connsiteX77" fmla="*/ 66494 w 438786"/>
                  <a:gd name="connsiteY77" fmla="*/ 86994 h 340485"/>
                  <a:gd name="connsiteX78" fmla="*/ 77471 w 438786"/>
                  <a:gd name="connsiteY78" fmla="*/ 68114 h 340485"/>
                  <a:gd name="connsiteX79" fmla="*/ 85704 w 438786"/>
                  <a:gd name="connsiteY79" fmla="*/ 64985 h 340485"/>
                  <a:gd name="connsiteX80" fmla="*/ 90672 w 438786"/>
                  <a:gd name="connsiteY80" fmla="*/ 65040 h 340485"/>
                  <a:gd name="connsiteX81" fmla="*/ 92181 w 438786"/>
                  <a:gd name="connsiteY81" fmla="*/ 63393 h 340485"/>
                  <a:gd name="connsiteX82" fmla="*/ 94678 w 438786"/>
                  <a:gd name="connsiteY82" fmla="*/ 48904 h 340485"/>
                  <a:gd name="connsiteX83" fmla="*/ 101347 w 438786"/>
                  <a:gd name="connsiteY83" fmla="*/ 32163 h 340485"/>
                  <a:gd name="connsiteX84" fmla="*/ 104064 w 438786"/>
                  <a:gd name="connsiteY84" fmla="*/ 17893 h 340485"/>
                  <a:gd name="connsiteX85" fmla="*/ 108674 w 438786"/>
                  <a:gd name="connsiteY85" fmla="*/ 16329 h 340485"/>
                  <a:gd name="connsiteX86" fmla="*/ 117950 w 438786"/>
                  <a:gd name="connsiteY86" fmla="*/ 17317 h 340485"/>
                  <a:gd name="connsiteX87" fmla="*/ 124592 w 438786"/>
                  <a:gd name="connsiteY87" fmla="*/ 12651 h 340485"/>
                  <a:gd name="connsiteX88" fmla="*/ 132577 w 438786"/>
                  <a:gd name="connsiteY88" fmla="*/ 18606 h 340485"/>
                  <a:gd name="connsiteX89" fmla="*/ 144076 w 438786"/>
                  <a:gd name="connsiteY89" fmla="*/ 0 h 340485"/>
                  <a:gd name="connsiteX90" fmla="*/ 161310 w 438786"/>
                  <a:gd name="connsiteY90" fmla="*/ 12789 h 340485"/>
                  <a:gd name="connsiteX91" fmla="*/ 170531 w 438786"/>
                  <a:gd name="connsiteY91" fmla="*/ 10977 h 340485"/>
                  <a:gd name="connsiteX92" fmla="*/ 179889 w 438786"/>
                  <a:gd name="connsiteY92" fmla="*/ 6477 h 340485"/>
                  <a:gd name="connsiteX93" fmla="*/ 184170 w 438786"/>
                  <a:gd name="connsiteY93" fmla="*/ 11856 h 340485"/>
                  <a:gd name="connsiteX94" fmla="*/ 193199 w 438786"/>
                  <a:gd name="connsiteY94" fmla="*/ 7959 h 340485"/>
                  <a:gd name="connsiteX95" fmla="*/ 202612 w 438786"/>
                  <a:gd name="connsiteY95" fmla="*/ 12157 h 340485"/>
                  <a:gd name="connsiteX96" fmla="*/ 208759 w 438786"/>
                  <a:gd name="connsiteY96" fmla="*/ 10181 h 340485"/>
                  <a:gd name="connsiteX97" fmla="*/ 212738 w 438786"/>
                  <a:gd name="connsiteY97" fmla="*/ 13776 h 340485"/>
                  <a:gd name="connsiteX98" fmla="*/ 230686 w 438786"/>
                  <a:gd name="connsiteY98" fmla="*/ 21982 h 340485"/>
                  <a:gd name="connsiteX99" fmla="*/ 243173 w 438786"/>
                  <a:gd name="connsiteY99" fmla="*/ 37679 h 340485"/>
                  <a:gd name="connsiteX100" fmla="*/ 253848 w 438786"/>
                  <a:gd name="connsiteY100" fmla="*/ 45199 h 340485"/>
                  <a:gd name="connsiteX101" fmla="*/ 264249 w 438786"/>
                  <a:gd name="connsiteY101" fmla="*/ 59771 h 340485"/>
                  <a:gd name="connsiteX102" fmla="*/ 270588 w 438786"/>
                  <a:gd name="connsiteY102" fmla="*/ 64024 h 340485"/>
                  <a:gd name="connsiteX103" fmla="*/ 275939 w 438786"/>
                  <a:gd name="connsiteY103" fmla="*/ 72010 h 34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38786" h="340485">
                    <a:moveTo>
                      <a:pt x="275912" y="71983"/>
                    </a:moveTo>
                    <a:lnTo>
                      <a:pt x="259116" y="95008"/>
                    </a:lnTo>
                    <a:lnTo>
                      <a:pt x="257580" y="101512"/>
                    </a:lnTo>
                    <a:lnTo>
                      <a:pt x="258540" y="116002"/>
                    </a:lnTo>
                    <a:lnTo>
                      <a:pt x="264990" y="118224"/>
                    </a:lnTo>
                    <a:lnTo>
                      <a:pt x="277778" y="114904"/>
                    </a:lnTo>
                    <a:lnTo>
                      <a:pt x="282470" y="113669"/>
                    </a:lnTo>
                    <a:lnTo>
                      <a:pt x="288481" y="116468"/>
                    </a:lnTo>
                    <a:lnTo>
                      <a:pt x="292515" y="116193"/>
                    </a:lnTo>
                    <a:lnTo>
                      <a:pt x="284721" y="128790"/>
                    </a:lnTo>
                    <a:lnTo>
                      <a:pt x="289386" y="138999"/>
                    </a:lnTo>
                    <a:lnTo>
                      <a:pt x="290731" y="140838"/>
                    </a:lnTo>
                    <a:lnTo>
                      <a:pt x="300473" y="151183"/>
                    </a:lnTo>
                    <a:lnTo>
                      <a:pt x="303849" y="158785"/>
                    </a:lnTo>
                    <a:lnTo>
                      <a:pt x="324733" y="176184"/>
                    </a:lnTo>
                    <a:lnTo>
                      <a:pt x="325803" y="176870"/>
                    </a:lnTo>
                    <a:lnTo>
                      <a:pt x="371523" y="192266"/>
                    </a:lnTo>
                    <a:lnTo>
                      <a:pt x="374075" y="193116"/>
                    </a:lnTo>
                    <a:lnTo>
                      <a:pt x="409751" y="205136"/>
                    </a:lnTo>
                    <a:lnTo>
                      <a:pt x="416722" y="205575"/>
                    </a:lnTo>
                    <a:lnTo>
                      <a:pt x="434944" y="205658"/>
                    </a:lnTo>
                    <a:lnTo>
                      <a:pt x="437633" y="205658"/>
                    </a:lnTo>
                    <a:lnTo>
                      <a:pt x="438786" y="206426"/>
                    </a:lnTo>
                    <a:lnTo>
                      <a:pt x="434944" y="210488"/>
                    </a:lnTo>
                    <a:lnTo>
                      <a:pt x="416722" y="229753"/>
                    </a:lnTo>
                    <a:lnTo>
                      <a:pt x="371523" y="276269"/>
                    </a:lnTo>
                    <a:lnTo>
                      <a:pt x="352203" y="296137"/>
                    </a:lnTo>
                    <a:lnTo>
                      <a:pt x="340568" y="295918"/>
                    </a:lnTo>
                    <a:lnTo>
                      <a:pt x="325364" y="295643"/>
                    </a:lnTo>
                    <a:lnTo>
                      <a:pt x="323910" y="295643"/>
                    </a:lnTo>
                    <a:cubicBezTo>
                      <a:pt x="323910" y="295643"/>
                      <a:pt x="312630" y="298333"/>
                      <a:pt x="312630" y="298333"/>
                    </a:cubicBezTo>
                    <a:lnTo>
                      <a:pt x="298168" y="304645"/>
                    </a:lnTo>
                    <a:lnTo>
                      <a:pt x="289633" y="314936"/>
                    </a:lnTo>
                    <a:lnTo>
                      <a:pt x="281757" y="317351"/>
                    </a:lnTo>
                    <a:lnTo>
                      <a:pt x="277723" y="317762"/>
                    </a:lnTo>
                    <a:lnTo>
                      <a:pt x="266828" y="318833"/>
                    </a:lnTo>
                    <a:lnTo>
                      <a:pt x="261339" y="324403"/>
                    </a:lnTo>
                    <a:lnTo>
                      <a:pt x="240647" y="325282"/>
                    </a:lnTo>
                    <a:lnTo>
                      <a:pt x="227283" y="316088"/>
                    </a:lnTo>
                    <a:lnTo>
                      <a:pt x="202639" y="327285"/>
                    </a:lnTo>
                    <a:lnTo>
                      <a:pt x="192458" y="339772"/>
                    </a:lnTo>
                    <a:lnTo>
                      <a:pt x="189796" y="340485"/>
                    </a:lnTo>
                    <a:lnTo>
                      <a:pt x="162655" y="334887"/>
                    </a:lnTo>
                    <a:lnTo>
                      <a:pt x="150058" y="334722"/>
                    </a:lnTo>
                    <a:lnTo>
                      <a:pt x="113285" y="311313"/>
                    </a:lnTo>
                    <a:lnTo>
                      <a:pt x="90562" y="310407"/>
                    </a:lnTo>
                    <a:lnTo>
                      <a:pt x="85979" y="305577"/>
                    </a:lnTo>
                    <a:lnTo>
                      <a:pt x="82356" y="299650"/>
                    </a:lnTo>
                    <a:lnTo>
                      <a:pt x="81725" y="284858"/>
                    </a:lnTo>
                    <a:lnTo>
                      <a:pt x="74617" y="282553"/>
                    </a:lnTo>
                    <a:lnTo>
                      <a:pt x="68141" y="283596"/>
                    </a:lnTo>
                    <a:lnTo>
                      <a:pt x="61829" y="274704"/>
                    </a:lnTo>
                    <a:lnTo>
                      <a:pt x="58152" y="266334"/>
                    </a:lnTo>
                    <a:lnTo>
                      <a:pt x="56889" y="249649"/>
                    </a:lnTo>
                    <a:lnTo>
                      <a:pt x="35045" y="234144"/>
                    </a:lnTo>
                    <a:lnTo>
                      <a:pt x="29803" y="227942"/>
                    </a:lnTo>
                    <a:lnTo>
                      <a:pt x="26702" y="220916"/>
                    </a:lnTo>
                    <a:lnTo>
                      <a:pt x="21543" y="216690"/>
                    </a:lnTo>
                    <a:lnTo>
                      <a:pt x="7986" y="213534"/>
                    </a:lnTo>
                    <a:lnTo>
                      <a:pt x="0" y="209225"/>
                    </a:lnTo>
                    <a:lnTo>
                      <a:pt x="6723" y="193281"/>
                    </a:lnTo>
                    <a:lnTo>
                      <a:pt x="7849" y="193116"/>
                    </a:lnTo>
                    <a:lnTo>
                      <a:pt x="15972" y="191991"/>
                    </a:lnTo>
                    <a:lnTo>
                      <a:pt x="19347" y="193116"/>
                    </a:lnTo>
                    <a:lnTo>
                      <a:pt x="21954" y="193967"/>
                    </a:lnTo>
                    <a:lnTo>
                      <a:pt x="23409" y="193116"/>
                    </a:lnTo>
                    <a:lnTo>
                      <a:pt x="31724" y="188149"/>
                    </a:lnTo>
                    <a:lnTo>
                      <a:pt x="31862" y="176157"/>
                    </a:lnTo>
                    <a:lnTo>
                      <a:pt x="32053" y="160953"/>
                    </a:lnTo>
                    <a:lnTo>
                      <a:pt x="35621" y="145558"/>
                    </a:lnTo>
                    <a:lnTo>
                      <a:pt x="38667" y="140838"/>
                    </a:lnTo>
                    <a:lnTo>
                      <a:pt x="38338" y="128076"/>
                    </a:lnTo>
                    <a:lnTo>
                      <a:pt x="40643" y="125552"/>
                    </a:lnTo>
                    <a:lnTo>
                      <a:pt x="45583" y="120200"/>
                    </a:lnTo>
                    <a:lnTo>
                      <a:pt x="52059" y="123329"/>
                    </a:lnTo>
                    <a:lnTo>
                      <a:pt x="55792" y="120832"/>
                    </a:lnTo>
                    <a:lnTo>
                      <a:pt x="60978" y="92867"/>
                    </a:lnTo>
                    <a:lnTo>
                      <a:pt x="66494" y="86994"/>
                    </a:lnTo>
                    <a:lnTo>
                      <a:pt x="77471" y="68114"/>
                    </a:lnTo>
                    <a:lnTo>
                      <a:pt x="85704" y="64985"/>
                    </a:lnTo>
                    <a:lnTo>
                      <a:pt x="90672" y="65040"/>
                    </a:lnTo>
                    <a:lnTo>
                      <a:pt x="92181" y="63393"/>
                    </a:lnTo>
                    <a:lnTo>
                      <a:pt x="94678" y="48904"/>
                    </a:lnTo>
                    <a:lnTo>
                      <a:pt x="101347" y="32163"/>
                    </a:lnTo>
                    <a:lnTo>
                      <a:pt x="104064" y="17893"/>
                    </a:lnTo>
                    <a:lnTo>
                      <a:pt x="108674" y="16329"/>
                    </a:lnTo>
                    <a:lnTo>
                      <a:pt x="117950" y="17317"/>
                    </a:lnTo>
                    <a:lnTo>
                      <a:pt x="124592" y="12651"/>
                    </a:lnTo>
                    <a:lnTo>
                      <a:pt x="132577" y="18606"/>
                    </a:lnTo>
                    <a:lnTo>
                      <a:pt x="144076" y="0"/>
                    </a:lnTo>
                    <a:lnTo>
                      <a:pt x="161310" y="12789"/>
                    </a:lnTo>
                    <a:lnTo>
                      <a:pt x="170531" y="10977"/>
                    </a:lnTo>
                    <a:lnTo>
                      <a:pt x="179889" y="6477"/>
                    </a:lnTo>
                    <a:lnTo>
                      <a:pt x="184170" y="11856"/>
                    </a:lnTo>
                    <a:lnTo>
                      <a:pt x="193199" y="7959"/>
                    </a:lnTo>
                    <a:lnTo>
                      <a:pt x="202612" y="12157"/>
                    </a:lnTo>
                    <a:lnTo>
                      <a:pt x="208759" y="10181"/>
                    </a:lnTo>
                    <a:lnTo>
                      <a:pt x="212738" y="13776"/>
                    </a:lnTo>
                    <a:lnTo>
                      <a:pt x="230686" y="21982"/>
                    </a:lnTo>
                    <a:lnTo>
                      <a:pt x="243173" y="37679"/>
                    </a:lnTo>
                    <a:lnTo>
                      <a:pt x="253848" y="45199"/>
                    </a:lnTo>
                    <a:lnTo>
                      <a:pt x="264249" y="59771"/>
                    </a:lnTo>
                    <a:lnTo>
                      <a:pt x="270588" y="64024"/>
                    </a:lnTo>
                    <a:lnTo>
                      <a:pt x="275939" y="720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9" name="Freeform: Shape 3568">
                <a:extLst>
                  <a:ext uri="{FF2B5EF4-FFF2-40B4-BE49-F238E27FC236}">
                    <a16:creationId xmlns:a16="http://schemas.microsoft.com/office/drawing/2014/main" id="{E2F17AEF-AEEC-948A-F317-E6C0299F5695}"/>
                  </a:ext>
                </a:extLst>
              </p:cNvPr>
              <p:cNvSpPr/>
              <p:nvPr/>
            </p:nvSpPr>
            <p:spPr>
              <a:xfrm>
                <a:off x="1182168" y="4028338"/>
                <a:ext cx="6045" cy="5058"/>
              </a:xfrm>
              <a:custGeom>
                <a:avLst/>
                <a:gdLst>
                  <a:gd name="connsiteX0" fmla="*/ 38502 w 57959"/>
                  <a:gd name="connsiteY0" fmla="*/ 1317 h 48491"/>
                  <a:gd name="connsiteX1" fmla="*/ 42235 w 57959"/>
                  <a:gd name="connsiteY1" fmla="*/ 4967 h 48491"/>
                  <a:gd name="connsiteX2" fmla="*/ 53514 w 57959"/>
                  <a:gd name="connsiteY2" fmla="*/ 4528 h 48491"/>
                  <a:gd name="connsiteX3" fmla="*/ 57465 w 57959"/>
                  <a:gd name="connsiteY3" fmla="*/ 11060 h 48491"/>
                  <a:gd name="connsiteX4" fmla="*/ 52718 w 57959"/>
                  <a:gd name="connsiteY4" fmla="*/ 12322 h 48491"/>
                  <a:gd name="connsiteX5" fmla="*/ 52718 w 57959"/>
                  <a:gd name="connsiteY5" fmla="*/ 14024 h 48491"/>
                  <a:gd name="connsiteX6" fmla="*/ 55545 w 57959"/>
                  <a:gd name="connsiteY6" fmla="*/ 15011 h 48491"/>
                  <a:gd name="connsiteX7" fmla="*/ 57960 w 57959"/>
                  <a:gd name="connsiteY7" fmla="*/ 18744 h 48491"/>
                  <a:gd name="connsiteX8" fmla="*/ 38530 w 57959"/>
                  <a:gd name="connsiteY8" fmla="*/ 28843 h 48491"/>
                  <a:gd name="connsiteX9" fmla="*/ 37021 w 57959"/>
                  <a:gd name="connsiteY9" fmla="*/ 30873 h 48491"/>
                  <a:gd name="connsiteX10" fmla="*/ 35099 w 57959"/>
                  <a:gd name="connsiteY10" fmla="*/ 28623 h 48491"/>
                  <a:gd name="connsiteX11" fmla="*/ 28925 w 57959"/>
                  <a:gd name="connsiteY11" fmla="*/ 28952 h 48491"/>
                  <a:gd name="connsiteX12" fmla="*/ 27827 w 57959"/>
                  <a:gd name="connsiteY12" fmla="*/ 31176 h 48491"/>
                  <a:gd name="connsiteX13" fmla="*/ 31258 w 57959"/>
                  <a:gd name="connsiteY13" fmla="*/ 31313 h 48491"/>
                  <a:gd name="connsiteX14" fmla="*/ 32794 w 57959"/>
                  <a:gd name="connsiteY14" fmla="*/ 33289 h 48491"/>
                  <a:gd name="connsiteX15" fmla="*/ 31340 w 57959"/>
                  <a:gd name="connsiteY15" fmla="*/ 36828 h 48491"/>
                  <a:gd name="connsiteX16" fmla="*/ 23381 w 57959"/>
                  <a:gd name="connsiteY16" fmla="*/ 38091 h 48491"/>
                  <a:gd name="connsiteX17" fmla="*/ 17152 w 57959"/>
                  <a:gd name="connsiteY17" fmla="*/ 33206 h 48491"/>
                  <a:gd name="connsiteX18" fmla="*/ 17152 w 57959"/>
                  <a:gd name="connsiteY18" fmla="*/ 38475 h 48491"/>
                  <a:gd name="connsiteX19" fmla="*/ 18579 w 57959"/>
                  <a:gd name="connsiteY19" fmla="*/ 42372 h 48491"/>
                  <a:gd name="connsiteX20" fmla="*/ 17152 w 57959"/>
                  <a:gd name="connsiteY20" fmla="*/ 44293 h 48491"/>
                  <a:gd name="connsiteX21" fmla="*/ 10785 w 57959"/>
                  <a:gd name="connsiteY21" fmla="*/ 41055 h 48491"/>
                  <a:gd name="connsiteX22" fmla="*/ 10346 w 57959"/>
                  <a:gd name="connsiteY22" fmla="*/ 47970 h 48491"/>
                  <a:gd name="connsiteX23" fmla="*/ 7163 w 57959"/>
                  <a:gd name="connsiteY23" fmla="*/ 48492 h 48491"/>
                  <a:gd name="connsiteX24" fmla="*/ 2579 w 57959"/>
                  <a:gd name="connsiteY24" fmla="*/ 42344 h 48491"/>
                  <a:gd name="connsiteX25" fmla="*/ 1152 w 57959"/>
                  <a:gd name="connsiteY25" fmla="*/ 45720 h 48491"/>
                  <a:gd name="connsiteX26" fmla="*/ 0 w 57959"/>
                  <a:gd name="connsiteY26" fmla="*/ 44567 h 48491"/>
                  <a:gd name="connsiteX27" fmla="*/ 823 w 57959"/>
                  <a:gd name="connsiteY27" fmla="*/ 39271 h 48491"/>
                  <a:gd name="connsiteX28" fmla="*/ 3046 w 57959"/>
                  <a:gd name="connsiteY28" fmla="*/ 37323 h 48491"/>
                  <a:gd name="connsiteX29" fmla="*/ 1537 w 57959"/>
                  <a:gd name="connsiteY29" fmla="*/ 33371 h 48491"/>
                  <a:gd name="connsiteX30" fmla="*/ 3567 w 57959"/>
                  <a:gd name="connsiteY30" fmla="*/ 31313 h 48491"/>
                  <a:gd name="connsiteX31" fmla="*/ 6861 w 57959"/>
                  <a:gd name="connsiteY31" fmla="*/ 30132 h 48491"/>
                  <a:gd name="connsiteX32" fmla="*/ 8260 w 57959"/>
                  <a:gd name="connsiteY32" fmla="*/ 26455 h 48491"/>
                  <a:gd name="connsiteX33" fmla="*/ 20417 w 57959"/>
                  <a:gd name="connsiteY33" fmla="*/ 17454 h 48491"/>
                  <a:gd name="connsiteX34" fmla="*/ 17783 w 57959"/>
                  <a:gd name="connsiteY34" fmla="*/ 15011 h 48491"/>
                  <a:gd name="connsiteX35" fmla="*/ 18057 w 57959"/>
                  <a:gd name="connsiteY35" fmla="*/ 7026 h 48491"/>
                  <a:gd name="connsiteX36" fmla="*/ 24424 w 57959"/>
                  <a:gd name="connsiteY36" fmla="*/ 3924 h 48491"/>
                  <a:gd name="connsiteX37" fmla="*/ 24946 w 57959"/>
                  <a:gd name="connsiteY37" fmla="*/ 0 h 48491"/>
                  <a:gd name="connsiteX38" fmla="*/ 38530 w 57959"/>
                  <a:gd name="connsiteY38" fmla="*/ 1317 h 4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7959" h="48491">
                    <a:moveTo>
                      <a:pt x="38502" y="1317"/>
                    </a:moveTo>
                    <a:lnTo>
                      <a:pt x="42235" y="4967"/>
                    </a:lnTo>
                    <a:lnTo>
                      <a:pt x="53514" y="4528"/>
                    </a:lnTo>
                    <a:lnTo>
                      <a:pt x="57465" y="11060"/>
                    </a:lnTo>
                    <a:lnTo>
                      <a:pt x="52718" y="12322"/>
                    </a:lnTo>
                    <a:lnTo>
                      <a:pt x="52718" y="14024"/>
                    </a:lnTo>
                    <a:cubicBezTo>
                      <a:pt x="52718" y="14024"/>
                      <a:pt x="55545" y="15011"/>
                      <a:pt x="55545" y="15011"/>
                    </a:cubicBezTo>
                    <a:lnTo>
                      <a:pt x="57960" y="18744"/>
                    </a:lnTo>
                    <a:lnTo>
                      <a:pt x="38530" y="28843"/>
                    </a:lnTo>
                    <a:lnTo>
                      <a:pt x="37021" y="30873"/>
                    </a:lnTo>
                    <a:lnTo>
                      <a:pt x="35099" y="28623"/>
                    </a:lnTo>
                    <a:lnTo>
                      <a:pt x="28925" y="28952"/>
                    </a:lnTo>
                    <a:lnTo>
                      <a:pt x="27827" y="31176"/>
                    </a:lnTo>
                    <a:lnTo>
                      <a:pt x="31258" y="31313"/>
                    </a:lnTo>
                    <a:lnTo>
                      <a:pt x="32794" y="33289"/>
                    </a:lnTo>
                    <a:lnTo>
                      <a:pt x="31340" y="36828"/>
                    </a:lnTo>
                    <a:lnTo>
                      <a:pt x="23381" y="38091"/>
                    </a:lnTo>
                    <a:lnTo>
                      <a:pt x="17152" y="33206"/>
                    </a:lnTo>
                    <a:lnTo>
                      <a:pt x="17152" y="38475"/>
                    </a:lnTo>
                    <a:lnTo>
                      <a:pt x="18579" y="42372"/>
                    </a:lnTo>
                    <a:lnTo>
                      <a:pt x="17152" y="44293"/>
                    </a:lnTo>
                    <a:lnTo>
                      <a:pt x="10785" y="41055"/>
                    </a:lnTo>
                    <a:lnTo>
                      <a:pt x="10346" y="47970"/>
                    </a:lnTo>
                    <a:lnTo>
                      <a:pt x="7163" y="48492"/>
                    </a:lnTo>
                    <a:lnTo>
                      <a:pt x="2579" y="42344"/>
                    </a:lnTo>
                    <a:lnTo>
                      <a:pt x="1152" y="45720"/>
                    </a:lnTo>
                    <a:lnTo>
                      <a:pt x="0" y="44567"/>
                    </a:lnTo>
                    <a:lnTo>
                      <a:pt x="823" y="39271"/>
                    </a:lnTo>
                    <a:lnTo>
                      <a:pt x="3046" y="37323"/>
                    </a:lnTo>
                    <a:lnTo>
                      <a:pt x="1537" y="33371"/>
                    </a:lnTo>
                    <a:lnTo>
                      <a:pt x="3567" y="31313"/>
                    </a:lnTo>
                    <a:lnTo>
                      <a:pt x="6861" y="30132"/>
                    </a:lnTo>
                    <a:lnTo>
                      <a:pt x="8260" y="26455"/>
                    </a:lnTo>
                    <a:lnTo>
                      <a:pt x="20417" y="17454"/>
                    </a:lnTo>
                    <a:lnTo>
                      <a:pt x="17783" y="15011"/>
                    </a:lnTo>
                    <a:lnTo>
                      <a:pt x="18057" y="7026"/>
                    </a:lnTo>
                    <a:lnTo>
                      <a:pt x="24424" y="3924"/>
                    </a:lnTo>
                    <a:lnTo>
                      <a:pt x="24946" y="0"/>
                    </a:lnTo>
                    <a:lnTo>
                      <a:pt x="38530" y="13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0" name="Freeform: Shape 3569">
                <a:extLst>
                  <a:ext uri="{FF2B5EF4-FFF2-40B4-BE49-F238E27FC236}">
                    <a16:creationId xmlns:a16="http://schemas.microsoft.com/office/drawing/2014/main" id="{C1E64066-6E04-C984-5A7A-ED92FD4B666A}"/>
                  </a:ext>
                </a:extLst>
              </p:cNvPr>
              <p:cNvSpPr/>
              <p:nvPr/>
            </p:nvSpPr>
            <p:spPr>
              <a:xfrm>
                <a:off x="1177299" y="4028419"/>
                <a:ext cx="6314" cy="4654"/>
              </a:xfrm>
              <a:custGeom>
                <a:avLst/>
                <a:gdLst>
                  <a:gd name="connsiteX0" fmla="*/ 42399 w 60539"/>
                  <a:gd name="connsiteY0" fmla="*/ 4638 h 44622"/>
                  <a:gd name="connsiteX1" fmla="*/ 46598 w 60539"/>
                  <a:gd name="connsiteY1" fmla="*/ 5873 h 44622"/>
                  <a:gd name="connsiteX2" fmla="*/ 48327 w 60539"/>
                  <a:gd name="connsiteY2" fmla="*/ 3787 h 44622"/>
                  <a:gd name="connsiteX3" fmla="*/ 53075 w 60539"/>
                  <a:gd name="connsiteY3" fmla="*/ 7218 h 44622"/>
                  <a:gd name="connsiteX4" fmla="*/ 55380 w 60539"/>
                  <a:gd name="connsiteY4" fmla="*/ 5955 h 44622"/>
                  <a:gd name="connsiteX5" fmla="*/ 56121 w 60539"/>
                  <a:gd name="connsiteY5" fmla="*/ 2031 h 44622"/>
                  <a:gd name="connsiteX6" fmla="*/ 59304 w 60539"/>
                  <a:gd name="connsiteY6" fmla="*/ 3046 h 44622"/>
                  <a:gd name="connsiteX7" fmla="*/ 60539 w 60539"/>
                  <a:gd name="connsiteY7" fmla="*/ 6147 h 44622"/>
                  <a:gd name="connsiteX8" fmla="*/ 56368 w 60539"/>
                  <a:gd name="connsiteY8" fmla="*/ 14160 h 44622"/>
                  <a:gd name="connsiteX9" fmla="*/ 54255 w 60539"/>
                  <a:gd name="connsiteY9" fmla="*/ 14160 h 44622"/>
                  <a:gd name="connsiteX10" fmla="*/ 43085 w 60539"/>
                  <a:gd name="connsiteY10" fmla="*/ 30489 h 44622"/>
                  <a:gd name="connsiteX11" fmla="*/ 39298 w 60539"/>
                  <a:gd name="connsiteY11" fmla="*/ 32548 h 44622"/>
                  <a:gd name="connsiteX12" fmla="*/ 36115 w 60539"/>
                  <a:gd name="connsiteY12" fmla="*/ 30709 h 44622"/>
                  <a:gd name="connsiteX13" fmla="*/ 28376 w 60539"/>
                  <a:gd name="connsiteY13" fmla="*/ 40040 h 44622"/>
                  <a:gd name="connsiteX14" fmla="*/ 20912 w 60539"/>
                  <a:gd name="connsiteY14" fmla="*/ 44622 h 44622"/>
                  <a:gd name="connsiteX15" fmla="*/ 17618 w 60539"/>
                  <a:gd name="connsiteY15" fmla="*/ 39271 h 44622"/>
                  <a:gd name="connsiteX16" fmla="*/ 9962 w 60539"/>
                  <a:gd name="connsiteY16" fmla="*/ 36692 h 44622"/>
                  <a:gd name="connsiteX17" fmla="*/ 7931 w 60539"/>
                  <a:gd name="connsiteY17" fmla="*/ 30681 h 44622"/>
                  <a:gd name="connsiteX18" fmla="*/ 5735 w 60539"/>
                  <a:gd name="connsiteY18" fmla="*/ 28266 h 44622"/>
                  <a:gd name="connsiteX19" fmla="*/ 3348 w 60539"/>
                  <a:gd name="connsiteY19" fmla="*/ 28486 h 44622"/>
                  <a:gd name="connsiteX20" fmla="*/ 0 w 60539"/>
                  <a:gd name="connsiteY20" fmla="*/ 25467 h 44622"/>
                  <a:gd name="connsiteX21" fmla="*/ 0 w 60539"/>
                  <a:gd name="connsiteY21" fmla="*/ 24232 h 44622"/>
                  <a:gd name="connsiteX22" fmla="*/ 10071 w 60539"/>
                  <a:gd name="connsiteY22" fmla="*/ 22448 h 44622"/>
                  <a:gd name="connsiteX23" fmla="*/ 14243 w 60539"/>
                  <a:gd name="connsiteY23" fmla="*/ 20143 h 44622"/>
                  <a:gd name="connsiteX24" fmla="*/ 13776 w 60539"/>
                  <a:gd name="connsiteY24" fmla="*/ 24644 h 44622"/>
                  <a:gd name="connsiteX25" fmla="*/ 12706 w 60539"/>
                  <a:gd name="connsiteY25" fmla="*/ 25247 h 44622"/>
                  <a:gd name="connsiteX26" fmla="*/ 11910 w 60539"/>
                  <a:gd name="connsiteY26" fmla="*/ 30681 h 44622"/>
                  <a:gd name="connsiteX27" fmla="*/ 10483 w 60539"/>
                  <a:gd name="connsiteY27" fmla="*/ 33179 h 44622"/>
                  <a:gd name="connsiteX28" fmla="*/ 12980 w 60539"/>
                  <a:gd name="connsiteY28" fmla="*/ 36170 h 44622"/>
                  <a:gd name="connsiteX29" fmla="*/ 14627 w 60539"/>
                  <a:gd name="connsiteY29" fmla="*/ 34194 h 44622"/>
                  <a:gd name="connsiteX30" fmla="*/ 15121 w 60539"/>
                  <a:gd name="connsiteY30" fmla="*/ 31066 h 44622"/>
                  <a:gd name="connsiteX31" fmla="*/ 18250 w 60539"/>
                  <a:gd name="connsiteY31" fmla="*/ 33041 h 44622"/>
                  <a:gd name="connsiteX32" fmla="*/ 26071 w 60539"/>
                  <a:gd name="connsiteY32" fmla="*/ 30709 h 44622"/>
                  <a:gd name="connsiteX33" fmla="*/ 24726 w 60539"/>
                  <a:gd name="connsiteY33" fmla="*/ 22915 h 44622"/>
                  <a:gd name="connsiteX34" fmla="*/ 20966 w 60539"/>
                  <a:gd name="connsiteY34" fmla="*/ 21158 h 44622"/>
                  <a:gd name="connsiteX35" fmla="*/ 20033 w 60539"/>
                  <a:gd name="connsiteY35" fmla="*/ 17536 h 44622"/>
                  <a:gd name="connsiteX36" fmla="*/ 28239 w 60539"/>
                  <a:gd name="connsiteY36" fmla="*/ 18168 h 44622"/>
                  <a:gd name="connsiteX37" fmla="*/ 28239 w 60539"/>
                  <a:gd name="connsiteY37" fmla="*/ 25385 h 44622"/>
                  <a:gd name="connsiteX38" fmla="*/ 32602 w 60539"/>
                  <a:gd name="connsiteY38" fmla="*/ 20006 h 44622"/>
                  <a:gd name="connsiteX39" fmla="*/ 30352 w 60539"/>
                  <a:gd name="connsiteY39" fmla="*/ 18332 h 44622"/>
                  <a:gd name="connsiteX40" fmla="*/ 30736 w 60539"/>
                  <a:gd name="connsiteY40" fmla="*/ 14105 h 44622"/>
                  <a:gd name="connsiteX41" fmla="*/ 24095 w 60539"/>
                  <a:gd name="connsiteY41" fmla="*/ 11005 h 44622"/>
                  <a:gd name="connsiteX42" fmla="*/ 25933 w 60539"/>
                  <a:gd name="connsiteY42" fmla="*/ 5763 h 44622"/>
                  <a:gd name="connsiteX43" fmla="*/ 34551 w 60539"/>
                  <a:gd name="connsiteY43" fmla="*/ 8919 h 44622"/>
                  <a:gd name="connsiteX44" fmla="*/ 36719 w 60539"/>
                  <a:gd name="connsiteY44" fmla="*/ 7986 h 44622"/>
                  <a:gd name="connsiteX45" fmla="*/ 39079 w 60539"/>
                  <a:gd name="connsiteY45" fmla="*/ 0 h 44622"/>
                  <a:gd name="connsiteX46" fmla="*/ 42399 w 60539"/>
                  <a:gd name="connsiteY46" fmla="*/ 3156 h 44622"/>
                  <a:gd name="connsiteX47" fmla="*/ 42399 w 60539"/>
                  <a:gd name="connsiteY47" fmla="*/ 4555 h 4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539" h="44622">
                    <a:moveTo>
                      <a:pt x="42399" y="4638"/>
                    </a:moveTo>
                    <a:lnTo>
                      <a:pt x="46598" y="5873"/>
                    </a:lnTo>
                    <a:lnTo>
                      <a:pt x="48327" y="3787"/>
                    </a:lnTo>
                    <a:lnTo>
                      <a:pt x="53075" y="7218"/>
                    </a:lnTo>
                    <a:lnTo>
                      <a:pt x="55380" y="5955"/>
                    </a:lnTo>
                    <a:lnTo>
                      <a:pt x="56121" y="2031"/>
                    </a:lnTo>
                    <a:lnTo>
                      <a:pt x="59304" y="3046"/>
                    </a:lnTo>
                    <a:lnTo>
                      <a:pt x="60539" y="6147"/>
                    </a:lnTo>
                    <a:lnTo>
                      <a:pt x="56368" y="14160"/>
                    </a:lnTo>
                    <a:lnTo>
                      <a:pt x="54255" y="14160"/>
                    </a:lnTo>
                    <a:lnTo>
                      <a:pt x="43085" y="30489"/>
                    </a:lnTo>
                    <a:lnTo>
                      <a:pt x="39298" y="32548"/>
                    </a:lnTo>
                    <a:lnTo>
                      <a:pt x="36115" y="30709"/>
                    </a:lnTo>
                    <a:lnTo>
                      <a:pt x="28376" y="40040"/>
                    </a:lnTo>
                    <a:lnTo>
                      <a:pt x="20912" y="44622"/>
                    </a:lnTo>
                    <a:lnTo>
                      <a:pt x="17618" y="39271"/>
                    </a:lnTo>
                    <a:lnTo>
                      <a:pt x="9962" y="36692"/>
                    </a:lnTo>
                    <a:lnTo>
                      <a:pt x="7931" y="30681"/>
                    </a:lnTo>
                    <a:lnTo>
                      <a:pt x="5735" y="28266"/>
                    </a:lnTo>
                    <a:lnTo>
                      <a:pt x="3348" y="28486"/>
                    </a:lnTo>
                    <a:lnTo>
                      <a:pt x="0" y="25467"/>
                    </a:lnTo>
                    <a:lnTo>
                      <a:pt x="0" y="24232"/>
                    </a:lnTo>
                    <a:lnTo>
                      <a:pt x="10071" y="22448"/>
                    </a:lnTo>
                    <a:lnTo>
                      <a:pt x="14243" y="20143"/>
                    </a:lnTo>
                    <a:lnTo>
                      <a:pt x="13776" y="24644"/>
                    </a:lnTo>
                    <a:lnTo>
                      <a:pt x="12706" y="25247"/>
                    </a:lnTo>
                    <a:lnTo>
                      <a:pt x="11910" y="30681"/>
                    </a:lnTo>
                    <a:lnTo>
                      <a:pt x="10483" y="33179"/>
                    </a:lnTo>
                    <a:lnTo>
                      <a:pt x="12980" y="36170"/>
                    </a:lnTo>
                    <a:lnTo>
                      <a:pt x="14627" y="34194"/>
                    </a:lnTo>
                    <a:lnTo>
                      <a:pt x="15121" y="31066"/>
                    </a:lnTo>
                    <a:lnTo>
                      <a:pt x="18250" y="33041"/>
                    </a:lnTo>
                    <a:lnTo>
                      <a:pt x="26071" y="30709"/>
                    </a:lnTo>
                    <a:lnTo>
                      <a:pt x="24726" y="22915"/>
                    </a:lnTo>
                    <a:lnTo>
                      <a:pt x="20966" y="21158"/>
                    </a:lnTo>
                    <a:lnTo>
                      <a:pt x="20033" y="17536"/>
                    </a:lnTo>
                    <a:lnTo>
                      <a:pt x="28239" y="18168"/>
                    </a:lnTo>
                    <a:lnTo>
                      <a:pt x="28239" y="25385"/>
                    </a:lnTo>
                    <a:cubicBezTo>
                      <a:pt x="28239" y="25385"/>
                      <a:pt x="32602" y="20006"/>
                      <a:pt x="32602" y="20006"/>
                    </a:cubicBezTo>
                    <a:lnTo>
                      <a:pt x="30352" y="18332"/>
                    </a:lnTo>
                    <a:lnTo>
                      <a:pt x="30736" y="14105"/>
                    </a:lnTo>
                    <a:lnTo>
                      <a:pt x="24095" y="11005"/>
                    </a:lnTo>
                    <a:lnTo>
                      <a:pt x="25933" y="5763"/>
                    </a:lnTo>
                    <a:lnTo>
                      <a:pt x="34551" y="8919"/>
                    </a:lnTo>
                    <a:lnTo>
                      <a:pt x="36719" y="7986"/>
                    </a:lnTo>
                    <a:lnTo>
                      <a:pt x="39079" y="0"/>
                    </a:lnTo>
                    <a:lnTo>
                      <a:pt x="42399" y="3156"/>
                    </a:lnTo>
                    <a:lnTo>
                      <a:pt x="42399" y="45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1" name="Freeform: Shape 3570">
                <a:extLst>
                  <a:ext uri="{FF2B5EF4-FFF2-40B4-BE49-F238E27FC236}">
                    <a16:creationId xmlns:a16="http://schemas.microsoft.com/office/drawing/2014/main" id="{CC61FC4F-79FC-408C-DD22-E6C312832A2D}"/>
                  </a:ext>
                </a:extLst>
              </p:cNvPr>
              <p:cNvSpPr/>
              <p:nvPr/>
            </p:nvSpPr>
            <p:spPr>
              <a:xfrm>
                <a:off x="1182240" y="4028127"/>
                <a:ext cx="733" cy="509"/>
              </a:xfrm>
              <a:custGeom>
                <a:avLst/>
                <a:gdLst>
                  <a:gd name="connsiteX0" fmla="*/ 6641 w 7025"/>
                  <a:gd name="connsiteY0" fmla="*/ 4885 h 4884"/>
                  <a:gd name="connsiteX1" fmla="*/ 3677 w 7025"/>
                  <a:gd name="connsiteY1" fmla="*/ 4885 h 4884"/>
                  <a:gd name="connsiteX2" fmla="*/ 0 w 7025"/>
                  <a:gd name="connsiteY2" fmla="*/ 1784 h 4884"/>
                  <a:gd name="connsiteX3" fmla="*/ 1043 w 7025"/>
                  <a:gd name="connsiteY3" fmla="*/ 0 h 4884"/>
                  <a:gd name="connsiteX4" fmla="*/ 7025 w 7025"/>
                  <a:gd name="connsiteY4" fmla="*/ 1317 h 4884"/>
                  <a:gd name="connsiteX5" fmla="*/ 6614 w 7025"/>
                  <a:gd name="connsiteY5" fmla="*/ 4885 h 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5" h="4884">
                    <a:moveTo>
                      <a:pt x="6641" y="4885"/>
                    </a:moveTo>
                    <a:lnTo>
                      <a:pt x="3677" y="4885"/>
                    </a:lnTo>
                    <a:cubicBezTo>
                      <a:pt x="3677" y="4885"/>
                      <a:pt x="0" y="1784"/>
                      <a:pt x="0" y="1784"/>
                    </a:cubicBezTo>
                    <a:lnTo>
                      <a:pt x="1043" y="0"/>
                    </a:lnTo>
                    <a:lnTo>
                      <a:pt x="7025" y="1317"/>
                    </a:lnTo>
                    <a:lnTo>
                      <a:pt x="6614" y="48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2" name="Freeform: Shape 3571">
                <a:extLst>
                  <a:ext uri="{FF2B5EF4-FFF2-40B4-BE49-F238E27FC236}">
                    <a16:creationId xmlns:a16="http://schemas.microsoft.com/office/drawing/2014/main" id="{E354F83E-EBE5-AAE4-F247-C0BB944AC6CC}"/>
                  </a:ext>
                </a:extLst>
              </p:cNvPr>
              <p:cNvSpPr/>
              <p:nvPr/>
            </p:nvSpPr>
            <p:spPr>
              <a:xfrm>
                <a:off x="1180436" y="4028421"/>
                <a:ext cx="630" cy="544"/>
              </a:xfrm>
              <a:custGeom>
                <a:avLst/>
                <a:gdLst>
                  <a:gd name="connsiteX0" fmla="*/ 6037 w 6037"/>
                  <a:gd name="connsiteY0" fmla="*/ 0 h 5213"/>
                  <a:gd name="connsiteX1" fmla="*/ 5955 w 6037"/>
                  <a:gd name="connsiteY1" fmla="*/ 3430 h 5213"/>
                  <a:gd name="connsiteX2" fmla="*/ 3622 w 6037"/>
                  <a:gd name="connsiteY2" fmla="*/ 2662 h 5213"/>
                  <a:gd name="connsiteX3" fmla="*/ 1455 w 6037"/>
                  <a:gd name="connsiteY3" fmla="*/ 5214 h 5213"/>
                  <a:gd name="connsiteX4" fmla="*/ 0 w 6037"/>
                  <a:gd name="connsiteY4" fmla="*/ 3787 h 5213"/>
                  <a:gd name="connsiteX5" fmla="*/ 3293 w 6037"/>
                  <a:gd name="connsiteY5" fmla="*/ 330 h 5213"/>
                  <a:gd name="connsiteX6" fmla="*/ 6037 w 6037"/>
                  <a:gd name="connsiteY6" fmla="*/ 0 h 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7" h="5213">
                    <a:moveTo>
                      <a:pt x="6037" y="0"/>
                    </a:moveTo>
                    <a:lnTo>
                      <a:pt x="5955" y="3430"/>
                    </a:lnTo>
                    <a:lnTo>
                      <a:pt x="3622" y="2662"/>
                    </a:lnTo>
                    <a:lnTo>
                      <a:pt x="1455" y="5214"/>
                    </a:lnTo>
                    <a:lnTo>
                      <a:pt x="0" y="3787"/>
                    </a:lnTo>
                    <a:lnTo>
                      <a:pt x="3293" y="330"/>
                    </a:lnTo>
                    <a:lnTo>
                      <a:pt x="603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3" name="Freeform: Shape 3572">
                <a:extLst>
                  <a:ext uri="{FF2B5EF4-FFF2-40B4-BE49-F238E27FC236}">
                    <a16:creationId xmlns:a16="http://schemas.microsoft.com/office/drawing/2014/main" id="{6E42A6A9-BF18-D62A-D054-7CCA453E372D}"/>
                  </a:ext>
                </a:extLst>
              </p:cNvPr>
              <p:cNvSpPr/>
              <p:nvPr/>
            </p:nvSpPr>
            <p:spPr>
              <a:xfrm>
                <a:off x="1181859" y="4033411"/>
                <a:ext cx="449" cy="550"/>
              </a:xfrm>
              <a:custGeom>
                <a:avLst/>
                <a:gdLst>
                  <a:gd name="connsiteX0" fmla="*/ 4309 w 4308"/>
                  <a:gd name="connsiteY0" fmla="*/ 1921 h 5269"/>
                  <a:gd name="connsiteX1" fmla="*/ 1894 w 4308"/>
                  <a:gd name="connsiteY1" fmla="*/ 5270 h 5269"/>
                  <a:gd name="connsiteX2" fmla="*/ 0 w 4308"/>
                  <a:gd name="connsiteY2" fmla="*/ 2031 h 5269"/>
                  <a:gd name="connsiteX3" fmla="*/ 2415 w 4308"/>
                  <a:gd name="connsiteY3" fmla="*/ 0 h 5269"/>
                  <a:gd name="connsiteX4" fmla="*/ 4309 w 4308"/>
                  <a:gd name="connsiteY4" fmla="*/ 1921 h 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5269">
                    <a:moveTo>
                      <a:pt x="4309" y="1921"/>
                    </a:moveTo>
                    <a:lnTo>
                      <a:pt x="1894" y="5270"/>
                    </a:lnTo>
                    <a:lnTo>
                      <a:pt x="0" y="2031"/>
                    </a:lnTo>
                    <a:lnTo>
                      <a:pt x="2415" y="0"/>
                    </a:lnTo>
                    <a:lnTo>
                      <a:pt x="4309" y="19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4" name="Freeform: Shape 3573">
                <a:extLst>
                  <a:ext uri="{FF2B5EF4-FFF2-40B4-BE49-F238E27FC236}">
                    <a16:creationId xmlns:a16="http://schemas.microsoft.com/office/drawing/2014/main" id="{E62B526A-8E38-0EB3-86DA-E832694E26B5}"/>
                  </a:ext>
                </a:extLst>
              </p:cNvPr>
              <p:cNvSpPr/>
              <p:nvPr/>
            </p:nvSpPr>
            <p:spPr>
              <a:xfrm>
                <a:off x="1185838" y="4031685"/>
                <a:ext cx="283" cy="641"/>
              </a:xfrm>
              <a:custGeom>
                <a:avLst/>
                <a:gdLst>
                  <a:gd name="connsiteX0" fmla="*/ 2717 w 2716"/>
                  <a:gd name="connsiteY0" fmla="*/ 4474 h 6147"/>
                  <a:gd name="connsiteX1" fmla="*/ 1070 w 2716"/>
                  <a:gd name="connsiteY1" fmla="*/ 6147 h 6147"/>
                  <a:gd name="connsiteX2" fmla="*/ 0 w 2716"/>
                  <a:gd name="connsiteY2" fmla="*/ 686 h 6147"/>
                  <a:gd name="connsiteX3" fmla="*/ 2689 w 2716"/>
                  <a:gd name="connsiteY3" fmla="*/ 0 h 6147"/>
                  <a:gd name="connsiteX4" fmla="*/ 2689 w 2716"/>
                  <a:gd name="connsiteY4" fmla="*/ 4474 h 6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6" h="6147">
                    <a:moveTo>
                      <a:pt x="2717" y="4474"/>
                    </a:moveTo>
                    <a:lnTo>
                      <a:pt x="1070" y="6147"/>
                    </a:lnTo>
                    <a:lnTo>
                      <a:pt x="0" y="686"/>
                    </a:lnTo>
                    <a:lnTo>
                      <a:pt x="2689" y="0"/>
                    </a:lnTo>
                    <a:lnTo>
                      <a:pt x="2689" y="44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5" name="Freeform: Shape 3574">
                <a:extLst>
                  <a:ext uri="{FF2B5EF4-FFF2-40B4-BE49-F238E27FC236}">
                    <a16:creationId xmlns:a16="http://schemas.microsoft.com/office/drawing/2014/main" id="{2D85979C-3B15-D61C-D7EE-6BDE09B675BE}"/>
                  </a:ext>
                </a:extLst>
              </p:cNvPr>
              <p:cNvSpPr/>
              <p:nvPr/>
            </p:nvSpPr>
            <p:spPr>
              <a:xfrm>
                <a:off x="1355471" y="3810054"/>
                <a:ext cx="13605" cy="19796"/>
              </a:xfrm>
              <a:custGeom>
                <a:avLst/>
                <a:gdLst>
                  <a:gd name="connsiteX0" fmla="*/ 90974 w 130436"/>
                  <a:gd name="connsiteY0" fmla="*/ 110 h 189795"/>
                  <a:gd name="connsiteX1" fmla="*/ 95886 w 130436"/>
                  <a:gd name="connsiteY1" fmla="*/ 3238 h 189795"/>
                  <a:gd name="connsiteX2" fmla="*/ 93498 w 130436"/>
                  <a:gd name="connsiteY2" fmla="*/ 13721 h 189795"/>
                  <a:gd name="connsiteX3" fmla="*/ 102856 w 130436"/>
                  <a:gd name="connsiteY3" fmla="*/ 22997 h 189795"/>
                  <a:gd name="connsiteX4" fmla="*/ 105381 w 130436"/>
                  <a:gd name="connsiteY4" fmla="*/ 25522 h 189795"/>
                  <a:gd name="connsiteX5" fmla="*/ 106533 w 130436"/>
                  <a:gd name="connsiteY5" fmla="*/ 32163 h 189795"/>
                  <a:gd name="connsiteX6" fmla="*/ 105628 w 130436"/>
                  <a:gd name="connsiteY6" fmla="*/ 44924 h 189795"/>
                  <a:gd name="connsiteX7" fmla="*/ 103049 w 130436"/>
                  <a:gd name="connsiteY7" fmla="*/ 49205 h 189795"/>
                  <a:gd name="connsiteX8" fmla="*/ 108592 w 130436"/>
                  <a:gd name="connsiteY8" fmla="*/ 50028 h 189795"/>
                  <a:gd name="connsiteX9" fmla="*/ 111089 w 130436"/>
                  <a:gd name="connsiteY9" fmla="*/ 53020 h 189795"/>
                  <a:gd name="connsiteX10" fmla="*/ 109003 w 130436"/>
                  <a:gd name="connsiteY10" fmla="*/ 61857 h 189795"/>
                  <a:gd name="connsiteX11" fmla="*/ 109799 w 130436"/>
                  <a:gd name="connsiteY11" fmla="*/ 67674 h 189795"/>
                  <a:gd name="connsiteX12" fmla="*/ 107494 w 130436"/>
                  <a:gd name="connsiteY12" fmla="*/ 72696 h 189795"/>
                  <a:gd name="connsiteX13" fmla="*/ 115892 w 130436"/>
                  <a:gd name="connsiteY13" fmla="*/ 83975 h 189795"/>
                  <a:gd name="connsiteX14" fmla="*/ 112681 w 130436"/>
                  <a:gd name="connsiteY14" fmla="*/ 90617 h 189795"/>
                  <a:gd name="connsiteX15" fmla="*/ 113202 w 130436"/>
                  <a:gd name="connsiteY15" fmla="*/ 100496 h 189795"/>
                  <a:gd name="connsiteX16" fmla="*/ 111089 w 130436"/>
                  <a:gd name="connsiteY16" fmla="*/ 107851 h 189795"/>
                  <a:gd name="connsiteX17" fmla="*/ 114080 w 130436"/>
                  <a:gd name="connsiteY17" fmla="*/ 114684 h 189795"/>
                  <a:gd name="connsiteX18" fmla="*/ 111638 w 130436"/>
                  <a:gd name="connsiteY18" fmla="*/ 128818 h 189795"/>
                  <a:gd name="connsiteX19" fmla="*/ 117346 w 130436"/>
                  <a:gd name="connsiteY19" fmla="*/ 139301 h 189795"/>
                  <a:gd name="connsiteX20" fmla="*/ 121819 w 130436"/>
                  <a:gd name="connsiteY20" fmla="*/ 142841 h 189795"/>
                  <a:gd name="connsiteX21" fmla="*/ 130437 w 130436"/>
                  <a:gd name="connsiteY21" fmla="*/ 149674 h 189795"/>
                  <a:gd name="connsiteX22" fmla="*/ 126348 w 130436"/>
                  <a:gd name="connsiteY22" fmla="*/ 152693 h 189795"/>
                  <a:gd name="connsiteX23" fmla="*/ 121819 w 130436"/>
                  <a:gd name="connsiteY23" fmla="*/ 159169 h 189795"/>
                  <a:gd name="connsiteX24" fmla="*/ 105930 w 130436"/>
                  <a:gd name="connsiteY24" fmla="*/ 159416 h 189795"/>
                  <a:gd name="connsiteX25" fmla="*/ 102884 w 130436"/>
                  <a:gd name="connsiteY25" fmla="*/ 160295 h 189795"/>
                  <a:gd name="connsiteX26" fmla="*/ 99563 w 130436"/>
                  <a:gd name="connsiteY26" fmla="*/ 161227 h 189795"/>
                  <a:gd name="connsiteX27" fmla="*/ 71160 w 130436"/>
                  <a:gd name="connsiteY27" fmla="*/ 175964 h 189795"/>
                  <a:gd name="connsiteX28" fmla="*/ 62076 w 130436"/>
                  <a:gd name="connsiteY28" fmla="*/ 178324 h 189795"/>
                  <a:gd name="connsiteX29" fmla="*/ 47696 w 130436"/>
                  <a:gd name="connsiteY29" fmla="*/ 182084 h 189795"/>
                  <a:gd name="connsiteX30" fmla="*/ 35868 w 130436"/>
                  <a:gd name="connsiteY30" fmla="*/ 189796 h 189795"/>
                  <a:gd name="connsiteX31" fmla="*/ 33590 w 130436"/>
                  <a:gd name="connsiteY31" fmla="*/ 188643 h 189795"/>
                  <a:gd name="connsiteX32" fmla="*/ 25824 w 130436"/>
                  <a:gd name="connsiteY32" fmla="*/ 184719 h 189795"/>
                  <a:gd name="connsiteX33" fmla="*/ 21241 w 130436"/>
                  <a:gd name="connsiteY33" fmla="*/ 183703 h 189795"/>
                  <a:gd name="connsiteX34" fmla="*/ 19183 w 130436"/>
                  <a:gd name="connsiteY34" fmla="*/ 183237 h 189795"/>
                  <a:gd name="connsiteX35" fmla="*/ 3842 w 130436"/>
                  <a:gd name="connsiteY35" fmla="*/ 179889 h 189795"/>
                  <a:gd name="connsiteX36" fmla="*/ 14435 w 130436"/>
                  <a:gd name="connsiteY36" fmla="*/ 176870 h 189795"/>
                  <a:gd name="connsiteX37" fmla="*/ 13557 w 130436"/>
                  <a:gd name="connsiteY37" fmla="*/ 166112 h 189795"/>
                  <a:gd name="connsiteX38" fmla="*/ 6339 w 130436"/>
                  <a:gd name="connsiteY38" fmla="*/ 159993 h 189795"/>
                  <a:gd name="connsiteX39" fmla="*/ 0 w 130436"/>
                  <a:gd name="connsiteY39" fmla="*/ 134306 h 189795"/>
                  <a:gd name="connsiteX40" fmla="*/ 1235 w 130436"/>
                  <a:gd name="connsiteY40" fmla="*/ 127418 h 189795"/>
                  <a:gd name="connsiteX41" fmla="*/ 7574 w 130436"/>
                  <a:gd name="connsiteY41" fmla="*/ 116825 h 189795"/>
                  <a:gd name="connsiteX42" fmla="*/ 11691 w 130436"/>
                  <a:gd name="connsiteY42" fmla="*/ 100112 h 189795"/>
                  <a:gd name="connsiteX43" fmla="*/ 19183 w 130436"/>
                  <a:gd name="connsiteY43" fmla="*/ 89601 h 189795"/>
                  <a:gd name="connsiteX44" fmla="*/ 21241 w 130436"/>
                  <a:gd name="connsiteY44" fmla="*/ 86720 h 189795"/>
                  <a:gd name="connsiteX45" fmla="*/ 19183 w 130436"/>
                  <a:gd name="connsiteY45" fmla="*/ 72614 h 189795"/>
                  <a:gd name="connsiteX46" fmla="*/ 18771 w 130436"/>
                  <a:gd name="connsiteY46" fmla="*/ 69897 h 189795"/>
                  <a:gd name="connsiteX47" fmla="*/ 14216 w 130436"/>
                  <a:gd name="connsiteY47" fmla="*/ 61280 h 189795"/>
                  <a:gd name="connsiteX48" fmla="*/ 16246 w 130436"/>
                  <a:gd name="connsiteY48" fmla="*/ 55901 h 189795"/>
                  <a:gd name="connsiteX49" fmla="*/ 16164 w 130436"/>
                  <a:gd name="connsiteY49" fmla="*/ 49370 h 189795"/>
                  <a:gd name="connsiteX50" fmla="*/ 14188 w 130436"/>
                  <a:gd name="connsiteY50" fmla="*/ 46927 h 189795"/>
                  <a:gd name="connsiteX51" fmla="*/ 13447 w 130436"/>
                  <a:gd name="connsiteY51" fmla="*/ 41439 h 189795"/>
                  <a:gd name="connsiteX52" fmla="*/ 13337 w 130436"/>
                  <a:gd name="connsiteY52" fmla="*/ 26510 h 189795"/>
                  <a:gd name="connsiteX53" fmla="*/ 9056 w 130436"/>
                  <a:gd name="connsiteY53" fmla="*/ 15890 h 189795"/>
                  <a:gd name="connsiteX54" fmla="*/ 12212 w 130436"/>
                  <a:gd name="connsiteY54" fmla="*/ 4912 h 189795"/>
                  <a:gd name="connsiteX55" fmla="*/ 19155 w 130436"/>
                  <a:gd name="connsiteY55" fmla="*/ 4720 h 189795"/>
                  <a:gd name="connsiteX56" fmla="*/ 21213 w 130436"/>
                  <a:gd name="connsiteY56" fmla="*/ 4666 h 189795"/>
                  <a:gd name="connsiteX57" fmla="*/ 33563 w 130436"/>
                  <a:gd name="connsiteY57" fmla="*/ 4336 h 189795"/>
                  <a:gd name="connsiteX58" fmla="*/ 36801 w 130436"/>
                  <a:gd name="connsiteY58" fmla="*/ 4254 h 189795"/>
                  <a:gd name="connsiteX59" fmla="*/ 51812 w 130436"/>
                  <a:gd name="connsiteY59" fmla="*/ 3485 h 189795"/>
                  <a:gd name="connsiteX60" fmla="*/ 62076 w 130436"/>
                  <a:gd name="connsiteY60" fmla="*/ 4363 h 189795"/>
                  <a:gd name="connsiteX61" fmla="*/ 77856 w 130436"/>
                  <a:gd name="connsiteY61" fmla="*/ 5735 h 189795"/>
                  <a:gd name="connsiteX62" fmla="*/ 87433 w 130436"/>
                  <a:gd name="connsiteY62" fmla="*/ 0 h 189795"/>
                  <a:gd name="connsiteX63" fmla="*/ 90974 w 130436"/>
                  <a:gd name="connsiteY63" fmla="*/ 82 h 189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0436" h="189795">
                    <a:moveTo>
                      <a:pt x="90974" y="110"/>
                    </a:moveTo>
                    <a:lnTo>
                      <a:pt x="95886" y="3238"/>
                    </a:lnTo>
                    <a:lnTo>
                      <a:pt x="93498" y="13721"/>
                    </a:lnTo>
                    <a:lnTo>
                      <a:pt x="102856" y="22997"/>
                    </a:lnTo>
                    <a:lnTo>
                      <a:pt x="105381" y="25522"/>
                    </a:lnTo>
                    <a:lnTo>
                      <a:pt x="106533" y="32163"/>
                    </a:lnTo>
                    <a:lnTo>
                      <a:pt x="105628" y="44924"/>
                    </a:lnTo>
                    <a:lnTo>
                      <a:pt x="103049" y="49205"/>
                    </a:lnTo>
                    <a:lnTo>
                      <a:pt x="108592" y="50028"/>
                    </a:lnTo>
                    <a:lnTo>
                      <a:pt x="111089" y="53020"/>
                    </a:lnTo>
                    <a:lnTo>
                      <a:pt x="109003" y="61857"/>
                    </a:lnTo>
                    <a:lnTo>
                      <a:pt x="109799" y="67674"/>
                    </a:lnTo>
                    <a:lnTo>
                      <a:pt x="107494" y="72696"/>
                    </a:lnTo>
                    <a:lnTo>
                      <a:pt x="115892" y="83975"/>
                    </a:lnTo>
                    <a:lnTo>
                      <a:pt x="112681" y="90617"/>
                    </a:lnTo>
                    <a:lnTo>
                      <a:pt x="113202" y="100496"/>
                    </a:lnTo>
                    <a:lnTo>
                      <a:pt x="111089" y="107851"/>
                    </a:lnTo>
                    <a:lnTo>
                      <a:pt x="114080" y="114684"/>
                    </a:lnTo>
                    <a:lnTo>
                      <a:pt x="111638" y="128818"/>
                    </a:lnTo>
                    <a:lnTo>
                      <a:pt x="117346" y="139301"/>
                    </a:lnTo>
                    <a:lnTo>
                      <a:pt x="121819" y="142841"/>
                    </a:lnTo>
                    <a:lnTo>
                      <a:pt x="130437" y="149674"/>
                    </a:lnTo>
                    <a:lnTo>
                      <a:pt x="126348" y="152693"/>
                    </a:lnTo>
                    <a:lnTo>
                      <a:pt x="121819" y="159169"/>
                    </a:lnTo>
                    <a:lnTo>
                      <a:pt x="105930" y="159416"/>
                    </a:lnTo>
                    <a:lnTo>
                      <a:pt x="102884" y="160295"/>
                    </a:lnTo>
                    <a:lnTo>
                      <a:pt x="99563" y="161227"/>
                    </a:lnTo>
                    <a:lnTo>
                      <a:pt x="71160" y="175964"/>
                    </a:lnTo>
                    <a:lnTo>
                      <a:pt x="62076" y="178324"/>
                    </a:lnTo>
                    <a:lnTo>
                      <a:pt x="47696" y="182084"/>
                    </a:lnTo>
                    <a:lnTo>
                      <a:pt x="35868" y="189796"/>
                    </a:lnTo>
                    <a:lnTo>
                      <a:pt x="33590" y="188643"/>
                    </a:lnTo>
                    <a:lnTo>
                      <a:pt x="25824" y="184719"/>
                    </a:lnTo>
                    <a:lnTo>
                      <a:pt x="21241" y="183703"/>
                    </a:lnTo>
                    <a:lnTo>
                      <a:pt x="19183" y="183237"/>
                    </a:lnTo>
                    <a:lnTo>
                      <a:pt x="3842" y="179889"/>
                    </a:lnTo>
                    <a:lnTo>
                      <a:pt x="14435" y="176870"/>
                    </a:lnTo>
                    <a:lnTo>
                      <a:pt x="13557" y="166112"/>
                    </a:lnTo>
                    <a:lnTo>
                      <a:pt x="6339" y="159993"/>
                    </a:lnTo>
                    <a:lnTo>
                      <a:pt x="0" y="134306"/>
                    </a:lnTo>
                    <a:lnTo>
                      <a:pt x="1235" y="127418"/>
                    </a:lnTo>
                    <a:lnTo>
                      <a:pt x="7574" y="116825"/>
                    </a:lnTo>
                    <a:lnTo>
                      <a:pt x="11691" y="100112"/>
                    </a:lnTo>
                    <a:lnTo>
                      <a:pt x="19183" y="89601"/>
                    </a:lnTo>
                    <a:lnTo>
                      <a:pt x="21241" y="86720"/>
                    </a:lnTo>
                    <a:lnTo>
                      <a:pt x="19183" y="72614"/>
                    </a:lnTo>
                    <a:lnTo>
                      <a:pt x="18771" y="69897"/>
                    </a:lnTo>
                    <a:lnTo>
                      <a:pt x="14216" y="61280"/>
                    </a:lnTo>
                    <a:lnTo>
                      <a:pt x="16246" y="55901"/>
                    </a:lnTo>
                    <a:lnTo>
                      <a:pt x="16164" y="49370"/>
                    </a:lnTo>
                    <a:lnTo>
                      <a:pt x="14188" y="46927"/>
                    </a:lnTo>
                    <a:lnTo>
                      <a:pt x="13447" y="41439"/>
                    </a:lnTo>
                    <a:lnTo>
                      <a:pt x="13337" y="26510"/>
                    </a:lnTo>
                    <a:lnTo>
                      <a:pt x="9056" y="15890"/>
                    </a:lnTo>
                    <a:lnTo>
                      <a:pt x="12212" y="4912"/>
                    </a:lnTo>
                    <a:lnTo>
                      <a:pt x="19155" y="4720"/>
                    </a:lnTo>
                    <a:lnTo>
                      <a:pt x="21213" y="4666"/>
                    </a:lnTo>
                    <a:lnTo>
                      <a:pt x="33563" y="4336"/>
                    </a:lnTo>
                    <a:lnTo>
                      <a:pt x="36801" y="4254"/>
                    </a:lnTo>
                    <a:lnTo>
                      <a:pt x="51812" y="3485"/>
                    </a:lnTo>
                    <a:lnTo>
                      <a:pt x="62076" y="4363"/>
                    </a:lnTo>
                    <a:lnTo>
                      <a:pt x="77856" y="5735"/>
                    </a:lnTo>
                    <a:lnTo>
                      <a:pt x="87433" y="0"/>
                    </a:lnTo>
                    <a:lnTo>
                      <a:pt x="90974" y="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6" name="Freeform: Shape 3575">
                <a:extLst>
                  <a:ext uri="{FF2B5EF4-FFF2-40B4-BE49-F238E27FC236}">
                    <a16:creationId xmlns:a16="http://schemas.microsoft.com/office/drawing/2014/main" id="{61785628-A4A3-5A16-C5C9-AAA05C3FCC2F}"/>
                  </a:ext>
                </a:extLst>
              </p:cNvPr>
              <p:cNvSpPr/>
              <p:nvPr/>
            </p:nvSpPr>
            <p:spPr>
              <a:xfrm>
                <a:off x="1348976" y="3725366"/>
                <a:ext cx="37" cy="103"/>
              </a:xfrm>
              <a:custGeom>
                <a:avLst/>
                <a:gdLst>
                  <a:gd name="connsiteX0" fmla="*/ 357 w 356"/>
                  <a:gd name="connsiteY0" fmla="*/ 27 h 987"/>
                  <a:gd name="connsiteX1" fmla="*/ 110 w 356"/>
                  <a:gd name="connsiteY1" fmla="*/ 988 h 987"/>
                  <a:gd name="connsiteX2" fmla="*/ 0 w 356"/>
                  <a:gd name="connsiteY2" fmla="*/ 0 h 987"/>
                  <a:gd name="connsiteX3" fmla="*/ 357 w 356"/>
                  <a:gd name="connsiteY3" fmla="*/ 0 h 987"/>
                </a:gdLst>
                <a:ahLst/>
                <a:cxnLst>
                  <a:cxn ang="0">
                    <a:pos x="connsiteX0" y="connsiteY0"/>
                  </a:cxn>
                  <a:cxn ang="0">
                    <a:pos x="connsiteX1" y="connsiteY1"/>
                  </a:cxn>
                  <a:cxn ang="0">
                    <a:pos x="connsiteX2" y="connsiteY2"/>
                  </a:cxn>
                  <a:cxn ang="0">
                    <a:pos x="connsiteX3" y="connsiteY3"/>
                  </a:cxn>
                </a:cxnLst>
                <a:rect l="l" t="t" r="r" b="b"/>
                <a:pathLst>
                  <a:path w="356" h="987">
                    <a:moveTo>
                      <a:pt x="357" y="27"/>
                    </a:moveTo>
                    <a:lnTo>
                      <a:pt x="110" y="988"/>
                    </a:lnTo>
                    <a:lnTo>
                      <a:pt x="0" y="0"/>
                    </a:lnTo>
                    <a:lnTo>
                      <a:pt x="35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7" name="Freeform: Shape 3576">
                <a:extLst>
                  <a:ext uri="{FF2B5EF4-FFF2-40B4-BE49-F238E27FC236}">
                    <a16:creationId xmlns:a16="http://schemas.microsoft.com/office/drawing/2014/main" id="{5A8D49B9-D2DB-EC80-75B6-DB58C9B32445}"/>
                  </a:ext>
                </a:extLst>
              </p:cNvPr>
              <p:cNvSpPr/>
              <p:nvPr/>
            </p:nvSpPr>
            <p:spPr>
              <a:xfrm>
                <a:off x="1314142" y="3805243"/>
                <a:ext cx="9360" cy="5095"/>
              </a:xfrm>
              <a:custGeom>
                <a:avLst/>
                <a:gdLst>
                  <a:gd name="connsiteX0" fmla="*/ 89738 w 89738"/>
                  <a:gd name="connsiteY0" fmla="*/ 5104 h 48848"/>
                  <a:gd name="connsiteX1" fmla="*/ 88668 w 89738"/>
                  <a:gd name="connsiteY1" fmla="*/ 11581 h 48848"/>
                  <a:gd name="connsiteX2" fmla="*/ 81506 w 89738"/>
                  <a:gd name="connsiteY2" fmla="*/ 14654 h 48848"/>
                  <a:gd name="connsiteX3" fmla="*/ 88010 w 89738"/>
                  <a:gd name="connsiteY3" fmla="*/ 20610 h 48848"/>
                  <a:gd name="connsiteX4" fmla="*/ 88064 w 89738"/>
                  <a:gd name="connsiteY4" fmla="*/ 25879 h 48848"/>
                  <a:gd name="connsiteX5" fmla="*/ 86994 w 89738"/>
                  <a:gd name="connsiteY5" fmla="*/ 29474 h 48848"/>
                  <a:gd name="connsiteX6" fmla="*/ 72285 w 89738"/>
                  <a:gd name="connsiteY6" fmla="*/ 30681 h 48848"/>
                  <a:gd name="connsiteX7" fmla="*/ 65287 w 89738"/>
                  <a:gd name="connsiteY7" fmla="*/ 35072 h 48848"/>
                  <a:gd name="connsiteX8" fmla="*/ 59963 w 89738"/>
                  <a:gd name="connsiteY8" fmla="*/ 36060 h 48848"/>
                  <a:gd name="connsiteX9" fmla="*/ 53679 w 89738"/>
                  <a:gd name="connsiteY9" fmla="*/ 46571 h 48848"/>
                  <a:gd name="connsiteX10" fmla="*/ 53130 w 89738"/>
                  <a:gd name="connsiteY10" fmla="*/ 47531 h 48848"/>
                  <a:gd name="connsiteX11" fmla="*/ 52883 w 89738"/>
                  <a:gd name="connsiteY11" fmla="*/ 47998 h 48848"/>
                  <a:gd name="connsiteX12" fmla="*/ 50495 w 89738"/>
                  <a:gd name="connsiteY12" fmla="*/ 48848 h 48848"/>
                  <a:gd name="connsiteX13" fmla="*/ 48904 w 89738"/>
                  <a:gd name="connsiteY13" fmla="*/ 45665 h 48848"/>
                  <a:gd name="connsiteX14" fmla="*/ 41439 w 89738"/>
                  <a:gd name="connsiteY14" fmla="*/ 43854 h 48848"/>
                  <a:gd name="connsiteX15" fmla="*/ 40643 w 89738"/>
                  <a:gd name="connsiteY15" fmla="*/ 37075 h 48848"/>
                  <a:gd name="connsiteX16" fmla="*/ 36334 w 89738"/>
                  <a:gd name="connsiteY16" fmla="*/ 30407 h 48848"/>
                  <a:gd name="connsiteX17" fmla="*/ 38283 w 89738"/>
                  <a:gd name="connsiteY17" fmla="*/ 23656 h 48848"/>
                  <a:gd name="connsiteX18" fmla="*/ 26949 w 89738"/>
                  <a:gd name="connsiteY18" fmla="*/ 26455 h 48848"/>
                  <a:gd name="connsiteX19" fmla="*/ 22174 w 89738"/>
                  <a:gd name="connsiteY19" fmla="*/ 24424 h 48848"/>
                  <a:gd name="connsiteX20" fmla="*/ 17124 w 89738"/>
                  <a:gd name="connsiteY20" fmla="*/ 25440 h 48848"/>
                  <a:gd name="connsiteX21" fmla="*/ 13831 w 89738"/>
                  <a:gd name="connsiteY21" fmla="*/ 23025 h 48848"/>
                  <a:gd name="connsiteX22" fmla="*/ 12926 w 89738"/>
                  <a:gd name="connsiteY22" fmla="*/ 20143 h 48848"/>
                  <a:gd name="connsiteX23" fmla="*/ 17783 w 89738"/>
                  <a:gd name="connsiteY23" fmla="*/ 11526 h 48848"/>
                  <a:gd name="connsiteX24" fmla="*/ 5928 w 89738"/>
                  <a:gd name="connsiteY24" fmla="*/ 12322 h 48848"/>
                  <a:gd name="connsiteX25" fmla="*/ 0 w 89738"/>
                  <a:gd name="connsiteY25" fmla="*/ 10209 h 48848"/>
                  <a:gd name="connsiteX26" fmla="*/ 9001 w 89738"/>
                  <a:gd name="connsiteY26" fmla="*/ 9578 h 48848"/>
                  <a:gd name="connsiteX27" fmla="*/ 16411 w 89738"/>
                  <a:gd name="connsiteY27" fmla="*/ 6531 h 48848"/>
                  <a:gd name="connsiteX28" fmla="*/ 29885 w 89738"/>
                  <a:gd name="connsiteY28" fmla="*/ 7656 h 48848"/>
                  <a:gd name="connsiteX29" fmla="*/ 31532 w 89738"/>
                  <a:gd name="connsiteY29" fmla="*/ 7218 h 48848"/>
                  <a:gd name="connsiteX30" fmla="*/ 35895 w 89738"/>
                  <a:gd name="connsiteY30" fmla="*/ 5104 h 48848"/>
                  <a:gd name="connsiteX31" fmla="*/ 45857 w 89738"/>
                  <a:gd name="connsiteY31" fmla="*/ 0 h 48848"/>
                  <a:gd name="connsiteX32" fmla="*/ 88202 w 89738"/>
                  <a:gd name="connsiteY32" fmla="*/ 55 h 48848"/>
                  <a:gd name="connsiteX33" fmla="*/ 89738 w 89738"/>
                  <a:gd name="connsiteY33" fmla="*/ 5104 h 4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9738" h="48848">
                    <a:moveTo>
                      <a:pt x="89738" y="5104"/>
                    </a:moveTo>
                    <a:lnTo>
                      <a:pt x="88668" y="11581"/>
                    </a:lnTo>
                    <a:lnTo>
                      <a:pt x="81506" y="14654"/>
                    </a:lnTo>
                    <a:lnTo>
                      <a:pt x="88010" y="20610"/>
                    </a:lnTo>
                    <a:lnTo>
                      <a:pt x="88064" y="25879"/>
                    </a:lnTo>
                    <a:lnTo>
                      <a:pt x="86994" y="29474"/>
                    </a:lnTo>
                    <a:lnTo>
                      <a:pt x="72285" y="30681"/>
                    </a:lnTo>
                    <a:lnTo>
                      <a:pt x="65287" y="35072"/>
                    </a:lnTo>
                    <a:lnTo>
                      <a:pt x="59963" y="36060"/>
                    </a:lnTo>
                    <a:lnTo>
                      <a:pt x="53679" y="46571"/>
                    </a:lnTo>
                    <a:lnTo>
                      <a:pt x="53130" y="47531"/>
                    </a:lnTo>
                    <a:lnTo>
                      <a:pt x="52883" y="47998"/>
                    </a:lnTo>
                    <a:lnTo>
                      <a:pt x="50495" y="48848"/>
                    </a:lnTo>
                    <a:lnTo>
                      <a:pt x="48904" y="45665"/>
                    </a:lnTo>
                    <a:lnTo>
                      <a:pt x="41439" y="43854"/>
                    </a:lnTo>
                    <a:lnTo>
                      <a:pt x="40643" y="37075"/>
                    </a:lnTo>
                    <a:lnTo>
                      <a:pt x="36334" y="30407"/>
                    </a:lnTo>
                    <a:lnTo>
                      <a:pt x="38283" y="23656"/>
                    </a:lnTo>
                    <a:lnTo>
                      <a:pt x="26949" y="26455"/>
                    </a:lnTo>
                    <a:lnTo>
                      <a:pt x="22174" y="24424"/>
                    </a:lnTo>
                    <a:lnTo>
                      <a:pt x="17124" y="25440"/>
                    </a:lnTo>
                    <a:lnTo>
                      <a:pt x="13831" y="23025"/>
                    </a:lnTo>
                    <a:lnTo>
                      <a:pt x="12926" y="20143"/>
                    </a:lnTo>
                    <a:lnTo>
                      <a:pt x="17783" y="11526"/>
                    </a:lnTo>
                    <a:lnTo>
                      <a:pt x="5928" y="12322"/>
                    </a:lnTo>
                    <a:lnTo>
                      <a:pt x="0" y="10209"/>
                    </a:lnTo>
                    <a:lnTo>
                      <a:pt x="9001" y="9578"/>
                    </a:lnTo>
                    <a:lnTo>
                      <a:pt x="16411" y="6531"/>
                    </a:lnTo>
                    <a:lnTo>
                      <a:pt x="29885" y="7656"/>
                    </a:lnTo>
                    <a:lnTo>
                      <a:pt x="31532" y="7218"/>
                    </a:lnTo>
                    <a:lnTo>
                      <a:pt x="35895" y="5104"/>
                    </a:lnTo>
                    <a:lnTo>
                      <a:pt x="45857" y="0"/>
                    </a:lnTo>
                    <a:lnTo>
                      <a:pt x="88202" y="55"/>
                    </a:lnTo>
                    <a:lnTo>
                      <a:pt x="89738" y="51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8" name="Freeform: Shape 3577">
                <a:extLst>
                  <a:ext uri="{FF2B5EF4-FFF2-40B4-BE49-F238E27FC236}">
                    <a16:creationId xmlns:a16="http://schemas.microsoft.com/office/drawing/2014/main" id="{C3325611-62F0-7DFB-8C7B-04EBE13A3A6E}"/>
                  </a:ext>
                </a:extLst>
              </p:cNvPr>
              <p:cNvSpPr/>
              <p:nvPr/>
            </p:nvSpPr>
            <p:spPr>
              <a:xfrm>
                <a:off x="1315636" y="3809883"/>
                <a:ext cx="936" cy="524"/>
              </a:xfrm>
              <a:custGeom>
                <a:avLst/>
                <a:gdLst>
                  <a:gd name="connsiteX0" fmla="*/ 6202 w 8973"/>
                  <a:gd name="connsiteY0" fmla="*/ 357 h 5021"/>
                  <a:gd name="connsiteX1" fmla="*/ 6998 w 8973"/>
                  <a:gd name="connsiteY1" fmla="*/ 2113 h 5021"/>
                  <a:gd name="connsiteX2" fmla="*/ 8919 w 8973"/>
                  <a:gd name="connsiteY2" fmla="*/ 2113 h 5021"/>
                  <a:gd name="connsiteX3" fmla="*/ 8974 w 8973"/>
                  <a:gd name="connsiteY3" fmla="*/ 4473 h 5021"/>
                  <a:gd name="connsiteX4" fmla="*/ 2635 w 8973"/>
                  <a:gd name="connsiteY4" fmla="*/ 5022 h 5021"/>
                  <a:gd name="connsiteX5" fmla="*/ 0 w 8973"/>
                  <a:gd name="connsiteY5" fmla="*/ 3924 h 5021"/>
                  <a:gd name="connsiteX6" fmla="*/ 3348 w 8973"/>
                  <a:gd name="connsiteY6" fmla="*/ 0 h 5021"/>
                  <a:gd name="connsiteX7" fmla="*/ 6175 w 8973"/>
                  <a:gd name="connsiteY7" fmla="*/ 384 h 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73" h="5021">
                    <a:moveTo>
                      <a:pt x="6202" y="357"/>
                    </a:moveTo>
                    <a:lnTo>
                      <a:pt x="6998" y="2113"/>
                    </a:lnTo>
                    <a:lnTo>
                      <a:pt x="8919" y="2113"/>
                    </a:lnTo>
                    <a:lnTo>
                      <a:pt x="8974" y="4473"/>
                    </a:lnTo>
                    <a:lnTo>
                      <a:pt x="2635" y="5022"/>
                    </a:lnTo>
                    <a:lnTo>
                      <a:pt x="0" y="3924"/>
                    </a:lnTo>
                    <a:lnTo>
                      <a:pt x="3348" y="0"/>
                    </a:lnTo>
                    <a:lnTo>
                      <a:pt x="6175"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9" name="Freeform: Shape 3578">
                <a:extLst>
                  <a:ext uri="{FF2B5EF4-FFF2-40B4-BE49-F238E27FC236}">
                    <a16:creationId xmlns:a16="http://schemas.microsoft.com/office/drawing/2014/main" id="{5453478B-2CBB-0534-B75A-08AD3A1CCAE4}"/>
                  </a:ext>
                </a:extLst>
              </p:cNvPr>
              <p:cNvSpPr/>
              <p:nvPr/>
            </p:nvSpPr>
            <p:spPr>
              <a:xfrm>
                <a:off x="1316540" y="3809253"/>
                <a:ext cx="618" cy="675"/>
              </a:xfrm>
              <a:custGeom>
                <a:avLst/>
                <a:gdLst>
                  <a:gd name="connsiteX0" fmla="*/ 2717 w 5927"/>
                  <a:gd name="connsiteY0" fmla="*/ 3540 h 6476"/>
                  <a:gd name="connsiteX1" fmla="*/ 3074 w 5927"/>
                  <a:gd name="connsiteY1" fmla="*/ 6477 h 6476"/>
                  <a:gd name="connsiteX2" fmla="*/ 0 w 5927"/>
                  <a:gd name="connsiteY2" fmla="*/ 5653 h 6476"/>
                  <a:gd name="connsiteX3" fmla="*/ 2854 w 5927"/>
                  <a:gd name="connsiteY3" fmla="*/ 549 h 6476"/>
                  <a:gd name="connsiteX4" fmla="*/ 4994 w 5927"/>
                  <a:gd name="connsiteY4" fmla="*/ 0 h 6476"/>
                  <a:gd name="connsiteX5" fmla="*/ 5928 w 5927"/>
                  <a:gd name="connsiteY5" fmla="*/ 1592 h 6476"/>
                  <a:gd name="connsiteX6" fmla="*/ 2744 w 5927"/>
                  <a:gd name="connsiteY6" fmla="*/ 3540 h 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7" h="6476">
                    <a:moveTo>
                      <a:pt x="2717" y="3540"/>
                    </a:moveTo>
                    <a:lnTo>
                      <a:pt x="3074" y="6477"/>
                    </a:lnTo>
                    <a:lnTo>
                      <a:pt x="0" y="5653"/>
                    </a:lnTo>
                    <a:lnTo>
                      <a:pt x="2854" y="549"/>
                    </a:lnTo>
                    <a:lnTo>
                      <a:pt x="4994" y="0"/>
                    </a:lnTo>
                    <a:lnTo>
                      <a:pt x="5928" y="1592"/>
                    </a:lnTo>
                    <a:lnTo>
                      <a:pt x="2744"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0" name="Freeform: Shape 3579">
                <a:extLst>
                  <a:ext uri="{FF2B5EF4-FFF2-40B4-BE49-F238E27FC236}">
                    <a16:creationId xmlns:a16="http://schemas.microsoft.com/office/drawing/2014/main" id="{3B4A4758-055D-C969-516C-607EE3B80797}"/>
                  </a:ext>
                </a:extLst>
              </p:cNvPr>
              <p:cNvSpPr/>
              <p:nvPr/>
            </p:nvSpPr>
            <p:spPr>
              <a:xfrm>
                <a:off x="1316102" y="3808729"/>
                <a:ext cx="507" cy="426"/>
              </a:xfrm>
              <a:custGeom>
                <a:avLst/>
                <a:gdLst>
                  <a:gd name="connsiteX0" fmla="*/ 4857 w 4857"/>
                  <a:gd name="connsiteY0" fmla="*/ 2964 h 4088"/>
                  <a:gd name="connsiteX1" fmla="*/ 3513 w 4857"/>
                  <a:gd name="connsiteY1" fmla="*/ 4089 h 4088"/>
                  <a:gd name="connsiteX2" fmla="*/ 0 w 4857"/>
                  <a:gd name="connsiteY2" fmla="*/ 3787 h 4088"/>
                  <a:gd name="connsiteX3" fmla="*/ 247 w 4857"/>
                  <a:gd name="connsiteY3" fmla="*/ 2964 h 4088"/>
                  <a:gd name="connsiteX4" fmla="*/ 4830 w 4857"/>
                  <a:gd name="connsiteY4" fmla="*/ 0 h 4088"/>
                  <a:gd name="connsiteX5" fmla="*/ 4830 w 4857"/>
                  <a:gd name="connsiteY5" fmla="*/ 2964 h 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 h="4088">
                    <a:moveTo>
                      <a:pt x="4857" y="2964"/>
                    </a:moveTo>
                    <a:lnTo>
                      <a:pt x="3513" y="4089"/>
                    </a:lnTo>
                    <a:lnTo>
                      <a:pt x="0" y="3787"/>
                    </a:lnTo>
                    <a:lnTo>
                      <a:pt x="247" y="2964"/>
                    </a:lnTo>
                    <a:lnTo>
                      <a:pt x="4830" y="0"/>
                    </a:lnTo>
                    <a:lnTo>
                      <a:pt x="4830"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1" name="Freeform: Shape 3580">
                <a:extLst>
                  <a:ext uri="{FF2B5EF4-FFF2-40B4-BE49-F238E27FC236}">
                    <a16:creationId xmlns:a16="http://schemas.microsoft.com/office/drawing/2014/main" id="{48A0B26C-CA81-B77E-90A1-55B6D5CBD99E}"/>
                  </a:ext>
                </a:extLst>
              </p:cNvPr>
              <p:cNvSpPr/>
              <p:nvPr/>
            </p:nvSpPr>
            <p:spPr>
              <a:xfrm>
                <a:off x="1315404" y="3809525"/>
                <a:ext cx="475" cy="318"/>
              </a:xfrm>
              <a:custGeom>
                <a:avLst/>
                <a:gdLst>
                  <a:gd name="connsiteX0" fmla="*/ 4556 w 4555"/>
                  <a:gd name="connsiteY0" fmla="*/ 1372 h 3046"/>
                  <a:gd name="connsiteX1" fmla="*/ 2991 w 4555"/>
                  <a:gd name="connsiteY1" fmla="*/ 3046 h 3046"/>
                  <a:gd name="connsiteX2" fmla="*/ 0 w 4555"/>
                  <a:gd name="connsiteY2" fmla="*/ 2360 h 3046"/>
                  <a:gd name="connsiteX3" fmla="*/ 2579 w 4555"/>
                  <a:gd name="connsiteY3" fmla="*/ 0 h 3046"/>
                  <a:gd name="connsiteX4" fmla="*/ 4528 w 4555"/>
                  <a:gd name="connsiteY4" fmla="*/ 1400 h 3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3046">
                    <a:moveTo>
                      <a:pt x="4556" y="1372"/>
                    </a:moveTo>
                    <a:lnTo>
                      <a:pt x="2991" y="3046"/>
                    </a:lnTo>
                    <a:lnTo>
                      <a:pt x="0" y="2360"/>
                    </a:lnTo>
                    <a:lnTo>
                      <a:pt x="2579" y="0"/>
                    </a:lnTo>
                    <a:lnTo>
                      <a:pt x="4528" y="14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2" name="Freeform: Shape 3581">
                <a:extLst>
                  <a:ext uri="{FF2B5EF4-FFF2-40B4-BE49-F238E27FC236}">
                    <a16:creationId xmlns:a16="http://schemas.microsoft.com/office/drawing/2014/main" id="{A0473D22-D0EB-4CD0-3FD6-EDBEE31375C5}"/>
                  </a:ext>
                </a:extLst>
              </p:cNvPr>
              <p:cNvSpPr/>
              <p:nvPr/>
            </p:nvSpPr>
            <p:spPr>
              <a:xfrm>
                <a:off x="1317027" y="3809525"/>
                <a:ext cx="266" cy="444"/>
              </a:xfrm>
              <a:custGeom>
                <a:avLst/>
                <a:gdLst>
                  <a:gd name="connsiteX0" fmla="*/ 2552 w 2552"/>
                  <a:gd name="connsiteY0" fmla="*/ 2497 h 4253"/>
                  <a:gd name="connsiteX1" fmla="*/ 1043 w 2552"/>
                  <a:gd name="connsiteY1" fmla="*/ 4254 h 4253"/>
                  <a:gd name="connsiteX2" fmla="*/ 0 w 2552"/>
                  <a:gd name="connsiteY2" fmla="*/ 3924 h 4253"/>
                  <a:gd name="connsiteX3" fmla="*/ 549 w 2552"/>
                  <a:gd name="connsiteY3" fmla="*/ 878 h 4253"/>
                  <a:gd name="connsiteX4" fmla="*/ 2552 w 2552"/>
                  <a:gd name="connsiteY4" fmla="*/ 0 h 4253"/>
                  <a:gd name="connsiteX5" fmla="*/ 2552 w 2552"/>
                  <a:gd name="connsiteY5" fmla="*/ 2497 h 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 h="4253">
                    <a:moveTo>
                      <a:pt x="2552" y="2497"/>
                    </a:moveTo>
                    <a:lnTo>
                      <a:pt x="1043" y="4254"/>
                    </a:lnTo>
                    <a:lnTo>
                      <a:pt x="0" y="3924"/>
                    </a:lnTo>
                    <a:lnTo>
                      <a:pt x="549" y="878"/>
                    </a:lnTo>
                    <a:lnTo>
                      <a:pt x="2552" y="0"/>
                    </a:lnTo>
                    <a:lnTo>
                      <a:pt x="2552"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3" name="Freeform: Shape 3582">
                <a:extLst>
                  <a:ext uri="{FF2B5EF4-FFF2-40B4-BE49-F238E27FC236}">
                    <a16:creationId xmlns:a16="http://schemas.microsoft.com/office/drawing/2014/main" id="{4E251CE8-DA2F-704D-3398-DFE626F998A7}"/>
                  </a:ext>
                </a:extLst>
              </p:cNvPr>
              <p:cNvSpPr/>
              <p:nvPr/>
            </p:nvSpPr>
            <p:spPr>
              <a:xfrm>
                <a:off x="1315080" y="3808706"/>
                <a:ext cx="449" cy="243"/>
              </a:xfrm>
              <a:custGeom>
                <a:avLst/>
                <a:gdLst>
                  <a:gd name="connsiteX0" fmla="*/ 3403 w 4308"/>
                  <a:gd name="connsiteY0" fmla="*/ 2223 h 2332"/>
                  <a:gd name="connsiteX1" fmla="*/ 0 w 4308"/>
                  <a:gd name="connsiteY1" fmla="*/ 2333 h 2332"/>
                  <a:gd name="connsiteX2" fmla="*/ 0 w 4308"/>
                  <a:gd name="connsiteY2" fmla="*/ 741 h 2332"/>
                  <a:gd name="connsiteX3" fmla="*/ 3513 w 4308"/>
                  <a:gd name="connsiteY3" fmla="*/ 0 h 2332"/>
                  <a:gd name="connsiteX4" fmla="*/ 4308 w 4308"/>
                  <a:gd name="connsiteY4" fmla="*/ 1043 h 2332"/>
                  <a:gd name="connsiteX5" fmla="*/ 3403 w 4308"/>
                  <a:gd name="connsiteY5" fmla="*/ 2223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8" h="2332">
                    <a:moveTo>
                      <a:pt x="3403" y="2223"/>
                    </a:moveTo>
                    <a:lnTo>
                      <a:pt x="0" y="2333"/>
                    </a:lnTo>
                    <a:lnTo>
                      <a:pt x="0" y="741"/>
                    </a:lnTo>
                    <a:lnTo>
                      <a:pt x="3513" y="0"/>
                    </a:lnTo>
                    <a:lnTo>
                      <a:pt x="4308" y="1043"/>
                    </a:lnTo>
                    <a:lnTo>
                      <a:pt x="3403"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4" name="Freeform: Shape 3583">
                <a:extLst>
                  <a:ext uri="{FF2B5EF4-FFF2-40B4-BE49-F238E27FC236}">
                    <a16:creationId xmlns:a16="http://schemas.microsoft.com/office/drawing/2014/main" id="{DBE6D90E-F711-62F2-EB82-46871CB73858}"/>
                  </a:ext>
                </a:extLst>
              </p:cNvPr>
              <p:cNvSpPr/>
              <p:nvPr/>
            </p:nvSpPr>
            <p:spPr>
              <a:xfrm>
                <a:off x="1177122" y="3818178"/>
                <a:ext cx="15013" cy="22670"/>
              </a:xfrm>
              <a:custGeom>
                <a:avLst/>
                <a:gdLst>
                  <a:gd name="connsiteX0" fmla="*/ 124701 w 143938"/>
                  <a:gd name="connsiteY0" fmla="*/ 79969 h 217348"/>
                  <a:gd name="connsiteX1" fmla="*/ 124070 w 143938"/>
                  <a:gd name="connsiteY1" fmla="*/ 85814 h 217348"/>
                  <a:gd name="connsiteX2" fmla="*/ 119843 w 143938"/>
                  <a:gd name="connsiteY2" fmla="*/ 94596 h 217348"/>
                  <a:gd name="connsiteX3" fmla="*/ 122615 w 143938"/>
                  <a:gd name="connsiteY3" fmla="*/ 99453 h 217348"/>
                  <a:gd name="connsiteX4" fmla="*/ 119871 w 143938"/>
                  <a:gd name="connsiteY4" fmla="*/ 100551 h 217348"/>
                  <a:gd name="connsiteX5" fmla="*/ 117374 w 143938"/>
                  <a:gd name="connsiteY5" fmla="*/ 104530 h 217348"/>
                  <a:gd name="connsiteX6" fmla="*/ 109497 w 143938"/>
                  <a:gd name="connsiteY6" fmla="*/ 104585 h 217348"/>
                  <a:gd name="connsiteX7" fmla="*/ 103487 w 143938"/>
                  <a:gd name="connsiteY7" fmla="*/ 107769 h 217348"/>
                  <a:gd name="connsiteX8" fmla="*/ 101923 w 143938"/>
                  <a:gd name="connsiteY8" fmla="*/ 110540 h 217348"/>
                  <a:gd name="connsiteX9" fmla="*/ 103817 w 143938"/>
                  <a:gd name="connsiteY9" fmla="*/ 115315 h 217348"/>
                  <a:gd name="connsiteX10" fmla="*/ 100880 w 143938"/>
                  <a:gd name="connsiteY10" fmla="*/ 121600 h 217348"/>
                  <a:gd name="connsiteX11" fmla="*/ 98630 w 143938"/>
                  <a:gd name="connsiteY11" fmla="*/ 128214 h 217348"/>
                  <a:gd name="connsiteX12" fmla="*/ 98712 w 143938"/>
                  <a:gd name="connsiteY12" fmla="*/ 134251 h 217348"/>
                  <a:gd name="connsiteX13" fmla="*/ 104393 w 143938"/>
                  <a:gd name="connsiteY13" fmla="*/ 143527 h 217348"/>
                  <a:gd name="connsiteX14" fmla="*/ 109333 w 143938"/>
                  <a:gd name="connsiteY14" fmla="*/ 147753 h 217348"/>
                  <a:gd name="connsiteX15" fmla="*/ 109333 w 143938"/>
                  <a:gd name="connsiteY15" fmla="*/ 152089 h 217348"/>
                  <a:gd name="connsiteX16" fmla="*/ 119651 w 143938"/>
                  <a:gd name="connsiteY16" fmla="*/ 153022 h 217348"/>
                  <a:gd name="connsiteX17" fmla="*/ 122944 w 143938"/>
                  <a:gd name="connsiteY17" fmla="*/ 168418 h 217348"/>
                  <a:gd name="connsiteX18" fmla="*/ 127665 w 143938"/>
                  <a:gd name="connsiteY18" fmla="*/ 173989 h 217348"/>
                  <a:gd name="connsiteX19" fmla="*/ 137324 w 143938"/>
                  <a:gd name="connsiteY19" fmla="*/ 191580 h 217348"/>
                  <a:gd name="connsiteX20" fmla="*/ 143938 w 143938"/>
                  <a:gd name="connsiteY20" fmla="*/ 194681 h 217348"/>
                  <a:gd name="connsiteX21" fmla="*/ 134141 w 143938"/>
                  <a:gd name="connsiteY21" fmla="*/ 196656 h 217348"/>
                  <a:gd name="connsiteX22" fmla="*/ 125771 w 143938"/>
                  <a:gd name="connsiteY22" fmla="*/ 193034 h 217348"/>
                  <a:gd name="connsiteX23" fmla="*/ 119432 w 143938"/>
                  <a:gd name="connsiteY23" fmla="*/ 193912 h 217348"/>
                  <a:gd name="connsiteX24" fmla="*/ 112159 w 143938"/>
                  <a:gd name="connsiteY24" fmla="*/ 201678 h 217348"/>
                  <a:gd name="connsiteX25" fmla="*/ 101923 w 143938"/>
                  <a:gd name="connsiteY25" fmla="*/ 203298 h 217348"/>
                  <a:gd name="connsiteX26" fmla="*/ 99151 w 143938"/>
                  <a:gd name="connsiteY26" fmla="*/ 203298 h 217348"/>
                  <a:gd name="connsiteX27" fmla="*/ 98328 w 143938"/>
                  <a:gd name="connsiteY27" fmla="*/ 207441 h 217348"/>
                  <a:gd name="connsiteX28" fmla="*/ 89327 w 143938"/>
                  <a:gd name="connsiteY28" fmla="*/ 205767 h 217348"/>
                  <a:gd name="connsiteX29" fmla="*/ 85210 w 143938"/>
                  <a:gd name="connsiteY29" fmla="*/ 209527 h 217348"/>
                  <a:gd name="connsiteX30" fmla="*/ 84442 w 143938"/>
                  <a:gd name="connsiteY30" fmla="*/ 214110 h 217348"/>
                  <a:gd name="connsiteX31" fmla="*/ 79008 w 143938"/>
                  <a:gd name="connsiteY31" fmla="*/ 214412 h 217348"/>
                  <a:gd name="connsiteX32" fmla="*/ 75578 w 143938"/>
                  <a:gd name="connsiteY32" fmla="*/ 217349 h 217348"/>
                  <a:gd name="connsiteX33" fmla="*/ 70830 w 143938"/>
                  <a:gd name="connsiteY33" fmla="*/ 213452 h 217348"/>
                  <a:gd name="connsiteX34" fmla="*/ 62899 w 143938"/>
                  <a:gd name="connsiteY34" fmla="*/ 211037 h 217348"/>
                  <a:gd name="connsiteX35" fmla="*/ 55188 w 143938"/>
                  <a:gd name="connsiteY35" fmla="*/ 203298 h 217348"/>
                  <a:gd name="connsiteX36" fmla="*/ 47805 w 143938"/>
                  <a:gd name="connsiteY36" fmla="*/ 196711 h 217348"/>
                  <a:gd name="connsiteX37" fmla="*/ 47970 w 143938"/>
                  <a:gd name="connsiteY37" fmla="*/ 185350 h 217348"/>
                  <a:gd name="connsiteX38" fmla="*/ 43387 w 143938"/>
                  <a:gd name="connsiteY38" fmla="*/ 181645 h 217348"/>
                  <a:gd name="connsiteX39" fmla="*/ 40670 w 143938"/>
                  <a:gd name="connsiteY39" fmla="*/ 172507 h 217348"/>
                  <a:gd name="connsiteX40" fmla="*/ 41603 w 143938"/>
                  <a:gd name="connsiteY40" fmla="*/ 162435 h 217348"/>
                  <a:gd name="connsiteX41" fmla="*/ 46049 w 143938"/>
                  <a:gd name="connsiteY41" fmla="*/ 152363 h 217348"/>
                  <a:gd name="connsiteX42" fmla="*/ 44842 w 143938"/>
                  <a:gd name="connsiteY42" fmla="*/ 146546 h 217348"/>
                  <a:gd name="connsiteX43" fmla="*/ 49562 w 143938"/>
                  <a:gd name="connsiteY43" fmla="*/ 143060 h 217348"/>
                  <a:gd name="connsiteX44" fmla="*/ 53871 w 143938"/>
                  <a:gd name="connsiteY44" fmla="*/ 135925 h 217348"/>
                  <a:gd name="connsiteX45" fmla="*/ 48848 w 143938"/>
                  <a:gd name="connsiteY45" fmla="*/ 128461 h 217348"/>
                  <a:gd name="connsiteX46" fmla="*/ 49370 w 143938"/>
                  <a:gd name="connsiteY46" fmla="*/ 123192 h 217348"/>
                  <a:gd name="connsiteX47" fmla="*/ 47367 w 143938"/>
                  <a:gd name="connsiteY47" fmla="*/ 121518 h 217348"/>
                  <a:gd name="connsiteX48" fmla="*/ 42317 w 143938"/>
                  <a:gd name="connsiteY48" fmla="*/ 119267 h 217348"/>
                  <a:gd name="connsiteX49" fmla="*/ 38695 w 143938"/>
                  <a:gd name="connsiteY49" fmla="*/ 119459 h 217348"/>
                  <a:gd name="connsiteX50" fmla="*/ 35676 w 143938"/>
                  <a:gd name="connsiteY50" fmla="*/ 118581 h 217348"/>
                  <a:gd name="connsiteX51" fmla="*/ 35758 w 143938"/>
                  <a:gd name="connsiteY51" fmla="*/ 117511 h 217348"/>
                  <a:gd name="connsiteX52" fmla="*/ 37734 w 143938"/>
                  <a:gd name="connsiteY52" fmla="*/ 116221 h 217348"/>
                  <a:gd name="connsiteX53" fmla="*/ 39243 w 143938"/>
                  <a:gd name="connsiteY53" fmla="*/ 113312 h 217348"/>
                  <a:gd name="connsiteX54" fmla="*/ 41082 w 143938"/>
                  <a:gd name="connsiteY54" fmla="*/ 102801 h 217348"/>
                  <a:gd name="connsiteX55" fmla="*/ 38091 w 143938"/>
                  <a:gd name="connsiteY55" fmla="*/ 100469 h 217348"/>
                  <a:gd name="connsiteX56" fmla="*/ 36581 w 143938"/>
                  <a:gd name="connsiteY56" fmla="*/ 97724 h 217348"/>
                  <a:gd name="connsiteX57" fmla="*/ 33782 w 143938"/>
                  <a:gd name="connsiteY57" fmla="*/ 97038 h 217348"/>
                  <a:gd name="connsiteX58" fmla="*/ 30599 w 143938"/>
                  <a:gd name="connsiteY58" fmla="*/ 98603 h 217348"/>
                  <a:gd name="connsiteX59" fmla="*/ 27388 w 143938"/>
                  <a:gd name="connsiteY59" fmla="*/ 99206 h 217348"/>
                  <a:gd name="connsiteX60" fmla="*/ 20829 w 143938"/>
                  <a:gd name="connsiteY60" fmla="*/ 98191 h 217348"/>
                  <a:gd name="connsiteX61" fmla="*/ 18798 w 143938"/>
                  <a:gd name="connsiteY61" fmla="*/ 98850 h 217348"/>
                  <a:gd name="connsiteX62" fmla="*/ 0 w 143938"/>
                  <a:gd name="connsiteY62" fmla="*/ 76127 h 217348"/>
                  <a:gd name="connsiteX63" fmla="*/ 7163 w 143938"/>
                  <a:gd name="connsiteY63" fmla="*/ 68525 h 217348"/>
                  <a:gd name="connsiteX64" fmla="*/ 5022 w 143938"/>
                  <a:gd name="connsiteY64" fmla="*/ 57932 h 217348"/>
                  <a:gd name="connsiteX65" fmla="*/ 6668 w 143938"/>
                  <a:gd name="connsiteY65" fmla="*/ 54310 h 217348"/>
                  <a:gd name="connsiteX66" fmla="*/ 14764 w 143938"/>
                  <a:gd name="connsiteY66" fmla="*/ 50989 h 217348"/>
                  <a:gd name="connsiteX67" fmla="*/ 19567 w 143938"/>
                  <a:gd name="connsiteY67" fmla="*/ 51648 h 217348"/>
                  <a:gd name="connsiteX68" fmla="*/ 30818 w 143938"/>
                  <a:gd name="connsiteY68" fmla="*/ 44238 h 217348"/>
                  <a:gd name="connsiteX69" fmla="*/ 31532 w 143938"/>
                  <a:gd name="connsiteY69" fmla="*/ 42152 h 217348"/>
                  <a:gd name="connsiteX70" fmla="*/ 29858 w 143938"/>
                  <a:gd name="connsiteY70" fmla="*/ 40369 h 217348"/>
                  <a:gd name="connsiteX71" fmla="*/ 24369 w 143938"/>
                  <a:gd name="connsiteY71" fmla="*/ 40973 h 217348"/>
                  <a:gd name="connsiteX72" fmla="*/ 22640 w 143938"/>
                  <a:gd name="connsiteY72" fmla="*/ 39710 h 217348"/>
                  <a:gd name="connsiteX73" fmla="*/ 19896 w 143938"/>
                  <a:gd name="connsiteY73" fmla="*/ 29474 h 217348"/>
                  <a:gd name="connsiteX74" fmla="*/ 24946 w 143938"/>
                  <a:gd name="connsiteY74" fmla="*/ 21406 h 217348"/>
                  <a:gd name="connsiteX75" fmla="*/ 29803 w 143938"/>
                  <a:gd name="connsiteY75" fmla="*/ 20280 h 217348"/>
                  <a:gd name="connsiteX76" fmla="*/ 39326 w 143938"/>
                  <a:gd name="connsiteY76" fmla="*/ 14490 h 217348"/>
                  <a:gd name="connsiteX77" fmla="*/ 41384 w 143938"/>
                  <a:gd name="connsiteY77" fmla="*/ 10374 h 217348"/>
                  <a:gd name="connsiteX78" fmla="*/ 44650 w 143938"/>
                  <a:gd name="connsiteY78" fmla="*/ 8425 h 217348"/>
                  <a:gd name="connsiteX79" fmla="*/ 44759 w 143938"/>
                  <a:gd name="connsiteY79" fmla="*/ 5735 h 217348"/>
                  <a:gd name="connsiteX80" fmla="*/ 40423 w 143938"/>
                  <a:gd name="connsiteY80" fmla="*/ 0 h 217348"/>
                  <a:gd name="connsiteX81" fmla="*/ 44540 w 143938"/>
                  <a:gd name="connsiteY81" fmla="*/ 4309 h 217348"/>
                  <a:gd name="connsiteX82" fmla="*/ 48931 w 143938"/>
                  <a:gd name="connsiteY82" fmla="*/ 4912 h 217348"/>
                  <a:gd name="connsiteX83" fmla="*/ 66933 w 143938"/>
                  <a:gd name="connsiteY83" fmla="*/ 15945 h 217348"/>
                  <a:gd name="connsiteX84" fmla="*/ 83783 w 143938"/>
                  <a:gd name="connsiteY84" fmla="*/ 34057 h 217348"/>
                  <a:gd name="connsiteX85" fmla="*/ 85210 w 143938"/>
                  <a:gd name="connsiteY85" fmla="*/ 41796 h 217348"/>
                  <a:gd name="connsiteX86" fmla="*/ 89848 w 143938"/>
                  <a:gd name="connsiteY86" fmla="*/ 48821 h 217348"/>
                  <a:gd name="connsiteX87" fmla="*/ 98712 w 143938"/>
                  <a:gd name="connsiteY87" fmla="*/ 51895 h 217348"/>
                  <a:gd name="connsiteX88" fmla="*/ 112351 w 143938"/>
                  <a:gd name="connsiteY88" fmla="*/ 65726 h 217348"/>
                  <a:gd name="connsiteX89" fmla="*/ 120145 w 143938"/>
                  <a:gd name="connsiteY89" fmla="*/ 68553 h 217348"/>
                  <a:gd name="connsiteX90" fmla="*/ 123521 w 143938"/>
                  <a:gd name="connsiteY90" fmla="*/ 72971 h 217348"/>
                  <a:gd name="connsiteX91" fmla="*/ 124536 w 143938"/>
                  <a:gd name="connsiteY91" fmla="*/ 79914 h 2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43938" h="217348">
                    <a:moveTo>
                      <a:pt x="124701" y="79969"/>
                    </a:moveTo>
                    <a:lnTo>
                      <a:pt x="124070" y="85814"/>
                    </a:lnTo>
                    <a:lnTo>
                      <a:pt x="119843" y="94596"/>
                    </a:lnTo>
                    <a:lnTo>
                      <a:pt x="122615" y="99453"/>
                    </a:lnTo>
                    <a:lnTo>
                      <a:pt x="119871" y="100551"/>
                    </a:lnTo>
                    <a:lnTo>
                      <a:pt x="117374" y="104530"/>
                    </a:lnTo>
                    <a:lnTo>
                      <a:pt x="109497" y="104585"/>
                    </a:lnTo>
                    <a:lnTo>
                      <a:pt x="103487" y="107769"/>
                    </a:lnTo>
                    <a:lnTo>
                      <a:pt x="101923" y="110540"/>
                    </a:lnTo>
                    <a:lnTo>
                      <a:pt x="103817" y="115315"/>
                    </a:lnTo>
                    <a:lnTo>
                      <a:pt x="100880" y="121600"/>
                    </a:lnTo>
                    <a:lnTo>
                      <a:pt x="98630" y="128214"/>
                    </a:lnTo>
                    <a:lnTo>
                      <a:pt x="98712" y="134251"/>
                    </a:lnTo>
                    <a:lnTo>
                      <a:pt x="104393" y="143527"/>
                    </a:lnTo>
                    <a:lnTo>
                      <a:pt x="109333" y="147753"/>
                    </a:lnTo>
                    <a:lnTo>
                      <a:pt x="109333" y="152089"/>
                    </a:lnTo>
                    <a:cubicBezTo>
                      <a:pt x="109333" y="152089"/>
                      <a:pt x="119651" y="153022"/>
                      <a:pt x="119651" y="153022"/>
                    </a:cubicBezTo>
                    <a:lnTo>
                      <a:pt x="122944" y="168418"/>
                    </a:lnTo>
                    <a:lnTo>
                      <a:pt x="127665" y="173989"/>
                    </a:lnTo>
                    <a:lnTo>
                      <a:pt x="137324" y="191580"/>
                    </a:lnTo>
                    <a:lnTo>
                      <a:pt x="143938" y="194681"/>
                    </a:lnTo>
                    <a:lnTo>
                      <a:pt x="134141" y="196656"/>
                    </a:lnTo>
                    <a:lnTo>
                      <a:pt x="125771" y="193034"/>
                    </a:lnTo>
                    <a:lnTo>
                      <a:pt x="119432" y="193912"/>
                    </a:lnTo>
                    <a:lnTo>
                      <a:pt x="112159" y="201678"/>
                    </a:lnTo>
                    <a:lnTo>
                      <a:pt x="101923" y="203298"/>
                    </a:lnTo>
                    <a:lnTo>
                      <a:pt x="99151" y="203298"/>
                    </a:lnTo>
                    <a:lnTo>
                      <a:pt x="98328" y="207441"/>
                    </a:lnTo>
                    <a:lnTo>
                      <a:pt x="89327" y="205767"/>
                    </a:lnTo>
                    <a:lnTo>
                      <a:pt x="85210" y="209527"/>
                    </a:lnTo>
                    <a:lnTo>
                      <a:pt x="84442" y="214110"/>
                    </a:lnTo>
                    <a:lnTo>
                      <a:pt x="79008" y="214412"/>
                    </a:lnTo>
                    <a:lnTo>
                      <a:pt x="75578" y="217349"/>
                    </a:lnTo>
                    <a:lnTo>
                      <a:pt x="70830" y="213452"/>
                    </a:lnTo>
                    <a:lnTo>
                      <a:pt x="62899" y="211037"/>
                    </a:lnTo>
                    <a:lnTo>
                      <a:pt x="55188" y="203298"/>
                    </a:lnTo>
                    <a:lnTo>
                      <a:pt x="47805" y="196711"/>
                    </a:lnTo>
                    <a:lnTo>
                      <a:pt x="47970" y="185350"/>
                    </a:lnTo>
                    <a:lnTo>
                      <a:pt x="43387" y="181645"/>
                    </a:lnTo>
                    <a:lnTo>
                      <a:pt x="40670" y="172507"/>
                    </a:lnTo>
                    <a:lnTo>
                      <a:pt x="41603" y="162435"/>
                    </a:lnTo>
                    <a:lnTo>
                      <a:pt x="46049" y="152363"/>
                    </a:lnTo>
                    <a:lnTo>
                      <a:pt x="44842" y="146546"/>
                    </a:lnTo>
                    <a:lnTo>
                      <a:pt x="49562" y="143060"/>
                    </a:lnTo>
                    <a:lnTo>
                      <a:pt x="53871" y="135925"/>
                    </a:lnTo>
                    <a:lnTo>
                      <a:pt x="48848" y="128461"/>
                    </a:lnTo>
                    <a:lnTo>
                      <a:pt x="49370" y="123192"/>
                    </a:lnTo>
                    <a:lnTo>
                      <a:pt x="47367" y="121518"/>
                    </a:lnTo>
                    <a:lnTo>
                      <a:pt x="42317" y="119267"/>
                    </a:lnTo>
                    <a:lnTo>
                      <a:pt x="38695" y="119459"/>
                    </a:lnTo>
                    <a:lnTo>
                      <a:pt x="35676" y="118581"/>
                    </a:lnTo>
                    <a:lnTo>
                      <a:pt x="35758" y="117511"/>
                    </a:lnTo>
                    <a:lnTo>
                      <a:pt x="37734" y="116221"/>
                    </a:lnTo>
                    <a:lnTo>
                      <a:pt x="39243" y="113312"/>
                    </a:lnTo>
                    <a:lnTo>
                      <a:pt x="41082" y="102801"/>
                    </a:lnTo>
                    <a:lnTo>
                      <a:pt x="38091" y="100469"/>
                    </a:lnTo>
                    <a:lnTo>
                      <a:pt x="36581" y="97724"/>
                    </a:lnTo>
                    <a:lnTo>
                      <a:pt x="33782" y="97038"/>
                    </a:lnTo>
                    <a:lnTo>
                      <a:pt x="30599" y="98603"/>
                    </a:lnTo>
                    <a:lnTo>
                      <a:pt x="27388" y="99206"/>
                    </a:lnTo>
                    <a:lnTo>
                      <a:pt x="20829" y="98191"/>
                    </a:lnTo>
                    <a:lnTo>
                      <a:pt x="18798" y="98850"/>
                    </a:lnTo>
                    <a:lnTo>
                      <a:pt x="0" y="76127"/>
                    </a:lnTo>
                    <a:lnTo>
                      <a:pt x="7163" y="68525"/>
                    </a:lnTo>
                    <a:lnTo>
                      <a:pt x="5022" y="57932"/>
                    </a:lnTo>
                    <a:lnTo>
                      <a:pt x="6668" y="54310"/>
                    </a:lnTo>
                    <a:lnTo>
                      <a:pt x="14764" y="50989"/>
                    </a:lnTo>
                    <a:lnTo>
                      <a:pt x="19567" y="51648"/>
                    </a:lnTo>
                    <a:lnTo>
                      <a:pt x="30818" y="44238"/>
                    </a:lnTo>
                    <a:lnTo>
                      <a:pt x="31532" y="42152"/>
                    </a:lnTo>
                    <a:lnTo>
                      <a:pt x="29858" y="40369"/>
                    </a:lnTo>
                    <a:lnTo>
                      <a:pt x="24369" y="40973"/>
                    </a:lnTo>
                    <a:lnTo>
                      <a:pt x="22640" y="39710"/>
                    </a:lnTo>
                    <a:lnTo>
                      <a:pt x="19896" y="29474"/>
                    </a:lnTo>
                    <a:lnTo>
                      <a:pt x="24946" y="21406"/>
                    </a:lnTo>
                    <a:lnTo>
                      <a:pt x="29803" y="20280"/>
                    </a:lnTo>
                    <a:lnTo>
                      <a:pt x="39326" y="14490"/>
                    </a:lnTo>
                    <a:lnTo>
                      <a:pt x="41384" y="10374"/>
                    </a:lnTo>
                    <a:lnTo>
                      <a:pt x="44650" y="8425"/>
                    </a:lnTo>
                    <a:lnTo>
                      <a:pt x="44759" y="5735"/>
                    </a:lnTo>
                    <a:lnTo>
                      <a:pt x="40423" y="0"/>
                    </a:lnTo>
                    <a:lnTo>
                      <a:pt x="44540" y="4309"/>
                    </a:lnTo>
                    <a:lnTo>
                      <a:pt x="48931" y="4912"/>
                    </a:lnTo>
                    <a:lnTo>
                      <a:pt x="66933" y="15945"/>
                    </a:lnTo>
                    <a:lnTo>
                      <a:pt x="83783" y="34057"/>
                    </a:lnTo>
                    <a:lnTo>
                      <a:pt x="85210" y="41796"/>
                    </a:lnTo>
                    <a:lnTo>
                      <a:pt x="89848" y="48821"/>
                    </a:lnTo>
                    <a:lnTo>
                      <a:pt x="98712" y="51895"/>
                    </a:lnTo>
                    <a:lnTo>
                      <a:pt x="112351" y="65726"/>
                    </a:lnTo>
                    <a:lnTo>
                      <a:pt x="120145" y="68553"/>
                    </a:lnTo>
                    <a:lnTo>
                      <a:pt x="123521" y="72971"/>
                    </a:lnTo>
                    <a:lnTo>
                      <a:pt x="124536" y="799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5" name="Freeform: Shape 3584">
                <a:extLst>
                  <a:ext uri="{FF2B5EF4-FFF2-40B4-BE49-F238E27FC236}">
                    <a16:creationId xmlns:a16="http://schemas.microsoft.com/office/drawing/2014/main" id="{7CF2635F-78A4-EB38-2297-243AEB377FF3}"/>
                  </a:ext>
                </a:extLst>
              </p:cNvPr>
              <p:cNvSpPr/>
              <p:nvPr/>
            </p:nvSpPr>
            <p:spPr>
              <a:xfrm>
                <a:off x="1714791" y="3773402"/>
                <a:ext cx="1414" cy="1113"/>
              </a:xfrm>
              <a:custGeom>
                <a:avLst/>
                <a:gdLst>
                  <a:gd name="connsiteX0" fmla="*/ 4089 w 13556"/>
                  <a:gd name="connsiteY0" fmla="*/ 1674 h 10675"/>
                  <a:gd name="connsiteX1" fmla="*/ 9880 w 13556"/>
                  <a:gd name="connsiteY1" fmla="*/ 0 h 10675"/>
                  <a:gd name="connsiteX2" fmla="*/ 13557 w 13556"/>
                  <a:gd name="connsiteY2" fmla="*/ 6092 h 10675"/>
                  <a:gd name="connsiteX3" fmla="*/ 11032 w 13556"/>
                  <a:gd name="connsiteY3" fmla="*/ 6888 h 10675"/>
                  <a:gd name="connsiteX4" fmla="*/ 9194 w 13556"/>
                  <a:gd name="connsiteY4" fmla="*/ 10675 h 10675"/>
                  <a:gd name="connsiteX5" fmla="*/ 5516 w 13556"/>
                  <a:gd name="connsiteY5" fmla="*/ 8370 h 10675"/>
                  <a:gd name="connsiteX6" fmla="*/ 3156 w 13556"/>
                  <a:gd name="connsiteY6" fmla="*/ 10373 h 10675"/>
                  <a:gd name="connsiteX7" fmla="*/ 0 w 13556"/>
                  <a:gd name="connsiteY7" fmla="*/ 9989 h 10675"/>
                  <a:gd name="connsiteX8" fmla="*/ 4116 w 13556"/>
                  <a:gd name="connsiteY8" fmla="*/ 1647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56" h="10675">
                    <a:moveTo>
                      <a:pt x="4089" y="1674"/>
                    </a:moveTo>
                    <a:lnTo>
                      <a:pt x="9880" y="0"/>
                    </a:lnTo>
                    <a:lnTo>
                      <a:pt x="13557" y="6092"/>
                    </a:lnTo>
                    <a:lnTo>
                      <a:pt x="11032" y="6888"/>
                    </a:lnTo>
                    <a:lnTo>
                      <a:pt x="9194" y="10675"/>
                    </a:lnTo>
                    <a:lnTo>
                      <a:pt x="5516" y="8370"/>
                    </a:lnTo>
                    <a:lnTo>
                      <a:pt x="3156" y="10373"/>
                    </a:lnTo>
                    <a:lnTo>
                      <a:pt x="0" y="9989"/>
                    </a:lnTo>
                    <a:lnTo>
                      <a:pt x="4116"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7" name="Freeform: Shape 3586">
                <a:extLst>
                  <a:ext uri="{FF2B5EF4-FFF2-40B4-BE49-F238E27FC236}">
                    <a16:creationId xmlns:a16="http://schemas.microsoft.com/office/drawing/2014/main" id="{ADC6B412-D6D9-06D5-574F-021EA6A1B889}"/>
                  </a:ext>
                </a:extLst>
              </p:cNvPr>
              <p:cNvSpPr/>
              <p:nvPr/>
            </p:nvSpPr>
            <p:spPr>
              <a:xfrm>
                <a:off x="1196923" y="3536496"/>
                <a:ext cx="9334" cy="9532"/>
              </a:xfrm>
              <a:custGeom>
                <a:avLst/>
                <a:gdLst>
                  <a:gd name="connsiteX0" fmla="*/ 89492 w 89491"/>
                  <a:gd name="connsiteY0" fmla="*/ 58673 h 91385"/>
                  <a:gd name="connsiteX1" fmla="*/ 80490 w 89491"/>
                  <a:gd name="connsiteY1" fmla="*/ 72669 h 91385"/>
                  <a:gd name="connsiteX2" fmla="*/ 66000 w 89491"/>
                  <a:gd name="connsiteY2" fmla="*/ 80079 h 91385"/>
                  <a:gd name="connsiteX3" fmla="*/ 40396 w 89491"/>
                  <a:gd name="connsiteY3" fmla="*/ 91385 h 91385"/>
                  <a:gd name="connsiteX4" fmla="*/ 22915 w 89491"/>
                  <a:gd name="connsiteY4" fmla="*/ 84250 h 91385"/>
                  <a:gd name="connsiteX5" fmla="*/ 19210 w 89491"/>
                  <a:gd name="connsiteY5" fmla="*/ 78899 h 91385"/>
                  <a:gd name="connsiteX6" fmla="*/ 19594 w 89491"/>
                  <a:gd name="connsiteY6" fmla="*/ 76017 h 91385"/>
                  <a:gd name="connsiteX7" fmla="*/ 30132 w 89491"/>
                  <a:gd name="connsiteY7" fmla="*/ 75962 h 91385"/>
                  <a:gd name="connsiteX8" fmla="*/ 30352 w 89491"/>
                  <a:gd name="connsiteY8" fmla="*/ 73053 h 91385"/>
                  <a:gd name="connsiteX9" fmla="*/ 28129 w 89491"/>
                  <a:gd name="connsiteY9" fmla="*/ 70199 h 91385"/>
                  <a:gd name="connsiteX10" fmla="*/ 29392 w 89491"/>
                  <a:gd name="connsiteY10" fmla="*/ 65616 h 91385"/>
                  <a:gd name="connsiteX11" fmla="*/ 28321 w 89491"/>
                  <a:gd name="connsiteY11" fmla="*/ 62735 h 91385"/>
                  <a:gd name="connsiteX12" fmla="*/ 22915 w 89491"/>
                  <a:gd name="connsiteY12" fmla="*/ 71297 h 91385"/>
                  <a:gd name="connsiteX13" fmla="*/ 17564 w 89491"/>
                  <a:gd name="connsiteY13" fmla="*/ 65589 h 91385"/>
                  <a:gd name="connsiteX14" fmla="*/ 5022 w 89491"/>
                  <a:gd name="connsiteY14" fmla="*/ 63146 h 91385"/>
                  <a:gd name="connsiteX15" fmla="*/ 0 w 89491"/>
                  <a:gd name="connsiteY15" fmla="*/ 54831 h 91385"/>
                  <a:gd name="connsiteX16" fmla="*/ 4336 w 89491"/>
                  <a:gd name="connsiteY16" fmla="*/ 48574 h 91385"/>
                  <a:gd name="connsiteX17" fmla="*/ 851 w 89491"/>
                  <a:gd name="connsiteY17" fmla="*/ 41823 h 91385"/>
                  <a:gd name="connsiteX18" fmla="*/ 2827 w 89491"/>
                  <a:gd name="connsiteY18" fmla="*/ 33563 h 91385"/>
                  <a:gd name="connsiteX19" fmla="*/ 7849 w 89491"/>
                  <a:gd name="connsiteY19" fmla="*/ 32163 h 91385"/>
                  <a:gd name="connsiteX20" fmla="*/ 8013 w 89491"/>
                  <a:gd name="connsiteY20" fmla="*/ 29199 h 91385"/>
                  <a:gd name="connsiteX21" fmla="*/ 3870 w 89491"/>
                  <a:gd name="connsiteY21" fmla="*/ 23930 h 91385"/>
                  <a:gd name="connsiteX22" fmla="*/ 2525 w 89491"/>
                  <a:gd name="connsiteY22" fmla="*/ 14956 h 91385"/>
                  <a:gd name="connsiteX23" fmla="*/ 3678 w 89491"/>
                  <a:gd name="connsiteY23" fmla="*/ 8891 h 91385"/>
                  <a:gd name="connsiteX24" fmla="*/ 16548 w 89491"/>
                  <a:gd name="connsiteY24" fmla="*/ 0 h 91385"/>
                  <a:gd name="connsiteX25" fmla="*/ 44156 w 89491"/>
                  <a:gd name="connsiteY25" fmla="*/ 8370 h 91385"/>
                  <a:gd name="connsiteX26" fmla="*/ 57740 w 89491"/>
                  <a:gd name="connsiteY26" fmla="*/ 23903 h 91385"/>
                  <a:gd name="connsiteX27" fmla="*/ 62790 w 89491"/>
                  <a:gd name="connsiteY27" fmla="*/ 32492 h 91385"/>
                  <a:gd name="connsiteX28" fmla="*/ 65918 w 89491"/>
                  <a:gd name="connsiteY28" fmla="*/ 35566 h 91385"/>
                  <a:gd name="connsiteX29" fmla="*/ 85540 w 89491"/>
                  <a:gd name="connsiteY29" fmla="*/ 45555 h 91385"/>
                  <a:gd name="connsiteX30" fmla="*/ 89409 w 89491"/>
                  <a:gd name="connsiteY30" fmla="*/ 58646 h 9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9491" h="91385">
                    <a:moveTo>
                      <a:pt x="89492" y="58673"/>
                    </a:moveTo>
                    <a:lnTo>
                      <a:pt x="80490" y="72669"/>
                    </a:lnTo>
                    <a:lnTo>
                      <a:pt x="66000" y="80079"/>
                    </a:lnTo>
                    <a:lnTo>
                      <a:pt x="40396" y="91385"/>
                    </a:lnTo>
                    <a:lnTo>
                      <a:pt x="22915" y="84250"/>
                    </a:lnTo>
                    <a:lnTo>
                      <a:pt x="19210" y="78899"/>
                    </a:lnTo>
                    <a:lnTo>
                      <a:pt x="19594" y="76017"/>
                    </a:lnTo>
                    <a:lnTo>
                      <a:pt x="30132" y="75962"/>
                    </a:lnTo>
                    <a:lnTo>
                      <a:pt x="30352" y="73053"/>
                    </a:lnTo>
                    <a:lnTo>
                      <a:pt x="28129" y="70199"/>
                    </a:lnTo>
                    <a:lnTo>
                      <a:pt x="29392" y="65616"/>
                    </a:lnTo>
                    <a:lnTo>
                      <a:pt x="28321" y="62735"/>
                    </a:lnTo>
                    <a:lnTo>
                      <a:pt x="22915" y="71297"/>
                    </a:lnTo>
                    <a:lnTo>
                      <a:pt x="17564" y="65589"/>
                    </a:lnTo>
                    <a:lnTo>
                      <a:pt x="5022" y="63146"/>
                    </a:lnTo>
                    <a:lnTo>
                      <a:pt x="0" y="54831"/>
                    </a:lnTo>
                    <a:lnTo>
                      <a:pt x="4336" y="48574"/>
                    </a:lnTo>
                    <a:lnTo>
                      <a:pt x="851" y="41823"/>
                    </a:lnTo>
                    <a:lnTo>
                      <a:pt x="2827" y="33563"/>
                    </a:lnTo>
                    <a:lnTo>
                      <a:pt x="7849" y="32163"/>
                    </a:lnTo>
                    <a:lnTo>
                      <a:pt x="8013" y="29199"/>
                    </a:lnTo>
                    <a:lnTo>
                      <a:pt x="3870" y="23930"/>
                    </a:lnTo>
                    <a:lnTo>
                      <a:pt x="2525" y="14956"/>
                    </a:lnTo>
                    <a:lnTo>
                      <a:pt x="3678" y="8891"/>
                    </a:lnTo>
                    <a:lnTo>
                      <a:pt x="16548" y="0"/>
                    </a:lnTo>
                    <a:lnTo>
                      <a:pt x="44156" y="8370"/>
                    </a:lnTo>
                    <a:lnTo>
                      <a:pt x="57740" y="23903"/>
                    </a:lnTo>
                    <a:lnTo>
                      <a:pt x="62790" y="32492"/>
                    </a:lnTo>
                    <a:lnTo>
                      <a:pt x="65918" y="35566"/>
                    </a:lnTo>
                    <a:lnTo>
                      <a:pt x="85540" y="45555"/>
                    </a:lnTo>
                    <a:lnTo>
                      <a:pt x="89409" y="586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9" name="Freeform: Shape 3588">
                <a:extLst>
                  <a:ext uri="{FF2B5EF4-FFF2-40B4-BE49-F238E27FC236}">
                    <a16:creationId xmlns:a16="http://schemas.microsoft.com/office/drawing/2014/main" id="{3D94C331-057B-48B0-502D-8BAB74B1C70A}"/>
                  </a:ext>
                </a:extLst>
              </p:cNvPr>
              <p:cNvSpPr/>
              <p:nvPr/>
            </p:nvSpPr>
            <p:spPr>
              <a:xfrm>
                <a:off x="1307404" y="3483142"/>
                <a:ext cx="4789" cy="5433"/>
              </a:xfrm>
              <a:custGeom>
                <a:avLst/>
                <a:gdLst>
                  <a:gd name="connsiteX0" fmla="*/ 26400 w 45912"/>
                  <a:gd name="connsiteY0" fmla="*/ 0 h 52086"/>
                  <a:gd name="connsiteX1" fmla="*/ 31203 w 45912"/>
                  <a:gd name="connsiteY1" fmla="*/ 11060 h 52086"/>
                  <a:gd name="connsiteX2" fmla="*/ 26208 w 45912"/>
                  <a:gd name="connsiteY2" fmla="*/ 19073 h 52086"/>
                  <a:gd name="connsiteX3" fmla="*/ 26208 w 45912"/>
                  <a:gd name="connsiteY3" fmla="*/ 27855 h 52086"/>
                  <a:gd name="connsiteX4" fmla="*/ 33234 w 45912"/>
                  <a:gd name="connsiteY4" fmla="*/ 37817 h 52086"/>
                  <a:gd name="connsiteX5" fmla="*/ 42400 w 45912"/>
                  <a:gd name="connsiteY5" fmla="*/ 30434 h 52086"/>
                  <a:gd name="connsiteX6" fmla="*/ 45336 w 45912"/>
                  <a:gd name="connsiteY6" fmla="*/ 31203 h 52086"/>
                  <a:gd name="connsiteX7" fmla="*/ 45912 w 45912"/>
                  <a:gd name="connsiteY7" fmla="*/ 36829 h 52086"/>
                  <a:gd name="connsiteX8" fmla="*/ 44952 w 45912"/>
                  <a:gd name="connsiteY8" fmla="*/ 45308 h 52086"/>
                  <a:gd name="connsiteX9" fmla="*/ 40177 w 45912"/>
                  <a:gd name="connsiteY9" fmla="*/ 52087 h 52086"/>
                  <a:gd name="connsiteX10" fmla="*/ 30407 w 45912"/>
                  <a:gd name="connsiteY10" fmla="*/ 44348 h 52086"/>
                  <a:gd name="connsiteX11" fmla="*/ 15012 w 45912"/>
                  <a:gd name="connsiteY11" fmla="*/ 49480 h 52086"/>
                  <a:gd name="connsiteX12" fmla="*/ 3156 w 45912"/>
                  <a:gd name="connsiteY12" fmla="*/ 47778 h 52086"/>
                  <a:gd name="connsiteX13" fmla="*/ 0 w 45912"/>
                  <a:gd name="connsiteY13" fmla="*/ 41851 h 52086"/>
                  <a:gd name="connsiteX14" fmla="*/ 3019 w 45912"/>
                  <a:gd name="connsiteY14" fmla="*/ 9248 h 52086"/>
                  <a:gd name="connsiteX15" fmla="*/ 10923 w 45912"/>
                  <a:gd name="connsiteY15" fmla="*/ 5077 h 52086"/>
                  <a:gd name="connsiteX16" fmla="*/ 15066 w 45912"/>
                  <a:gd name="connsiteY16" fmla="*/ 9770 h 52086"/>
                  <a:gd name="connsiteX17" fmla="*/ 21186 w 45912"/>
                  <a:gd name="connsiteY17" fmla="*/ 10648 h 52086"/>
                  <a:gd name="connsiteX18" fmla="*/ 26510 w 45912"/>
                  <a:gd name="connsiteY18" fmla="*/ 27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912" h="52086">
                    <a:moveTo>
                      <a:pt x="26400" y="0"/>
                    </a:moveTo>
                    <a:lnTo>
                      <a:pt x="31203" y="11060"/>
                    </a:lnTo>
                    <a:lnTo>
                      <a:pt x="26208" y="19073"/>
                    </a:lnTo>
                    <a:lnTo>
                      <a:pt x="26208" y="27855"/>
                    </a:lnTo>
                    <a:lnTo>
                      <a:pt x="33234" y="37817"/>
                    </a:lnTo>
                    <a:lnTo>
                      <a:pt x="42400" y="30434"/>
                    </a:lnTo>
                    <a:lnTo>
                      <a:pt x="45336" y="31203"/>
                    </a:lnTo>
                    <a:lnTo>
                      <a:pt x="45912" y="36829"/>
                    </a:lnTo>
                    <a:lnTo>
                      <a:pt x="44952" y="45308"/>
                    </a:lnTo>
                    <a:lnTo>
                      <a:pt x="40177" y="52087"/>
                    </a:lnTo>
                    <a:lnTo>
                      <a:pt x="30407" y="44348"/>
                    </a:lnTo>
                    <a:lnTo>
                      <a:pt x="15012" y="49480"/>
                    </a:lnTo>
                    <a:lnTo>
                      <a:pt x="3156" y="47778"/>
                    </a:lnTo>
                    <a:lnTo>
                      <a:pt x="0" y="41851"/>
                    </a:lnTo>
                    <a:lnTo>
                      <a:pt x="3019" y="9248"/>
                    </a:lnTo>
                    <a:lnTo>
                      <a:pt x="10923" y="5077"/>
                    </a:lnTo>
                    <a:lnTo>
                      <a:pt x="15066" y="9770"/>
                    </a:lnTo>
                    <a:lnTo>
                      <a:pt x="21186" y="10648"/>
                    </a:lnTo>
                    <a:lnTo>
                      <a:pt x="26510"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1" name="Freeform: Shape 3590">
                <a:extLst>
                  <a:ext uri="{FF2B5EF4-FFF2-40B4-BE49-F238E27FC236}">
                    <a16:creationId xmlns:a16="http://schemas.microsoft.com/office/drawing/2014/main" id="{515DE064-F28E-39C4-EE06-36917CA49133}"/>
                  </a:ext>
                </a:extLst>
              </p:cNvPr>
              <p:cNvSpPr/>
              <p:nvPr/>
            </p:nvSpPr>
            <p:spPr>
              <a:xfrm>
                <a:off x="1306714" y="3466420"/>
                <a:ext cx="1992" cy="9463"/>
              </a:xfrm>
              <a:custGeom>
                <a:avLst/>
                <a:gdLst>
                  <a:gd name="connsiteX0" fmla="*/ 19073 w 19100"/>
                  <a:gd name="connsiteY0" fmla="*/ 79941 h 90726"/>
                  <a:gd name="connsiteX1" fmla="*/ 18442 w 19100"/>
                  <a:gd name="connsiteY1" fmla="*/ 90726 h 90726"/>
                  <a:gd name="connsiteX2" fmla="*/ 1674 w 19100"/>
                  <a:gd name="connsiteY2" fmla="*/ 36060 h 90726"/>
                  <a:gd name="connsiteX3" fmla="*/ 0 w 19100"/>
                  <a:gd name="connsiteY3" fmla="*/ 28650 h 90726"/>
                  <a:gd name="connsiteX4" fmla="*/ 2333 w 19100"/>
                  <a:gd name="connsiteY4" fmla="*/ 15341 h 90726"/>
                  <a:gd name="connsiteX5" fmla="*/ 329 w 19100"/>
                  <a:gd name="connsiteY5" fmla="*/ 4199 h 90726"/>
                  <a:gd name="connsiteX6" fmla="*/ 2579 w 19100"/>
                  <a:gd name="connsiteY6" fmla="*/ 0 h 90726"/>
                  <a:gd name="connsiteX7" fmla="*/ 10840 w 19100"/>
                  <a:gd name="connsiteY7" fmla="*/ 11060 h 90726"/>
                  <a:gd name="connsiteX8" fmla="*/ 12624 w 19100"/>
                  <a:gd name="connsiteY8" fmla="*/ 36060 h 90726"/>
                  <a:gd name="connsiteX9" fmla="*/ 19100 w 19100"/>
                  <a:gd name="connsiteY9" fmla="*/ 79941 h 9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00" h="90726">
                    <a:moveTo>
                      <a:pt x="19073" y="79941"/>
                    </a:moveTo>
                    <a:lnTo>
                      <a:pt x="18442" y="90726"/>
                    </a:lnTo>
                    <a:lnTo>
                      <a:pt x="1674" y="36060"/>
                    </a:lnTo>
                    <a:lnTo>
                      <a:pt x="0" y="28650"/>
                    </a:lnTo>
                    <a:lnTo>
                      <a:pt x="2333" y="15341"/>
                    </a:lnTo>
                    <a:lnTo>
                      <a:pt x="329" y="4199"/>
                    </a:lnTo>
                    <a:lnTo>
                      <a:pt x="2579" y="0"/>
                    </a:lnTo>
                    <a:lnTo>
                      <a:pt x="10840" y="11060"/>
                    </a:lnTo>
                    <a:lnTo>
                      <a:pt x="12624" y="36060"/>
                    </a:lnTo>
                    <a:lnTo>
                      <a:pt x="19100" y="799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4" name="Freeform: Shape 3593">
                <a:extLst>
                  <a:ext uri="{FF2B5EF4-FFF2-40B4-BE49-F238E27FC236}">
                    <a16:creationId xmlns:a16="http://schemas.microsoft.com/office/drawing/2014/main" id="{61C90B0C-C409-8C40-E071-D2A2E90367F0}"/>
                  </a:ext>
                </a:extLst>
              </p:cNvPr>
              <p:cNvSpPr/>
              <p:nvPr/>
            </p:nvSpPr>
            <p:spPr>
              <a:xfrm>
                <a:off x="1306070" y="3443427"/>
                <a:ext cx="1697" cy="6835"/>
              </a:xfrm>
              <a:custGeom>
                <a:avLst/>
                <a:gdLst>
                  <a:gd name="connsiteX0" fmla="*/ 4034 w 16273"/>
                  <a:gd name="connsiteY0" fmla="*/ 192 h 65533"/>
                  <a:gd name="connsiteX1" fmla="*/ 6559 w 16273"/>
                  <a:gd name="connsiteY1" fmla="*/ 10620 h 65533"/>
                  <a:gd name="connsiteX2" fmla="*/ 8507 w 16273"/>
                  <a:gd name="connsiteY2" fmla="*/ 6312 h 65533"/>
                  <a:gd name="connsiteX3" fmla="*/ 11745 w 16273"/>
                  <a:gd name="connsiteY3" fmla="*/ 13255 h 65533"/>
                  <a:gd name="connsiteX4" fmla="*/ 11691 w 16273"/>
                  <a:gd name="connsiteY4" fmla="*/ 18195 h 65533"/>
                  <a:gd name="connsiteX5" fmla="*/ 9166 w 16273"/>
                  <a:gd name="connsiteY5" fmla="*/ 21762 h 65533"/>
                  <a:gd name="connsiteX6" fmla="*/ 8260 w 16273"/>
                  <a:gd name="connsiteY6" fmla="*/ 32520 h 65533"/>
                  <a:gd name="connsiteX7" fmla="*/ 9824 w 16273"/>
                  <a:gd name="connsiteY7" fmla="*/ 35758 h 65533"/>
                  <a:gd name="connsiteX8" fmla="*/ 12185 w 16273"/>
                  <a:gd name="connsiteY8" fmla="*/ 25687 h 65533"/>
                  <a:gd name="connsiteX9" fmla="*/ 13639 w 16273"/>
                  <a:gd name="connsiteY9" fmla="*/ 41549 h 65533"/>
                  <a:gd name="connsiteX10" fmla="*/ 16273 w 16273"/>
                  <a:gd name="connsiteY10" fmla="*/ 40753 h 65533"/>
                  <a:gd name="connsiteX11" fmla="*/ 15341 w 16273"/>
                  <a:gd name="connsiteY11" fmla="*/ 50440 h 65533"/>
                  <a:gd name="connsiteX12" fmla="*/ 16246 w 16273"/>
                  <a:gd name="connsiteY12" fmla="*/ 63448 h 65533"/>
                  <a:gd name="connsiteX13" fmla="*/ 14929 w 16273"/>
                  <a:gd name="connsiteY13" fmla="*/ 65534 h 65533"/>
                  <a:gd name="connsiteX14" fmla="*/ 12624 w 16273"/>
                  <a:gd name="connsiteY14" fmla="*/ 57356 h 65533"/>
                  <a:gd name="connsiteX15" fmla="*/ 11553 w 16273"/>
                  <a:gd name="connsiteY15" fmla="*/ 62735 h 65533"/>
                  <a:gd name="connsiteX16" fmla="*/ 8919 w 16273"/>
                  <a:gd name="connsiteY16" fmla="*/ 60237 h 65533"/>
                  <a:gd name="connsiteX17" fmla="*/ 10181 w 16273"/>
                  <a:gd name="connsiteY17" fmla="*/ 45006 h 65533"/>
                  <a:gd name="connsiteX18" fmla="*/ 6559 w 16273"/>
                  <a:gd name="connsiteY18" fmla="*/ 41219 h 65533"/>
                  <a:gd name="connsiteX19" fmla="*/ 6559 w 16273"/>
                  <a:gd name="connsiteY19" fmla="*/ 22805 h 65533"/>
                  <a:gd name="connsiteX20" fmla="*/ 2607 w 16273"/>
                  <a:gd name="connsiteY20" fmla="*/ 19978 h 65533"/>
                  <a:gd name="connsiteX21" fmla="*/ 0 w 16273"/>
                  <a:gd name="connsiteY21" fmla="*/ 0 h 65533"/>
                  <a:gd name="connsiteX22" fmla="*/ 4034 w 16273"/>
                  <a:gd name="connsiteY22" fmla="*/ 165 h 6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273" h="65533">
                    <a:moveTo>
                      <a:pt x="4034" y="192"/>
                    </a:moveTo>
                    <a:lnTo>
                      <a:pt x="6559" y="10620"/>
                    </a:lnTo>
                    <a:lnTo>
                      <a:pt x="8507" y="6312"/>
                    </a:lnTo>
                    <a:lnTo>
                      <a:pt x="11745" y="13255"/>
                    </a:lnTo>
                    <a:lnTo>
                      <a:pt x="11691" y="18195"/>
                    </a:lnTo>
                    <a:lnTo>
                      <a:pt x="9166" y="21762"/>
                    </a:lnTo>
                    <a:lnTo>
                      <a:pt x="8260" y="32520"/>
                    </a:lnTo>
                    <a:lnTo>
                      <a:pt x="9824" y="35758"/>
                    </a:lnTo>
                    <a:lnTo>
                      <a:pt x="12185" y="25687"/>
                    </a:lnTo>
                    <a:lnTo>
                      <a:pt x="13639" y="41549"/>
                    </a:lnTo>
                    <a:lnTo>
                      <a:pt x="16273" y="40753"/>
                    </a:lnTo>
                    <a:lnTo>
                      <a:pt x="15341" y="50440"/>
                    </a:lnTo>
                    <a:lnTo>
                      <a:pt x="16246" y="63448"/>
                    </a:lnTo>
                    <a:lnTo>
                      <a:pt x="14929" y="65534"/>
                    </a:lnTo>
                    <a:lnTo>
                      <a:pt x="12624" y="57356"/>
                    </a:lnTo>
                    <a:lnTo>
                      <a:pt x="11553" y="62735"/>
                    </a:lnTo>
                    <a:lnTo>
                      <a:pt x="8919" y="60237"/>
                    </a:lnTo>
                    <a:lnTo>
                      <a:pt x="10181" y="45006"/>
                    </a:lnTo>
                    <a:lnTo>
                      <a:pt x="6559" y="41219"/>
                    </a:lnTo>
                    <a:lnTo>
                      <a:pt x="6559" y="22805"/>
                    </a:lnTo>
                    <a:lnTo>
                      <a:pt x="2607" y="19978"/>
                    </a:lnTo>
                    <a:lnTo>
                      <a:pt x="0" y="0"/>
                    </a:lnTo>
                    <a:lnTo>
                      <a:pt x="4034" y="1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5" name="Freeform: Shape 3594">
                <a:extLst>
                  <a:ext uri="{FF2B5EF4-FFF2-40B4-BE49-F238E27FC236}">
                    <a16:creationId xmlns:a16="http://schemas.microsoft.com/office/drawing/2014/main" id="{35776541-6DE6-507E-6147-CE99909F37F0}"/>
                  </a:ext>
                </a:extLst>
              </p:cNvPr>
              <p:cNvSpPr/>
              <p:nvPr/>
            </p:nvSpPr>
            <p:spPr>
              <a:xfrm>
                <a:off x="1207880" y="3540228"/>
                <a:ext cx="1818" cy="3174"/>
              </a:xfrm>
              <a:custGeom>
                <a:avLst/>
                <a:gdLst>
                  <a:gd name="connsiteX0" fmla="*/ 17152 w 17426"/>
                  <a:gd name="connsiteY0" fmla="*/ 2744 h 30434"/>
                  <a:gd name="connsiteX1" fmla="*/ 17426 w 17426"/>
                  <a:gd name="connsiteY1" fmla="*/ 5598 h 30434"/>
                  <a:gd name="connsiteX2" fmla="*/ 11801 w 17426"/>
                  <a:gd name="connsiteY2" fmla="*/ 16191 h 30434"/>
                  <a:gd name="connsiteX3" fmla="*/ 9633 w 17426"/>
                  <a:gd name="connsiteY3" fmla="*/ 30297 h 30434"/>
                  <a:gd name="connsiteX4" fmla="*/ 2799 w 17426"/>
                  <a:gd name="connsiteY4" fmla="*/ 30434 h 30434"/>
                  <a:gd name="connsiteX5" fmla="*/ 0 w 17426"/>
                  <a:gd name="connsiteY5" fmla="*/ 16246 h 30434"/>
                  <a:gd name="connsiteX6" fmla="*/ 5489 w 17426"/>
                  <a:gd name="connsiteY6" fmla="*/ 7986 h 30434"/>
                  <a:gd name="connsiteX7" fmla="*/ 5489 w 17426"/>
                  <a:gd name="connsiteY7" fmla="*/ 3952 h 30434"/>
                  <a:gd name="connsiteX8" fmla="*/ 1948 w 17426"/>
                  <a:gd name="connsiteY8" fmla="*/ 5461 h 30434"/>
                  <a:gd name="connsiteX9" fmla="*/ 823 w 17426"/>
                  <a:gd name="connsiteY9" fmla="*/ 2223 h 30434"/>
                  <a:gd name="connsiteX10" fmla="*/ 2882 w 17426"/>
                  <a:gd name="connsiteY10" fmla="*/ 0 h 30434"/>
                  <a:gd name="connsiteX11" fmla="*/ 17179 w 17426"/>
                  <a:gd name="connsiteY11" fmla="*/ 2772 h 3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26" h="30434">
                    <a:moveTo>
                      <a:pt x="17152" y="2744"/>
                    </a:moveTo>
                    <a:lnTo>
                      <a:pt x="17426" y="5598"/>
                    </a:lnTo>
                    <a:lnTo>
                      <a:pt x="11801" y="16191"/>
                    </a:lnTo>
                    <a:lnTo>
                      <a:pt x="9633" y="30297"/>
                    </a:lnTo>
                    <a:lnTo>
                      <a:pt x="2799" y="30434"/>
                    </a:lnTo>
                    <a:lnTo>
                      <a:pt x="0" y="16246"/>
                    </a:lnTo>
                    <a:lnTo>
                      <a:pt x="5489" y="7986"/>
                    </a:lnTo>
                    <a:lnTo>
                      <a:pt x="5489" y="3952"/>
                    </a:lnTo>
                    <a:lnTo>
                      <a:pt x="1948" y="5461"/>
                    </a:lnTo>
                    <a:lnTo>
                      <a:pt x="823" y="2223"/>
                    </a:lnTo>
                    <a:lnTo>
                      <a:pt x="2882" y="0"/>
                    </a:lnTo>
                    <a:lnTo>
                      <a:pt x="17179"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6" name="Freeform: Shape 3595">
                <a:extLst>
                  <a:ext uri="{FF2B5EF4-FFF2-40B4-BE49-F238E27FC236}">
                    <a16:creationId xmlns:a16="http://schemas.microsoft.com/office/drawing/2014/main" id="{ACD0D0C8-CF08-29B4-00A7-6CE7E76BFA82}"/>
                  </a:ext>
                </a:extLst>
              </p:cNvPr>
              <p:cNvSpPr/>
              <p:nvPr/>
            </p:nvSpPr>
            <p:spPr>
              <a:xfrm>
                <a:off x="1309877" y="3450634"/>
                <a:ext cx="2009" cy="3730"/>
              </a:xfrm>
              <a:custGeom>
                <a:avLst/>
                <a:gdLst>
                  <a:gd name="connsiteX0" fmla="*/ 11801 w 19265"/>
                  <a:gd name="connsiteY0" fmla="*/ 32877 h 35758"/>
                  <a:gd name="connsiteX1" fmla="*/ 5873 w 19265"/>
                  <a:gd name="connsiteY1" fmla="*/ 35758 h 35758"/>
                  <a:gd name="connsiteX2" fmla="*/ 1482 w 19265"/>
                  <a:gd name="connsiteY2" fmla="*/ 35209 h 35758"/>
                  <a:gd name="connsiteX3" fmla="*/ 0 w 19265"/>
                  <a:gd name="connsiteY3" fmla="*/ 32053 h 35758"/>
                  <a:gd name="connsiteX4" fmla="*/ 3074 w 19265"/>
                  <a:gd name="connsiteY4" fmla="*/ 19539 h 35758"/>
                  <a:gd name="connsiteX5" fmla="*/ 7657 w 19265"/>
                  <a:gd name="connsiteY5" fmla="*/ 13282 h 35758"/>
                  <a:gd name="connsiteX6" fmla="*/ 7849 w 19265"/>
                  <a:gd name="connsiteY6" fmla="*/ 3046 h 35758"/>
                  <a:gd name="connsiteX7" fmla="*/ 9825 w 19265"/>
                  <a:gd name="connsiteY7" fmla="*/ 0 h 35758"/>
                  <a:gd name="connsiteX8" fmla="*/ 16191 w 19265"/>
                  <a:gd name="connsiteY8" fmla="*/ 0 h 35758"/>
                  <a:gd name="connsiteX9" fmla="*/ 19265 w 19265"/>
                  <a:gd name="connsiteY9" fmla="*/ 8864 h 35758"/>
                  <a:gd name="connsiteX10" fmla="*/ 15066 w 19265"/>
                  <a:gd name="connsiteY10" fmla="*/ 19018 h 35758"/>
                  <a:gd name="connsiteX11" fmla="*/ 14627 w 19265"/>
                  <a:gd name="connsiteY11" fmla="*/ 27470 h 35758"/>
                  <a:gd name="connsiteX12" fmla="*/ 11746 w 19265"/>
                  <a:gd name="connsiteY12" fmla="*/ 32877 h 3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265" h="35758">
                    <a:moveTo>
                      <a:pt x="11801" y="32877"/>
                    </a:moveTo>
                    <a:lnTo>
                      <a:pt x="5873" y="35758"/>
                    </a:lnTo>
                    <a:lnTo>
                      <a:pt x="1482" y="35209"/>
                    </a:lnTo>
                    <a:lnTo>
                      <a:pt x="0" y="32053"/>
                    </a:lnTo>
                    <a:lnTo>
                      <a:pt x="3074" y="19539"/>
                    </a:lnTo>
                    <a:lnTo>
                      <a:pt x="7657" y="13282"/>
                    </a:lnTo>
                    <a:lnTo>
                      <a:pt x="7849" y="3046"/>
                    </a:lnTo>
                    <a:lnTo>
                      <a:pt x="9825" y="0"/>
                    </a:lnTo>
                    <a:lnTo>
                      <a:pt x="16191" y="0"/>
                    </a:lnTo>
                    <a:cubicBezTo>
                      <a:pt x="16191" y="0"/>
                      <a:pt x="19265" y="8864"/>
                      <a:pt x="19265" y="8864"/>
                    </a:cubicBezTo>
                    <a:lnTo>
                      <a:pt x="15066" y="19018"/>
                    </a:lnTo>
                    <a:lnTo>
                      <a:pt x="14627" y="27470"/>
                    </a:lnTo>
                    <a:lnTo>
                      <a:pt x="11746" y="328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7" name="Freeform: Shape 3596">
                <a:extLst>
                  <a:ext uri="{FF2B5EF4-FFF2-40B4-BE49-F238E27FC236}">
                    <a16:creationId xmlns:a16="http://schemas.microsoft.com/office/drawing/2014/main" id="{7489B078-A4F7-D2FF-939E-0C884C84F6D9}"/>
                  </a:ext>
                </a:extLst>
              </p:cNvPr>
              <p:cNvSpPr/>
              <p:nvPr/>
            </p:nvSpPr>
            <p:spPr>
              <a:xfrm>
                <a:off x="1199734" y="3527356"/>
                <a:ext cx="1815" cy="2602"/>
              </a:xfrm>
              <a:custGeom>
                <a:avLst/>
                <a:gdLst>
                  <a:gd name="connsiteX0" fmla="*/ 17069 w 17398"/>
                  <a:gd name="connsiteY0" fmla="*/ 21488 h 24945"/>
                  <a:gd name="connsiteX1" fmla="*/ 12486 w 17398"/>
                  <a:gd name="connsiteY1" fmla="*/ 24946 h 24945"/>
                  <a:gd name="connsiteX2" fmla="*/ 8864 w 17398"/>
                  <a:gd name="connsiteY2" fmla="*/ 24781 h 24945"/>
                  <a:gd name="connsiteX3" fmla="*/ 796 w 17398"/>
                  <a:gd name="connsiteY3" fmla="*/ 18140 h 24945"/>
                  <a:gd name="connsiteX4" fmla="*/ 0 w 17398"/>
                  <a:gd name="connsiteY4" fmla="*/ 16191 h 24945"/>
                  <a:gd name="connsiteX5" fmla="*/ 1290 w 17398"/>
                  <a:gd name="connsiteY5" fmla="*/ 12267 h 24945"/>
                  <a:gd name="connsiteX6" fmla="*/ 5681 w 17398"/>
                  <a:gd name="connsiteY6" fmla="*/ 4583 h 24945"/>
                  <a:gd name="connsiteX7" fmla="*/ 11197 w 17398"/>
                  <a:gd name="connsiteY7" fmla="*/ 0 h 24945"/>
                  <a:gd name="connsiteX8" fmla="*/ 17399 w 17398"/>
                  <a:gd name="connsiteY8" fmla="*/ 16658 h 24945"/>
                  <a:gd name="connsiteX9" fmla="*/ 17069 w 17398"/>
                  <a:gd name="connsiteY9" fmla="*/ 21460 h 2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8" h="24945">
                    <a:moveTo>
                      <a:pt x="17069" y="21488"/>
                    </a:moveTo>
                    <a:lnTo>
                      <a:pt x="12486" y="24946"/>
                    </a:lnTo>
                    <a:lnTo>
                      <a:pt x="8864" y="24781"/>
                    </a:lnTo>
                    <a:lnTo>
                      <a:pt x="796" y="18140"/>
                    </a:lnTo>
                    <a:lnTo>
                      <a:pt x="0" y="16191"/>
                    </a:lnTo>
                    <a:lnTo>
                      <a:pt x="1290" y="12267"/>
                    </a:lnTo>
                    <a:lnTo>
                      <a:pt x="5681" y="4583"/>
                    </a:lnTo>
                    <a:lnTo>
                      <a:pt x="11197" y="0"/>
                    </a:lnTo>
                    <a:lnTo>
                      <a:pt x="17399" y="16658"/>
                    </a:lnTo>
                    <a:lnTo>
                      <a:pt x="17069" y="214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8" name="Freeform: Shape 3597">
                <a:extLst>
                  <a:ext uri="{FF2B5EF4-FFF2-40B4-BE49-F238E27FC236}">
                    <a16:creationId xmlns:a16="http://schemas.microsoft.com/office/drawing/2014/main" id="{A57F8782-1F44-7F6E-9C73-6981CE3B8ADB}"/>
                  </a:ext>
                </a:extLst>
              </p:cNvPr>
              <p:cNvSpPr/>
              <p:nvPr/>
            </p:nvSpPr>
            <p:spPr>
              <a:xfrm>
                <a:off x="1191339" y="3500410"/>
                <a:ext cx="2270" cy="2293"/>
              </a:xfrm>
              <a:custGeom>
                <a:avLst/>
                <a:gdLst>
                  <a:gd name="connsiteX0" fmla="*/ 21598 w 21762"/>
                  <a:gd name="connsiteY0" fmla="*/ 8096 h 21981"/>
                  <a:gd name="connsiteX1" fmla="*/ 21762 w 21762"/>
                  <a:gd name="connsiteY1" fmla="*/ 11663 h 21981"/>
                  <a:gd name="connsiteX2" fmla="*/ 19677 w 21762"/>
                  <a:gd name="connsiteY2" fmla="*/ 15505 h 21981"/>
                  <a:gd name="connsiteX3" fmla="*/ 16301 w 21762"/>
                  <a:gd name="connsiteY3" fmla="*/ 12706 h 21981"/>
                  <a:gd name="connsiteX4" fmla="*/ 14764 w 21762"/>
                  <a:gd name="connsiteY4" fmla="*/ 21982 h 21981"/>
                  <a:gd name="connsiteX5" fmla="*/ 10758 w 21762"/>
                  <a:gd name="connsiteY5" fmla="*/ 10044 h 21981"/>
                  <a:gd name="connsiteX6" fmla="*/ 878 w 21762"/>
                  <a:gd name="connsiteY6" fmla="*/ 14380 h 21981"/>
                  <a:gd name="connsiteX7" fmla="*/ 0 w 21762"/>
                  <a:gd name="connsiteY7" fmla="*/ 12048 h 21981"/>
                  <a:gd name="connsiteX8" fmla="*/ 3293 w 21762"/>
                  <a:gd name="connsiteY8" fmla="*/ 0 h 21981"/>
                  <a:gd name="connsiteX9" fmla="*/ 14764 w 21762"/>
                  <a:gd name="connsiteY9" fmla="*/ 4583 h 21981"/>
                  <a:gd name="connsiteX10" fmla="*/ 21598 w 21762"/>
                  <a:gd name="connsiteY10" fmla="*/ 8068 h 2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762" h="21981">
                    <a:moveTo>
                      <a:pt x="21598" y="8096"/>
                    </a:moveTo>
                    <a:lnTo>
                      <a:pt x="21762" y="11663"/>
                    </a:lnTo>
                    <a:lnTo>
                      <a:pt x="19677" y="15505"/>
                    </a:lnTo>
                    <a:lnTo>
                      <a:pt x="16301" y="12706"/>
                    </a:lnTo>
                    <a:lnTo>
                      <a:pt x="14764" y="21982"/>
                    </a:lnTo>
                    <a:lnTo>
                      <a:pt x="10758" y="10044"/>
                    </a:lnTo>
                    <a:lnTo>
                      <a:pt x="878" y="14380"/>
                    </a:lnTo>
                    <a:lnTo>
                      <a:pt x="0" y="12048"/>
                    </a:lnTo>
                    <a:lnTo>
                      <a:pt x="3293" y="0"/>
                    </a:lnTo>
                    <a:lnTo>
                      <a:pt x="14764" y="4583"/>
                    </a:lnTo>
                    <a:lnTo>
                      <a:pt x="21598" y="80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9" name="Freeform: Shape 3598">
                <a:extLst>
                  <a:ext uri="{FF2B5EF4-FFF2-40B4-BE49-F238E27FC236}">
                    <a16:creationId xmlns:a16="http://schemas.microsoft.com/office/drawing/2014/main" id="{E9108201-AFD9-47E0-183E-B32AD5EA5FC9}"/>
                  </a:ext>
                </a:extLst>
              </p:cNvPr>
              <p:cNvSpPr/>
              <p:nvPr/>
            </p:nvSpPr>
            <p:spPr>
              <a:xfrm>
                <a:off x="1143026" y="3456362"/>
                <a:ext cx="3186" cy="2035"/>
              </a:xfrm>
              <a:custGeom>
                <a:avLst/>
                <a:gdLst>
                  <a:gd name="connsiteX0" fmla="*/ 30215 w 30544"/>
                  <a:gd name="connsiteY0" fmla="*/ 15642 h 19511"/>
                  <a:gd name="connsiteX1" fmla="*/ 23820 w 30544"/>
                  <a:gd name="connsiteY1" fmla="*/ 19512 h 19511"/>
                  <a:gd name="connsiteX2" fmla="*/ 12130 w 30544"/>
                  <a:gd name="connsiteY2" fmla="*/ 19402 h 19511"/>
                  <a:gd name="connsiteX3" fmla="*/ 9715 w 30544"/>
                  <a:gd name="connsiteY3" fmla="*/ 13557 h 19511"/>
                  <a:gd name="connsiteX4" fmla="*/ 1262 w 30544"/>
                  <a:gd name="connsiteY4" fmla="*/ 10922 h 19511"/>
                  <a:gd name="connsiteX5" fmla="*/ 0 w 30544"/>
                  <a:gd name="connsiteY5" fmla="*/ 7519 h 19511"/>
                  <a:gd name="connsiteX6" fmla="*/ 1619 w 30544"/>
                  <a:gd name="connsiteY6" fmla="*/ 3156 h 19511"/>
                  <a:gd name="connsiteX7" fmla="*/ 8699 w 30544"/>
                  <a:gd name="connsiteY7" fmla="*/ 0 h 19511"/>
                  <a:gd name="connsiteX8" fmla="*/ 11389 w 30544"/>
                  <a:gd name="connsiteY8" fmla="*/ 1839 h 19511"/>
                  <a:gd name="connsiteX9" fmla="*/ 18524 w 30544"/>
                  <a:gd name="connsiteY9" fmla="*/ 2552 h 19511"/>
                  <a:gd name="connsiteX10" fmla="*/ 19155 w 30544"/>
                  <a:gd name="connsiteY10" fmla="*/ 4610 h 19511"/>
                  <a:gd name="connsiteX11" fmla="*/ 26318 w 30544"/>
                  <a:gd name="connsiteY11" fmla="*/ 6147 h 19511"/>
                  <a:gd name="connsiteX12" fmla="*/ 30544 w 30544"/>
                  <a:gd name="connsiteY12" fmla="*/ 9358 h 19511"/>
                  <a:gd name="connsiteX13" fmla="*/ 30215 w 30544"/>
                  <a:gd name="connsiteY13" fmla="*/ 15697 h 1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44" h="19511">
                    <a:moveTo>
                      <a:pt x="30215" y="15642"/>
                    </a:moveTo>
                    <a:lnTo>
                      <a:pt x="23820" y="19512"/>
                    </a:lnTo>
                    <a:lnTo>
                      <a:pt x="12130" y="19402"/>
                    </a:lnTo>
                    <a:lnTo>
                      <a:pt x="9715" y="13557"/>
                    </a:lnTo>
                    <a:lnTo>
                      <a:pt x="1262" y="10922"/>
                    </a:lnTo>
                    <a:lnTo>
                      <a:pt x="0" y="7519"/>
                    </a:lnTo>
                    <a:lnTo>
                      <a:pt x="1619" y="3156"/>
                    </a:lnTo>
                    <a:lnTo>
                      <a:pt x="8699" y="0"/>
                    </a:lnTo>
                    <a:lnTo>
                      <a:pt x="11389" y="1839"/>
                    </a:lnTo>
                    <a:lnTo>
                      <a:pt x="18524" y="2552"/>
                    </a:lnTo>
                    <a:lnTo>
                      <a:pt x="19155" y="4610"/>
                    </a:lnTo>
                    <a:lnTo>
                      <a:pt x="26318" y="6147"/>
                    </a:lnTo>
                    <a:lnTo>
                      <a:pt x="30544" y="9358"/>
                    </a:lnTo>
                    <a:lnTo>
                      <a:pt x="30215" y="156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1" name="Freeform: Shape 3600">
                <a:extLst>
                  <a:ext uri="{FF2B5EF4-FFF2-40B4-BE49-F238E27FC236}">
                    <a16:creationId xmlns:a16="http://schemas.microsoft.com/office/drawing/2014/main" id="{C610F782-60D3-E925-0610-B9245F19E230}"/>
                  </a:ext>
                </a:extLst>
              </p:cNvPr>
              <p:cNvSpPr/>
              <p:nvPr/>
            </p:nvSpPr>
            <p:spPr>
              <a:xfrm>
                <a:off x="1309794" y="3430146"/>
                <a:ext cx="1694" cy="3924"/>
              </a:xfrm>
              <a:custGeom>
                <a:avLst/>
                <a:gdLst>
                  <a:gd name="connsiteX0" fmla="*/ 14325 w 16246"/>
                  <a:gd name="connsiteY0" fmla="*/ 23766 h 37624"/>
                  <a:gd name="connsiteX1" fmla="*/ 10264 w 16246"/>
                  <a:gd name="connsiteY1" fmla="*/ 26976 h 37624"/>
                  <a:gd name="connsiteX2" fmla="*/ 7519 w 16246"/>
                  <a:gd name="connsiteY2" fmla="*/ 25549 h 37624"/>
                  <a:gd name="connsiteX3" fmla="*/ 6175 w 16246"/>
                  <a:gd name="connsiteY3" fmla="*/ 32987 h 37624"/>
                  <a:gd name="connsiteX4" fmla="*/ 1811 w 16246"/>
                  <a:gd name="connsiteY4" fmla="*/ 37624 h 37624"/>
                  <a:gd name="connsiteX5" fmla="*/ 0 w 16246"/>
                  <a:gd name="connsiteY5" fmla="*/ 26784 h 37624"/>
                  <a:gd name="connsiteX6" fmla="*/ 7739 w 16246"/>
                  <a:gd name="connsiteY6" fmla="*/ 3238 h 37624"/>
                  <a:gd name="connsiteX7" fmla="*/ 10126 w 16246"/>
                  <a:gd name="connsiteY7" fmla="*/ 0 h 37624"/>
                  <a:gd name="connsiteX8" fmla="*/ 16246 w 16246"/>
                  <a:gd name="connsiteY8" fmla="*/ 10264 h 37624"/>
                  <a:gd name="connsiteX9" fmla="*/ 14353 w 16246"/>
                  <a:gd name="connsiteY9" fmla="*/ 23738 h 3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46" h="37624">
                    <a:moveTo>
                      <a:pt x="14325" y="23766"/>
                    </a:moveTo>
                    <a:lnTo>
                      <a:pt x="10264" y="26976"/>
                    </a:lnTo>
                    <a:lnTo>
                      <a:pt x="7519" y="25549"/>
                    </a:lnTo>
                    <a:lnTo>
                      <a:pt x="6175" y="32987"/>
                    </a:lnTo>
                    <a:lnTo>
                      <a:pt x="1811" y="37624"/>
                    </a:lnTo>
                    <a:lnTo>
                      <a:pt x="0" y="26784"/>
                    </a:lnTo>
                    <a:lnTo>
                      <a:pt x="7739" y="3238"/>
                    </a:lnTo>
                    <a:lnTo>
                      <a:pt x="10126" y="0"/>
                    </a:lnTo>
                    <a:lnTo>
                      <a:pt x="16246" y="10264"/>
                    </a:lnTo>
                    <a:lnTo>
                      <a:pt x="14353" y="237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6" name="Freeform: Shape 3605">
                <a:extLst>
                  <a:ext uri="{FF2B5EF4-FFF2-40B4-BE49-F238E27FC236}">
                    <a16:creationId xmlns:a16="http://schemas.microsoft.com/office/drawing/2014/main" id="{7CCF6EB7-032E-B697-C84C-401740A6DDF8}"/>
                  </a:ext>
                </a:extLst>
              </p:cNvPr>
              <p:cNvSpPr/>
              <p:nvPr/>
            </p:nvSpPr>
            <p:spPr>
              <a:xfrm>
                <a:off x="1147050" y="3456141"/>
                <a:ext cx="2519" cy="1348"/>
              </a:xfrm>
              <a:custGeom>
                <a:avLst/>
                <a:gdLst>
                  <a:gd name="connsiteX0" fmla="*/ 24122 w 24149"/>
                  <a:gd name="connsiteY0" fmla="*/ 10758 h 12925"/>
                  <a:gd name="connsiteX1" fmla="*/ 2662 w 24149"/>
                  <a:gd name="connsiteY1" fmla="*/ 12926 h 12925"/>
                  <a:gd name="connsiteX2" fmla="*/ 0 w 24149"/>
                  <a:gd name="connsiteY2" fmla="*/ 4720 h 12925"/>
                  <a:gd name="connsiteX3" fmla="*/ 2251 w 24149"/>
                  <a:gd name="connsiteY3" fmla="*/ 0 h 12925"/>
                  <a:gd name="connsiteX4" fmla="*/ 13776 w 24149"/>
                  <a:gd name="connsiteY4" fmla="*/ 659 h 12925"/>
                  <a:gd name="connsiteX5" fmla="*/ 23821 w 24149"/>
                  <a:gd name="connsiteY5" fmla="*/ 5434 h 12925"/>
                  <a:gd name="connsiteX6" fmla="*/ 24150 w 24149"/>
                  <a:gd name="connsiteY6" fmla="*/ 10758 h 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9" h="12925">
                    <a:moveTo>
                      <a:pt x="24122" y="10758"/>
                    </a:moveTo>
                    <a:lnTo>
                      <a:pt x="2662" y="12926"/>
                    </a:lnTo>
                    <a:lnTo>
                      <a:pt x="0" y="4720"/>
                    </a:lnTo>
                    <a:lnTo>
                      <a:pt x="2251" y="0"/>
                    </a:lnTo>
                    <a:lnTo>
                      <a:pt x="13776" y="659"/>
                    </a:lnTo>
                    <a:lnTo>
                      <a:pt x="23821" y="5434"/>
                    </a:lnTo>
                    <a:lnTo>
                      <a:pt x="24150" y="107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7" name="Freeform: Shape 3606">
                <a:extLst>
                  <a:ext uri="{FF2B5EF4-FFF2-40B4-BE49-F238E27FC236}">
                    <a16:creationId xmlns:a16="http://schemas.microsoft.com/office/drawing/2014/main" id="{06C2ED90-C392-EC42-0274-DB83D85AD118}"/>
                  </a:ext>
                </a:extLst>
              </p:cNvPr>
              <p:cNvSpPr/>
              <p:nvPr/>
            </p:nvSpPr>
            <p:spPr>
              <a:xfrm>
                <a:off x="1309095" y="3434886"/>
                <a:ext cx="1068" cy="3498"/>
              </a:xfrm>
              <a:custGeom>
                <a:avLst/>
                <a:gdLst>
                  <a:gd name="connsiteX0" fmla="*/ 10236 w 10236"/>
                  <a:gd name="connsiteY0" fmla="*/ 220 h 33535"/>
                  <a:gd name="connsiteX1" fmla="*/ 9962 w 10236"/>
                  <a:gd name="connsiteY1" fmla="*/ 14325 h 33535"/>
                  <a:gd name="connsiteX2" fmla="*/ 7108 w 10236"/>
                  <a:gd name="connsiteY2" fmla="*/ 16877 h 33535"/>
                  <a:gd name="connsiteX3" fmla="*/ 7547 w 10236"/>
                  <a:gd name="connsiteY3" fmla="*/ 25001 h 33535"/>
                  <a:gd name="connsiteX4" fmla="*/ 3595 w 10236"/>
                  <a:gd name="connsiteY4" fmla="*/ 25110 h 33535"/>
                  <a:gd name="connsiteX5" fmla="*/ 2058 w 10236"/>
                  <a:gd name="connsiteY5" fmla="*/ 33535 h 33535"/>
                  <a:gd name="connsiteX6" fmla="*/ 576 w 10236"/>
                  <a:gd name="connsiteY6" fmla="*/ 32438 h 33535"/>
                  <a:gd name="connsiteX7" fmla="*/ 1125 w 10236"/>
                  <a:gd name="connsiteY7" fmla="*/ 21351 h 33535"/>
                  <a:gd name="connsiteX8" fmla="*/ 0 w 10236"/>
                  <a:gd name="connsiteY8" fmla="*/ 18990 h 33535"/>
                  <a:gd name="connsiteX9" fmla="*/ 1290 w 10236"/>
                  <a:gd name="connsiteY9" fmla="*/ 13118 h 33535"/>
                  <a:gd name="connsiteX10" fmla="*/ 4418 w 10236"/>
                  <a:gd name="connsiteY10" fmla="*/ 10126 h 33535"/>
                  <a:gd name="connsiteX11" fmla="*/ 6230 w 10236"/>
                  <a:gd name="connsiteY11" fmla="*/ 13447 h 33535"/>
                  <a:gd name="connsiteX12" fmla="*/ 8891 w 10236"/>
                  <a:gd name="connsiteY12" fmla="*/ 0 h 33535"/>
                  <a:gd name="connsiteX13" fmla="*/ 10209 w 10236"/>
                  <a:gd name="connsiteY13" fmla="*/ 220 h 3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36" h="33535">
                    <a:moveTo>
                      <a:pt x="10236" y="220"/>
                    </a:moveTo>
                    <a:lnTo>
                      <a:pt x="9962" y="14325"/>
                    </a:lnTo>
                    <a:lnTo>
                      <a:pt x="7108" y="16877"/>
                    </a:lnTo>
                    <a:lnTo>
                      <a:pt x="7547" y="25001"/>
                    </a:lnTo>
                    <a:lnTo>
                      <a:pt x="3595" y="25110"/>
                    </a:lnTo>
                    <a:lnTo>
                      <a:pt x="2058" y="33535"/>
                    </a:lnTo>
                    <a:lnTo>
                      <a:pt x="576" y="32438"/>
                    </a:lnTo>
                    <a:lnTo>
                      <a:pt x="1125" y="21351"/>
                    </a:lnTo>
                    <a:lnTo>
                      <a:pt x="0" y="18990"/>
                    </a:lnTo>
                    <a:lnTo>
                      <a:pt x="1290" y="13118"/>
                    </a:lnTo>
                    <a:lnTo>
                      <a:pt x="4418" y="10126"/>
                    </a:lnTo>
                    <a:lnTo>
                      <a:pt x="6230" y="13447"/>
                    </a:lnTo>
                    <a:lnTo>
                      <a:pt x="8891" y="0"/>
                    </a:lnTo>
                    <a:lnTo>
                      <a:pt x="10209" y="2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8" name="Freeform: Shape 3607">
                <a:extLst>
                  <a:ext uri="{FF2B5EF4-FFF2-40B4-BE49-F238E27FC236}">
                    <a16:creationId xmlns:a16="http://schemas.microsoft.com/office/drawing/2014/main" id="{3D5A950F-34B1-A847-D606-FAF975DC78F6}"/>
                  </a:ext>
                </a:extLst>
              </p:cNvPr>
              <p:cNvSpPr/>
              <p:nvPr/>
            </p:nvSpPr>
            <p:spPr>
              <a:xfrm>
                <a:off x="1205344" y="3530393"/>
                <a:ext cx="1448" cy="1231"/>
              </a:xfrm>
              <a:custGeom>
                <a:avLst/>
                <a:gdLst>
                  <a:gd name="connsiteX0" fmla="*/ 13886 w 13885"/>
                  <a:gd name="connsiteY0" fmla="*/ 9852 h 11800"/>
                  <a:gd name="connsiteX1" fmla="*/ 11746 w 13885"/>
                  <a:gd name="connsiteY1" fmla="*/ 11800 h 11800"/>
                  <a:gd name="connsiteX2" fmla="*/ 3870 w 13885"/>
                  <a:gd name="connsiteY2" fmla="*/ 10538 h 11800"/>
                  <a:gd name="connsiteX3" fmla="*/ 0 w 13885"/>
                  <a:gd name="connsiteY3" fmla="*/ 6916 h 11800"/>
                  <a:gd name="connsiteX4" fmla="*/ 1070 w 13885"/>
                  <a:gd name="connsiteY4" fmla="*/ 1482 h 11800"/>
                  <a:gd name="connsiteX5" fmla="*/ 4171 w 13885"/>
                  <a:gd name="connsiteY5" fmla="*/ 0 h 11800"/>
                  <a:gd name="connsiteX6" fmla="*/ 12980 w 13885"/>
                  <a:gd name="connsiteY6" fmla="*/ 5763 h 11800"/>
                  <a:gd name="connsiteX7" fmla="*/ 13859 w 13885"/>
                  <a:gd name="connsiteY7" fmla="*/ 9825 h 1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85" h="11800">
                    <a:moveTo>
                      <a:pt x="13886" y="9852"/>
                    </a:moveTo>
                    <a:lnTo>
                      <a:pt x="11746" y="11800"/>
                    </a:lnTo>
                    <a:lnTo>
                      <a:pt x="3870" y="10538"/>
                    </a:lnTo>
                    <a:lnTo>
                      <a:pt x="0" y="6916"/>
                    </a:lnTo>
                    <a:lnTo>
                      <a:pt x="1070" y="1482"/>
                    </a:lnTo>
                    <a:lnTo>
                      <a:pt x="4171" y="0"/>
                    </a:lnTo>
                    <a:lnTo>
                      <a:pt x="12980" y="5763"/>
                    </a:lnTo>
                    <a:lnTo>
                      <a:pt x="13859" y="98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9" name="Freeform: Shape 3608">
                <a:extLst>
                  <a:ext uri="{FF2B5EF4-FFF2-40B4-BE49-F238E27FC236}">
                    <a16:creationId xmlns:a16="http://schemas.microsoft.com/office/drawing/2014/main" id="{9C1A54AF-0C9B-BEFB-D69A-99FE875521E5}"/>
                  </a:ext>
                </a:extLst>
              </p:cNvPr>
              <p:cNvSpPr/>
              <p:nvPr/>
            </p:nvSpPr>
            <p:spPr>
              <a:xfrm>
                <a:off x="1191960" y="3502920"/>
                <a:ext cx="916" cy="2006"/>
              </a:xfrm>
              <a:custGeom>
                <a:avLst/>
                <a:gdLst>
                  <a:gd name="connsiteX0" fmla="*/ 6586 w 8781"/>
                  <a:gd name="connsiteY0" fmla="*/ 11252 h 19237"/>
                  <a:gd name="connsiteX1" fmla="*/ 2278 w 8781"/>
                  <a:gd name="connsiteY1" fmla="*/ 19238 h 19237"/>
                  <a:gd name="connsiteX2" fmla="*/ 0 w 8781"/>
                  <a:gd name="connsiteY2" fmla="*/ 17591 h 19237"/>
                  <a:gd name="connsiteX3" fmla="*/ 659 w 8781"/>
                  <a:gd name="connsiteY3" fmla="*/ 11224 h 19237"/>
                  <a:gd name="connsiteX4" fmla="*/ 1455 w 8781"/>
                  <a:gd name="connsiteY4" fmla="*/ 0 h 19237"/>
                  <a:gd name="connsiteX5" fmla="*/ 8782 w 8781"/>
                  <a:gd name="connsiteY5" fmla="*/ 4775 h 19237"/>
                  <a:gd name="connsiteX6" fmla="*/ 8782 w 8781"/>
                  <a:gd name="connsiteY6" fmla="*/ 8809 h 19237"/>
                  <a:gd name="connsiteX7" fmla="*/ 6559 w 8781"/>
                  <a:gd name="connsiteY7" fmla="*/ 11224 h 1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1" h="19237">
                    <a:moveTo>
                      <a:pt x="6586" y="11252"/>
                    </a:moveTo>
                    <a:lnTo>
                      <a:pt x="2278" y="19238"/>
                    </a:lnTo>
                    <a:lnTo>
                      <a:pt x="0" y="17591"/>
                    </a:lnTo>
                    <a:lnTo>
                      <a:pt x="659" y="11224"/>
                    </a:lnTo>
                    <a:lnTo>
                      <a:pt x="1455" y="0"/>
                    </a:lnTo>
                    <a:lnTo>
                      <a:pt x="8782" y="4775"/>
                    </a:lnTo>
                    <a:lnTo>
                      <a:pt x="8782" y="8809"/>
                    </a:lnTo>
                    <a:lnTo>
                      <a:pt x="6559" y="112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0" name="Freeform: Shape 3609">
                <a:extLst>
                  <a:ext uri="{FF2B5EF4-FFF2-40B4-BE49-F238E27FC236}">
                    <a16:creationId xmlns:a16="http://schemas.microsoft.com/office/drawing/2014/main" id="{5FBF01AA-4DFF-ECCA-659B-9A1202C2570B}"/>
                  </a:ext>
                </a:extLst>
              </p:cNvPr>
              <p:cNvSpPr/>
              <p:nvPr/>
            </p:nvSpPr>
            <p:spPr>
              <a:xfrm>
                <a:off x="1196523" y="3534981"/>
                <a:ext cx="1088" cy="1090"/>
              </a:xfrm>
              <a:custGeom>
                <a:avLst/>
                <a:gdLst>
                  <a:gd name="connsiteX0" fmla="*/ 6175 w 10428"/>
                  <a:gd name="connsiteY0" fmla="*/ 10456 h 10455"/>
                  <a:gd name="connsiteX1" fmla="*/ 4007 w 10428"/>
                  <a:gd name="connsiteY1" fmla="*/ 10456 h 10455"/>
                  <a:gd name="connsiteX2" fmla="*/ 604 w 10428"/>
                  <a:gd name="connsiteY2" fmla="*/ 5763 h 10455"/>
                  <a:gd name="connsiteX3" fmla="*/ 0 w 10428"/>
                  <a:gd name="connsiteY3" fmla="*/ 2689 h 10455"/>
                  <a:gd name="connsiteX4" fmla="*/ 2058 w 10428"/>
                  <a:gd name="connsiteY4" fmla="*/ 0 h 10455"/>
                  <a:gd name="connsiteX5" fmla="*/ 9825 w 10428"/>
                  <a:gd name="connsiteY5" fmla="*/ 5489 h 10455"/>
                  <a:gd name="connsiteX6" fmla="*/ 10428 w 10428"/>
                  <a:gd name="connsiteY6" fmla="*/ 10017 h 10455"/>
                  <a:gd name="connsiteX7" fmla="*/ 6175 w 10428"/>
                  <a:gd name="connsiteY7" fmla="*/ 10456 h 1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28" h="10455">
                    <a:moveTo>
                      <a:pt x="6175" y="10456"/>
                    </a:moveTo>
                    <a:lnTo>
                      <a:pt x="4007" y="10456"/>
                    </a:lnTo>
                    <a:lnTo>
                      <a:pt x="604" y="5763"/>
                    </a:lnTo>
                    <a:lnTo>
                      <a:pt x="0" y="2689"/>
                    </a:lnTo>
                    <a:lnTo>
                      <a:pt x="2058" y="0"/>
                    </a:lnTo>
                    <a:lnTo>
                      <a:pt x="9825" y="5489"/>
                    </a:lnTo>
                    <a:lnTo>
                      <a:pt x="10428" y="10017"/>
                    </a:lnTo>
                    <a:lnTo>
                      <a:pt x="6175" y="104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1" name="Freeform: Shape 3610">
                <a:extLst>
                  <a:ext uri="{FF2B5EF4-FFF2-40B4-BE49-F238E27FC236}">
                    <a16:creationId xmlns:a16="http://schemas.microsoft.com/office/drawing/2014/main" id="{301AF158-0B7B-F57E-7E00-408CF1A18A89}"/>
                  </a:ext>
                </a:extLst>
              </p:cNvPr>
              <p:cNvSpPr/>
              <p:nvPr/>
            </p:nvSpPr>
            <p:spPr>
              <a:xfrm>
                <a:off x="1193386" y="3507560"/>
                <a:ext cx="773" cy="1723"/>
              </a:xfrm>
              <a:custGeom>
                <a:avLst/>
                <a:gdLst>
                  <a:gd name="connsiteX0" fmla="*/ 7410 w 7409"/>
                  <a:gd name="connsiteY0" fmla="*/ 7410 h 16520"/>
                  <a:gd name="connsiteX1" fmla="*/ 1455 w 7409"/>
                  <a:gd name="connsiteY1" fmla="*/ 16521 h 16520"/>
                  <a:gd name="connsiteX2" fmla="*/ 0 w 7409"/>
                  <a:gd name="connsiteY2" fmla="*/ 15121 h 16520"/>
                  <a:gd name="connsiteX3" fmla="*/ 0 w 7409"/>
                  <a:gd name="connsiteY3" fmla="*/ 9303 h 16520"/>
                  <a:gd name="connsiteX4" fmla="*/ 4034 w 7409"/>
                  <a:gd name="connsiteY4" fmla="*/ 1756 h 16520"/>
                  <a:gd name="connsiteX5" fmla="*/ 6285 w 7409"/>
                  <a:gd name="connsiteY5" fmla="*/ 0 h 16520"/>
                  <a:gd name="connsiteX6" fmla="*/ 7410 w 7409"/>
                  <a:gd name="connsiteY6" fmla="*/ 7410 h 1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09" h="16520">
                    <a:moveTo>
                      <a:pt x="7410" y="7410"/>
                    </a:moveTo>
                    <a:lnTo>
                      <a:pt x="1455" y="16521"/>
                    </a:lnTo>
                    <a:lnTo>
                      <a:pt x="0" y="15121"/>
                    </a:lnTo>
                    <a:lnTo>
                      <a:pt x="0" y="9303"/>
                    </a:lnTo>
                    <a:cubicBezTo>
                      <a:pt x="0" y="9303"/>
                      <a:pt x="4034" y="1756"/>
                      <a:pt x="4034" y="1756"/>
                    </a:cubicBezTo>
                    <a:lnTo>
                      <a:pt x="6285" y="0"/>
                    </a:lnTo>
                    <a:lnTo>
                      <a:pt x="7410" y="74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3" name="Freeform: Shape 3612">
                <a:extLst>
                  <a:ext uri="{FF2B5EF4-FFF2-40B4-BE49-F238E27FC236}">
                    <a16:creationId xmlns:a16="http://schemas.microsoft.com/office/drawing/2014/main" id="{BC7EF1F3-A2CA-E40D-C444-E178C375204B}"/>
                  </a:ext>
                </a:extLst>
              </p:cNvPr>
              <p:cNvSpPr/>
              <p:nvPr/>
            </p:nvSpPr>
            <p:spPr>
              <a:xfrm>
                <a:off x="1305085" y="3443833"/>
                <a:ext cx="887" cy="1818"/>
              </a:xfrm>
              <a:custGeom>
                <a:avLst/>
                <a:gdLst>
                  <a:gd name="connsiteX0" fmla="*/ 8507 w 8507"/>
                  <a:gd name="connsiteY0" fmla="*/ 12541 h 17426"/>
                  <a:gd name="connsiteX1" fmla="*/ 5790 w 8507"/>
                  <a:gd name="connsiteY1" fmla="*/ 17426 h 17426"/>
                  <a:gd name="connsiteX2" fmla="*/ 5379 w 8507"/>
                  <a:gd name="connsiteY2" fmla="*/ 12541 h 17426"/>
                  <a:gd name="connsiteX3" fmla="*/ 439 w 8507"/>
                  <a:gd name="connsiteY3" fmla="*/ 10373 h 17426"/>
                  <a:gd name="connsiteX4" fmla="*/ 0 w 8507"/>
                  <a:gd name="connsiteY4" fmla="*/ 0 h 17426"/>
                  <a:gd name="connsiteX5" fmla="*/ 4995 w 8507"/>
                  <a:gd name="connsiteY5" fmla="*/ 576 h 17426"/>
                  <a:gd name="connsiteX6" fmla="*/ 8480 w 8507"/>
                  <a:gd name="connsiteY6" fmla="*/ 12514 h 1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 h="17426">
                    <a:moveTo>
                      <a:pt x="8507" y="12541"/>
                    </a:moveTo>
                    <a:lnTo>
                      <a:pt x="5790" y="17426"/>
                    </a:lnTo>
                    <a:lnTo>
                      <a:pt x="5379" y="12541"/>
                    </a:lnTo>
                    <a:lnTo>
                      <a:pt x="439" y="10373"/>
                    </a:lnTo>
                    <a:lnTo>
                      <a:pt x="0" y="0"/>
                    </a:lnTo>
                    <a:lnTo>
                      <a:pt x="4995" y="576"/>
                    </a:lnTo>
                    <a:lnTo>
                      <a:pt x="8480" y="125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4" name="Freeform: Shape 3613">
                <a:extLst>
                  <a:ext uri="{FF2B5EF4-FFF2-40B4-BE49-F238E27FC236}">
                    <a16:creationId xmlns:a16="http://schemas.microsoft.com/office/drawing/2014/main" id="{45B70249-1255-3964-22BF-73EC6BA024C3}"/>
                  </a:ext>
                </a:extLst>
              </p:cNvPr>
              <p:cNvSpPr/>
              <p:nvPr/>
            </p:nvSpPr>
            <p:spPr>
              <a:xfrm>
                <a:off x="1150722" y="3467963"/>
                <a:ext cx="1394" cy="993"/>
              </a:xfrm>
              <a:custGeom>
                <a:avLst/>
                <a:gdLst>
                  <a:gd name="connsiteX0" fmla="*/ 13337 w 13364"/>
                  <a:gd name="connsiteY0" fmla="*/ 5351 h 9522"/>
                  <a:gd name="connsiteX1" fmla="*/ 6504 w 13364"/>
                  <a:gd name="connsiteY1" fmla="*/ 9523 h 9522"/>
                  <a:gd name="connsiteX2" fmla="*/ 768 w 13364"/>
                  <a:gd name="connsiteY2" fmla="*/ 7327 h 9522"/>
                  <a:gd name="connsiteX3" fmla="*/ 0 w 13364"/>
                  <a:gd name="connsiteY3" fmla="*/ 4748 h 9522"/>
                  <a:gd name="connsiteX4" fmla="*/ 1043 w 13364"/>
                  <a:gd name="connsiteY4" fmla="*/ 1784 h 9522"/>
                  <a:gd name="connsiteX5" fmla="*/ 13282 w 13364"/>
                  <a:gd name="connsiteY5" fmla="*/ 0 h 9522"/>
                  <a:gd name="connsiteX6" fmla="*/ 13365 w 13364"/>
                  <a:gd name="connsiteY6" fmla="*/ 5324 h 9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64" h="9522">
                    <a:moveTo>
                      <a:pt x="13337" y="5351"/>
                    </a:moveTo>
                    <a:lnTo>
                      <a:pt x="6504" y="9523"/>
                    </a:lnTo>
                    <a:lnTo>
                      <a:pt x="768" y="7327"/>
                    </a:lnTo>
                    <a:lnTo>
                      <a:pt x="0" y="4748"/>
                    </a:lnTo>
                    <a:lnTo>
                      <a:pt x="1043" y="1784"/>
                    </a:lnTo>
                    <a:lnTo>
                      <a:pt x="13282" y="0"/>
                    </a:lnTo>
                    <a:lnTo>
                      <a:pt x="13365" y="53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6" name="Freeform: Shape 3615">
                <a:extLst>
                  <a:ext uri="{FF2B5EF4-FFF2-40B4-BE49-F238E27FC236}">
                    <a16:creationId xmlns:a16="http://schemas.microsoft.com/office/drawing/2014/main" id="{2098C0CA-7CB1-7164-E43C-204149F3BFB7}"/>
                  </a:ext>
                </a:extLst>
              </p:cNvPr>
              <p:cNvSpPr/>
              <p:nvPr/>
            </p:nvSpPr>
            <p:spPr>
              <a:xfrm>
                <a:off x="1306748" y="3441323"/>
                <a:ext cx="681" cy="2167"/>
              </a:xfrm>
              <a:custGeom>
                <a:avLst/>
                <a:gdLst>
                  <a:gd name="connsiteX0" fmla="*/ 6504 w 6531"/>
                  <a:gd name="connsiteY0" fmla="*/ 11718 h 20774"/>
                  <a:gd name="connsiteX1" fmla="*/ 4501 w 6531"/>
                  <a:gd name="connsiteY1" fmla="*/ 20774 h 20774"/>
                  <a:gd name="connsiteX2" fmla="*/ 0 w 6531"/>
                  <a:gd name="connsiteY2" fmla="*/ 11773 h 20774"/>
                  <a:gd name="connsiteX3" fmla="*/ 0 w 6531"/>
                  <a:gd name="connsiteY3" fmla="*/ 7602 h 20774"/>
                  <a:gd name="connsiteX4" fmla="*/ 4830 w 6531"/>
                  <a:gd name="connsiteY4" fmla="*/ 0 h 20774"/>
                  <a:gd name="connsiteX5" fmla="*/ 6531 w 6531"/>
                  <a:gd name="connsiteY5" fmla="*/ 11718 h 2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1" h="20774">
                    <a:moveTo>
                      <a:pt x="6504" y="11718"/>
                    </a:moveTo>
                    <a:lnTo>
                      <a:pt x="4501" y="20774"/>
                    </a:lnTo>
                    <a:lnTo>
                      <a:pt x="0" y="11773"/>
                    </a:lnTo>
                    <a:lnTo>
                      <a:pt x="0" y="7602"/>
                    </a:lnTo>
                    <a:lnTo>
                      <a:pt x="4830" y="0"/>
                    </a:lnTo>
                    <a:lnTo>
                      <a:pt x="6531" y="117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7" name="Freeform: Shape 3616">
                <a:extLst>
                  <a:ext uri="{FF2B5EF4-FFF2-40B4-BE49-F238E27FC236}">
                    <a16:creationId xmlns:a16="http://schemas.microsoft.com/office/drawing/2014/main" id="{4618DA16-965E-9549-BC89-8F1C71867FB0}"/>
                  </a:ext>
                </a:extLst>
              </p:cNvPr>
              <p:cNvSpPr/>
              <p:nvPr/>
            </p:nvSpPr>
            <p:spPr>
              <a:xfrm>
                <a:off x="1206071" y="3532743"/>
                <a:ext cx="1047" cy="758"/>
              </a:xfrm>
              <a:custGeom>
                <a:avLst/>
                <a:gdLst>
                  <a:gd name="connsiteX0" fmla="*/ 10016 w 10043"/>
                  <a:gd name="connsiteY0" fmla="*/ 6092 h 7272"/>
                  <a:gd name="connsiteX1" fmla="*/ 2991 w 10043"/>
                  <a:gd name="connsiteY1" fmla="*/ 7272 h 7272"/>
                  <a:gd name="connsiteX2" fmla="*/ 0 w 10043"/>
                  <a:gd name="connsiteY2" fmla="*/ 5434 h 7272"/>
                  <a:gd name="connsiteX3" fmla="*/ 357 w 10043"/>
                  <a:gd name="connsiteY3" fmla="*/ 357 h 7272"/>
                  <a:gd name="connsiteX4" fmla="*/ 5873 w 10043"/>
                  <a:gd name="connsiteY4" fmla="*/ 0 h 7272"/>
                  <a:gd name="connsiteX5" fmla="*/ 9907 w 10043"/>
                  <a:gd name="connsiteY5" fmla="*/ 2689 h 7272"/>
                  <a:gd name="connsiteX6" fmla="*/ 10044 w 10043"/>
                  <a:gd name="connsiteY6" fmla="*/ 6065 h 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3" h="7272">
                    <a:moveTo>
                      <a:pt x="10016" y="6092"/>
                    </a:moveTo>
                    <a:lnTo>
                      <a:pt x="2991" y="7272"/>
                    </a:lnTo>
                    <a:lnTo>
                      <a:pt x="0" y="5434"/>
                    </a:lnTo>
                    <a:lnTo>
                      <a:pt x="357" y="357"/>
                    </a:lnTo>
                    <a:lnTo>
                      <a:pt x="5873" y="0"/>
                    </a:lnTo>
                    <a:lnTo>
                      <a:pt x="9907" y="2689"/>
                    </a:lnTo>
                    <a:lnTo>
                      <a:pt x="10044" y="60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8" name="Freeform: Shape 3617">
                <a:extLst>
                  <a:ext uri="{FF2B5EF4-FFF2-40B4-BE49-F238E27FC236}">
                    <a16:creationId xmlns:a16="http://schemas.microsoft.com/office/drawing/2014/main" id="{93242FD2-9848-0855-67C9-66C2419FE801}"/>
                  </a:ext>
                </a:extLst>
              </p:cNvPr>
              <p:cNvSpPr/>
              <p:nvPr/>
            </p:nvSpPr>
            <p:spPr>
              <a:xfrm>
                <a:off x="1190938" y="3503026"/>
                <a:ext cx="1005" cy="827"/>
              </a:xfrm>
              <a:custGeom>
                <a:avLst/>
                <a:gdLst>
                  <a:gd name="connsiteX0" fmla="*/ 3074 w 9632"/>
                  <a:gd name="connsiteY0" fmla="*/ 0 h 7931"/>
                  <a:gd name="connsiteX1" fmla="*/ 5186 w 9632"/>
                  <a:gd name="connsiteY1" fmla="*/ 1756 h 7931"/>
                  <a:gd name="connsiteX2" fmla="*/ 9221 w 9632"/>
                  <a:gd name="connsiteY2" fmla="*/ 137 h 7931"/>
                  <a:gd name="connsiteX3" fmla="*/ 9632 w 9632"/>
                  <a:gd name="connsiteY3" fmla="*/ 6092 h 7931"/>
                  <a:gd name="connsiteX4" fmla="*/ 3842 w 9632"/>
                  <a:gd name="connsiteY4" fmla="*/ 6092 h 7931"/>
                  <a:gd name="connsiteX5" fmla="*/ 1015 w 9632"/>
                  <a:gd name="connsiteY5" fmla="*/ 7931 h 7931"/>
                  <a:gd name="connsiteX6" fmla="*/ 0 w 9632"/>
                  <a:gd name="connsiteY6" fmla="*/ 5296 h 7931"/>
                  <a:gd name="connsiteX7" fmla="*/ 0 w 9632"/>
                  <a:gd name="connsiteY7" fmla="*/ 2250 h 7931"/>
                  <a:gd name="connsiteX8" fmla="*/ 3074 w 9632"/>
                  <a:gd name="connsiteY8" fmla="*/ 0 h 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2" h="7931">
                    <a:moveTo>
                      <a:pt x="3074" y="0"/>
                    </a:moveTo>
                    <a:lnTo>
                      <a:pt x="5186" y="1756"/>
                    </a:lnTo>
                    <a:lnTo>
                      <a:pt x="9221" y="137"/>
                    </a:lnTo>
                    <a:lnTo>
                      <a:pt x="9632" y="6092"/>
                    </a:lnTo>
                    <a:lnTo>
                      <a:pt x="3842" y="6092"/>
                    </a:lnTo>
                    <a:lnTo>
                      <a:pt x="1015" y="7931"/>
                    </a:lnTo>
                    <a:lnTo>
                      <a:pt x="0" y="5296"/>
                    </a:lnTo>
                    <a:lnTo>
                      <a:pt x="0" y="2250"/>
                    </a:lnTo>
                    <a:lnTo>
                      <a:pt x="307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9" name="Freeform: Shape 3618">
                <a:extLst>
                  <a:ext uri="{FF2B5EF4-FFF2-40B4-BE49-F238E27FC236}">
                    <a16:creationId xmlns:a16="http://schemas.microsoft.com/office/drawing/2014/main" id="{36E93B90-9690-4E1F-9A66-55CC4DB9081C}"/>
                  </a:ext>
                </a:extLst>
              </p:cNvPr>
              <p:cNvSpPr/>
              <p:nvPr/>
            </p:nvSpPr>
            <p:spPr>
              <a:xfrm>
                <a:off x="1308108" y="3438922"/>
                <a:ext cx="793" cy="1414"/>
              </a:xfrm>
              <a:custGeom>
                <a:avLst/>
                <a:gdLst>
                  <a:gd name="connsiteX0" fmla="*/ 7574 w 7601"/>
                  <a:gd name="connsiteY0" fmla="*/ 6257 h 13556"/>
                  <a:gd name="connsiteX1" fmla="*/ 1838 w 7601"/>
                  <a:gd name="connsiteY1" fmla="*/ 13557 h 13556"/>
                  <a:gd name="connsiteX2" fmla="*/ 0 w 7601"/>
                  <a:gd name="connsiteY2" fmla="*/ 11114 h 13556"/>
                  <a:gd name="connsiteX3" fmla="*/ 219 w 7601"/>
                  <a:gd name="connsiteY3" fmla="*/ 6284 h 13556"/>
                  <a:gd name="connsiteX4" fmla="*/ 6230 w 7601"/>
                  <a:gd name="connsiteY4" fmla="*/ 0 h 13556"/>
                  <a:gd name="connsiteX5" fmla="*/ 7409 w 7601"/>
                  <a:gd name="connsiteY5" fmla="*/ 1043 h 13556"/>
                  <a:gd name="connsiteX6" fmla="*/ 7602 w 7601"/>
                  <a:gd name="connsiteY6" fmla="*/ 6284 h 1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1" h="13556">
                    <a:moveTo>
                      <a:pt x="7574" y="6257"/>
                    </a:moveTo>
                    <a:lnTo>
                      <a:pt x="1838" y="13557"/>
                    </a:lnTo>
                    <a:lnTo>
                      <a:pt x="0" y="11114"/>
                    </a:lnTo>
                    <a:lnTo>
                      <a:pt x="219" y="6284"/>
                    </a:lnTo>
                    <a:lnTo>
                      <a:pt x="6230" y="0"/>
                    </a:lnTo>
                    <a:lnTo>
                      <a:pt x="7409" y="1043"/>
                    </a:lnTo>
                    <a:lnTo>
                      <a:pt x="7602" y="62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0" name="Freeform: Shape 3619">
                <a:extLst>
                  <a:ext uri="{FF2B5EF4-FFF2-40B4-BE49-F238E27FC236}">
                    <a16:creationId xmlns:a16="http://schemas.microsoft.com/office/drawing/2014/main" id="{3A069D86-0069-E56E-212E-6CDC01B328A9}"/>
                  </a:ext>
                </a:extLst>
              </p:cNvPr>
              <p:cNvSpPr/>
              <p:nvPr/>
            </p:nvSpPr>
            <p:spPr>
              <a:xfrm>
                <a:off x="1194276" y="3506161"/>
                <a:ext cx="595" cy="1245"/>
              </a:xfrm>
              <a:custGeom>
                <a:avLst/>
                <a:gdLst>
                  <a:gd name="connsiteX0" fmla="*/ 5708 w 5708"/>
                  <a:gd name="connsiteY0" fmla="*/ 10264 h 11937"/>
                  <a:gd name="connsiteX1" fmla="*/ 604 w 5708"/>
                  <a:gd name="connsiteY1" fmla="*/ 11938 h 11937"/>
                  <a:gd name="connsiteX2" fmla="*/ 0 w 5708"/>
                  <a:gd name="connsiteY2" fmla="*/ 10072 h 11937"/>
                  <a:gd name="connsiteX3" fmla="*/ 2168 w 5708"/>
                  <a:gd name="connsiteY3" fmla="*/ 0 h 11937"/>
                  <a:gd name="connsiteX4" fmla="*/ 5516 w 5708"/>
                  <a:gd name="connsiteY4" fmla="*/ 5132 h 11937"/>
                  <a:gd name="connsiteX5" fmla="*/ 5681 w 5708"/>
                  <a:gd name="connsiteY5" fmla="*/ 10291 h 1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8" h="11937">
                    <a:moveTo>
                      <a:pt x="5708" y="10264"/>
                    </a:moveTo>
                    <a:lnTo>
                      <a:pt x="604" y="11938"/>
                    </a:lnTo>
                    <a:lnTo>
                      <a:pt x="0" y="10072"/>
                    </a:lnTo>
                    <a:lnTo>
                      <a:pt x="2168" y="0"/>
                    </a:lnTo>
                    <a:lnTo>
                      <a:pt x="5516" y="5132"/>
                    </a:lnTo>
                    <a:lnTo>
                      <a:pt x="5681" y="102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1" name="Freeform: Shape 3620">
                <a:extLst>
                  <a:ext uri="{FF2B5EF4-FFF2-40B4-BE49-F238E27FC236}">
                    <a16:creationId xmlns:a16="http://schemas.microsoft.com/office/drawing/2014/main" id="{7233157E-40FE-B7B2-86AA-1951A3F729F6}"/>
                  </a:ext>
                </a:extLst>
              </p:cNvPr>
              <p:cNvSpPr/>
              <p:nvPr/>
            </p:nvSpPr>
            <p:spPr>
              <a:xfrm>
                <a:off x="1308463" y="3491520"/>
                <a:ext cx="695" cy="1096"/>
              </a:xfrm>
              <a:custGeom>
                <a:avLst/>
                <a:gdLst>
                  <a:gd name="connsiteX0" fmla="*/ 6668 w 6668"/>
                  <a:gd name="connsiteY0" fmla="*/ 7574 h 10510"/>
                  <a:gd name="connsiteX1" fmla="*/ 4803 w 6668"/>
                  <a:gd name="connsiteY1" fmla="*/ 10511 h 10510"/>
                  <a:gd name="connsiteX2" fmla="*/ 1400 w 6668"/>
                  <a:gd name="connsiteY2" fmla="*/ 8096 h 10510"/>
                  <a:gd name="connsiteX3" fmla="*/ 0 w 6668"/>
                  <a:gd name="connsiteY3" fmla="*/ 2744 h 10510"/>
                  <a:gd name="connsiteX4" fmla="*/ 4803 w 6668"/>
                  <a:gd name="connsiteY4" fmla="*/ 0 h 10510"/>
                  <a:gd name="connsiteX5" fmla="*/ 6668 w 6668"/>
                  <a:gd name="connsiteY5" fmla="*/ 7574 h 10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8" h="10510">
                    <a:moveTo>
                      <a:pt x="6668" y="7574"/>
                    </a:moveTo>
                    <a:lnTo>
                      <a:pt x="4803" y="10511"/>
                    </a:lnTo>
                    <a:lnTo>
                      <a:pt x="1400" y="8096"/>
                    </a:lnTo>
                    <a:lnTo>
                      <a:pt x="0" y="2744"/>
                    </a:lnTo>
                    <a:lnTo>
                      <a:pt x="4803" y="0"/>
                    </a:lnTo>
                    <a:lnTo>
                      <a:pt x="6668" y="75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2" name="Freeform: Shape 3621">
                <a:extLst>
                  <a:ext uri="{FF2B5EF4-FFF2-40B4-BE49-F238E27FC236}">
                    <a16:creationId xmlns:a16="http://schemas.microsoft.com/office/drawing/2014/main" id="{92731E87-8FFA-6052-CB9D-45F4844A3EFD}"/>
                  </a:ext>
                </a:extLst>
              </p:cNvPr>
              <p:cNvSpPr/>
              <p:nvPr/>
            </p:nvSpPr>
            <p:spPr>
              <a:xfrm>
                <a:off x="1193377" y="3506109"/>
                <a:ext cx="641" cy="1082"/>
              </a:xfrm>
              <a:custGeom>
                <a:avLst/>
                <a:gdLst>
                  <a:gd name="connsiteX0" fmla="*/ 5077 w 6147"/>
                  <a:gd name="connsiteY0" fmla="*/ 9523 h 10373"/>
                  <a:gd name="connsiteX1" fmla="*/ 1592 w 6147"/>
                  <a:gd name="connsiteY1" fmla="*/ 10374 h 10373"/>
                  <a:gd name="connsiteX2" fmla="*/ 0 w 6147"/>
                  <a:gd name="connsiteY2" fmla="*/ 7465 h 10373"/>
                  <a:gd name="connsiteX3" fmla="*/ 1949 w 6147"/>
                  <a:gd name="connsiteY3" fmla="*/ 2141 h 10373"/>
                  <a:gd name="connsiteX4" fmla="*/ 4281 w 6147"/>
                  <a:gd name="connsiteY4" fmla="*/ 0 h 10373"/>
                  <a:gd name="connsiteX5" fmla="*/ 6147 w 6147"/>
                  <a:gd name="connsiteY5" fmla="*/ 1839 h 10373"/>
                  <a:gd name="connsiteX6" fmla="*/ 5050 w 6147"/>
                  <a:gd name="connsiteY6" fmla="*/ 9495 h 1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47" h="10373">
                    <a:moveTo>
                      <a:pt x="5077" y="9523"/>
                    </a:moveTo>
                    <a:lnTo>
                      <a:pt x="1592" y="10374"/>
                    </a:lnTo>
                    <a:lnTo>
                      <a:pt x="0" y="7465"/>
                    </a:lnTo>
                    <a:lnTo>
                      <a:pt x="1949" y="2141"/>
                    </a:lnTo>
                    <a:lnTo>
                      <a:pt x="4281" y="0"/>
                    </a:lnTo>
                    <a:lnTo>
                      <a:pt x="6147" y="1839"/>
                    </a:lnTo>
                    <a:lnTo>
                      <a:pt x="5050" y="94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3" name="Freeform: Shape 3622">
                <a:extLst>
                  <a:ext uri="{FF2B5EF4-FFF2-40B4-BE49-F238E27FC236}">
                    <a16:creationId xmlns:a16="http://schemas.microsoft.com/office/drawing/2014/main" id="{CC637B40-0C30-1E33-415B-EBA33A063FB6}"/>
                  </a:ext>
                </a:extLst>
              </p:cNvPr>
              <p:cNvSpPr/>
              <p:nvPr/>
            </p:nvSpPr>
            <p:spPr>
              <a:xfrm>
                <a:off x="1150161" y="3469929"/>
                <a:ext cx="816" cy="867"/>
              </a:xfrm>
              <a:custGeom>
                <a:avLst/>
                <a:gdLst>
                  <a:gd name="connsiteX0" fmla="*/ 7794 w 7821"/>
                  <a:gd name="connsiteY0" fmla="*/ 549 h 8315"/>
                  <a:gd name="connsiteX1" fmla="*/ 6559 w 7821"/>
                  <a:gd name="connsiteY1" fmla="*/ 8315 h 8315"/>
                  <a:gd name="connsiteX2" fmla="*/ 1015 w 7821"/>
                  <a:gd name="connsiteY2" fmla="*/ 6010 h 8315"/>
                  <a:gd name="connsiteX3" fmla="*/ 0 w 7821"/>
                  <a:gd name="connsiteY3" fmla="*/ 2717 h 8315"/>
                  <a:gd name="connsiteX4" fmla="*/ 549 w 7821"/>
                  <a:gd name="connsiteY4" fmla="*/ 0 h 8315"/>
                  <a:gd name="connsiteX5" fmla="*/ 7821 w 7821"/>
                  <a:gd name="connsiteY5" fmla="*/ 521 h 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21" h="8315">
                    <a:moveTo>
                      <a:pt x="7794" y="549"/>
                    </a:moveTo>
                    <a:lnTo>
                      <a:pt x="6559" y="8315"/>
                    </a:lnTo>
                    <a:lnTo>
                      <a:pt x="1015" y="6010"/>
                    </a:lnTo>
                    <a:lnTo>
                      <a:pt x="0" y="2717"/>
                    </a:lnTo>
                    <a:lnTo>
                      <a:pt x="549" y="0"/>
                    </a:lnTo>
                    <a:lnTo>
                      <a:pt x="7821" y="5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4" name="Freeform: Shape 3623">
                <a:extLst>
                  <a:ext uri="{FF2B5EF4-FFF2-40B4-BE49-F238E27FC236}">
                    <a16:creationId xmlns:a16="http://schemas.microsoft.com/office/drawing/2014/main" id="{3249A86A-B517-1B20-BED3-B0ADF655BD7D}"/>
                  </a:ext>
                </a:extLst>
              </p:cNvPr>
              <p:cNvSpPr/>
              <p:nvPr/>
            </p:nvSpPr>
            <p:spPr>
              <a:xfrm>
                <a:off x="1190930" y="3498303"/>
                <a:ext cx="524" cy="1148"/>
              </a:xfrm>
              <a:custGeom>
                <a:avLst/>
                <a:gdLst>
                  <a:gd name="connsiteX0" fmla="*/ 5022 w 5021"/>
                  <a:gd name="connsiteY0" fmla="*/ 5708 h 11004"/>
                  <a:gd name="connsiteX1" fmla="*/ 0 w 5021"/>
                  <a:gd name="connsiteY1" fmla="*/ 11005 h 11004"/>
                  <a:gd name="connsiteX2" fmla="*/ 0 w 5021"/>
                  <a:gd name="connsiteY2" fmla="*/ 5955 h 11004"/>
                  <a:gd name="connsiteX3" fmla="*/ 4199 w 5021"/>
                  <a:gd name="connsiteY3" fmla="*/ 0 h 11004"/>
                  <a:gd name="connsiteX4" fmla="*/ 5022 w 5021"/>
                  <a:gd name="connsiteY4" fmla="*/ 5708 h 1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1" h="11004">
                    <a:moveTo>
                      <a:pt x="5022" y="5708"/>
                    </a:moveTo>
                    <a:lnTo>
                      <a:pt x="0" y="11005"/>
                    </a:lnTo>
                    <a:lnTo>
                      <a:pt x="0" y="5955"/>
                    </a:lnTo>
                    <a:lnTo>
                      <a:pt x="4199" y="0"/>
                    </a:lnTo>
                    <a:lnTo>
                      <a:pt x="5022" y="57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5" name="Freeform: Shape 3624">
                <a:extLst>
                  <a:ext uri="{FF2B5EF4-FFF2-40B4-BE49-F238E27FC236}">
                    <a16:creationId xmlns:a16="http://schemas.microsoft.com/office/drawing/2014/main" id="{2F37659F-43A5-60F5-CC07-526FAC60126F}"/>
                  </a:ext>
                </a:extLst>
              </p:cNvPr>
              <p:cNvSpPr/>
              <p:nvPr/>
            </p:nvSpPr>
            <p:spPr>
              <a:xfrm>
                <a:off x="1162867" y="3474509"/>
                <a:ext cx="529" cy="1211"/>
              </a:xfrm>
              <a:custGeom>
                <a:avLst/>
                <a:gdLst>
                  <a:gd name="connsiteX0" fmla="*/ 5077 w 5076"/>
                  <a:gd name="connsiteY0" fmla="*/ 8343 h 11608"/>
                  <a:gd name="connsiteX1" fmla="*/ 2580 w 5076"/>
                  <a:gd name="connsiteY1" fmla="*/ 11608 h 11608"/>
                  <a:gd name="connsiteX2" fmla="*/ 0 w 5076"/>
                  <a:gd name="connsiteY2" fmla="*/ 5708 h 11608"/>
                  <a:gd name="connsiteX3" fmla="*/ 2251 w 5076"/>
                  <a:gd name="connsiteY3" fmla="*/ 0 h 11608"/>
                  <a:gd name="connsiteX4" fmla="*/ 5077 w 5076"/>
                  <a:gd name="connsiteY4" fmla="*/ 8343 h 11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6" h="11608">
                    <a:moveTo>
                      <a:pt x="5077" y="8343"/>
                    </a:moveTo>
                    <a:lnTo>
                      <a:pt x="2580" y="11608"/>
                    </a:lnTo>
                    <a:lnTo>
                      <a:pt x="0" y="5708"/>
                    </a:lnTo>
                    <a:lnTo>
                      <a:pt x="2251" y="0"/>
                    </a:lnTo>
                    <a:lnTo>
                      <a:pt x="5077" y="83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6" name="Freeform: Shape 3625">
                <a:extLst>
                  <a:ext uri="{FF2B5EF4-FFF2-40B4-BE49-F238E27FC236}">
                    <a16:creationId xmlns:a16="http://schemas.microsoft.com/office/drawing/2014/main" id="{4573ADF1-C24D-C9F5-CB11-17B1E5F78788}"/>
                  </a:ext>
                </a:extLst>
              </p:cNvPr>
              <p:cNvSpPr/>
              <p:nvPr/>
            </p:nvSpPr>
            <p:spPr>
              <a:xfrm>
                <a:off x="1189856" y="3492078"/>
                <a:ext cx="464" cy="1262"/>
              </a:xfrm>
              <a:custGeom>
                <a:avLst/>
                <a:gdLst>
                  <a:gd name="connsiteX0" fmla="*/ 4418 w 4445"/>
                  <a:gd name="connsiteY0" fmla="*/ 6614 h 12102"/>
                  <a:gd name="connsiteX1" fmla="*/ 2579 w 4445"/>
                  <a:gd name="connsiteY1" fmla="*/ 12102 h 12102"/>
                  <a:gd name="connsiteX2" fmla="*/ 0 w 4445"/>
                  <a:gd name="connsiteY2" fmla="*/ 7108 h 12102"/>
                  <a:gd name="connsiteX3" fmla="*/ 3952 w 4445"/>
                  <a:gd name="connsiteY3" fmla="*/ 0 h 12102"/>
                  <a:gd name="connsiteX4" fmla="*/ 4446 w 4445"/>
                  <a:gd name="connsiteY4" fmla="*/ 6614 h 1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 h="12102">
                    <a:moveTo>
                      <a:pt x="4418" y="6614"/>
                    </a:moveTo>
                    <a:lnTo>
                      <a:pt x="2579" y="12102"/>
                    </a:lnTo>
                    <a:lnTo>
                      <a:pt x="0" y="7108"/>
                    </a:lnTo>
                    <a:lnTo>
                      <a:pt x="3952" y="0"/>
                    </a:lnTo>
                    <a:lnTo>
                      <a:pt x="4446" y="66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7" name="Freeform: Shape 3626">
                <a:extLst>
                  <a:ext uri="{FF2B5EF4-FFF2-40B4-BE49-F238E27FC236}">
                    <a16:creationId xmlns:a16="http://schemas.microsoft.com/office/drawing/2014/main" id="{3E6824F8-85D9-F560-0B42-801DAAEB7892}"/>
                  </a:ext>
                </a:extLst>
              </p:cNvPr>
              <p:cNvSpPr/>
              <p:nvPr/>
            </p:nvSpPr>
            <p:spPr>
              <a:xfrm>
                <a:off x="1305434" y="3446916"/>
                <a:ext cx="341" cy="2155"/>
              </a:xfrm>
              <a:custGeom>
                <a:avLst/>
                <a:gdLst>
                  <a:gd name="connsiteX0" fmla="*/ 2031 w 3265"/>
                  <a:gd name="connsiteY0" fmla="*/ 10181 h 20664"/>
                  <a:gd name="connsiteX1" fmla="*/ 3266 w 3265"/>
                  <a:gd name="connsiteY1" fmla="*/ 20665 h 20664"/>
                  <a:gd name="connsiteX2" fmla="*/ 988 w 3265"/>
                  <a:gd name="connsiteY2" fmla="*/ 20665 h 20664"/>
                  <a:gd name="connsiteX3" fmla="*/ 0 w 3265"/>
                  <a:gd name="connsiteY3" fmla="*/ 6586 h 20664"/>
                  <a:gd name="connsiteX4" fmla="*/ 659 w 3265"/>
                  <a:gd name="connsiteY4" fmla="*/ 0 h 20664"/>
                  <a:gd name="connsiteX5" fmla="*/ 2772 w 3265"/>
                  <a:gd name="connsiteY5" fmla="*/ 439 h 20664"/>
                  <a:gd name="connsiteX6" fmla="*/ 2031 w 3265"/>
                  <a:gd name="connsiteY6" fmla="*/ 10181 h 2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5" h="20664">
                    <a:moveTo>
                      <a:pt x="2031" y="10181"/>
                    </a:moveTo>
                    <a:lnTo>
                      <a:pt x="3266" y="20665"/>
                    </a:lnTo>
                    <a:lnTo>
                      <a:pt x="988" y="20665"/>
                    </a:lnTo>
                    <a:cubicBezTo>
                      <a:pt x="988" y="20665"/>
                      <a:pt x="0" y="6586"/>
                      <a:pt x="0" y="6586"/>
                    </a:cubicBezTo>
                    <a:lnTo>
                      <a:pt x="659" y="0"/>
                    </a:lnTo>
                    <a:lnTo>
                      <a:pt x="2772" y="439"/>
                    </a:lnTo>
                    <a:lnTo>
                      <a:pt x="2031" y="101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8" name="Freeform: Shape 3627">
                <a:extLst>
                  <a:ext uri="{FF2B5EF4-FFF2-40B4-BE49-F238E27FC236}">
                    <a16:creationId xmlns:a16="http://schemas.microsoft.com/office/drawing/2014/main" id="{CF811D03-CA0F-40BF-660C-35E11E9B8DB9}"/>
                  </a:ext>
                </a:extLst>
              </p:cNvPr>
              <p:cNvSpPr/>
              <p:nvPr/>
            </p:nvSpPr>
            <p:spPr>
              <a:xfrm>
                <a:off x="1141400" y="3466217"/>
                <a:ext cx="492" cy="1331"/>
              </a:xfrm>
              <a:custGeom>
                <a:avLst/>
                <a:gdLst>
                  <a:gd name="connsiteX0" fmla="*/ 4720 w 4720"/>
                  <a:gd name="connsiteY0" fmla="*/ 2607 h 12760"/>
                  <a:gd name="connsiteX1" fmla="*/ 3375 w 4720"/>
                  <a:gd name="connsiteY1" fmla="*/ 12761 h 12760"/>
                  <a:gd name="connsiteX2" fmla="*/ 0 w 4720"/>
                  <a:gd name="connsiteY2" fmla="*/ 2689 h 12760"/>
                  <a:gd name="connsiteX3" fmla="*/ 631 w 4720"/>
                  <a:gd name="connsiteY3" fmla="*/ 0 h 12760"/>
                  <a:gd name="connsiteX4" fmla="*/ 4720 w 4720"/>
                  <a:gd name="connsiteY4" fmla="*/ 2607 h 12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0" h="12760">
                    <a:moveTo>
                      <a:pt x="4720" y="2607"/>
                    </a:moveTo>
                    <a:lnTo>
                      <a:pt x="3375" y="12761"/>
                    </a:lnTo>
                    <a:lnTo>
                      <a:pt x="0" y="2689"/>
                    </a:lnTo>
                    <a:lnTo>
                      <a:pt x="631" y="0"/>
                    </a:lnTo>
                    <a:lnTo>
                      <a:pt x="4720" y="26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9" name="Freeform: Shape 3628">
                <a:extLst>
                  <a:ext uri="{FF2B5EF4-FFF2-40B4-BE49-F238E27FC236}">
                    <a16:creationId xmlns:a16="http://schemas.microsoft.com/office/drawing/2014/main" id="{B8C7CD81-E684-5BDB-9A55-14E1FBFDE0C8}"/>
                  </a:ext>
                </a:extLst>
              </p:cNvPr>
              <p:cNvSpPr/>
              <p:nvPr/>
            </p:nvSpPr>
            <p:spPr>
              <a:xfrm>
                <a:off x="1189765" y="3497579"/>
                <a:ext cx="464" cy="1194"/>
              </a:xfrm>
              <a:custGeom>
                <a:avLst/>
                <a:gdLst>
                  <a:gd name="connsiteX0" fmla="*/ 4446 w 4445"/>
                  <a:gd name="connsiteY0" fmla="*/ 7492 h 11443"/>
                  <a:gd name="connsiteX1" fmla="*/ 3046 w 4445"/>
                  <a:gd name="connsiteY1" fmla="*/ 11444 h 11443"/>
                  <a:gd name="connsiteX2" fmla="*/ 0 w 4445"/>
                  <a:gd name="connsiteY2" fmla="*/ 6257 h 11443"/>
                  <a:gd name="connsiteX3" fmla="*/ 3403 w 4445"/>
                  <a:gd name="connsiteY3" fmla="*/ 0 h 11443"/>
                  <a:gd name="connsiteX4" fmla="*/ 4418 w 4445"/>
                  <a:gd name="connsiteY4" fmla="*/ 7492 h 1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 h="11443">
                    <a:moveTo>
                      <a:pt x="4446" y="7492"/>
                    </a:moveTo>
                    <a:lnTo>
                      <a:pt x="3046" y="11444"/>
                    </a:lnTo>
                    <a:lnTo>
                      <a:pt x="0" y="6257"/>
                    </a:lnTo>
                    <a:lnTo>
                      <a:pt x="3403" y="0"/>
                    </a:lnTo>
                    <a:lnTo>
                      <a:pt x="4418" y="74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1" name="Freeform: Shape 3630">
                <a:extLst>
                  <a:ext uri="{FF2B5EF4-FFF2-40B4-BE49-F238E27FC236}">
                    <a16:creationId xmlns:a16="http://schemas.microsoft.com/office/drawing/2014/main" id="{E50B4760-54AB-FFA0-7BDA-12C47529DDCE}"/>
                  </a:ext>
                </a:extLst>
              </p:cNvPr>
              <p:cNvSpPr/>
              <p:nvPr/>
            </p:nvSpPr>
            <p:spPr>
              <a:xfrm>
                <a:off x="1205284" y="3532557"/>
                <a:ext cx="412" cy="1050"/>
              </a:xfrm>
              <a:custGeom>
                <a:avLst/>
                <a:gdLst>
                  <a:gd name="connsiteX0" fmla="*/ 3924 w 3951"/>
                  <a:gd name="connsiteY0" fmla="*/ 4940 h 10071"/>
                  <a:gd name="connsiteX1" fmla="*/ 1976 w 3951"/>
                  <a:gd name="connsiteY1" fmla="*/ 10072 h 10071"/>
                  <a:gd name="connsiteX2" fmla="*/ 0 w 3951"/>
                  <a:gd name="connsiteY2" fmla="*/ 2470 h 10071"/>
                  <a:gd name="connsiteX3" fmla="*/ 3019 w 3951"/>
                  <a:gd name="connsiteY3" fmla="*/ 0 h 10071"/>
                  <a:gd name="connsiteX4" fmla="*/ 3952 w 3951"/>
                  <a:gd name="connsiteY4" fmla="*/ 4940 h 10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10071">
                    <a:moveTo>
                      <a:pt x="3924" y="4940"/>
                    </a:moveTo>
                    <a:lnTo>
                      <a:pt x="1976" y="10072"/>
                    </a:lnTo>
                    <a:lnTo>
                      <a:pt x="0" y="2470"/>
                    </a:lnTo>
                    <a:lnTo>
                      <a:pt x="3019" y="0"/>
                    </a:lnTo>
                    <a:lnTo>
                      <a:pt x="3952" y="49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2" name="Freeform: Shape 3631">
                <a:extLst>
                  <a:ext uri="{FF2B5EF4-FFF2-40B4-BE49-F238E27FC236}">
                    <a16:creationId xmlns:a16="http://schemas.microsoft.com/office/drawing/2014/main" id="{1A397ADB-B04B-BB45-A2D4-C7FC99535C8F}"/>
                  </a:ext>
                </a:extLst>
              </p:cNvPr>
              <p:cNvSpPr/>
              <p:nvPr/>
            </p:nvSpPr>
            <p:spPr>
              <a:xfrm>
                <a:off x="1187294" y="3491388"/>
                <a:ext cx="464" cy="1133"/>
              </a:xfrm>
              <a:custGeom>
                <a:avLst/>
                <a:gdLst>
                  <a:gd name="connsiteX0" fmla="*/ 4446 w 4445"/>
                  <a:gd name="connsiteY0" fmla="*/ 8562 h 10867"/>
                  <a:gd name="connsiteX1" fmla="*/ 1318 w 4445"/>
                  <a:gd name="connsiteY1" fmla="*/ 10867 h 10867"/>
                  <a:gd name="connsiteX2" fmla="*/ 0 w 4445"/>
                  <a:gd name="connsiteY2" fmla="*/ 4885 h 10867"/>
                  <a:gd name="connsiteX3" fmla="*/ 2525 w 4445"/>
                  <a:gd name="connsiteY3" fmla="*/ 0 h 10867"/>
                  <a:gd name="connsiteX4" fmla="*/ 4446 w 4445"/>
                  <a:gd name="connsiteY4" fmla="*/ 8562 h 10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 h="10867">
                    <a:moveTo>
                      <a:pt x="4446" y="8562"/>
                    </a:moveTo>
                    <a:lnTo>
                      <a:pt x="1318" y="10867"/>
                    </a:lnTo>
                    <a:lnTo>
                      <a:pt x="0" y="4885"/>
                    </a:lnTo>
                    <a:lnTo>
                      <a:pt x="2525" y="0"/>
                    </a:lnTo>
                    <a:lnTo>
                      <a:pt x="4446" y="85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3" name="Freeform: Shape 3632">
                <a:extLst>
                  <a:ext uri="{FF2B5EF4-FFF2-40B4-BE49-F238E27FC236}">
                    <a16:creationId xmlns:a16="http://schemas.microsoft.com/office/drawing/2014/main" id="{40B2780F-6166-91BD-6AA3-5E868271A91C}"/>
                  </a:ext>
                </a:extLst>
              </p:cNvPr>
              <p:cNvSpPr/>
              <p:nvPr/>
            </p:nvSpPr>
            <p:spPr>
              <a:xfrm>
                <a:off x="1185591" y="3483099"/>
                <a:ext cx="595" cy="904"/>
              </a:xfrm>
              <a:custGeom>
                <a:avLst/>
                <a:gdLst>
                  <a:gd name="connsiteX0" fmla="*/ 5708 w 5708"/>
                  <a:gd name="connsiteY0" fmla="*/ 0 h 8671"/>
                  <a:gd name="connsiteX1" fmla="*/ 4281 w 5708"/>
                  <a:gd name="connsiteY1" fmla="*/ 8672 h 8671"/>
                  <a:gd name="connsiteX2" fmla="*/ 0 w 5708"/>
                  <a:gd name="connsiteY2" fmla="*/ 5489 h 8671"/>
                  <a:gd name="connsiteX3" fmla="*/ 1427 w 5708"/>
                  <a:gd name="connsiteY3" fmla="*/ 686 h 8671"/>
                  <a:gd name="connsiteX4" fmla="*/ 5708 w 5708"/>
                  <a:gd name="connsiteY4" fmla="*/ 0 h 8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8" h="8671">
                    <a:moveTo>
                      <a:pt x="5708" y="0"/>
                    </a:moveTo>
                    <a:lnTo>
                      <a:pt x="4281" y="8672"/>
                    </a:lnTo>
                    <a:lnTo>
                      <a:pt x="0" y="5489"/>
                    </a:lnTo>
                    <a:lnTo>
                      <a:pt x="1427" y="686"/>
                    </a:lnTo>
                    <a:lnTo>
                      <a:pt x="570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4" name="Freeform: Shape 3633">
                <a:extLst>
                  <a:ext uri="{FF2B5EF4-FFF2-40B4-BE49-F238E27FC236}">
                    <a16:creationId xmlns:a16="http://schemas.microsoft.com/office/drawing/2014/main" id="{F2BE132B-06E7-6BA1-D044-8C0153A98C99}"/>
                  </a:ext>
                </a:extLst>
              </p:cNvPr>
              <p:cNvSpPr/>
              <p:nvPr/>
            </p:nvSpPr>
            <p:spPr>
              <a:xfrm>
                <a:off x="1193935" y="3519133"/>
                <a:ext cx="518" cy="821"/>
              </a:xfrm>
              <a:custGeom>
                <a:avLst/>
                <a:gdLst>
                  <a:gd name="connsiteX0" fmla="*/ 4199 w 4967"/>
                  <a:gd name="connsiteY0" fmla="*/ 7437 h 7876"/>
                  <a:gd name="connsiteX1" fmla="*/ 576 w 4967"/>
                  <a:gd name="connsiteY1" fmla="*/ 7876 h 7876"/>
                  <a:gd name="connsiteX2" fmla="*/ 0 w 4967"/>
                  <a:gd name="connsiteY2" fmla="*/ 6037 h 7876"/>
                  <a:gd name="connsiteX3" fmla="*/ 412 w 4967"/>
                  <a:gd name="connsiteY3" fmla="*/ 4281 h 7876"/>
                  <a:gd name="connsiteX4" fmla="*/ 4967 w 4967"/>
                  <a:gd name="connsiteY4" fmla="*/ 0 h 7876"/>
                  <a:gd name="connsiteX5" fmla="*/ 4199 w 4967"/>
                  <a:gd name="connsiteY5" fmla="*/ 7437 h 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 h="7876">
                    <a:moveTo>
                      <a:pt x="4199" y="7437"/>
                    </a:moveTo>
                    <a:lnTo>
                      <a:pt x="576" y="7876"/>
                    </a:lnTo>
                    <a:lnTo>
                      <a:pt x="0" y="6037"/>
                    </a:lnTo>
                    <a:lnTo>
                      <a:pt x="412" y="4281"/>
                    </a:lnTo>
                    <a:lnTo>
                      <a:pt x="4967" y="0"/>
                    </a:lnTo>
                    <a:lnTo>
                      <a:pt x="4199"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5" name="Freeform: Shape 3634">
                <a:extLst>
                  <a:ext uri="{FF2B5EF4-FFF2-40B4-BE49-F238E27FC236}">
                    <a16:creationId xmlns:a16="http://schemas.microsoft.com/office/drawing/2014/main" id="{9F1AA47D-637D-5D90-4C97-58D3F873DC0B}"/>
                  </a:ext>
                </a:extLst>
              </p:cNvPr>
              <p:cNvSpPr/>
              <p:nvPr/>
            </p:nvSpPr>
            <p:spPr>
              <a:xfrm>
                <a:off x="1188777" y="3490515"/>
                <a:ext cx="472" cy="1030"/>
              </a:xfrm>
              <a:custGeom>
                <a:avLst/>
                <a:gdLst>
                  <a:gd name="connsiteX0" fmla="*/ 4171 w 4528"/>
                  <a:gd name="connsiteY0" fmla="*/ 9385 h 9879"/>
                  <a:gd name="connsiteX1" fmla="*/ 494 w 4528"/>
                  <a:gd name="connsiteY1" fmla="*/ 9880 h 9879"/>
                  <a:gd name="connsiteX2" fmla="*/ 0 w 4528"/>
                  <a:gd name="connsiteY2" fmla="*/ 6724 h 9879"/>
                  <a:gd name="connsiteX3" fmla="*/ 2497 w 4528"/>
                  <a:gd name="connsiteY3" fmla="*/ 0 h 9879"/>
                  <a:gd name="connsiteX4" fmla="*/ 4528 w 4528"/>
                  <a:gd name="connsiteY4" fmla="*/ 2799 h 9879"/>
                  <a:gd name="connsiteX5" fmla="*/ 4144 w 4528"/>
                  <a:gd name="connsiteY5" fmla="*/ 9413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8" h="9879">
                    <a:moveTo>
                      <a:pt x="4171" y="9385"/>
                    </a:moveTo>
                    <a:lnTo>
                      <a:pt x="494" y="9880"/>
                    </a:lnTo>
                    <a:lnTo>
                      <a:pt x="0" y="6724"/>
                    </a:lnTo>
                    <a:lnTo>
                      <a:pt x="2497" y="0"/>
                    </a:lnTo>
                    <a:lnTo>
                      <a:pt x="4528" y="2799"/>
                    </a:lnTo>
                    <a:lnTo>
                      <a:pt x="4144" y="94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6" name="Freeform: Shape 3635">
                <a:extLst>
                  <a:ext uri="{FF2B5EF4-FFF2-40B4-BE49-F238E27FC236}">
                    <a16:creationId xmlns:a16="http://schemas.microsoft.com/office/drawing/2014/main" id="{8006D25C-072E-F05B-B797-D74C5DA10B6A}"/>
                  </a:ext>
                </a:extLst>
              </p:cNvPr>
              <p:cNvSpPr/>
              <p:nvPr/>
            </p:nvSpPr>
            <p:spPr>
              <a:xfrm>
                <a:off x="1192584" y="3508050"/>
                <a:ext cx="590" cy="741"/>
              </a:xfrm>
              <a:custGeom>
                <a:avLst/>
                <a:gdLst>
                  <a:gd name="connsiteX0" fmla="*/ 5626 w 5653"/>
                  <a:gd name="connsiteY0" fmla="*/ 4116 h 7107"/>
                  <a:gd name="connsiteX1" fmla="*/ 4665 w 5653"/>
                  <a:gd name="connsiteY1" fmla="*/ 7108 h 7107"/>
                  <a:gd name="connsiteX2" fmla="*/ 1207 w 5653"/>
                  <a:gd name="connsiteY2" fmla="*/ 6367 h 7107"/>
                  <a:gd name="connsiteX3" fmla="*/ 0 w 5653"/>
                  <a:gd name="connsiteY3" fmla="*/ 3238 h 7107"/>
                  <a:gd name="connsiteX4" fmla="*/ 2607 w 5653"/>
                  <a:gd name="connsiteY4" fmla="*/ 0 h 7107"/>
                  <a:gd name="connsiteX5" fmla="*/ 5653 w 5653"/>
                  <a:gd name="connsiteY5" fmla="*/ 4171 h 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3" h="7107">
                    <a:moveTo>
                      <a:pt x="5626" y="4116"/>
                    </a:moveTo>
                    <a:lnTo>
                      <a:pt x="4665" y="7108"/>
                    </a:lnTo>
                    <a:lnTo>
                      <a:pt x="1207" y="6367"/>
                    </a:lnTo>
                    <a:lnTo>
                      <a:pt x="0" y="3238"/>
                    </a:lnTo>
                    <a:lnTo>
                      <a:pt x="2607" y="0"/>
                    </a:lnTo>
                    <a:lnTo>
                      <a:pt x="5653" y="41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7" name="Freeform: Shape 3636">
                <a:extLst>
                  <a:ext uri="{FF2B5EF4-FFF2-40B4-BE49-F238E27FC236}">
                    <a16:creationId xmlns:a16="http://schemas.microsoft.com/office/drawing/2014/main" id="{5125ED35-AB5D-18F5-29A5-88AEBBD09F26}"/>
                  </a:ext>
                </a:extLst>
              </p:cNvPr>
              <p:cNvSpPr/>
              <p:nvPr/>
            </p:nvSpPr>
            <p:spPr>
              <a:xfrm>
                <a:off x="1192495" y="3498189"/>
                <a:ext cx="438" cy="1048"/>
              </a:xfrm>
              <a:custGeom>
                <a:avLst/>
                <a:gdLst>
                  <a:gd name="connsiteX0" fmla="*/ 2909 w 4198"/>
                  <a:gd name="connsiteY0" fmla="*/ 0 h 10044"/>
                  <a:gd name="connsiteX1" fmla="*/ 4199 w 4198"/>
                  <a:gd name="connsiteY1" fmla="*/ 10044 h 10044"/>
                  <a:gd name="connsiteX2" fmla="*/ 1098 w 4198"/>
                  <a:gd name="connsiteY2" fmla="*/ 9797 h 10044"/>
                  <a:gd name="connsiteX3" fmla="*/ 0 w 4198"/>
                  <a:gd name="connsiteY3" fmla="*/ 4775 h 10044"/>
                  <a:gd name="connsiteX4" fmla="*/ 2936 w 4198"/>
                  <a:gd name="connsiteY4" fmla="*/ 0 h 1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8" h="10044">
                    <a:moveTo>
                      <a:pt x="2909" y="0"/>
                    </a:moveTo>
                    <a:lnTo>
                      <a:pt x="4199" y="10044"/>
                    </a:lnTo>
                    <a:lnTo>
                      <a:pt x="1098" y="9797"/>
                    </a:lnTo>
                    <a:lnTo>
                      <a:pt x="0" y="4775"/>
                    </a:lnTo>
                    <a:lnTo>
                      <a:pt x="293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9" name="Freeform: Shape 3638">
                <a:extLst>
                  <a:ext uri="{FF2B5EF4-FFF2-40B4-BE49-F238E27FC236}">
                    <a16:creationId xmlns:a16="http://schemas.microsoft.com/office/drawing/2014/main" id="{F6EBA877-2E05-8B18-1BFA-4FD2E8F9A657}"/>
                  </a:ext>
                </a:extLst>
              </p:cNvPr>
              <p:cNvSpPr/>
              <p:nvPr/>
            </p:nvSpPr>
            <p:spPr>
              <a:xfrm>
                <a:off x="1192389" y="3506733"/>
                <a:ext cx="469" cy="910"/>
              </a:xfrm>
              <a:custGeom>
                <a:avLst/>
                <a:gdLst>
                  <a:gd name="connsiteX0" fmla="*/ 4281 w 4500"/>
                  <a:gd name="connsiteY0" fmla="*/ 6970 h 8726"/>
                  <a:gd name="connsiteX1" fmla="*/ 1866 w 4500"/>
                  <a:gd name="connsiteY1" fmla="*/ 8727 h 8726"/>
                  <a:gd name="connsiteX2" fmla="*/ 0 w 4500"/>
                  <a:gd name="connsiteY2" fmla="*/ 4089 h 8726"/>
                  <a:gd name="connsiteX3" fmla="*/ 2305 w 4500"/>
                  <a:gd name="connsiteY3" fmla="*/ 0 h 8726"/>
                  <a:gd name="connsiteX4" fmla="*/ 4501 w 4500"/>
                  <a:gd name="connsiteY4" fmla="*/ 2881 h 8726"/>
                  <a:gd name="connsiteX5" fmla="*/ 4281 w 4500"/>
                  <a:gd name="connsiteY5" fmla="*/ 6998 h 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 h="8726">
                    <a:moveTo>
                      <a:pt x="4281" y="6970"/>
                    </a:moveTo>
                    <a:lnTo>
                      <a:pt x="1866" y="8727"/>
                    </a:lnTo>
                    <a:lnTo>
                      <a:pt x="0" y="4089"/>
                    </a:lnTo>
                    <a:lnTo>
                      <a:pt x="2305" y="0"/>
                    </a:lnTo>
                    <a:lnTo>
                      <a:pt x="4501" y="2881"/>
                    </a:lnTo>
                    <a:lnTo>
                      <a:pt x="4281" y="69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1" name="Freeform: Shape 3640">
                <a:extLst>
                  <a:ext uri="{FF2B5EF4-FFF2-40B4-BE49-F238E27FC236}">
                    <a16:creationId xmlns:a16="http://schemas.microsoft.com/office/drawing/2014/main" id="{89C3309A-4F7E-23FD-D448-B62F9D28261F}"/>
                  </a:ext>
                </a:extLst>
              </p:cNvPr>
              <p:cNvSpPr/>
              <p:nvPr/>
            </p:nvSpPr>
            <p:spPr>
              <a:xfrm>
                <a:off x="1194196" y="3515128"/>
                <a:ext cx="507" cy="776"/>
              </a:xfrm>
              <a:custGeom>
                <a:avLst/>
                <a:gdLst>
                  <a:gd name="connsiteX0" fmla="*/ 2827 w 4857"/>
                  <a:gd name="connsiteY0" fmla="*/ 7080 h 7437"/>
                  <a:gd name="connsiteX1" fmla="*/ 604 w 4857"/>
                  <a:gd name="connsiteY1" fmla="*/ 7437 h 7437"/>
                  <a:gd name="connsiteX2" fmla="*/ 0 w 4857"/>
                  <a:gd name="connsiteY2" fmla="*/ 2388 h 7437"/>
                  <a:gd name="connsiteX3" fmla="*/ 4007 w 4857"/>
                  <a:gd name="connsiteY3" fmla="*/ 0 h 7437"/>
                  <a:gd name="connsiteX4" fmla="*/ 4857 w 4857"/>
                  <a:gd name="connsiteY4" fmla="*/ 2882 h 7437"/>
                  <a:gd name="connsiteX5" fmla="*/ 2827 w 4857"/>
                  <a:gd name="connsiteY5" fmla="*/ 7108 h 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 h="7437">
                    <a:moveTo>
                      <a:pt x="2827" y="7080"/>
                    </a:moveTo>
                    <a:lnTo>
                      <a:pt x="604" y="7437"/>
                    </a:lnTo>
                    <a:lnTo>
                      <a:pt x="0" y="2388"/>
                    </a:lnTo>
                    <a:lnTo>
                      <a:pt x="4007" y="0"/>
                    </a:lnTo>
                    <a:lnTo>
                      <a:pt x="4857" y="2882"/>
                    </a:lnTo>
                    <a:lnTo>
                      <a:pt x="2827" y="71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2" name="Freeform: Shape 3641">
                <a:extLst>
                  <a:ext uri="{FF2B5EF4-FFF2-40B4-BE49-F238E27FC236}">
                    <a16:creationId xmlns:a16="http://schemas.microsoft.com/office/drawing/2014/main" id="{79E2AA78-ABF3-6D12-2ACC-B863660E6D2E}"/>
                  </a:ext>
                </a:extLst>
              </p:cNvPr>
              <p:cNvSpPr/>
              <p:nvPr/>
            </p:nvSpPr>
            <p:spPr>
              <a:xfrm>
                <a:off x="1201586" y="3547802"/>
                <a:ext cx="412" cy="770"/>
              </a:xfrm>
              <a:custGeom>
                <a:avLst/>
                <a:gdLst>
                  <a:gd name="connsiteX0" fmla="*/ 3952 w 3951"/>
                  <a:gd name="connsiteY0" fmla="*/ 5790 h 7382"/>
                  <a:gd name="connsiteX1" fmla="*/ 1207 w 3951"/>
                  <a:gd name="connsiteY1" fmla="*/ 7382 h 7382"/>
                  <a:gd name="connsiteX2" fmla="*/ 0 w 3951"/>
                  <a:gd name="connsiteY2" fmla="*/ 2360 h 7382"/>
                  <a:gd name="connsiteX3" fmla="*/ 1317 w 3951"/>
                  <a:gd name="connsiteY3" fmla="*/ 0 h 7382"/>
                  <a:gd name="connsiteX4" fmla="*/ 3595 w 3951"/>
                  <a:gd name="connsiteY4" fmla="*/ 1482 h 7382"/>
                  <a:gd name="connsiteX5" fmla="*/ 3952 w 3951"/>
                  <a:gd name="connsiteY5" fmla="*/ 5790 h 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1" h="7382">
                    <a:moveTo>
                      <a:pt x="3952" y="5790"/>
                    </a:moveTo>
                    <a:lnTo>
                      <a:pt x="1207" y="7382"/>
                    </a:lnTo>
                    <a:lnTo>
                      <a:pt x="0" y="2360"/>
                    </a:lnTo>
                    <a:lnTo>
                      <a:pt x="1317" y="0"/>
                    </a:lnTo>
                    <a:lnTo>
                      <a:pt x="3595" y="1482"/>
                    </a:lnTo>
                    <a:lnTo>
                      <a:pt x="3952" y="57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3" name="Freeform: Shape 3642">
                <a:extLst>
                  <a:ext uri="{FF2B5EF4-FFF2-40B4-BE49-F238E27FC236}">
                    <a16:creationId xmlns:a16="http://schemas.microsoft.com/office/drawing/2014/main" id="{20667528-700E-290C-D0D6-4399507C29FF}"/>
                  </a:ext>
                </a:extLst>
              </p:cNvPr>
              <p:cNvSpPr/>
              <p:nvPr/>
            </p:nvSpPr>
            <p:spPr>
              <a:xfrm>
                <a:off x="1204826" y="3530416"/>
                <a:ext cx="429" cy="810"/>
              </a:xfrm>
              <a:custGeom>
                <a:avLst/>
                <a:gdLst>
                  <a:gd name="connsiteX0" fmla="*/ 4089 w 4116"/>
                  <a:gd name="connsiteY0" fmla="*/ 4226 h 7766"/>
                  <a:gd name="connsiteX1" fmla="*/ 851 w 4116"/>
                  <a:gd name="connsiteY1" fmla="*/ 7766 h 7766"/>
                  <a:gd name="connsiteX2" fmla="*/ 0 w 4116"/>
                  <a:gd name="connsiteY2" fmla="*/ 4363 h 7766"/>
                  <a:gd name="connsiteX3" fmla="*/ 851 w 4116"/>
                  <a:gd name="connsiteY3" fmla="*/ 357 h 7766"/>
                  <a:gd name="connsiteX4" fmla="*/ 3787 w 4116"/>
                  <a:gd name="connsiteY4" fmla="*/ 0 h 7766"/>
                  <a:gd name="connsiteX5" fmla="*/ 4116 w 4116"/>
                  <a:gd name="connsiteY5" fmla="*/ 4226 h 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6" h="7766">
                    <a:moveTo>
                      <a:pt x="4089" y="4226"/>
                    </a:moveTo>
                    <a:lnTo>
                      <a:pt x="851" y="7766"/>
                    </a:lnTo>
                    <a:lnTo>
                      <a:pt x="0" y="4363"/>
                    </a:lnTo>
                    <a:lnTo>
                      <a:pt x="851" y="357"/>
                    </a:lnTo>
                    <a:lnTo>
                      <a:pt x="3787" y="0"/>
                    </a:lnTo>
                    <a:lnTo>
                      <a:pt x="4116"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4" name="Freeform: Shape 3643">
                <a:extLst>
                  <a:ext uri="{FF2B5EF4-FFF2-40B4-BE49-F238E27FC236}">
                    <a16:creationId xmlns:a16="http://schemas.microsoft.com/office/drawing/2014/main" id="{AB3106AE-B20F-67B5-A6C9-D729D4877522}"/>
                  </a:ext>
                </a:extLst>
              </p:cNvPr>
              <p:cNvSpPr/>
              <p:nvPr/>
            </p:nvSpPr>
            <p:spPr>
              <a:xfrm>
                <a:off x="1323121" y="3403569"/>
                <a:ext cx="381" cy="1672"/>
              </a:xfrm>
              <a:custGeom>
                <a:avLst/>
                <a:gdLst>
                  <a:gd name="connsiteX0" fmla="*/ 3623 w 3649"/>
                  <a:gd name="connsiteY0" fmla="*/ 11114 h 16026"/>
                  <a:gd name="connsiteX1" fmla="*/ 905 w 3649"/>
                  <a:gd name="connsiteY1" fmla="*/ 16027 h 16026"/>
                  <a:gd name="connsiteX2" fmla="*/ 0 w 3649"/>
                  <a:gd name="connsiteY2" fmla="*/ 10401 h 16026"/>
                  <a:gd name="connsiteX3" fmla="*/ 467 w 3649"/>
                  <a:gd name="connsiteY3" fmla="*/ 0 h 16026"/>
                  <a:gd name="connsiteX4" fmla="*/ 3183 w 3649"/>
                  <a:gd name="connsiteY4" fmla="*/ 714 h 16026"/>
                  <a:gd name="connsiteX5" fmla="*/ 3650 w 3649"/>
                  <a:gd name="connsiteY5" fmla="*/ 11114 h 1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49" h="16026">
                    <a:moveTo>
                      <a:pt x="3623" y="11114"/>
                    </a:moveTo>
                    <a:lnTo>
                      <a:pt x="905" y="16027"/>
                    </a:lnTo>
                    <a:lnTo>
                      <a:pt x="0" y="10401"/>
                    </a:lnTo>
                    <a:lnTo>
                      <a:pt x="467" y="0"/>
                    </a:lnTo>
                    <a:lnTo>
                      <a:pt x="3183" y="714"/>
                    </a:lnTo>
                    <a:lnTo>
                      <a:pt x="3650" y="111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5" name="Freeform: Shape 3644">
                <a:extLst>
                  <a:ext uri="{FF2B5EF4-FFF2-40B4-BE49-F238E27FC236}">
                    <a16:creationId xmlns:a16="http://schemas.microsoft.com/office/drawing/2014/main" id="{C7F76937-350F-D595-55CF-8289C3670BD9}"/>
                  </a:ext>
                </a:extLst>
              </p:cNvPr>
              <p:cNvSpPr/>
              <p:nvPr/>
            </p:nvSpPr>
            <p:spPr>
              <a:xfrm>
                <a:off x="1193872" y="3509595"/>
                <a:ext cx="372" cy="884"/>
              </a:xfrm>
              <a:custGeom>
                <a:avLst/>
                <a:gdLst>
                  <a:gd name="connsiteX0" fmla="*/ 3567 w 3567"/>
                  <a:gd name="connsiteY0" fmla="*/ 5543 h 8479"/>
                  <a:gd name="connsiteX1" fmla="*/ 0 w 3567"/>
                  <a:gd name="connsiteY1" fmla="*/ 8480 h 8479"/>
                  <a:gd name="connsiteX2" fmla="*/ 0 w 3567"/>
                  <a:gd name="connsiteY2" fmla="*/ 0 h 8479"/>
                  <a:gd name="connsiteX3" fmla="*/ 3375 w 3567"/>
                  <a:gd name="connsiteY3" fmla="*/ 329 h 8479"/>
                  <a:gd name="connsiteX4" fmla="*/ 3567 w 3567"/>
                  <a:gd name="connsiteY4" fmla="*/ 5571 h 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8479">
                    <a:moveTo>
                      <a:pt x="3567" y="5543"/>
                    </a:moveTo>
                    <a:lnTo>
                      <a:pt x="0" y="8480"/>
                    </a:lnTo>
                    <a:lnTo>
                      <a:pt x="0" y="0"/>
                    </a:lnTo>
                    <a:lnTo>
                      <a:pt x="3375" y="329"/>
                    </a:lnTo>
                    <a:lnTo>
                      <a:pt x="3567" y="55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6" name="Freeform: Shape 3645">
                <a:extLst>
                  <a:ext uri="{FF2B5EF4-FFF2-40B4-BE49-F238E27FC236}">
                    <a16:creationId xmlns:a16="http://schemas.microsoft.com/office/drawing/2014/main" id="{D3EAC8F2-4028-51A0-468B-4C96DA086B7A}"/>
                  </a:ext>
                </a:extLst>
              </p:cNvPr>
              <p:cNvSpPr/>
              <p:nvPr/>
            </p:nvSpPr>
            <p:spPr>
              <a:xfrm>
                <a:off x="1306113" y="3446278"/>
                <a:ext cx="352" cy="1314"/>
              </a:xfrm>
              <a:custGeom>
                <a:avLst/>
                <a:gdLst>
                  <a:gd name="connsiteX0" fmla="*/ 2525 w 3375"/>
                  <a:gd name="connsiteY0" fmla="*/ 0 h 12596"/>
                  <a:gd name="connsiteX1" fmla="*/ 3376 w 3375"/>
                  <a:gd name="connsiteY1" fmla="*/ 12596 h 12596"/>
                  <a:gd name="connsiteX2" fmla="*/ 0 w 3375"/>
                  <a:gd name="connsiteY2" fmla="*/ 12349 h 12596"/>
                  <a:gd name="connsiteX3" fmla="*/ 275 w 3375"/>
                  <a:gd name="connsiteY3" fmla="*/ 1043 h 12596"/>
                  <a:gd name="connsiteX4" fmla="*/ 2525 w 3375"/>
                  <a:gd name="connsiteY4" fmla="*/ 0 h 1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12596">
                    <a:moveTo>
                      <a:pt x="2525" y="0"/>
                    </a:moveTo>
                    <a:lnTo>
                      <a:pt x="3376" y="12596"/>
                    </a:lnTo>
                    <a:lnTo>
                      <a:pt x="0" y="12349"/>
                    </a:lnTo>
                    <a:lnTo>
                      <a:pt x="275" y="1043"/>
                    </a:lnTo>
                    <a:lnTo>
                      <a:pt x="2525"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7" name="Freeform: Shape 3646">
                <a:extLst>
                  <a:ext uri="{FF2B5EF4-FFF2-40B4-BE49-F238E27FC236}">
                    <a16:creationId xmlns:a16="http://schemas.microsoft.com/office/drawing/2014/main" id="{B23341CA-C783-D6EA-5F0D-A564EB0F3861}"/>
                  </a:ext>
                </a:extLst>
              </p:cNvPr>
              <p:cNvSpPr/>
              <p:nvPr/>
            </p:nvSpPr>
            <p:spPr>
              <a:xfrm>
                <a:off x="1313867" y="3801676"/>
                <a:ext cx="9131" cy="2361"/>
              </a:xfrm>
              <a:custGeom>
                <a:avLst/>
                <a:gdLst>
                  <a:gd name="connsiteX0" fmla="*/ 1482 w 87543"/>
                  <a:gd name="connsiteY0" fmla="*/ 22586 h 22640"/>
                  <a:gd name="connsiteX1" fmla="*/ 0 w 87543"/>
                  <a:gd name="connsiteY1" fmla="*/ 14023 h 22640"/>
                  <a:gd name="connsiteX2" fmla="*/ 2827 w 87543"/>
                  <a:gd name="connsiteY2" fmla="*/ 10593 h 22640"/>
                  <a:gd name="connsiteX3" fmla="*/ 6998 w 87543"/>
                  <a:gd name="connsiteY3" fmla="*/ 9880 h 22640"/>
                  <a:gd name="connsiteX4" fmla="*/ 7382 w 87543"/>
                  <a:gd name="connsiteY4" fmla="*/ 6669 h 22640"/>
                  <a:gd name="connsiteX5" fmla="*/ 13749 w 87543"/>
                  <a:gd name="connsiteY5" fmla="*/ 6669 h 22640"/>
                  <a:gd name="connsiteX6" fmla="*/ 37652 w 87543"/>
                  <a:gd name="connsiteY6" fmla="*/ 6779 h 22640"/>
                  <a:gd name="connsiteX7" fmla="*/ 42180 w 87543"/>
                  <a:gd name="connsiteY7" fmla="*/ 1400 h 22640"/>
                  <a:gd name="connsiteX8" fmla="*/ 52635 w 87543"/>
                  <a:gd name="connsiteY8" fmla="*/ 0 h 22640"/>
                  <a:gd name="connsiteX9" fmla="*/ 56944 w 87543"/>
                  <a:gd name="connsiteY9" fmla="*/ 1070 h 22640"/>
                  <a:gd name="connsiteX10" fmla="*/ 60073 w 87543"/>
                  <a:gd name="connsiteY10" fmla="*/ 5050 h 22640"/>
                  <a:gd name="connsiteX11" fmla="*/ 66329 w 87543"/>
                  <a:gd name="connsiteY11" fmla="*/ 5379 h 22640"/>
                  <a:gd name="connsiteX12" fmla="*/ 72147 w 87543"/>
                  <a:gd name="connsiteY12" fmla="*/ 10675 h 22640"/>
                  <a:gd name="connsiteX13" fmla="*/ 83619 w 87543"/>
                  <a:gd name="connsiteY13" fmla="*/ 7657 h 22640"/>
                  <a:gd name="connsiteX14" fmla="*/ 87543 w 87543"/>
                  <a:gd name="connsiteY14" fmla="*/ 11718 h 22640"/>
                  <a:gd name="connsiteX15" fmla="*/ 86418 w 87543"/>
                  <a:gd name="connsiteY15" fmla="*/ 14188 h 22640"/>
                  <a:gd name="connsiteX16" fmla="*/ 72888 w 87543"/>
                  <a:gd name="connsiteY16" fmla="*/ 17454 h 22640"/>
                  <a:gd name="connsiteX17" fmla="*/ 54227 w 87543"/>
                  <a:gd name="connsiteY17" fmla="*/ 10127 h 22640"/>
                  <a:gd name="connsiteX18" fmla="*/ 49919 w 87543"/>
                  <a:gd name="connsiteY18" fmla="*/ 6943 h 22640"/>
                  <a:gd name="connsiteX19" fmla="*/ 46927 w 87543"/>
                  <a:gd name="connsiteY19" fmla="*/ 8343 h 22640"/>
                  <a:gd name="connsiteX20" fmla="*/ 43744 w 87543"/>
                  <a:gd name="connsiteY20" fmla="*/ 13310 h 22640"/>
                  <a:gd name="connsiteX21" fmla="*/ 30187 w 87543"/>
                  <a:gd name="connsiteY21" fmla="*/ 13969 h 22640"/>
                  <a:gd name="connsiteX22" fmla="*/ 28403 w 87543"/>
                  <a:gd name="connsiteY22" fmla="*/ 19292 h 22640"/>
                  <a:gd name="connsiteX23" fmla="*/ 13694 w 87543"/>
                  <a:gd name="connsiteY23" fmla="*/ 19512 h 22640"/>
                  <a:gd name="connsiteX24" fmla="*/ 3897 w 87543"/>
                  <a:gd name="connsiteY24" fmla="*/ 19649 h 22640"/>
                  <a:gd name="connsiteX25" fmla="*/ 1455 w 87543"/>
                  <a:gd name="connsiteY25" fmla="*/ 22640 h 2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543" h="22640">
                    <a:moveTo>
                      <a:pt x="1482" y="22586"/>
                    </a:moveTo>
                    <a:lnTo>
                      <a:pt x="0" y="14023"/>
                    </a:lnTo>
                    <a:lnTo>
                      <a:pt x="2827" y="10593"/>
                    </a:lnTo>
                    <a:lnTo>
                      <a:pt x="6998" y="9880"/>
                    </a:lnTo>
                    <a:lnTo>
                      <a:pt x="7382" y="6669"/>
                    </a:lnTo>
                    <a:lnTo>
                      <a:pt x="13749" y="6669"/>
                    </a:lnTo>
                    <a:lnTo>
                      <a:pt x="37652" y="6779"/>
                    </a:lnTo>
                    <a:lnTo>
                      <a:pt x="42180" y="1400"/>
                    </a:lnTo>
                    <a:lnTo>
                      <a:pt x="52635" y="0"/>
                    </a:lnTo>
                    <a:lnTo>
                      <a:pt x="56944" y="1070"/>
                    </a:lnTo>
                    <a:lnTo>
                      <a:pt x="60073" y="5050"/>
                    </a:lnTo>
                    <a:lnTo>
                      <a:pt x="66329" y="5379"/>
                    </a:lnTo>
                    <a:lnTo>
                      <a:pt x="72147" y="10675"/>
                    </a:lnTo>
                    <a:lnTo>
                      <a:pt x="83619" y="7657"/>
                    </a:lnTo>
                    <a:lnTo>
                      <a:pt x="87543" y="11718"/>
                    </a:lnTo>
                    <a:lnTo>
                      <a:pt x="86418" y="14188"/>
                    </a:lnTo>
                    <a:lnTo>
                      <a:pt x="72888" y="17454"/>
                    </a:lnTo>
                    <a:lnTo>
                      <a:pt x="54227" y="10127"/>
                    </a:lnTo>
                    <a:lnTo>
                      <a:pt x="49919" y="6943"/>
                    </a:lnTo>
                    <a:lnTo>
                      <a:pt x="46927" y="8343"/>
                    </a:lnTo>
                    <a:lnTo>
                      <a:pt x="43744" y="13310"/>
                    </a:lnTo>
                    <a:lnTo>
                      <a:pt x="30187" y="13969"/>
                    </a:lnTo>
                    <a:lnTo>
                      <a:pt x="28403" y="19292"/>
                    </a:lnTo>
                    <a:lnTo>
                      <a:pt x="13694" y="19512"/>
                    </a:lnTo>
                    <a:lnTo>
                      <a:pt x="3897" y="19649"/>
                    </a:lnTo>
                    <a:lnTo>
                      <a:pt x="1455" y="226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8" name="Freeform: Shape 3647">
                <a:extLst>
                  <a:ext uri="{FF2B5EF4-FFF2-40B4-BE49-F238E27FC236}">
                    <a16:creationId xmlns:a16="http://schemas.microsoft.com/office/drawing/2014/main" id="{FA0F069F-E081-3C68-F9D4-954A2419A607}"/>
                  </a:ext>
                </a:extLst>
              </p:cNvPr>
              <p:cNvSpPr/>
              <p:nvPr/>
            </p:nvSpPr>
            <p:spPr>
              <a:xfrm>
                <a:off x="1319686" y="3805260"/>
                <a:ext cx="22203" cy="16968"/>
              </a:xfrm>
              <a:custGeom>
                <a:avLst/>
                <a:gdLst>
                  <a:gd name="connsiteX0" fmla="*/ 51840 w 212875"/>
                  <a:gd name="connsiteY0" fmla="*/ 1263 h 162682"/>
                  <a:gd name="connsiteX1" fmla="*/ 55188 w 212875"/>
                  <a:gd name="connsiteY1" fmla="*/ 5516 h 162682"/>
                  <a:gd name="connsiteX2" fmla="*/ 59414 w 212875"/>
                  <a:gd name="connsiteY2" fmla="*/ 4528 h 162682"/>
                  <a:gd name="connsiteX3" fmla="*/ 74837 w 212875"/>
                  <a:gd name="connsiteY3" fmla="*/ 10154 h 162682"/>
                  <a:gd name="connsiteX4" fmla="*/ 83591 w 212875"/>
                  <a:gd name="connsiteY4" fmla="*/ 7986 h 162682"/>
                  <a:gd name="connsiteX5" fmla="*/ 103542 w 212875"/>
                  <a:gd name="connsiteY5" fmla="*/ 7821 h 162682"/>
                  <a:gd name="connsiteX6" fmla="*/ 100524 w 212875"/>
                  <a:gd name="connsiteY6" fmla="*/ 14463 h 162682"/>
                  <a:gd name="connsiteX7" fmla="*/ 105299 w 212875"/>
                  <a:gd name="connsiteY7" fmla="*/ 19265 h 162682"/>
                  <a:gd name="connsiteX8" fmla="*/ 109003 w 212875"/>
                  <a:gd name="connsiteY8" fmla="*/ 19622 h 162682"/>
                  <a:gd name="connsiteX9" fmla="*/ 113559 w 212875"/>
                  <a:gd name="connsiteY9" fmla="*/ 14133 h 162682"/>
                  <a:gd name="connsiteX10" fmla="*/ 116029 w 212875"/>
                  <a:gd name="connsiteY10" fmla="*/ 13721 h 162682"/>
                  <a:gd name="connsiteX11" fmla="*/ 119981 w 212875"/>
                  <a:gd name="connsiteY11" fmla="*/ 16383 h 162682"/>
                  <a:gd name="connsiteX12" fmla="*/ 123960 w 212875"/>
                  <a:gd name="connsiteY12" fmla="*/ 22695 h 162682"/>
                  <a:gd name="connsiteX13" fmla="*/ 129641 w 212875"/>
                  <a:gd name="connsiteY13" fmla="*/ 17042 h 162682"/>
                  <a:gd name="connsiteX14" fmla="*/ 136062 w 212875"/>
                  <a:gd name="connsiteY14" fmla="*/ 14106 h 162682"/>
                  <a:gd name="connsiteX15" fmla="*/ 152391 w 212875"/>
                  <a:gd name="connsiteY15" fmla="*/ 19128 h 162682"/>
                  <a:gd name="connsiteX16" fmla="*/ 155108 w 212875"/>
                  <a:gd name="connsiteY16" fmla="*/ 15286 h 162682"/>
                  <a:gd name="connsiteX17" fmla="*/ 163451 w 212875"/>
                  <a:gd name="connsiteY17" fmla="*/ 12267 h 162682"/>
                  <a:gd name="connsiteX18" fmla="*/ 163451 w 212875"/>
                  <a:gd name="connsiteY18" fmla="*/ 5681 h 162682"/>
                  <a:gd name="connsiteX19" fmla="*/ 171930 w 212875"/>
                  <a:gd name="connsiteY19" fmla="*/ 7355 h 162682"/>
                  <a:gd name="connsiteX20" fmla="*/ 179148 w 212875"/>
                  <a:gd name="connsiteY20" fmla="*/ 21543 h 162682"/>
                  <a:gd name="connsiteX21" fmla="*/ 178324 w 212875"/>
                  <a:gd name="connsiteY21" fmla="*/ 31066 h 162682"/>
                  <a:gd name="connsiteX22" fmla="*/ 182523 w 212875"/>
                  <a:gd name="connsiteY22" fmla="*/ 31889 h 162682"/>
                  <a:gd name="connsiteX23" fmla="*/ 184390 w 212875"/>
                  <a:gd name="connsiteY23" fmla="*/ 35676 h 162682"/>
                  <a:gd name="connsiteX24" fmla="*/ 191305 w 212875"/>
                  <a:gd name="connsiteY24" fmla="*/ 40753 h 162682"/>
                  <a:gd name="connsiteX25" fmla="*/ 186064 w 212875"/>
                  <a:gd name="connsiteY25" fmla="*/ 44952 h 162682"/>
                  <a:gd name="connsiteX26" fmla="*/ 183456 w 212875"/>
                  <a:gd name="connsiteY26" fmla="*/ 50934 h 162682"/>
                  <a:gd name="connsiteX27" fmla="*/ 186914 w 212875"/>
                  <a:gd name="connsiteY27" fmla="*/ 51099 h 162682"/>
                  <a:gd name="connsiteX28" fmla="*/ 190372 w 212875"/>
                  <a:gd name="connsiteY28" fmla="*/ 48218 h 162682"/>
                  <a:gd name="connsiteX29" fmla="*/ 193802 w 212875"/>
                  <a:gd name="connsiteY29" fmla="*/ 49974 h 162682"/>
                  <a:gd name="connsiteX30" fmla="*/ 195092 w 212875"/>
                  <a:gd name="connsiteY30" fmla="*/ 65095 h 162682"/>
                  <a:gd name="connsiteX31" fmla="*/ 196410 w 212875"/>
                  <a:gd name="connsiteY31" fmla="*/ 67373 h 162682"/>
                  <a:gd name="connsiteX32" fmla="*/ 203517 w 212875"/>
                  <a:gd name="connsiteY32" fmla="*/ 71022 h 162682"/>
                  <a:gd name="connsiteX33" fmla="*/ 203517 w 212875"/>
                  <a:gd name="connsiteY33" fmla="*/ 74947 h 162682"/>
                  <a:gd name="connsiteX34" fmla="*/ 198632 w 212875"/>
                  <a:gd name="connsiteY34" fmla="*/ 81012 h 162682"/>
                  <a:gd name="connsiteX35" fmla="*/ 199208 w 212875"/>
                  <a:gd name="connsiteY35" fmla="*/ 87461 h 162682"/>
                  <a:gd name="connsiteX36" fmla="*/ 199208 w 212875"/>
                  <a:gd name="connsiteY36" fmla="*/ 94871 h 162682"/>
                  <a:gd name="connsiteX37" fmla="*/ 201788 w 212875"/>
                  <a:gd name="connsiteY37" fmla="*/ 97889 h 162682"/>
                  <a:gd name="connsiteX38" fmla="*/ 206426 w 212875"/>
                  <a:gd name="connsiteY38" fmla="*/ 97999 h 162682"/>
                  <a:gd name="connsiteX39" fmla="*/ 205658 w 212875"/>
                  <a:gd name="connsiteY39" fmla="*/ 103790 h 162682"/>
                  <a:gd name="connsiteX40" fmla="*/ 208759 w 212875"/>
                  <a:gd name="connsiteY40" fmla="*/ 106753 h 162682"/>
                  <a:gd name="connsiteX41" fmla="*/ 205411 w 212875"/>
                  <a:gd name="connsiteY41" fmla="*/ 110458 h 162682"/>
                  <a:gd name="connsiteX42" fmla="*/ 204478 w 212875"/>
                  <a:gd name="connsiteY42" fmla="*/ 115453 h 162682"/>
                  <a:gd name="connsiteX43" fmla="*/ 209966 w 212875"/>
                  <a:gd name="connsiteY43" fmla="*/ 117950 h 162682"/>
                  <a:gd name="connsiteX44" fmla="*/ 212875 w 212875"/>
                  <a:gd name="connsiteY44" fmla="*/ 128049 h 162682"/>
                  <a:gd name="connsiteX45" fmla="*/ 204121 w 212875"/>
                  <a:gd name="connsiteY45" fmla="*/ 125250 h 162682"/>
                  <a:gd name="connsiteX46" fmla="*/ 196629 w 212875"/>
                  <a:gd name="connsiteY46" fmla="*/ 125826 h 162682"/>
                  <a:gd name="connsiteX47" fmla="*/ 196190 w 212875"/>
                  <a:gd name="connsiteY47" fmla="*/ 132577 h 162682"/>
                  <a:gd name="connsiteX48" fmla="*/ 202310 w 212875"/>
                  <a:gd name="connsiteY48" fmla="*/ 135074 h 162682"/>
                  <a:gd name="connsiteX49" fmla="*/ 203709 w 212875"/>
                  <a:gd name="connsiteY49" fmla="*/ 138203 h 162682"/>
                  <a:gd name="connsiteX50" fmla="*/ 201267 w 212875"/>
                  <a:gd name="connsiteY50" fmla="*/ 140124 h 162682"/>
                  <a:gd name="connsiteX51" fmla="*/ 200279 w 212875"/>
                  <a:gd name="connsiteY51" fmla="*/ 147040 h 162682"/>
                  <a:gd name="connsiteX52" fmla="*/ 197260 w 212875"/>
                  <a:gd name="connsiteY52" fmla="*/ 152583 h 162682"/>
                  <a:gd name="connsiteX53" fmla="*/ 189082 w 212875"/>
                  <a:gd name="connsiteY53" fmla="*/ 152940 h 162682"/>
                  <a:gd name="connsiteX54" fmla="*/ 185871 w 212875"/>
                  <a:gd name="connsiteY54" fmla="*/ 149125 h 162682"/>
                  <a:gd name="connsiteX55" fmla="*/ 183566 w 212875"/>
                  <a:gd name="connsiteY55" fmla="*/ 149207 h 162682"/>
                  <a:gd name="connsiteX56" fmla="*/ 177886 w 212875"/>
                  <a:gd name="connsiteY56" fmla="*/ 160788 h 162682"/>
                  <a:gd name="connsiteX57" fmla="*/ 171327 w 212875"/>
                  <a:gd name="connsiteY57" fmla="*/ 162682 h 162682"/>
                  <a:gd name="connsiteX58" fmla="*/ 166963 w 212875"/>
                  <a:gd name="connsiteY58" fmla="*/ 158346 h 162682"/>
                  <a:gd name="connsiteX59" fmla="*/ 160761 w 212875"/>
                  <a:gd name="connsiteY59" fmla="*/ 156754 h 162682"/>
                  <a:gd name="connsiteX60" fmla="*/ 163011 w 212875"/>
                  <a:gd name="connsiteY60" fmla="*/ 147424 h 162682"/>
                  <a:gd name="connsiteX61" fmla="*/ 158593 w 212875"/>
                  <a:gd name="connsiteY61" fmla="*/ 128461 h 162682"/>
                  <a:gd name="connsiteX62" fmla="*/ 151074 w 212875"/>
                  <a:gd name="connsiteY62" fmla="*/ 124152 h 162682"/>
                  <a:gd name="connsiteX63" fmla="*/ 143417 w 212875"/>
                  <a:gd name="connsiteY63" fmla="*/ 126649 h 162682"/>
                  <a:gd name="connsiteX64" fmla="*/ 140783 w 212875"/>
                  <a:gd name="connsiteY64" fmla="*/ 124811 h 162682"/>
                  <a:gd name="connsiteX65" fmla="*/ 135870 w 212875"/>
                  <a:gd name="connsiteY65" fmla="*/ 125277 h 162682"/>
                  <a:gd name="connsiteX66" fmla="*/ 132879 w 212875"/>
                  <a:gd name="connsiteY66" fmla="*/ 125552 h 162682"/>
                  <a:gd name="connsiteX67" fmla="*/ 127967 w 212875"/>
                  <a:gd name="connsiteY67" fmla="*/ 130162 h 162682"/>
                  <a:gd name="connsiteX68" fmla="*/ 124920 w 212875"/>
                  <a:gd name="connsiteY68" fmla="*/ 129256 h 162682"/>
                  <a:gd name="connsiteX69" fmla="*/ 125579 w 212875"/>
                  <a:gd name="connsiteY69" fmla="*/ 124729 h 162682"/>
                  <a:gd name="connsiteX70" fmla="*/ 129833 w 212875"/>
                  <a:gd name="connsiteY70" fmla="*/ 119651 h 162682"/>
                  <a:gd name="connsiteX71" fmla="*/ 127061 w 212875"/>
                  <a:gd name="connsiteY71" fmla="*/ 114986 h 162682"/>
                  <a:gd name="connsiteX72" fmla="*/ 126403 w 212875"/>
                  <a:gd name="connsiteY72" fmla="*/ 109003 h 162682"/>
                  <a:gd name="connsiteX73" fmla="*/ 122890 w 212875"/>
                  <a:gd name="connsiteY73" fmla="*/ 106863 h 162682"/>
                  <a:gd name="connsiteX74" fmla="*/ 124015 w 212875"/>
                  <a:gd name="connsiteY74" fmla="*/ 100606 h 162682"/>
                  <a:gd name="connsiteX75" fmla="*/ 119926 w 212875"/>
                  <a:gd name="connsiteY75" fmla="*/ 97532 h 162682"/>
                  <a:gd name="connsiteX76" fmla="*/ 114437 w 212875"/>
                  <a:gd name="connsiteY76" fmla="*/ 87516 h 162682"/>
                  <a:gd name="connsiteX77" fmla="*/ 109031 w 212875"/>
                  <a:gd name="connsiteY77" fmla="*/ 80957 h 162682"/>
                  <a:gd name="connsiteX78" fmla="*/ 105875 w 212875"/>
                  <a:gd name="connsiteY78" fmla="*/ 80243 h 162682"/>
                  <a:gd name="connsiteX79" fmla="*/ 90397 w 212875"/>
                  <a:gd name="connsiteY79" fmla="*/ 80353 h 162682"/>
                  <a:gd name="connsiteX80" fmla="*/ 82631 w 212875"/>
                  <a:gd name="connsiteY80" fmla="*/ 83674 h 162682"/>
                  <a:gd name="connsiteX81" fmla="*/ 76374 w 212875"/>
                  <a:gd name="connsiteY81" fmla="*/ 82988 h 162682"/>
                  <a:gd name="connsiteX82" fmla="*/ 71736 w 212875"/>
                  <a:gd name="connsiteY82" fmla="*/ 84415 h 162682"/>
                  <a:gd name="connsiteX83" fmla="*/ 70089 w 212875"/>
                  <a:gd name="connsiteY83" fmla="*/ 87516 h 162682"/>
                  <a:gd name="connsiteX84" fmla="*/ 64985 w 212875"/>
                  <a:gd name="connsiteY84" fmla="*/ 97368 h 162682"/>
                  <a:gd name="connsiteX85" fmla="*/ 58097 w 212875"/>
                  <a:gd name="connsiteY85" fmla="*/ 102198 h 162682"/>
                  <a:gd name="connsiteX86" fmla="*/ 55298 w 212875"/>
                  <a:gd name="connsiteY86" fmla="*/ 107302 h 162682"/>
                  <a:gd name="connsiteX87" fmla="*/ 46982 w 212875"/>
                  <a:gd name="connsiteY87" fmla="*/ 108866 h 162682"/>
                  <a:gd name="connsiteX88" fmla="*/ 48300 w 212875"/>
                  <a:gd name="connsiteY88" fmla="*/ 102472 h 162682"/>
                  <a:gd name="connsiteX89" fmla="*/ 44293 w 212875"/>
                  <a:gd name="connsiteY89" fmla="*/ 100304 h 162682"/>
                  <a:gd name="connsiteX90" fmla="*/ 43415 w 212875"/>
                  <a:gd name="connsiteY90" fmla="*/ 93608 h 162682"/>
                  <a:gd name="connsiteX91" fmla="*/ 37817 w 212875"/>
                  <a:gd name="connsiteY91" fmla="*/ 92318 h 162682"/>
                  <a:gd name="connsiteX92" fmla="*/ 37487 w 212875"/>
                  <a:gd name="connsiteY92" fmla="*/ 87955 h 162682"/>
                  <a:gd name="connsiteX93" fmla="*/ 32602 w 212875"/>
                  <a:gd name="connsiteY93" fmla="*/ 85897 h 162682"/>
                  <a:gd name="connsiteX94" fmla="*/ 24424 w 212875"/>
                  <a:gd name="connsiteY94" fmla="*/ 75606 h 162682"/>
                  <a:gd name="connsiteX95" fmla="*/ 13914 w 212875"/>
                  <a:gd name="connsiteY95" fmla="*/ 72944 h 162682"/>
                  <a:gd name="connsiteX96" fmla="*/ 12130 w 212875"/>
                  <a:gd name="connsiteY96" fmla="*/ 68937 h 162682"/>
                  <a:gd name="connsiteX97" fmla="*/ 7849 w 212875"/>
                  <a:gd name="connsiteY97" fmla="*/ 65397 h 162682"/>
                  <a:gd name="connsiteX98" fmla="*/ 6724 w 212875"/>
                  <a:gd name="connsiteY98" fmla="*/ 57466 h 162682"/>
                  <a:gd name="connsiteX99" fmla="*/ 8315 w 212875"/>
                  <a:gd name="connsiteY99" fmla="*/ 53980 h 162682"/>
                  <a:gd name="connsiteX100" fmla="*/ 5406 w 212875"/>
                  <a:gd name="connsiteY100" fmla="*/ 49342 h 162682"/>
                  <a:gd name="connsiteX101" fmla="*/ 2251 w 212875"/>
                  <a:gd name="connsiteY101" fmla="*/ 49507 h 162682"/>
                  <a:gd name="connsiteX102" fmla="*/ 0 w 212875"/>
                  <a:gd name="connsiteY102" fmla="*/ 47476 h 162682"/>
                  <a:gd name="connsiteX103" fmla="*/ 549 w 212875"/>
                  <a:gd name="connsiteY103" fmla="*/ 46516 h 162682"/>
                  <a:gd name="connsiteX104" fmla="*/ 6833 w 212875"/>
                  <a:gd name="connsiteY104" fmla="*/ 36005 h 162682"/>
                  <a:gd name="connsiteX105" fmla="*/ 12157 w 212875"/>
                  <a:gd name="connsiteY105" fmla="*/ 35017 h 162682"/>
                  <a:gd name="connsiteX106" fmla="*/ 19155 w 212875"/>
                  <a:gd name="connsiteY106" fmla="*/ 30626 h 162682"/>
                  <a:gd name="connsiteX107" fmla="*/ 33865 w 212875"/>
                  <a:gd name="connsiteY107" fmla="*/ 29419 h 162682"/>
                  <a:gd name="connsiteX108" fmla="*/ 34935 w 212875"/>
                  <a:gd name="connsiteY108" fmla="*/ 25824 h 162682"/>
                  <a:gd name="connsiteX109" fmla="*/ 34880 w 212875"/>
                  <a:gd name="connsiteY109" fmla="*/ 20555 h 162682"/>
                  <a:gd name="connsiteX110" fmla="*/ 28376 w 212875"/>
                  <a:gd name="connsiteY110" fmla="*/ 14600 h 162682"/>
                  <a:gd name="connsiteX111" fmla="*/ 35539 w 212875"/>
                  <a:gd name="connsiteY111" fmla="*/ 11526 h 162682"/>
                  <a:gd name="connsiteX112" fmla="*/ 36609 w 212875"/>
                  <a:gd name="connsiteY112" fmla="*/ 5049 h 162682"/>
                  <a:gd name="connsiteX113" fmla="*/ 35072 w 212875"/>
                  <a:gd name="connsiteY113" fmla="*/ 0 h 162682"/>
                  <a:gd name="connsiteX114" fmla="*/ 51867 w 212875"/>
                  <a:gd name="connsiteY114" fmla="*/ 1372 h 162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12875" h="162682">
                    <a:moveTo>
                      <a:pt x="51840" y="1263"/>
                    </a:moveTo>
                    <a:lnTo>
                      <a:pt x="55188" y="5516"/>
                    </a:lnTo>
                    <a:lnTo>
                      <a:pt x="59414" y="4528"/>
                    </a:lnTo>
                    <a:lnTo>
                      <a:pt x="74837" y="10154"/>
                    </a:lnTo>
                    <a:lnTo>
                      <a:pt x="83591" y="7986"/>
                    </a:lnTo>
                    <a:lnTo>
                      <a:pt x="103542" y="7821"/>
                    </a:lnTo>
                    <a:lnTo>
                      <a:pt x="100524" y="14463"/>
                    </a:lnTo>
                    <a:lnTo>
                      <a:pt x="105299" y="19265"/>
                    </a:lnTo>
                    <a:lnTo>
                      <a:pt x="109003" y="19622"/>
                    </a:lnTo>
                    <a:lnTo>
                      <a:pt x="113559" y="14133"/>
                    </a:lnTo>
                    <a:lnTo>
                      <a:pt x="116029" y="13721"/>
                    </a:lnTo>
                    <a:lnTo>
                      <a:pt x="119981" y="16383"/>
                    </a:lnTo>
                    <a:lnTo>
                      <a:pt x="123960" y="22695"/>
                    </a:lnTo>
                    <a:lnTo>
                      <a:pt x="129641" y="17042"/>
                    </a:lnTo>
                    <a:lnTo>
                      <a:pt x="136062" y="14106"/>
                    </a:lnTo>
                    <a:lnTo>
                      <a:pt x="152391" y="19128"/>
                    </a:lnTo>
                    <a:lnTo>
                      <a:pt x="155108" y="15286"/>
                    </a:lnTo>
                    <a:lnTo>
                      <a:pt x="163451" y="12267"/>
                    </a:lnTo>
                    <a:lnTo>
                      <a:pt x="163451" y="5681"/>
                    </a:lnTo>
                    <a:cubicBezTo>
                      <a:pt x="163451" y="5681"/>
                      <a:pt x="171930" y="7355"/>
                      <a:pt x="171930" y="7355"/>
                    </a:cubicBezTo>
                    <a:lnTo>
                      <a:pt x="179148" y="21543"/>
                    </a:lnTo>
                    <a:lnTo>
                      <a:pt x="178324" y="31066"/>
                    </a:lnTo>
                    <a:lnTo>
                      <a:pt x="182523" y="31889"/>
                    </a:lnTo>
                    <a:lnTo>
                      <a:pt x="184390" y="35676"/>
                    </a:lnTo>
                    <a:lnTo>
                      <a:pt x="191305" y="40753"/>
                    </a:lnTo>
                    <a:lnTo>
                      <a:pt x="186064" y="44952"/>
                    </a:lnTo>
                    <a:lnTo>
                      <a:pt x="183456" y="50934"/>
                    </a:lnTo>
                    <a:lnTo>
                      <a:pt x="186914" y="51099"/>
                    </a:lnTo>
                    <a:lnTo>
                      <a:pt x="190372" y="48218"/>
                    </a:lnTo>
                    <a:lnTo>
                      <a:pt x="193802" y="49974"/>
                    </a:lnTo>
                    <a:lnTo>
                      <a:pt x="195092" y="65095"/>
                    </a:lnTo>
                    <a:lnTo>
                      <a:pt x="196410" y="67373"/>
                    </a:lnTo>
                    <a:lnTo>
                      <a:pt x="203517" y="71022"/>
                    </a:lnTo>
                    <a:lnTo>
                      <a:pt x="203517" y="74947"/>
                    </a:lnTo>
                    <a:cubicBezTo>
                      <a:pt x="203517" y="74947"/>
                      <a:pt x="198632" y="81012"/>
                      <a:pt x="198632" y="81012"/>
                    </a:cubicBezTo>
                    <a:lnTo>
                      <a:pt x="199208" y="87461"/>
                    </a:lnTo>
                    <a:lnTo>
                      <a:pt x="199208" y="94871"/>
                    </a:lnTo>
                    <a:cubicBezTo>
                      <a:pt x="199208" y="94871"/>
                      <a:pt x="201788" y="97889"/>
                      <a:pt x="201788" y="97889"/>
                    </a:cubicBezTo>
                    <a:lnTo>
                      <a:pt x="206426" y="97999"/>
                    </a:lnTo>
                    <a:lnTo>
                      <a:pt x="205658" y="103790"/>
                    </a:lnTo>
                    <a:lnTo>
                      <a:pt x="208759" y="106753"/>
                    </a:lnTo>
                    <a:lnTo>
                      <a:pt x="205411" y="110458"/>
                    </a:lnTo>
                    <a:lnTo>
                      <a:pt x="204478" y="115453"/>
                    </a:lnTo>
                    <a:lnTo>
                      <a:pt x="209966" y="117950"/>
                    </a:lnTo>
                    <a:lnTo>
                      <a:pt x="212875" y="128049"/>
                    </a:lnTo>
                    <a:lnTo>
                      <a:pt x="204121" y="125250"/>
                    </a:lnTo>
                    <a:lnTo>
                      <a:pt x="196629" y="125826"/>
                    </a:lnTo>
                    <a:lnTo>
                      <a:pt x="196190" y="132577"/>
                    </a:lnTo>
                    <a:lnTo>
                      <a:pt x="202310" y="135074"/>
                    </a:lnTo>
                    <a:lnTo>
                      <a:pt x="203709" y="138203"/>
                    </a:lnTo>
                    <a:lnTo>
                      <a:pt x="201267" y="140124"/>
                    </a:lnTo>
                    <a:lnTo>
                      <a:pt x="200279" y="147040"/>
                    </a:lnTo>
                    <a:lnTo>
                      <a:pt x="197260" y="152583"/>
                    </a:lnTo>
                    <a:lnTo>
                      <a:pt x="189082" y="152940"/>
                    </a:lnTo>
                    <a:lnTo>
                      <a:pt x="185871" y="149125"/>
                    </a:lnTo>
                    <a:lnTo>
                      <a:pt x="183566" y="149207"/>
                    </a:lnTo>
                    <a:lnTo>
                      <a:pt x="177886" y="160788"/>
                    </a:lnTo>
                    <a:lnTo>
                      <a:pt x="171327" y="162682"/>
                    </a:lnTo>
                    <a:lnTo>
                      <a:pt x="166963" y="158346"/>
                    </a:lnTo>
                    <a:lnTo>
                      <a:pt x="160761" y="156754"/>
                    </a:lnTo>
                    <a:lnTo>
                      <a:pt x="163011" y="147424"/>
                    </a:lnTo>
                    <a:lnTo>
                      <a:pt x="158593" y="128461"/>
                    </a:lnTo>
                    <a:lnTo>
                      <a:pt x="151074" y="124152"/>
                    </a:lnTo>
                    <a:lnTo>
                      <a:pt x="143417" y="126649"/>
                    </a:lnTo>
                    <a:lnTo>
                      <a:pt x="140783" y="124811"/>
                    </a:lnTo>
                    <a:lnTo>
                      <a:pt x="135870" y="125277"/>
                    </a:lnTo>
                    <a:lnTo>
                      <a:pt x="132879" y="125552"/>
                    </a:lnTo>
                    <a:lnTo>
                      <a:pt x="127967" y="130162"/>
                    </a:lnTo>
                    <a:lnTo>
                      <a:pt x="124920" y="129256"/>
                    </a:lnTo>
                    <a:lnTo>
                      <a:pt x="125579" y="124729"/>
                    </a:lnTo>
                    <a:lnTo>
                      <a:pt x="129833" y="119651"/>
                    </a:lnTo>
                    <a:lnTo>
                      <a:pt x="127061" y="114986"/>
                    </a:lnTo>
                    <a:lnTo>
                      <a:pt x="126403" y="109003"/>
                    </a:lnTo>
                    <a:lnTo>
                      <a:pt x="122890" y="106863"/>
                    </a:lnTo>
                    <a:lnTo>
                      <a:pt x="124015" y="100606"/>
                    </a:lnTo>
                    <a:lnTo>
                      <a:pt x="119926" y="97532"/>
                    </a:lnTo>
                    <a:lnTo>
                      <a:pt x="114437" y="87516"/>
                    </a:lnTo>
                    <a:lnTo>
                      <a:pt x="109031" y="80957"/>
                    </a:lnTo>
                    <a:lnTo>
                      <a:pt x="105875" y="80243"/>
                    </a:lnTo>
                    <a:lnTo>
                      <a:pt x="90397" y="80353"/>
                    </a:lnTo>
                    <a:lnTo>
                      <a:pt x="82631" y="83674"/>
                    </a:lnTo>
                    <a:lnTo>
                      <a:pt x="76374" y="82988"/>
                    </a:lnTo>
                    <a:lnTo>
                      <a:pt x="71736" y="84415"/>
                    </a:lnTo>
                    <a:lnTo>
                      <a:pt x="70089" y="87516"/>
                    </a:lnTo>
                    <a:lnTo>
                      <a:pt x="64985" y="97368"/>
                    </a:lnTo>
                    <a:lnTo>
                      <a:pt x="58097" y="102198"/>
                    </a:lnTo>
                    <a:lnTo>
                      <a:pt x="55298" y="107302"/>
                    </a:lnTo>
                    <a:lnTo>
                      <a:pt x="46982" y="108866"/>
                    </a:lnTo>
                    <a:lnTo>
                      <a:pt x="48300" y="102472"/>
                    </a:lnTo>
                    <a:lnTo>
                      <a:pt x="44293" y="100304"/>
                    </a:lnTo>
                    <a:lnTo>
                      <a:pt x="43415" y="93608"/>
                    </a:lnTo>
                    <a:lnTo>
                      <a:pt x="37817" y="92318"/>
                    </a:lnTo>
                    <a:lnTo>
                      <a:pt x="37487" y="87955"/>
                    </a:lnTo>
                    <a:lnTo>
                      <a:pt x="32602" y="85897"/>
                    </a:lnTo>
                    <a:lnTo>
                      <a:pt x="24424" y="75606"/>
                    </a:lnTo>
                    <a:lnTo>
                      <a:pt x="13914" y="72944"/>
                    </a:lnTo>
                    <a:lnTo>
                      <a:pt x="12130" y="68937"/>
                    </a:lnTo>
                    <a:lnTo>
                      <a:pt x="7849" y="65397"/>
                    </a:lnTo>
                    <a:lnTo>
                      <a:pt x="6724" y="57466"/>
                    </a:lnTo>
                    <a:lnTo>
                      <a:pt x="8315" y="53980"/>
                    </a:lnTo>
                    <a:lnTo>
                      <a:pt x="5406" y="49342"/>
                    </a:lnTo>
                    <a:lnTo>
                      <a:pt x="2251" y="49507"/>
                    </a:lnTo>
                    <a:lnTo>
                      <a:pt x="0" y="47476"/>
                    </a:lnTo>
                    <a:lnTo>
                      <a:pt x="549" y="46516"/>
                    </a:lnTo>
                    <a:lnTo>
                      <a:pt x="6833" y="36005"/>
                    </a:lnTo>
                    <a:lnTo>
                      <a:pt x="12157" y="35017"/>
                    </a:lnTo>
                    <a:lnTo>
                      <a:pt x="19155" y="30626"/>
                    </a:lnTo>
                    <a:lnTo>
                      <a:pt x="33865" y="29419"/>
                    </a:lnTo>
                    <a:lnTo>
                      <a:pt x="34935" y="25824"/>
                    </a:lnTo>
                    <a:lnTo>
                      <a:pt x="34880" y="20555"/>
                    </a:lnTo>
                    <a:lnTo>
                      <a:pt x="28376" y="14600"/>
                    </a:lnTo>
                    <a:lnTo>
                      <a:pt x="35539" y="11526"/>
                    </a:lnTo>
                    <a:lnTo>
                      <a:pt x="36609" y="5049"/>
                    </a:lnTo>
                    <a:lnTo>
                      <a:pt x="35072" y="0"/>
                    </a:lnTo>
                    <a:lnTo>
                      <a:pt x="51867" y="13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9" name="Freeform: Shape 3648">
                <a:extLst>
                  <a:ext uri="{FF2B5EF4-FFF2-40B4-BE49-F238E27FC236}">
                    <a16:creationId xmlns:a16="http://schemas.microsoft.com/office/drawing/2014/main" id="{D3128C3B-D359-7B7F-D2B3-E02FC711C70D}"/>
                  </a:ext>
                </a:extLst>
              </p:cNvPr>
              <p:cNvSpPr/>
              <p:nvPr/>
            </p:nvSpPr>
            <p:spPr>
              <a:xfrm>
                <a:off x="1319176" y="3810598"/>
                <a:ext cx="530" cy="624"/>
              </a:xfrm>
              <a:custGeom>
                <a:avLst/>
                <a:gdLst>
                  <a:gd name="connsiteX0" fmla="*/ 2937 w 5077"/>
                  <a:gd name="connsiteY0" fmla="*/ 4116 h 5982"/>
                  <a:gd name="connsiteX1" fmla="*/ 2937 w 5077"/>
                  <a:gd name="connsiteY1" fmla="*/ 5983 h 5982"/>
                  <a:gd name="connsiteX2" fmla="*/ 1125 w 5077"/>
                  <a:gd name="connsiteY2" fmla="*/ 5104 h 5982"/>
                  <a:gd name="connsiteX3" fmla="*/ 0 w 5077"/>
                  <a:gd name="connsiteY3" fmla="*/ 2991 h 5982"/>
                  <a:gd name="connsiteX4" fmla="*/ 2964 w 5077"/>
                  <a:gd name="connsiteY4" fmla="*/ 0 h 5982"/>
                  <a:gd name="connsiteX5" fmla="*/ 4666 w 5077"/>
                  <a:gd name="connsiteY5" fmla="*/ 357 h 5982"/>
                  <a:gd name="connsiteX6" fmla="*/ 5077 w 5077"/>
                  <a:gd name="connsiteY6" fmla="*/ 2882 h 5982"/>
                  <a:gd name="connsiteX7" fmla="*/ 2992 w 5077"/>
                  <a:gd name="connsiteY7" fmla="*/ 4116 h 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7" h="5982">
                    <a:moveTo>
                      <a:pt x="2937" y="4116"/>
                    </a:moveTo>
                    <a:lnTo>
                      <a:pt x="2937" y="5983"/>
                    </a:lnTo>
                    <a:lnTo>
                      <a:pt x="1125" y="5104"/>
                    </a:lnTo>
                    <a:lnTo>
                      <a:pt x="0" y="2991"/>
                    </a:lnTo>
                    <a:lnTo>
                      <a:pt x="2964" y="0"/>
                    </a:lnTo>
                    <a:lnTo>
                      <a:pt x="4666" y="357"/>
                    </a:lnTo>
                    <a:lnTo>
                      <a:pt x="5077" y="2882"/>
                    </a:lnTo>
                    <a:lnTo>
                      <a:pt x="2992" y="41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0" name="Freeform: Shape 3649">
                <a:extLst>
                  <a:ext uri="{FF2B5EF4-FFF2-40B4-BE49-F238E27FC236}">
                    <a16:creationId xmlns:a16="http://schemas.microsoft.com/office/drawing/2014/main" id="{42AE80E3-7FD4-9372-75C8-C75DD8758C9F}"/>
                  </a:ext>
                </a:extLst>
              </p:cNvPr>
              <p:cNvSpPr/>
              <p:nvPr/>
            </p:nvSpPr>
            <p:spPr>
              <a:xfrm>
                <a:off x="1319892" y="3810710"/>
                <a:ext cx="326" cy="389"/>
              </a:xfrm>
              <a:custGeom>
                <a:avLst/>
                <a:gdLst>
                  <a:gd name="connsiteX0" fmla="*/ 3129 w 3128"/>
                  <a:gd name="connsiteY0" fmla="*/ 2854 h 3732"/>
                  <a:gd name="connsiteX1" fmla="*/ 1427 w 3128"/>
                  <a:gd name="connsiteY1" fmla="*/ 3732 h 3732"/>
                  <a:gd name="connsiteX2" fmla="*/ 0 w 3128"/>
                  <a:gd name="connsiteY2" fmla="*/ 2388 h 3732"/>
                  <a:gd name="connsiteX3" fmla="*/ 1839 w 3128"/>
                  <a:gd name="connsiteY3" fmla="*/ 0 h 3732"/>
                  <a:gd name="connsiteX4" fmla="*/ 2799 w 3128"/>
                  <a:gd name="connsiteY4" fmla="*/ 274 h 3732"/>
                  <a:gd name="connsiteX5" fmla="*/ 3129 w 3128"/>
                  <a:gd name="connsiteY5" fmla="*/ 2854 h 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3732">
                    <a:moveTo>
                      <a:pt x="3129" y="2854"/>
                    </a:moveTo>
                    <a:lnTo>
                      <a:pt x="1427" y="3732"/>
                    </a:lnTo>
                    <a:lnTo>
                      <a:pt x="0" y="2388"/>
                    </a:lnTo>
                    <a:lnTo>
                      <a:pt x="1839" y="0"/>
                    </a:lnTo>
                    <a:lnTo>
                      <a:pt x="2799" y="274"/>
                    </a:lnTo>
                    <a:lnTo>
                      <a:pt x="3129"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1" name="Freeform: Shape 3650">
                <a:extLst>
                  <a:ext uri="{FF2B5EF4-FFF2-40B4-BE49-F238E27FC236}">
                    <a16:creationId xmlns:a16="http://schemas.microsoft.com/office/drawing/2014/main" id="{AF6A7092-8B68-8829-A752-8349204404DB}"/>
                  </a:ext>
                </a:extLst>
              </p:cNvPr>
              <p:cNvSpPr/>
              <p:nvPr/>
            </p:nvSpPr>
            <p:spPr>
              <a:xfrm>
                <a:off x="1394104" y="3837249"/>
                <a:ext cx="6059" cy="4313"/>
              </a:xfrm>
              <a:custGeom>
                <a:avLst/>
                <a:gdLst>
                  <a:gd name="connsiteX0" fmla="*/ 15039 w 58096"/>
                  <a:gd name="connsiteY0" fmla="*/ 3074 h 41356"/>
                  <a:gd name="connsiteX1" fmla="*/ 20445 w 58096"/>
                  <a:gd name="connsiteY1" fmla="*/ 5324 h 41356"/>
                  <a:gd name="connsiteX2" fmla="*/ 58097 w 58096"/>
                  <a:gd name="connsiteY2" fmla="*/ 5132 h 41356"/>
                  <a:gd name="connsiteX3" fmla="*/ 57438 w 58096"/>
                  <a:gd name="connsiteY3" fmla="*/ 39408 h 41356"/>
                  <a:gd name="connsiteX4" fmla="*/ 20363 w 58096"/>
                  <a:gd name="connsiteY4" fmla="*/ 39765 h 41356"/>
                  <a:gd name="connsiteX5" fmla="*/ 17289 w 58096"/>
                  <a:gd name="connsiteY5" fmla="*/ 41357 h 41356"/>
                  <a:gd name="connsiteX6" fmla="*/ 8919 w 58096"/>
                  <a:gd name="connsiteY6" fmla="*/ 37926 h 41356"/>
                  <a:gd name="connsiteX7" fmla="*/ 1455 w 58096"/>
                  <a:gd name="connsiteY7" fmla="*/ 36197 h 41356"/>
                  <a:gd name="connsiteX8" fmla="*/ 0 w 58096"/>
                  <a:gd name="connsiteY8" fmla="*/ 34084 h 41356"/>
                  <a:gd name="connsiteX9" fmla="*/ 12843 w 58096"/>
                  <a:gd name="connsiteY9" fmla="*/ 12789 h 41356"/>
                  <a:gd name="connsiteX10" fmla="*/ 13612 w 58096"/>
                  <a:gd name="connsiteY10" fmla="*/ 0 h 41356"/>
                  <a:gd name="connsiteX11" fmla="*/ 15066 w 58096"/>
                  <a:gd name="connsiteY11" fmla="*/ 3046 h 41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096" h="41356">
                    <a:moveTo>
                      <a:pt x="15039" y="3074"/>
                    </a:moveTo>
                    <a:lnTo>
                      <a:pt x="20445" y="5324"/>
                    </a:lnTo>
                    <a:lnTo>
                      <a:pt x="58097" y="5132"/>
                    </a:lnTo>
                    <a:lnTo>
                      <a:pt x="57438" y="39408"/>
                    </a:lnTo>
                    <a:lnTo>
                      <a:pt x="20363" y="39765"/>
                    </a:lnTo>
                    <a:lnTo>
                      <a:pt x="17289" y="41357"/>
                    </a:lnTo>
                    <a:lnTo>
                      <a:pt x="8919" y="37926"/>
                    </a:lnTo>
                    <a:lnTo>
                      <a:pt x="1455" y="36197"/>
                    </a:lnTo>
                    <a:lnTo>
                      <a:pt x="0" y="34084"/>
                    </a:lnTo>
                    <a:lnTo>
                      <a:pt x="12843" y="12789"/>
                    </a:lnTo>
                    <a:lnTo>
                      <a:pt x="13612" y="0"/>
                    </a:lnTo>
                    <a:lnTo>
                      <a:pt x="15066"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2" name="Freeform: Shape 3651">
                <a:extLst>
                  <a:ext uri="{FF2B5EF4-FFF2-40B4-BE49-F238E27FC236}">
                    <a16:creationId xmlns:a16="http://schemas.microsoft.com/office/drawing/2014/main" id="{51578D07-2075-9D48-30F0-45BFA4339E1B}"/>
                  </a:ext>
                </a:extLst>
              </p:cNvPr>
              <p:cNvSpPr/>
              <p:nvPr/>
            </p:nvSpPr>
            <p:spPr>
              <a:xfrm>
                <a:off x="1391213" y="3832864"/>
                <a:ext cx="1586" cy="1735"/>
              </a:xfrm>
              <a:custGeom>
                <a:avLst/>
                <a:gdLst>
                  <a:gd name="connsiteX0" fmla="*/ 8096 w 15203"/>
                  <a:gd name="connsiteY0" fmla="*/ 0 h 16630"/>
                  <a:gd name="connsiteX1" fmla="*/ 9331 w 15203"/>
                  <a:gd name="connsiteY1" fmla="*/ 494 h 16630"/>
                  <a:gd name="connsiteX2" fmla="*/ 13831 w 15203"/>
                  <a:gd name="connsiteY2" fmla="*/ 274 h 16630"/>
                  <a:gd name="connsiteX3" fmla="*/ 15204 w 15203"/>
                  <a:gd name="connsiteY3" fmla="*/ 1893 h 16630"/>
                  <a:gd name="connsiteX4" fmla="*/ 15121 w 15203"/>
                  <a:gd name="connsiteY4" fmla="*/ 4116 h 16630"/>
                  <a:gd name="connsiteX5" fmla="*/ 13008 w 15203"/>
                  <a:gd name="connsiteY5" fmla="*/ 6970 h 16630"/>
                  <a:gd name="connsiteX6" fmla="*/ 10181 w 15203"/>
                  <a:gd name="connsiteY6" fmla="*/ 13557 h 16630"/>
                  <a:gd name="connsiteX7" fmla="*/ 7712 w 15203"/>
                  <a:gd name="connsiteY7" fmla="*/ 16630 h 16630"/>
                  <a:gd name="connsiteX8" fmla="*/ 741 w 15203"/>
                  <a:gd name="connsiteY8" fmla="*/ 14627 h 16630"/>
                  <a:gd name="connsiteX9" fmla="*/ 0 w 15203"/>
                  <a:gd name="connsiteY9" fmla="*/ 12267 h 16630"/>
                  <a:gd name="connsiteX10" fmla="*/ 1839 w 15203"/>
                  <a:gd name="connsiteY10" fmla="*/ 8974 h 16630"/>
                  <a:gd name="connsiteX11" fmla="*/ 4720 w 15203"/>
                  <a:gd name="connsiteY11" fmla="*/ 8974 h 16630"/>
                  <a:gd name="connsiteX12" fmla="*/ 5681 w 15203"/>
                  <a:gd name="connsiteY12" fmla="*/ 6147 h 16630"/>
                  <a:gd name="connsiteX13" fmla="*/ 5735 w 15203"/>
                  <a:gd name="connsiteY13" fmla="*/ 3266 h 16630"/>
                  <a:gd name="connsiteX14" fmla="*/ 8123 w 15203"/>
                  <a:gd name="connsiteY14" fmla="*/ 27 h 1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3" h="16630">
                    <a:moveTo>
                      <a:pt x="8096" y="0"/>
                    </a:moveTo>
                    <a:lnTo>
                      <a:pt x="9331" y="494"/>
                    </a:lnTo>
                    <a:lnTo>
                      <a:pt x="13831" y="274"/>
                    </a:lnTo>
                    <a:lnTo>
                      <a:pt x="15204" y="1893"/>
                    </a:lnTo>
                    <a:lnTo>
                      <a:pt x="15121" y="4116"/>
                    </a:lnTo>
                    <a:lnTo>
                      <a:pt x="13008" y="6970"/>
                    </a:lnTo>
                    <a:lnTo>
                      <a:pt x="10181" y="13557"/>
                    </a:lnTo>
                    <a:lnTo>
                      <a:pt x="7712" y="16630"/>
                    </a:lnTo>
                    <a:lnTo>
                      <a:pt x="741" y="14627"/>
                    </a:lnTo>
                    <a:lnTo>
                      <a:pt x="0" y="12267"/>
                    </a:lnTo>
                    <a:lnTo>
                      <a:pt x="1839" y="8974"/>
                    </a:lnTo>
                    <a:lnTo>
                      <a:pt x="4720" y="8974"/>
                    </a:lnTo>
                    <a:lnTo>
                      <a:pt x="5681" y="6147"/>
                    </a:lnTo>
                    <a:lnTo>
                      <a:pt x="5735" y="3266"/>
                    </a:lnTo>
                    <a:lnTo>
                      <a:pt x="8123"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3" name="Freeform: Shape 3652">
                <a:extLst>
                  <a:ext uri="{FF2B5EF4-FFF2-40B4-BE49-F238E27FC236}">
                    <a16:creationId xmlns:a16="http://schemas.microsoft.com/office/drawing/2014/main" id="{2982A64B-6FFB-9183-FA9F-97455BA81402}"/>
                  </a:ext>
                </a:extLst>
              </p:cNvPr>
              <p:cNvSpPr/>
              <p:nvPr/>
            </p:nvSpPr>
            <p:spPr>
              <a:xfrm>
                <a:off x="1082462" y="3788919"/>
                <a:ext cx="12302" cy="12972"/>
              </a:xfrm>
              <a:custGeom>
                <a:avLst/>
                <a:gdLst>
                  <a:gd name="connsiteX0" fmla="*/ 97642 w 117949"/>
                  <a:gd name="connsiteY0" fmla="*/ 58701 h 124371"/>
                  <a:gd name="connsiteX1" fmla="*/ 105793 w 117949"/>
                  <a:gd name="connsiteY1" fmla="*/ 62954 h 124371"/>
                  <a:gd name="connsiteX2" fmla="*/ 109607 w 117949"/>
                  <a:gd name="connsiteY2" fmla="*/ 59140 h 124371"/>
                  <a:gd name="connsiteX3" fmla="*/ 117950 w 117949"/>
                  <a:gd name="connsiteY3" fmla="*/ 64217 h 124371"/>
                  <a:gd name="connsiteX4" fmla="*/ 106479 w 117949"/>
                  <a:gd name="connsiteY4" fmla="*/ 73931 h 124371"/>
                  <a:gd name="connsiteX5" fmla="*/ 90864 w 117949"/>
                  <a:gd name="connsiteY5" fmla="*/ 84525 h 124371"/>
                  <a:gd name="connsiteX6" fmla="*/ 88970 w 117949"/>
                  <a:gd name="connsiteY6" fmla="*/ 90836 h 124371"/>
                  <a:gd name="connsiteX7" fmla="*/ 90507 w 117949"/>
                  <a:gd name="connsiteY7" fmla="*/ 97587 h 124371"/>
                  <a:gd name="connsiteX8" fmla="*/ 84689 w 117949"/>
                  <a:gd name="connsiteY8" fmla="*/ 103844 h 124371"/>
                  <a:gd name="connsiteX9" fmla="*/ 78679 w 117949"/>
                  <a:gd name="connsiteY9" fmla="*/ 104613 h 124371"/>
                  <a:gd name="connsiteX10" fmla="*/ 79063 w 117949"/>
                  <a:gd name="connsiteY10" fmla="*/ 109690 h 124371"/>
                  <a:gd name="connsiteX11" fmla="*/ 75331 w 117949"/>
                  <a:gd name="connsiteY11" fmla="*/ 111528 h 124371"/>
                  <a:gd name="connsiteX12" fmla="*/ 73026 w 117949"/>
                  <a:gd name="connsiteY12" fmla="*/ 114959 h 124371"/>
                  <a:gd name="connsiteX13" fmla="*/ 65067 w 117949"/>
                  <a:gd name="connsiteY13" fmla="*/ 118554 h 124371"/>
                  <a:gd name="connsiteX14" fmla="*/ 61994 w 117949"/>
                  <a:gd name="connsiteY14" fmla="*/ 124371 h 124371"/>
                  <a:gd name="connsiteX15" fmla="*/ 61719 w 117949"/>
                  <a:gd name="connsiteY15" fmla="*/ 124234 h 124371"/>
                  <a:gd name="connsiteX16" fmla="*/ 58371 w 117949"/>
                  <a:gd name="connsiteY16" fmla="*/ 122917 h 124371"/>
                  <a:gd name="connsiteX17" fmla="*/ 56752 w 117949"/>
                  <a:gd name="connsiteY17" fmla="*/ 122313 h 124371"/>
                  <a:gd name="connsiteX18" fmla="*/ 48821 w 117949"/>
                  <a:gd name="connsiteY18" fmla="*/ 119432 h 124371"/>
                  <a:gd name="connsiteX19" fmla="*/ 42235 w 117949"/>
                  <a:gd name="connsiteY19" fmla="*/ 118801 h 124371"/>
                  <a:gd name="connsiteX20" fmla="*/ 25412 w 117949"/>
                  <a:gd name="connsiteY20" fmla="*/ 117099 h 124371"/>
                  <a:gd name="connsiteX21" fmla="*/ 13502 w 117949"/>
                  <a:gd name="connsiteY21" fmla="*/ 110842 h 124371"/>
                  <a:gd name="connsiteX22" fmla="*/ 0 w 117949"/>
                  <a:gd name="connsiteY22" fmla="*/ 100331 h 124371"/>
                  <a:gd name="connsiteX23" fmla="*/ 3869 w 117949"/>
                  <a:gd name="connsiteY23" fmla="*/ 85211 h 124371"/>
                  <a:gd name="connsiteX24" fmla="*/ 2058 w 117949"/>
                  <a:gd name="connsiteY24" fmla="*/ 76676 h 124371"/>
                  <a:gd name="connsiteX25" fmla="*/ 14654 w 117949"/>
                  <a:gd name="connsiteY25" fmla="*/ 54419 h 124371"/>
                  <a:gd name="connsiteX26" fmla="*/ 42235 w 117949"/>
                  <a:gd name="connsiteY26" fmla="*/ 53569 h 124371"/>
                  <a:gd name="connsiteX27" fmla="*/ 47751 w 117949"/>
                  <a:gd name="connsiteY27" fmla="*/ 53376 h 124371"/>
                  <a:gd name="connsiteX28" fmla="*/ 52443 w 117949"/>
                  <a:gd name="connsiteY28" fmla="*/ 51071 h 124371"/>
                  <a:gd name="connsiteX29" fmla="*/ 53102 w 117949"/>
                  <a:gd name="connsiteY29" fmla="*/ 45363 h 124371"/>
                  <a:gd name="connsiteX30" fmla="*/ 51565 w 117949"/>
                  <a:gd name="connsiteY30" fmla="*/ 42262 h 124371"/>
                  <a:gd name="connsiteX31" fmla="*/ 44458 w 117949"/>
                  <a:gd name="connsiteY31" fmla="*/ 34139 h 124371"/>
                  <a:gd name="connsiteX32" fmla="*/ 42235 w 117949"/>
                  <a:gd name="connsiteY32" fmla="*/ 32630 h 124371"/>
                  <a:gd name="connsiteX33" fmla="*/ 34386 w 117949"/>
                  <a:gd name="connsiteY33" fmla="*/ 27443 h 124371"/>
                  <a:gd name="connsiteX34" fmla="*/ 26510 w 117949"/>
                  <a:gd name="connsiteY34" fmla="*/ 18853 h 124371"/>
                  <a:gd name="connsiteX35" fmla="*/ 35676 w 117949"/>
                  <a:gd name="connsiteY35" fmla="*/ 15313 h 124371"/>
                  <a:gd name="connsiteX36" fmla="*/ 38256 w 117949"/>
                  <a:gd name="connsiteY36" fmla="*/ 960 h 124371"/>
                  <a:gd name="connsiteX37" fmla="*/ 42235 w 117949"/>
                  <a:gd name="connsiteY37" fmla="*/ 878 h 124371"/>
                  <a:gd name="connsiteX38" fmla="*/ 56725 w 117949"/>
                  <a:gd name="connsiteY38" fmla="*/ 604 h 124371"/>
                  <a:gd name="connsiteX39" fmla="*/ 58344 w 117949"/>
                  <a:gd name="connsiteY39" fmla="*/ 604 h 124371"/>
                  <a:gd name="connsiteX40" fmla="*/ 90726 w 117949"/>
                  <a:gd name="connsiteY40" fmla="*/ 0 h 124371"/>
                  <a:gd name="connsiteX41" fmla="*/ 90287 w 117949"/>
                  <a:gd name="connsiteY41" fmla="*/ 30599 h 124371"/>
                  <a:gd name="connsiteX42" fmla="*/ 88778 w 117949"/>
                  <a:gd name="connsiteY42" fmla="*/ 57768 h 124371"/>
                  <a:gd name="connsiteX43" fmla="*/ 97615 w 117949"/>
                  <a:gd name="connsiteY43" fmla="*/ 58673 h 12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7949" h="124371">
                    <a:moveTo>
                      <a:pt x="97642" y="58701"/>
                    </a:moveTo>
                    <a:lnTo>
                      <a:pt x="105793" y="62954"/>
                    </a:lnTo>
                    <a:lnTo>
                      <a:pt x="109607" y="59140"/>
                    </a:lnTo>
                    <a:lnTo>
                      <a:pt x="117950" y="64217"/>
                    </a:lnTo>
                    <a:lnTo>
                      <a:pt x="106479" y="73931"/>
                    </a:lnTo>
                    <a:lnTo>
                      <a:pt x="90864" y="84525"/>
                    </a:lnTo>
                    <a:lnTo>
                      <a:pt x="88970" y="90836"/>
                    </a:lnTo>
                    <a:lnTo>
                      <a:pt x="90507" y="97587"/>
                    </a:lnTo>
                    <a:lnTo>
                      <a:pt x="84689" y="103844"/>
                    </a:lnTo>
                    <a:lnTo>
                      <a:pt x="78679" y="104613"/>
                    </a:lnTo>
                    <a:lnTo>
                      <a:pt x="79063" y="109690"/>
                    </a:lnTo>
                    <a:lnTo>
                      <a:pt x="75331" y="111528"/>
                    </a:lnTo>
                    <a:lnTo>
                      <a:pt x="73026" y="114959"/>
                    </a:lnTo>
                    <a:lnTo>
                      <a:pt x="65067" y="118554"/>
                    </a:lnTo>
                    <a:lnTo>
                      <a:pt x="61994" y="124371"/>
                    </a:lnTo>
                    <a:lnTo>
                      <a:pt x="61719" y="124234"/>
                    </a:lnTo>
                    <a:lnTo>
                      <a:pt x="58371" y="122917"/>
                    </a:lnTo>
                    <a:lnTo>
                      <a:pt x="56752" y="122313"/>
                    </a:lnTo>
                    <a:lnTo>
                      <a:pt x="48821" y="119432"/>
                    </a:lnTo>
                    <a:lnTo>
                      <a:pt x="42235" y="118801"/>
                    </a:lnTo>
                    <a:lnTo>
                      <a:pt x="25412" y="117099"/>
                    </a:lnTo>
                    <a:lnTo>
                      <a:pt x="13502" y="110842"/>
                    </a:lnTo>
                    <a:lnTo>
                      <a:pt x="0" y="100331"/>
                    </a:lnTo>
                    <a:lnTo>
                      <a:pt x="3869" y="85211"/>
                    </a:lnTo>
                    <a:lnTo>
                      <a:pt x="2058" y="76676"/>
                    </a:lnTo>
                    <a:lnTo>
                      <a:pt x="14654" y="54419"/>
                    </a:lnTo>
                    <a:lnTo>
                      <a:pt x="42235" y="53569"/>
                    </a:lnTo>
                    <a:lnTo>
                      <a:pt x="47751" y="53376"/>
                    </a:lnTo>
                    <a:lnTo>
                      <a:pt x="52443" y="51071"/>
                    </a:lnTo>
                    <a:lnTo>
                      <a:pt x="53102" y="45363"/>
                    </a:lnTo>
                    <a:lnTo>
                      <a:pt x="51565" y="42262"/>
                    </a:lnTo>
                    <a:lnTo>
                      <a:pt x="44458" y="34139"/>
                    </a:lnTo>
                    <a:lnTo>
                      <a:pt x="42235" y="32630"/>
                    </a:lnTo>
                    <a:lnTo>
                      <a:pt x="34386" y="27443"/>
                    </a:lnTo>
                    <a:lnTo>
                      <a:pt x="26510" y="18853"/>
                    </a:lnTo>
                    <a:lnTo>
                      <a:pt x="35676" y="15313"/>
                    </a:lnTo>
                    <a:lnTo>
                      <a:pt x="38256" y="960"/>
                    </a:lnTo>
                    <a:lnTo>
                      <a:pt x="42235" y="878"/>
                    </a:lnTo>
                    <a:lnTo>
                      <a:pt x="56725" y="604"/>
                    </a:lnTo>
                    <a:lnTo>
                      <a:pt x="58344" y="604"/>
                    </a:lnTo>
                    <a:cubicBezTo>
                      <a:pt x="58344" y="604"/>
                      <a:pt x="90726" y="0"/>
                      <a:pt x="90726" y="0"/>
                    </a:cubicBezTo>
                    <a:lnTo>
                      <a:pt x="90287" y="30599"/>
                    </a:lnTo>
                    <a:lnTo>
                      <a:pt x="88778" y="57768"/>
                    </a:lnTo>
                    <a:lnTo>
                      <a:pt x="97615" y="586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4" name="Freeform: Shape 3653">
                <a:extLst>
                  <a:ext uri="{FF2B5EF4-FFF2-40B4-BE49-F238E27FC236}">
                    <a16:creationId xmlns:a16="http://schemas.microsoft.com/office/drawing/2014/main" id="{81C888F6-B2C2-9DA8-9B39-EE22E0367B7C}"/>
                  </a:ext>
                </a:extLst>
              </p:cNvPr>
              <p:cNvSpPr/>
              <p:nvPr/>
            </p:nvSpPr>
            <p:spPr>
              <a:xfrm>
                <a:off x="1197939" y="3826839"/>
                <a:ext cx="9056" cy="11094"/>
              </a:xfrm>
              <a:custGeom>
                <a:avLst/>
                <a:gdLst>
                  <a:gd name="connsiteX0" fmla="*/ 56560 w 86829"/>
                  <a:gd name="connsiteY0" fmla="*/ 98657 h 106369"/>
                  <a:gd name="connsiteX1" fmla="*/ 48546 w 86829"/>
                  <a:gd name="connsiteY1" fmla="*/ 104640 h 106369"/>
                  <a:gd name="connsiteX2" fmla="*/ 40423 w 86829"/>
                  <a:gd name="connsiteY2" fmla="*/ 104009 h 106369"/>
                  <a:gd name="connsiteX3" fmla="*/ 37460 w 86829"/>
                  <a:gd name="connsiteY3" fmla="*/ 100634 h 106369"/>
                  <a:gd name="connsiteX4" fmla="*/ 31587 w 86829"/>
                  <a:gd name="connsiteY4" fmla="*/ 102417 h 106369"/>
                  <a:gd name="connsiteX5" fmla="*/ 24205 w 86829"/>
                  <a:gd name="connsiteY5" fmla="*/ 99618 h 106369"/>
                  <a:gd name="connsiteX6" fmla="*/ 13420 w 86829"/>
                  <a:gd name="connsiteY6" fmla="*/ 106369 h 106369"/>
                  <a:gd name="connsiteX7" fmla="*/ 7821 w 86829"/>
                  <a:gd name="connsiteY7" fmla="*/ 105354 h 106369"/>
                  <a:gd name="connsiteX8" fmla="*/ 0 w 86829"/>
                  <a:gd name="connsiteY8" fmla="*/ 100606 h 106369"/>
                  <a:gd name="connsiteX9" fmla="*/ 6065 w 86829"/>
                  <a:gd name="connsiteY9" fmla="*/ 95776 h 106369"/>
                  <a:gd name="connsiteX10" fmla="*/ 11032 w 86829"/>
                  <a:gd name="connsiteY10" fmla="*/ 86994 h 106369"/>
                  <a:gd name="connsiteX11" fmla="*/ 12020 w 86829"/>
                  <a:gd name="connsiteY11" fmla="*/ 75002 h 106369"/>
                  <a:gd name="connsiteX12" fmla="*/ 15862 w 86829"/>
                  <a:gd name="connsiteY12" fmla="*/ 70281 h 106369"/>
                  <a:gd name="connsiteX13" fmla="*/ 17564 w 86829"/>
                  <a:gd name="connsiteY13" fmla="*/ 63887 h 106369"/>
                  <a:gd name="connsiteX14" fmla="*/ 7547 w 86829"/>
                  <a:gd name="connsiteY14" fmla="*/ 50276 h 106369"/>
                  <a:gd name="connsiteX15" fmla="*/ 4446 w 86829"/>
                  <a:gd name="connsiteY15" fmla="*/ 38585 h 106369"/>
                  <a:gd name="connsiteX16" fmla="*/ 3403 w 86829"/>
                  <a:gd name="connsiteY16" fmla="*/ 25714 h 106369"/>
                  <a:gd name="connsiteX17" fmla="*/ 5077 w 86829"/>
                  <a:gd name="connsiteY17" fmla="*/ 19841 h 106369"/>
                  <a:gd name="connsiteX18" fmla="*/ 17152 w 86829"/>
                  <a:gd name="connsiteY18" fmla="*/ 3924 h 106369"/>
                  <a:gd name="connsiteX19" fmla="*/ 17838 w 86829"/>
                  <a:gd name="connsiteY19" fmla="*/ 686 h 106369"/>
                  <a:gd name="connsiteX20" fmla="*/ 20061 w 86829"/>
                  <a:gd name="connsiteY20" fmla="*/ 0 h 106369"/>
                  <a:gd name="connsiteX21" fmla="*/ 32739 w 86829"/>
                  <a:gd name="connsiteY21" fmla="*/ 4857 h 106369"/>
                  <a:gd name="connsiteX22" fmla="*/ 40451 w 86829"/>
                  <a:gd name="connsiteY22" fmla="*/ 5928 h 106369"/>
                  <a:gd name="connsiteX23" fmla="*/ 48711 w 86829"/>
                  <a:gd name="connsiteY23" fmla="*/ 8891 h 106369"/>
                  <a:gd name="connsiteX24" fmla="*/ 64655 w 86829"/>
                  <a:gd name="connsiteY24" fmla="*/ 23135 h 106369"/>
                  <a:gd name="connsiteX25" fmla="*/ 80682 w 86829"/>
                  <a:gd name="connsiteY25" fmla="*/ 32026 h 106369"/>
                  <a:gd name="connsiteX26" fmla="*/ 83399 w 86829"/>
                  <a:gd name="connsiteY26" fmla="*/ 38640 h 106369"/>
                  <a:gd name="connsiteX27" fmla="*/ 86830 w 86829"/>
                  <a:gd name="connsiteY27" fmla="*/ 45253 h 106369"/>
                  <a:gd name="connsiteX28" fmla="*/ 86281 w 86829"/>
                  <a:gd name="connsiteY28" fmla="*/ 49590 h 106369"/>
                  <a:gd name="connsiteX29" fmla="*/ 66769 w 86829"/>
                  <a:gd name="connsiteY29" fmla="*/ 75441 h 106369"/>
                  <a:gd name="connsiteX30" fmla="*/ 59798 w 86829"/>
                  <a:gd name="connsiteY30" fmla="*/ 94404 h 106369"/>
                  <a:gd name="connsiteX31" fmla="*/ 56615 w 86829"/>
                  <a:gd name="connsiteY31" fmla="*/ 98740 h 10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6829" h="106369">
                    <a:moveTo>
                      <a:pt x="56560" y="98657"/>
                    </a:moveTo>
                    <a:lnTo>
                      <a:pt x="48546" y="104640"/>
                    </a:lnTo>
                    <a:lnTo>
                      <a:pt x="40423" y="104009"/>
                    </a:lnTo>
                    <a:lnTo>
                      <a:pt x="37460" y="100634"/>
                    </a:lnTo>
                    <a:lnTo>
                      <a:pt x="31587" y="102417"/>
                    </a:lnTo>
                    <a:lnTo>
                      <a:pt x="24205" y="99618"/>
                    </a:lnTo>
                    <a:lnTo>
                      <a:pt x="13420" y="106369"/>
                    </a:lnTo>
                    <a:lnTo>
                      <a:pt x="7821" y="105354"/>
                    </a:lnTo>
                    <a:lnTo>
                      <a:pt x="0" y="100606"/>
                    </a:lnTo>
                    <a:lnTo>
                      <a:pt x="6065" y="95776"/>
                    </a:lnTo>
                    <a:lnTo>
                      <a:pt x="11032" y="86994"/>
                    </a:lnTo>
                    <a:lnTo>
                      <a:pt x="12020" y="75002"/>
                    </a:lnTo>
                    <a:lnTo>
                      <a:pt x="15862" y="70281"/>
                    </a:lnTo>
                    <a:lnTo>
                      <a:pt x="17564" y="63887"/>
                    </a:lnTo>
                    <a:lnTo>
                      <a:pt x="7547" y="50276"/>
                    </a:lnTo>
                    <a:lnTo>
                      <a:pt x="4446" y="38585"/>
                    </a:lnTo>
                    <a:lnTo>
                      <a:pt x="3403" y="25714"/>
                    </a:lnTo>
                    <a:lnTo>
                      <a:pt x="5077" y="19841"/>
                    </a:lnTo>
                    <a:lnTo>
                      <a:pt x="17152" y="3924"/>
                    </a:lnTo>
                    <a:lnTo>
                      <a:pt x="17838" y="686"/>
                    </a:lnTo>
                    <a:lnTo>
                      <a:pt x="20061" y="0"/>
                    </a:lnTo>
                    <a:lnTo>
                      <a:pt x="32739" y="4857"/>
                    </a:lnTo>
                    <a:lnTo>
                      <a:pt x="40451" y="5928"/>
                    </a:lnTo>
                    <a:lnTo>
                      <a:pt x="48711" y="8891"/>
                    </a:lnTo>
                    <a:lnTo>
                      <a:pt x="64655" y="23135"/>
                    </a:lnTo>
                    <a:lnTo>
                      <a:pt x="80682" y="32026"/>
                    </a:lnTo>
                    <a:lnTo>
                      <a:pt x="83399" y="38640"/>
                    </a:lnTo>
                    <a:lnTo>
                      <a:pt x="86830" y="45253"/>
                    </a:lnTo>
                    <a:lnTo>
                      <a:pt x="86281" y="49590"/>
                    </a:lnTo>
                    <a:lnTo>
                      <a:pt x="66769" y="75441"/>
                    </a:lnTo>
                    <a:lnTo>
                      <a:pt x="59798" y="94404"/>
                    </a:lnTo>
                    <a:lnTo>
                      <a:pt x="56615" y="987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5" name="Freeform: Shape 3654">
                <a:extLst>
                  <a:ext uri="{FF2B5EF4-FFF2-40B4-BE49-F238E27FC236}">
                    <a16:creationId xmlns:a16="http://schemas.microsoft.com/office/drawing/2014/main" id="{DE5087B5-C054-D856-B725-A7434662D1D5}"/>
                  </a:ext>
                </a:extLst>
              </p:cNvPr>
              <p:cNvSpPr/>
              <p:nvPr/>
            </p:nvSpPr>
            <p:spPr>
              <a:xfrm>
                <a:off x="1175782" y="3793092"/>
                <a:ext cx="1703" cy="1795"/>
              </a:xfrm>
              <a:custGeom>
                <a:avLst/>
                <a:gdLst>
                  <a:gd name="connsiteX0" fmla="*/ 8096 w 16328"/>
                  <a:gd name="connsiteY0" fmla="*/ 1756 h 17206"/>
                  <a:gd name="connsiteX1" fmla="*/ 9962 w 16328"/>
                  <a:gd name="connsiteY1" fmla="*/ 0 h 17206"/>
                  <a:gd name="connsiteX2" fmla="*/ 11718 w 16328"/>
                  <a:gd name="connsiteY2" fmla="*/ 1263 h 17206"/>
                  <a:gd name="connsiteX3" fmla="*/ 12761 w 16328"/>
                  <a:gd name="connsiteY3" fmla="*/ 5187 h 17206"/>
                  <a:gd name="connsiteX4" fmla="*/ 16219 w 16328"/>
                  <a:gd name="connsiteY4" fmla="*/ 6394 h 17206"/>
                  <a:gd name="connsiteX5" fmla="*/ 16329 w 16328"/>
                  <a:gd name="connsiteY5" fmla="*/ 7876 h 17206"/>
                  <a:gd name="connsiteX6" fmla="*/ 10154 w 16328"/>
                  <a:gd name="connsiteY6" fmla="*/ 9605 h 17206"/>
                  <a:gd name="connsiteX7" fmla="*/ 6696 w 16328"/>
                  <a:gd name="connsiteY7" fmla="*/ 8480 h 17206"/>
                  <a:gd name="connsiteX8" fmla="*/ 7464 w 16328"/>
                  <a:gd name="connsiteY8" fmla="*/ 14051 h 17206"/>
                  <a:gd name="connsiteX9" fmla="*/ 5598 w 16328"/>
                  <a:gd name="connsiteY9" fmla="*/ 16493 h 17206"/>
                  <a:gd name="connsiteX10" fmla="*/ 3019 w 16328"/>
                  <a:gd name="connsiteY10" fmla="*/ 17207 h 17206"/>
                  <a:gd name="connsiteX11" fmla="*/ 1153 w 16328"/>
                  <a:gd name="connsiteY11" fmla="*/ 13831 h 17206"/>
                  <a:gd name="connsiteX12" fmla="*/ 768 w 16328"/>
                  <a:gd name="connsiteY12" fmla="*/ 9111 h 17206"/>
                  <a:gd name="connsiteX13" fmla="*/ 0 w 16328"/>
                  <a:gd name="connsiteY13" fmla="*/ 7300 h 17206"/>
                  <a:gd name="connsiteX14" fmla="*/ 1948 w 16328"/>
                  <a:gd name="connsiteY14" fmla="*/ 4556 h 17206"/>
                  <a:gd name="connsiteX15" fmla="*/ 6257 w 16328"/>
                  <a:gd name="connsiteY15" fmla="*/ 6861 h 17206"/>
                  <a:gd name="connsiteX16" fmla="*/ 9276 w 16328"/>
                  <a:gd name="connsiteY16" fmla="*/ 4803 h 17206"/>
                  <a:gd name="connsiteX17" fmla="*/ 8041 w 16328"/>
                  <a:gd name="connsiteY17" fmla="*/ 1729 h 1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28" h="17206">
                    <a:moveTo>
                      <a:pt x="8096" y="1756"/>
                    </a:moveTo>
                    <a:lnTo>
                      <a:pt x="9962" y="0"/>
                    </a:lnTo>
                    <a:lnTo>
                      <a:pt x="11718" y="1263"/>
                    </a:lnTo>
                    <a:lnTo>
                      <a:pt x="12761" y="5187"/>
                    </a:lnTo>
                    <a:lnTo>
                      <a:pt x="16219" y="6394"/>
                    </a:lnTo>
                    <a:lnTo>
                      <a:pt x="16329" y="7876"/>
                    </a:lnTo>
                    <a:lnTo>
                      <a:pt x="10154" y="9605"/>
                    </a:lnTo>
                    <a:lnTo>
                      <a:pt x="6696" y="8480"/>
                    </a:lnTo>
                    <a:lnTo>
                      <a:pt x="7464" y="14051"/>
                    </a:lnTo>
                    <a:lnTo>
                      <a:pt x="5598" y="16493"/>
                    </a:lnTo>
                    <a:lnTo>
                      <a:pt x="3019" y="17207"/>
                    </a:lnTo>
                    <a:lnTo>
                      <a:pt x="1153" y="13831"/>
                    </a:lnTo>
                    <a:lnTo>
                      <a:pt x="768" y="9111"/>
                    </a:lnTo>
                    <a:lnTo>
                      <a:pt x="0" y="7300"/>
                    </a:lnTo>
                    <a:lnTo>
                      <a:pt x="1948" y="4556"/>
                    </a:lnTo>
                    <a:lnTo>
                      <a:pt x="6257" y="6861"/>
                    </a:lnTo>
                    <a:lnTo>
                      <a:pt x="9276" y="4803"/>
                    </a:lnTo>
                    <a:lnTo>
                      <a:pt x="8041" y="17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6" name="Freeform: Shape 3655">
                <a:extLst>
                  <a:ext uri="{FF2B5EF4-FFF2-40B4-BE49-F238E27FC236}">
                    <a16:creationId xmlns:a16="http://schemas.microsoft.com/office/drawing/2014/main" id="{6C0955A5-FB64-AF2A-39B1-B424D63B1A8B}"/>
                  </a:ext>
                </a:extLst>
              </p:cNvPr>
              <p:cNvSpPr/>
              <p:nvPr/>
            </p:nvSpPr>
            <p:spPr>
              <a:xfrm>
                <a:off x="1177551" y="3798273"/>
                <a:ext cx="1314" cy="1563"/>
              </a:xfrm>
              <a:custGeom>
                <a:avLst/>
                <a:gdLst>
                  <a:gd name="connsiteX0" fmla="*/ 0 w 12596"/>
                  <a:gd name="connsiteY0" fmla="*/ 1784 h 14984"/>
                  <a:gd name="connsiteX1" fmla="*/ 2717 w 12596"/>
                  <a:gd name="connsiteY1" fmla="*/ 0 h 14984"/>
                  <a:gd name="connsiteX2" fmla="*/ 5982 w 12596"/>
                  <a:gd name="connsiteY2" fmla="*/ 1509 h 14984"/>
                  <a:gd name="connsiteX3" fmla="*/ 8150 w 12596"/>
                  <a:gd name="connsiteY3" fmla="*/ 4391 h 14984"/>
                  <a:gd name="connsiteX4" fmla="*/ 9742 w 12596"/>
                  <a:gd name="connsiteY4" fmla="*/ 4116 h 14984"/>
                  <a:gd name="connsiteX5" fmla="*/ 10264 w 12596"/>
                  <a:gd name="connsiteY5" fmla="*/ 7300 h 14984"/>
                  <a:gd name="connsiteX6" fmla="*/ 12596 w 12596"/>
                  <a:gd name="connsiteY6" fmla="*/ 12404 h 14984"/>
                  <a:gd name="connsiteX7" fmla="*/ 10675 w 12596"/>
                  <a:gd name="connsiteY7" fmla="*/ 14984 h 14984"/>
                  <a:gd name="connsiteX8" fmla="*/ 9578 w 12596"/>
                  <a:gd name="connsiteY8" fmla="*/ 13008 h 14984"/>
                  <a:gd name="connsiteX9" fmla="*/ 4446 w 12596"/>
                  <a:gd name="connsiteY9" fmla="*/ 12679 h 14984"/>
                  <a:gd name="connsiteX10" fmla="*/ 4281 w 12596"/>
                  <a:gd name="connsiteY10" fmla="*/ 10758 h 14984"/>
                  <a:gd name="connsiteX11" fmla="*/ 6394 w 12596"/>
                  <a:gd name="connsiteY11" fmla="*/ 9605 h 14984"/>
                  <a:gd name="connsiteX12" fmla="*/ 2360 w 12596"/>
                  <a:gd name="connsiteY12" fmla="*/ 7163 h 14984"/>
                  <a:gd name="connsiteX13" fmla="*/ 1509 w 12596"/>
                  <a:gd name="connsiteY13" fmla="*/ 4062 h 14984"/>
                  <a:gd name="connsiteX14" fmla="*/ 0 w 12596"/>
                  <a:gd name="connsiteY14" fmla="*/ 1811 h 1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596" h="14984">
                    <a:moveTo>
                      <a:pt x="0" y="1784"/>
                    </a:moveTo>
                    <a:lnTo>
                      <a:pt x="2717" y="0"/>
                    </a:lnTo>
                    <a:lnTo>
                      <a:pt x="5982" y="1509"/>
                    </a:lnTo>
                    <a:lnTo>
                      <a:pt x="8150" y="4391"/>
                    </a:lnTo>
                    <a:lnTo>
                      <a:pt x="9742" y="4116"/>
                    </a:lnTo>
                    <a:lnTo>
                      <a:pt x="10264" y="7300"/>
                    </a:lnTo>
                    <a:lnTo>
                      <a:pt x="12596" y="12404"/>
                    </a:lnTo>
                    <a:lnTo>
                      <a:pt x="10675" y="14984"/>
                    </a:lnTo>
                    <a:lnTo>
                      <a:pt x="9578" y="13008"/>
                    </a:lnTo>
                    <a:lnTo>
                      <a:pt x="4446" y="12679"/>
                    </a:lnTo>
                    <a:lnTo>
                      <a:pt x="4281" y="10758"/>
                    </a:lnTo>
                    <a:lnTo>
                      <a:pt x="6394" y="9605"/>
                    </a:lnTo>
                    <a:lnTo>
                      <a:pt x="2360" y="7163"/>
                    </a:lnTo>
                    <a:lnTo>
                      <a:pt x="1509" y="4062"/>
                    </a:lnTo>
                    <a:lnTo>
                      <a:pt x="0"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7" name="Freeform: Shape 3656">
                <a:extLst>
                  <a:ext uri="{FF2B5EF4-FFF2-40B4-BE49-F238E27FC236}">
                    <a16:creationId xmlns:a16="http://schemas.microsoft.com/office/drawing/2014/main" id="{3872CFBA-E0D9-B06C-638B-DF50EF3F6C3A}"/>
                  </a:ext>
                </a:extLst>
              </p:cNvPr>
              <p:cNvSpPr/>
              <p:nvPr/>
            </p:nvSpPr>
            <p:spPr>
              <a:xfrm>
                <a:off x="1177213" y="3794678"/>
                <a:ext cx="469" cy="492"/>
              </a:xfrm>
              <a:custGeom>
                <a:avLst/>
                <a:gdLst>
                  <a:gd name="connsiteX0" fmla="*/ 4309 w 4500"/>
                  <a:gd name="connsiteY0" fmla="*/ 3540 h 4720"/>
                  <a:gd name="connsiteX1" fmla="*/ 1866 w 4500"/>
                  <a:gd name="connsiteY1" fmla="*/ 4720 h 4720"/>
                  <a:gd name="connsiteX2" fmla="*/ 0 w 4500"/>
                  <a:gd name="connsiteY2" fmla="*/ 2278 h 4720"/>
                  <a:gd name="connsiteX3" fmla="*/ 1976 w 4500"/>
                  <a:gd name="connsiteY3" fmla="*/ 0 h 4720"/>
                  <a:gd name="connsiteX4" fmla="*/ 4501 w 4500"/>
                  <a:gd name="connsiteY4" fmla="*/ 2278 h 4720"/>
                  <a:gd name="connsiteX5" fmla="*/ 4309 w 4500"/>
                  <a:gd name="connsiteY5" fmla="*/ 3540 h 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 h="4720">
                    <a:moveTo>
                      <a:pt x="4309" y="3540"/>
                    </a:moveTo>
                    <a:lnTo>
                      <a:pt x="1866" y="4720"/>
                    </a:lnTo>
                    <a:lnTo>
                      <a:pt x="0" y="2278"/>
                    </a:lnTo>
                    <a:lnTo>
                      <a:pt x="1976" y="0"/>
                    </a:lnTo>
                    <a:lnTo>
                      <a:pt x="4501" y="2278"/>
                    </a:lnTo>
                    <a:lnTo>
                      <a:pt x="4309"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8" name="Freeform: Shape 3657">
                <a:extLst>
                  <a:ext uri="{FF2B5EF4-FFF2-40B4-BE49-F238E27FC236}">
                    <a16:creationId xmlns:a16="http://schemas.microsoft.com/office/drawing/2014/main" id="{44381085-7C88-ADF6-08B7-41B2CDD75636}"/>
                  </a:ext>
                </a:extLst>
              </p:cNvPr>
              <p:cNvSpPr/>
              <p:nvPr/>
            </p:nvSpPr>
            <p:spPr>
              <a:xfrm>
                <a:off x="1171864" y="3787968"/>
                <a:ext cx="209" cy="192"/>
              </a:xfrm>
              <a:custGeom>
                <a:avLst/>
                <a:gdLst>
                  <a:gd name="connsiteX0" fmla="*/ 0 w 2003"/>
                  <a:gd name="connsiteY0" fmla="*/ 1811 h 1838"/>
                  <a:gd name="connsiteX1" fmla="*/ 82 w 2003"/>
                  <a:gd name="connsiteY1" fmla="*/ 741 h 1838"/>
                  <a:gd name="connsiteX2" fmla="*/ 1152 w 2003"/>
                  <a:gd name="connsiteY2" fmla="*/ 0 h 1838"/>
                  <a:gd name="connsiteX3" fmla="*/ 2003 w 2003"/>
                  <a:gd name="connsiteY3" fmla="*/ 1537 h 1838"/>
                  <a:gd name="connsiteX4" fmla="*/ 0 w 2003"/>
                  <a:gd name="connsiteY4" fmla="*/ 1839 h 1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3" h="1838">
                    <a:moveTo>
                      <a:pt x="0" y="1811"/>
                    </a:moveTo>
                    <a:lnTo>
                      <a:pt x="82" y="741"/>
                    </a:lnTo>
                    <a:lnTo>
                      <a:pt x="1152" y="0"/>
                    </a:lnTo>
                    <a:lnTo>
                      <a:pt x="2003" y="1537"/>
                    </a:lnTo>
                    <a:lnTo>
                      <a:pt x="0"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9" name="Freeform: Shape 3658">
                <a:extLst>
                  <a:ext uri="{FF2B5EF4-FFF2-40B4-BE49-F238E27FC236}">
                    <a16:creationId xmlns:a16="http://schemas.microsoft.com/office/drawing/2014/main" id="{71C801EB-28FD-EA88-3765-35FA6911E626}"/>
                  </a:ext>
                </a:extLst>
              </p:cNvPr>
              <p:cNvSpPr/>
              <p:nvPr/>
            </p:nvSpPr>
            <p:spPr>
              <a:xfrm>
                <a:off x="1136958" y="3782003"/>
                <a:ext cx="8699" cy="6203"/>
              </a:xfrm>
              <a:custGeom>
                <a:avLst/>
                <a:gdLst>
                  <a:gd name="connsiteX0" fmla="*/ 76347 w 83399"/>
                  <a:gd name="connsiteY0" fmla="*/ 46708 h 59469"/>
                  <a:gd name="connsiteX1" fmla="*/ 80929 w 83399"/>
                  <a:gd name="connsiteY1" fmla="*/ 50001 h 59469"/>
                  <a:gd name="connsiteX2" fmla="*/ 79804 w 83399"/>
                  <a:gd name="connsiteY2" fmla="*/ 59469 h 59469"/>
                  <a:gd name="connsiteX3" fmla="*/ 70968 w 83399"/>
                  <a:gd name="connsiteY3" fmla="*/ 53322 h 59469"/>
                  <a:gd name="connsiteX4" fmla="*/ 47284 w 83399"/>
                  <a:gd name="connsiteY4" fmla="*/ 55792 h 59469"/>
                  <a:gd name="connsiteX5" fmla="*/ 30873 w 83399"/>
                  <a:gd name="connsiteY5" fmla="*/ 52416 h 59469"/>
                  <a:gd name="connsiteX6" fmla="*/ 21104 w 83399"/>
                  <a:gd name="connsiteY6" fmla="*/ 54612 h 59469"/>
                  <a:gd name="connsiteX7" fmla="*/ 17893 w 83399"/>
                  <a:gd name="connsiteY7" fmla="*/ 59414 h 59469"/>
                  <a:gd name="connsiteX8" fmla="*/ 10648 w 83399"/>
                  <a:gd name="connsiteY8" fmla="*/ 52745 h 59469"/>
                  <a:gd name="connsiteX9" fmla="*/ 1784 w 83399"/>
                  <a:gd name="connsiteY9" fmla="*/ 50358 h 59469"/>
                  <a:gd name="connsiteX10" fmla="*/ 0 w 83399"/>
                  <a:gd name="connsiteY10" fmla="*/ 47147 h 59469"/>
                  <a:gd name="connsiteX11" fmla="*/ 2305 w 83399"/>
                  <a:gd name="connsiteY11" fmla="*/ 41192 h 59469"/>
                  <a:gd name="connsiteX12" fmla="*/ 6751 w 83399"/>
                  <a:gd name="connsiteY12" fmla="*/ 39765 h 59469"/>
                  <a:gd name="connsiteX13" fmla="*/ 19402 w 83399"/>
                  <a:gd name="connsiteY13" fmla="*/ 43360 h 59469"/>
                  <a:gd name="connsiteX14" fmla="*/ 21707 w 83399"/>
                  <a:gd name="connsiteY14" fmla="*/ 41000 h 59469"/>
                  <a:gd name="connsiteX15" fmla="*/ 25824 w 83399"/>
                  <a:gd name="connsiteY15" fmla="*/ 44677 h 59469"/>
                  <a:gd name="connsiteX16" fmla="*/ 49754 w 83399"/>
                  <a:gd name="connsiteY16" fmla="*/ 46955 h 59469"/>
                  <a:gd name="connsiteX17" fmla="*/ 54804 w 83399"/>
                  <a:gd name="connsiteY17" fmla="*/ 43634 h 59469"/>
                  <a:gd name="connsiteX18" fmla="*/ 61966 w 83399"/>
                  <a:gd name="connsiteY18" fmla="*/ 42893 h 59469"/>
                  <a:gd name="connsiteX19" fmla="*/ 62405 w 83399"/>
                  <a:gd name="connsiteY19" fmla="*/ 39545 h 59469"/>
                  <a:gd name="connsiteX20" fmla="*/ 57054 w 83399"/>
                  <a:gd name="connsiteY20" fmla="*/ 36499 h 59469"/>
                  <a:gd name="connsiteX21" fmla="*/ 49123 w 83399"/>
                  <a:gd name="connsiteY21" fmla="*/ 28129 h 59469"/>
                  <a:gd name="connsiteX22" fmla="*/ 51236 w 83399"/>
                  <a:gd name="connsiteY22" fmla="*/ 25714 h 59469"/>
                  <a:gd name="connsiteX23" fmla="*/ 49754 w 83399"/>
                  <a:gd name="connsiteY23" fmla="*/ 22778 h 59469"/>
                  <a:gd name="connsiteX24" fmla="*/ 50385 w 83399"/>
                  <a:gd name="connsiteY24" fmla="*/ 15588 h 59469"/>
                  <a:gd name="connsiteX25" fmla="*/ 41823 w 83399"/>
                  <a:gd name="connsiteY25" fmla="*/ 10127 h 59469"/>
                  <a:gd name="connsiteX26" fmla="*/ 31450 w 83399"/>
                  <a:gd name="connsiteY26" fmla="*/ 9166 h 59469"/>
                  <a:gd name="connsiteX27" fmla="*/ 29885 w 83399"/>
                  <a:gd name="connsiteY27" fmla="*/ 6751 h 59469"/>
                  <a:gd name="connsiteX28" fmla="*/ 31504 w 83399"/>
                  <a:gd name="connsiteY28" fmla="*/ 3540 h 59469"/>
                  <a:gd name="connsiteX29" fmla="*/ 38173 w 83399"/>
                  <a:gd name="connsiteY29" fmla="*/ 768 h 59469"/>
                  <a:gd name="connsiteX30" fmla="*/ 49672 w 83399"/>
                  <a:gd name="connsiteY30" fmla="*/ 0 h 59469"/>
                  <a:gd name="connsiteX31" fmla="*/ 63036 w 83399"/>
                  <a:gd name="connsiteY31" fmla="*/ 5406 h 59469"/>
                  <a:gd name="connsiteX32" fmla="*/ 79612 w 83399"/>
                  <a:gd name="connsiteY32" fmla="*/ 7574 h 59469"/>
                  <a:gd name="connsiteX33" fmla="*/ 81808 w 83399"/>
                  <a:gd name="connsiteY33" fmla="*/ 15204 h 59469"/>
                  <a:gd name="connsiteX34" fmla="*/ 79475 w 83399"/>
                  <a:gd name="connsiteY34" fmla="*/ 19512 h 59469"/>
                  <a:gd name="connsiteX35" fmla="*/ 83399 w 83399"/>
                  <a:gd name="connsiteY35" fmla="*/ 24177 h 59469"/>
                  <a:gd name="connsiteX36" fmla="*/ 78350 w 83399"/>
                  <a:gd name="connsiteY36" fmla="*/ 30407 h 59469"/>
                  <a:gd name="connsiteX37" fmla="*/ 80436 w 83399"/>
                  <a:gd name="connsiteY37" fmla="*/ 33865 h 59469"/>
                  <a:gd name="connsiteX38" fmla="*/ 79859 w 83399"/>
                  <a:gd name="connsiteY38" fmla="*/ 37652 h 59469"/>
                  <a:gd name="connsiteX39" fmla="*/ 77636 w 83399"/>
                  <a:gd name="connsiteY39" fmla="*/ 40396 h 59469"/>
                  <a:gd name="connsiteX40" fmla="*/ 73218 w 83399"/>
                  <a:gd name="connsiteY40" fmla="*/ 41055 h 59469"/>
                  <a:gd name="connsiteX41" fmla="*/ 76292 w 83399"/>
                  <a:gd name="connsiteY41" fmla="*/ 46708 h 59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3399" h="59469">
                    <a:moveTo>
                      <a:pt x="76347" y="46708"/>
                    </a:moveTo>
                    <a:lnTo>
                      <a:pt x="80929" y="50001"/>
                    </a:lnTo>
                    <a:lnTo>
                      <a:pt x="79804" y="59469"/>
                    </a:lnTo>
                    <a:lnTo>
                      <a:pt x="70968" y="53322"/>
                    </a:lnTo>
                    <a:lnTo>
                      <a:pt x="47284" y="55792"/>
                    </a:lnTo>
                    <a:lnTo>
                      <a:pt x="30873" y="52416"/>
                    </a:lnTo>
                    <a:lnTo>
                      <a:pt x="21104" y="54612"/>
                    </a:lnTo>
                    <a:lnTo>
                      <a:pt x="17893" y="59414"/>
                    </a:lnTo>
                    <a:lnTo>
                      <a:pt x="10648" y="52745"/>
                    </a:lnTo>
                    <a:lnTo>
                      <a:pt x="1784" y="50358"/>
                    </a:lnTo>
                    <a:lnTo>
                      <a:pt x="0" y="47147"/>
                    </a:lnTo>
                    <a:lnTo>
                      <a:pt x="2305" y="41192"/>
                    </a:lnTo>
                    <a:lnTo>
                      <a:pt x="6751" y="39765"/>
                    </a:lnTo>
                    <a:lnTo>
                      <a:pt x="19402" y="43360"/>
                    </a:lnTo>
                    <a:lnTo>
                      <a:pt x="21707" y="41000"/>
                    </a:lnTo>
                    <a:lnTo>
                      <a:pt x="25824" y="44677"/>
                    </a:lnTo>
                    <a:lnTo>
                      <a:pt x="49754" y="46955"/>
                    </a:lnTo>
                    <a:lnTo>
                      <a:pt x="54804" y="43634"/>
                    </a:lnTo>
                    <a:lnTo>
                      <a:pt x="61966" y="42893"/>
                    </a:lnTo>
                    <a:lnTo>
                      <a:pt x="62405" y="39545"/>
                    </a:lnTo>
                    <a:lnTo>
                      <a:pt x="57054" y="36499"/>
                    </a:lnTo>
                    <a:lnTo>
                      <a:pt x="49123" y="28129"/>
                    </a:lnTo>
                    <a:lnTo>
                      <a:pt x="51236" y="25714"/>
                    </a:lnTo>
                    <a:lnTo>
                      <a:pt x="49754" y="22778"/>
                    </a:lnTo>
                    <a:lnTo>
                      <a:pt x="50385" y="15588"/>
                    </a:lnTo>
                    <a:lnTo>
                      <a:pt x="41823" y="10127"/>
                    </a:lnTo>
                    <a:lnTo>
                      <a:pt x="31450" y="9166"/>
                    </a:lnTo>
                    <a:lnTo>
                      <a:pt x="29885" y="6751"/>
                    </a:lnTo>
                    <a:lnTo>
                      <a:pt x="31504" y="3540"/>
                    </a:lnTo>
                    <a:lnTo>
                      <a:pt x="38173" y="768"/>
                    </a:lnTo>
                    <a:lnTo>
                      <a:pt x="49672" y="0"/>
                    </a:lnTo>
                    <a:lnTo>
                      <a:pt x="63036" y="5406"/>
                    </a:lnTo>
                    <a:lnTo>
                      <a:pt x="79612" y="7574"/>
                    </a:lnTo>
                    <a:lnTo>
                      <a:pt x="81808" y="15204"/>
                    </a:lnTo>
                    <a:lnTo>
                      <a:pt x="79475" y="19512"/>
                    </a:lnTo>
                    <a:lnTo>
                      <a:pt x="83399" y="24177"/>
                    </a:lnTo>
                    <a:lnTo>
                      <a:pt x="78350" y="30407"/>
                    </a:lnTo>
                    <a:lnTo>
                      <a:pt x="80436" y="33865"/>
                    </a:lnTo>
                    <a:lnTo>
                      <a:pt x="79859" y="37652"/>
                    </a:lnTo>
                    <a:lnTo>
                      <a:pt x="77636" y="40396"/>
                    </a:lnTo>
                    <a:lnTo>
                      <a:pt x="73218" y="41055"/>
                    </a:lnTo>
                    <a:lnTo>
                      <a:pt x="76292" y="467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0" name="Freeform: Shape 3659">
                <a:extLst>
                  <a:ext uri="{FF2B5EF4-FFF2-40B4-BE49-F238E27FC236}">
                    <a16:creationId xmlns:a16="http://schemas.microsoft.com/office/drawing/2014/main" id="{B08700C6-0EE1-FDD4-F256-CAFE0FCB2C07}"/>
                  </a:ext>
                </a:extLst>
              </p:cNvPr>
              <p:cNvSpPr/>
              <p:nvPr/>
            </p:nvSpPr>
            <p:spPr>
              <a:xfrm>
                <a:off x="1140530" y="3785172"/>
                <a:ext cx="1571" cy="810"/>
              </a:xfrm>
              <a:custGeom>
                <a:avLst/>
                <a:gdLst>
                  <a:gd name="connsiteX0" fmla="*/ 15012 w 15066"/>
                  <a:gd name="connsiteY0" fmla="*/ 7245 h 7766"/>
                  <a:gd name="connsiteX1" fmla="*/ 13941 w 15066"/>
                  <a:gd name="connsiteY1" fmla="*/ 7766 h 7766"/>
                  <a:gd name="connsiteX2" fmla="*/ 7849 w 15066"/>
                  <a:gd name="connsiteY2" fmla="*/ 6559 h 7766"/>
                  <a:gd name="connsiteX3" fmla="*/ 5187 w 15066"/>
                  <a:gd name="connsiteY3" fmla="*/ 4693 h 7766"/>
                  <a:gd name="connsiteX4" fmla="*/ 1839 w 15066"/>
                  <a:gd name="connsiteY4" fmla="*/ 3705 h 7766"/>
                  <a:gd name="connsiteX5" fmla="*/ 0 w 15066"/>
                  <a:gd name="connsiteY5" fmla="*/ 1345 h 7766"/>
                  <a:gd name="connsiteX6" fmla="*/ 3046 w 15066"/>
                  <a:gd name="connsiteY6" fmla="*/ 0 h 7766"/>
                  <a:gd name="connsiteX7" fmla="*/ 7300 w 15066"/>
                  <a:gd name="connsiteY7" fmla="*/ 1427 h 7766"/>
                  <a:gd name="connsiteX8" fmla="*/ 11252 w 15066"/>
                  <a:gd name="connsiteY8" fmla="*/ 3622 h 7766"/>
                  <a:gd name="connsiteX9" fmla="*/ 13475 w 15066"/>
                  <a:gd name="connsiteY9" fmla="*/ 4199 h 7766"/>
                  <a:gd name="connsiteX10" fmla="*/ 15066 w 15066"/>
                  <a:gd name="connsiteY10" fmla="*/ 7272 h 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066" h="7766">
                    <a:moveTo>
                      <a:pt x="15012" y="7245"/>
                    </a:moveTo>
                    <a:lnTo>
                      <a:pt x="13941" y="7766"/>
                    </a:lnTo>
                    <a:lnTo>
                      <a:pt x="7849" y="6559"/>
                    </a:lnTo>
                    <a:lnTo>
                      <a:pt x="5187" y="4693"/>
                    </a:lnTo>
                    <a:lnTo>
                      <a:pt x="1839" y="3705"/>
                    </a:lnTo>
                    <a:lnTo>
                      <a:pt x="0" y="1345"/>
                    </a:lnTo>
                    <a:lnTo>
                      <a:pt x="3046" y="0"/>
                    </a:lnTo>
                    <a:lnTo>
                      <a:pt x="7300" y="1427"/>
                    </a:lnTo>
                    <a:lnTo>
                      <a:pt x="11252" y="3622"/>
                    </a:lnTo>
                    <a:lnTo>
                      <a:pt x="13475" y="4199"/>
                    </a:lnTo>
                    <a:lnTo>
                      <a:pt x="15066" y="72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1" name="Freeform: Shape 3660">
                <a:extLst>
                  <a:ext uri="{FF2B5EF4-FFF2-40B4-BE49-F238E27FC236}">
                    <a16:creationId xmlns:a16="http://schemas.microsoft.com/office/drawing/2014/main" id="{CD8BA6A6-FD27-13BE-F5EA-37A4EB44D551}"/>
                  </a:ext>
                </a:extLst>
              </p:cNvPr>
              <p:cNvSpPr/>
              <p:nvPr/>
            </p:nvSpPr>
            <p:spPr>
              <a:xfrm>
                <a:off x="1141732" y="3781511"/>
                <a:ext cx="756" cy="329"/>
              </a:xfrm>
              <a:custGeom>
                <a:avLst/>
                <a:gdLst>
                  <a:gd name="connsiteX0" fmla="*/ 7245 w 7244"/>
                  <a:gd name="connsiteY0" fmla="*/ 1564 h 3156"/>
                  <a:gd name="connsiteX1" fmla="*/ 6668 w 7244"/>
                  <a:gd name="connsiteY1" fmla="*/ 3156 h 3156"/>
                  <a:gd name="connsiteX2" fmla="*/ 631 w 7244"/>
                  <a:gd name="connsiteY2" fmla="*/ 1921 h 3156"/>
                  <a:gd name="connsiteX3" fmla="*/ 0 w 7244"/>
                  <a:gd name="connsiteY3" fmla="*/ 1235 h 3156"/>
                  <a:gd name="connsiteX4" fmla="*/ 3046 w 7244"/>
                  <a:gd name="connsiteY4" fmla="*/ 0 h 3156"/>
                  <a:gd name="connsiteX5" fmla="*/ 7245 w 7244"/>
                  <a:gd name="connsiteY5" fmla="*/ 1592 h 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44" h="3156">
                    <a:moveTo>
                      <a:pt x="7245" y="1564"/>
                    </a:moveTo>
                    <a:lnTo>
                      <a:pt x="6668" y="3156"/>
                    </a:lnTo>
                    <a:lnTo>
                      <a:pt x="631" y="1921"/>
                    </a:lnTo>
                    <a:lnTo>
                      <a:pt x="0" y="1235"/>
                    </a:lnTo>
                    <a:lnTo>
                      <a:pt x="3046" y="0"/>
                    </a:lnTo>
                    <a:lnTo>
                      <a:pt x="7245" y="1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2" name="Freeform: Shape 3661">
                <a:extLst>
                  <a:ext uri="{FF2B5EF4-FFF2-40B4-BE49-F238E27FC236}">
                    <a16:creationId xmlns:a16="http://schemas.microsoft.com/office/drawing/2014/main" id="{64C28314-AF56-829C-E611-85816B78B9D7}"/>
                  </a:ext>
                </a:extLst>
              </p:cNvPr>
              <p:cNvSpPr/>
              <p:nvPr/>
            </p:nvSpPr>
            <p:spPr>
              <a:xfrm>
                <a:off x="1139396" y="3787865"/>
                <a:ext cx="449" cy="346"/>
              </a:xfrm>
              <a:custGeom>
                <a:avLst/>
                <a:gdLst>
                  <a:gd name="connsiteX0" fmla="*/ 4309 w 4308"/>
                  <a:gd name="connsiteY0" fmla="*/ 2388 h 3320"/>
                  <a:gd name="connsiteX1" fmla="*/ 1290 w 4308"/>
                  <a:gd name="connsiteY1" fmla="*/ 3321 h 3320"/>
                  <a:gd name="connsiteX2" fmla="*/ 0 w 4308"/>
                  <a:gd name="connsiteY2" fmla="*/ 1811 h 3320"/>
                  <a:gd name="connsiteX3" fmla="*/ 2058 w 4308"/>
                  <a:gd name="connsiteY3" fmla="*/ 0 h 3320"/>
                  <a:gd name="connsiteX4" fmla="*/ 4281 w 4308"/>
                  <a:gd name="connsiteY4" fmla="*/ 2360 h 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3320">
                    <a:moveTo>
                      <a:pt x="4309" y="2388"/>
                    </a:moveTo>
                    <a:lnTo>
                      <a:pt x="1290" y="3321"/>
                    </a:lnTo>
                    <a:lnTo>
                      <a:pt x="0" y="1811"/>
                    </a:lnTo>
                    <a:lnTo>
                      <a:pt x="2058" y="0"/>
                    </a:lnTo>
                    <a:lnTo>
                      <a:pt x="4281" y="23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3" name="Freeform: Shape 3662">
                <a:extLst>
                  <a:ext uri="{FF2B5EF4-FFF2-40B4-BE49-F238E27FC236}">
                    <a16:creationId xmlns:a16="http://schemas.microsoft.com/office/drawing/2014/main" id="{2B295E4E-1CBA-471A-E691-401DB2D01904}"/>
                  </a:ext>
                </a:extLst>
              </p:cNvPr>
              <p:cNvSpPr/>
              <p:nvPr/>
            </p:nvSpPr>
            <p:spPr>
              <a:xfrm>
                <a:off x="1401964" y="3722736"/>
                <a:ext cx="409" cy="412"/>
              </a:xfrm>
              <a:custGeom>
                <a:avLst/>
                <a:gdLst>
                  <a:gd name="connsiteX0" fmla="*/ 3842 w 3924"/>
                  <a:gd name="connsiteY0" fmla="*/ 3430 h 3951"/>
                  <a:gd name="connsiteX1" fmla="*/ 2113 w 3924"/>
                  <a:gd name="connsiteY1" fmla="*/ 3952 h 3951"/>
                  <a:gd name="connsiteX2" fmla="*/ 0 w 3924"/>
                  <a:gd name="connsiteY2" fmla="*/ 905 h 3951"/>
                  <a:gd name="connsiteX3" fmla="*/ 851 w 3924"/>
                  <a:gd name="connsiteY3" fmla="*/ 0 h 3951"/>
                  <a:gd name="connsiteX4" fmla="*/ 3924 w 3924"/>
                  <a:gd name="connsiteY4" fmla="*/ 1564 h 3951"/>
                  <a:gd name="connsiteX5" fmla="*/ 3842 w 3924"/>
                  <a:gd name="connsiteY5" fmla="*/ 3458 h 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4" h="3951">
                    <a:moveTo>
                      <a:pt x="3842" y="3430"/>
                    </a:moveTo>
                    <a:lnTo>
                      <a:pt x="2113" y="3952"/>
                    </a:lnTo>
                    <a:lnTo>
                      <a:pt x="0" y="905"/>
                    </a:lnTo>
                    <a:lnTo>
                      <a:pt x="851" y="0"/>
                    </a:lnTo>
                    <a:lnTo>
                      <a:pt x="3924" y="1564"/>
                    </a:lnTo>
                    <a:lnTo>
                      <a:pt x="3842" y="34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4" name="Freeform: Shape 3663">
                <a:extLst>
                  <a:ext uri="{FF2B5EF4-FFF2-40B4-BE49-F238E27FC236}">
                    <a16:creationId xmlns:a16="http://schemas.microsoft.com/office/drawing/2014/main" id="{C4A74247-DDC0-2065-8B99-17D370784B51}"/>
                  </a:ext>
                </a:extLst>
              </p:cNvPr>
              <p:cNvSpPr/>
              <p:nvPr/>
            </p:nvSpPr>
            <p:spPr>
              <a:xfrm>
                <a:off x="1404620" y="3726297"/>
                <a:ext cx="424" cy="323"/>
              </a:xfrm>
              <a:custGeom>
                <a:avLst/>
                <a:gdLst>
                  <a:gd name="connsiteX0" fmla="*/ 3677 w 4061"/>
                  <a:gd name="connsiteY0" fmla="*/ 0 h 3101"/>
                  <a:gd name="connsiteX1" fmla="*/ 4062 w 4061"/>
                  <a:gd name="connsiteY1" fmla="*/ 3101 h 3101"/>
                  <a:gd name="connsiteX2" fmla="*/ 1372 w 4061"/>
                  <a:gd name="connsiteY2" fmla="*/ 3101 h 3101"/>
                  <a:gd name="connsiteX3" fmla="*/ 0 w 4061"/>
                  <a:gd name="connsiteY3" fmla="*/ 1070 h 3101"/>
                  <a:gd name="connsiteX4" fmla="*/ 3677 w 4061"/>
                  <a:gd name="connsiteY4" fmla="*/ 0 h 3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3101">
                    <a:moveTo>
                      <a:pt x="3677" y="0"/>
                    </a:moveTo>
                    <a:lnTo>
                      <a:pt x="4062" y="3101"/>
                    </a:lnTo>
                    <a:lnTo>
                      <a:pt x="1372" y="3101"/>
                    </a:lnTo>
                    <a:cubicBezTo>
                      <a:pt x="1372" y="3101"/>
                      <a:pt x="0" y="1070"/>
                      <a:pt x="0" y="1070"/>
                    </a:cubicBezTo>
                    <a:lnTo>
                      <a:pt x="367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5" name="Freeform: Shape 3664">
                <a:extLst>
                  <a:ext uri="{FF2B5EF4-FFF2-40B4-BE49-F238E27FC236}">
                    <a16:creationId xmlns:a16="http://schemas.microsoft.com/office/drawing/2014/main" id="{4434F20D-C6B8-5562-ECAB-268329EF6FAF}"/>
                  </a:ext>
                </a:extLst>
              </p:cNvPr>
              <p:cNvSpPr/>
              <p:nvPr/>
            </p:nvSpPr>
            <p:spPr>
              <a:xfrm>
                <a:off x="1124990" y="3786612"/>
                <a:ext cx="6603" cy="2602"/>
              </a:xfrm>
              <a:custGeom>
                <a:avLst/>
                <a:gdLst>
                  <a:gd name="connsiteX0" fmla="*/ 82 w 63310"/>
                  <a:gd name="connsiteY0" fmla="*/ 8013 h 24945"/>
                  <a:gd name="connsiteX1" fmla="*/ 905 w 63310"/>
                  <a:gd name="connsiteY1" fmla="*/ 4967 h 24945"/>
                  <a:gd name="connsiteX2" fmla="*/ 4583 w 63310"/>
                  <a:gd name="connsiteY2" fmla="*/ 2196 h 24945"/>
                  <a:gd name="connsiteX3" fmla="*/ 11938 w 63310"/>
                  <a:gd name="connsiteY3" fmla="*/ 2278 h 24945"/>
                  <a:gd name="connsiteX4" fmla="*/ 13200 w 63310"/>
                  <a:gd name="connsiteY4" fmla="*/ 686 h 24945"/>
                  <a:gd name="connsiteX5" fmla="*/ 16054 w 63310"/>
                  <a:gd name="connsiteY5" fmla="*/ 0 h 24945"/>
                  <a:gd name="connsiteX6" fmla="*/ 20088 w 63310"/>
                  <a:gd name="connsiteY6" fmla="*/ 1070 h 24945"/>
                  <a:gd name="connsiteX7" fmla="*/ 24013 w 63310"/>
                  <a:gd name="connsiteY7" fmla="*/ 1070 h 24945"/>
                  <a:gd name="connsiteX8" fmla="*/ 29831 w 63310"/>
                  <a:gd name="connsiteY8" fmla="*/ 1921 h 24945"/>
                  <a:gd name="connsiteX9" fmla="*/ 31120 w 63310"/>
                  <a:gd name="connsiteY9" fmla="*/ 1619 h 24945"/>
                  <a:gd name="connsiteX10" fmla="*/ 36966 w 63310"/>
                  <a:gd name="connsiteY10" fmla="*/ 3513 h 24945"/>
                  <a:gd name="connsiteX11" fmla="*/ 38886 w 63310"/>
                  <a:gd name="connsiteY11" fmla="*/ 3156 h 24945"/>
                  <a:gd name="connsiteX12" fmla="*/ 43442 w 63310"/>
                  <a:gd name="connsiteY12" fmla="*/ 3705 h 24945"/>
                  <a:gd name="connsiteX13" fmla="*/ 46653 w 63310"/>
                  <a:gd name="connsiteY13" fmla="*/ 7712 h 24945"/>
                  <a:gd name="connsiteX14" fmla="*/ 49315 w 63310"/>
                  <a:gd name="connsiteY14" fmla="*/ 7986 h 24945"/>
                  <a:gd name="connsiteX15" fmla="*/ 50687 w 63310"/>
                  <a:gd name="connsiteY15" fmla="*/ 9111 h 24945"/>
                  <a:gd name="connsiteX16" fmla="*/ 55298 w 63310"/>
                  <a:gd name="connsiteY16" fmla="*/ 9852 h 24945"/>
                  <a:gd name="connsiteX17" fmla="*/ 59688 w 63310"/>
                  <a:gd name="connsiteY17" fmla="*/ 11581 h 24945"/>
                  <a:gd name="connsiteX18" fmla="*/ 63311 w 63310"/>
                  <a:gd name="connsiteY18" fmla="*/ 18305 h 24945"/>
                  <a:gd name="connsiteX19" fmla="*/ 63311 w 63310"/>
                  <a:gd name="connsiteY19" fmla="*/ 19101 h 24945"/>
                  <a:gd name="connsiteX20" fmla="*/ 59469 w 63310"/>
                  <a:gd name="connsiteY20" fmla="*/ 20418 h 24945"/>
                  <a:gd name="connsiteX21" fmla="*/ 57630 w 63310"/>
                  <a:gd name="connsiteY21" fmla="*/ 19951 h 24945"/>
                  <a:gd name="connsiteX22" fmla="*/ 54035 w 63310"/>
                  <a:gd name="connsiteY22" fmla="*/ 20747 h 24945"/>
                  <a:gd name="connsiteX23" fmla="*/ 52087 w 63310"/>
                  <a:gd name="connsiteY23" fmla="*/ 20225 h 24945"/>
                  <a:gd name="connsiteX24" fmla="*/ 50193 w 63310"/>
                  <a:gd name="connsiteY24" fmla="*/ 18250 h 24945"/>
                  <a:gd name="connsiteX25" fmla="*/ 47778 w 63310"/>
                  <a:gd name="connsiteY25" fmla="*/ 17372 h 24945"/>
                  <a:gd name="connsiteX26" fmla="*/ 46708 w 63310"/>
                  <a:gd name="connsiteY26" fmla="*/ 18387 h 24945"/>
                  <a:gd name="connsiteX27" fmla="*/ 44156 w 63310"/>
                  <a:gd name="connsiteY27" fmla="*/ 18085 h 24945"/>
                  <a:gd name="connsiteX28" fmla="*/ 41686 w 63310"/>
                  <a:gd name="connsiteY28" fmla="*/ 21131 h 24945"/>
                  <a:gd name="connsiteX29" fmla="*/ 39106 w 63310"/>
                  <a:gd name="connsiteY29" fmla="*/ 20829 h 24945"/>
                  <a:gd name="connsiteX30" fmla="*/ 37707 w 63310"/>
                  <a:gd name="connsiteY30" fmla="*/ 19292 h 24945"/>
                  <a:gd name="connsiteX31" fmla="*/ 35813 w 63310"/>
                  <a:gd name="connsiteY31" fmla="*/ 20280 h 24945"/>
                  <a:gd name="connsiteX32" fmla="*/ 35347 w 63310"/>
                  <a:gd name="connsiteY32" fmla="*/ 22750 h 24945"/>
                  <a:gd name="connsiteX33" fmla="*/ 35978 w 63310"/>
                  <a:gd name="connsiteY33" fmla="*/ 24946 h 24945"/>
                  <a:gd name="connsiteX34" fmla="*/ 33974 w 63310"/>
                  <a:gd name="connsiteY34" fmla="*/ 24671 h 24945"/>
                  <a:gd name="connsiteX35" fmla="*/ 30626 w 63310"/>
                  <a:gd name="connsiteY35" fmla="*/ 21680 h 24945"/>
                  <a:gd name="connsiteX36" fmla="*/ 28211 w 63310"/>
                  <a:gd name="connsiteY36" fmla="*/ 20390 h 24945"/>
                  <a:gd name="connsiteX37" fmla="*/ 25138 w 63310"/>
                  <a:gd name="connsiteY37" fmla="*/ 20994 h 24945"/>
                  <a:gd name="connsiteX38" fmla="*/ 24013 w 63310"/>
                  <a:gd name="connsiteY38" fmla="*/ 20363 h 24945"/>
                  <a:gd name="connsiteX39" fmla="*/ 18497 w 63310"/>
                  <a:gd name="connsiteY39" fmla="*/ 20555 h 24945"/>
                  <a:gd name="connsiteX40" fmla="*/ 15615 w 63310"/>
                  <a:gd name="connsiteY40" fmla="*/ 17810 h 24945"/>
                  <a:gd name="connsiteX41" fmla="*/ 15478 w 63310"/>
                  <a:gd name="connsiteY41" fmla="*/ 15698 h 24945"/>
                  <a:gd name="connsiteX42" fmla="*/ 12486 w 63310"/>
                  <a:gd name="connsiteY42" fmla="*/ 15012 h 24945"/>
                  <a:gd name="connsiteX43" fmla="*/ 8562 w 63310"/>
                  <a:gd name="connsiteY43" fmla="*/ 9633 h 24945"/>
                  <a:gd name="connsiteX44" fmla="*/ 3760 w 63310"/>
                  <a:gd name="connsiteY44" fmla="*/ 10099 h 24945"/>
                  <a:gd name="connsiteX45" fmla="*/ 0 w 63310"/>
                  <a:gd name="connsiteY45" fmla="*/ 7959 h 2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3310" h="24945">
                    <a:moveTo>
                      <a:pt x="82" y="8013"/>
                    </a:moveTo>
                    <a:lnTo>
                      <a:pt x="905" y="4967"/>
                    </a:lnTo>
                    <a:lnTo>
                      <a:pt x="4583" y="2196"/>
                    </a:lnTo>
                    <a:lnTo>
                      <a:pt x="11938" y="2278"/>
                    </a:lnTo>
                    <a:lnTo>
                      <a:pt x="13200" y="686"/>
                    </a:lnTo>
                    <a:lnTo>
                      <a:pt x="16054" y="0"/>
                    </a:lnTo>
                    <a:lnTo>
                      <a:pt x="20088" y="1070"/>
                    </a:lnTo>
                    <a:lnTo>
                      <a:pt x="24013" y="1070"/>
                    </a:lnTo>
                    <a:cubicBezTo>
                      <a:pt x="24013" y="1070"/>
                      <a:pt x="29831" y="1921"/>
                      <a:pt x="29831" y="1921"/>
                    </a:cubicBezTo>
                    <a:lnTo>
                      <a:pt x="31120" y="1619"/>
                    </a:lnTo>
                    <a:lnTo>
                      <a:pt x="36966" y="3513"/>
                    </a:lnTo>
                    <a:lnTo>
                      <a:pt x="38886" y="3156"/>
                    </a:lnTo>
                    <a:lnTo>
                      <a:pt x="43442" y="3705"/>
                    </a:lnTo>
                    <a:lnTo>
                      <a:pt x="46653" y="7712"/>
                    </a:lnTo>
                    <a:lnTo>
                      <a:pt x="49315" y="7986"/>
                    </a:lnTo>
                    <a:lnTo>
                      <a:pt x="50687" y="9111"/>
                    </a:lnTo>
                    <a:lnTo>
                      <a:pt x="55298" y="9852"/>
                    </a:lnTo>
                    <a:lnTo>
                      <a:pt x="59688" y="11581"/>
                    </a:lnTo>
                    <a:lnTo>
                      <a:pt x="63311" y="18305"/>
                    </a:lnTo>
                    <a:lnTo>
                      <a:pt x="63311" y="19101"/>
                    </a:lnTo>
                    <a:cubicBezTo>
                      <a:pt x="63311" y="19101"/>
                      <a:pt x="59469" y="20418"/>
                      <a:pt x="59469" y="20418"/>
                    </a:cubicBezTo>
                    <a:lnTo>
                      <a:pt x="57630" y="19951"/>
                    </a:lnTo>
                    <a:lnTo>
                      <a:pt x="54035" y="20747"/>
                    </a:lnTo>
                    <a:lnTo>
                      <a:pt x="52087" y="20225"/>
                    </a:lnTo>
                    <a:lnTo>
                      <a:pt x="50193" y="18250"/>
                    </a:lnTo>
                    <a:lnTo>
                      <a:pt x="47778" y="17372"/>
                    </a:lnTo>
                    <a:lnTo>
                      <a:pt x="46708" y="18387"/>
                    </a:lnTo>
                    <a:lnTo>
                      <a:pt x="44156" y="18085"/>
                    </a:lnTo>
                    <a:lnTo>
                      <a:pt x="41686" y="21131"/>
                    </a:lnTo>
                    <a:lnTo>
                      <a:pt x="39106" y="20829"/>
                    </a:lnTo>
                    <a:lnTo>
                      <a:pt x="37707" y="19292"/>
                    </a:lnTo>
                    <a:lnTo>
                      <a:pt x="35813" y="20280"/>
                    </a:lnTo>
                    <a:lnTo>
                      <a:pt x="35347" y="22750"/>
                    </a:lnTo>
                    <a:lnTo>
                      <a:pt x="35978" y="24946"/>
                    </a:lnTo>
                    <a:lnTo>
                      <a:pt x="33974" y="24671"/>
                    </a:lnTo>
                    <a:lnTo>
                      <a:pt x="30626" y="21680"/>
                    </a:lnTo>
                    <a:lnTo>
                      <a:pt x="28211" y="20390"/>
                    </a:lnTo>
                    <a:lnTo>
                      <a:pt x="25138" y="20994"/>
                    </a:lnTo>
                    <a:lnTo>
                      <a:pt x="24013" y="20363"/>
                    </a:lnTo>
                    <a:lnTo>
                      <a:pt x="18497" y="20555"/>
                    </a:lnTo>
                    <a:lnTo>
                      <a:pt x="15615" y="17810"/>
                    </a:lnTo>
                    <a:lnTo>
                      <a:pt x="15478" y="15698"/>
                    </a:lnTo>
                    <a:lnTo>
                      <a:pt x="12486" y="15012"/>
                    </a:lnTo>
                    <a:lnTo>
                      <a:pt x="8562" y="9633"/>
                    </a:lnTo>
                    <a:lnTo>
                      <a:pt x="3760" y="10099"/>
                    </a:lnTo>
                    <a:lnTo>
                      <a:pt x="0" y="79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6" name="Freeform: Shape 3665">
                <a:extLst>
                  <a:ext uri="{FF2B5EF4-FFF2-40B4-BE49-F238E27FC236}">
                    <a16:creationId xmlns:a16="http://schemas.microsoft.com/office/drawing/2014/main" id="{E17C1BAB-2C38-522A-0F78-D86B2D757B3F}"/>
                  </a:ext>
                </a:extLst>
              </p:cNvPr>
              <p:cNvSpPr/>
              <p:nvPr/>
            </p:nvSpPr>
            <p:spPr>
              <a:xfrm>
                <a:off x="1472629" y="3735745"/>
                <a:ext cx="13250" cy="15010"/>
              </a:xfrm>
              <a:custGeom>
                <a:avLst/>
                <a:gdLst>
                  <a:gd name="connsiteX0" fmla="*/ 124811 w 127033"/>
                  <a:gd name="connsiteY0" fmla="*/ 42646 h 143911"/>
                  <a:gd name="connsiteX1" fmla="*/ 117538 w 127033"/>
                  <a:gd name="connsiteY1" fmla="*/ 48327 h 143911"/>
                  <a:gd name="connsiteX2" fmla="*/ 60951 w 127033"/>
                  <a:gd name="connsiteY2" fmla="*/ 65314 h 143911"/>
                  <a:gd name="connsiteX3" fmla="*/ 74700 w 127033"/>
                  <a:gd name="connsiteY3" fmla="*/ 82301 h 143911"/>
                  <a:gd name="connsiteX4" fmla="*/ 88613 w 127033"/>
                  <a:gd name="connsiteY4" fmla="*/ 99810 h 143911"/>
                  <a:gd name="connsiteX5" fmla="*/ 79969 w 127033"/>
                  <a:gd name="connsiteY5" fmla="*/ 105409 h 143911"/>
                  <a:gd name="connsiteX6" fmla="*/ 74096 w 127033"/>
                  <a:gd name="connsiteY6" fmla="*/ 116523 h 143911"/>
                  <a:gd name="connsiteX7" fmla="*/ 52910 w 127033"/>
                  <a:gd name="connsiteY7" fmla="*/ 121490 h 143911"/>
                  <a:gd name="connsiteX8" fmla="*/ 45253 w 127033"/>
                  <a:gd name="connsiteY8" fmla="*/ 133455 h 143911"/>
                  <a:gd name="connsiteX9" fmla="*/ 36747 w 127033"/>
                  <a:gd name="connsiteY9" fmla="*/ 140783 h 143911"/>
                  <a:gd name="connsiteX10" fmla="*/ 31340 w 127033"/>
                  <a:gd name="connsiteY10" fmla="*/ 143911 h 143911"/>
                  <a:gd name="connsiteX11" fmla="*/ 0 w 127033"/>
                  <a:gd name="connsiteY11" fmla="*/ 138368 h 143911"/>
                  <a:gd name="connsiteX12" fmla="*/ 604 w 127033"/>
                  <a:gd name="connsiteY12" fmla="*/ 132111 h 143911"/>
                  <a:gd name="connsiteX13" fmla="*/ 5708 w 127033"/>
                  <a:gd name="connsiteY13" fmla="*/ 112708 h 143911"/>
                  <a:gd name="connsiteX14" fmla="*/ 6723 w 127033"/>
                  <a:gd name="connsiteY14" fmla="*/ 98850 h 143911"/>
                  <a:gd name="connsiteX15" fmla="*/ 13530 w 127033"/>
                  <a:gd name="connsiteY15" fmla="*/ 82301 h 143911"/>
                  <a:gd name="connsiteX16" fmla="*/ 15258 w 127033"/>
                  <a:gd name="connsiteY16" fmla="*/ 65616 h 143911"/>
                  <a:gd name="connsiteX17" fmla="*/ 17399 w 127033"/>
                  <a:gd name="connsiteY17" fmla="*/ 56231 h 143911"/>
                  <a:gd name="connsiteX18" fmla="*/ 17564 w 127033"/>
                  <a:gd name="connsiteY18" fmla="*/ 34496 h 143911"/>
                  <a:gd name="connsiteX19" fmla="*/ 18305 w 127033"/>
                  <a:gd name="connsiteY19" fmla="*/ 26016 h 143911"/>
                  <a:gd name="connsiteX20" fmla="*/ 20994 w 127033"/>
                  <a:gd name="connsiteY20" fmla="*/ 23958 h 143911"/>
                  <a:gd name="connsiteX21" fmla="*/ 24644 w 127033"/>
                  <a:gd name="connsiteY21" fmla="*/ 21982 h 143911"/>
                  <a:gd name="connsiteX22" fmla="*/ 28294 w 127033"/>
                  <a:gd name="connsiteY22" fmla="*/ 22805 h 143911"/>
                  <a:gd name="connsiteX23" fmla="*/ 34030 w 127033"/>
                  <a:gd name="connsiteY23" fmla="*/ 29831 h 143911"/>
                  <a:gd name="connsiteX24" fmla="*/ 43991 w 127033"/>
                  <a:gd name="connsiteY24" fmla="*/ 35072 h 143911"/>
                  <a:gd name="connsiteX25" fmla="*/ 55380 w 127033"/>
                  <a:gd name="connsiteY25" fmla="*/ 36554 h 143911"/>
                  <a:gd name="connsiteX26" fmla="*/ 112791 w 127033"/>
                  <a:gd name="connsiteY26" fmla="*/ 0 h 143911"/>
                  <a:gd name="connsiteX27" fmla="*/ 120886 w 127033"/>
                  <a:gd name="connsiteY27" fmla="*/ 28980 h 143911"/>
                  <a:gd name="connsiteX28" fmla="*/ 118966 w 127033"/>
                  <a:gd name="connsiteY28" fmla="*/ 31999 h 143911"/>
                  <a:gd name="connsiteX29" fmla="*/ 119707 w 127033"/>
                  <a:gd name="connsiteY29" fmla="*/ 35648 h 143911"/>
                  <a:gd name="connsiteX30" fmla="*/ 125771 w 127033"/>
                  <a:gd name="connsiteY30" fmla="*/ 36170 h 143911"/>
                  <a:gd name="connsiteX31" fmla="*/ 127034 w 127033"/>
                  <a:gd name="connsiteY31" fmla="*/ 37926 h 143911"/>
                  <a:gd name="connsiteX32" fmla="*/ 124783 w 127033"/>
                  <a:gd name="connsiteY32" fmla="*/ 42701 h 1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33" h="143911">
                    <a:moveTo>
                      <a:pt x="124811" y="42646"/>
                    </a:moveTo>
                    <a:lnTo>
                      <a:pt x="117538" y="48327"/>
                    </a:lnTo>
                    <a:lnTo>
                      <a:pt x="60951" y="65314"/>
                    </a:lnTo>
                    <a:lnTo>
                      <a:pt x="74700" y="82301"/>
                    </a:lnTo>
                    <a:lnTo>
                      <a:pt x="88613" y="99810"/>
                    </a:lnTo>
                    <a:lnTo>
                      <a:pt x="79969" y="105409"/>
                    </a:lnTo>
                    <a:lnTo>
                      <a:pt x="74096" y="116523"/>
                    </a:lnTo>
                    <a:lnTo>
                      <a:pt x="52910" y="121490"/>
                    </a:lnTo>
                    <a:lnTo>
                      <a:pt x="45253" y="133455"/>
                    </a:lnTo>
                    <a:lnTo>
                      <a:pt x="36747" y="140783"/>
                    </a:lnTo>
                    <a:lnTo>
                      <a:pt x="31340" y="143911"/>
                    </a:lnTo>
                    <a:lnTo>
                      <a:pt x="0" y="138368"/>
                    </a:lnTo>
                    <a:lnTo>
                      <a:pt x="604" y="132111"/>
                    </a:lnTo>
                    <a:lnTo>
                      <a:pt x="5708" y="112708"/>
                    </a:lnTo>
                    <a:lnTo>
                      <a:pt x="6723" y="98850"/>
                    </a:lnTo>
                    <a:lnTo>
                      <a:pt x="13530" y="82301"/>
                    </a:lnTo>
                    <a:lnTo>
                      <a:pt x="15258" y="65616"/>
                    </a:lnTo>
                    <a:lnTo>
                      <a:pt x="17399" y="56231"/>
                    </a:lnTo>
                    <a:lnTo>
                      <a:pt x="17564" y="34496"/>
                    </a:lnTo>
                    <a:lnTo>
                      <a:pt x="18305" y="26016"/>
                    </a:lnTo>
                    <a:lnTo>
                      <a:pt x="20994" y="23958"/>
                    </a:lnTo>
                    <a:lnTo>
                      <a:pt x="24644" y="21982"/>
                    </a:lnTo>
                    <a:lnTo>
                      <a:pt x="28294" y="22805"/>
                    </a:lnTo>
                    <a:lnTo>
                      <a:pt x="34030" y="29831"/>
                    </a:lnTo>
                    <a:lnTo>
                      <a:pt x="43991" y="35072"/>
                    </a:lnTo>
                    <a:lnTo>
                      <a:pt x="55380" y="36554"/>
                    </a:lnTo>
                    <a:lnTo>
                      <a:pt x="112791" y="0"/>
                    </a:lnTo>
                    <a:lnTo>
                      <a:pt x="120886" y="28980"/>
                    </a:lnTo>
                    <a:lnTo>
                      <a:pt x="118966" y="31999"/>
                    </a:lnTo>
                    <a:lnTo>
                      <a:pt x="119707" y="35648"/>
                    </a:lnTo>
                    <a:lnTo>
                      <a:pt x="125771" y="36170"/>
                    </a:lnTo>
                    <a:lnTo>
                      <a:pt x="127034" y="37926"/>
                    </a:lnTo>
                    <a:lnTo>
                      <a:pt x="124783" y="42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7" name="Freeform: Shape 3666">
                <a:extLst>
                  <a:ext uri="{FF2B5EF4-FFF2-40B4-BE49-F238E27FC236}">
                    <a16:creationId xmlns:a16="http://schemas.microsoft.com/office/drawing/2014/main" id="{03316021-0152-C82F-D0C4-BEF81647D665}"/>
                  </a:ext>
                </a:extLst>
              </p:cNvPr>
              <p:cNvSpPr/>
              <p:nvPr/>
            </p:nvSpPr>
            <p:spPr>
              <a:xfrm>
                <a:off x="1469483" y="3830271"/>
                <a:ext cx="24476" cy="28535"/>
              </a:xfrm>
              <a:custGeom>
                <a:avLst/>
                <a:gdLst>
                  <a:gd name="connsiteX0" fmla="*/ 135980 w 234664"/>
                  <a:gd name="connsiteY0" fmla="*/ 29282 h 273579"/>
                  <a:gd name="connsiteX1" fmla="*/ 163121 w 234664"/>
                  <a:gd name="connsiteY1" fmla="*/ 34880 h 273579"/>
                  <a:gd name="connsiteX2" fmla="*/ 165783 w 234664"/>
                  <a:gd name="connsiteY2" fmla="*/ 34167 h 273579"/>
                  <a:gd name="connsiteX3" fmla="*/ 175965 w 234664"/>
                  <a:gd name="connsiteY3" fmla="*/ 21680 h 273579"/>
                  <a:gd name="connsiteX4" fmla="*/ 200608 w 234664"/>
                  <a:gd name="connsiteY4" fmla="*/ 10483 h 273579"/>
                  <a:gd name="connsiteX5" fmla="*/ 213973 w 234664"/>
                  <a:gd name="connsiteY5" fmla="*/ 19677 h 273579"/>
                  <a:gd name="connsiteX6" fmla="*/ 234665 w 234664"/>
                  <a:gd name="connsiteY6" fmla="*/ 18798 h 273579"/>
                  <a:gd name="connsiteX7" fmla="*/ 218117 w 234664"/>
                  <a:gd name="connsiteY7" fmla="*/ 42454 h 273579"/>
                  <a:gd name="connsiteX8" fmla="*/ 207798 w 234664"/>
                  <a:gd name="connsiteY8" fmla="*/ 54090 h 273579"/>
                  <a:gd name="connsiteX9" fmla="*/ 207798 w 234664"/>
                  <a:gd name="connsiteY9" fmla="*/ 120941 h 273579"/>
                  <a:gd name="connsiteX10" fmla="*/ 207798 w 234664"/>
                  <a:gd name="connsiteY10" fmla="*/ 145036 h 273579"/>
                  <a:gd name="connsiteX11" fmla="*/ 207798 w 234664"/>
                  <a:gd name="connsiteY11" fmla="*/ 159032 h 273579"/>
                  <a:gd name="connsiteX12" fmla="*/ 214028 w 234664"/>
                  <a:gd name="connsiteY12" fmla="*/ 168967 h 273579"/>
                  <a:gd name="connsiteX13" fmla="*/ 220065 w 234664"/>
                  <a:gd name="connsiteY13" fmla="*/ 178050 h 273579"/>
                  <a:gd name="connsiteX14" fmla="*/ 224484 w 234664"/>
                  <a:gd name="connsiteY14" fmla="*/ 184746 h 273579"/>
                  <a:gd name="connsiteX15" fmla="*/ 217267 w 234664"/>
                  <a:gd name="connsiteY15" fmla="*/ 193226 h 273579"/>
                  <a:gd name="connsiteX16" fmla="*/ 205301 w 234664"/>
                  <a:gd name="connsiteY16" fmla="*/ 196848 h 273579"/>
                  <a:gd name="connsiteX17" fmla="*/ 206015 w 234664"/>
                  <a:gd name="connsiteY17" fmla="*/ 202090 h 273579"/>
                  <a:gd name="connsiteX18" fmla="*/ 206234 w 234664"/>
                  <a:gd name="connsiteY18" fmla="*/ 203627 h 273579"/>
                  <a:gd name="connsiteX19" fmla="*/ 201926 w 234664"/>
                  <a:gd name="connsiteY19" fmla="*/ 204038 h 273579"/>
                  <a:gd name="connsiteX20" fmla="*/ 201816 w 234664"/>
                  <a:gd name="connsiteY20" fmla="*/ 206920 h 273579"/>
                  <a:gd name="connsiteX21" fmla="*/ 197562 w 234664"/>
                  <a:gd name="connsiteY21" fmla="*/ 210350 h 273579"/>
                  <a:gd name="connsiteX22" fmla="*/ 191003 w 234664"/>
                  <a:gd name="connsiteY22" fmla="*/ 211338 h 273579"/>
                  <a:gd name="connsiteX23" fmla="*/ 185075 w 234664"/>
                  <a:gd name="connsiteY23" fmla="*/ 215537 h 273579"/>
                  <a:gd name="connsiteX24" fmla="*/ 184746 w 234664"/>
                  <a:gd name="connsiteY24" fmla="*/ 217156 h 273579"/>
                  <a:gd name="connsiteX25" fmla="*/ 181727 w 234664"/>
                  <a:gd name="connsiteY25" fmla="*/ 232031 h 273579"/>
                  <a:gd name="connsiteX26" fmla="*/ 177364 w 234664"/>
                  <a:gd name="connsiteY26" fmla="*/ 235296 h 273579"/>
                  <a:gd name="connsiteX27" fmla="*/ 173358 w 234664"/>
                  <a:gd name="connsiteY27" fmla="*/ 248606 h 273579"/>
                  <a:gd name="connsiteX28" fmla="*/ 165070 w 234664"/>
                  <a:gd name="connsiteY28" fmla="*/ 265923 h 273579"/>
                  <a:gd name="connsiteX29" fmla="*/ 160486 w 234664"/>
                  <a:gd name="connsiteY29" fmla="*/ 273003 h 273579"/>
                  <a:gd name="connsiteX30" fmla="*/ 156946 w 234664"/>
                  <a:gd name="connsiteY30" fmla="*/ 271082 h 273579"/>
                  <a:gd name="connsiteX31" fmla="*/ 155080 w 234664"/>
                  <a:gd name="connsiteY31" fmla="*/ 273579 h 273579"/>
                  <a:gd name="connsiteX32" fmla="*/ 116139 w 234664"/>
                  <a:gd name="connsiteY32" fmla="*/ 246218 h 273579"/>
                  <a:gd name="connsiteX33" fmla="*/ 108729 w 234664"/>
                  <a:gd name="connsiteY33" fmla="*/ 238864 h 273579"/>
                  <a:gd name="connsiteX34" fmla="*/ 110540 w 234664"/>
                  <a:gd name="connsiteY34" fmla="*/ 231921 h 273579"/>
                  <a:gd name="connsiteX35" fmla="*/ 107495 w 234664"/>
                  <a:gd name="connsiteY35" fmla="*/ 224731 h 273579"/>
                  <a:gd name="connsiteX36" fmla="*/ 25495 w 234664"/>
                  <a:gd name="connsiteY36" fmla="*/ 178105 h 273579"/>
                  <a:gd name="connsiteX37" fmla="*/ 9495 w 234664"/>
                  <a:gd name="connsiteY37" fmla="*/ 169021 h 273579"/>
                  <a:gd name="connsiteX38" fmla="*/ 110 w 234664"/>
                  <a:gd name="connsiteY38" fmla="*/ 165481 h 273579"/>
                  <a:gd name="connsiteX39" fmla="*/ 851 w 234664"/>
                  <a:gd name="connsiteY39" fmla="*/ 151376 h 273579"/>
                  <a:gd name="connsiteX40" fmla="*/ 1180 w 234664"/>
                  <a:gd name="connsiteY40" fmla="*/ 145118 h 273579"/>
                  <a:gd name="connsiteX41" fmla="*/ 1427 w 234664"/>
                  <a:gd name="connsiteY41" fmla="*/ 140563 h 273579"/>
                  <a:gd name="connsiteX42" fmla="*/ 0 w 234664"/>
                  <a:gd name="connsiteY42" fmla="*/ 132577 h 273579"/>
                  <a:gd name="connsiteX43" fmla="*/ 4885 w 234664"/>
                  <a:gd name="connsiteY43" fmla="*/ 125360 h 273579"/>
                  <a:gd name="connsiteX44" fmla="*/ 6257 w 234664"/>
                  <a:gd name="connsiteY44" fmla="*/ 121023 h 273579"/>
                  <a:gd name="connsiteX45" fmla="*/ 6861 w 234664"/>
                  <a:gd name="connsiteY45" fmla="*/ 119130 h 273579"/>
                  <a:gd name="connsiteX46" fmla="*/ 14710 w 234664"/>
                  <a:gd name="connsiteY46" fmla="*/ 110925 h 273579"/>
                  <a:gd name="connsiteX47" fmla="*/ 17536 w 234664"/>
                  <a:gd name="connsiteY47" fmla="*/ 104338 h 273579"/>
                  <a:gd name="connsiteX48" fmla="*/ 25769 w 234664"/>
                  <a:gd name="connsiteY48" fmla="*/ 99206 h 273579"/>
                  <a:gd name="connsiteX49" fmla="*/ 25302 w 234664"/>
                  <a:gd name="connsiteY49" fmla="*/ 94376 h 273579"/>
                  <a:gd name="connsiteX50" fmla="*/ 30763 w 234664"/>
                  <a:gd name="connsiteY50" fmla="*/ 87927 h 273579"/>
                  <a:gd name="connsiteX51" fmla="*/ 32328 w 234664"/>
                  <a:gd name="connsiteY51" fmla="*/ 80436 h 273579"/>
                  <a:gd name="connsiteX52" fmla="*/ 29501 w 234664"/>
                  <a:gd name="connsiteY52" fmla="*/ 63201 h 273579"/>
                  <a:gd name="connsiteX53" fmla="*/ 24205 w 234664"/>
                  <a:gd name="connsiteY53" fmla="*/ 53020 h 273579"/>
                  <a:gd name="connsiteX54" fmla="*/ 19814 w 234664"/>
                  <a:gd name="connsiteY54" fmla="*/ 49946 h 273579"/>
                  <a:gd name="connsiteX55" fmla="*/ 14298 w 234664"/>
                  <a:gd name="connsiteY55" fmla="*/ 37487 h 273579"/>
                  <a:gd name="connsiteX56" fmla="*/ 15258 w 234664"/>
                  <a:gd name="connsiteY56" fmla="*/ 28321 h 273579"/>
                  <a:gd name="connsiteX57" fmla="*/ 8260 w 234664"/>
                  <a:gd name="connsiteY57" fmla="*/ 24314 h 273579"/>
                  <a:gd name="connsiteX58" fmla="*/ 1921 w 234664"/>
                  <a:gd name="connsiteY58" fmla="*/ 11965 h 273579"/>
                  <a:gd name="connsiteX59" fmla="*/ 13228 w 234664"/>
                  <a:gd name="connsiteY59" fmla="*/ 0 h 273579"/>
                  <a:gd name="connsiteX60" fmla="*/ 59387 w 234664"/>
                  <a:gd name="connsiteY60" fmla="*/ 0 h 273579"/>
                  <a:gd name="connsiteX61" fmla="*/ 63970 w 234664"/>
                  <a:gd name="connsiteY61" fmla="*/ 4830 h 273579"/>
                  <a:gd name="connsiteX62" fmla="*/ 86693 w 234664"/>
                  <a:gd name="connsiteY62" fmla="*/ 5735 h 273579"/>
                  <a:gd name="connsiteX63" fmla="*/ 123466 w 234664"/>
                  <a:gd name="connsiteY63" fmla="*/ 29144 h 273579"/>
                  <a:gd name="connsiteX64" fmla="*/ 136063 w 234664"/>
                  <a:gd name="connsiteY64" fmla="*/ 29309 h 27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34664" h="273579">
                    <a:moveTo>
                      <a:pt x="135980" y="29282"/>
                    </a:moveTo>
                    <a:lnTo>
                      <a:pt x="163121" y="34880"/>
                    </a:lnTo>
                    <a:lnTo>
                      <a:pt x="165783" y="34167"/>
                    </a:lnTo>
                    <a:lnTo>
                      <a:pt x="175965" y="21680"/>
                    </a:lnTo>
                    <a:lnTo>
                      <a:pt x="200608" y="10483"/>
                    </a:lnTo>
                    <a:lnTo>
                      <a:pt x="213973" y="19677"/>
                    </a:lnTo>
                    <a:lnTo>
                      <a:pt x="234665" y="18798"/>
                    </a:lnTo>
                    <a:lnTo>
                      <a:pt x="218117" y="42454"/>
                    </a:lnTo>
                    <a:lnTo>
                      <a:pt x="207798" y="54090"/>
                    </a:lnTo>
                    <a:lnTo>
                      <a:pt x="207798" y="120941"/>
                    </a:lnTo>
                    <a:cubicBezTo>
                      <a:pt x="207798" y="120941"/>
                      <a:pt x="207798" y="145036"/>
                      <a:pt x="207798" y="145036"/>
                    </a:cubicBezTo>
                    <a:lnTo>
                      <a:pt x="207798" y="159032"/>
                    </a:lnTo>
                    <a:lnTo>
                      <a:pt x="214028" y="168967"/>
                    </a:lnTo>
                    <a:lnTo>
                      <a:pt x="220065" y="178050"/>
                    </a:lnTo>
                    <a:lnTo>
                      <a:pt x="224484" y="184746"/>
                    </a:lnTo>
                    <a:lnTo>
                      <a:pt x="217267" y="193226"/>
                    </a:lnTo>
                    <a:lnTo>
                      <a:pt x="205301" y="196848"/>
                    </a:lnTo>
                    <a:lnTo>
                      <a:pt x="206015" y="202090"/>
                    </a:lnTo>
                    <a:lnTo>
                      <a:pt x="206234" y="203627"/>
                    </a:lnTo>
                    <a:lnTo>
                      <a:pt x="201926" y="204038"/>
                    </a:lnTo>
                    <a:lnTo>
                      <a:pt x="201816" y="206920"/>
                    </a:lnTo>
                    <a:lnTo>
                      <a:pt x="197562" y="210350"/>
                    </a:lnTo>
                    <a:lnTo>
                      <a:pt x="191003" y="211338"/>
                    </a:lnTo>
                    <a:lnTo>
                      <a:pt x="185075" y="215537"/>
                    </a:lnTo>
                    <a:lnTo>
                      <a:pt x="184746" y="217156"/>
                    </a:lnTo>
                    <a:lnTo>
                      <a:pt x="181727" y="232031"/>
                    </a:lnTo>
                    <a:lnTo>
                      <a:pt x="177364" y="235296"/>
                    </a:lnTo>
                    <a:lnTo>
                      <a:pt x="173358" y="248606"/>
                    </a:lnTo>
                    <a:lnTo>
                      <a:pt x="165070" y="265923"/>
                    </a:lnTo>
                    <a:lnTo>
                      <a:pt x="160486" y="273003"/>
                    </a:lnTo>
                    <a:lnTo>
                      <a:pt x="156946" y="271082"/>
                    </a:lnTo>
                    <a:lnTo>
                      <a:pt x="155080" y="273579"/>
                    </a:lnTo>
                    <a:lnTo>
                      <a:pt x="116139" y="246218"/>
                    </a:lnTo>
                    <a:lnTo>
                      <a:pt x="108729" y="238864"/>
                    </a:lnTo>
                    <a:lnTo>
                      <a:pt x="110540" y="231921"/>
                    </a:lnTo>
                    <a:lnTo>
                      <a:pt x="107495" y="224731"/>
                    </a:lnTo>
                    <a:lnTo>
                      <a:pt x="25495" y="178105"/>
                    </a:lnTo>
                    <a:lnTo>
                      <a:pt x="9495" y="169021"/>
                    </a:lnTo>
                    <a:lnTo>
                      <a:pt x="110" y="165481"/>
                    </a:lnTo>
                    <a:lnTo>
                      <a:pt x="851" y="151376"/>
                    </a:lnTo>
                    <a:lnTo>
                      <a:pt x="1180" y="145118"/>
                    </a:lnTo>
                    <a:lnTo>
                      <a:pt x="1427" y="140563"/>
                    </a:lnTo>
                    <a:lnTo>
                      <a:pt x="0" y="132577"/>
                    </a:lnTo>
                    <a:lnTo>
                      <a:pt x="4885" y="125360"/>
                    </a:lnTo>
                    <a:lnTo>
                      <a:pt x="6257" y="121023"/>
                    </a:lnTo>
                    <a:lnTo>
                      <a:pt x="6861" y="119130"/>
                    </a:lnTo>
                    <a:lnTo>
                      <a:pt x="14710" y="110925"/>
                    </a:lnTo>
                    <a:lnTo>
                      <a:pt x="17536" y="104338"/>
                    </a:lnTo>
                    <a:lnTo>
                      <a:pt x="25769" y="99206"/>
                    </a:lnTo>
                    <a:lnTo>
                      <a:pt x="25302" y="94376"/>
                    </a:lnTo>
                    <a:lnTo>
                      <a:pt x="30763" y="87927"/>
                    </a:lnTo>
                    <a:lnTo>
                      <a:pt x="32328" y="80436"/>
                    </a:lnTo>
                    <a:lnTo>
                      <a:pt x="29501" y="63201"/>
                    </a:lnTo>
                    <a:lnTo>
                      <a:pt x="24205" y="53020"/>
                    </a:lnTo>
                    <a:lnTo>
                      <a:pt x="19814" y="49946"/>
                    </a:lnTo>
                    <a:lnTo>
                      <a:pt x="14298" y="37487"/>
                    </a:lnTo>
                    <a:lnTo>
                      <a:pt x="15258" y="28321"/>
                    </a:lnTo>
                    <a:lnTo>
                      <a:pt x="8260" y="24314"/>
                    </a:lnTo>
                    <a:lnTo>
                      <a:pt x="1921" y="11965"/>
                    </a:lnTo>
                    <a:lnTo>
                      <a:pt x="13228" y="0"/>
                    </a:lnTo>
                    <a:lnTo>
                      <a:pt x="59387" y="0"/>
                    </a:lnTo>
                    <a:lnTo>
                      <a:pt x="63970" y="4830"/>
                    </a:lnTo>
                    <a:lnTo>
                      <a:pt x="86693" y="5735"/>
                    </a:lnTo>
                    <a:lnTo>
                      <a:pt x="123466" y="29144"/>
                    </a:lnTo>
                    <a:lnTo>
                      <a:pt x="136063" y="293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8" name="Freeform: Shape 3667">
                <a:extLst>
                  <a:ext uri="{FF2B5EF4-FFF2-40B4-BE49-F238E27FC236}">
                    <a16:creationId xmlns:a16="http://schemas.microsoft.com/office/drawing/2014/main" id="{4CF32A3B-A6C1-60D4-DA93-9C92452C1D3E}"/>
                  </a:ext>
                </a:extLst>
              </p:cNvPr>
              <p:cNvSpPr/>
              <p:nvPr/>
            </p:nvSpPr>
            <p:spPr>
              <a:xfrm>
                <a:off x="1491134" y="3850728"/>
                <a:ext cx="475" cy="392"/>
              </a:xfrm>
              <a:custGeom>
                <a:avLst/>
                <a:gdLst>
                  <a:gd name="connsiteX0" fmla="*/ 4555 w 4555"/>
                  <a:gd name="connsiteY0" fmla="*/ 1866 h 3759"/>
                  <a:gd name="connsiteX1" fmla="*/ 1729 w 4555"/>
                  <a:gd name="connsiteY1" fmla="*/ 3760 h 3759"/>
                  <a:gd name="connsiteX2" fmla="*/ 0 w 4555"/>
                  <a:gd name="connsiteY2" fmla="*/ 2470 h 3759"/>
                  <a:gd name="connsiteX3" fmla="*/ 3842 w 4555"/>
                  <a:gd name="connsiteY3" fmla="*/ 0 h 3759"/>
                  <a:gd name="connsiteX4" fmla="*/ 4528 w 4555"/>
                  <a:gd name="connsiteY4" fmla="*/ 1866 h 3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3759">
                    <a:moveTo>
                      <a:pt x="4555" y="1866"/>
                    </a:moveTo>
                    <a:lnTo>
                      <a:pt x="1729" y="3760"/>
                    </a:lnTo>
                    <a:lnTo>
                      <a:pt x="0" y="2470"/>
                    </a:lnTo>
                    <a:lnTo>
                      <a:pt x="3842" y="0"/>
                    </a:lnTo>
                    <a:lnTo>
                      <a:pt x="4528" y="18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9" name="Freeform: Shape 3668">
                <a:extLst>
                  <a:ext uri="{FF2B5EF4-FFF2-40B4-BE49-F238E27FC236}">
                    <a16:creationId xmlns:a16="http://schemas.microsoft.com/office/drawing/2014/main" id="{3B19A0B2-0E4B-D4F0-61B9-909B38528B51}"/>
                  </a:ext>
                </a:extLst>
              </p:cNvPr>
              <p:cNvSpPr/>
              <p:nvPr/>
            </p:nvSpPr>
            <p:spPr>
              <a:xfrm>
                <a:off x="1577977" y="3697164"/>
                <a:ext cx="33584" cy="16378"/>
              </a:xfrm>
              <a:custGeom>
                <a:avLst/>
                <a:gdLst>
                  <a:gd name="connsiteX0" fmla="*/ 321961 w 321988"/>
                  <a:gd name="connsiteY0" fmla="*/ 39902 h 157028"/>
                  <a:gd name="connsiteX1" fmla="*/ 321467 w 321988"/>
                  <a:gd name="connsiteY1" fmla="*/ 46187 h 157028"/>
                  <a:gd name="connsiteX2" fmla="*/ 310161 w 321988"/>
                  <a:gd name="connsiteY2" fmla="*/ 47943 h 157028"/>
                  <a:gd name="connsiteX3" fmla="*/ 309420 w 321988"/>
                  <a:gd name="connsiteY3" fmla="*/ 49233 h 157028"/>
                  <a:gd name="connsiteX4" fmla="*/ 305083 w 321988"/>
                  <a:gd name="connsiteY4" fmla="*/ 56505 h 157028"/>
                  <a:gd name="connsiteX5" fmla="*/ 297756 w 321988"/>
                  <a:gd name="connsiteY5" fmla="*/ 55353 h 157028"/>
                  <a:gd name="connsiteX6" fmla="*/ 286285 w 321988"/>
                  <a:gd name="connsiteY6" fmla="*/ 61719 h 157028"/>
                  <a:gd name="connsiteX7" fmla="*/ 282992 w 321988"/>
                  <a:gd name="connsiteY7" fmla="*/ 63558 h 157028"/>
                  <a:gd name="connsiteX8" fmla="*/ 268886 w 321988"/>
                  <a:gd name="connsiteY8" fmla="*/ 71379 h 157028"/>
                  <a:gd name="connsiteX9" fmla="*/ 266746 w 321988"/>
                  <a:gd name="connsiteY9" fmla="*/ 77362 h 157028"/>
                  <a:gd name="connsiteX10" fmla="*/ 259419 w 321988"/>
                  <a:gd name="connsiteY10" fmla="*/ 85759 h 157028"/>
                  <a:gd name="connsiteX11" fmla="*/ 253161 w 321988"/>
                  <a:gd name="connsiteY11" fmla="*/ 85073 h 157028"/>
                  <a:gd name="connsiteX12" fmla="*/ 245066 w 321988"/>
                  <a:gd name="connsiteY12" fmla="*/ 87872 h 157028"/>
                  <a:gd name="connsiteX13" fmla="*/ 227557 w 321988"/>
                  <a:gd name="connsiteY13" fmla="*/ 85897 h 157028"/>
                  <a:gd name="connsiteX14" fmla="*/ 222480 w 321988"/>
                  <a:gd name="connsiteY14" fmla="*/ 87461 h 157028"/>
                  <a:gd name="connsiteX15" fmla="*/ 216223 w 321988"/>
                  <a:gd name="connsiteY15" fmla="*/ 97478 h 157028"/>
                  <a:gd name="connsiteX16" fmla="*/ 212217 w 321988"/>
                  <a:gd name="connsiteY16" fmla="*/ 108565 h 157028"/>
                  <a:gd name="connsiteX17" fmla="*/ 208539 w 321988"/>
                  <a:gd name="connsiteY17" fmla="*/ 111803 h 157028"/>
                  <a:gd name="connsiteX18" fmla="*/ 205301 w 321988"/>
                  <a:gd name="connsiteY18" fmla="*/ 109662 h 157028"/>
                  <a:gd name="connsiteX19" fmla="*/ 197425 w 321988"/>
                  <a:gd name="connsiteY19" fmla="*/ 111776 h 157028"/>
                  <a:gd name="connsiteX20" fmla="*/ 194296 w 321988"/>
                  <a:gd name="connsiteY20" fmla="*/ 114877 h 157028"/>
                  <a:gd name="connsiteX21" fmla="*/ 188588 w 321988"/>
                  <a:gd name="connsiteY21" fmla="*/ 115096 h 157028"/>
                  <a:gd name="connsiteX22" fmla="*/ 187271 w 321988"/>
                  <a:gd name="connsiteY22" fmla="*/ 112105 h 157028"/>
                  <a:gd name="connsiteX23" fmla="*/ 188232 w 321988"/>
                  <a:gd name="connsiteY23" fmla="*/ 108263 h 157028"/>
                  <a:gd name="connsiteX24" fmla="*/ 184582 w 321988"/>
                  <a:gd name="connsiteY24" fmla="*/ 101814 h 157028"/>
                  <a:gd name="connsiteX25" fmla="*/ 171354 w 321988"/>
                  <a:gd name="connsiteY25" fmla="*/ 109251 h 157028"/>
                  <a:gd name="connsiteX26" fmla="*/ 163121 w 321988"/>
                  <a:gd name="connsiteY26" fmla="*/ 107192 h 157028"/>
                  <a:gd name="connsiteX27" fmla="*/ 162161 w 321988"/>
                  <a:gd name="connsiteY27" fmla="*/ 109498 h 157028"/>
                  <a:gd name="connsiteX28" fmla="*/ 163999 w 321988"/>
                  <a:gd name="connsiteY28" fmla="*/ 113532 h 157028"/>
                  <a:gd name="connsiteX29" fmla="*/ 159499 w 321988"/>
                  <a:gd name="connsiteY29" fmla="*/ 113696 h 157028"/>
                  <a:gd name="connsiteX30" fmla="*/ 148796 w 321988"/>
                  <a:gd name="connsiteY30" fmla="*/ 122670 h 157028"/>
                  <a:gd name="connsiteX31" fmla="*/ 138560 w 321988"/>
                  <a:gd name="connsiteY31" fmla="*/ 124289 h 157028"/>
                  <a:gd name="connsiteX32" fmla="*/ 134004 w 321988"/>
                  <a:gd name="connsiteY32" fmla="*/ 134334 h 157028"/>
                  <a:gd name="connsiteX33" fmla="*/ 136172 w 321988"/>
                  <a:gd name="connsiteY33" fmla="*/ 139850 h 157028"/>
                  <a:gd name="connsiteX34" fmla="*/ 135514 w 321988"/>
                  <a:gd name="connsiteY34" fmla="*/ 143966 h 157028"/>
                  <a:gd name="connsiteX35" fmla="*/ 133153 w 321988"/>
                  <a:gd name="connsiteY35" fmla="*/ 146957 h 157028"/>
                  <a:gd name="connsiteX36" fmla="*/ 128296 w 321988"/>
                  <a:gd name="connsiteY36" fmla="*/ 147095 h 157028"/>
                  <a:gd name="connsiteX37" fmla="*/ 113751 w 321988"/>
                  <a:gd name="connsiteY37" fmla="*/ 150827 h 157028"/>
                  <a:gd name="connsiteX38" fmla="*/ 94761 w 321988"/>
                  <a:gd name="connsiteY38" fmla="*/ 151074 h 157028"/>
                  <a:gd name="connsiteX39" fmla="*/ 86829 w 321988"/>
                  <a:gd name="connsiteY39" fmla="*/ 157029 h 157028"/>
                  <a:gd name="connsiteX40" fmla="*/ 80298 w 321988"/>
                  <a:gd name="connsiteY40" fmla="*/ 152089 h 157028"/>
                  <a:gd name="connsiteX41" fmla="*/ 74096 w 321988"/>
                  <a:gd name="connsiteY41" fmla="*/ 153269 h 157028"/>
                  <a:gd name="connsiteX42" fmla="*/ 71983 w 321988"/>
                  <a:gd name="connsiteY42" fmla="*/ 148549 h 157028"/>
                  <a:gd name="connsiteX43" fmla="*/ 67510 w 321988"/>
                  <a:gd name="connsiteY43" fmla="*/ 146820 h 157028"/>
                  <a:gd name="connsiteX44" fmla="*/ 64299 w 321988"/>
                  <a:gd name="connsiteY44" fmla="*/ 142512 h 157028"/>
                  <a:gd name="connsiteX45" fmla="*/ 46708 w 321988"/>
                  <a:gd name="connsiteY45" fmla="*/ 149592 h 157028"/>
                  <a:gd name="connsiteX46" fmla="*/ 35731 w 321988"/>
                  <a:gd name="connsiteY46" fmla="*/ 142265 h 157028"/>
                  <a:gd name="connsiteX47" fmla="*/ 4500 w 321988"/>
                  <a:gd name="connsiteY47" fmla="*/ 144295 h 157028"/>
                  <a:gd name="connsiteX48" fmla="*/ 1427 w 321988"/>
                  <a:gd name="connsiteY48" fmla="*/ 141880 h 157028"/>
                  <a:gd name="connsiteX49" fmla="*/ 0 w 321988"/>
                  <a:gd name="connsiteY49" fmla="*/ 134910 h 157028"/>
                  <a:gd name="connsiteX50" fmla="*/ 1372 w 321988"/>
                  <a:gd name="connsiteY50" fmla="*/ 129476 h 157028"/>
                  <a:gd name="connsiteX51" fmla="*/ 5626 w 321988"/>
                  <a:gd name="connsiteY51" fmla="*/ 129284 h 157028"/>
                  <a:gd name="connsiteX52" fmla="*/ 9440 w 321988"/>
                  <a:gd name="connsiteY52" fmla="*/ 122533 h 157028"/>
                  <a:gd name="connsiteX53" fmla="*/ 21598 w 321988"/>
                  <a:gd name="connsiteY53" fmla="*/ 118526 h 157028"/>
                  <a:gd name="connsiteX54" fmla="*/ 36993 w 321988"/>
                  <a:gd name="connsiteY54" fmla="*/ 127335 h 157028"/>
                  <a:gd name="connsiteX55" fmla="*/ 49150 w 321988"/>
                  <a:gd name="connsiteY55" fmla="*/ 117840 h 157028"/>
                  <a:gd name="connsiteX56" fmla="*/ 57768 w 321988"/>
                  <a:gd name="connsiteY56" fmla="*/ 114767 h 157028"/>
                  <a:gd name="connsiteX57" fmla="*/ 74124 w 321988"/>
                  <a:gd name="connsiteY57" fmla="*/ 119075 h 157028"/>
                  <a:gd name="connsiteX58" fmla="*/ 84167 w 321988"/>
                  <a:gd name="connsiteY58" fmla="*/ 109525 h 157028"/>
                  <a:gd name="connsiteX59" fmla="*/ 90809 w 321988"/>
                  <a:gd name="connsiteY59" fmla="*/ 108811 h 157028"/>
                  <a:gd name="connsiteX60" fmla="*/ 92016 w 321988"/>
                  <a:gd name="connsiteY60" fmla="*/ 104585 h 157028"/>
                  <a:gd name="connsiteX61" fmla="*/ 101073 w 321988"/>
                  <a:gd name="connsiteY61" fmla="*/ 103872 h 157028"/>
                  <a:gd name="connsiteX62" fmla="*/ 108317 w 321988"/>
                  <a:gd name="connsiteY62" fmla="*/ 95749 h 157028"/>
                  <a:gd name="connsiteX63" fmla="*/ 77938 w 321988"/>
                  <a:gd name="connsiteY63" fmla="*/ 80518 h 157028"/>
                  <a:gd name="connsiteX64" fmla="*/ 71709 w 321988"/>
                  <a:gd name="connsiteY64" fmla="*/ 68964 h 157028"/>
                  <a:gd name="connsiteX65" fmla="*/ 62927 w 321988"/>
                  <a:gd name="connsiteY65" fmla="*/ 80929 h 157028"/>
                  <a:gd name="connsiteX66" fmla="*/ 57960 w 321988"/>
                  <a:gd name="connsiteY66" fmla="*/ 82466 h 157028"/>
                  <a:gd name="connsiteX67" fmla="*/ 45857 w 321988"/>
                  <a:gd name="connsiteY67" fmla="*/ 79832 h 157028"/>
                  <a:gd name="connsiteX68" fmla="*/ 41027 w 321988"/>
                  <a:gd name="connsiteY68" fmla="*/ 71544 h 157028"/>
                  <a:gd name="connsiteX69" fmla="*/ 34578 w 321988"/>
                  <a:gd name="connsiteY69" fmla="*/ 71077 h 157028"/>
                  <a:gd name="connsiteX70" fmla="*/ 28047 w 321988"/>
                  <a:gd name="connsiteY70" fmla="*/ 67071 h 157028"/>
                  <a:gd name="connsiteX71" fmla="*/ 29309 w 321988"/>
                  <a:gd name="connsiteY71" fmla="*/ 63064 h 157028"/>
                  <a:gd name="connsiteX72" fmla="*/ 31011 w 321988"/>
                  <a:gd name="connsiteY72" fmla="*/ 61747 h 157028"/>
                  <a:gd name="connsiteX73" fmla="*/ 43634 w 321988"/>
                  <a:gd name="connsiteY73" fmla="*/ 51922 h 157028"/>
                  <a:gd name="connsiteX74" fmla="*/ 45391 w 321988"/>
                  <a:gd name="connsiteY74" fmla="*/ 49260 h 157028"/>
                  <a:gd name="connsiteX75" fmla="*/ 46461 w 321988"/>
                  <a:gd name="connsiteY75" fmla="*/ 47586 h 157028"/>
                  <a:gd name="connsiteX76" fmla="*/ 55956 w 321988"/>
                  <a:gd name="connsiteY76" fmla="*/ 41905 h 157028"/>
                  <a:gd name="connsiteX77" fmla="*/ 55682 w 321988"/>
                  <a:gd name="connsiteY77" fmla="*/ 39957 h 157028"/>
                  <a:gd name="connsiteX78" fmla="*/ 53514 w 321988"/>
                  <a:gd name="connsiteY78" fmla="*/ 37789 h 157028"/>
                  <a:gd name="connsiteX79" fmla="*/ 48382 w 321988"/>
                  <a:gd name="connsiteY79" fmla="*/ 38393 h 157028"/>
                  <a:gd name="connsiteX80" fmla="*/ 47284 w 321988"/>
                  <a:gd name="connsiteY80" fmla="*/ 35182 h 157028"/>
                  <a:gd name="connsiteX81" fmla="*/ 48986 w 321988"/>
                  <a:gd name="connsiteY81" fmla="*/ 32795 h 157028"/>
                  <a:gd name="connsiteX82" fmla="*/ 51648 w 321988"/>
                  <a:gd name="connsiteY82" fmla="*/ 29062 h 157028"/>
                  <a:gd name="connsiteX83" fmla="*/ 51977 w 321988"/>
                  <a:gd name="connsiteY83" fmla="*/ 25632 h 157028"/>
                  <a:gd name="connsiteX84" fmla="*/ 53925 w 321988"/>
                  <a:gd name="connsiteY84" fmla="*/ 23546 h 157028"/>
                  <a:gd name="connsiteX85" fmla="*/ 58810 w 321988"/>
                  <a:gd name="connsiteY85" fmla="*/ 18277 h 157028"/>
                  <a:gd name="connsiteX86" fmla="*/ 63558 w 321988"/>
                  <a:gd name="connsiteY86" fmla="*/ 16932 h 157028"/>
                  <a:gd name="connsiteX87" fmla="*/ 75633 w 321988"/>
                  <a:gd name="connsiteY87" fmla="*/ 16082 h 157028"/>
                  <a:gd name="connsiteX88" fmla="*/ 87104 w 321988"/>
                  <a:gd name="connsiteY88" fmla="*/ 18551 h 157028"/>
                  <a:gd name="connsiteX89" fmla="*/ 98520 w 321988"/>
                  <a:gd name="connsiteY89" fmla="*/ 23546 h 157028"/>
                  <a:gd name="connsiteX90" fmla="*/ 105710 w 321988"/>
                  <a:gd name="connsiteY90" fmla="*/ 26675 h 157028"/>
                  <a:gd name="connsiteX91" fmla="*/ 122505 w 321988"/>
                  <a:gd name="connsiteY91" fmla="*/ 31176 h 157028"/>
                  <a:gd name="connsiteX92" fmla="*/ 122094 w 321988"/>
                  <a:gd name="connsiteY92" fmla="*/ 23519 h 157028"/>
                  <a:gd name="connsiteX93" fmla="*/ 126622 w 321988"/>
                  <a:gd name="connsiteY93" fmla="*/ 8398 h 157028"/>
                  <a:gd name="connsiteX94" fmla="*/ 145942 w 321988"/>
                  <a:gd name="connsiteY94" fmla="*/ 0 h 157028"/>
                  <a:gd name="connsiteX95" fmla="*/ 152747 w 321988"/>
                  <a:gd name="connsiteY95" fmla="*/ 2004 h 157028"/>
                  <a:gd name="connsiteX96" fmla="*/ 169790 w 321988"/>
                  <a:gd name="connsiteY96" fmla="*/ 13145 h 157028"/>
                  <a:gd name="connsiteX97" fmla="*/ 180876 w 321988"/>
                  <a:gd name="connsiteY97" fmla="*/ 15698 h 157028"/>
                  <a:gd name="connsiteX98" fmla="*/ 188232 w 321988"/>
                  <a:gd name="connsiteY98" fmla="*/ 15862 h 157028"/>
                  <a:gd name="connsiteX99" fmla="*/ 195092 w 321988"/>
                  <a:gd name="connsiteY99" fmla="*/ 11581 h 157028"/>
                  <a:gd name="connsiteX100" fmla="*/ 207963 w 321988"/>
                  <a:gd name="connsiteY100" fmla="*/ 13447 h 157028"/>
                  <a:gd name="connsiteX101" fmla="*/ 224291 w 321988"/>
                  <a:gd name="connsiteY101" fmla="*/ 10044 h 157028"/>
                  <a:gd name="connsiteX102" fmla="*/ 255796 w 321988"/>
                  <a:gd name="connsiteY102" fmla="*/ 14600 h 157028"/>
                  <a:gd name="connsiteX103" fmla="*/ 273030 w 321988"/>
                  <a:gd name="connsiteY103" fmla="*/ 13831 h 157028"/>
                  <a:gd name="connsiteX104" fmla="*/ 288535 w 321988"/>
                  <a:gd name="connsiteY104" fmla="*/ 18030 h 157028"/>
                  <a:gd name="connsiteX105" fmla="*/ 294216 w 321988"/>
                  <a:gd name="connsiteY105" fmla="*/ 23519 h 157028"/>
                  <a:gd name="connsiteX106" fmla="*/ 299622 w 321988"/>
                  <a:gd name="connsiteY106" fmla="*/ 29282 h 157028"/>
                  <a:gd name="connsiteX107" fmla="*/ 312027 w 321988"/>
                  <a:gd name="connsiteY107" fmla="*/ 31779 h 157028"/>
                  <a:gd name="connsiteX108" fmla="*/ 312877 w 321988"/>
                  <a:gd name="connsiteY108" fmla="*/ 32767 h 157028"/>
                  <a:gd name="connsiteX109" fmla="*/ 318558 w 321988"/>
                  <a:gd name="connsiteY109" fmla="*/ 39353 h 157028"/>
                  <a:gd name="connsiteX110" fmla="*/ 321989 w 321988"/>
                  <a:gd name="connsiteY110" fmla="*/ 39957 h 157028"/>
                  <a:gd name="connsiteX111" fmla="*/ 69870 w 321988"/>
                  <a:gd name="connsiteY111" fmla="*/ 128955 h 157028"/>
                  <a:gd name="connsiteX112" fmla="*/ 72916 w 321988"/>
                  <a:gd name="connsiteY112" fmla="*/ 130683 h 157028"/>
                  <a:gd name="connsiteX113" fmla="*/ 74453 w 321988"/>
                  <a:gd name="connsiteY113" fmla="*/ 126704 h 157028"/>
                  <a:gd name="connsiteX114" fmla="*/ 73492 w 321988"/>
                  <a:gd name="connsiteY114" fmla="*/ 126403 h 157028"/>
                  <a:gd name="connsiteX115" fmla="*/ 69897 w 321988"/>
                  <a:gd name="connsiteY115" fmla="*/ 128955 h 157028"/>
                  <a:gd name="connsiteX116" fmla="*/ 49754 w 321988"/>
                  <a:gd name="connsiteY116" fmla="*/ 119734 h 157028"/>
                  <a:gd name="connsiteX117" fmla="*/ 50331 w 321988"/>
                  <a:gd name="connsiteY117" fmla="*/ 125470 h 157028"/>
                  <a:gd name="connsiteX118" fmla="*/ 52553 w 321988"/>
                  <a:gd name="connsiteY118" fmla="*/ 126183 h 157028"/>
                  <a:gd name="connsiteX119" fmla="*/ 52361 w 321988"/>
                  <a:gd name="connsiteY119" fmla="*/ 129064 h 157028"/>
                  <a:gd name="connsiteX120" fmla="*/ 54255 w 321988"/>
                  <a:gd name="connsiteY120" fmla="*/ 131507 h 157028"/>
                  <a:gd name="connsiteX121" fmla="*/ 57027 w 321988"/>
                  <a:gd name="connsiteY121" fmla="*/ 129833 h 157028"/>
                  <a:gd name="connsiteX122" fmla="*/ 53596 w 321988"/>
                  <a:gd name="connsiteY122" fmla="*/ 125881 h 157028"/>
                  <a:gd name="connsiteX123" fmla="*/ 52416 w 321988"/>
                  <a:gd name="connsiteY123" fmla="*/ 120420 h 157028"/>
                  <a:gd name="connsiteX124" fmla="*/ 49754 w 321988"/>
                  <a:gd name="connsiteY124" fmla="*/ 119706 h 157028"/>
                  <a:gd name="connsiteX125" fmla="*/ 35264 w 321988"/>
                  <a:gd name="connsiteY125" fmla="*/ 130986 h 157028"/>
                  <a:gd name="connsiteX126" fmla="*/ 36554 w 321988"/>
                  <a:gd name="connsiteY126" fmla="*/ 132797 h 157028"/>
                  <a:gd name="connsiteX127" fmla="*/ 40067 w 321988"/>
                  <a:gd name="connsiteY127" fmla="*/ 134196 h 157028"/>
                  <a:gd name="connsiteX128" fmla="*/ 42482 w 321988"/>
                  <a:gd name="connsiteY128" fmla="*/ 131287 h 157028"/>
                  <a:gd name="connsiteX129" fmla="*/ 41823 w 321988"/>
                  <a:gd name="connsiteY129" fmla="*/ 130245 h 157028"/>
                  <a:gd name="connsiteX130" fmla="*/ 35264 w 321988"/>
                  <a:gd name="connsiteY130" fmla="*/ 130986 h 15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321988" h="157028">
                    <a:moveTo>
                      <a:pt x="321961" y="39902"/>
                    </a:moveTo>
                    <a:lnTo>
                      <a:pt x="321467" y="46187"/>
                    </a:lnTo>
                    <a:lnTo>
                      <a:pt x="310161" y="47943"/>
                    </a:lnTo>
                    <a:lnTo>
                      <a:pt x="309420" y="49233"/>
                    </a:lnTo>
                    <a:lnTo>
                      <a:pt x="305083" y="56505"/>
                    </a:lnTo>
                    <a:lnTo>
                      <a:pt x="297756" y="55353"/>
                    </a:lnTo>
                    <a:lnTo>
                      <a:pt x="286285" y="61719"/>
                    </a:lnTo>
                    <a:lnTo>
                      <a:pt x="282992" y="63558"/>
                    </a:lnTo>
                    <a:lnTo>
                      <a:pt x="268886" y="71379"/>
                    </a:lnTo>
                    <a:lnTo>
                      <a:pt x="266746" y="77362"/>
                    </a:lnTo>
                    <a:lnTo>
                      <a:pt x="259419" y="85759"/>
                    </a:lnTo>
                    <a:lnTo>
                      <a:pt x="253161" y="85073"/>
                    </a:lnTo>
                    <a:lnTo>
                      <a:pt x="245066" y="87872"/>
                    </a:lnTo>
                    <a:lnTo>
                      <a:pt x="227557" y="85897"/>
                    </a:lnTo>
                    <a:lnTo>
                      <a:pt x="222480" y="87461"/>
                    </a:lnTo>
                    <a:lnTo>
                      <a:pt x="216223" y="97478"/>
                    </a:lnTo>
                    <a:lnTo>
                      <a:pt x="212217" y="108565"/>
                    </a:lnTo>
                    <a:lnTo>
                      <a:pt x="208539" y="111803"/>
                    </a:lnTo>
                    <a:lnTo>
                      <a:pt x="205301" y="109662"/>
                    </a:lnTo>
                    <a:lnTo>
                      <a:pt x="197425" y="111776"/>
                    </a:lnTo>
                    <a:lnTo>
                      <a:pt x="194296" y="114877"/>
                    </a:lnTo>
                    <a:lnTo>
                      <a:pt x="188588" y="115096"/>
                    </a:lnTo>
                    <a:lnTo>
                      <a:pt x="187271" y="112105"/>
                    </a:lnTo>
                    <a:lnTo>
                      <a:pt x="188232" y="108263"/>
                    </a:lnTo>
                    <a:lnTo>
                      <a:pt x="184582" y="101814"/>
                    </a:lnTo>
                    <a:lnTo>
                      <a:pt x="171354" y="109251"/>
                    </a:lnTo>
                    <a:lnTo>
                      <a:pt x="163121" y="107192"/>
                    </a:lnTo>
                    <a:lnTo>
                      <a:pt x="162161" y="109498"/>
                    </a:lnTo>
                    <a:lnTo>
                      <a:pt x="163999" y="113532"/>
                    </a:lnTo>
                    <a:lnTo>
                      <a:pt x="159499" y="113696"/>
                    </a:lnTo>
                    <a:lnTo>
                      <a:pt x="148796" y="122670"/>
                    </a:lnTo>
                    <a:lnTo>
                      <a:pt x="138560" y="124289"/>
                    </a:lnTo>
                    <a:lnTo>
                      <a:pt x="134004" y="134334"/>
                    </a:lnTo>
                    <a:lnTo>
                      <a:pt x="136172" y="139850"/>
                    </a:lnTo>
                    <a:lnTo>
                      <a:pt x="135514" y="143966"/>
                    </a:lnTo>
                    <a:lnTo>
                      <a:pt x="133153" y="146957"/>
                    </a:lnTo>
                    <a:lnTo>
                      <a:pt x="128296" y="147095"/>
                    </a:lnTo>
                    <a:lnTo>
                      <a:pt x="113751" y="150827"/>
                    </a:lnTo>
                    <a:lnTo>
                      <a:pt x="94761" y="151074"/>
                    </a:lnTo>
                    <a:lnTo>
                      <a:pt x="86829" y="157029"/>
                    </a:lnTo>
                    <a:lnTo>
                      <a:pt x="80298" y="152089"/>
                    </a:lnTo>
                    <a:lnTo>
                      <a:pt x="74096" y="153269"/>
                    </a:lnTo>
                    <a:lnTo>
                      <a:pt x="71983" y="148549"/>
                    </a:lnTo>
                    <a:lnTo>
                      <a:pt x="67510" y="146820"/>
                    </a:lnTo>
                    <a:lnTo>
                      <a:pt x="64299" y="142512"/>
                    </a:lnTo>
                    <a:lnTo>
                      <a:pt x="46708" y="149592"/>
                    </a:lnTo>
                    <a:lnTo>
                      <a:pt x="35731" y="142265"/>
                    </a:lnTo>
                    <a:lnTo>
                      <a:pt x="4500" y="144295"/>
                    </a:lnTo>
                    <a:lnTo>
                      <a:pt x="1427" y="141880"/>
                    </a:lnTo>
                    <a:lnTo>
                      <a:pt x="0" y="134910"/>
                    </a:lnTo>
                    <a:lnTo>
                      <a:pt x="1372" y="129476"/>
                    </a:lnTo>
                    <a:lnTo>
                      <a:pt x="5626" y="129284"/>
                    </a:lnTo>
                    <a:lnTo>
                      <a:pt x="9440" y="122533"/>
                    </a:lnTo>
                    <a:lnTo>
                      <a:pt x="21598" y="118526"/>
                    </a:lnTo>
                    <a:lnTo>
                      <a:pt x="36993" y="127335"/>
                    </a:lnTo>
                    <a:lnTo>
                      <a:pt x="49150" y="117840"/>
                    </a:lnTo>
                    <a:lnTo>
                      <a:pt x="57768" y="114767"/>
                    </a:lnTo>
                    <a:lnTo>
                      <a:pt x="74124" y="119075"/>
                    </a:lnTo>
                    <a:lnTo>
                      <a:pt x="84167" y="109525"/>
                    </a:lnTo>
                    <a:lnTo>
                      <a:pt x="90809" y="108811"/>
                    </a:lnTo>
                    <a:lnTo>
                      <a:pt x="92016" y="104585"/>
                    </a:lnTo>
                    <a:lnTo>
                      <a:pt x="101073" y="103872"/>
                    </a:lnTo>
                    <a:lnTo>
                      <a:pt x="108317" y="95749"/>
                    </a:lnTo>
                    <a:lnTo>
                      <a:pt x="77938" y="80518"/>
                    </a:lnTo>
                    <a:lnTo>
                      <a:pt x="71709" y="68964"/>
                    </a:lnTo>
                    <a:lnTo>
                      <a:pt x="62927" y="80929"/>
                    </a:lnTo>
                    <a:lnTo>
                      <a:pt x="57960" y="82466"/>
                    </a:lnTo>
                    <a:lnTo>
                      <a:pt x="45857" y="79832"/>
                    </a:lnTo>
                    <a:lnTo>
                      <a:pt x="41027" y="71544"/>
                    </a:lnTo>
                    <a:lnTo>
                      <a:pt x="34578" y="71077"/>
                    </a:lnTo>
                    <a:lnTo>
                      <a:pt x="28047" y="67071"/>
                    </a:lnTo>
                    <a:lnTo>
                      <a:pt x="29309" y="63064"/>
                    </a:lnTo>
                    <a:lnTo>
                      <a:pt x="31011" y="61747"/>
                    </a:lnTo>
                    <a:lnTo>
                      <a:pt x="43634" y="51922"/>
                    </a:lnTo>
                    <a:lnTo>
                      <a:pt x="45391" y="49260"/>
                    </a:lnTo>
                    <a:lnTo>
                      <a:pt x="46461" y="47586"/>
                    </a:lnTo>
                    <a:lnTo>
                      <a:pt x="55956" y="41905"/>
                    </a:lnTo>
                    <a:lnTo>
                      <a:pt x="55682" y="39957"/>
                    </a:lnTo>
                    <a:lnTo>
                      <a:pt x="53514" y="37789"/>
                    </a:lnTo>
                    <a:lnTo>
                      <a:pt x="48382" y="38393"/>
                    </a:lnTo>
                    <a:lnTo>
                      <a:pt x="47284" y="35182"/>
                    </a:lnTo>
                    <a:lnTo>
                      <a:pt x="48986" y="32795"/>
                    </a:lnTo>
                    <a:lnTo>
                      <a:pt x="51648" y="29062"/>
                    </a:lnTo>
                    <a:lnTo>
                      <a:pt x="51977" y="25632"/>
                    </a:lnTo>
                    <a:lnTo>
                      <a:pt x="53925" y="23546"/>
                    </a:lnTo>
                    <a:lnTo>
                      <a:pt x="58810" y="18277"/>
                    </a:lnTo>
                    <a:lnTo>
                      <a:pt x="63558" y="16932"/>
                    </a:lnTo>
                    <a:lnTo>
                      <a:pt x="75633" y="16082"/>
                    </a:lnTo>
                    <a:lnTo>
                      <a:pt x="87104" y="18551"/>
                    </a:lnTo>
                    <a:lnTo>
                      <a:pt x="98520" y="23546"/>
                    </a:lnTo>
                    <a:lnTo>
                      <a:pt x="105710" y="26675"/>
                    </a:lnTo>
                    <a:lnTo>
                      <a:pt x="122505" y="31176"/>
                    </a:lnTo>
                    <a:lnTo>
                      <a:pt x="122094" y="23519"/>
                    </a:lnTo>
                    <a:lnTo>
                      <a:pt x="126622" y="8398"/>
                    </a:lnTo>
                    <a:lnTo>
                      <a:pt x="145942" y="0"/>
                    </a:lnTo>
                    <a:lnTo>
                      <a:pt x="152747" y="2004"/>
                    </a:lnTo>
                    <a:lnTo>
                      <a:pt x="169790" y="13145"/>
                    </a:lnTo>
                    <a:lnTo>
                      <a:pt x="180876" y="15698"/>
                    </a:lnTo>
                    <a:lnTo>
                      <a:pt x="188232" y="15862"/>
                    </a:lnTo>
                    <a:lnTo>
                      <a:pt x="195092" y="11581"/>
                    </a:lnTo>
                    <a:lnTo>
                      <a:pt x="207963" y="13447"/>
                    </a:lnTo>
                    <a:lnTo>
                      <a:pt x="224291" y="10044"/>
                    </a:lnTo>
                    <a:lnTo>
                      <a:pt x="255796" y="14600"/>
                    </a:lnTo>
                    <a:lnTo>
                      <a:pt x="273030" y="13831"/>
                    </a:lnTo>
                    <a:lnTo>
                      <a:pt x="288535" y="18030"/>
                    </a:lnTo>
                    <a:lnTo>
                      <a:pt x="294216" y="23519"/>
                    </a:lnTo>
                    <a:lnTo>
                      <a:pt x="299622" y="29282"/>
                    </a:lnTo>
                    <a:lnTo>
                      <a:pt x="312027" y="31779"/>
                    </a:lnTo>
                    <a:lnTo>
                      <a:pt x="312877" y="32767"/>
                    </a:lnTo>
                    <a:lnTo>
                      <a:pt x="318558" y="39353"/>
                    </a:lnTo>
                    <a:lnTo>
                      <a:pt x="321989" y="39957"/>
                    </a:lnTo>
                    <a:moveTo>
                      <a:pt x="69870" y="128955"/>
                    </a:moveTo>
                    <a:lnTo>
                      <a:pt x="72916" y="130683"/>
                    </a:lnTo>
                    <a:lnTo>
                      <a:pt x="74453" y="126704"/>
                    </a:lnTo>
                    <a:lnTo>
                      <a:pt x="73492" y="126403"/>
                    </a:lnTo>
                    <a:lnTo>
                      <a:pt x="69897" y="128955"/>
                    </a:lnTo>
                    <a:moveTo>
                      <a:pt x="49754" y="119734"/>
                    </a:moveTo>
                    <a:lnTo>
                      <a:pt x="50331" y="125470"/>
                    </a:lnTo>
                    <a:lnTo>
                      <a:pt x="52553" y="126183"/>
                    </a:lnTo>
                    <a:lnTo>
                      <a:pt x="52361" y="129064"/>
                    </a:lnTo>
                    <a:lnTo>
                      <a:pt x="54255" y="131507"/>
                    </a:lnTo>
                    <a:lnTo>
                      <a:pt x="57027" y="129833"/>
                    </a:lnTo>
                    <a:lnTo>
                      <a:pt x="53596" y="125881"/>
                    </a:lnTo>
                    <a:lnTo>
                      <a:pt x="52416" y="120420"/>
                    </a:lnTo>
                    <a:lnTo>
                      <a:pt x="49754" y="119706"/>
                    </a:lnTo>
                    <a:moveTo>
                      <a:pt x="35264" y="130986"/>
                    </a:moveTo>
                    <a:lnTo>
                      <a:pt x="36554" y="132797"/>
                    </a:lnTo>
                    <a:lnTo>
                      <a:pt x="40067" y="134196"/>
                    </a:lnTo>
                    <a:lnTo>
                      <a:pt x="42482" y="131287"/>
                    </a:lnTo>
                    <a:lnTo>
                      <a:pt x="41823" y="130245"/>
                    </a:lnTo>
                    <a:lnTo>
                      <a:pt x="35264" y="1309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0" name="Freeform: Shape 3669">
                <a:extLst>
                  <a:ext uri="{FF2B5EF4-FFF2-40B4-BE49-F238E27FC236}">
                    <a16:creationId xmlns:a16="http://schemas.microsoft.com/office/drawing/2014/main" id="{DD963AB5-8273-F0D7-0D59-605B9331E2BA}"/>
                  </a:ext>
                </a:extLst>
              </p:cNvPr>
              <p:cNvSpPr/>
              <p:nvPr/>
            </p:nvSpPr>
            <p:spPr>
              <a:xfrm>
                <a:off x="1657673" y="3827331"/>
                <a:ext cx="32948" cy="35141"/>
              </a:xfrm>
              <a:custGeom>
                <a:avLst/>
                <a:gdLst>
                  <a:gd name="connsiteX0" fmla="*/ 75770 w 315896"/>
                  <a:gd name="connsiteY0" fmla="*/ 20692 h 336917"/>
                  <a:gd name="connsiteX1" fmla="*/ 80490 w 315896"/>
                  <a:gd name="connsiteY1" fmla="*/ 28925 h 336917"/>
                  <a:gd name="connsiteX2" fmla="*/ 85485 w 315896"/>
                  <a:gd name="connsiteY2" fmla="*/ 33810 h 336917"/>
                  <a:gd name="connsiteX3" fmla="*/ 89848 w 315896"/>
                  <a:gd name="connsiteY3" fmla="*/ 43634 h 336917"/>
                  <a:gd name="connsiteX4" fmla="*/ 132083 w 315896"/>
                  <a:gd name="connsiteY4" fmla="*/ 72258 h 336917"/>
                  <a:gd name="connsiteX5" fmla="*/ 155025 w 315896"/>
                  <a:gd name="connsiteY5" fmla="*/ 98960 h 336917"/>
                  <a:gd name="connsiteX6" fmla="*/ 159745 w 315896"/>
                  <a:gd name="connsiteY6" fmla="*/ 100688 h 336917"/>
                  <a:gd name="connsiteX7" fmla="*/ 167952 w 315896"/>
                  <a:gd name="connsiteY7" fmla="*/ 98164 h 336917"/>
                  <a:gd name="connsiteX8" fmla="*/ 178709 w 315896"/>
                  <a:gd name="connsiteY8" fmla="*/ 106232 h 336917"/>
                  <a:gd name="connsiteX9" fmla="*/ 187573 w 315896"/>
                  <a:gd name="connsiteY9" fmla="*/ 105052 h 336917"/>
                  <a:gd name="connsiteX10" fmla="*/ 189357 w 315896"/>
                  <a:gd name="connsiteY10" fmla="*/ 108482 h 336917"/>
                  <a:gd name="connsiteX11" fmla="*/ 189466 w 315896"/>
                  <a:gd name="connsiteY11" fmla="*/ 115178 h 336917"/>
                  <a:gd name="connsiteX12" fmla="*/ 202502 w 315896"/>
                  <a:gd name="connsiteY12" fmla="*/ 127116 h 336917"/>
                  <a:gd name="connsiteX13" fmla="*/ 203847 w 315896"/>
                  <a:gd name="connsiteY13" fmla="*/ 120173 h 336917"/>
                  <a:gd name="connsiteX14" fmla="*/ 209720 w 315896"/>
                  <a:gd name="connsiteY14" fmla="*/ 121271 h 336917"/>
                  <a:gd name="connsiteX15" fmla="*/ 214989 w 315896"/>
                  <a:gd name="connsiteY15" fmla="*/ 130464 h 336917"/>
                  <a:gd name="connsiteX16" fmla="*/ 223029 w 315896"/>
                  <a:gd name="connsiteY16" fmla="*/ 132248 h 336917"/>
                  <a:gd name="connsiteX17" fmla="*/ 227914 w 315896"/>
                  <a:gd name="connsiteY17" fmla="*/ 136008 h 336917"/>
                  <a:gd name="connsiteX18" fmla="*/ 228628 w 315896"/>
                  <a:gd name="connsiteY18" fmla="*/ 140316 h 336917"/>
                  <a:gd name="connsiteX19" fmla="*/ 226295 w 315896"/>
                  <a:gd name="connsiteY19" fmla="*/ 145009 h 336917"/>
                  <a:gd name="connsiteX20" fmla="*/ 227749 w 315896"/>
                  <a:gd name="connsiteY20" fmla="*/ 149125 h 336917"/>
                  <a:gd name="connsiteX21" fmla="*/ 228189 w 315896"/>
                  <a:gd name="connsiteY21" fmla="*/ 150388 h 336917"/>
                  <a:gd name="connsiteX22" fmla="*/ 230603 w 315896"/>
                  <a:gd name="connsiteY22" fmla="*/ 149125 h 336917"/>
                  <a:gd name="connsiteX23" fmla="*/ 235187 w 315896"/>
                  <a:gd name="connsiteY23" fmla="*/ 146683 h 336917"/>
                  <a:gd name="connsiteX24" fmla="*/ 237821 w 315896"/>
                  <a:gd name="connsiteY24" fmla="*/ 149125 h 336917"/>
                  <a:gd name="connsiteX25" fmla="*/ 248112 w 315896"/>
                  <a:gd name="connsiteY25" fmla="*/ 158675 h 336917"/>
                  <a:gd name="connsiteX26" fmla="*/ 248112 w 315896"/>
                  <a:gd name="connsiteY26" fmla="*/ 163368 h 336917"/>
                  <a:gd name="connsiteX27" fmla="*/ 243776 w 315896"/>
                  <a:gd name="connsiteY27" fmla="*/ 169268 h 336917"/>
                  <a:gd name="connsiteX28" fmla="*/ 246328 w 315896"/>
                  <a:gd name="connsiteY28" fmla="*/ 174730 h 336917"/>
                  <a:gd name="connsiteX29" fmla="*/ 241252 w 315896"/>
                  <a:gd name="connsiteY29" fmla="*/ 180053 h 336917"/>
                  <a:gd name="connsiteX30" fmla="*/ 240922 w 315896"/>
                  <a:gd name="connsiteY30" fmla="*/ 185981 h 336917"/>
                  <a:gd name="connsiteX31" fmla="*/ 249155 w 315896"/>
                  <a:gd name="connsiteY31" fmla="*/ 192348 h 336917"/>
                  <a:gd name="connsiteX32" fmla="*/ 266279 w 315896"/>
                  <a:gd name="connsiteY32" fmla="*/ 197096 h 336917"/>
                  <a:gd name="connsiteX33" fmla="*/ 268750 w 315896"/>
                  <a:gd name="connsiteY33" fmla="*/ 206234 h 336917"/>
                  <a:gd name="connsiteX34" fmla="*/ 271494 w 315896"/>
                  <a:gd name="connsiteY34" fmla="*/ 218199 h 336917"/>
                  <a:gd name="connsiteX35" fmla="*/ 279617 w 315896"/>
                  <a:gd name="connsiteY35" fmla="*/ 225005 h 336917"/>
                  <a:gd name="connsiteX36" fmla="*/ 280769 w 315896"/>
                  <a:gd name="connsiteY36" fmla="*/ 232470 h 336917"/>
                  <a:gd name="connsiteX37" fmla="*/ 301873 w 315896"/>
                  <a:gd name="connsiteY37" fmla="*/ 236092 h 336917"/>
                  <a:gd name="connsiteX38" fmla="*/ 315896 w 315896"/>
                  <a:gd name="connsiteY38" fmla="*/ 255138 h 336917"/>
                  <a:gd name="connsiteX39" fmla="*/ 311395 w 315896"/>
                  <a:gd name="connsiteY39" fmla="*/ 270286 h 336917"/>
                  <a:gd name="connsiteX40" fmla="*/ 312439 w 315896"/>
                  <a:gd name="connsiteY40" fmla="*/ 277888 h 336917"/>
                  <a:gd name="connsiteX41" fmla="*/ 310600 w 315896"/>
                  <a:gd name="connsiteY41" fmla="*/ 288975 h 336917"/>
                  <a:gd name="connsiteX42" fmla="*/ 312000 w 315896"/>
                  <a:gd name="connsiteY42" fmla="*/ 308706 h 336917"/>
                  <a:gd name="connsiteX43" fmla="*/ 307115 w 315896"/>
                  <a:gd name="connsiteY43" fmla="*/ 334777 h 336917"/>
                  <a:gd name="connsiteX44" fmla="*/ 303272 w 315896"/>
                  <a:gd name="connsiteY44" fmla="*/ 334063 h 336917"/>
                  <a:gd name="connsiteX45" fmla="*/ 295397 w 315896"/>
                  <a:gd name="connsiteY45" fmla="*/ 327862 h 336917"/>
                  <a:gd name="connsiteX46" fmla="*/ 288563 w 315896"/>
                  <a:gd name="connsiteY46" fmla="*/ 332664 h 336917"/>
                  <a:gd name="connsiteX47" fmla="*/ 276488 w 315896"/>
                  <a:gd name="connsiteY47" fmla="*/ 328904 h 336917"/>
                  <a:gd name="connsiteX48" fmla="*/ 275994 w 315896"/>
                  <a:gd name="connsiteY48" fmla="*/ 335765 h 336917"/>
                  <a:gd name="connsiteX49" fmla="*/ 273744 w 315896"/>
                  <a:gd name="connsiteY49" fmla="*/ 336918 h 336917"/>
                  <a:gd name="connsiteX50" fmla="*/ 251625 w 315896"/>
                  <a:gd name="connsiteY50" fmla="*/ 314305 h 336917"/>
                  <a:gd name="connsiteX51" fmla="*/ 237876 w 315896"/>
                  <a:gd name="connsiteY51" fmla="*/ 305770 h 336917"/>
                  <a:gd name="connsiteX52" fmla="*/ 210296 w 315896"/>
                  <a:gd name="connsiteY52" fmla="*/ 284310 h 336917"/>
                  <a:gd name="connsiteX53" fmla="*/ 202612 w 315896"/>
                  <a:gd name="connsiteY53" fmla="*/ 272207 h 336917"/>
                  <a:gd name="connsiteX54" fmla="*/ 186640 w 315896"/>
                  <a:gd name="connsiteY54" fmla="*/ 258979 h 336917"/>
                  <a:gd name="connsiteX55" fmla="*/ 165729 w 315896"/>
                  <a:gd name="connsiteY55" fmla="*/ 231564 h 336917"/>
                  <a:gd name="connsiteX56" fmla="*/ 161667 w 315896"/>
                  <a:gd name="connsiteY56" fmla="*/ 217431 h 336917"/>
                  <a:gd name="connsiteX57" fmla="*/ 156069 w 315896"/>
                  <a:gd name="connsiteY57" fmla="*/ 206207 h 336917"/>
                  <a:gd name="connsiteX58" fmla="*/ 150909 w 315896"/>
                  <a:gd name="connsiteY58" fmla="*/ 199511 h 336917"/>
                  <a:gd name="connsiteX59" fmla="*/ 146134 w 315896"/>
                  <a:gd name="connsiteY59" fmla="*/ 187463 h 336917"/>
                  <a:gd name="connsiteX60" fmla="*/ 129805 w 315896"/>
                  <a:gd name="connsiteY60" fmla="*/ 165811 h 336917"/>
                  <a:gd name="connsiteX61" fmla="*/ 113806 w 315896"/>
                  <a:gd name="connsiteY61" fmla="*/ 153406 h 336917"/>
                  <a:gd name="connsiteX62" fmla="*/ 112434 w 315896"/>
                  <a:gd name="connsiteY62" fmla="*/ 149125 h 336917"/>
                  <a:gd name="connsiteX63" fmla="*/ 101402 w 315896"/>
                  <a:gd name="connsiteY63" fmla="*/ 114245 h 336917"/>
                  <a:gd name="connsiteX64" fmla="*/ 90425 w 315896"/>
                  <a:gd name="connsiteY64" fmla="*/ 104421 h 336917"/>
                  <a:gd name="connsiteX65" fmla="*/ 73520 w 315896"/>
                  <a:gd name="connsiteY65" fmla="*/ 95913 h 336917"/>
                  <a:gd name="connsiteX66" fmla="*/ 67153 w 315896"/>
                  <a:gd name="connsiteY66" fmla="*/ 80792 h 336917"/>
                  <a:gd name="connsiteX67" fmla="*/ 50276 w 315896"/>
                  <a:gd name="connsiteY67" fmla="*/ 60457 h 336917"/>
                  <a:gd name="connsiteX68" fmla="*/ 43826 w 315896"/>
                  <a:gd name="connsiteY68" fmla="*/ 55023 h 336917"/>
                  <a:gd name="connsiteX69" fmla="*/ 32109 w 315896"/>
                  <a:gd name="connsiteY69" fmla="*/ 49480 h 336917"/>
                  <a:gd name="connsiteX70" fmla="*/ 7739 w 315896"/>
                  <a:gd name="connsiteY70" fmla="*/ 25495 h 336917"/>
                  <a:gd name="connsiteX71" fmla="*/ 0 w 315896"/>
                  <a:gd name="connsiteY71" fmla="*/ 10511 h 336917"/>
                  <a:gd name="connsiteX72" fmla="*/ 2251 w 315896"/>
                  <a:gd name="connsiteY72" fmla="*/ 329 h 336917"/>
                  <a:gd name="connsiteX73" fmla="*/ 10703 w 315896"/>
                  <a:gd name="connsiteY73" fmla="*/ 0 h 336917"/>
                  <a:gd name="connsiteX74" fmla="*/ 22558 w 315896"/>
                  <a:gd name="connsiteY74" fmla="*/ 6861 h 336917"/>
                  <a:gd name="connsiteX75" fmla="*/ 30242 w 315896"/>
                  <a:gd name="connsiteY75" fmla="*/ 9331 h 336917"/>
                  <a:gd name="connsiteX76" fmla="*/ 48876 w 315896"/>
                  <a:gd name="connsiteY76" fmla="*/ 9770 h 336917"/>
                  <a:gd name="connsiteX77" fmla="*/ 67537 w 315896"/>
                  <a:gd name="connsiteY77" fmla="*/ 13035 h 336917"/>
                  <a:gd name="connsiteX78" fmla="*/ 75743 w 315896"/>
                  <a:gd name="connsiteY78" fmla="*/ 20692 h 33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15896" h="336917">
                    <a:moveTo>
                      <a:pt x="75770" y="20692"/>
                    </a:moveTo>
                    <a:lnTo>
                      <a:pt x="80490" y="28925"/>
                    </a:lnTo>
                    <a:lnTo>
                      <a:pt x="85485" y="33810"/>
                    </a:lnTo>
                    <a:lnTo>
                      <a:pt x="89848" y="43634"/>
                    </a:lnTo>
                    <a:lnTo>
                      <a:pt x="132083" y="72258"/>
                    </a:lnTo>
                    <a:lnTo>
                      <a:pt x="155025" y="98960"/>
                    </a:lnTo>
                    <a:lnTo>
                      <a:pt x="159745" y="100688"/>
                    </a:lnTo>
                    <a:lnTo>
                      <a:pt x="167952" y="98164"/>
                    </a:lnTo>
                    <a:lnTo>
                      <a:pt x="178709" y="106232"/>
                    </a:lnTo>
                    <a:lnTo>
                      <a:pt x="187573" y="105052"/>
                    </a:lnTo>
                    <a:lnTo>
                      <a:pt x="189357" y="108482"/>
                    </a:lnTo>
                    <a:lnTo>
                      <a:pt x="189466" y="115178"/>
                    </a:lnTo>
                    <a:lnTo>
                      <a:pt x="202502" y="127116"/>
                    </a:lnTo>
                    <a:lnTo>
                      <a:pt x="203847" y="120173"/>
                    </a:lnTo>
                    <a:lnTo>
                      <a:pt x="209720" y="121271"/>
                    </a:lnTo>
                    <a:lnTo>
                      <a:pt x="214989" y="130464"/>
                    </a:lnTo>
                    <a:lnTo>
                      <a:pt x="223029" y="132248"/>
                    </a:lnTo>
                    <a:lnTo>
                      <a:pt x="227914" y="136008"/>
                    </a:lnTo>
                    <a:lnTo>
                      <a:pt x="228628" y="140316"/>
                    </a:lnTo>
                    <a:lnTo>
                      <a:pt x="226295" y="145009"/>
                    </a:lnTo>
                    <a:lnTo>
                      <a:pt x="227749" y="149125"/>
                    </a:lnTo>
                    <a:lnTo>
                      <a:pt x="228189" y="150388"/>
                    </a:lnTo>
                    <a:lnTo>
                      <a:pt x="230603" y="149125"/>
                    </a:lnTo>
                    <a:lnTo>
                      <a:pt x="235187" y="146683"/>
                    </a:lnTo>
                    <a:lnTo>
                      <a:pt x="237821" y="149125"/>
                    </a:lnTo>
                    <a:lnTo>
                      <a:pt x="248112" y="158675"/>
                    </a:lnTo>
                    <a:lnTo>
                      <a:pt x="248112" y="163368"/>
                    </a:lnTo>
                    <a:cubicBezTo>
                      <a:pt x="248112" y="163368"/>
                      <a:pt x="243776" y="169268"/>
                      <a:pt x="243776" y="169268"/>
                    </a:cubicBezTo>
                    <a:lnTo>
                      <a:pt x="246328" y="174730"/>
                    </a:lnTo>
                    <a:lnTo>
                      <a:pt x="241252" y="180053"/>
                    </a:lnTo>
                    <a:lnTo>
                      <a:pt x="240922" y="185981"/>
                    </a:lnTo>
                    <a:lnTo>
                      <a:pt x="249155" y="192348"/>
                    </a:lnTo>
                    <a:lnTo>
                      <a:pt x="266279" y="197096"/>
                    </a:lnTo>
                    <a:lnTo>
                      <a:pt x="268750" y="206234"/>
                    </a:lnTo>
                    <a:lnTo>
                      <a:pt x="271494" y="218199"/>
                    </a:lnTo>
                    <a:lnTo>
                      <a:pt x="279617" y="225005"/>
                    </a:lnTo>
                    <a:lnTo>
                      <a:pt x="280769" y="232470"/>
                    </a:lnTo>
                    <a:lnTo>
                      <a:pt x="301873" y="236092"/>
                    </a:lnTo>
                    <a:lnTo>
                      <a:pt x="315896" y="255138"/>
                    </a:lnTo>
                    <a:lnTo>
                      <a:pt x="311395" y="270286"/>
                    </a:lnTo>
                    <a:lnTo>
                      <a:pt x="312439" y="277888"/>
                    </a:lnTo>
                    <a:lnTo>
                      <a:pt x="310600" y="288975"/>
                    </a:lnTo>
                    <a:lnTo>
                      <a:pt x="312000" y="308706"/>
                    </a:lnTo>
                    <a:lnTo>
                      <a:pt x="307115" y="334777"/>
                    </a:lnTo>
                    <a:lnTo>
                      <a:pt x="303272" y="334063"/>
                    </a:lnTo>
                    <a:lnTo>
                      <a:pt x="295397" y="327862"/>
                    </a:lnTo>
                    <a:lnTo>
                      <a:pt x="288563" y="332664"/>
                    </a:lnTo>
                    <a:lnTo>
                      <a:pt x="276488" y="328904"/>
                    </a:lnTo>
                    <a:lnTo>
                      <a:pt x="275994" y="335765"/>
                    </a:lnTo>
                    <a:lnTo>
                      <a:pt x="273744" y="336918"/>
                    </a:lnTo>
                    <a:lnTo>
                      <a:pt x="251625" y="314305"/>
                    </a:lnTo>
                    <a:lnTo>
                      <a:pt x="237876" y="305770"/>
                    </a:lnTo>
                    <a:lnTo>
                      <a:pt x="210296" y="284310"/>
                    </a:lnTo>
                    <a:lnTo>
                      <a:pt x="202612" y="272207"/>
                    </a:lnTo>
                    <a:lnTo>
                      <a:pt x="186640" y="258979"/>
                    </a:lnTo>
                    <a:lnTo>
                      <a:pt x="165729" y="231564"/>
                    </a:lnTo>
                    <a:lnTo>
                      <a:pt x="161667" y="217431"/>
                    </a:lnTo>
                    <a:lnTo>
                      <a:pt x="156069" y="206207"/>
                    </a:lnTo>
                    <a:lnTo>
                      <a:pt x="150909" y="199511"/>
                    </a:lnTo>
                    <a:lnTo>
                      <a:pt x="146134" y="187463"/>
                    </a:lnTo>
                    <a:lnTo>
                      <a:pt x="129805" y="165811"/>
                    </a:lnTo>
                    <a:lnTo>
                      <a:pt x="113806" y="153406"/>
                    </a:lnTo>
                    <a:lnTo>
                      <a:pt x="112434" y="149125"/>
                    </a:lnTo>
                    <a:lnTo>
                      <a:pt x="101402" y="114245"/>
                    </a:lnTo>
                    <a:lnTo>
                      <a:pt x="90425" y="104421"/>
                    </a:lnTo>
                    <a:lnTo>
                      <a:pt x="73520" y="95913"/>
                    </a:lnTo>
                    <a:lnTo>
                      <a:pt x="67153" y="80792"/>
                    </a:lnTo>
                    <a:lnTo>
                      <a:pt x="50276" y="60457"/>
                    </a:lnTo>
                    <a:lnTo>
                      <a:pt x="43826" y="55023"/>
                    </a:lnTo>
                    <a:lnTo>
                      <a:pt x="32109" y="49480"/>
                    </a:lnTo>
                    <a:lnTo>
                      <a:pt x="7739" y="25495"/>
                    </a:lnTo>
                    <a:lnTo>
                      <a:pt x="0" y="10511"/>
                    </a:lnTo>
                    <a:lnTo>
                      <a:pt x="2251" y="329"/>
                    </a:lnTo>
                    <a:lnTo>
                      <a:pt x="10703" y="0"/>
                    </a:lnTo>
                    <a:lnTo>
                      <a:pt x="22558" y="6861"/>
                    </a:lnTo>
                    <a:lnTo>
                      <a:pt x="30242" y="9331"/>
                    </a:lnTo>
                    <a:lnTo>
                      <a:pt x="48876" y="9770"/>
                    </a:lnTo>
                    <a:lnTo>
                      <a:pt x="67537" y="13035"/>
                    </a:lnTo>
                    <a:lnTo>
                      <a:pt x="75743" y="206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4" name="Freeform: Shape 3673">
                <a:extLst>
                  <a:ext uri="{FF2B5EF4-FFF2-40B4-BE49-F238E27FC236}">
                    <a16:creationId xmlns:a16="http://schemas.microsoft.com/office/drawing/2014/main" id="{10197D83-EC36-5E7A-BE5E-467A347F7BAB}"/>
                  </a:ext>
                </a:extLst>
              </p:cNvPr>
              <p:cNvSpPr/>
              <p:nvPr/>
            </p:nvSpPr>
            <p:spPr>
              <a:xfrm>
                <a:off x="1689239" y="3862816"/>
                <a:ext cx="30956" cy="8458"/>
              </a:xfrm>
              <a:custGeom>
                <a:avLst/>
                <a:gdLst>
                  <a:gd name="connsiteX0" fmla="*/ 82 w 296796"/>
                  <a:gd name="connsiteY0" fmla="*/ 21790 h 81093"/>
                  <a:gd name="connsiteX1" fmla="*/ 9935 w 296796"/>
                  <a:gd name="connsiteY1" fmla="*/ 3952 h 81093"/>
                  <a:gd name="connsiteX2" fmla="*/ 15423 w 296796"/>
                  <a:gd name="connsiteY2" fmla="*/ 0 h 81093"/>
                  <a:gd name="connsiteX3" fmla="*/ 35566 w 296796"/>
                  <a:gd name="connsiteY3" fmla="*/ 2936 h 81093"/>
                  <a:gd name="connsiteX4" fmla="*/ 44897 w 296796"/>
                  <a:gd name="connsiteY4" fmla="*/ 137 h 81093"/>
                  <a:gd name="connsiteX5" fmla="*/ 49727 w 296796"/>
                  <a:gd name="connsiteY5" fmla="*/ 576 h 81093"/>
                  <a:gd name="connsiteX6" fmla="*/ 61912 w 296796"/>
                  <a:gd name="connsiteY6" fmla="*/ 6806 h 81093"/>
                  <a:gd name="connsiteX7" fmla="*/ 79173 w 296796"/>
                  <a:gd name="connsiteY7" fmla="*/ 9934 h 81093"/>
                  <a:gd name="connsiteX8" fmla="*/ 91715 w 296796"/>
                  <a:gd name="connsiteY8" fmla="*/ 22640 h 81093"/>
                  <a:gd name="connsiteX9" fmla="*/ 105052 w 296796"/>
                  <a:gd name="connsiteY9" fmla="*/ 25632 h 81093"/>
                  <a:gd name="connsiteX10" fmla="*/ 141221 w 296796"/>
                  <a:gd name="connsiteY10" fmla="*/ 27470 h 81093"/>
                  <a:gd name="connsiteX11" fmla="*/ 146792 w 296796"/>
                  <a:gd name="connsiteY11" fmla="*/ 23436 h 81093"/>
                  <a:gd name="connsiteX12" fmla="*/ 151732 w 296796"/>
                  <a:gd name="connsiteY12" fmla="*/ 16219 h 81093"/>
                  <a:gd name="connsiteX13" fmla="*/ 157139 w 296796"/>
                  <a:gd name="connsiteY13" fmla="*/ 14353 h 81093"/>
                  <a:gd name="connsiteX14" fmla="*/ 166387 w 296796"/>
                  <a:gd name="connsiteY14" fmla="*/ 19814 h 81093"/>
                  <a:gd name="connsiteX15" fmla="*/ 176129 w 296796"/>
                  <a:gd name="connsiteY15" fmla="*/ 20664 h 81093"/>
                  <a:gd name="connsiteX16" fmla="*/ 191744 w 296796"/>
                  <a:gd name="connsiteY16" fmla="*/ 26153 h 81093"/>
                  <a:gd name="connsiteX17" fmla="*/ 202447 w 296796"/>
                  <a:gd name="connsiteY17" fmla="*/ 27992 h 81093"/>
                  <a:gd name="connsiteX18" fmla="*/ 208979 w 296796"/>
                  <a:gd name="connsiteY18" fmla="*/ 32932 h 81093"/>
                  <a:gd name="connsiteX19" fmla="*/ 218830 w 296796"/>
                  <a:gd name="connsiteY19" fmla="*/ 27690 h 81093"/>
                  <a:gd name="connsiteX20" fmla="*/ 245807 w 296796"/>
                  <a:gd name="connsiteY20" fmla="*/ 28239 h 81093"/>
                  <a:gd name="connsiteX21" fmla="*/ 247728 w 296796"/>
                  <a:gd name="connsiteY21" fmla="*/ 31230 h 81093"/>
                  <a:gd name="connsiteX22" fmla="*/ 245121 w 296796"/>
                  <a:gd name="connsiteY22" fmla="*/ 33892 h 81093"/>
                  <a:gd name="connsiteX23" fmla="*/ 232689 w 296796"/>
                  <a:gd name="connsiteY23" fmla="*/ 36389 h 81093"/>
                  <a:gd name="connsiteX24" fmla="*/ 215620 w 296796"/>
                  <a:gd name="connsiteY24" fmla="*/ 36883 h 81093"/>
                  <a:gd name="connsiteX25" fmla="*/ 213754 w 296796"/>
                  <a:gd name="connsiteY25" fmla="*/ 44649 h 81093"/>
                  <a:gd name="connsiteX26" fmla="*/ 228079 w 296796"/>
                  <a:gd name="connsiteY26" fmla="*/ 52279 h 81093"/>
                  <a:gd name="connsiteX27" fmla="*/ 253628 w 296796"/>
                  <a:gd name="connsiteY27" fmla="*/ 51593 h 81093"/>
                  <a:gd name="connsiteX28" fmla="*/ 258513 w 296796"/>
                  <a:gd name="connsiteY28" fmla="*/ 54337 h 81093"/>
                  <a:gd name="connsiteX29" fmla="*/ 267459 w 296796"/>
                  <a:gd name="connsiteY29" fmla="*/ 63558 h 81093"/>
                  <a:gd name="connsiteX30" fmla="*/ 288014 w 296796"/>
                  <a:gd name="connsiteY30" fmla="*/ 64381 h 81093"/>
                  <a:gd name="connsiteX31" fmla="*/ 291637 w 296796"/>
                  <a:gd name="connsiteY31" fmla="*/ 66165 h 81093"/>
                  <a:gd name="connsiteX32" fmla="*/ 296796 w 296796"/>
                  <a:gd name="connsiteY32" fmla="*/ 71873 h 81093"/>
                  <a:gd name="connsiteX33" fmla="*/ 288014 w 296796"/>
                  <a:gd name="connsiteY33" fmla="*/ 77087 h 81093"/>
                  <a:gd name="connsiteX34" fmla="*/ 281263 w 296796"/>
                  <a:gd name="connsiteY34" fmla="*/ 79200 h 81093"/>
                  <a:gd name="connsiteX35" fmla="*/ 261312 w 296796"/>
                  <a:gd name="connsiteY35" fmla="*/ 68003 h 81093"/>
                  <a:gd name="connsiteX36" fmla="*/ 259638 w 296796"/>
                  <a:gd name="connsiteY36" fmla="*/ 72614 h 81093"/>
                  <a:gd name="connsiteX37" fmla="*/ 262465 w 296796"/>
                  <a:gd name="connsiteY37" fmla="*/ 79447 h 81093"/>
                  <a:gd name="connsiteX38" fmla="*/ 259885 w 296796"/>
                  <a:gd name="connsiteY38" fmla="*/ 81094 h 81093"/>
                  <a:gd name="connsiteX39" fmla="*/ 226158 w 296796"/>
                  <a:gd name="connsiteY39" fmla="*/ 69897 h 81093"/>
                  <a:gd name="connsiteX40" fmla="*/ 206975 w 296796"/>
                  <a:gd name="connsiteY40" fmla="*/ 71900 h 81093"/>
                  <a:gd name="connsiteX41" fmla="*/ 186722 w 296796"/>
                  <a:gd name="connsiteY41" fmla="*/ 69074 h 81093"/>
                  <a:gd name="connsiteX42" fmla="*/ 174071 w 296796"/>
                  <a:gd name="connsiteY42" fmla="*/ 69513 h 81093"/>
                  <a:gd name="connsiteX43" fmla="*/ 153928 w 296796"/>
                  <a:gd name="connsiteY43" fmla="*/ 65945 h 81093"/>
                  <a:gd name="connsiteX44" fmla="*/ 128296 w 296796"/>
                  <a:gd name="connsiteY44" fmla="*/ 56066 h 81093"/>
                  <a:gd name="connsiteX45" fmla="*/ 110760 w 296796"/>
                  <a:gd name="connsiteY45" fmla="*/ 52196 h 81093"/>
                  <a:gd name="connsiteX46" fmla="*/ 72313 w 296796"/>
                  <a:gd name="connsiteY46" fmla="*/ 52471 h 81093"/>
                  <a:gd name="connsiteX47" fmla="*/ 52361 w 296796"/>
                  <a:gd name="connsiteY47" fmla="*/ 45500 h 81093"/>
                  <a:gd name="connsiteX48" fmla="*/ 29529 w 296796"/>
                  <a:gd name="connsiteY48" fmla="*/ 41521 h 81093"/>
                  <a:gd name="connsiteX49" fmla="*/ 26483 w 296796"/>
                  <a:gd name="connsiteY49" fmla="*/ 38914 h 81093"/>
                  <a:gd name="connsiteX50" fmla="*/ 26538 w 296796"/>
                  <a:gd name="connsiteY50" fmla="*/ 33151 h 81093"/>
                  <a:gd name="connsiteX51" fmla="*/ 24809 w 296796"/>
                  <a:gd name="connsiteY51" fmla="*/ 30324 h 81093"/>
                  <a:gd name="connsiteX52" fmla="*/ 0 w 296796"/>
                  <a:gd name="connsiteY52" fmla="*/ 21817 h 8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96796" h="81093">
                    <a:moveTo>
                      <a:pt x="82" y="21790"/>
                    </a:moveTo>
                    <a:lnTo>
                      <a:pt x="9935" y="3952"/>
                    </a:lnTo>
                    <a:lnTo>
                      <a:pt x="15423" y="0"/>
                    </a:lnTo>
                    <a:lnTo>
                      <a:pt x="35566" y="2936"/>
                    </a:lnTo>
                    <a:lnTo>
                      <a:pt x="44897" y="137"/>
                    </a:lnTo>
                    <a:lnTo>
                      <a:pt x="49727" y="576"/>
                    </a:lnTo>
                    <a:lnTo>
                      <a:pt x="61912" y="6806"/>
                    </a:lnTo>
                    <a:lnTo>
                      <a:pt x="79173" y="9934"/>
                    </a:lnTo>
                    <a:lnTo>
                      <a:pt x="91715" y="22640"/>
                    </a:lnTo>
                    <a:lnTo>
                      <a:pt x="105052" y="25632"/>
                    </a:lnTo>
                    <a:lnTo>
                      <a:pt x="141221" y="27470"/>
                    </a:lnTo>
                    <a:lnTo>
                      <a:pt x="146792" y="23436"/>
                    </a:lnTo>
                    <a:lnTo>
                      <a:pt x="151732" y="16219"/>
                    </a:lnTo>
                    <a:lnTo>
                      <a:pt x="157139" y="14353"/>
                    </a:lnTo>
                    <a:lnTo>
                      <a:pt x="166387" y="19814"/>
                    </a:lnTo>
                    <a:lnTo>
                      <a:pt x="176129" y="20664"/>
                    </a:lnTo>
                    <a:lnTo>
                      <a:pt x="191744" y="26153"/>
                    </a:lnTo>
                    <a:lnTo>
                      <a:pt x="202447" y="27992"/>
                    </a:lnTo>
                    <a:lnTo>
                      <a:pt x="208979" y="32932"/>
                    </a:lnTo>
                    <a:lnTo>
                      <a:pt x="218830" y="27690"/>
                    </a:lnTo>
                    <a:lnTo>
                      <a:pt x="245807" y="28239"/>
                    </a:lnTo>
                    <a:lnTo>
                      <a:pt x="247728" y="31230"/>
                    </a:lnTo>
                    <a:lnTo>
                      <a:pt x="245121" y="33892"/>
                    </a:lnTo>
                    <a:lnTo>
                      <a:pt x="232689" y="36389"/>
                    </a:lnTo>
                    <a:lnTo>
                      <a:pt x="215620" y="36883"/>
                    </a:lnTo>
                    <a:lnTo>
                      <a:pt x="213754" y="44649"/>
                    </a:lnTo>
                    <a:lnTo>
                      <a:pt x="228079" y="52279"/>
                    </a:lnTo>
                    <a:lnTo>
                      <a:pt x="253628" y="51593"/>
                    </a:lnTo>
                    <a:lnTo>
                      <a:pt x="258513" y="54337"/>
                    </a:lnTo>
                    <a:lnTo>
                      <a:pt x="267459" y="63558"/>
                    </a:lnTo>
                    <a:lnTo>
                      <a:pt x="288014" y="64381"/>
                    </a:lnTo>
                    <a:lnTo>
                      <a:pt x="291637" y="66165"/>
                    </a:lnTo>
                    <a:lnTo>
                      <a:pt x="296796" y="71873"/>
                    </a:lnTo>
                    <a:lnTo>
                      <a:pt x="288014" y="77087"/>
                    </a:lnTo>
                    <a:lnTo>
                      <a:pt x="281263" y="79200"/>
                    </a:lnTo>
                    <a:lnTo>
                      <a:pt x="261312" y="68003"/>
                    </a:lnTo>
                    <a:lnTo>
                      <a:pt x="259638" y="72614"/>
                    </a:lnTo>
                    <a:lnTo>
                      <a:pt x="262465" y="79447"/>
                    </a:lnTo>
                    <a:lnTo>
                      <a:pt x="259885" y="81094"/>
                    </a:lnTo>
                    <a:lnTo>
                      <a:pt x="226158" y="69897"/>
                    </a:lnTo>
                    <a:lnTo>
                      <a:pt x="206975" y="71900"/>
                    </a:lnTo>
                    <a:lnTo>
                      <a:pt x="186722" y="69074"/>
                    </a:lnTo>
                    <a:lnTo>
                      <a:pt x="174071" y="69513"/>
                    </a:lnTo>
                    <a:lnTo>
                      <a:pt x="153928" y="65945"/>
                    </a:lnTo>
                    <a:lnTo>
                      <a:pt x="128296" y="56066"/>
                    </a:lnTo>
                    <a:lnTo>
                      <a:pt x="110760" y="52196"/>
                    </a:lnTo>
                    <a:lnTo>
                      <a:pt x="72313" y="52471"/>
                    </a:lnTo>
                    <a:lnTo>
                      <a:pt x="52361" y="45500"/>
                    </a:lnTo>
                    <a:lnTo>
                      <a:pt x="29529" y="41521"/>
                    </a:lnTo>
                    <a:lnTo>
                      <a:pt x="26483" y="38914"/>
                    </a:lnTo>
                    <a:lnTo>
                      <a:pt x="26538" y="33151"/>
                    </a:lnTo>
                    <a:lnTo>
                      <a:pt x="24809" y="30324"/>
                    </a:lnTo>
                    <a:lnTo>
                      <a:pt x="0" y="218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8" name="Freeform: Shape 3677">
                <a:extLst>
                  <a:ext uri="{FF2B5EF4-FFF2-40B4-BE49-F238E27FC236}">
                    <a16:creationId xmlns:a16="http://schemas.microsoft.com/office/drawing/2014/main" id="{B122DAD1-4C00-7A35-B895-7782710C6984}"/>
                  </a:ext>
                </a:extLst>
              </p:cNvPr>
              <p:cNvSpPr/>
              <p:nvPr/>
            </p:nvSpPr>
            <p:spPr>
              <a:xfrm>
                <a:off x="1687953" y="3849134"/>
                <a:ext cx="5261" cy="4820"/>
              </a:xfrm>
              <a:custGeom>
                <a:avLst/>
                <a:gdLst>
                  <a:gd name="connsiteX0" fmla="*/ 9331 w 50440"/>
                  <a:gd name="connsiteY0" fmla="*/ 1674 h 46213"/>
                  <a:gd name="connsiteX1" fmla="*/ 12816 w 50440"/>
                  <a:gd name="connsiteY1" fmla="*/ 1427 h 46213"/>
                  <a:gd name="connsiteX2" fmla="*/ 16027 w 50440"/>
                  <a:gd name="connsiteY2" fmla="*/ 5242 h 46213"/>
                  <a:gd name="connsiteX3" fmla="*/ 17865 w 50440"/>
                  <a:gd name="connsiteY3" fmla="*/ 412 h 46213"/>
                  <a:gd name="connsiteX4" fmla="*/ 21516 w 50440"/>
                  <a:gd name="connsiteY4" fmla="*/ 0 h 46213"/>
                  <a:gd name="connsiteX5" fmla="*/ 24452 w 50440"/>
                  <a:gd name="connsiteY5" fmla="*/ 1674 h 46213"/>
                  <a:gd name="connsiteX6" fmla="*/ 31971 w 50440"/>
                  <a:gd name="connsiteY6" fmla="*/ 21213 h 46213"/>
                  <a:gd name="connsiteX7" fmla="*/ 33810 w 50440"/>
                  <a:gd name="connsiteY7" fmla="*/ 26565 h 46213"/>
                  <a:gd name="connsiteX8" fmla="*/ 47147 w 50440"/>
                  <a:gd name="connsiteY8" fmla="*/ 30791 h 46213"/>
                  <a:gd name="connsiteX9" fmla="*/ 44760 w 50440"/>
                  <a:gd name="connsiteY9" fmla="*/ 36280 h 46213"/>
                  <a:gd name="connsiteX10" fmla="*/ 42592 w 50440"/>
                  <a:gd name="connsiteY10" fmla="*/ 41274 h 46213"/>
                  <a:gd name="connsiteX11" fmla="*/ 44760 w 50440"/>
                  <a:gd name="connsiteY11" fmla="*/ 42427 h 46213"/>
                  <a:gd name="connsiteX12" fmla="*/ 49645 w 50440"/>
                  <a:gd name="connsiteY12" fmla="*/ 40835 h 46213"/>
                  <a:gd name="connsiteX13" fmla="*/ 50441 w 50440"/>
                  <a:gd name="connsiteY13" fmla="*/ 43689 h 46213"/>
                  <a:gd name="connsiteX14" fmla="*/ 46900 w 50440"/>
                  <a:gd name="connsiteY14" fmla="*/ 43525 h 46213"/>
                  <a:gd name="connsiteX15" fmla="*/ 45199 w 50440"/>
                  <a:gd name="connsiteY15" fmla="*/ 46214 h 46213"/>
                  <a:gd name="connsiteX16" fmla="*/ 39902 w 50440"/>
                  <a:gd name="connsiteY16" fmla="*/ 45885 h 46213"/>
                  <a:gd name="connsiteX17" fmla="*/ 32822 w 50440"/>
                  <a:gd name="connsiteY17" fmla="*/ 40890 h 46213"/>
                  <a:gd name="connsiteX18" fmla="*/ 24068 w 50440"/>
                  <a:gd name="connsiteY18" fmla="*/ 37844 h 46213"/>
                  <a:gd name="connsiteX19" fmla="*/ 23327 w 50440"/>
                  <a:gd name="connsiteY19" fmla="*/ 36252 h 46213"/>
                  <a:gd name="connsiteX20" fmla="*/ 21982 w 50440"/>
                  <a:gd name="connsiteY20" fmla="*/ 33398 h 46213"/>
                  <a:gd name="connsiteX21" fmla="*/ 22476 w 50440"/>
                  <a:gd name="connsiteY21" fmla="*/ 28431 h 46213"/>
                  <a:gd name="connsiteX22" fmla="*/ 20692 w 50440"/>
                  <a:gd name="connsiteY22" fmla="*/ 26565 h 46213"/>
                  <a:gd name="connsiteX23" fmla="*/ 18277 w 50440"/>
                  <a:gd name="connsiteY23" fmla="*/ 21213 h 46213"/>
                  <a:gd name="connsiteX24" fmla="*/ 15560 w 50440"/>
                  <a:gd name="connsiteY24" fmla="*/ 18057 h 46213"/>
                  <a:gd name="connsiteX25" fmla="*/ 4940 w 50440"/>
                  <a:gd name="connsiteY25" fmla="*/ 17783 h 46213"/>
                  <a:gd name="connsiteX26" fmla="*/ 0 w 50440"/>
                  <a:gd name="connsiteY26" fmla="*/ 15231 h 46213"/>
                  <a:gd name="connsiteX27" fmla="*/ 9276 w 50440"/>
                  <a:gd name="connsiteY27" fmla="*/ 1674 h 4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440" h="46213">
                    <a:moveTo>
                      <a:pt x="9331" y="1674"/>
                    </a:moveTo>
                    <a:lnTo>
                      <a:pt x="12816" y="1427"/>
                    </a:lnTo>
                    <a:lnTo>
                      <a:pt x="16027" y="5242"/>
                    </a:lnTo>
                    <a:lnTo>
                      <a:pt x="17865" y="412"/>
                    </a:lnTo>
                    <a:lnTo>
                      <a:pt x="21516" y="0"/>
                    </a:lnTo>
                    <a:lnTo>
                      <a:pt x="24452" y="1674"/>
                    </a:lnTo>
                    <a:lnTo>
                      <a:pt x="31971" y="21213"/>
                    </a:lnTo>
                    <a:lnTo>
                      <a:pt x="33810" y="26565"/>
                    </a:lnTo>
                    <a:lnTo>
                      <a:pt x="47147" y="30791"/>
                    </a:lnTo>
                    <a:lnTo>
                      <a:pt x="44760" y="36280"/>
                    </a:lnTo>
                    <a:lnTo>
                      <a:pt x="42592" y="41274"/>
                    </a:lnTo>
                    <a:lnTo>
                      <a:pt x="44760" y="42427"/>
                    </a:lnTo>
                    <a:lnTo>
                      <a:pt x="49645" y="40835"/>
                    </a:lnTo>
                    <a:lnTo>
                      <a:pt x="50441" y="43689"/>
                    </a:lnTo>
                    <a:lnTo>
                      <a:pt x="46900" y="43525"/>
                    </a:lnTo>
                    <a:lnTo>
                      <a:pt x="45199" y="46214"/>
                    </a:lnTo>
                    <a:lnTo>
                      <a:pt x="39902" y="45885"/>
                    </a:lnTo>
                    <a:lnTo>
                      <a:pt x="32822" y="40890"/>
                    </a:lnTo>
                    <a:lnTo>
                      <a:pt x="24068" y="37844"/>
                    </a:lnTo>
                    <a:lnTo>
                      <a:pt x="23327" y="36252"/>
                    </a:lnTo>
                    <a:lnTo>
                      <a:pt x="21982" y="33398"/>
                    </a:lnTo>
                    <a:lnTo>
                      <a:pt x="22476" y="28431"/>
                    </a:lnTo>
                    <a:lnTo>
                      <a:pt x="20692" y="26565"/>
                    </a:lnTo>
                    <a:lnTo>
                      <a:pt x="18277" y="21213"/>
                    </a:lnTo>
                    <a:lnTo>
                      <a:pt x="15560" y="18057"/>
                    </a:lnTo>
                    <a:lnTo>
                      <a:pt x="4940" y="17783"/>
                    </a:lnTo>
                    <a:lnTo>
                      <a:pt x="0" y="15231"/>
                    </a:lnTo>
                    <a:lnTo>
                      <a:pt x="9276" y="16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6" name="Freeform: Shape 3685">
                <a:extLst>
                  <a:ext uri="{FF2B5EF4-FFF2-40B4-BE49-F238E27FC236}">
                    <a16:creationId xmlns:a16="http://schemas.microsoft.com/office/drawing/2014/main" id="{53819CBE-B5E5-10D4-48A4-516372BFCA4A}"/>
                  </a:ext>
                </a:extLst>
              </p:cNvPr>
              <p:cNvSpPr/>
              <p:nvPr/>
            </p:nvSpPr>
            <p:spPr>
              <a:xfrm>
                <a:off x="1663357" y="3839848"/>
                <a:ext cx="2416" cy="2825"/>
              </a:xfrm>
              <a:custGeom>
                <a:avLst/>
                <a:gdLst>
                  <a:gd name="connsiteX0" fmla="*/ 21899 w 23161"/>
                  <a:gd name="connsiteY0" fmla="*/ 25605 h 27086"/>
                  <a:gd name="connsiteX1" fmla="*/ 18908 w 23161"/>
                  <a:gd name="connsiteY1" fmla="*/ 27087 h 27086"/>
                  <a:gd name="connsiteX2" fmla="*/ 16877 w 23161"/>
                  <a:gd name="connsiteY2" fmla="*/ 26894 h 27086"/>
                  <a:gd name="connsiteX3" fmla="*/ 13200 w 23161"/>
                  <a:gd name="connsiteY3" fmla="*/ 19567 h 27086"/>
                  <a:gd name="connsiteX4" fmla="*/ 7821 w 23161"/>
                  <a:gd name="connsiteY4" fmla="*/ 15917 h 27086"/>
                  <a:gd name="connsiteX5" fmla="*/ 0 w 23161"/>
                  <a:gd name="connsiteY5" fmla="*/ 3403 h 27086"/>
                  <a:gd name="connsiteX6" fmla="*/ 8205 w 23161"/>
                  <a:gd name="connsiteY6" fmla="*/ 0 h 27086"/>
                  <a:gd name="connsiteX7" fmla="*/ 15752 w 23161"/>
                  <a:gd name="connsiteY7" fmla="*/ 8892 h 27086"/>
                  <a:gd name="connsiteX8" fmla="*/ 18880 w 23161"/>
                  <a:gd name="connsiteY8" fmla="*/ 10428 h 27086"/>
                  <a:gd name="connsiteX9" fmla="*/ 23162 w 23161"/>
                  <a:gd name="connsiteY9" fmla="*/ 15972 h 27086"/>
                  <a:gd name="connsiteX10" fmla="*/ 21872 w 23161"/>
                  <a:gd name="connsiteY10" fmla="*/ 25605 h 2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61" h="27086">
                    <a:moveTo>
                      <a:pt x="21899" y="25605"/>
                    </a:moveTo>
                    <a:lnTo>
                      <a:pt x="18908" y="27087"/>
                    </a:lnTo>
                    <a:lnTo>
                      <a:pt x="16877" y="26894"/>
                    </a:lnTo>
                    <a:lnTo>
                      <a:pt x="13200" y="19567"/>
                    </a:lnTo>
                    <a:lnTo>
                      <a:pt x="7821" y="15917"/>
                    </a:lnTo>
                    <a:lnTo>
                      <a:pt x="0" y="3403"/>
                    </a:lnTo>
                    <a:lnTo>
                      <a:pt x="8205" y="0"/>
                    </a:lnTo>
                    <a:lnTo>
                      <a:pt x="15752" y="8892"/>
                    </a:lnTo>
                    <a:lnTo>
                      <a:pt x="18880" y="10428"/>
                    </a:lnTo>
                    <a:lnTo>
                      <a:pt x="23162" y="15972"/>
                    </a:lnTo>
                    <a:lnTo>
                      <a:pt x="21872" y="256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9" name="Freeform: Shape 3688">
                <a:extLst>
                  <a:ext uri="{FF2B5EF4-FFF2-40B4-BE49-F238E27FC236}">
                    <a16:creationId xmlns:a16="http://schemas.microsoft.com/office/drawing/2014/main" id="{D95E4301-F15B-8CAD-5630-E59F8A4D431A}"/>
                  </a:ext>
                </a:extLst>
              </p:cNvPr>
              <p:cNvSpPr/>
              <p:nvPr/>
            </p:nvSpPr>
            <p:spPr>
              <a:xfrm>
                <a:off x="1667886" y="3847348"/>
                <a:ext cx="2015" cy="2625"/>
              </a:xfrm>
              <a:custGeom>
                <a:avLst/>
                <a:gdLst>
                  <a:gd name="connsiteX0" fmla="*/ 17810 w 19319"/>
                  <a:gd name="connsiteY0" fmla="*/ 24589 h 25165"/>
                  <a:gd name="connsiteX1" fmla="*/ 15285 w 19319"/>
                  <a:gd name="connsiteY1" fmla="*/ 25165 h 25165"/>
                  <a:gd name="connsiteX2" fmla="*/ 7355 w 19319"/>
                  <a:gd name="connsiteY2" fmla="*/ 21131 h 25165"/>
                  <a:gd name="connsiteX3" fmla="*/ 3073 w 19319"/>
                  <a:gd name="connsiteY3" fmla="*/ 14325 h 25165"/>
                  <a:gd name="connsiteX4" fmla="*/ 0 w 19319"/>
                  <a:gd name="connsiteY4" fmla="*/ 9001 h 25165"/>
                  <a:gd name="connsiteX5" fmla="*/ 714 w 19319"/>
                  <a:gd name="connsiteY5" fmla="*/ 5242 h 25165"/>
                  <a:gd name="connsiteX6" fmla="*/ 1893 w 19319"/>
                  <a:gd name="connsiteY6" fmla="*/ 1098 h 25165"/>
                  <a:gd name="connsiteX7" fmla="*/ 7683 w 19319"/>
                  <a:gd name="connsiteY7" fmla="*/ 0 h 25165"/>
                  <a:gd name="connsiteX8" fmla="*/ 10977 w 19319"/>
                  <a:gd name="connsiteY8" fmla="*/ 5242 h 25165"/>
                  <a:gd name="connsiteX9" fmla="*/ 15861 w 19319"/>
                  <a:gd name="connsiteY9" fmla="*/ 14325 h 25165"/>
                  <a:gd name="connsiteX10" fmla="*/ 19319 w 19319"/>
                  <a:gd name="connsiteY10" fmla="*/ 21762 h 25165"/>
                  <a:gd name="connsiteX11" fmla="*/ 17756 w 19319"/>
                  <a:gd name="connsiteY11" fmla="*/ 24616 h 2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319" h="25165">
                    <a:moveTo>
                      <a:pt x="17810" y="24589"/>
                    </a:moveTo>
                    <a:lnTo>
                      <a:pt x="15285" y="25165"/>
                    </a:lnTo>
                    <a:lnTo>
                      <a:pt x="7355" y="21131"/>
                    </a:lnTo>
                    <a:lnTo>
                      <a:pt x="3073" y="14325"/>
                    </a:lnTo>
                    <a:lnTo>
                      <a:pt x="0" y="9001"/>
                    </a:lnTo>
                    <a:lnTo>
                      <a:pt x="714" y="5242"/>
                    </a:lnTo>
                    <a:lnTo>
                      <a:pt x="1893" y="1098"/>
                    </a:lnTo>
                    <a:lnTo>
                      <a:pt x="7683" y="0"/>
                    </a:lnTo>
                    <a:lnTo>
                      <a:pt x="10977" y="5242"/>
                    </a:lnTo>
                    <a:lnTo>
                      <a:pt x="15861" y="14325"/>
                    </a:lnTo>
                    <a:lnTo>
                      <a:pt x="19319" y="21762"/>
                    </a:lnTo>
                    <a:lnTo>
                      <a:pt x="17756" y="246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2" name="Freeform: Shape 3691">
                <a:extLst>
                  <a:ext uri="{FF2B5EF4-FFF2-40B4-BE49-F238E27FC236}">
                    <a16:creationId xmlns:a16="http://schemas.microsoft.com/office/drawing/2014/main" id="{17DB82DE-AA0E-5676-541B-64AC1832D496}"/>
                  </a:ext>
                </a:extLst>
              </p:cNvPr>
              <p:cNvSpPr/>
              <p:nvPr/>
            </p:nvSpPr>
            <p:spPr>
              <a:xfrm>
                <a:off x="1695367" y="3852245"/>
                <a:ext cx="2161" cy="2184"/>
              </a:xfrm>
              <a:custGeom>
                <a:avLst/>
                <a:gdLst>
                  <a:gd name="connsiteX0" fmla="*/ 0 w 20718"/>
                  <a:gd name="connsiteY0" fmla="*/ 10428 h 20939"/>
                  <a:gd name="connsiteX1" fmla="*/ 1674 w 20718"/>
                  <a:gd name="connsiteY1" fmla="*/ 6394 h 20939"/>
                  <a:gd name="connsiteX2" fmla="*/ 1784 w 20718"/>
                  <a:gd name="connsiteY2" fmla="*/ 1976 h 20939"/>
                  <a:gd name="connsiteX3" fmla="*/ 2662 w 20718"/>
                  <a:gd name="connsiteY3" fmla="*/ 796 h 20939"/>
                  <a:gd name="connsiteX4" fmla="*/ 5763 w 20718"/>
                  <a:gd name="connsiteY4" fmla="*/ 796 h 20939"/>
                  <a:gd name="connsiteX5" fmla="*/ 7272 w 20718"/>
                  <a:gd name="connsiteY5" fmla="*/ 0 h 20939"/>
                  <a:gd name="connsiteX6" fmla="*/ 9578 w 20718"/>
                  <a:gd name="connsiteY6" fmla="*/ 1262 h 20939"/>
                  <a:gd name="connsiteX7" fmla="*/ 12267 w 20718"/>
                  <a:gd name="connsiteY7" fmla="*/ 1262 h 20939"/>
                  <a:gd name="connsiteX8" fmla="*/ 15094 w 20718"/>
                  <a:gd name="connsiteY8" fmla="*/ 2305 h 20939"/>
                  <a:gd name="connsiteX9" fmla="*/ 20143 w 20718"/>
                  <a:gd name="connsiteY9" fmla="*/ 6422 h 20939"/>
                  <a:gd name="connsiteX10" fmla="*/ 20719 w 20718"/>
                  <a:gd name="connsiteY10" fmla="*/ 9687 h 20939"/>
                  <a:gd name="connsiteX11" fmla="*/ 17838 w 20718"/>
                  <a:gd name="connsiteY11" fmla="*/ 17344 h 20939"/>
                  <a:gd name="connsiteX12" fmla="*/ 12706 w 20718"/>
                  <a:gd name="connsiteY12" fmla="*/ 20939 h 20939"/>
                  <a:gd name="connsiteX13" fmla="*/ 8342 w 20718"/>
                  <a:gd name="connsiteY13" fmla="*/ 16246 h 20939"/>
                  <a:gd name="connsiteX14" fmla="*/ 6202 w 20718"/>
                  <a:gd name="connsiteY14" fmla="*/ 18826 h 20939"/>
                  <a:gd name="connsiteX15" fmla="*/ 1152 w 20718"/>
                  <a:gd name="connsiteY15" fmla="*/ 19896 h 20939"/>
                  <a:gd name="connsiteX16" fmla="*/ 27 w 20718"/>
                  <a:gd name="connsiteY16" fmla="*/ 10456 h 2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718" h="20939">
                    <a:moveTo>
                      <a:pt x="0" y="10428"/>
                    </a:moveTo>
                    <a:lnTo>
                      <a:pt x="1674" y="6394"/>
                    </a:lnTo>
                    <a:lnTo>
                      <a:pt x="1784" y="1976"/>
                    </a:lnTo>
                    <a:lnTo>
                      <a:pt x="2662" y="796"/>
                    </a:lnTo>
                    <a:lnTo>
                      <a:pt x="5763" y="796"/>
                    </a:lnTo>
                    <a:cubicBezTo>
                      <a:pt x="5763" y="796"/>
                      <a:pt x="7272" y="0"/>
                      <a:pt x="7272" y="0"/>
                    </a:cubicBezTo>
                    <a:lnTo>
                      <a:pt x="9578" y="1262"/>
                    </a:lnTo>
                    <a:lnTo>
                      <a:pt x="12267" y="1262"/>
                    </a:lnTo>
                    <a:cubicBezTo>
                      <a:pt x="12267" y="1262"/>
                      <a:pt x="15094" y="2305"/>
                      <a:pt x="15094" y="2305"/>
                    </a:cubicBezTo>
                    <a:lnTo>
                      <a:pt x="20143" y="6422"/>
                    </a:lnTo>
                    <a:lnTo>
                      <a:pt x="20719" y="9687"/>
                    </a:lnTo>
                    <a:lnTo>
                      <a:pt x="17838" y="17344"/>
                    </a:lnTo>
                    <a:lnTo>
                      <a:pt x="12706" y="20939"/>
                    </a:lnTo>
                    <a:lnTo>
                      <a:pt x="8342" y="16246"/>
                    </a:lnTo>
                    <a:lnTo>
                      <a:pt x="6202" y="18826"/>
                    </a:lnTo>
                    <a:lnTo>
                      <a:pt x="1152" y="19896"/>
                    </a:lnTo>
                    <a:lnTo>
                      <a:pt x="27" y="104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3" name="Freeform: Shape 3692">
                <a:extLst>
                  <a:ext uri="{FF2B5EF4-FFF2-40B4-BE49-F238E27FC236}">
                    <a16:creationId xmlns:a16="http://schemas.microsoft.com/office/drawing/2014/main" id="{B821CB23-668E-7E92-C6A3-99FEC2D7D00C}"/>
                  </a:ext>
                </a:extLst>
              </p:cNvPr>
              <p:cNvSpPr/>
              <p:nvPr/>
            </p:nvSpPr>
            <p:spPr>
              <a:xfrm>
                <a:off x="1658941" y="3835495"/>
                <a:ext cx="2467" cy="1815"/>
              </a:xfrm>
              <a:custGeom>
                <a:avLst/>
                <a:gdLst>
                  <a:gd name="connsiteX0" fmla="*/ 1948 w 23655"/>
                  <a:gd name="connsiteY0" fmla="*/ 2662 h 17398"/>
                  <a:gd name="connsiteX1" fmla="*/ 2772 w 23655"/>
                  <a:gd name="connsiteY1" fmla="*/ 0 h 17398"/>
                  <a:gd name="connsiteX2" fmla="*/ 6065 w 23655"/>
                  <a:gd name="connsiteY2" fmla="*/ 933 h 17398"/>
                  <a:gd name="connsiteX3" fmla="*/ 6366 w 23655"/>
                  <a:gd name="connsiteY3" fmla="*/ 2442 h 17398"/>
                  <a:gd name="connsiteX4" fmla="*/ 9714 w 23655"/>
                  <a:gd name="connsiteY4" fmla="*/ 4693 h 17398"/>
                  <a:gd name="connsiteX5" fmla="*/ 12486 w 23655"/>
                  <a:gd name="connsiteY5" fmla="*/ 5818 h 17398"/>
                  <a:gd name="connsiteX6" fmla="*/ 12047 w 23655"/>
                  <a:gd name="connsiteY6" fmla="*/ 8013 h 17398"/>
                  <a:gd name="connsiteX7" fmla="*/ 13968 w 23655"/>
                  <a:gd name="connsiteY7" fmla="*/ 7355 h 17398"/>
                  <a:gd name="connsiteX8" fmla="*/ 16548 w 23655"/>
                  <a:gd name="connsiteY8" fmla="*/ 9825 h 17398"/>
                  <a:gd name="connsiteX9" fmla="*/ 19128 w 23655"/>
                  <a:gd name="connsiteY9" fmla="*/ 10840 h 17398"/>
                  <a:gd name="connsiteX10" fmla="*/ 22421 w 23655"/>
                  <a:gd name="connsiteY10" fmla="*/ 13145 h 17398"/>
                  <a:gd name="connsiteX11" fmla="*/ 23655 w 23655"/>
                  <a:gd name="connsiteY11" fmla="*/ 16329 h 17398"/>
                  <a:gd name="connsiteX12" fmla="*/ 22009 w 23655"/>
                  <a:gd name="connsiteY12" fmla="*/ 17399 h 17398"/>
                  <a:gd name="connsiteX13" fmla="*/ 18387 w 23655"/>
                  <a:gd name="connsiteY13" fmla="*/ 16576 h 17398"/>
                  <a:gd name="connsiteX14" fmla="*/ 17783 w 23655"/>
                  <a:gd name="connsiteY14" fmla="*/ 14600 h 17398"/>
                  <a:gd name="connsiteX15" fmla="*/ 15807 w 23655"/>
                  <a:gd name="connsiteY15" fmla="*/ 14106 h 17398"/>
                  <a:gd name="connsiteX16" fmla="*/ 11306 w 23655"/>
                  <a:gd name="connsiteY16" fmla="*/ 10483 h 17398"/>
                  <a:gd name="connsiteX17" fmla="*/ 9468 w 23655"/>
                  <a:gd name="connsiteY17" fmla="*/ 9879 h 17398"/>
                  <a:gd name="connsiteX18" fmla="*/ 7300 w 23655"/>
                  <a:gd name="connsiteY18" fmla="*/ 10538 h 17398"/>
                  <a:gd name="connsiteX19" fmla="*/ 5406 w 23655"/>
                  <a:gd name="connsiteY19" fmla="*/ 9001 h 17398"/>
                  <a:gd name="connsiteX20" fmla="*/ 2881 w 23655"/>
                  <a:gd name="connsiteY20" fmla="*/ 8562 h 17398"/>
                  <a:gd name="connsiteX21" fmla="*/ 1838 w 23655"/>
                  <a:gd name="connsiteY21" fmla="*/ 6586 h 17398"/>
                  <a:gd name="connsiteX22" fmla="*/ 549 w 23655"/>
                  <a:gd name="connsiteY22" fmla="*/ 6394 h 17398"/>
                  <a:gd name="connsiteX23" fmla="*/ 0 w 23655"/>
                  <a:gd name="connsiteY23" fmla="*/ 4363 h 17398"/>
                  <a:gd name="connsiteX24" fmla="*/ 1948 w 23655"/>
                  <a:gd name="connsiteY24" fmla="*/ 2607 h 17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655" h="17398">
                    <a:moveTo>
                      <a:pt x="1948" y="2662"/>
                    </a:moveTo>
                    <a:lnTo>
                      <a:pt x="2772" y="0"/>
                    </a:lnTo>
                    <a:lnTo>
                      <a:pt x="6065" y="933"/>
                    </a:lnTo>
                    <a:lnTo>
                      <a:pt x="6366" y="2442"/>
                    </a:lnTo>
                    <a:lnTo>
                      <a:pt x="9714" y="4693"/>
                    </a:lnTo>
                    <a:lnTo>
                      <a:pt x="12486" y="5818"/>
                    </a:lnTo>
                    <a:lnTo>
                      <a:pt x="12047" y="8013"/>
                    </a:lnTo>
                    <a:lnTo>
                      <a:pt x="13968" y="7355"/>
                    </a:lnTo>
                    <a:lnTo>
                      <a:pt x="16548" y="9825"/>
                    </a:lnTo>
                    <a:lnTo>
                      <a:pt x="19128" y="10840"/>
                    </a:lnTo>
                    <a:lnTo>
                      <a:pt x="22421" y="13145"/>
                    </a:lnTo>
                    <a:lnTo>
                      <a:pt x="23655" y="16329"/>
                    </a:lnTo>
                    <a:lnTo>
                      <a:pt x="22009" y="17399"/>
                    </a:lnTo>
                    <a:lnTo>
                      <a:pt x="18387" y="16576"/>
                    </a:lnTo>
                    <a:lnTo>
                      <a:pt x="17783" y="14600"/>
                    </a:lnTo>
                    <a:lnTo>
                      <a:pt x="15807" y="14106"/>
                    </a:lnTo>
                    <a:lnTo>
                      <a:pt x="11306" y="10483"/>
                    </a:lnTo>
                    <a:lnTo>
                      <a:pt x="9468" y="9879"/>
                    </a:lnTo>
                    <a:lnTo>
                      <a:pt x="7300" y="10538"/>
                    </a:lnTo>
                    <a:lnTo>
                      <a:pt x="5406" y="9001"/>
                    </a:lnTo>
                    <a:lnTo>
                      <a:pt x="2881" y="8562"/>
                    </a:lnTo>
                    <a:lnTo>
                      <a:pt x="1838" y="6586"/>
                    </a:lnTo>
                    <a:lnTo>
                      <a:pt x="549" y="6394"/>
                    </a:lnTo>
                    <a:lnTo>
                      <a:pt x="0" y="4363"/>
                    </a:lnTo>
                    <a:lnTo>
                      <a:pt x="1948" y="26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5" name="Freeform: Shape 3694">
                <a:extLst>
                  <a:ext uri="{FF2B5EF4-FFF2-40B4-BE49-F238E27FC236}">
                    <a16:creationId xmlns:a16="http://schemas.microsoft.com/office/drawing/2014/main" id="{5639C5D8-0602-C09B-644D-35ECE712AD9D}"/>
                  </a:ext>
                </a:extLst>
              </p:cNvPr>
              <p:cNvSpPr/>
              <p:nvPr/>
            </p:nvSpPr>
            <p:spPr>
              <a:xfrm>
                <a:off x="1672082" y="3852219"/>
                <a:ext cx="1786" cy="2333"/>
              </a:xfrm>
              <a:custGeom>
                <a:avLst/>
                <a:gdLst>
                  <a:gd name="connsiteX0" fmla="*/ 27 w 17124"/>
                  <a:gd name="connsiteY0" fmla="*/ 0 h 22366"/>
                  <a:gd name="connsiteX1" fmla="*/ 5186 w 17124"/>
                  <a:gd name="connsiteY1" fmla="*/ 3375 h 22366"/>
                  <a:gd name="connsiteX2" fmla="*/ 7190 w 17124"/>
                  <a:gd name="connsiteY2" fmla="*/ 6641 h 22366"/>
                  <a:gd name="connsiteX3" fmla="*/ 17124 w 17124"/>
                  <a:gd name="connsiteY3" fmla="*/ 19210 h 22366"/>
                  <a:gd name="connsiteX4" fmla="*/ 15094 w 17124"/>
                  <a:gd name="connsiteY4" fmla="*/ 20664 h 22366"/>
                  <a:gd name="connsiteX5" fmla="*/ 13804 w 17124"/>
                  <a:gd name="connsiteY5" fmla="*/ 19814 h 22366"/>
                  <a:gd name="connsiteX6" fmla="*/ 13639 w 17124"/>
                  <a:gd name="connsiteY6" fmla="*/ 22366 h 22366"/>
                  <a:gd name="connsiteX7" fmla="*/ 10922 w 17124"/>
                  <a:gd name="connsiteY7" fmla="*/ 21186 h 22366"/>
                  <a:gd name="connsiteX8" fmla="*/ 5516 w 17124"/>
                  <a:gd name="connsiteY8" fmla="*/ 10620 h 22366"/>
                  <a:gd name="connsiteX9" fmla="*/ 1674 w 17124"/>
                  <a:gd name="connsiteY9" fmla="*/ 9029 h 22366"/>
                  <a:gd name="connsiteX10" fmla="*/ 165 w 17124"/>
                  <a:gd name="connsiteY10" fmla="*/ 6668 h 22366"/>
                  <a:gd name="connsiteX11" fmla="*/ 0 w 17124"/>
                  <a:gd name="connsiteY11" fmla="*/ 0 h 22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24" h="22366">
                    <a:moveTo>
                      <a:pt x="27" y="0"/>
                    </a:moveTo>
                    <a:lnTo>
                      <a:pt x="5186" y="3375"/>
                    </a:lnTo>
                    <a:lnTo>
                      <a:pt x="7190" y="6641"/>
                    </a:lnTo>
                    <a:lnTo>
                      <a:pt x="17124" y="19210"/>
                    </a:lnTo>
                    <a:lnTo>
                      <a:pt x="15094" y="20664"/>
                    </a:lnTo>
                    <a:lnTo>
                      <a:pt x="13804" y="19814"/>
                    </a:lnTo>
                    <a:lnTo>
                      <a:pt x="13639" y="22366"/>
                    </a:lnTo>
                    <a:lnTo>
                      <a:pt x="10922" y="21186"/>
                    </a:lnTo>
                    <a:lnTo>
                      <a:pt x="5516" y="10620"/>
                    </a:lnTo>
                    <a:lnTo>
                      <a:pt x="1674" y="9029"/>
                    </a:lnTo>
                    <a:lnTo>
                      <a:pt x="165" y="6668"/>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3" name="Freeform: Shape 3702">
                <a:extLst>
                  <a:ext uri="{FF2B5EF4-FFF2-40B4-BE49-F238E27FC236}">
                    <a16:creationId xmlns:a16="http://schemas.microsoft.com/office/drawing/2014/main" id="{8015F6D7-BC8A-3E94-1BF7-52E58BDC67E3}"/>
                  </a:ext>
                </a:extLst>
              </p:cNvPr>
              <p:cNvSpPr/>
              <p:nvPr/>
            </p:nvSpPr>
            <p:spPr>
              <a:xfrm>
                <a:off x="1683955" y="3840862"/>
                <a:ext cx="1466" cy="1646"/>
              </a:xfrm>
              <a:custGeom>
                <a:avLst/>
                <a:gdLst>
                  <a:gd name="connsiteX0" fmla="*/ 0 w 14051"/>
                  <a:gd name="connsiteY0" fmla="*/ 3348 h 15779"/>
                  <a:gd name="connsiteX1" fmla="*/ 7739 w 14051"/>
                  <a:gd name="connsiteY1" fmla="*/ 0 h 15779"/>
                  <a:gd name="connsiteX2" fmla="*/ 10812 w 14051"/>
                  <a:gd name="connsiteY2" fmla="*/ 7849 h 15779"/>
                  <a:gd name="connsiteX3" fmla="*/ 14051 w 14051"/>
                  <a:gd name="connsiteY3" fmla="*/ 14490 h 15779"/>
                  <a:gd name="connsiteX4" fmla="*/ 13310 w 14051"/>
                  <a:gd name="connsiteY4" fmla="*/ 15780 h 15779"/>
                  <a:gd name="connsiteX5" fmla="*/ 7437 w 14051"/>
                  <a:gd name="connsiteY5" fmla="*/ 7849 h 15779"/>
                  <a:gd name="connsiteX6" fmla="*/ 5050 w 14051"/>
                  <a:gd name="connsiteY6" fmla="*/ 6202 h 15779"/>
                  <a:gd name="connsiteX7" fmla="*/ 1317 w 14051"/>
                  <a:gd name="connsiteY7" fmla="*/ 6751 h 15779"/>
                  <a:gd name="connsiteX8" fmla="*/ 0 w 14051"/>
                  <a:gd name="connsiteY8" fmla="*/ 3375 h 1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51" h="15779">
                    <a:moveTo>
                      <a:pt x="0" y="3348"/>
                    </a:moveTo>
                    <a:lnTo>
                      <a:pt x="7739" y="0"/>
                    </a:lnTo>
                    <a:lnTo>
                      <a:pt x="10812" y="7849"/>
                    </a:lnTo>
                    <a:lnTo>
                      <a:pt x="14051" y="14490"/>
                    </a:lnTo>
                    <a:lnTo>
                      <a:pt x="13310" y="15780"/>
                    </a:lnTo>
                    <a:lnTo>
                      <a:pt x="7437" y="7849"/>
                    </a:lnTo>
                    <a:lnTo>
                      <a:pt x="5050" y="6202"/>
                    </a:lnTo>
                    <a:lnTo>
                      <a:pt x="1317" y="6751"/>
                    </a:lnTo>
                    <a:lnTo>
                      <a:pt x="0" y="33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4" name="Freeform: Shape 3703">
                <a:extLst>
                  <a:ext uri="{FF2B5EF4-FFF2-40B4-BE49-F238E27FC236}">
                    <a16:creationId xmlns:a16="http://schemas.microsoft.com/office/drawing/2014/main" id="{19869A9F-43C0-090E-A11C-729B40263612}"/>
                  </a:ext>
                </a:extLst>
              </p:cNvPr>
              <p:cNvSpPr/>
              <p:nvPr/>
            </p:nvSpPr>
            <p:spPr>
              <a:xfrm>
                <a:off x="1685163" y="3840841"/>
                <a:ext cx="1666" cy="1431"/>
              </a:xfrm>
              <a:custGeom>
                <a:avLst/>
                <a:gdLst>
                  <a:gd name="connsiteX0" fmla="*/ 0 w 15972"/>
                  <a:gd name="connsiteY0" fmla="*/ 3293 h 13721"/>
                  <a:gd name="connsiteX1" fmla="*/ 3595 w 15972"/>
                  <a:gd name="connsiteY1" fmla="*/ 0 h 13721"/>
                  <a:gd name="connsiteX2" fmla="*/ 7492 w 15972"/>
                  <a:gd name="connsiteY2" fmla="*/ 302 h 13721"/>
                  <a:gd name="connsiteX3" fmla="*/ 11526 w 15972"/>
                  <a:gd name="connsiteY3" fmla="*/ 2305 h 13721"/>
                  <a:gd name="connsiteX4" fmla="*/ 12953 w 15972"/>
                  <a:gd name="connsiteY4" fmla="*/ 11306 h 13721"/>
                  <a:gd name="connsiteX5" fmla="*/ 15451 w 15972"/>
                  <a:gd name="connsiteY5" fmla="*/ 11005 h 13721"/>
                  <a:gd name="connsiteX6" fmla="*/ 15972 w 15972"/>
                  <a:gd name="connsiteY6" fmla="*/ 13721 h 13721"/>
                  <a:gd name="connsiteX7" fmla="*/ 12926 w 15972"/>
                  <a:gd name="connsiteY7" fmla="*/ 13227 h 13721"/>
                  <a:gd name="connsiteX8" fmla="*/ 12103 w 15972"/>
                  <a:gd name="connsiteY8" fmla="*/ 11224 h 13721"/>
                  <a:gd name="connsiteX9" fmla="*/ 11252 w 15972"/>
                  <a:gd name="connsiteY9" fmla="*/ 11855 h 13721"/>
                  <a:gd name="connsiteX10" fmla="*/ 5955 w 15972"/>
                  <a:gd name="connsiteY10" fmla="*/ 8974 h 13721"/>
                  <a:gd name="connsiteX11" fmla="*/ 6120 w 15972"/>
                  <a:gd name="connsiteY11" fmla="*/ 4391 h 13721"/>
                  <a:gd name="connsiteX12" fmla="*/ 1592 w 15972"/>
                  <a:gd name="connsiteY12" fmla="*/ 5406 h 13721"/>
                  <a:gd name="connsiteX13" fmla="*/ 27 w 15972"/>
                  <a:gd name="connsiteY13" fmla="*/ 3293 h 13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72" h="13721">
                    <a:moveTo>
                      <a:pt x="0" y="3293"/>
                    </a:moveTo>
                    <a:lnTo>
                      <a:pt x="3595" y="0"/>
                    </a:lnTo>
                    <a:lnTo>
                      <a:pt x="7492" y="302"/>
                    </a:lnTo>
                    <a:lnTo>
                      <a:pt x="11526" y="2305"/>
                    </a:lnTo>
                    <a:lnTo>
                      <a:pt x="12953" y="11306"/>
                    </a:lnTo>
                    <a:lnTo>
                      <a:pt x="15451" y="11005"/>
                    </a:lnTo>
                    <a:lnTo>
                      <a:pt x="15972" y="13721"/>
                    </a:lnTo>
                    <a:lnTo>
                      <a:pt x="12926" y="13227"/>
                    </a:lnTo>
                    <a:lnTo>
                      <a:pt x="12103" y="11224"/>
                    </a:lnTo>
                    <a:lnTo>
                      <a:pt x="11252" y="11855"/>
                    </a:lnTo>
                    <a:lnTo>
                      <a:pt x="5955" y="8974"/>
                    </a:lnTo>
                    <a:lnTo>
                      <a:pt x="6120" y="4391"/>
                    </a:lnTo>
                    <a:lnTo>
                      <a:pt x="1592" y="5406"/>
                    </a:lnTo>
                    <a:lnTo>
                      <a:pt x="27" y="32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7" name="Freeform: Shape 3706">
                <a:extLst>
                  <a:ext uri="{FF2B5EF4-FFF2-40B4-BE49-F238E27FC236}">
                    <a16:creationId xmlns:a16="http://schemas.microsoft.com/office/drawing/2014/main" id="{62DB9617-0FF5-6D22-2A26-33D5CD9FE67E}"/>
                  </a:ext>
                </a:extLst>
              </p:cNvPr>
              <p:cNvSpPr/>
              <p:nvPr/>
            </p:nvSpPr>
            <p:spPr>
              <a:xfrm>
                <a:off x="1696652" y="3831630"/>
                <a:ext cx="1254" cy="1626"/>
              </a:xfrm>
              <a:custGeom>
                <a:avLst/>
                <a:gdLst>
                  <a:gd name="connsiteX0" fmla="*/ 8452 w 12019"/>
                  <a:gd name="connsiteY0" fmla="*/ 15204 h 15587"/>
                  <a:gd name="connsiteX1" fmla="*/ 4610 w 12019"/>
                  <a:gd name="connsiteY1" fmla="*/ 15588 h 15587"/>
                  <a:gd name="connsiteX2" fmla="*/ 4748 w 12019"/>
                  <a:gd name="connsiteY2" fmla="*/ 11115 h 15587"/>
                  <a:gd name="connsiteX3" fmla="*/ 1619 w 12019"/>
                  <a:gd name="connsiteY3" fmla="*/ 9193 h 15587"/>
                  <a:gd name="connsiteX4" fmla="*/ 0 w 12019"/>
                  <a:gd name="connsiteY4" fmla="*/ 5544 h 15587"/>
                  <a:gd name="connsiteX5" fmla="*/ 6065 w 12019"/>
                  <a:gd name="connsiteY5" fmla="*/ 0 h 15587"/>
                  <a:gd name="connsiteX6" fmla="*/ 12020 w 12019"/>
                  <a:gd name="connsiteY6" fmla="*/ 6394 h 15587"/>
                  <a:gd name="connsiteX7" fmla="*/ 11691 w 12019"/>
                  <a:gd name="connsiteY7" fmla="*/ 11279 h 15587"/>
                  <a:gd name="connsiteX8" fmla="*/ 8452 w 12019"/>
                  <a:gd name="connsiteY8" fmla="*/ 15258 h 1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19" h="15587">
                    <a:moveTo>
                      <a:pt x="8452" y="15204"/>
                    </a:moveTo>
                    <a:lnTo>
                      <a:pt x="4610" y="15588"/>
                    </a:lnTo>
                    <a:lnTo>
                      <a:pt x="4748" y="11115"/>
                    </a:lnTo>
                    <a:lnTo>
                      <a:pt x="1619" y="9193"/>
                    </a:lnTo>
                    <a:lnTo>
                      <a:pt x="0" y="5544"/>
                    </a:lnTo>
                    <a:lnTo>
                      <a:pt x="6065" y="0"/>
                    </a:lnTo>
                    <a:lnTo>
                      <a:pt x="12020" y="6394"/>
                    </a:lnTo>
                    <a:lnTo>
                      <a:pt x="11691" y="11279"/>
                    </a:lnTo>
                    <a:lnTo>
                      <a:pt x="8452" y="152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8" name="Freeform: Shape 3707">
                <a:extLst>
                  <a:ext uri="{FF2B5EF4-FFF2-40B4-BE49-F238E27FC236}">
                    <a16:creationId xmlns:a16="http://schemas.microsoft.com/office/drawing/2014/main" id="{0CBE4186-7DAD-F096-D9DB-D72A15B4F33B}"/>
                  </a:ext>
                </a:extLst>
              </p:cNvPr>
              <p:cNvSpPr/>
              <p:nvPr/>
            </p:nvSpPr>
            <p:spPr>
              <a:xfrm>
                <a:off x="1685718" y="3844391"/>
                <a:ext cx="1560" cy="1007"/>
              </a:xfrm>
              <a:custGeom>
                <a:avLst/>
                <a:gdLst>
                  <a:gd name="connsiteX0" fmla="*/ 2168 w 14956"/>
                  <a:gd name="connsiteY0" fmla="*/ 741 h 9659"/>
                  <a:gd name="connsiteX1" fmla="*/ 3980 w 14956"/>
                  <a:gd name="connsiteY1" fmla="*/ 0 h 9659"/>
                  <a:gd name="connsiteX2" fmla="*/ 9111 w 14956"/>
                  <a:gd name="connsiteY2" fmla="*/ 4967 h 9659"/>
                  <a:gd name="connsiteX3" fmla="*/ 9687 w 14956"/>
                  <a:gd name="connsiteY3" fmla="*/ 6367 h 9659"/>
                  <a:gd name="connsiteX4" fmla="*/ 12652 w 14956"/>
                  <a:gd name="connsiteY4" fmla="*/ 5818 h 9659"/>
                  <a:gd name="connsiteX5" fmla="*/ 14957 w 14956"/>
                  <a:gd name="connsiteY5" fmla="*/ 8864 h 9659"/>
                  <a:gd name="connsiteX6" fmla="*/ 13310 w 14956"/>
                  <a:gd name="connsiteY6" fmla="*/ 9660 h 9659"/>
                  <a:gd name="connsiteX7" fmla="*/ 11828 w 14956"/>
                  <a:gd name="connsiteY7" fmla="*/ 9660 h 9659"/>
                  <a:gd name="connsiteX8" fmla="*/ 8041 w 14956"/>
                  <a:gd name="connsiteY8" fmla="*/ 6861 h 9659"/>
                  <a:gd name="connsiteX9" fmla="*/ 3101 w 14956"/>
                  <a:gd name="connsiteY9" fmla="*/ 8754 h 9659"/>
                  <a:gd name="connsiteX10" fmla="*/ 220 w 14956"/>
                  <a:gd name="connsiteY10" fmla="*/ 7711 h 9659"/>
                  <a:gd name="connsiteX11" fmla="*/ 0 w 14956"/>
                  <a:gd name="connsiteY11" fmla="*/ 6668 h 9659"/>
                  <a:gd name="connsiteX12" fmla="*/ 2305 w 14956"/>
                  <a:gd name="connsiteY12" fmla="*/ 4500 h 9659"/>
                  <a:gd name="connsiteX13" fmla="*/ 2168 w 14956"/>
                  <a:gd name="connsiteY13" fmla="*/ 741 h 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56" h="9659">
                    <a:moveTo>
                      <a:pt x="2168" y="741"/>
                    </a:moveTo>
                    <a:lnTo>
                      <a:pt x="3980" y="0"/>
                    </a:lnTo>
                    <a:lnTo>
                      <a:pt x="9111" y="4967"/>
                    </a:lnTo>
                    <a:lnTo>
                      <a:pt x="9687" y="6367"/>
                    </a:lnTo>
                    <a:lnTo>
                      <a:pt x="12652" y="5818"/>
                    </a:lnTo>
                    <a:lnTo>
                      <a:pt x="14957" y="8864"/>
                    </a:lnTo>
                    <a:lnTo>
                      <a:pt x="13310" y="9660"/>
                    </a:lnTo>
                    <a:lnTo>
                      <a:pt x="11828" y="9660"/>
                    </a:lnTo>
                    <a:lnTo>
                      <a:pt x="8041" y="6861"/>
                    </a:lnTo>
                    <a:lnTo>
                      <a:pt x="3101" y="8754"/>
                    </a:lnTo>
                    <a:lnTo>
                      <a:pt x="220" y="7711"/>
                    </a:lnTo>
                    <a:lnTo>
                      <a:pt x="0" y="6668"/>
                    </a:lnTo>
                    <a:lnTo>
                      <a:pt x="2305" y="4500"/>
                    </a:lnTo>
                    <a:lnTo>
                      <a:pt x="2168" y="7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9" name="Freeform: Shape 3708">
                <a:extLst>
                  <a:ext uri="{FF2B5EF4-FFF2-40B4-BE49-F238E27FC236}">
                    <a16:creationId xmlns:a16="http://schemas.microsoft.com/office/drawing/2014/main" id="{EEACBD89-74A2-F5ED-0983-3169F58ACAAB}"/>
                  </a:ext>
                </a:extLst>
              </p:cNvPr>
              <p:cNvSpPr/>
              <p:nvPr/>
            </p:nvSpPr>
            <p:spPr>
              <a:xfrm>
                <a:off x="1685151" y="3845427"/>
                <a:ext cx="1102" cy="1047"/>
              </a:xfrm>
              <a:custGeom>
                <a:avLst/>
                <a:gdLst>
                  <a:gd name="connsiteX0" fmla="*/ 0 w 10565"/>
                  <a:gd name="connsiteY0" fmla="*/ 5379 h 10043"/>
                  <a:gd name="connsiteX1" fmla="*/ 1071 w 10565"/>
                  <a:gd name="connsiteY1" fmla="*/ 2634 h 10043"/>
                  <a:gd name="connsiteX2" fmla="*/ 3101 w 10565"/>
                  <a:gd name="connsiteY2" fmla="*/ 4089 h 10043"/>
                  <a:gd name="connsiteX3" fmla="*/ 5489 w 10565"/>
                  <a:gd name="connsiteY3" fmla="*/ 2195 h 10043"/>
                  <a:gd name="connsiteX4" fmla="*/ 6230 w 10565"/>
                  <a:gd name="connsiteY4" fmla="*/ 0 h 10043"/>
                  <a:gd name="connsiteX5" fmla="*/ 8645 w 10565"/>
                  <a:gd name="connsiteY5" fmla="*/ 1811 h 10043"/>
                  <a:gd name="connsiteX6" fmla="*/ 10566 w 10565"/>
                  <a:gd name="connsiteY6" fmla="*/ 4665 h 10043"/>
                  <a:gd name="connsiteX7" fmla="*/ 9441 w 10565"/>
                  <a:gd name="connsiteY7" fmla="*/ 6037 h 10043"/>
                  <a:gd name="connsiteX8" fmla="*/ 8755 w 10565"/>
                  <a:gd name="connsiteY8" fmla="*/ 6861 h 10043"/>
                  <a:gd name="connsiteX9" fmla="*/ 7849 w 10565"/>
                  <a:gd name="connsiteY9" fmla="*/ 10016 h 10043"/>
                  <a:gd name="connsiteX10" fmla="*/ 5598 w 10565"/>
                  <a:gd name="connsiteY10" fmla="*/ 8068 h 10043"/>
                  <a:gd name="connsiteX11" fmla="*/ 3211 w 10565"/>
                  <a:gd name="connsiteY11" fmla="*/ 10044 h 10043"/>
                  <a:gd name="connsiteX12" fmla="*/ 2278 w 10565"/>
                  <a:gd name="connsiteY12" fmla="*/ 6888 h 10043"/>
                  <a:gd name="connsiteX13" fmla="*/ 961 w 10565"/>
                  <a:gd name="connsiteY13" fmla="*/ 6037 h 10043"/>
                  <a:gd name="connsiteX14" fmla="*/ 0 w 10565"/>
                  <a:gd name="connsiteY14" fmla="*/ 5434 h 1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65" h="10043">
                    <a:moveTo>
                      <a:pt x="0" y="5379"/>
                    </a:moveTo>
                    <a:lnTo>
                      <a:pt x="1071" y="2634"/>
                    </a:lnTo>
                    <a:lnTo>
                      <a:pt x="3101" y="4089"/>
                    </a:lnTo>
                    <a:lnTo>
                      <a:pt x="5489" y="2195"/>
                    </a:lnTo>
                    <a:lnTo>
                      <a:pt x="6230" y="0"/>
                    </a:lnTo>
                    <a:lnTo>
                      <a:pt x="8645" y="1811"/>
                    </a:lnTo>
                    <a:lnTo>
                      <a:pt x="10566" y="4665"/>
                    </a:lnTo>
                    <a:lnTo>
                      <a:pt x="9441" y="6037"/>
                    </a:lnTo>
                    <a:lnTo>
                      <a:pt x="8755" y="6861"/>
                    </a:lnTo>
                    <a:lnTo>
                      <a:pt x="7849" y="10016"/>
                    </a:lnTo>
                    <a:lnTo>
                      <a:pt x="5598" y="8068"/>
                    </a:lnTo>
                    <a:lnTo>
                      <a:pt x="3211" y="10044"/>
                    </a:lnTo>
                    <a:lnTo>
                      <a:pt x="2278" y="6888"/>
                    </a:lnTo>
                    <a:lnTo>
                      <a:pt x="961" y="6037"/>
                    </a:lnTo>
                    <a:lnTo>
                      <a:pt x="0" y="54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1" name="Freeform: Shape 3710">
                <a:extLst>
                  <a:ext uri="{FF2B5EF4-FFF2-40B4-BE49-F238E27FC236}">
                    <a16:creationId xmlns:a16="http://schemas.microsoft.com/office/drawing/2014/main" id="{0D1A9CD7-1A48-F9C5-AC2B-802D5E178D76}"/>
                  </a:ext>
                </a:extLst>
              </p:cNvPr>
              <p:cNvSpPr/>
              <p:nvPr/>
            </p:nvSpPr>
            <p:spPr>
              <a:xfrm>
                <a:off x="1667036" y="3844540"/>
                <a:ext cx="647" cy="1660"/>
              </a:xfrm>
              <a:custGeom>
                <a:avLst/>
                <a:gdLst>
                  <a:gd name="connsiteX0" fmla="*/ 3980 w 6202"/>
                  <a:gd name="connsiteY0" fmla="*/ 14298 h 15917"/>
                  <a:gd name="connsiteX1" fmla="*/ 1400 w 6202"/>
                  <a:gd name="connsiteY1" fmla="*/ 15917 h 15917"/>
                  <a:gd name="connsiteX2" fmla="*/ 247 w 6202"/>
                  <a:gd name="connsiteY2" fmla="*/ 14517 h 15917"/>
                  <a:gd name="connsiteX3" fmla="*/ 933 w 6202"/>
                  <a:gd name="connsiteY3" fmla="*/ 11087 h 15917"/>
                  <a:gd name="connsiteX4" fmla="*/ 2470 w 6202"/>
                  <a:gd name="connsiteY4" fmla="*/ 8233 h 15917"/>
                  <a:gd name="connsiteX5" fmla="*/ 0 w 6202"/>
                  <a:gd name="connsiteY5" fmla="*/ 1400 h 15917"/>
                  <a:gd name="connsiteX6" fmla="*/ 823 w 6202"/>
                  <a:gd name="connsiteY6" fmla="*/ 0 h 15917"/>
                  <a:gd name="connsiteX7" fmla="*/ 3760 w 6202"/>
                  <a:gd name="connsiteY7" fmla="*/ 2223 h 15917"/>
                  <a:gd name="connsiteX8" fmla="*/ 6202 w 6202"/>
                  <a:gd name="connsiteY8" fmla="*/ 8233 h 15917"/>
                  <a:gd name="connsiteX9" fmla="*/ 3980 w 6202"/>
                  <a:gd name="connsiteY9" fmla="*/ 14298 h 15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2" h="15917">
                    <a:moveTo>
                      <a:pt x="3980" y="14298"/>
                    </a:moveTo>
                    <a:lnTo>
                      <a:pt x="1400" y="15917"/>
                    </a:lnTo>
                    <a:lnTo>
                      <a:pt x="247" y="14517"/>
                    </a:lnTo>
                    <a:lnTo>
                      <a:pt x="933" y="11087"/>
                    </a:lnTo>
                    <a:lnTo>
                      <a:pt x="2470" y="8233"/>
                    </a:lnTo>
                    <a:lnTo>
                      <a:pt x="0" y="1400"/>
                    </a:lnTo>
                    <a:lnTo>
                      <a:pt x="823" y="0"/>
                    </a:lnTo>
                    <a:lnTo>
                      <a:pt x="3760" y="2223"/>
                    </a:lnTo>
                    <a:lnTo>
                      <a:pt x="6202" y="8233"/>
                    </a:lnTo>
                    <a:lnTo>
                      <a:pt x="3980" y="142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3" name="Freeform: Shape 3712">
                <a:extLst>
                  <a:ext uri="{FF2B5EF4-FFF2-40B4-BE49-F238E27FC236}">
                    <a16:creationId xmlns:a16="http://schemas.microsoft.com/office/drawing/2014/main" id="{823B5135-74C0-0F68-A36B-104B7EC85252}"/>
                  </a:ext>
                </a:extLst>
              </p:cNvPr>
              <p:cNvSpPr/>
              <p:nvPr/>
            </p:nvSpPr>
            <p:spPr>
              <a:xfrm>
                <a:off x="1670651" y="3850625"/>
                <a:ext cx="962" cy="1073"/>
              </a:xfrm>
              <a:custGeom>
                <a:avLst/>
                <a:gdLst>
                  <a:gd name="connsiteX0" fmla="*/ 906 w 9221"/>
                  <a:gd name="connsiteY0" fmla="*/ 27 h 10291"/>
                  <a:gd name="connsiteX1" fmla="*/ 2579 w 9221"/>
                  <a:gd name="connsiteY1" fmla="*/ 137 h 10291"/>
                  <a:gd name="connsiteX2" fmla="*/ 5461 w 9221"/>
                  <a:gd name="connsiteY2" fmla="*/ 2388 h 10291"/>
                  <a:gd name="connsiteX3" fmla="*/ 5818 w 9221"/>
                  <a:gd name="connsiteY3" fmla="*/ 4666 h 10291"/>
                  <a:gd name="connsiteX4" fmla="*/ 7602 w 9221"/>
                  <a:gd name="connsiteY4" fmla="*/ 6888 h 10291"/>
                  <a:gd name="connsiteX5" fmla="*/ 9221 w 9221"/>
                  <a:gd name="connsiteY5" fmla="*/ 9303 h 10291"/>
                  <a:gd name="connsiteX6" fmla="*/ 8315 w 9221"/>
                  <a:gd name="connsiteY6" fmla="*/ 10291 h 10291"/>
                  <a:gd name="connsiteX7" fmla="*/ 1811 w 9221"/>
                  <a:gd name="connsiteY7" fmla="*/ 6888 h 10291"/>
                  <a:gd name="connsiteX8" fmla="*/ 0 w 9221"/>
                  <a:gd name="connsiteY8" fmla="*/ 3403 h 10291"/>
                  <a:gd name="connsiteX9" fmla="*/ 1400 w 9221"/>
                  <a:gd name="connsiteY9" fmla="*/ 1674 h 10291"/>
                  <a:gd name="connsiteX10" fmla="*/ 933 w 9221"/>
                  <a:gd name="connsiteY10" fmla="*/ 0 h 1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21" h="10291">
                    <a:moveTo>
                      <a:pt x="906" y="27"/>
                    </a:moveTo>
                    <a:lnTo>
                      <a:pt x="2579" y="137"/>
                    </a:lnTo>
                    <a:lnTo>
                      <a:pt x="5461" y="2388"/>
                    </a:lnTo>
                    <a:lnTo>
                      <a:pt x="5818" y="4666"/>
                    </a:lnTo>
                    <a:lnTo>
                      <a:pt x="7602" y="6888"/>
                    </a:lnTo>
                    <a:lnTo>
                      <a:pt x="9221" y="9303"/>
                    </a:lnTo>
                    <a:lnTo>
                      <a:pt x="8315" y="10291"/>
                    </a:lnTo>
                    <a:lnTo>
                      <a:pt x="1811" y="6888"/>
                    </a:lnTo>
                    <a:lnTo>
                      <a:pt x="0" y="3403"/>
                    </a:lnTo>
                    <a:lnTo>
                      <a:pt x="1400" y="1674"/>
                    </a:lnTo>
                    <a:lnTo>
                      <a:pt x="933"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5" name="Freeform: Shape 3724">
                <a:extLst>
                  <a:ext uri="{FF2B5EF4-FFF2-40B4-BE49-F238E27FC236}">
                    <a16:creationId xmlns:a16="http://schemas.microsoft.com/office/drawing/2014/main" id="{BC7C8BDA-2666-8B98-A48D-D95687132C3D}"/>
                  </a:ext>
                </a:extLst>
              </p:cNvPr>
              <p:cNvSpPr/>
              <p:nvPr/>
            </p:nvSpPr>
            <p:spPr>
              <a:xfrm>
                <a:off x="1678576" y="3860697"/>
                <a:ext cx="950" cy="612"/>
              </a:xfrm>
              <a:custGeom>
                <a:avLst/>
                <a:gdLst>
                  <a:gd name="connsiteX0" fmla="*/ 27 w 9111"/>
                  <a:gd name="connsiteY0" fmla="*/ 1838 h 5872"/>
                  <a:gd name="connsiteX1" fmla="*/ 1866 w 9111"/>
                  <a:gd name="connsiteY1" fmla="*/ 0 h 5872"/>
                  <a:gd name="connsiteX2" fmla="*/ 8645 w 9111"/>
                  <a:gd name="connsiteY2" fmla="*/ 2964 h 5872"/>
                  <a:gd name="connsiteX3" fmla="*/ 9111 w 9111"/>
                  <a:gd name="connsiteY3" fmla="*/ 4638 h 5872"/>
                  <a:gd name="connsiteX4" fmla="*/ 5160 w 9111"/>
                  <a:gd name="connsiteY4" fmla="*/ 5873 h 5872"/>
                  <a:gd name="connsiteX5" fmla="*/ 0 w 9111"/>
                  <a:gd name="connsiteY5" fmla="*/ 1838 h 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11" h="5872">
                    <a:moveTo>
                      <a:pt x="27" y="1838"/>
                    </a:moveTo>
                    <a:lnTo>
                      <a:pt x="1866" y="0"/>
                    </a:lnTo>
                    <a:lnTo>
                      <a:pt x="8645" y="2964"/>
                    </a:lnTo>
                    <a:lnTo>
                      <a:pt x="9111" y="4638"/>
                    </a:lnTo>
                    <a:lnTo>
                      <a:pt x="5160" y="5873"/>
                    </a:lnTo>
                    <a:lnTo>
                      <a:pt x="0"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0" name="Freeform: Shape 3729">
                <a:extLst>
                  <a:ext uri="{FF2B5EF4-FFF2-40B4-BE49-F238E27FC236}">
                    <a16:creationId xmlns:a16="http://schemas.microsoft.com/office/drawing/2014/main" id="{82DCC7ED-9C9F-9861-1892-3FC5EE66E953}"/>
                  </a:ext>
                </a:extLst>
              </p:cNvPr>
              <p:cNvSpPr/>
              <p:nvPr/>
            </p:nvSpPr>
            <p:spPr>
              <a:xfrm>
                <a:off x="1688108" y="3864885"/>
                <a:ext cx="730" cy="587"/>
              </a:xfrm>
              <a:custGeom>
                <a:avLst/>
                <a:gdLst>
                  <a:gd name="connsiteX0" fmla="*/ 0 w 6998"/>
                  <a:gd name="connsiteY0" fmla="*/ 3403 h 5625"/>
                  <a:gd name="connsiteX1" fmla="*/ 2168 w 6998"/>
                  <a:gd name="connsiteY1" fmla="*/ 2470 h 5625"/>
                  <a:gd name="connsiteX2" fmla="*/ 4803 w 6998"/>
                  <a:gd name="connsiteY2" fmla="*/ 0 h 5625"/>
                  <a:gd name="connsiteX3" fmla="*/ 6998 w 6998"/>
                  <a:gd name="connsiteY3" fmla="*/ 5214 h 5625"/>
                  <a:gd name="connsiteX4" fmla="*/ 2607 w 6998"/>
                  <a:gd name="connsiteY4" fmla="*/ 4775 h 5625"/>
                  <a:gd name="connsiteX5" fmla="*/ 933 w 6998"/>
                  <a:gd name="connsiteY5" fmla="*/ 5626 h 5625"/>
                  <a:gd name="connsiteX6" fmla="*/ 0 w 6998"/>
                  <a:gd name="connsiteY6" fmla="*/ 3403 h 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8" h="5625">
                    <a:moveTo>
                      <a:pt x="0" y="3403"/>
                    </a:moveTo>
                    <a:lnTo>
                      <a:pt x="2168" y="2470"/>
                    </a:lnTo>
                    <a:lnTo>
                      <a:pt x="4803" y="0"/>
                    </a:lnTo>
                    <a:lnTo>
                      <a:pt x="6998" y="5214"/>
                    </a:lnTo>
                    <a:lnTo>
                      <a:pt x="2607" y="4775"/>
                    </a:lnTo>
                    <a:lnTo>
                      <a:pt x="933" y="5626"/>
                    </a:lnTo>
                    <a:lnTo>
                      <a:pt x="0"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1" name="Freeform: Shape 3730">
                <a:extLst>
                  <a:ext uri="{FF2B5EF4-FFF2-40B4-BE49-F238E27FC236}">
                    <a16:creationId xmlns:a16="http://schemas.microsoft.com/office/drawing/2014/main" id="{848E9D7A-4D54-9BB3-9F08-E84456CDCE81}"/>
                  </a:ext>
                </a:extLst>
              </p:cNvPr>
              <p:cNvSpPr/>
              <p:nvPr/>
            </p:nvSpPr>
            <p:spPr>
              <a:xfrm>
                <a:off x="1718921" y="3865500"/>
                <a:ext cx="970" cy="412"/>
              </a:xfrm>
              <a:custGeom>
                <a:avLst/>
                <a:gdLst>
                  <a:gd name="connsiteX0" fmla="*/ 0 w 9303"/>
                  <a:gd name="connsiteY0" fmla="*/ 1647 h 3951"/>
                  <a:gd name="connsiteX1" fmla="*/ 933 w 9303"/>
                  <a:gd name="connsiteY1" fmla="*/ 247 h 3951"/>
                  <a:gd name="connsiteX2" fmla="*/ 3430 w 9303"/>
                  <a:gd name="connsiteY2" fmla="*/ 0 h 3951"/>
                  <a:gd name="connsiteX3" fmla="*/ 4666 w 9303"/>
                  <a:gd name="connsiteY3" fmla="*/ 110 h 3951"/>
                  <a:gd name="connsiteX4" fmla="*/ 6093 w 9303"/>
                  <a:gd name="connsiteY4" fmla="*/ 247 h 3951"/>
                  <a:gd name="connsiteX5" fmla="*/ 8810 w 9303"/>
                  <a:gd name="connsiteY5" fmla="*/ 1647 h 3951"/>
                  <a:gd name="connsiteX6" fmla="*/ 9304 w 9303"/>
                  <a:gd name="connsiteY6" fmla="*/ 2744 h 3951"/>
                  <a:gd name="connsiteX7" fmla="*/ 7931 w 9303"/>
                  <a:gd name="connsiteY7" fmla="*/ 3348 h 3951"/>
                  <a:gd name="connsiteX8" fmla="*/ 6093 w 9303"/>
                  <a:gd name="connsiteY8" fmla="*/ 2140 h 3951"/>
                  <a:gd name="connsiteX9" fmla="*/ 4666 w 9303"/>
                  <a:gd name="connsiteY9" fmla="*/ 3101 h 3951"/>
                  <a:gd name="connsiteX10" fmla="*/ 3430 w 9303"/>
                  <a:gd name="connsiteY10" fmla="*/ 3952 h 3951"/>
                  <a:gd name="connsiteX11" fmla="*/ 2415 w 9303"/>
                  <a:gd name="connsiteY11" fmla="*/ 3952 h 3951"/>
                  <a:gd name="connsiteX12" fmla="*/ 0 w 9303"/>
                  <a:gd name="connsiteY12" fmla="*/ 1647 h 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03" h="3951">
                    <a:moveTo>
                      <a:pt x="0" y="1647"/>
                    </a:moveTo>
                    <a:lnTo>
                      <a:pt x="933" y="247"/>
                    </a:lnTo>
                    <a:lnTo>
                      <a:pt x="3430" y="0"/>
                    </a:lnTo>
                    <a:lnTo>
                      <a:pt x="4666" y="110"/>
                    </a:lnTo>
                    <a:lnTo>
                      <a:pt x="6093" y="247"/>
                    </a:lnTo>
                    <a:lnTo>
                      <a:pt x="8810" y="1647"/>
                    </a:lnTo>
                    <a:lnTo>
                      <a:pt x="9304" y="2744"/>
                    </a:lnTo>
                    <a:lnTo>
                      <a:pt x="7931" y="3348"/>
                    </a:lnTo>
                    <a:lnTo>
                      <a:pt x="6093" y="2140"/>
                    </a:lnTo>
                    <a:lnTo>
                      <a:pt x="4666" y="3101"/>
                    </a:lnTo>
                    <a:lnTo>
                      <a:pt x="3430" y="3952"/>
                    </a:lnTo>
                    <a:lnTo>
                      <a:pt x="2415" y="3952"/>
                    </a:lnTo>
                    <a:cubicBezTo>
                      <a:pt x="2415" y="3952"/>
                      <a:pt x="0" y="1647"/>
                      <a:pt x="0" y="1647"/>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2" name="Freeform: Shape 3731">
                <a:extLst>
                  <a:ext uri="{FF2B5EF4-FFF2-40B4-BE49-F238E27FC236}">
                    <a16:creationId xmlns:a16="http://schemas.microsoft.com/office/drawing/2014/main" id="{96C96DB2-C9B9-1A14-8A54-59C4D5C5FE9E}"/>
                  </a:ext>
                </a:extLst>
              </p:cNvPr>
              <p:cNvSpPr/>
              <p:nvPr/>
            </p:nvSpPr>
            <p:spPr>
              <a:xfrm>
                <a:off x="1682452" y="3841677"/>
                <a:ext cx="475" cy="827"/>
              </a:xfrm>
              <a:custGeom>
                <a:avLst/>
                <a:gdLst>
                  <a:gd name="connsiteX0" fmla="*/ 2552 w 4555"/>
                  <a:gd name="connsiteY0" fmla="*/ 2251 h 7931"/>
                  <a:gd name="connsiteX1" fmla="*/ 4555 w 4555"/>
                  <a:gd name="connsiteY1" fmla="*/ 5242 h 7931"/>
                  <a:gd name="connsiteX2" fmla="*/ 2634 w 4555"/>
                  <a:gd name="connsiteY2" fmla="*/ 7931 h 7931"/>
                  <a:gd name="connsiteX3" fmla="*/ 1070 w 4555"/>
                  <a:gd name="connsiteY3" fmla="*/ 6861 h 7931"/>
                  <a:gd name="connsiteX4" fmla="*/ 0 w 4555"/>
                  <a:gd name="connsiteY4" fmla="*/ 3732 h 7931"/>
                  <a:gd name="connsiteX5" fmla="*/ 741 w 4555"/>
                  <a:gd name="connsiteY5" fmla="*/ 961 h 7931"/>
                  <a:gd name="connsiteX6" fmla="*/ 2552 w 4555"/>
                  <a:gd name="connsiteY6" fmla="*/ 0 h 7931"/>
                  <a:gd name="connsiteX7" fmla="*/ 3869 w 4555"/>
                  <a:gd name="connsiteY7" fmla="*/ 1290 h 7931"/>
                  <a:gd name="connsiteX8" fmla="*/ 2552 w 4555"/>
                  <a:gd name="connsiteY8" fmla="*/ 2278 h 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5" h="7931">
                    <a:moveTo>
                      <a:pt x="2552" y="2251"/>
                    </a:moveTo>
                    <a:lnTo>
                      <a:pt x="4555" y="5242"/>
                    </a:lnTo>
                    <a:lnTo>
                      <a:pt x="2634" y="7931"/>
                    </a:lnTo>
                    <a:lnTo>
                      <a:pt x="1070" y="6861"/>
                    </a:lnTo>
                    <a:lnTo>
                      <a:pt x="0" y="3732"/>
                    </a:lnTo>
                    <a:lnTo>
                      <a:pt x="741" y="961"/>
                    </a:lnTo>
                    <a:lnTo>
                      <a:pt x="2552" y="0"/>
                    </a:lnTo>
                    <a:lnTo>
                      <a:pt x="3869" y="1290"/>
                    </a:lnTo>
                    <a:lnTo>
                      <a:pt x="2552" y="22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4" name="Freeform: Shape 3733">
                <a:extLst>
                  <a:ext uri="{FF2B5EF4-FFF2-40B4-BE49-F238E27FC236}">
                    <a16:creationId xmlns:a16="http://schemas.microsoft.com/office/drawing/2014/main" id="{2FA266F9-F356-EA8D-396A-70B75672C13F}"/>
                  </a:ext>
                </a:extLst>
              </p:cNvPr>
              <p:cNvSpPr/>
              <p:nvPr/>
            </p:nvSpPr>
            <p:spPr>
              <a:xfrm>
                <a:off x="1667591" y="3843893"/>
                <a:ext cx="1016" cy="361"/>
              </a:xfrm>
              <a:custGeom>
                <a:avLst/>
                <a:gdLst>
                  <a:gd name="connsiteX0" fmla="*/ 27 w 9742"/>
                  <a:gd name="connsiteY0" fmla="*/ 1482 h 3457"/>
                  <a:gd name="connsiteX1" fmla="*/ 2882 w 9742"/>
                  <a:gd name="connsiteY1" fmla="*/ 0 h 3457"/>
                  <a:gd name="connsiteX2" fmla="*/ 6230 w 9742"/>
                  <a:gd name="connsiteY2" fmla="*/ 631 h 3457"/>
                  <a:gd name="connsiteX3" fmla="*/ 8644 w 9742"/>
                  <a:gd name="connsiteY3" fmla="*/ 220 h 3457"/>
                  <a:gd name="connsiteX4" fmla="*/ 9742 w 9742"/>
                  <a:gd name="connsiteY4" fmla="*/ 2058 h 3457"/>
                  <a:gd name="connsiteX5" fmla="*/ 4336 w 9742"/>
                  <a:gd name="connsiteY5" fmla="*/ 3458 h 3457"/>
                  <a:gd name="connsiteX6" fmla="*/ 411 w 9742"/>
                  <a:gd name="connsiteY6" fmla="*/ 2662 h 3457"/>
                  <a:gd name="connsiteX7" fmla="*/ 0 w 9742"/>
                  <a:gd name="connsiteY7" fmla="*/ 1482 h 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42" h="3457">
                    <a:moveTo>
                      <a:pt x="27" y="1482"/>
                    </a:moveTo>
                    <a:lnTo>
                      <a:pt x="2882" y="0"/>
                    </a:lnTo>
                    <a:lnTo>
                      <a:pt x="6230" y="631"/>
                    </a:lnTo>
                    <a:lnTo>
                      <a:pt x="8644" y="220"/>
                    </a:lnTo>
                    <a:lnTo>
                      <a:pt x="9742" y="2058"/>
                    </a:lnTo>
                    <a:lnTo>
                      <a:pt x="4336" y="3458"/>
                    </a:lnTo>
                    <a:lnTo>
                      <a:pt x="411" y="2662"/>
                    </a:lnTo>
                    <a:lnTo>
                      <a:pt x="0"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6" name="Freeform: Shape 3735">
                <a:extLst>
                  <a:ext uri="{FF2B5EF4-FFF2-40B4-BE49-F238E27FC236}">
                    <a16:creationId xmlns:a16="http://schemas.microsoft.com/office/drawing/2014/main" id="{CAA08BEF-4B85-2309-E4EA-64A6FE2E5F82}"/>
                  </a:ext>
                </a:extLst>
              </p:cNvPr>
              <p:cNvSpPr/>
              <p:nvPr/>
            </p:nvSpPr>
            <p:spPr>
              <a:xfrm>
                <a:off x="1667307" y="3839141"/>
                <a:ext cx="690" cy="509"/>
              </a:xfrm>
              <a:custGeom>
                <a:avLst/>
                <a:gdLst>
                  <a:gd name="connsiteX0" fmla="*/ 0 w 6613"/>
                  <a:gd name="connsiteY0" fmla="*/ 1894 h 4884"/>
                  <a:gd name="connsiteX1" fmla="*/ 1125 w 6613"/>
                  <a:gd name="connsiteY1" fmla="*/ 0 h 4884"/>
                  <a:gd name="connsiteX2" fmla="*/ 4062 w 6613"/>
                  <a:gd name="connsiteY2" fmla="*/ 2168 h 4884"/>
                  <a:gd name="connsiteX3" fmla="*/ 5159 w 6613"/>
                  <a:gd name="connsiteY3" fmla="*/ 1125 h 4884"/>
                  <a:gd name="connsiteX4" fmla="*/ 6614 w 6613"/>
                  <a:gd name="connsiteY4" fmla="*/ 3815 h 4884"/>
                  <a:gd name="connsiteX5" fmla="*/ 4171 w 6613"/>
                  <a:gd name="connsiteY5" fmla="*/ 4885 h 4884"/>
                  <a:gd name="connsiteX6" fmla="*/ 0 w 6613"/>
                  <a:gd name="connsiteY6" fmla="*/ 1894 h 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3" h="4884">
                    <a:moveTo>
                      <a:pt x="0" y="1894"/>
                    </a:moveTo>
                    <a:lnTo>
                      <a:pt x="1125" y="0"/>
                    </a:lnTo>
                    <a:lnTo>
                      <a:pt x="4062" y="2168"/>
                    </a:lnTo>
                    <a:lnTo>
                      <a:pt x="5159" y="1125"/>
                    </a:lnTo>
                    <a:lnTo>
                      <a:pt x="6614" y="3815"/>
                    </a:lnTo>
                    <a:lnTo>
                      <a:pt x="4171" y="4885"/>
                    </a:lnTo>
                    <a:lnTo>
                      <a:pt x="0" y="1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7" name="Freeform: Shape 3736">
                <a:extLst>
                  <a:ext uri="{FF2B5EF4-FFF2-40B4-BE49-F238E27FC236}">
                    <a16:creationId xmlns:a16="http://schemas.microsoft.com/office/drawing/2014/main" id="{84371211-60C6-165F-CD47-06ACAA6FFC19}"/>
                  </a:ext>
                </a:extLst>
              </p:cNvPr>
              <p:cNvSpPr/>
              <p:nvPr/>
            </p:nvSpPr>
            <p:spPr>
              <a:xfrm>
                <a:off x="1663504" y="3837590"/>
                <a:ext cx="584" cy="598"/>
              </a:xfrm>
              <a:custGeom>
                <a:avLst/>
                <a:gdLst>
                  <a:gd name="connsiteX0" fmla="*/ 0 w 5598"/>
                  <a:gd name="connsiteY0" fmla="*/ 851 h 5735"/>
                  <a:gd name="connsiteX1" fmla="*/ 3595 w 5598"/>
                  <a:gd name="connsiteY1" fmla="*/ 0 h 5735"/>
                  <a:gd name="connsiteX2" fmla="*/ 5598 w 5598"/>
                  <a:gd name="connsiteY2" fmla="*/ 4308 h 5735"/>
                  <a:gd name="connsiteX3" fmla="*/ 4610 w 5598"/>
                  <a:gd name="connsiteY3" fmla="*/ 5735 h 5735"/>
                  <a:gd name="connsiteX4" fmla="*/ 0 w 5598"/>
                  <a:gd name="connsiteY4" fmla="*/ 851 h 5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5735">
                    <a:moveTo>
                      <a:pt x="0" y="851"/>
                    </a:moveTo>
                    <a:lnTo>
                      <a:pt x="3595" y="0"/>
                    </a:lnTo>
                    <a:lnTo>
                      <a:pt x="5598" y="4308"/>
                    </a:lnTo>
                    <a:lnTo>
                      <a:pt x="4610" y="5735"/>
                    </a:lnTo>
                    <a:lnTo>
                      <a:pt x="0" y="8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4" name="Freeform: Shape 3743">
                <a:extLst>
                  <a:ext uri="{FF2B5EF4-FFF2-40B4-BE49-F238E27FC236}">
                    <a16:creationId xmlns:a16="http://schemas.microsoft.com/office/drawing/2014/main" id="{288EB3D5-ACFB-9038-3070-1E2C927A7C39}"/>
                  </a:ext>
                </a:extLst>
              </p:cNvPr>
              <p:cNvSpPr/>
              <p:nvPr/>
            </p:nvSpPr>
            <p:spPr>
              <a:xfrm>
                <a:off x="1685463" y="3842885"/>
                <a:ext cx="498" cy="549"/>
              </a:xfrm>
              <a:custGeom>
                <a:avLst/>
                <a:gdLst>
                  <a:gd name="connsiteX0" fmla="*/ 3073 w 4775"/>
                  <a:gd name="connsiteY0" fmla="*/ 2305 h 5268"/>
                  <a:gd name="connsiteX1" fmla="*/ 4775 w 4775"/>
                  <a:gd name="connsiteY1" fmla="*/ 4089 h 5268"/>
                  <a:gd name="connsiteX2" fmla="*/ 4007 w 4775"/>
                  <a:gd name="connsiteY2" fmla="*/ 5269 h 5268"/>
                  <a:gd name="connsiteX3" fmla="*/ 933 w 4775"/>
                  <a:gd name="connsiteY3" fmla="*/ 4062 h 5268"/>
                  <a:gd name="connsiteX4" fmla="*/ 0 w 4775"/>
                  <a:gd name="connsiteY4" fmla="*/ 1372 h 5268"/>
                  <a:gd name="connsiteX5" fmla="*/ 1866 w 4775"/>
                  <a:gd name="connsiteY5" fmla="*/ 0 h 5268"/>
                  <a:gd name="connsiteX6" fmla="*/ 3019 w 4775"/>
                  <a:gd name="connsiteY6" fmla="*/ 0 h 5268"/>
                  <a:gd name="connsiteX7" fmla="*/ 3733 w 4775"/>
                  <a:gd name="connsiteY7" fmla="*/ 1235 h 5268"/>
                  <a:gd name="connsiteX8" fmla="*/ 3128 w 4775"/>
                  <a:gd name="connsiteY8" fmla="*/ 2305 h 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 h="5268">
                    <a:moveTo>
                      <a:pt x="3073" y="2305"/>
                    </a:moveTo>
                    <a:lnTo>
                      <a:pt x="4775" y="4089"/>
                    </a:lnTo>
                    <a:lnTo>
                      <a:pt x="4007" y="5269"/>
                    </a:lnTo>
                    <a:lnTo>
                      <a:pt x="933" y="4062"/>
                    </a:lnTo>
                    <a:lnTo>
                      <a:pt x="0" y="1372"/>
                    </a:lnTo>
                    <a:lnTo>
                      <a:pt x="1866" y="0"/>
                    </a:lnTo>
                    <a:lnTo>
                      <a:pt x="3019" y="0"/>
                    </a:lnTo>
                    <a:lnTo>
                      <a:pt x="3733" y="1235"/>
                    </a:lnTo>
                    <a:lnTo>
                      <a:pt x="3128" y="23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2" name="Freeform: Shape 3751">
                <a:extLst>
                  <a:ext uri="{FF2B5EF4-FFF2-40B4-BE49-F238E27FC236}">
                    <a16:creationId xmlns:a16="http://schemas.microsoft.com/office/drawing/2014/main" id="{8193173B-EC57-78A3-DE53-44BC4D99F5CE}"/>
                  </a:ext>
                </a:extLst>
              </p:cNvPr>
              <p:cNvSpPr/>
              <p:nvPr/>
            </p:nvSpPr>
            <p:spPr>
              <a:xfrm>
                <a:off x="1694743" y="3853109"/>
                <a:ext cx="481" cy="484"/>
              </a:xfrm>
              <a:custGeom>
                <a:avLst/>
                <a:gdLst>
                  <a:gd name="connsiteX0" fmla="*/ 0 w 4610"/>
                  <a:gd name="connsiteY0" fmla="*/ 1647 h 4637"/>
                  <a:gd name="connsiteX1" fmla="*/ 220 w 4610"/>
                  <a:gd name="connsiteY1" fmla="*/ 0 h 4637"/>
                  <a:gd name="connsiteX2" fmla="*/ 4611 w 4610"/>
                  <a:gd name="connsiteY2" fmla="*/ 82 h 4637"/>
                  <a:gd name="connsiteX3" fmla="*/ 2086 w 4610"/>
                  <a:gd name="connsiteY3" fmla="*/ 4638 h 4637"/>
                  <a:gd name="connsiteX4" fmla="*/ 0 w 4610"/>
                  <a:gd name="connsiteY4" fmla="*/ 1619 h 4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4637">
                    <a:moveTo>
                      <a:pt x="0" y="1647"/>
                    </a:moveTo>
                    <a:lnTo>
                      <a:pt x="220" y="0"/>
                    </a:lnTo>
                    <a:lnTo>
                      <a:pt x="4611" y="82"/>
                    </a:lnTo>
                    <a:lnTo>
                      <a:pt x="2086" y="4638"/>
                    </a:lnTo>
                    <a:lnTo>
                      <a:pt x="0"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3" name="Freeform: Shape 3752">
                <a:extLst>
                  <a:ext uri="{FF2B5EF4-FFF2-40B4-BE49-F238E27FC236}">
                    <a16:creationId xmlns:a16="http://schemas.microsoft.com/office/drawing/2014/main" id="{0B25653A-4123-DFF3-5642-BDF2E93A72D6}"/>
                  </a:ext>
                </a:extLst>
              </p:cNvPr>
              <p:cNvSpPr/>
              <p:nvPr/>
            </p:nvSpPr>
            <p:spPr>
              <a:xfrm>
                <a:off x="1699165" y="3849174"/>
                <a:ext cx="524" cy="429"/>
              </a:xfrm>
              <a:custGeom>
                <a:avLst/>
                <a:gdLst>
                  <a:gd name="connsiteX0" fmla="*/ 0 w 5022"/>
                  <a:gd name="connsiteY0" fmla="*/ 3320 h 4116"/>
                  <a:gd name="connsiteX1" fmla="*/ 659 w 5022"/>
                  <a:gd name="connsiteY1" fmla="*/ 1152 h 4116"/>
                  <a:gd name="connsiteX2" fmla="*/ 2360 w 5022"/>
                  <a:gd name="connsiteY2" fmla="*/ 0 h 4116"/>
                  <a:gd name="connsiteX3" fmla="*/ 5022 w 5022"/>
                  <a:gd name="connsiteY3" fmla="*/ 1921 h 4116"/>
                  <a:gd name="connsiteX4" fmla="*/ 1812 w 5022"/>
                  <a:gd name="connsiteY4" fmla="*/ 4116 h 4116"/>
                  <a:gd name="connsiteX5" fmla="*/ 0 w 5022"/>
                  <a:gd name="connsiteY5" fmla="*/ 3320 h 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2" h="4116">
                    <a:moveTo>
                      <a:pt x="0" y="3320"/>
                    </a:moveTo>
                    <a:lnTo>
                      <a:pt x="659" y="1152"/>
                    </a:lnTo>
                    <a:lnTo>
                      <a:pt x="2360" y="0"/>
                    </a:lnTo>
                    <a:lnTo>
                      <a:pt x="5022" y="1921"/>
                    </a:lnTo>
                    <a:lnTo>
                      <a:pt x="1812" y="4116"/>
                    </a:lnTo>
                    <a:lnTo>
                      <a:pt x="0" y="33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4" name="Freeform: Shape 3753">
                <a:extLst>
                  <a:ext uri="{FF2B5EF4-FFF2-40B4-BE49-F238E27FC236}">
                    <a16:creationId xmlns:a16="http://schemas.microsoft.com/office/drawing/2014/main" id="{C30B7D14-FE8D-3646-4532-2C1A1DD55A93}"/>
                  </a:ext>
                </a:extLst>
              </p:cNvPr>
              <p:cNvSpPr/>
              <p:nvPr/>
            </p:nvSpPr>
            <p:spPr>
              <a:xfrm>
                <a:off x="1682295" y="3840996"/>
                <a:ext cx="452" cy="489"/>
              </a:xfrm>
              <a:custGeom>
                <a:avLst/>
                <a:gdLst>
                  <a:gd name="connsiteX0" fmla="*/ 0 w 4336"/>
                  <a:gd name="connsiteY0" fmla="*/ 961 h 4692"/>
                  <a:gd name="connsiteX1" fmla="*/ 2553 w 4336"/>
                  <a:gd name="connsiteY1" fmla="*/ 0 h 4692"/>
                  <a:gd name="connsiteX2" fmla="*/ 4336 w 4336"/>
                  <a:gd name="connsiteY2" fmla="*/ 4062 h 4692"/>
                  <a:gd name="connsiteX3" fmla="*/ 2415 w 4336"/>
                  <a:gd name="connsiteY3" fmla="*/ 4693 h 4692"/>
                  <a:gd name="connsiteX4" fmla="*/ 27 w 4336"/>
                  <a:gd name="connsiteY4" fmla="*/ 988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4692">
                    <a:moveTo>
                      <a:pt x="0" y="961"/>
                    </a:moveTo>
                    <a:lnTo>
                      <a:pt x="2553" y="0"/>
                    </a:lnTo>
                    <a:lnTo>
                      <a:pt x="4336" y="4062"/>
                    </a:lnTo>
                    <a:lnTo>
                      <a:pt x="2415" y="4693"/>
                    </a:lnTo>
                    <a:lnTo>
                      <a:pt x="27"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6" name="Freeform: Shape 3755">
                <a:extLst>
                  <a:ext uri="{FF2B5EF4-FFF2-40B4-BE49-F238E27FC236}">
                    <a16:creationId xmlns:a16="http://schemas.microsoft.com/office/drawing/2014/main" id="{1D8EEBE9-9414-35E1-5F99-69D7DA77764C}"/>
                  </a:ext>
                </a:extLst>
              </p:cNvPr>
              <p:cNvSpPr/>
              <p:nvPr/>
            </p:nvSpPr>
            <p:spPr>
              <a:xfrm>
                <a:off x="1710683" y="3862069"/>
                <a:ext cx="532" cy="389"/>
              </a:xfrm>
              <a:custGeom>
                <a:avLst/>
                <a:gdLst>
                  <a:gd name="connsiteX0" fmla="*/ 4253 w 5104"/>
                  <a:gd name="connsiteY0" fmla="*/ 3513 h 3732"/>
                  <a:gd name="connsiteX1" fmla="*/ 1372 w 5104"/>
                  <a:gd name="connsiteY1" fmla="*/ 3733 h 3732"/>
                  <a:gd name="connsiteX2" fmla="*/ 0 w 5104"/>
                  <a:gd name="connsiteY2" fmla="*/ 2196 h 3732"/>
                  <a:gd name="connsiteX3" fmla="*/ 1976 w 5104"/>
                  <a:gd name="connsiteY3" fmla="*/ 0 h 3732"/>
                  <a:gd name="connsiteX4" fmla="*/ 4583 w 5104"/>
                  <a:gd name="connsiteY4" fmla="*/ 82 h 3732"/>
                  <a:gd name="connsiteX5" fmla="*/ 5104 w 5104"/>
                  <a:gd name="connsiteY5" fmla="*/ 1784 h 3732"/>
                  <a:gd name="connsiteX6" fmla="*/ 4253 w 5104"/>
                  <a:gd name="connsiteY6" fmla="*/ 3540 h 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4" h="3732">
                    <a:moveTo>
                      <a:pt x="4253" y="3513"/>
                    </a:moveTo>
                    <a:lnTo>
                      <a:pt x="1372" y="3733"/>
                    </a:lnTo>
                    <a:lnTo>
                      <a:pt x="0" y="2196"/>
                    </a:lnTo>
                    <a:lnTo>
                      <a:pt x="1976" y="0"/>
                    </a:lnTo>
                    <a:lnTo>
                      <a:pt x="4583" y="82"/>
                    </a:lnTo>
                    <a:lnTo>
                      <a:pt x="5104" y="1784"/>
                    </a:lnTo>
                    <a:lnTo>
                      <a:pt x="4253"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7" name="Freeform: Shape 3756">
                <a:extLst>
                  <a:ext uri="{FF2B5EF4-FFF2-40B4-BE49-F238E27FC236}">
                    <a16:creationId xmlns:a16="http://schemas.microsoft.com/office/drawing/2014/main" id="{0B79D061-054E-3BEB-9BF8-675C65FD25D5}"/>
                  </a:ext>
                </a:extLst>
              </p:cNvPr>
              <p:cNvSpPr/>
              <p:nvPr/>
            </p:nvSpPr>
            <p:spPr>
              <a:xfrm>
                <a:off x="1719557" y="3871162"/>
                <a:ext cx="509" cy="412"/>
              </a:xfrm>
              <a:custGeom>
                <a:avLst/>
                <a:gdLst>
                  <a:gd name="connsiteX0" fmla="*/ 0 w 4884"/>
                  <a:gd name="connsiteY0" fmla="*/ 2196 h 3951"/>
                  <a:gd name="connsiteX1" fmla="*/ 0 w 4884"/>
                  <a:gd name="connsiteY1" fmla="*/ 0 h 3951"/>
                  <a:gd name="connsiteX2" fmla="*/ 3238 w 4884"/>
                  <a:gd name="connsiteY2" fmla="*/ 329 h 3951"/>
                  <a:gd name="connsiteX3" fmla="*/ 4884 w 4884"/>
                  <a:gd name="connsiteY3" fmla="*/ 3101 h 3951"/>
                  <a:gd name="connsiteX4" fmla="*/ 3156 w 4884"/>
                  <a:gd name="connsiteY4" fmla="*/ 3952 h 3951"/>
                  <a:gd name="connsiteX5" fmla="*/ 0 w 4884"/>
                  <a:gd name="connsiteY5" fmla="*/ 2196 h 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4" h="3951">
                    <a:moveTo>
                      <a:pt x="0" y="2196"/>
                    </a:moveTo>
                    <a:lnTo>
                      <a:pt x="0" y="0"/>
                    </a:lnTo>
                    <a:lnTo>
                      <a:pt x="3238" y="329"/>
                    </a:lnTo>
                    <a:lnTo>
                      <a:pt x="4884" y="3101"/>
                    </a:lnTo>
                    <a:lnTo>
                      <a:pt x="3156" y="3952"/>
                    </a:lnTo>
                    <a:lnTo>
                      <a:pt x="0" y="21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9" name="Freeform: Shape 3758">
                <a:extLst>
                  <a:ext uri="{FF2B5EF4-FFF2-40B4-BE49-F238E27FC236}">
                    <a16:creationId xmlns:a16="http://schemas.microsoft.com/office/drawing/2014/main" id="{10EC542E-D578-CDE2-6B10-93CC071A2E88}"/>
                  </a:ext>
                </a:extLst>
              </p:cNvPr>
              <p:cNvSpPr/>
              <p:nvPr/>
            </p:nvSpPr>
            <p:spPr>
              <a:xfrm>
                <a:off x="1683554" y="3841743"/>
                <a:ext cx="630" cy="312"/>
              </a:xfrm>
              <a:custGeom>
                <a:avLst/>
                <a:gdLst>
                  <a:gd name="connsiteX0" fmla="*/ 27 w 6037"/>
                  <a:gd name="connsiteY0" fmla="*/ 1097 h 2991"/>
                  <a:gd name="connsiteX1" fmla="*/ 1097 w 6037"/>
                  <a:gd name="connsiteY1" fmla="*/ 0 h 2991"/>
                  <a:gd name="connsiteX2" fmla="*/ 4253 w 6037"/>
                  <a:gd name="connsiteY2" fmla="*/ 192 h 2991"/>
                  <a:gd name="connsiteX3" fmla="*/ 6037 w 6037"/>
                  <a:gd name="connsiteY3" fmla="*/ 2415 h 2991"/>
                  <a:gd name="connsiteX4" fmla="*/ 4775 w 6037"/>
                  <a:gd name="connsiteY4" fmla="*/ 2991 h 2991"/>
                  <a:gd name="connsiteX5" fmla="*/ 4253 w 6037"/>
                  <a:gd name="connsiteY5" fmla="*/ 1921 h 2991"/>
                  <a:gd name="connsiteX6" fmla="*/ 2634 w 6037"/>
                  <a:gd name="connsiteY6" fmla="*/ 2936 h 2991"/>
                  <a:gd name="connsiteX7" fmla="*/ 0 w 6037"/>
                  <a:gd name="connsiteY7" fmla="*/ 1097 h 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37" h="2991">
                    <a:moveTo>
                      <a:pt x="27" y="1097"/>
                    </a:moveTo>
                    <a:lnTo>
                      <a:pt x="1097" y="0"/>
                    </a:lnTo>
                    <a:lnTo>
                      <a:pt x="4253" y="192"/>
                    </a:lnTo>
                    <a:lnTo>
                      <a:pt x="6037" y="2415"/>
                    </a:lnTo>
                    <a:lnTo>
                      <a:pt x="4775" y="2991"/>
                    </a:lnTo>
                    <a:lnTo>
                      <a:pt x="4253" y="1921"/>
                    </a:lnTo>
                    <a:lnTo>
                      <a:pt x="2634" y="2936"/>
                    </a:lnTo>
                    <a:lnTo>
                      <a:pt x="0" y="10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6" name="Freeform: Shape 3765">
                <a:extLst>
                  <a:ext uri="{FF2B5EF4-FFF2-40B4-BE49-F238E27FC236}">
                    <a16:creationId xmlns:a16="http://schemas.microsoft.com/office/drawing/2014/main" id="{382D13CE-F43B-18A6-A101-846AEC76A17A}"/>
                  </a:ext>
                </a:extLst>
              </p:cNvPr>
              <p:cNvSpPr/>
              <p:nvPr/>
            </p:nvSpPr>
            <p:spPr>
              <a:xfrm>
                <a:off x="1685297" y="3843455"/>
                <a:ext cx="472" cy="358"/>
              </a:xfrm>
              <a:custGeom>
                <a:avLst/>
                <a:gdLst>
                  <a:gd name="connsiteX0" fmla="*/ 0 w 4528"/>
                  <a:gd name="connsiteY0" fmla="*/ 411 h 3430"/>
                  <a:gd name="connsiteX1" fmla="*/ 1153 w 4528"/>
                  <a:gd name="connsiteY1" fmla="*/ 0 h 3430"/>
                  <a:gd name="connsiteX2" fmla="*/ 4528 w 4528"/>
                  <a:gd name="connsiteY2" fmla="*/ 2086 h 3430"/>
                  <a:gd name="connsiteX3" fmla="*/ 3513 w 4528"/>
                  <a:gd name="connsiteY3" fmla="*/ 3430 h 3430"/>
                  <a:gd name="connsiteX4" fmla="*/ 1976 w 4528"/>
                  <a:gd name="connsiteY4" fmla="*/ 2799 h 3430"/>
                  <a:gd name="connsiteX5" fmla="*/ 0 w 4528"/>
                  <a:gd name="connsiteY5" fmla="*/ 411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8" h="3430">
                    <a:moveTo>
                      <a:pt x="0" y="411"/>
                    </a:moveTo>
                    <a:lnTo>
                      <a:pt x="1153" y="0"/>
                    </a:lnTo>
                    <a:lnTo>
                      <a:pt x="4528" y="2086"/>
                    </a:lnTo>
                    <a:lnTo>
                      <a:pt x="3513" y="3430"/>
                    </a:lnTo>
                    <a:lnTo>
                      <a:pt x="1976" y="2799"/>
                    </a:lnTo>
                    <a:lnTo>
                      <a:pt x="0" y="4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9" name="Freeform: Shape 3768">
                <a:extLst>
                  <a:ext uri="{FF2B5EF4-FFF2-40B4-BE49-F238E27FC236}">
                    <a16:creationId xmlns:a16="http://schemas.microsoft.com/office/drawing/2014/main" id="{281F58EA-E97C-E258-6367-ADEE8CBCF503}"/>
                  </a:ext>
                </a:extLst>
              </p:cNvPr>
              <p:cNvSpPr/>
              <p:nvPr/>
            </p:nvSpPr>
            <p:spPr>
              <a:xfrm>
                <a:off x="1720352" y="3866311"/>
                <a:ext cx="467" cy="363"/>
              </a:xfrm>
              <a:custGeom>
                <a:avLst/>
                <a:gdLst>
                  <a:gd name="connsiteX0" fmla="*/ 0 w 4473"/>
                  <a:gd name="connsiteY0" fmla="*/ 1098 h 3485"/>
                  <a:gd name="connsiteX1" fmla="*/ 851 w 4473"/>
                  <a:gd name="connsiteY1" fmla="*/ 0 h 3485"/>
                  <a:gd name="connsiteX2" fmla="*/ 4144 w 4473"/>
                  <a:gd name="connsiteY2" fmla="*/ 1180 h 3485"/>
                  <a:gd name="connsiteX3" fmla="*/ 4474 w 4473"/>
                  <a:gd name="connsiteY3" fmla="*/ 3485 h 3485"/>
                  <a:gd name="connsiteX4" fmla="*/ 0 w 4473"/>
                  <a:gd name="connsiteY4" fmla="*/ 1098 h 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3" h="3485">
                    <a:moveTo>
                      <a:pt x="0" y="1098"/>
                    </a:moveTo>
                    <a:lnTo>
                      <a:pt x="851" y="0"/>
                    </a:lnTo>
                    <a:lnTo>
                      <a:pt x="4144" y="1180"/>
                    </a:lnTo>
                    <a:lnTo>
                      <a:pt x="4474" y="3485"/>
                    </a:lnTo>
                    <a:lnTo>
                      <a:pt x="0" y="10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0" name="Freeform: Shape 3769">
                <a:extLst>
                  <a:ext uri="{FF2B5EF4-FFF2-40B4-BE49-F238E27FC236}">
                    <a16:creationId xmlns:a16="http://schemas.microsoft.com/office/drawing/2014/main" id="{2A20363D-26BD-9BAF-EEEA-AAF48C6C759C}"/>
                  </a:ext>
                </a:extLst>
              </p:cNvPr>
              <p:cNvSpPr/>
              <p:nvPr/>
            </p:nvSpPr>
            <p:spPr>
              <a:xfrm>
                <a:off x="1699074" y="3835254"/>
                <a:ext cx="358" cy="467"/>
              </a:xfrm>
              <a:custGeom>
                <a:avLst/>
                <a:gdLst>
                  <a:gd name="connsiteX0" fmla="*/ 3156 w 3430"/>
                  <a:gd name="connsiteY0" fmla="*/ 3403 h 4473"/>
                  <a:gd name="connsiteX1" fmla="*/ 1207 w 3430"/>
                  <a:gd name="connsiteY1" fmla="*/ 4473 h 4473"/>
                  <a:gd name="connsiteX2" fmla="*/ 0 w 3430"/>
                  <a:gd name="connsiteY2" fmla="*/ 3458 h 4473"/>
                  <a:gd name="connsiteX3" fmla="*/ 1921 w 3430"/>
                  <a:gd name="connsiteY3" fmla="*/ 0 h 4473"/>
                  <a:gd name="connsiteX4" fmla="*/ 3430 w 3430"/>
                  <a:gd name="connsiteY4" fmla="*/ 164 h 4473"/>
                  <a:gd name="connsiteX5" fmla="*/ 3156 w 3430"/>
                  <a:gd name="connsiteY5" fmla="*/ 3403 h 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30" h="4473">
                    <a:moveTo>
                      <a:pt x="3156" y="3403"/>
                    </a:moveTo>
                    <a:lnTo>
                      <a:pt x="1207" y="4473"/>
                    </a:lnTo>
                    <a:lnTo>
                      <a:pt x="0" y="3458"/>
                    </a:lnTo>
                    <a:lnTo>
                      <a:pt x="1921" y="0"/>
                    </a:lnTo>
                    <a:lnTo>
                      <a:pt x="3430" y="164"/>
                    </a:lnTo>
                    <a:lnTo>
                      <a:pt x="3156"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1" name="Freeform: Shape 3770">
                <a:extLst>
                  <a:ext uri="{FF2B5EF4-FFF2-40B4-BE49-F238E27FC236}">
                    <a16:creationId xmlns:a16="http://schemas.microsoft.com/office/drawing/2014/main" id="{3C53873A-9630-9679-CD48-D2B16CFF24E0}"/>
                  </a:ext>
                </a:extLst>
              </p:cNvPr>
              <p:cNvSpPr/>
              <p:nvPr/>
            </p:nvSpPr>
            <p:spPr>
              <a:xfrm>
                <a:off x="1657581" y="3826364"/>
                <a:ext cx="418" cy="392"/>
              </a:xfrm>
              <a:custGeom>
                <a:avLst/>
                <a:gdLst>
                  <a:gd name="connsiteX0" fmla="*/ 0 w 4006"/>
                  <a:gd name="connsiteY0" fmla="*/ 1866 h 3759"/>
                  <a:gd name="connsiteX1" fmla="*/ 2881 w 4006"/>
                  <a:gd name="connsiteY1" fmla="*/ 0 h 3759"/>
                  <a:gd name="connsiteX2" fmla="*/ 4007 w 4006"/>
                  <a:gd name="connsiteY2" fmla="*/ 2415 h 3759"/>
                  <a:gd name="connsiteX3" fmla="*/ 2195 w 4006"/>
                  <a:gd name="connsiteY3" fmla="*/ 3760 h 3759"/>
                  <a:gd name="connsiteX4" fmla="*/ 0 w 4006"/>
                  <a:gd name="connsiteY4" fmla="*/ 1894 h 3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3759">
                    <a:moveTo>
                      <a:pt x="0" y="1866"/>
                    </a:moveTo>
                    <a:lnTo>
                      <a:pt x="2881" y="0"/>
                    </a:lnTo>
                    <a:lnTo>
                      <a:pt x="4007" y="2415"/>
                    </a:lnTo>
                    <a:lnTo>
                      <a:pt x="2195" y="3760"/>
                    </a:lnTo>
                    <a:lnTo>
                      <a:pt x="0" y="1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2" name="Freeform: Shape 3771">
                <a:extLst>
                  <a:ext uri="{FF2B5EF4-FFF2-40B4-BE49-F238E27FC236}">
                    <a16:creationId xmlns:a16="http://schemas.microsoft.com/office/drawing/2014/main" id="{BC276770-BF83-36B1-07F6-4179A0B22FFC}"/>
                  </a:ext>
                </a:extLst>
              </p:cNvPr>
              <p:cNvSpPr/>
              <p:nvPr/>
            </p:nvSpPr>
            <p:spPr>
              <a:xfrm>
                <a:off x="1715890" y="3866119"/>
                <a:ext cx="447" cy="369"/>
              </a:xfrm>
              <a:custGeom>
                <a:avLst/>
                <a:gdLst>
                  <a:gd name="connsiteX0" fmla="*/ 0 w 4281"/>
                  <a:gd name="connsiteY0" fmla="*/ 1345 h 3540"/>
                  <a:gd name="connsiteX1" fmla="*/ 2607 w 4281"/>
                  <a:gd name="connsiteY1" fmla="*/ 0 h 3540"/>
                  <a:gd name="connsiteX2" fmla="*/ 4281 w 4281"/>
                  <a:gd name="connsiteY2" fmla="*/ 3293 h 3540"/>
                  <a:gd name="connsiteX3" fmla="*/ 988 w 4281"/>
                  <a:gd name="connsiteY3" fmla="*/ 3540 h 3540"/>
                  <a:gd name="connsiteX4" fmla="*/ 27 w 4281"/>
                  <a:gd name="connsiteY4" fmla="*/ 1345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3540">
                    <a:moveTo>
                      <a:pt x="0" y="1345"/>
                    </a:moveTo>
                    <a:lnTo>
                      <a:pt x="2607" y="0"/>
                    </a:lnTo>
                    <a:lnTo>
                      <a:pt x="4281" y="3293"/>
                    </a:lnTo>
                    <a:lnTo>
                      <a:pt x="988" y="3540"/>
                    </a:lnTo>
                    <a:lnTo>
                      <a:pt x="27" y="13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3" name="Freeform: Shape 3772">
                <a:extLst>
                  <a:ext uri="{FF2B5EF4-FFF2-40B4-BE49-F238E27FC236}">
                    <a16:creationId xmlns:a16="http://schemas.microsoft.com/office/drawing/2014/main" id="{E0115E6E-9513-831D-1CAB-224CEE10CA5A}"/>
                  </a:ext>
                </a:extLst>
              </p:cNvPr>
              <p:cNvSpPr/>
              <p:nvPr/>
            </p:nvSpPr>
            <p:spPr>
              <a:xfrm>
                <a:off x="1656745" y="3826650"/>
                <a:ext cx="415" cy="384"/>
              </a:xfrm>
              <a:custGeom>
                <a:avLst/>
                <a:gdLst>
                  <a:gd name="connsiteX0" fmla="*/ 27 w 3979"/>
                  <a:gd name="connsiteY0" fmla="*/ 1290 h 3677"/>
                  <a:gd name="connsiteX1" fmla="*/ 2113 w 3979"/>
                  <a:gd name="connsiteY1" fmla="*/ 0 h 3677"/>
                  <a:gd name="connsiteX2" fmla="*/ 3979 w 3979"/>
                  <a:gd name="connsiteY2" fmla="*/ 2415 h 3677"/>
                  <a:gd name="connsiteX3" fmla="*/ 2634 w 3979"/>
                  <a:gd name="connsiteY3" fmla="*/ 3678 h 3677"/>
                  <a:gd name="connsiteX4" fmla="*/ 0 w 3979"/>
                  <a:gd name="connsiteY4" fmla="*/ 1290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3677">
                    <a:moveTo>
                      <a:pt x="27" y="1290"/>
                    </a:moveTo>
                    <a:lnTo>
                      <a:pt x="2113" y="0"/>
                    </a:lnTo>
                    <a:lnTo>
                      <a:pt x="3979" y="2415"/>
                    </a:lnTo>
                    <a:lnTo>
                      <a:pt x="2634" y="3678"/>
                    </a:lnTo>
                    <a:lnTo>
                      <a:pt x="0" y="12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4" name="Freeform: Shape 3773">
                <a:extLst>
                  <a:ext uri="{FF2B5EF4-FFF2-40B4-BE49-F238E27FC236}">
                    <a16:creationId xmlns:a16="http://schemas.microsoft.com/office/drawing/2014/main" id="{5932F914-A359-4C40-3AB6-77FCF632A8AF}"/>
                  </a:ext>
                </a:extLst>
              </p:cNvPr>
              <p:cNvSpPr/>
              <p:nvPr/>
            </p:nvSpPr>
            <p:spPr>
              <a:xfrm>
                <a:off x="1718446" y="3871417"/>
                <a:ext cx="489" cy="329"/>
              </a:xfrm>
              <a:custGeom>
                <a:avLst/>
                <a:gdLst>
                  <a:gd name="connsiteX0" fmla="*/ 0 w 4692"/>
                  <a:gd name="connsiteY0" fmla="*/ 2141 h 3156"/>
                  <a:gd name="connsiteX1" fmla="*/ 2882 w 4692"/>
                  <a:gd name="connsiteY1" fmla="*/ 0 h 3156"/>
                  <a:gd name="connsiteX2" fmla="*/ 4693 w 4692"/>
                  <a:gd name="connsiteY2" fmla="*/ 1317 h 3156"/>
                  <a:gd name="connsiteX3" fmla="*/ 2223 w 4692"/>
                  <a:gd name="connsiteY3" fmla="*/ 3156 h 3156"/>
                  <a:gd name="connsiteX4" fmla="*/ 27 w 4692"/>
                  <a:gd name="connsiteY4" fmla="*/ 2141 h 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3156">
                    <a:moveTo>
                      <a:pt x="0" y="2141"/>
                    </a:moveTo>
                    <a:lnTo>
                      <a:pt x="2882" y="0"/>
                    </a:lnTo>
                    <a:lnTo>
                      <a:pt x="4693" y="1317"/>
                    </a:lnTo>
                    <a:lnTo>
                      <a:pt x="2223" y="3156"/>
                    </a:lnTo>
                    <a:lnTo>
                      <a:pt x="27"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8" name="Freeform: Shape 3777">
                <a:extLst>
                  <a:ext uri="{FF2B5EF4-FFF2-40B4-BE49-F238E27FC236}">
                    <a16:creationId xmlns:a16="http://schemas.microsoft.com/office/drawing/2014/main" id="{A8BCD15F-B377-E5C2-BF6F-4F7115DECE7E}"/>
                  </a:ext>
                </a:extLst>
              </p:cNvPr>
              <p:cNvSpPr/>
              <p:nvPr/>
            </p:nvSpPr>
            <p:spPr>
              <a:xfrm>
                <a:off x="1688792" y="3862529"/>
                <a:ext cx="404" cy="389"/>
              </a:xfrm>
              <a:custGeom>
                <a:avLst/>
                <a:gdLst>
                  <a:gd name="connsiteX0" fmla="*/ 0 w 3869"/>
                  <a:gd name="connsiteY0" fmla="*/ 2333 h 3732"/>
                  <a:gd name="connsiteX1" fmla="*/ 2031 w 3869"/>
                  <a:gd name="connsiteY1" fmla="*/ 0 h 3732"/>
                  <a:gd name="connsiteX2" fmla="*/ 3870 w 3869"/>
                  <a:gd name="connsiteY2" fmla="*/ 1784 h 3732"/>
                  <a:gd name="connsiteX3" fmla="*/ 1564 w 3869"/>
                  <a:gd name="connsiteY3" fmla="*/ 3732 h 3732"/>
                  <a:gd name="connsiteX4" fmla="*/ 0 w 3869"/>
                  <a:gd name="connsiteY4" fmla="*/ 2333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3732">
                    <a:moveTo>
                      <a:pt x="0" y="2333"/>
                    </a:moveTo>
                    <a:lnTo>
                      <a:pt x="2031" y="0"/>
                    </a:lnTo>
                    <a:lnTo>
                      <a:pt x="3870" y="1784"/>
                    </a:lnTo>
                    <a:lnTo>
                      <a:pt x="1564" y="3732"/>
                    </a:lnTo>
                    <a:lnTo>
                      <a:pt x="0" y="23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2" name="Freeform: Shape 3781">
                <a:extLst>
                  <a:ext uri="{FF2B5EF4-FFF2-40B4-BE49-F238E27FC236}">
                    <a16:creationId xmlns:a16="http://schemas.microsoft.com/office/drawing/2014/main" id="{18898FD5-2125-4C75-8270-D6D233E72AD3}"/>
                  </a:ext>
                </a:extLst>
              </p:cNvPr>
              <p:cNvSpPr/>
              <p:nvPr/>
            </p:nvSpPr>
            <p:spPr>
              <a:xfrm>
                <a:off x="1663744" y="3841703"/>
                <a:ext cx="524" cy="292"/>
              </a:xfrm>
              <a:custGeom>
                <a:avLst/>
                <a:gdLst>
                  <a:gd name="connsiteX0" fmla="*/ 0 w 5022"/>
                  <a:gd name="connsiteY0" fmla="*/ 1235 h 2798"/>
                  <a:gd name="connsiteX1" fmla="*/ 2992 w 5022"/>
                  <a:gd name="connsiteY1" fmla="*/ 0 h 2798"/>
                  <a:gd name="connsiteX2" fmla="*/ 5022 w 5022"/>
                  <a:gd name="connsiteY2" fmla="*/ 1180 h 2798"/>
                  <a:gd name="connsiteX3" fmla="*/ 2196 w 5022"/>
                  <a:gd name="connsiteY3" fmla="*/ 2799 h 2798"/>
                  <a:gd name="connsiteX4" fmla="*/ 0 w 5022"/>
                  <a:gd name="connsiteY4" fmla="*/ 1235 h 2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2" h="2798">
                    <a:moveTo>
                      <a:pt x="0" y="1235"/>
                    </a:moveTo>
                    <a:lnTo>
                      <a:pt x="2992" y="0"/>
                    </a:lnTo>
                    <a:lnTo>
                      <a:pt x="5022" y="1180"/>
                    </a:lnTo>
                    <a:lnTo>
                      <a:pt x="2196" y="2799"/>
                    </a:lnTo>
                    <a:lnTo>
                      <a:pt x="0"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6" name="Freeform: Shape 3785">
                <a:extLst>
                  <a:ext uri="{FF2B5EF4-FFF2-40B4-BE49-F238E27FC236}">
                    <a16:creationId xmlns:a16="http://schemas.microsoft.com/office/drawing/2014/main" id="{5C555063-04D3-B5DD-AA1E-2F44704818E0}"/>
                  </a:ext>
                </a:extLst>
              </p:cNvPr>
              <p:cNvSpPr/>
              <p:nvPr/>
            </p:nvSpPr>
            <p:spPr>
              <a:xfrm>
                <a:off x="1663100" y="3837916"/>
                <a:ext cx="435" cy="352"/>
              </a:xfrm>
              <a:custGeom>
                <a:avLst/>
                <a:gdLst>
                  <a:gd name="connsiteX0" fmla="*/ 27 w 4171"/>
                  <a:gd name="connsiteY0" fmla="*/ 1702 h 3375"/>
                  <a:gd name="connsiteX1" fmla="*/ 1016 w 4171"/>
                  <a:gd name="connsiteY1" fmla="*/ 0 h 3375"/>
                  <a:gd name="connsiteX2" fmla="*/ 4171 w 4171"/>
                  <a:gd name="connsiteY2" fmla="*/ 1647 h 3375"/>
                  <a:gd name="connsiteX3" fmla="*/ 1126 w 4171"/>
                  <a:gd name="connsiteY3" fmla="*/ 3376 h 3375"/>
                  <a:gd name="connsiteX4" fmla="*/ 0 w 4171"/>
                  <a:gd name="connsiteY4" fmla="*/ 1702 h 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1" h="3375">
                    <a:moveTo>
                      <a:pt x="27" y="1702"/>
                    </a:moveTo>
                    <a:lnTo>
                      <a:pt x="1016" y="0"/>
                    </a:lnTo>
                    <a:lnTo>
                      <a:pt x="4171" y="1647"/>
                    </a:lnTo>
                    <a:lnTo>
                      <a:pt x="1126" y="3376"/>
                    </a:lnTo>
                    <a:lnTo>
                      <a:pt x="0" y="17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7" name="Freeform: Shape 3786">
                <a:extLst>
                  <a:ext uri="{FF2B5EF4-FFF2-40B4-BE49-F238E27FC236}">
                    <a16:creationId xmlns:a16="http://schemas.microsoft.com/office/drawing/2014/main" id="{0255D784-5814-A002-730F-DDCB275FDA04}"/>
                  </a:ext>
                </a:extLst>
              </p:cNvPr>
              <p:cNvSpPr/>
              <p:nvPr/>
            </p:nvSpPr>
            <p:spPr>
              <a:xfrm>
                <a:off x="1661674" y="3837853"/>
                <a:ext cx="409" cy="369"/>
              </a:xfrm>
              <a:custGeom>
                <a:avLst/>
                <a:gdLst>
                  <a:gd name="connsiteX0" fmla="*/ 27 w 3924"/>
                  <a:gd name="connsiteY0" fmla="*/ 1180 h 3540"/>
                  <a:gd name="connsiteX1" fmla="*/ 1894 w 3924"/>
                  <a:gd name="connsiteY1" fmla="*/ 0 h 3540"/>
                  <a:gd name="connsiteX2" fmla="*/ 3925 w 3924"/>
                  <a:gd name="connsiteY2" fmla="*/ 1894 h 3540"/>
                  <a:gd name="connsiteX3" fmla="*/ 1812 w 3924"/>
                  <a:gd name="connsiteY3" fmla="*/ 3540 h 3540"/>
                  <a:gd name="connsiteX4" fmla="*/ 0 w 3924"/>
                  <a:gd name="connsiteY4" fmla="*/ 1180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3540">
                    <a:moveTo>
                      <a:pt x="27" y="1180"/>
                    </a:moveTo>
                    <a:lnTo>
                      <a:pt x="1894" y="0"/>
                    </a:lnTo>
                    <a:lnTo>
                      <a:pt x="3925" y="1894"/>
                    </a:lnTo>
                    <a:lnTo>
                      <a:pt x="1812" y="3540"/>
                    </a:lnTo>
                    <a:lnTo>
                      <a:pt x="0"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0" name="Freeform: Shape 3789">
                <a:extLst>
                  <a:ext uri="{FF2B5EF4-FFF2-40B4-BE49-F238E27FC236}">
                    <a16:creationId xmlns:a16="http://schemas.microsoft.com/office/drawing/2014/main" id="{4CDF8374-55CB-0B1C-4285-3D92A9EFE567}"/>
                  </a:ext>
                </a:extLst>
              </p:cNvPr>
              <p:cNvSpPr/>
              <p:nvPr/>
            </p:nvSpPr>
            <p:spPr>
              <a:xfrm>
                <a:off x="1685916" y="3843778"/>
                <a:ext cx="392" cy="378"/>
              </a:xfrm>
              <a:custGeom>
                <a:avLst/>
                <a:gdLst>
                  <a:gd name="connsiteX0" fmla="*/ 0 w 3759"/>
                  <a:gd name="connsiteY0" fmla="*/ 1619 h 3622"/>
                  <a:gd name="connsiteX1" fmla="*/ 274 w 3759"/>
                  <a:gd name="connsiteY1" fmla="*/ 0 h 3622"/>
                  <a:gd name="connsiteX2" fmla="*/ 1619 w 3759"/>
                  <a:gd name="connsiteY2" fmla="*/ 0 h 3622"/>
                  <a:gd name="connsiteX3" fmla="*/ 3759 w 3759"/>
                  <a:gd name="connsiteY3" fmla="*/ 3348 h 3622"/>
                  <a:gd name="connsiteX4" fmla="*/ 2250 w 3759"/>
                  <a:gd name="connsiteY4" fmla="*/ 3622 h 3622"/>
                  <a:gd name="connsiteX5" fmla="*/ 0 w 3759"/>
                  <a:gd name="connsiteY5" fmla="*/ 1619 h 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9" h="3622">
                    <a:moveTo>
                      <a:pt x="0" y="1619"/>
                    </a:moveTo>
                    <a:lnTo>
                      <a:pt x="274" y="0"/>
                    </a:lnTo>
                    <a:lnTo>
                      <a:pt x="1619" y="0"/>
                    </a:lnTo>
                    <a:lnTo>
                      <a:pt x="3759" y="3348"/>
                    </a:lnTo>
                    <a:lnTo>
                      <a:pt x="2250" y="3622"/>
                    </a:lnTo>
                    <a:lnTo>
                      <a:pt x="0"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2" name="Freeform: Shape 3791">
                <a:extLst>
                  <a:ext uri="{FF2B5EF4-FFF2-40B4-BE49-F238E27FC236}">
                    <a16:creationId xmlns:a16="http://schemas.microsoft.com/office/drawing/2014/main" id="{661BCAF1-31E9-233E-E0B2-1F48BFE2048E}"/>
                  </a:ext>
                </a:extLst>
              </p:cNvPr>
              <p:cNvSpPr/>
              <p:nvPr/>
            </p:nvSpPr>
            <p:spPr>
              <a:xfrm>
                <a:off x="1691142" y="3834516"/>
                <a:ext cx="386" cy="381"/>
              </a:xfrm>
              <a:custGeom>
                <a:avLst/>
                <a:gdLst>
                  <a:gd name="connsiteX0" fmla="*/ 0 w 3704"/>
                  <a:gd name="connsiteY0" fmla="*/ 0 h 3649"/>
                  <a:gd name="connsiteX1" fmla="*/ 3704 w 3704"/>
                  <a:gd name="connsiteY1" fmla="*/ 1893 h 3649"/>
                  <a:gd name="connsiteX2" fmla="*/ 2332 w 3704"/>
                  <a:gd name="connsiteY2" fmla="*/ 3650 h 3649"/>
                  <a:gd name="connsiteX3" fmla="*/ 356 w 3704"/>
                  <a:gd name="connsiteY3" fmla="*/ 3293 h 3649"/>
                  <a:gd name="connsiteX4" fmla="*/ 0 w 3704"/>
                  <a:gd name="connsiteY4" fmla="*/ 0 h 3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 h="3649">
                    <a:moveTo>
                      <a:pt x="0" y="0"/>
                    </a:moveTo>
                    <a:lnTo>
                      <a:pt x="3704" y="1893"/>
                    </a:lnTo>
                    <a:lnTo>
                      <a:pt x="2332" y="3650"/>
                    </a:lnTo>
                    <a:lnTo>
                      <a:pt x="356" y="3293"/>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3" name="Freeform: Shape 3792">
                <a:extLst>
                  <a:ext uri="{FF2B5EF4-FFF2-40B4-BE49-F238E27FC236}">
                    <a16:creationId xmlns:a16="http://schemas.microsoft.com/office/drawing/2014/main" id="{67A9152D-B8BA-2EBF-6CB1-FBA2739E4FF8}"/>
                  </a:ext>
                </a:extLst>
              </p:cNvPr>
              <p:cNvSpPr/>
              <p:nvPr/>
            </p:nvSpPr>
            <p:spPr>
              <a:xfrm>
                <a:off x="1703024" y="3853132"/>
                <a:ext cx="418" cy="352"/>
              </a:xfrm>
              <a:custGeom>
                <a:avLst/>
                <a:gdLst>
                  <a:gd name="connsiteX0" fmla="*/ 0 w 4006"/>
                  <a:gd name="connsiteY0" fmla="*/ 2360 h 3375"/>
                  <a:gd name="connsiteX1" fmla="*/ 2415 w 4006"/>
                  <a:gd name="connsiteY1" fmla="*/ 0 h 3375"/>
                  <a:gd name="connsiteX2" fmla="*/ 4007 w 4006"/>
                  <a:gd name="connsiteY2" fmla="*/ 1839 h 3375"/>
                  <a:gd name="connsiteX3" fmla="*/ 3375 w 4006"/>
                  <a:gd name="connsiteY3" fmla="*/ 3375 h 3375"/>
                  <a:gd name="connsiteX4" fmla="*/ 0 w 4006"/>
                  <a:gd name="connsiteY4" fmla="*/ 2388 h 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3375">
                    <a:moveTo>
                      <a:pt x="0" y="2360"/>
                    </a:moveTo>
                    <a:lnTo>
                      <a:pt x="2415" y="0"/>
                    </a:lnTo>
                    <a:lnTo>
                      <a:pt x="4007" y="1839"/>
                    </a:lnTo>
                    <a:lnTo>
                      <a:pt x="3375" y="3375"/>
                    </a:lnTo>
                    <a:lnTo>
                      <a:pt x="0"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6" name="Freeform: Shape 3795">
                <a:extLst>
                  <a:ext uri="{FF2B5EF4-FFF2-40B4-BE49-F238E27FC236}">
                    <a16:creationId xmlns:a16="http://schemas.microsoft.com/office/drawing/2014/main" id="{3E286F3B-6F9D-DA11-523A-1C05F5CFCA81}"/>
                  </a:ext>
                </a:extLst>
              </p:cNvPr>
              <p:cNvSpPr/>
              <p:nvPr/>
            </p:nvSpPr>
            <p:spPr>
              <a:xfrm>
                <a:off x="1696523" y="3829575"/>
                <a:ext cx="409" cy="355"/>
              </a:xfrm>
              <a:custGeom>
                <a:avLst/>
                <a:gdLst>
                  <a:gd name="connsiteX0" fmla="*/ 27 w 3924"/>
                  <a:gd name="connsiteY0" fmla="*/ 2525 h 3402"/>
                  <a:gd name="connsiteX1" fmla="*/ 1372 w 3924"/>
                  <a:gd name="connsiteY1" fmla="*/ 659 h 3402"/>
                  <a:gd name="connsiteX2" fmla="*/ 3294 w 3924"/>
                  <a:gd name="connsiteY2" fmla="*/ 0 h 3402"/>
                  <a:gd name="connsiteX3" fmla="*/ 3925 w 3924"/>
                  <a:gd name="connsiteY3" fmla="*/ 1372 h 3402"/>
                  <a:gd name="connsiteX4" fmla="*/ 1537 w 3924"/>
                  <a:gd name="connsiteY4" fmla="*/ 3403 h 3402"/>
                  <a:gd name="connsiteX5" fmla="*/ 0 w 3924"/>
                  <a:gd name="connsiteY5" fmla="*/ 2552 h 3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4" h="3402">
                    <a:moveTo>
                      <a:pt x="27" y="2525"/>
                    </a:moveTo>
                    <a:lnTo>
                      <a:pt x="1372" y="659"/>
                    </a:lnTo>
                    <a:lnTo>
                      <a:pt x="3294" y="0"/>
                    </a:lnTo>
                    <a:lnTo>
                      <a:pt x="3925" y="1372"/>
                    </a:lnTo>
                    <a:lnTo>
                      <a:pt x="1537" y="3403"/>
                    </a:lnTo>
                    <a:lnTo>
                      <a:pt x="0"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7" name="Freeform: Shape 3796">
                <a:extLst>
                  <a:ext uri="{FF2B5EF4-FFF2-40B4-BE49-F238E27FC236}">
                    <a16:creationId xmlns:a16="http://schemas.microsoft.com/office/drawing/2014/main" id="{4A54D588-2D05-814A-ED6F-D8CB03161C2F}"/>
                  </a:ext>
                </a:extLst>
              </p:cNvPr>
              <p:cNvSpPr/>
              <p:nvPr/>
            </p:nvSpPr>
            <p:spPr>
              <a:xfrm>
                <a:off x="1669695" y="3849898"/>
                <a:ext cx="421" cy="346"/>
              </a:xfrm>
              <a:custGeom>
                <a:avLst/>
                <a:gdLst>
                  <a:gd name="connsiteX0" fmla="*/ 0 w 4034"/>
                  <a:gd name="connsiteY0" fmla="*/ 2662 h 3320"/>
                  <a:gd name="connsiteX1" fmla="*/ 2278 w 4034"/>
                  <a:gd name="connsiteY1" fmla="*/ 0 h 3320"/>
                  <a:gd name="connsiteX2" fmla="*/ 4034 w 4034"/>
                  <a:gd name="connsiteY2" fmla="*/ 1701 h 3320"/>
                  <a:gd name="connsiteX3" fmla="*/ 3046 w 4034"/>
                  <a:gd name="connsiteY3" fmla="*/ 3320 h 3320"/>
                  <a:gd name="connsiteX4" fmla="*/ 0 w 4034"/>
                  <a:gd name="connsiteY4" fmla="*/ 2689 h 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 h="3320">
                    <a:moveTo>
                      <a:pt x="0" y="2662"/>
                    </a:moveTo>
                    <a:lnTo>
                      <a:pt x="2278" y="0"/>
                    </a:lnTo>
                    <a:lnTo>
                      <a:pt x="4034" y="1701"/>
                    </a:lnTo>
                    <a:lnTo>
                      <a:pt x="3046" y="3320"/>
                    </a:lnTo>
                    <a:lnTo>
                      <a:pt x="0" y="26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4" name="Freeform: Shape 3803">
                <a:extLst>
                  <a:ext uri="{FF2B5EF4-FFF2-40B4-BE49-F238E27FC236}">
                    <a16:creationId xmlns:a16="http://schemas.microsoft.com/office/drawing/2014/main" id="{64A39B0F-4AAD-E723-59D4-17ECAE549C9F}"/>
                  </a:ext>
                </a:extLst>
              </p:cNvPr>
              <p:cNvSpPr/>
              <p:nvPr/>
            </p:nvSpPr>
            <p:spPr>
              <a:xfrm>
                <a:off x="1689642" y="3835206"/>
                <a:ext cx="381" cy="366"/>
              </a:xfrm>
              <a:custGeom>
                <a:avLst/>
                <a:gdLst>
                  <a:gd name="connsiteX0" fmla="*/ 27 w 3649"/>
                  <a:gd name="connsiteY0" fmla="*/ 1427 h 3512"/>
                  <a:gd name="connsiteX1" fmla="*/ 631 w 3649"/>
                  <a:gd name="connsiteY1" fmla="*/ 0 h 3512"/>
                  <a:gd name="connsiteX2" fmla="*/ 3649 w 3649"/>
                  <a:gd name="connsiteY2" fmla="*/ 1427 h 3512"/>
                  <a:gd name="connsiteX3" fmla="*/ 3458 w 3649"/>
                  <a:gd name="connsiteY3" fmla="*/ 3513 h 3512"/>
                  <a:gd name="connsiteX4" fmla="*/ 549 w 3649"/>
                  <a:gd name="connsiteY4" fmla="*/ 3430 h 3512"/>
                  <a:gd name="connsiteX5" fmla="*/ 0 w 3649"/>
                  <a:gd name="connsiteY5" fmla="*/ 1427 h 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49" h="3512">
                    <a:moveTo>
                      <a:pt x="27" y="1427"/>
                    </a:moveTo>
                    <a:lnTo>
                      <a:pt x="631" y="0"/>
                    </a:lnTo>
                    <a:lnTo>
                      <a:pt x="3649" y="1427"/>
                    </a:lnTo>
                    <a:lnTo>
                      <a:pt x="3458" y="3513"/>
                    </a:lnTo>
                    <a:lnTo>
                      <a:pt x="549" y="3430"/>
                    </a:lnTo>
                    <a:lnTo>
                      <a:pt x="0"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6" name="Freeform: Shape 3805">
                <a:extLst>
                  <a:ext uri="{FF2B5EF4-FFF2-40B4-BE49-F238E27FC236}">
                    <a16:creationId xmlns:a16="http://schemas.microsoft.com/office/drawing/2014/main" id="{E1B0BF3B-4690-6342-B0D1-1A62953EE765}"/>
                  </a:ext>
                </a:extLst>
              </p:cNvPr>
              <p:cNvSpPr/>
              <p:nvPr/>
            </p:nvSpPr>
            <p:spPr>
              <a:xfrm>
                <a:off x="1693618" y="3853109"/>
                <a:ext cx="384" cy="358"/>
              </a:xfrm>
              <a:custGeom>
                <a:avLst/>
                <a:gdLst>
                  <a:gd name="connsiteX0" fmla="*/ 0 w 3677"/>
                  <a:gd name="connsiteY0" fmla="*/ 1893 h 3430"/>
                  <a:gd name="connsiteX1" fmla="*/ 1921 w 3677"/>
                  <a:gd name="connsiteY1" fmla="*/ 0 h 3430"/>
                  <a:gd name="connsiteX2" fmla="*/ 3678 w 3677"/>
                  <a:gd name="connsiteY2" fmla="*/ 878 h 3430"/>
                  <a:gd name="connsiteX3" fmla="*/ 3238 w 3677"/>
                  <a:gd name="connsiteY3" fmla="*/ 3430 h 3430"/>
                  <a:gd name="connsiteX4" fmla="*/ 0 w 3677"/>
                  <a:gd name="connsiteY4" fmla="*/ 1893 h 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7" h="3430">
                    <a:moveTo>
                      <a:pt x="0" y="1893"/>
                    </a:moveTo>
                    <a:lnTo>
                      <a:pt x="1921" y="0"/>
                    </a:lnTo>
                    <a:lnTo>
                      <a:pt x="3678" y="878"/>
                    </a:lnTo>
                    <a:lnTo>
                      <a:pt x="3238" y="3430"/>
                    </a:lnTo>
                    <a:lnTo>
                      <a:pt x="0" y="1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2" name="Freeform: Shape 3811">
                <a:extLst>
                  <a:ext uri="{FF2B5EF4-FFF2-40B4-BE49-F238E27FC236}">
                    <a16:creationId xmlns:a16="http://schemas.microsoft.com/office/drawing/2014/main" id="{1CC80E26-DD17-CFE5-B53D-C1488EE1DBAC}"/>
                  </a:ext>
                </a:extLst>
              </p:cNvPr>
              <p:cNvSpPr/>
              <p:nvPr/>
            </p:nvSpPr>
            <p:spPr>
              <a:xfrm>
                <a:off x="1687916" y="3864527"/>
                <a:ext cx="355" cy="384"/>
              </a:xfrm>
              <a:custGeom>
                <a:avLst/>
                <a:gdLst>
                  <a:gd name="connsiteX0" fmla="*/ 0 w 3402"/>
                  <a:gd name="connsiteY0" fmla="*/ 1290 h 3677"/>
                  <a:gd name="connsiteX1" fmla="*/ 1097 w 3402"/>
                  <a:gd name="connsiteY1" fmla="*/ 0 h 3677"/>
                  <a:gd name="connsiteX2" fmla="*/ 3403 w 3402"/>
                  <a:gd name="connsiteY2" fmla="*/ 302 h 3677"/>
                  <a:gd name="connsiteX3" fmla="*/ 2634 w 3402"/>
                  <a:gd name="connsiteY3" fmla="*/ 3677 h 3677"/>
                  <a:gd name="connsiteX4" fmla="*/ 0 w 3402"/>
                  <a:gd name="connsiteY4" fmla="*/ 1290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3677">
                    <a:moveTo>
                      <a:pt x="0" y="1290"/>
                    </a:moveTo>
                    <a:lnTo>
                      <a:pt x="1097" y="0"/>
                    </a:lnTo>
                    <a:lnTo>
                      <a:pt x="3403" y="302"/>
                    </a:lnTo>
                    <a:lnTo>
                      <a:pt x="2634" y="3677"/>
                    </a:lnTo>
                    <a:lnTo>
                      <a:pt x="0" y="12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3" name="Freeform: Shape 3812">
                <a:extLst>
                  <a:ext uri="{FF2B5EF4-FFF2-40B4-BE49-F238E27FC236}">
                    <a16:creationId xmlns:a16="http://schemas.microsoft.com/office/drawing/2014/main" id="{9C9735C7-255B-66F5-7C22-5A73A4E83AC0}"/>
                  </a:ext>
                </a:extLst>
              </p:cNvPr>
              <p:cNvSpPr/>
              <p:nvPr/>
            </p:nvSpPr>
            <p:spPr>
              <a:xfrm>
                <a:off x="1694128" y="3843850"/>
                <a:ext cx="312" cy="432"/>
              </a:xfrm>
              <a:custGeom>
                <a:avLst/>
                <a:gdLst>
                  <a:gd name="connsiteX0" fmla="*/ 0 w 2991"/>
                  <a:gd name="connsiteY0" fmla="*/ 1537 h 4143"/>
                  <a:gd name="connsiteX1" fmla="*/ 2992 w 2991"/>
                  <a:gd name="connsiteY1" fmla="*/ 0 h 4143"/>
                  <a:gd name="connsiteX2" fmla="*/ 2168 w 2991"/>
                  <a:gd name="connsiteY2" fmla="*/ 4144 h 4143"/>
                  <a:gd name="connsiteX3" fmla="*/ 851 w 2991"/>
                  <a:gd name="connsiteY3" fmla="*/ 3869 h 4143"/>
                  <a:gd name="connsiteX4" fmla="*/ 27 w 2991"/>
                  <a:gd name="connsiteY4" fmla="*/ 1537 h 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1" h="4143">
                    <a:moveTo>
                      <a:pt x="0" y="1537"/>
                    </a:moveTo>
                    <a:lnTo>
                      <a:pt x="2992" y="0"/>
                    </a:lnTo>
                    <a:lnTo>
                      <a:pt x="2168" y="4144"/>
                    </a:lnTo>
                    <a:lnTo>
                      <a:pt x="851" y="3869"/>
                    </a:lnTo>
                    <a:lnTo>
                      <a:pt x="27" y="15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4" name="Freeform: Shape 3813">
                <a:extLst>
                  <a:ext uri="{FF2B5EF4-FFF2-40B4-BE49-F238E27FC236}">
                    <a16:creationId xmlns:a16="http://schemas.microsoft.com/office/drawing/2014/main" id="{FA396327-A1E8-FBC9-9C06-09EDB35A8A3C}"/>
                  </a:ext>
                </a:extLst>
              </p:cNvPr>
              <p:cNvSpPr/>
              <p:nvPr/>
            </p:nvSpPr>
            <p:spPr>
              <a:xfrm>
                <a:off x="1719912" y="3865747"/>
                <a:ext cx="332" cy="409"/>
              </a:xfrm>
              <a:custGeom>
                <a:avLst/>
                <a:gdLst>
                  <a:gd name="connsiteX0" fmla="*/ 3156 w 3183"/>
                  <a:gd name="connsiteY0" fmla="*/ 2086 h 3924"/>
                  <a:gd name="connsiteX1" fmla="*/ 2031 w 3183"/>
                  <a:gd name="connsiteY1" fmla="*/ 3924 h 3924"/>
                  <a:gd name="connsiteX2" fmla="*/ 0 w 3183"/>
                  <a:gd name="connsiteY2" fmla="*/ 1427 h 3924"/>
                  <a:gd name="connsiteX3" fmla="*/ 1756 w 3183"/>
                  <a:gd name="connsiteY3" fmla="*/ 0 h 3924"/>
                  <a:gd name="connsiteX4" fmla="*/ 3183 w 3183"/>
                  <a:gd name="connsiteY4" fmla="*/ 768 h 3924"/>
                  <a:gd name="connsiteX5" fmla="*/ 3183 w 3183"/>
                  <a:gd name="connsiteY5" fmla="*/ 2058 h 3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3" h="3924">
                    <a:moveTo>
                      <a:pt x="3156" y="2086"/>
                    </a:moveTo>
                    <a:lnTo>
                      <a:pt x="2031" y="3924"/>
                    </a:lnTo>
                    <a:lnTo>
                      <a:pt x="0" y="1427"/>
                    </a:lnTo>
                    <a:lnTo>
                      <a:pt x="1756" y="0"/>
                    </a:lnTo>
                    <a:lnTo>
                      <a:pt x="3183" y="768"/>
                    </a:lnTo>
                    <a:lnTo>
                      <a:pt x="3183"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8" name="Freeform: Shape 3817">
                <a:extLst>
                  <a:ext uri="{FF2B5EF4-FFF2-40B4-BE49-F238E27FC236}">
                    <a16:creationId xmlns:a16="http://schemas.microsoft.com/office/drawing/2014/main" id="{FC477F31-EAB6-863A-0522-77E257113EFE}"/>
                  </a:ext>
                </a:extLst>
              </p:cNvPr>
              <p:cNvSpPr/>
              <p:nvPr/>
            </p:nvSpPr>
            <p:spPr>
              <a:xfrm>
                <a:off x="1686780" y="3862143"/>
                <a:ext cx="361" cy="361"/>
              </a:xfrm>
              <a:custGeom>
                <a:avLst/>
                <a:gdLst>
                  <a:gd name="connsiteX0" fmla="*/ 0 w 3457"/>
                  <a:gd name="connsiteY0" fmla="*/ 1235 h 3457"/>
                  <a:gd name="connsiteX1" fmla="*/ 1125 w 3457"/>
                  <a:gd name="connsiteY1" fmla="*/ 0 h 3457"/>
                  <a:gd name="connsiteX2" fmla="*/ 2854 w 3457"/>
                  <a:gd name="connsiteY2" fmla="*/ 741 h 3457"/>
                  <a:gd name="connsiteX3" fmla="*/ 3458 w 3457"/>
                  <a:gd name="connsiteY3" fmla="*/ 3458 h 3457"/>
                  <a:gd name="connsiteX4" fmla="*/ 521 w 3457"/>
                  <a:gd name="connsiteY4" fmla="*/ 2442 h 3457"/>
                  <a:gd name="connsiteX5" fmla="*/ 0 w 3457"/>
                  <a:gd name="connsiteY5" fmla="*/ 1235 h 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7" h="3457">
                    <a:moveTo>
                      <a:pt x="0" y="1235"/>
                    </a:moveTo>
                    <a:lnTo>
                      <a:pt x="1125" y="0"/>
                    </a:lnTo>
                    <a:lnTo>
                      <a:pt x="2854" y="741"/>
                    </a:lnTo>
                    <a:lnTo>
                      <a:pt x="3458" y="3458"/>
                    </a:lnTo>
                    <a:lnTo>
                      <a:pt x="521" y="2442"/>
                    </a:lnTo>
                    <a:lnTo>
                      <a:pt x="0"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1" name="Freeform: Shape 3820">
                <a:extLst>
                  <a:ext uri="{FF2B5EF4-FFF2-40B4-BE49-F238E27FC236}">
                    <a16:creationId xmlns:a16="http://schemas.microsoft.com/office/drawing/2014/main" id="{4A25B166-D437-ED05-C110-E9072655F66F}"/>
                  </a:ext>
                </a:extLst>
              </p:cNvPr>
              <p:cNvSpPr/>
              <p:nvPr/>
            </p:nvSpPr>
            <p:spPr>
              <a:xfrm>
                <a:off x="1657129" y="3827045"/>
                <a:ext cx="366" cy="346"/>
              </a:xfrm>
              <a:custGeom>
                <a:avLst/>
                <a:gdLst>
                  <a:gd name="connsiteX0" fmla="*/ 0 w 3512"/>
                  <a:gd name="connsiteY0" fmla="*/ 384 h 3320"/>
                  <a:gd name="connsiteX1" fmla="*/ 851 w 3512"/>
                  <a:gd name="connsiteY1" fmla="*/ 0 h 3320"/>
                  <a:gd name="connsiteX2" fmla="*/ 3513 w 3512"/>
                  <a:gd name="connsiteY2" fmla="*/ 2003 h 3320"/>
                  <a:gd name="connsiteX3" fmla="*/ 2992 w 3512"/>
                  <a:gd name="connsiteY3" fmla="*/ 3321 h 3320"/>
                  <a:gd name="connsiteX4" fmla="*/ 659 w 3512"/>
                  <a:gd name="connsiteY4" fmla="*/ 3183 h 3320"/>
                  <a:gd name="connsiteX5" fmla="*/ 0 w 3512"/>
                  <a:gd name="connsiteY5" fmla="*/ 357 h 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 h="3320">
                    <a:moveTo>
                      <a:pt x="0" y="384"/>
                    </a:moveTo>
                    <a:lnTo>
                      <a:pt x="851" y="0"/>
                    </a:lnTo>
                    <a:lnTo>
                      <a:pt x="3513" y="2003"/>
                    </a:lnTo>
                    <a:lnTo>
                      <a:pt x="2992" y="3321"/>
                    </a:lnTo>
                    <a:lnTo>
                      <a:pt x="659" y="3183"/>
                    </a:lnTo>
                    <a:lnTo>
                      <a:pt x="0" y="3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4" name="Freeform: Shape 3823">
                <a:extLst>
                  <a:ext uri="{FF2B5EF4-FFF2-40B4-BE49-F238E27FC236}">
                    <a16:creationId xmlns:a16="http://schemas.microsoft.com/office/drawing/2014/main" id="{7E469B56-5C81-4A07-7BFF-A25C9602DFC7}"/>
                  </a:ext>
                </a:extLst>
              </p:cNvPr>
              <p:cNvSpPr/>
              <p:nvPr/>
            </p:nvSpPr>
            <p:spPr>
              <a:xfrm>
                <a:off x="1691151" y="3834112"/>
                <a:ext cx="381" cy="329"/>
              </a:xfrm>
              <a:custGeom>
                <a:avLst/>
                <a:gdLst>
                  <a:gd name="connsiteX0" fmla="*/ 0 w 3650"/>
                  <a:gd name="connsiteY0" fmla="*/ 2031 h 3156"/>
                  <a:gd name="connsiteX1" fmla="*/ 3211 w 3650"/>
                  <a:gd name="connsiteY1" fmla="*/ 0 h 3156"/>
                  <a:gd name="connsiteX2" fmla="*/ 3650 w 3650"/>
                  <a:gd name="connsiteY2" fmla="*/ 3019 h 3156"/>
                  <a:gd name="connsiteX3" fmla="*/ 659 w 3650"/>
                  <a:gd name="connsiteY3" fmla="*/ 3156 h 3156"/>
                  <a:gd name="connsiteX4" fmla="*/ 0 w 3650"/>
                  <a:gd name="connsiteY4" fmla="*/ 2058 h 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3156">
                    <a:moveTo>
                      <a:pt x="0" y="2031"/>
                    </a:moveTo>
                    <a:lnTo>
                      <a:pt x="3211" y="0"/>
                    </a:lnTo>
                    <a:lnTo>
                      <a:pt x="3650" y="3019"/>
                    </a:lnTo>
                    <a:lnTo>
                      <a:pt x="659" y="3156"/>
                    </a:lnTo>
                    <a:lnTo>
                      <a:pt x="0"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8" name="Freeform: Shape 3827">
                <a:extLst>
                  <a:ext uri="{FF2B5EF4-FFF2-40B4-BE49-F238E27FC236}">
                    <a16:creationId xmlns:a16="http://schemas.microsoft.com/office/drawing/2014/main" id="{124BC666-5BD0-1B1B-A999-9F95BDF2DD24}"/>
                  </a:ext>
                </a:extLst>
              </p:cNvPr>
              <p:cNvSpPr/>
              <p:nvPr/>
            </p:nvSpPr>
            <p:spPr>
              <a:xfrm>
                <a:off x="1695854" y="3835077"/>
                <a:ext cx="415" cy="295"/>
              </a:xfrm>
              <a:custGeom>
                <a:avLst/>
                <a:gdLst>
                  <a:gd name="connsiteX0" fmla="*/ 0 w 3979"/>
                  <a:gd name="connsiteY0" fmla="*/ 1482 h 2826"/>
                  <a:gd name="connsiteX1" fmla="*/ 2854 w 3979"/>
                  <a:gd name="connsiteY1" fmla="*/ 0 h 2826"/>
                  <a:gd name="connsiteX2" fmla="*/ 3979 w 3979"/>
                  <a:gd name="connsiteY2" fmla="*/ 2772 h 2826"/>
                  <a:gd name="connsiteX3" fmla="*/ 686 w 3979"/>
                  <a:gd name="connsiteY3" fmla="*/ 2827 h 2826"/>
                  <a:gd name="connsiteX4" fmla="*/ 27 w 3979"/>
                  <a:gd name="connsiteY4" fmla="*/ 1482 h 2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2826">
                    <a:moveTo>
                      <a:pt x="0" y="1482"/>
                    </a:moveTo>
                    <a:lnTo>
                      <a:pt x="2854" y="0"/>
                    </a:lnTo>
                    <a:lnTo>
                      <a:pt x="3979" y="2772"/>
                    </a:lnTo>
                    <a:lnTo>
                      <a:pt x="686" y="2827"/>
                    </a:lnTo>
                    <a:lnTo>
                      <a:pt x="27"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3" name="Freeform: Shape 3832">
                <a:extLst>
                  <a:ext uri="{FF2B5EF4-FFF2-40B4-BE49-F238E27FC236}">
                    <a16:creationId xmlns:a16="http://schemas.microsoft.com/office/drawing/2014/main" id="{1BAB59DC-610F-0085-DB47-CB0E1CECCBAB}"/>
                  </a:ext>
                </a:extLst>
              </p:cNvPr>
              <p:cNvSpPr/>
              <p:nvPr/>
            </p:nvSpPr>
            <p:spPr>
              <a:xfrm>
                <a:off x="1712830" y="3870438"/>
                <a:ext cx="521" cy="212"/>
              </a:xfrm>
              <a:custGeom>
                <a:avLst/>
                <a:gdLst>
                  <a:gd name="connsiteX0" fmla="*/ 0 w 4994"/>
                  <a:gd name="connsiteY0" fmla="*/ 1235 h 2030"/>
                  <a:gd name="connsiteX1" fmla="*/ 878 w 4994"/>
                  <a:gd name="connsiteY1" fmla="*/ 0 h 2030"/>
                  <a:gd name="connsiteX2" fmla="*/ 4473 w 4994"/>
                  <a:gd name="connsiteY2" fmla="*/ 274 h 2030"/>
                  <a:gd name="connsiteX3" fmla="*/ 4994 w 4994"/>
                  <a:gd name="connsiteY3" fmla="*/ 1399 h 2030"/>
                  <a:gd name="connsiteX4" fmla="*/ 1646 w 4994"/>
                  <a:gd name="connsiteY4" fmla="*/ 2031 h 2030"/>
                  <a:gd name="connsiteX5" fmla="*/ 0 w 4994"/>
                  <a:gd name="connsiteY5" fmla="*/ 1235 h 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4" h="2030">
                    <a:moveTo>
                      <a:pt x="0" y="1235"/>
                    </a:moveTo>
                    <a:lnTo>
                      <a:pt x="878" y="0"/>
                    </a:lnTo>
                    <a:lnTo>
                      <a:pt x="4473" y="274"/>
                    </a:lnTo>
                    <a:lnTo>
                      <a:pt x="4994" y="1399"/>
                    </a:lnTo>
                    <a:lnTo>
                      <a:pt x="1646" y="2031"/>
                    </a:lnTo>
                    <a:lnTo>
                      <a:pt x="0"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5" name="Freeform: Shape 3834">
                <a:extLst>
                  <a:ext uri="{FF2B5EF4-FFF2-40B4-BE49-F238E27FC236}">
                    <a16:creationId xmlns:a16="http://schemas.microsoft.com/office/drawing/2014/main" id="{443D64A9-21F9-6614-5D4D-55677E6D21E0}"/>
                  </a:ext>
                </a:extLst>
              </p:cNvPr>
              <p:cNvSpPr/>
              <p:nvPr/>
            </p:nvSpPr>
            <p:spPr>
              <a:xfrm>
                <a:off x="1702826" y="3852712"/>
                <a:ext cx="398" cy="275"/>
              </a:xfrm>
              <a:custGeom>
                <a:avLst/>
                <a:gdLst>
                  <a:gd name="connsiteX0" fmla="*/ 0 w 3814"/>
                  <a:gd name="connsiteY0" fmla="*/ 1948 h 2634"/>
                  <a:gd name="connsiteX1" fmla="*/ 1592 w 3814"/>
                  <a:gd name="connsiteY1" fmla="*/ 0 h 2634"/>
                  <a:gd name="connsiteX2" fmla="*/ 3595 w 3814"/>
                  <a:gd name="connsiteY2" fmla="*/ 0 h 2634"/>
                  <a:gd name="connsiteX3" fmla="*/ 3815 w 3814"/>
                  <a:gd name="connsiteY3" fmla="*/ 1948 h 2634"/>
                  <a:gd name="connsiteX4" fmla="*/ 1948 w 3814"/>
                  <a:gd name="connsiteY4" fmla="*/ 2634 h 2634"/>
                  <a:gd name="connsiteX5" fmla="*/ 0 w 3814"/>
                  <a:gd name="connsiteY5" fmla="*/ 1948 h 2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 h="2634">
                    <a:moveTo>
                      <a:pt x="0" y="1948"/>
                    </a:moveTo>
                    <a:lnTo>
                      <a:pt x="1592" y="0"/>
                    </a:lnTo>
                    <a:lnTo>
                      <a:pt x="3595" y="0"/>
                    </a:lnTo>
                    <a:cubicBezTo>
                      <a:pt x="3595" y="0"/>
                      <a:pt x="3815" y="1948"/>
                      <a:pt x="3815" y="1948"/>
                    </a:cubicBezTo>
                    <a:lnTo>
                      <a:pt x="1948" y="2634"/>
                    </a:lnTo>
                    <a:lnTo>
                      <a:pt x="0" y="1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1" name="Freeform: Shape 3840">
                <a:extLst>
                  <a:ext uri="{FF2B5EF4-FFF2-40B4-BE49-F238E27FC236}">
                    <a16:creationId xmlns:a16="http://schemas.microsoft.com/office/drawing/2014/main" id="{0026D283-F67D-D006-F68F-7DD23641CF0C}"/>
                  </a:ext>
                </a:extLst>
              </p:cNvPr>
              <p:cNvSpPr/>
              <p:nvPr/>
            </p:nvSpPr>
            <p:spPr>
              <a:xfrm>
                <a:off x="1683070" y="3842765"/>
                <a:ext cx="358" cy="295"/>
              </a:xfrm>
              <a:custGeom>
                <a:avLst/>
                <a:gdLst>
                  <a:gd name="connsiteX0" fmla="*/ 0 w 3430"/>
                  <a:gd name="connsiteY0" fmla="*/ 1070 h 2826"/>
                  <a:gd name="connsiteX1" fmla="*/ 2799 w 3430"/>
                  <a:gd name="connsiteY1" fmla="*/ 0 h 2826"/>
                  <a:gd name="connsiteX2" fmla="*/ 3430 w 3430"/>
                  <a:gd name="connsiteY2" fmla="*/ 2744 h 2826"/>
                  <a:gd name="connsiteX3" fmla="*/ 220 w 3430"/>
                  <a:gd name="connsiteY3" fmla="*/ 2827 h 2826"/>
                  <a:gd name="connsiteX4" fmla="*/ 0 w 3430"/>
                  <a:gd name="connsiteY4" fmla="*/ 1070 h 2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2826">
                    <a:moveTo>
                      <a:pt x="0" y="1070"/>
                    </a:moveTo>
                    <a:lnTo>
                      <a:pt x="2799" y="0"/>
                    </a:lnTo>
                    <a:lnTo>
                      <a:pt x="3430" y="2744"/>
                    </a:lnTo>
                    <a:lnTo>
                      <a:pt x="220" y="2827"/>
                    </a:lnTo>
                    <a:lnTo>
                      <a:pt x="0" y="10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6" name="Freeform: Shape 3845">
                <a:extLst>
                  <a:ext uri="{FF2B5EF4-FFF2-40B4-BE49-F238E27FC236}">
                    <a16:creationId xmlns:a16="http://schemas.microsoft.com/office/drawing/2014/main" id="{1F59AC36-8EC1-156D-9D46-C1E22C715072}"/>
                  </a:ext>
                </a:extLst>
              </p:cNvPr>
              <p:cNvSpPr/>
              <p:nvPr/>
            </p:nvSpPr>
            <p:spPr>
              <a:xfrm>
                <a:off x="1716654" y="3866336"/>
                <a:ext cx="335" cy="197"/>
              </a:xfrm>
              <a:custGeom>
                <a:avLst/>
                <a:gdLst>
                  <a:gd name="connsiteX0" fmla="*/ 0 w 3210"/>
                  <a:gd name="connsiteY0" fmla="*/ 823 h 1893"/>
                  <a:gd name="connsiteX1" fmla="*/ 247 w 3210"/>
                  <a:gd name="connsiteY1" fmla="*/ 549 h 1893"/>
                  <a:gd name="connsiteX2" fmla="*/ 1043 w 3210"/>
                  <a:gd name="connsiteY2" fmla="*/ 0 h 1893"/>
                  <a:gd name="connsiteX3" fmla="*/ 1317 w 3210"/>
                  <a:gd name="connsiteY3" fmla="*/ 274 h 1893"/>
                  <a:gd name="connsiteX4" fmla="*/ 1866 w 3210"/>
                  <a:gd name="connsiteY4" fmla="*/ 823 h 1893"/>
                  <a:gd name="connsiteX5" fmla="*/ 1866 w 3210"/>
                  <a:gd name="connsiteY5" fmla="*/ 549 h 1893"/>
                  <a:gd name="connsiteX6" fmla="*/ 2937 w 3210"/>
                  <a:gd name="connsiteY6" fmla="*/ 549 h 1893"/>
                  <a:gd name="connsiteX7" fmla="*/ 3211 w 3210"/>
                  <a:gd name="connsiteY7" fmla="*/ 823 h 1893"/>
                  <a:gd name="connsiteX8" fmla="*/ 3211 w 3210"/>
                  <a:gd name="connsiteY8" fmla="*/ 1894 h 1893"/>
                  <a:gd name="connsiteX9" fmla="*/ 2141 w 3210"/>
                  <a:gd name="connsiteY9" fmla="*/ 1894 h 1893"/>
                  <a:gd name="connsiteX10" fmla="*/ 2141 w 3210"/>
                  <a:gd name="connsiteY10" fmla="*/ 1619 h 1893"/>
                  <a:gd name="connsiteX11" fmla="*/ 1866 w 3210"/>
                  <a:gd name="connsiteY11" fmla="*/ 1619 h 1893"/>
                  <a:gd name="connsiteX12" fmla="*/ 1866 w 3210"/>
                  <a:gd name="connsiteY12" fmla="*/ 1345 h 1893"/>
                  <a:gd name="connsiteX13" fmla="*/ 1592 w 3210"/>
                  <a:gd name="connsiteY13" fmla="*/ 1345 h 1893"/>
                  <a:gd name="connsiteX14" fmla="*/ 1592 w 3210"/>
                  <a:gd name="connsiteY14" fmla="*/ 1070 h 1893"/>
                  <a:gd name="connsiteX15" fmla="*/ 1592 w 3210"/>
                  <a:gd name="connsiteY15" fmla="*/ 1345 h 1893"/>
                  <a:gd name="connsiteX16" fmla="*/ 1317 w 3210"/>
                  <a:gd name="connsiteY16" fmla="*/ 1619 h 1893"/>
                  <a:gd name="connsiteX17" fmla="*/ 247 w 3210"/>
                  <a:gd name="connsiteY17" fmla="*/ 1345 h 1893"/>
                  <a:gd name="connsiteX18" fmla="*/ 0 w 3210"/>
                  <a:gd name="connsiteY18" fmla="*/ 796 h 1893"/>
                  <a:gd name="connsiteX19" fmla="*/ 0 w 3210"/>
                  <a:gd name="connsiteY19" fmla="*/ 796 h 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10" h="1893">
                    <a:moveTo>
                      <a:pt x="0" y="823"/>
                    </a:moveTo>
                    <a:lnTo>
                      <a:pt x="247" y="549"/>
                    </a:lnTo>
                    <a:lnTo>
                      <a:pt x="1043" y="0"/>
                    </a:lnTo>
                    <a:lnTo>
                      <a:pt x="1317" y="274"/>
                    </a:lnTo>
                    <a:lnTo>
                      <a:pt x="1866" y="823"/>
                    </a:lnTo>
                    <a:lnTo>
                      <a:pt x="1866" y="549"/>
                    </a:lnTo>
                    <a:lnTo>
                      <a:pt x="2937" y="549"/>
                    </a:lnTo>
                    <a:lnTo>
                      <a:pt x="3211" y="823"/>
                    </a:lnTo>
                    <a:lnTo>
                      <a:pt x="3211" y="1894"/>
                    </a:lnTo>
                    <a:lnTo>
                      <a:pt x="2141" y="1894"/>
                    </a:lnTo>
                    <a:lnTo>
                      <a:pt x="2141" y="1619"/>
                    </a:lnTo>
                    <a:lnTo>
                      <a:pt x="1866" y="1619"/>
                    </a:lnTo>
                    <a:lnTo>
                      <a:pt x="1866" y="1345"/>
                    </a:lnTo>
                    <a:lnTo>
                      <a:pt x="1592" y="1345"/>
                    </a:lnTo>
                    <a:lnTo>
                      <a:pt x="1592" y="1070"/>
                    </a:lnTo>
                    <a:lnTo>
                      <a:pt x="1592" y="1345"/>
                    </a:lnTo>
                    <a:lnTo>
                      <a:pt x="1317" y="1619"/>
                    </a:lnTo>
                    <a:lnTo>
                      <a:pt x="247" y="1345"/>
                    </a:lnTo>
                    <a:lnTo>
                      <a:pt x="0" y="796"/>
                    </a:lnTo>
                    <a:lnTo>
                      <a:pt x="0" y="7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8" name="Freeform: Shape 3847">
                <a:extLst>
                  <a:ext uri="{FF2B5EF4-FFF2-40B4-BE49-F238E27FC236}">
                    <a16:creationId xmlns:a16="http://schemas.microsoft.com/office/drawing/2014/main" id="{0A50F9D5-6449-C424-0A77-7859E60EE10D}"/>
                  </a:ext>
                </a:extLst>
              </p:cNvPr>
              <p:cNvSpPr/>
              <p:nvPr/>
            </p:nvSpPr>
            <p:spPr>
              <a:xfrm>
                <a:off x="1470514" y="3736226"/>
                <a:ext cx="4308" cy="13476"/>
              </a:xfrm>
              <a:custGeom>
                <a:avLst/>
                <a:gdLst>
                  <a:gd name="connsiteX0" fmla="*/ 39902 w 41301"/>
                  <a:gd name="connsiteY0" fmla="*/ 0 h 129201"/>
                  <a:gd name="connsiteX1" fmla="*/ 41219 w 41301"/>
                  <a:gd name="connsiteY1" fmla="*/ 878 h 129201"/>
                  <a:gd name="connsiteX2" fmla="*/ 39875 w 41301"/>
                  <a:gd name="connsiteY2" fmla="*/ 10977 h 129201"/>
                  <a:gd name="connsiteX3" fmla="*/ 41302 w 41301"/>
                  <a:gd name="connsiteY3" fmla="*/ 19320 h 129201"/>
                  <a:gd name="connsiteX4" fmla="*/ 38612 w 41301"/>
                  <a:gd name="connsiteY4" fmla="*/ 21378 h 129201"/>
                  <a:gd name="connsiteX5" fmla="*/ 37871 w 41301"/>
                  <a:gd name="connsiteY5" fmla="*/ 29858 h 129201"/>
                  <a:gd name="connsiteX6" fmla="*/ 28458 w 41301"/>
                  <a:gd name="connsiteY6" fmla="*/ 24808 h 129201"/>
                  <a:gd name="connsiteX7" fmla="*/ 23464 w 41301"/>
                  <a:gd name="connsiteY7" fmla="*/ 28294 h 129201"/>
                  <a:gd name="connsiteX8" fmla="*/ 20884 w 41301"/>
                  <a:gd name="connsiteY8" fmla="*/ 37021 h 129201"/>
                  <a:gd name="connsiteX9" fmla="*/ 20884 w 41301"/>
                  <a:gd name="connsiteY9" fmla="*/ 48684 h 129201"/>
                  <a:gd name="connsiteX10" fmla="*/ 27744 w 41301"/>
                  <a:gd name="connsiteY10" fmla="*/ 51099 h 129201"/>
                  <a:gd name="connsiteX11" fmla="*/ 21158 w 41301"/>
                  <a:gd name="connsiteY11" fmla="*/ 56395 h 129201"/>
                  <a:gd name="connsiteX12" fmla="*/ 18524 w 41301"/>
                  <a:gd name="connsiteY12" fmla="*/ 64326 h 129201"/>
                  <a:gd name="connsiteX13" fmla="*/ 20362 w 41301"/>
                  <a:gd name="connsiteY13" fmla="*/ 65863 h 129201"/>
                  <a:gd name="connsiteX14" fmla="*/ 26263 w 41301"/>
                  <a:gd name="connsiteY14" fmla="*/ 65424 h 129201"/>
                  <a:gd name="connsiteX15" fmla="*/ 35511 w 41301"/>
                  <a:gd name="connsiteY15" fmla="*/ 61033 h 129201"/>
                  <a:gd name="connsiteX16" fmla="*/ 33782 w 41301"/>
                  <a:gd name="connsiteY16" fmla="*/ 77718 h 129201"/>
                  <a:gd name="connsiteX17" fmla="*/ 26976 w 41301"/>
                  <a:gd name="connsiteY17" fmla="*/ 94267 h 129201"/>
                  <a:gd name="connsiteX18" fmla="*/ 25961 w 41301"/>
                  <a:gd name="connsiteY18" fmla="*/ 108125 h 129201"/>
                  <a:gd name="connsiteX19" fmla="*/ 20856 w 41301"/>
                  <a:gd name="connsiteY19" fmla="*/ 127527 h 129201"/>
                  <a:gd name="connsiteX20" fmla="*/ 18716 w 41301"/>
                  <a:gd name="connsiteY20" fmla="*/ 129201 h 129201"/>
                  <a:gd name="connsiteX21" fmla="*/ 2332 w 41301"/>
                  <a:gd name="connsiteY21" fmla="*/ 77718 h 129201"/>
                  <a:gd name="connsiteX22" fmla="*/ 0 w 41301"/>
                  <a:gd name="connsiteY22" fmla="*/ 70309 h 129201"/>
                  <a:gd name="connsiteX23" fmla="*/ 7903 w 41301"/>
                  <a:gd name="connsiteY23" fmla="*/ 59798 h 129201"/>
                  <a:gd name="connsiteX24" fmla="*/ 6531 w 41301"/>
                  <a:gd name="connsiteY24" fmla="*/ 57383 h 129201"/>
                  <a:gd name="connsiteX25" fmla="*/ 13282 w 41301"/>
                  <a:gd name="connsiteY25" fmla="*/ 44348 h 129201"/>
                  <a:gd name="connsiteX26" fmla="*/ 20225 w 41301"/>
                  <a:gd name="connsiteY26" fmla="*/ 15642 h 129201"/>
                  <a:gd name="connsiteX27" fmla="*/ 23244 w 41301"/>
                  <a:gd name="connsiteY27" fmla="*/ 12980 h 129201"/>
                  <a:gd name="connsiteX28" fmla="*/ 24561 w 41301"/>
                  <a:gd name="connsiteY28" fmla="*/ 5241 h 129201"/>
                  <a:gd name="connsiteX29" fmla="*/ 34688 w 41301"/>
                  <a:gd name="connsiteY29" fmla="*/ 5790 h 129201"/>
                  <a:gd name="connsiteX30" fmla="*/ 38091 w 41301"/>
                  <a:gd name="connsiteY30" fmla="*/ 27 h 129201"/>
                  <a:gd name="connsiteX31" fmla="*/ 39875 w 41301"/>
                  <a:gd name="connsiteY31" fmla="*/ 27 h 1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1301" h="129201">
                    <a:moveTo>
                      <a:pt x="39902" y="0"/>
                    </a:moveTo>
                    <a:lnTo>
                      <a:pt x="41219" y="878"/>
                    </a:lnTo>
                    <a:lnTo>
                      <a:pt x="39875" y="10977"/>
                    </a:lnTo>
                    <a:lnTo>
                      <a:pt x="41302" y="19320"/>
                    </a:lnTo>
                    <a:lnTo>
                      <a:pt x="38612" y="21378"/>
                    </a:lnTo>
                    <a:lnTo>
                      <a:pt x="37871" y="29858"/>
                    </a:lnTo>
                    <a:lnTo>
                      <a:pt x="28458" y="24808"/>
                    </a:lnTo>
                    <a:lnTo>
                      <a:pt x="23464" y="28294"/>
                    </a:lnTo>
                    <a:lnTo>
                      <a:pt x="20884" y="37021"/>
                    </a:lnTo>
                    <a:lnTo>
                      <a:pt x="20884" y="48684"/>
                    </a:lnTo>
                    <a:cubicBezTo>
                      <a:pt x="20884" y="48684"/>
                      <a:pt x="27744" y="51099"/>
                      <a:pt x="27744" y="51099"/>
                    </a:cubicBezTo>
                    <a:lnTo>
                      <a:pt x="21158" y="56395"/>
                    </a:lnTo>
                    <a:lnTo>
                      <a:pt x="18524" y="64326"/>
                    </a:lnTo>
                    <a:lnTo>
                      <a:pt x="20362" y="65863"/>
                    </a:lnTo>
                    <a:lnTo>
                      <a:pt x="26263" y="65424"/>
                    </a:lnTo>
                    <a:lnTo>
                      <a:pt x="35511" y="61033"/>
                    </a:lnTo>
                    <a:lnTo>
                      <a:pt x="33782" y="77718"/>
                    </a:lnTo>
                    <a:lnTo>
                      <a:pt x="26976" y="94267"/>
                    </a:lnTo>
                    <a:lnTo>
                      <a:pt x="25961" y="108125"/>
                    </a:lnTo>
                    <a:lnTo>
                      <a:pt x="20856" y="127527"/>
                    </a:lnTo>
                    <a:lnTo>
                      <a:pt x="18716" y="129201"/>
                    </a:lnTo>
                    <a:lnTo>
                      <a:pt x="2332" y="77718"/>
                    </a:lnTo>
                    <a:lnTo>
                      <a:pt x="0" y="70309"/>
                    </a:lnTo>
                    <a:lnTo>
                      <a:pt x="7903" y="59798"/>
                    </a:lnTo>
                    <a:lnTo>
                      <a:pt x="6531" y="57383"/>
                    </a:lnTo>
                    <a:lnTo>
                      <a:pt x="13282" y="44348"/>
                    </a:lnTo>
                    <a:lnTo>
                      <a:pt x="20225" y="15642"/>
                    </a:lnTo>
                    <a:lnTo>
                      <a:pt x="23244" y="12980"/>
                    </a:lnTo>
                    <a:lnTo>
                      <a:pt x="24561" y="5241"/>
                    </a:lnTo>
                    <a:lnTo>
                      <a:pt x="34688" y="5790"/>
                    </a:lnTo>
                    <a:lnTo>
                      <a:pt x="38091" y="27"/>
                    </a:lnTo>
                    <a:lnTo>
                      <a:pt x="39875"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9" name="Freeform: Shape 3848">
                <a:extLst>
                  <a:ext uri="{FF2B5EF4-FFF2-40B4-BE49-F238E27FC236}">
                    <a16:creationId xmlns:a16="http://schemas.microsoft.com/office/drawing/2014/main" id="{DE269EEA-91AB-B0A3-78AD-C26C2209154C}"/>
                  </a:ext>
                </a:extLst>
              </p:cNvPr>
              <p:cNvSpPr/>
              <p:nvPr/>
            </p:nvSpPr>
            <p:spPr>
              <a:xfrm>
                <a:off x="1484405" y="3720701"/>
                <a:ext cx="29780" cy="30507"/>
              </a:xfrm>
              <a:custGeom>
                <a:avLst/>
                <a:gdLst>
                  <a:gd name="connsiteX0" fmla="*/ 136144 w 285516"/>
                  <a:gd name="connsiteY0" fmla="*/ 3512 h 292487"/>
                  <a:gd name="connsiteX1" fmla="*/ 148988 w 285516"/>
                  <a:gd name="connsiteY1" fmla="*/ 5269 h 292487"/>
                  <a:gd name="connsiteX2" fmla="*/ 154010 w 285516"/>
                  <a:gd name="connsiteY2" fmla="*/ 2168 h 292487"/>
                  <a:gd name="connsiteX3" fmla="*/ 155629 w 285516"/>
                  <a:gd name="connsiteY3" fmla="*/ 2360 h 292487"/>
                  <a:gd name="connsiteX4" fmla="*/ 157742 w 285516"/>
                  <a:gd name="connsiteY4" fmla="*/ 2607 h 292487"/>
                  <a:gd name="connsiteX5" fmla="*/ 160047 w 285516"/>
                  <a:gd name="connsiteY5" fmla="*/ 4720 h 292487"/>
                  <a:gd name="connsiteX6" fmla="*/ 159416 w 285516"/>
                  <a:gd name="connsiteY6" fmla="*/ 10977 h 292487"/>
                  <a:gd name="connsiteX7" fmla="*/ 161804 w 285516"/>
                  <a:gd name="connsiteY7" fmla="*/ 14243 h 292487"/>
                  <a:gd name="connsiteX8" fmla="*/ 170833 w 285516"/>
                  <a:gd name="connsiteY8" fmla="*/ 7849 h 292487"/>
                  <a:gd name="connsiteX9" fmla="*/ 176431 w 285516"/>
                  <a:gd name="connsiteY9" fmla="*/ 7190 h 292487"/>
                  <a:gd name="connsiteX10" fmla="*/ 178928 w 285516"/>
                  <a:gd name="connsiteY10" fmla="*/ 14270 h 292487"/>
                  <a:gd name="connsiteX11" fmla="*/ 178846 w 285516"/>
                  <a:gd name="connsiteY11" fmla="*/ 20500 h 292487"/>
                  <a:gd name="connsiteX12" fmla="*/ 183621 w 285516"/>
                  <a:gd name="connsiteY12" fmla="*/ 25385 h 292487"/>
                  <a:gd name="connsiteX13" fmla="*/ 183786 w 285516"/>
                  <a:gd name="connsiteY13" fmla="*/ 32191 h 292487"/>
                  <a:gd name="connsiteX14" fmla="*/ 189988 w 285516"/>
                  <a:gd name="connsiteY14" fmla="*/ 36609 h 292487"/>
                  <a:gd name="connsiteX15" fmla="*/ 193747 w 285516"/>
                  <a:gd name="connsiteY15" fmla="*/ 49891 h 292487"/>
                  <a:gd name="connsiteX16" fmla="*/ 199538 w 285516"/>
                  <a:gd name="connsiteY16" fmla="*/ 51401 h 292487"/>
                  <a:gd name="connsiteX17" fmla="*/ 201761 w 285516"/>
                  <a:gd name="connsiteY17" fmla="*/ 53349 h 292487"/>
                  <a:gd name="connsiteX18" fmla="*/ 205410 w 285516"/>
                  <a:gd name="connsiteY18" fmla="*/ 56560 h 292487"/>
                  <a:gd name="connsiteX19" fmla="*/ 214412 w 285516"/>
                  <a:gd name="connsiteY19" fmla="*/ 55682 h 292487"/>
                  <a:gd name="connsiteX20" fmla="*/ 219571 w 285516"/>
                  <a:gd name="connsiteY20" fmla="*/ 57767 h 292487"/>
                  <a:gd name="connsiteX21" fmla="*/ 212326 w 285516"/>
                  <a:gd name="connsiteY21" fmla="*/ 64464 h 292487"/>
                  <a:gd name="connsiteX22" fmla="*/ 216278 w 285516"/>
                  <a:gd name="connsiteY22" fmla="*/ 82329 h 292487"/>
                  <a:gd name="connsiteX23" fmla="*/ 209363 w 285516"/>
                  <a:gd name="connsiteY23" fmla="*/ 84908 h 292487"/>
                  <a:gd name="connsiteX24" fmla="*/ 202913 w 285516"/>
                  <a:gd name="connsiteY24" fmla="*/ 95172 h 292487"/>
                  <a:gd name="connsiteX25" fmla="*/ 203352 w 285516"/>
                  <a:gd name="connsiteY25" fmla="*/ 101676 h 292487"/>
                  <a:gd name="connsiteX26" fmla="*/ 201788 w 285516"/>
                  <a:gd name="connsiteY26" fmla="*/ 101841 h 292487"/>
                  <a:gd name="connsiteX27" fmla="*/ 198907 w 285516"/>
                  <a:gd name="connsiteY27" fmla="*/ 102115 h 292487"/>
                  <a:gd name="connsiteX28" fmla="*/ 196793 w 285516"/>
                  <a:gd name="connsiteY28" fmla="*/ 105051 h 292487"/>
                  <a:gd name="connsiteX29" fmla="*/ 199208 w 285516"/>
                  <a:gd name="connsiteY29" fmla="*/ 113970 h 292487"/>
                  <a:gd name="connsiteX30" fmla="*/ 196052 w 285516"/>
                  <a:gd name="connsiteY30" fmla="*/ 123329 h 292487"/>
                  <a:gd name="connsiteX31" fmla="*/ 201788 w 285516"/>
                  <a:gd name="connsiteY31" fmla="*/ 130903 h 292487"/>
                  <a:gd name="connsiteX32" fmla="*/ 204011 w 285516"/>
                  <a:gd name="connsiteY32" fmla="*/ 133839 h 292487"/>
                  <a:gd name="connsiteX33" fmla="*/ 209253 w 285516"/>
                  <a:gd name="connsiteY33" fmla="*/ 136337 h 292487"/>
                  <a:gd name="connsiteX34" fmla="*/ 216223 w 285516"/>
                  <a:gd name="connsiteY34" fmla="*/ 146710 h 292487"/>
                  <a:gd name="connsiteX35" fmla="*/ 216333 w 285516"/>
                  <a:gd name="connsiteY35" fmla="*/ 158099 h 292487"/>
                  <a:gd name="connsiteX36" fmla="*/ 227063 w 285516"/>
                  <a:gd name="connsiteY36" fmla="*/ 161255 h 292487"/>
                  <a:gd name="connsiteX37" fmla="*/ 245834 w 285516"/>
                  <a:gd name="connsiteY37" fmla="*/ 175278 h 292487"/>
                  <a:gd name="connsiteX38" fmla="*/ 253875 w 285516"/>
                  <a:gd name="connsiteY38" fmla="*/ 177995 h 292487"/>
                  <a:gd name="connsiteX39" fmla="*/ 265209 w 285516"/>
                  <a:gd name="connsiteY39" fmla="*/ 197973 h 292487"/>
                  <a:gd name="connsiteX40" fmla="*/ 265867 w 285516"/>
                  <a:gd name="connsiteY40" fmla="*/ 199099 h 292487"/>
                  <a:gd name="connsiteX41" fmla="*/ 265209 w 285516"/>
                  <a:gd name="connsiteY41" fmla="*/ 201404 h 292487"/>
                  <a:gd name="connsiteX42" fmla="*/ 261723 w 285516"/>
                  <a:gd name="connsiteY42" fmla="*/ 213698 h 292487"/>
                  <a:gd name="connsiteX43" fmla="*/ 261723 w 285516"/>
                  <a:gd name="connsiteY43" fmla="*/ 224566 h 292487"/>
                  <a:gd name="connsiteX44" fmla="*/ 265209 w 285516"/>
                  <a:gd name="connsiteY44" fmla="*/ 225856 h 292487"/>
                  <a:gd name="connsiteX45" fmla="*/ 270917 w 285516"/>
                  <a:gd name="connsiteY45" fmla="*/ 227969 h 292487"/>
                  <a:gd name="connsiteX46" fmla="*/ 272069 w 285516"/>
                  <a:gd name="connsiteY46" fmla="*/ 243831 h 292487"/>
                  <a:gd name="connsiteX47" fmla="*/ 281400 w 285516"/>
                  <a:gd name="connsiteY47" fmla="*/ 252859 h 292487"/>
                  <a:gd name="connsiteX48" fmla="*/ 284967 w 285516"/>
                  <a:gd name="connsiteY48" fmla="*/ 261641 h 292487"/>
                  <a:gd name="connsiteX49" fmla="*/ 285517 w 285516"/>
                  <a:gd name="connsiteY49" fmla="*/ 263123 h 292487"/>
                  <a:gd name="connsiteX50" fmla="*/ 283459 w 285516"/>
                  <a:gd name="connsiteY50" fmla="*/ 263425 h 292487"/>
                  <a:gd name="connsiteX51" fmla="*/ 275857 w 285516"/>
                  <a:gd name="connsiteY51" fmla="*/ 259748 h 292487"/>
                  <a:gd name="connsiteX52" fmla="*/ 273332 w 285516"/>
                  <a:gd name="connsiteY52" fmla="*/ 259665 h 292487"/>
                  <a:gd name="connsiteX53" fmla="*/ 269545 w 285516"/>
                  <a:gd name="connsiteY53" fmla="*/ 260790 h 292487"/>
                  <a:gd name="connsiteX54" fmla="*/ 265209 w 285516"/>
                  <a:gd name="connsiteY54" fmla="*/ 259144 h 292487"/>
                  <a:gd name="connsiteX55" fmla="*/ 260626 w 285516"/>
                  <a:gd name="connsiteY55" fmla="*/ 257387 h 292487"/>
                  <a:gd name="connsiteX56" fmla="*/ 252585 w 285516"/>
                  <a:gd name="connsiteY56" fmla="*/ 257525 h 292487"/>
                  <a:gd name="connsiteX57" fmla="*/ 247014 w 285516"/>
                  <a:gd name="connsiteY57" fmla="*/ 259912 h 292487"/>
                  <a:gd name="connsiteX58" fmla="*/ 237217 w 285516"/>
                  <a:gd name="connsiteY58" fmla="*/ 280028 h 292487"/>
                  <a:gd name="connsiteX59" fmla="*/ 228216 w 285516"/>
                  <a:gd name="connsiteY59" fmla="*/ 291307 h 292487"/>
                  <a:gd name="connsiteX60" fmla="*/ 222754 w 285516"/>
                  <a:gd name="connsiteY60" fmla="*/ 292487 h 292487"/>
                  <a:gd name="connsiteX61" fmla="*/ 201788 w 285516"/>
                  <a:gd name="connsiteY61" fmla="*/ 290401 h 292487"/>
                  <a:gd name="connsiteX62" fmla="*/ 174071 w 285516"/>
                  <a:gd name="connsiteY62" fmla="*/ 287602 h 292487"/>
                  <a:gd name="connsiteX63" fmla="*/ 170860 w 285516"/>
                  <a:gd name="connsiteY63" fmla="*/ 284913 h 292487"/>
                  <a:gd name="connsiteX64" fmla="*/ 155656 w 285516"/>
                  <a:gd name="connsiteY64" fmla="*/ 272289 h 292487"/>
                  <a:gd name="connsiteX65" fmla="*/ 108043 w 285516"/>
                  <a:gd name="connsiteY65" fmla="*/ 232359 h 292487"/>
                  <a:gd name="connsiteX66" fmla="*/ 101264 w 285516"/>
                  <a:gd name="connsiteY66" fmla="*/ 226624 h 292487"/>
                  <a:gd name="connsiteX67" fmla="*/ 47860 w 285516"/>
                  <a:gd name="connsiteY67" fmla="*/ 194378 h 292487"/>
                  <a:gd name="connsiteX68" fmla="*/ 11992 w 285516"/>
                  <a:gd name="connsiteY68" fmla="*/ 186942 h 292487"/>
                  <a:gd name="connsiteX69" fmla="*/ 14243 w 285516"/>
                  <a:gd name="connsiteY69" fmla="*/ 182167 h 292487"/>
                  <a:gd name="connsiteX70" fmla="*/ 12980 w 285516"/>
                  <a:gd name="connsiteY70" fmla="*/ 180410 h 292487"/>
                  <a:gd name="connsiteX71" fmla="*/ 6916 w 285516"/>
                  <a:gd name="connsiteY71" fmla="*/ 179889 h 292487"/>
                  <a:gd name="connsiteX72" fmla="*/ 6175 w 285516"/>
                  <a:gd name="connsiteY72" fmla="*/ 176239 h 292487"/>
                  <a:gd name="connsiteX73" fmla="*/ 8096 w 285516"/>
                  <a:gd name="connsiteY73" fmla="*/ 173220 h 292487"/>
                  <a:gd name="connsiteX74" fmla="*/ 0 w 285516"/>
                  <a:gd name="connsiteY74" fmla="*/ 144240 h 292487"/>
                  <a:gd name="connsiteX75" fmla="*/ 65396 w 285516"/>
                  <a:gd name="connsiteY75" fmla="*/ 106588 h 292487"/>
                  <a:gd name="connsiteX76" fmla="*/ 71626 w 285516"/>
                  <a:gd name="connsiteY76" fmla="*/ 93937 h 292487"/>
                  <a:gd name="connsiteX77" fmla="*/ 72751 w 285516"/>
                  <a:gd name="connsiteY77" fmla="*/ 72230 h 292487"/>
                  <a:gd name="connsiteX78" fmla="*/ 76401 w 285516"/>
                  <a:gd name="connsiteY78" fmla="*/ 62378 h 292487"/>
                  <a:gd name="connsiteX79" fmla="*/ 72779 w 285516"/>
                  <a:gd name="connsiteY79" fmla="*/ 48300 h 292487"/>
                  <a:gd name="connsiteX80" fmla="*/ 73328 w 285516"/>
                  <a:gd name="connsiteY80" fmla="*/ 40149 h 292487"/>
                  <a:gd name="connsiteX81" fmla="*/ 78267 w 285516"/>
                  <a:gd name="connsiteY81" fmla="*/ 30983 h 292487"/>
                  <a:gd name="connsiteX82" fmla="*/ 90507 w 285516"/>
                  <a:gd name="connsiteY82" fmla="*/ 27580 h 292487"/>
                  <a:gd name="connsiteX83" fmla="*/ 104557 w 285516"/>
                  <a:gd name="connsiteY83" fmla="*/ 12294 h 292487"/>
                  <a:gd name="connsiteX84" fmla="*/ 104832 w 285516"/>
                  <a:gd name="connsiteY84" fmla="*/ 9715 h 292487"/>
                  <a:gd name="connsiteX85" fmla="*/ 108098 w 285516"/>
                  <a:gd name="connsiteY85" fmla="*/ 8699 h 292487"/>
                  <a:gd name="connsiteX86" fmla="*/ 111199 w 285516"/>
                  <a:gd name="connsiteY86" fmla="*/ 7711 h 292487"/>
                  <a:gd name="connsiteX87" fmla="*/ 117401 w 285516"/>
                  <a:gd name="connsiteY87" fmla="*/ 0 h 292487"/>
                  <a:gd name="connsiteX88" fmla="*/ 128845 w 285516"/>
                  <a:gd name="connsiteY88" fmla="*/ 302 h 292487"/>
                  <a:gd name="connsiteX89" fmla="*/ 136254 w 285516"/>
                  <a:gd name="connsiteY89" fmla="*/ 3540 h 29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85516" h="292487">
                    <a:moveTo>
                      <a:pt x="136144" y="3512"/>
                    </a:moveTo>
                    <a:lnTo>
                      <a:pt x="148988" y="5269"/>
                    </a:lnTo>
                    <a:lnTo>
                      <a:pt x="154010" y="2168"/>
                    </a:lnTo>
                    <a:lnTo>
                      <a:pt x="155629" y="2360"/>
                    </a:lnTo>
                    <a:lnTo>
                      <a:pt x="157742" y="2607"/>
                    </a:lnTo>
                    <a:lnTo>
                      <a:pt x="160047" y="4720"/>
                    </a:lnTo>
                    <a:lnTo>
                      <a:pt x="159416" y="10977"/>
                    </a:lnTo>
                    <a:lnTo>
                      <a:pt x="161804" y="14243"/>
                    </a:lnTo>
                    <a:lnTo>
                      <a:pt x="170833" y="7849"/>
                    </a:lnTo>
                    <a:lnTo>
                      <a:pt x="176431" y="7190"/>
                    </a:lnTo>
                    <a:lnTo>
                      <a:pt x="178928" y="14270"/>
                    </a:lnTo>
                    <a:lnTo>
                      <a:pt x="178846" y="20500"/>
                    </a:lnTo>
                    <a:lnTo>
                      <a:pt x="183621" y="25385"/>
                    </a:lnTo>
                    <a:lnTo>
                      <a:pt x="183786" y="32191"/>
                    </a:lnTo>
                    <a:lnTo>
                      <a:pt x="189988" y="36609"/>
                    </a:lnTo>
                    <a:lnTo>
                      <a:pt x="193747" y="49891"/>
                    </a:lnTo>
                    <a:lnTo>
                      <a:pt x="199538" y="51401"/>
                    </a:lnTo>
                    <a:lnTo>
                      <a:pt x="201761" y="53349"/>
                    </a:lnTo>
                    <a:lnTo>
                      <a:pt x="205410" y="56560"/>
                    </a:lnTo>
                    <a:lnTo>
                      <a:pt x="214412" y="55682"/>
                    </a:lnTo>
                    <a:lnTo>
                      <a:pt x="219571" y="57767"/>
                    </a:lnTo>
                    <a:lnTo>
                      <a:pt x="212326" y="64464"/>
                    </a:lnTo>
                    <a:lnTo>
                      <a:pt x="216278" y="82329"/>
                    </a:lnTo>
                    <a:lnTo>
                      <a:pt x="209363" y="84908"/>
                    </a:lnTo>
                    <a:lnTo>
                      <a:pt x="202913" y="95172"/>
                    </a:lnTo>
                    <a:lnTo>
                      <a:pt x="203352" y="101676"/>
                    </a:lnTo>
                    <a:lnTo>
                      <a:pt x="201788" y="101841"/>
                    </a:lnTo>
                    <a:lnTo>
                      <a:pt x="198907" y="102115"/>
                    </a:lnTo>
                    <a:lnTo>
                      <a:pt x="196793" y="105051"/>
                    </a:lnTo>
                    <a:lnTo>
                      <a:pt x="199208" y="113970"/>
                    </a:lnTo>
                    <a:lnTo>
                      <a:pt x="196052" y="123329"/>
                    </a:lnTo>
                    <a:lnTo>
                      <a:pt x="201788" y="130903"/>
                    </a:lnTo>
                    <a:lnTo>
                      <a:pt x="204011" y="133839"/>
                    </a:lnTo>
                    <a:lnTo>
                      <a:pt x="209253" y="136337"/>
                    </a:lnTo>
                    <a:lnTo>
                      <a:pt x="216223" y="146710"/>
                    </a:lnTo>
                    <a:lnTo>
                      <a:pt x="216333" y="158099"/>
                    </a:lnTo>
                    <a:lnTo>
                      <a:pt x="227063" y="161255"/>
                    </a:lnTo>
                    <a:lnTo>
                      <a:pt x="245834" y="175278"/>
                    </a:lnTo>
                    <a:lnTo>
                      <a:pt x="253875" y="177995"/>
                    </a:lnTo>
                    <a:lnTo>
                      <a:pt x="265209" y="197973"/>
                    </a:lnTo>
                    <a:lnTo>
                      <a:pt x="265867" y="199099"/>
                    </a:lnTo>
                    <a:lnTo>
                      <a:pt x="265209" y="201404"/>
                    </a:lnTo>
                    <a:lnTo>
                      <a:pt x="261723" y="213698"/>
                    </a:lnTo>
                    <a:lnTo>
                      <a:pt x="261723" y="224566"/>
                    </a:lnTo>
                    <a:cubicBezTo>
                      <a:pt x="261723" y="224566"/>
                      <a:pt x="265209" y="225856"/>
                      <a:pt x="265209" y="225856"/>
                    </a:cubicBezTo>
                    <a:lnTo>
                      <a:pt x="270917" y="227969"/>
                    </a:lnTo>
                    <a:lnTo>
                      <a:pt x="272069" y="243831"/>
                    </a:lnTo>
                    <a:lnTo>
                      <a:pt x="281400" y="252859"/>
                    </a:lnTo>
                    <a:lnTo>
                      <a:pt x="284967" y="261641"/>
                    </a:lnTo>
                    <a:lnTo>
                      <a:pt x="285517" y="263123"/>
                    </a:lnTo>
                    <a:lnTo>
                      <a:pt x="283459" y="263425"/>
                    </a:lnTo>
                    <a:lnTo>
                      <a:pt x="275857" y="259748"/>
                    </a:lnTo>
                    <a:lnTo>
                      <a:pt x="273332" y="259665"/>
                    </a:lnTo>
                    <a:lnTo>
                      <a:pt x="269545" y="260790"/>
                    </a:lnTo>
                    <a:lnTo>
                      <a:pt x="265209" y="259144"/>
                    </a:lnTo>
                    <a:lnTo>
                      <a:pt x="260626" y="257387"/>
                    </a:lnTo>
                    <a:lnTo>
                      <a:pt x="252585" y="257525"/>
                    </a:lnTo>
                    <a:lnTo>
                      <a:pt x="247014" y="259912"/>
                    </a:lnTo>
                    <a:lnTo>
                      <a:pt x="237217" y="280028"/>
                    </a:lnTo>
                    <a:lnTo>
                      <a:pt x="228216" y="291307"/>
                    </a:lnTo>
                    <a:lnTo>
                      <a:pt x="222754" y="292487"/>
                    </a:lnTo>
                    <a:lnTo>
                      <a:pt x="201788" y="290401"/>
                    </a:lnTo>
                    <a:lnTo>
                      <a:pt x="174071" y="287602"/>
                    </a:lnTo>
                    <a:lnTo>
                      <a:pt x="170860" y="284913"/>
                    </a:lnTo>
                    <a:lnTo>
                      <a:pt x="155656" y="272289"/>
                    </a:lnTo>
                    <a:lnTo>
                      <a:pt x="108043" y="232359"/>
                    </a:lnTo>
                    <a:lnTo>
                      <a:pt x="101264" y="226624"/>
                    </a:lnTo>
                    <a:lnTo>
                      <a:pt x="47860" y="194378"/>
                    </a:lnTo>
                    <a:lnTo>
                      <a:pt x="11992" y="186942"/>
                    </a:lnTo>
                    <a:lnTo>
                      <a:pt x="14243" y="182167"/>
                    </a:lnTo>
                    <a:lnTo>
                      <a:pt x="12980" y="180410"/>
                    </a:lnTo>
                    <a:lnTo>
                      <a:pt x="6916" y="179889"/>
                    </a:lnTo>
                    <a:lnTo>
                      <a:pt x="6175" y="176239"/>
                    </a:lnTo>
                    <a:lnTo>
                      <a:pt x="8096" y="173220"/>
                    </a:lnTo>
                    <a:lnTo>
                      <a:pt x="0" y="144240"/>
                    </a:lnTo>
                    <a:lnTo>
                      <a:pt x="65396" y="106588"/>
                    </a:lnTo>
                    <a:lnTo>
                      <a:pt x="71626" y="93937"/>
                    </a:lnTo>
                    <a:lnTo>
                      <a:pt x="72751" y="72230"/>
                    </a:lnTo>
                    <a:lnTo>
                      <a:pt x="76401" y="62378"/>
                    </a:lnTo>
                    <a:lnTo>
                      <a:pt x="72779" y="48300"/>
                    </a:lnTo>
                    <a:lnTo>
                      <a:pt x="73328" y="40149"/>
                    </a:lnTo>
                    <a:lnTo>
                      <a:pt x="78267" y="30983"/>
                    </a:lnTo>
                    <a:lnTo>
                      <a:pt x="90507" y="27580"/>
                    </a:lnTo>
                    <a:lnTo>
                      <a:pt x="104557" y="12294"/>
                    </a:lnTo>
                    <a:lnTo>
                      <a:pt x="104832" y="9715"/>
                    </a:lnTo>
                    <a:lnTo>
                      <a:pt x="108098" y="8699"/>
                    </a:lnTo>
                    <a:lnTo>
                      <a:pt x="111199" y="7711"/>
                    </a:lnTo>
                    <a:lnTo>
                      <a:pt x="117401" y="0"/>
                    </a:lnTo>
                    <a:lnTo>
                      <a:pt x="128845" y="302"/>
                    </a:lnTo>
                    <a:lnTo>
                      <a:pt x="136254"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0" name="Freeform: Shape 3849">
                <a:extLst>
                  <a:ext uri="{FF2B5EF4-FFF2-40B4-BE49-F238E27FC236}">
                    <a16:creationId xmlns:a16="http://schemas.microsoft.com/office/drawing/2014/main" id="{B4B107BB-DB33-BF78-1DA2-CDBF76444867}"/>
                  </a:ext>
                </a:extLst>
              </p:cNvPr>
              <p:cNvSpPr/>
              <p:nvPr/>
            </p:nvSpPr>
            <p:spPr>
              <a:xfrm>
                <a:off x="1096441" y="3797881"/>
                <a:ext cx="13894" cy="13490"/>
              </a:xfrm>
              <a:custGeom>
                <a:avLst/>
                <a:gdLst>
                  <a:gd name="connsiteX0" fmla="*/ 128625 w 133208"/>
                  <a:gd name="connsiteY0" fmla="*/ 6916 h 129338"/>
                  <a:gd name="connsiteX1" fmla="*/ 130985 w 133208"/>
                  <a:gd name="connsiteY1" fmla="*/ 22037 h 129338"/>
                  <a:gd name="connsiteX2" fmla="*/ 125058 w 133208"/>
                  <a:gd name="connsiteY2" fmla="*/ 31313 h 129338"/>
                  <a:gd name="connsiteX3" fmla="*/ 122807 w 133208"/>
                  <a:gd name="connsiteY3" fmla="*/ 38530 h 129338"/>
                  <a:gd name="connsiteX4" fmla="*/ 120804 w 133208"/>
                  <a:gd name="connsiteY4" fmla="*/ 51730 h 129338"/>
                  <a:gd name="connsiteX5" fmla="*/ 122231 w 133208"/>
                  <a:gd name="connsiteY5" fmla="*/ 65232 h 129338"/>
                  <a:gd name="connsiteX6" fmla="*/ 118856 w 133208"/>
                  <a:gd name="connsiteY6" fmla="*/ 67181 h 129338"/>
                  <a:gd name="connsiteX7" fmla="*/ 119322 w 133208"/>
                  <a:gd name="connsiteY7" fmla="*/ 71983 h 129338"/>
                  <a:gd name="connsiteX8" fmla="*/ 115315 w 133208"/>
                  <a:gd name="connsiteY8" fmla="*/ 75386 h 129338"/>
                  <a:gd name="connsiteX9" fmla="*/ 117703 w 133208"/>
                  <a:gd name="connsiteY9" fmla="*/ 84415 h 129338"/>
                  <a:gd name="connsiteX10" fmla="*/ 113422 w 133208"/>
                  <a:gd name="connsiteY10" fmla="*/ 94816 h 129338"/>
                  <a:gd name="connsiteX11" fmla="*/ 116633 w 133208"/>
                  <a:gd name="connsiteY11" fmla="*/ 95968 h 129338"/>
                  <a:gd name="connsiteX12" fmla="*/ 117978 w 133208"/>
                  <a:gd name="connsiteY12" fmla="*/ 102362 h 129338"/>
                  <a:gd name="connsiteX13" fmla="*/ 112461 w 133208"/>
                  <a:gd name="connsiteY13" fmla="*/ 109059 h 129338"/>
                  <a:gd name="connsiteX14" fmla="*/ 111858 w 133208"/>
                  <a:gd name="connsiteY14" fmla="*/ 112050 h 129338"/>
                  <a:gd name="connsiteX15" fmla="*/ 113724 w 133208"/>
                  <a:gd name="connsiteY15" fmla="*/ 118526 h 129338"/>
                  <a:gd name="connsiteX16" fmla="*/ 117099 w 133208"/>
                  <a:gd name="connsiteY16" fmla="*/ 122862 h 129338"/>
                  <a:gd name="connsiteX17" fmla="*/ 116825 w 133208"/>
                  <a:gd name="connsiteY17" fmla="*/ 127144 h 129338"/>
                  <a:gd name="connsiteX18" fmla="*/ 110129 w 133208"/>
                  <a:gd name="connsiteY18" fmla="*/ 129339 h 129338"/>
                  <a:gd name="connsiteX19" fmla="*/ 102774 w 133208"/>
                  <a:gd name="connsiteY19" fmla="*/ 127500 h 129338"/>
                  <a:gd name="connsiteX20" fmla="*/ 97313 w 133208"/>
                  <a:gd name="connsiteY20" fmla="*/ 121929 h 129338"/>
                  <a:gd name="connsiteX21" fmla="*/ 88751 w 133208"/>
                  <a:gd name="connsiteY21" fmla="*/ 119103 h 129338"/>
                  <a:gd name="connsiteX22" fmla="*/ 80408 w 133208"/>
                  <a:gd name="connsiteY22" fmla="*/ 122396 h 129338"/>
                  <a:gd name="connsiteX23" fmla="*/ 60978 w 133208"/>
                  <a:gd name="connsiteY23" fmla="*/ 115123 h 129338"/>
                  <a:gd name="connsiteX24" fmla="*/ 58179 w 133208"/>
                  <a:gd name="connsiteY24" fmla="*/ 118636 h 129338"/>
                  <a:gd name="connsiteX25" fmla="*/ 34743 w 133208"/>
                  <a:gd name="connsiteY25" fmla="*/ 98383 h 129338"/>
                  <a:gd name="connsiteX26" fmla="*/ 29227 w 133208"/>
                  <a:gd name="connsiteY26" fmla="*/ 90946 h 129338"/>
                  <a:gd name="connsiteX27" fmla="*/ 26098 w 133208"/>
                  <a:gd name="connsiteY27" fmla="*/ 85019 h 129338"/>
                  <a:gd name="connsiteX28" fmla="*/ 15643 w 133208"/>
                  <a:gd name="connsiteY28" fmla="*/ 77801 h 129338"/>
                  <a:gd name="connsiteX29" fmla="*/ 2195 w 133208"/>
                  <a:gd name="connsiteY29" fmla="*/ 65259 h 129338"/>
                  <a:gd name="connsiteX30" fmla="*/ 0 w 133208"/>
                  <a:gd name="connsiteY30" fmla="*/ 63229 h 129338"/>
                  <a:gd name="connsiteX31" fmla="*/ 2195 w 133208"/>
                  <a:gd name="connsiteY31" fmla="*/ 60183 h 129338"/>
                  <a:gd name="connsiteX32" fmla="*/ 7053 w 133208"/>
                  <a:gd name="connsiteY32" fmla="*/ 62598 h 129338"/>
                  <a:gd name="connsiteX33" fmla="*/ 10648 w 133208"/>
                  <a:gd name="connsiteY33" fmla="*/ 61417 h 129338"/>
                  <a:gd name="connsiteX34" fmla="*/ 19238 w 133208"/>
                  <a:gd name="connsiteY34" fmla="*/ 60704 h 129338"/>
                  <a:gd name="connsiteX35" fmla="*/ 21680 w 133208"/>
                  <a:gd name="connsiteY35" fmla="*/ 58344 h 129338"/>
                  <a:gd name="connsiteX36" fmla="*/ 23025 w 133208"/>
                  <a:gd name="connsiteY36" fmla="*/ 53157 h 129338"/>
                  <a:gd name="connsiteX37" fmla="*/ 27855 w 133208"/>
                  <a:gd name="connsiteY37" fmla="*/ 51950 h 129338"/>
                  <a:gd name="connsiteX38" fmla="*/ 26483 w 133208"/>
                  <a:gd name="connsiteY38" fmla="*/ 39710 h 129338"/>
                  <a:gd name="connsiteX39" fmla="*/ 29254 w 133208"/>
                  <a:gd name="connsiteY39" fmla="*/ 37213 h 129338"/>
                  <a:gd name="connsiteX40" fmla="*/ 38722 w 133208"/>
                  <a:gd name="connsiteY40" fmla="*/ 37515 h 129338"/>
                  <a:gd name="connsiteX41" fmla="*/ 47888 w 133208"/>
                  <a:gd name="connsiteY41" fmla="*/ 28815 h 129338"/>
                  <a:gd name="connsiteX42" fmla="*/ 50577 w 133208"/>
                  <a:gd name="connsiteY42" fmla="*/ 32438 h 129338"/>
                  <a:gd name="connsiteX43" fmla="*/ 56039 w 133208"/>
                  <a:gd name="connsiteY43" fmla="*/ 35237 h 129338"/>
                  <a:gd name="connsiteX44" fmla="*/ 57246 w 133208"/>
                  <a:gd name="connsiteY44" fmla="*/ 31779 h 129338"/>
                  <a:gd name="connsiteX45" fmla="*/ 65452 w 133208"/>
                  <a:gd name="connsiteY45" fmla="*/ 27416 h 129338"/>
                  <a:gd name="connsiteX46" fmla="*/ 68333 w 133208"/>
                  <a:gd name="connsiteY46" fmla="*/ 23793 h 129338"/>
                  <a:gd name="connsiteX47" fmla="*/ 73273 w 133208"/>
                  <a:gd name="connsiteY47" fmla="*/ 22394 h 129338"/>
                  <a:gd name="connsiteX48" fmla="*/ 72587 w 133208"/>
                  <a:gd name="connsiteY48" fmla="*/ 19128 h 129338"/>
                  <a:gd name="connsiteX49" fmla="*/ 74700 w 133208"/>
                  <a:gd name="connsiteY49" fmla="*/ 13941 h 129338"/>
                  <a:gd name="connsiteX50" fmla="*/ 82329 w 133208"/>
                  <a:gd name="connsiteY50" fmla="*/ 6120 h 129338"/>
                  <a:gd name="connsiteX51" fmla="*/ 84744 w 133208"/>
                  <a:gd name="connsiteY51" fmla="*/ 6504 h 129338"/>
                  <a:gd name="connsiteX52" fmla="*/ 87927 w 133208"/>
                  <a:gd name="connsiteY52" fmla="*/ 10401 h 129338"/>
                  <a:gd name="connsiteX53" fmla="*/ 94431 w 133208"/>
                  <a:gd name="connsiteY53" fmla="*/ 11471 h 129338"/>
                  <a:gd name="connsiteX54" fmla="*/ 101292 w 133208"/>
                  <a:gd name="connsiteY54" fmla="*/ 8453 h 129338"/>
                  <a:gd name="connsiteX55" fmla="*/ 113175 w 133208"/>
                  <a:gd name="connsiteY55" fmla="*/ 6916 h 129338"/>
                  <a:gd name="connsiteX56" fmla="*/ 125469 w 133208"/>
                  <a:gd name="connsiteY56" fmla="*/ 0 h 129338"/>
                  <a:gd name="connsiteX57" fmla="*/ 133208 w 133208"/>
                  <a:gd name="connsiteY57" fmla="*/ 357 h 129338"/>
                  <a:gd name="connsiteX58" fmla="*/ 128625 w 133208"/>
                  <a:gd name="connsiteY58" fmla="*/ 6971 h 12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33208" h="129338">
                    <a:moveTo>
                      <a:pt x="128625" y="6916"/>
                    </a:moveTo>
                    <a:lnTo>
                      <a:pt x="130985" y="22037"/>
                    </a:lnTo>
                    <a:lnTo>
                      <a:pt x="125058" y="31313"/>
                    </a:lnTo>
                    <a:lnTo>
                      <a:pt x="122807" y="38530"/>
                    </a:lnTo>
                    <a:lnTo>
                      <a:pt x="120804" y="51730"/>
                    </a:lnTo>
                    <a:lnTo>
                      <a:pt x="122231" y="65232"/>
                    </a:lnTo>
                    <a:lnTo>
                      <a:pt x="118856" y="67181"/>
                    </a:lnTo>
                    <a:lnTo>
                      <a:pt x="119322" y="71983"/>
                    </a:lnTo>
                    <a:lnTo>
                      <a:pt x="115315" y="75386"/>
                    </a:lnTo>
                    <a:lnTo>
                      <a:pt x="117703" y="84415"/>
                    </a:lnTo>
                    <a:lnTo>
                      <a:pt x="113422" y="94816"/>
                    </a:lnTo>
                    <a:lnTo>
                      <a:pt x="116633" y="95968"/>
                    </a:lnTo>
                    <a:lnTo>
                      <a:pt x="117978" y="102362"/>
                    </a:lnTo>
                    <a:lnTo>
                      <a:pt x="112461" y="109059"/>
                    </a:lnTo>
                    <a:lnTo>
                      <a:pt x="111858" y="112050"/>
                    </a:lnTo>
                    <a:lnTo>
                      <a:pt x="113724" y="118526"/>
                    </a:lnTo>
                    <a:lnTo>
                      <a:pt x="117099" y="122862"/>
                    </a:lnTo>
                    <a:lnTo>
                      <a:pt x="116825" y="127144"/>
                    </a:lnTo>
                    <a:lnTo>
                      <a:pt x="110129" y="129339"/>
                    </a:lnTo>
                    <a:lnTo>
                      <a:pt x="102774" y="127500"/>
                    </a:lnTo>
                    <a:lnTo>
                      <a:pt x="97313" y="121929"/>
                    </a:lnTo>
                    <a:lnTo>
                      <a:pt x="88751" y="119103"/>
                    </a:lnTo>
                    <a:lnTo>
                      <a:pt x="80408" y="122396"/>
                    </a:lnTo>
                    <a:lnTo>
                      <a:pt x="60978" y="115123"/>
                    </a:lnTo>
                    <a:lnTo>
                      <a:pt x="58179" y="118636"/>
                    </a:lnTo>
                    <a:lnTo>
                      <a:pt x="34743" y="98383"/>
                    </a:lnTo>
                    <a:lnTo>
                      <a:pt x="29227" y="90946"/>
                    </a:lnTo>
                    <a:lnTo>
                      <a:pt x="26098" y="85019"/>
                    </a:lnTo>
                    <a:lnTo>
                      <a:pt x="15643" y="77801"/>
                    </a:lnTo>
                    <a:lnTo>
                      <a:pt x="2195" y="65259"/>
                    </a:lnTo>
                    <a:lnTo>
                      <a:pt x="0" y="63229"/>
                    </a:lnTo>
                    <a:lnTo>
                      <a:pt x="2195" y="60183"/>
                    </a:lnTo>
                    <a:lnTo>
                      <a:pt x="7053" y="62598"/>
                    </a:lnTo>
                    <a:lnTo>
                      <a:pt x="10648" y="61417"/>
                    </a:lnTo>
                    <a:lnTo>
                      <a:pt x="19238" y="60704"/>
                    </a:lnTo>
                    <a:lnTo>
                      <a:pt x="21680" y="58344"/>
                    </a:lnTo>
                    <a:lnTo>
                      <a:pt x="23025" y="53157"/>
                    </a:lnTo>
                    <a:lnTo>
                      <a:pt x="27855" y="51950"/>
                    </a:lnTo>
                    <a:lnTo>
                      <a:pt x="26483" y="39710"/>
                    </a:lnTo>
                    <a:lnTo>
                      <a:pt x="29254" y="37213"/>
                    </a:lnTo>
                    <a:lnTo>
                      <a:pt x="38722" y="37515"/>
                    </a:lnTo>
                    <a:lnTo>
                      <a:pt x="47888" y="28815"/>
                    </a:lnTo>
                    <a:lnTo>
                      <a:pt x="50577" y="32438"/>
                    </a:lnTo>
                    <a:lnTo>
                      <a:pt x="56039" y="35237"/>
                    </a:lnTo>
                    <a:lnTo>
                      <a:pt x="57246" y="31779"/>
                    </a:lnTo>
                    <a:lnTo>
                      <a:pt x="65452" y="27416"/>
                    </a:lnTo>
                    <a:lnTo>
                      <a:pt x="68333" y="23793"/>
                    </a:lnTo>
                    <a:lnTo>
                      <a:pt x="73273" y="22394"/>
                    </a:lnTo>
                    <a:lnTo>
                      <a:pt x="72587" y="19128"/>
                    </a:lnTo>
                    <a:lnTo>
                      <a:pt x="74700" y="13941"/>
                    </a:lnTo>
                    <a:lnTo>
                      <a:pt x="82329" y="6120"/>
                    </a:lnTo>
                    <a:lnTo>
                      <a:pt x="84744" y="6504"/>
                    </a:lnTo>
                    <a:lnTo>
                      <a:pt x="87927" y="10401"/>
                    </a:lnTo>
                    <a:lnTo>
                      <a:pt x="94431" y="11471"/>
                    </a:lnTo>
                    <a:lnTo>
                      <a:pt x="101292" y="8453"/>
                    </a:lnTo>
                    <a:lnTo>
                      <a:pt x="113175" y="6916"/>
                    </a:lnTo>
                    <a:lnTo>
                      <a:pt x="125469" y="0"/>
                    </a:lnTo>
                    <a:lnTo>
                      <a:pt x="133208" y="357"/>
                    </a:lnTo>
                    <a:lnTo>
                      <a:pt x="128625" y="69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1" name="Freeform: Shape 3850">
                <a:extLst>
                  <a:ext uri="{FF2B5EF4-FFF2-40B4-BE49-F238E27FC236}">
                    <a16:creationId xmlns:a16="http://schemas.microsoft.com/office/drawing/2014/main" id="{EB800724-ABA2-ACEF-B93B-01A194D50107}"/>
                  </a:ext>
                </a:extLst>
              </p:cNvPr>
              <p:cNvSpPr/>
              <p:nvPr/>
            </p:nvSpPr>
            <p:spPr>
              <a:xfrm>
                <a:off x="1575607" y="3736527"/>
                <a:ext cx="87616" cy="83039"/>
              </a:xfrm>
              <a:custGeom>
                <a:avLst/>
                <a:gdLst>
                  <a:gd name="connsiteX0" fmla="*/ 12679 w 840029"/>
                  <a:gd name="connsiteY0" fmla="*/ 298964 h 796148"/>
                  <a:gd name="connsiteX1" fmla="*/ 26949 w 840029"/>
                  <a:gd name="connsiteY1" fmla="*/ 298580 h 796148"/>
                  <a:gd name="connsiteX2" fmla="*/ 30956 w 840029"/>
                  <a:gd name="connsiteY2" fmla="*/ 298360 h 796148"/>
                  <a:gd name="connsiteX3" fmla="*/ 36911 w 840029"/>
                  <a:gd name="connsiteY3" fmla="*/ 301681 h 796148"/>
                  <a:gd name="connsiteX4" fmla="*/ 43223 w 840029"/>
                  <a:gd name="connsiteY4" fmla="*/ 301736 h 796148"/>
                  <a:gd name="connsiteX5" fmla="*/ 45775 w 840029"/>
                  <a:gd name="connsiteY5" fmla="*/ 300034 h 796148"/>
                  <a:gd name="connsiteX6" fmla="*/ 43333 w 840029"/>
                  <a:gd name="connsiteY6" fmla="*/ 304425 h 796148"/>
                  <a:gd name="connsiteX7" fmla="*/ 37158 w 840029"/>
                  <a:gd name="connsiteY7" fmla="*/ 306566 h 796148"/>
                  <a:gd name="connsiteX8" fmla="*/ 41522 w 840029"/>
                  <a:gd name="connsiteY8" fmla="*/ 311066 h 796148"/>
                  <a:gd name="connsiteX9" fmla="*/ 42098 w 840029"/>
                  <a:gd name="connsiteY9" fmla="*/ 320150 h 796148"/>
                  <a:gd name="connsiteX10" fmla="*/ 48711 w 840029"/>
                  <a:gd name="connsiteY10" fmla="*/ 323553 h 796148"/>
                  <a:gd name="connsiteX11" fmla="*/ 57384 w 840029"/>
                  <a:gd name="connsiteY11" fmla="*/ 318174 h 796148"/>
                  <a:gd name="connsiteX12" fmla="*/ 60923 w 840029"/>
                  <a:gd name="connsiteY12" fmla="*/ 313838 h 796148"/>
                  <a:gd name="connsiteX13" fmla="*/ 61500 w 840029"/>
                  <a:gd name="connsiteY13" fmla="*/ 309776 h 796148"/>
                  <a:gd name="connsiteX14" fmla="*/ 69129 w 840029"/>
                  <a:gd name="connsiteY14" fmla="*/ 311258 h 796148"/>
                  <a:gd name="connsiteX15" fmla="*/ 70282 w 840029"/>
                  <a:gd name="connsiteY15" fmla="*/ 315402 h 796148"/>
                  <a:gd name="connsiteX16" fmla="*/ 74096 w 840029"/>
                  <a:gd name="connsiteY16" fmla="*/ 317268 h 796148"/>
                  <a:gd name="connsiteX17" fmla="*/ 74919 w 840029"/>
                  <a:gd name="connsiteY17" fmla="*/ 312493 h 796148"/>
                  <a:gd name="connsiteX18" fmla="*/ 79749 w 840029"/>
                  <a:gd name="connsiteY18" fmla="*/ 305468 h 796148"/>
                  <a:gd name="connsiteX19" fmla="*/ 75331 w 840029"/>
                  <a:gd name="connsiteY19" fmla="*/ 299842 h 796148"/>
                  <a:gd name="connsiteX20" fmla="*/ 69815 w 840029"/>
                  <a:gd name="connsiteY20" fmla="*/ 298882 h 796148"/>
                  <a:gd name="connsiteX21" fmla="*/ 70089 w 840029"/>
                  <a:gd name="connsiteY21" fmla="*/ 296961 h 796148"/>
                  <a:gd name="connsiteX22" fmla="*/ 75468 w 840029"/>
                  <a:gd name="connsiteY22" fmla="*/ 294107 h 796148"/>
                  <a:gd name="connsiteX23" fmla="*/ 72614 w 840029"/>
                  <a:gd name="connsiteY23" fmla="*/ 290457 h 796148"/>
                  <a:gd name="connsiteX24" fmla="*/ 74755 w 840029"/>
                  <a:gd name="connsiteY24" fmla="*/ 284447 h 796148"/>
                  <a:gd name="connsiteX25" fmla="*/ 69047 w 840029"/>
                  <a:gd name="connsiteY25" fmla="*/ 270286 h 796148"/>
                  <a:gd name="connsiteX26" fmla="*/ 62954 w 840029"/>
                  <a:gd name="connsiteY26" fmla="*/ 262026 h 796148"/>
                  <a:gd name="connsiteX27" fmla="*/ 62460 w 840029"/>
                  <a:gd name="connsiteY27" fmla="*/ 252640 h 796148"/>
                  <a:gd name="connsiteX28" fmla="*/ 52279 w 840029"/>
                  <a:gd name="connsiteY28" fmla="*/ 252037 h 796148"/>
                  <a:gd name="connsiteX29" fmla="*/ 46543 w 840029"/>
                  <a:gd name="connsiteY29" fmla="*/ 244462 h 796148"/>
                  <a:gd name="connsiteX30" fmla="*/ 45994 w 840029"/>
                  <a:gd name="connsiteY30" fmla="*/ 240373 h 796148"/>
                  <a:gd name="connsiteX31" fmla="*/ 48492 w 840029"/>
                  <a:gd name="connsiteY31" fmla="*/ 232744 h 796148"/>
                  <a:gd name="connsiteX32" fmla="*/ 47943 w 840029"/>
                  <a:gd name="connsiteY32" fmla="*/ 224456 h 796148"/>
                  <a:gd name="connsiteX33" fmla="*/ 38722 w 840029"/>
                  <a:gd name="connsiteY33" fmla="*/ 222919 h 796148"/>
                  <a:gd name="connsiteX34" fmla="*/ 28925 w 840029"/>
                  <a:gd name="connsiteY34" fmla="*/ 217294 h 796148"/>
                  <a:gd name="connsiteX35" fmla="*/ 28925 w 840029"/>
                  <a:gd name="connsiteY35" fmla="*/ 210131 h 796148"/>
                  <a:gd name="connsiteX36" fmla="*/ 31011 w 840029"/>
                  <a:gd name="connsiteY36" fmla="*/ 204341 h 796148"/>
                  <a:gd name="connsiteX37" fmla="*/ 43497 w 840029"/>
                  <a:gd name="connsiteY37" fmla="*/ 191195 h 796148"/>
                  <a:gd name="connsiteX38" fmla="*/ 49096 w 840029"/>
                  <a:gd name="connsiteY38" fmla="*/ 180794 h 796148"/>
                  <a:gd name="connsiteX39" fmla="*/ 54666 w 840029"/>
                  <a:gd name="connsiteY39" fmla="*/ 176129 h 796148"/>
                  <a:gd name="connsiteX40" fmla="*/ 60265 w 840029"/>
                  <a:gd name="connsiteY40" fmla="*/ 176376 h 796148"/>
                  <a:gd name="connsiteX41" fmla="*/ 65232 w 840029"/>
                  <a:gd name="connsiteY41" fmla="*/ 184938 h 796148"/>
                  <a:gd name="connsiteX42" fmla="*/ 68306 w 840029"/>
                  <a:gd name="connsiteY42" fmla="*/ 186036 h 796148"/>
                  <a:gd name="connsiteX43" fmla="*/ 98575 w 840029"/>
                  <a:gd name="connsiteY43" fmla="*/ 177529 h 796148"/>
                  <a:gd name="connsiteX44" fmla="*/ 100798 w 840029"/>
                  <a:gd name="connsiteY44" fmla="*/ 171272 h 796148"/>
                  <a:gd name="connsiteX45" fmla="*/ 107576 w 840029"/>
                  <a:gd name="connsiteY45" fmla="*/ 163917 h 796148"/>
                  <a:gd name="connsiteX46" fmla="*/ 112132 w 840029"/>
                  <a:gd name="connsiteY46" fmla="*/ 152775 h 796148"/>
                  <a:gd name="connsiteX47" fmla="*/ 129888 w 840029"/>
                  <a:gd name="connsiteY47" fmla="*/ 141249 h 796148"/>
                  <a:gd name="connsiteX48" fmla="*/ 139053 w 840029"/>
                  <a:gd name="connsiteY48" fmla="*/ 125140 h 796148"/>
                  <a:gd name="connsiteX49" fmla="*/ 143362 w 840029"/>
                  <a:gd name="connsiteY49" fmla="*/ 111611 h 796148"/>
                  <a:gd name="connsiteX50" fmla="*/ 158703 w 840029"/>
                  <a:gd name="connsiteY50" fmla="*/ 103597 h 796148"/>
                  <a:gd name="connsiteX51" fmla="*/ 158044 w 840029"/>
                  <a:gd name="connsiteY51" fmla="*/ 95364 h 796148"/>
                  <a:gd name="connsiteX52" fmla="*/ 173385 w 840029"/>
                  <a:gd name="connsiteY52" fmla="*/ 77444 h 796148"/>
                  <a:gd name="connsiteX53" fmla="*/ 180218 w 840029"/>
                  <a:gd name="connsiteY53" fmla="*/ 72477 h 796148"/>
                  <a:gd name="connsiteX54" fmla="*/ 177062 w 840029"/>
                  <a:gd name="connsiteY54" fmla="*/ 69102 h 796148"/>
                  <a:gd name="connsiteX55" fmla="*/ 179395 w 840029"/>
                  <a:gd name="connsiteY55" fmla="*/ 58810 h 796148"/>
                  <a:gd name="connsiteX56" fmla="*/ 176458 w 840029"/>
                  <a:gd name="connsiteY56" fmla="*/ 50221 h 796148"/>
                  <a:gd name="connsiteX57" fmla="*/ 177007 w 840029"/>
                  <a:gd name="connsiteY57" fmla="*/ 47339 h 796148"/>
                  <a:gd name="connsiteX58" fmla="*/ 187271 w 840029"/>
                  <a:gd name="connsiteY58" fmla="*/ 39271 h 796148"/>
                  <a:gd name="connsiteX59" fmla="*/ 197727 w 840029"/>
                  <a:gd name="connsiteY59" fmla="*/ 36856 h 796148"/>
                  <a:gd name="connsiteX60" fmla="*/ 200910 w 840029"/>
                  <a:gd name="connsiteY60" fmla="*/ 32136 h 796148"/>
                  <a:gd name="connsiteX61" fmla="*/ 200114 w 840029"/>
                  <a:gd name="connsiteY61" fmla="*/ 29199 h 796148"/>
                  <a:gd name="connsiteX62" fmla="*/ 205191 w 840029"/>
                  <a:gd name="connsiteY62" fmla="*/ 30132 h 796148"/>
                  <a:gd name="connsiteX63" fmla="*/ 212546 w 840029"/>
                  <a:gd name="connsiteY63" fmla="*/ 24644 h 796148"/>
                  <a:gd name="connsiteX64" fmla="*/ 217348 w 840029"/>
                  <a:gd name="connsiteY64" fmla="*/ 17756 h 796148"/>
                  <a:gd name="connsiteX65" fmla="*/ 216745 w 840029"/>
                  <a:gd name="connsiteY65" fmla="*/ 10264 h 796148"/>
                  <a:gd name="connsiteX66" fmla="*/ 235488 w 840029"/>
                  <a:gd name="connsiteY66" fmla="*/ 0 h 796148"/>
                  <a:gd name="connsiteX67" fmla="*/ 243447 w 840029"/>
                  <a:gd name="connsiteY67" fmla="*/ 1098 h 796148"/>
                  <a:gd name="connsiteX68" fmla="*/ 251625 w 840029"/>
                  <a:gd name="connsiteY68" fmla="*/ 8205 h 796148"/>
                  <a:gd name="connsiteX69" fmla="*/ 258540 w 840029"/>
                  <a:gd name="connsiteY69" fmla="*/ 11169 h 796148"/>
                  <a:gd name="connsiteX70" fmla="*/ 271493 w 840029"/>
                  <a:gd name="connsiteY70" fmla="*/ 7739 h 796148"/>
                  <a:gd name="connsiteX71" fmla="*/ 278793 w 840029"/>
                  <a:gd name="connsiteY71" fmla="*/ 17893 h 796148"/>
                  <a:gd name="connsiteX72" fmla="*/ 289194 w 840029"/>
                  <a:gd name="connsiteY72" fmla="*/ 15862 h 796148"/>
                  <a:gd name="connsiteX73" fmla="*/ 288892 w 840029"/>
                  <a:gd name="connsiteY73" fmla="*/ 21790 h 796148"/>
                  <a:gd name="connsiteX74" fmla="*/ 290264 w 840029"/>
                  <a:gd name="connsiteY74" fmla="*/ 22421 h 796148"/>
                  <a:gd name="connsiteX75" fmla="*/ 292433 w 840029"/>
                  <a:gd name="connsiteY75" fmla="*/ 32218 h 796148"/>
                  <a:gd name="connsiteX76" fmla="*/ 292021 w 840029"/>
                  <a:gd name="connsiteY76" fmla="*/ 35017 h 796148"/>
                  <a:gd name="connsiteX77" fmla="*/ 301132 w 840029"/>
                  <a:gd name="connsiteY77" fmla="*/ 42729 h 796148"/>
                  <a:gd name="connsiteX78" fmla="*/ 299431 w 840029"/>
                  <a:gd name="connsiteY78" fmla="*/ 48684 h 796148"/>
                  <a:gd name="connsiteX79" fmla="*/ 302504 w 840029"/>
                  <a:gd name="connsiteY79" fmla="*/ 54282 h 796148"/>
                  <a:gd name="connsiteX80" fmla="*/ 300308 w 840029"/>
                  <a:gd name="connsiteY80" fmla="*/ 58152 h 796148"/>
                  <a:gd name="connsiteX81" fmla="*/ 301379 w 840029"/>
                  <a:gd name="connsiteY81" fmla="*/ 63613 h 796148"/>
                  <a:gd name="connsiteX82" fmla="*/ 304617 w 840029"/>
                  <a:gd name="connsiteY82" fmla="*/ 65699 h 796148"/>
                  <a:gd name="connsiteX83" fmla="*/ 310133 w 840029"/>
                  <a:gd name="connsiteY83" fmla="*/ 74563 h 796148"/>
                  <a:gd name="connsiteX84" fmla="*/ 315924 w 840029"/>
                  <a:gd name="connsiteY84" fmla="*/ 76401 h 796148"/>
                  <a:gd name="connsiteX85" fmla="*/ 320314 w 840029"/>
                  <a:gd name="connsiteY85" fmla="*/ 72861 h 796148"/>
                  <a:gd name="connsiteX86" fmla="*/ 325089 w 840029"/>
                  <a:gd name="connsiteY86" fmla="*/ 76868 h 796148"/>
                  <a:gd name="connsiteX87" fmla="*/ 331676 w 840029"/>
                  <a:gd name="connsiteY87" fmla="*/ 75797 h 796148"/>
                  <a:gd name="connsiteX88" fmla="*/ 335930 w 840029"/>
                  <a:gd name="connsiteY88" fmla="*/ 79365 h 796148"/>
                  <a:gd name="connsiteX89" fmla="*/ 343723 w 840029"/>
                  <a:gd name="connsiteY89" fmla="*/ 89327 h 796148"/>
                  <a:gd name="connsiteX90" fmla="*/ 356594 w 840029"/>
                  <a:gd name="connsiteY90" fmla="*/ 94102 h 796148"/>
                  <a:gd name="connsiteX91" fmla="*/ 362522 w 840029"/>
                  <a:gd name="connsiteY91" fmla="*/ 98410 h 796148"/>
                  <a:gd name="connsiteX92" fmla="*/ 367050 w 840029"/>
                  <a:gd name="connsiteY92" fmla="*/ 100387 h 796148"/>
                  <a:gd name="connsiteX93" fmla="*/ 367818 w 840029"/>
                  <a:gd name="connsiteY93" fmla="*/ 102253 h 796148"/>
                  <a:gd name="connsiteX94" fmla="*/ 363757 w 840029"/>
                  <a:gd name="connsiteY94" fmla="*/ 103460 h 796148"/>
                  <a:gd name="connsiteX95" fmla="*/ 349487 w 840029"/>
                  <a:gd name="connsiteY95" fmla="*/ 116989 h 796148"/>
                  <a:gd name="connsiteX96" fmla="*/ 348801 w 840029"/>
                  <a:gd name="connsiteY96" fmla="*/ 122615 h 796148"/>
                  <a:gd name="connsiteX97" fmla="*/ 345453 w 840029"/>
                  <a:gd name="connsiteY97" fmla="*/ 128543 h 796148"/>
                  <a:gd name="connsiteX98" fmla="*/ 345260 w 840029"/>
                  <a:gd name="connsiteY98" fmla="*/ 136364 h 796148"/>
                  <a:gd name="connsiteX99" fmla="*/ 341610 w 840029"/>
                  <a:gd name="connsiteY99" fmla="*/ 140892 h 796148"/>
                  <a:gd name="connsiteX100" fmla="*/ 340073 w 840029"/>
                  <a:gd name="connsiteY100" fmla="*/ 147232 h 796148"/>
                  <a:gd name="connsiteX101" fmla="*/ 349459 w 840029"/>
                  <a:gd name="connsiteY101" fmla="*/ 155382 h 796148"/>
                  <a:gd name="connsiteX102" fmla="*/ 355579 w 840029"/>
                  <a:gd name="connsiteY102" fmla="*/ 154751 h 796148"/>
                  <a:gd name="connsiteX103" fmla="*/ 371414 w 840029"/>
                  <a:gd name="connsiteY103" fmla="*/ 163944 h 796148"/>
                  <a:gd name="connsiteX104" fmla="*/ 376216 w 840029"/>
                  <a:gd name="connsiteY104" fmla="*/ 170970 h 796148"/>
                  <a:gd name="connsiteX105" fmla="*/ 379729 w 840029"/>
                  <a:gd name="connsiteY105" fmla="*/ 171519 h 796148"/>
                  <a:gd name="connsiteX106" fmla="*/ 391090 w 840029"/>
                  <a:gd name="connsiteY106" fmla="*/ 179724 h 796148"/>
                  <a:gd name="connsiteX107" fmla="*/ 397758 w 840029"/>
                  <a:gd name="connsiteY107" fmla="*/ 179532 h 796148"/>
                  <a:gd name="connsiteX108" fmla="*/ 408873 w 840029"/>
                  <a:gd name="connsiteY108" fmla="*/ 186173 h 796148"/>
                  <a:gd name="connsiteX109" fmla="*/ 416036 w 840029"/>
                  <a:gd name="connsiteY109" fmla="*/ 186557 h 796148"/>
                  <a:gd name="connsiteX110" fmla="*/ 420426 w 840029"/>
                  <a:gd name="connsiteY110" fmla="*/ 192842 h 796148"/>
                  <a:gd name="connsiteX111" fmla="*/ 434806 w 840029"/>
                  <a:gd name="connsiteY111" fmla="*/ 197535 h 796148"/>
                  <a:gd name="connsiteX112" fmla="*/ 438786 w 840029"/>
                  <a:gd name="connsiteY112" fmla="*/ 194324 h 796148"/>
                  <a:gd name="connsiteX113" fmla="*/ 450065 w 840029"/>
                  <a:gd name="connsiteY113" fmla="*/ 196684 h 796148"/>
                  <a:gd name="connsiteX114" fmla="*/ 459259 w 840029"/>
                  <a:gd name="connsiteY114" fmla="*/ 193555 h 796148"/>
                  <a:gd name="connsiteX115" fmla="*/ 473145 w 840029"/>
                  <a:gd name="connsiteY115" fmla="*/ 199263 h 796148"/>
                  <a:gd name="connsiteX116" fmla="*/ 476218 w 840029"/>
                  <a:gd name="connsiteY116" fmla="*/ 208567 h 796148"/>
                  <a:gd name="connsiteX117" fmla="*/ 491860 w 840029"/>
                  <a:gd name="connsiteY117" fmla="*/ 216964 h 796148"/>
                  <a:gd name="connsiteX118" fmla="*/ 502838 w 840029"/>
                  <a:gd name="connsiteY118" fmla="*/ 214659 h 796148"/>
                  <a:gd name="connsiteX119" fmla="*/ 509150 w 840029"/>
                  <a:gd name="connsiteY119" fmla="*/ 222425 h 796148"/>
                  <a:gd name="connsiteX120" fmla="*/ 515818 w 840029"/>
                  <a:gd name="connsiteY120" fmla="*/ 221136 h 796148"/>
                  <a:gd name="connsiteX121" fmla="*/ 523118 w 840029"/>
                  <a:gd name="connsiteY121" fmla="*/ 222316 h 796148"/>
                  <a:gd name="connsiteX122" fmla="*/ 535056 w 840029"/>
                  <a:gd name="connsiteY122" fmla="*/ 227694 h 796148"/>
                  <a:gd name="connsiteX123" fmla="*/ 544249 w 840029"/>
                  <a:gd name="connsiteY123" fmla="*/ 224895 h 796148"/>
                  <a:gd name="connsiteX124" fmla="*/ 547625 w 840029"/>
                  <a:gd name="connsiteY124" fmla="*/ 228298 h 796148"/>
                  <a:gd name="connsiteX125" fmla="*/ 552647 w 840029"/>
                  <a:gd name="connsiteY125" fmla="*/ 229835 h 796148"/>
                  <a:gd name="connsiteX126" fmla="*/ 566533 w 840029"/>
                  <a:gd name="connsiteY126" fmla="*/ 227832 h 796148"/>
                  <a:gd name="connsiteX127" fmla="*/ 568289 w 840029"/>
                  <a:gd name="connsiteY127" fmla="*/ 227585 h 796148"/>
                  <a:gd name="connsiteX128" fmla="*/ 572845 w 840029"/>
                  <a:gd name="connsiteY128" fmla="*/ 229396 h 796148"/>
                  <a:gd name="connsiteX129" fmla="*/ 574793 w 840029"/>
                  <a:gd name="connsiteY129" fmla="*/ 227804 h 796148"/>
                  <a:gd name="connsiteX130" fmla="*/ 577785 w 840029"/>
                  <a:gd name="connsiteY130" fmla="*/ 217787 h 796148"/>
                  <a:gd name="connsiteX131" fmla="*/ 573092 w 840029"/>
                  <a:gd name="connsiteY131" fmla="*/ 204752 h 796148"/>
                  <a:gd name="connsiteX132" fmla="*/ 574437 w 840029"/>
                  <a:gd name="connsiteY132" fmla="*/ 193034 h 796148"/>
                  <a:gd name="connsiteX133" fmla="*/ 577592 w 840029"/>
                  <a:gd name="connsiteY133" fmla="*/ 183429 h 796148"/>
                  <a:gd name="connsiteX134" fmla="*/ 576660 w 840029"/>
                  <a:gd name="connsiteY134" fmla="*/ 180355 h 796148"/>
                  <a:gd name="connsiteX135" fmla="*/ 577565 w 840029"/>
                  <a:gd name="connsiteY135" fmla="*/ 178242 h 796148"/>
                  <a:gd name="connsiteX136" fmla="*/ 590409 w 840029"/>
                  <a:gd name="connsiteY136" fmla="*/ 173275 h 796148"/>
                  <a:gd name="connsiteX137" fmla="*/ 595815 w 840029"/>
                  <a:gd name="connsiteY137" fmla="*/ 174894 h 796148"/>
                  <a:gd name="connsiteX138" fmla="*/ 598339 w 840029"/>
                  <a:gd name="connsiteY138" fmla="*/ 181508 h 796148"/>
                  <a:gd name="connsiteX139" fmla="*/ 595650 w 840029"/>
                  <a:gd name="connsiteY139" fmla="*/ 192266 h 796148"/>
                  <a:gd name="connsiteX140" fmla="*/ 599849 w 840029"/>
                  <a:gd name="connsiteY140" fmla="*/ 200581 h 796148"/>
                  <a:gd name="connsiteX141" fmla="*/ 595705 w 840029"/>
                  <a:gd name="connsiteY141" fmla="*/ 205493 h 796148"/>
                  <a:gd name="connsiteX142" fmla="*/ 600288 w 840029"/>
                  <a:gd name="connsiteY142" fmla="*/ 211201 h 796148"/>
                  <a:gd name="connsiteX143" fmla="*/ 606792 w 840029"/>
                  <a:gd name="connsiteY143" fmla="*/ 215537 h 796148"/>
                  <a:gd name="connsiteX144" fmla="*/ 609399 w 840029"/>
                  <a:gd name="connsiteY144" fmla="*/ 215180 h 796148"/>
                  <a:gd name="connsiteX145" fmla="*/ 613515 w 840029"/>
                  <a:gd name="connsiteY145" fmla="*/ 214604 h 796148"/>
                  <a:gd name="connsiteX146" fmla="*/ 625316 w 840029"/>
                  <a:gd name="connsiteY146" fmla="*/ 218885 h 796148"/>
                  <a:gd name="connsiteX147" fmla="*/ 629981 w 840029"/>
                  <a:gd name="connsiteY147" fmla="*/ 218227 h 796148"/>
                  <a:gd name="connsiteX148" fmla="*/ 635332 w 840029"/>
                  <a:gd name="connsiteY148" fmla="*/ 217458 h 796148"/>
                  <a:gd name="connsiteX149" fmla="*/ 637775 w 840029"/>
                  <a:gd name="connsiteY149" fmla="*/ 216196 h 796148"/>
                  <a:gd name="connsiteX150" fmla="*/ 643483 w 840029"/>
                  <a:gd name="connsiteY150" fmla="*/ 213260 h 796148"/>
                  <a:gd name="connsiteX151" fmla="*/ 652402 w 840029"/>
                  <a:gd name="connsiteY151" fmla="*/ 216882 h 796148"/>
                  <a:gd name="connsiteX152" fmla="*/ 666837 w 840029"/>
                  <a:gd name="connsiteY152" fmla="*/ 216525 h 796148"/>
                  <a:gd name="connsiteX153" fmla="*/ 670569 w 840029"/>
                  <a:gd name="connsiteY153" fmla="*/ 216415 h 796148"/>
                  <a:gd name="connsiteX154" fmla="*/ 674494 w 840029"/>
                  <a:gd name="connsiteY154" fmla="*/ 214055 h 796148"/>
                  <a:gd name="connsiteX155" fmla="*/ 677238 w 840029"/>
                  <a:gd name="connsiteY155" fmla="*/ 214906 h 796148"/>
                  <a:gd name="connsiteX156" fmla="*/ 680970 w 840029"/>
                  <a:gd name="connsiteY156" fmla="*/ 216086 h 796148"/>
                  <a:gd name="connsiteX157" fmla="*/ 693539 w 840029"/>
                  <a:gd name="connsiteY157" fmla="*/ 214220 h 796148"/>
                  <a:gd name="connsiteX158" fmla="*/ 698451 w 840029"/>
                  <a:gd name="connsiteY158" fmla="*/ 213342 h 796148"/>
                  <a:gd name="connsiteX159" fmla="*/ 702184 w 840029"/>
                  <a:gd name="connsiteY159" fmla="*/ 212683 h 796148"/>
                  <a:gd name="connsiteX160" fmla="*/ 709045 w 840029"/>
                  <a:gd name="connsiteY160" fmla="*/ 211146 h 796148"/>
                  <a:gd name="connsiteX161" fmla="*/ 723370 w 840029"/>
                  <a:gd name="connsiteY161" fmla="*/ 213205 h 796148"/>
                  <a:gd name="connsiteX162" fmla="*/ 742195 w 840029"/>
                  <a:gd name="connsiteY162" fmla="*/ 208923 h 796148"/>
                  <a:gd name="connsiteX163" fmla="*/ 746806 w 840029"/>
                  <a:gd name="connsiteY163" fmla="*/ 201185 h 796148"/>
                  <a:gd name="connsiteX164" fmla="*/ 756932 w 840029"/>
                  <a:gd name="connsiteY164" fmla="*/ 190784 h 796148"/>
                  <a:gd name="connsiteX165" fmla="*/ 765110 w 840029"/>
                  <a:gd name="connsiteY165" fmla="*/ 189384 h 796148"/>
                  <a:gd name="connsiteX166" fmla="*/ 774551 w 840029"/>
                  <a:gd name="connsiteY166" fmla="*/ 185076 h 796148"/>
                  <a:gd name="connsiteX167" fmla="*/ 786159 w 840029"/>
                  <a:gd name="connsiteY167" fmla="*/ 178599 h 796148"/>
                  <a:gd name="connsiteX168" fmla="*/ 791099 w 840029"/>
                  <a:gd name="connsiteY168" fmla="*/ 171299 h 796148"/>
                  <a:gd name="connsiteX169" fmla="*/ 802652 w 840029"/>
                  <a:gd name="connsiteY169" fmla="*/ 166799 h 796148"/>
                  <a:gd name="connsiteX170" fmla="*/ 807976 w 840029"/>
                  <a:gd name="connsiteY170" fmla="*/ 169323 h 796148"/>
                  <a:gd name="connsiteX171" fmla="*/ 815414 w 840029"/>
                  <a:gd name="connsiteY171" fmla="*/ 168994 h 796148"/>
                  <a:gd name="connsiteX172" fmla="*/ 837532 w 840029"/>
                  <a:gd name="connsiteY172" fmla="*/ 181727 h 796148"/>
                  <a:gd name="connsiteX173" fmla="*/ 839124 w 840029"/>
                  <a:gd name="connsiteY173" fmla="*/ 184911 h 796148"/>
                  <a:gd name="connsiteX174" fmla="*/ 835310 w 840029"/>
                  <a:gd name="connsiteY174" fmla="*/ 188918 h 796148"/>
                  <a:gd name="connsiteX175" fmla="*/ 834843 w 840029"/>
                  <a:gd name="connsiteY175" fmla="*/ 192211 h 796148"/>
                  <a:gd name="connsiteX176" fmla="*/ 840030 w 840029"/>
                  <a:gd name="connsiteY176" fmla="*/ 204999 h 796148"/>
                  <a:gd name="connsiteX177" fmla="*/ 835310 w 840029"/>
                  <a:gd name="connsiteY177" fmla="*/ 203984 h 796148"/>
                  <a:gd name="connsiteX178" fmla="*/ 829053 w 840029"/>
                  <a:gd name="connsiteY178" fmla="*/ 198084 h 796148"/>
                  <a:gd name="connsiteX179" fmla="*/ 811544 w 840029"/>
                  <a:gd name="connsiteY179" fmla="*/ 202337 h 796148"/>
                  <a:gd name="connsiteX180" fmla="*/ 791483 w 840029"/>
                  <a:gd name="connsiteY180" fmla="*/ 218885 h 796148"/>
                  <a:gd name="connsiteX181" fmla="*/ 783634 w 840029"/>
                  <a:gd name="connsiteY181" fmla="*/ 222590 h 796148"/>
                  <a:gd name="connsiteX182" fmla="*/ 781165 w 840029"/>
                  <a:gd name="connsiteY182" fmla="*/ 231427 h 796148"/>
                  <a:gd name="connsiteX183" fmla="*/ 782811 w 840029"/>
                  <a:gd name="connsiteY183" fmla="*/ 241059 h 796148"/>
                  <a:gd name="connsiteX184" fmla="*/ 775649 w 840029"/>
                  <a:gd name="connsiteY184" fmla="*/ 255494 h 796148"/>
                  <a:gd name="connsiteX185" fmla="*/ 767580 w 840029"/>
                  <a:gd name="connsiteY185" fmla="*/ 263864 h 796148"/>
                  <a:gd name="connsiteX186" fmla="*/ 767086 w 840029"/>
                  <a:gd name="connsiteY186" fmla="*/ 267514 h 796148"/>
                  <a:gd name="connsiteX187" fmla="*/ 769940 w 840029"/>
                  <a:gd name="connsiteY187" fmla="*/ 271466 h 796148"/>
                  <a:gd name="connsiteX188" fmla="*/ 770133 w 840029"/>
                  <a:gd name="connsiteY188" fmla="*/ 275116 h 796148"/>
                  <a:gd name="connsiteX189" fmla="*/ 758360 w 840029"/>
                  <a:gd name="connsiteY189" fmla="*/ 298360 h 796148"/>
                  <a:gd name="connsiteX190" fmla="*/ 754353 w 840029"/>
                  <a:gd name="connsiteY190" fmla="*/ 309831 h 796148"/>
                  <a:gd name="connsiteX191" fmla="*/ 730642 w 840029"/>
                  <a:gd name="connsiteY191" fmla="*/ 306785 h 796148"/>
                  <a:gd name="connsiteX192" fmla="*/ 732234 w 840029"/>
                  <a:gd name="connsiteY192" fmla="*/ 318833 h 796148"/>
                  <a:gd name="connsiteX193" fmla="*/ 730176 w 840029"/>
                  <a:gd name="connsiteY193" fmla="*/ 335161 h 796148"/>
                  <a:gd name="connsiteX194" fmla="*/ 728446 w 840029"/>
                  <a:gd name="connsiteY194" fmla="*/ 338207 h 796148"/>
                  <a:gd name="connsiteX195" fmla="*/ 724248 w 840029"/>
                  <a:gd name="connsiteY195" fmla="*/ 339607 h 796148"/>
                  <a:gd name="connsiteX196" fmla="*/ 723150 w 840029"/>
                  <a:gd name="connsiteY196" fmla="*/ 346879 h 796148"/>
                  <a:gd name="connsiteX197" fmla="*/ 724769 w 840029"/>
                  <a:gd name="connsiteY197" fmla="*/ 362796 h 796148"/>
                  <a:gd name="connsiteX198" fmla="*/ 718705 w 840029"/>
                  <a:gd name="connsiteY198" fmla="*/ 370425 h 796148"/>
                  <a:gd name="connsiteX199" fmla="*/ 711459 w 840029"/>
                  <a:gd name="connsiteY199" fmla="*/ 367818 h 796148"/>
                  <a:gd name="connsiteX200" fmla="*/ 708221 w 840029"/>
                  <a:gd name="connsiteY200" fmla="*/ 372182 h 796148"/>
                  <a:gd name="connsiteX201" fmla="*/ 705587 w 840029"/>
                  <a:gd name="connsiteY201" fmla="*/ 350557 h 796148"/>
                  <a:gd name="connsiteX202" fmla="*/ 702375 w 840029"/>
                  <a:gd name="connsiteY202" fmla="*/ 342159 h 796148"/>
                  <a:gd name="connsiteX203" fmla="*/ 701305 w 840029"/>
                  <a:gd name="connsiteY203" fmla="*/ 328849 h 796148"/>
                  <a:gd name="connsiteX204" fmla="*/ 698479 w 840029"/>
                  <a:gd name="connsiteY204" fmla="*/ 319162 h 796148"/>
                  <a:gd name="connsiteX205" fmla="*/ 696914 w 840029"/>
                  <a:gd name="connsiteY205" fmla="*/ 318092 h 796148"/>
                  <a:gd name="connsiteX206" fmla="*/ 689725 w 840029"/>
                  <a:gd name="connsiteY206" fmla="*/ 318366 h 796148"/>
                  <a:gd name="connsiteX207" fmla="*/ 688462 w 840029"/>
                  <a:gd name="connsiteY207" fmla="*/ 324376 h 796148"/>
                  <a:gd name="connsiteX208" fmla="*/ 684538 w 840029"/>
                  <a:gd name="connsiteY208" fmla="*/ 330633 h 796148"/>
                  <a:gd name="connsiteX209" fmla="*/ 683770 w 840029"/>
                  <a:gd name="connsiteY209" fmla="*/ 336835 h 796148"/>
                  <a:gd name="connsiteX210" fmla="*/ 679680 w 840029"/>
                  <a:gd name="connsiteY210" fmla="*/ 339332 h 796148"/>
                  <a:gd name="connsiteX211" fmla="*/ 677265 w 840029"/>
                  <a:gd name="connsiteY211" fmla="*/ 336918 h 796148"/>
                  <a:gd name="connsiteX212" fmla="*/ 674576 w 840029"/>
                  <a:gd name="connsiteY212" fmla="*/ 334256 h 796148"/>
                  <a:gd name="connsiteX213" fmla="*/ 671201 w 840029"/>
                  <a:gd name="connsiteY213" fmla="*/ 334777 h 796148"/>
                  <a:gd name="connsiteX214" fmla="*/ 666892 w 840029"/>
                  <a:gd name="connsiteY214" fmla="*/ 320617 h 796148"/>
                  <a:gd name="connsiteX215" fmla="*/ 666288 w 840029"/>
                  <a:gd name="connsiteY215" fmla="*/ 318695 h 796148"/>
                  <a:gd name="connsiteX216" fmla="*/ 666892 w 840029"/>
                  <a:gd name="connsiteY216" fmla="*/ 316500 h 796148"/>
                  <a:gd name="connsiteX217" fmla="*/ 668456 w 840029"/>
                  <a:gd name="connsiteY217" fmla="*/ 310517 h 796148"/>
                  <a:gd name="connsiteX218" fmla="*/ 672161 w 840029"/>
                  <a:gd name="connsiteY218" fmla="*/ 305962 h 796148"/>
                  <a:gd name="connsiteX219" fmla="*/ 677293 w 840029"/>
                  <a:gd name="connsiteY219" fmla="*/ 303712 h 796148"/>
                  <a:gd name="connsiteX220" fmla="*/ 682562 w 840029"/>
                  <a:gd name="connsiteY220" fmla="*/ 301352 h 796148"/>
                  <a:gd name="connsiteX221" fmla="*/ 686843 w 840029"/>
                  <a:gd name="connsiteY221" fmla="*/ 301022 h 796148"/>
                  <a:gd name="connsiteX222" fmla="*/ 689340 w 840029"/>
                  <a:gd name="connsiteY222" fmla="*/ 296631 h 796148"/>
                  <a:gd name="connsiteX223" fmla="*/ 693594 w 840029"/>
                  <a:gd name="connsiteY223" fmla="*/ 293832 h 796148"/>
                  <a:gd name="connsiteX224" fmla="*/ 698506 w 840029"/>
                  <a:gd name="connsiteY224" fmla="*/ 281977 h 796148"/>
                  <a:gd name="connsiteX225" fmla="*/ 703775 w 840029"/>
                  <a:gd name="connsiteY225" fmla="*/ 278135 h 796148"/>
                  <a:gd name="connsiteX226" fmla="*/ 702540 w 840029"/>
                  <a:gd name="connsiteY226" fmla="*/ 275363 h 796148"/>
                  <a:gd name="connsiteX227" fmla="*/ 698506 w 840029"/>
                  <a:gd name="connsiteY227" fmla="*/ 273113 h 796148"/>
                  <a:gd name="connsiteX228" fmla="*/ 691234 w 840029"/>
                  <a:gd name="connsiteY228" fmla="*/ 269490 h 796148"/>
                  <a:gd name="connsiteX229" fmla="*/ 677293 w 840029"/>
                  <a:gd name="connsiteY229" fmla="*/ 269655 h 796148"/>
                  <a:gd name="connsiteX230" fmla="*/ 666892 w 840029"/>
                  <a:gd name="connsiteY230" fmla="*/ 269737 h 796148"/>
                  <a:gd name="connsiteX231" fmla="*/ 644636 w 840029"/>
                  <a:gd name="connsiteY231" fmla="*/ 269984 h 796148"/>
                  <a:gd name="connsiteX232" fmla="*/ 637830 w 840029"/>
                  <a:gd name="connsiteY232" fmla="*/ 268091 h 796148"/>
                  <a:gd name="connsiteX233" fmla="*/ 630036 w 840029"/>
                  <a:gd name="connsiteY233" fmla="*/ 265895 h 796148"/>
                  <a:gd name="connsiteX234" fmla="*/ 626661 w 840029"/>
                  <a:gd name="connsiteY234" fmla="*/ 261532 h 796148"/>
                  <a:gd name="connsiteX235" fmla="*/ 626935 w 840029"/>
                  <a:gd name="connsiteY235" fmla="*/ 245642 h 796148"/>
                  <a:gd name="connsiteX236" fmla="*/ 622709 w 840029"/>
                  <a:gd name="connsiteY236" fmla="*/ 238040 h 796148"/>
                  <a:gd name="connsiteX237" fmla="*/ 617604 w 840029"/>
                  <a:gd name="connsiteY237" fmla="*/ 241443 h 796148"/>
                  <a:gd name="connsiteX238" fmla="*/ 612829 w 840029"/>
                  <a:gd name="connsiteY238" fmla="*/ 241361 h 796148"/>
                  <a:gd name="connsiteX239" fmla="*/ 602346 w 840029"/>
                  <a:gd name="connsiteY239" fmla="*/ 229972 h 796148"/>
                  <a:gd name="connsiteX240" fmla="*/ 600974 w 840029"/>
                  <a:gd name="connsiteY240" fmla="*/ 233238 h 796148"/>
                  <a:gd name="connsiteX241" fmla="*/ 598229 w 840029"/>
                  <a:gd name="connsiteY241" fmla="*/ 233458 h 796148"/>
                  <a:gd name="connsiteX242" fmla="*/ 586182 w 840029"/>
                  <a:gd name="connsiteY242" fmla="*/ 226295 h 796148"/>
                  <a:gd name="connsiteX243" fmla="*/ 586045 w 840029"/>
                  <a:gd name="connsiteY243" fmla="*/ 230686 h 796148"/>
                  <a:gd name="connsiteX244" fmla="*/ 578827 w 840029"/>
                  <a:gd name="connsiteY244" fmla="*/ 238452 h 796148"/>
                  <a:gd name="connsiteX245" fmla="*/ 577263 w 840029"/>
                  <a:gd name="connsiteY245" fmla="*/ 247893 h 796148"/>
                  <a:gd name="connsiteX246" fmla="*/ 588844 w 840029"/>
                  <a:gd name="connsiteY246" fmla="*/ 257498 h 796148"/>
                  <a:gd name="connsiteX247" fmla="*/ 595815 w 840029"/>
                  <a:gd name="connsiteY247" fmla="*/ 259364 h 796148"/>
                  <a:gd name="connsiteX248" fmla="*/ 600343 w 840029"/>
                  <a:gd name="connsiteY248" fmla="*/ 265895 h 796148"/>
                  <a:gd name="connsiteX249" fmla="*/ 598229 w 840029"/>
                  <a:gd name="connsiteY249" fmla="*/ 268420 h 796148"/>
                  <a:gd name="connsiteX250" fmla="*/ 586951 w 840029"/>
                  <a:gd name="connsiteY250" fmla="*/ 269600 h 796148"/>
                  <a:gd name="connsiteX251" fmla="*/ 583712 w 840029"/>
                  <a:gd name="connsiteY251" fmla="*/ 276104 h 796148"/>
                  <a:gd name="connsiteX252" fmla="*/ 577510 w 840029"/>
                  <a:gd name="connsiteY252" fmla="*/ 278848 h 796148"/>
                  <a:gd name="connsiteX253" fmla="*/ 574930 w 840029"/>
                  <a:gd name="connsiteY253" fmla="*/ 284913 h 796148"/>
                  <a:gd name="connsiteX254" fmla="*/ 578635 w 840029"/>
                  <a:gd name="connsiteY254" fmla="*/ 291527 h 796148"/>
                  <a:gd name="connsiteX255" fmla="*/ 593537 w 840029"/>
                  <a:gd name="connsiteY255" fmla="*/ 300034 h 796148"/>
                  <a:gd name="connsiteX256" fmla="*/ 594140 w 840029"/>
                  <a:gd name="connsiteY256" fmla="*/ 307581 h 796148"/>
                  <a:gd name="connsiteX257" fmla="*/ 590518 w 840029"/>
                  <a:gd name="connsiteY257" fmla="*/ 317323 h 796148"/>
                  <a:gd name="connsiteX258" fmla="*/ 594827 w 840029"/>
                  <a:gd name="connsiteY258" fmla="*/ 324623 h 796148"/>
                  <a:gd name="connsiteX259" fmla="*/ 595815 w 840029"/>
                  <a:gd name="connsiteY259" fmla="*/ 330743 h 796148"/>
                  <a:gd name="connsiteX260" fmla="*/ 599437 w 840029"/>
                  <a:gd name="connsiteY260" fmla="*/ 334173 h 796148"/>
                  <a:gd name="connsiteX261" fmla="*/ 599135 w 840029"/>
                  <a:gd name="connsiteY261" fmla="*/ 340815 h 796148"/>
                  <a:gd name="connsiteX262" fmla="*/ 604679 w 840029"/>
                  <a:gd name="connsiteY262" fmla="*/ 366830 h 796148"/>
                  <a:gd name="connsiteX263" fmla="*/ 604679 w 840029"/>
                  <a:gd name="connsiteY263" fmla="*/ 366967 h 796148"/>
                  <a:gd name="connsiteX264" fmla="*/ 602291 w 840029"/>
                  <a:gd name="connsiteY264" fmla="*/ 380826 h 796148"/>
                  <a:gd name="connsiteX265" fmla="*/ 598723 w 840029"/>
                  <a:gd name="connsiteY265" fmla="*/ 385684 h 796148"/>
                  <a:gd name="connsiteX266" fmla="*/ 595184 w 840029"/>
                  <a:gd name="connsiteY266" fmla="*/ 383022 h 796148"/>
                  <a:gd name="connsiteX267" fmla="*/ 591671 w 840029"/>
                  <a:gd name="connsiteY267" fmla="*/ 375118 h 796148"/>
                  <a:gd name="connsiteX268" fmla="*/ 589036 w 840029"/>
                  <a:gd name="connsiteY268" fmla="*/ 376655 h 796148"/>
                  <a:gd name="connsiteX269" fmla="*/ 588131 w 840029"/>
                  <a:gd name="connsiteY269" fmla="*/ 380360 h 796148"/>
                  <a:gd name="connsiteX270" fmla="*/ 576632 w 840029"/>
                  <a:gd name="connsiteY270" fmla="*/ 382061 h 796148"/>
                  <a:gd name="connsiteX271" fmla="*/ 575809 w 840029"/>
                  <a:gd name="connsiteY271" fmla="*/ 372154 h 796148"/>
                  <a:gd name="connsiteX272" fmla="*/ 565298 w 840029"/>
                  <a:gd name="connsiteY272" fmla="*/ 380936 h 796148"/>
                  <a:gd name="connsiteX273" fmla="*/ 545457 w 840029"/>
                  <a:gd name="connsiteY273" fmla="*/ 388593 h 796148"/>
                  <a:gd name="connsiteX274" fmla="*/ 539529 w 840029"/>
                  <a:gd name="connsiteY274" fmla="*/ 396633 h 796148"/>
                  <a:gd name="connsiteX275" fmla="*/ 542328 w 840029"/>
                  <a:gd name="connsiteY275" fmla="*/ 411535 h 796148"/>
                  <a:gd name="connsiteX276" fmla="*/ 537444 w 840029"/>
                  <a:gd name="connsiteY276" fmla="*/ 418505 h 796148"/>
                  <a:gd name="connsiteX277" fmla="*/ 535852 w 840029"/>
                  <a:gd name="connsiteY277" fmla="*/ 423967 h 796148"/>
                  <a:gd name="connsiteX278" fmla="*/ 521609 w 840029"/>
                  <a:gd name="connsiteY278" fmla="*/ 436673 h 796148"/>
                  <a:gd name="connsiteX279" fmla="*/ 513074 w 840029"/>
                  <a:gd name="connsiteY279" fmla="*/ 439719 h 796148"/>
                  <a:gd name="connsiteX280" fmla="*/ 502948 w 840029"/>
                  <a:gd name="connsiteY280" fmla="*/ 443369 h 796148"/>
                  <a:gd name="connsiteX281" fmla="*/ 495401 w 840029"/>
                  <a:gd name="connsiteY281" fmla="*/ 447924 h 796148"/>
                  <a:gd name="connsiteX282" fmla="*/ 487634 w 840029"/>
                  <a:gd name="connsiteY282" fmla="*/ 452837 h 796148"/>
                  <a:gd name="connsiteX283" fmla="*/ 482859 w 840029"/>
                  <a:gd name="connsiteY283" fmla="*/ 456981 h 796148"/>
                  <a:gd name="connsiteX284" fmla="*/ 480527 w 840029"/>
                  <a:gd name="connsiteY284" fmla="*/ 459066 h 796148"/>
                  <a:gd name="connsiteX285" fmla="*/ 458298 w 840029"/>
                  <a:gd name="connsiteY285" fmla="*/ 487058 h 796148"/>
                  <a:gd name="connsiteX286" fmla="*/ 442710 w 840029"/>
                  <a:gd name="connsiteY286" fmla="*/ 496224 h 796148"/>
                  <a:gd name="connsiteX287" fmla="*/ 431788 w 840029"/>
                  <a:gd name="connsiteY287" fmla="*/ 509095 h 796148"/>
                  <a:gd name="connsiteX288" fmla="*/ 414005 w 840029"/>
                  <a:gd name="connsiteY288" fmla="*/ 518672 h 796148"/>
                  <a:gd name="connsiteX289" fmla="*/ 406842 w 840029"/>
                  <a:gd name="connsiteY289" fmla="*/ 524573 h 796148"/>
                  <a:gd name="connsiteX290" fmla="*/ 403577 w 840029"/>
                  <a:gd name="connsiteY290" fmla="*/ 530885 h 796148"/>
                  <a:gd name="connsiteX291" fmla="*/ 404647 w 840029"/>
                  <a:gd name="connsiteY291" fmla="*/ 540901 h 796148"/>
                  <a:gd name="connsiteX292" fmla="*/ 389059 w 840029"/>
                  <a:gd name="connsiteY292" fmla="*/ 548091 h 796148"/>
                  <a:gd name="connsiteX293" fmla="*/ 381101 w 840029"/>
                  <a:gd name="connsiteY293" fmla="*/ 547323 h 796148"/>
                  <a:gd name="connsiteX294" fmla="*/ 376106 w 840029"/>
                  <a:gd name="connsiteY294" fmla="*/ 548750 h 796148"/>
                  <a:gd name="connsiteX295" fmla="*/ 365074 w 840029"/>
                  <a:gd name="connsiteY295" fmla="*/ 566698 h 796148"/>
                  <a:gd name="connsiteX296" fmla="*/ 362495 w 840029"/>
                  <a:gd name="connsiteY296" fmla="*/ 566643 h 796148"/>
                  <a:gd name="connsiteX297" fmla="*/ 359860 w 840029"/>
                  <a:gd name="connsiteY297" fmla="*/ 562444 h 796148"/>
                  <a:gd name="connsiteX298" fmla="*/ 356320 w 840029"/>
                  <a:gd name="connsiteY298" fmla="*/ 561538 h 796148"/>
                  <a:gd name="connsiteX299" fmla="*/ 345864 w 840029"/>
                  <a:gd name="connsiteY299" fmla="*/ 567768 h 796148"/>
                  <a:gd name="connsiteX300" fmla="*/ 339141 w 840029"/>
                  <a:gd name="connsiteY300" fmla="*/ 585057 h 796148"/>
                  <a:gd name="connsiteX301" fmla="*/ 341830 w 840029"/>
                  <a:gd name="connsiteY301" fmla="*/ 598202 h 796148"/>
                  <a:gd name="connsiteX302" fmla="*/ 343065 w 840029"/>
                  <a:gd name="connsiteY302" fmla="*/ 601852 h 796148"/>
                  <a:gd name="connsiteX303" fmla="*/ 341830 w 840029"/>
                  <a:gd name="connsiteY303" fmla="*/ 616891 h 796148"/>
                  <a:gd name="connsiteX304" fmla="*/ 347456 w 840029"/>
                  <a:gd name="connsiteY304" fmla="*/ 640355 h 796148"/>
                  <a:gd name="connsiteX305" fmla="*/ 342434 w 840029"/>
                  <a:gd name="connsiteY305" fmla="*/ 663873 h 796148"/>
                  <a:gd name="connsiteX306" fmla="*/ 333844 w 840029"/>
                  <a:gd name="connsiteY306" fmla="*/ 678253 h 796148"/>
                  <a:gd name="connsiteX307" fmla="*/ 330688 w 840029"/>
                  <a:gd name="connsiteY307" fmla="*/ 689999 h 796148"/>
                  <a:gd name="connsiteX308" fmla="*/ 333158 w 840029"/>
                  <a:gd name="connsiteY308" fmla="*/ 704653 h 796148"/>
                  <a:gd name="connsiteX309" fmla="*/ 333679 w 840029"/>
                  <a:gd name="connsiteY309" fmla="*/ 729572 h 796148"/>
                  <a:gd name="connsiteX310" fmla="*/ 330825 w 840029"/>
                  <a:gd name="connsiteY310" fmla="*/ 730807 h 796148"/>
                  <a:gd name="connsiteX311" fmla="*/ 323992 w 840029"/>
                  <a:gd name="connsiteY311" fmla="*/ 729462 h 796148"/>
                  <a:gd name="connsiteX312" fmla="*/ 317021 w 840029"/>
                  <a:gd name="connsiteY312" fmla="*/ 731685 h 796148"/>
                  <a:gd name="connsiteX313" fmla="*/ 315073 w 840029"/>
                  <a:gd name="connsiteY313" fmla="*/ 738545 h 796148"/>
                  <a:gd name="connsiteX314" fmla="*/ 307416 w 840029"/>
                  <a:gd name="connsiteY314" fmla="*/ 748974 h 796148"/>
                  <a:gd name="connsiteX315" fmla="*/ 305303 w 840029"/>
                  <a:gd name="connsiteY315" fmla="*/ 754517 h 796148"/>
                  <a:gd name="connsiteX316" fmla="*/ 309886 w 840029"/>
                  <a:gd name="connsiteY316" fmla="*/ 760912 h 796148"/>
                  <a:gd name="connsiteX317" fmla="*/ 299869 w 840029"/>
                  <a:gd name="connsiteY317" fmla="*/ 762887 h 796148"/>
                  <a:gd name="connsiteX318" fmla="*/ 286779 w 840029"/>
                  <a:gd name="connsiteY318" fmla="*/ 768788 h 796148"/>
                  <a:gd name="connsiteX319" fmla="*/ 284062 w 840029"/>
                  <a:gd name="connsiteY319" fmla="*/ 772328 h 796148"/>
                  <a:gd name="connsiteX320" fmla="*/ 280412 w 840029"/>
                  <a:gd name="connsiteY320" fmla="*/ 787422 h 796148"/>
                  <a:gd name="connsiteX321" fmla="*/ 264139 w 840029"/>
                  <a:gd name="connsiteY321" fmla="*/ 796148 h 796148"/>
                  <a:gd name="connsiteX322" fmla="*/ 258129 w 840029"/>
                  <a:gd name="connsiteY322" fmla="*/ 794639 h 796148"/>
                  <a:gd name="connsiteX323" fmla="*/ 248524 w 840029"/>
                  <a:gd name="connsiteY323" fmla="*/ 786955 h 796148"/>
                  <a:gd name="connsiteX324" fmla="*/ 236092 w 840029"/>
                  <a:gd name="connsiteY324" fmla="*/ 771614 h 796148"/>
                  <a:gd name="connsiteX325" fmla="*/ 229231 w 840029"/>
                  <a:gd name="connsiteY325" fmla="*/ 754490 h 796148"/>
                  <a:gd name="connsiteX326" fmla="*/ 227859 w 840029"/>
                  <a:gd name="connsiteY326" fmla="*/ 743979 h 796148"/>
                  <a:gd name="connsiteX327" fmla="*/ 230220 w 840029"/>
                  <a:gd name="connsiteY327" fmla="*/ 742799 h 796148"/>
                  <a:gd name="connsiteX328" fmla="*/ 226048 w 840029"/>
                  <a:gd name="connsiteY328" fmla="*/ 738326 h 796148"/>
                  <a:gd name="connsiteX329" fmla="*/ 211723 w 840029"/>
                  <a:gd name="connsiteY329" fmla="*/ 698396 h 796148"/>
                  <a:gd name="connsiteX330" fmla="*/ 205493 w 840029"/>
                  <a:gd name="connsiteY330" fmla="*/ 687858 h 796148"/>
                  <a:gd name="connsiteX331" fmla="*/ 195971 w 840029"/>
                  <a:gd name="connsiteY331" fmla="*/ 677924 h 796148"/>
                  <a:gd name="connsiteX332" fmla="*/ 189000 w 840029"/>
                  <a:gd name="connsiteY332" fmla="*/ 662611 h 796148"/>
                  <a:gd name="connsiteX333" fmla="*/ 185130 w 840029"/>
                  <a:gd name="connsiteY333" fmla="*/ 652951 h 796148"/>
                  <a:gd name="connsiteX334" fmla="*/ 179093 w 840029"/>
                  <a:gd name="connsiteY334" fmla="*/ 623971 h 796148"/>
                  <a:gd name="connsiteX335" fmla="*/ 169049 w 840029"/>
                  <a:gd name="connsiteY335" fmla="*/ 598175 h 796148"/>
                  <a:gd name="connsiteX336" fmla="*/ 164548 w 840029"/>
                  <a:gd name="connsiteY336" fmla="*/ 594882 h 796148"/>
                  <a:gd name="connsiteX337" fmla="*/ 159307 w 840029"/>
                  <a:gd name="connsiteY337" fmla="*/ 586045 h 796148"/>
                  <a:gd name="connsiteX338" fmla="*/ 157139 w 840029"/>
                  <a:gd name="connsiteY338" fmla="*/ 576879 h 796148"/>
                  <a:gd name="connsiteX339" fmla="*/ 145530 w 840029"/>
                  <a:gd name="connsiteY339" fmla="*/ 557147 h 796148"/>
                  <a:gd name="connsiteX340" fmla="*/ 141331 w 840029"/>
                  <a:gd name="connsiteY340" fmla="*/ 542740 h 796148"/>
                  <a:gd name="connsiteX341" fmla="*/ 139713 w 840029"/>
                  <a:gd name="connsiteY341" fmla="*/ 524106 h 796148"/>
                  <a:gd name="connsiteX342" fmla="*/ 127665 w 840029"/>
                  <a:gd name="connsiteY342" fmla="*/ 475093 h 796148"/>
                  <a:gd name="connsiteX343" fmla="*/ 128214 w 840029"/>
                  <a:gd name="connsiteY343" fmla="*/ 472239 h 796148"/>
                  <a:gd name="connsiteX344" fmla="*/ 131095 w 840029"/>
                  <a:gd name="connsiteY344" fmla="*/ 472019 h 796148"/>
                  <a:gd name="connsiteX345" fmla="*/ 129531 w 840029"/>
                  <a:gd name="connsiteY345" fmla="*/ 468561 h 796148"/>
                  <a:gd name="connsiteX346" fmla="*/ 131507 w 840029"/>
                  <a:gd name="connsiteY346" fmla="*/ 465323 h 796148"/>
                  <a:gd name="connsiteX347" fmla="*/ 130629 w 840029"/>
                  <a:gd name="connsiteY347" fmla="*/ 464308 h 796148"/>
                  <a:gd name="connsiteX348" fmla="*/ 125991 w 840029"/>
                  <a:gd name="connsiteY348" fmla="*/ 466448 h 796148"/>
                  <a:gd name="connsiteX349" fmla="*/ 125250 w 840029"/>
                  <a:gd name="connsiteY349" fmla="*/ 456926 h 796148"/>
                  <a:gd name="connsiteX350" fmla="*/ 123686 w 840029"/>
                  <a:gd name="connsiteY350" fmla="*/ 447870 h 796148"/>
                  <a:gd name="connsiteX351" fmla="*/ 122286 w 840029"/>
                  <a:gd name="connsiteY351" fmla="*/ 439664 h 796148"/>
                  <a:gd name="connsiteX352" fmla="*/ 122039 w 840029"/>
                  <a:gd name="connsiteY352" fmla="*/ 438292 h 796148"/>
                  <a:gd name="connsiteX353" fmla="*/ 127336 w 840029"/>
                  <a:gd name="connsiteY353" fmla="*/ 418890 h 796148"/>
                  <a:gd name="connsiteX354" fmla="*/ 126183 w 840029"/>
                  <a:gd name="connsiteY354" fmla="*/ 405717 h 796148"/>
                  <a:gd name="connsiteX355" fmla="*/ 120914 w 840029"/>
                  <a:gd name="connsiteY355" fmla="*/ 396633 h 796148"/>
                  <a:gd name="connsiteX356" fmla="*/ 122121 w 840029"/>
                  <a:gd name="connsiteY356" fmla="*/ 383269 h 796148"/>
                  <a:gd name="connsiteX357" fmla="*/ 120091 w 840029"/>
                  <a:gd name="connsiteY357" fmla="*/ 381183 h 796148"/>
                  <a:gd name="connsiteX358" fmla="*/ 119185 w 840029"/>
                  <a:gd name="connsiteY358" fmla="*/ 380278 h 796148"/>
                  <a:gd name="connsiteX359" fmla="*/ 117977 w 840029"/>
                  <a:gd name="connsiteY359" fmla="*/ 371605 h 796148"/>
                  <a:gd name="connsiteX360" fmla="*/ 122423 w 840029"/>
                  <a:gd name="connsiteY360" fmla="*/ 363482 h 796148"/>
                  <a:gd name="connsiteX361" fmla="*/ 119953 w 840029"/>
                  <a:gd name="connsiteY361" fmla="*/ 361754 h 796148"/>
                  <a:gd name="connsiteX362" fmla="*/ 114355 w 840029"/>
                  <a:gd name="connsiteY362" fmla="*/ 363043 h 796148"/>
                  <a:gd name="connsiteX363" fmla="*/ 108674 w 840029"/>
                  <a:gd name="connsiteY363" fmla="*/ 369026 h 796148"/>
                  <a:gd name="connsiteX364" fmla="*/ 109882 w 840029"/>
                  <a:gd name="connsiteY364" fmla="*/ 381183 h 796148"/>
                  <a:gd name="connsiteX365" fmla="*/ 110102 w 840029"/>
                  <a:gd name="connsiteY365" fmla="*/ 383324 h 796148"/>
                  <a:gd name="connsiteX366" fmla="*/ 103487 w 840029"/>
                  <a:gd name="connsiteY366" fmla="*/ 396963 h 796148"/>
                  <a:gd name="connsiteX367" fmla="*/ 76594 w 840029"/>
                  <a:gd name="connsiteY367" fmla="*/ 409834 h 796148"/>
                  <a:gd name="connsiteX368" fmla="*/ 65369 w 840029"/>
                  <a:gd name="connsiteY368" fmla="*/ 411288 h 796148"/>
                  <a:gd name="connsiteX369" fmla="*/ 55709 w 840029"/>
                  <a:gd name="connsiteY369" fmla="*/ 406787 h 796148"/>
                  <a:gd name="connsiteX370" fmla="*/ 44046 w 840029"/>
                  <a:gd name="connsiteY370" fmla="*/ 397073 h 796148"/>
                  <a:gd name="connsiteX371" fmla="*/ 28952 w 840029"/>
                  <a:gd name="connsiteY371" fmla="*/ 381183 h 796148"/>
                  <a:gd name="connsiteX372" fmla="*/ 17152 w 840029"/>
                  <a:gd name="connsiteY372" fmla="*/ 368669 h 796148"/>
                  <a:gd name="connsiteX373" fmla="*/ 13721 w 840029"/>
                  <a:gd name="connsiteY373" fmla="*/ 360601 h 796148"/>
                  <a:gd name="connsiteX374" fmla="*/ 16493 w 840029"/>
                  <a:gd name="connsiteY374" fmla="*/ 358570 h 796148"/>
                  <a:gd name="connsiteX375" fmla="*/ 21653 w 840029"/>
                  <a:gd name="connsiteY375" fmla="*/ 362275 h 796148"/>
                  <a:gd name="connsiteX376" fmla="*/ 31862 w 840029"/>
                  <a:gd name="connsiteY376" fmla="*/ 360217 h 796148"/>
                  <a:gd name="connsiteX377" fmla="*/ 31807 w 840029"/>
                  <a:gd name="connsiteY377" fmla="*/ 356484 h 796148"/>
                  <a:gd name="connsiteX378" fmla="*/ 35868 w 840029"/>
                  <a:gd name="connsiteY378" fmla="*/ 358323 h 796148"/>
                  <a:gd name="connsiteX379" fmla="*/ 47888 w 840029"/>
                  <a:gd name="connsiteY379" fmla="*/ 353109 h 796148"/>
                  <a:gd name="connsiteX380" fmla="*/ 63832 w 840029"/>
                  <a:gd name="connsiteY380" fmla="*/ 335490 h 796148"/>
                  <a:gd name="connsiteX381" fmla="*/ 80188 w 840029"/>
                  <a:gd name="connsiteY381" fmla="*/ 331182 h 796148"/>
                  <a:gd name="connsiteX382" fmla="*/ 81835 w 840029"/>
                  <a:gd name="connsiteY382" fmla="*/ 328081 h 796148"/>
                  <a:gd name="connsiteX383" fmla="*/ 81122 w 840029"/>
                  <a:gd name="connsiteY383" fmla="*/ 324486 h 796148"/>
                  <a:gd name="connsiteX384" fmla="*/ 77060 w 840029"/>
                  <a:gd name="connsiteY384" fmla="*/ 321385 h 796148"/>
                  <a:gd name="connsiteX385" fmla="*/ 74700 w 840029"/>
                  <a:gd name="connsiteY385" fmla="*/ 325364 h 796148"/>
                  <a:gd name="connsiteX386" fmla="*/ 65918 w 840029"/>
                  <a:gd name="connsiteY386" fmla="*/ 331731 h 796148"/>
                  <a:gd name="connsiteX387" fmla="*/ 52965 w 840029"/>
                  <a:gd name="connsiteY387" fmla="*/ 334201 h 796148"/>
                  <a:gd name="connsiteX388" fmla="*/ 48025 w 840029"/>
                  <a:gd name="connsiteY388" fmla="*/ 340375 h 796148"/>
                  <a:gd name="connsiteX389" fmla="*/ 35621 w 840029"/>
                  <a:gd name="connsiteY389" fmla="*/ 346605 h 796148"/>
                  <a:gd name="connsiteX390" fmla="*/ 20775 w 840029"/>
                  <a:gd name="connsiteY390" fmla="*/ 344409 h 796148"/>
                  <a:gd name="connsiteX391" fmla="*/ 4199 w 840029"/>
                  <a:gd name="connsiteY391" fmla="*/ 333816 h 796148"/>
                  <a:gd name="connsiteX392" fmla="*/ 0 w 840029"/>
                  <a:gd name="connsiteY392" fmla="*/ 324211 h 796148"/>
                  <a:gd name="connsiteX393" fmla="*/ 576 w 840029"/>
                  <a:gd name="connsiteY393" fmla="*/ 319025 h 796148"/>
                  <a:gd name="connsiteX394" fmla="*/ 6587 w 840029"/>
                  <a:gd name="connsiteY394" fmla="*/ 313838 h 796148"/>
                  <a:gd name="connsiteX395" fmla="*/ 22064 w 840029"/>
                  <a:gd name="connsiteY395" fmla="*/ 311944 h 796148"/>
                  <a:gd name="connsiteX396" fmla="*/ 32849 w 840029"/>
                  <a:gd name="connsiteY396" fmla="*/ 314332 h 796148"/>
                  <a:gd name="connsiteX397" fmla="*/ 34221 w 840029"/>
                  <a:gd name="connsiteY397" fmla="*/ 309392 h 796148"/>
                  <a:gd name="connsiteX398" fmla="*/ 22723 w 840029"/>
                  <a:gd name="connsiteY398" fmla="*/ 307609 h 796148"/>
                  <a:gd name="connsiteX399" fmla="*/ 20226 w 840029"/>
                  <a:gd name="connsiteY399" fmla="*/ 303602 h 796148"/>
                  <a:gd name="connsiteX400" fmla="*/ 12816 w 840029"/>
                  <a:gd name="connsiteY400" fmla="*/ 299101 h 79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840029" h="796148">
                    <a:moveTo>
                      <a:pt x="12679" y="298964"/>
                    </a:moveTo>
                    <a:lnTo>
                      <a:pt x="26949" y="298580"/>
                    </a:lnTo>
                    <a:lnTo>
                      <a:pt x="30956" y="298360"/>
                    </a:lnTo>
                    <a:lnTo>
                      <a:pt x="36911" y="301681"/>
                    </a:lnTo>
                    <a:lnTo>
                      <a:pt x="43223" y="301736"/>
                    </a:lnTo>
                    <a:lnTo>
                      <a:pt x="45775" y="300034"/>
                    </a:lnTo>
                    <a:lnTo>
                      <a:pt x="43333" y="304425"/>
                    </a:lnTo>
                    <a:lnTo>
                      <a:pt x="37158" y="306566"/>
                    </a:lnTo>
                    <a:lnTo>
                      <a:pt x="41522" y="311066"/>
                    </a:lnTo>
                    <a:lnTo>
                      <a:pt x="42098" y="320150"/>
                    </a:lnTo>
                    <a:lnTo>
                      <a:pt x="48711" y="323553"/>
                    </a:lnTo>
                    <a:lnTo>
                      <a:pt x="57384" y="318174"/>
                    </a:lnTo>
                    <a:lnTo>
                      <a:pt x="60923" y="313838"/>
                    </a:lnTo>
                    <a:lnTo>
                      <a:pt x="61500" y="309776"/>
                    </a:lnTo>
                    <a:lnTo>
                      <a:pt x="69129" y="311258"/>
                    </a:lnTo>
                    <a:lnTo>
                      <a:pt x="70282" y="315402"/>
                    </a:lnTo>
                    <a:lnTo>
                      <a:pt x="74096" y="317268"/>
                    </a:lnTo>
                    <a:lnTo>
                      <a:pt x="74919" y="312493"/>
                    </a:lnTo>
                    <a:lnTo>
                      <a:pt x="79749" y="305468"/>
                    </a:lnTo>
                    <a:lnTo>
                      <a:pt x="75331" y="299842"/>
                    </a:lnTo>
                    <a:lnTo>
                      <a:pt x="69815" y="298882"/>
                    </a:lnTo>
                    <a:lnTo>
                      <a:pt x="70089" y="296961"/>
                    </a:lnTo>
                    <a:lnTo>
                      <a:pt x="75468" y="294107"/>
                    </a:lnTo>
                    <a:lnTo>
                      <a:pt x="72614" y="290457"/>
                    </a:lnTo>
                    <a:lnTo>
                      <a:pt x="74755" y="284447"/>
                    </a:lnTo>
                    <a:lnTo>
                      <a:pt x="69047" y="270286"/>
                    </a:lnTo>
                    <a:lnTo>
                      <a:pt x="62954" y="262026"/>
                    </a:lnTo>
                    <a:lnTo>
                      <a:pt x="62460" y="252640"/>
                    </a:lnTo>
                    <a:lnTo>
                      <a:pt x="52279" y="252037"/>
                    </a:lnTo>
                    <a:lnTo>
                      <a:pt x="46543" y="244462"/>
                    </a:lnTo>
                    <a:lnTo>
                      <a:pt x="45994" y="240373"/>
                    </a:lnTo>
                    <a:lnTo>
                      <a:pt x="48492" y="232744"/>
                    </a:lnTo>
                    <a:lnTo>
                      <a:pt x="47943" y="224456"/>
                    </a:lnTo>
                    <a:lnTo>
                      <a:pt x="38722" y="222919"/>
                    </a:lnTo>
                    <a:lnTo>
                      <a:pt x="28925" y="217294"/>
                    </a:lnTo>
                    <a:lnTo>
                      <a:pt x="28925" y="210131"/>
                    </a:lnTo>
                    <a:cubicBezTo>
                      <a:pt x="28925" y="210131"/>
                      <a:pt x="31011" y="204341"/>
                      <a:pt x="31011" y="204341"/>
                    </a:cubicBezTo>
                    <a:lnTo>
                      <a:pt x="43497" y="191195"/>
                    </a:lnTo>
                    <a:lnTo>
                      <a:pt x="49096" y="180794"/>
                    </a:lnTo>
                    <a:lnTo>
                      <a:pt x="54666" y="176129"/>
                    </a:lnTo>
                    <a:lnTo>
                      <a:pt x="60265" y="176376"/>
                    </a:lnTo>
                    <a:lnTo>
                      <a:pt x="65232" y="184938"/>
                    </a:lnTo>
                    <a:lnTo>
                      <a:pt x="68306" y="186036"/>
                    </a:lnTo>
                    <a:lnTo>
                      <a:pt x="98575" y="177529"/>
                    </a:lnTo>
                    <a:lnTo>
                      <a:pt x="100798" y="171272"/>
                    </a:lnTo>
                    <a:lnTo>
                      <a:pt x="107576" y="163917"/>
                    </a:lnTo>
                    <a:lnTo>
                      <a:pt x="112132" y="152775"/>
                    </a:lnTo>
                    <a:lnTo>
                      <a:pt x="129888" y="141249"/>
                    </a:lnTo>
                    <a:lnTo>
                      <a:pt x="139053" y="125140"/>
                    </a:lnTo>
                    <a:lnTo>
                      <a:pt x="143362" y="111611"/>
                    </a:lnTo>
                    <a:lnTo>
                      <a:pt x="158703" y="103597"/>
                    </a:lnTo>
                    <a:lnTo>
                      <a:pt x="158044" y="95364"/>
                    </a:lnTo>
                    <a:lnTo>
                      <a:pt x="173385" y="77444"/>
                    </a:lnTo>
                    <a:lnTo>
                      <a:pt x="180218" y="72477"/>
                    </a:lnTo>
                    <a:lnTo>
                      <a:pt x="177062" y="69102"/>
                    </a:lnTo>
                    <a:lnTo>
                      <a:pt x="179395" y="58810"/>
                    </a:lnTo>
                    <a:lnTo>
                      <a:pt x="176458" y="50221"/>
                    </a:lnTo>
                    <a:lnTo>
                      <a:pt x="177007" y="47339"/>
                    </a:lnTo>
                    <a:lnTo>
                      <a:pt x="187271" y="39271"/>
                    </a:lnTo>
                    <a:lnTo>
                      <a:pt x="197727" y="36856"/>
                    </a:lnTo>
                    <a:lnTo>
                      <a:pt x="200910" y="32136"/>
                    </a:lnTo>
                    <a:lnTo>
                      <a:pt x="200114" y="29199"/>
                    </a:lnTo>
                    <a:lnTo>
                      <a:pt x="205191" y="30132"/>
                    </a:lnTo>
                    <a:lnTo>
                      <a:pt x="212546" y="24644"/>
                    </a:lnTo>
                    <a:lnTo>
                      <a:pt x="217348" y="17756"/>
                    </a:lnTo>
                    <a:lnTo>
                      <a:pt x="216745" y="10264"/>
                    </a:lnTo>
                    <a:lnTo>
                      <a:pt x="235488" y="0"/>
                    </a:lnTo>
                    <a:lnTo>
                      <a:pt x="243447" y="1098"/>
                    </a:lnTo>
                    <a:lnTo>
                      <a:pt x="251625" y="8205"/>
                    </a:lnTo>
                    <a:lnTo>
                      <a:pt x="258540" y="11169"/>
                    </a:lnTo>
                    <a:lnTo>
                      <a:pt x="271493" y="7739"/>
                    </a:lnTo>
                    <a:lnTo>
                      <a:pt x="278793" y="17893"/>
                    </a:lnTo>
                    <a:lnTo>
                      <a:pt x="289194" y="15862"/>
                    </a:lnTo>
                    <a:lnTo>
                      <a:pt x="288892" y="21790"/>
                    </a:lnTo>
                    <a:lnTo>
                      <a:pt x="290264" y="22421"/>
                    </a:lnTo>
                    <a:lnTo>
                      <a:pt x="292433" y="32218"/>
                    </a:lnTo>
                    <a:lnTo>
                      <a:pt x="292021" y="35017"/>
                    </a:lnTo>
                    <a:lnTo>
                      <a:pt x="301132" y="42729"/>
                    </a:lnTo>
                    <a:lnTo>
                      <a:pt x="299431" y="48684"/>
                    </a:lnTo>
                    <a:lnTo>
                      <a:pt x="302504" y="54282"/>
                    </a:lnTo>
                    <a:lnTo>
                      <a:pt x="300308" y="58152"/>
                    </a:lnTo>
                    <a:lnTo>
                      <a:pt x="301379" y="63613"/>
                    </a:lnTo>
                    <a:lnTo>
                      <a:pt x="304617" y="65699"/>
                    </a:lnTo>
                    <a:lnTo>
                      <a:pt x="310133" y="74563"/>
                    </a:lnTo>
                    <a:lnTo>
                      <a:pt x="315924" y="76401"/>
                    </a:lnTo>
                    <a:lnTo>
                      <a:pt x="320314" y="72861"/>
                    </a:lnTo>
                    <a:lnTo>
                      <a:pt x="325089" y="76868"/>
                    </a:lnTo>
                    <a:lnTo>
                      <a:pt x="331676" y="75797"/>
                    </a:lnTo>
                    <a:lnTo>
                      <a:pt x="335930" y="79365"/>
                    </a:lnTo>
                    <a:lnTo>
                      <a:pt x="343723" y="89327"/>
                    </a:lnTo>
                    <a:lnTo>
                      <a:pt x="356594" y="94102"/>
                    </a:lnTo>
                    <a:lnTo>
                      <a:pt x="362522" y="98410"/>
                    </a:lnTo>
                    <a:lnTo>
                      <a:pt x="367050" y="100387"/>
                    </a:lnTo>
                    <a:lnTo>
                      <a:pt x="367818" y="102253"/>
                    </a:lnTo>
                    <a:lnTo>
                      <a:pt x="363757" y="103460"/>
                    </a:lnTo>
                    <a:lnTo>
                      <a:pt x="349487" y="116989"/>
                    </a:lnTo>
                    <a:lnTo>
                      <a:pt x="348801" y="122615"/>
                    </a:lnTo>
                    <a:lnTo>
                      <a:pt x="345453" y="128543"/>
                    </a:lnTo>
                    <a:lnTo>
                      <a:pt x="345260" y="136364"/>
                    </a:lnTo>
                    <a:lnTo>
                      <a:pt x="341610" y="140892"/>
                    </a:lnTo>
                    <a:lnTo>
                      <a:pt x="340073" y="147232"/>
                    </a:lnTo>
                    <a:lnTo>
                      <a:pt x="349459" y="155382"/>
                    </a:lnTo>
                    <a:lnTo>
                      <a:pt x="355579" y="154751"/>
                    </a:lnTo>
                    <a:lnTo>
                      <a:pt x="371414" y="163944"/>
                    </a:lnTo>
                    <a:lnTo>
                      <a:pt x="376216" y="170970"/>
                    </a:lnTo>
                    <a:lnTo>
                      <a:pt x="379729" y="171519"/>
                    </a:lnTo>
                    <a:lnTo>
                      <a:pt x="391090" y="179724"/>
                    </a:lnTo>
                    <a:lnTo>
                      <a:pt x="397758" y="179532"/>
                    </a:lnTo>
                    <a:lnTo>
                      <a:pt x="408873" y="186173"/>
                    </a:lnTo>
                    <a:lnTo>
                      <a:pt x="416036" y="186557"/>
                    </a:lnTo>
                    <a:lnTo>
                      <a:pt x="420426" y="192842"/>
                    </a:lnTo>
                    <a:lnTo>
                      <a:pt x="434806" y="197535"/>
                    </a:lnTo>
                    <a:lnTo>
                      <a:pt x="438786" y="194324"/>
                    </a:lnTo>
                    <a:lnTo>
                      <a:pt x="450065" y="196684"/>
                    </a:lnTo>
                    <a:lnTo>
                      <a:pt x="459259" y="193555"/>
                    </a:lnTo>
                    <a:lnTo>
                      <a:pt x="473145" y="199263"/>
                    </a:lnTo>
                    <a:lnTo>
                      <a:pt x="476218" y="208567"/>
                    </a:lnTo>
                    <a:lnTo>
                      <a:pt x="491860" y="216964"/>
                    </a:lnTo>
                    <a:lnTo>
                      <a:pt x="502838" y="214659"/>
                    </a:lnTo>
                    <a:lnTo>
                      <a:pt x="509150" y="222425"/>
                    </a:lnTo>
                    <a:lnTo>
                      <a:pt x="515818" y="221136"/>
                    </a:lnTo>
                    <a:lnTo>
                      <a:pt x="523118" y="222316"/>
                    </a:lnTo>
                    <a:lnTo>
                      <a:pt x="535056" y="227694"/>
                    </a:lnTo>
                    <a:lnTo>
                      <a:pt x="544249" y="224895"/>
                    </a:lnTo>
                    <a:lnTo>
                      <a:pt x="547625" y="228298"/>
                    </a:lnTo>
                    <a:lnTo>
                      <a:pt x="552647" y="229835"/>
                    </a:lnTo>
                    <a:lnTo>
                      <a:pt x="566533" y="227832"/>
                    </a:lnTo>
                    <a:lnTo>
                      <a:pt x="568289" y="227585"/>
                    </a:lnTo>
                    <a:lnTo>
                      <a:pt x="572845" y="229396"/>
                    </a:lnTo>
                    <a:lnTo>
                      <a:pt x="574793" y="227804"/>
                    </a:lnTo>
                    <a:lnTo>
                      <a:pt x="577785" y="217787"/>
                    </a:lnTo>
                    <a:lnTo>
                      <a:pt x="573092" y="204752"/>
                    </a:lnTo>
                    <a:lnTo>
                      <a:pt x="574437" y="193034"/>
                    </a:lnTo>
                    <a:lnTo>
                      <a:pt x="577592" y="183429"/>
                    </a:lnTo>
                    <a:lnTo>
                      <a:pt x="576660" y="180355"/>
                    </a:lnTo>
                    <a:lnTo>
                      <a:pt x="577565" y="178242"/>
                    </a:lnTo>
                    <a:lnTo>
                      <a:pt x="590409" y="173275"/>
                    </a:lnTo>
                    <a:lnTo>
                      <a:pt x="595815" y="174894"/>
                    </a:lnTo>
                    <a:lnTo>
                      <a:pt x="598339" y="181508"/>
                    </a:lnTo>
                    <a:lnTo>
                      <a:pt x="595650" y="192266"/>
                    </a:lnTo>
                    <a:lnTo>
                      <a:pt x="599849" y="200581"/>
                    </a:lnTo>
                    <a:lnTo>
                      <a:pt x="595705" y="205493"/>
                    </a:lnTo>
                    <a:lnTo>
                      <a:pt x="600288" y="211201"/>
                    </a:lnTo>
                    <a:lnTo>
                      <a:pt x="606792" y="215537"/>
                    </a:lnTo>
                    <a:lnTo>
                      <a:pt x="609399" y="215180"/>
                    </a:lnTo>
                    <a:lnTo>
                      <a:pt x="613515" y="214604"/>
                    </a:lnTo>
                    <a:lnTo>
                      <a:pt x="625316" y="218885"/>
                    </a:lnTo>
                    <a:lnTo>
                      <a:pt x="629981" y="218227"/>
                    </a:lnTo>
                    <a:lnTo>
                      <a:pt x="635332" y="217458"/>
                    </a:lnTo>
                    <a:lnTo>
                      <a:pt x="637775" y="216196"/>
                    </a:lnTo>
                    <a:lnTo>
                      <a:pt x="643483" y="213260"/>
                    </a:lnTo>
                    <a:lnTo>
                      <a:pt x="652402" y="216882"/>
                    </a:lnTo>
                    <a:lnTo>
                      <a:pt x="666837" y="216525"/>
                    </a:lnTo>
                    <a:lnTo>
                      <a:pt x="670569" y="216415"/>
                    </a:lnTo>
                    <a:lnTo>
                      <a:pt x="674494" y="214055"/>
                    </a:lnTo>
                    <a:lnTo>
                      <a:pt x="677238" y="214906"/>
                    </a:lnTo>
                    <a:lnTo>
                      <a:pt x="680970" y="216086"/>
                    </a:lnTo>
                    <a:lnTo>
                      <a:pt x="693539" y="214220"/>
                    </a:lnTo>
                    <a:lnTo>
                      <a:pt x="698451" y="213342"/>
                    </a:lnTo>
                    <a:lnTo>
                      <a:pt x="702184" y="212683"/>
                    </a:lnTo>
                    <a:lnTo>
                      <a:pt x="709045" y="211146"/>
                    </a:lnTo>
                    <a:lnTo>
                      <a:pt x="723370" y="213205"/>
                    </a:lnTo>
                    <a:lnTo>
                      <a:pt x="742195" y="208923"/>
                    </a:lnTo>
                    <a:lnTo>
                      <a:pt x="746806" y="201185"/>
                    </a:lnTo>
                    <a:lnTo>
                      <a:pt x="756932" y="190784"/>
                    </a:lnTo>
                    <a:lnTo>
                      <a:pt x="765110" y="189384"/>
                    </a:lnTo>
                    <a:lnTo>
                      <a:pt x="774551" y="185076"/>
                    </a:lnTo>
                    <a:lnTo>
                      <a:pt x="786159" y="178599"/>
                    </a:lnTo>
                    <a:lnTo>
                      <a:pt x="791099" y="171299"/>
                    </a:lnTo>
                    <a:lnTo>
                      <a:pt x="802652" y="166799"/>
                    </a:lnTo>
                    <a:lnTo>
                      <a:pt x="807976" y="169323"/>
                    </a:lnTo>
                    <a:lnTo>
                      <a:pt x="815414" y="168994"/>
                    </a:lnTo>
                    <a:lnTo>
                      <a:pt x="837532" y="181727"/>
                    </a:lnTo>
                    <a:lnTo>
                      <a:pt x="839124" y="184911"/>
                    </a:lnTo>
                    <a:lnTo>
                      <a:pt x="835310" y="188918"/>
                    </a:lnTo>
                    <a:lnTo>
                      <a:pt x="834843" y="192211"/>
                    </a:lnTo>
                    <a:lnTo>
                      <a:pt x="840030" y="204999"/>
                    </a:lnTo>
                    <a:lnTo>
                      <a:pt x="835310" y="203984"/>
                    </a:lnTo>
                    <a:lnTo>
                      <a:pt x="829053" y="198084"/>
                    </a:lnTo>
                    <a:lnTo>
                      <a:pt x="811544" y="202337"/>
                    </a:lnTo>
                    <a:lnTo>
                      <a:pt x="791483" y="218885"/>
                    </a:lnTo>
                    <a:lnTo>
                      <a:pt x="783634" y="222590"/>
                    </a:lnTo>
                    <a:lnTo>
                      <a:pt x="781165" y="231427"/>
                    </a:lnTo>
                    <a:lnTo>
                      <a:pt x="782811" y="241059"/>
                    </a:lnTo>
                    <a:lnTo>
                      <a:pt x="775649" y="255494"/>
                    </a:lnTo>
                    <a:lnTo>
                      <a:pt x="767580" y="263864"/>
                    </a:lnTo>
                    <a:lnTo>
                      <a:pt x="767086" y="267514"/>
                    </a:lnTo>
                    <a:lnTo>
                      <a:pt x="769940" y="271466"/>
                    </a:lnTo>
                    <a:lnTo>
                      <a:pt x="770133" y="275116"/>
                    </a:lnTo>
                    <a:lnTo>
                      <a:pt x="758360" y="298360"/>
                    </a:lnTo>
                    <a:lnTo>
                      <a:pt x="754353" y="309831"/>
                    </a:lnTo>
                    <a:lnTo>
                      <a:pt x="730642" y="306785"/>
                    </a:lnTo>
                    <a:lnTo>
                      <a:pt x="732234" y="318833"/>
                    </a:lnTo>
                    <a:lnTo>
                      <a:pt x="730176" y="335161"/>
                    </a:lnTo>
                    <a:lnTo>
                      <a:pt x="728446" y="338207"/>
                    </a:lnTo>
                    <a:lnTo>
                      <a:pt x="724248" y="339607"/>
                    </a:lnTo>
                    <a:lnTo>
                      <a:pt x="723150" y="346879"/>
                    </a:lnTo>
                    <a:lnTo>
                      <a:pt x="724769" y="362796"/>
                    </a:lnTo>
                    <a:lnTo>
                      <a:pt x="718705" y="370425"/>
                    </a:lnTo>
                    <a:lnTo>
                      <a:pt x="711459" y="367818"/>
                    </a:lnTo>
                    <a:lnTo>
                      <a:pt x="708221" y="372182"/>
                    </a:lnTo>
                    <a:lnTo>
                      <a:pt x="705587" y="350557"/>
                    </a:lnTo>
                    <a:lnTo>
                      <a:pt x="702375" y="342159"/>
                    </a:lnTo>
                    <a:lnTo>
                      <a:pt x="701305" y="328849"/>
                    </a:lnTo>
                    <a:lnTo>
                      <a:pt x="698479" y="319162"/>
                    </a:lnTo>
                    <a:lnTo>
                      <a:pt x="696914" y="318092"/>
                    </a:lnTo>
                    <a:lnTo>
                      <a:pt x="689725" y="318366"/>
                    </a:lnTo>
                    <a:lnTo>
                      <a:pt x="688462" y="324376"/>
                    </a:lnTo>
                    <a:lnTo>
                      <a:pt x="684538" y="330633"/>
                    </a:lnTo>
                    <a:lnTo>
                      <a:pt x="683770" y="336835"/>
                    </a:lnTo>
                    <a:lnTo>
                      <a:pt x="679680" y="339332"/>
                    </a:lnTo>
                    <a:lnTo>
                      <a:pt x="677265" y="336918"/>
                    </a:lnTo>
                    <a:lnTo>
                      <a:pt x="674576" y="334256"/>
                    </a:lnTo>
                    <a:lnTo>
                      <a:pt x="671201" y="334777"/>
                    </a:lnTo>
                    <a:lnTo>
                      <a:pt x="666892" y="320617"/>
                    </a:lnTo>
                    <a:lnTo>
                      <a:pt x="666288" y="318695"/>
                    </a:lnTo>
                    <a:lnTo>
                      <a:pt x="666892" y="316500"/>
                    </a:lnTo>
                    <a:lnTo>
                      <a:pt x="668456" y="310517"/>
                    </a:lnTo>
                    <a:lnTo>
                      <a:pt x="672161" y="305962"/>
                    </a:lnTo>
                    <a:lnTo>
                      <a:pt x="677293" y="303712"/>
                    </a:lnTo>
                    <a:lnTo>
                      <a:pt x="682562" y="301352"/>
                    </a:lnTo>
                    <a:lnTo>
                      <a:pt x="686843" y="301022"/>
                    </a:lnTo>
                    <a:lnTo>
                      <a:pt x="689340" y="296631"/>
                    </a:lnTo>
                    <a:lnTo>
                      <a:pt x="693594" y="293832"/>
                    </a:lnTo>
                    <a:lnTo>
                      <a:pt x="698506" y="281977"/>
                    </a:lnTo>
                    <a:lnTo>
                      <a:pt x="703775" y="278135"/>
                    </a:lnTo>
                    <a:lnTo>
                      <a:pt x="702540" y="275363"/>
                    </a:lnTo>
                    <a:lnTo>
                      <a:pt x="698506" y="273113"/>
                    </a:lnTo>
                    <a:lnTo>
                      <a:pt x="691234" y="269490"/>
                    </a:lnTo>
                    <a:lnTo>
                      <a:pt x="677293" y="269655"/>
                    </a:lnTo>
                    <a:lnTo>
                      <a:pt x="666892" y="269737"/>
                    </a:lnTo>
                    <a:lnTo>
                      <a:pt x="644636" y="269984"/>
                    </a:lnTo>
                    <a:lnTo>
                      <a:pt x="637830" y="268091"/>
                    </a:lnTo>
                    <a:lnTo>
                      <a:pt x="630036" y="265895"/>
                    </a:lnTo>
                    <a:lnTo>
                      <a:pt x="626661" y="261532"/>
                    </a:lnTo>
                    <a:lnTo>
                      <a:pt x="626935" y="245642"/>
                    </a:lnTo>
                    <a:lnTo>
                      <a:pt x="622709" y="238040"/>
                    </a:lnTo>
                    <a:lnTo>
                      <a:pt x="617604" y="241443"/>
                    </a:lnTo>
                    <a:lnTo>
                      <a:pt x="612829" y="241361"/>
                    </a:lnTo>
                    <a:lnTo>
                      <a:pt x="602346" y="229972"/>
                    </a:lnTo>
                    <a:lnTo>
                      <a:pt x="600974" y="233238"/>
                    </a:lnTo>
                    <a:lnTo>
                      <a:pt x="598229" y="233458"/>
                    </a:lnTo>
                    <a:lnTo>
                      <a:pt x="586182" y="226295"/>
                    </a:lnTo>
                    <a:lnTo>
                      <a:pt x="586045" y="230686"/>
                    </a:lnTo>
                    <a:lnTo>
                      <a:pt x="578827" y="238452"/>
                    </a:lnTo>
                    <a:lnTo>
                      <a:pt x="577263" y="247893"/>
                    </a:lnTo>
                    <a:lnTo>
                      <a:pt x="588844" y="257498"/>
                    </a:lnTo>
                    <a:lnTo>
                      <a:pt x="595815" y="259364"/>
                    </a:lnTo>
                    <a:lnTo>
                      <a:pt x="600343" y="265895"/>
                    </a:lnTo>
                    <a:lnTo>
                      <a:pt x="598229" y="268420"/>
                    </a:lnTo>
                    <a:lnTo>
                      <a:pt x="586951" y="269600"/>
                    </a:lnTo>
                    <a:lnTo>
                      <a:pt x="583712" y="276104"/>
                    </a:lnTo>
                    <a:lnTo>
                      <a:pt x="577510" y="278848"/>
                    </a:lnTo>
                    <a:lnTo>
                      <a:pt x="574930" y="284913"/>
                    </a:lnTo>
                    <a:lnTo>
                      <a:pt x="578635" y="291527"/>
                    </a:lnTo>
                    <a:lnTo>
                      <a:pt x="593537" y="300034"/>
                    </a:lnTo>
                    <a:lnTo>
                      <a:pt x="594140" y="307581"/>
                    </a:lnTo>
                    <a:lnTo>
                      <a:pt x="590518" y="317323"/>
                    </a:lnTo>
                    <a:lnTo>
                      <a:pt x="594827" y="324623"/>
                    </a:lnTo>
                    <a:lnTo>
                      <a:pt x="595815" y="330743"/>
                    </a:lnTo>
                    <a:lnTo>
                      <a:pt x="599437" y="334173"/>
                    </a:lnTo>
                    <a:lnTo>
                      <a:pt x="599135" y="340815"/>
                    </a:lnTo>
                    <a:lnTo>
                      <a:pt x="604679" y="366830"/>
                    </a:lnTo>
                    <a:lnTo>
                      <a:pt x="604679" y="366967"/>
                    </a:lnTo>
                    <a:cubicBezTo>
                      <a:pt x="604679" y="366967"/>
                      <a:pt x="602291" y="380826"/>
                      <a:pt x="602291" y="380826"/>
                    </a:cubicBezTo>
                    <a:lnTo>
                      <a:pt x="598723" y="385684"/>
                    </a:lnTo>
                    <a:lnTo>
                      <a:pt x="595184" y="383022"/>
                    </a:lnTo>
                    <a:lnTo>
                      <a:pt x="591671" y="375118"/>
                    </a:lnTo>
                    <a:lnTo>
                      <a:pt x="589036" y="376655"/>
                    </a:lnTo>
                    <a:lnTo>
                      <a:pt x="588131" y="380360"/>
                    </a:lnTo>
                    <a:lnTo>
                      <a:pt x="576632" y="382061"/>
                    </a:lnTo>
                    <a:lnTo>
                      <a:pt x="575809" y="372154"/>
                    </a:lnTo>
                    <a:lnTo>
                      <a:pt x="565298" y="380936"/>
                    </a:lnTo>
                    <a:lnTo>
                      <a:pt x="545457" y="388593"/>
                    </a:lnTo>
                    <a:lnTo>
                      <a:pt x="539529" y="396633"/>
                    </a:lnTo>
                    <a:lnTo>
                      <a:pt x="542328" y="411535"/>
                    </a:lnTo>
                    <a:lnTo>
                      <a:pt x="537444" y="418505"/>
                    </a:lnTo>
                    <a:lnTo>
                      <a:pt x="535852" y="423967"/>
                    </a:lnTo>
                    <a:lnTo>
                      <a:pt x="521609" y="436673"/>
                    </a:lnTo>
                    <a:lnTo>
                      <a:pt x="513074" y="439719"/>
                    </a:lnTo>
                    <a:lnTo>
                      <a:pt x="502948" y="443369"/>
                    </a:lnTo>
                    <a:lnTo>
                      <a:pt x="495401" y="447924"/>
                    </a:lnTo>
                    <a:lnTo>
                      <a:pt x="487634" y="452837"/>
                    </a:lnTo>
                    <a:lnTo>
                      <a:pt x="482859" y="456981"/>
                    </a:lnTo>
                    <a:lnTo>
                      <a:pt x="480527" y="459066"/>
                    </a:lnTo>
                    <a:lnTo>
                      <a:pt x="458298" y="487058"/>
                    </a:lnTo>
                    <a:lnTo>
                      <a:pt x="442710" y="496224"/>
                    </a:lnTo>
                    <a:lnTo>
                      <a:pt x="431788" y="509095"/>
                    </a:lnTo>
                    <a:lnTo>
                      <a:pt x="414005" y="518672"/>
                    </a:lnTo>
                    <a:lnTo>
                      <a:pt x="406842" y="524573"/>
                    </a:lnTo>
                    <a:lnTo>
                      <a:pt x="403577" y="530885"/>
                    </a:lnTo>
                    <a:lnTo>
                      <a:pt x="404647" y="540901"/>
                    </a:lnTo>
                    <a:lnTo>
                      <a:pt x="389059" y="548091"/>
                    </a:lnTo>
                    <a:lnTo>
                      <a:pt x="381101" y="547323"/>
                    </a:lnTo>
                    <a:lnTo>
                      <a:pt x="376106" y="548750"/>
                    </a:lnTo>
                    <a:lnTo>
                      <a:pt x="365074" y="566698"/>
                    </a:lnTo>
                    <a:lnTo>
                      <a:pt x="362495" y="566643"/>
                    </a:lnTo>
                    <a:lnTo>
                      <a:pt x="359860" y="562444"/>
                    </a:lnTo>
                    <a:lnTo>
                      <a:pt x="356320" y="561538"/>
                    </a:lnTo>
                    <a:lnTo>
                      <a:pt x="345864" y="567768"/>
                    </a:lnTo>
                    <a:lnTo>
                      <a:pt x="339141" y="585057"/>
                    </a:lnTo>
                    <a:lnTo>
                      <a:pt x="341830" y="598202"/>
                    </a:lnTo>
                    <a:lnTo>
                      <a:pt x="343065" y="601852"/>
                    </a:lnTo>
                    <a:lnTo>
                      <a:pt x="341830" y="616891"/>
                    </a:lnTo>
                    <a:lnTo>
                      <a:pt x="347456" y="640355"/>
                    </a:lnTo>
                    <a:lnTo>
                      <a:pt x="342434" y="663873"/>
                    </a:lnTo>
                    <a:lnTo>
                      <a:pt x="333844" y="678253"/>
                    </a:lnTo>
                    <a:lnTo>
                      <a:pt x="330688" y="689999"/>
                    </a:lnTo>
                    <a:lnTo>
                      <a:pt x="333158" y="704653"/>
                    </a:lnTo>
                    <a:lnTo>
                      <a:pt x="333679" y="729572"/>
                    </a:lnTo>
                    <a:lnTo>
                      <a:pt x="330825" y="730807"/>
                    </a:lnTo>
                    <a:lnTo>
                      <a:pt x="323992" y="729462"/>
                    </a:lnTo>
                    <a:lnTo>
                      <a:pt x="317021" y="731685"/>
                    </a:lnTo>
                    <a:lnTo>
                      <a:pt x="315073" y="738545"/>
                    </a:lnTo>
                    <a:lnTo>
                      <a:pt x="307416" y="748974"/>
                    </a:lnTo>
                    <a:lnTo>
                      <a:pt x="305303" y="754517"/>
                    </a:lnTo>
                    <a:lnTo>
                      <a:pt x="309886" y="760912"/>
                    </a:lnTo>
                    <a:lnTo>
                      <a:pt x="299869" y="762887"/>
                    </a:lnTo>
                    <a:lnTo>
                      <a:pt x="286779" y="768788"/>
                    </a:lnTo>
                    <a:lnTo>
                      <a:pt x="284062" y="772328"/>
                    </a:lnTo>
                    <a:lnTo>
                      <a:pt x="280412" y="787422"/>
                    </a:lnTo>
                    <a:lnTo>
                      <a:pt x="264139" y="796148"/>
                    </a:lnTo>
                    <a:lnTo>
                      <a:pt x="258129" y="794639"/>
                    </a:lnTo>
                    <a:lnTo>
                      <a:pt x="248524" y="786955"/>
                    </a:lnTo>
                    <a:lnTo>
                      <a:pt x="236092" y="771614"/>
                    </a:lnTo>
                    <a:lnTo>
                      <a:pt x="229231" y="754490"/>
                    </a:lnTo>
                    <a:lnTo>
                      <a:pt x="227859" y="743979"/>
                    </a:lnTo>
                    <a:lnTo>
                      <a:pt x="230220" y="742799"/>
                    </a:lnTo>
                    <a:lnTo>
                      <a:pt x="226048" y="738326"/>
                    </a:lnTo>
                    <a:lnTo>
                      <a:pt x="211723" y="698396"/>
                    </a:lnTo>
                    <a:lnTo>
                      <a:pt x="205493" y="687858"/>
                    </a:lnTo>
                    <a:lnTo>
                      <a:pt x="195971" y="677924"/>
                    </a:lnTo>
                    <a:lnTo>
                      <a:pt x="189000" y="662611"/>
                    </a:lnTo>
                    <a:lnTo>
                      <a:pt x="185130" y="652951"/>
                    </a:lnTo>
                    <a:lnTo>
                      <a:pt x="179093" y="623971"/>
                    </a:lnTo>
                    <a:lnTo>
                      <a:pt x="169049" y="598175"/>
                    </a:lnTo>
                    <a:lnTo>
                      <a:pt x="164548" y="594882"/>
                    </a:lnTo>
                    <a:lnTo>
                      <a:pt x="159307" y="586045"/>
                    </a:lnTo>
                    <a:lnTo>
                      <a:pt x="157139" y="576879"/>
                    </a:lnTo>
                    <a:lnTo>
                      <a:pt x="145530" y="557147"/>
                    </a:lnTo>
                    <a:lnTo>
                      <a:pt x="141331" y="542740"/>
                    </a:lnTo>
                    <a:lnTo>
                      <a:pt x="139713" y="524106"/>
                    </a:lnTo>
                    <a:lnTo>
                      <a:pt x="127665" y="475093"/>
                    </a:lnTo>
                    <a:lnTo>
                      <a:pt x="128214" y="472239"/>
                    </a:lnTo>
                    <a:lnTo>
                      <a:pt x="131095" y="472019"/>
                    </a:lnTo>
                    <a:lnTo>
                      <a:pt x="129531" y="468561"/>
                    </a:lnTo>
                    <a:lnTo>
                      <a:pt x="131507" y="465323"/>
                    </a:lnTo>
                    <a:lnTo>
                      <a:pt x="130629" y="464308"/>
                    </a:lnTo>
                    <a:lnTo>
                      <a:pt x="125991" y="466448"/>
                    </a:lnTo>
                    <a:lnTo>
                      <a:pt x="125250" y="456926"/>
                    </a:lnTo>
                    <a:lnTo>
                      <a:pt x="123686" y="447870"/>
                    </a:lnTo>
                    <a:lnTo>
                      <a:pt x="122286" y="439664"/>
                    </a:lnTo>
                    <a:lnTo>
                      <a:pt x="122039" y="438292"/>
                    </a:lnTo>
                    <a:lnTo>
                      <a:pt x="127336" y="418890"/>
                    </a:lnTo>
                    <a:lnTo>
                      <a:pt x="126183" y="405717"/>
                    </a:lnTo>
                    <a:lnTo>
                      <a:pt x="120914" y="396633"/>
                    </a:lnTo>
                    <a:lnTo>
                      <a:pt x="122121" y="383269"/>
                    </a:lnTo>
                    <a:lnTo>
                      <a:pt x="120091" y="381183"/>
                    </a:lnTo>
                    <a:lnTo>
                      <a:pt x="119185" y="380278"/>
                    </a:lnTo>
                    <a:lnTo>
                      <a:pt x="117977" y="371605"/>
                    </a:lnTo>
                    <a:lnTo>
                      <a:pt x="122423" y="363482"/>
                    </a:lnTo>
                    <a:lnTo>
                      <a:pt x="119953" y="361754"/>
                    </a:lnTo>
                    <a:lnTo>
                      <a:pt x="114355" y="363043"/>
                    </a:lnTo>
                    <a:lnTo>
                      <a:pt x="108674" y="369026"/>
                    </a:lnTo>
                    <a:lnTo>
                      <a:pt x="109882" y="381183"/>
                    </a:lnTo>
                    <a:lnTo>
                      <a:pt x="110102" y="383324"/>
                    </a:lnTo>
                    <a:lnTo>
                      <a:pt x="103487" y="396963"/>
                    </a:lnTo>
                    <a:lnTo>
                      <a:pt x="76594" y="409834"/>
                    </a:lnTo>
                    <a:lnTo>
                      <a:pt x="65369" y="411288"/>
                    </a:lnTo>
                    <a:lnTo>
                      <a:pt x="55709" y="406787"/>
                    </a:lnTo>
                    <a:lnTo>
                      <a:pt x="44046" y="397073"/>
                    </a:lnTo>
                    <a:lnTo>
                      <a:pt x="28952" y="381183"/>
                    </a:lnTo>
                    <a:lnTo>
                      <a:pt x="17152" y="368669"/>
                    </a:lnTo>
                    <a:lnTo>
                      <a:pt x="13721" y="360601"/>
                    </a:lnTo>
                    <a:lnTo>
                      <a:pt x="16493" y="358570"/>
                    </a:lnTo>
                    <a:lnTo>
                      <a:pt x="21653" y="362275"/>
                    </a:lnTo>
                    <a:lnTo>
                      <a:pt x="31862" y="360217"/>
                    </a:lnTo>
                    <a:lnTo>
                      <a:pt x="31807" y="356484"/>
                    </a:lnTo>
                    <a:lnTo>
                      <a:pt x="35868" y="358323"/>
                    </a:lnTo>
                    <a:lnTo>
                      <a:pt x="47888" y="353109"/>
                    </a:lnTo>
                    <a:lnTo>
                      <a:pt x="63832" y="335490"/>
                    </a:lnTo>
                    <a:lnTo>
                      <a:pt x="80188" y="331182"/>
                    </a:lnTo>
                    <a:lnTo>
                      <a:pt x="81835" y="328081"/>
                    </a:lnTo>
                    <a:lnTo>
                      <a:pt x="81122" y="324486"/>
                    </a:lnTo>
                    <a:lnTo>
                      <a:pt x="77060" y="321385"/>
                    </a:lnTo>
                    <a:lnTo>
                      <a:pt x="74700" y="325364"/>
                    </a:lnTo>
                    <a:lnTo>
                      <a:pt x="65918" y="331731"/>
                    </a:lnTo>
                    <a:lnTo>
                      <a:pt x="52965" y="334201"/>
                    </a:lnTo>
                    <a:lnTo>
                      <a:pt x="48025" y="340375"/>
                    </a:lnTo>
                    <a:lnTo>
                      <a:pt x="35621" y="346605"/>
                    </a:lnTo>
                    <a:lnTo>
                      <a:pt x="20775" y="344409"/>
                    </a:lnTo>
                    <a:lnTo>
                      <a:pt x="4199" y="333816"/>
                    </a:lnTo>
                    <a:lnTo>
                      <a:pt x="0" y="324211"/>
                    </a:lnTo>
                    <a:lnTo>
                      <a:pt x="576" y="319025"/>
                    </a:lnTo>
                    <a:lnTo>
                      <a:pt x="6587" y="313838"/>
                    </a:lnTo>
                    <a:lnTo>
                      <a:pt x="22064" y="311944"/>
                    </a:lnTo>
                    <a:lnTo>
                      <a:pt x="32849" y="314332"/>
                    </a:lnTo>
                    <a:lnTo>
                      <a:pt x="34221" y="309392"/>
                    </a:lnTo>
                    <a:lnTo>
                      <a:pt x="22723" y="307609"/>
                    </a:lnTo>
                    <a:lnTo>
                      <a:pt x="20226" y="303602"/>
                    </a:lnTo>
                    <a:lnTo>
                      <a:pt x="12816" y="2991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2" name="Freeform: Shape 3851">
                <a:extLst>
                  <a:ext uri="{FF2B5EF4-FFF2-40B4-BE49-F238E27FC236}">
                    <a16:creationId xmlns:a16="http://schemas.microsoft.com/office/drawing/2014/main" id="{14C7F678-4C3F-6EB1-C840-E40F6DC63FEF}"/>
                  </a:ext>
                </a:extLst>
              </p:cNvPr>
              <p:cNvSpPr/>
              <p:nvPr/>
            </p:nvSpPr>
            <p:spPr>
              <a:xfrm>
                <a:off x="1580633" y="3768811"/>
                <a:ext cx="930" cy="515"/>
              </a:xfrm>
              <a:custGeom>
                <a:avLst/>
                <a:gdLst>
                  <a:gd name="connsiteX0" fmla="*/ 0 w 8918"/>
                  <a:gd name="connsiteY0" fmla="*/ 164 h 4939"/>
                  <a:gd name="connsiteX1" fmla="*/ 7903 w 8918"/>
                  <a:gd name="connsiteY1" fmla="*/ 0 h 4939"/>
                  <a:gd name="connsiteX2" fmla="*/ 8919 w 8918"/>
                  <a:gd name="connsiteY2" fmla="*/ 604 h 4939"/>
                  <a:gd name="connsiteX3" fmla="*/ 6065 w 8918"/>
                  <a:gd name="connsiteY3" fmla="*/ 4940 h 4939"/>
                  <a:gd name="connsiteX4" fmla="*/ 851 w 8918"/>
                  <a:gd name="connsiteY4" fmla="*/ 3046 h 4939"/>
                  <a:gd name="connsiteX5" fmla="*/ 0 w 8918"/>
                  <a:gd name="connsiteY5" fmla="*/ 164 h 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18" h="4939">
                    <a:moveTo>
                      <a:pt x="0" y="164"/>
                    </a:moveTo>
                    <a:lnTo>
                      <a:pt x="7903" y="0"/>
                    </a:lnTo>
                    <a:lnTo>
                      <a:pt x="8919" y="604"/>
                    </a:lnTo>
                    <a:lnTo>
                      <a:pt x="6065" y="4940"/>
                    </a:lnTo>
                    <a:lnTo>
                      <a:pt x="851" y="3046"/>
                    </a:lnTo>
                    <a:lnTo>
                      <a:pt x="0" y="1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3" name="Freeform: Shape 3852">
                <a:extLst>
                  <a:ext uri="{FF2B5EF4-FFF2-40B4-BE49-F238E27FC236}">
                    <a16:creationId xmlns:a16="http://schemas.microsoft.com/office/drawing/2014/main" id="{46D3699B-CB2B-40C0-CCA9-0837ED5F3794}"/>
                  </a:ext>
                </a:extLst>
              </p:cNvPr>
              <p:cNvSpPr/>
              <p:nvPr/>
            </p:nvSpPr>
            <p:spPr>
              <a:xfrm>
                <a:off x="1636789" y="3776388"/>
                <a:ext cx="404" cy="426"/>
              </a:xfrm>
              <a:custGeom>
                <a:avLst/>
                <a:gdLst>
                  <a:gd name="connsiteX0" fmla="*/ 0 w 3869"/>
                  <a:gd name="connsiteY0" fmla="*/ 3129 h 4088"/>
                  <a:gd name="connsiteX1" fmla="*/ 1455 w 3869"/>
                  <a:gd name="connsiteY1" fmla="*/ 0 h 4088"/>
                  <a:gd name="connsiteX2" fmla="*/ 3870 w 3869"/>
                  <a:gd name="connsiteY2" fmla="*/ 1592 h 4088"/>
                  <a:gd name="connsiteX3" fmla="*/ 933 w 3869"/>
                  <a:gd name="connsiteY3" fmla="*/ 4089 h 4088"/>
                  <a:gd name="connsiteX4" fmla="*/ 0 w 3869"/>
                  <a:gd name="connsiteY4" fmla="*/ 3156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4088">
                    <a:moveTo>
                      <a:pt x="0" y="3129"/>
                    </a:moveTo>
                    <a:lnTo>
                      <a:pt x="1455" y="0"/>
                    </a:lnTo>
                    <a:lnTo>
                      <a:pt x="3870" y="1592"/>
                    </a:lnTo>
                    <a:lnTo>
                      <a:pt x="933" y="4089"/>
                    </a:lnTo>
                    <a:lnTo>
                      <a:pt x="0"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4" name="Freeform: Shape 3853">
                <a:extLst>
                  <a:ext uri="{FF2B5EF4-FFF2-40B4-BE49-F238E27FC236}">
                    <a16:creationId xmlns:a16="http://schemas.microsoft.com/office/drawing/2014/main" id="{F6243050-4912-D22B-C450-83E59B02DF1D}"/>
                  </a:ext>
                </a:extLst>
              </p:cNvPr>
              <p:cNvSpPr/>
              <p:nvPr/>
            </p:nvSpPr>
            <p:spPr>
              <a:xfrm>
                <a:off x="1575309" y="3769117"/>
                <a:ext cx="306" cy="447"/>
              </a:xfrm>
              <a:custGeom>
                <a:avLst/>
                <a:gdLst>
                  <a:gd name="connsiteX0" fmla="*/ 0 w 2936"/>
                  <a:gd name="connsiteY0" fmla="*/ 3376 h 4281"/>
                  <a:gd name="connsiteX1" fmla="*/ 412 w 2936"/>
                  <a:gd name="connsiteY1" fmla="*/ 906 h 4281"/>
                  <a:gd name="connsiteX2" fmla="*/ 2058 w 2936"/>
                  <a:gd name="connsiteY2" fmla="*/ 0 h 4281"/>
                  <a:gd name="connsiteX3" fmla="*/ 2937 w 2936"/>
                  <a:gd name="connsiteY3" fmla="*/ 2251 h 4281"/>
                  <a:gd name="connsiteX4" fmla="*/ 1235 w 2936"/>
                  <a:gd name="connsiteY4" fmla="*/ 4281 h 4281"/>
                  <a:gd name="connsiteX5" fmla="*/ 0 w 2936"/>
                  <a:gd name="connsiteY5" fmla="*/ 3376 h 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6" h="4281">
                    <a:moveTo>
                      <a:pt x="0" y="3376"/>
                    </a:moveTo>
                    <a:lnTo>
                      <a:pt x="412" y="906"/>
                    </a:lnTo>
                    <a:lnTo>
                      <a:pt x="2058" y="0"/>
                    </a:lnTo>
                    <a:lnTo>
                      <a:pt x="2937" y="2251"/>
                    </a:lnTo>
                    <a:lnTo>
                      <a:pt x="1235" y="4281"/>
                    </a:lnTo>
                    <a:lnTo>
                      <a:pt x="0" y="33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5" name="Freeform: Shape 3854">
                <a:extLst>
                  <a:ext uri="{FF2B5EF4-FFF2-40B4-BE49-F238E27FC236}">
                    <a16:creationId xmlns:a16="http://schemas.microsoft.com/office/drawing/2014/main" id="{7458E7AE-7F1F-03B9-847D-E4179A9D1058}"/>
                  </a:ext>
                </a:extLst>
              </p:cNvPr>
              <p:cNvSpPr/>
              <p:nvPr/>
            </p:nvSpPr>
            <p:spPr>
              <a:xfrm>
                <a:off x="1608321" y="3815690"/>
                <a:ext cx="398" cy="306"/>
              </a:xfrm>
              <a:custGeom>
                <a:avLst/>
                <a:gdLst>
                  <a:gd name="connsiteX0" fmla="*/ 3403 w 3814"/>
                  <a:gd name="connsiteY0" fmla="*/ 2854 h 2936"/>
                  <a:gd name="connsiteX1" fmla="*/ 0 w 3814"/>
                  <a:gd name="connsiteY1" fmla="*/ 2936 h 2936"/>
                  <a:gd name="connsiteX2" fmla="*/ 659 w 3814"/>
                  <a:gd name="connsiteY2" fmla="*/ 1235 h 2936"/>
                  <a:gd name="connsiteX3" fmla="*/ 3814 w 3814"/>
                  <a:gd name="connsiteY3" fmla="*/ 0 h 2936"/>
                  <a:gd name="connsiteX4" fmla="*/ 3403 w 3814"/>
                  <a:gd name="connsiteY4" fmla="*/ 2854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2936">
                    <a:moveTo>
                      <a:pt x="3403" y="2854"/>
                    </a:moveTo>
                    <a:lnTo>
                      <a:pt x="0" y="2936"/>
                    </a:lnTo>
                    <a:lnTo>
                      <a:pt x="659" y="1235"/>
                    </a:lnTo>
                    <a:lnTo>
                      <a:pt x="3814" y="0"/>
                    </a:lnTo>
                    <a:lnTo>
                      <a:pt x="3403"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6" name="Freeform: Shape 3855">
                <a:extLst>
                  <a:ext uri="{FF2B5EF4-FFF2-40B4-BE49-F238E27FC236}">
                    <a16:creationId xmlns:a16="http://schemas.microsoft.com/office/drawing/2014/main" id="{0C4D6315-AE09-12F8-FA12-EC3D1F72BCA7}"/>
                  </a:ext>
                </a:extLst>
              </p:cNvPr>
              <p:cNvSpPr/>
              <p:nvPr/>
            </p:nvSpPr>
            <p:spPr>
              <a:xfrm>
                <a:off x="1580874" y="3771765"/>
                <a:ext cx="332" cy="363"/>
              </a:xfrm>
              <a:custGeom>
                <a:avLst/>
                <a:gdLst>
                  <a:gd name="connsiteX0" fmla="*/ 0 w 3183"/>
                  <a:gd name="connsiteY0" fmla="*/ 1866 h 3485"/>
                  <a:gd name="connsiteX1" fmla="*/ 686 w 3183"/>
                  <a:gd name="connsiteY1" fmla="*/ 0 h 3485"/>
                  <a:gd name="connsiteX2" fmla="*/ 2991 w 3183"/>
                  <a:gd name="connsiteY2" fmla="*/ 220 h 3485"/>
                  <a:gd name="connsiteX3" fmla="*/ 3183 w 3183"/>
                  <a:gd name="connsiteY3" fmla="*/ 2031 h 3485"/>
                  <a:gd name="connsiteX4" fmla="*/ 1015 w 3183"/>
                  <a:gd name="connsiteY4" fmla="*/ 3485 h 3485"/>
                  <a:gd name="connsiteX5" fmla="*/ 0 w 3183"/>
                  <a:gd name="connsiteY5" fmla="*/ 1894 h 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3" h="3485">
                    <a:moveTo>
                      <a:pt x="0" y="1866"/>
                    </a:moveTo>
                    <a:lnTo>
                      <a:pt x="686" y="0"/>
                    </a:lnTo>
                    <a:lnTo>
                      <a:pt x="2991" y="220"/>
                    </a:lnTo>
                    <a:lnTo>
                      <a:pt x="3183" y="2031"/>
                    </a:lnTo>
                    <a:lnTo>
                      <a:pt x="1015" y="3485"/>
                    </a:lnTo>
                    <a:lnTo>
                      <a:pt x="0" y="1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7" name="Freeform: Shape 3856">
                <a:extLst>
                  <a:ext uri="{FF2B5EF4-FFF2-40B4-BE49-F238E27FC236}">
                    <a16:creationId xmlns:a16="http://schemas.microsoft.com/office/drawing/2014/main" id="{C67302CA-6399-7CD1-4E1A-A212BDF33B7A}"/>
                  </a:ext>
                </a:extLst>
              </p:cNvPr>
              <p:cNvSpPr/>
              <p:nvPr/>
            </p:nvSpPr>
            <p:spPr>
              <a:xfrm>
                <a:off x="1576718" y="3767632"/>
                <a:ext cx="223" cy="94"/>
              </a:xfrm>
              <a:custGeom>
                <a:avLst/>
                <a:gdLst>
                  <a:gd name="connsiteX0" fmla="*/ 1345 w 2140"/>
                  <a:gd name="connsiteY0" fmla="*/ 0 h 905"/>
                  <a:gd name="connsiteX1" fmla="*/ 2141 w 2140"/>
                  <a:gd name="connsiteY1" fmla="*/ 604 h 905"/>
                  <a:gd name="connsiteX2" fmla="*/ 1866 w 2140"/>
                  <a:gd name="connsiteY2" fmla="*/ 905 h 905"/>
                  <a:gd name="connsiteX3" fmla="*/ 795 w 2140"/>
                  <a:gd name="connsiteY3" fmla="*/ 905 h 905"/>
                  <a:gd name="connsiteX4" fmla="*/ 795 w 2140"/>
                  <a:gd name="connsiteY4" fmla="*/ 604 h 905"/>
                  <a:gd name="connsiteX5" fmla="*/ 0 w 2140"/>
                  <a:gd name="connsiteY5" fmla="*/ 604 h 905"/>
                  <a:gd name="connsiteX6" fmla="*/ 1345 w 2140"/>
                  <a:gd name="connsiteY6" fmla="*/ 0 h 905"/>
                  <a:gd name="connsiteX7" fmla="*/ 1345 w 2140"/>
                  <a:gd name="connsiteY7" fmla="*/ 0 h 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0" h="905">
                    <a:moveTo>
                      <a:pt x="1345" y="0"/>
                    </a:moveTo>
                    <a:lnTo>
                      <a:pt x="2141" y="604"/>
                    </a:lnTo>
                    <a:lnTo>
                      <a:pt x="1866" y="905"/>
                    </a:lnTo>
                    <a:lnTo>
                      <a:pt x="795" y="905"/>
                    </a:lnTo>
                    <a:lnTo>
                      <a:pt x="795" y="604"/>
                    </a:lnTo>
                    <a:lnTo>
                      <a:pt x="0" y="604"/>
                    </a:lnTo>
                    <a:lnTo>
                      <a:pt x="1345" y="0"/>
                    </a:lnTo>
                    <a:lnTo>
                      <a:pt x="1345"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8" name="Freeform: Shape 3857">
                <a:extLst>
                  <a:ext uri="{FF2B5EF4-FFF2-40B4-BE49-F238E27FC236}">
                    <a16:creationId xmlns:a16="http://schemas.microsoft.com/office/drawing/2014/main" id="{A1B7F6A1-2158-6EB1-0292-BDAE5DC152EE}"/>
                  </a:ext>
                </a:extLst>
              </p:cNvPr>
              <p:cNvSpPr/>
              <p:nvPr/>
            </p:nvSpPr>
            <p:spPr>
              <a:xfrm>
                <a:off x="1500534" y="3711367"/>
                <a:ext cx="59033" cy="53540"/>
              </a:xfrm>
              <a:custGeom>
                <a:avLst/>
                <a:gdLst>
                  <a:gd name="connsiteX0" fmla="*/ 47093 w 565983"/>
                  <a:gd name="connsiteY0" fmla="*/ 30407 h 513321"/>
                  <a:gd name="connsiteX1" fmla="*/ 61363 w 565983"/>
                  <a:gd name="connsiteY1" fmla="*/ 34386 h 513321"/>
                  <a:gd name="connsiteX2" fmla="*/ 67208 w 565983"/>
                  <a:gd name="connsiteY2" fmla="*/ 32136 h 513321"/>
                  <a:gd name="connsiteX3" fmla="*/ 73273 w 565983"/>
                  <a:gd name="connsiteY3" fmla="*/ 33124 h 513321"/>
                  <a:gd name="connsiteX4" fmla="*/ 81643 w 565983"/>
                  <a:gd name="connsiteY4" fmla="*/ 24315 h 513321"/>
                  <a:gd name="connsiteX5" fmla="*/ 110485 w 565983"/>
                  <a:gd name="connsiteY5" fmla="*/ 3952 h 513321"/>
                  <a:gd name="connsiteX6" fmla="*/ 116633 w 565983"/>
                  <a:gd name="connsiteY6" fmla="*/ 2690 h 513321"/>
                  <a:gd name="connsiteX7" fmla="*/ 126155 w 565983"/>
                  <a:gd name="connsiteY7" fmla="*/ 13859 h 513321"/>
                  <a:gd name="connsiteX8" fmla="*/ 120338 w 565983"/>
                  <a:gd name="connsiteY8" fmla="*/ 19210 h 513321"/>
                  <a:gd name="connsiteX9" fmla="*/ 125497 w 565983"/>
                  <a:gd name="connsiteY9" fmla="*/ 27718 h 513321"/>
                  <a:gd name="connsiteX10" fmla="*/ 117758 w 565983"/>
                  <a:gd name="connsiteY10" fmla="*/ 31477 h 513321"/>
                  <a:gd name="connsiteX11" fmla="*/ 117291 w 565983"/>
                  <a:gd name="connsiteY11" fmla="*/ 34743 h 513321"/>
                  <a:gd name="connsiteX12" fmla="*/ 135212 w 565983"/>
                  <a:gd name="connsiteY12" fmla="*/ 50632 h 513321"/>
                  <a:gd name="connsiteX13" fmla="*/ 142100 w 565983"/>
                  <a:gd name="connsiteY13" fmla="*/ 49590 h 513321"/>
                  <a:gd name="connsiteX14" fmla="*/ 143143 w 565983"/>
                  <a:gd name="connsiteY14" fmla="*/ 66110 h 513321"/>
                  <a:gd name="connsiteX15" fmla="*/ 145503 w 565983"/>
                  <a:gd name="connsiteY15" fmla="*/ 74974 h 513321"/>
                  <a:gd name="connsiteX16" fmla="*/ 148961 w 565983"/>
                  <a:gd name="connsiteY16" fmla="*/ 79914 h 513321"/>
                  <a:gd name="connsiteX17" fmla="*/ 157880 w 565983"/>
                  <a:gd name="connsiteY17" fmla="*/ 84964 h 513321"/>
                  <a:gd name="connsiteX18" fmla="*/ 172342 w 565983"/>
                  <a:gd name="connsiteY18" fmla="*/ 86089 h 513321"/>
                  <a:gd name="connsiteX19" fmla="*/ 180054 w 565983"/>
                  <a:gd name="connsiteY19" fmla="*/ 88970 h 513321"/>
                  <a:gd name="connsiteX20" fmla="*/ 184033 w 565983"/>
                  <a:gd name="connsiteY20" fmla="*/ 97231 h 513321"/>
                  <a:gd name="connsiteX21" fmla="*/ 188149 w 565983"/>
                  <a:gd name="connsiteY21" fmla="*/ 101320 h 513321"/>
                  <a:gd name="connsiteX22" fmla="*/ 208073 w 565983"/>
                  <a:gd name="connsiteY22" fmla="*/ 113367 h 513321"/>
                  <a:gd name="connsiteX23" fmla="*/ 230878 w 565983"/>
                  <a:gd name="connsiteY23" fmla="*/ 118444 h 513321"/>
                  <a:gd name="connsiteX24" fmla="*/ 276818 w 565983"/>
                  <a:gd name="connsiteY24" fmla="*/ 107632 h 513321"/>
                  <a:gd name="connsiteX25" fmla="*/ 291033 w 565983"/>
                  <a:gd name="connsiteY25" fmla="*/ 110431 h 513321"/>
                  <a:gd name="connsiteX26" fmla="*/ 292844 w 565983"/>
                  <a:gd name="connsiteY26" fmla="*/ 109141 h 513321"/>
                  <a:gd name="connsiteX27" fmla="*/ 293229 w 565983"/>
                  <a:gd name="connsiteY27" fmla="*/ 105436 h 513321"/>
                  <a:gd name="connsiteX28" fmla="*/ 289771 w 565983"/>
                  <a:gd name="connsiteY28" fmla="*/ 90672 h 513321"/>
                  <a:gd name="connsiteX29" fmla="*/ 300034 w 565983"/>
                  <a:gd name="connsiteY29" fmla="*/ 91303 h 513321"/>
                  <a:gd name="connsiteX30" fmla="*/ 312960 w 565983"/>
                  <a:gd name="connsiteY30" fmla="*/ 86253 h 513321"/>
                  <a:gd name="connsiteX31" fmla="*/ 315869 w 565983"/>
                  <a:gd name="connsiteY31" fmla="*/ 83344 h 513321"/>
                  <a:gd name="connsiteX32" fmla="*/ 317515 w 565983"/>
                  <a:gd name="connsiteY32" fmla="*/ 75962 h 513321"/>
                  <a:gd name="connsiteX33" fmla="*/ 325968 w 565983"/>
                  <a:gd name="connsiteY33" fmla="*/ 68114 h 513321"/>
                  <a:gd name="connsiteX34" fmla="*/ 335573 w 565983"/>
                  <a:gd name="connsiteY34" fmla="*/ 63146 h 513321"/>
                  <a:gd name="connsiteX35" fmla="*/ 344904 w 565983"/>
                  <a:gd name="connsiteY35" fmla="*/ 61720 h 513321"/>
                  <a:gd name="connsiteX36" fmla="*/ 359888 w 565983"/>
                  <a:gd name="connsiteY36" fmla="*/ 63201 h 513321"/>
                  <a:gd name="connsiteX37" fmla="*/ 362302 w 565983"/>
                  <a:gd name="connsiteY37" fmla="*/ 58152 h 513321"/>
                  <a:gd name="connsiteX38" fmla="*/ 366117 w 565983"/>
                  <a:gd name="connsiteY38" fmla="*/ 56395 h 513321"/>
                  <a:gd name="connsiteX39" fmla="*/ 382363 w 565983"/>
                  <a:gd name="connsiteY39" fmla="*/ 58564 h 513321"/>
                  <a:gd name="connsiteX40" fmla="*/ 387193 w 565983"/>
                  <a:gd name="connsiteY40" fmla="*/ 56121 h 513321"/>
                  <a:gd name="connsiteX41" fmla="*/ 394329 w 565983"/>
                  <a:gd name="connsiteY41" fmla="*/ 68470 h 513321"/>
                  <a:gd name="connsiteX42" fmla="*/ 415597 w 565983"/>
                  <a:gd name="connsiteY42" fmla="*/ 74425 h 513321"/>
                  <a:gd name="connsiteX43" fmla="*/ 419164 w 565983"/>
                  <a:gd name="connsiteY43" fmla="*/ 78597 h 513321"/>
                  <a:gd name="connsiteX44" fmla="*/ 434889 w 565983"/>
                  <a:gd name="connsiteY44" fmla="*/ 78130 h 513321"/>
                  <a:gd name="connsiteX45" fmla="*/ 449791 w 565983"/>
                  <a:gd name="connsiteY45" fmla="*/ 84003 h 513321"/>
                  <a:gd name="connsiteX46" fmla="*/ 452205 w 565983"/>
                  <a:gd name="connsiteY46" fmla="*/ 92373 h 513321"/>
                  <a:gd name="connsiteX47" fmla="*/ 456075 w 565983"/>
                  <a:gd name="connsiteY47" fmla="*/ 97587 h 513321"/>
                  <a:gd name="connsiteX48" fmla="*/ 469906 w 565983"/>
                  <a:gd name="connsiteY48" fmla="*/ 102637 h 513321"/>
                  <a:gd name="connsiteX49" fmla="*/ 479621 w 565983"/>
                  <a:gd name="connsiteY49" fmla="*/ 116441 h 513321"/>
                  <a:gd name="connsiteX50" fmla="*/ 501246 w 565983"/>
                  <a:gd name="connsiteY50" fmla="*/ 116386 h 513321"/>
                  <a:gd name="connsiteX51" fmla="*/ 503579 w 565983"/>
                  <a:gd name="connsiteY51" fmla="*/ 120145 h 513321"/>
                  <a:gd name="connsiteX52" fmla="*/ 502755 w 565983"/>
                  <a:gd name="connsiteY52" fmla="*/ 126567 h 513321"/>
                  <a:gd name="connsiteX53" fmla="*/ 504677 w 565983"/>
                  <a:gd name="connsiteY53" fmla="*/ 134224 h 513321"/>
                  <a:gd name="connsiteX54" fmla="*/ 503085 w 565983"/>
                  <a:gd name="connsiteY54" fmla="*/ 140975 h 513321"/>
                  <a:gd name="connsiteX55" fmla="*/ 505692 w 565983"/>
                  <a:gd name="connsiteY55" fmla="*/ 145146 h 513321"/>
                  <a:gd name="connsiteX56" fmla="*/ 506433 w 565983"/>
                  <a:gd name="connsiteY56" fmla="*/ 154120 h 513321"/>
                  <a:gd name="connsiteX57" fmla="*/ 503716 w 565983"/>
                  <a:gd name="connsiteY57" fmla="*/ 164576 h 513321"/>
                  <a:gd name="connsiteX58" fmla="*/ 501548 w 565983"/>
                  <a:gd name="connsiteY58" fmla="*/ 167100 h 513321"/>
                  <a:gd name="connsiteX59" fmla="*/ 501960 w 565983"/>
                  <a:gd name="connsiteY59" fmla="*/ 173659 h 513321"/>
                  <a:gd name="connsiteX60" fmla="*/ 498063 w 565983"/>
                  <a:gd name="connsiteY60" fmla="*/ 188122 h 513321"/>
                  <a:gd name="connsiteX61" fmla="*/ 491504 w 565983"/>
                  <a:gd name="connsiteY61" fmla="*/ 193116 h 513321"/>
                  <a:gd name="connsiteX62" fmla="*/ 494496 w 565983"/>
                  <a:gd name="connsiteY62" fmla="*/ 199977 h 513321"/>
                  <a:gd name="connsiteX63" fmla="*/ 488485 w 565983"/>
                  <a:gd name="connsiteY63" fmla="*/ 201569 h 513321"/>
                  <a:gd name="connsiteX64" fmla="*/ 483408 w 565983"/>
                  <a:gd name="connsiteY64" fmla="*/ 209555 h 513321"/>
                  <a:gd name="connsiteX65" fmla="*/ 487662 w 565983"/>
                  <a:gd name="connsiteY65" fmla="*/ 226432 h 513321"/>
                  <a:gd name="connsiteX66" fmla="*/ 494770 w 565983"/>
                  <a:gd name="connsiteY66" fmla="*/ 228381 h 513321"/>
                  <a:gd name="connsiteX67" fmla="*/ 486509 w 565983"/>
                  <a:gd name="connsiteY67" fmla="*/ 242404 h 513321"/>
                  <a:gd name="connsiteX68" fmla="*/ 494577 w 565983"/>
                  <a:gd name="connsiteY68" fmla="*/ 273387 h 513321"/>
                  <a:gd name="connsiteX69" fmla="*/ 492959 w 565983"/>
                  <a:gd name="connsiteY69" fmla="*/ 283760 h 513321"/>
                  <a:gd name="connsiteX70" fmla="*/ 494276 w 565983"/>
                  <a:gd name="connsiteY70" fmla="*/ 298388 h 513321"/>
                  <a:gd name="connsiteX71" fmla="*/ 519441 w 565983"/>
                  <a:gd name="connsiteY71" fmla="*/ 303931 h 513321"/>
                  <a:gd name="connsiteX72" fmla="*/ 522651 w 565983"/>
                  <a:gd name="connsiteY72" fmla="*/ 313618 h 513321"/>
                  <a:gd name="connsiteX73" fmla="*/ 521526 w 565983"/>
                  <a:gd name="connsiteY73" fmla="*/ 318668 h 513321"/>
                  <a:gd name="connsiteX74" fmla="*/ 520978 w 565983"/>
                  <a:gd name="connsiteY74" fmla="*/ 322922 h 513321"/>
                  <a:gd name="connsiteX75" fmla="*/ 494605 w 565983"/>
                  <a:gd name="connsiteY75" fmla="*/ 355222 h 513321"/>
                  <a:gd name="connsiteX76" fmla="*/ 508491 w 565983"/>
                  <a:gd name="connsiteY76" fmla="*/ 371798 h 513321"/>
                  <a:gd name="connsiteX77" fmla="*/ 513596 w 565983"/>
                  <a:gd name="connsiteY77" fmla="*/ 384421 h 513321"/>
                  <a:gd name="connsiteX78" fmla="*/ 521801 w 565983"/>
                  <a:gd name="connsiteY78" fmla="*/ 395892 h 513321"/>
                  <a:gd name="connsiteX79" fmla="*/ 529485 w 565983"/>
                  <a:gd name="connsiteY79" fmla="*/ 400695 h 513321"/>
                  <a:gd name="connsiteX80" fmla="*/ 539941 w 565983"/>
                  <a:gd name="connsiteY80" fmla="*/ 403823 h 513321"/>
                  <a:gd name="connsiteX81" fmla="*/ 545292 w 565983"/>
                  <a:gd name="connsiteY81" fmla="*/ 408708 h 513321"/>
                  <a:gd name="connsiteX82" fmla="*/ 550644 w 565983"/>
                  <a:gd name="connsiteY82" fmla="*/ 408983 h 513321"/>
                  <a:gd name="connsiteX83" fmla="*/ 552812 w 565983"/>
                  <a:gd name="connsiteY83" fmla="*/ 434121 h 513321"/>
                  <a:gd name="connsiteX84" fmla="*/ 551521 w 565983"/>
                  <a:gd name="connsiteY84" fmla="*/ 442875 h 513321"/>
                  <a:gd name="connsiteX85" fmla="*/ 555419 w 565983"/>
                  <a:gd name="connsiteY85" fmla="*/ 444192 h 513321"/>
                  <a:gd name="connsiteX86" fmla="*/ 562526 w 565983"/>
                  <a:gd name="connsiteY86" fmla="*/ 443122 h 513321"/>
                  <a:gd name="connsiteX87" fmla="*/ 565984 w 565983"/>
                  <a:gd name="connsiteY87" fmla="*/ 445647 h 513321"/>
                  <a:gd name="connsiteX88" fmla="*/ 565024 w 565983"/>
                  <a:gd name="connsiteY88" fmla="*/ 454429 h 513321"/>
                  <a:gd name="connsiteX89" fmla="*/ 561731 w 565983"/>
                  <a:gd name="connsiteY89" fmla="*/ 462112 h 513321"/>
                  <a:gd name="connsiteX90" fmla="*/ 551110 w 565983"/>
                  <a:gd name="connsiteY90" fmla="*/ 462442 h 513321"/>
                  <a:gd name="connsiteX91" fmla="*/ 539255 w 565983"/>
                  <a:gd name="connsiteY91" fmla="*/ 465625 h 513321"/>
                  <a:gd name="connsiteX92" fmla="*/ 536373 w 565983"/>
                  <a:gd name="connsiteY92" fmla="*/ 467491 h 513321"/>
                  <a:gd name="connsiteX93" fmla="*/ 535523 w 565983"/>
                  <a:gd name="connsiteY93" fmla="*/ 471498 h 513321"/>
                  <a:gd name="connsiteX94" fmla="*/ 524106 w 565983"/>
                  <a:gd name="connsiteY94" fmla="*/ 475999 h 513321"/>
                  <a:gd name="connsiteX95" fmla="*/ 518233 w 565983"/>
                  <a:gd name="connsiteY95" fmla="*/ 497377 h 513321"/>
                  <a:gd name="connsiteX96" fmla="*/ 516368 w 565983"/>
                  <a:gd name="connsiteY96" fmla="*/ 509973 h 513321"/>
                  <a:gd name="connsiteX97" fmla="*/ 508354 w 565983"/>
                  <a:gd name="connsiteY97" fmla="*/ 513321 h 513321"/>
                  <a:gd name="connsiteX98" fmla="*/ 489116 w 565983"/>
                  <a:gd name="connsiteY98" fmla="*/ 507201 h 513321"/>
                  <a:gd name="connsiteX99" fmla="*/ 484726 w 565983"/>
                  <a:gd name="connsiteY99" fmla="*/ 502838 h 513321"/>
                  <a:gd name="connsiteX100" fmla="*/ 479210 w 565983"/>
                  <a:gd name="connsiteY100" fmla="*/ 504869 h 513321"/>
                  <a:gd name="connsiteX101" fmla="*/ 465076 w 565983"/>
                  <a:gd name="connsiteY101" fmla="*/ 504292 h 513321"/>
                  <a:gd name="connsiteX102" fmla="*/ 446415 w 565983"/>
                  <a:gd name="connsiteY102" fmla="*/ 500423 h 513321"/>
                  <a:gd name="connsiteX103" fmla="*/ 441393 w 565983"/>
                  <a:gd name="connsiteY103" fmla="*/ 502152 h 513321"/>
                  <a:gd name="connsiteX104" fmla="*/ 432913 w 565983"/>
                  <a:gd name="connsiteY104" fmla="*/ 497871 h 513321"/>
                  <a:gd name="connsiteX105" fmla="*/ 412660 w 565983"/>
                  <a:gd name="connsiteY105" fmla="*/ 497185 h 513321"/>
                  <a:gd name="connsiteX106" fmla="*/ 407391 w 565983"/>
                  <a:gd name="connsiteY106" fmla="*/ 493782 h 513321"/>
                  <a:gd name="connsiteX107" fmla="*/ 391227 w 565983"/>
                  <a:gd name="connsiteY107" fmla="*/ 490186 h 513321"/>
                  <a:gd name="connsiteX108" fmla="*/ 383214 w 565983"/>
                  <a:gd name="connsiteY108" fmla="*/ 471031 h 513321"/>
                  <a:gd name="connsiteX109" fmla="*/ 380909 w 565983"/>
                  <a:gd name="connsiteY109" fmla="*/ 457200 h 513321"/>
                  <a:gd name="connsiteX110" fmla="*/ 371990 w 565983"/>
                  <a:gd name="connsiteY110" fmla="*/ 446113 h 513321"/>
                  <a:gd name="connsiteX111" fmla="*/ 362220 w 565983"/>
                  <a:gd name="connsiteY111" fmla="*/ 444878 h 513321"/>
                  <a:gd name="connsiteX112" fmla="*/ 355332 w 565983"/>
                  <a:gd name="connsiteY112" fmla="*/ 446333 h 513321"/>
                  <a:gd name="connsiteX113" fmla="*/ 340952 w 565983"/>
                  <a:gd name="connsiteY113" fmla="*/ 452096 h 513321"/>
                  <a:gd name="connsiteX114" fmla="*/ 336039 w 565983"/>
                  <a:gd name="connsiteY114" fmla="*/ 457886 h 513321"/>
                  <a:gd name="connsiteX115" fmla="*/ 328904 w 565983"/>
                  <a:gd name="connsiteY115" fmla="*/ 458819 h 513321"/>
                  <a:gd name="connsiteX116" fmla="*/ 314469 w 565983"/>
                  <a:gd name="connsiteY116" fmla="*/ 466805 h 513321"/>
                  <a:gd name="connsiteX117" fmla="*/ 300309 w 565983"/>
                  <a:gd name="connsiteY117" fmla="*/ 460356 h 513321"/>
                  <a:gd name="connsiteX118" fmla="*/ 283871 w 565983"/>
                  <a:gd name="connsiteY118" fmla="*/ 459752 h 513321"/>
                  <a:gd name="connsiteX119" fmla="*/ 275391 w 565983"/>
                  <a:gd name="connsiteY119" fmla="*/ 451602 h 513321"/>
                  <a:gd name="connsiteX120" fmla="*/ 261889 w 565983"/>
                  <a:gd name="connsiteY120" fmla="*/ 446058 h 513321"/>
                  <a:gd name="connsiteX121" fmla="*/ 253546 w 565983"/>
                  <a:gd name="connsiteY121" fmla="*/ 440185 h 513321"/>
                  <a:gd name="connsiteX122" fmla="*/ 252366 w 565983"/>
                  <a:gd name="connsiteY122" fmla="*/ 435712 h 513321"/>
                  <a:gd name="connsiteX123" fmla="*/ 246082 w 565983"/>
                  <a:gd name="connsiteY123" fmla="*/ 429510 h 513321"/>
                  <a:gd name="connsiteX124" fmla="*/ 235296 w 565983"/>
                  <a:gd name="connsiteY124" fmla="*/ 423692 h 513321"/>
                  <a:gd name="connsiteX125" fmla="*/ 224484 w 565983"/>
                  <a:gd name="connsiteY125" fmla="*/ 422951 h 513321"/>
                  <a:gd name="connsiteX126" fmla="*/ 216526 w 565983"/>
                  <a:gd name="connsiteY126" fmla="*/ 419082 h 513321"/>
                  <a:gd name="connsiteX127" fmla="*/ 208045 w 565983"/>
                  <a:gd name="connsiteY127" fmla="*/ 402150 h 513321"/>
                  <a:gd name="connsiteX128" fmla="*/ 205164 w 565983"/>
                  <a:gd name="connsiteY128" fmla="*/ 391529 h 513321"/>
                  <a:gd name="connsiteX129" fmla="*/ 200032 w 565983"/>
                  <a:gd name="connsiteY129" fmla="*/ 387385 h 513321"/>
                  <a:gd name="connsiteX130" fmla="*/ 201623 w 565983"/>
                  <a:gd name="connsiteY130" fmla="*/ 382939 h 513321"/>
                  <a:gd name="connsiteX131" fmla="*/ 194900 w 565983"/>
                  <a:gd name="connsiteY131" fmla="*/ 378960 h 513321"/>
                  <a:gd name="connsiteX132" fmla="*/ 193418 w 565983"/>
                  <a:gd name="connsiteY132" fmla="*/ 369437 h 513321"/>
                  <a:gd name="connsiteX133" fmla="*/ 180657 w 565983"/>
                  <a:gd name="connsiteY133" fmla="*/ 353850 h 513321"/>
                  <a:gd name="connsiteX134" fmla="*/ 176706 w 565983"/>
                  <a:gd name="connsiteY134" fmla="*/ 344712 h 513321"/>
                  <a:gd name="connsiteX135" fmla="*/ 172424 w 565983"/>
                  <a:gd name="connsiteY135" fmla="*/ 344162 h 513321"/>
                  <a:gd name="connsiteX136" fmla="*/ 162655 w 565983"/>
                  <a:gd name="connsiteY136" fmla="*/ 348965 h 513321"/>
                  <a:gd name="connsiteX137" fmla="*/ 159059 w 565983"/>
                  <a:gd name="connsiteY137" fmla="*/ 345809 h 513321"/>
                  <a:gd name="connsiteX138" fmla="*/ 152967 w 565983"/>
                  <a:gd name="connsiteY138" fmla="*/ 344766 h 513321"/>
                  <a:gd name="connsiteX139" fmla="*/ 143692 w 565983"/>
                  <a:gd name="connsiteY139" fmla="*/ 338043 h 513321"/>
                  <a:gd name="connsiteX140" fmla="*/ 142320 w 565983"/>
                  <a:gd name="connsiteY140" fmla="*/ 339854 h 513321"/>
                  <a:gd name="connsiteX141" fmla="*/ 143499 w 565983"/>
                  <a:gd name="connsiteY141" fmla="*/ 345123 h 513321"/>
                  <a:gd name="connsiteX142" fmla="*/ 142375 w 565983"/>
                  <a:gd name="connsiteY142" fmla="*/ 348965 h 513321"/>
                  <a:gd name="connsiteX143" fmla="*/ 130409 w 565983"/>
                  <a:gd name="connsiteY143" fmla="*/ 351188 h 513321"/>
                  <a:gd name="connsiteX144" fmla="*/ 126841 w 565983"/>
                  <a:gd name="connsiteY144" fmla="*/ 342406 h 513321"/>
                  <a:gd name="connsiteX145" fmla="*/ 117511 w 565983"/>
                  <a:gd name="connsiteY145" fmla="*/ 333378 h 513321"/>
                  <a:gd name="connsiteX146" fmla="*/ 116359 w 565983"/>
                  <a:gd name="connsiteY146" fmla="*/ 317515 h 513321"/>
                  <a:gd name="connsiteX147" fmla="*/ 110650 w 565983"/>
                  <a:gd name="connsiteY147" fmla="*/ 315402 h 513321"/>
                  <a:gd name="connsiteX148" fmla="*/ 107137 w 565983"/>
                  <a:gd name="connsiteY148" fmla="*/ 314113 h 513321"/>
                  <a:gd name="connsiteX149" fmla="*/ 107137 w 565983"/>
                  <a:gd name="connsiteY149" fmla="*/ 303245 h 513321"/>
                  <a:gd name="connsiteX150" fmla="*/ 110650 w 565983"/>
                  <a:gd name="connsiteY150" fmla="*/ 290951 h 513321"/>
                  <a:gd name="connsiteX151" fmla="*/ 111309 w 565983"/>
                  <a:gd name="connsiteY151" fmla="*/ 288645 h 513321"/>
                  <a:gd name="connsiteX152" fmla="*/ 110650 w 565983"/>
                  <a:gd name="connsiteY152" fmla="*/ 287520 h 513321"/>
                  <a:gd name="connsiteX153" fmla="*/ 99317 w 565983"/>
                  <a:gd name="connsiteY153" fmla="*/ 267542 h 513321"/>
                  <a:gd name="connsiteX154" fmla="*/ 91275 w 565983"/>
                  <a:gd name="connsiteY154" fmla="*/ 264825 h 513321"/>
                  <a:gd name="connsiteX155" fmla="*/ 72505 w 565983"/>
                  <a:gd name="connsiteY155" fmla="*/ 250801 h 513321"/>
                  <a:gd name="connsiteX156" fmla="*/ 61774 w 565983"/>
                  <a:gd name="connsiteY156" fmla="*/ 247646 h 513321"/>
                  <a:gd name="connsiteX157" fmla="*/ 61664 w 565983"/>
                  <a:gd name="connsiteY157" fmla="*/ 236257 h 513321"/>
                  <a:gd name="connsiteX158" fmla="*/ 54694 w 565983"/>
                  <a:gd name="connsiteY158" fmla="*/ 225883 h 513321"/>
                  <a:gd name="connsiteX159" fmla="*/ 49452 w 565983"/>
                  <a:gd name="connsiteY159" fmla="*/ 223386 h 513321"/>
                  <a:gd name="connsiteX160" fmla="*/ 47229 w 565983"/>
                  <a:gd name="connsiteY160" fmla="*/ 220450 h 513321"/>
                  <a:gd name="connsiteX161" fmla="*/ 41494 w 565983"/>
                  <a:gd name="connsiteY161" fmla="*/ 212875 h 513321"/>
                  <a:gd name="connsiteX162" fmla="*/ 44650 w 565983"/>
                  <a:gd name="connsiteY162" fmla="*/ 203517 h 513321"/>
                  <a:gd name="connsiteX163" fmla="*/ 42235 w 565983"/>
                  <a:gd name="connsiteY163" fmla="*/ 194598 h 513321"/>
                  <a:gd name="connsiteX164" fmla="*/ 44348 w 565983"/>
                  <a:gd name="connsiteY164" fmla="*/ 191662 h 513321"/>
                  <a:gd name="connsiteX165" fmla="*/ 47229 w 565983"/>
                  <a:gd name="connsiteY165" fmla="*/ 191388 h 513321"/>
                  <a:gd name="connsiteX166" fmla="*/ 48794 w 565983"/>
                  <a:gd name="connsiteY166" fmla="*/ 191223 h 513321"/>
                  <a:gd name="connsiteX167" fmla="*/ 48355 w 565983"/>
                  <a:gd name="connsiteY167" fmla="*/ 184719 h 513321"/>
                  <a:gd name="connsiteX168" fmla="*/ 54804 w 565983"/>
                  <a:gd name="connsiteY168" fmla="*/ 174455 h 513321"/>
                  <a:gd name="connsiteX169" fmla="*/ 61719 w 565983"/>
                  <a:gd name="connsiteY169" fmla="*/ 171875 h 513321"/>
                  <a:gd name="connsiteX170" fmla="*/ 57768 w 565983"/>
                  <a:gd name="connsiteY170" fmla="*/ 154010 h 513321"/>
                  <a:gd name="connsiteX171" fmla="*/ 65013 w 565983"/>
                  <a:gd name="connsiteY171" fmla="*/ 147314 h 513321"/>
                  <a:gd name="connsiteX172" fmla="*/ 59853 w 565983"/>
                  <a:gd name="connsiteY172" fmla="*/ 145228 h 513321"/>
                  <a:gd name="connsiteX173" fmla="*/ 50852 w 565983"/>
                  <a:gd name="connsiteY173" fmla="*/ 146107 h 513321"/>
                  <a:gd name="connsiteX174" fmla="*/ 47202 w 565983"/>
                  <a:gd name="connsiteY174" fmla="*/ 142896 h 513321"/>
                  <a:gd name="connsiteX175" fmla="*/ 44979 w 565983"/>
                  <a:gd name="connsiteY175" fmla="*/ 140947 h 513321"/>
                  <a:gd name="connsiteX176" fmla="*/ 39189 w 565983"/>
                  <a:gd name="connsiteY176" fmla="*/ 139438 h 513321"/>
                  <a:gd name="connsiteX177" fmla="*/ 35429 w 565983"/>
                  <a:gd name="connsiteY177" fmla="*/ 126156 h 513321"/>
                  <a:gd name="connsiteX178" fmla="*/ 29227 w 565983"/>
                  <a:gd name="connsiteY178" fmla="*/ 121737 h 513321"/>
                  <a:gd name="connsiteX179" fmla="*/ 29062 w 565983"/>
                  <a:gd name="connsiteY179" fmla="*/ 114931 h 513321"/>
                  <a:gd name="connsiteX180" fmla="*/ 24287 w 565983"/>
                  <a:gd name="connsiteY180" fmla="*/ 110047 h 513321"/>
                  <a:gd name="connsiteX181" fmla="*/ 24370 w 565983"/>
                  <a:gd name="connsiteY181" fmla="*/ 103817 h 513321"/>
                  <a:gd name="connsiteX182" fmla="*/ 21872 w 565983"/>
                  <a:gd name="connsiteY182" fmla="*/ 96736 h 513321"/>
                  <a:gd name="connsiteX183" fmla="*/ 22009 w 565983"/>
                  <a:gd name="connsiteY183" fmla="*/ 91797 h 513321"/>
                  <a:gd name="connsiteX184" fmla="*/ 16274 w 565983"/>
                  <a:gd name="connsiteY184" fmla="*/ 86171 h 513321"/>
                  <a:gd name="connsiteX185" fmla="*/ 15945 w 565983"/>
                  <a:gd name="connsiteY185" fmla="*/ 76978 h 513321"/>
                  <a:gd name="connsiteX186" fmla="*/ 12158 w 565983"/>
                  <a:gd name="connsiteY186" fmla="*/ 73300 h 513321"/>
                  <a:gd name="connsiteX187" fmla="*/ 5544 w 565983"/>
                  <a:gd name="connsiteY187" fmla="*/ 69266 h 513321"/>
                  <a:gd name="connsiteX188" fmla="*/ 11993 w 565983"/>
                  <a:gd name="connsiteY188" fmla="*/ 53816 h 513321"/>
                  <a:gd name="connsiteX189" fmla="*/ 7876 w 565983"/>
                  <a:gd name="connsiteY189" fmla="*/ 50687 h 513321"/>
                  <a:gd name="connsiteX190" fmla="*/ 7026 w 565983"/>
                  <a:gd name="connsiteY190" fmla="*/ 35155 h 513321"/>
                  <a:gd name="connsiteX191" fmla="*/ 3705 w 565983"/>
                  <a:gd name="connsiteY191" fmla="*/ 29172 h 513321"/>
                  <a:gd name="connsiteX192" fmla="*/ 4364 w 565983"/>
                  <a:gd name="connsiteY192" fmla="*/ 22997 h 513321"/>
                  <a:gd name="connsiteX193" fmla="*/ 1071 w 565983"/>
                  <a:gd name="connsiteY193" fmla="*/ 16877 h 513321"/>
                  <a:gd name="connsiteX194" fmla="*/ 0 w 565983"/>
                  <a:gd name="connsiteY194" fmla="*/ 14874 h 513321"/>
                  <a:gd name="connsiteX195" fmla="*/ 1071 w 565983"/>
                  <a:gd name="connsiteY195" fmla="*/ 14600 h 513321"/>
                  <a:gd name="connsiteX196" fmla="*/ 10346 w 565983"/>
                  <a:gd name="connsiteY196" fmla="*/ 12240 h 513321"/>
                  <a:gd name="connsiteX197" fmla="*/ 13310 w 565983"/>
                  <a:gd name="connsiteY197" fmla="*/ 1372 h 513321"/>
                  <a:gd name="connsiteX198" fmla="*/ 16274 w 565983"/>
                  <a:gd name="connsiteY198" fmla="*/ 0 h 513321"/>
                  <a:gd name="connsiteX199" fmla="*/ 17454 w 565983"/>
                  <a:gd name="connsiteY199" fmla="*/ 137 h 513321"/>
                  <a:gd name="connsiteX200" fmla="*/ 22421 w 565983"/>
                  <a:gd name="connsiteY200" fmla="*/ 4638 h 513321"/>
                  <a:gd name="connsiteX201" fmla="*/ 32877 w 565983"/>
                  <a:gd name="connsiteY201" fmla="*/ 20363 h 513321"/>
                  <a:gd name="connsiteX202" fmla="*/ 37899 w 565983"/>
                  <a:gd name="connsiteY202" fmla="*/ 22531 h 513321"/>
                  <a:gd name="connsiteX203" fmla="*/ 42318 w 565983"/>
                  <a:gd name="connsiteY203" fmla="*/ 29172 h 513321"/>
                  <a:gd name="connsiteX204" fmla="*/ 47229 w 565983"/>
                  <a:gd name="connsiteY204" fmla="*/ 30544 h 513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565983" h="513321">
                    <a:moveTo>
                      <a:pt x="47093" y="30407"/>
                    </a:moveTo>
                    <a:lnTo>
                      <a:pt x="61363" y="34386"/>
                    </a:lnTo>
                    <a:lnTo>
                      <a:pt x="67208" y="32136"/>
                    </a:lnTo>
                    <a:lnTo>
                      <a:pt x="73273" y="33124"/>
                    </a:lnTo>
                    <a:lnTo>
                      <a:pt x="81643" y="24315"/>
                    </a:lnTo>
                    <a:lnTo>
                      <a:pt x="110485" y="3952"/>
                    </a:lnTo>
                    <a:lnTo>
                      <a:pt x="116633" y="2690"/>
                    </a:lnTo>
                    <a:lnTo>
                      <a:pt x="126155" y="13859"/>
                    </a:lnTo>
                    <a:lnTo>
                      <a:pt x="120338" y="19210"/>
                    </a:lnTo>
                    <a:lnTo>
                      <a:pt x="125497" y="27718"/>
                    </a:lnTo>
                    <a:lnTo>
                      <a:pt x="117758" y="31477"/>
                    </a:lnTo>
                    <a:lnTo>
                      <a:pt x="117291" y="34743"/>
                    </a:lnTo>
                    <a:lnTo>
                      <a:pt x="135212" y="50632"/>
                    </a:lnTo>
                    <a:lnTo>
                      <a:pt x="142100" y="49590"/>
                    </a:lnTo>
                    <a:lnTo>
                      <a:pt x="143143" y="66110"/>
                    </a:lnTo>
                    <a:lnTo>
                      <a:pt x="145503" y="74974"/>
                    </a:lnTo>
                    <a:lnTo>
                      <a:pt x="148961" y="79914"/>
                    </a:lnTo>
                    <a:lnTo>
                      <a:pt x="157880" y="84964"/>
                    </a:lnTo>
                    <a:lnTo>
                      <a:pt x="172342" y="86089"/>
                    </a:lnTo>
                    <a:lnTo>
                      <a:pt x="180054" y="88970"/>
                    </a:lnTo>
                    <a:lnTo>
                      <a:pt x="184033" y="97231"/>
                    </a:lnTo>
                    <a:lnTo>
                      <a:pt x="188149" y="101320"/>
                    </a:lnTo>
                    <a:lnTo>
                      <a:pt x="208073" y="113367"/>
                    </a:lnTo>
                    <a:lnTo>
                      <a:pt x="230878" y="118444"/>
                    </a:lnTo>
                    <a:lnTo>
                      <a:pt x="276818" y="107632"/>
                    </a:lnTo>
                    <a:lnTo>
                      <a:pt x="291033" y="110431"/>
                    </a:lnTo>
                    <a:lnTo>
                      <a:pt x="292844" y="109141"/>
                    </a:lnTo>
                    <a:lnTo>
                      <a:pt x="293229" y="105436"/>
                    </a:lnTo>
                    <a:lnTo>
                      <a:pt x="289771" y="90672"/>
                    </a:lnTo>
                    <a:lnTo>
                      <a:pt x="300034" y="91303"/>
                    </a:lnTo>
                    <a:lnTo>
                      <a:pt x="312960" y="86253"/>
                    </a:lnTo>
                    <a:lnTo>
                      <a:pt x="315869" y="83344"/>
                    </a:lnTo>
                    <a:lnTo>
                      <a:pt x="317515" y="75962"/>
                    </a:lnTo>
                    <a:lnTo>
                      <a:pt x="325968" y="68114"/>
                    </a:lnTo>
                    <a:lnTo>
                      <a:pt x="335573" y="63146"/>
                    </a:lnTo>
                    <a:lnTo>
                      <a:pt x="344904" y="61720"/>
                    </a:lnTo>
                    <a:lnTo>
                      <a:pt x="359888" y="63201"/>
                    </a:lnTo>
                    <a:lnTo>
                      <a:pt x="362302" y="58152"/>
                    </a:lnTo>
                    <a:lnTo>
                      <a:pt x="366117" y="56395"/>
                    </a:lnTo>
                    <a:lnTo>
                      <a:pt x="382363" y="58564"/>
                    </a:lnTo>
                    <a:lnTo>
                      <a:pt x="387193" y="56121"/>
                    </a:lnTo>
                    <a:lnTo>
                      <a:pt x="394329" y="68470"/>
                    </a:lnTo>
                    <a:lnTo>
                      <a:pt x="415597" y="74425"/>
                    </a:lnTo>
                    <a:lnTo>
                      <a:pt x="419164" y="78597"/>
                    </a:lnTo>
                    <a:lnTo>
                      <a:pt x="434889" y="78130"/>
                    </a:lnTo>
                    <a:lnTo>
                      <a:pt x="449791" y="84003"/>
                    </a:lnTo>
                    <a:lnTo>
                      <a:pt x="452205" y="92373"/>
                    </a:lnTo>
                    <a:lnTo>
                      <a:pt x="456075" y="97587"/>
                    </a:lnTo>
                    <a:lnTo>
                      <a:pt x="469906" y="102637"/>
                    </a:lnTo>
                    <a:lnTo>
                      <a:pt x="479621" y="116441"/>
                    </a:lnTo>
                    <a:lnTo>
                      <a:pt x="501246" y="116386"/>
                    </a:lnTo>
                    <a:lnTo>
                      <a:pt x="503579" y="120145"/>
                    </a:lnTo>
                    <a:lnTo>
                      <a:pt x="502755" y="126567"/>
                    </a:lnTo>
                    <a:lnTo>
                      <a:pt x="504677" y="134224"/>
                    </a:lnTo>
                    <a:lnTo>
                      <a:pt x="503085" y="140975"/>
                    </a:lnTo>
                    <a:lnTo>
                      <a:pt x="505692" y="145146"/>
                    </a:lnTo>
                    <a:lnTo>
                      <a:pt x="506433" y="154120"/>
                    </a:lnTo>
                    <a:lnTo>
                      <a:pt x="503716" y="164576"/>
                    </a:lnTo>
                    <a:lnTo>
                      <a:pt x="501548" y="167100"/>
                    </a:lnTo>
                    <a:lnTo>
                      <a:pt x="501960" y="173659"/>
                    </a:lnTo>
                    <a:lnTo>
                      <a:pt x="498063" y="188122"/>
                    </a:lnTo>
                    <a:lnTo>
                      <a:pt x="491504" y="193116"/>
                    </a:lnTo>
                    <a:lnTo>
                      <a:pt x="494496" y="199977"/>
                    </a:lnTo>
                    <a:lnTo>
                      <a:pt x="488485" y="201569"/>
                    </a:lnTo>
                    <a:lnTo>
                      <a:pt x="483408" y="209555"/>
                    </a:lnTo>
                    <a:lnTo>
                      <a:pt x="487662" y="226432"/>
                    </a:lnTo>
                    <a:lnTo>
                      <a:pt x="494770" y="228381"/>
                    </a:lnTo>
                    <a:lnTo>
                      <a:pt x="486509" y="242404"/>
                    </a:lnTo>
                    <a:lnTo>
                      <a:pt x="494577" y="273387"/>
                    </a:lnTo>
                    <a:lnTo>
                      <a:pt x="492959" y="283760"/>
                    </a:lnTo>
                    <a:lnTo>
                      <a:pt x="494276" y="298388"/>
                    </a:lnTo>
                    <a:lnTo>
                      <a:pt x="519441" y="303931"/>
                    </a:lnTo>
                    <a:lnTo>
                      <a:pt x="522651" y="313618"/>
                    </a:lnTo>
                    <a:lnTo>
                      <a:pt x="521526" y="318668"/>
                    </a:lnTo>
                    <a:lnTo>
                      <a:pt x="520978" y="322922"/>
                    </a:lnTo>
                    <a:lnTo>
                      <a:pt x="494605" y="355222"/>
                    </a:lnTo>
                    <a:lnTo>
                      <a:pt x="508491" y="371798"/>
                    </a:lnTo>
                    <a:lnTo>
                      <a:pt x="513596" y="384421"/>
                    </a:lnTo>
                    <a:lnTo>
                      <a:pt x="521801" y="395892"/>
                    </a:lnTo>
                    <a:lnTo>
                      <a:pt x="529485" y="400695"/>
                    </a:lnTo>
                    <a:lnTo>
                      <a:pt x="539941" y="403823"/>
                    </a:lnTo>
                    <a:lnTo>
                      <a:pt x="545292" y="408708"/>
                    </a:lnTo>
                    <a:lnTo>
                      <a:pt x="550644" y="408983"/>
                    </a:lnTo>
                    <a:lnTo>
                      <a:pt x="552812" y="434121"/>
                    </a:lnTo>
                    <a:lnTo>
                      <a:pt x="551521" y="442875"/>
                    </a:lnTo>
                    <a:lnTo>
                      <a:pt x="555419" y="444192"/>
                    </a:lnTo>
                    <a:lnTo>
                      <a:pt x="562526" y="443122"/>
                    </a:lnTo>
                    <a:lnTo>
                      <a:pt x="565984" y="445647"/>
                    </a:lnTo>
                    <a:lnTo>
                      <a:pt x="565024" y="454429"/>
                    </a:lnTo>
                    <a:lnTo>
                      <a:pt x="561731" y="462112"/>
                    </a:lnTo>
                    <a:lnTo>
                      <a:pt x="551110" y="462442"/>
                    </a:lnTo>
                    <a:lnTo>
                      <a:pt x="539255" y="465625"/>
                    </a:lnTo>
                    <a:lnTo>
                      <a:pt x="536373" y="467491"/>
                    </a:lnTo>
                    <a:lnTo>
                      <a:pt x="535523" y="471498"/>
                    </a:lnTo>
                    <a:lnTo>
                      <a:pt x="524106" y="475999"/>
                    </a:lnTo>
                    <a:lnTo>
                      <a:pt x="518233" y="497377"/>
                    </a:lnTo>
                    <a:lnTo>
                      <a:pt x="516368" y="509973"/>
                    </a:lnTo>
                    <a:lnTo>
                      <a:pt x="508354" y="513321"/>
                    </a:lnTo>
                    <a:lnTo>
                      <a:pt x="489116" y="507201"/>
                    </a:lnTo>
                    <a:lnTo>
                      <a:pt x="484726" y="502838"/>
                    </a:lnTo>
                    <a:lnTo>
                      <a:pt x="479210" y="504869"/>
                    </a:lnTo>
                    <a:lnTo>
                      <a:pt x="465076" y="504292"/>
                    </a:lnTo>
                    <a:lnTo>
                      <a:pt x="446415" y="500423"/>
                    </a:lnTo>
                    <a:lnTo>
                      <a:pt x="441393" y="502152"/>
                    </a:lnTo>
                    <a:lnTo>
                      <a:pt x="432913" y="497871"/>
                    </a:lnTo>
                    <a:lnTo>
                      <a:pt x="412660" y="497185"/>
                    </a:lnTo>
                    <a:lnTo>
                      <a:pt x="407391" y="493782"/>
                    </a:lnTo>
                    <a:lnTo>
                      <a:pt x="391227" y="490186"/>
                    </a:lnTo>
                    <a:lnTo>
                      <a:pt x="383214" y="471031"/>
                    </a:lnTo>
                    <a:lnTo>
                      <a:pt x="380909" y="457200"/>
                    </a:lnTo>
                    <a:lnTo>
                      <a:pt x="371990" y="446113"/>
                    </a:lnTo>
                    <a:lnTo>
                      <a:pt x="362220" y="444878"/>
                    </a:lnTo>
                    <a:lnTo>
                      <a:pt x="355332" y="446333"/>
                    </a:lnTo>
                    <a:lnTo>
                      <a:pt x="340952" y="452096"/>
                    </a:lnTo>
                    <a:lnTo>
                      <a:pt x="336039" y="457886"/>
                    </a:lnTo>
                    <a:lnTo>
                      <a:pt x="328904" y="458819"/>
                    </a:lnTo>
                    <a:lnTo>
                      <a:pt x="314469" y="466805"/>
                    </a:lnTo>
                    <a:lnTo>
                      <a:pt x="300309" y="460356"/>
                    </a:lnTo>
                    <a:lnTo>
                      <a:pt x="283871" y="459752"/>
                    </a:lnTo>
                    <a:lnTo>
                      <a:pt x="275391" y="451602"/>
                    </a:lnTo>
                    <a:lnTo>
                      <a:pt x="261889" y="446058"/>
                    </a:lnTo>
                    <a:lnTo>
                      <a:pt x="253546" y="440185"/>
                    </a:lnTo>
                    <a:lnTo>
                      <a:pt x="252366" y="435712"/>
                    </a:lnTo>
                    <a:lnTo>
                      <a:pt x="246082" y="429510"/>
                    </a:lnTo>
                    <a:lnTo>
                      <a:pt x="235296" y="423692"/>
                    </a:lnTo>
                    <a:lnTo>
                      <a:pt x="224484" y="422951"/>
                    </a:lnTo>
                    <a:lnTo>
                      <a:pt x="216526" y="419082"/>
                    </a:lnTo>
                    <a:lnTo>
                      <a:pt x="208045" y="402150"/>
                    </a:lnTo>
                    <a:lnTo>
                      <a:pt x="205164" y="391529"/>
                    </a:lnTo>
                    <a:lnTo>
                      <a:pt x="200032" y="387385"/>
                    </a:lnTo>
                    <a:lnTo>
                      <a:pt x="201623" y="382939"/>
                    </a:lnTo>
                    <a:lnTo>
                      <a:pt x="194900" y="378960"/>
                    </a:lnTo>
                    <a:lnTo>
                      <a:pt x="193418" y="369437"/>
                    </a:lnTo>
                    <a:lnTo>
                      <a:pt x="180657" y="353850"/>
                    </a:lnTo>
                    <a:lnTo>
                      <a:pt x="176706" y="344712"/>
                    </a:lnTo>
                    <a:lnTo>
                      <a:pt x="172424" y="344162"/>
                    </a:lnTo>
                    <a:lnTo>
                      <a:pt x="162655" y="348965"/>
                    </a:lnTo>
                    <a:lnTo>
                      <a:pt x="159059" y="345809"/>
                    </a:lnTo>
                    <a:lnTo>
                      <a:pt x="152967" y="344766"/>
                    </a:lnTo>
                    <a:lnTo>
                      <a:pt x="143692" y="338043"/>
                    </a:lnTo>
                    <a:lnTo>
                      <a:pt x="142320" y="339854"/>
                    </a:lnTo>
                    <a:lnTo>
                      <a:pt x="143499" y="345123"/>
                    </a:lnTo>
                    <a:lnTo>
                      <a:pt x="142375" y="348965"/>
                    </a:lnTo>
                    <a:lnTo>
                      <a:pt x="130409" y="351188"/>
                    </a:lnTo>
                    <a:lnTo>
                      <a:pt x="126841" y="342406"/>
                    </a:lnTo>
                    <a:lnTo>
                      <a:pt x="117511" y="333378"/>
                    </a:lnTo>
                    <a:lnTo>
                      <a:pt x="116359" y="317515"/>
                    </a:lnTo>
                    <a:lnTo>
                      <a:pt x="110650" y="315402"/>
                    </a:lnTo>
                    <a:lnTo>
                      <a:pt x="107137" y="314113"/>
                    </a:lnTo>
                    <a:lnTo>
                      <a:pt x="107137" y="303245"/>
                    </a:lnTo>
                    <a:cubicBezTo>
                      <a:pt x="107137" y="303245"/>
                      <a:pt x="110650" y="290951"/>
                      <a:pt x="110650" y="290951"/>
                    </a:cubicBezTo>
                    <a:lnTo>
                      <a:pt x="111309" y="288645"/>
                    </a:lnTo>
                    <a:lnTo>
                      <a:pt x="110650" y="287520"/>
                    </a:lnTo>
                    <a:lnTo>
                      <a:pt x="99317" y="267542"/>
                    </a:lnTo>
                    <a:lnTo>
                      <a:pt x="91275" y="264825"/>
                    </a:lnTo>
                    <a:lnTo>
                      <a:pt x="72505" y="250801"/>
                    </a:lnTo>
                    <a:lnTo>
                      <a:pt x="61774" y="247646"/>
                    </a:lnTo>
                    <a:lnTo>
                      <a:pt x="61664" y="236257"/>
                    </a:lnTo>
                    <a:lnTo>
                      <a:pt x="54694" y="225883"/>
                    </a:lnTo>
                    <a:lnTo>
                      <a:pt x="49452" y="223386"/>
                    </a:lnTo>
                    <a:lnTo>
                      <a:pt x="47229" y="220450"/>
                    </a:lnTo>
                    <a:lnTo>
                      <a:pt x="41494" y="212875"/>
                    </a:lnTo>
                    <a:lnTo>
                      <a:pt x="44650" y="203517"/>
                    </a:lnTo>
                    <a:lnTo>
                      <a:pt x="42235" y="194598"/>
                    </a:lnTo>
                    <a:lnTo>
                      <a:pt x="44348" y="191662"/>
                    </a:lnTo>
                    <a:lnTo>
                      <a:pt x="47229" y="191388"/>
                    </a:lnTo>
                    <a:lnTo>
                      <a:pt x="48794" y="191223"/>
                    </a:lnTo>
                    <a:lnTo>
                      <a:pt x="48355" y="184719"/>
                    </a:lnTo>
                    <a:lnTo>
                      <a:pt x="54804" y="174455"/>
                    </a:lnTo>
                    <a:lnTo>
                      <a:pt x="61719" y="171875"/>
                    </a:lnTo>
                    <a:lnTo>
                      <a:pt x="57768" y="154010"/>
                    </a:lnTo>
                    <a:lnTo>
                      <a:pt x="65013" y="147314"/>
                    </a:lnTo>
                    <a:lnTo>
                      <a:pt x="59853" y="145228"/>
                    </a:lnTo>
                    <a:lnTo>
                      <a:pt x="50852" y="146107"/>
                    </a:lnTo>
                    <a:lnTo>
                      <a:pt x="47202" y="142896"/>
                    </a:lnTo>
                    <a:lnTo>
                      <a:pt x="44979" y="140947"/>
                    </a:lnTo>
                    <a:lnTo>
                      <a:pt x="39189" y="139438"/>
                    </a:lnTo>
                    <a:lnTo>
                      <a:pt x="35429" y="126156"/>
                    </a:lnTo>
                    <a:lnTo>
                      <a:pt x="29227" y="121737"/>
                    </a:lnTo>
                    <a:lnTo>
                      <a:pt x="29062" y="114931"/>
                    </a:lnTo>
                    <a:lnTo>
                      <a:pt x="24287" y="110047"/>
                    </a:lnTo>
                    <a:lnTo>
                      <a:pt x="24370" y="103817"/>
                    </a:lnTo>
                    <a:lnTo>
                      <a:pt x="21872" y="96736"/>
                    </a:lnTo>
                    <a:lnTo>
                      <a:pt x="22009" y="91797"/>
                    </a:lnTo>
                    <a:lnTo>
                      <a:pt x="16274" y="86171"/>
                    </a:lnTo>
                    <a:lnTo>
                      <a:pt x="15945" y="76978"/>
                    </a:lnTo>
                    <a:lnTo>
                      <a:pt x="12158" y="73300"/>
                    </a:lnTo>
                    <a:lnTo>
                      <a:pt x="5544" y="69266"/>
                    </a:lnTo>
                    <a:lnTo>
                      <a:pt x="11993" y="53816"/>
                    </a:lnTo>
                    <a:lnTo>
                      <a:pt x="7876" y="50687"/>
                    </a:lnTo>
                    <a:lnTo>
                      <a:pt x="7026" y="35155"/>
                    </a:lnTo>
                    <a:lnTo>
                      <a:pt x="3705" y="29172"/>
                    </a:lnTo>
                    <a:lnTo>
                      <a:pt x="4364" y="22997"/>
                    </a:lnTo>
                    <a:lnTo>
                      <a:pt x="1071" y="16877"/>
                    </a:lnTo>
                    <a:lnTo>
                      <a:pt x="0" y="14874"/>
                    </a:lnTo>
                    <a:lnTo>
                      <a:pt x="1071" y="14600"/>
                    </a:lnTo>
                    <a:lnTo>
                      <a:pt x="10346" y="12240"/>
                    </a:lnTo>
                    <a:lnTo>
                      <a:pt x="13310" y="1372"/>
                    </a:lnTo>
                    <a:lnTo>
                      <a:pt x="16274" y="0"/>
                    </a:lnTo>
                    <a:lnTo>
                      <a:pt x="17454" y="137"/>
                    </a:lnTo>
                    <a:lnTo>
                      <a:pt x="22421" y="4638"/>
                    </a:lnTo>
                    <a:lnTo>
                      <a:pt x="32877" y="20363"/>
                    </a:lnTo>
                    <a:lnTo>
                      <a:pt x="37899" y="22531"/>
                    </a:lnTo>
                    <a:lnTo>
                      <a:pt x="42318" y="29172"/>
                    </a:lnTo>
                    <a:lnTo>
                      <a:pt x="47229" y="305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9" name="Freeform: Shape 3858">
                <a:extLst>
                  <a:ext uri="{FF2B5EF4-FFF2-40B4-BE49-F238E27FC236}">
                    <a16:creationId xmlns:a16="http://schemas.microsoft.com/office/drawing/2014/main" id="{CB57593E-0B2C-D70E-712E-814A7E995137}"/>
                  </a:ext>
                </a:extLst>
              </p:cNvPr>
              <p:cNvSpPr/>
              <p:nvPr/>
            </p:nvSpPr>
            <p:spPr>
              <a:xfrm>
                <a:off x="1534925" y="3758409"/>
                <a:ext cx="3031" cy="1526"/>
              </a:xfrm>
              <a:custGeom>
                <a:avLst/>
                <a:gdLst>
                  <a:gd name="connsiteX0" fmla="*/ 26208 w 29061"/>
                  <a:gd name="connsiteY0" fmla="*/ 2772 h 14626"/>
                  <a:gd name="connsiteX1" fmla="*/ 23491 w 29061"/>
                  <a:gd name="connsiteY1" fmla="*/ 6888 h 14626"/>
                  <a:gd name="connsiteX2" fmla="*/ 18716 w 29061"/>
                  <a:gd name="connsiteY2" fmla="*/ 10154 h 14626"/>
                  <a:gd name="connsiteX3" fmla="*/ 18359 w 29061"/>
                  <a:gd name="connsiteY3" fmla="*/ 11855 h 14626"/>
                  <a:gd name="connsiteX4" fmla="*/ 16822 w 29061"/>
                  <a:gd name="connsiteY4" fmla="*/ 11691 h 14626"/>
                  <a:gd name="connsiteX5" fmla="*/ 18359 w 29061"/>
                  <a:gd name="connsiteY5" fmla="*/ 8672 h 14626"/>
                  <a:gd name="connsiteX6" fmla="*/ 17234 w 29061"/>
                  <a:gd name="connsiteY6" fmla="*/ 8205 h 14626"/>
                  <a:gd name="connsiteX7" fmla="*/ 14408 w 29061"/>
                  <a:gd name="connsiteY7" fmla="*/ 9934 h 14626"/>
                  <a:gd name="connsiteX8" fmla="*/ 12322 w 29061"/>
                  <a:gd name="connsiteY8" fmla="*/ 9934 h 14626"/>
                  <a:gd name="connsiteX9" fmla="*/ 10483 w 29061"/>
                  <a:gd name="connsiteY9" fmla="*/ 11224 h 14626"/>
                  <a:gd name="connsiteX10" fmla="*/ 796 w 29061"/>
                  <a:gd name="connsiteY10" fmla="*/ 14627 h 14626"/>
                  <a:gd name="connsiteX11" fmla="*/ 0 w 29061"/>
                  <a:gd name="connsiteY11" fmla="*/ 11005 h 14626"/>
                  <a:gd name="connsiteX12" fmla="*/ 2525 w 29061"/>
                  <a:gd name="connsiteY12" fmla="*/ 11224 h 14626"/>
                  <a:gd name="connsiteX13" fmla="*/ 9852 w 29061"/>
                  <a:gd name="connsiteY13" fmla="*/ 8178 h 14626"/>
                  <a:gd name="connsiteX14" fmla="*/ 10977 w 29061"/>
                  <a:gd name="connsiteY14" fmla="*/ 6394 h 14626"/>
                  <a:gd name="connsiteX15" fmla="*/ 10895 w 29061"/>
                  <a:gd name="connsiteY15" fmla="*/ 4062 h 14626"/>
                  <a:gd name="connsiteX16" fmla="*/ 12075 w 29061"/>
                  <a:gd name="connsiteY16" fmla="*/ 2415 h 14626"/>
                  <a:gd name="connsiteX17" fmla="*/ 14984 w 29061"/>
                  <a:gd name="connsiteY17" fmla="*/ 1509 h 14626"/>
                  <a:gd name="connsiteX18" fmla="*/ 17756 w 29061"/>
                  <a:gd name="connsiteY18" fmla="*/ 3101 h 14626"/>
                  <a:gd name="connsiteX19" fmla="*/ 24068 w 29061"/>
                  <a:gd name="connsiteY19" fmla="*/ 384 h 14626"/>
                  <a:gd name="connsiteX20" fmla="*/ 27251 w 29061"/>
                  <a:gd name="connsiteY20" fmla="*/ 0 h 14626"/>
                  <a:gd name="connsiteX21" fmla="*/ 29062 w 29061"/>
                  <a:gd name="connsiteY21" fmla="*/ 2113 h 14626"/>
                  <a:gd name="connsiteX22" fmla="*/ 26208 w 29061"/>
                  <a:gd name="connsiteY22" fmla="*/ 2744 h 1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061" h="14626">
                    <a:moveTo>
                      <a:pt x="26208" y="2772"/>
                    </a:moveTo>
                    <a:lnTo>
                      <a:pt x="23491" y="6888"/>
                    </a:lnTo>
                    <a:lnTo>
                      <a:pt x="18716" y="10154"/>
                    </a:lnTo>
                    <a:lnTo>
                      <a:pt x="18359" y="11855"/>
                    </a:lnTo>
                    <a:lnTo>
                      <a:pt x="16822" y="11691"/>
                    </a:lnTo>
                    <a:lnTo>
                      <a:pt x="18359" y="8672"/>
                    </a:lnTo>
                    <a:lnTo>
                      <a:pt x="17234" y="8205"/>
                    </a:lnTo>
                    <a:lnTo>
                      <a:pt x="14408" y="9934"/>
                    </a:lnTo>
                    <a:lnTo>
                      <a:pt x="12322" y="9934"/>
                    </a:lnTo>
                    <a:lnTo>
                      <a:pt x="10483" y="11224"/>
                    </a:lnTo>
                    <a:lnTo>
                      <a:pt x="796" y="14627"/>
                    </a:lnTo>
                    <a:lnTo>
                      <a:pt x="0" y="11005"/>
                    </a:lnTo>
                    <a:lnTo>
                      <a:pt x="2525" y="11224"/>
                    </a:lnTo>
                    <a:lnTo>
                      <a:pt x="9852" y="8178"/>
                    </a:lnTo>
                    <a:lnTo>
                      <a:pt x="10977" y="6394"/>
                    </a:lnTo>
                    <a:lnTo>
                      <a:pt x="10895" y="4062"/>
                    </a:lnTo>
                    <a:lnTo>
                      <a:pt x="12075" y="2415"/>
                    </a:lnTo>
                    <a:lnTo>
                      <a:pt x="14984" y="1509"/>
                    </a:lnTo>
                    <a:lnTo>
                      <a:pt x="17756" y="3101"/>
                    </a:lnTo>
                    <a:lnTo>
                      <a:pt x="24068" y="384"/>
                    </a:lnTo>
                    <a:lnTo>
                      <a:pt x="27251" y="0"/>
                    </a:lnTo>
                    <a:lnTo>
                      <a:pt x="29062" y="2113"/>
                    </a:lnTo>
                    <a:lnTo>
                      <a:pt x="26208"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0" name="Freeform: Shape 3859">
                <a:extLst>
                  <a:ext uri="{FF2B5EF4-FFF2-40B4-BE49-F238E27FC236}">
                    <a16:creationId xmlns:a16="http://schemas.microsoft.com/office/drawing/2014/main" id="{8FB645F7-40BD-5AE4-1D6E-63C21C45B76B}"/>
                  </a:ext>
                </a:extLst>
              </p:cNvPr>
              <p:cNvSpPr/>
              <p:nvPr/>
            </p:nvSpPr>
            <p:spPr>
              <a:xfrm>
                <a:off x="1532412" y="3760613"/>
                <a:ext cx="358" cy="452"/>
              </a:xfrm>
              <a:custGeom>
                <a:avLst/>
                <a:gdLst>
                  <a:gd name="connsiteX0" fmla="*/ 3430 w 3430"/>
                  <a:gd name="connsiteY0" fmla="*/ 2415 h 4335"/>
                  <a:gd name="connsiteX1" fmla="*/ 1646 w 3430"/>
                  <a:gd name="connsiteY1" fmla="*/ 4336 h 4335"/>
                  <a:gd name="connsiteX2" fmla="*/ 0 w 3430"/>
                  <a:gd name="connsiteY2" fmla="*/ 1345 h 4335"/>
                  <a:gd name="connsiteX3" fmla="*/ 2387 w 3430"/>
                  <a:gd name="connsiteY3" fmla="*/ 0 h 4335"/>
                  <a:gd name="connsiteX4" fmla="*/ 3403 w 3430"/>
                  <a:gd name="connsiteY4" fmla="*/ 2388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4335">
                    <a:moveTo>
                      <a:pt x="3430" y="2415"/>
                    </a:moveTo>
                    <a:lnTo>
                      <a:pt x="1646" y="4336"/>
                    </a:lnTo>
                    <a:lnTo>
                      <a:pt x="0" y="1345"/>
                    </a:lnTo>
                    <a:lnTo>
                      <a:pt x="2387" y="0"/>
                    </a:lnTo>
                    <a:lnTo>
                      <a:pt x="3403"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1" name="Freeform: Shape 3860">
                <a:extLst>
                  <a:ext uri="{FF2B5EF4-FFF2-40B4-BE49-F238E27FC236}">
                    <a16:creationId xmlns:a16="http://schemas.microsoft.com/office/drawing/2014/main" id="{2D2F23E8-0445-239F-FE66-B6A595F73DB8}"/>
                  </a:ext>
                </a:extLst>
              </p:cNvPr>
              <p:cNvSpPr/>
              <p:nvPr/>
            </p:nvSpPr>
            <p:spPr>
              <a:xfrm>
                <a:off x="1530688" y="3759817"/>
                <a:ext cx="515" cy="306"/>
              </a:xfrm>
              <a:custGeom>
                <a:avLst/>
                <a:gdLst>
                  <a:gd name="connsiteX0" fmla="*/ 4940 w 4939"/>
                  <a:gd name="connsiteY0" fmla="*/ 2086 h 2936"/>
                  <a:gd name="connsiteX1" fmla="*/ 3348 w 4939"/>
                  <a:gd name="connsiteY1" fmla="*/ 2937 h 2936"/>
                  <a:gd name="connsiteX2" fmla="*/ 0 w 4939"/>
                  <a:gd name="connsiteY2" fmla="*/ 960 h 2936"/>
                  <a:gd name="connsiteX3" fmla="*/ 1674 w 4939"/>
                  <a:gd name="connsiteY3" fmla="*/ 0 h 2936"/>
                  <a:gd name="connsiteX4" fmla="*/ 4144 w 4939"/>
                  <a:gd name="connsiteY4" fmla="*/ 522 h 2936"/>
                  <a:gd name="connsiteX5" fmla="*/ 4940 w 4939"/>
                  <a:gd name="connsiteY5" fmla="*/ 2113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9" h="2936">
                    <a:moveTo>
                      <a:pt x="4940" y="2086"/>
                    </a:moveTo>
                    <a:lnTo>
                      <a:pt x="3348" y="2937"/>
                    </a:lnTo>
                    <a:lnTo>
                      <a:pt x="0" y="960"/>
                    </a:lnTo>
                    <a:lnTo>
                      <a:pt x="1674" y="0"/>
                    </a:lnTo>
                    <a:lnTo>
                      <a:pt x="4144" y="522"/>
                    </a:lnTo>
                    <a:lnTo>
                      <a:pt x="4940"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2" name="Freeform: Shape 3861">
                <a:extLst>
                  <a:ext uri="{FF2B5EF4-FFF2-40B4-BE49-F238E27FC236}">
                    <a16:creationId xmlns:a16="http://schemas.microsoft.com/office/drawing/2014/main" id="{A4AFB5E8-E3A4-5412-C1F7-2D3678473146}"/>
                  </a:ext>
                </a:extLst>
              </p:cNvPr>
              <p:cNvSpPr/>
              <p:nvPr/>
            </p:nvSpPr>
            <p:spPr>
              <a:xfrm>
                <a:off x="1538385" y="3757951"/>
                <a:ext cx="375" cy="369"/>
              </a:xfrm>
              <a:custGeom>
                <a:avLst/>
                <a:gdLst>
                  <a:gd name="connsiteX0" fmla="*/ 3294 w 3595"/>
                  <a:gd name="connsiteY0" fmla="*/ 3101 h 3540"/>
                  <a:gd name="connsiteX1" fmla="*/ 1400 w 3595"/>
                  <a:gd name="connsiteY1" fmla="*/ 3540 h 3540"/>
                  <a:gd name="connsiteX2" fmla="*/ 0 w 3595"/>
                  <a:gd name="connsiteY2" fmla="*/ 2278 h 3540"/>
                  <a:gd name="connsiteX3" fmla="*/ 1372 w 3595"/>
                  <a:gd name="connsiteY3" fmla="*/ 0 h 3540"/>
                  <a:gd name="connsiteX4" fmla="*/ 3595 w 3595"/>
                  <a:gd name="connsiteY4" fmla="*/ 1509 h 3540"/>
                  <a:gd name="connsiteX5" fmla="*/ 3294 w 3595"/>
                  <a:gd name="connsiteY5" fmla="*/ 3129 h 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5" h="3540">
                    <a:moveTo>
                      <a:pt x="3294" y="3101"/>
                    </a:moveTo>
                    <a:lnTo>
                      <a:pt x="1400" y="3540"/>
                    </a:lnTo>
                    <a:lnTo>
                      <a:pt x="0" y="2278"/>
                    </a:lnTo>
                    <a:lnTo>
                      <a:pt x="1372" y="0"/>
                    </a:lnTo>
                    <a:lnTo>
                      <a:pt x="3595" y="1509"/>
                    </a:lnTo>
                    <a:lnTo>
                      <a:pt x="3294" y="31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3" name="Freeform: Shape 3862">
                <a:extLst>
                  <a:ext uri="{FF2B5EF4-FFF2-40B4-BE49-F238E27FC236}">
                    <a16:creationId xmlns:a16="http://schemas.microsoft.com/office/drawing/2014/main" id="{E85DCE97-C7D1-57F8-2970-3BAE1951CBC1}"/>
                  </a:ext>
                </a:extLst>
              </p:cNvPr>
              <p:cNvSpPr/>
              <p:nvPr/>
            </p:nvSpPr>
            <p:spPr>
              <a:xfrm>
                <a:off x="1538050" y="3758698"/>
                <a:ext cx="395" cy="335"/>
              </a:xfrm>
              <a:custGeom>
                <a:avLst/>
                <a:gdLst>
                  <a:gd name="connsiteX0" fmla="*/ 3787 w 3786"/>
                  <a:gd name="connsiteY0" fmla="*/ 1893 h 3210"/>
                  <a:gd name="connsiteX1" fmla="*/ 1674 w 3786"/>
                  <a:gd name="connsiteY1" fmla="*/ 3211 h 3210"/>
                  <a:gd name="connsiteX2" fmla="*/ 0 w 3786"/>
                  <a:gd name="connsiteY2" fmla="*/ 2250 h 3210"/>
                  <a:gd name="connsiteX3" fmla="*/ 1702 w 3786"/>
                  <a:gd name="connsiteY3" fmla="*/ 0 h 3210"/>
                  <a:gd name="connsiteX4" fmla="*/ 3787 w 3786"/>
                  <a:gd name="connsiteY4" fmla="*/ 247 h 3210"/>
                  <a:gd name="connsiteX5" fmla="*/ 3787 w 3786"/>
                  <a:gd name="connsiteY5" fmla="*/ 1921 h 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6" h="3210">
                    <a:moveTo>
                      <a:pt x="3787" y="1893"/>
                    </a:moveTo>
                    <a:lnTo>
                      <a:pt x="1674" y="3211"/>
                    </a:lnTo>
                    <a:lnTo>
                      <a:pt x="0" y="2250"/>
                    </a:lnTo>
                    <a:lnTo>
                      <a:pt x="1702" y="0"/>
                    </a:lnTo>
                    <a:lnTo>
                      <a:pt x="3787" y="247"/>
                    </a:lnTo>
                    <a:lnTo>
                      <a:pt x="3787" y="19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4" name="Freeform: Shape 3863">
                <a:extLst>
                  <a:ext uri="{FF2B5EF4-FFF2-40B4-BE49-F238E27FC236}">
                    <a16:creationId xmlns:a16="http://schemas.microsoft.com/office/drawing/2014/main" id="{21F004DE-79F8-6902-085B-6E3ED77890F9}"/>
                  </a:ext>
                </a:extLst>
              </p:cNvPr>
              <p:cNvSpPr/>
              <p:nvPr/>
            </p:nvSpPr>
            <p:spPr>
              <a:xfrm>
                <a:off x="1528559" y="3758887"/>
                <a:ext cx="398" cy="315"/>
              </a:xfrm>
              <a:custGeom>
                <a:avLst/>
                <a:gdLst>
                  <a:gd name="connsiteX0" fmla="*/ 3814 w 3814"/>
                  <a:gd name="connsiteY0" fmla="*/ 0 h 3018"/>
                  <a:gd name="connsiteX1" fmla="*/ 3814 w 3814"/>
                  <a:gd name="connsiteY1" fmla="*/ 3019 h 3018"/>
                  <a:gd name="connsiteX2" fmla="*/ 0 w 3814"/>
                  <a:gd name="connsiteY2" fmla="*/ 1455 h 3018"/>
                  <a:gd name="connsiteX3" fmla="*/ 411 w 3814"/>
                  <a:gd name="connsiteY3" fmla="*/ 192 h 3018"/>
                  <a:gd name="connsiteX4" fmla="*/ 3814 w 3814"/>
                  <a:gd name="connsiteY4" fmla="*/ 0 h 3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3018">
                    <a:moveTo>
                      <a:pt x="3814" y="0"/>
                    </a:moveTo>
                    <a:lnTo>
                      <a:pt x="3814" y="3019"/>
                    </a:lnTo>
                    <a:lnTo>
                      <a:pt x="0" y="1455"/>
                    </a:lnTo>
                    <a:lnTo>
                      <a:pt x="411" y="192"/>
                    </a:lnTo>
                    <a:lnTo>
                      <a:pt x="381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6" name="Freeform: Shape 3875">
                <a:extLst>
                  <a:ext uri="{FF2B5EF4-FFF2-40B4-BE49-F238E27FC236}">
                    <a16:creationId xmlns:a16="http://schemas.microsoft.com/office/drawing/2014/main" id="{FB9BD8E3-73F5-669B-F735-83C680B6118D}"/>
                  </a:ext>
                </a:extLst>
              </p:cNvPr>
              <p:cNvSpPr/>
              <p:nvPr/>
            </p:nvSpPr>
            <p:spPr>
              <a:xfrm>
                <a:off x="1508202" y="3747544"/>
                <a:ext cx="5768" cy="5533"/>
              </a:xfrm>
              <a:custGeom>
                <a:avLst/>
                <a:gdLst>
                  <a:gd name="connsiteX0" fmla="*/ 41357 w 55298"/>
                  <a:gd name="connsiteY0" fmla="*/ 3348 h 53047"/>
                  <a:gd name="connsiteX1" fmla="*/ 42975 w 55298"/>
                  <a:gd name="connsiteY1" fmla="*/ 4062 h 53047"/>
                  <a:gd name="connsiteX2" fmla="*/ 45171 w 55298"/>
                  <a:gd name="connsiteY2" fmla="*/ 3101 h 53047"/>
                  <a:gd name="connsiteX3" fmla="*/ 47010 w 55298"/>
                  <a:gd name="connsiteY3" fmla="*/ 3458 h 53047"/>
                  <a:gd name="connsiteX4" fmla="*/ 51182 w 55298"/>
                  <a:gd name="connsiteY4" fmla="*/ 7519 h 53047"/>
                  <a:gd name="connsiteX5" fmla="*/ 53541 w 55298"/>
                  <a:gd name="connsiteY5" fmla="*/ 10895 h 53047"/>
                  <a:gd name="connsiteX6" fmla="*/ 53541 w 55298"/>
                  <a:gd name="connsiteY6" fmla="*/ 12734 h 53047"/>
                  <a:gd name="connsiteX7" fmla="*/ 52059 w 55298"/>
                  <a:gd name="connsiteY7" fmla="*/ 15258 h 53047"/>
                  <a:gd name="connsiteX8" fmla="*/ 48327 w 55298"/>
                  <a:gd name="connsiteY8" fmla="*/ 18030 h 53047"/>
                  <a:gd name="connsiteX9" fmla="*/ 47559 w 55298"/>
                  <a:gd name="connsiteY9" fmla="*/ 19677 h 53047"/>
                  <a:gd name="connsiteX10" fmla="*/ 44457 w 55298"/>
                  <a:gd name="connsiteY10" fmla="*/ 18167 h 53047"/>
                  <a:gd name="connsiteX11" fmla="*/ 41686 w 55298"/>
                  <a:gd name="connsiteY11" fmla="*/ 18222 h 53047"/>
                  <a:gd name="connsiteX12" fmla="*/ 37871 w 55298"/>
                  <a:gd name="connsiteY12" fmla="*/ 20610 h 53047"/>
                  <a:gd name="connsiteX13" fmla="*/ 37021 w 55298"/>
                  <a:gd name="connsiteY13" fmla="*/ 21872 h 53047"/>
                  <a:gd name="connsiteX14" fmla="*/ 35456 w 55298"/>
                  <a:gd name="connsiteY14" fmla="*/ 24232 h 53047"/>
                  <a:gd name="connsiteX15" fmla="*/ 37021 w 55298"/>
                  <a:gd name="connsiteY15" fmla="*/ 25550 h 53047"/>
                  <a:gd name="connsiteX16" fmla="*/ 38091 w 55298"/>
                  <a:gd name="connsiteY16" fmla="*/ 26455 h 53047"/>
                  <a:gd name="connsiteX17" fmla="*/ 42180 w 55298"/>
                  <a:gd name="connsiteY17" fmla="*/ 24452 h 53047"/>
                  <a:gd name="connsiteX18" fmla="*/ 45363 w 55298"/>
                  <a:gd name="connsiteY18" fmla="*/ 25879 h 53047"/>
                  <a:gd name="connsiteX19" fmla="*/ 45363 w 55298"/>
                  <a:gd name="connsiteY19" fmla="*/ 28596 h 53047"/>
                  <a:gd name="connsiteX20" fmla="*/ 47614 w 55298"/>
                  <a:gd name="connsiteY20" fmla="*/ 37597 h 53047"/>
                  <a:gd name="connsiteX21" fmla="*/ 48986 w 55298"/>
                  <a:gd name="connsiteY21" fmla="*/ 40177 h 53047"/>
                  <a:gd name="connsiteX22" fmla="*/ 50962 w 55298"/>
                  <a:gd name="connsiteY22" fmla="*/ 41686 h 53047"/>
                  <a:gd name="connsiteX23" fmla="*/ 51483 w 55298"/>
                  <a:gd name="connsiteY23" fmla="*/ 44870 h 53047"/>
                  <a:gd name="connsiteX24" fmla="*/ 54008 w 55298"/>
                  <a:gd name="connsiteY24" fmla="*/ 46324 h 53047"/>
                  <a:gd name="connsiteX25" fmla="*/ 54145 w 55298"/>
                  <a:gd name="connsiteY25" fmla="*/ 50632 h 53047"/>
                  <a:gd name="connsiteX26" fmla="*/ 55298 w 55298"/>
                  <a:gd name="connsiteY26" fmla="*/ 53047 h 53047"/>
                  <a:gd name="connsiteX27" fmla="*/ 34304 w 55298"/>
                  <a:gd name="connsiteY27" fmla="*/ 53047 h 53047"/>
                  <a:gd name="connsiteX28" fmla="*/ 27388 w 55298"/>
                  <a:gd name="connsiteY28" fmla="*/ 38311 h 53047"/>
                  <a:gd name="connsiteX29" fmla="*/ 18799 w 55298"/>
                  <a:gd name="connsiteY29" fmla="*/ 36389 h 53047"/>
                  <a:gd name="connsiteX30" fmla="*/ 0 w 55298"/>
                  <a:gd name="connsiteY30" fmla="*/ 33919 h 53047"/>
                  <a:gd name="connsiteX31" fmla="*/ 9001 w 55298"/>
                  <a:gd name="connsiteY31" fmla="*/ 22640 h 53047"/>
                  <a:gd name="connsiteX32" fmla="*/ 18799 w 55298"/>
                  <a:gd name="connsiteY32" fmla="*/ 2525 h 53047"/>
                  <a:gd name="connsiteX33" fmla="*/ 24370 w 55298"/>
                  <a:gd name="connsiteY33" fmla="*/ 137 h 53047"/>
                  <a:gd name="connsiteX34" fmla="*/ 32410 w 55298"/>
                  <a:gd name="connsiteY34" fmla="*/ 0 h 53047"/>
                  <a:gd name="connsiteX35" fmla="*/ 36993 w 55298"/>
                  <a:gd name="connsiteY35" fmla="*/ 1756 h 53047"/>
                  <a:gd name="connsiteX36" fmla="*/ 41329 w 55298"/>
                  <a:gd name="connsiteY36" fmla="*/ 3403 h 5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5298" h="53047">
                    <a:moveTo>
                      <a:pt x="41357" y="3348"/>
                    </a:moveTo>
                    <a:lnTo>
                      <a:pt x="42975" y="4062"/>
                    </a:lnTo>
                    <a:lnTo>
                      <a:pt x="45171" y="3101"/>
                    </a:lnTo>
                    <a:lnTo>
                      <a:pt x="47010" y="3458"/>
                    </a:lnTo>
                    <a:lnTo>
                      <a:pt x="51182" y="7519"/>
                    </a:lnTo>
                    <a:lnTo>
                      <a:pt x="53541" y="10895"/>
                    </a:lnTo>
                    <a:lnTo>
                      <a:pt x="53541" y="12734"/>
                    </a:lnTo>
                    <a:lnTo>
                      <a:pt x="52059" y="15258"/>
                    </a:lnTo>
                    <a:lnTo>
                      <a:pt x="48327" y="18030"/>
                    </a:lnTo>
                    <a:lnTo>
                      <a:pt x="47559" y="19677"/>
                    </a:lnTo>
                    <a:lnTo>
                      <a:pt x="44457" y="18167"/>
                    </a:lnTo>
                    <a:lnTo>
                      <a:pt x="41686" y="18222"/>
                    </a:lnTo>
                    <a:lnTo>
                      <a:pt x="37871" y="20610"/>
                    </a:lnTo>
                    <a:lnTo>
                      <a:pt x="37021" y="21872"/>
                    </a:lnTo>
                    <a:lnTo>
                      <a:pt x="35456" y="24232"/>
                    </a:lnTo>
                    <a:lnTo>
                      <a:pt x="37021" y="25550"/>
                    </a:lnTo>
                    <a:lnTo>
                      <a:pt x="38091" y="26455"/>
                    </a:lnTo>
                    <a:lnTo>
                      <a:pt x="42180" y="24452"/>
                    </a:lnTo>
                    <a:lnTo>
                      <a:pt x="45363" y="25879"/>
                    </a:lnTo>
                    <a:lnTo>
                      <a:pt x="45363" y="28596"/>
                    </a:lnTo>
                    <a:cubicBezTo>
                      <a:pt x="45363" y="28596"/>
                      <a:pt x="47614" y="37597"/>
                      <a:pt x="47614" y="37597"/>
                    </a:cubicBezTo>
                    <a:lnTo>
                      <a:pt x="48986" y="40177"/>
                    </a:lnTo>
                    <a:lnTo>
                      <a:pt x="50962" y="41686"/>
                    </a:lnTo>
                    <a:lnTo>
                      <a:pt x="51483" y="44870"/>
                    </a:lnTo>
                    <a:lnTo>
                      <a:pt x="54008" y="46324"/>
                    </a:lnTo>
                    <a:lnTo>
                      <a:pt x="54145" y="50632"/>
                    </a:lnTo>
                    <a:lnTo>
                      <a:pt x="55298" y="53047"/>
                    </a:lnTo>
                    <a:lnTo>
                      <a:pt x="34304" y="53047"/>
                    </a:lnTo>
                    <a:lnTo>
                      <a:pt x="27388" y="38311"/>
                    </a:lnTo>
                    <a:lnTo>
                      <a:pt x="18799" y="36389"/>
                    </a:lnTo>
                    <a:lnTo>
                      <a:pt x="0" y="33919"/>
                    </a:lnTo>
                    <a:lnTo>
                      <a:pt x="9001" y="22640"/>
                    </a:lnTo>
                    <a:lnTo>
                      <a:pt x="18799" y="2525"/>
                    </a:lnTo>
                    <a:lnTo>
                      <a:pt x="24370" y="137"/>
                    </a:lnTo>
                    <a:lnTo>
                      <a:pt x="32410" y="0"/>
                    </a:lnTo>
                    <a:lnTo>
                      <a:pt x="36993" y="1756"/>
                    </a:lnTo>
                    <a:lnTo>
                      <a:pt x="41329"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7" name="Freeform: Shape 3876">
                <a:extLst>
                  <a:ext uri="{FF2B5EF4-FFF2-40B4-BE49-F238E27FC236}">
                    <a16:creationId xmlns:a16="http://schemas.microsoft.com/office/drawing/2014/main" id="{C9ABE732-7331-6D4F-A01E-E2DD9EFE3323}"/>
                  </a:ext>
                </a:extLst>
              </p:cNvPr>
              <p:cNvSpPr/>
              <p:nvPr/>
            </p:nvSpPr>
            <p:spPr>
              <a:xfrm>
                <a:off x="1513374" y="3749650"/>
                <a:ext cx="415" cy="421"/>
              </a:xfrm>
              <a:custGeom>
                <a:avLst/>
                <a:gdLst>
                  <a:gd name="connsiteX0" fmla="*/ 3952 w 3979"/>
                  <a:gd name="connsiteY0" fmla="*/ 1949 h 4034"/>
                  <a:gd name="connsiteX1" fmla="*/ 2113 w 3979"/>
                  <a:gd name="connsiteY1" fmla="*/ 4034 h 4034"/>
                  <a:gd name="connsiteX2" fmla="*/ 0 w 3979"/>
                  <a:gd name="connsiteY2" fmla="*/ 2113 h 4034"/>
                  <a:gd name="connsiteX3" fmla="*/ 2278 w 3979"/>
                  <a:gd name="connsiteY3" fmla="*/ 0 h 4034"/>
                  <a:gd name="connsiteX4" fmla="*/ 3979 w 3979"/>
                  <a:gd name="connsiteY4" fmla="*/ 1949 h 4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4034">
                    <a:moveTo>
                      <a:pt x="3952" y="1949"/>
                    </a:moveTo>
                    <a:lnTo>
                      <a:pt x="2113" y="4034"/>
                    </a:lnTo>
                    <a:lnTo>
                      <a:pt x="0" y="2113"/>
                    </a:lnTo>
                    <a:lnTo>
                      <a:pt x="2278" y="0"/>
                    </a:lnTo>
                    <a:lnTo>
                      <a:pt x="3979" y="19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8" name="Freeform: Shape 3877">
                <a:extLst>
                  <a:ext uri="{FF2B5EF4-FFF2-40B4-BE49-F238E27FC236}">
                    <a16:creationId xmlns:a16="http://schemas.microsoft.com/office/drawing/2014/main" id="{DD7A0EBC-0567-C103-6E64-0DA8912CC173}"/>
                  </a:ext>
                </a:extLst>
              </p:cNvPr>
              <p:cNvSpPr/>
              <p:nvPr/>
            </p:nvSpPr>
            <p:spPr>
              <a:xfrm>
                <a:off x="1115908" y="3783861"/>
                <a:ext cx="718" cy="358"/>
              </a:xfrm>
              <a:custGeom>
                <a:avLst/>
                <a:gdLst>
                  <a:gd name="connsiteX0" fmla="*/ 1701 w 6887"/>
                  <a:gd name="connsiteY0" fmla="*/ 27 h 3430"/>
                  <a:gd name="connsiteX1" fmla="*/ 2826 w 6887"/>
                  <a:gd name="connsiteY1" fmla="*/ 714 h 3430"/>
                  <a:gd name="connsiteX2" fmla="*/ 6888 w 6887"/>
                  <a:gd name="connsiteY2" fmla="*/ 549 h 3430"/>
                  <a:gd name="connsiteX3" fmla="*/ 6422 w 6887"/>
                  <a:gd name="connsiteY3" fmla="*/ 2442 h 3430"/>
                  <a:gd name="connsiteX4" fmla="*/ 3403 w 6887"/>
                  <a:gd name="connsiteY4" fmla="*/ 2388 h 3430"/>
                  <a:gd name="connsiteX5" fmla="*/ 1372 w 6887"/>
                  <a:gd name="connsiteY5" fmla="*/ 3430 h 3430"/>
                  <a:gd name="connsiteX6" fmla="*/ 0 w 6887"/>
                  <a:gd name="connsiteY6" fmla="*/ 2662 h 3430"/>
                  <a:gd name="connsiteX7" fmla="*/ 1701 w 6887"/>
                  <a:gd name="connsiteY7" fmla="*/ 0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87" h="3430">
                    <a:moveTo>
                      <a:pt x="1701" y="27"/>
                    </a:moveTo>
                    <a:lnTo>
                      <a:pt x="2826" y="714"/>
                    </a:lnTo>
                    <a:lnTo>
                      <a:pt x="6888" y="549"/>
                    </a:lnTo>
                    <a:lnTo>
                      <a:pt x="6422" y="2442"/>
                    </a:lnTo>
                    <a:lnTo>
                      <a:pt x="3403" y="2388"/>
                    </a:lnTo>
                    <a:lnTo>
                      <a:pt x="1372" y="3430"/>
                    </a:lnTo>
                    <a:lnTo>
                      <a:pt x="0" y="2662"/>
                    </a:lnTo>
                    <a:lnTo>
                      <a:pt x="1701"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9" name="Freeform: Shape 3878">
                <a:extLst>
                  <a:ext uri="{FF2B5EF4-FFF2-40B4-BE49-F238E27FC236}">
                    <a16:creationId xmlns:a16="http://schemas.microsoft.com/office/drawing/2014/main" id="{47D3A357-614B-71D9-8B15-20F8B9191BB4}"/>
                  </a:ext>
                </a:extLst>
              </p:cNvPr>
              <p:cNvSpPr/>
              <p:nvPr/>
            </p:nvSpPr>
            <p:spPr>
              <a:xfrm>
                <a:off x="1115439" y="3783581"/>
                <a:ext cx="395" cy="401"/>
              </a:xfrm>
              <a:custGeom>
                <a:avLst/>
                <a:gdLst>
                  <a:gd name="connsiteX0" fmla="*/ 3787 w 3787"/>
                  <a:gd name="connsiteY0" fmla="*/ 2772 h 3842"/>
                  <a:gd name="connsiteX1" fmla="*/ 2442 w 3787"/>
                  <a:gd name="connsiteY1" fmla="*/ 3842 h 3842"/>
                  <a:gd name="connsiteX2" fmla="*/ 0 w 3787"/>
                  <a:gd name="connsiteY2" fmla="*/ 2251 h 3842"/>
                  <a:gd name="connsiteX3" fmla="*/ 3074 w 3787"/>
                  <a:gd name="connsiteY3" fmla="*/ 0 h 3842"/>
                  <a:gd name="connsiteX4" fmla="*/ 3760 w 3787"/>
                  <a:gd name="connsiteY4" fmla="*/ 2772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3842">
                    <a:moveTo>
                      <a:pt x="3787" y="2772"/>
                    </a:moveTo>
                    <a:lnTo>
                      <a:pt x="2442" y="3842"/>
                    </a:lnTo>
                    <a:lnTo>
                      <a:pt x="0" y="2251"/>
                    </a:lnTo>
                    <a:lnTo>
                      <a:pt x="3074" y="0"/>
                    </a:lnTo>
                    <a:lnTo>
                      <a:pt x="376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0" name="Freeform: Shape 3879">
                <a:extLst>
                  <a:ext uri="{FF2B5EF4-FFF2-40B4-BE49-F238E27FC236}">
                    <a16:creationId xmlns:a16="http://schemas.microsoft.com/office/drawing/2014/main" id="{39D68B20-C254-0B52-0272-77913E7AD4F3}"/>
                  </a:ext>
                </a:extLst>
              </p:cNvPr>
              <p:cNvSpPr/>
              <p:nvPr/>
            </p:nvSpPr>
            <p:spPr>
              <a:xfrm>
                <a:off x="1115725" y="3784044"/>
                <a:ext cx="172" cy="232"/>
              </a:xfrm>
              <a:custGeom>
                <a:avLst/>
                <a:gdLst>
                  <a:gd name="connsiteX0" fmla="*/ 1647 w 1646"/>
                  <a:gd name="connsiteY0" fmla="*/ 1070 h 2223"/>
                  <a:gd name="connsiteX1" fmla="*/ 82 w 1646"/>
                  <a:gd name="connsiteY1" fmla="*/ 2223 h 2223"/>
                  <a:gd name="connsiteX2" fmla="*/ 0 w 1646"/>
                  <a:gd name="connsiteY2" fmla="*/ 631 h 2223"/>
                  <a:gd name="connsiteX3" fmla="*/ 576 w 1646"/>
                  <a:gd name="connsiteY3" fmla="*/ 0 h 2223"/>
                  <a:gd name="connsiteX4" fmla="*/ 1647 w 1646"/>
                  <a:gd name="connsiteY4" fmla="*/ 1070 h 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 h="2223">
                    <a:moveTo>
                      <a:pt x="1647" y="1070"/>
                    </a:moveTo>
                    <a:lnTo>
                      <a:pt x="82" y="2223"/>
                    </a:lnTo>
                    <a:lnTo>
                      <a:pt x="0" y="631"/>
                    </a:lnTo>
                    <a:lnTo>
                      <a:pt x="576" y="0"/>
                    </a:lnTo>
                    <a:lnTo>
                      <a:pt x="1647" y="10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1" name="Freeform: Shape 3880">
                <a:extLst>
                  <a:ext uri="{FF2B5EF4-FFF2-40B4-BE49-F238E27FC236}">
                    <a16:creationId xmlns:a16="http://schemas.microsoft.com/office/drawing/2014/main" id="{7F53945F-3FAC-DA6F-0A1F-46491CE7682F}"/>
                  </a:ext>
                </a:extLst>
              </p:cNvPr>
              <p:cNvSpPr/>
              <p:nvPr/>
            </p:nvSpPr>
            <p:spPr>
              <a:xfrm>
                <a:off x="1508345" y="3639508"/>
                <a:ext cx="124898" cy="68430"/>
              </a:xfrm>
              <a:custGeom>
                <a:avLst/>
                <a:gdLst>
                  <a:gd name="connsiteX0" fmla="*/ 679021 w 1197474"/>
                  <a:gd name="connsiteY0" fmla="*/ 3403 h 656079"/>
                  <a:gd name="connsiteX1" fmla="*/ 692414 w 1197474"/>
                  <a:gd name="connsiteY1" fmla="*/ 10593 h 656079"/>
                  <a:gd name="connsiteX2" fmla="*/ 703336 w 1197474"/>
                  <a:gd name="connsiteY2" fmla="*/ 6449 h 656079"/>
                  <a:gd name="connsiteX3" fmla="*/ 711679 w 1197474"/>
                  <a:gd name="connsiteY3" fmla="*/ 7629 h 656079"/>
                  <a:gd name="connsiteX4" fmla="*/ 716482 w 1197474"/>
                  <a:gd name="connsiteY4" fmla="*/ 15395 h 656079"/>
                  <a:gd name="connsiteX5" fmla="*/ 724056 w 1197474"/>
                  <a:gd name="connsiteY5" fmla="*/ 38173 h 656079"/>
                  <a:gd name="connsiteX6" fmla="*/ 723425 w 1197474"/>
                  <a:gd name="connsiteY6" fmla="*/ 48135 h 656079"/>
                  <a:gd name="connsiteX7" fmla="*/ 720954 w 1197474"/>
                  <a:gd name="connsiteY7" fmla="*/ 55462 h 656079"/>
                  <a:gd name="connsiteX8" fmla="*/ 723150 w 1197474"/>
                  <a:gd name="connsiteY8" fmla="*/ 61500 h 656079"/>
                  <a:gd name="connsiteX9" fmla="*/ 735554 w 1197474"/>
                  <a:gd name="connsiteY9" fmla="*/ 63585 h 656079"/>
                  <a:gd name="connsiteX10" fmla="*/ 748096 w 1197474"/>
                  <a:gd name="connsiteY10" fmla="*/ 60210 h 656079"/>
                  <a:gd name="connsiteX11" fmla="*/ 751965 w 1197474"/>
                  <a:gd name="connsiteY11" fmla="*/ 55709 h 656079"/>
                  <a:gd name="connsiteX12" fmla="*/ 756795 w 1197474"/>
                  <a:gd name="connsiteY12" fmla="*/ 60978 h 656079"/>
                  <a:gd name="connsiteX13" fmla="*/ 762119 w 1197474"/>
                  <a:gd name="connsiteY13" fmla="*/ 72120 h 656079"/>
                  <a:gd name="connsiteX14" fmla="*/ 764534 w 1197474"/>
                  <a:gd name="connsiteY14" fmla="*/ 71489 h 656079"/>
                  <a:gd name="connsiteX15" fmla="*/ 767882 w 1197474"/>
                  <a:gd name="connsiteY15" fmla="*/ 65369 h 656079"/>
                  <a:gd name="connsiteX16" fmla="*/ 783963 w 1197474"/>
                  <a:gd name="connsiteY16" fmla="*/ 71379 h 656079"/>
                  <a:gd name="connsiteX17" fmla="*/ 794913 w 1197474"/>
                  <a:gd name="connsiteY17" fmla="*/ 70336 h 656079"/>
                  <a:gd name="connsiteX18" fmla="*/ 794859 w 1197474"/>
                  <a:gd name="connsiteY18" fmla="*/ 75056 h 656079"/>
                  <a:gd name="connsiteX19" fmla="*/ 786022 w 1197474"/>
                  <a:gd name="connsiteY19" fmla="*/ 87406 h 656079"/>
                  <a:gd name="connsiteX20" fmla="*/ 786461 w 1197474"/>
                  <a:gd name="connsiteY20" fmla="*/ 92044 h 656079"/>
                  <a:gd name="connsiteX21" fmla="*/ 789315 w 1197474"/>
                  <a:gd name="connsiteY21" fmla="*/ 94815 h 656079"/>
                  <a:gd name="connsiteX22" fmla="*/ 802570 w 1197474"/>
                  <a:gd name="connsiteY22" fmla="*/ 89958 h 656079"/>
                  <a:gd name="connsiteX23" fmla="*/ 816676 w 1197474"/>
                  <a:gd name="connsiteY23" fmla="*/ 93745 h 656079"/>
                  <a:gd name="connsiteX24" fmla="*/ 823289 w 1197474"/>
                  <a:gd name="connsiteY24" fmla="*/ 86336 h 656079"/>
                  <a:gd name="connsiteX25" fmla="*/ 844284 w 1197474"/>
                  <a:gd name="connsiteY25" fmla="*/ 74343 h 656079"/>
                  <a:gd name="connsiteX26" fmla="*/ 853257 w 1197474"/>
                  <a:gd name="connsiteY26" fmla="*/ 63969 h 656079"/>
                  <a:gd name="connsiteX27" fmla="*/ 872879 w 1197474"/>
                  <a:gd name="connsiteY27" fmla="*/ 54255 h 656079"/>
                  <a:gd name="connsiteX28" fmla="*/ 887670 w 1197474"/>
                  <a:gd name="connsiteY28" fmla="*/ 51346 h 656079"/>
                  <a:gd name="connsiteX29" fmla="*/ 887177 w 1197474"/>
                  <a:gd name="connsiteY29" fmla="*/ 58399 h 656079"/>
                  <a:gd name="connsiteX30" fmla="*/ 880865 w 1197474"/>
                  <a:gd name="connsiteY30" fmla="*/ 63476 h 656079"/>
                  <a:gd name="connsiteX31" fmla="*/ 880975 w 1197474"/>
                  <a:gd name="connsiteY31" fmla="*/ 67976 h 656079"/>
                  <a:gd name="connsiteX32" fmla="*/ 916321 w 1197474"/>
                  <a:gd name="connsiteY32" fmla="*/ 102170 h 656079"/>
                  <a:gd name="connsiteX33" fmla="*/ 925432 w 1197474"/>
                  <a:gd name="connsiteY33" fmla="*/ 114218 h 656079"/>
                  <a:gd name="connsiteX34" fmla="*/ 957842 w 1197474"/>
                  <a:gd name="connsiteY34" fmla="*/ 171436 h 656079"/>
                  <a:gd name="connsiteX35" fmla="*/ 983721 w 1197474"/>
                  <a:gd name="connsiteY35" fmla="*/ 221080 h 656079"/>
                  <a:gd name="connsiteX36" fmla="*/ 991680 w 1197474"/>
                  <a:gd name="connsiteY36" fmla="*/ 218940 h 656079"/>
                  <a:gd name="connsiteX37" fmla="*/ 997141 w 1197474"/>
                  <a:gd name="connsiteY37" fmla="*/ 207743 h 656079"/>
                  <a:gd name="connsiteX38" fmla="*/ 1003507 w 1197474"/>
                  <a:gd name="connsiteY38" fmla="*/ 203517 h 656079"/>
                  <a:gd name="connsiteX39" fmla="*/ 1012618 w 1197474"/>
                  <a:gd name="connsiteY39" fmla="*/ 207002 h 656079"/>
                  <a:gd name="connsiteX40" fmla="*/ 1016461 w 1197474"/>
                  <a:gd name="connsiteY40" fmla="*/ 215729 h 656079"/>
                  <a:gd name="connsiteX41" fmla="*/ 1030731 w 1197474"/>
                  <a:gd name="connsiteY41" fmla="*/ 226158 h 656079"/>
                  <a:gd name="connsiteX42" fmla="*/ 1054661 w 1197474"/>
                  <a:gd name="connsiteY42" fmla="*/ 226020 h 656079"/>
                  <a:gd name="connsiteX43" fmla="*/ 1073378 w 1197474"/>
                  <a:gd name="connsiteY43" fmla="*/ 216690 h 656079"/>
                  <a:gd name="connsiteX44" fmla="*/ 1083476 w 1197474"/>
                  <a:gd name="connsiteY44" fmla="*/ 216909 h 656079"/>
                  <a:gd name="connsiteX45" fmla="*/ 1097472 w 1197474"/>
                  <a:gd name="connsiteY45" fmla="*/ 225938 h 656079"/>
                  <a:gd name="connsiteX46" fmla="*/ 1104772 w 1197474"/>
                  <a:gd name="connsiteY46" fmla="*/ 236339 h 656079"/>
                  <a:gd name="connsiteX47" fmla="*/ 1110837 w 1197474"/>
                  <a:gd name="connsiteY47" fmla="*/ 249786 h 656079"/>
                  <a:gd name="connsiteX48" fmla="*/ 1128044 w 1197474"/>
                  <a:gd name="connsiteY48" fmla="*/ 260516 h 656079"/>
                  <a:gd name="connsiteX49" fmla="*/ 1138801 w 1197474"/>
                  <a:gd name="connsiteY49" fmla="*/ 278876 h 656079"/>
                  <a:gd name="connsiteX50" fmla="*/ 1162045 w 1197474"/>
                  <a:gd name="connsiteY50" fmla="*/ 283843 h 656079"/>
                  <a:gd name="connsiteX51" fmla="*/ 1178813 w 1197474"/>
                  <a:gd name="connsiteY51" fmla="*/ 273168 h 656079"/>
                  <a:gd name="connsiteX52" fmla="*/ 1181283 w 1197474"/>
                  <a:gd name="connsiteY52" fmla="*/ 283843 h 656079"/>
                  <a:gd name="connsiteX53" fmla="*/ 1197475 w 1197474"/>
                  <a:gd name="connsiteY53" fmla="*/ 302669 h 656079"/>
                  <a:gd name="connsiteX54" fmla="*/ 1191656 w 1197474"/>
                  <a:gd name="connsiteY54" fmla="*/ 301022 h 656079"/>
                  <a:gd name="connsiteX55" fmla="*/ 1184467 w 1197474"/>
                  <a:gd name="connsiteY55" fmla="*/ 303190 h 656079"/>
                  <a:gd name="connsiteX56" fmla="*/ 1181119 w 1197474"/>
                  <a:gd name="connsiteY56" fmla="*/ 307992 h 656079"/>
                  <a:gd name="connsiteX57" fmla="*/ 1180817 w 1197474"/>
                  <a:gd name="connsiteY57" fmla="*/ 319381 h 656079"/>
                  <a:gd name="connsiteX58" fmla="*/ 1175603 w 1197474"/>
                  <a:gd name="connsiteY58" fmla="*/ 327120 h 656079"/>
                  <a:gd name="connsiteX59" fmla="*/ 1151398 w 1197474"/>
                  <a:gd name="connsiteY59" fmla="*/ 336122 h 656079"/>
                  <a:gd name="connsiteX60" fmla="*/ 1145964 w 1197474"/>
                  <a:gd name="connsiteY60" fmla="*/ 354179 h 656079"/>
                  <a:gd name="connsiteX61" fmla="*/ 1149696 w 1197474"/>
                  <a:gd name="connsiteY61" fmla="*/ 382555 h 656079"/>
                  <a:gd name="connsiteX62" fmla="*/ 1144207 w 1197474"/>
                  <a:gd name="connsiteY62" fmla="*/ 391858 h 656079"/>
                  <a:gd name="connsiteX63" fmla="*/ 1136277 w 1197474"/>
                  <a:gd name="connsiteY63" fmla="*/ 393477 h 656079"/>
                  <a:gd name="connsiteX64" fmla="*/ 1124284 w 1197474"/>
                  <a:gd name="connsiteY64" fmla="*/ 401573 h 656079"/>
                  <a:gd name="connsiteX65" fmla="*/ 1119097 w 1197474"/>
                  <a:gd name="connsiteY65" fmla="*/ 395591 h 656079"/>
                  <a:gd name="connsiteX66" fmla="*/ 1100162 w 1197474"/>
                  <a:gd name="connsiteY66" fmla="*/ 395975 h 656079"/>
                  <a:gd name="connsiteX67" fmla="*/ 1076423 w 1197474"/>
                  <a:gd name="connsiteY67" fmla="*/ 386205 h 656079"/>
                  <a:gd name="connsiteX68" fmla="*/ 1072142 w 1197474"/>
                  <a:gd name="connsiteY68" fmla="*/ 386864 h 656079"/>
                  <a:gd name="connsiteX69" fmla="*/ 1050079 w 1197474"/>
                  <a:gd name="connsiteY69" fmla="*/ 453303 h 656079"/>
                  <a:gd name="connsiteX70" fmla="*/ 1050901 w 1197474"/>
                  <a:gd name="connsiteY70" fmla="*/ 457584 h 656079"/>
                  <a:gd name="connsiteX71" fmla="*/ 1058366 w 1197474"/>
                  <a:gd name="connsiteY71" fmla="*/ 462908 h 656079"/>
                  <a:gd name="connsiteX72" fmla="*/ 1056198 w 1197474"/>
                  <a:gd name="connsiteY72" fmla="*/ 472870 h 656079"/>
                  <a:gd name="connsiteX73" fmla="*/ 1048157 w 1197474"/>
                  <a:gd name="connsiteY73" fmla="*/ 470565 h 656079"/>
                  <a:gd name="connsiteX74" fmla="*/ 1039952 w 1197474"/>
                  <a:gd name="connsiteY74" fmla="*/ 472184 h 656079"/>
                  <a:gd name="connsiteX75" fmla="*/ 1030950 w 1197474"/>
                  <a:gd name="connsiteY75" fmla="*/ 465515 h 656079"/>
                  <a:gd name="connsiteX76" fmla="*/ 986081 w 1197474"/>
                  <a:gd name="connsiteY76" fmla="*/ 478002 h 656079"/>
                  <a:gd name="connsiteX77" fmla="*/ 981114 w 1197474"/>
                  <a:gd name="connsiteY77" fmla="*/ 482228 h 656079"/>
                  <a:gd name="connsiteX78" fmla="*/ 983035 w 1197474"/>
                  <a:gd name="connsiteY78" fmla="*/ 487030 h 656079"/>
                  <a:gd name="connsiteX79" fmla="*/ 990253 w 1197474"/>
                  <a:gd name="connsiteY79" fmla="*/ 487030 h 656079"/>
                  <a:gd name="connsiteX80" fmla="*/ 995193 w 1197474"/>
                  <a:gd name="connsiteY80" fmla="*/ 490735 h 656079"/>
                  <a:gd name="connsiteX81" fmla="*/ 992915 w 1197474"/>
                  <a:gd name="connsiteY81" fmla="*/ 500862 h 656079"/>
                  <a:gd name="connsiteX82" fmla="*/ 994479 w 1197474"/>
                  <a:gd name="connsiteY82" fmla="*/ 513897 h 656079"/>
                  <a:gd name="connsiteX83" fmla="*/ 1003343 w 1197474"/>
                  <a:gd name="connsiteY83" fmla="*/ 540901 h 656079"/>
                  <a:gd name="connsiteX84" fmla="*/ 1004166 w 1197474"/>
                  <a:gd name="connsiteY84" fmla="*/ 554321 h 656079"/>
                  <a:gd name="connsiteX85" fmla="*/ 996125 w 1197474"/>
                  <a:gd name="connsiteY85" fmla="*/ 559837 h 656079"/>
                  <a:gd name="connsiteX86" fmla="*/ 997058 w 1197474"/>
                  <a:gd name="connsiteY86" fmla="*/ 566203 h 656079"/>
                  <a:gd name="connsiteX87" fmla="*/ 988853 w 1197474"/>
                  <a:gd name="connsiteY87" fmla="*/ 573503 h 656079"/>
                  <a:gd name="connsiteX88" fmla="*/ 988963 w 1197474"/>
                  <a:gd name="connsiteY88" fmla="*/ 576303 h 656079"/>
                  <a:gd name="connsiteX89" fmla="*/ 989319 w 1197474"/>
                  <a:gd name="connsiteY89" fmla="*/ 585551 h 656079"/>
                  <a:gd name="connsiteX90" fmla="*/ 989622 w 1197474"/>
                  <a:gd name="connsiteY90" fmla="*/ 592741 h 656079"/>
                  <a:gd name="connsiteX91" fmla="*/ 986191 w 1197474"/>
                  <a:gd name="connsiteY91" fmla="*/ 592137 h 656079"/>
                  <a:gd name="connsiteX92" fmla="*/ 980510 w 1197474"/>
                  <a:gd name="connsiteY92" fmla="*/ 585551 h 656079"/>
                  <a:gd name="connsiteX93" fmla="*/ 979659 w 1197474"/>
                  <a:gd name="connsiteY93" fmla="*/ 584563 h 656079"/>
                  <a:gd name="connsiteX94" fmla="*/ 967255 w 1197474"/>
                  <a:gd name="connsiteY94" fmla="*/ 582066 h 656079"/>
                  <a:gd name="connsiteX95" fmla="*/ 961849 w 1197474"/>
                  <a:gd name="connsiteY95" fmla="*/ 576303 h 656079"/>
                  <a:gd name="connsiteX96" fmla="*/ 956168 w 1197474"/>
                  <a:gd name="connsiteY96" fmla="*/ 570814 h 656079"/>
                  <a:gd name="connsiteX97" fmla="*/ 940663 w 1197474"/>
                  <a:gd name="connsiteY97" fmla="*/ 566615 h 656079"/>
                  <a:gd name="connsiteX98" fmla="*/ 923429 w 1197474"/>
                  <a:gd name="connsiteY98" fmla="*/ 567384 h 656079"/>
                  <a:gd name="connsiteX99" fmla="*/ 891924 w 1197474"/>
                  <a:gd name="connsiteY99" fmla="*/ 562828 h 656079"/>
                  <a:gd name="connsiteX100" fmla="*/ 875596 w 1197474"/>
                  <a:gd name="connsiteY100" fmla="*/ 566231 h 656079"/>
                  <a:gd name="connsiteX101" fmla="*/ 862725 w 1197474"/>
                  <a:gd name="connsiteY101" fmla="*/ 564365 h 656079"/>
                  <a:gd name="connsiteX102" fmla="*/ 855864 w 1197474"/>
                  <a:gd name="connsiteY102" fmla="*/ 568646 h 656079"/>
                  <a:gd name="connsiteX103" fmla="*/ 848509 w 1197474"/>
                  <a:gd name="connsiteY103" fmla="*/ 568481 h 656079"/>
                  <a:gd name="connsiteX104" fmla="*/ 837423 w 1197474"/>
                  <a:gd name="connsiteY104" fmla="*/ 565929 h 656079"/>
                  <a:gd name="connsiteX105" fmla="*/ 820380 w 1197474"/>
                  <a:gd name="connsiteY105" fmla="*/ 554787 h 656079"/>
                  <a:gd name="connsiteX106" fmla="*/ 813574 w 1197474"/>
                  <a:gd name="connsiteY106" fmla="*/ 552784 h 656079"/>
                  <a:gd name="connsiteX107" fmla="*/ 794254 w 1197474"/>
                  <a:gd name="connsiteY107" fmla="*/ 561181 h 656079"/>
                  <a:gd name="connsiteX108" fmla="*/ 789727 w 1197474"/>
                  <a:gd name="connsiteY108" fmla="*/ 576303 h 656079"/>
                  <a:gd name="connsiteX109" fmla="*/ 790138 w 1197474"/>
                  <a:gd name="connsiteY109" fmla="*/ 583959 h 656079"/>
                  <a:gd name="connsiteX110" fmla="*/ 773343 w 1197474"/>
                  <a:gd name="connsiteY110" fmla="*/ 579459 h 656079"/>
                  <a:gd name="connsiteX111" fmla="*/ 766153 w 1197474"/>
                  <a:gd name="connsiteY111" fmla="*/ 576330 h 656079"/>
                  <a:gd name="connsiteX112" fmla="*/ 754737 w 1197474"/>
                  <a:gd name="connsiteY112" fmla="*/ 571335 h 656079"/>
                  <a:gd name="connsiteX113" fmla="*/ 743266 w 1197474"/>
                  <a:gd name="connsiteY113" fmla="*/ 568866 h 656079"/>
                  <a:gd name="connsiteX114" fmla="*/ 731191 w 1197474"/>
                  <a:gd name="connsiteY114" fmla="*/ 569716 h 656079"/>
                  <a:gd name="connsiteX115" fmla="*/ 726443 w 1197474"/>
                  <a:gd name="connsiteY115" fmla="*/ 571061 h 656079"/>
                  <a:gd name="connsiteX116" fmla="*/ 721558 w 1197474"/>
                  <a:gd name="connsiteY116" fmla="*/ 576330 h 656079"/>
                  <a:gd name="connsiteX117" fmla="*/ 719610 w 1197474"/>
                  <a:gd name="connsiteY117" fmla="*/ 578416 h 656079"/>
                  <a:gd name="connsiteX118" fmla="*/ 719281 w 1197474"/>
                  <a:gd name="connsiteY118" fmla="*/ 581846 h 656079"/>
                  <a:gd name="connsiteX119" fmla="*/ 716619 w 1197474"/>
                  <a:gd name="connsiteY119" fmla="*/ 585578 h 656079"/>
                  <a:gd name="connsiteX120" fmla="*/ 714917 w 1197474"/>
                  <a:gd name="connsiteY120" fmla="*/ 587966 h 656079"/>
                  <a:gd name="connsiteX121" fmla="*/ 716015 w 1197474"/>
                  <a:gd name="connsiteY121" fmla="*/ 591176 h 656079"/>
                  <a:gd name="connsiteX122" fmla="*/ 714396 w 1197474"/>
                  <a:gd name="connsiteY122" fmla="*/ 592768 h 656079"/>
                  <a:gd name="connsiteX123" fmla="*/ 706409 w 1197474"/>
                  <a:gd name="connsiteY123" fmla="*/ 600617 h 656079"/>
                  <a:gd name="connsiteX124" fmla="*/ 700564 w 1197474"/>
                  <a:gd name="connsiteY124" fmla="*/ 597900 h 656079"/>
                  <a:gd name="connsiteX125" fmla="*/ 696475 w 1197474"/>
                  <a:gd name="connsiteY125" fmla="*/ 602099 h 656079"/>
                  <a:gd name="connsiteX126" fmla="*/ 686651 w 1197474"/>
                  <a:gd name="connsiteY126" fmla="*/ 612115 h 656079"/>
                  <a:gd name="connsiteX127" fmla="*/ 680613 w 1197474"/>
                  <a:gd name="connsiteY127" fmla="*/ 614585 h 656079"/>
                  <a:gd name="connsiteX128" fmla="*/ 676086 w 1197474"/>
                  <a:gd name="connsiteY128" fmla="*/ 616424 h 656079"/>
                  <a:gd name="connsiteX129" fmla="*/ 671997 w 1197474"/>
                  <a:gd name="connsiteY129" fmla="*/ 619772 h 656079"/>
                  <a:gd name="connsiteX130" fmla="*/ 660086 w 1197474"/>
                  <a:gd name="connsiteY130" fmla="*/ 627593 h 656079"/>
                  <a:gd name="connsiteX131" fmla="*/ 646858 w 1197474"/>
                  <a:gd name="connsiteY131" fmla="*/ 644965 h 656079"/>
                  <a:gd name="connsiteX132" fmla="*/ 647902 w 1197474"/>
                  <a:gd name="connsiteY132" fmla="*/ 654954 h 656079"/>
                  <a:gd name="connsiteX133" fmla="*/ 643291 w 1197474"/>
                  <a:gd name="connsiteY133" fmla="*/ 656079 h 656079"/>
                  <a:gd name="connsiteX134" fmla="*/ 631957 w 1197474"/>
                  <a:gd name="connsiteY134" fmla="*/ 648368 h 656079"/>
                  <a:gd name="connsiteX135" fmla="*/ 633576 w 1197474"/>
                  <a:gd name="connsiteY135" fmla="*/ 639888 h 656079"/>
                  <a:gd name="connsiteX136" fmla="*/ 627484 w 1197474"/>
                  <a:gd name="connsiteY136" fmla="*/ 633823 h 656079"/>
                  <a:gd name="connsiteX137" fmla="*/ 589311 w 1197474"/>
                  <a:gd name="connsiteY137" fmla="*/ 630694 h 656079"/>
                  <a:gd name="connsiteX138" fmla="*/ 587417 w 1197474"/>
                  <a:gd name="connsiteY138" fmla="*/ 616452 h 656079"/>
                  <a:gd name="connsiteX139" fmla="*/ 587170 w 1197474"/>
                  <a:gd name="connsiteY139" fmla="*/ 614613 h 656079"/>
                  <a:gd name="connsiteX140" fmla="*/ 586045 w 1197474"/>
                  <a:gd name="connsiteY140" fmla="*/ 606325 h 656079"/>
                  <a:gd name="connsiteX141" fmla="*/ 572186 w 1197474"/>
                  <a:gd name="connsiteY141" fmla="*/ 603718 h 656079"/>
                  <a:gd name="connsiteX142" fmla="*/ 571528 w 1197474"/>
                  <a:gd name="connsiteY142" fmla="*/ 602126 h 656079"/>
                  <a:gd name="connsiteX143" fmla="*/ 571363 w 1197474"/>
                  <a:gd name="connsiteY143" fmla="*/ 589530 h 656079"/>
                  <a:gd name="connsiteX144" fmla="*/ 573010 w 1197474"/>
                  <a:gd name="connsiteY144" fmla="*/ 585606 h 656079"/>
                  <a:gd name="connsiteX145" fmla="*/ 573668 w 1197474"/>
                  <a:gd name="connsiteY145" fmla="*/ 583986 h 656079"/>
                  <a:gd name="connsiteX146" fmla="*/ 573476 w 1197474"/>
                  <a:gd name="connsiteY146" fmla="*/ 576330 h 656079"/>
                  <a:gd name="connsiteX147" fmla="*/ 573202 w 1197474"/>
                  <a:gd name="connsiteY147" fmla="*/ 565243 h 656079"/>
                  <a:gd name="connsiteX148" fmla="*/ 565490 w 1197474"/>
                  <a:gd name="connsiteY148" fmla="*/ 564859 h 656079"/>
                  <a:gd name="connsiteX149" fmla="*/ 560166 w 1197474"/>
                  <a:gd name="connsiteY149" fmla="*/ 549930 h 656079"/>
                  <a:gd name="connsiteX150" fmla="*/ 545209 w 1197474"/>
                  <a:gd name="connsiteY150" fmla="*/ 531543 h 656079"/>
                  <a:gd name="connsiteX151" fmla="*/ 526878 w 1197474"/>
                  <a:gd name="connsiteY151" fmla="*/ 536949 h 656079"/>
                  <a:gd name="connsiteX152" fmla="*/ 493452 w 1197474"/>
                  <a:gd name="connsiteY152" fmla="*/ 534644 h 656079"/>
                  <a:gd name="connsiteX153" fmla="*/ 453715 w 1197474"/>
                  <a:gd name="connsiteY153" fmla="*/ 541066 h 656079"/>
                  <a:gd name="connsiteX154" fmla="*/ 426711 w 1197474"/>
                  <a:gd name="connsiteY154" fmla="*/ 510000 h 656079"/>
                  <a:gd name="connsiteX155" fmla="*/ 352477 w 1197474"/>
                  <a:gd name="connsiteY155" fmla="*/ 455471 h 656079"/>
                  <a:gd name="connsiteX156" fmla="*/ 277009 w 1197474"/>
                  <a:gd name="connsiteY156" fmla="*/ 480307 h 656079"/>
                  <a:gd name="connsiteX157" fmla="*/ 276708 w 1197474"/>
                  <a:gd name="connsiteY157" fmla="*/ 576330 h 656079"/>
                  <a:gd name="connsiteX158" fmla="*/ 276708 w 1197474"/>
                  <a:gd name="connsiteY158" fmla="*/ 585578 h 656079"/>
                  <a:gd name="connsiteX159" fmla="*/ 276598 w 1197474"/>
                  <a:gd name="connsiteY159" fmla="*/ 602099 h 656079"/>
                  <a:gd name="connsiteX160" fmla="*/ 276598 w 1197474"/>
                  <a:gd name="connsiteY160" fmla="*/ 614585 h 656079"/>
                  <a:gd name="connsiteX161" fmla="*/ 276598 w 1197474"/>
                  <a:gd name="connsiteY161" fmla="*/ 616424 h 656079"/>
                  <a:gd name="connsiteX162" fmla="*/ 276598 w 1197474"/>
                  <a:gd name="connsiteY162" fmla="*/ 628307 h 656079"/>
                  <a:gd name="connsiteX163" fmla="*/ 265127 w 1197474"/>
                  <a:gd name="connsiteY163" fmla="*/ 630777 h 656079"/>
                  <a:gd name="connsiteX164" fmla="*/ 260160 w 1197474"/>
                  <a:gd name="connsiteY164" fmla="*/ 628911 h 656079"/>
                  <a:gd name="connsiteX165" fmla="*/ 252366 w 1197474"/>
                  <a:gd name="connsiteY165" fmla="*/ 619470 h 656079"/>
                  <a:gd name="connsiteX166" fmla="*/ 249731 w 1197474"/>
                  <a:gd name="connsiteY166" fmla="*/ 614585 h 656079"/>
                  <a:gd name="connsiteX167" fmla="*/ 242980 w 1197474"/>
                  <a:gd name="connsiteY167" fmla="*/ 602099 h 656079"/>
                  <a:gd name="connsiteX168" fmla="*/ 223166 w 1197474"/>
                  <a:gd name="connsiteY168" fmla="*/ 588323 h 656079"/>
                  <a:gd name="connsiteX169" fmla="*/ 201596 w 1197474"/>
                  <a:gd name="connsiteY169" fmla="*/ 591149 h 656079"/>
                  <a:gd name="connsiteX170" fmla="*/ 181810 w 1197474"/>
                  <a:gd name="connsiteY170" fmla="*/ 602099 h 656079"/>
                  <a:gd name="connsiteX171" fmla="*/ 171628 w 1197474"/>
                  <a:gd name="connsiteY171" fmla="*/ 610991 h 656079"/>
                  <a:gd name="connsiteX172" fmla="*/ 172507 w 1197474"/>
                  <a:gd name="connsiteY172" fmla="*/ 595705 h 656079"/>
                  <a:gd name="connsiteX173" fmla="*/ 176239 w 1197474"/>
                  <a:gd name="connsiteY173" fmla="*/ 585578 h 656079"/>
                  <a:gd name="connsiteX174" fmla="*/ 178572 w 1197474"/>
                  <a:gd name="connsiteY174" fmla="*/ 579157 h 656079"/>
                  <a:gd name="connsiteX175" fmla="*/ 178215 w 1197474"/>
                  <a:gd name="connsiteY175" fmla="*/ 576303 h 656079"/>
                  <a:gd name="connsiteX176" fmla="*/ 177776 w 1197474"/>
                  <a:gd name="connsiteY176" fmla="*/ 573009 h 656079"/>
                  <a:gd name="connsiteX177" fmla="*/ 172891 w 1197474"/>
                  <a:gd name="connsiteY177" fmla="*/ 569744 h 656079"/>
                  <a:gd name="connsiteX178" fmla="*/ 157934 w 1197474"/>
                  <a:gd name="connsiteY178" fmla="*/ 566862 h 656079"/>
                  <a:gd name="connsiteX179" fmla="*/ 148274 w 1197474"/>
                  <a:gd name="connsiteY179" fmla="*/ 556653 h 656079"/>
                  <a:gd name="connsiteX180" fmla="*/ 140014 w 1197474"/>
                  <a:gd name="connsiteY180" fmla="*/ 553662 h 656079"/>
                  <a:gd name="connsiteX181" fmla="*/ 136309 w 1197474"/>
                  <a:gd name="connsiteY181" fmla="*/ 539419 h 656079"/>
                  <a:gd name="connsiteX182" fmla="*/ 126100 w 1197474"/>
                  <a:gd name="connsiteY182" fmla="*/ 518370 h 656079"/>
                  <a:gd name="connsiteX183" fmla="*/ 111062 w 1197474"/>
                  <a:gd name="connsiteY183" fmla="*/ 507036 h 656079"/>
                  <a:gd name="connsiteX184" fmla="*/ 109086 w 1197474"/>
                  <a:gd name="connsiteY184" fmla="*/ 501493 h 656079"/>
                  <a:gd name="connsiteX185" fmla="*/ 115288 w 1197474"/>
                  <a:gd name="connsiteY185" fmla="*/ 495565 h 656079"/>
                  <a:gd name="connsiteX186" fmla="*/ 132605 w 1197474"/>
                  <a:gd name="connsiteY186" fmla="*/ 499462 h 656079"/>
                  <a:gd name="connsiteX187" fmla="*/ 137490 w 1197474"/>
                  <a:gd name="connsiteY187" fmla="*/ 498364 h 656079"/>
                  <a:gd name="connsiteX188" fmla="*/ 131342 w 1197474"/>
                  <a:gd name="connsiteY188" fmla="*/ 482996 h 656079"/>
                  <a:gd name="connsiteX189" fmla="*/ 145448 w 1197474"/>
                  <a:gd name="connsiteY189" fmla="*/ 464939 h 656079"/>
                  <a:gd name="connsiteX190" fmla="*/ 154093 w 1197474"/>
                  <a:gd name="connsiteY190" fmla="*/ 462771 h 656079"/>
                  <a:gd name="connsiteX191" fmla="*/ 185323 w 1197474"/>
                  <a:gd name="connsiteY191" fmla="*/ 462277 h 656079"/>
                  <a:gd name="connsiteX192" fmla="*/ 183319 w 1197474"/>
                  <a:gd name="connsiteY192" fmla="*/ 453797 h 656079"/>
                  <a:gd name="connsiteX193" fmla="*/ 190481 w 1197474"/>
                  <a:gd name="connsiteY193" fmla="*/ 433215 h 656079"/>
                  <a:gd name="connsiteX194" fmla="*/ 189466 w 1197474"/>
                  <a:gd name="connsiteY194" fmla="*/ 416612 h 656079"/>
                  <a:gd name="connsiteX195" fmla="*/ 190921 w 1197474"/>
                  <a:gd name="connsiteY195" fmla="*/ 405634 h 656079"/>
                  <a:gd name="connsiteX196" fmla="*/ 181700 w 1197474"/>
                  <a:gd name="connsiteY196" fmla="*/ 397676 h 656079"/>
                  <a:gd name="connsiteX197" fmla="*/ 172946 w 1197474"/>
                  <a:gd name="connsiteY197" fmla="*/ 397265 h 656079"/>
                  <a:gd name="connsiteX198" fmla="*/ 161365 w 1197474"/>
                  <a:gd name="connsiteY198" fmla="*/ 401244 h 656079"/>
                  <a:gd name="connsiteX199" fmla="*/ 147753 w 1197474"/>
                  <a:gd name="connsiteY199" fmla="*/ 394493 h 656079"/>
                  <a:gd name="connsiteX200" fmla="*/ 134169 w 1197474"/>
                  <a:gd name="connsiteY200" fmla="*/ 392160 h 656079"/>
                  <a:gd name="connsiteX201" fmla="*/ 113230 w 1197474"/>
                  <a:gd name="connsiteY201" fmla="*/ 401107 h 656079"/>
                  <a:gd name="connsiteX202" fmla="*/ 95419 w 1197474"/>
                  <a:gd name="connsiteY202" fmla="*/ 413374 h 656079"/>
                  <a:gd name="connsiteX203" fmla="*/ 83400 w 1197474"/>
                  <a:gd name="connsiteY203" fmla="*/ 417106 h 656079"/>
                  <a:gd name="connsiteX204" fmla="*/ 76978 w 1197474"/>
                  <a:gd name="connsiteY204" fmla="*/ 423774 h 656079"/>
                  <a:gd name="connsiteX205" fmla="*/ 58124 w 1197474"/>
                  <a:gd name="connsiteY205" fmla="*/ 409669 h 656079"/>
                  <a:gd name="connsiteX206" fmla="*/ 59579 w 1197474"/>
                  <a:gd name="connsiteY206" fmla="*/ 406897 h 656079"/>
                  <a:gd name="connsiteX207" fmla="*/ 66329 w 1197474"/>
                  <a:gd name="connsiteY207" fmla="*/ 407391 h 656079"/>
                  <a:gd name="connsiteX208" fmla="*/ 69019 w 1197474"/>
                  <a:gd name="connsiteY208" fmla="*/ 403906 h 656079"/>
                  <a:gd name="connsiteX209" fmla="*/ 58206 w 1197474"/>
                  <a:gd name="connsiteY209" fmla="*/ 378987 h 656079"/>
                  <a:gd name="connsiteX210" fmla="*/ 40836 w 1197474"/>
                  <a:gd name="connsiteY210" fmla="*/ 362824 h 656079"/>
                  <a:gd name="connsiteX211" fmla="*/ 19347 w 1197474"/>
                  <a:gd name="connsiteY211" fmla="*/ 362577 h 656079"/>
                  <a:gd name="connsiteX212" fmla="*/ 14901 w 1197474"/>
                  <a:gd name="connsiteY212" fmla="*/ 354755 h 656079"/>
                  <a:gd name="connsiteX213" fmla="*/ 13529 w 1197474"/>
                  <a:gd name="connsiteY213" fmla="*/ 343092 h 656079"/>
                  <a:gd name="connsiteX214" fmla="*/ 0 w 1197474"/>
                  <a:gd name="connsiteY214" fmla="*/ 329563 h 656079"/>
                  <a:gd name="connsiteX215" fmla="*/ 4309 w 1197474"/>
                  <a:gd name="connsiteY215" fmla="*/ 314085 h 656079"/>
                  <a:gd name="connsiteX216" fmla="*/ 11197 w 1197474"/>
                  <a:gd name="connsiteY216" fmla="*/ 301735 h 656079"/>
                  <a:gd name="connsiteX217" fmla="*/ 6806 w 1197474"/>
                  <a:gd name="connsiteY217" fmla="*/ 289798 h 656079"/>
                  <a:gd name="connsiteX218" fmla="*/ 8946 w 1197474"/>
                  <a:gd name="connsiteY218" fmla="*/ 273030 h 656079"/>
                  <a:gd name="connsiteX219" fmla="*/ 17865 w 1197474"/>
                  <a:gd name="connsiteY219" fmla="*/ 261916 h 656079"/>
                  <a:gd name="connsiteX220" fmla="*/ 22257 w 1197474"/>
                  <a:gd name="connsiteY220" fmla="*/ 248990 h 656079"/>
                  <a:gd name="connsiteX221" fmla="*/ 26455 w 1197474"/>
                  <a:gd name="connsiteY221" fmla="*/ 244270 h 656079"/>
                  <a:gd name="connsiteX222" fmla="*/ 35347 w 1197474"/>
                  <a:gd name="connsiteY222" fmla="*/ 247481 h 656079"/>
                  <a:gd name="connsiteX223" fmla="*/ 50660 w 1197474"/>
                  <a:gd name="connsiteY223" fmla="*/ 267514 h 656079"/>
                  <a:gd name="connsiteX224" fmla="*/ 59771 w 1197474"/>
                  <a:gd name="connsiteY224" fmla="*/ 266005 h 656079"/>
                  <a:gd name="connsiteX225" fmla="*/ 65012 w 1197474"/>
                  <a:gd name="connsiteY225" fmla="*/ 257470 h 656079"/>
                  <a:gd name="connsiteX226" fmla="*/ 61033 w 1197474"/>
                  <a:gd name="connsiteY226" fmla="*/ 233650 h 656079"/>
                  <a:gd name="connsiteX227" fmla="*/ 77225 w 1197474"/>
                  <a:gd name="connsiteY227" fmla="*/ 224676 h 656079"/>
                  <a:gd name="connsiteX228" fmla="*/ 85266 w 1197474"/>
                  <a:gd name="connsiteY228" fmla="*/ 211201 h 656079"/>
                  <a:gd name="connsiteX229" fmla="*/ 107165 w 1197474"/>
                  <a:gd name="connsiteY229" fmla="*/ 200965 h 656079"/>
                  <a:gd name="connsiteX230" fmla="*/ 116002 w 1197474"/>
                  <a:gd name="connsiteY230" fmla="*/ 189055 h 656079"/>
                  <a:gd name="connsiteX231" fmla="*/ 125964 w 1197474"/>
                  <a:gd name="connsiteY231" fmla="*/ 182249 h 656079"/>
                  <a:gd name="connsiteX232" fmla="*/ 136337 w 1197474"/>
                  <a:gd name="connsiteY232" fmla="*/ 184773 h 656079"/>
                  <a:gd name="connsiteX233" fmla="*/ 143170 w 1197474"/>
                  <a:gd name="connsiteY233" fmla="*/ 191772 h 656079"/>
                  <a:gd name="connsiteX234" fmla="*/ 148741 w 1197474"/>
                  <a:gd name="connsiteY234" fmla="*/ 191277 h 656079"/>
                  <a:gd name="connsiteX235" fmla="*/ 156151 w 1197474"/>
                  <a:gd name="connsiteY235" fmla="*/ 185020 h 656079"/>
                  <a:gd name="connsiteX236" fmla="*/ 165454 w 1197474"/>
                  <a:gd name="connsiteY236" fmla="*/ 182468 h 656079"/>
                  <a:gd name="connsiteX237" fmla="*/ 178105 w 1197474"/>
                  <a:gd name="connsiteY237" fmla="*/ 192869 h 656079"/>
                  <a:gd name="connsiteX238" fmla="*/ 200882 w 1197474"/>
                  <a:gd name="connsiteY238" fmla="*/ 194159 h 656079"/>
                  <a:gd name="connsiteX239" fmla="*/ 226679 w 1197474"/>
                  <a:gd name="connsiteY239" fmla="*/ 218227 h 656079"/>
                  <a:gd name="connsiteX240" fmla="*/ 233814 w 1197474"/>
                  <a:gd name="connsiteY240" fmla="*/ 234061 h 656079"/>
                  <a:gd name="connsiteX241" fmla="*/ 236531 w 1197474"/>
                  <a:gd name="connsiteY241" fmla="*/ 232607 h 656079"/>
                  <a:gd name="connsiteX242" fmla="*/ 239084 w 1197474"/>
                  <a:gd name="connsiteY242" fmla="*/ 224621 h 656079"/>
                  <a:gd name="connsiteX243" fmla="*/ 242706 w 1197474"/>
                  <a:gd name="connsiteY243" fmla="*/ 221794 h 656079"/>
                  <a:gd name="connsiteX244" fmla="*/ 248606 w 1197474"/>
                  <a:gd name="connsiteY244" fmla="*/ 222123 h 656079"/>
                  <a:gd name="connsiteX245" fmla="*/ 256757 w 1197474"/>
                  <a:gd name="connsiteY245" fmla="*/ 229615 h 656079"/>
                  <a:gd name="connsiteX246" fmla="*/ 267295 w 1197474"/>
                  <a:gd name="connsiteY246" fmla="*/ 233375 h 656079"/>
                  <a:gd name="connsiteX247" fmla="*/ 277256 w 1197474"/>
                  <a:gd name="connsiteY247" fmla="*/ 228051 h 656079"/>
                  <a:gd name="connsiteX248" fmla="*/ 291692 w 1197474"/>
                  <a:gd name="connsiteY248" fmla="*/ 214412 h 656079"/>
                  <a:gd name="connsiteX249" fmla="*/ 308871 w 1197474"/>
                  <a:gd name="connsiteY249" fmla="*/ 212601 h 656079"/>
                  <a:gd name="connsiteX250" fmla="*/ 321824 w 1197474"/>
                  <a:gd name="connsiteY250" fmla="*/ 219077 h 656079"/>
                  <a:gd name="connsiteX251" fmla="*/ 331072 w 1197474"/>
                  <a:gd name="connsiteY251" fmla="*/ 211201 h 656079"/>
                  <a:gd name="connsiteX252" fmla="*/ 341226 w 1197474"/>
                  <a:gd name="connsiteY252" fmla="*/ 210158 h 656079"/>
                  <a:gd name="connsiteX253" fmla="*/ 350639 w 1197474"/>
                  <a:gd name="connsiteY253" fmla="*/ 214083 h 656079"/>
                  <a:gd name="connsiteX254" fmla="*/ 358844 w 1197474"/>
                  <a:gd name="connsiteY254" fmla="*/ 225965 h 656079"/>
                  <a:gd name="connsiteX255" fmla="*/ 380881 w 1197474"/>
                  <a:gd name="connsiteY255" fmla="*/ 235488 h 656079"/>
                  <a:gd name="connsiteX256" fmla="*/ 388455 w 1197474"/>
                  <a:gd name="connsiteY256" fmla="*/ 233622 h 656079"/>
                  <a:gd name="connsiteX257" fmla="*/ 396908 w 1197474"/>
                  <a:gd name="connsiteY257" fmla="*/ 225279 h 656079"/>
                  <a:gd name="connsiteX258" fmla="*/ 407254 w 1197474"/>
                  <a:gd name="connsiteY258" fmla="*/ 229917 h 656079"/>
                  <a:gd name="connsiteX259" fmla="*/ 425146 w 1197474"/>
                  <a:gd name="connsiteY259" fmla="*/ 228984 h 656079"/>
                  <a:gd name="connsiteX260" fmla="*/ 435932 w 1197474"/>
                  <a:gd name="connsiteY260" fmla="*/ 221739 h 656079"/>
                  <a:gd name="connsiteX261" fmla="*/ 438704 w 1197474"/>
                  <a:gd name="connsiteY261" fmla="*/ 199620 h 656079"/>
                  <a:gd name="connsiteX262" fmla="*/ 410163 w 1197474"/>
                  <a:gd name="connsiteY262" fmla="*/ 184581 h 656079"/>
                  <a:gd name="connsiteX263" fmla="*/ 399076 w 1197474"/>
                  <a:gd name="connsiteY263" fmla="*/ 170887 h 656079"/>
                  <a:gd name="connsiteX264" fmla="*/ 422073 w 1197474"/>
                  <a:gd name="connsiteY264" fmla="*/ 152967 h 656079"/>
                  <a:gd name="connsiteX265" fmla="*/ 421936 w 1197474"/>
                  <a:gd name="connsiteY265" fmla="*/ 146161 h 656079"/>
                  <a:gd name="connsiteX266" fmla="*/ 417792 w 1197474"/>
                  <a:gd name="connsiteY266" fmla="*/ 134910 h 656079"/>
                  <a:gd name="connsiteX267" fmla="*/ 424982 w 1197474"/>
                  <a:gd name="connsiteY267" fmla="*/ 123768 h 656079"/>
                  <a:gd name="connsiteX268" fmla="*/ 437332 w 1197474"/>
                  <a:gd name="connsiteY268" fmla="*/ 119624 h 656079"/>
                  <a:gd name="connsiteX269" fmla="*/ 451355 w 1197474"/>
                  <a:gd name="connsiteY269" fmla="*/ 120667 h 656079"/>
                  <a:gd name="connsiteX270" fmla="*/ 454264 w 1197474"/>
                  <a:gd name="connsiteY270" fmla="*/ 118032 h 656079"/>
                  <a:gd name="connsiteX271" fmla="*/ 446827 w 1197474"/>
                  <a:gd name="connsiteY271" fmla="*/ 110677 h 656079"/>
                  <a:gd name="connsiteX272" fmla="*/ 431403 w 1197474"/>
                  <a:gd name="connsiteY272" fmla="*/ 103954 h 656079"/>
                  <a:gd name="connsiteX273" fmla="*/ 431403 w 1197474"/>
                  <a:gd name="connsiteY273" fmla="*/ 99179 h 656079"/>
                  <a:gd name="connsiteX274" fmla="*/ 434560 w 1197474"/>
                  <a:gd name="connsiteY274" fmla="*/ 94376 h 656079"/>
                  <a:gd name="connsiteX275" fmla="*/ 425394 w 1197474"/>
                  <a:gd name="connsiteY275" fmla="*/ 88202 h 656079"/>
                  <a:gd name="connsiteX276" fmla="*/ 429455 w 1197474"/>
                  <a:gd name="connsiteY276" fmla="*/ 72834 h 656079"/>
                  <a:gd name="connsiteX277" fmla="*/ 436261 w 1197474"/>
                  <a:gd name="connsiteY277" fmla="*/ 68553 h 656079"/>
                  <a:gd name="connsiteX278" fmla="*/ 449461 w 1197474"/>
                  <a:gd name="connsiteY278" fmla="*/ 71736 h 656079"/>
                  <a:gd name="connsiteX279" fmla="*/ 462332 w 1197474"/>
                  <a:gd name="connsiteY279" fmla="*/ 69376 h 656079"/>
                  <a:gd name="connsiteX280" fmla="*/ 469001 w 1197474"/>
                  <a:gd name="connsiteY280" fmla="*/ 72395 h 656079"/>
                  <a:gd name="connsiteX281" fmla="*/ 493425 w 1197474"/>
                  <a:gd name="connsiteY281" fmla="*/ 59771 h 656079"/>
                  <a:gd name="connsiteX282" fmla="*/ 529402 w 1197474"/>
                  <a:gd name="connsiteY282" fmla="*/ 51428 h 656079"/>
                  <a:gd name="connsiteX283" fmla="*/ 543783 w 1197474"/>
                  <a:gd name="connsiteY283" fmla="*/ 51648 h 656079"/>
                  <a:gd name="connsiteX284" fmla="*/ 556626 w 1197474"/>
                  <a:gd name="connsiteY284" fmla="*/ 39189 h 656079"/>
                  <a:gd name="connsiteX285" fmla="*/ 576989 w 1197474"/>
                  <a:gd name="connsiteY285" fmla="*/ 37597 h 656079"/>
                  <a:gd name="connsiteX286" fmla="*/ 630832 w 1197474"/>
                  <a:gd name="connsiteY286" fmla="*/ 22064 h 656079"/>
                  <a:gd name="connsiteX287" fmla="*/ 638790 w 1197474"/>
                  <a:gd name="connsiteY287" fmla="*/ 11581 h 656079"/>
                  <a:gd name="connsiteX288" fmla="*/ 660525 w 1197474"/>
                  <a:gd name="connsiteY288" fmla="*/ 0 h 656079"/>
                  <a:gd name="connsiteX289" fmla="*/ 679049 w 1197474"/>
                  <a:gd name="connsiteY289" fmla="*/ 3540 h 656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1197474" h="656079">
                    <a:moveTo>
                      <a:pt x="679021" y="3403"/>
                    </a:moveTo>
                    <a:lnTo>
                      <a:pt x="692414" y="10593"/>
                    </a:lnTo>
                    <a:lnTo>
                      <a:pt x="703336" y="6449"/>
                    </a:lnTo>
                    <a:lnTo>
                      <a:pt x="711679" y="7629"/>
                    </a:lnTo>
                    <a:lnTo>
                      <a:pt x="716482" y="15395"/>
                    </a:lnTo>
                    <a:lnTo>
                      <a:pt x="724056" y="38173"/>
                    </a:lnTo>
                    <a:lnTo>
                      <a:pt x="723425" y="48135"/>
                    </a:lnTo>
                    <a:lnTo>
                      <a:pt x="720954" y="55462"/>
                    </a:lnTo>
                    <a:lnTo>
                      <a:pt x="723150" y="61500"/>
                    </a:lnTo>
                    <a:lnTo>
                      <a:pt x="735554" y="63585"/>
                    </a:lnTo>
                    <a:lnTo>
                      <a:pt x="748096" y="60210"/>
                    </a:lnTo>
                    <a:lnTo>
                      <a:pt x="751965" y="55709"/>
                    </a:lnTo>
                    <a:lnTo>
                      <a:pt x="756795" y="60978"/>
                    </a:lnTo>
                    <a:lnTo>
                      <a:pt x="762119" y="72120"/>
                    </a:lnTo>
                    <a:lnTo>
                      <a:pt x="764534" y="71489"/>
                    </a:lnTo>
                    <a:lnTo>
                      <a:pt x="767882" y="65369"/>
                    </a:lnTo>
                    <a:lnTo>
                      <a:pt x="783963" y="71379"/>
                    </a:lnTo>
                    <a:lnTo>
                      <a:pt x="794913" y="70336"/>
                    </a:lnTo>
                    <a:lnTo>
                      <a:pt x="794859" y="75056"/>
                    </a:lnTo>
                    <a:lnTo>
                      <a:pt x="786022" y="87406"/>
                    </a:lnTo>
                    <a:lnTo>
                      <a:pt x="786461" y="92044"/>
                    </a:lnTo>
                    <a:lnTo>
                      <a:pt x="789315" y="94815"/>
                    </a:lnTo>
                    <a:lnTo>
                      <a:pt x="802570" y="89958"/>
                    </a:lnTo>
                    <a:lnTo>
                      <a:pt x="816676" y="93745"/>
                    </a:lnTo>
                    <a:lnTo>
                      <a:pt x="823289" y="86336"/>
                    </a:lnTo>
                    <a:lnTo>
                      <a:pt x="844284" y="74343"/>
                    </a:lnTo>
                    <a:lnTo>
                      <a:pt x="853257" y="63969"/>
                    </a:lnTo>
                    <a:lnTo>
                      <a:pt x="872879" y="54255"/>
                    </a:lnTo>
                    <a:lnTo>
                      <a:pt x="887670" y="51346"/>
                    </a:lnTo>
                    <a:lnTo>
                      <a:pt x="887177" y="58399"/>
                    </a:lnTo>
                    <a:lnTo>
                      <a:pt x="880865" y="63476"/>
                    </a:lnTo>
                    <a:lnTo>
                      <a:pt x="880975" y="67976"/>
                    </a:lnTo>
                    <a:lnTo>
                      <a:pt x="916321" y="102170"/>
                    </a:lnTo>
                    <a:lnTo>
                      <a:pt x="925432" y="114218"/>
                    </a:lnTo>
                    <a:lnTo>
                      <a:pt x="957842" y="171436"/>
                    </a:lnTo>
                    <a:lnTo>
                      <a:pt x="983721" y="221080"/>
                    </a:lnTo>
                    <a:lnTo>
                      <a:pt x="991680" y="218940"/>
                    </a:lnTo>
                    <a:lnTo>
                      <a:pt x="997141" y="207743"/>
                    </a:lnTo>
                    <a:lnTo>
                      <a:pt x="1003507" y="203517"/>
                    </a:lnTo>
                    <a:lnTo>
                      <a:pt x="1012618" y="207002"/>
                    </a:lnTo>
                    <a:lnTo>
                      <a:pt x="1016461" y="215729"/>
                    </a:lnTo>
                    <a:lnTo>
                      <a:pt x="1030731" y="226158"/>
                    </a:lnTo>
                    <a:lnTo>
                      <a:pt x="1054661" y="226020"/>
                    </a:lnTo>
                    <a:lnTo>
                      <a:pt x="1073378" y="216690"/>
                    </a:lnTo>
                    <a:lnTo>
                      <a:pt x="1083476" y="216909"/>
                    </a:lnTo>
                    <a:lnTo>
                      <a:pt x="1097472" y="225938"/>
                    </a:lnTo>
                    <a:lnTo>
                      <a:pt x="1104772" y="236339"/>
                    </a:lnTo>
                    <a:lnTo>
                      <a:pt x="1110837" y="249786"/>
                    </a:lnTo>
                    <a:lnTo>
                      <a:pt x="1128044" y="260516"/>
                    </a:lnTo>
                    <a:lnTo>
                      <a:pt x="1138801" y="278876"/>
                    </a:lnTo>
                    <a:lnTo>
                      <a:pt x="1162045" y="283843"/>
                    </a:lnTo>
                    <a:lnTo>
                      <a:pt x="1178813" y="273168"/>
                    </a:lnTo>
                    <a:lnTo>
                      <a:pt x="1181283" y="283843"/>
                    </a:lnTo>
                    <a:lnTo>
                      <a:pt x="1197475" y="302669"/>
                    </a:lnTo>
                    <a:lnTo>
                      <a:pt x="1191656" y="301022"/>
                    </a:lnTo>
                    <a:lnTo>
                      <a:pt x="1184467" y="303190"/>
                    </a:lnTo>
                    <a:lnTo>
                      <a:pt x="1181119" y="307992"/>
                    </a:lnTo>
                    <a:lnTo>
                      <a:pt x="1180817" y="319381"/>
                    </a:lnTo>
                    <a:lnTo>
                      <a:pt x="1175603" y="327120"/>
                    </a:lnTo>
                    <a:lnTo>
                      <a:pt x="1151398" y="336122"/>
                    </a:lnTo>
                    <a:lnTo>
                      <a:pt x="1145964" y="354179"/>
                    </a:lnTo>
                    <a:lnTo>
                      <a:pt x="1149696" y="382555"/>
                    </a:lnTo>
                    <a:lnTo>
                      <a:pt x="1144207" y="391858"/>
                    </a:lnTo>
                    <a:lnTo>
                      <a:pt x="1136277" y="393477"/>
                    </a:lnTo>
                    <a:lnTo>
                      <a:pt x="1124284" y="401573"/>
                    </a:lnTo>
                    <a:lnTo>
                      <a:pt x="1119097" y="395591"/>
                    </a:lnTo>
                    <a:lnTo>
                      <a:pt x="1100162" y="395975"/>
                    </a:lnTo>
                    <a:lnTo>
                      <a:pt x="1076423" y="386205"/>
                    </a:lnTo>
                    <a:lnTo>
                      <a:pt x="1072142" y="386864"/>
                    </a:lnTo>
                    <a:lnTo>
                      <a:pt x="1050079" y="453303"/>
                    </a:lnTo>
                    <a:lnTo>
                      <a:pt x="1050901" y="457584"/>
                    </a:lnTo>
                    <a:lnTo>
                      <a:pt x="1058366" y="462908"/>
                    </a:lnTo>
                    <a:lnTo>
                      <a:pt x="1056198" y="472870"/>
                    </a:lnTo>
                    <a:lnTo>
                      <a:pt x="1048157" y="470565"/>
                    </a:lnTo>
                    <a:lnTo>
                      <a:pt x="1039952" y="472184"/>
                    </a:lnTo>
                    <a:lnTo>
                      <a:pt x="1030950" y="465515"/>
                    </a:lnTo>
                    <a:lnTo>
                      <a:pt x="986081" y="478002"/>
                    </a:lnTo>
                    <a:lnTo>
                      <a:pt x="981114" y="482228"/>
                    </a:lnTo>
                    <a:lnTo>
                      <a:pt x="983035" y="487030"/>
                    </a:lnTo>
                    <a:lnTo>
                      <a:pt x="990253" y="487030"/>
                    </a:lnTo>
                    <a:cubicBezTo>
                      <a:pt x="990253" y="487030"/>
                      <a:pt x="995193" y="490735"/>
                      <a:pt x="995193" y="490735"/>
                    </a:cubicBezTo>
                    <a:lnTo>
                      <a:pt x="992915" y="500862"/>
                    </a:lnTo>
                    <a:lnTo>
                      <a:pt x="994479" y="513897"/>
                    </a:lnTo>
                    <a:lnTo>
                      <a:pt x="1003343" y="540901"/>
                    </a:lnTo>
                    <a:lnTo>
                      <a:pt x="1004166" y="554321"/>
                    </a:lnTo>
                    <a:lnTo>
                      <a:pt x="996125" y="559837"/>
                    </a:lnTo>
                    <a:lnTo>
                      <a:pt x="997058" y="566203"/>
                    </a:lnTo>
                    <a:lnTo>
                      <a:pt x="988853" y="573503"/>
                    </a:lnTo>
                    <a:lnTo>
                      <a:pt x="988963" y="576303"/>
                    </a:lnTo>
                    <a:lnTo>
                      <a:pt x="989319" y="585551"/>
                    </a:lnTo>
                    <a:lnTo>
                      <a:pt x="989622" y="592741"/>
                    </a:lnTo>
                    <a:lnTo>
                      <a:pt x="986191" y="592137"/>
                    </a:lnTo>
                    <a:lnTo>
                      <a:pt x="980510" y="585551"/>
                    </a:lnTo>
                    <a:lnTo>
                      <a:pt x="979659" y="584563"/>
                    </a:lnTo>
                    <a:lnTo>
                      <a:pt x="967255" y="582066"/>
                    </a:lnTo>
                    <a:lnTo>
                      <a:pt x="961849" y="576303"/>
                    </a:lnTo>
                    <a:lnTo>
                      <a:pt x="956168" y="570814"/>
                    </a:lnTo>
                    <a:lnTo>
                      <a:pt x="940663" y="566615"/>
                    </a:lnTo>
                    <a:lnTo>
                      <a:pt x="923429" y="567384"/>
                    </a:lnTo>
                    <a:lnTo>
                      <a:pt x="891924" y="562828"/>
                    </a:lnTo>
                    <a:lnTo>
                      <a:pt x="875596" y="566231"/>
                    </a:lnTo>
                    <a:lnTo>
                      <a:pt x="862725" y="564365"/>
                    </a:lnTo>
                    <a:lnTo>
                      <a:pt x="855864" y="568646"/>
                    </a:lnTo>
                    <a:lnTo>
                      <a:pt x="848509" y="568481"/>
                    </a:lnTo>
                    <a:lnTo>
                      <a:pt x="837423" y="565929"/>
                    </a:lnTo>
                    <a:lnTo>
                      <a:pt x="820380" y="554787"/>
                    </a:lnTo>
                    <a:lnTo>
                      <a:pt x="813574" y="552784"/>
                    </a:lnTo>
                    <a:lnTo>
                      <a:pt x="794254" y="561181"/>
                    </a:lnTo>
                    <a:lnTo>
                      <a:pt x="789727" y="576303"/>
                    </a:lnTo>
                    <a:lnTo>
                      <a:pt x="790138" y="583959"/>
                    </a:lnTo>
                    <a:lnTo>
                      <a:pt x="773343" y="579459"/>
                    </a:lnTo>
                    <a:lnTo>
                      <a:pt x="766153" y="576330"/>
                    </a:lnTo>
                    <a:lnTo>
                      <a:pt x="754737" y="571335"/>
                    </a:lnTo>
                    <a:lnTo>
                      <a:pt x="743266" y="568866"/>
                    </a:lnTo>
                    <a:lnTo>
                      <a:pt x="731191" y="569716"/>
                    </a:lnTo>
                    <a:lnTo>
                      <a:pt x="726443" y="571061"/>
                    </a:lnTo>
                    <a:lnTo>
                      <a:pt x="721558" y="576330"/>
                    </a:lnTo>
                    <a:lnTo>
                      <a:pt x="719610" y="578416"/>
                    </a:lnTo>
                    <a:lnTo>
                      <a:pt x="719281" y="581846"/>
                    </a:lnTo>
                    <a:lnTo>
                      <a:pt x="716619" y="585578"/>
                    </a:lnTo>
                    <a:lnTo>
                      <a:pt x="714917" y="587966"/>
                    </a:lnTo>
                    <a:lnTo>
                      <a:pt x="716015" y="591176"/>
                    </a:lnTo>
                    <a:lnTo>
                      <a:pt x="714396" y="592768"/>
                    </a:lnTo>
                    <a:lnTo>
                      <a:pt x="706409" y="600617"/>
                    </a:lnTo>
                    <a:lnTo>
                      <a:pt x="700564" y="597900"/>
                    </a:lnTo>
                    <a:lnTo>
                      <a:pt x="696475" y="602099"/>
                    </a:lnTo>
                    <a:lnTo>
                      <a:pt x="686651" y="612115"/>
                    </a:lnTo>
                    <a:lnTo>
                      <a:pt x="680613" y="614585"/>
                    </a:lnTo>
                    <a:lnTo>
                      <a:pt x="676086" y="616424"/>
                    </a:lnTo>
                    <a:lnTo>
                      <a:pt x="671997" y="619772"/>
                    </a:lnTo>
                    <a:lnTo>
                      <a:pt x="660086" y="627593"/>
                    </a:lnTo>
                    <a:lnTo>
                      <a:pt x="646858" y="644965"/>
                    </a:lnTo>
                    <a:lnTo>
                      <a:pt x="647902" y="654954"/>
                    </a:lnTo>
                    <a:lnTo>
                      <a:pt x="643291" y="656079"/>
                    </a:lnTo>
                    <a:lnTo>
                      <a:pt x="631957" y="648368"/>
                    </a:lnTo>
                    <a:lnTo>
                      <a:pt x="633576" y="639888"/>
                    </a:lnTo>
                    <a:lnTo>
                      <a:pt x="627484" y="633823"/>
                    </a:lnTo>
                    <a:lnTo>
                      <a:pt x="589311" y="630694"/>
                    </a:lnTo>
                    <a:lnTo>
                      <a:pt x="587417" y="616452"/>
                    </a:lnTo>
                    <a:lnTo>
                      <a:pt x="587170" y="614613"/>
                    </a:lnTo>
                    <a:lnTo>
                      <a:pt x="586045" y="606325"/>
                    </a:lnTo>
                    <a:lnTo>
                      <a:pt x="572186" y="603718"/>
                    </a:lnTo>
                    <a:lnTo>
                      <a:pt x="571528" y="602126"/>
                    </a:lnTo>
                    <a:lnTo>
                      <a:pt x="571363" y="589530"/>
                    </a:lnTo>
                    <a:lnTo>
                      <a:pt x="573010" y="585606"/>
                    </a:lnTo>
                    <a:lnTo>
                      <a:pt x="573668" y="583986"/>
                    </a:lnTo>
                    <a:lnTo>
                      <a:pt x="573476" y="576330"/>
                    </a:lnTo>
                    <a:lnTo>
                      <a:pt x="573202" y="565243"/>
                    </a:lnTo>
                    <a:lnTo>
                      <a:pt x="565490" y="564859"/>
                    </a:lnTo>
                    <a:lnTo>
                      <a:pt x="560166" y="549930"/>
                    </a:lnTo>
                    <a:lnTo>
                      <a:pt x="545209" y="531543"/>
                    </a:lnTo>
                    <a:lnTo>
                      <a:pt x="526878" y="536949"/>
                    </a:lnTo>
                    <a:lnTo>
                      <a:pt x="493452" y="534644"/>
                    </a:lnTo>
                    <a:lnTo>
                      <a:pt x="453715" y="541066"/>
                    </a:lnTo>
                    <a:lnTo>
                      <a:pt x="426711" y="510000"/>
                    </a:lnTo>
                    <a:lnTo>
                      <a:pt x="352477" y="455471"/>
                    </a:lnTo>
                    <a:lnTo>
                      <a:pt x="277009" y="480307"/>
                    </a:lnTo>
                    <a:lnTo>
                      <a:pt x="276708" y="576330"/>
                    </a:lnTo>
                    <a:lnTo>
                      <a:pt x="276708" y="585578"/>
                    </a:lnTo>
                    <a:cubicBezTo>
                      <a:pt x="276708" y="585578"/>
                      <a:pt x="276598" y="602099"/>
                      <a:pt x="276598" y="602099"/>
                    </a:cubicBezTo>
                    <a:lnTo>
                      <a:pt x="276598" y="614585"/>
                    </a:lnTo>
                    <a:cubicBezTo>
                      <a:pt x="276598" y="614585"/>
                      <a:pt x="276598" y="616424"/>
                      <a:pt x="276598" y="616424"/>
                    </a:cubicBezTo>
                    <a:lnTo>
                      <a:pt x="276598" y="628307"/>
                    </a:lnTo>
                    <a:lnTo>
                      <a:pt x="265127" y="630777"/>
                    </a:lnTo>
                    <a:lnTo>
                      <a:pt x="260160" y="628911"/>
                    </a:lnTo>
                    <a:lnTo>
                      <a:pt x="252366" y="619470"/>
                    </a:lnTo>
                    <a:lnTo>
                      <a:pt x="249731" y="614585"/>
                    </a:lnTo>
                    <a:lnTo>
                      <a:pt x="242980" y="602099"/>
                    </a:lnTo>
                    <a:lnTo>
                      <a:pt x="223166" y="588323"/>
                    </a:lnTo>
                    <a:lnTo>
                      <a:pt x="201596" y="591149"/>
                    </a:lnTo>
                    <a:lnTo>
                      <a:pt x="181810" y="602099"/>
                    </a:lnTo>
                    <a:lnTo>
                      <a:pt x="171628" y="610991"/>
                    </a:lnTo>
                    <a:lnTo>
                      <a:pt x="172507" y="595705"/>
                    </a:lnTo>
                    <a:lnTo>
                      <a:pt x="176239" y="585578"/>
                    </a:lnTo>
                    <a:lnTo>
                      <a:pt x="178572" y="579157"/>
                    </a:lnTo>
                    <a:lnTo>
                      <a:pt x="178215" y="576303"/>
                    </a:lnTo>
                    <a:lnTo>
                      <a:pt x="177776" y="573009"/>
                    </a:lnTo>
                    <a:lnTo>
                      <a:pt x="172891" y="569744"/>
                    </a:lnTo>
                    <a:lnTo>
                      <a:pt x="157934" y="566862"/>
                    </a:lnTo>
                    <a:lnTo>
                      <a:pt x="148274" y="556653"/>
                    </a:lnTo>
                    <a:lnTo>
                      <a:pt x="140014" y="553662"/>
                    </a:lnTo>
                    <a:lnTo>
                      <a:pt x="136309" y="539419"/>
                    </a:lnTo>
                    <a:lnTo>
                      <a:pt x="126100" y="518370"/>
                    </a:lnTo>
                    <a:lnTo>
                      <a:pt x="111062" y="507036"/>
                    </a:lnTo>
                    <a:lnTo>
                      <a:pt x="109086" y="501493"/>
                    </a:lnTo>
                    <a:lnTo>
                      <a:pt x="115288" y="495565"/>
                    </a:lnTo>
                    <a:lnTo>
                      <a:pt x="132605" y="499462"/>
                    </a:lnTo>
                    <a:lnTo>
                      <a:pt x="137490" y="498364"/>
                    </a:lnTo>
                    <a:lnTo>
                      <a:pt x="131342" y="482996"/>
                    </a:lnTo>
                    <a:lnTo>
                      <a:pt x="145448" y="464939"/>
                    </a:lnTo>
                    <a:lnTo>
                      <a:pt x="154093" y="462771"/>
                    </a:lnTo>
                    <a:lnTo>
                      <a:pt x="185323" y="462277"/>
                    </a:lnTo>
                    <a:lnTo>
                      <a:pt x="183319" y="453797"/>
                    </a:lnTo>
                    <a:lnTo>
                      <a:pt x="190481" y="433215"/>
                    </a:lnTo>
                    <a:lnTo>
                      <a:pt x="189466" y="416612"/>
                    </a:lnTo>
                    <a:lnTo>
                      <a:pt x="190921" y="405634"/>
                    </a:lnTo>
                    <a:lnTo>
                      <a:pt x="181700" y="397676"/>
                    </a:lnTo>
                    <a:lnTo>
                      <a:pt x="172946" y="397265"/>
                    </a:lnTo>
                    <a:lnTo>
                      <a:pt x="161365" y="401244"/>
                    </a:lnTo>
                    <a:lnTo>
                      <a:pt x="147753" y="394493"/>
                    </a:lnTo>
                    <a:lnTo>
                      <a:pt x="134169" y="392160"/>
                    </a:lnTo>
                    <a:lnTo>
                      <a:pt x="113230" y="401107"/>
                    </a:lnTo>
                    <a:lnTo>
                      <a:pt x="95419" y="413374"/>
                    </a:lnTo>
                    <a:lnTo>
                      <a:pt x="83400" y="417106"/>
                    </a:lnTo>
                    <a:lnTo>
                      <a:pt x="76978" y="423774"/>
                    </a:lnTo>
                    <a:lnTo>
                      <a:pt x="58124" y="409669"/>
                    </a:lnTo>
                    <a:lnTo>
                      <a:pt x="59579" y="406897"/>
                    </a:lnTo>
                    <a:lnTo>
                      <a:pt x="66329" y="407391"/>
                    </a:lnTo>
                    <a:lnTo>
                      <a:pt x="69019" y="403906"/>
                    </a:lnTo>
                    <a:lnTo>
                      <a:pt x="58206" y="378987"/>
                    </a:lnTo>
                    <a:lnTo>
                      <a:pt x="40836" y="362824"/>
                    </a:lnTo>
                    <a:lnTo>
                      <a:pt x="19347" y="362577"/>
                    </a:lnTo>
                    <a:lnTo>
                      <a:pt x="14901" y="354755"/>
                    </a:lnTo>
                    <a:lnTo>
                      <a:pt x="13529" y="343092"/>
                    </a:lnTo>
                    <a:lnTo>
                      <a:pt x="0" y="329563"/>
                    </a:lnTo>
                    <a:lnTo>
                      <a:pt x="4309" y="314085"/>
                    </a:lnTo>
                    <a:lnTo>
                      <a:pt x="11197" y="301735"/>
                    </a:lnTo>
                    <a:lnTo>
                      <a:pt x="6806" y="289798"/>
                    </a:lnTo>
                    <a:lnTo>
                      <a:pt x="8946" y="273030"/>
                    </a:lnTo>
                    <a:lnTo>
                      <a:pt x="17865" y="261916"/>
                    </a:lnTo>
                    <a:lnTo>
                      <a:pt x="22257" y="248990"/>
                    </a:lnTo>
                    <a:lnTo>
                      <a:pt x="26455" y="244270"/>
                    </a:lnTo>
                    <a:lnTo>
                      <a:pt x="35347" y="247481"/>
                    </a:lnTo>
                    <a:lnTo>
                      <a:pt x="50660" y="267514"/>
                    </a:lnTo>
                    <a:lnTo>
                      <a:pt x="59771" y="266005"/>
                    </a:lnTo>
                    <a:lnTo>
                      <a:pt x="65012" y="257470"/>
                    </a:lnTo>
                    <a:lnTo>
                      <a:pt x="61033" y="233650"/>
                    </a:lnTo>
                    <a:lnTo>
                      <a:pt x="77225" y="224676"/>
                    </a:lnTo>
                    <a:lnTo>
                      <a:pt x="85266" y="211201"/>
                    </a:lnTo>
                    <a:lnTo>
                      <a:pt x="107165" y="200965"/>
                    </a:lnTo>
                    <a:lnTo>
                      <a:pt x="116002" y="189055"/>
                    </a:lnTo>
                    <a:lnTo>
                      <a:pt x="125964" y="182249"/>
                    </a:lnTo>
                    <a:lnTo>
                      <a:pt x="136337" y="184773"/>
                    </a:lnTo>
                    <a:lnTo>
                      <a:pt x="143170" y="191772"/>
                    </a:lnTo>
                    <a:lnTo>
                      <a:pt x="148741" y="191277"/>
                    </a:lnTo>
                    <a:lnTo>
                      <a:pt x="156151" y="185020"/>
                    </a:lnTo>
                    <a:lnTo>
                      <a:pt x="165454" y="182468"/>
                    </a:lnTo>
                    <a:lnTo>
                      <a:pt x="178105" y="192869"/>
                    </a:lnTo>
                    <a:lnTo>
                      <a:pt x="200882" y="194159"/>
                    </a:lnTo>
                    <a:lnTo>
                      <a:pt x="226679" y="218227"/>
                    </a:lnTo>
                    <a:lnTo>
                      <a:pt x="233814" y="234061"/>
                    </a:lnTo>
                    <a:lnTo>
                      <a:pt x="236531" y="232607"/>
                    </a:lnTo>
                    <a:lnTo>
                      <a:pt x="239084" y="224621"/>
                    </a:lnTo>
                    <a:lnTo>
                      <a:pt x="242706" y="221794"/>
                    </a:lnTo>
                    <a:lnTo>
                      <a:pt x="248606" y="222123"/>
                    </a:lnTo>
                    <a:lnTo>
                      <a:pt x="256757" y="229615"/>
                    </a:lnTo>
                    <a:lnTo>
                      <a:pt x="267295" y="233375"/>
                    </a:lnTo>
                    <a:lnTo>
                      <a:pt x="277256" y="228051"/>
                    </a:lnTo>
                    <a:lnTo>
                      <a:pt x="291692" y="214412"/>
                    </a:lnTo>
                    <a:lnTo>
                      <a:pt x="308871" y="212601"/>
                    </a:lnTo>
                    <a:lnTo>
                      <a:pt x="321824" y="219077"/>
                    </a:lnTo>
                    <a:lnTo>
                      <a:pt x="331072" y="211201"/>
                    </a:lnTo>
                    <a:lnTo>
                      <a:pt x="341226" y="210158"/>
                    </a:lnTo>
                    <a:lnTo>
                      <a:pt x="350639" y="214083"/>
                    </a:lnTo>
                    <a:lnTo>
                      <a:pt x="358844" y="225965"/>
                    </a:lnTo>
                    <a:lnTo>
                      <a:pt x="380881" y="235488"/>
                    </a:lnTo>
                    <a:lnTo>
                      <a:pt x="388455" y="233622"/>
                    </a:lnTo>
                    <a:lnTo>
                      <a:pt x="396908" y="225279"/>
                    </a:lnTo>
                    <a:lnTo>
                      <a:pt x="407254" y="229917"/>
                    </a:lnTo>
                    <a:lnTo>
                      <a:pt x="425146" y="228984"/>
                    </a:lnTo>
                    <a:lnTo>
                      <a:pt x="435932" y="221739"/>
                    </a:lnTo>
                    <a:lnTo>
                      <a:pt x="438704" y="199620"/>
                    </a:lnTo>
                    <a:lnTo>
                      <a:pt x="410163" y="184581"/>
                    </a:lnTo>
                    <a:lnTo>
                      <a:pt x="399076" y="170887"/>
                    </a:lnTo>
                    <a:lnTo>
                      <a:pt x="422073" y="152967"/>
                    </a:lnTo>
                    <a:lnTo>
                      <a:pt x="421936" y="146161"/>
                    </a:lnTo>
                    <a:lnTo>
                      <a:pt x="417792" y="134910"/>
                    </a:lnTo>
                    <a:lnTo>
                      <a:pt x="424982" y="123768"/>
                    </a:lnTo>
                    <a:lnTo>
                      <a:pt x="437332" y="119624"/>
                    </a:lnTo>
                    <a:lnTo>
                      <a:pt x="451355" y="120667"/>
                    </a:lnTo>
                    <a:lnTo>
                      <a:pt x="454264" y="118032"/>
                    </a:lnTo>
                    <a:lnTo>
                      <a:pt x="446827" y="110677"/>
                    </a:lnTo>
                    <a:lnTo>
                      <a:pt x="431403" y="103954"/>
                    </a:lnTo>
                    <a:lnTo>
                      <a:pt x="431403" y="99179"/>
                    </a:lnTo>
                    <a:cubicBezTo>
                      <a:pt x="431403" y="99179"/>
                      <a:pt x="434560" y="94376"/>
                      <a:pt x="434560" y="94376"/>
                    </a:cubicBezTo>
                    <a:lnTo>
                      <a:pt x="425394" y="88202"/>
                    </a:lnTo>
                    <a:lnTo>
                      <a:pt x="429455" y="72834"/>
                    </a:lnTo>
                    <a:lnTo>
                      <a:pt x="436261" y="68553"/>
                    </a:lnTo>
                    <a:lnTo>
                      <a:pt x="449461" y="71736"/>
                    </a:lnTo>
                    <a:lnTo>
                      <a:pt x="462332" y="69376"/>
                    </a:lnTo>
                    <a:lnTo>
                      <a:pt x="469001" y="72395"/>
                    </a:lnTo>
                    <a:lnTo>
                      <a:pt x="493425" y="59771"/>
                    </a:lnTo>
                    <a:lnTo>
                      <a:pt x="529402" y="51428"/>
                    </a:lnTo>
                    <a:lnTo>
                      <a:pt x="543783" y="51648"/>
                    </a:lnTo>
                    <a:lnTo>
                      <a:pt x="556626" y="39189"/>
                    </a:lnTo>
                    <a:lnTo>
                      <a:pt x="576989" y="37597"/>
                    </a:lnTo>
                    <a:lnTo>
                      <a:pt x="630832" y="22064"/>
                    </a:lnTo>
                    <a:lnTo>
                      <a:pt x="638790" y="11581"/>
                    </a:lnTo>
                    <a:lnTo>
                      <a:pt x="660525" y="0"/>
                    </a:lnTo>
                    <a:lnTo>
                      <a:pt x="679049"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2" name="Freeform: Shape 3881">
                <a:extLst>
                  <a:ext uri="{FF2B5EF4-FFF2-40B4-BE49-F238E27FC236}">
                    <a16:creationId xmlns:a16="http://schemas.microsoft.com/office/drawing/2014/main" id="{6DB2F345-09F1-3438-D242-3E9FF4AEFAEE}"/>
                  </a:ext>
                </a:extLst>
              </p:cNvPr>
              <p:cNvSpPr/>
              <p:nvPr/>
            </p:nvSpPr>
            <p:spPr>
              <a:xfrm>
                <a:off x="1519525" y="3689198"/>
                <a:ext cx="292" cy="733"/>
              </a:xfrm>
              <a:custGeom>
                <a:avLst/>
                <a:gdLst>
                  <a:gd name="connsiteX0" fmla="*/ 2003 w 2799"/>
                  <a:gd name="connsiteY0" fmla="*/ 6559 h 7025"/>
                  <a:gd name="connsiteX1" fmla="*/ 1125 w 2799"/>
                  <a:gd name="connsiteY1" fmla="*/ 7026 h 7025"/>
                  <a:gd name="connsiteX2" fmla="*/ 0 w 2799"/>
                  <a:gd name="connsiteY2" fmla="*/ 2991 h 7025"/>
                  <a:gd name="connsiteX3" fmla="*/ 1290 w 2799"/>
                  <a:gd name="connsiteY3" fmla="*/ 0 h 7025"/>
                  <a:gd name="connsiteX4" fmla="*/ 2799 w 2799"/>
                  <a:gd name="connsiteY4" fmla="*/ 1125 h 7025"/>
                  <a:gd name="connsiteX5" fmla="*/ 2031 w 2799"/>
                  <a:gd name="connsiteY5" fmla="*/ 6559 h 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 h="7025">
                    <a:moveTo>
                      <a:pt x="2003" y="6559"/>
                    </a:moveTo>
                    <a:lnTo>
                      <a:pt x="1125" y="7026"/>
                    </a:lnTo>
                    <a:lnTo>
                      <a:pt x="0" y="2991"/>
                    </a:lnTo>
                    <a:lnTo>
                      <a:pt x="1290" y="0"/>
                    </a:lnTo>
                    <a:lnTo>
                      <a:pt x="2799" y="1125"/>
                    </a:lnTo>
                    <a:lnTo>
                      <a:pt x="2031" y="65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3" name="Freeform: Shape 3882">
                <a:extLst>
                  <a:ext uri="{FF2B5EF4-FFF2-40B4-BE49-F238E27FC236}">
                    <a16:creationId xmlns:a16="http://schemas.microsoft.com/office/drawing/2014/main" id="{6362BFAA-609E-8A67-764F-256A461C067A}"/>
                  </a:ext>
                </a:extLst>
              </p:cNvPr>
              <p:cNvSpPr/>
              <p:nvPr/>
            </p:nvSpPr>
            <p:spPr>
              <a:xfrm>
                <a:off x="1518584" y="3689461"/>
                <a:ext cx="366" cy="581"/>
              </a:xfrm>
              <a:custGeom>
                <a:avLst/>
                <a:gdLst>
                  <a:gd name="connsiteX0" fmla="*/ 3513 w 3512"/>
                  <a:gd name="connsiteY0" fmla="*/ 3622 h 5570"/>
                  <a:gd name="connsiteX1" fmla="*/ 2086 w 3512"/>
                  <a:gd name="connsiteY1" fmla="*/ 5571 h 5570"/>
                  <a:gd name="connsiteX2" fmla="*/ 0 w 3512"/>
                  <a:gd name="connsiteY2" fmla="*/ 2525 h 5570"/>
                  <a:gd name="connsiteX3" fmla="*/ 2278 w 3512"/>
                  <a:gd name="connsiteY3" fmla="*/ 0 h 5570"/>
                  <a:gd name="connsiteX4" fmla="*/ 3513 w 3512"/>
                  <a:gd name="connsiteY4" fmla="*/ 3622 h 5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5570">
                    <a:moveTo>
                      <a:pt x="3513" y="3622"/>
                    </a:moveTo>
                    <a:lnTo>
                      <a:pt x="2086" y="5571"/>
                    </a:lnTo>
                    <a:lnTo>
                      <a:pt x="0" y="2525"/>
                    </a:lnTo>
                    <a:lnTo>
                      <a:pt x="2278" y="0"/>
                    </a:lnTo>
                    <a:lnTo>
                      <a:pt x="3513" y="36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4" name="Freeform: Shape 3883">
                <a:extLst>
                  <a:ext uri="{FF2B5EF4-FFF2-40B4-BE49-F238E27FC236}">
                    <a16:creationId xmlns:a16="http://schemas.microsoft.com/office/drawing/2014/main" id="{B9CAE9DB-DAE0-4280-6C7A-2245407FC0FA}"/>
                  </a:ext>
                </a:extLst>
              </p:cNvPr>
              <p:cNvSpPr/>
              <p:nvPr/>
            </p:nvSpPr>
            <p:spPr>
              <a:xfrm>
                <a:off x="1672431" y="3773645"/>
                <a:ext cx="23213" cy="27673"/>
              </a:xfrm>
              <a:custGeom>
                <a:avLst/>
                <a:gdLst>
                  <a:gd name="connsiteX0" fmla="*/ 60402 w 222562"/>
                  <a:gd name="connsiteY0" fmla="*/ 2607 h 265318"/>
                  <a:gd name="connsiteX1" fmla="*/ 74124 w 222562"/>
                  <a:gd name="connsiteY1" fmla="*/ 18359 h 265318"/>
                  <a:gd name="connsiteX2" fmla="*/ 83783 w 222562"/>
                  <a:gd name="connsiteY2" fmla="*/ 23875 h 265318"/>
                  <a:gd name="connsiteX3" fmla="*/ 84552 w 222562"/>
                  <a:gd name="connsiteY3" fmla="*/ 30022 h 265318"/>
                  <a:gd name="connsiteX4" fmla="*/ 81286 w 222562"/>
                  <a:gd name="connsiteY4" fmla="*/ 38777 h 265318"/>
                  <a:gd name="connsiteX5" fmla="*/ 89766 w 222562"/>
                  <a:gd name="connsiteY5" fmla="*/ 50083 h 265318"/>
                  <a:gd name="connsiteX6" fmla="*/ 94513 w 222562"/>
                  <a:gd name="connsiteY6" fmla="*/ 52334 h 265318"/>
                  <a:gd name="connsiteX7" fmla="*/ 107137 w 222562"/>
                  <a:gd name="connsiteY7" fmla="*/ 53486 h 265318"/>
                  <a:gd name="connsiteX8" fmla="*/ 119157 w 222562"/>
                  <a:gd name="connsiteY8" fmla="*/ 48958 h 265318"/>
                  <a:gd name="connsiteX9" fmla="*/ 129421 w 222562"/>
                  <a:gd name="connsiteY9" fmla="*/ 55737 h 265318"/>
                  <a:gd name="connsiteX10" fmla="*/ 131013 w 222562"/>
                  <a:gd name="connsiteY10" fmla="*/ 59304 h 265318"/>
                  <a:gd name="connsiteX11" fmla="*/ 129915 w 222562"/>
                  <a:gd name="connsiteY11" fmla="*/ 64409 h 265318"/>
                  <a:gd name="connsiteX12" fmla="*/ 136008 w 222562"/>
                  <a:gd name="connsiteY12" fmla="*/ 66796 h 265318"/>
                  <a:gd name="connsiteX13" fmla="*/ 137078 w 222562"/>
                  <a:gd name="connsiteY13" fmla="*/ 71791 h 265318"/>
                  <a:gd name="connsiteX14" fmla="*/ 142429 w 222562"/>
                  <a:gd name="connsiteY14" fmla="*/ 76484 h 265318"/>
                  <a:gd name="connsiteX15" fmla="*/ 137928 w 222562"/>
                  <a:gd name="connsiteY15" fmla="*/ 85156 h 265318"/>
                  <a:gd name="connsiteX16" fmla="*/ 133153 w 222562"/>
                  <a:gd name="connsiteY16" fmla="*/ 89382 h 265318"/>
                  <a:gd name="connsiteX17" fmla="*/ 117346 w 222562"/>
                  <a:gd name="connsiteY17" fmla="*/ 88696 h 265318"/>
                  <a:gd name="connsiteX18" fmla="*/ 117730 w 222562"/>
                  <a:gd name="connsiteY18" fmla="*/ 94404 h 265318"/>
                  <a:gd name="connsiteX19" fmla="*/ 113669 w 222562"/>
                  <a:gd name="connsiteY19" fmla="*/ 100167 h 265318"/>
                  <a:gd name="connsiteX20" fmla="*/ 136008 w 222562"/>
                  <a:gd name="connsiteY20" fmla="*/ 114931 h 265318"/>
                  <a:gd name="connsiteX21" fmla="*/ 148055 w 222562"/>
                  <a:gd name="connsiteY21" fmla="*/ 119679 h 265318"/>
                  <a:gd name="connsiteX22" fmla="*/ 148137 w 222562"/>
                  <a:gd name="connsiteY22" fmla="*/ 126430 h 265318"/>
                  <a:gd name="connsiteX23" fmla="*/ 150360 w 222562"/>
                  <a:gd name="connsiteY23" fmla="*/ 130519 h 265318"/>
                  <a:gd name="connsiteX24" fmla="*/ 159059 w 222562"/>
                  <a:gd name="connsiteY24" fmla="*/ 136200 h 265318"/>
                  <a:gd name="connsiteX25" fmla="*/ 167018 w 222562"/>
                  <a:gd name="connsiteY25" fmla="*/ 150497 h 265318"/>
                  <a:gd name="connsiteX26" fmla="*/ 182551 w 222562"/>
                  <a:gd name="connsiteY26" fmla="*/ 164109 h 265318"/>
                  <a:gd name="connsiteX27" fmla="*/ 189164 w 222562"/>
                  <a:gd name="connsiteY27" fmla="*/ 172781 h 265318"/>
                  <a:gd name="connsiteX28" fmla="*/ 190701 w 222562"/>
                  <a:gd name="connsiteY28" fmla="*/ 181590 h 265318"/>
                  <a:gd name="connsiteX29" fmla="*/ 193830 w 222562"/>
                  <a:gd name="connsiteY29" fmla="*/ 187216 h 265318"/>
                  <a:gd name="connsiteX30" fmla="*/ 199154 w 222562"/>
                  <a:gd name="connsiteY30" fmla="*/ 186695 h 265318"/>
                  <a:gd name="connsiteX31" fmla="*/ 208951 w 222562"/>
                  <a:gd name="connsiteY31" fmla="*/ 196656 h 265318"/>
                  <a:gd name="connsiteX32" fmla="*/ 215894 w 222562"/>
                  <a:gd name="connsiteY32" fmla="*/ 198907 h 265318"/>
                  <a:gd name="connsiteX33" fmla="*/ 215565 w 222562"/>
                  <a:gd name="connsiteY33" fmla="*/ 203490 h 265318"/>
                  <a:gd name="connsiteX34" fmla="*/ 210405 w 222562"/>
                  <a:gd name="connsiteY34" fmla="*/ 208978 h 265318"/>
                  <a:gd name="connsiteX35" fmla="*/ 214824 w 222562"/>
                  <a:gd name="connsiteY35" fmla="*/ 216635 h 265318"/>
                  <a:gd name="connsiteX36" fmla="*/ 222563 w 222562"/>
                  <a:gd name="connsiteY36" fmla="*/ 222809 h 265318"/>
                  <a:gd name="connsiteX37" fmla="*/ 218089 w 222562"/>
                  <a:gd name="connsiteY37" fmla="*/ 233128 h 265318"/>
                  <a:gd name="connsiteX38" fmla="*/ 219626 w 222562"/>
                  <a:gd name="connsiteY38" fmla="*/ 242129 h 265318"/>
                  <a:gd name="connsiteX39" fmla="*/ 215949 w 222562"/>
                  <a:gd name="connsiteY39" fmla="*/ 246301 h 265318"/>
                  <a:gd name="connsiteX40" fmla="*/ 212299 w 222562"/>
                  <a:gd name="connsiteY40" fmla="*/ 245752 h 265318"/>
                  <a:gd name="connsiteX41" fmla="*/ 209801 w 222562"/>
                  <a:gd name="connsiteY41" fmla="*/ 249045 h 265318"/>
                  <a:gd name="connsiteX42" fmla="*/ 201102 w 222562"/>
                  <a:gd name="connsiteY42" fmla="*/ 253024 h 265318"/>
                  <a:gd name="connsiteX43" fmla="*/ 197892 w 222562"/>
                  <a:gd name="connsiteY43" fmla="*/ 253024 h 265318"/>
                  <a:gd name="connsiteX44" fmla="*/ 189659 w 222562"/>
                  <a:gd name="connsiteY44" fmla="*/ 245697 h 265318"/>
                  <a:gd name="connsiteX45" fmla="*/ 185240 w 222562"/>
                  <a:gd name="connsiteY45" fmla="*/ 249155 h 265318"/>
                  <a:gd name="connsiteX46" fmla="*/ 181700 w 222562"/>
                  <a:gd name="connsiteY46" fmla="*/ 248963 h 265318"/>
                  <a:gd name="connsiteX47" fmla="*/ 179724 w 222562"/>
                  <a:gd name="connsiteY47" fmla="*/ 251268 h 265318"/>
                  <a:gd name="connsiteX48" fmla="*/ 175800 w 222562"/>
                  <a:gd name="connsiteY48" fmla="*/ 252036 h 265318"/>
                  <a:gd name="connsiteX49" fmla="*/ 174976 w 222562"/>
                  <a:gd name="connsiteY49" fmla="*/ 255110 h 265318"/>
                  <a:gd name="connsiteX50" fmla="*/ 178736 w 222562"/>
                  <a:gd name="connsiteY50" fmla="*/ 261147 h 265318"/>
                  <a:gd name="connsiteX51" fmla="*/ 176046 w 222562"/>
                  <a:gd name="connsiteY51" fmla="*/ 265319 h 265318"/>
                  <a:gd name="connsiteX52" fmla="*/ 170997 w 222562"/>
                  <a:gd name="connsiteY52" fmla="*/ 264715 h 265318"/>
                  <a:gd name="connsiteX53" fmla="*/ 166634 w 222562"/>
                  <a:gd name="connsiteY53" fmla="*/ 260269 h 265318"/>
                  <a:gd name="connsiteX54" fmla="*/ 162352 w 222562"/>
                  <a:gd name="connsiteY54" fmla="*/ 258787 h 265318"/>
                  <a:gd name="connsiteX55" fmla="*/ 154888 w 222562"/>
                  <a:gd name="connsiteY55" fmla="*/ 259281 h 265318"/>
                  <a:gd name="connsiteX56" fmla="*/ 150388 w 222562"/>
                  <a:gd name="connsiteY56" fmla="*/ 252585 h 265318"/>
                  <a:gd name="connsiteX57" fmla="*/ 156535 w 222562"/>
                  <a:gd name="connsiteY57" fmla="*/ 250280 h 265318"/>
                  <a:gd name="connsiteX58" fmla="*/ 159279 w 222562"/>
                  <a:gd name="connsiteY58" fmla="*/ 246740 h 265318"/>
                  <a:gd name="connsiteX59" fmla="*/ 161859 w 222562"/>
                  <a:gd name="connsiteY59" fmla="*/ 233979 h 265318"/>
                  <a:gd name="connsiteX60" fmla="*/ 159197 w 222562"/>
                  <a:gd name="connsiteY60" fmla="*/ 228408 h 265318"/>
                  <a:gd name="connsiteX61" fmla="*/ 160926 w 222562"/>
                  <a:gd name="connsiteY61" fmla="*/ 223935 h 265318"/>
                  <a:gd name="connsiteX62" fmla="*/ 159444 w 222562"/>
                  <a:gd name="connsiteY62" fmla="*/ 221630 h 265318"/>
                  <a:gd name="connsiteX63" fmla="*/ 162462 w 222562"/>
                  <a:gd name="connsiteY63" fmla="*/ 212930 h 265318"/>
                  <a:gd name="connsiteX64" fmla="*/ 156535 w 222562"/>
                  <a:gd name="connsiteY64" fmla="*/ 207963 h 265318"/>
                  <a:gd name="connsiteX65" fmla="*/ 154449 w 222562"/>
                  <a:gd name="connsiteY65" fmla="*/ 201788 h 265318"/>
                  <a:gd name="connsiteX66" fmla="*/ 145942 w 222562"/>
                  <a:gd name="connsiteY66" fmla="*/ 198029 h 265318"/>
                  <a:gd name="connsiteX67" fmla="*/ 137764 w 222562"/>
                  <a:gd name="connsiteY67" fmla="*/ 186173 h 265318"/>
                  <a:gd name="connsiteX68" fmla="*/ 136886 w 222562"/>
                  <a:gd name="connsiteY68" fmla="*/ 172012 h 265318"/>
                  <a:gd name="connsiteX69" fmla="*/ 138450 w 222562"/>
                  <a:gd name="connsiteY69" fmla="*/ 162655 h 265318"/>
                  <a:gd name="connsiteX70" fmla="*/ 136145 w 222562"/>
                  <a:gd name="connsiteY70" fmla="*/ 156260 h 265318"/>
                  <a:gd name="connsiteX71" fmla="*/ 128571 w 222562"/>
                  <a:gd name="connsiteY71" fmla="*/ 150387 h 265318"/>
                  <a:gd name="connsiteX72" fmla="*/ 114327 w 222562"/>
                  <a:gd name="connsiteY72" fmla="*/ 131205 h 265318"/>
                  <a:gd name="connsiteX73" fmla="*/ 96572 w 222562"/>
                  <a:gd name="connsiteY73" fmla="*/ 127582 h 265318"/>
                  <a:gd name="connsiteX74" fmla="*/ 86473 w 222562"/>
                  <a:gd name="connsiteY74" fmla="*/ 140837 h 265318"/>
                  <a:gd name="connsiteX75" fmla="*/ 76319 w 222562"/>
                  <a:gd name="connsiteY75" fmla="*/ 145338 h 265318"/>
                  <a:gd name="connsiteX76" fmla="*/ 59195 w 222562"/>
                  <a:gd name="connsiteY76" fmla="*/ 134855 h 265318"/>
                  <a:gd name="connsiteX77" fmla="*/ 50028 w 222562"/>
                  <a:gd name="connsiteY77" fmla="*/ 139739 h 265318"/>
                  <a:gd name="connsiteX78" fmla="*/ 31971 w 222562"/>
                  <a:gd name="connsiteY78" fmla="*/ 156205 h 265318"/>
                  <a:gd name="connsiteX79" fmla="*/ 28184 w 222562"/>
                  <a:gd name="connsiteY79" fmla="*/ 154998 h 265318"/>
                  <a:gd name="connsiteX80" fmla="*/ 26729 w 222562"/>
                  <a:gd name="connsiteY80" fmla="*/ 153296 h 265318"/>
                  <a:gd name="connsiteX81" fmla="*/ 26812 w 222562"/>
                  <a:gd name="connsiteY81" fmla="*/ 148274 h 265318"/>
                  <a:gd name="connsiteX82" fmla="*/ 31917 w 222562"/>
                  <a:gd name="connsiteY82" fmla="*/ 137132 h 265318"/>
                  <a:gd name="connsiteX83" fmla="*/ 31724 w 222562"/>
                  <a:gd name="connsiteY83" fmla="*/ 131260 h 265318"/>
                  <a:gd name="connsiteX84" fmla="*/ 29556 w 222562"/>
                  <a:gd name="connsiteY84" fmla="*/ 126238 h 265318"/>
                  <a:gd name="connsiteX85" fmla="*/ 33618 w 222562"/>
                  <a:gd name="connsiteY85" fmla="*/ 120145 h 265318"/>
                  <a:gd name="connsiteX86" fmla="*/ 36417 w 222562"/>
                  <a:gd name="connsiteY86" fmla="*/ 108592 h 265318"/>
                  <a:gd name="connsiteX87" fmla="*/ 33425 w 222562"/>
                  <a:gd name="connsiteY87" fmla="*/ 98822 h 265318"/>
                  <a:gd name="connsiteX88" fmla="*/ 34469 w 222562"/>
                  <a:gd name="connsiteY88" fmla="*/ 92757 h 265318"/>
                  <a:gd name="connsiteX89" fmla="*/ 26181 w 222562"/>
                  <a:gd name="connsiteY89" fmla="*/ 90287 h 265318"/>
                  <a:gd name="connsiteX90" fmla="*/ 19951 w 222562"/>
                  <a:gd name="connsiteY90" fmla="*/ 93114 h 265318"/>
                  <a:gd name="connsiteX91" fmla="*/ 12542 w 222562"/>
                  <a:gd name="connsiteY91" fmla="*/ 91989 h 265318"/>
                  <a:gd name="connsiteX92" fmla="*/ 10264 w 222562"/>
                  <a:gd name="connsiteY92" fmla="*/ 85375 h 265318"/>
                  <a:gd name="connsiteX93" fmla="*/ 13557 w 222562"/>
                  <a:gd name="connsiteY93" fmla="*/ 73739 h 265318"/>
                  <a:gd name="connsiteX94" fmla="*/ 7245 w 222562"/>
                  <a:gd name="connsiteY94" fmla="*/ 66577 h 265318"/>
                  <a:gd name="connsiteX95" fmla="*/ 1071 w 222562"/>
                  <a:gd name="connsiteY95" fmla="*/ 69623 h 265318"/>
                  <a:gd name="connsiteX96" fmla="*/ 0 w 222562"/>
                  <a:gd name="connsiteY96" fmla="*/ 67345 h 265318"/>
                  <a:gd name="connsiteX97" fmla="*/ 5050 w 222562"/>
                  <a:gd name="connsiteY97" fmla="*/ 55023 h 265318"/>
                  <a:gd name="connsiteX98" fmla="*/ 15176 w 222562"/>
                  <a:gd name="connsiteY98" fmla="*/ 51291 h 265318"/>
                  <a:gd name="connsiteX99" fmla="*/ 13008 w 222562"/>
                  <a:gd name="connsiteY99" fmla="*/ 49809 h 265318"/>
                  <a:gd name="connsiteX100" fmla="*/ 13173 w 222562"/>
                  <a:gd name="connsiteY100" fmla="*/ 47970 h 265318"/>
                  <a:gd name="connsiteX101" fmla="*/ 16905 w 222562"/>
                  <a:gd name="connsiteY101" fmla="*/ 43662 h 265318"/>
                  <a:gd name="connsiteX102" fmla="*/ 18909 w 222562"/>
                  <a:gd name="connsiteY102" fmla="*/ 37926 h 265318"/>
                  <a:gd name="connsiteX103" fmla="*/ 26674 w 222562"/>
                  <a:gd name="connsiteY103" fmla="*/ 34660 h 265318"/>
                  <a:gd name="connsiteX104" fmla="*/ 31148 w 222562"/>
                  <a:gd name="connsiteY104" fmla="*/ 29172 h 265318"/>
                  <a:gd name="connsiteX105" fmla="*/ 33041 w 222562"/>
                  <a:gd name="connsiteY105" fmla="*/ 30352 h 265318"/>
                  <a:gd name="connsiteX106" fmla="*/ 35045 w 222562"/>
                  <a:gd name="connsiteY106" fmla="*/ 40698 h 265318"/>
                  <a:gd name="connsiteX107" fmla="*/ 42043 w 222562"/>
                  <a:gd name="connsiteY107" fmla="*/ 39161 h 265318"/>
                  <a:gd name="connsiteX108" fmla="*/ 48464 w 222562"/>
                  <a:gd name="connsiteY108" fmla="*/ 42152 h 265318"/>
                  <a:gd name="connsiteX109" fmla="*/ 51538 w 222562"/>
                  <a:gd name="connsiteY109" fmla="*/ 41658 h 265318"/>
                  <a:gd name="connsiteX110" fmla="*/ 48546 w 222562"/>
                  <a:gd name="connsiteY110" fmla="*/ 35539 h 265318"/>
                  <a:gd name="connsiteX111" fmla="*/ 50715 w 222562"/>
                  <a:gd name="connsiteY111" fmla="*/ 27306 h 265318"/>
                  <a:gd name="connsiteX112" fmla="*/ 48959 w 222562"/>
                  <a:gd name="connsiteY112" fmla="*/ 20198 h 265318"/>
                  <a:gd name="connsiteX113" fmla="*/ 44952 w 222562"/>
                  <a:gd name="connsiteY113" fmla="*/ 16027 h 265318"/>
                  <a:gd name="connsiteX114" fmla="*/ 43744 w 222562"/>
                  <a:gd name="connsiteY114" fmla="*/ 7163 h 265318"/>
                  <a:gd name="connsiteX115" fmla="*/ 48629 w 222562"/>
                  <a:gd name="connsiteY115" fmla="*/ 0 h 265318"/>
                  <a:gd name="connsiteX116" fmla="*/ 52444 w 222562"/>
                  <a:gd name="connsiteY116" fmla="*/ 2744 h 265318"/>
                  <a:gd name="connsiteX117" fmla="*/ 57274 w 222562"/>
                  <a:gd name="connsiteY117" fmla="*/ 1207 h 265318"/>
                  <a:gd name="connsiteX118" fmla="*/ 60484 w 222562"/>
                  <a:gd name="connsiteY118" fmla="*/ 2634 h 26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22562" h="265318">
                    <a:moveTo>
                      <a:pt x="60402" y="2607"/>
                    </a:moveTo>
                    <a:lnTo>
                      <a:pt x="74124" y="18359"/>
                    </a:lnTo>
                    <a:lnTo>
                      <a:pt x="83783" y="23875"/>
                    </a:lnTo>
                    <a:lnTo>
                      <a:pt x="84552" y="30022"/>
                    </a:lnTo>
                    <a:lnTo>
                      <a:pt x="81286" y="38777"/>
                    </a:lnTo>
                    <a:lnTo>
                      <a:pt x="89766" y="50083"/>
                    </a:lnTo>
                    <a:lnTo>
                      <a:pt x="94513" y="52334"/>
                    </a:lnTo>
                    <a:lnTo>
                      <a:pt x="107137" y="53486"/>
                    </a:lnTo>
                    <a:lnTo>
                      <a:pt x="119157" y="48958"/>
                    </a:lnTo>
                    <a:lnTo>
                      <a:pt x="129421" y="55737"/>
                    </a:lnTo>
                    <a:lnTo>
                      <a:pt x="131013" y="59304"/>
                    </a:lnTo>
                    <a:lnTo>
                      <a:pt x="129915" y="64409"/>
                    </a:lnTo>
                    <a:lnTo>
                      <a:pt x="136008" y="66796"/>
                    </a:lnTo>
                    <a:lnTo>
                      <a:pt x="137078" y="71791"/>
                    </a:lnTo>
                    <a:lnTo>
                      <a:pt x="142429" y="76484"/>
                    </a:lnTo>
                    <a:lnTo>
                      <a:pt x="137928" y="85156"/>
                    </a:lnTo>
                    <a:lnTo>
                      <a:pt x="133153" y="89382"/>
                    </a:lnTo>
                    <a:lnTo>
                      <a:pt x="117346" y="88696"/>
                    </a:lnTo>
                    <a:lnTo>
                      <a:pt x="117730" y="94404"/>
                    </a:lnTo>
                    <a:lnTo>
                      <a:pt x="113669" y="100167"/>
                    </a:lnTo>
                    <a:lnTo>
                      <a:pt x="136008" y="114931"/>
                    </a:lnTo>
                    <a:lnTo>
                      <a:pt x="148055" y="119679"/>
                    </a:lnTo>
                    <a:lnTo>
                      <a:pt x="148137" y="126430"/>
                    </a:lnTo>
                    <a:lnTo>
                      <a:pt x="150360" y="130519"/>
                    </a:lnTo>
                    <a:lnTo>
                      <a:pt x="159059" y="136200"/>
                    </a:lnTo>
                    <a:lnTo>
                      <a:pt x="167018" y="150497"/>
                    </a:lnTo>
                    <a:lnTo>
                      <a:pt x="182551" y="164109"/>
                    </a:lnTo>
                    <a:lnTo>
                      <a:pt x="189164" y="172781"/>
                    </a:lnTo>
                    <a:lnTo>
                      <a:pt x="190701" y="181590"/>
                    </a:lnTo>
                    <a:lnTo>
                      <a:pt x="193830" y="187216"/>
                    </a:lnTo>
                    <a:lnTo>
                      <a:pt x="199154" y="186695"/>
                    </a:lnTo>
                    <a:lnTo>
                      <a:pt x="208951" y="196656"/>
                    </a:lnTo>
                    <a:lnTo>
                      <a:pt x="215894" y="198907"/>
                    </a:lnTo>
                    <a:lnTo>
                      <a:pt x="215565" y="203490"/>
                    </a:lnTo>
                    <a:lnTo>
                      <a:pt x="210405" y="208978"/>
                    </a:lnTo>
                    <a:lnTo>
                      <a:pt x="214824" y="216635"/>
                    </a:lnTo>
                    <a:lnTo>
                      <a:pt x="222563" y="222809"/>
                    </a:lnTo>
                    <a:lnTo>
                      <a:pt x="218089" y="233128"/>
                    </a:lnTo>
                    <a:lnTo>
                      <a:pt x="219626" y="242129"/>
                    </a:lnTo>
                    <a:lnTo>
                      <a:pt x="215949" y="246301"/>
                    </a:lnTo>
                    <a:lnTo>
                      <a:pt x="212299" y="245752"/>
                    </a:lnTo>
                    <a:lnTo>
                      <a:pt x="209801" y="249045"/>
                    </a:lnTo>
                    <a:lnTo>
                      <a:pt x="201102" y="253024"/>
                    </a:lnTo>
                    <a:lnTo>
                      <a:pt x="197892" y="253024"/>
                    </a:lnTo>
                    <a:lnTo>
                      <a:pt x="189659" y="245697"/>
                    </a:lnTo>
                    <a:lnTo>
                      <a:pt x="185240" y="249155"/>
                    </a:lnTo>
                    <a:lnTo>
                      <a:pt x="181700" y="248963"/>
                    </a:lnTo>
                    <a:lnTo>
                      <a:pt x="179724" y="251268"/>
                    </a:lnTo>
                    <a:lnTo>
                      <a:pt x="175800" y="252036"/>
                    </a:lnTo>
                    <a:lnTo>
                      <a:pt x="174976" y="255110"/>
                    </a:lnTo>
                    <a:lnTo>
                      <a:pt x="178736" y="261147"/>
                    </a:lnTo>
                    <a:lnTo>
                      <a:pt x="176046" y="265319"/>
                    </a:lnTo>
                    <a:lnTo>
                      <a:pt x="170997" y="264715"/>
                    </a:lnTo>
                    <a:lnTo>
                      <a:pt x="166634" y="260269"/>
                    </a:lnTo>
                    <a:lnTo>
                      <a:pt x="162352" y="258787"/>
                    </a:lnTo>
                    <a:lnTo>
                      <a:pt x="154888" y="259281"/>
                    </a:lnTo>
                    <a:lnTo>
                      <a:pt x="150388" y="252585"/>
                    </a:lnTo>
                    <a:lnTo>
                      <a:pt x="156535" y="250280"/>
                    </a:lnTo>
                    <a:lnTo>
                      <a:pt x="159279" y="246740"/>
                    </a:lnTo>
                    <a:lnTo>
                      <a:pt x="161859" y="233979"/>
                    </a:lnTo>
                    <a:lnTo>
                      <a:pt x="159197" y="228408"/>
                    </a:lnTo>
                    <a:lnTo>
                      <a:pt x="160926" y="223935"/>
                    </a:lnTo>
                    <a:lnTo>
                      <a:pt x="159444" y="221630"/>
                    </a:lnTo>
                    <a:lnTo>
                      <a:pt x="162462" y="212930"/>
                    </a:lnTo>
                    <a:lnTo>
                      <a:pt x="156535" y="207963"/>
                    </a:lnTo>
                    <a:lnTo>
                      <a:pt x="154449" y="201788"/>
                    </a:lnTo>
                    <a:lnTo>
                      <a:pt x="145942" y="198029"/>
                    </a:lnTo>
                    <a:lnTo>
                      <a:pt x="137764" y="186173"/>
                    </a:lnTo>
                    <a:lnTo>
                      <a:pt x="136886" y="172012"/>
                    </a:lnTo>
                    <a:lnTo>
                      <a:pt x="138450" y="162655"/>
                    </a:lnTo>
                    <a:lnTo>
                      <a:pt x="136145" y="156260"/>
                    </a:lnTo>
                    <a:lnTo>
                      <a:pt x="128571" y="150387"/>
                    </a:lnTo>
                    <a:lnTo>
                      <a:pt x="114327" y="131205"/>
                    </a:lnTo>
                    <a:lnTo>
                      <a:pt x="96572" y="127582"/>
                    </a:lnTo>
                    <a:lnTo>
                      <a:pt x="86473" y="140837"/>
                    </a:lnTo>
                    <a:lnTo>
                      <a:pt x="76319" y="145338"/>
                    </a:lnTo>
                    <a:lnTo>
                      <a:pt x="59195" y="134855"/>
                    </a:lnTo>
                    <a:lnTo>
                      <a:pt x="50028" y="139739"/>
                    </a:lnTo>
                    <a:lnTo>
                      <a:pt x="31971" y="156205"/>
                    </a:lnTo>
                    <a:lnTo>
                      <a:pt x="28184" y="154998"/>
                    </a:lnTo>
                    <a:lnTo>
                      <a:pt x="26729" y="153296"/>
                    </a:lnTo>
                    <a:lnTo>
                      <a:pt x="26812" y="148274"/>
                    </a:lnTo>
                    <a:lnTo>
                      <a:pt x="31917" y="137132"/>
                    </a:lnTo>
                    <a:lnTo>
                      <a:pt x="31724" y="131260"/>
                    </a:lnTo>
                    <a:lnTo>
                      <a:pt x="29556" y="126238"/>
                    </a:lnTo>
                    <a:lnTo>
                      <a:pt x="33618" y="120145"/>
                    </a:lnTo>
                    <a:lnTo>
                      <a:pt x="36417" y="108592"/>
                    </a:lnTo>
                    <a:lnTo>
                      <a:pt x="33425" y="98822"/>
                    </a:lnTo>
                    <a:lnTo>
                      <a:pt x="34469" y="92757"/>
                    </a:lnTo>
                    <a:lnTo>
                      <a:pt x="26181" y="90287"/>
                    </a:lnTo>
                    <a:lnTo>
                      <a:pt x="19951" y="93114"/>
                    </a:lnTo>
                    <a:lnTo>
                      <a:pt x="12542" y="91989"/>
                    </a:lnTo>
                    <a:lnTo>
                      <a:pt x="10264" y="85375"/>
                    </a:lnTo>
                    <a:lnTo>
                      <a:pt x="13557" y="73739"/>
                    </a:lnTo>
                    <a:lnTo>
                      <a:pt x="7245" y="66577"/>
                    </a:lnTo>
                    <a:lnTo>
                      <a:pt x="1071" y="69623"/>
                    </a:lnTo>
                    <a:lnTo>
                      <a:pt x="0" y="67345"/>
                    </a:lnTo>
                    <a:lnTo>
                      <a:pt x="5050" y="55023"/>
                    </a:lnTo>
                    <a:lnTo>
                      <a:pt x="15176" y="51291"/>
                    </a:lnTo>
                    <a:lnTo>
                      <a:pt x="13008" y="49809"/>
                    </a:lnTo>
                    <a:lnTo>
                      <a:pt x="13173" y="47970"/>
                    </a:lnTo>
                    <a:lnTo>
                      <a:pt x="16905" y="43662"/>
                    </a:lnTo>
                    <a:lnTo>
                      <a:pt x="18909" y="37926"/>
                    </a:lnTo>
                    <a:lnTo>
                      <a:pt x="26674" y="34660"/>
                    </a:lnTo>
                    <a:lnTo>
                      <a:pt x="31148" y="29172"/>
                    </a:lnTo>
                    <a:lnTo>
                      <a:pt x="33041" y="30352"/>
                    </a:lnTo>
                    <a:lnTo>
                      <a:pt x="35045" y="40698"/>
                    </a:lnTo>
                    <a:lnTo>
                      <a:pt x="42043" y="39161"/>
                    </a:lnTo>
                    <a:lnTo>
                      <a:pt x="48464" y="42152"/>
                    </a:lnTo>
                    <a:lnTo>
                      <a:pt x="51538" y="41658"/>
                    </a:lnTo>
                    <a:lnTo>
                      <a:pt x="48546" y="35539"/>
                    </a:lnTo>
                    <a:lnTo>
                      <a:pt x="50715" y="27306"/>
                    </a:lnTo>
                    <a:lnTo>
                      <a:pt x="48959" y="20198"/>
                    </a:lnTo>
                    <a:lnTo>
                      <a:pt x="44952" y="16027"/>
                    </a:lnTo>
                    <a:lnTo>
                      <a:pt x="43744" y="7163"/>
                    </a:lnTo>
                    <a:lnTo>
                      <a:pt x="48629" y="0"/>
                    </a:lnTo>
                    <a:lnTo>
                      <a:pt x="52444" y="2744"/>
                    </a:lnTo>
                    <a:lnTo>
                      <a:pt x="57274" y="1207"/>
                    </a:lnTo>
                    <a:lnTo>
                      <a:pt x="60484"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5" name="Freeform: Shape 3884">
                <a:extLst>
                  <a:ext uri="{FF2B5EF4-FFF2-40B4-BE49-F238E27FC236}">
                    <a16:creationId xmlns:a16="http://schemas.microsoft.com/office/drawing/2014/main" id="{EA3F31B3-5973-D151-2DD3-09E616317E79}"/>
                  </a:ext>
                </a:extLst>
              </p:cNvPr>
              <p:cNvSpPr/>
              <p:nvPr/>
            </p:nvSpPr>
            <p:spPr>
              <a:xfrm>
                <a:off x="1473078" y="3731031"/>
                <a:ext cx="4628" cy="5796"/>
              </a:xfrm>
              <a:custGeom>
                <a:avLst/>
                <a:gdLst>
                  <a:gd name="connsiteX0" fmla="*/ 15313 w 44375"/>
                  <a:gd name="connsiteY0" fmla="*/ 49809 h 55572"/>
                  <a:gd name="connsiteX1" fmla="*/ 13529 w 44375"/>
                  <a:gd name="connsiteY1" fmla="*/ 49809 h 55572"/>
                  <a:gd name="connsiteX2" fmla="*/ 10126 w 44375"/>
                  <a:gd name="connsiteY2" fmla="*/ 55572 h 55572"/>
                  <a:gd name="connsiteX3" fmla="*/ 0 w 44375"/>
                  <a:gd name="connsiteY3" fmla="*/ 55023 h 55572"/>
                  <a:gd name="connsiteX4" fmla="*/ 10071 w 44375"/>
                  <a:gd name="connsiteY4" fmla="*/ 32355 h 55572"/>
                  <a:gd name="connsiteX5" fmla="*/ 11498 w 44375"/>
                  <a:gd name="connsiteY5" fmla="*/ 27086 h 55572"/>
                  <a:gd name="connsiteX6" fmla="*/ 15286 w 44375"/>
                  <a:gd name="connsiteY6" fmla="*/ 23080 h 55572"/>
                  <a:gd name="connsiteX7" fmla="*/ 16356 w 44375"/>
                  <a:gd name="connsiteY7" fmla="*/ 13502 h 55572"/>
                  <a:gd name="connsiteX8" fmla="*/ 25247 w 44375"/>
                  <a:gd name="connsiteY8" fmla="*/ 4583 h 55572"/>
                  <a:gd name="connsiteX9" fmla="*/ 25659 w 44375"/>
                  <a:gd name="connsiteY9" fmla="*/ 439 h 55572"/>
                  <a:gd name="connsiteX10" fmla="*/ 29776 w 44375"/>
                  <a:gd name="connsiteY10" fmla="*/ 302 h 55572"/>
                  <a:gd name="connsiteX11" fmla="*/ 37377 w 44375"/>
                  <a:gd name="connsiteY11" fmla="*/ 0 h 55572"/>
                  <a:gd name="connsiteX12" fmla="*/ 37789 w 44375"/>
                  <a:gd name="connsiteY12" fmla="*/ 4034 h 55572"/>
                  <a:gd name="connsiteX13" fmla="*/ 41823 w 44375"/>
                  <a:gd name="connsiteY13" fmla="*/ 7437 h 55572"/>
                  <a:gd name="connsiteX14" fmla="*/ 44375 w 44375"/>
                  <a:gd name="connsiteY14" fmla="*/ 14901 h 55572"/>
                  <a:gd name="connsiteX15" fmla="*/ 41110 w 44375"/>
                  <a:gd name="connsiteY15" fmla="*/ 20719 h 55572"/>
                  <a:gd name="connsiteX16" fmla="*/ 35648 w 44375"/>
                  <a:gd name="connsiteY16" fmla="*/ 25028 h 55572"/>
                  <a:gd name="connsiteX17" fmla="*/ 36691 w 44375"/>
                  <a:gd name="connsiteY17" fmla="*/ 28733 h 55572"/>
                  <a:gd name="connsiteX18" fmla="*/ 29803 w 44375"/>
                  <a:gd name="connsiteY18" fmla="*/ 28925 h 55572"/>
                  <a:gd name="connsiteX19" fmla="*/ 28513 w 44375"/>
                  <a:gd name="connsiteY19" fmla="*/ 29529 h 55572"/>
                  <a:gd name="connsiteX20" fmla="*/ 26318 w 44375"/>
                  <a:gd name="connsiteY20" fmla="*/ 32328 h 55572"/>
                  <a:gd name="connsiteX21" fmla="*/ 25083 w 44375"/>
                  <a:gd name="connsiteY21" fmla="*/ 35319 h 55572"/>
                  <a:gd name="connsiteX22" fmla="*/ 27168 w 44375"/>
                  <a:gd name="connsiteY22" fmla="*/ 38695 h 55572"/>
                  <a:gd name="connsiteX23" fmla="*/ 15368 w 44375"/>
                  <a:gd name="connsiteY23" fmla="*/ 49754 h 5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375" h="55572">
                    <a:moveTo>
                      <a:pt x="15313" y="49809"/>
                    </a:moveTo>
                    <a:lnTo>
                      <a:pt x="13529" y="49809"/>
                    </a:lnTo>
                    <a:lnTo>
                      <a:pt x="10126" y="55572"/>
                    </a:lnTo>
                    <a:lnTo>
                      <a:pt x="0" y="55023"/>
                    </a:lnTo>
                    <a:lnTo>
                      <a:pt x="10071" y="32355"/>
                    </a:lnTo>
                    <a:lnTo>
                      <a:pt x="11498" y="27086"/>
                    </a:lnTo>
                    <a:lnTo>
                      <a:pt x="15286" y="23080"/>
                    </a:lnTo>
                    <a:lnTo>
                      <a:pt x="16356" y="13502"/>
                    </a:lnTo>
                    <a:lnTo>
                      <a:pt x="25247" y="4583"/>
                    </a:lnTo>
                    <a:lnTo>
                      <a:pt x="25659" y="439"/>
                    </a:lnTo>
                    <a:lnTo>
                      <a:pt x="29776" y="302"/>
                    </a:lnTo>
                    <a:lnTo>
                      <a:pt x="37377" y="0"/>
                    </a:lnTo>
                    <a:lnTo>
                      <a:pt x="37789" y="4034"/>
                    </a:lnTo>
                    <a:lnTo>
                      <a:pt x="41823" y="7437"/>
                    </a:lnTo>
                    <a:lnTo>
                      <a:pt x="44375" y="14901"/>
                    </a:lnTo>
                    <a:lnTo>
                      <a:pt x="41110" y="20719"/>
                    </a:lnTo>
                    <a:lnTo>
                      <a:pt x="35648" y="25028"/>
                    </a:lnTo>
                    <a:lnTo>
                      <a:pt x="36691" y="28733"/>
                    </a:lnTo>
                    <a:lnTo>
                      <a:pt x="29803" y="28925"/>
                    </a:lnTo>
                    <a:lnTo>
                      <a:pt x="28513" y="29529"/>
                    </a:lnTo>
                    <a:lnTo>
                      <a:pt x="26318" y="32328"/>
                    </a:lnTo>
                    <a:lnTo>
                      <a:pt x="25083" y="35319"/>
                    </a:lnTo>
                    <a:lnTo>
                      <a:pt x="27168" y="38695"/>
                    </a:lnTo>
                    <a:lnTo>
                      <a:pt x="15368" y="497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6" name="Freeform: Shape 3885">
                <a:extLst>
                  <a:ext uri="{FF2B5EF4-FFF2-40B4-BE49-F238E27FC236}">
                    <a16:creationId xmlns:a16="http://schemas.microsoft.com/office/drawing/2014/main" id="{697495D1-DB00-6926-4E32-960B59643592}"/>
                  </a:ext>
                </a:extLst>
              </p:cNvPr>
              <p:cNvSpPr/>
              <p:nvPr/>
            </p:nvSpPr>
            <p:spPr>
              <a:xfrm>
                <a:off x="1178026" y="3800786"/>
                <a:ext cx="627" cy="1165"/>
              </a:xfrm>
              <a:custGeom>
                <a:avLst/>
                <a:gdLst>
                  <a:gd name="connsiteX0" fmla="*/ 0 w 6010"/>
                  <a:gd name="connsiteY0" fmla="*/ 6449 h 11169"/>
                  <a:gd name="connsiteX1" fmla="*/ 604 w 6010"/>
                  <a:gd name="connsiteY1" fmla="*/ 4803 h 11169"/>
                  <a:gd name="connsiteX2" fmla="*/ 4281 w 6010"/>
                  <a:gd name="connsiteY2" fmla="*/ 0 h 11169"/>
                  <a:gd name="connsiteX3" fmla="*/ 5736 w 6010"/>
                  <a:gd name="connsiteY3" fmla="*/ 1208 h 11169"/>
                  <a:gd name="connsiteX4" fmla="*/ 6010 w 6010"/>
                  <a:gd name="connsiteY4" fmla="*/ 3156 h 11169"/>
                  <a:gd name="connsiteX5" fmla="*/ 5132 w 6010"/>
                  <a:gd name="connsiteY5" fmla="*/ 9879 h 11169"/>
                  <a:gd name="connsiteX6" fmla="*/ 3924 w 6010"/>
                  <a:gd name="connsiteY6" fmla="*/ 11169 h 11169"/>
                  <a:gd name="connsiteX7" fmla="*/ 1482 w 6010"/>
                  <a:gd name="connsiteY7" fmla="*/ 10209 h 11169"/>
                  <a:gd name="connsiteX8" fmla="*/ 82 w 6010"/>
                  <a:gd name="connsiteY8" fmla="*/ 8617 h 11169"/>
                  <a:gd name="connsiteX9" fmla="*/ 27 w 6010"/>
                  <a:gd name="connsiteY9" fmla="*/ 6449 h 1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0" h="11169">
                    <a:moveTo>
                      <a:pt x="0" y="6449"/>
                    </a:moveTo>
                    <a:lnTo>
                      <a:pt x="604" y="4803"/>
                    </a:lnTo>
                    <a:lnTo>
                      <a:pt x="4281" y="0"/>
                    </a:lnTo>
                    <a:lnTo>
                      <a:pt x="5736" y="1208"/>
                    </a:lnTo>
                    <a:lnTo>
                      <a:pt x="6010" y="3156"/>
                    </a:lnTo>
                    <a:lnTo>
                      <a:pt x="5132" y="9879"/>
                    </a:lnTo>
                    <a:lnTo>
                      <a:pt x="3924" y="11169"/>
                    </a:lnTo>
                    <a:lnTo>
                      <a:pt x="1482" y="10209"/>
                    </a:lnTo>
                    <a:lnTo>
                      <a:pt x="82" y="8617"/>
                    </a:lnTo>
                    <a:lnTo>
                      <a:pt x="27" y="64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7" name="Freeform: Shape 3886">
                <a:extLst>
                  <a:ext uri="{FF2B5EF4-FFF2-40B4-BE49-F238E27FC236}">
                    <a16:creationId xmlns:a16="http://schemas.microsoft.com/office/drawing/2014/main" id="{8AD4E4E2-A5DB-782E-1FF4-526D92D240EB}"/>
                  </a:ext>
                </a:extLst>
              </p:cNvPr>
              <p:cNvSpPr/>
              <p:nvPr/>
            </p:nvSpPr>
            <p:spPr>
              <a:xfrm>
                <a:off x="1609798" y="3814216"/>
                <a:ext cx="6749" cy="11950"/>
              </a:xfrm>
              <a:custGeom>
                <a:avLst/>
                <a:gdLst>
                  <a:gd name="connsiteX0" fmla="*/ 16850 w 64710"/>
                  <a:gd name="connsiteY0" fmla="*/ 0 h 114574"/>
                  <a:gd name="connsiteX1" fmla="*/ 26839 w 64710"/>
                  <a:gd name="connsiteY1" fmla="*/ 9550 h 114574"/>
                  <a:gd name="connsiteX2" fmla="*/ 33096 w 64710"/>
                  <a:gd name="connsiteY2" fmla="*/ 15286 h 114574"/>
                  <a:gd name="connsiteX3" fmla="*/ 44431 w 64710"/>
                  <a:gd name="connsiteY3" fmla="*/ 32547 h 114574"/>
                  <a:gd name="connsiteX4" fmla="*/ 46187 w 64710"/>
                  <a:gd name="connsiteY4" fmla="*/ 37075 h 114574"/>
                  <a:gd name="connsiteX5" fmla="*/ 45611 w 64710"/>
                  <a:gd name="connsiteY5" fmla="*/ 38914 h 114574"/>
                  <a:gd name="connsiteX6" fmla="*/ 49178 w 64710"/>
                  <a:gd name="connsiteY6" fmla="*/ 39381 h 114574"/>
                  <a:gd name="connsiteX7" fmla="*/ 52993 w 64710"/>
                  <a:gd name="connsiteY7" fmla="*/ 52169 h 114574"/>
                  <a:gd name="connsiteX8" fmla="*/ 61966 w 64710"/>
                  <a:gd name="connsiteY8" fmla="*/ 65451 h 114574"/>
                  <a:gd name="connsiteX9" fmla="*/ 64299 w 64710"/>
                  <a:gd name="connsiteY9" fmla="*/ 73245 h 114574"/>
                  <a:gd name="connsiteX10" fmla="*/ 64711 w 64710"/>
                  <a:gd name="connsiteY10" fmla="*/ 83097 h 114574"/>
                  <a:gd name="connsiteX11" fmla="*/ 59606 w 64710"/>
                  <a:gd name="connsiteY11" fmla="*/ 98383 h 114574"/>
                  <a:gd name="connsiteX12" fmla="*/ 49754 w 64710"/>
                  <a:gd name="connsiteY12" fmla="*/ 106314 h 114574"/>
                  <a:gd name="connsiteX13" fmla="*/ 29007 w 64710"/>
                  <a:gd name="connsiteY13" fmla="*/ 114574 h 114574"/>
                  <a:gd name="connsiteX14" fmla="*/ 17372 w 64710"/>
                  <a:gd name="connsiteY14" fmla="*/ 112955 h 114574"/>
                  <a:gd name="connsiteX15" fmla="*/ 11718 w 64710"/>
                  <a:gd name="connsiteY15" fmla="*/ 107439 h 114574"/>
                  <a:gd name="connsiteX16" fmla="*/ 5626 w 64710"/>
                  <a:gd name="connsiteY16" fmla="*/ 87982 h 114574"/>
                  <a:gd name="connsiteX17" fmla="*/ 2305 w 64710"/>
                  <a:gd name="connsiteY17" fmla="*/ 56121 h 114574"/>
                  <a:gd name="connsiteX18" fmla="*/ 2744 w 64710"/>
                  <a:gd name="connsiteY18" fmla="*/ 53624 h 114574"/>
                  <a:gd name="connsiteX19" fmla="*/ 1208 w 64710"/>
                  <a:gd name="connsiteY19" fmla="*/ 53898 h 114574"/>
                  <a:gd name="connsiteX20" fmla="*/ 137 w 64710"/>
                  <a:gd name="connsiteY20" fmla="*/ 51812 h 114574"/>
                  <a:gd name="connsiteX21" fmla="*/ 1509 w 64710"/>
                  <a:gd name="connsiteY21" fmla="*/ 50303 h 114574"/>
                  <a:gd name="connsiteX22" fmla="*/ 3074 w 64710"/>
                  <a:gd name="connsiteY22" fmla="*/ 51538 h 114574"/>
                  <a:gd name="connsiteX23" fmla="*/ 4474 w 64710"/>
                  <a:gd name="connsiteY23" fmla="*/ 49617 h 114574"/>
                  <a:gd name="connsiteX24" fmla="*/ 3842 w 64710"/>
                  <a:gd name="connsiteY24" fmla="*/ 48492 h 114574"/>
                  <a:gd name="connsiteX25" fmla="*/ 631 w 64710"/>
                  <a:gd name="connsiteY25" fmla="*/ 49837 h 114574"/>
                  <a:gd name="connsiteX26" fmla="*/ 0 w 64710"/>
                  <a:gd name="connsiteY26" fmla="*/ 47120 h 114574"/>
                  <a:gd name="connsiteX27" fmla="*/ 3294 w 64710"/>
                  <a:gd name="connsiteY27" fmla="*/ 46241 h 114574"/>
                  <a:gd name="connsiteX28" fmla="*/ 7959 w 64710"/>
                  <a:gd name="connsiteY28" fmla="*/ 34606 h 114574"/>
                  <a:gd name="connsiteX29" fmla="*/ 7438 w 64710"/>
                  <a:gd name="connsiteY29" fmla="*/ 26784 h 114574"/>
                  <a:gd name="connsiteX30" fmla="*/ 12926 w 64710"/>
                  <a:gd name="connsiteY30" fmla="*/ 18277 h 114574"/>
                  <a:gd name="connsiteX31" fmla="*/ 11691 w 64710"/>
                  <a:gd name="connsiteY31" fmla="*/ 13145 h 114574"/>
                  <a:gd name="connsiteX32" fmla="*/ 15066 w 64710"/>
                  <a:gd name="connsiteY32" fmla="*/ 9605 h 114574"/>
                  <a:gd name="connsiteX33" fmla="*/ 15149 w 64710"/>
                  <a:gd name="connsiteY33" fmla="*/ 8123 h 114574"/>
                  <a:gd name="connsiteX34" fmla="*/ 19677 w 64710"/>
                  <a:gd name="connsiteY34" fmla="*/ 10264 h 114574"/>
                  <a:gd name="connsiteX35" fmla="*/ 21268 w 64710"/>
                  <a:gd name="connsiteY35" fmla="*/ 9605 h 114574"/>
                  <a:gd name="connsiteX36" fmla="*/ 16823 w 64710"/>
                  <a:gd name="connsiteY36" fmla="*/ 5873 h 114574"/>
                  <a:gd name="connsiteX37" fmla="*/ 12432 w 64710"/>
                  <a:gd name="connsiteY37" fmla="*/ 6202 h 114574"/>
                  <a:gd name="connsiteX38" fmla="*/ 7739 w 64710"/>
                  <a:gd name="connsiteY38" fmla="*/ 1482 h 114574"/>
                  <a:gd name="connsiteX39" fmla="*/ 16960 w 64710"/>
                  <a:gd name="connsiteY39" fmla="*/ 55 h 11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710" h="114574">
                    <a:moveTo>
                      <a:pt x="16850" y="0"/>
                    </a:moveTo>
                    <a:lnTo>
                      <a:pt x="26839" y="9550"/>
                    </a:lnTo>
                    <a:lnTo>
                      <a:pt x="33096" y="15286"/>
                    </a:lnTo>
                    <a:lnTo>
                      <a:pt x="44431" y="32547"/>
                    </a:lnTo>
                    <a:lnTo>
                      <a:pt x="46187" y="37075"/>
                    </a:lnTo>
                    <a:lnTo>
                      <a:pt x="45611" y="38914"/>
                    </a:lnTo>
                    <a:lnTo>
                      <a:pt x="49178" y="39381"/>
                    </a:lnTo>
                    <a:lnTo>
                      <a:pt x="52993" y="52169"/>
                    </a:lnTo>
                    <a:lnTo>
                      <a:pt x="61966" y="65451"/>
                    </a:lnTo>
                    <a:lnTo>
                      <a:pt x="64299" y="73245"/>
                    </a:lnTo>
                    <a:lnTo>
                      <a:pt x="64711" y="83097"/>
                    </a:lnTo>
                    <a:lnTo>
                      <a:pt x="59606" y="98383"/>
                    </a:lnTo>
                    <a:lnTo>
                      <a:pt x="49754" y="106314"/>
                    </a:lnTo>
                    <a:lnTo>
                      <a:pt x="29007" y="114574"/>
                    </a:lnTo>
                    <a:lnTo>
                      <a:pt x="17372" y="112955"/>
                    </a:lnTo>
                    <a:lnTo>
                      <a:pt x="11718" y="107439"/>
                    </a:lnTo>
                    <a:lnTo>
                      <a:pt x="5626" y="87982"/>
                    </a:lnTo>
                    <a:lnTo>
                      <a:pt x="2305" y="56121"/>
                    </a:lnTo>
                    <a:lnTo>
                      <a:pt x="2744" y="53624"/>
                    </a:lnTo>
                    <a:lnTo>
                      <a:pt x="1208" y="53898"/>
                    </a:lnTo>
                    <a:lnTo>
                      <a:pt x="137" y="51812"/>
                    </a:lnTo>
                    <a:lnTo>
                      <a:pt x="1509" y="50303"/>
                    </a:lnTo>
                    <a:lnTo>
                      <a:pt x="3074" y="51538"/>
                    </a:lnTo>
                    <a:lnTo>
                      <a:pt x="4474" y="49617"/>
                    </a:lnTo>
                    <a:lnTo>
                      <a:pt x="3842" y="48492"/>
                    </a:lnTo>
                    <a:lnTo>
                      <a:pt x="631" y="49837"/>
                    </a:lnTo>
                    <a:lnTo>
                      <a:pt x="0" y="47120"/>
                    </a:lnTo>
                    <a:lnTo>
                      <a:pt x="3294" y="46241"/>
                    </a:lnTo>
                    <a:lnTo>
                      <a:pt x="7959" y="34606"/>
                    </a:lnTo>
                    <a:lnTo>
                      <a:pt x="7438" y="26784"/>
                    </a:lnTo>
                    <a:lnTo>
                      <a:pt x="12926" y="18277"/>
                    </a:lnTo>
                    <a:lnTo>
                      <a:pt x="11691" y="13145"/>
                    </a:lnTo>
                    <a:lnTo>
                      <a:pt x="15066" y="9605"/>
                    </a:lnTo>
                    <a:lnTo>
                      <a:pt x="15149" y="8123"/>
                    </a:lnTo>
                    <a:lnTo>
                      <a:pt x="19677" y="10264"/>
                    </a:lnTo>
                    <a:lnTo>
                      <a:pt x="21268" y="9605"/>
                    </a:lnTo>
                    <a:lnTo>
                      <a:pt x="16823" y="5873"/>
                    </a:lnTo>
                    <a:lnTo>
                      <a:pt x="12432" y="6202"/>
                    </a:lnTo>
                    <a:lnTo>
                      <a:pt x="7739" y="1482"/>
                    </a:lnTo>
                    <a:lnTo>
                      <a:pt x="16960" y="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8" name="Freeform: Shape 3887">
                <a:extLst>
                  <a:ext uri="{FF2B5EF4-FFF2-40B4-BE49-F238E27FC236}">
                    <a16:creationId xmlns:a16="http://schemas.microsoft.com/office/drawing/2014/main" id="{AD94082F-F83A-1BA4-6F4F-D0275E69378E}"/>
                  </a:ext>
                </a:extLst>
              </p:cNvPr>
              <p:cNvSpPr/>
              <p:nvPr/>
            </p:nvSpPr>
            <p:spPr>
              <a:xfrm>
                <a:off x="1610089" y="3814479"/>
                <a:ext cx="527" cy="547"/>
              </a:xfrm>
              <a:custGeom>
                <a:avLst/>
                <a:gdLst>
                  <a:gd name="connsiteX0" fmla="*/ 3129 w 5049"/>
                  <a:gd name="connsiteY0" fmla="*/ 3677 h 5241"/>
                  <a:gd name="connsiteX1" fmla="*/ 3184 w 5049"/>
                  <a:gd name="connsiteY1" fmla="*/ 5241 h 5241"/>
                  <a:gd name="connsiteX2" fmla="*/ 1016 w 5049"/>
                  <a:gd name="connsiteY2" fmla="*/ 4885 h 5241"/>
                  <a:gd name="connsiteX3" fmla="*/ 0 w 5049"/>
                  <a:gd name="connsiteY3" fmla="*/ 3677 h 5241"/>
                  <a:gd name="connsiteX4" fmla="*/ 3458 w 5049"/>
                  <a:gd name="connsiteY4" fmla="*/ 0 h 5241"/>
                  <a:gd name="connsiteX5" fmla="*/ 5050 w 5049"/>
                  <a:gd name="connsiteY5" fmla="*/ 1427 h 5241"/>
                  <a:gd name="connsiteX6" fmla="*/ 3156 w 5049"/>
                  <a:gd name="connsiteY6" fmla="*/ 3677 h 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9" h="5241">
                    <a:moveTo>
                      <a:pt x="3129" y="3677"/>
                    </a:moveTo>
                    <a:lnTo>
                      <a:pt x="3184" y="5241"/>
                    </a:lnTo>
                    <a:lnTo>
                      <a:pt x="1016" y="4885"/>
                    </a:lnTo>
                    <a:lnTo>
                      <a:pt x="0" y="3677"/>
                    </a:lnTo>
                    <a:lnTo>
                      <a:pt x="3458" y="0"/>
                    </a:lnTo>
                    <a:lnTo>
                      <a:pt x="5050" y="1427"/>
                    </a:lnTo>
                    <a:lnTo>
                      <a:pt x="3156" y="36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9" name="Freeform: Shape 3888">
                <a:extLst>
                  <a:ext uri="{FF2B5EF4-FFF2-40B4-BE49-F238E27FC236}">
                    <a16:creationId xmlns:a16="http://schemas.microsoft.com/office/drawing/2014/main" id="{0631244E-C23F-4108-9937-6DEE6CF55ACC}"/>
                  </a:ext>
                </a:extLst>
              </p:cNvPr>
              <p:cNvSpPr/>
              <p:nvPr/>
            </p:nvSpPr>
            <p:spPr>
              <a:xfrm>
                <a:off x="1610127" y="3816460"/>
                <a:ext cx="478" cy="447"/>
              </a:xfrm>
              <a:custGeom>
                <a:avLst/>
                <a:gdLst>
                  <a:gd name="connsiteX0" fmla="*/ 4583 w 4582"/>
                  <a:gd name="connsiteY0" fmla="*/ 2333 h 4281"/>
                  <a:gd name="connsiteX1" fmla="*/ 3568 w 4582"/>
                  <a:gd name="connsiteY1" fmla="*/ 4281 h 4281"/>
                  <a:gd name="connsiteX2" fmla="*/ 0 w 4582"/>
                  <a:gd name="connsiteY2" fmla="*/ 659 h 4281"/>
                  <a:gd name="connsiteX3" fmla="*/ 2250 w 4582"/>
                  <a:gd name="connsiteY3" fmla="*/ 0 h 4281"/>
                  <a:gd name="connsiteX4" fmla="*/ 4583 w 4582"/>
                  <a:gd name="connsiteY4" fmla="*/ 2333 h 4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2" h="4281">
                    <a:moveTo>
                      <a:pt x="4583" y="2333"/>
                    </a:moveTo>
                    <a:lnTo>
                      <a:pt x="3568" y="4281"/>
                    </a:lnTo>
                    <a:lnTo>
                      <a:pt x="0" y="659"/>
                    </a:lnTo>
                    <a:lnTo>
                      <a:pt x="2250" y="0"/>
                    </a:lnTo>
                    <a:lnTo>
                      <a:pt x="4583" y="23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0" name="Freeform: Shape 3889">
                <a:extLst>
                  <a:ext uri="{FF2B5EF4-FFF2-40B4-BE49-F238E27FC236}">
                    <a16:creationId xmlns:a16="http://schemas.microsoft.com/office/drawing/2014/main" id="{EFB2759E-AA37-9CC9-2427-322B2F07AC6F}"/>
                  </a:ext>
                </a:extLst>
              </p:cNvPr>
              <p:cNvSpPr/>
              <p:nvPr/>
            </p:nvSpPr>
            <p:spPr>
              <a:xfrm>
                <a:off x="1609674" y="3814989"/>
                <a:ext cx="401" cy="283"/>
              </a:xfrm>
              <a:custGeom>
                <a:avLst/>
                <a:gdLst>
                  <a:gd name="connsiteX0" fmla="*/ 3842 w 3841"/>
                  <a:gd name="connsiteY0" fmla="*/ 2717 h 2716"/>
                  <a:gd name="connsiteX1" fmla="*/ 1152 w 3841"/>
                  <a:gd name="connsiteY1" fmla="*/ 2717 h 2716"/>
                  <a:gd name="connsiteX2" fmla="*/ 0 w 3841"/>
                  <a:gd name="connsiteY2" fmla="*/ 1592 h 2716"/>
                  <a:gd name="connsiteX3" fmla="*/ 823 w 3841"/>
                  <a:gd name="connsiteY3" fmla="*/ 0 h 2716"/>
                  <a:gd name="connsiteX4" fmla="*/ 3129 w 3841"/>
                  <a:gd name="connsiteY4" fmla="*/ 741 h 2716"/>
                  <a:gd name="connsiteX5" fmla="*/ 3815 w 3841"/>
                  <a:gd name="connsiteY5" fmla="*/ 2689 h 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 h="2716">
                    <a:moveTo>
                      <a:pt x="3842" y="2717"/>
                    </a:moveTo>
                    <a:lnTo>
                      <a:pt x="1152" y="2717"/>
                    </a:lnTo>
                    <a:lnTo>
                      <a:pt x="0" y="1592"/>
                    </a:lnTo>
                    <a:lnTo>
                      <a:pt x="823" y="0"/>
                    </a:lnTo>
                    <a:lnTo>
                      <a:pt x="3129" y="741"/>
                    </a:lnTo>
                    <a:lnTo>
                      <a:pt x="3815" y="26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1" name="Freeform: Shape 3890">
                <a:extLst>
                  <a:ext uri="{FF2B5EF4-FFF2-40B4-BE49-F238E27FC236}">
                    <a16:creationId xmlns:a16="http://schemas.microsoft.com/office/drawing/2014/main" id="{44ECB805-D23F-CCEA-F92A-BB4625F90A71}"/>
                  </a:ext>
                </a:extLst>
              </p:cNvPr>
              <p:cNvSpPr/>
              <p:nvPr/>
            </p:nvSpPr>
            <p:spPr>
              <a:xfrm>
                <a:off x="1373589" y="3801450"/>
                <a:ext cx="36764" cy="29923"/>
              </a:xfrm>
              <a:custGeom>
                <a:avLst/>
                <a:gdLst>
                  <a:gd name="connsiteX0" fmla="*/ 109168 w 352477"/>
                  <a:gd name="connsiteY0" fmla="*/ 6888 h 286888"/>
                  <a:gd name="connsiteX1" fmla="*/ 125606 w 352477"/>
                  <a:gd name="connsiteY1" fmla="*/ 26647 h 286888"/>
                  <a:gd name="connsiteX2" fmla="*/ 140124 w 352477"/>
                  <a:gd name="connsiteY2" fmla="*/ 22970 h 286888"/>
                  <a:gd name="connsiteX3" fmla="*/ 152885 w 352477"/>
                  <a:gd name="connsiteY3" fmla="*/ 16658 h 286888"/>
                  <a:gd name="connsiteX4" fmla="*/ 159718 w 352477"/>
                  <a:gd name="connsiteY4" fmla="*/ 18085 h 286888"/>
                  <a:gd name="connsiteX5" fmla="*/ 168555 w 352477"/>
                  <a:gd name="connsiteY5" fmla="*/ 24369 h 286888"/>
                  <a:gd name="connsiteX6" fmla="*/ 183703 w 352477"/>
                  <a:gd name="connsiteY6" fmla="*/ 31120 h 286888"/>
                  <a:gd name="connsiteX7" fmla="*/ 203599 w 352477"/>
                  <a:gd name="connsiteY7" fmla="*/ 32410 h 286888"/>
                  <a:gd name="connsiteX8" fmla="*/ 219461 w 352477"/>
                  <a:gd name="connsiteY8" fmla="*/ 19676 h 286888"/>
                  <a:gd name="connsiteX9" fmla="*/ 236448 w 352477"/>
                  <a:gd name="connsiteY9" fmla="*/ 15807 h 286888"/>
                  <a:gd name="connsiteX10" fmla="*/ 258595 w 352477"/>
                  <a:gd name="connsiteY10" fmla="*/ 15807 h 286888"/>
                  <a:gd name="connsiteX11" fmla="*/ 270725 w 352477"/>
                  <a:gd name="connsiteY11" fmla="*/ 19265 h 286888"/>
                  <a:gd name="connsiteX12" fmla="*/ 277256 w 352477"/>
                  <a:gd name="connsiteY12" fmla="*/ 23354 h 286888"/>
                  <a:gd name="connsiteX13" fmla="*/ 287849 w 352477"/>
                  <a:gd name="connsiteY13" fmla="*/ 24232 h 286888"/>
                  <a:gd name="connsiteX14" fmla="*/ 291856 w 352477"/>
                  <a:gd name="connsiteY14" fmla="*/ 18606 h 286888"/>
                  <a:gd name="connsiteX15" fmla="*/ 300418 w 352477"/>
                  <a:gd name="connsiteY15" fmla="*/ 11938 h 286888"/>
                  <a:gd name="connsiteX16" fmla="*/ 308925 w 352477"/>
                  <a:gd name="connsiteY16" fmla="*/ 10264 h 286888"/>
                  <a:gd name="connsiteX17" fmla="*/ 314112 w 352477"/>
                  <a:gd name="connsiteY17" fmla="*/ 5296 h 286888"/>
                  <a:gd name="connsiteX18" fmla="*/ 322455 w 352477"/>
                  <a:gd name="connsiteY18" fmla="*/ 5132 h 286888"/>
                  <a:gd name="connsiteX19" fmla="*/ 335710 w 352477"/>
                  <a:gd name="connsiteY19" fmla="*/ 24232 h 286888"/>
                  <a:gd name="connsiteX20" fmla="*/ 338866 w 352477"/>
                  <a:gd name="connsiteY20" fmla="*/ 44567 h 286888"/>
                  <a:gd name="connsiteX21" fmla="*/ 347126 w 352477"/>
                  <a:gd name="connsiteY21" fmla="*/ 46269 h 286888"/>
                  <a:gd name="connsiteX22" fmla="*/ 352478 w 352477"/>
                  <a:gd name="connsiteY22" fmla="*/ 52032 h 286888"/>
                  <a:gd name="connsiteX23" fmla="*/ 350008 w 352477"/>
                  <a:gd name="connsiteY23" fmla="*/ 65040 h 286888"/>
                  <a:gd name="connsiteX24" fmla="*/ 351819 w 352477"/>
                  <a:gd name="connsiteY24" fmla="*/ 69348 h 286888"/>
                  <a:gd name="connsiteX25" fmla="*/ 339168 w 352477"/>
                  <a:gd name="connsiteY25" fmla="*/ 78899 h 286888"/>
                  <a:gd name="connsiteX26" fmla="*/ 332225 w 352477"/>
                  <a:gd name="connsiteY26" fmla="*/ 78651 h 286888"/>
                  <a:gd name="connsiteX27" fmla="*/ 321302 w 352477"/>
                  <a:gd name="connsiteY27" fmla="*/ 96187 h 286888"/>
                  <a:gd name="connsiteX28" fmla="*/ 318256 w 352477"/>
                  <a:gd name="connsiteY28" fmla="*/ 109717 h 286888"/>
                  <a:gd name="connsiteX29" fmla="*/ 312026 w 352477"/>
                  <a:gd name="connsiteY29" fmla="*/ 115507 h 286888"/>
                  <a:gd name="connsiteX30" fmla="*/ 309941 w 352477"/>
                  <a:gd name="connsiteY30" fmla="*/ 128543 h 286888"/>
                  <a:gd name="connsiteX31" fmla="*/ 300555 w 352477"/>
                  <a:gd name="connsiteY31" fmla="*/ 135294 h 286888"/>
                  <a:gd name="connsiteX32" fmla="*/ 298717 w 352477"/>
                  <a:gd name="connsiteY32" fmla="*/ 146792 h 286888"/>
                  <a:gd name="connsiteX33" fmla="*/ 297838 w 352477"/>
                  <a:gd name="connsiteY33" fmla="*/ 152199 h 286888"/>
                  <a:gd name="connsiteX34" fmla="*/ 292624 w 352477"/>
                  <a:gd name="connsiteY34" fmla="*/ 157276 h 286888"/>
                  <a:gd name="connsiteX35" fmla="*/ 287959 w 352477"/>
                  <a:gd name="connsiteY35" fmla="*/ 158428 h 286888"/>
                  <a:gd name="connsiteX36" fmla="*/ 283431 w 352477"/>
                  <a:gd name="connsiteY36" fmla="*/ 163780 h 286888"/>
                  <a:gd name="connsiteX37" fmla="*/ 282251 w 352477"/>
                  <a:gd name="connsiteY37" fmla="*/ 165179 h 286888"/>
                  <a:gd name="connsiteX38" fmla="*/ 280000 w 352477"/>
                  <a:gd name="connsiteY38" fmla="*/ 176595 h 286888"/>
                  <a:gd name="connsiteX39" fmla="*/ 275225 w 352477"/>
                  <a:gd name="connsiteY39" fmla="*/ 185240 h 286888"/>
                  <a:gd name="connsiteX40" fmla="*/ 269957 w 352477"/>
                  <a:gd name="connsiteY40" fmla="*/ 201788 h 286888"/>
                  <a:gd name="connsiteX41" fmla="*/ 263343 w 352477"/>
                  <a:gd name="connsiteY41" fmla="*/ 207853 h 286888"/>
                  <a:gd name="connsiteX42" fmla="*/ 259034 w 352477"/>
                  <a:gd name="connsiteY42" fmla="*/ 217431 h 286888"/>
                  <a:gd name="connsiteX43" fmla="*/ 255329 w 352477"/>
                  <a:gd name="connsiteY43" fmla="*/ 219846 h 286888"/>
                  <a:gd name="connsiteX44" fmla="*/ 249923 w 352477"/>
                  <a:gd name="connsiteY44" fmla="*/ 219626 h 286888"/>
                  <a:gd name="connsiteX45" fmla="*/ 233704 w 352477"/>
                  <a:gd name="connsiteY45" fmla="*/ 204258 h 286888"/>
                  <a:gd name="connsiteX46" fmla="*/ 227914 w 352477"/>
                  <a:gd name="connsiteY46" fmla="*/ 208978 h 286888"/>
                  <a:gd name="connsiteX47" fmla="*/ 216525 w 352477"/>
                  <a:gd name="connsiteY47" fmla="*/ 207716 h 286888"/>
                  <a:gd name="connsiteX48" fmla="*/ 209801 w 352477"/>
                  <a:gd name="connsiteY48" fmla="*/ 212793 h 286888"/>
                  <a:gd name="connsiteX49" fmla="*/ 206124 w 352477"/>
                  <a:gd name="connsiteY49" fmla="*/ 219489 h 286888"/>
                  <a:gd name="connsiteX50" fmla="*/ 199840 w 352477"/>
                  <a:gd name="connsiteY50" fmla="*/ 223249 h 286888"/>
                  <a:gd name="connsiteX51" fmla="*/ 183539 w 352477"/>
                  <a:gd name="connsiteY51" fmla="*/ 239330 h 286888"/>
                  <a:gd name="connsiteX52" fmla="*/ 180876 w 352477"/>
                  <a:gd name="connsiteY52" fmla="*/ 257744 h 286888"/>
                  <a:gd name="connsiteX53" fmla="*/ 174839 w 352477"/>
                  <a:gd name="connsiteY53" fmla="*/ 270478 h 286888"/>
                  <a:gd name="connsiteX54" fmla="*/ 174674 w 352477"/>
                  <a:gd name="connsiteY54" fmla="*/ 270478 h 286888"/>
                  <a:gd name="connsiteX55" fmla="*/ 174181 w 352477"/>
                  <a:gd name="connsiteY55" fmla="*/ 270725 h 286888"/>
                  <a:gd name="connsiteX56" fmla="*/ 173714 w 352477"/>
                  <a:gd name="connsiteY56" fmla="*/ 270807 h 286888"/>
                  <a:gd name="connsiteX57" fmla="*/ 173522 w 352477"/>
                  <a:gd name="connsiteY57" fmla="*/ 270752 h 286888"/>
                  <a:gd name="connsiteX58" fmla="*/ 173412 w 352477"/>
                  <a:gd name="connsiteY58" fmla="*/ 270478 h 286888"/>
                  <a:gd name="connsiteX59" fmla="*/ 173193 w 352477"/>
                  <a:gd name="connsiteY59" fmla="*/ 270478 h 286888"/>
                  <a:gd name="connsiteX60" fmla="*/ 172891 w 352477"/>
                  <a:gd name="connsiteY60" fmla="*/ 270643 h 286888"/>
                  <a:gd name="connsiteX61" fmla="*/ 172616 w 352477"/>
                  <a:gd name="connsiteY61" fmla="*/ 270862 h 286888"/>
                  <a:gd name="connsiteX62" fmla="*/ 172205 w 352477"/>
                  <a:gd name="connsiteY62" fmla="*/ 271576 h 286888"/>
                  <a:gd name="connsiteX63" fmla="*/ 172122 w 352477"/>
                  <a:gd name="connsiteY63" fmla="*/ 271685 h 286888"/>
                  <a:gd name="connsiteX64" fmla="*/ 171985 w 352477"/>
                  <a:gd name="connsiteY64" fmla="*/ 271795 h 286888"/>
                  <a:gd name="connsiteX65" fmla="*/ 171820 w 352477"/>
                  <a:gd name="connsiteY65" fmla="*/ 271850 h 286888"/>
                  <a:gd name="connsiteX66" fmla="*/ 171656 w 352477"/>
                  <a:gd name="connsiteY66" fmla="*/ 271850 h 286888"/>
                  <a:gd name="connsiteX67" fmla="*/ 171519 w 352477"/>
                  <a:gd name="connsiteY67" fmla="*/ 271795 h 286888"/>
                  <a:gd name="connsiteX68" fmla="*/ 171381 w 352477"/>
                  <a:gd name="connsiteY68" fmla="*/ 271713 h 286888"/>
                  <a:gd name="connsiteX69" fmla="*/ 171299 w 352477"/>
                  <a:gd name="connsiteY69" fmla="*/ 271631 h 286888"/>
                  <a:gd name="connsiteX70" fmla="*/ 171134 w 352477"/>
                  <a:gd name="connsiteY70" fmla="*/ 271384 h 286888"/>
                  <a:gd name="connsiteX71" fmla="*/ 170476 w 352477"/>
                  <a:gd name="connsiteY71" fmla="*/ 271603 h 286888"/>
                  <a:gd name="connsiteX72" fmla="*/ 170201 w 352477"/>
                  <a:gd name="connsiteY72" fmla="*/ 272070 h 286888"/>
                  <a:gd name="connsiteX73" fmla="*/ 170037 w 352477"/>
                  <a:gd name="connsiteY73" fmla="*/ 272591 h 286888"/>
                  <a:gd name="connsiteX74" fmla="*/ 169707 w 352477"/>
                  <a:gd name="connsiteY74" fmla="*/ 272893 h 286888"/>
                  <a:gd name="connsiteX75" fmla="*/ 169104 w 352477"/>
                  <a:gd name="connsiteY75" fmla="*/ 273085 h 286888"/>
                  <a:gd name="connsiteX76" fmla="*/ 168280 w 352477"/>
                  <a:gd name="connsiteY76" fmla="*/ 272810 h 286888"/>
                  <a:gd name="connsiteX77" fmla="*/ 168088 w 352477"/>
                  <a:gd name="connsiteY77" fmla="*/ 272427 h 286888"/>
                  <a:gd name="connsiteX78" fmla="*/ 168390 w 352477"/>
                  <a:gd name="connsiteY78" fmla="*/ 271987 h 286888"/>
                  <a:gd name="connsiteX79" fmla="*/ 168390 w 352477"/>
                  <a:gd name="connsiteY79" fmla="*/ 271576 h 286888"/>
                  <a:gd name="connsiteX80" fmla="*/ 168747 w 352477"/>
                  <a:gd name="connsiteY80" fmla="*/ 270341 h 286888"/>
                  <a:gd name="connsiteX81" fmla="*/ 168637 w 352477"/>
                  <a:gd name="connsiteY81" fmla="*/ 269737 h 286888"/>
                  <a:gd name="connsiteX82" fmla="*/ 168335 w 352477"/>
                  <a:gd name="connsiteY82" fmla="*/ 269243 h 286888"/>
                  <a:gd name="connsiteX83" fmla="*/ 167978 w 352477"/>
                  <a:gd name="connsiteY83" fmla="*/ 268969 h 286888"/>
                  <a:gd name="connsiteX84" fmla="*/ 167567 w 352477"/>
                  <a:gd name="connsiteY84" fmla="*/ 268969 h 286888"/>
                  <a:gd name="connsiteX85" fmla="*/ 167210 w 352477"/>
                  <a:gd name="connsiteY85" fmla="*/ 268886 h 286888"/>
                  <a:gd name="connsiteX86" fmla="*/ 166771 w 352477"/>
                  <a:gd name="connsiteY86" fmla="*/ 268475 h 286888"/>
                  <a:gd name="connsiteX87" fmla="*/ 166387 w 352477"/>
                  <a:gd name="connsiteY87" fmla="*/ 267788 h 286888"/>
                  <a:gd name="connsiteX88" fmla="*/ 165673 w 352477"/>
                  <a:gd name="connsiteY88" fmla="*/ 267487 h 286888"/>
                  <a:gd name="connsiteX89" fmla="*/ 165536 w 352477"/>
                  <a:gd name="connsiteY89" fmla="*/ 267404 h 286888"/>
                  <a:gd name="connsiteX90" fmla="*/ 165426 w 352477"/>
                  <a:gd name="connsiteY90" fmla="*/ 267267 h 286888"/>
                  <a:gd name="connsiteX91" fmla="*/ 165344 w 352477"/>
                  <a:gd name="connsiteY91" fmla="*/ 267185 h 286888"/>
                  <a:gd name="connsiteX92" fmla="*/ 165207 w 352477"/>
                  <a:gd name="connsiteY92" fmla="*/ 267075 h 286888"/>
                  <a:gd name="connsiteX93" fmla="*/ 165069 w 352477"/>
                  <a:gd name="connsiteY93" fmla="*/ 267020 h 286888"/>
                  <a:gd name="connsiteX94" fmla="*/ 164905 w 352477"/>
                  <a:gd name="connsiteY94" fmla="*/ 267020 h 286888"/>
                  <a:gd name="connsiteX95" fmla="*/ 164740 w 352477"/>
                  <a:gd name="connsiteY95" fmla="*/ 267075 h 286888"/>
                  <a:gd name="connsiteX96" fmla="*/ 164603 w 352477"/>
                  <a:gd name="connsiteY96" fmla="*/ 267157 h 286888"/>
                  <a:gd name="connsiteX97" fmla="*/ 164356 w 352477"/>
                  <a:gd name="connsiteY97" fmla="*/ 267404 h 286888"/>
                  <a:gd name="connsiteX98" fmla="*/ 164301 w 352477"/>
                  <a:gd name="connsiteY98" fmla="*/ 267459 h 286888"/>
                  <a:gd name="connsiteX99" fmla="*/ 164219 w 352477"/>
                  <a:gd name="connsiteY99" fmla="*/ 267597 h 286888"/>
                  <a:gd name="connsiteX100" fmla="*/ 164219 w 352477"/>
                  <a:gd name="connsiteY100" fmla="*/ 267734 h 286888"/>
                  <a:gd name="connsiteX101" fmla="*/ 164219 w 352477"/>
                  <a:gd name="connsiteY101" fmla="*/ 267898 h 286888"/>
                  <a:gd name="connsiteX102" fmla="*/ 164219 w 352477"/>
                  <a:gd name="connsiteY102" fmla="*/ 268255 h 286888"/>
                  <a:gd name="connsiteX103" fmla="*/ 164136 w 352477"/>
                  <a:gd name="connsiteY103" fmla="*/ 268447 h 286888"/>
                  <a:gd name="connsiteX104" fmla="*/ 164054 w 352477"/>
                  <a:gd name="connsiteY104" fmla="*/ 268365 h 286888"/>
                  <a:gd name="connsiteX105" fmla="*/ 163944 w 352477"/>
                  <a:gd name="connsiteY105" fmla="*/ 268228 h 286888"/>
                  <a:gd name="connsiteX106" fmla="*/ 163944 w 352477"/>
                  <a:gd name="connsiteY106" fmla="*/ 268090 h 286888"/>
                  <a:gd name="connsiteX107" fmla="*/ 163862 w 352477"/>
                  <a:gd name="connsiteY107" fmla="*/ 267953 h 286888"/>
                  <a:gd name="connsiteX108" fmla="*/ 163752 w 352477"/>
                  <a:gd name="connsiteY108" fmla="*/ 267816 h 286888"/>
                  <a:gd name="connsiteX109" fmla="*/ 163642 w 352477"/>
                  <a:gd name="connsiteY109" fmla="*/ 267734 h 286888"/>
                  <a:gd name="connsiteX110" fmla="*/ 163478 w 352477"/>
                  <a:gd name="connsiteY110" fmla="*/ 267679 h 286888"/>
                  <a:gd name="connsiteX111" fmla="*/ 163176 w 352477"/>
                  <a:gd name="connsiteY111" fmla="*/ 267679 h 286888"/>
                  <a:gd name="connsiteX112" fmla="*/ 163066 w 352477"/>
                  <a:gd name="connsiteY112" fmla="*/ 267761 h 286888"/>
                  <a:gd name="connsiteX113" fmla="*/ 162737 w 352477"/>
                  <a:gd name="connsiteY113" fmla="*/ 267761 h 286888"/>
                  <a:gd name="connsiteX114" fmla="*/ 162572 w 352477"/>
                  <a:gd name="connsiteY114" fmla="*/ 267624 h 286888"/>
                  <a:gd name="connsiteX115" fmla="*/ 162407 w 352477"/>
                  <a:gd name="connsiteY115" fmla="*/ 267514 h 286888"/>
                  <a:gd name="connsiteX116" fmla="*/ 162243 w 352477"/>
                  <a:gd name="connsiteY116" fmla="*/ 267514 h 286888"/>
                  <a:gd name="connsiteX117" fmla="*/ 162078 w 352477"/>
                  <a:gd name="connsiteY117" fmla="*/ 267514 h 286888"/>
                  <a:gd name="connsiteX118" fmla="*/ 161941 w 352477"/>
                  <a:gd name="connsiteY118" fmla="*/ 267597 h 286888"/>
                  <a:gd name="connsiteX119" fmla="*/ 161804 w 352477"/>
                  <a:gd name="connsiteY119" fmla="*/ 267706 h 286888"/>
                  <a:gd name="connsiteX120" fmla="*/ 161721 w 352477"/>
                  <a:gd name="connsiteY120" fmla="*/ 267843 h 286888"/>
                  <a:gd name="connsiteX121" fmla="*/ 161666 w 352477"/>
                  <a:gd name="connsiteY121" fmla="*/ 268008 h 286888"/>
                  <a:gd name="connsiteX122" fmla="*/ 161666 w 352477"/>
                  <a:gd name="connsiteY122" fmla="*/ 268173 h 286888"/>
                  <a:gd name="connsiteX123" fmla="*/ 161749 w 352477"/>
                  <a:gd name="connsiteY123" fmla="*/ 268310 h 286888"/>
                  <a:gd name="connsiteX124" fmla="*/ 161886 w 352477"/>
                  <a:gd name="connsiteY124" fmla="*/ 268557 h 286888"/>
                  <a:gd name="connsiteX125" fmla="*/ 162490 w 352477"/>
                  <a:gd name="connsiteY125" fmla="*/ 269161 h 286888"/>
                  <a:gd name="connsiteX126" fmla="*/ 163093 w 352477"/>
                  <a:gd name="connsiteY126" fmla="*/ 269984 h 286888"/>
                  <a:gd name="connsiteX127" fmla="*/ 164081 w 352477"/>
                  <a:gd name="connsiteY127" fmla="*/ 270725 h 286888"/>
                  <a:gd name="connsiteX128" fmla="*/ 164960 w 352477"/>
                  <a:gd name="connsiteY128" fmla="*/ 272399 h 286888"/>
                  <a:gd name="connsiteX129" fmla="*/ 164905 w 352477"/>
                  <a:gd name="connsiteY129" fmla="*/ 272920 h 286888"/>
                  <a:gd name="connsiteX130" fmla="*/ 164685 w 352477"/>
                  <a:gd name="connsiteY130" fmla="*/ 273387 h 286888"/>
                  <a:gd name="connsiteX131" fmla="*/ 164383 w 352477"/>
                  <a:gd name="connsiteY131" fmla="*/ 274237 h 286888"/>
                  <a:gd name="connsiteX132" fmla="*/ 164274 w 352477"/>
                  <a:gd name="connsiteY132" fmla="*/ 274320 h 286888"/>
                  <a:gd name="connsiteX133" fmla="*/ 164164 w 352477"/>
                  <a:gd name="connsiteY133" fmla="*/ 274430 h 286888"/>
                  <a:gd name="connsiteX134" fmla="*/ 164109 w 352477"/>
                  <a:gd name="connsiteY134" fmla="*/ 274594 h 286888"/>
                  <a:gd name="connsiteX135" fmla="*/ 164109 w 352477"/>
                  <a:gd name="connsiteY135" fmla="*/ 274759 h 286888"/>
                  <a:gd name="connsiteX136" fmla="*/ 164109 w 352477"/>
                  <a:gd name="connsiteY136" fmla="*/ 274924 h 286888"/>
                  <a:gd name="connsiteX137" fmla="*/ 164191 w 352477"/>
                  <a:gd name="connsiteY137" fmla="*/ 275061 h 286888"/>
                  <a:gd name="connsiteX138" fmla="*/ 164329 w 352477"/>
                  <a:gd name="connsiteY138" fmla="*/ 275171 h 286888"/>
                  <a:gd name="connsiteX139" fmla="*/ 164438 w 352477"/>
                  <a:gd name="connsiteY139" fmla="*/ 275253 h 286888"/>
                  <a:gd name="connsiteX140" fmla="*/ 164575 w 352477"/>
                  <a:gd name="connsiteY140" fmla="*/ 275665 h 286888"/>
                  <a:gd name="connsiteX141" fmla="*/ 164712 w 352477"/>
                  <a:gd name="connsiteY141" fmla="*/ 275802 h 286888"/>
                  <a:gd name="connsiteX142" fmla="*/ 164795 w 352477"/>
                  <a:gd name="connsiteY142" fmla="*/ 275966 h 286888"/>
                  <a:gd name="connsiteX143" fmla="*/ 164795 w 352477"/>
                  <a:gd name="connsiteY143" fmla="*/ 276131 h 286888"/>
                  <a:gd name="connsiteX144" fmla="*/ 164795 w 352477"/>
                  <a:gd name="connsiteY144" fmla="*/ 276323 h 286888"/>
                  <a:gd name="connsiteX145" fmla="*/ 164685 w 352477"/>
                  <a:gd name="connsiteY145" fmla="*/ 276488 h 286888"/>
                  <a:gd name="connsiteX146" fmla="*/ 164493 w 352477"/>
                  <a:gd name="connsiteY146" fmla="*/ 276680 h 286888"/>
                  <a:gd name="connsiteX147" fmla="*/ 164383 w 352477"/>
                  <a:gd name="connsiteY147" fmla="*/ 276817 h 286888"/>
                  <a:gd name="connsiteX148" fmla="*/ 164301 w 352477"/>
                  <a:gd name="connsiteY148" fmla="*/ 276954 h 286888"/>
                  <a:gd name="connsiteX149" fmla="*/ 164301 w 352477"/>
                  <a:gd name="connsiteY149" fmla="*/ 277119 h 286888"/>
                  <a:gd name="connsiteX150" fmla="*/ 164301 w 352477"/>
                  <a:gd name="connsiteY150" fmla="*/ 277284 h 286888"/>
                  <a:gd name="connsiteX151" fmla="*/ 164356 w 352477"/>
                  <a:gd name="connsiteY151" fmla="*/ 277366 h 286888"/>
                  <a:gd name="connsiteX152" fmla="*/ 164301 w 352477"/>
                  <a:gd name="connsiteY152" fmla="*/ 277503 h 286888"/>
                  <a:gd name="connsiteX153" fmla="*/ 164191 w 352477"/>
                  <a:gd name="connsiteY153" fmla="*/ 277503 h 286888"/>
                  <a:gd name="connsiteX154" fmla="*/ 164026 w 352477"/>
                  <a:gd name="connsiteY154" fmla="*/ 277503 h 286888"/>
                  <a:gd name="connsiteX155" fmla="*/ 163807 w 352477"/>
                  <a:gd name="connsiteY155" fmla="*/ 277585 h 286888"/>
                  <a:gd name="connsiteX156" fmla="*/ 163395 w 352477"/>
                  <a:gd name="connsiteY156" fmla="*/ 277585 h 286888"/>
                  <a:gd name="connsiteX157" fmla="*/ 163340 w 352477"/>
                  <a:gd name="connsiteY157" fmla="*/ 277833 h 286888"/>
                  <a:gd name="connsiteX158" fmla="*/ 163148 w 352477"/>
                  <a:gd name="connsiteY158" fmla="*/ 277942 h 286888"/>
                  <a:gd name="connsiteX159" fmla="*/ 163203 w 352477"/>
                  <a:gd name="connsiteY159" fmla="*/ 278052 h 286888"/>
                  <a:gd name="connsiteX160" fmla="*/ 163203 w 352477"/>
                  <a:gd name="connsiteY160" fmla="*/ 278409 h 286888"/>
                  <a:gd name="connsiteX161" fmla="*/ 163093 w 352477"/>
                  <a:gd name="connsiteY161" fmla="*/ 278546 h 286888"/>
                  <a:gd name="connsiteX162" fmla="*/ 162929 w 352477"/>
                  <a:gd name="connsiteY162" fmla="*/ 278656 h 286888"/>
                  <a:gd name="connsiteX163" fmla="*/ 162764 w 352477"/>
                  <a:gd name="connsiteY163" fmla="*/ 278738 h 286888"/>
                  <a:gd name="connsiteX164" fmla="*/ 162407 w 352477"/>
                  <a:gd name="connsiteY164" fmla="*/ 278738 h 286888"/>
                  <a:gd name="connsiteX165" fmla="*/ 161035 w 352477"/>
                  <a:gd name="connsiteY165" fmla="*/ 278628 h 286888"/>
                  <a:gd name="connsiteX166" fmla="*/ 157138 w 352477"/>
                  <a:gd name="connsiteY166" fmla="*/ 278738 h 286888"/>
                  <a:gd name="connsiteX167" fmla="*/ 154476 w 352477"/>
                  <a:gd name="connsiteY167" fmla="*/ 278930 h 286888"/>
                  <a:gd name="connsiteX168" fmla="*/ 147808 w 352477"/>
                  <a:gd name="connsiteY168" fmla="*/ 279809 h 286888"/>
                  <a:gd name="connsiteX169" fmla="*/ 147177 w 352477"/>
                  <a:gd name="connsiteY169" fmla="*/ 280055 h 286888"/>
                  <a:gd name="connsiteX170" fmla="*/ 146573 w 352477"/>
                  <a:gd name="connsiteY170" fmla="*/ 280165 h 286888"/>
                  <a:gd name="connsiteX171" fmla="*/ 145805 w 352477"/>
                  <a:gd name="connsiteY171" fmla="*/ 280522 h 286888"/>
                  <a:gd name="connsiteX172" fmla="*/ 145064 w 352477"/>
                  <a:gd name="connsiteY172" fmla="*/ 280687 h 286888"/>
                  <a:gd name="connsiteX173" fmla="*/ 144844 w 352477"/>
                  <a:gd name="connsiteY173" fmla="*/ 280577 h 286888"/>
                  <a:gd name="connsiteX174" fmla="*/ 144679 w 352477"/>
                  <a:gd name="connsiteY174" fmla="*/ 280522 h 286888"/>
                  <a:gd name="connsiteX175" fmla="*/ 144514 w 352477"/>
                  <a:gd name="connsiteY175" fmla="*/ 280522 h 286888"/>
                  <a:gd name="connsiteX176" fmla="*/ 144350 w 352477"/>
                  <a:gd name="connsiteY176" fmla="*/ 280577 h 286888"/>
                  <a:gd name="connsiteX177" fmla="*/ 144185 w 352477"/>
                  <a:gd name="connsiteY177" fmla="*/ 280659 h 286888"/>
                  <a:gd name="connsiteX178" fmla="*/ 144103 w 352477"/>
                  <a:gd name="connsiteY178" fmla="*/ 280824 h 286888"/>
                  <a:gd name="connsiteX179" fmla="*/ 144048 w 352477"/>
                  <a:gd name="connsiteY179" fmla="*/ 280989 h 286888"/>
                  <a:gd name="connsiteX180" fmla="*/ 143993 w 352477"/>
                  <a:gd name="connsiteY180" fmla="*/ 281400 h 286888"/>
                  <a:gd name="connsiteX181" fmla="*/ 143664 w 352477"/>
                  <a:gd name="connsiteY181" fmla="*/ 281482 h 286888"/>
                  <a:gd name="connsiteX182" fmla="*/ 141633 w 352477"/>
                  <a:gd name="connsiteY182" fmla="*/ 281482 h 286888"/>
                  <a:gd name="connsiteX183" fmla="*/ 139273 w 352477"/>
                  <a:gd name="connsiteY183" fmla="*/ 281922 h 286888"/>
                  <a:gd name="connsiteX184" fmla="*/ 138724 w 352477"/>
                  <a:gd name="connsiteY184" fmla="*/ 281867 h 286888"/>
                  <a:gd name="connsiteX185" fmla="*/ 137462 w 352477"/>
                  <a:gd name="connsiteY185" fmla="*/ 281729 h 286888"/>
                  <a:gd name="connsiteX186" fmla="*/ 136913 w 352477"/>
                  <a:gd name="connsiteY186" fmla="*/ 281428 h 286888"/>
                  <a:gd name="connsiteX187" fmla="*/ 136968 w 352477"/>
                  <a:gd name="connsiteY187" fmla="*/ 281263 h 286888"/>
                  <a:gd name="connsiteX188" fmla="*/ 137242 w 352477"/>
                  <a:gd name="connsiteY188" fmla="*/ 281016 h 286888"/>
                  <a:gd name="connsiteX189" fmla="*/ 137132 w 352477"/>
                  <a:gd name="connsiteY189" fmla="*/ 280796 h 286888"/>
                  <a:gd name="connsiteX190" fmla="*/ 137132 w 352477"/>
                  <a:gd name="connsiteY190" fmla="*/ 280522 h 286888"/>
                  <a:gd name="connsiteX191" fmla="*/ 137462 w 352477"/>
                  <a:gd name="connsiteY191" fmla="*/ 280275 h 286888"/>
                  <a:gd name="connsiteX192" fmla="*/ 137874 w 352477"/>
                  <a:gd name="connsiteY192" fmla="*/ 280083 h 286888"/>
                  <a:gd name="connsiteX193" fmla="*/ 137874 w 352477"/>
                  <a:gd name="connsiteY193" fmla="*/ 279946 h 286888"/>
                  <a:gd name="connsiteX194" fmla="*/ 137270 w 352477"/>
                  <a:gd name="connsiteY194" fmla="*/ 279781 h 286888"/>
                  <a:gd name="connsiteX195" fmla="*/ 136748 w 352477"/>
                  <a:gd name="connsiteY195" fmla="*/ 279452 h 286888"/>
                  <a:gd name="connsiteX196" fmla="*/ 136200 w 352477"/>
                  <a:gd name="connsiteY196" fmla="*/ 279726 h 286888"/>
                  <a:gd name="connsiteX197" fmla="*/ 135404 w 352477"/>
                  <a:gd name="connsiteY197" fmla="*/ 279946 h 286888"/>
                  <a:gd name="connsiteX198" fmla="*/ 134909 w 352477"/>
                  <a:gd name="connsiteY198" fmla="*/ 279863 h 286888"/>
                  <a:gd name="connsiteX199" fmla="*/ 134196 w 352477"/>
                  <a:gd name="connsiteY199" fmla="*/ 278848 h 286888"/>
                  <a:gd name="connsiteX200" fmla="*/ 133894 w 352477"/>
                  <a:gd name="connsiteY200" fmla="*/ 278189 h 286888"/>
                  <a:gd name="connsiteX201" fmla="*/ 133016 w 352477"/>
                  <a:gd name="connsiteY201" fmla="*/ 277421 h 286888"/>
                  <a:gd name="connsiteX202" fmla="*/ 132879 w 352477"/>
                  <a:gd name="connsiteY202" fmla="*/ 277256 h 286888"/>
                  <a:gd name="connsiteX203" fmla="*/ 132769 w 352477"/>
                  <a:gd name="connsiteY203" fmla="*/ 277119 h 286888"/>
                  <a:gd name="connsiteX204" fmla="*/ 132604 w 352477"/>
                  <a:gd name="connsiteY204" fmla="*/ 277037 h 286888"/>
                  <a:gd name="connsiteX205" fmla="*/ 132440 w 352477"/>
                  <a:gd name="connsiteY205" fmla="*/ 277037 h 286888"/>
                  <a:gd name="connsiteX206" fmla="*/ 132275 w 352477"/>
                  <a:gd name="connsiteY206" fmla="*/ 277037 h 286888"/>
                  <a:gd name="connsiteX207" fmla="*/ 132110 w 352477"/>
                  <a:gd name="connsiteY207" fmla="*/ 277119 h 286888"/>
                  <a:gd name="connsiteX208" fmla="*/ 132001 w 352477"/>
                  <a:gd name="connsiteY208" fmla="*/ 277256 h 286888"/>
                  <a:gd name="connsiteX209" fmla="*/ 131918 w 352477"/>
                  <a:gd name="connsiteY209" fmla="*/ 277394 h 286888"/>
                  <a:gd name="connsiteX210" fmla="*/ 131918 w 352477"/>
                  <a:gd name="connsiteY210" fmla="*/ 277503 h 286888"/>
                  <a:gd name="connsiteX211" fmla="*/ 131808 w 352477"/>
                  <a:gd name="connsiteY211" fmla="*/ 277640 h 286888"/>
                  <a:gd name="connsiteX212" fmla="*/ 131644 w 352477"/>
                  <a:gd name="connsiteY212" fmla="*/ 277778 h 286888"/>
                  <a:gd name="connsiteX213" fmla="*/ 131507 w 352477"/>
                  <a:gd name="connsiteY213" fmla="*/ 277833 h 286888"/>
                  <a:gd name="connsiteX214" fmla="*/ 131397 w 352477"/>
                  <a:gd name="connsiteY214" fmla="*/ 277970 h 286888"/>
                  <a:gd name="connsiteX215" fmla="*/ 131315 w 352477"/>
                  <a:gd name="connsiteY215" fmla="*/ 278135 h 286888"/>
                  <a:gd name="connsiteX216" fmla="*/ 131315 w 352477"/>
                  <a:gd name="connsiteY216" fmla="*/ 278491 h 286888"/>
                  <a:gd name="connsiteX217" fmla="*/ 131452 w 352477"/>
                  <a:gd name="connsiteY217" fmla="*/ 278628 h 286888"/>
                  <a:gd name="connsiteX218" fmla="*/ 131973 w 352477"/>
                  <a:gd name="connsiteY218" fmla="*/ 279232 h 286888"/>
                  <a:gd name="connsiteX219" fmla="*/ 131973 w 352477"/>
                  <a:gd name="connsiteY219" fmla="*/ 280083 h 286888"/>
                  <a:gd name="connsiteX220" fmla="*/ 131644 w 352477"/>
                  <a:gd name="connsiteY220" fmla="*/ 280741 h 286888"/>
                  <a:gd name="connsiteX221" fmla="*/ 131315 w 352477"/>
                  <a:gd name="connsiteY221" fmla="*/ 281016 h 286888"/>
                  <a:gd name="connsiteX222" fmla="*/ 130491 w 352477"/>
                  <a:gd name="connsiteY222" fmla="*/ 281098 h 286888"/>
                  <a:gd name="connsiteX223" fmla="*/ 129915 w 352477"/>
                  <a:gd name="connsiteY223" fmla="*/ 281291 h 286888"/>
                  <a:gd name="connsiteX224" fmla="*/ 129641 w 352477"/>
                  <a:gd name="connsiteY224" fmla="*/ 281236 h 286888"/>
                  <a:gd name="connsiteX225" fmla="*/ 129476 w 352477"/>
                  <a:gd name="connsiteY225" fmla="*/ 281236 h 286888"/>
                  <a:gd name="connsiteX226" fmla="*/ 129311 w 352477"/>
                  <a:gd name="connsiteY226" fmla="*/ 281236 h 286888"/>
                  <a:gd name="connsiteX227" fmla="*/ 129174 w 352477"/>
                  <a:gd name="connsiteY227" fmla="*/ 281318 h 286888"/>
                  <a:gd name="connsiteX228" fmla="*/ 129064 w 352477"/>
                  <a:gd name="connsiteY228" fmla="*/ 281428 h 286888"/>
                  <a:gd name="connsiteX229" fmla="*/ 129009 w 352477"/>
                  <a:gd name="connsiteY229" fmla="*/ 281537 h 286888"/>
                  <a:gd name="connsiteX230" fmla="*/ 128845 w 352477"/>
                  <a:gd name="connsiteY230" fmla="*/ 281702 h 286888"/>
                  <a:gd name="connsiteX231" fmla="*/ 128543 w 352477"/>
                  <a:gd name="connsiteY231" fmla="*/ 281784 h 286888"/>
                  <a:gd name="connsiteX232" fmla="*/ 127747 w 352477"/>
                  <a:gd name="connsiteY232" fmla="*/ 281729 h 286888"/>
                  <a:gd name="connsiteX233" fmla="*/ 127637 w 352477"/>
                  <a:gd name="connsiteY233" fmla="*/ 281729 h 286888"/>
                  <a:gd name="connsiteX234" fmla="*/ 127473 w 352477"/>
                  <a:gd name="connsiteY234" fmla="*/ 281729 h 286888"/>
                  <a:gd name="connsiteX235" fmla="*/ 127281 w 352477"/>
                  <a:gd name="connsiteY235" fmla="*/ 281784 h 286888"/>
                  <a:gd name="connsiteX236" fmla="*/ 127143 w 352477"/>
                  <a:gd name="connsiteY236" fmla="*/ 281894 h 286888"/>
                  <a:gd name="connsiteX237" fmla="*/ 127061 w 352477"/>
                  <a:gd name="connsiteY237" fmla="*/ 282032 h 286888"/>
                  <a:gd name="connsiteX238" fmla="*/ 127006 w 352477"/>
                  <a:gd name="connsiteY238" fmla="*/ 282223 h 286888"/>
                  <a:gd name="connsiteX239" fmla="*/ 127006 w 352477"/>
                  <a:gd name="connsiteY239" fmla="*/ 282388 h 286888"/>
                  <a:gd name="connsiteX240" fmla="*/ 127116 w 352477"/>
                  <a:gd name="connsiteY240" fmla="*/ 282553 h 286888"/>
                  <a:gd name="connsiteX241" fmla="*/ 127335 w 352477"/>
                  <a:gd name="connsiteY241" fmla="*/ 282937 h 286888"/>
                  <a:gd name="connsiteX242" fmla="*/ 127281 w 352477"/>
                  <a:gd name="connsiteY242" fmla="*/ 283266 h 286888"/>
                  <a:gd name="connsiteX243" fmla="*/ 126786 w 352477"/>
                  <a:gd name="connsiteY243" fmla="*/ 283651 h 286888"/>
                  <a:gd name="connsiteX244" fmla="*/ 126402 w 352477"/>
                  <a:gd name="connsiteY244" fmla="*/ 283651 h 286888"/>
                  <a:gd name="connsiteX245" fmla="*/ 126018 w 352477"/>
                  <a:gd name="connsiteY245" fmla="*/ 283239 h 286888"/>
                  <a:gd name="connsiteX246" fmla="*/ 125881 w 352477"/>
                  <a:gd name="connsiteY246" fmla="*/ 283568 h 286888"/>
                  <a:gd name="connsiteX247" fmla="*/ 125497 w 352477"/>
                  <a:gd name="connsiteY247" fmla="*/ 283706 h 286888"/>
                  <a:gd name="connsiteX248" fmla="*/ 123493 w 352477"/>
                  <a:gd name="connsiteY248" fmla="*/ 283266 h 286888"/>
                  <a:gd name="connsiteX249" fmla="*/ 123329 w 352477"/>
                  <a:gd name="connsiteY249" fmla="*/ 283266 h 286888"/>
                  <a:gd name="connsiteX250" fmla="*/ 123164 w 352477"/>
                  <a:gd name="connsiteY250" fmla="*/ 283266 h 286888"/>
                  <a:gd name="connsiteX251" fmla="*/ 123027 w 352477"/>
                  <a:gd name="connsiteY251" fmla="*/ 283349 h 286888"/>
                  <a:gd name="connsiteX252" fmla="*/ 122917 w 352477"/>
                  <a:gd name="connsiteY252" fmla="*/ 283458 h 286888"/>
                  <a:gd name="connsiteX253" fmla="*/ 122862 w 352477"/>
                  <a:gd name="connsiteY253" fmla="*/ 283623 h 286888"/>
                  <a:gd name="connsiteX254" fmla="*/ 122862 w 352477"/>
                  <a:gd name="connsiteY254" fmla="*/ 283760 h 286888"/>
                  <a:gd name="connsiteX255" fmla="*/ 122862 w 352477"/>
                  <a:gd name="connsiteY255" fmla="*/ 283925 h 286888"/>
                  <a:gd name="connsiteX256" fmla="*/ 122862 w 352477"/>
                  <a:gd name="connsiteY256" fmla="*/ 284035 h 286888"/>
                  <a:gd name="connsiteX257" fmla="*/ 119926 w 352477"/>
                  <a:gd name="connsiteY257" fmla="*/ 284529 h 286888"/>
                  <a:gd name="connsiteX258" fmla="*/ 119075 w 352477"/>
                  <a:gd name="connsiteY258" fmla="*/ 284419 h 286888"/>
                  <a:gd name="connsiteX259" fmla="*/ 118718 w 352477"/>
                  <a:gd name="connsiteY259" fmla="*/ 284254 h 286888"/>
                  <a:gd name="connsiteX260" fmla="*/ 118554 w 352477"/>
                  <a:gd name="connsiteY260" fmla="*/ 284172 h 286888"/>
                  <a:gd name="connsiteX261" fmla="*/ 118224 w 352477"/>
                  <a:gd name="connsiteY261" fmla="*/ 284172 h 286888"/>
                  <a:gd name="connsiteX262" fmla="*/ 118059 w 352477"/>
                  <a:gd name="connsiteY262" fmla="*/ 284282 h 286888"/>
                  <a:gd name="connsiteX263" fmla="*/ 117950 w 352477"/>
                  <a:gd name="connsiteY263" fmla="*/ 284392 h 286888"/>
                  <a:gd name="connsiteX264" fmla="*/ 117867 w 352477"/>
                  <a:gd name="connsiteY264" fmla="*/ 284556 h 286888"/>
                  <a:gd name="connsiteX265" fmla="*/ 117813 w 352477"/>
                  <a:gd name="connsiteY265" fmla="*/ 284748 h 286888"/>
                  <a:gd name="connsiteX266" fmla="*/ 116742 w 352477"/>
                  <a:gd name="connsiteY266" fmla="*/ 284995 h 286888"/>
                  <a:gd name="connsiteX267" fmla="*/ 116056 w 352477"/>
                  <a:gd name="connsiteY267" fmla="*/ 285242 h 286888"/>
                  <a:gd name="connsiteX268" fmla="*/ 115425 w 352477"/>
                  <a:gd name="connsiteY268" fmla="*/ 284803 h 286888"/>
                  <a:gd name="connsiteX269" fmla="*/ 115261 w 352477"/>
                  <a:gd name="connsiteY269" fmla="*/ 284721 h 286888"/>
                  <a:gd name="connsiteX270" fmla="*/ 114904 w 352477"/>
                  <a:gd name="connsiteY270" fmla="*/ 284721 h 286888"/>
                  <a:gd name="connsiteX271" fmla="*/ 114766 w 352477"/>
                  <a:gd name="connsiteY271" fmla="*/ 284858 h 286888"/>
                  <a:gd name="connsiteX272" fmla="*/ 114629 w 352477"/>
                  <a:gd name="connsiteY272" fmla="*/ 284995 h 286888"/>
                  <a:gd name="connsiteX273" fmla="*/ 114574 w 352477"/>
                  <a:gd name="connsiteY273" fmla="*/ 285105 h 286888"/>
                  <a:gd name="connsiteX274" fmla="*/ 110869 w 352477"/>
                  <a:gd name="connsiteY274" fmla="*/ 285599 h 286888"/>
                  <a:gd name="connsiteX275" fmla="*/ 110293 w 352477"/>
                  <a:gd name="connsiteY275" fmla="*/ 285297 h 286888"/>
                  <a:gd name="connsiteX276" fmla="*/ 110101 w 352477"/>
                  <a:gd name="connsiteY276" fmla="*/ 285215 h 286888"/>
                  <a:gd name="connsiteX277" fmla="*/ 109936 w 352477"/>
                  <a:gd name="connsiteY277" fmla="*/ 285215 h 286888"/>
                  <a:gd name="connsiteX278" fmla="*/ 109772 w 352477"/>
                  <a:gd name="connsiteY278" fmla="*/ 285215 h 286888"/>
                  <a:gd name="connsiteX279" fmla="*/ 109607 w 352477"/>
                  <a:gd name="connsiteY279" fmla="*/ 285297 h 286888"/>
                  <a:gd name="connsiteX280" fmla="*/ 109497 w 352477"/>
                  <a:gd name="connsiteY280" fmla="*/ 285434 h 286888"/>
                  <a:gd name="connsiteX281" fmla="*/ 109415 w 352477"/>
                  <a:gd name="connsiteY281" fmla="*/ 285599 h 286888"/>
                  <a:gd name="connsiteX282" fmla="*/ 109415 w 352477"/>
                  <a:gd name="connsiteY282" fmla="*/ 285791 h 286888"/>
                  <a:gd name="connsiteX283" fmla="*/ 105820 w 352477"/>
                  <a:gd name="connsiteY283" fmla="*/ 286285 h 286888"/>
                  <a:gd name="connsiteX284" fmla="*/ 104969 w 352477"/>
                  <a:gd name="connsiteY284" fmla="*/ 286285 h 286888"/>
                  <a:gd name="connsiteX285" fmla="*/ 104585 w 352477"/>
                  <a:gd name="connsiteY285" fmla="*/ 286230 h 286888"/>
                  <a:gd name="connsiteX286" fmla="*/ 104420 w 352477"/>
                  <a:gd name="connsiteY286" fmla="*/ 286148 h 286888"/>
                  <a:gd name="connsiteX287" fmla="*/ 104283 w 352477"/>
                  <a:gd name="connsiteY287" fmla="*/ 286148 h 286888"/>
                  <a:gd name="connsiteX288" fmla="*/ 104119 w 352477"/>
                  <a:gd name="connsiteY288" fmla="*/ 286148 h 286888"/>
                  <a:gd name="connsiteX289" fmla="*/ 103981 w 352477"/>
                  <a:gd name="connsiteY289" fmla="*/ 286203 h 286888"/>
                  <a:gd name="connsiteX290" fmla="*/ 103844 w 352477"/>
                  <a:gd name="connsiteY290" fmla="*/ 286312 h 286888"/>
                  <a:gd name="connsiteX291" fmla="*/ 103762 w 352477"/>
                  <a:gd name="connsiteY291" fmla="*/ 286477 h 286888"/>
                  <a:gd name="connsiteX292" fmla="*/ 100661 w 352477"/>
                  <a:gd name="connsiteY292" fmla="*/ 286889 h 286888"/>
                  <a:gd name="connsiteX293" fmla="*/ 100084 w 352477"/>
                  <a:gd name="connsiteY293" fmla="*/ 286779 h 286888"/>
                  <a:gd name="connsiteX294" fmla="*/ 99892 w 352477"/>
                  <a:gd name="connsiteY294" fmla="*/ 286532 h 286888"/>
                  <a:gd name="connsiteX295" fmla="*/ 99783 w 352477"/>
                  <a:gd name="connsiteY295" fmla="*/ 286367 h 286888"/>
                  <a:gd name="connsiteX296" fmla="*/ 99645 w 352477"/>
                  <a:gd name="connsiteY296" fmla="*/ 286285 h 286888"/>
                  <a:gd name="connsiteX297" fmla="*/ 99453 w 352477"/>
                  <a:gd name="connsiteY297" fmla="*/ 286230 h 286888"/>
                  <a:gd name="connsiteX298" fmla="*/ 99261 w 352477"/>
                  <a:gd name="connsiteY298" fmla="*/ 286230 h 286888"/>
                  <a:gd name="connsiteX299" fmla="*/ 99206 w 352477"/>
                  <a:gd name="connsiteY299" fmla="*/ 286285 h 286888"/>
                  <a:gd name="connsiteX300" fmla="*/ 98767 w 352477"/>
                  <a:gd name="connsiteY300" fmla="*/ 286285 h 286888"/>
                  <a:gd name="connsiteX301" fmla="*/ 97148 w 352477"/>
                  <a:gd name="connsiteY301" fmla="*/ 285818 h 286888"/>
                  <a:gd name="connsiteX302" fmla="*/ 96764 w 352477"/>
                  <a:gd name="connsiteY302" fmla="*/ 285407 h 286888"/>
                  <a:gd name="connsiteX303" fmla="*/ 96764 w 352477"/>
                  <a:gd name="connsiteY303" fmla="*/ 285297 h 286888"/>
                  <a:gd name="connsiteX304" fmla="*/ 96654 w 352477"/>
                  <a:gd name="connsiteY304" fmla="*/ 285160 h 286888"/>
                  <a:gd name="connsiteX305" fmla="*/ 96544 w 352477"/>
                  <a:gd name="connsiteY305" fmla="*/ 285050 h 286888"/>
                  <a:gd name="connsiteX306" fmla="*/ 96407 w 352477"/>
                  <a:gd name="connsiteY306" fmla="*/ 284995 h 286888"/>
                  <a:gd name="connsiteX307" fmla="*/ 96215 w 352477"/>
                  <a:gd name="connsiteY307" fmla="*/ 284995 h 286888"/>
                  <a:gd name="connsiteX308" fmla="*/ 93882 w 352477"/>
                  <a:gd name="connsiteY308" fmla="*/ 283760 h 286888"/>
                  <a:gd name="connsiteX309" fmla="*/ 93031 w 352477"/>
                  <a:gd name="connsiteY309" fmla="*/ 283156 h 286888"/>
                  <a:gd name="connsiteX310" fmla="*/ 90699 w 352477"/>
                  <a:gd name="connsiteY310" fmla="*/ 281263 h 286888"/>
                  <a:gd name="connsiteX311" fmla="*/ 89272 w 352477"/>
                  <a:gd name="connsiteY311" fmla="*/ 279809 h 286888"/>
                  <a:gd name="connsiteX312" fmla="*/ 87680 w 352477"/>
                  <a:gd name="connsiteY312" fmla="*/ 278491 h 286888"/>
                  <a:gd name="connsiteX313" fmla="*/ 85841 w 352477"/>
                  <a:gd name="connsiteY313" fmla="*/ 276241 h 286888"/>
                  <a:gd name="connsiteX314" fmla="*/ 83975 w 352477"/>
                  <a:gd name="connsiteY314" fmla="*/ 273496 h 286888"/>
                  <a:gd name="connsiteX315" fmla="*/ 83179 w 352477"/>
                  <a:gd name="connsiteY315" fmla="*/ 271685 h 286888"/>
                  <a:gd name="connsiteX316" fmla="*/ 81368 w 352477"/>
                  <a:gd name="connsiteY316" fmla="*/ 268475 h 286888"/>
                  <a:gd name="connsiteX317" fmla="*/ 81368 w 352477"/>
                  <a:gd name="connsiteY317" fmla="*/ 268255 h 286888"/>
                  <a:gd name="connsiteX318" fmla="*/ 81451 w 352477"/>
                  <a:gd name="connsiteY318" fmla="*/ 268063 h 286888"/>
                  <a:gd name="connsiteX319" fmla="*/ 81451 w 352477"/>
                  <a:gd name="connsiteY319" fmla="*/ 267871 h 286888"/>
                  <a:gd name="connsiteX320" fmla="*/ 81396 w 352477"/>
                  <a:gd name="connsiteY320" fmla="*/ 267706 h 286888"/>
                  <a:gd name="connsiteX321" fmla="*/ 80874 w 352477"/>
                  <a:gd name="connsiteY321" fmla="*/ 266910 h 286888"/>
                  <a:gd name="connsiteX322" fmla="*/ 80819 w 352477"/>
                  <a:gd name="connsiteY322" fmla="*/ 266636 h 286888"/>
                  <a:gd name="connsiteX323" fmla="*/ 80874 w 352477"/>
                  <a:gd name="connsiteY323" fmla="*/ 266197 h 286888"/>
                  <a:gd name="connsiteX324" fmla="*/ 80682 w 352477"/>
                  <a:gd name="connsiteY324" fmla="*/ 265538 h 286888"/>
                  <a:gd name="connsiteX325" fmla="*/ 79969 w 352477"/>
                  <a:gd name="connsiteY325" fmla="*/ 263699 h 286888"/>
                  <a:gd name="connsiteX326" fmla="*/ 79118 w 352477"/>
                  <a:gd name="connsiteY326" fmla="*/ 261861 h 286888"/>
                  <a:gd name="connsiteX327" fmla="*/ 79173 w 352477"/>
                  <a:gd name="connsiteY327" fmla="*/ 261586 h 286888"/>
                  <a:gd name="connsiteX328" fmla="*/ 79173 w 352477"/>
                  <a:gd name="connsiteY328" fmla="*/ 261367 h 286888"/>
                  <a:gd name="connsiteX329" fmla="*/ 79173 w 352477"/>
                  <a:gd name="connsiteY329" fmla="*/ 261202 h 286888"/>
                  <a:gd name="connsiteX330" fmla="*/ 79091 w 352477"/>
                  <a:gd name="connsiteY330" fmla="*/ 261038 h 286888"/>
                  <a:gd name="connsiteX331" fmla="*/ 78953 w 352477"/>
                  <a:gd name="connsiteY331" fmla="*/ 260928 h 286888"/>
                  <a:gd name="connsiteX332" fmla="*/ 78871 w 352477"/>
                  <a:gd name="connsiteY332" fmla="*/ 260873 h 286888"/>
                  <a:gd name="connsiteX333" fmla="*/ 78322 w 352477"/>
                  <a:gd name="connsiteY333" fmla="*/ 260050 h 286888"/>
                  <a:gd name="connsiteX334" fmla="*/ 78322 w 352477"/>
                  <a:gd name="connsiteY334" fmla="*/ 259226 h 286888"/>
                  <a:gd name="connsiteX335" fmla="*/ 78048 w 352477"/>
                  <a:gd name="connsiteY335" fmla="*/ 257937 h 286888"/>
                  <a:gd name="connsiteX336" fmla="*/ 77499 w 352477"/>
                  <a:gd name="connsiteY336" fmla="*/ 255851 h 286888"/>
                  <a:gd name="connsiteX337" fmla="*/ 77499 w 352477"/>
                  <a:gd name="connsiteY337" fmla="*/ 254753 h 286888"/>
                  <a:gd name="connsiteX338" fmla="*/ 78020 w 352477"/>
                  <a:gd name="connsiteY338" fmla="*/ 254643 h 286888"/>
                  <a:gd name="connsiteX339" fmla="*/ 78899 w 352477"/>
                  <a:gd name="connsiteY339" fmla="*/ 254753 h 286888"/>
                  <a:gd name="connsiteX340" fmla="*/ 79063 w 352477"/>
                  <a:gd name="connsiteY340" fmla="*/ 254753 h 286888"/>
                  <a:gd name="connsiteX341" fmla="*/ 79228 w 352477"/>
                  <a:gd name="connsiteY341" fmla="*/ 254698 h 286888"/>
                  <a:gd name="connsiteX342" fmla="*/ 79392 w 352477"/>
                  <a:gd name="connsiteY342" fmla="*/ 254589 h 286888"/>
                  <a:gd name="connsiteX343" fmla="*/ 79475 w 352477"/>
                  <a:gd name="connsiteY343" fmla="*/ 254451 h 286888"/>
                  <a:gd name="connsiteX344" fmla="*/ 79530 w 352477"/>
                  <a:gd name="connsiteY344" fmla="*/ 254286 h 286888"/>
                  <a:gd name="connsiteX345" fmla="*/ 79530 w 352477"/>
                  <a:gd name="connsiteY345" fmla="*/ 254094 h 286888"/>
                  <a:gd name="connsiteX346" fmla="*/ 79475 w 352477"/>
                  <a:gd name="connsiteY346" fmla="*/ 253930 h 286888"/>
                  <a:gd name="connsiteX347" fmla="*/ 79365 w 352477"/>
                  <a:gd name="connsiteY347" fmla="*/ 253793 h 286888"/>
                  <a:gd name="connsiteX348" fmla="*/ 79228 w 352477"/>
                  <a:gd name="connsiteY348" fmla="*/ 253710 h 286888"/>
                  <a:gd name="connsiteX349" fmla="*/ 79063 w 352477"/>
                  <a:gd name="connsiteY349" fmla="*/ 253655 h 286888"/>
                  <a:gd name="connsiteX350" fmla="*/ 78048 w 352477"/>
                  <a:gd name="connsiteY350" fmla="*/ 253573 h 286888"/>
                  <a:gd name="connsiteX351" fmla="*/ 75386 w 352477"/>
                  <a:gd name="connsiteY351" fmla="*/ 252448 h 286888"/>
                  <a:gd name="connsiteX352" fmla="*/ 74617 w 352477"/>
                  <a:gd name="connsiteY352" fmla="*/ 251899 h 286888"/>
                  <a:gd name="connsiteX353" fmla="*/ 73986 w 352477"/>
                  <a:gd name="connsiteY353" fmla="*/ 251295 h 286888"/>
                  <a:gd name="connsiteX354" fmla="*/ 72669 w 352477"/>
                  <a:gd name="connsiteY354" fmla="*/ 249374 h 286888"/>
                  <a:gd name="connsiteX355" fmla="*/ 73163 w 352477"/>
                  <a:gd name="connsiteY355" fmla="*/ 248578 h 286888"/>
                  <a:gd name="connsiteX356" fmla="*/ 73328 w 352477"/>
                  <a:gd name="connsiteY356" fmla="*/ 248414 h 286888"/>
                  <a:gd name="connsiteX357" fmla="*/ 73437 w 352477"/>
                  <a:gd name="connsiteY357" fmla="*/ 248277 h 286888"/>
                  <a:gd name="connsiteX358" fmla="*/ 73492 w 352477"/>
                  <a:gd name="connsiteY358" fmla="*/ 248139 h 286888"/>
                  <a:gd name="connsiteX359" fmla="*/ 73492 w 352477"/>
                  <a:gd name="connsiteY359" fmla="*/ 247837 h 286888"/>
                  <a:gd name="connsiteX360" fmla="*/ 73382 w 352477"/>
                  <a:gd name="connsiteY360" fmla="*/ 247673 h 286888"/>
                  <a:gd name="connsiteX361" fmla="*/ 73273 w 352477"/>
                  <a:gd name="connsiteY361" fmla="*/ 247563 h 286888"/>
                  <a:gd name="connsiteX362" fmla="*/ 73135 w 352477"/>
                  <a:gd name="connsiteY362" fmla="*/ 247508 h 286888"/>
                  <a:gd name="connsiteX363" fmla="*/ 72778 w 352477"/>
                  <a:gd name="connsiteY363" fmla="*/ 247371 h 286888"/>
                  <a:gd name="connsiteX364" fmla="*/ 71654 w 352477"/>
                  <a:gd name="connsiteY364" fmla="*/ 246273 h 286888"/>
                  <a:gd name="connsiteX365" fmla="*/ 70418 w 352477"/>
                  <a:gd name="connsiteY365" fmla="*/ 244078 h 286888"/>
                  <a:gd name="connsiteX366" fmla="*/ 70309 w 352477"/>
                  <a:gd name="connsiteY366" fmla="*/ 243172 h 286888"/>
                  <a:gd name="connsiteX367" fmla="*/ 70309 w 352477"/>
                  <a:gd name="connsiteY367" fmla="*/ 243035 h 286888"/>
                  <a:gd name="connsiteX368" fmla="*/ 70364 w 352477"/>
                  <a:gd name="connsiteY368" fmla="*/ 242870 h 286888"/>
                  <a:gd name="connsiteX369" fmla="*/ 70364 w 352477"/>
                  <a:gd name="connsiteY369" fmla="*/ 242678 h 286888"/>
                  <a:gd name="connsiteX370" fmla="*/ 70226 w 352477"/>
                  <a:gd name="connsiteY370" fmla="*/ 242514 h 286888"/>
                  <a:gd name="connsiteX371" fmla="*/ 70089 w 352477"/>
                  <a:gd name="connsiteY371" fmla="*/ 242404 h 286888"/>
                  <a:gd name="connsiteX372" fmla="*/ 69925 w 352477"/>
                  <a:gd name="connsiteY372" fmla="*/ 242349 h 286888"/>
                  <a:gd name="connsiteX373" fmla="*/ 69732 w 352477"/>
                  <a:gd name="connsiteY373" fmla="*/ 242349 h 286888"/>
                  <a:gd name="connsiteX374" fmla="*/ 69568 w 352477"/>
                  <a:gd name="connsiteY374" fmla="*/ 242349 h 286888"/>
                  <a:gd name="connsiteX375" fmla="*/ 69129 w 352477"/>
                  <a:gd name="connsiteY375" fmla="*/ 241937 h 286888"/>
                  <a:gd name="connsiteX376" fmla="*/ 67949 w 352477"/>
                  <a:gd name="connsiteY376" fmla="*/ 239879 h 286888"/>
                  <a:gd name="connsiteX377" fmla="*/ 67235 w 352477"/>
                  <a:gd name="connsiteY377" fmla="*/ 238863 h 286888"/>
                  <a:gd name="connsiteX378" fmla="*/ 66329 w 352477"/>
                  <a:gd name="connsiteY378" fmla="*/ 237766 h 286888"/>
                  <a:gd name="connsiteX379" fmla="*/ 62515 w 352477"/>
                  <a:gd name="connsiteY379" fmla="*/ 233814 h 286888"/>
                  <a:gd name="connsiteX380" fmla="*/ 60841 w 352477"/>
                  <a:gd name="connsiteY380" fmla="*/ 232277 h 286888"/>
                  <a:gd name="connsiteX381" fmla="*/ 57520 w 352477"/>
                  <a:gd name="connsiteY381" fmla="*/ 229506 h 286888"/>
                  <a:gd name="connsiteX382" fmla="*/ 57465 w 352477"/>
                  <a:gd name="connsiteY382" fmla="*/ 229341 h 286888"/>
                  <a:gd name="connsiteX383" fmla="*/ 58042 w 352477"/>
                  <a:gd name="connsiteY383" fmla="*/ 229643 h 286888"/>
                  <a:gd name="connsiteX384" fmla="*/ 58261 w 352477"/>
                  <a:gd name="connsiteY384" fmla="*/ 229643 h 286888"/>
                  <a:gd name="connsiteX385" fmla="*/ 57356 w 352477"/>
                  <a:gd name="connsiteY385" fmla="*/ 228408 h 286888"/>
                  <a:gd name="connsiteX386" fmla="*/ 56505 w 352477"/>
                  <a:gd name="connsiteY386" fmla="*/ 227667 h 286888"/>
                  <a:gd name="connsiteX387" fmla="*/ 55105 w 352477"/>
                  <a:gd name="connsiteY387" fmla="*/ 226871 h 286888"/>
                  <a:gd name="connsiteX388" fmla="*/ 54172 w 352477"/>
                  <a:gd name="connsiteY388" fmla="*/ 226761 h 286888"/>
                  <a:gd name="connsiteX389" fmla="*/ 53130 w 352477"/>
                  <a:gd name="connsiteY389" fmla="*/ 226185 h 286888"/>
                  <a:gd name="connsiteX390" fmla="*/ 50770 w 352477"/>
                  <a:gd name="connsiteY390" fmla="*/ 225307 h 286888"/>
                  <a:gd name="connsiteX391" fmla="*/ 48190 w 352477"/>
                  <a:gd name="connsiteY391" fmla="*/ 224648 h 286888"/>
                  <a:gd name="connsiteX392" fmla="*/ 44156 w 352477"/>
                  <a:gd name="connsiteY392" fmla="*/ 224127 h 286888"/>
                  <a:gd name="connsiteX393" fmla="*/ 39819 w 352477"/>
                  <a:gd name="connsiteY393" fmla="*/ 223331 h 286888"/>
                  <a:gd name="connsiteX394" fmla="*/ 36691 w 352477"/>
                  <a:gd name="connsiteY394" fmla="*/ 222892 h 286888"/>
                  <a:gd name="connsiteX395" fmla="*/ 33014 w 352477"/>
                  <a:gd name="connsiteY395" fmla="*/ 222754 h 286888"/>
                  <a:gd name="connsiteX396" fmla="*/ 29336 w 352477"/>
                  <a:gd name="connsiteY396" fmla="*/ 223084 h 286888"/>
                  <a:gd name="connsiteX397" fmla="*/ 25275 w 352477"/>
                  <a:gd name="connsiteY397" fmla="*/ 223194 h 286888"/>
                  <a:gd name="connsiteX398" fmla="*/ 549 w 352477"/>
                  <a:gd name="connsiteY398" fmla="*/ 224621 h 286888"/>
                  <a:gd name="connsiteX399" fmla="*/ 2771 w 352477"/>
                  <a:gd name="connsiteY399" fmla="*/ 193061 h 286888"/>
                  <a:gd name="connsiteX400" fmla="*/ 0 w 352477"/>
                  <a:gd name="connsiteY400" fmla="*/ 179230 h 286888"/>
                  <a:gd name="connsiteX401" fmla="*/ 1345 w 352477"/>
                  <a:gd name="connsiteY401" fmla="*/ 163999 h 286888"/>
                  <a:gd name="connsiteX402" fmla="*/ 2826 w 352477"/>
                  <a:gd name="connsiteY402" fmla="*/ 147039 h 286888"/>
                  <a:gd name="connsiteX403" fmla="*/ 11471 w 352477"/>
                  <a:gd name="connsiteY403" fmla="*/ 141962 h 286888"/>
                  <a:gd name="connsiteX404" fmla="*/ 14298 w 352477"/>
                  <a:gd name="connsiteY404" fmla="*/ 132165 h 286888"/>
                  <a:gd name="connsiteX405" fmla="*/ 18579 w 352477"/>
                  <a:gd name="connsiteY405" fmla="*/ 124783 h 286888"/>
                  <a:gd name="connsiteX406" fmla="*/ 25933 w 352477"/>
                  <a:gd name="connsiteY406" fmla="*/ 118224 h 286888"/>
                  <a:gd name="connsiteX407" fmla="*/ 27909 w 352477"/>
                  <a:gd name="connsiteY407" fmla="*/ 112187 h 286888"/>
                  <a:gd name="connsiteX408" fmla="*/ 27690 w 352477"/>
                  <a:gd name="connsiteY408" fmla="*/ 105601 h 286888"/>
                  <a:gd name="connsiteX409" fmla="*/ 31998 w 352477"/>
                  <a:gd name="connsiteY409" fmla="*/ 103487 h 286888"/>
                  <a:gd name="connsiteX410" fmla="*/ 33315 w 352477"/>
                  <a:gd name="connsiteY410" fmla="*/ 100414 h 286888"/>
                  <a:gd name="connsiteX411" fmla="*/ 30269 w 352477"/>
                  <a:gd name="connsiteY411" fmla="*/ 84579 h 286888"/>
                  <a:gd name="connsiteX412" fmla="*/ 23436 w 352477"/>
                  <a:gd name="connsiteY412" fmla="*/ 73547 h 286888"/>
                  <a:gd name="connsiteX413" fmla="*/ 26921 w 352477"/>
                  <a:gd name="connsiteY413" fmla="*/ 66055 h 286888"/>
                  <a:gd name="connsiteX414" fmla="*/ 28486 w 352477"/>
                  <a:gd name="connsiteY414" fmla="*/ 64079 h 286888"/>
                  <a:gd name="connsiteX415" fmla="*/ 28897 w 352477"/>
                  <a:gd name="connsiteY415" fmla="*/ 41329 h 286888"/>
                  <a:gd name="connsiteX416" fmla="*/ 40890 w 352477"/>
                  <a:gd name="connsiteY416" fmla="*/ 28019 h 286888"/>
                  <a:gd name="connsiteX417" fmla="*/ 42866 w 352477"/>
                  <a:gd name="connsiteY417" fmla="*/ 13090 h 286888"/>
                  <a:gd name="connsiteX418" fmla="*/ 57081 w 352477"/>
                  <a:gd name="connsiteY418" fmla="*/ 4583 h 286888"/>
                  <a:gd name="connsiteX419" fmla="*/ 75276 w 352477"/>
                  <a:gd name="connsiteY419" fmla="*/ 4281 h 286888"/>
                  <a:gd name="connsiteX420" fmla="*/ 84167 w 352477"/>
                  <a:gd name="connsiteY420" fmla="*/ 0 h 286888"/>
                  <a:gd name="connsiteX421" fmla="*/ 108619 w 352477"/>
                  <a:gd name="connsiteY421" fmla="*/ 7053 h 28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Lst>
                <a:rect l="l" t="t" r="r" b="b"/>
                <a:pathLst>
                  <a:path w="352477" h="286888">
                    <a:moveTo>
                      <a:pt x="109168" y="6888"/>
                    </a:moveTo>
                    <a:lnTo>
                      <a:pt x="125606" y="26647"/>
                    </a:lnTo>
                    <a:lnTo>
                      <a:pt x="140124" y="22970"/>
                    </a:lnTo>
                    <a:lnTo>
                      <a:pt x="152885" y="16658"/>
                    </a:lnTo>
                    <a:lnTo>
                      <a:pt x="159718" y="18085"/>
                    </a:lnTo>
                    <a:lnTo>
                      <a:pt x="168555" y="24369"/>
                    </a:lnTo>
                    <a:lnTo>
                      <a:pt x="183703" y="31120"/>
                    </a:lnTo>
                    <a:lnTo>
                      <a:pt x="203599" y="32410"/>
                    </a:lnTo>
                    <a:lnTo>
                      <a:pt x="219461" y="19676"/>
                    </a:lnTo>
                    <a:lnTo>
                      <a:pt x="236448" y="15807"/>
                    </a:lnTo>
                    <a:lnTo>
                      <a:pt x="258595" y="15807"/>
                    </a:lnTo>
                    <a:cubicBezTo>
                      <a:pt x="258595" y="15807"/>
                      <a:pt x="270725" y="19265"/>
                      <a:pt x="270725" y="19265"/>
                    </a:cubicBezTo>
                    <a:lnTo>
                      <a:pt x="277256" y="23354"/>
                    </a:lnTo>
                    <a:lnTo>
                      <a:pt x="287849" y="24232"/>
                    </a:lnTo>
                    <a:lnTo>
                      <a:pt x="291856" y="18606"/>
                    </a:lnTo>
                    <a:lnTo>
                      <a:pt x="300418" y="11938"/>
                    </a:lnTo>
                    <a:lnTo>
                      <a:pt x="308925" y="10264"/>
                    </a:lnTo>
                    <a:lnTo>
                      <a:pt x="314112" y="5296"/>
                    </a:lnTo>
                    <a:lnTo>
                      <a:pt x="322455" y="5132"/>
                    </a:lnTo>
                    <a:lnTo>
                      <a:pt x="335710" y="24232"/>
                    </a:lnTo>
                    <a:lnTo>
                      <a:pt x="338866" y="44567"/>
                    </a:lnTo>
                    <a:lnTo>
                      <a:pt x="347126" y="46269"/>
                    </a:lnTo>
                    <a:lnTo>
                      <a:pt x="352478" y="52032"/>
                    </a:lnTo>
                    <a:lnTo>
                      <a:pt x="350008" y="65040"/>
                    </a:lnTo>
                    <a:lnTo>
                      <a:pt x="351819" y="69348"/>
                    </a:lnTo>
                    <a:lnTo>
                      <a:pt x="339168" y="78899"/>
                    </a:lnTo>
                    <a:lnTo>
                      <a:pt x="332225" y="78651"/>
                    </a:lnTo>
                    <a:lnTo>
                      <a:pt x="321302" y="96187"/>
                    </a:lnTo>
                    <a:lnTo>
                      <a:pt x="318256" y="109717"/>
                    </a:lnTo>
                    <a:lnTo>
                      <a:pt x="312026" y="115507"/>
                    </a:lnTo>
                    <a:lnTo>
                      <a:pt x="309941" y="128543"/>
                    </a:lnTo>
                    <a:lnTo>
                      <a:pt x="300555" y="135294"/>
                    </a:lnTo>
                    <a:lnTo>
                      <a:pt x="298717" y="146792"/>
                    </a:lnTo>
                    <a:lnTo>
                      <a:pt x="297838" y="152199"/>
                    </a:lnTo>
                    <a:lnTo>
                      <a:pt x="292624" y="157276"/>
                    </a:lnTo>
                    <a:lnTo>
                      <a:pt x="287959" y="158428"/>
                    </a:lnTo>
                    <a:lnTo>
                      <a:pt x="283431" y="163780"/>
                    </a:lnTo>
                    <a:lnTo>
                      <a:pt x="282251" y="165179"/>
                    </a:lnTo>
                    <a:lnTo>
                      <a:pt x="280000" y="176595"/>
                    </a:lnTo>
                    <a:lnTo>
                      <a:pt x="275225" y="185240"/>
                    </a:lnTo>
                    <a:lnTo>
                      <a:pt x="269957" y="201788"/>
                    </a:lnTo>
                    <a:lnTo>
                      <a:pt x="263343" y="207853"/>
                    </a:lnTo>
                    <a:lnTo>
                      <a:pt x="259034" y="217431"/>
                    </a:lnTo>
                    <a:lnTo>
                      <a:pt x="255329" y="219846"/>
                    </a:lnTo>
                    <a:lnTo>
                      <a:pt x="249923" y="219626"/>
                    </a:lnTo>
                    <a:lnTo>
                      <a:pt x="233704" y="204258"/>
                    </a:lnTo>
                    <a:lnTo>
                      <a:pt x="227914" y="208978"/>
                    </a:lnTo>
                    <a:lnTo>
                      <a:pt x="216525" y="207716"/>
                    </a:lnTo>
                    <a:lnTo>
                      <a:pt x="209801" y="212793"/>
                    </a:lnTo>
                    <a:lnTo>
                      <a:pt x="206124" y="219489"/>
                    </a:lnTo>
                    <a:lnTo>
                      <a:pt x="199840" y="223249"/>
                    </a:lnTo>
                    <a:lnTo>
                      <a:pt x="183539" y="239330"/>
                    </a:lnTo>
                    <a:lnTo>
                      <a:pt x="180876" y="257744"/>
                    </a:lnTo>
                    <a:lnTo>
                      <a:pt x="174839" y="270478"/>
                    </a:lnTo>
                    <a:lnTo>
                      <a:pt x="174674" y="270478"/>
                    </a:lnTo>
                    <a:lnTo>
                      <a:pt x="174181" y="270725"/>
                    </a:lnTo>
                    <a:lnTo>
                      <a:pt x="173714" y="270807"/>
                    </a:lnTo>
                    <a:lnTo>
                      <a:pt x="173522" y="270752"/>
                    </a:lnTo>
                    <a:lnTo>
                      <a:pt x="173412" y="270478"/>
                    </a:lnTo>
                    <a:lnTo>
                      <a:pt x="173193" y="270478"/>
                    </a:lnTo>
                    <a:cubicBezTo>
                      <a:pt x="173193" y="270478"/>
                      <a:pt x="172891" y="270643"/>
                      <a:pt x="172891" y="270643"/>
                    </a:cubicBezTo>
                    <a:lnTo>
                      <a:pt x="172616" y="270862"/>
                    </a:lnTo>
                    <a:lnTo>
                      <a:pt x="172205" y="271576"/>
                    </a:lnTo>
                    <a:lnTo>
                      <a:pt x="172122" y="271685"/>
                    </a:lnTo>
                    <a:lnTo>
                      <a:pt x="171985" y="271795"/>
                    </a:lnTo>
                    <a:lnTo>
                      <a:pt x="171820" y="271850"/>
                    </a:lnTo>
                    <a:lnTo>
                      <a:pt x="171656" y="271850"/>
                    </a:lnTo>
                    <a:lnTo>
                      <a:pt x="171519" y="271795"/>
                    </a:lnTo>
                    <a:lnTo>
                      <a:pt x="171381" y="271713"/>
                    </a:lnTo>
                    <a:lnTo>
                      <a:pt x="171299" y="271631"/>
                    </a:lnTo>
                    <a:lnTo>
                      <a:pt x="171134" y="271384"/>
                    </a:lnTo>
                    <a:lnTo>
                      <a:pt x="170476" y="271603"/>
                    </a:lnTo>
                    <a:lnTo>
                      <a:pt x="170201" y="272070"/>
                    </a:lnTo>
                    <a:lnTo>
                      <a:pt x="170037" y="272591"/>
                    </a:lnTo>
                    <a:lnTo>
                      <a:pt x="169707" y="272893"/>
                    </a:lnTo>
                    <a:lnTo>
                      <a:pt x="169104" y="273085"/>
                    </a:lnTo>
                    <a:lnTo>
                      <a:pt x="168280" y="272810"/>
                    </a:lnTo>
                    <a:lnTo>
                      <a:pt x="168088" y="272427"/>
                    </a:lnTo>
                    <a:lnTo>
                      <a:pt x="168390" y="271987"/>
                    </a:lnTo>
                    <a:lnTo>
                      <a:pt x="168390" y="271576"/>
                    </a:lnTo>
                    <a:cubicBezTo>
                      <a:pt x="168390" y="271576"/>
                      <a:pt x="168747" y="270341"/>
                      <a:pt x="168747" y="270341"/>
                    </a:cubicBezTo>
                    <a:lnTo>
                      <a:pt x="168637" y="269737"/>
                    </a:lnTo>
                    <a:lnTo>
                      <a:pt x="168335" y="269243"/>
                    </a:lnTo>
                    <a:lnTo>
                      <a:pt x="167978" y="268969"/>
                    </a:lnTo>
                    <a:lnTo>
                      <a:pt x="167567" y="268969"/>
                    </a:lnTo>
                    <a:cubicBezTo>
                      <a:pt x="167567" y="268969"/>
                      <a:pt x="167210" y="268886"/>
                      <a:pt x="167210" y="268886"/>
                    </a:cubicBezTo>
                    <a:lnTo>
                      <a:pt x="166771" y="268475"/>
                    </a:lnTo>
                    <a:lnTo>
                      <a:pt x="166387" y="267788"/>
                    </a:lnTo>
                    <a:lnTo>
                      <a:pt x="165673" y="267487"/>
                    </a:lnTo>
                    <a:lnTo>
                      <a:pt x="165536" y="267404"/>
                    </a:lnTo>
                    <a:lnTo>
                      <a:pt x="165426" y="267267"/>
                    </a:lnTo>
                    <a:lnTo>
                      <a:pt x="165344" y="267185"/>
                    </a:lnTo>
                    <a:lnTo>
                      <a:pt x="165207" y="267075"/>
                    </a:lnTo>
                    <a:lnTo>
                      <a:pt x="165069" y="267020"/>
                    </a:lnTo>
                    <a:lnTo>
                      <a:pt x="164905" y="267020"/>
                    </a:lnTo>
                    <a:lnTo>
                      <a:pt x="164740" y="267075"/>
                    </a:lnTo>
                    <a:lnTo>
                      <a:pt x="164603" y="267157"/>
                    </a:lnTo>
                    <a:lnTo>
                      <a:pt x="164356" y="267404"/>
                    </a:lnTo>
                    <a:lnTo>
                      <a:pt x="164301" y="267459"/>
                    </a:lnTo>
                    <a:lnTo>
                      <a:pt x="164219" y="267597"/>
                    </a:lnTo>
                    <a:lnTo>
                      <a:pt x="164219" y="267734"/>
                    </a:lnTo>
                    <a:cubicBezTo>
                      <a:pt x="164219" y="267734"/>
                      <a:pt x="164219" y="267898"/>
                      <a:pt x="164219" y="267898"/>
                    </a:cubicBezTo>
                    <a:lnTo>
                      <a:pt x="164219" y="268255"/>
                    </a:lnTo>
                    <a:lnTo>
                      <a:pt x="164136" y="268447"/>
                    </a:lnTo>
                    <a:lnTo>
                      <a:pt x="164054" y="268365"/>
                    </a:lnTo>
                    <a:lnTo>
                      <a:pt x="163944" y="268228"/>
                    </a:lnTo>
                    <a:lnTo>
                      <a:pt x="163944" y="268090"/>
                    </a:lnTo>
                    <a:cubicBezTo>
                      <a:pt x="163944" y="268090"/>
                      <a:pt x="163862" y="267953"/>
                      <a:pt x="163862" y="267953"/>
                    </a:cubicBezTo>
                    <a:lnTo>
                      <a:pt x="163752" y="267816"/>
                    </a:lnTo>
                    <a:lnTo>
                      <a:pt x="163642" y="267734"/>
                    </a:lnTo>
                    <a:lnTo>
                      <a:pt x="163478" y="267679"/>
                    </a:lnTo>
                    <a:lnTo>
                      <a:pt x="163176" y="267679"/>
                    </a:lnTo>
                    <a:cubicBezTo>
                      <a:pt x="163176" y="267679"/>
                      <a:pt x="163066" y="267761"/>
                      <a:pt x="163066" y="267761"/>
                    </a:cubicBezTo>
                    <a:lnTo>
                      <a:pt x="162737" y="267761"/>
                    </a:lnTo>
                    <a:cubicBezTo>
                      <a:pt x="162737" y="267761"/>
                      <a:pt x="162572" y="267624"/>
                      <a:pt x="162572" y="267624"/>
                    </a:cubicBezTo>
                    <a:lnTo>
                      <a:pt x="162407" y="267514"/>
                    </a:lnTo>
                    <a:lnTo>
                      <a:pt x="162243" y="267514"/>
                    </a:lnTo>
                    <a:cubicBezTo>
                      <a:pt x="162243" y="267514"/>
                      <a:pt x="162078" y="267514"/>
                      <a:pt x="162078" y="267514"/>
                    </a:cubicBezTo>
                    <a:lnTo>
                      <a:pt x="161941" y="267597"/>
                    </a:lnTo>
                    <a:lnTo>
                      <a:pt x="161804" y="267706"/>
                    </a:lnTo>
                    <a:lnTo>
                      <a:pt x="161721" y="267843"/>
                    </a:lnTo>
                    <a:lnTo>
                      <a:pt x="161666" y="268008"/>
                    </a:lnTo>
                    <a:lnTo>
                      <a:pt x="161666" y="268173"/>
                    </a:lnTo>
                    <a:cubicBezTo>
                      <a:pt x="161666" y="268173"/>
                      <a:pt x="161749" y="268310"/>
                      <a:pt x="161749" y="268310"/>
                    </a:cubicBezTo>
                    <a:lnTo>
                      <a:pt x="161886" y="268557"/>
                    </a:lnTo>
                    <a:lnTo>
                      <a:pt x="162490" y="269161"/>
                    </a:lnTo>
                    <a:lnTo>
                      <a:pt x="163093" y="269984"/>
                    </a:lnTo>
                    <a:lnTo>
                      <a:pt x="164081" y="270725"/>
                    </a:lnTo>
                    <a:lnTo>
                      <a:pt x="164960" y="272399"/>
                    </a:lnTo>
                    <a:lnTo>
                      <a:pt x="164905" y="272920"/>
                    </a:lnTo>
                    <a:lnTo>
                      <a:pt x="164685" y="273387"/>
                    </a:lnTo>
                    <a:lnTo>
                      <a:pt x="164383" y="274237"/>
                    </a:lnTo>
                    <a:lnTo>
                      <a:pt x="164274" y="274320"/>
                    </a:lnTo>
                    <a:lnTo>
                      <a:pt x="164164" y="274430"/>
                    </a:lnTo>
                    <a:lnTo>
                      <a:pt x="164109" y="274594"/>
                    </a:lnTo>
                    <a:lnTo>
                      <a:pt x="164109" y="274759"/>
                    </a:lnTo>
                    <a:cubicBezTo>
                      <a:pt x="164109" y="274759"/>
                      <a:pt x="164109" y="274924"/>
                      <a:pt x="164109" y="274924"/>
                    </a:cubicBezTo>
                    <a:lnTo>
                      <a:pt x="164191" y="275061"/>
                    </a:lnTo>
                    <a:lnTo>
                      <a:pt x="164329" y="275171"/>
                    </a:lnTo>
                    <a:lnTo>
                      <a:pt x="164438" y="275253"/>
                    </a:lnTo>
                    <a:lnTo>
                      <a:pt x="164575" y="275665"/>
                    </a:lnTo>
                    <a:lnTo>
                      <a:pt x="164712" y="275802"/>
                    </a:lnTo>
                    <a:lnTo>
                      <a:pt x="164795" y="275966"/>
                    </a:lnTo>
                    <a:lnTo>
                      <a:pt x="164795" y="276131"/>
                    </a:lnTo>
                    <a:cubicBezTo>
                      <a:pt x="164795" y="276131"/>
                      <a:pt x="164795" y="276323"/>
                      <a:pt x="164795" y="276323"/>
                    </a:cubicBezTo>
                    <a:lnTo>
                      <a:pt x="164685" y="276488"/>
                    </a:lnTo>
                    <a:lnTo>
                      <a:pt x="164493" y="276680"/>
                    </a:lnTo>
                    <a:lnTo>
                      <a:pt x="164383" y="276817"/>
                    </a:lnTo>
                    <a:lnTo>
                      <a:pt x="164301" y="276954"/>
                    </a:lnTo>
                    <a:lnTo>
                      <a:pt x="164301" y="277119"/>
                    </a:lnTo>
                    <a:cubicBezTo>
                      <a:pt x="164301" y="277119"/>
                      <a:pt x="164301" y="277284"/>
                      <a:pt x="164301" y="277284"/>
                    </a:cubicBezTo>
                    <a:lnTo>
                      <a:pt x="164356" y="277366"/>
                    </a:lnTo>
                    <a:lnTo>
                      <a:pt x="164301" y="277503"/>
                    </a:lnTo>
                    <a:lnTo>
                      <a:pt x="164191" y="277503"/>
                    </a:lnTo>
                    <a:cubicBezTo>
                      <a:pt x="164191" y="277503"/>
                      <a:pt x="164026" y="277503"/>
                      <a:pt x="164026" y="277503"/>
                    </a:cubicBezTo>
                    <a:lnTo>
                      <a:pt x="163807" y="277585"/>
                    </a:lnTo>
                    <a:lnTo>
                      <a:pt x="163395" y="277585"/>
                    </a:lnTo>
                    <a:cubicBezTo>
                      <a:pt x="163395" y="277585"/>
                      <a:pt x="163340" y="277833"/>
                      <a:pt x="163340" y="277833"/>
                    </a:cubicBezTo>
                    <a:lnTo>
                      <a:pt x="163148" y="277942"/>
                    </a:lnTo>
                    <a:lnTo>
                      <a:pt x="163203" y="278052"/>
                    </a:lnTo>
                    <a:lnTo>
                      <a:pt x="163203" y="278409"/>
                    </a:lnTo>
                    <a:cubicBezTo>
                      <a:pt x="163203" y="278409"/>
                      <a:pt x="163093" y="278546"/>
                      <a:pt x="163093" y="278546"/>
                    </a:cubicBezTo>
                    <a:lnTo>
                      <a:pt x="162929" y="278656"/>
                    </a:lnTo>
                    <a:lnTo>
                      <a:pt x="162764" y="278738"/>
                    </a:lnTo>
                    <a:lnTo>
                      <a:pt x="162407" y="278738"/>
                    </a:lnTo>
                    <a:cubicBezTo>
                      <a:pt x="162407" y="278738"/>
                      <a:pt x="161035" y="278628"/>
                      <a:pt x="161035" y="278628"/>
                    </a:cubicBezTo>
                    <a:lnTo>
                      <a:pt x="157138" y="278738"/>
                    </a:lnTo>
                    <a:lnTo>
                      <a:pt x="154476" y="278930"/>
                    </a:lnTo>
                    <a:lnTo>
                      <a:pt x="147808" y="279809"/>
                    </a:lnTo>
                    <a:lnTo>
                      <a:pt x="147177" y="280055"/>
                    </a:lnTo>
                    <a:lnTo>
                      <a:pt x="146573" y="280165"/>
                    </a:lnTo>
                    <a:lnTo>
                      <a:pt x="145805" y="280522"/>
                    </a:lnTo>
                    <a:lnTo>
                      <a:pt x="145064" y="280687"/>
                    </a:lnTo>
                    <a:lnTo>
                      <a:pt x="144844" y="280577"/>
                    </a:lnTo>
                    <a:lnTo>
                      <a:pt x="144679" y="280522"/>
                    </a:lnTo>
                    <a:lnTo>
                      <a:pt x="144514" y="280522"/>
                    </a:lnTo>
                    <a:lnTo>
                      <a:pt x="144350" y="280577"/>
                    </a:lnTo>
                    <a:lnTo>
                      <a:pt x="144185" y="280659"/>
                    </a:lnTo>
                    <a:lnTo>
                      <a:pt x="144103" y="280824"/>
                    </a:lnTo>
                    <a:lnTo>
                      <a:pt x="144048" y="280989"/>
                    </a:lnTo>
                    <a:lnTo>
                      <a:pt x="143993" y="281400"/>
                    </a:lnTo>
                    <a:lnTo>
                      <a:pt x="143664" y="281482"/>
                    </a:lnTo>
                    <a:lnTo>
                      <a:pt x="141633" y="281482"/>
                    </a:lnTo>
                    <a:cubicBezTo>
                      <a:pt x="141633" y="281482"/>
                      <a:pt x="139273" y="281922"/>
                      <a:pt x="139273" y="281922"/>
                    </a:cubicBezTo>
                    <a:lnTo>
                      <a:pt x="138724" y="281867"/>
                    </a:lnTo>
                    <a:lnTo>
                      <a:pt x="137462" y="281729"/>
                    </a:lnTo>
                    <a:lnTo>
                      <a:pt x="136913" y="281428"/>
                    </a:lnTo>
                    <a:lnTo>
                      <a:pt x="136968" y="281263"/>
                    </a:lnTo>
                    <a:lnTo>
                      <a:pt x="137242" y="281016"/>
                    </a:lnTo>
                    <a:lnTo>
                      <a:pt x="137132" y="280796"/>
                    </a:lnTo>
                    <a:lnTo>
                      <a:pt x="137132" y="280522"/>
                    </a:lnTo>
                    <a:cubicBezTo>
                      <a:pt x="137132" y="280522"/>
                      <a:pt x="137462" y="280275"/>
                      <a:pt x="137462" y="280275"/>
                    </a:cubicBezTo>
                    <a:lnTo>
                      <a:pt x="137874" y="280083"/>
                    </a:lnTo>
                    <a:lnTo>
                      <a:pt x="137874" y="279946"/>
                    </a:lnTo>
                    <a:cubicBezTo>
                      <a:pt x="137874" y="279946"/>
                      <a:pt x="137270" y="279781"/>
                      <a:pt x="137270" y="279781"/>
                    </a:cubicBezTo>
                    <a:lnTo>
                      <a:pt x="136748" y="279452"/>
                    </a:lnTo>
                    <a:lnTo>
                      <a:pt x="136200" y="279726"/>
                    </a:lnTo>
                    <a:lnTo>
                      <a:pt x="135404" y="279946"/>
                    </a:lnTo>
                    <a:lnTo>
                      <a:pt x="134909" y="279863"/>
                    </a:lnTo>
                    <a:lnTo>
                      <a:pt x="134196" y="278848"/>
                    </a:lnTo>
                    <a:lnTo>
                      <a:pt x="133894" y="278189"/>
                    </a:lnTo>
                    <a:lnTo>
                      <a:pt x="133016" y="277421"/>
                    </a:lnTo>
                    <a:lnTo>
                      <a:pt x="132879" y="277256"/>
                    </a:lnTo>
                    <a:lnTo>
                      <a:pt x="132769" y="277119"/>
                    </a:lnTo>
                    <a:lnTo>
                      <a:pt x="132604" y="277037"/>
                    </a:lnTo>
                    <a:lnTo>
                      <a:pt x="132440" y="277037"/>
                    </a:lnTo>
                    <a:cubicBezTo>
                      <a:pt x="132440" y="277037"/>
                      <a:pt x="132275" y="277037"/>
                      <a:pt x="132275" y="277037"/>
                    </a:cubicBezTo>
                    <a:lnTo>
                      <a:pt x="132110" y="277119"/>
                    </a:lnTo>
                    <a:lnTo>
                      <a:pt x="132001" y="277256"/>
                    </a:lnTo>
                    <a:lnTo>
                      <a:pt x="131918" y="277394"/>
                    </a:lnTo>
                    <a:lnTo>
                      <a:pt x="131918" y="277503"/>
                    </a:lnTo>
                    <a:cubicBezTo>
                      <a:pt x="131918" y="277503"/>
                      <a:pt x="131808" y="277640"/>
                      <a:pt x="131808" y="277640"/>
                    </a:cubicBezTo>
                    <a:lnTo>
                      <a:pt x="131644" y="277778"/>
                    </a:lnTo>
                    <a:lnTo>
                      <a:pt x="131507" y="277833"/>
                    </a:lnTo>
                    <a:lnTo>
                      <a:pt x="131397" y="277970"/>
                    </a:lnTo>
                    <a:lnTo>
                      <a:pt x="131315" y="278135"/>
                    </a:lnTo>
                    <a:lnTo>
                      <a:pt x="131315" y="278491"/>
                    </a:lnTo>
                    <a:cubicBezTo>
                      <a:pt x="131315" y="278491"/>
                      <a:pt x="131452" y="278628"/>
                      <a:pt x="131452" y="278628"/>
                    </a:cubicBezTo>
                    <a:lnTo>
                      <a:pt x="131973" y="279232"/>
                    </a:lnTo>
                    <a:lnTo>
                      <a:pt x="131973" y="280083"/>
                    </a:lnTo>
                    <a:lnTo>
                      <a:pt x="131644" y="280741"/>
                    </a:lnTo>
                    <a:lnTo>
                      <a:pt x="131315" y="281016"/>
                    </a:lnTo>
                    <a:lnTo>
                      <a:pt x="130491" y="281098"/>
                    </a:lnTo>
                    <a:lnTo>
                      <a:pt x="129915" y="281291"/>
                    </a:lnTo>
                    <a:lnTo>
                      <a:pt x="129641" y="281236"/>
                    </a:lnTo>
                    <a:lnTo>
                      <a:pt x="129476" y="281236"/>
                    </a:lnTo>
                    <a:cubicBezTo>
                      <a:pt x="129476" y="281236"/>
                      <a:pt x="129311" y="281236"/>
                      <a:pt x="129311" y="281236"/>
                    </a:cubicBezTo>
                    <a:lnTo>
                      <a:pt x="129174" y="281318"/>
                    </a:lnTo>
                    <a:lnTo>
                      <a:pt x="129064" y="281428"/>
                    </a:lnTo>
                    <a:lnTo>
                      <a:pt x="129009" y="281537"/>
                    </a:lnTo>
                    <a:lnTo>
                      <a:pt x="128845" y="281702"/>
                    </a:lnTo>
                    <a:lnTo>
                      <a:pt x="128543" y="281784"/>
                    </a:lnTo>
                    <a:lnTo>
                      <a:pt x="127747" y="281729"/>
                    </a:lnTo>
                    <a:lnTo>
                      <a:pt x="127637" y="281729"/>
                    </a:lnTo>
                    <a:cubicBezTo>
                      <a:pt x="127637" y="281729"/>
                      <a:pt x="127473" y="281729"/>
                      <a:pt x="127473" y="281729"/>
                    </a:cubicBezTo>
                    <a:lnTo>
                      <a:pt x="127281" y="281784"/>
                    </a:lnTo>
                    <a:lnTo>
                      <a:pt x="127143" y="281894"/>
                    </a:lnTo>
                    <a:lnTo>
                      <a:pt x="127061" y="282032"/>
                    </a:lnTo>
                    <a:lnTo>
                      <a:pt x="127006" y="282223"/>
                    </a:lnTo>
                    <a:lnTo>
                      <a:pt x="127006" y="282388"/>
                    </a:lnTo>
                    <a:cubicBezTo>
                      <a:pt x="127006" y="282388"/>
                      <a:pt x="127116" y="282553"/>
                      <a:pt x="127116" y="282553"/>
                    </a:cubicBezTo>
                    <a:lnTo>
                      <a:pt x="127335" y="282937"/>
                    </a:lnTo>
                    <a:lnTo>
                      <a:pt x="127281" y="283266"/>
                    </a:lnTo>
                    <a:lnTo>
                      <a:pt x="126786" y="283651"/>
                    </a:lnTo>
                    <a:lnTo>
                      <a:pt x="126402" y="283651"/>
                    </a:lnTo>
                    <a:cubicBezTo>
                      <a:pt x="126402" y="283651"/>
                      <a:pt x="126018" y="283239"/>
                      <a:pt x="126018" y="283239"/>
                    </a:cubicBezTo>
                    <a:lnTo>
                      <a:pt x="125881" y="283568"/>
                    </a:lnTo>
                    <a:lnTo>
                      <a:pt x="125497" y="283706"/>
                    </a:lnTo>
                    <a:lnTo>
                      <a:pt x="123493" y="283266"/>
                    </a:lnTo>
                    <a:lnTo>
                      <a:pt x="123329" y="283266"/>
                    </a:lnTo>
                    <a:cubicBezTo>
                      <a:pt x="123329" y="283266"/>
                      <a:pt x="123164" y="283266"/>
                      <a:pt x="123164" y="283266"/>
                    </a:cubicBezTo>
                    <a:lnTo>
                      <a:pt x="123027" y="283349"/>
                    </a:lnTo>
                    <a:lnTo>
                      <a:pt x="122917" y="283458"/>
                    </a:lnTo>
                    <a:lnTo>
                      <a:pt x="122862" y="283623"/>
                    </a:lnTo>
                    <a:lnTo>
                      <a:pt x="122862" y="283760"/>
                    </a:lnTo>
                    <a:cubicBezTo>
                      <a:pt x="122862" y="283760"/>
                      <a:pt x="122862" y="283925"/>
                      <a:pt x="122862" y="283925"/>
                    </a:cubicBezTo>
                    <a:lnTo>
                      <a:pt x="122862" y="284035"/>
                    </a:lnTo>
                    <a:cubicBezTo>
                      <a:pt x="122862" y="284035"/>
                      <a:pt x="119926" y="284529"/>
                      <a:pt x="119926" y="284529"/>
                    </a:cubicBezTo>
                    <a:lnTo>
                      <a:pt x="119075" y="284419"/>
                    </a:lnTo>
                    <a:lnTo>
                      <a:pt x="118718" y="284254"/>
                    </a:lnTo>
                    <a:lnTo>
                      <a:pt x="118554" y="284172"/>
                    </a:lnTo>
                    <a:lnTo>
                      <a:pt x="118224" y="284172"/>
                    </a:lnTo>
                    <a:cubicBezTo>
                      <a:pt x="118224" y="284172"/>
                      <a:pt x="118059" y="284282"/>
                      <a:pt x="118059" y="284282"/>
                    </a:cubicBezTo>
                    <a:lnTo>
                      <a:pt x="117950" y="284392"/>
                    </a:lnTo>
                    <a:lnTo>
                      <a:pt x="117867" y="284556"/>
                    </a:lnTo>
                    <a:lnTo>
                      <a:pt x="117813" y="284748"/>
                    </a:lnTo>
                    <a:lnTo>
                      <a:pt x="116742" y="284995"/>
                    </a:lnTo>
                    <a:lnTo>
                      <a:pt x="116056" y="285242"/>
                    </a:lnTo>
                    <a:lnTo>
                      <a:pt x="115425" y="284803"/>
                    </a:lnTo>
                    <a:lnTo>
                      <a:pt x="115261" y="284721"/>
                    </a:lnTo>
                    <a:lnTo>
                      <a:pt x="114904" y="284721"/>
                    </a:lnTo>
                    <a:cubicBezTo>
                      <a:pt x="114904" y="284721"/>
                      <a:pt x="114766" y="284858"/>
                      <a:pt x="114766" y="284858"/>
                    </a:cubicBezTo>
                    <a:lnTo>
                      <a:pt x="114629" y="284995"/>
                    </a:lnTo>
                    <a:lnTo>
                      <a:pt x="114574" y="285105"/>
                    </a:lnTo>
                    <a:lnTo>
                      <a:pt x="110869" y="285599"/>
                    </a:lnTo>
                    <a:lnTo>
                      <a:pt x="110293" y="285297"/>
                    </a:lnTo>
                    <a:lnTo>
                      <a:pt x="110101" y="285215"/>
                    </a:lnTo>
                    <a:lnTo>
                      <a:pt x="109936" y="285215"/>
                    </a:lnTo>
                    <a:cubicBezTo>
                      <a:pt x="109936" y="285215"/>
                      <a:pt x="109772" y="285215"/>
                      <a:pt x="109772" y="285215"/>
                    </a:cubicBezTo>
                    <a:lnTo>
                      <a:pt x="109607" y="285297"/>
                    </a:lnTo>
                    <a:lnTo>
                      <a:pt x="109497" y="285434"/>
                    </a:lnTo>
                    <a:lnTo>
                      <a:pt x="109415" y="285599"/>
                    </a:lnTo>
                    <a:lnTo>
                      <a:pt x="109415" y="285791"/>
                    </a:lnTo>
                    <a:cubicBezTo>
                      <a:pt x="109415" y="285791"/>
                      <a:pt x="105820" y="286285"/>
                      <a:pt x="105820" y="286285"/>
                    </a:cubicBezTo>
                    <a:lnTo>
                      <a:pt x="104969" y="286285"/>
                    </a:lnTo>
                    <a:cubicBezTo>
                      <a:pt x="104969" y="286285"/>
                      <a:pt x="104585" y="286230"/>
                      <a:pt x="104585" y="286230"/>
                    </a:cubicBezTo>
                    <a:lnTo>
                      <a:pt x="104420" y="286148"/>
                    </a:lnTo>
                    <a:lnTo>
                      <a:pt x="104283" y="286148"/>
                    </a:lnTo>
                    <a:cubicBezTo>
                      <a:pt x="104283" y="286148"/>
                      <a:pt x="104119" y="286148"/>
                      <a:pt x="104119" y="286148"/>
                    </a:cubicBezTo>
                    <a:lnTo>
                      <a:pt x="103981" y="286203"/>
                    </a:lnTo>
                    <a:lnTo>
                      <a:pt x="103844" y="286312"/>
                    </a:lnTo>
                    <a:lnTo>
                      <a:pt x="103762" y="286477"/>
                    </a:lnTo>
                    <a:lnTo>
                      <a:pt x="100661" y="286889"/>
                    </a:lnTo>
                    <a:lnTo>
                      <a:pt x="100084" y="286779"/>
                    </a:lnTo>
                    <a:lnTo>
                      <a:pt x="99892" y="286532"/>
                    </a:lnTo>
                    <a:lnTo>
                      <a:pt x="99783" y="286367"/>
                    </a:lnTo>
                    <a:lnTo>
                      <a:pt x="99645" y="286285"/>
                    </a:lnTo>
                    <a:lnTo>
                      <a:pt x="99453" y="286230"/>
                    </a:lnTo>
                    <a:lnTo>
                      <a:pt x="99261" y="286230"/>
                    </a:lnTo>
                    <a:cubicBezTo>
                      <a:pt x="99261" y="286230"/>
                      <a:pt x="99206" y="286285"/>
                      <a:pt x="99206" y="286285"/>
                    </a:cubicBezTo>
                    <a:lnTo>
                      <a:pt x="98767" y="286285"/>
                    </a:lnTo>
                    <a:cubicBezTo>
                      <a:pt x="98767" y="286285"/>
                      <a:pt x="97148" y="285818"/>
                      <a:pt x="97148" y="285818"/>
                    </a:cubicBezTo>
                    <a:lnTo>
                      <a:pt x="96764" y="285407"/>
                    </a:lnTo>
                    <a:lnTo>
                      <a:pt x="96764" y="285297"/>
                    </a:lnTo>
                    <a:cubicBezTo>
                      <a:pt x="96764" y="285297"/>
                      <a:pt x="96654" y="285160"/>
                      <a:pt x="96654" y="285160"/>
                    </a:cubicBezTo>
                    <a:lnTo>
                      <a:pt x="96544" y="285050"/>
                    </a:lnTo>
                    <a:lnTo>
                      <a:pt x="96407" y="284995"/>
                    </a:lnTo>
                    <a:lnTo>
                      <a:pt x="96215" y="284995"/>
                    </a:lnTo>
                    <a:cubicBezTo>
                      <a:pt x="96215" y="284995"/>
                      <a:pt x="93882" y="283760"/>
                      <a:pt x="93882" y="283760"/>
                    </a:cubicBezTo>
                    <a:lnTo>
                      <a:pt x="93031" y="283156"/>
                    </a:lnTo>
                    <a:lnTo>
                      <a:pt x="90699" y="281263"/>
                    </a:lnTo>
                    <a:lnTo>
                      <a:pt x="89272" y="279809"/>
                    </a:lnTo>
                    <a:lnTo>
                      <a:pt x="87680" y="278491"/>
                    </a:lnTo>
                    <a:lnTo>
                      <a:pt x="85841" y="276241"/>
                    </a:lnTo>
                    <a:lnTo>
                      <a:pt x="83975" y="273496"/>
                    </a:lnTo>
                    <a:lnTo>
                      <a:pt x="83179" y="271685"/>
                    </a:lnTo>
                    <a:lnTo>
                      <a:pt x="81368" y="268475"/>
                    </a:lnTo>
                    <a:lnTo>
                      <a:pt x="81368" y="268255"/>
                    </a:lnTo>
                    <a:cubicBezTo>
                      <a:pt x="81368" y="268255"/>
                      <a:pt x="81451" y="268063"/>
                      <a:pt x="81451" y="268063"/>
                    </a:cubicBezTo>
                    <a:lnTo>
                      <a:pt x="81451" y="267871"/>
                    </a:lnTo>
                    <a:lnTo>
                      <a:pt x="81396" y="267706"/>
                    </a:lnTo>
                    <a:lnTo>
                      <a:pt x="80874" y="266910"/>
                    </a:lnTo>
                    <a:lnTo>
                      <a:pt x="80819" y="266636"/>
                    </a:lnTo>
                    <a:lnTo>
                      <a:pt x="80874" y="266197"/>
                    </a:lnTo>
                    <a:lnTo>
                      <a:pt x="80682" y="265538"/>
                    </a:lnTo>
                    <a:lnTo>
                      <a:pt x="79969" y="263699"/>
                    </a:lnTo>
                    <a:lnTo>
                      <a:pt x="79118" y="261861"/>
                    </a:lnTo>
                    <a:lnTo>
                      <a:pt x="79173" y="261586"/>
                    </a:lnTo>
                    <a:lnTo>
                      <a:pt x="79173" y="261367"/>
                    </a:lnTo>
                    <a:cubicBezTo>
                      <a:pt x="79173" y="261367"/>
                      <a:pt x="79173" y="261202"/>
                      <a:pt x="79173" y="261202"/>
                    </a:cubicBezTo>
                    <a:lnTo>
                      <a:pt x="79091" y="261038"/>
                    </a:lnTo>
                    <a:lnTo>
                      <a:pt x="78953" y="260928"/>
                    </a:lnTo>
                    <a:lnTo>
                      <a:pt x="78871" y="260873"/>
                    </a:lnTo>
                    <a:lnTo>
                      <a:pt x="78322" y="260050"/>
                    </a:lnTo>
                    <a:lnTo>
                      <a:pt x="78322" y="259226"/>
                    </a:lnTo>
                    <a:cubicBezTo>
                      <a:pt x="78322" y="259226"/>
                      <a:pt x="78048" y="257937"/>
                      <a:pt x="78048" y="257937"/>
                    </a:cubicBezTo>
                    <a:lnTo>
                      <a:pt x="77499" y="255851"/>
                    </a:lnTo>
                    <a:lnTo>
                      <a:pt x="77499" y="254753"/>
                    </a:lnTo>
                    <a:lnTo>
                      <a:pt x="78020" y="254643"/>
                    </a:lnTo>
                    <a:lnTo>
                      <a:pt x="78899" y="254753"/>
                    </a:lnTo>
                    <a:lnTo>
                      <a:pt x="79063" y="254753"/>
                    </a:lnTo>
                    <a:cubicBezTo>
                      <a:pt x="79063" y="254753"/>
                      <a:pt x="79228" y="254698"/>
                      <a:pt x="79228" y="254698"/>
                    </a:cubicBezTo>
                    <a:lnTo>
                      <a:pt x="79392" y="254589"/>
                    </a:lnTo>
                    <a:lnTo>
                      <a:pt x="79475" y="254451"/>
                    </a:lnTo>
                    <a:lnTo>
                      <a:pt x="79530" y="254286"/>
                    </a:lnTo>
                    <a:lnTo>
                      <a:pt x="79530" y="254094"/>
                    </a:lnTo>
                    <a:lnTo>
                      <a:pt x="79475" y="253930"/>
                    </a:lnTo>
                    <a:lnTo>
                      <a:pt x="79365" y="253793"/>
                    </a:lnTo>
                    <a:lnTo>
                      <a:pt x="79228" y="253710"/>
                    </a:lnTo>
                    <a:lnTo>
                      <a:pt x="79063" y="253655"/>
                    </a:lnTo>
                    <a:lnTo>
                      <a:pt x="78048" y="253573"/>
                    </a:lnTo>
                    <a:lnTo>
                      <a:pt x="75386" y="252448"/>
                    </a:lnTo>
                    <a:lnTo>
                      <a:pt x="74617" y="251899"/>
                    </a:lnTo>
                    <a:lnTo>
                      <a:pt x="73986" y="251295"/>
                    </a:lnTo>
                    <a:lnTo>
                      <a:pt x="72669" y="249374"/>
                    </a:lnTo>
                    <a:lnTo>
                      <a:pt x="73163" y="248578"/>
                    </a:lnTo>
                    <a:lnTo>
                      <a:pt x="73328" y="248414"/>
                    </a:lnTo>
                    <a:lnTo>
                      <a:pt x="73437" y="248277"/>
                    </a:lnTo>
                    <a:lnTo>
                      <a:pt x="73492" y="248139"/>
                    </a:lnTo>
                    <a:lnTo>
                      <a:pt x="73492" y="247837"/>
                    </a:lnTo>
                    <a:cubicBezTo>
                      <a:pt x="73492" y="247837"/>
                      <a:pt x="73382" y="247673"/>
                      <a:pt x="73382" y="247673"/>
                    </a:cubicBezTo>
                    <a:lnTo>
                      <a:pt x="73273" y="247563"/>
                    </a:lnTo>
                    <a:lnTo>
                      <a:pt x="73135" y="247508"/>
                    </a:lnTo>
                    <a:lnTo>
                      <a:pt x="72778" y="247371"/>
                    </a:lnTo>
                    <a:lnTo>
                      <a:pt x="71654" y="246273"/>
                    </a:lnTo>
                    <a:lnTo>
                      <a:pt x="70418" y="244078"/>
                    </a:lnTo>
                    <a:lnTo>
                      <a:pt x="70309" y="243172"/>
                    </a:lnTo>
                    <a:lnTo>
                      <a:pt x="70309" y="243035"/>
                    </a:lnTo>
                    <a:cubicBezTo>
                      <a:pt x="70309" y="243035"/>
                      <a:pt x="70364" y="242870"/>
                      <a:pt x="70364" y="242870"/>
                    </a:cubicBezTo>
                    <a:lnTo>
                      <a:pt x="70364" y="242678"/>
                    </a:lnTo>
                    <a:cubicBezTo>
                      <a:pt x="70364" y="242678"/>
                      <a:pt x="70226" y="242514"/>
                      <a:pt x="70226" y="242514"/>
                    </a:cubicBezTo>
                    <a:lnTo>
                      <a:pt x="70089" y="242404"/>
                    </a:lnTo>
                    <a:lnTo>
                      <a:pt x="69925" y="242349"/>
                    </a:lnTo>
                    <a:lnTo>
                      <a:pt x="69732" y="242349"/>
                    </a:lnTo>
                    <a:cubicBezTo>
                      <a:pt x="69732" y="242349"/>
                      <a:pt x="69568" y="242349"/>
                      <a:pt x="69568" y="242349"/>
                    </a:cubicBezTo>
                    <a:lnTo>
                      <a:pt x="69129" y="241937"/>
                    </a:lnTo>
                    <a:lnTo>
                      <a:pt x="67949" y="239879"/>
                    </a:lnTo>
                    <a:lnTo>
                      <a:pt x="67235" y="238863"/>
                    </a:lnTo>
                    <a:lnTo>
                      <a:pt x="66329" y="237766"/>
                    </a:lnTo>
                    <a:lnTo>
                      <a:pt x="62515" y="233814"/>
                    </a:lnTo>
                    <a:lnTo>
                      <a:pt x="60841" y="232277"/>
                    </a:lnTo>
                    <a:lnTo>
                      <a:pt x="57520" y="229506"/>
                    </a:lnTo>
                    <a:lnTo>
                      <a:pt x="57465" y="229341"/>
                    </a:lnTo>
                    <a:lnTo>
                      <a:pt x="58042" y="229643"/>
                    </a:lnTo>
                    <a:lnTo>
                      <a:pt x="58261" y="229643"/>
                    </a:lnTo>
                    <a:lnTo>
                      <a:pt x="57356" y="228408"/>
                    </a:lnTo>
                    <a:lnTo>
                      <a:pt x="56505" y="227667"/>
                    </a:lnTo>
                    <a:lnTo>
                      <a:pt x="55105" y="226871"/>
                    </a:lnTo>
                    <a:lnTo>
                      <a:pt x="54172" y="226761"/>
                    </a:lnTo>
                    <a:lnTo>
                      <a:pt x="53130" y="226185"/>
                    </a:lnTo>
                    <a:lnTo>
                      <a:pt x="50770" y="225307"/>
                    </a:lnTo>
                    <a:lnTo>
                      <a:pt x="48190" y="224648"/>
                    </a:lnTo>
                    <a:lnTo>
                      <a:pt x="44156" y="224127"/>
                    </a:lnTo>
                    <a:lnTo>
                      <a:pt x="39819" y="223331"/>
                    </a:lnTo>
                    <a:lnTo>
                      <a:pt x="36691" y="222892"/>
                    </a:lnTo>
                    <a:lnTo>
                      <a:pt x="33014" y="222754"/>
                    </a:lnTo>
                    <a:lnTo>
                      <a:pt x="29336" y="223084"/>
                    </a:lnTo>
                    <a:lnTo>
                      <a:pt x="25275" y="223194"/>
                    </a:lnTo>
                    <a:lnTo>
                      <a:pt x="549" y="224621"/>
                    </a:lnTo>
                    <a:lnTo>
                      <a:pt x="2771" y="193061"/>
                    </a:lnTo>
                    <a:lnTo>
                      <a:pt x="0" y="179230"/>
                    </a:lnTo>
                    <a:lnTo>
                      <a:pt x="1345" y="163999"/>
                    </a:lnTo>
                    <a:lnTo>
                      <a:pt x="2826" y="147039"/>
                    </a:lnTo>
                    <a:lnTo>
                      <a:pt x="11471" y="141962"/>
                    </a:lnTo>
                    <a:lnTo>
                      <a:pt x="14298" y="132165"/>
                    </a:lnTo>
                    <a:lnTo>
                      <a:pt x="18579" y="124783"/>
                    </a:lnTo>
                    <a:lnTo>
                      <a:pt x="25933" y="118224"/>
                    </a:lnTo>
                    <a:lnTo>
                      <a:pt x="27909" y="112187"/>
                    </a:lnTo>
                    <a:lnTo>
                      <a:pt x="27690" y="105601"/>
                    </a:lnTo>
                    <a:lnTo>
                      <a:pt x="31998" y="103487"/>
                    </a:lnTo>
                    <a:lnTo>
                      <a:pt x="33315" y="100414"/>
                    </a:lnTo>
                    <a:lnTo>
                      <a:pt x="30269" y="84579"/>
                    </a:lnTo>
                    <a:lnTo>
                      <a:pt x="23436" y="73547"/>
                    </a:lnTo>
                    <a:lnTo>
                      <a:pt x="26921" y="66055"/>
                    </a:lnTo>
                    <a:lnTo>
                      <a:pt x="28486" y="64079"/>
                    </a:lnTo>
                    <a:lnTo>
                      <a:pt x="28897" y="41329"/>
                    </a:lnTo>
                    <a:lnTo>
                      <a:pt x="40890" y="28019"/>
                    </a:lnTo>
                    <a:lnTo>
                      <a:pt x="42866" y="13090"/>
                    </a:lnTo>
                    <a:lnTo>
                      <a:pt x="57081" y="4583"/>
                    </a:lnTo>
                    <a:lnTo>
                      <a:pt x="75276" y="4281"/>
                    </a:lnTo>
                    <a:lnTo>
                      <a:pt x="84167" y="0"/>
                    </a:lnTo>
                    <a:lnTo>
                      <a:pt x="108619" y="70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2" name="Freeform: Shape 3891">
                <a:extLst>
                  <a:ext uri="{FF2B5EF4-FFF2-40B4-BE49-F238E27FC236}">
                    <a16:creationId xmlns:a16="http://schemas.microsoft.com/office/drawing/2014/main" id="{C9FDCEBD-3BB9-E152-AFBB-5D85E29BF0CF}"/>
                  </a:ext>
                </a:extLst>
              </p:cNvPr>
              <p:cNvSpPr/>
              <p:nvPr/>
            </p:nvSpPr>
            <p:spPr>
              <a:xfrm>
                <a:off x="1387297" y="3830792"/>
                <a:ext cx="489" cy="232"/>
              </a:xfrm>
              <a:custGeom>
                <a:avLst/>
                <a:gdLst>
                  <a:gd name="connsiteX0" fmla="*/ 4611 w 4692"/>
                  <a:gd name="connsiteY0" fmla="*/ 1454 h 2222"/>
                  <a:gd name="connsiteX1" fmla="*/ 2168 w 4692"/>
                  <a:gd name="connsiteY1" fmla="*/ 2223 h 2222"/>
                  <a:gd name="connsiteX2" fmla="*/ 0 w 4692"/>
                  <a:gd name="connsiteY2" fmla="*/ 1345 h 2222"/>
                  <a:gd name="connsiteX3" fmla="*/ 1015 w 4692"/>
                  <a:gd name="connsiteY3" fmla="*/ 302 h 2222"/>
                  <a:gd name="connsiteX4" fmla="*/ 4693 w 4692"/>
                  <a:gd name="connsiteY4" fmla="*/ 0 h 2222"/>
                  <a:gd name="connsiteX5" fmla="*/ 4611 w 4692"/>
                  <a:gd name="connsiteY5" fmla="*/ 1454 h 2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 h="2222">
                    <a:moveTo>
                      <a:pt x="4611" y="1454"/>
                    </a:moveTo>
                    <a:lnTo>
                      <a:pt x="2168" y="2223"/>
                    </a:lnTo>
                    <a:lnTo>
                      <a:pt x="0" y="1345"/>
                    </a:lnTo>
                    <a:lnTo>
                      <a:pt x="1015" y="302"/>
                    </a:lnTo>
                    <a:lnTo>
                      <a:pt x="4693" y="0"/>
                    </a:lnTo>
                    <a:lnTo>
                      <a:pt x="4611" y="14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3" name="Freeform: Shape 3892">
                <a:extLst>
                  <a:ext uri="{FF2B5EF4-FFF2-40B4-BE49-F238E27FC236}">
                    <a16:creationId xmlns:a16="http://schemas.microsoft.com/office/drawing/2014/main" id="{CBD8CB6F-C19E-C328-2EF8-56F42ED93CC3}"/>
                  </a:ext>
                </a:extLst>
              </p:cNvPr>
              <p:cNvSpPr/>
              <p:nvPr/>
            </p:nvSpPr>
            <p:spPr>
              <a:xfrm>
                <a:off x="1611083" y="3746353"/>
                <a:ext cx="24794" cy="14140"/>
              </a:xfrm>
              <a:custGeom>
                <a:avLst/>
                <a:gdLst>
                  <a:gd name="connsiteX0" fmla="*/ 236586 w 237711"/>
                  <a:gd name="connsiteY0" fmla="*/ 86089 h 135568"/>
                  <a:gd name="connsiteX1" fmla="*/ 237519 w 237711"/>
                  <a:gd name="connsiteY1" fmla="*/ 89162 h 135568"/>
                  <a:gd name="connsiteX2" fmla="*/ 234363 w 237711"/>
                  <a:gd name="connsiteY2" fmla="*/ 98767 h 135568"/>
                  <a:gd name="connsiteX3" fmla="*/ 233019 w 237711"/>
                  <a:gd name="connsiteY3" fmla="*/ 110485 h 135568"/>
                  <a:gd name="connsiteX4" fmla="*/ 237711 w 237711"/>
                  <a:gd name="connsiteY4" fmla="*/ 123521 h 135568"/>
                  <a:gd name="connsiteX5" fmla="*/ 234720 w 237711"/>
                  <a:gd name="connsiteY5" fmla="*/ 133537 h 135568"/>
                  <a:gd name="connsiteX6" fmla="*/ 232772 w 237711"/>
                  <a:gd name="connsiteY6" fmla="*/ 135129 h 135568"/>
                  <a:gd name="connsiteX7" fmla="*/ 228216 w 237711"/>
                  <a:gd name="connsiteY7" fmla="*/ 133318 h 135568"/>
                  <a:gd name="connsiteX8" fmla="*/ 226460 w 237711"/>
                  <a:gd name="connsiteY8" fmla="*/ 133565 h 135568"/>
                  <a:gd name="connsiteX9" fmla="*/ 212574 w 237711"/>
                  <a:gd name="connsiteY9" fmla="*/ 135568 h 135568"/>
                  <a:gd name="connsiteX10" fmla="*/ 207552 w 237711"/>
                  <a:gd name="connsiteY10" fmla="*/ 134031 h 135568"/>
                  <a:gd name="connsiteX11" fmla="*/ 204176 w 237711"/>
                  <a:gd name="connsiteY11" fmla="*/ 130629 h 135568"/>
                  <a:gd name="connsiteX12" fmla="*/ 194982 w 237711"/>
                  <a:gd name="connsiteY12" fmla="*/ 133428 h 135568"/>
                  <a:gd name="connsiteX13" fmla="*/ 183045 w 237711"/>
                  <a:gd name="connsiteY13" fmla="*/ 128049 h 135568"/>
                  <a:gd name="connsiteX14" fmla="*/ 175745 w 237711"/>
                  <a:gd name="connsiteY14" fmla="*/ 126869 h 135568"/>
                  <a:gd name="connsiteX15" fmla="*/ 169076 w 237711"/>
                  <a:gd name="connsiteY15" fmla="*/ 128159 h 135568"/>
                  <a:gd name="connsiteX16" fmla="*/ 162764 w 237711"/>
                  <a:gd name="connsiteY16" fmla="*/ 120392 h 135568"/>
                  <a:gd name="connsiteX17" fmla="*/ 151787 w 237711"/>
                  <a:gd name="connsiteY17" fmla="*/ 122697 h 135568"/>
                  <a:gd name="connsiteX18" fmla="*/ 136145 w 237711"/>
                  <a:gd name="connsiteY18" fmla="*/ 114300 h 135568"/>
                  <a:gd name="connsiteX19" fmla="*/ 133071 w 237711"/>
                  <a:gd name="connsiteY19" fmla="*/ 104997 h 135568"/>
                  <a:gd name="connsiteX20" fmla="*/ 119185 w 237711"/>
                  <a:gd name="connsiteY20" fmla="*/ 99289 h 135568"/>
                  <a:gd name="connsiteX21" fmla="*/ 109992 w 237711"/>
                  <a:gd name="connsiteY21" fmla="*/ 102417 h 135568"/>
                  <a:gd name="connsiteX22" fmla="*/ 98713 w 237711"/>
                  <a:gd name="connsiteY22" fmla="*/ 100057 h 135568"/>
                  <a:gd name="connsiteX23" fmla="*/ 94733 w 237711"/>
                  <a:gd name="connsiteY23" fmla="*/ 103268 h 135568"/>
                  <a:gd name="connsiteX24" fmla="*/ 80353 w 237711"/>
                  <a:gd name="connsiteY24" fmla="*/ 98575 h 135568"/>
                  <a:gd name="connsiteX25" fmla="*/ 75963 w 237711"/>
                  <a:gd name="connsiteY25" fmla="*/ 92291 h 135568"/>
                  <a:gd name="connsiteX26" fmla="*/ 68800 w 237711"/>
                  <a:gd name="connsiteY26" fmla="*/ 91907 h 135568"/>
                  <a:gd name="connsiteX27" fmla="*/ 57685 w 237711"/>
                  <a:gd name="connsiteY27" fmla="*/ 85265 h 135568"/>
                  <a:gd name="connsiteX28" fmla="*/ 51017 w 237711"/>
                  <a:gd name="connsiteY28" fmla="*/ 85457 h 135568"/>
                  <a:gd name="connsiteX29" fmla="*/ 39656 w 237711"/>
                  <a:gd name="connsiteY29" fmla="*/ 77252 h 135568"/>
                  <a:gd name="connsiteX30" fmla="*/ 36143 w 237711"/>
                  <a:gd name="connsiteY30" fmla="*/ 76703 h 135568"/>
                  <a:gd name="connsiteX31" fmla="*/ 31340 w 237711"/>
                  <a:gd name="connsiteY31" fmla="*/ 69677 h 135568"/>
                  <a:gd name="connsiteX32" fmla="*/ 15506 w 237711"/>
                  <a:gd name="connsiteY32" fmla="*/ 60484 h 135568"/>
                  <a:gd name="connsiteX33" fmla="*/ 9386 w 237711"/>
                  <a:gd name="connsiteY33" fmla="*/ 61115 h 135568"/>
                  <a:gd name="connsiteX34" fmla="*/ 0 w 237711"/>
                  <a:gd name="connsiteY34" fmla="*/ 52965 h 135568"/>
                  <a:gd name="connsiteX35" fmla="*/ 1537 w 237711"/>
                  <a:gd name="connsiteY35" fmla="*/ 46626 h 135568"/>
                  <a:gd name="connsiteX36" fmla="*/ 5187 w 237711"/>
                  <a:gd name="connsiteY36" fmla="*/ 42097 h 135568"/>
                  <a:gd name="connsiteX37" fmla="*/ 5379 w 237711"/>
                  <a:gd name="connsiteY37" fmla="*/ 34276 h 135568"/>
                  <a:gd name="connsiteX38" fmla="*/ 8727 w 237711"/>
                  <a:gd name="connsiteY38" fmla="*/ 28348 h 135568"/>
                  <a:gd name="connsiteX39" fmla="*/ 9413 w 237711"/>
                  <a:gd name="connsiteY39" fmla="*/ 22723 h 135568"/>
                  <a:gd name="connsiteX40" fmla="*/ 23684 w 237711"/>
                  <a:gd name="connsiteY40" fmla="*/ 9193 h 135568"/>
                  <a:gd name="connsiteX41" fmla="*/ 27745 w 237711"/>
                  <a:gd name="connsiteY41" fmla="*/ 7986 h 135568"/>
                  <a:gd name="connsiteX42" fmla="*/ 30270 w 237711"/>
                  <a:gd name="connsiteY42" fmla="*/ 13365 h 135568"/>
                  <a:gd name="connsiteX43" fmla="*/ 32548 w 237711"/>
                  <a:gd name="connsiteY43" fmla="*/ 14325 h 135568"/>
                  <a:gd name="connsiteX44" fmla="*/ 38174 w 237711"/>
                  <a:gd name="connsiteY44" fmla="*/ 7409 h 135568"/>
                  <a:gd name="connsiteX45" fmla="*/ 39408 w 237711"/>
                  <a:gd name="connsiteY45" fmla="*/ 1125 h 135568"/>
                  <a:gd name="connsiteX46" fmla="*/ 45144 w 237711"/>
                  <a:gd name="connsiteY46" fmla="*/ 0 h 135568"/>
                  <a:gd name="connsiteX47" fmla="*/ 58591 w 237711"/>
                  <a:gd name="connsiteY47" fmla="*/ 3485 h 135568"/>
                  <a:gd name="connsiteX48" fmla="*/ 61857 w 237711"/>
                  <a:gd name="connsiteY48" fmla="*/ 12075 h 135568"/>
                  <a:gd name="connsiteX49" fmla="*/ 72615 w 237711"/>
                  <a:gd name="connsiteY49" fmla="*/ 16960 h 135568"/>
                  <a:gd name="connsiteX50" fmla="*/ 79722 w 237711"/>
                  <a:gd name="connsiteY50" fmla="*/ 24644 h 135568"/>
                  <a:gd name="connsiteX51" fmla="*/ 92401 w 237711"/>
                  <a:gd name="connsiteY51" fmla="*/ 29062 h 135568"/>
                  <a:gd name="connsiteX52" fmla="*/ 102362 w 237711"/>
                  <a:gd name="connsiteY52" fmla="*/ 42070 h 135568"/>
                  <a:gd name="connsiteX53" fmla="*/ 112022 w 237711"/>
                  <a:gd name="connsiteY53" fmla="*/ 38145 h 135568"/>
                  <a:gd name="connsiteX54" fmla="*/ 117346 w 237711"/>
                  <a:gd name="connsiteY54" fmla="*/ 38941 h 135568"/>
                  <a:gd name="connsiteX55" fmla="*/ 120145 w 237711"/>
                  <a:gd name="connsiteY55" fmla="*/ 40972 h 135568"/>
                  <a:gd name="connsiteX56" fmla="*/ 122066 w 237711"/>
                  <a:gd name="connsiteY56" fmla="*/ 51702 h 135568"/>
                  <a:gd name="connsiteX57" fmla="*/ 126238 w 237711"/>
                  <a:gd name="connsiteY57" fmla="*/ 53623 h 135568"/>
                  <a:gd name="connsiteX58" fmla="*/ 127939 w 237711"/>
                  <a:gd name="connsiteY58" fmla="*/ 57273 h 135568"/>
                  <a:gd name="connsiteX59" fmla="*/ 133126 w 237711"/>
                  <a:gd name="connsiteY59" fmla="*/ 58097 h 135568"/>
                  <a:gd name="connsiteX60" fmla="*/ 139932 w 237711"/>
                  <a:gd name="connsiteY60" fmla="*/ 62625 h 135568"/>
                  <a:gd name="connsiteX61" fmla="*/ 147863 w 237711"/>
                  <a:gd name="connsiteY61" fmla="*/ 59743 h 135568"/>
                  <a:gd name="connsiteX62" fmla="*/ 149729 w 237711"/>
                  <a:gd name="connsiteY62" fmla="*/ 62433 h 135568"/>
                  <a:gd name="connsiteX63" fmla="*/ 147726 w 237711"/>
                  <a:gd name="connsiteY63" fmla="*/ 67043 h 135568"/>
                  <a:gd name="connsiteX64" fmla="*/ 148357 w 237711"/>
                  <a:gd name="connsiteY64" fmla="*/ 70418 h 135568"/>
                  <a:gd name="connsiteX65" fmla="*/ 153736 w 237711"/>
                  <a:gd name="connsiteY65" fmla="*/ 72422 h 135568"/>
                  <a:gd name="connsiteX66" fmla="*/ 158127 w 237711"/>
                  <a:gd name="connsiteY66" fmla="*/ 70968 h 135568"/>
                  <a:gd name="connsiteX67" fmla="*/ 162682 w 237711"/>
                  <a:gd name="connsiteY67" fmla="*/ 71983 h 135568"/>
                  <a:gd name="connsiteX68" fmla="*/ 164850 w 237711"/>
                  <a:gd name="connsiteY68" fmla="*/ 70144 h 135568"/>
                  <a:gd name="connsiteX69" fmla="*/ 169379 w 237711"/>
                  <a:gd name="connsiteY69" fmla="*/ 76484 h 135568"/>
                  <a:gd name="connsiteX70" fmla="*/ 174675 w 237711"/>
                  <a:gd name="connsiteY70" fmla="*/ 84881 h 135568"/>
                  <a:gd name="connsiteX71" fmla="*/ 176568 w 237711"/>
                  <a:gd name="connsiteY71" fmla="*/ 84222 h 135568"/>
                  <a:gd name="connsiteX72" fmla="*/ 176294 w 237711"/>
                  <a:gd name="connsiteY72" fmla="*/ 79832 h 135568"/>
                  <a:gd name="connsiteX73" fmla="*/ 178243 w 237711"/>
                  <a:gd name="connsiteY73" fmla="*/ 77663 h 135568"/>
                  <a:gd name="connsiteX74" fmla="*/ 180356 w 237711"/>
                  <a:gd name="connsiteY74" fmla="*/ 81752 h 135568"/>
                  <a:gd name="connsiteX75" fmla="*/ 185817 w 237711"/>
                  <a:gd name="connsiteY75" fmla="*/ 84607 h 135568"/>
                  <a:gd name="connsiteX76" fmla="*/ 191086 w 237711"/>
                  <a:gd name="connsiteY76" fmla="*/ 78651 h 135568"/>
                  <a:gd name="connsiteX77" fmla="*/ 208979 w 237711"/>
                  <a:gd name="connsiteY77" fmla="*/ 87845 h 135568"/>
                  <a:gd name="connsiteX78" fmla="*/ 223715 w 237711"/>
                  <a:gd name="connsiteY78" fmla="*/ 88147 h 135568"/>
                  <a:gd name="connsiteX79" fmla="*/ 226350 w 237711"/>
                  <a:gd name="connsiteY79" fmla="*/ 85841 h 135568"/>
                  <a:gd name="connsiteX80" fmla="*/ 228161 w 237711"/>
                  <a:gd name="connsiteY80" fmla="*/ 84250 h 135568"/>
                  <a:gd name="connsiteX81" fmla="*/ 236449 w 237711"/>
                  <a:gd name="connsiteY81" fmla="*/ 86006 h 135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37711" h="135568">
                    <a:moveTo>
                      <a:pt x="236586" y="86089"/>
                    </a:moveTo>
                    <a:lnTo>
                      <a:pt x="237519" y="89162"/>
                    </a:lnTo>
                    <a:lnTo>
                      <a:pt x="234363" y="98767"/>
                    </a:lnTo>
                    <a:lnTo>
                      <a:pt x="233019" y="110485"/>
                    </a:lnTo>
                    <a:lnTo>
                      <a:pt x="237711" y="123521"/>
                    </a:lnTo>
                    <a:lnTo>
                      <a:pt x="234720" y="133537"/>
                    </a:lnTo>
                    <a:lnTo>
                      <a:pt x="232772" y="135129"/>
                    </a:lnTo>
                    <a:lnTo>
                      <a:pt x="228216" y="133318"/>
                    </a:lnTo>
                    <a:lnTo>
                      <a:pt x="226460" y="133565"/>
                    </a:lnTo>
                    <a:lnTo>
                      <a:pt x="212574" y="135568"/>
                    </a:lnTo>
                    <a:lnTo>
                      <a:pt x="207552" y="134031"/>
                    </a:lnTo>
                    <a:lnTo>
                      <a:pt x="204176" y="130629"/>
                    </a:lnTo>
                    <a:lnTo>
                      <a:pt x="194982" y="133428"/>
                    </a:lnTo>
                    <a:lnTo>
                      <a:pt x="183045" y="128049"/>
                    </a:lnTo>
                    <a:lnTo>
                      <a:pt x="175745" y="126869"/>
                    </a:lnTo>
                    <a:lnTo>
                      <a:pt x="169076" y="128159"/>
                    </a:lnTo>
                    <a:lnTo>
                      <a:pt x="162764" y="120392"/>
                    </a:lnTo>
                    <a:lnTo>
                      <a:pt x="151787" y="122697"/>
                    </a:lnTo>
                    <a:lnTo>
                      <a:pt x="136145" y="114300"/>
                    </a:lnTo>
                    <a:lnTo>
                      <a:pt x="133071" y="104997"/>
                    </a:lnTo>
                    <a:lnTo>
                      <a:pt x="119185" y="99289"/>
                    </a:lnTo>
                    <a:lnTo>
                      <a:pt x="109992" y="102417"/>
                    </a:lnTo>
                    <a:lnTo>
                      <a:pt x="98713" y="100057"/>
                    </a:lnTo>
                    <a:lnTo>
                      <a:pt x="94733" y="103268"/>
                    </a:lnTo>
                    <a:lnTo>
                      <a:pt x="80353" y="98575"/>
                    </a:lnTo>
                    <a:lnTo>
                      <a:pt x="75963" y="92291"/>
                    </a:lnTo>
                    <a:lnTo>
                      <a:pt x="68800" y="91907"/>
                    </a:lnTo>
                    <a:lnTo>
                      <a:pt x="57685" y="85265"/>
                    </a:lnTo>
                    <a:lnTo>
                      <a:pt x="51017" y="85457"/>
                    </a:lnTo>
                    <a:lnTo>
                      <a:pt x="39656" y="77252"/>
                    </a:lnTo>
                    <a:lnTo>
                      <a:pt x="36143" y="76703"/>
                    </a:lnTo>
                    <a:lnTo>
                      <a:pt x="31340" y="69677"/>
                    </a:lnTo>
                    <a:lnTo>
                      <a:pt x="15506" y="60484"/>
                    </a:lnTo>
                    <a:lnTo>
                      <a:pt x="9386" y="61115"/>
                    </a:lnTo>
                    <a:lnTo>
                      <a:pt x="0" y="52965"/>
                    </a:lnTo>
                    <a:lnTo>
                      <a:pt x="1537" y="46626"/>
                    </a:lnTo>
                    <a:lnTo>
                      <a:pt x="5187" y="42097"/>
                    </a:lnTo>
                    <a:lnTo>
                      <a:pt x="5379" y="34276"/>
                    </a:lnTo>
                    <a:lnTo>
                      <a:pt x="8727" y="28348"/>
                    </a:lnTo>
                    <a:lnTo>
                      <a:pt x="9413" y="22723"/>
                    </a:lnTo>
                    <a:lnTo>
                      <a:pt x="23684" y="9193"/>
                    </a:lnTo>
                    <a:lnTo>
                      <a:pt x="27745" y="7986"/>
                    </a:lnTo>
                    <a:lnTo>
                      <a:pt x="30270" y="13365"/>
                    </a:lnTo>
                    <a:lnTo>
                      <a:pt x="32548" y="14325"/>
                    </a:lnTo>
                    <a:lnTo>
                      <a:pt x="38174" y="7409"/>
                    </a:lnTo>
                    <a:lnTo>
                      <a:pt x="39408" y="1125"/>
                    </a:lnTo>
                    <a:lnTo>
                      <a:pt x="45144" y="0"/>
                    </a:lnTo>
                    <a:lnTo>
                      <a:pt x="58591" y="3485"/>
                    </a:lnTo>
                    <a:lnTo>
                      <a:pt x="61857" y="12075"/>
                    </a:lnTo>
                    <a:lnTo>
                      <a:pt x="72615" y="16960"/>
                    </a:lnTo>
                    <a:lnTo>
                      <a:pt x="79722" y="24644"/>
                    </a:lnTo>
                    <a:lnTo>
                      <a:pt x="92401" y="29062"/>
                    </a:lnTo>
                    <a:lnTo>
                      <a:pt x="102362" y="42070"/>
                    </a:lnTo>
                    <a:lnTo>
                      <a:pt x="112022" y="38145"/>
                    </a:lnTo>
                    <a:lnTo>
                      <a:pt x="117346" y="38941"/>
                    </a:lnTo>
                    <a:lnTo>
                      <a:pt x="120145" y="40972"/>
                    </a:lnTo>
                    <a:lnTo>
                      <a:pt x="122066" y="51702"/>
                    </a:lnTo>
                    <a:lnTo>
                      <a:pt x="126238" y="53623"/>
                    </a:lnTo>
                    <a:lnTo>
                      <a:pt x="127939" y="57273"/>
                    </a:lnTo>
                    <a:lnTo>
                      <a:pt x="133126" y="58097"/>
                    </a:lnTo>
                    <a:lnTo>
                      <a:pt x="139932" y="62625"/>
                    </a:lnTo>
                    <a:lnTo>
                      <a:pt x="147863" y="59743"/>
                    </a:lnTo>
                    <a:lnTo>
                      <a:pt x="149729" y="62433"/>
                    </a:lnTo>
                    <a:lnTo>
                      <a:pt x="147726" y="67043"/>
                    </a:lnTo>
                    <a:lnTo>
                      <a:pt x="148357" y="70418"/>
                    </a:lnTo>
                    <a:lnTo>
                      <a:pt x="153736" y="72422"/>
                    </a:lnTo>
                    <a:lnTo>
                      <a:pt x="158127" y="70968"/>
                    </a:lnTo>
                    <a:lnTo>
                      <a:pt x="162682" y="71983"/>
                    </a:lnTo>
                    <a:lnTo>
                      <a:pt x="164850" y="70144"/>
                    </a:lnTo>
                    <a:lnTo>
                      <a:pt x="169379" y="76484"/>
                    </a:lnTo>
                    <a:lnTo>
                      <a:pt x="174675" y="84881"/>
                    </a:lnTo>
                    <a:lnTo>
                      <a:pt x="176568" y="84222"/>
                    </a:lnTo>
                    <a:lnTo>
                      <a:pt x="176294" y="79832"/>
                    </a:lnTo>
                    <a:lnTo>
                      <a:pt x="178243" y="77663"/>
                    </a:lnTo>
                    <a:lnTo>
                      <a:pt x="180356" y="81752"/>
                    </a:lnTo>
                    <a:lnTo>
                      <a:pt x="185817" y="84607"/>
                    </a:lnTo>
                    <a:lnTo>
                      <a:pt x="191086" y="78651"/>
                    </a:lnTo>
                    <a:lnTo>
                      <a:pt x="208979" y="87845"/>
                    </a:lnTo>
                    <a:lnTo>
                      <a:pt x="223715" y="88147"/>
                    </a:lnTo>
                    <a:lnTo>
                      <a:pt x="226350" y="85841"/>
                    </a:lnTo>
                    <a:lnTo>
                      <a:pt x="228161" y="84250"/>
                    </a:lnTo>
                    <a:lnTo>
                      <a:pt x="236449" y="860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4" name="Freeform: Shape 3893">
                <a:extLst>
                  <a:ext uri="{FF2B5EF4-FFF2-40B4-BE49-F238E27FC236}">
                    <a16:creationId xmlns:a16="http://schemas.microsoft.com/office/drawing/2014/main" id="{66DB13E8-42B9-F2A9-F708-D05001E194A6}"/>
                  </a:ext>
                </a:extLst>
              </p:cNvPr>
              <p:cNvSpPr/>
              <p:nvPr/>
            </p:nvSpPr>
            <p:spPr>
              <a:xfrm>
                <a:off x="1172542" y="3790178"/>
                <a:ext cx="529" cy="426"/>
              </a:xfrm>
              <a:custGeom>
                <a:avLst/>
                <a:gdLst>
                  <a:gd name="connsiteX0" fmla="*/ 5077 w 5076"/>
                  <a:gd name="connsiteY0" fmla="*/ 3567 h 4088"/>
                  <a:gd name="connsiteX1" fmla="*/ 3952 w 5076"/>
                  <a:gd name="connsiteY1" fmla="*/ 4089 h 4088"/>
                  <a:gd name="connsiteX2" fmla="*/ 2278 w 5076"/>
                  <a:gd name="connsiteY2" fmla="*/ 3622 h 4088"/>
                  <a:gd name="connsiteX3" fmla="*/ 0 w 5076"/>
                  <a:gd name="connsiteY3" fmla="*/ 1482 h 4088"/>
                  <a:gd name="connsiteX4" fmla="*/ 192 w 5076"/>
                  <a:gd name="connsiteY4" fmla="*/ 631 h 4088"/>
                  <a:gd name="connsiteX5" fmla="*/ 1701 w 5076"/>
                  <a:gd name="connsiteY5" fmla="*/ 0 h 4088"/>
                  <a:gd name="connsiteX6" fmla="*/ 3732 w 5076"/>
                  <a:gd name="connsiteY6" fmla="*/ 1290 h 4088"/>
                  <a:gd name="connsiteX7" fmla="*/ 5077 w 5076"/>
                  <a:gd name="connsiteY7" fmla="*/ 3567 h 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6" h="4088">
                    <a:moveTo>
                      <a:pt x="5077" y="3567"/>
                    </a:moveTo>
                    <a:lnTo>
                      <a:pt x="3952" y="4089"/>
                    </a:lnTo>
                    <a:lnTo>
                      <a:pt x="2278" y="3622"/>
                    </a:lnTo>
                    <a:lnTo>
                      <a:pt x="0" y="1482"/>
                    </a:lnTo>
                    <a:lnTo>
                      <a:pt x="192" y="631"/>
                    </a:lnTo>
                    <a:lnTo>
                      <a:pt x="1701" y="0"/>
                    </a:lnTo>
                    <a:lnTo>
                      <a:pt x="3732" y="1290"/>
                    </a:lnTo>
                    <a:lnTo>
                      <a:pt x="5077" y="35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5" name="Freeform: Shape 3894">
                <a:extLst>
                  <a:ext uri="{FF2B5EF4-FFF2-40B4-BE49-F238E27FC236}">
                    <a16:creationId xmlns:a16="http://schemas.microsoft.com/office/drawing/2014/main" id="{B643FEE7-DF9B-DAF0-4824-F68311C74C1B}"/>
                  </a:ext>
                </a:extLst>
              </p:cNvPr>
              <p:cNvSpPr/>
              <p:nvPr/>
            </p:nvSpPr>
            <p:spPr>
              <a:xfrm>
                <a:off x="1173246" y="3790845"/>
                <a:ext cx="292" cy="386"/>
              </a:xfrm>
              <a:custGeom>
                <a:avLst/>
                <a:gdLst>
                  <a:gd name="connsiteX0" fmla="*/ 2744 w 2799"/>
                  <a:gd name="connsiteY0" fmla="*/ 3074 h 3704"/>
                  <a:gd name="connsiteX1" fmla="*/ 878 w 2799"/>
                  <a:gd name="connsiteY1" fmla="*/ 3705 h 3704"/>
                  <a:gd name="connsiteX2" fmla="*/ 0 w 2799"/>
                  <a:gd name="connsiteY2" fmla="*/ 2442 h 3704"/>
                  <a:gd name="connsiteX3" fmla="*/ 823 w 2799"/>
                  <a:gd name="connsiteY3" fmla="*/ 0 h 3704"/>
                  <a:gd name="connsiteX4" fmla="*/ 2799 w 2799"/>
                  <a:gd name="connsiteY4" fmla="*/ 823 h 3704"/>
                  <a:gd name="connsiteX5" fmla="*/ 2744 w 2799"/>
                  <a:gd name="connsiteY5" fmla="*/ 3046 h 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 h="3704">
                    <a:moveTo>
                      <a:pt x="2744" y="3074"/>
                    </a:moveTo>
                    <a:lnTo>
                      <a:pt x="878" y="3705"/>
                    </a:lnTo>
                    <a:lnTo>
                      <a:pt x="0" y="2442"/>
                    </a:lnTo>
                    <a:lnTo>
                      <a:pt x="823" y="0"/>
                    </a:lnTo>
                    <a:lnTo>
                      <a:pt x="2799" y="823"/>
                    </a:lnTo>
                    <a:lnTo>
                      <a:pt x="2744"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2" name="Freeform: Shape 3921">
                <a:extLst>
                  <a:ext uri="{FF2B5EF4-FFF2-40B4-BE49-F238E27FC236}">
                    <a16:creationId xmlns:a16="http://schemas.microsoft.com/office/drawing/2014/main" id="{9197D4BF-6601-EF4D-3163-00C714A37BF6}"/>
                  </a:ext>
                </a:extLst>
              </p:cNvPr>
              <p:cNvSpPr/>
              <p:nvPr/>
            </p:nvSpPr>
            <p:spPr>
              <a:xfrm>
                <a:off x="1679418" y="3798900"/>
                <a:ext cx="16138" cy="13401"/>
              </a:xfrm>
              <a:custGeom>
                <a:avLst/>
                <a:gdLst>
                  <a:gd name="connsiteX0" fmla="*/ 152611 w 154723"/>
                  <a:gd name="connsiteY0" fmla="*/ 27 h 128487"/>
                  <a:gd name="connsiteX1" fmla="*/ 146738 w 154723"/>
                  <a:gd name="connsiteY1" fmla="*/ 16740 h 128487"/>
                  <a:gd name="connsiteX2" fmla="*/ 154724 w 154723"/>
                  <a:gd name="connsiteY2" fmla="*/ 37322 h 128487"/>
                  <a:gd name="connsiteX3" fmla="*/ 150936 w 154723"/>
                  <a:gd name="connsiteY3" fmla="*/ 51016 h 128487"/>
                  <a:gd name="connsiteX4" fmla="*/ 153407 w 154723"/>
                  <a:gd name="connsiteY4" fmla="*/ 63393 h 128487"/>
                  <a:gd name="connsiteX5" fmla="*/ 151925 w 154723"/>
                  <a:gd name="connsiteY5" fmla="*/ 70638 h 128487"/>
                  <a:gd name="connsiteX6" fmla="*/ 148933 w 154723"/>
                  <a:gd name="connsiteY6" fmla="*/ 73273 h 128487"/>
                  <a:gd name="connsiteX7" fmla="*/ 145613 w 154723"/>
                  <a:gd name="connsiteY7" fmla="*/ 71489 h 128487"/>
                  <a:gd name="connsiteX8" fmla="*/ 142347 w 154723"/>
                  <a:gd name="connsiteY8" fmla="*/ 72340 h 128487"/>
                  <a:gd name="connsiteX9" fmla="*/ 136035 w 154723"/>
                  <a:gd name="connsiteY9" fmla="*/ 78267 h 128487"/>
                  <a:gd name="connsiteX10" fmla="*/ 130163 w 154723"/>
                  <a:gd name="connsiteY10" fmla="*/ 79420 h 128487"/>
                  <a:gd name="connsiteX11" fmla="*/ 127692 w 154723"/>
                  <a:gd name="connsiteY11" fmla="*/ 81862 h 128487"/>
                  <a:gd name="connsiteX12" fmla="*/ 120009 w 154723"/>
                  <a:gd name="connsiteY12" fmla="*/ 82247 h 128487"/>
                  <a:gd name="connsiteX13" fmla="*/ 119268 w 154723"/>
                  <a:gd name="connsiteY13" fmla="*/ 90424 h 128487"/>
                  <a:gd name="connsiteX14" fmla="*/ 108263 w 154723"/>
                  <a:gd name="connsiteY14" fmla="*/ 88504 h 128487"/>
                  <a:gd name="connsiteX15" fmla="*/ 102280 w 154723"/>
                  <a:gd name="connsiteY15" fmla="*/ 92153 h 128487"/>
                  <a:gd name="connsiteX16" fmla="*/ 103488 w 154723"/>
                  <a:gd name="connsiteY16" fmla="*/ 102994 h 128487"/>
                  <a:gd name="connsiteX17" fmla="*/ 112297 w 154723"/>
                  <a:gd name="connsiteY17" fmla="*/ 110431 h 128487"/>
                  <a:gd name="connsiteX18" fmla="*/ 111611 w 154723"/>
                  <a:gd name="connsiteY18" fmla="*/ 116441 h 128487"/>
                  <a:gd name="connsiteX19" fmla="*/ 105958 w 154723"/>
                  <a:gd name="connsiteY19" fmla="*/ 114547 h 128487"/>
                  <a:gd name="connsiteX20" fmla="*/ 103570 w 154723"/>
                  <a:gd name="connsiteY20" fmla="*/ 115480 h 128487"/>
                  <a:gd name="connsiteX21" fmla="*/ 99646 w 154723"/>
                  <a:gd name="connsiteY21" fmla="*/ 110760 h 128487"/>
                  <a:gd name="connsiteX22" fmla="*/ 90370 w 154723"/>
                  <a:gd name="connsiteY22" fmla="*/ 112516 h 128487"/>
                  <a:gd name="connsiteX23" fmla="*/ 87050 w 154723"/>
                  <a:gd name="connsiteY23" fmla="*/ 114931 h 128487"/>
                  <a:gd name="connsiteX24" fmla="*/ 79777 w 154723"/>
                  <a:gd name="connsiteY24" fmla="*/ 113587 h 128487"/>
                  <a:gd name="connsiteX25" fmla="*/ 79640 w 154723"/>
                  <a:gd name="connsiteY25" fmla="*/ 119596 h 128487"/>
                  <a:gd name="connsiteX26" fmla="*/ 73932 w 154723"/>
                  <a:gd name="connsiteY26" fmla="*/ 124838 h 128487"/>
                  <a:gd name="connsiteX27" fmla="*/ 66220 w 154723"/>
                  <a:gd name="connsiteY27" fmla="*/ 125442 h 128487"/>
                  <a:gd name="connsiteX28" fmla="*/ 60979 w 154723"/>
                  <a:gd name="connsiteY28" fmla="*/ 128488 h 128487"/>
                  <a:gd name="connsiteX29" fmla="*/ 54941 w 154723"/>
                  <a:gd name="connsiteY29" fmla="*/ 124920 h 128487"/>
                  <a:gd name="connsiteX30" fmla="*/ 47394 w 154723"/>
                  <a:gd name="connsiteY30" fmla="*/ 123301 h 128487"/>
                  <a:gd name="connsiteX31" fmla="*/ 40945 w 154723"/>
                  <a:gd name="connsiteY31" fmla="*/ 126485 h 128487"/>
                  <a:gd name="connsiteX32" fmla="*/ 36554 w 154723"/>
                  <a:gd name="connsiteY32" fmla="*/ 125030 h 128487"/>
                  <a:gd name="connsiteX33" fmla="*/ 34826 w 154723"/>
                  <a:gd name="connsiteY33" fmla="*/ 121682 h 128487"/>
                  <a:gd name="connsiteX34" fmla="*/ 38503 w 154723"/>
                  <a:gd name="connsiteY34" fmla="*/ 114410 h 128487"/>
                  <a:gd name="connsiteX35" fmla="*/ 35237 w 154723"/>
                  <a:gd name="connsiteY35" fmla="*/ 108016 h 128487"/>
                  <a:gd name="connsiteX36" fmla="*/ 29611 w 154723"/>
                  <a:gd name="connsiteY36" fmla="*/ 113943 h 128487"/>
                  <a:gd name="connsiteX37" fmla="*/ 22449 w 154723"/>
                  <a:gd name="connsiteY37" fmla="*/ 113888 h 128487"/>
                  <a:gd name="connsiteX38" fmla="*/ 21570 w 154723"/>
                  <a:gd name="connsiteY38" fmla="*/ 101100 h 128487"/>
                  <a:gd name="connsiteX39" fmla="*/ 18305 w 154723"/>
                  <a:gd name="connsiteY39" fmla="*/ 99206 h 128487"/>
                  <a:gd name="connsiteX40" fmla="*/ 16109 w 154723"/>
                  <a:gd name="connsiteY40" fmla="*/ 91824 h 128487"/>
                  <a:gd name="connsiteX41" fmla="*/ 15972 w 154723"/>
                  <a:gd name="connsiteY41" fmla="*/ 88778 h 128487"/>
                  <a:gd name="connsiteX42" fmla="*/ 10401 w 154723"/>
                  <a:gd name="connsiteY42" fmla="*/ 76127 h 128487"/>
                  <a:gd name="connsiteX43" fmla="*/ 12185 w 154723"/>
                  <a:gd name="connsiteY43" fmla="*/ 67894 h 128487"/>
                  <a:gd name="connsiteX44" fmla="*/ 4666 w 154723"/>
                  <a:gd name="connsiteY44" fmla="*/ 60567 h 128487"/>
                  <a:gd name="connsiteX45" fmla="*/ 4144 w 154723"/>
                  <a:gd name="connsiteY45" fmla="*/ 50907 h 128487"/>
                  <a:gd name="connsiteX46" fmla="*/ 55 w 154723"/>
                  <a:gd name="connsiteY46" fmla="*/ 42976 h 128487"/>
                  <a:gd name="connsiteX47" fmla="*/ 0 w 154723"/>
                  <a:gd name="connsiteY47" fmla="*/ 36499 h 128487"/>
                  <a:gd name="connsiteX48" fmla="*/ 686 w 154723"/>
                  <a:gd name="connsiteY48" fmla="*/ 34166 h 128487"/>
                  <a:gd name="connsiteX49" fmla="*/ 5873 w 154723"/>
                  <a:gd name="connsiteY49" fmla="*/ 33096 h 128487"/>
                  <a:gd name="connsiteX50" fmla="*/ 19292 w 154723"/>
                  <a:gd name="connsiteY50" fmla="*/ 14051 h 128487"/>
                  <a:gd name="connsiteX51" fmla="*/ 23903 w 154723"/>
                  <a:gd name="connsiteY51" fmla="*/ 11060 h 128487"/>
                  <a:gd name="connsiteX52" fmla="*/ 37981 w 154723"/>
                  <a:gd name="connsiteY52" fmla="*/ 8096 h 128487"/>
                  <a:gd name="connsiteX53" fmla="*/ 47038 w 154723"/>
                  <a:gd name="connsiteY53" fmla="*/ 10785 h 128487"/>
                  <a:gd name="connsiteX54" fmla="*/ 54886 w 154723"/>
                  <a:gd name="connsiteY54" fmla="*/ 9029 h 128487"/>
                  <a:gd name="connsiteX55" fmla="*/ 63476 w 154723"/>
                  <a:gd name="connsiteY55" fmla="*/ 10209 h 128487"/>
                  <a:gd name="connsiteX56" fmla="*/ 72340 w 154723"/>
                  <a:gd name="connsiteY56" fmla="*/ 8013 h 128487"/>
                  <a:gd name="connsiteX57" fmla="*/ 76868 w 154723"/>
                  <a:gd name="connsiteY57" fmla="*/ 9633 h 128487"/>
                  <a:gd name="connsiteX58" fmla="*/ 80162 w 154723"/>
                  <a:gd name="connsiteY58" fmla="*/ 13831 h 128487"/>
                  <a:gd name="connsiteX59" fmla="*/ 83427 w 154723"/>
                  <a:gd name="connsiteY59" fmla="*/ 10456 h 128487"/>
                  <a:gd name="connsiteX60" fmla="*/ 87927 w 154723"/>
                  <a:gd name="connsiteY60" fmla="*/ 17152 h 128487"/>
                  <a:gd name="connsiteX61" fmla="*/ 95392 w 154723"/>
                  <a:gd name="connsiteY61" fmla="*/ 16658 h 128487"/>
                  <a:gd name="connsiteX62" fmla="*/ 99673 w 154723"/>
                  <a:gd name="connsiteY62" fmla="*/ 18140 h 128487"/>
                  <a:gd name="connsiteX63" fmla="*/ 104037 w 154723"/>
                  <a:gd name="connsiteY63" fmla="*/ 22586 h 128487"/>
                  <a:gd name="connsiteX64" fmla="*/ 109086 w 154723"/>
                  <a:gd name="connsiteY64" fmla="*/ 23189 h 128487"/>
                  <a:gd name="connsiteX65" fmla="*/ 111776 w 154723"/>
                  <a:gd name="connsiteY65" fmla="*/ 19018 h 128487"/>
                  <a:gd name="connsiteX66" fmla="*/ 108016 w 154723"/>
                  <a:gd name="connsiteY66" fmla="*/ 12980 h 128487"/>
                  <a:gd name="connsiteX67" fmla="*/ 108839 w 154723"/>
                  <a:gd name="connsiteY67" fmla="*/ 9907 h 128487"/>
                  <a:gd name="connsiteX68" fmla="*/ 112763 w 154723"/>
                  <a:gd name="connsiteY68" fmla="*/ 9138 h 128487"/>
                  <a:gd name="connsiteX69" fmla="*/ 114739 w 154723"/>
                  <a:gd name="connsiteY69" fmla="*/ 6833 h 128487"/>
                  <a:gd name="connsiteX70" fmla="*/ 118280 w 154723"/>
                  <a:gd name="connsiteY70" fmla="*/ 7025 h 128487"/>
                  <a:gd name="connsiteX71" fmla="*/ 122698 w 154723"/>
                  <a:gd name="connsiteY71" fmla="*/ 3568 h 128487"/>
                  <a:gd name="connsiteX72" fmla="*/ 130931 w 154723"/>
                  <a:gd name="connsiteY72" fmla="*/ 10895 h 128487"/>
                  <a:gd name="connsiteX73" fmla="*/ 134142 w 154723"/>
                  <a:gd name="connsiteY73" fmla="*/ 10895 h 128487"/>
                  <a:gd name="connsiteX74" fmla="*/ 142841 w 154723"/>
                  <a:gd name="connsiteY74" fmla="*/ 6916 h 128487"/>
                  <a:gd name="connsiteX75" fmla="*/ 145339 w 154723"/>
                  <a:gd name="connsiteY75" fmla="*/ 3622 h 128487"/>
                  <a:gd name="connsiteX76" fmla="*/ 148988 w 154723"/>
                  <a:gd name="connsiteY76" fmla="*/ 4171 h 128487"/>
                  <a:gd name="connsiteX77" fmla="*/ 152666 w 154723"/>
                  <a:gd name="connsiteY77" fmla="*/ 0 h 128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54723" h="128487">
                    <a:moveTo>
                      <a:pt x="152611" y="27"/>
                    </a:moveTo>
                    <a:lnTo>
                      <a:pt x="146738" y="16740"/>
                    </a:lnTo>
                    <a:lnTo>
                      <a:pt x="154724" y="37322"/>
                    </a:lnTo>
                    <a:lnTo>
                      <a:pt x="150936" y="51016"/>
                    </a:lnTo>
                    <a:lnTo>
                      <a:pt x="153407" y="63393"/>
                    </a:lnTo>
                    <a:lnTo>
                      <a:pt x="151925" y="70638"/>
                    </a:lnTo>
                    <a:lnTo>
                      <a:pt x="148933" y="73273"/>
                    </a:lnTo>
                    <a:lnTo>
                      <a:pt x="145613" y="71489"/>
                    </a:lnTo>
                    <a:lnTo>
                      <a:pt x="142347" y="72340"/>
                    </a:lnTo>
                    <a:lnTo>
                      <a:pt x="136035" y="78267"/>
                    </a:lnTo>
                    <a:lnTo>
                      <a:pt x="130163" y="79420"/>
                    </a:lnTo>
                    <a:lnTo>
                      <a:pt x="127692" y="81862"/>
                    </a:lnTo>
                    <a:lnTo>
                      <a:pt x="120009" y="82247"/>
                    </a:lnTo>
                    <a:lnTo>
                      <a:pt x="119268" y="90424"/>
                    </a:lnTo>
                    <a:lnTo>
                      <a:pt x="108263" y="88504"/>
                    </a:lnTo>
                    <a:lnTo>
                      <a:pt x="102280" y="92153"/>
                    </a:lnTo>
                    <a:lnTo>
                      <a:pt x="103488" y="102994"/>
                    </a:lnTo>
                    <a:lnTo>
                      <a:pt x="112297" y="110431"/>
                    </a:lnTo>
                    <a:lnTo>
                      <a:pt x="111611" y="116441"/>
                    </a:lnTo>
                    <a:lnTo>
                      <a:pt x="105958" y="114547"/>
                    </a:lnTo>
                    <a:lnTo>
                      <a:pt x="103570" y="115480"/>
                    </a:lnTo>
                    <a:lnTo>
                      <a:pt x="99646" y="110760"/>
                    </a:lnTo>
                    <a:lnTo>
                      <a:pt x="90370" y="112516"/>
                    </a:lnTo>
                    <a:lnTo>
                      <a:pt x="87050" y="114931"/>
                    </a:lnTo>
                    <a:lnTo>
                      <a:pt x="79777" y="113587"/>
                    </a:lnTo>
                    <a:lnTo>
                      <a:pt x="79640" y="119596"/>
                    </a:lnTo>
                    <a:lnTo>
                      <a:pt x="73932" y="124838"/>
                    </a:lnTo>
                    <a:lnTo>
                      <a:pt x="66220" y="125442"/>
                    </a:lnTo>
                    <a:lnTo>
                      <a:pt x="60979" y="128488"/>
                    </a:lnTo>
                    <a:lnTo>
                      <a:pt x="54941" y="124920"/>
                    </a:lnTo>
                    <a:lnTo>
                      <a:pt x="47394" y="123301"/>
                    </a:lnTo>
                    <a:lnTo>
                      <a:pt x="40945" y="126485"/>
                    </a:lnTo>
                    <a:lnTo>
                      <a:pt x="36554" y="125030"/>
                    </a:lnTo>
                    <a:lnTo>
                      <a:pt x="34826" y="121682"/>
                    </a:lnTo>
                    <a:lnTo>
                      <a:pt x="38503" y="114410"/>
                    </a:lnTo>
                    <a:lnTo>
                      <a:pt x="35237" y="108016"/>
                    </a:lnTo>
                    <a:lnTo>
                      <a:pt x="29611" y="113943"/>
                    </a:lnTo>
                    <a:lnTo>
                      <a:pt x="22449" y="113888"/>
                    </a:lnTo>
                    <a:lnTo>
                      <a:pt x="21570" y="101100"/>
                    </a:lnTo>
                    <a:lnTo>
                      <a:pt x="18305" y="99206"/>
                    </a:lnTo>
                    <a:lnTo>
                      <a:pt x="16109" y="91824"/>
                    </a:lnTo>
                    <a:lnTo>
                      <a:pt x="15972" y="88778"/>
                    </a:lnTo>
                    <a:lnTo>
                      <a:pt x="10401" y="76127"/>
                    </a:lnTo>
                    <a:lnTo>
                      <a:pt x="12185" y="67894"/>
                    </a:lnTo>
                    <a:lnTo>
                      <a:pt x="4666" y="60567"/>
                    </a:lnTo>
                    <a:lnTo>
                      <a:pt x="4144" y="50907"/>
                    </a:lnTo>
                    <a:lnTo>
                      <a:pt x="55" y="42976"/>
                    </a:lnTo>
                    <a:lnTo>
                      <a:pt x="0" y="36499"/>
                    </a:lnTo>
                    <a:lnTo>
                      <a:pt x="686" y="34166"/>
                    </a:lnTo>
                    <a:lnTo>
                      <a:pt x="5873" y="33096"/>
                    </a:lnTo>
                    <a:lnTo>
                      <a:pt x="19292" y="14051"/>
                    </a:lnTo>
                    <a:lnTo>
                      <a:pt x="23903" y="11060"/>
                    </a:lnTo>
                    <a:lnTo>
                      <a:pt x="37981" y="8096"/>
                    </a:lnTo>
                    <a:lnTo>
                      <a:pt x="47038" y="10785"/>
                    </a:lnTo>
                    <a:lnTo>
                      <a:pt x="54886" y="9029"/>
                    </a:lnTo>
                    <a:lnTo>
                      <a:pt x="63476" y="10209"/>
                    </a:lnTo>
                    <a:lnTo>
                      <a:pt x="72340" y="8013"/>
                    </a:lnTo>
                    <a:lnTo>
                      <a:pt x="76868" y="9633"/>
                    </a:lnTo>
                    <a:lnTo>
                      <a:pt x="80162" y="13831"/>
                    </a:lnTo>
                    <a:lnTo>
                      <a:pt x="83427" y="10456"/>
                    </a:lnTo>
                    <a:lnTo>
                      <a:pt x="87927" y="17152"/>
                    </a:lnTo>
                    <a:lnTo>
                      <a:pt x="95392" y="16658"/>
                    </a:lnTo>
                    <a:lnTo>
                      <a:pt x="99673" y="18140"/>
                    </a:lnTo>
                    <a:lnTo>
                      <a:pt x="104037" y="22586"/>
                    </a:lnTo>
                    <a:lnTo>
                      <a:pt x="109086" y="23189"/>
                    </a:lnTo>
                    <a:lnTo>
                      <a:pt x="111776" y="19018"/>
                    </a:lnTo>
                    <a:lnTo>
                      <a:pt x="108016" y="12980"/>
                    </a:lnTo>
                    <a:lnTo>
                      <a:pt x="108839" y="9907"/>
                    </a:lnTo>
                    <a:lnTo>
                      <a:pt x="112763" y="9138"/>
                    </a:lnTo>
                    <a:lnTo>
                      <a:pt x="114739" y="6833"/>
                    </a:lnTo>
                    <a:lnTo>
                      <a:pt x="118280" y="7025"/>
                    </a:lnTo>
                    <a:lnTo>
                      <a:pt x="122698" y="3568"/>
                    </a:lnTo>
                    <a:lnTo>
                      <a:pt x="130931" y="10895"/>
                    </a:lnTo>
                    <a:lnTo>
                      <a:pt x="134142" y="10895"/>
                    </a:lnTo>
                    <a:lnTo>
                      <a:pt x="142841" y="6916"/>
                    </a:lnTo>
                    <a:lnTo>
                      <a:pt x="145339" y="3622"/>
                    </a:lnTo>
                    <a:lnTo>
                      <a:pt x="148988" y="4171"/>
                    </a:lnTo>
                    <a:lnTo>
                      <a:pt x="15266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3" name="Freeform: Shape 3922">
                <a:extLst>
                  <a:ext uri="{FF2B5EF4-FFF2-40B4-BE49-F238E27FC236}">
                    <a16:creationId xmlns:a16="http://schemas.microsoft.com/office/drawing/2014/main" id="{7468D0D9-C725-C918-F95A-214142030540}"/>
                  </a:ext>
                </a:extLst>
              </p:cNvPr>
              <p:cNvSpPr/>
              <p:nvPr/>
            </p:nvSpPr>
            <p:spPr>
              <a:xfrm>
                <a:off x="1681133" y="3813890"/>
                <a:ext cx="426" cy="343"/>
              </a:xfrm>
              <a:custGeom>
                <a:avLst/>
                <a:gdLst>
                  <a:gd name="connsiteX0" fmla="*/ 4090 w 4089"/>
                  <a:gd name="connsiteY0" fmla="*/ 768 h 3293"/>
                  <a:gd name="connsiteX1" fmla="*/ 1839 w 4089"/>
                  <a:gd name="connsiteY1" fmla="*/ 3293 h 3293"/>
                  <a:gd name="connsiteX2" fmla="*/ 0 w 4089"/>
                  <a:gd name="connsiteY2" fmla="*/ 1427 h 3293"/>
                  <a:gd name="connsiteX3" fmla="*/ 961 w 4089"/>
                  <a:gd name="connsiteY3" fmla="*/ 0 h 3293"/>
                  <a:gd name="connsiteX4" fmla="*/ 4090 w 4089"/>
                  <a:gd name="connsiteY4" fmla="*/ 768 h 3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9" h="3293">
                    <a:moveTo>
                      <a:pt x="4090" y="768"/>
                    </a:moveTo>
                    <a:lnTo>
                      <a:pt x="1839" y="3293"/>
                    </a:lnTo>
                    <a:lnTo>
                      <a:pt x="0" y="1427"/>
                    </a:lnTo>
                    <a:lnTo>
                      <a:pt x="961" y="0"/>
                    </a:lnTo>
                    <a:lnTo>
                      <a:pt x="4090" y="7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4" name="Freeform: Shape 3923">
                <a:extLst>
                  <a:ext uri="{FF2B5EF4-FFF2-40B4-BE49-F238E27FC236}">
                    <a16:creationId xmlns:a16="http://schemas.microsoft.com/office/drawing/2014/main" id="{72DA04F4-6C83-F191-CB96-092CE6B32A79}"/>
                  </a:ext>
                </a:extLst>
              </p:cNvPr>
              <p:cNvSpPr/>
              <p:nvPr/>
            </p:nvSpPr>
            <p:spPr>
              <a:xfrm>
                <a:off x="1680632" y="3813495"/>
                <a:ext cx="358" cy="406"/>
              </a:xfrm>
              <a:custGeom>
                <a:avLst/>
                <a:gdLst>
                  <a:gd name="connsiteX0" fmla="*/ 3430 w 3430"/>
                  <a:gd name="connsiteY0" fmla="*/ 2525 h 3897"/>
                  <a:gd name="connsiteX1" fmla="*/ 2827 w 3430"/>
                  <a:gd name="connsiteY1" fmla="*/ 3897 h 3897"/>
                  <a:gd name="connsiteX2" fmla="*/ 878 w 3430"/>
                  <a:gd name="connsiteY2" fmla="*/ 2854 h 3897"/>
                  <a:gd name="connsiteX3" fmla="*/ 0 w 3430"/>
                  <a:gd name="connsiteY3" fmla="*/ 576 h 3897"/>
                  <a:gd name="connsiteX4" fmla="*/ 1427 w 3430"/>
                  <a:gd name="connsiteY4" fmla="*/ 0 h 3897"/>
                  <a:gd name="connsiteX5" fmla="*/ 3430 w 3430"/>
                  <a:gd name="connsiteY5" fmla="*/ 2525 h 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30" h="3897">
                    <a:moveTo>
                      <a:pt x="3430" y="2525"/>
                    </a:moveTo>
                    <a:lnTo>
                      <a:pt x="2827" y="3897"/>
                    </a:lnTo>
                    <a:lnTo>
                      <a:pt x="878" y="2854"/>
                    </a:lnTo>
                    <a:lnTo>
                      <a:pt x="0" y="576"/>
                    </a:lnTo>
                    <a:lnTo>
                      <a:pt x="1427" y="0"/>
                    </a:lnTo>
                    <a:lnTo>
                      <a:pt x="3430" y="25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5" name="Freeform: Shape 3924">
                <a:extLst>
                  <a:ext uri="{FF2B5EF4-FFF2-40B4-BE49-F238E27FC236}">
                    <a16:creationId xmlns:a16="http://schemas.microsoft.com/office/drawing/2014/main" id="{21D76D92-829B-37F4-F6C6-2A4BC6C423FC}"/>
                  </a:ext>
                </a:extLst>
              </p:cNvPr>
              <p:cNvSpPr/>
              <p:nvPr/>
            </p:nvSpPr>
            <p:spPr>
              <a:xfrm>
                <a:off x="1681885" y="3811105"/>
                <a:ext cx="372" cy="369"/>
              </a:xfrm>
              <a:custGeom>
                <a:avLst/>
                <a:gdLst>
                  <a:gd name="connsiteX0" fmla="*/ 3568 w 3567"/>
                  <a:gd name="connsiteY0" fmla="*/ 3156 h 3540"/>
                  <a:gd name="connsiteX1" fmla="*/ 768 w 3567"/>
                  <a:gd name="connsiteY1" fmla="*/ 3540 h 3540"/>
                  <a:gd name="connsiteX2" fmla="*/ 0 w 3567"/>
                  <a:gd name="connsiteY2" fmla="*/ 1509 h 3540"/>
                  <a:gd name="connsiteX3" fmla="*/ 1674 w 3567"/>
                  <a:gd name="connsiteY3" fmla="*/ 0 h 3540"/>
                  <a:gd name="connsiteX4" fmla="*/ 3568 w 3567"/>
                  <a:gd name="connsiteY4" fmla="*/ 3156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540">
                    <a:moveTo>
                      <a:pt x="3568" y="3156"/>
                    </a:moveTo>
                    <a:lnTo>
                      <a:pt x="768" y="3540"/>
                    </a:lnTo>
                    <a:lnTo>
                      <a:pt x="0" y="1509"/>
                    </a:lnTo>
                    <a:lnTo>
                      <a:pt x="1674" y="0"/>
                    </a:lnTo>
                    <a:lnTo>
                      <a:pt x="3568"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6" name="Freeform: Shape 3925">
                <a:extLst>
                  <a:ext uri="{FF2B5EF4-FFF2-40B4-BE49-F238E27FC236}">
                    <a16:creationId xmlns:a16="http://schemas.microsoft.com/office/drawing/2014/main" id="{B3136B6F-60FC-8267-78AD-82018FB06F98}"/>
                  </a:ext>
                </a:extLst>
              </p:cNvPr>
              <p:cNvSpPr/>
              <p:nvPr/>
            </p:nvSpPr>
            <p:spPr>
              <a:xfrm>
                <a:off x="1682097" y="3811546"/>
                <a:ext cx="352" cy="363"/>
              </a:xfrm>
              <a:custGeom>
                <a:avLst/>
                <a:gdLst>
                  <a:gd name="connsiteX0" fmla="*/ 2415 w 3375"/>
                  <a:gd name="connsiteY0" fmla="*/ 0 h 3484"/>
                  <a:gd name="connsiteX1" fmla="*/ 3375 w 3375"/>
                  <a:gd name="connsiteY1" fmla="*/ 3485 h 3484"/>
                  <a:gd name="connsiteX2" fmla="*/ 330 w 3375"/>
                  <a:gd name="connsiteY2" fmla="*/ 2799 h 3484"/>
                  <a:gd name="connsiteX3" fmla="*/ 0 w 3375"/>
                  <a:gd name="connsiteY3" fmla="*/ 1180 h 3484"/>
                  <a:gd name="connsiteX4" fmla="*/ 2388 w 3375"/>
                  <a:gd name="connsiteY4" fmla="*/ 0 h 3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3484">
                    <a:moveTo>
                      <a:pt x="2415" y="0"/>
                    </a:moveTo>
                    <a:lnTo>
                      <a:pt x="3375" y="3485"/>
                    </a:lnTo>
                    <a:lnTo>
                      <a:pt x="330" y="2799"/>
                    </a:lnTo>
                    <a:lnTo>
                      <a:pt x="0" y="1180"/>
                    </a:lnTo>
                    <a:lnTo>
                      <a:pt x="238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7" name="Freeform: Shape 3926">
                <a:extLst>
                  <a:ext uri="{FF2B5EF4-FFF2-40B4-BE49-F238E27FC236}">
                    <a16:creationId xmlns:a16="http://schemas.microsoft.com/office/drawing/2014/main" id="{08B71172-C46D-417E-D9A4-2B90D7A25FDE}"/>
                  </a:ext>
                </a:extLst>
              </p:cNvPr>
              <p:cNvSpPr/>
              <p:nvPr/>
            </p:nvSpPr>
            <p:spPr>
              <a:xfrm>
                <a:off x="1648233" y="3753140"/>
                <a:ext cx="27433" cy="60097"/>
              </a:xfrm>
              <a:custGeom>
                <a:avLst/>
                <a:gdLst>
                  <a:gd name="connsiteX0" fmla="*/ 173824 w 263013"/>
                  <a:gd name="connsiteY0" fmla="*/ 12020 h 576192"/>
                  <a:gd name="connsiteX1" fmla="*/ 180191 w 263013"/>
                  <a:gd name="connsiteY1" fmla="*/ 31724 h 576192"/>
                  <a:gd name="connsiteX2" fmla="*/ 185268 w 263013"/>
                  <a:gd name="connsiteY2" fmla="*/ 29803 h 576192"/>
                  <a:gd name="connsiteX3" fmla="*/ 190262 w 263013"/>
                  <a:gd name="connsiteY3" fmla="*/ 32081 h 576192"/>
                  <a:gd name="connsiteX4" fmla="*/ 193034 w 263013"/>
                  <a:gd name="connsiteY4" fmla="*/ 61225 h 576192"/>
                  <a:gd name="connsiteX5" fmla="*/ 191196 w 263013"/>
                  <a:gd name="connsiteY5" fmla="*/ 77170 h 576192"/>
                  <a:gd name="connsiteX6" fmla="*/ 188561 w 263013"/>
                  <a:gd name="connsiteY6" fmla="*/ 80216 h 576192"/>
                  <a:gd name="connsiteX7" fmla="*/ 190372 w 263013"/>
                  <a:gd name="connsiteY7" fmla="*/ 86967 h 576192"/>
                  <a:gd name="connsiteX8" fmla="*/ 185158 w 263013"/>
                  <a:gd name="connsiteY8" fmla="*/ 89931 h 576192"/>
                  <a:gd name="connsiteX9" fmla="*/ 181481 w 263013"/>
                  <a:gd name="connsiteY9" fmla="*/ 96242 h 576192"/>
                  <a:gd name="connsiteX10" fmla="*/ 176239 w 263013"/>
                  <a:gd name="connsiteY10" fmla="*/ 96599 h 576192"/>
                  <a:gd name="connsiteX11" fmla="*/ 172342 w 263013"/>
                  <a:gd name="connsiteY11" fmla="*/ 104914 h 576192"/>
                  <a:gd name="connsiteX12" fmla="*/ 165399 w 263013"/>
                  <a:gd name="connsiteY12" fmla="*/ 108702 h 576192"/>
                  <a:gd name="connsiteX13" fmla="*/ 162545 w 263013"/>
                  <a:gd name="connsiteY13" fmla="*/ 114794 h 576192"/>
                  <a:gd name="connsiteX14" fmla="*/ 163643 w 263013"/>
                  <a:gd name="connsiteY14" fmla="*/ 120557 h 576192"/>
                  <a:gd name="connsiteX15" fmla="*/ 158099 w 263013"/>
                  <a:gd name="connsiteY15" fmla="*/ 124866 h 576192"/>
                  <a:gd name="connsiteX16" fmla="*/ 157496 w 263013"/>
                  <a:gd name="connsiteY16" fmla="*/ 131946 h 576192"/>
                  <a:gd name="connsiteX17" fmla="*/ 161173 w 263013"/>
                  <a:gd name="connsiteY17" fmla="*/ 135047 h 576192"/>
                  <a:gd name="connsiteX18" fmla="*/ 162957 w 263013"/>
                  <a:gd name="connsiteY18" fmla="*/ 140673 h 576192"/>
                  <a:gd name="connsiteX19" fmla="*/ 158182 w 263013"/>
                  <a:gd name="connsiteY19" fmla="*/ 150525 h 576192"/>
                  <a:gd name="connsiteX20" fmla="*/ 161502 w 263013"/>
                  <a:gd name="connsiteY20" fmla="*/ 151622 h 576192"/>
                  <a:gd name="connsiteX21" fmla="*/ 176376 w 263013"/>
                  <a:gd name="connsiteY21" fmla="*/ 144734 h 576192"/>
                  <a:gd name="connsiteX22" fmla="*/ 194982 w 263013"/>
                  <a:gd name="connsiteY22" fmla="*/ 144377 h 576192"/>
                  <a:gd name="connsiteX23" fmla="*/ 191250 w 263013"/>
                  <a:gd name="connsiteY23" fmla="*/ 151979 h 576192"/>
                  <a:gd name="connsiteX24" fmla="*/ 195476 w 263013"/>
                  <a:gd name="connsiteY24" fmla="*/ 159581 h 576192"/>
                  <a:gd name="connsiteX25" fmla="*/ 197562 w 263013"/>
                  <a:gd name="connsiteY25" fmla="*/ 173055 h 576192"/>
                  <a:gd name="connsiteX26" fmla="*/ 205960 w 263013"/>
                  <a:gd name="connsiteY26" fmla="*/ 176870 h 576192"/>
                  <a:gd name="connsiteX27" fmla="*/ 212079 w 263013"/>
                  <a:gd name="connsiteY27" fmla="*/ 176760 h 576192"/>
                  <a:gd name="connsiteX28" fmla="*/ 214851 w 263013"/>
                  <a:gd name="connsiteY28" fmla="*/ 181041 h 576192"/>
                  <a:gd name="connsiteX29" fmla="*/ 210296 w 263013"/>
                  <a:gd name="connsiteY29" fmla="*/ 188314 h 576192"/>
                  <a:gd name="connsiteX30" fmla="*/ 210680 w 263013"/>
                  <a:gd name="connsiteY30" fmla="*/ 195229 h 576192"/>
                  <a:gd name="connsiteX31" fmla="*/ 207826 w 263013"/>
                  <a:gd name="connsiteY31" fmla="*/ 200279 h 576192"/>
                  <a:gd name="connsiteX32" fmla="*/ 206756 w 263013"/>
                  <a:gd name="connsiteY32" fmla="*/ 207194 h 576192"/>
                  <a:gd name="connsiteX33" fmla="*/ 227393 w 263013"/>
                  <a:gd name="connsiteY33" fmla="*/ 210625 h 576192"/>
                  <a:gd name="connsiteX34" fmla="*/ 228902 w 263013"/>
                  <a:gd name="connsiteY34" fmla="*/ 219324 h 576192"/>
                  <a:gd name="connsiteX35" fmla="*/ 232936 w 263013"/>
                  <a:gd name="connsiteY35" fmla="*/ 222178 h 576192"/>
                  <a:gd name="connsiteX36" fmla="*/ 233513 w 263013"/>
                  <a:gd name="connsiteY36" fmla="*/ 226075 h 576192"/>
                  <a:gd name="connsiteX37" fmla="*/ 235571 w 263013"/>
                  <a:gd name="connsiteY37" fmla="*/ 227612 h 576192"/>
                  <a:gd name="connsiteX38" fmla="*/ 247289 w 263013"/>
                  <a:gd name="connsiteY38" fmla="*/ 228380 h 576192"/>
                  <a:gd name="connsiteX39" fmla="*/ 260708 w 263013"/>
                  <a:gd name="connsiteY39" fmla="*/ 220230 h 576192"/>
                  <a:gd name="connsiteX40" fmla="*/ 263014 w 263013"/>
                  <a:gd name="connsiteY40" fmla="*/ 225746 h 576192"/>
                  <a:gd name="connsiteX41" fmla="*/ 258540 w 263013"/>
                  <a:gd name="connsiteY41" fmla="*/ 231235 h 576192"/>
                  <a:gd name="connsiteX42" fmla="*/ 250774 w 263013"/>
                  <a:gd name="connsiteY42" fmla="*/ 234500 h 576192"/>
                  <a:gd name="connsiteX43" fmla="*/ 248771 w 263013"/>
                  <a:gd name="connsiteY43" fmla="*/ 240236 h 576192"/>
                  <a:gd name="connsiteX44" fmla="*/ 245038 w 263013"/>
                  <a:gd name="connsiteY44" fmla="*/ 244544 h 576192"/>
                  <a:gd name="connsiteX45" fmla="*/ 244874 w 263013"/>
                  <a:gd name="connsiteY45" fmla="*/ 246383 h 576192"/>
                  <a:gd name="connsiteX46" fmla="*/ 247042 w 263013"/>
                  <a:gd name="connsiteY46" fmla="*/ 247865 h 576192"/>
                  <a:gd name="connsiteX47" fmla="*/ 236915 w 263013"/>
                  <a:gd name="connsiteY47" fmla="*/ 251597 h 576192"/>
                  <a:gd name="connsiteX48" fmla="*/ 231866 w 263013"/>
                  <a:gd name="connsiteY48" fmla="*/ 263919 h 576192"/>
                  <a:gd name="connsiteX49" fmla="*/ 227228 w 263013"/>
                  <a:gd name="connsiteY49" fmla="*/ 261175 h 576192"/>
                  <a:gd name="connsiteX50" fmla="*/ 222618 w 263013"/>
                  <a:gd name="connsiteY50" fmla="*/ 264029 h 576192"/>
                  <a:gd name="connsiteX51" fmla="*/ 214961 w 263013"/>
                  <a:gd name="connsiteY51" fmla="*/ 264111 h 576192"/>
                  <a:gd name="connsiteX52" fmla="*/ 215016 w 263013"/>
                  <a:gd name="connsiteY52" fmla="*/ 270121 h 576192"/>
                  <a:gd name="connsiteX53" fmla="*/ 212518 w 263013"/>
                  <a:gd name="connsiteY53" fmla="*/ 271768 h 576192"/>
                  <a:gd name="connsiteX54" fmla="*/ 202913 w 263013"/>
                  <a:gd name="connsiteY54" fmla="*/ 272344 h 576192"/>
                  <a:gd name="connsiteX55" fmla="*/ 200608 w 263013"/>
                  <a:gd name="connsiteY55" fmla="*/ 279754 h 576192"/>
                  <a:gd name="connsiteX56" fmla="*/ 198770 w 263013"/>
                  <a:gd name="connsiteY56" fmla="*/ 281784 h 576192"/>
                  <a:gd name="connsiteX57" fmla="*/ 180685 w 263013"/>
                  <a:gd name="connsiteY57" fmla="*/ 284693 h 576192"/>
                  <a:gd name="connsiteX58" fmla="*/ 172726 w 263013"/>
                  <a:gd name="connsiteY58" fmla="*/ 281812 h 576192"/>
                  <a:gd name="connsiteX59" fmla="*/ 170366 w 263013"/>
                  <a:gd name="connsiteY59" fmla="*/ 286587 h 576192"/>
                  <a:gd name="connsiteX60" fmla="*/ 165070 w 263013"/>
                  <a:gd name="connsiteY60" fmla="*/ 293064 h 576192"/>
                  <a:gd name="connsiteX61" fmla="*/ 165564 w 263013"/>
                  <a:gd name="connsiteY61" fmla="*/ 302120 h 576192"/>
                  <a:gd name="connsiteX62" fmla="*/ 161694 w 263013"/>
                  <a:gd name="connsiteY62" fmla="*/ 308157 h 576192"/>
                  <a:gd name="connsiteX63" fmla="*/ 162929 w 263013"/>
                  <a:gd name="connsiteY63" fmla="*/ 318448 h 576192"/>
                  <a:gd name="connsiteX64" fmla="*/ 152803 w 263013"/>
                  <a:gd name="connsiteY64" fmla="*/ 321906 h 576192"/>
                  <a:gd name="connsiteX65" fmla="*/ 154970 w 263013"/>
                  <a:gd name="connsiteY65" fmla="*/ 327065 h 576192"/>
                  <a:gd name="connsiteX66" fmla="*/ 159664 w 263013"/>
                  <a:gd name="connsiteY66" fmla="*/ 329590 h 576192"/>
                  <a:gd name="connsiteX67" fmla="*/ 161831 w 263013"/>
                  <a:gd name="connsiteY67" fmla="*/ 341473 h 576192"/>
                  <a:gd name="connsiteX68" fmla="*/ 164603 w 263013"/>
                  <a:gd name="connsiteY68" fmla="*/ 346989 h 576192"/>
                  <a:gd name="connsiteX69" fmla="*/ 185103 w 263013"/>
                  <a:gd name="connsiteY69" fmla="*/ 370041 h 576192"/>
                  <a:gd name="connsiteX70" fmla="*/ 185268 w 263013"/>
                  <a:gd name="connsiteY70" fmla="*/ 377533 h 576192"/>
                  <a:gd name="connsiteX71" fmla="*/ 189878 w 263013"/>
                  <a:gd name="connsiteY71" fmla="*/ 388099 h 576192"/>
                  <a:gd name="connsiteX72" fmla="*/ 195120 w 263013"/>
                  <a:gd name="connsiteY72" fmla="*/ 386809 h 576192"/>
                  <a:gd name="connsiteX73" fmla="*/ 197068 w 263013"/>
                  <a:gd name="connsiteY73" fmla="*/ 387934 h 576192"/>
                  <a:gd name="connsiteX74" fmla="*/ 195202 w 263013"/>
                  <a:gd name="connsiteY74" fmla="*/ 394081 h 576192"/>
                  <a:gd name="connsiteX75" fmla="*/ 190564 w 263013"/>
                  <a:gd name="connsiteY75" fmla="*/ 395755 h 576192"/>
                  <a:gd name="connsiteX76" fmla="*/ 188149 w 263013"/>
                  <a:gd name="connsiteY76" fmla="*/ 398664 h 576192"/>
                  <a:gd name="connsiteX77" fmla="*/ 186777 w 263013"/>
                  <a:gd name="connsiteY77" fmla="*/ 417325 h 576192"/>
                  <a:gd name="connsiteX78" fmla="*/ 177035 w 263013"/>
                  <a:gd name="connsiteY78" fmla="*/ 423637 h 576192"/>
                  <a:gd name="connsiteX79" fmla="*/ 177803 w 263013"/>
                  <a:gd name="connsiteY79" fmla="*/ 432886 h 576192"/>
                  <a:gd name="connsiteX80" fmla="*/ 188177 w 263013"/>
                  <a:gd name="connsiteY80" fmla="*/ 449186 h 576192"/>
                  <a:gd name="connsiteX81" fmla="*/ 198276 w 263013"/>
                  <a:gd name="connsiteY81" fmla="*/ 457035 h 576192"/>
                  <a:gd name="connsiteX82" fmla="*/ 202557 w 263013"/>
                  <a:gd name="connsiteY82" fmla="*/ 463155 h 576192"/>
                  <a:gd name="connsiteX83" fmla="*/ 205740 w 263013"/>
                  <a:gd name="connsiteY83" fmla="*/ 476108 h 576192"/>
                  <a:gd name="connsiteX84" fmla="*/ 203874 w 263013"/>
                  <a:gd name="connsiteY84" fmla="*/ 488430 h 576192"/>
                  <a:gd name="connsiteX85" fmla="*/ 206591 w 263013"/>
                  <a:gd name="connsiteY85" fmla="*/ 495428 h 576192"/>
                  <a:gd name="connsiteX86" fmla="*/ 212162 w 263013"/>
                  <a:gd name="connsiteY86" fmla="*/ 502755 h 576192"/>
                  <a:gd name="connsiteX87" fmla="*/ 214138 w 263013"/>
                  <a:gd name="connsiteY87" fmla="*/ 513677 h 576192"/>
                  <a:gd name="connsiteX88" fmla="*/ 218666 w 263013"/>
                  <a:gd name="connsiteY88" fmla="*/ 525478 h 576192"/>
                  <a:gd name="connsiteX89" fmla="*/ 206701 w 263013"/>
                  <a:gd name="connsiteY89" fmla="*/ 545896 h 576192"/>
                  <a:gd name="connsiteX90" fmla="*/ 194434 w 263013"/>
                  <a:gd name="connsiteY90" fmla="*/ 559068 h 576192"/>
                  <a:gd name="connsiteX91" fmla="*/ 192622 w 263013"/>
                  <a:gd name="connsiteY91" fmla="*/ 568289 h 576192"/>
                  <a:gd name="connsiteX92" fmla="*/ 191332 w 263013"/>
                  <a:gd name="connsiteY92" fmla="*/ 572653 h 576192"/>
                  <a:gd name="connsiteX93" fmla="*/ 186667 w 263013"/>
                  <a:gd name="connsiteY93" fmla="*/ 576193 h 576192"/>
                  <a:gd name="connsiteX94" fmla="*/ 185048 w 263013"/>
                  <a:gd name="connsiteY94" fmla="*/ 561538 h 576192"/>
                  <a:gd name="connsiteX95" fmla="*/ 185625 w 263013"/>
                  <a:gd name="connsiteY95" fmla="*/ 554787 h 576192"/>
                  <a:gd name="connsiteX96" fmla="*/ 190153 w 263013"/>
                  <a:gd name="connsiteY96" fmla="*/ 549875 h 576192"/>
                  <a:gd name="connsiteX97" fmla="*/ 193007 w 263013"/>
                  <a:gd name="connsiteY97" fmla="*/ 530445 h 576192"/>
                  <a:gd name="connsiteX98" fmla="*/ 186091 w 263013"/>
                  <a:gd name="connsiteY98" fmla="*/ 522075 h 576192"/>
                  <a:gd name="connsiteX99" fmla="*/ 189933 w 263013"/>
                  <a:gd name="connsiteY99" fmla="*/ 519166 h 576192"/>
                  <a:gd name="connsiteX100" fmla="*/ 187107 w 263013"/>
                  <a:gd name="connsiteY100" fmla="*/ 512470 h 576192"/>
                  <a:gd name="connsiteX101" fmla="*/ 180740 w 263013"/>
                  <a:gd name="connsiteY101" fmla="*/ 508875 h 576192"/>
                  <a:gd name="connsiteX102" fmla="*/ 178791 w 263013"/>
                  <a:gd name="connsiteY102" fmla="*/ 504539 h 576192"/>
                  <a:gd name="connsiteX103" fmla="*/ 181481 w 263013"/>
                  <a:gd name="connsiteY103" fmla="*/ 501438 h 576192"/>
                  <a:gd name="connsiteX104" fmla="*/ 187847 w 263013"/>
                  <a:gd name="connsiteY104" fmla="*/ 505554 h 576192"/>
                  <a:gd name="connsiteX105" fmla="*/ 189686 w 263013"/>
                  <a:gd name="connsiteY105" fmla="*/ 496251 h 576192"/>
                  <a:gd name="connsiteX106" fmla="*/ 182523 w 263013"/>
                  <a:gd name="connsiteY106" fmla="*/ 475477 h 576192"/>
                  <a:gd name="connsiteX107" fmla="*/ 178791 w 263013"/>
                  <a:gd name="connsiteY107" fmla="*/ 470290 h 576192"/>
                  <a:gd name="connsiteX108" fmla="*/ 174044 w 263013"/>
                  <a:gd name="connsiteY108" fmla="*/ 467189 h 576192"/>
                  <a:gd name="connsiteX109" fmla="*/ 172424 w 263013"/>
                  <a:gd name="connsiteY109" fmla="*/ 453221 h 576192"/>
                  <a:gd name="connsiteX110" fmla="*/ 164878 w 263013"/>
                  <a:gd name="connsiteY110" fmla="*/ 433242 h 576192"/>
                  <a:gd name="connsiteX111" fmla="*/ 163121 w 263013"/>
                  <a:gd name="connsiteY111" fmla="*/ 412523 h 576192"/>
                  <a:gd name="connsiteX112" fmla="*/ 158840 w 263013"/>
                  <a:gd name="connsiteY112" fmla="*/ 394026 h 576192"/>
                  <a:gd name="connsiteX113" fmla="*/ 143362 w 263013"/>
                  <a:gd name="connsiteY113" fmla="*/ 362878 h 576192"/>
                  <a:gd name="connsiteX114" fmla="*/ 138944 w 263013"/>
                  <a:gd name="connsiteY114" fmla="*/ 359421 h 576192"/>
                  <a:gd name="connsiteX115" fmla="*/ 137462 w 263013"/>
                  <a:gd name="connsiteY115" fmla="*/ 368614 h 576192"/>
                  <a:gd name="connsiteX116" fmla="*/ 133044 w 263013"/>
                  <a:gd name="connsiteY116" fmla="*/ 377725 h 576192"/>
                  <a:gd name="connsiteX117" fmla="*/ 127308 w 263013"/>
                  <a:gd name="connsiteY117" fmla="*/ 381842 h 576192"/>
                  <a:gd name="connsiteX118" fmla="*/ 120612 w 263013"/>
                  <a:gd name="connsiteY118" fmla="*/ 382555 h 576192"/>
                  <a:gd name="connsiteX119" fmla="*/ 118060 w 263013"/>
                  <a:gd name="connsiteY119" fmla="*/ 386864 h 576192"/>
                  <a:gd name="connsiteX120" fmla="*/ 106809 w 263013"/>
                  <a:gd name="connsiteY120" fmla="*/ 393614 h 576192"/>
                  <a:gd name="connsiteX121" fmla="*/ 94816 w 263013"/>
                  <a:gd name="connsiteY121" fmla="*/ 405772 h 576192"/>
                  <a:gd name="connsiteX122" fmla="*/ 91138 w 263013"/>
                  <a:gd name="connsiteY122" fmla="*/ 405827 h 576192"/>
                  <a:gd name="connsiteX123" fmla="*/ 84963 w 263013"/>
                  <a:gd name="connsiteY123" fmla="*/ 402726 h 576192"/>
                  <a:gd name="connsiteX124" fmla="*/ 77143 w 263013"/>
                  <a:gd name="connsiteY124" fmla="*/ 404729 h 576192"/>
                  <a:gd name="connsiteX125" fmla="*/ 66742 w 263013"/>
                  <a:gd name="connsiteY125" fmla="*/ 400585 h 576192"/>
                  <a:gd name="connsiteX126" fmla="*/ 65698 w 263013"/>
                  <a:gd name="connsiteY126" fmla="*/ 396716 h 576192"/>
                  <a:gd name="connsiteX127" fmla="*/ 60704 w 263013"/>
                  <a:gd name="connsiteY127" fmla="*/ 397457 h 576192"/>
                  <a:gd name="connsiteX128" fmla="*/ 60183 w 263013"/>
                  <a:gd name="connsiteY128" fmla="*/ 389965 h 576192"/>
                  <a:gd name="connsiteX129" fmla="*/ 68855 w 263013"/>
                  <a:gd name="connsiteY129" fmla="*/ 357774 h 576192"/>
                  <a:gd name="connsiteX130" fmla="*/ 65424 w 263013"/>
                  <a:gd name="connsiteY130" fmla="*/ 332225 h 576192"/>
                  <a:gd name="connsiteX131" fmla="*/ 53761 w 263013"/>
                  <a:gd name="connsiteY131" fmla="*/ 305303 h 576192"/>
                  <a:gd name="connsiteX132" fmla="*/ 52279 w 263013"/>
                  <a:gd name="connsiteY132" fmla="*/ 305084 h 576192"/>
                  <a:gd name="connsiteX133" fmla="*/ 50687 w 263013"/>
                  <a:gd name="connsiteY133" fmla="*/ 308679 h 576192"/>
                  <a:gd name="connsiteX134" fmla="*/ 48684 w 263013"/>
                  <a:gd name="connsiteY134" fmla="*/ 308679 h 576192"/>
                  <a:gd name="connsiteX135" fmla="*/ 43690 w 263013"/>
                  <a:gd name="connsiteY135" fmla="*/ 304672 h 576192"/>
                  <a:gd name="connsiteX136" fmla="*/ 40012 w 263013"/>
                  <a:gd name="connsiteY136" fmla="*/ 298360 h 576192"/>
                  <a:gd name="connsiteX137" fmla="*/ 40067 w 263013"/>
                  <a:gd name="connsiteY137" fmla="*/ 293859 h 576192"/>
                  <a:gd name="connsiteX138" fmla="*/ 44677 w 263013"/>
                  <a:gd name="connsiteY138" fmla="*/ 289167 h 576192"/>
                  <a:gd name="connsiteX139" fmla="*/ 44430 w 263013"/>
                  <a:gd name="connsiteY139" fmla="*/ 286697 h 576192"/>
                  <a:gd name="connsiteX140" fmla="*/ 37295 w 263013"/>
                  <a:gd name="connsiteY140" fmla="*/ 282553 h 576192"/>
                  <a:gd name="connsiteX141" fmla="*/ 32355 w 263013"/>
                  <a:gd name="connsiteY141" fmla="*/ 274759 h 576192"/>
                  <a:gd name="connsiteX142" fmla="*/ 26483 w 263013"/>
                  <a:gd name="connsiteY142" fmla="*/ 275857 h 576192"/>
                  <a:gd name="connsiteX143" fmla="*/ 23766 w 263013"/>
                  <a:gd name="connsiteY143" fmla="*/ 274704 h 576192"/>
                  <a:gd name="connsiteX144" fmla="*/ 6504 w 263013"/>
                  <a:gd name="connsiteY144" fmla="*/ 254149 h 576192"/>
                  <a:gd name="connsiteX145" fmla="*/ 2141 w 263013"/>
                  <a:gd name="connsiteY145" fmla="*/ 243694 h 576192"/>
                  <a:gd name="connsiteX146" fmla="*/ 686 w 263013"/>
                  <a:gd name="connsiteY146" fmla="*/ 240263 h 576192"/>
                  <a:gd name="connsiteX147" fmla="*/ 0 w 263013"/>
                  <a:gd name="connsiteY147" fmla="*/ 238754 h 576192"/>
                  <a:gd name="connsiteX148" fmla="*/ 2141 w 263013"/>
                  <a:gd name="connsiteY148" fmla="*/ 231262 h 576192"/>
                  <a:gd name="connsiteX149" fmla="*/ 4638 w 263013"/>
                  <a:gd name="connsiteY149" fmla="*/ 228847 h 576192"/>
                  <a:gd name="connsiteX150" fmla="*/ 5873 w 263013"/>
                  <a:gd name="connsiteY150" fmla="*/ 229204 h 576192"/>
                  <a:gd name="connsiteX151" fmla="*/ 7273 w 263013"/>
                  <a:gd name="connsiteY151" fmla="*/ 231509 h 576192"/>
                  <a:gd name="connsiteX152" fmla="*/ 10428 w 263013"/>
                  <a:gd name="connsiteY152" fmla="*/ 232195 h 576192"/>
                  <a:gd name="connsiteX153" fmla="*/ 11718 w 263013"/>
                  <a:gd name="connsiteY153" fmla="*/ 235104 h 576192"/>
                  <a:gd name="connsiteX154" fmla="*/ 13475 w 263013"/>
                  <a:gd name="connsiteY154" fmla="*/ 234445 h 576192"/>
                  <a:gd name="connsiteX155" fmla="*/ 11883 w 263013"/>
                  <a:gd name="connsiteY155" fmla="*/ 212848 h 576192"/>
                  <a:gd name="connsiteX156" fmla="*/ 15121 w 263013"/>
                  <a:gd name="connsiteY156" fmla="*/ 208484 h 576192"/>
                  <a:gd name="connsiteX157" fmla="*/ 22366 w 263013"/>
                  <a:gd name="connsiteY157" fmla="*/ 211092 h 576192"/>
                  <a:gd name="connsiteX158" fmla="*/ 28431 w 263013"/>
                  <a:gd name="connsiteY158" fmla="*/ 203462 h 576192"/>
                  <a:gd name="connsiteX159" fmla="*/ 26812 w 263013"/>
                  <a:gd name="connsiteY159" fmla="*/ 187545 h 576192"/>
                  <a:gd name="connsiteX160" fmla="*/ 27910 w 263013"/>
                  <a:gd name="connsiteY160" fmla="*/ 180273 h 576192"/>
                  <a:gd name="connsiteX161" fmla="*/ 32108 w 263013"/>
                  <a:gd name="connsiteY161" fmla="*/ 178873 h 576192"/>
                  <a:gd name="connsiteX162" fmla="*/ 33837 w 263013"/>
                  <a:gd name="connsiteY162" fmla="*/ 175827 h 576192"/>
                  <a:gd name="connsiteX163" fmla="*/ 35896 w 263013"/>
                  <a:gd name="connsiteY163" fmla="*/ 159499 h 576192"/>
                  <a:gd name="connsiteX164" fmla="*/ 34304 w 263013"/>
                  <a:gd name="connsiteY164" fmla="*/ 147451 h 576192"/>
                  <a:gd name="connsiteX165" fmla="*/ 58015 w 263013"/>
                  <a:gd name="connsiteY165" fmla="*/ 150497 h 576192"/>
                  <a:gd name="connsiteX166" fmla="*/ 62021 w 263013"/>
                  <a:gd name="connsiteY166" fmla="*/ 139026 h 576192"/>
                  <a:gd name="connsiteX167" fmla="*/ 73795 w 263013"/>
                  <a:gd name="connsiteY167" fmla="*/ 115782 h 576192"/>
                  <a:gd name="connsiteX168" fmla="*/ 73602 w 263013"/>
                  <a:gd name="connsiteY168" fmla="*/ 112132 h 576192"/>
                  <a:gd name="connsiteX169" fmla="*/ 70748 w 263013"/>
                  <a:gd name="connsiteY169" fmla="*/ 108180 h 576192"/>
                  <a:gd name="connsiteX170" fmla="*/ 71242 w 263013"/>
                  <a:gd name="connsiteY170" fmla="*/ 104530 h 576192"/>
                  <a:gd name="connsiteX171" fmla="*/ 79311 w 263013"/>
                  <a:gd name="connsiteY171" fmla="*/ 96160 h 576192"/>
                  <a:gd name="connsiteX172" fmla="*/ 86473 w 263013"/>
                  <a:gd name="connsiteY172" fmla="*/ 81725 h 576192"/>
                  <a:gd name="connsiteX173" fmla="*/ 84827 w 263013"/>
                  <a:gd name="connsiteY173" fmla="*/ 72093 h 576192"/>
                  <a:gd name="connsiteX174" fmla="*/ 87296 w 263013"/>
                  <a:gd name="connsiteY174" fmla="*/ 63256 h 576192"/>
                  <a:gd name="connsiteX175" fmla="*/ 95145 w 263013"/>
                  <a:gd name="connsiteY175" fmla="*/ 59551 h 576192"/>
                  <a:gd name="connsiteX176" fmla="*/ 115206 w 263013"/>
                  <a:gd name="connsiteY176" fmla="*/ 43003 h 576192"/>
                  <a:gd name="connsiteX177" fmla="*/ 132715 w 263013"/>
                  <a:gd name="connsiteY177" fmla="*/ 38749 h 576192"/>
                  <a:gd name="connsiteX178" fmla="*/ 138972 w 263013"/>
                  <a:gd name="connsiteY178" fmla="*/ 44650 h 576192"/>
                  <a:gd name="connsiteX179" fmla="*/ 143692 w 263013"/>
                  <a:gd name="connsiteY179" fmla="*/ 45665 h 576192"/>
                  <a:gd name="connsiteX180" fmla="*/ 138505 w 263013"/>
                  <a:gd name="connsiteY180" fmla="*/ 32877 h 576192"/>
                  <a:gd name="connsiteX181" fmla="*/ 138972 w 263013"/>
                  <a:gd name="connsiteY181" fmla="*/ 29584 h 576192"/>
                  <a:gd name="connsiteX182" fmla="*/ 142786 w 263013"/>
                  <a:gd name="connsiteY182" fmla="*/ 25577 h 576192"/>
                  <a:gd name="connsiteX183" fmla="*/ 152089 w 263013"/>
                  <a:gd name="connsiteY183" fmla="*/ 19951 h 576192"/>
                  <a:gd name="connsiteX184" fmla="*/ 151293 w 263013"/>
                  <a:gd name="connsiteY184" fmla="*/ 10126 h 576192"/>
                  <a:gd name="connsiteX185" fmla="*/ 155300 w 263013"/>
                  <a:gd name="connsiteY185" fmla="*/ 6641 h 576192"/>
                  <a:gd name="connsiteX186" fmla="*/ 157111 w 263013"/>
                  <a:gd name="connsiteY186" fmla="*/ 521 h 576192"/>
                  <a:gd name="connsiteX187" fmla="*/ 160706 w 263013"/>
                  <a:gd name="connsiteY187" fmla="*/ 0 h 576192"/>
                  <a:gd name="connsiteX188" fmla="*/ 163834 w 263013"/>
                  <a:gd name="connsiteY188" fmla="*/ 4446 h 576192"/>
                  <a:gd name="connsiteX189" fmla="*/ 168857 w 263013"/>
                  <a:gd name="connsiteY189" fmla="*/ 6339 h 576192"/>
                  <a:gd name="connsiteX190" fmla="*/ 173797 w 263013"/>
                  <a:gd name="connsiteY190" fmla="*/ 11938 h 57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263013" h="576192">
                    <a:moveTo>
                      <a:pt x="173824" y="12020"/>
                    </a:moveTo>
                    <a:lnTo>
                      <a:pt x="180191" y="31724"/>
                    </a:lnTo>
                    <a:lnTo>
                      <a:pt x="185268" y="29803"/>
                    </a:lnTo>
                    <a:lnTo>
                      <a:pt x="190262" y="32081"/>
                    </a:lnTo>
                    <a:lnTo>
                      <a:pt x="193034" y="61225"/>
                    </a:lnTo>
                    <a:lnTo>
                      <a:pt x="191196" y="77170"/>
                    </a:lnTo>
                    <a:lnTo>
                      <a:pt x="188561" y="80216"/>
                    </a:lnTo>
                    <a:lnTo>
                      <a:pt x="190372" y="86967"/>
                    </a:lnTo>
                    <a:lnTo>
                      <a:pt x="185158" y="89931"/>
                    </a:lnTo>
                    <a:lnTo>
                      <a:pt x="181481" y="96242"/>
                    </a:lnTo>
                    <a:lnTo>
                      <a:pt x="176239" y="96599"/>
                    </a:lnTo>
                    <a:lnTo>
                      <a:pt x="172342" y="104914"/>
                    </a:lnTo>
                    <a:lnTo>
                      <a:pt x="165399" y="108702"/>
                    </a:lnTo>
                    <a:lnTo>
                      <a:pt x="162545" y="114794"/>
                    </a:lnTo>
                    <a:lnTo>
                      <a:pt x="163643" y="120557"/>
                    </a:lnTo>
                    <a:lnTo>
                      <a:pt x="158099" y="124866"/>
                    </a:lnTo>
                    <a:lnTo>
                      <a:pt x="157496" y="131946"/>
                    </a:lnTo>
                    <a:lnTo>
                      <a:pt x="161173" y="135047"/>
                    </a:lnTo>
                    <a:lnTo>
                      <a:pt x="162957" y="140673"/>
                    </a:lnTo>
                    <a:lnTo>
                      <a:pt x="158182" y="150525"/>
                    </a:lnTo>
                    <a:lnTo>
                      <a:pt x="161502" y="151622"/>
                    </a:lnTo>
                    <a:lnTo>
                      <a:pt x="176376" y="144734"/>
                    </a:lnTo>
                    <a:lnTo>
                      <a:pt x="194982" y="144377"/>
                    </a:lnTo>
                    <a:lnTo>
                      <a:pt x="191250" y="151979"/>
                    </a:lnTo>
                    <a:lnTo>
                      <a:pt x="195476" y="159581"/>
                    </a:lnTo>
                    <a:lnTo>
                      <a:pt x="197562" y="173055"/>
                    </a:lnTo>
                    <a:lnTo>
                      <a:pt x="205960" y="176870"/>
                    </a:lnTo>
                    <a:lnTo>
                      <a:pt x="212079" y="176760"/>
                    </a:lnTo>
                    <a:lnTo>
                      <a:pt x="214851" y="181041"/>
                    </a:lnTo>
                    <a:lnTo>
                      <a:pt x="210296" y="188314"/>
                    </a:lnTo>
                    <a:lnTo>
                      <a:pt x="210680" y="195229"/>
                    </a:lnTo>
                    <a:lnTo>
                      <a:pt x="207826" y="200279"/>
                    </a:lnTo>
                    <a:lnTo>
                      <a:pt x="206756" y="207194"/>
                    </a:lnTo>
                    <a:lnTo>
                      <a:pt x="227393" y="210625"/>
                    </a:lnTo>
                    <a:lnTo>
                      <a:pt x="228902" y="219324"/>
                    </a:lnTo>
                    <a:lnTo>
                      <a:pt x="232936" y="222178"/>
                    </a:lnTo>
                    <a:lnTo>
                      <a:pt x="233513" y="226075"/>
                    </a:lnTo>
                    <a:lnTo>
                      <a:pt x="235571" y="227612"/>
                    </a:lnTo>
                    <a:lnTo>
                      <a:pt x="247289" y="228380"/>
                    </a:lnTo>
                    <a:lnTo>
                      <a:pt x="260708" y="220230"/>
                    </a:lnTo>
                    <a:lnTo>
                      <a:pt x="263014" y="225746"/>
                    </a:lnTo>
                    <a:lnTo>
                      <a:pt x="258540" y="231235"/>
                    </a:lnTo>
                    <a:lnTo>
                      <a:pt x="250774" y="234500"/>
                    </a:lnTo>
                    <a:lnTo>
                      <a:pt x="248771" y="240236"/>
                    </a:lnTo>
                    <a:lnTo>
                      <a:pt x="245038" y="244544"/>
                    </a:lnTo>
                    <a:lnTo>
                      <a:pt x="244874" y="246383"/>
                    </a:lnTo>
                    <a:lnTo>
                      <a:pt x="247042" y="247865"/>
                    </a:lnTo>
                    <a:lnTo>
                      <a:pt x="236915" y="251597"/>
                    </a:lnTo>
                    <a:lnTo>
                      <a:pt x="231866" y="263919"/>
                    </a:lnTo>
                    <a:lnTo>
                      <a:pt x="227228" y="261175"/>
                    </a:lnTo>
                    <a:lnTo>
                      <a:pt x="222618" y="264029"/>
                    </a:lnTo>
                    <a:lnTo>
                      <a:pt x="214961" y="264111"/>
                    </a:lnTo>
                    <a:lnTo>
                      <a:pt x="215016" y="270121"/>
                    </a:lnTo>
                    <a:lnTo>
                      <a:pt x="212518" y="271768"/>
                    </a:lnTo>
                    <a:lnTo>
                      <a:pt x="202913" y="272344"/>
                    </a:lnTo>
                    <a:lnTo>
                      <a:pt x="200608" y="279754"/>
                    </a:lnTo>
                    <a:lnTo>
                      <a:pt x="198770" y="281784"/>
                    </a:lnTo>
                    <a:lnTo>
                      <a:pt x="180685" y="284693"/>
                    </a:lnTo>
                    <a:lnTo>
                      <a:pt x="172726" y="281812"/>
                    </a:lnTo>
                    <a:lnTo>
                      <a:pt x="170366" y="286587"/>
                    </a:lnTo>
                    <a:lnTo>
                      <a:pt x="165070" y="293064"/>
                    </a:lnTo>
                    <a:lnTo>
                      <a:pt x="165564" y="302120"/>
                    </a:lnTo>
                    <a:lnTo>
                      <a:pt x="161694" y="308157"/>
                    </a:lnTo>
                    <a:lnTo>
                      <a:pt x="162929" y="318448"/>
                    </a:lnTo>
                    <a:lnTo>
                      <a:pt x="152803" y="321906"/>
                    </a:lnTo>
                    <a:lnTo>
                      <a:pt x="154970" y="327065"/>
                    </a:lnTo>
                    <a:lnTo>
                      <a:pt x="159664" y="329590"/>
                    </a:lnTo>
                    <a:lnTo>
                      <a:pt x="161831" y="341473"/>
                    </a:lnTo>
                    <a:lnTo>
                      <a:pt x="164603" y="346989"/>
                    </a:lnTo>
                    <a:lnTo>
                      <a:pt x="185103" y="370041"/>
                    </a:lnTo>
                    <a:lnTo>
                      <a:pt x="185268" y="377533"/>
                    </a:lnTo>
                    <a:lnTo>
                      <a:pt x="189878" y="388099"/>
                    </a:lnTo>
                    <a:lnTo>
                      <a:pt x="195120" y="386809"/>
                    </a:lnTo>
                    <a:lnTo>
                      <a:pt x="197068" y="387934"/>
                    </a:lnTo>
                    <a:lnTo>
                      <a:pt x="195202" y="394081"/>
                    </a:lnTo>
                    <a:lnTo>
                      <a:pt x="190564" y="395755"/>
                    </a:lnTo>
                    <a:lnTo>
                      <a:pt x="188149" y="398664"/>
                    </a:lnTo>
                    <a:lnTo>
                      <a:pt x="186777" y="417325"/>
                    </a:lnTo>
                    <a:lnTo>
                      <a:pt x="177035" y="423637"/>
                    </a:lnTo>
                    <a:lnTo>
                      <a:pt x="177803" y="432886"/>
                    </a:lnTo>
                    <a:lnTo>
                      <a:pt x="188177" y="449186"/>
                    </a:lnTo>
                    <a:lnTo>
                      <a:pt x="198276" y="457035"/>
                    </a:lnTo>
                    <a:lnTo>
                      <a:pt x="202557" y="463155"/>
                    </a:lnTo>
                    <a:lnTo>
                      <a:pt x="205740" y="476108"/>
                    </a:lnTo>
                    <a:lnTo>
                      <a:pt x="203874" y="488430"/>
                    </a:lnTo>
                    <a:lnTo>
                      <a:pt x="206591" y="495428"/>
                    </a:lnTo>
                    <a:lnTo>
                      <a:pt x="212162" y="502755"/>
                    </a:lnTo>
                    <a:lnTo>
                      <a:pt x="214138" y="513677"/>
                    </a:lnTo>
                    <a:lnTo>
                      <a:pt x="218666" y="525478"/>
                    </a:lnTo>
                    <a:lnTo>
                      <a:pt x="206701" y="545896"/>
                    </a:lnTo>
                    <a:lnTo>
                      <a:pt x="194434" y="559068"/>
                    </a:lnTo>
                    <a:lnTo>
                      <a:pt x="192622" y="568289"/>
                    </a:lnTo>
                    <a:lnTo>
                      <a:pt x="191332" y="572653"/>
                    </a:lnTo>
                    <a:lnTo>
                      <a:pt x="186667" y="576193"/>
                    </a:lnTo>
                    <a:lnTo>
                      <a:pt x="185048" y="561538"/>
                    </a:lnTo>
                    <a:lnTo>
                      <a:pt x="185625" y="554787"/>
                    </a:lnTo>
                    <a:lnTo>
                      <a:pt x="190153" y="549875"/>
                    </a:lnTo>
                    <a:lnTo>
                      <a:pt x="193007" y="530445"/>
                    </a:lnTo>
                    <a:lnTo>
                      <a:pt x="186091" y="522075"/>
                    </a:lnTo>
                    <a:lnTo>
                      <a:pt x="189933" y="519166"/>
                    </a:lnTo>
                    <a:lnTo>
                      <a:pt x="187107" y="512470"/>
                    </a:lnTo>
                    <a:lnTo>
                      <a:pt x="180740" y="508875"/>
                    </a:lnTo>
                    <a:lnTo>
                      <a:pt x="178791" y="504539"/>
                    </a:lnTo>
                    <a:lnTo>
                      <a:pt x="181481" y="501438"/>
                    </a:lnTo>
                    <a:lnTo>
                      <a:pt x="187847" y="505554"/>
                    </a:lnTo>
                    <a:lnTo>
                      <a:pt x="189686" y="496251"/>
                    </a:lnTo>
                    <a:lnTo>
                      <a:pt x="182523" y="475477"/>
                    </a:lnTo>
                    <a:lnTo>
                      <a:pt x="178791" y="470290"/>
                    </a:lnTo>
                    <a:lnTo>
                      <a:pt x="174044" y="467189"/>
                    </a:lnTo>
                    <a:lnTo>
                      <a:pt x="172424" y="453221"/>
                    </a:lnTo>
                    <a:lnTo>
                      <a:pt x="164878" y="433242"/>
                    </a:lnTo>
                    <a:lnTo>
                      <a:pt x="163121" y="412523"/>
                    </a:lnTo>
                    <a:lnTo>
                      <a:pt x="158840" y="394026"/>
                    </a:lnTo>
                    <a:lnTo>
                      <a:pt x="143362" y="362878"/>
                    </a:lnTo>
                    <a:lnTo>
                      <a:pt x="138944" y="359421"/>
                    </a:lnTo>
                    <a:lnTo>
                      <a:pt x="137462" y="368614"/>
                    </a:lnTo>
                    <a:lnTo>
                      <a:pt x="133044" y="377725"/>
                    </a:lnTo>
                    <a:lnTo>
                      <a:pt x="127308" y="381842"/>
                    </a:lnTo>
                    <a:lnTo>
                      <a:pt x="120612" y="382555"/>
                    </a:lnTo>
                    <a:lnTo>
                      <a:pt x="118060" y="386864"/>
                    </a:lnTo>
                    <a:lnTo>
                      <a:pt x="106809" y="393614"/>
                    </a:lnTo>
                    <a:lnTo>
                      <a:pt x="94816" y="405772"/>
                    </a:lnTo>
                    <a:lnTo>
                      <a:pt x="91138" y="405827"/>
                    </a:lnTo>
                    <a:lnTo>
                      <a:pt x="84963" y="402726"/>
                    </a:lnTo>
                    <a:lnTo>
                      <a:pt x="77143" y="404729"/>
                    </a:lnTo>
                    <a:lnTo>
                      <a:pt x="66742" y="400585"/>
                    </a:lnTo>
                    <a:lnTo>
                      <a:pt x="65698" y="396716"/>
                    </a:lnTo>
                    <a:lnTo>
                      <a:pt x="60704" y="397457"/>
                    </a:lnTo>
                    <a:lnTo>
                      <a:pt x="60183" y="389965"/>
                    </a:lnTo>
                    <a:lnTo>
                      <a:pt x="68855" y="357774"/>
                    </a:lnTo>
                    <a:lnTo>
                      <a:pt x="65424" y="332225"/>
                    </a:lnTo>
                    <a:lnTo>
                      <a:pt x="53761" y="305303"/>
                    </a:lnTo>
                    <a:lnTo>
                      <a:pt x="52279" y="305084"/>
                    </a:lnTo>
                    <a:lnTo>
                      <a:pt x="50687" y="308679"/>
                    </a:lnTo>
                    <a:lnTo>
                      <a:pt x="48684" y="308679"/>
                    </a:lnTo>
                    <a:cubicBezTo>
                      <a:pt x="48684" y="308679"/>
                      <a:pt x="43690" y="304672"/>
                      <a:pt x="43690" y="304672"/>
                    </a:cubicBezTo>
                    <a:lnTo>
                      <a:pt x="40012" y="298360"/>
                    </a:lnTo>
                    <a:lnTo>
                      <a:pt x="40067" y="293859"/>
                    </a:lnTo>
                    <a:lnTo>
                      <a:pt x="44677" y="289167"/>
                    </a:lnTo>
                    <a:lnTo>
                      <a:pt x="44430" y="286697"/>
                    </a:lnTo>
                    <a:lnTo>
                      <a:pt x="37295" y="282553"/>
                    </a:lnTo>
                    <a:lnTo>
                      <a:pt x="32355" y="274759"/>
                    </a:lnTo>
                    <a:lnTo>
                      <a:pt x="26483" y="275857"/>
                    </a:lnTo>
                    <a:lnTo>
                      <a:pt x="23766" y="274704"/>
                    </a:lnTo>
                    <a:lnTo>
                      <a:pt x="6504" y="254149"/>
                    </a:lnTo>
                    <a:lnTo>
                      <a:pt x="2141" y="243694"/>
                    </a:lnTo>
                    <a:lnTo>
                      <a:pt x="686" y="240263"/>
                    </a:lnTo>
                    <a:lnTo>
                      <a:pt x="0" y="238754"/>
                    </a:lnTo>
                    <a:lnTo>
                      <a:pt x="2141" y="231262"/>
                    </a:lnTo>
                    <a:lnTo>
                      <a:pt x="4638" y="228847"/>
                    </a:lnTo>
                    <a:lnTo>
                      <a:pt x="5873" y="229204"/>
                    </a:lnTo>
                    <a:lnTo>
                      <a:pt x="7273" y="231509"/>
                    </a:lnTo>
                    <a:lnTo>
                      <a:pt x="10428" y="232195"/>
                    </a:lnTo>
                    <a:lnTo>
                      <a:pt x="11718" y="235104"/>
                    </a:lnTo>
                    <a:lnTo>
                      <a:pt x="13475" y="234445"/>
                    </a:lnTo>
                    <a:lnTo>
                      <a:pt x="11883" y="212848"/>
                    </a:lnTo>
                    <a:lnTo>
                      <a:pt x="15121" y="208484"/>
                    </a:lnTo>
                    <a:lnTo>
                      <a:pt x="22366" y="211092"/>
                    </a:lnTo>
                    <a:lnTo>
                      <a:pt x="28431" y="203462"/>
                    </a:lnTo>
                    <a:lnTo>
                      <a:pt x="26812" y="187545"/>
                    </a:lnTo>
                    <a:lnTo>
                      <a:pt x="27910" y="180273"/>
                    </a:lnTo>
                    <a:lnTo>
                      <a:pt x="32108" y="178873"/>
                    </a:lnTo>
                    <a:lnTo>
                      <a:pt x="33837" y="175827"/>
                    </a:lnTo>
                    <a:lnTo>
                      <a:pt x="35896" y="159499"/>
                    </a:lnTo>
                    <a:lnTo>
                      <a:pt x="34304" y="147451"/>
                    </a:lnTo>
                    <a:lnTo>
                      <a:pt x="58015" y="150497"/>
                    </a:lnTo>
                    <a:lnTo>
                      <a:pt x="62021" y="139026"/>
                    </a:lnTo>
                    <a:lnTo>
                      <a:pt x="73795" y="115782"/>
                    </a:lnTo>
                    <a:lnTo>
                      <a:pt x="73602" y="112132"/>
                    </a:lnTo>
                    <a:lnTo>
                      <a:pt x="70748" y="108180"/>
                    </a:lnTo>
                    <a:lnTo>
                      <a:pt x="71242" y="104530"/>
                    </a:lnTo>
                    <a:lnTo>
                      <a:pt x="79311" y="96160"/>
                    </a:lnTo>
                    <a:lnTo>
                      <a:pt x="86473" y="81725"/>
                    </a:lnTo>
                    <a:lnTo>
                      <a:pt x="84827" y="72093"/>
                    </a:lnTo>
                    <a:lnTo>
                      <a:pt x="87296" y="63256"/>
                    </a:lnTo>
                    <a:lnTo>
                      <a:pt x="95145" y="59551"/>
                    </a:lnTo>
                    <a:lnTo>
                      <a:pt x="115206" y="43003"/>
                    </a:lnTo>
                    <a:lnTo>
                      <a:pt x="132715" y="38749"/>
                    </a:lnTo>
                    <a:lnTo>
                      <a:pt x="138972" y="44650"/>
                    </a:lnTo>
                    <a:lnTo>
                      <a:pt x="143692" y="45665"/>
                    </a:lnTo>
                    <a:lnTo>
                      <a:pt x="138505" y="32877"/>
                    </a:lnTo>
                    <a:lnTo>
                      <a:pt x="138972" y="29584"/>
                    </a:lnTo>
                    <a:lnTo>
                      <a:pt x="142786" y="25577"/>
                    </a:lnTo>
                    <a:lnTo>
                      <a:pt x="152089" y="19951"/>
                    </a:lnTo>
                    <a:lnTo>
                      <a:pt x="151293" y="10126"/>
                    </a:lnTo>
                    <a:lnTo>
                      <a:pt x="155300" y="6641"/>
                    </a:lnTo>
                    <a:lnTo>
                      <a:pt x="157111" y="521"/>
                    </a:lnTo>
                    <a:lnTo>
                      <a:pt x="160706" y="0"/>
                    </a:lnTo>
                    <a:lnTo>
                      <a:pt x="163834" y="4446"/>
                    </a:lnTo>
                    <a:lnTo>
                      <a:pt x="168857" y="6339"/>
                    </a:lnTo>
                    <a:lnTo>
                      <a:pt x="173797" y="119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8" name="Freeform: Shape 3927">
                <a:extLst>
                  <a:ext uri="{FF2B5EF4-FFF2-40B4-BE49-F238E27FC236}">
                    <a16:creationId xmlns:a16="http://schemas.microsoft.com/office/drawing/2014/main" id="{AEDEDC76-42E2-FE57-C872-887BAA2E1AD7}"/>
                  </a:ext>
                </a:extLst>
              </p:cNvPr>
              <p:cNvSpPr/>
              <p:nvPr/>
            </p:nvSpPr>
            <p:spPr>
              <a:xfrm>
                <a:off x="1652169" y="3785358"/>
                <a:ext cx="819" cy="781"/>
              </a:xfrm>
              <a:custGeom>
                <a:avLst/>
                <a:gdLst>
                  <a:gd name="connsiteX0" fmla="*/ 6888 w 7848"/>
                  <a:gd name="connsiteY0" fmla="*/ 7300 h 7492"/>
                  <a:gd name="connsiteX1" fmla="*/ 5297 w 7848"/>
                  <a:gd name="connsiteY1" fmla="*/ 7492 h 7492"/>
                  <a:gd name="connsiteX2" fmla="*/ 1839 w 7848"/>
                  <a:gd name="connsiteY2" fmla="*/ 4528 h 7492"/>
                  <a:gd name="connsiteX3" fmla="*/ 0 w 7848"/>
                  <a:gd name="connsiteY3" fmla="*/ 1455 h 7492"/>
                  <a:gd name="connsiteX4" fmla="*/ 3897 w 7848"/>
                  <a:gd name="connsiteY4" fmla="*/ 0 h 7492"/>
                  <a:gd name="connsiteX5" fmla="*/ 4967 w 7848"/>
                  <a:gd name="connsiteY5" fmla="*/ 1235 h 7492"/>
                  <a:gd name="connsiteX6" fmla="*/ 7519 w 7848"/>
                  <a:gd name="connsiteY6" fmla="*/ 1290 h 7492"/>
                  <a:gd name="connsiteX7" fmla="*/ 7849 w 7848"/>
                  <a:gd name="connsiteY7" fmla="*/ 5105 h 7492"/>
                  <a:gd name="connsiteX8" fmla="*/ 6916 w 7848"/>
                  <a:gd name="connsiteY8" fmla="*/ 7300 h 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8" h="7492">
                    <a:moveTo>
                      <a:pt x="6888" y="7300"/>
                    </a:moveTo>
                    <a:lnTo>
                      <a:pt x="5297" y="7492"/>
                    </a:lnTo>
                    <a:lnTo>
                      <a:pt x="1839" y="4528"/>
                    </a:lnTo>
                    <a:lnTo>
                      <a:pt x="0" y="1455"/>
                    </a:lnTo>
                    <a:lnTo>
                      <a:pt x="3897" y="0"/>
                    </a:lnTo>
                    <a:lnTo>
                      <a:pt x="4967" y="1235"/>
                    </a:lnTo>
                    <a:lnTo>
                      <a:pt x="7519" y="1290"/>
                    </a:lnTo>
                    <a:lnTo>
                      <a:pt x="7849" y="5105"/>
                    </a:lnTo>
                    <a:lnTo>
                      <a:pt x="6916" y="73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9" name="Freeform: Shape 3928">
                <a:extLst>
                  <a:ext uri="{FF2B5EF4-FFF2-40B4-BE49-F238E27FC236}">
                    <a16:creationId xmlns:a16="http://schemas.microsoft.com/office/drawing/2014/main" id="{D8286E38-42B8-D2D3-4F79-829988C09049}"/>
                  </a:ext>
                </a:extLst>
              </p:cNvPr>
              <p:cNvSpPr/>
              <p:nvPr/>
            </p:nvSpPr>
            <p:spPr>
              <a:xfrm>
                <a:off x="1665874" y="3806076"/>
                <a:ext cx="612" cy="767"/>
              </a:xfrm>
              <a:custGeom>
                <a:avLst/>
                <a:gdLst>
                  <a:gd name="connsiteX0" fmla="*/ 5845 w 5872"/>
                  <a:gd name="connsiteY0" fmla="*/ 7355 h 7354"/>
                  <a:gd name="connsiteX1" fmla="*/ 3540 w 5872"/>
                  <a:gd name="connsiteY1" fmla="*/ 7355 h 7354"/>
                  <a:gd name="connsiteX2" fmla="*/ 2772 w 5872"/>
                  <a:gd name="connsiteY2" fmla="*/ 4254 h 7354"/>
                  <a:gd name="connsiteX3" fmla="*/ 0 w 5872"/>
                  <a:gd name="connsiteY3" fmla="*/ 2909 h 7354"/>
                  <a:gd name="connsiteX4" fmla="*/ 3952 w 5872"/>
                  <a:gd name="connsiteY4" fmla="*/ 0 h 7354"/>
                  <a:gd name="connsiteX5" fmla="*/ 5571 w 5872"/>
                  <a:gd name="connsiteY5" fmla="*/ 1372 h 7354"/>
                  <a:gd name="connsiteX6" fmla="*/ 4418 w 5872"/>
                  <a:gd name="connsiteY6" fmla="*/ 2964 h 7354"/>
                  <a:gd name="connsiteX7" fmla="*/ 5873 w 5872"/>
                  <a:gd name="connsiteY7" fmla="*/ 7355 h 7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2" h="7354">
                    <a:moveTo>
                      <a:pt x="5845" y="7355"/>
                    </a:moveTo>
                    <a:lnTo>
                      <a:pt x="3540" y="7355"/>
                    </a:lnTo>
                    <a:lnTo>
                      <a:pt x="2772" y="4254"/>
                    </a:lnTo>
                    <a:lnTo>
                      <a:pt x="0" y="2909"/>
                    </a:lnTo>
                    <a:lnTo>
                      <a:pt x="3952" y="0"/>
                    </a:lnTo>
                    <a:lnTo>
                      <a:pt x="5571" y="1372"/>
                    </a:lnTo>
                    <a:lnTo>
                      <a:pt x="4418" y="2964"/>
                    </a:lnTo>
                    <a:lnTo>
                      <a:pt x="5873" y="73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0" name="Freeform: Shape 3929">
                <a:extLst>
                  <a:ext uri="{FF2B5EF4-FFF2-40B4-BE49-F238E27FC236}">
                    <a16:creationId xmlns:a16="http://schemas.microsoft.com/office/drawing/2014/main" id="{B50AC0D5-E6C3-74FA-3F5D-7070D174971E}"/>
                  </a:ext>
                </a:extLst>
              </p:cNvPr>
              <p:cNvSpPr/>
              <p:nvPr/>
            </p:nvSpPr>
            <p:spPr>
              <a:xfrm>
                <a:off x="1667167" y="3807985"/>
                <a:ext cx="535" cy="750"/>
              </a:xfrm>
              <a:custGeom>
                <a:avLst/>
                <a:gdLst>
                  <a:gd name="connsiteX0" fmla="*/ 3348 w 5131"/>
                  <a:gd name="connsiteY0" fmla="*/ 7135 h 7190"/>
                  <a:gd name="connsiteX1" fmla="*/ 1729 w 5131"/>
                  <a:gd name="connsiteY1" fmla="*/ 7190 h 7190"/>
                  <a:gd name="connsiteX2" fmla="*/ 384 w 5131"/>
                  <a:gd name="connsiteY2" fmla="*/ 4528 h 7190"/>
                  <a:gd name="connsiteX3" fmla="*/ 0 w 5131"/>
                  <a:gd name="connsiteY3" fmla="*/ 2058 h 7190"/>
                  <a:gd name="connsiteX4" fmla="*/ 1317 w 5131"/>
                  <a:gd name="connsiteY4" fmla="*/ 604 h 7190"/>
                  <a:gd name="connsiteX5" fmla="*/ 4445 w 5131"/>
                  <a:gd name="connsiteY5" fmla="*/ 0 h 7190"/>
                  <a:gd name="connsiteX6" fmla="*/ 5022 w 5131"/>
                  <a:gd name="connsiteY6" fmla="*/ 933 h 7190"/>
                  <a:gd name="connsiteX7" fmla="*/ 5131 w 5131"/>
                  <a:gd name="connsiteY7" fmla="*/ 5708 h 7190"/>
                  <a:gd name="connsiteX8" fmla="*/ 3320 w 5131"/>
                  <a:gd name="connsiteY8" fmla="*/ 7135 h 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1" h="7190">
                    <a:moveTo>
                      <a:pt x="3348" y="7135"/>
                    </a:moveTo>
                    <a:lnTo>
                      <a:pt x="1729" y="7190"/>
                    </a:lnTo>
                    <a:lnTo>
                      <a:pt x="384" y="4528"/>
                    </a:lnTo>
                    <a:lnTo>
                      <a:pt x="0" y="2058"/>
                    </a:lnTo>
                    <a:lnTo>
                      <a:pt x="1317" y="604"/>
                    </a:lnTo>
                    <a:lnTo>
                      <a:pt x="4445" y="0"/>
                    </a:lnTo>
                    <a:lnTo>
                      <a:pt x="5022" y="933"/>
                    </a:lnTo>
                    <a:lnTo>
                      <a:pt x="5131" y="5708"/>
                    </a:lnTo>
                    <a:lnTo>
                      <a:pt x="3320" y="71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1" name="Freeform: Shape 3930">
                <a:extLst>
                  <a:ext uri="{FF2B5EF4-FFF2-40B4-BE49-F238E27FC236}">
                    <a16:creationId xmlns:a16="http://schemas.microsoft.com/office/drawing/2014/main" id="{5C51AE61-73D9-78D2-D8BA-6C4C460D0365}"/>
                  </a:ext>
                </a:extLst>
              </p:cNvPr>
              <p:cNvSpPr/>
              <p:nvPr/>
            </p:nvSpPr>
            <p:spPr>
              <a:xfrm>
                <a:off x="1666601" y="3808154"/>
                <a:ext cx="389" cy="925"/>
              </a:xfrm>
              <a:custGeom>
                <a:avLst/>
                <a:gdLst>
                  <a:gd name="connsiteX0" fmla="*/ 3732 w 3731"/>
                  <a:gd name="connsiteY0" fmla="*/ 275 h 8864"/>
                  <a:gd name="connsiteX1" fmla="*/ 1921 w 3731"/>
                  <a:gd name="connsiteY1" fmla="*/ 8864 h 8864"/>
                  <a:gd name="connsiteX2" fmla="*/ 0 w 3731"/>
                  <a:gd name="connsiteY2" fmla="*/ 6641 h 8864"/>
                  <a:gd name="connsiteX3" fmla="*/ 2195 w 3731"/>
                  <a:gd name="connsiteY3" fmla="*/ 0 h 8864"/>
                  <a:gd name="connsiteX4" fmla="*/ 3732 w 3731"/>
                  <a:gd name="connsiteY4" fmla="*/ 275 h 8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1" h="8864">
                    <a:moveTo>
                      <a:pt x="3732" y="275"/>
                    </a:moveTo>
                    <a:lnTo>
                      <a:pt x="1921" y="8864"/>
                    </a:lnTo>
                    <a:lnTo>
                      <a:pt x="0" y="6641"/>
                    </a:lnTo>
                    <a:lnTo>
                      <a:pt x="2195" y="0"/>
                    </a:lnTo>
                    <a:lnTo>
                      <a:pt x="3732" y="2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2" name="Freeform: Shape 3931">
                <a:extLst>
                  <a:ext uri="{FF2B5EF4-FFF2-40B4-BE49-F238E27FC236}">
                    <a16:creationId xmlns:a16="http://schemas.microsoft.com/office/drawing/2014/main" id="{F0511208-E967-055A-8B04-54E0A045DB36}"/>
                  </a:ext>
                </a:extLst>
              </p:cNvPr>
              <p:cNvSpPr/>
              <p:nvPr/>
            </p:nvSpPr>
            <p:spPr>
              <a:xfrm>
                <a:off x="1666417" y="3813409"/>
                <a:ext cx="532" cy="452"/>
              </a:xfrm>
              <a:custGeom>
                <a:avLst/>
                <a:gdLst>
                  <a:gd name="connsiteX0" fmla="*/ 3815 w 5104"/>
                  <a:gd name="connsiteY0" fmla="*/ 3678 h 4336"/>
                  <a:gd name="connsiteX1" fmla="*/ 0 w 5104"/>
                  <a:gd name="connsiteY1" fmla="*/ 4336 h 4336"/>
                  <a:gd name="connsiteX2" fmla="*/ 2141 w 5104"/>
                  <a:gd name="connsiteY2" fmla="*/ 0 h 4336"/>
                  <a:gd name="connsiteX3" fmla="*/ 5105 w 5104"/>
                  <a:gd name="connsiteY3" fmla="*/ 1015 h 4336"/>
                  <a:gd name="connsiteX4" fmla="*/ 3815 w 5104"/>
                  <a:gd name="connsiteY4" fmla="*/ 3678 h 4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4" h="4336">
                    <a:moveTo>
                      <a:pt x="3815" y="3678"/>
                    </a:moveTo>
                    <a:lnTo>
                      <a:pt x="0" y="4336"/>
                    </a:lnTo>
                    <a:lnTo>
                      <a:pt x="2141" y="0"/>
                    </a:lnTo>
                    <a:lnTo>
                      <a:pt x="5105" y="1015"/>
                    </a:lnTo>
                    <a:lnTo>
                      <a:pt x="3815" y="36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3" name="Freeform: Shape 3932">
                <a:extLst>
                  <a:ext uri="{FF2B5EF4-FFF2-40B4-BE49-F238E27FC236}">
                    <a16:creationId xmlns:a16="http://schemas.microsoft.com/office/drawing/2014/main" id="{0F890A8F-56E3-6C5B-CBC1-CB0D3A5CCED0}"/>
                  </a:ext>
                </a:extLst>
              </p:cNvPr>
              <p:cNvSpPr/>
              <p:nvPr/>
            </p:nvSpPr>
            <p:spPr>
              <a:xfrm>
                <a:off x="1666629" y="3809462"/>
                <a:ext cx="361" cy="464"/>
              </a:xfrm>
              <a:custGeom>
                <a:avLst/>
                <a:gdLst>
                  <a:gd name="connsiteX0" fmla="*/ 3458 w 3457"/>
                  <a:gd name="connsiteY0" fmla="*/ 3183 h 4445"/>
                  <a:gd name="connsiteX1" fmla="*/ 1619 w 3457"/>
                  <a:gd name="connsiteY1" fmla="*/ 4446 h 4445"/>
                  <a:gd name="connsiteX2" fmla="*/ 0 w 3457"/>
                  <a:gd name="connsiteY2" fmla="*/ 1400 h 4445"/>
                  <a:gd name="connsiteX3" fmla="*/ 961 w 3457"/>
                  <a:gd name="connsiteY3" fmla="*/ 0 h 4445"/>
                  <a:gd name="connsiteX4" fmla="*/ 3458 w 3457"/>
                  <a:gd name="connsiteY4" fmla="*/ 3156 h 4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4445">
                    <a:moveTo>
                      <a:pt x="3458" y="3183"/>
                    </a:moveTo>
                    <a:lnTo>
                      <a:pt x="1619" y="4446"/>
                    </a:lnTo>
                    <a:lnTo>
                      <a:pt x="0" y="1400"/>
                    </a:lnTo>
                    <a:lnTo>
                      <a:pt x="961" y="0"/>
                    </a:lnTo>
                    <a:lnTo>
                      <a:pt x="3458"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4" name="Freeform: Shape 3933">
                <a:extLst>
                  <a:ext uri="{FF2B5EF4-FFF2-40B4-BE49-F238E27FC236}">
                    <a16:creationId xmlns:a16="http://schemas.microsoft.com/office/drawing/2014/main" id="{648259A0-49BC-1CF8-B853-EE6DCD40DF42}"/>
                  </a:ext>
                </a:extLst>
              </p:cNvPr>
              <p:cNvSpPr/>
              <p:nvPr/>
            </p:nvSpPr>
            <p:spPr>
              <a:xfrm>
                <a:off x="1666414" y="3810501"/>
                <a:ext cx="406" cy="404"/>
              </a:xfrm>
              <a:custGeom>
                <a:avLst/>
                <a:gdLst>
                  <a:gd name="connsiteX0" fmla="*/ 3897 w 3896"/>
                  <a:gd name="connsiteY0" fmla="*/ 3869 h 3869"/>
                  <a:gd name="connsiteX1" fmla="*/ 1262 w 3896"/>
                  <a:gd name="connsiteY1" fmla="*/ 3869 h 3869"/>
                  <a:gd name="connsiteX2" fmla="*/ 0 w 3896"/>
                  <a:gd name="connsiteY2" fmla="*/ 1509 h 3869"/>
                  <a:gd name="connsiteX3" fmla="*/ 933 w 3896"/>
                  <a:gd name="connsiteY3" fmla="*/ 0 h 3869"/>
                  <a:gd name="connsiteX4" fmla="*/ 3897 w 3896"/>
                  <a:gd name="connsiteY4" fmla="*/ 3869 h 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6" h="3869">
                    <a:moveTo>
                      <a:pt x="3897" y="3869"/>
                    </a:moveTo>
                    <a:lnTo>
                      <a:pt x="1262" y="3869"/>
                    </a:lnTo>
                    <a:lnTo>
                      <a:pt x="0" y="1509"/>
                    </a:lnTo>
                    <a:lnTo>
                      <a:pt x="933" y="0"/>
                    </a:lnTo>
                    <a:lnTo>
                      <a:pt x="3897" y="38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5" name="Freeform: Shape 3934">
                <a:extLst>
                  <a:ext uri="{FF2B5EF4-FFF2-40B4-BE49-F238E27FC236}">
                    <a16:creationId xmlns:a16="http://schemas.microsoft.com/office/drawing/2014/main" id="{C1E4D5E9-01EE-4CC0-B709-0EBC59A2219E}"/>
                  </a:ext>
                </a:extLst>
              </p:cNvPr>
              <p:cNvSpPr/>
              <p:nvPr/>
            </p:nvSpPr>
            <p:spPr>
              <a:xfrm>
                <a:off x="1665610" y="3812124"/>
                <a:ext cx="392" cy="415"/>
              </a:xfrm>
              <a:custGeom>
                <a:avLst/>
                <a:gdLst>
                  <a:gd name="connsiteX0" fmla="*/ 3760 w 3760"/>
                  <a:gd name="connsiteY0" fmla="*/ 1455 h 3979"/>
                  <a:gd name="connsiteX1" fmla="*/ 2909 w 3760"/>
                  <a:gd name="connsiteY1" fmla="*/ 3979 h 3979"/>
                  <a:gd name="connsiteX2" fmla="*/ 0 w 3760"/>
                  <a:gd name="connsiteY2" fmla="*/ 577 h 3979"/>
                  <a:gd name="connsiteX3" fmla="*/ 2086 w 3760"/>
                  <a:gd name="connsiteY3" fmla="*/ 0 h 3979"/>
                  <a:gd name="connsiteX4" fmla="*/ 3760 w 3760"/>
                  <a:gd name="connsiteY4" fmla="*/ 1455 h 3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 h="3979">
                    <a:moveTo>
                      <a:pt x="3760" y="1455"/>
                    </a:moveTo>
                    <a:lnTo>
                      <a:pt x="2909" y="3979"/>
                    </a:lnTo>
                    <a:lnTo>
                      <a:pt x="0" y="577"/>
                    </a:lnTo>
                    <a:lnTo>
                      <a:pt x="2086" y="0"/>
                    </a:lnTo>
                    <a:lnTo>
                      <a:pt x="3760" y="14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6" name="Freeform: Shape 3935">
                <a:extLst>
                  <a:ext uri="{FF2B5EF4-FFF2-40B4-BE49-F238E27FC236}">
                    <a16:creationId xmlns:a16="http://schemas.microsoft.com/office/drawing/2014/main" id="{90C425F7-7D93-28DA-7584-CAEE8C087B1E}"/>
                  </a:ext>
                </a:extLst>
              </p:cNvPr>
              <p:cNvSpPr/>
              <p:nvPr/>
            </p:nvSpPr>
            <p:spPr>
              <a:xfrm>
                <a:off x="1666389" y="3812968"/>
                <a:ext cx="424" cy="361"/>
              </a:xfrm>
              <a:custGeom>
                <a:avLst/>
                <a:gdLst>
                  <a:gd name="connsiteX0" fmla="*/ 4062 w 4061"/>
                  <a:gd name="connsiteY0" fmla="*/ 1482 h 3457"/>
                  <a:gd name="connsiteX1" fmla="*/ 2112 w 4061"/>
                  <a:gd name="connsiteY1" fmla="*/ 3458 h 3457"/>
                  <a:gd name="connsiteX2" fmla="*/ 0 w 4061"/>
                  <a:gd name="connsiteY2" fmla="*/ 2058 h 3457"/>
                  <a:gd name="connsiteX3" fmla="*/ 2085 w 4061"/>
                  <a:gd name="connsiteY3" fmla="*/ 0 h 3457"/>
                  <a:gd name="connsiteX4" fmla="*/ 4062 w 4061"/>
                  <a:gd name="connsiteY4" fmla="*/ 1482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3457">
                    <a:moveTo>
                      <a:pt x="4062" y="1482"/>
                    </a:moveTo>
                    <a:lnTo>
                      <a:pt x="2112" y="3458"/>
                    </a:lnTo>
                    <a:lnTo>
                      <a:pt x="0" y="2058"/>
                    </a:lnTo>
                    <a:lnTo>
                      <a:pt x="2085" y="0"/>
                    </a:lnTo>
                    <a:lnTo>
                      <a:pt x="4062"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7" name="Freeform: Shape 3936">
                <a:extLst>
                  <a:ext uri="{FF2B5EF4-FFF2-40B4-BE49-F238E27FC236}">
                    <a16:creationId xmlns:a16="http://schemas.microsoft.com/office/drawing/2014/main" id="{5B8AFD32-3B79-72AD-3CFA-CFB010EF9D4F}"/>
                  </a:ext>
                </a:extLst>
              </p:cNvPr>
              <p:cNvSpPr/>
              <p:nvPr/>
            </p:nvSpPr>
            <p:spPr>
              <a:xfrm>
                <a:off x="1665934" y="3813990"/>
                <a:ext cx="409" cy="375"/>
              </a:xfrm>
              <a:custGeom>
                <a:avLst/>
                <a:gdLst>
                  <a:gd name="connsiteX0" fmla="*/ 3924 w 3924"/>
                  <a:gd name="connsiteY0" fmla="*/ 2854 h 3595"/>
                  <a:gd name="connsiteX1" fmla="*/ 906 w 3924"/>
                  <a:gd name="connsiteY1" fmla="*/ 3595 h 3595"/>
                  <a:gd name="connsiteX2" fmla="*/ 0 w 3924"/>
                  <a:gd name="connsiteY2" fmla="*/ 1509 h 3595"/>
                  <a:gd name="connsiteX3" fmla="*/ 1015 w 3924"/>
                  <a:gd name="connsiteY3" fmla="*/ 0 h 3595"/>
                  <a:gd name="connsiteX4" fmla="*/ 3924 w 3924"/>
                  <a:gd name="connsiteY4" fmla="*/ 2854 h 3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3595">
                    <a:moveTo>
                      <a:pt x="3924" y="2854"/>
                    </a:moveTo>
                    <a:lnTo>
                      <a:pt x="906" y="3595"/>
                    </a:lnTo>
                    <a:lnTo>
                      <a:pt x="0" y="1509"/>
                    </a:lnTo>
                    <a:lnTo>
                      <a:pt x="1015" y="0"/>
                    </a:lnTo>
                    <a:lnTo>
                      <a:pt x="3924"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8" name="Freeform: Shape 3937">
                <a:extLst>
                  <a:ext uri="{FF2B5EF4-FFF2-40B4-BE49-F238E27FC236}">
                    <a16:creationId xmlns:a16="http://schemas.microsoft.com/office/drawing/2014/main" id="{E64D9422-AAC5-974E-0AF2-54F41C235606}"/>
                  </a:ext>
                </a:extLst>
              </p:cNvPr>
              <p:cNvSpPr/>
              <p:nvPr/>
            </p:nvSpPr>
            <p:spPr>
              <a:xfrm>
                <a:off x="1664812" y="3807584"/>
                <a:ext cx="352" cy="429"/>
              </a:xfrm>
              <a:custGeom>
                <a:avLst/>
                <a:gdLst>
                  <a:gd name="connsiteX0" fmla="*/ 3348 w 3375"/>
                  <a:gd name="connsiteY0" fmla="*/ 960 h 4116"/>
                  <a:gd name="connsiteX1" fmla="*/ 2497 w 3375"/>
                  <a:gd name="connsiteY1" fmla="*/ 4116 h 4116"/>
                  <a:gd name="connsiteX2" fmla="*/ 0 w 3375"/>
                  <a:gd name="connsiteY2" fmla="*/ 1674 h 4116"/>
                  <a:gd name="connsiteX3" fmla="*/ 1811 w 3375"/>
                  <a:gd name="connsiteY3" fmla="*/ 0 h 4116"/>
                  <a:gd name="connsiteX4" fmla="*/ 3375 w 3375"/>
                  <a:gd name="connsiteY4" fmla="*/ 933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4116">
                    <a:moveTo>
                      <a:pt x="3348" y="960"/>
                    </a:moveTo>
                    <a:lnTo>
                      <a:pt x="2497" y="4116"/>
                    </a:lnTo>
                    <a:lnTo>
                      <a:pt x="0" y="1674"/>
                    </a:lnTo>
                    <a:lnTo>
                      <a:pt x="1811" y="0"/>
                    </a:lnTo>
                    <a:lnTo>
                      <a:pt x="3375" y="9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9" name="Freeform: Shape 3938">
                <a:extLst>
                  <a:ext uri="{FF2B5EF4-FFF2-40B4-BE49-F238E27FC236}">
                    <a16:creationId xmlns:a16="http://schemas.microsoft.com/office/drawing/2014/main" id="{194490DE-6108-45F6-3815-BC6A4CDD54E4}"/>
                  </a:ext>
                </a:extLst>
              </p:cNvPr>
              <p:cNvSpPr/>
              <p:nvPr/>
            </p:nvSpPr>
            <p:spPr>
              <a:xfrm>
                <a:off x="1666403" y="3811946"/>
                <a:ext cx="346" cy="386"/>
              </a:xfrm>
              <a:custGeom>
                <a:avLst/>
                <a:gdLst>
                  <a:gd name="connsiteX0" fmla="*/ 3294 w 3320"/>
                  <a:gd name="connsiteY0" fmla="*/ 2772 h 3705"/>
                  <a:gd name="connsiteX1" fmla="*/ 55 w 3320"/>
                  <a:gd name="connsiteY1" fmla="*/ 3705 h 3705"/>
                  <a:gd name="connsiteX2" fmla="*/ 0 w 3320"/>
                  <a:gd name="connsiteY2" fmla="*/ 2031 h 3705"/>
                  <a:gd name="connsiteX3" fmla="*/ 2827 w 3320"/>
                  <a:gd name="connsiteY3" fmla="*/ 0 h 3705"/>
                  <a:gd name="connsiteX4" fmla="*/ 3320 w 3320"/>
                  <a:gd name="connsiteY4" fmla="*/ 2772 h 3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0" h="3705">
                    <a:moveTo>
                      <a:pt x="3294" y="2772"/>
                    </a:moveTo>
                    <a:lnTo>
                      <a:pt x="55" y="3705"/>
                    </a:lnTo>
                    <a:lnTo>
                      <a:pt x="0" y="2031"/>
                    </a:lnTo>
                    <a:lnTo>
                      <a:pt x="2827" y="0"/>
                    </a:lnTo>
                    <a:lnTo>
                      <a:pt x="332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0" name="Freeform: Shape 3939">
                <a:extLst>
                  <a:ext uri="{FF2B5EF4-FFF2-40B4-BE49-F238E27FC236}">
                    <a16:creationId xmlns:a16="http://schemas.microsoft.com/office/drawing/2014/main" id="{BD94ECC7-A0E3-0608-6338-0C49CEDBAC77}"/>
                  </a:ext>
                </a:extLst>
              </p:cNvPr>
              <p:cNvSpPr/>
              <p:nvPr/>
            </p:nvSpPr>
            <p:spPr>
              <a:xfrm>
                <a:off x="1666718" y="3803760"/>
                <a:ext cx="303" cy="412"/>
              </a:xfrm>
              <a:custGeom>
                <a:avLst/>
                <a:gdLst>
                  <a:gd name="connsiteX0" fmla="*/ 2744 w 2909"/>
                  <a:gd name="connsiteY0" fmla="*/ 3019 h 3951"/>
                  <a:gd name="connsiteX1" fmla="*/ 1372 w 2909"/>
                  <a:gd name="connsiteY1" fmla="*/ 3952 h 3951"/>
                  <a:gd name="connsiteX2" fmla="*/ 0 w 2909"/>
                  <a:gd name="connsiteY2" fmla="*/ 0 h 3951"/>
                  <a:gd name="connsiteX3" fmla="*/ 2909 w 2909"/>
                  <a:gd name="connsiteY3" fmla="*/ 384 h 3951"/>
                  <a:gd name="connsiteX4" fmla="*/ 2744 w 2909"/>
                  <a:gd name="connsiteY4" fmla="*/ 3019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9" h="3951">
                    <a:moveTo>
                      <a:pt x="2744" y="3019"/>
                    </a:moveTo>
                    <a:lnTo>
                      <a:pt x="1372" y="3952"/>
                    </a:lnTo>
                    <a:lnTo>
                      <a:pt x="0" y="0"/>
                    </a:lnTo>
                    <a:lnTo>
                      <a:pt x="2909" y="384"/>
                    </a:lnTo>
                    <a:lnTo>
                      <a:pt x="2744"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1" name="Freeform: Shape 3940">
                <a:extLst>
                  <a:ext uri="{FF2B5EF4-FFF2-40B4-BE49-F238E27FC236}">
                    <a16:creationId xmlns:a16="http://schemas.microsoft.com/office/drawing/2014/main" id="{A7E1D5AA-09EC-8402-18C4-08FF355957AA}"/>
                  </a:ext>
                </a:extLst>
              </p:cNvPr>
              <p:cNvSpPr/>
              <p:nvPr/>
            </p:nvSpPr>
            <p:spPr>
              <a:xfrm>
                <a:off x="1666715" y="3810990"/>
                <a:ext cx="269" cy="438"/>
              </a:xfrm>
              <a:custGeom>
                <a:avLst/>
                <a:gdLst>
                  <a:gd name="connsiteX0" fmla="*/ 2579 w 2579"/>
                  <a:gd name="connsiteY0" fmla="*/ 3595 h 4198"/>
                  <a:gd name="connsiteX1" fmla="*/ 0 w 2579"/>
                  <a:gd name="connsiteY1" fmla="*/ 4199 h 4198"/>
                  <a:gd name="connsiteX2" fmla="*/ 576 w 2579"/>
                  <a:gd name="connsiteY2" fmla="*/ 0 h 4198"/>
                  <a:gd name="connsiteX3" fmla="*/ 1976 w 2579"/>
                  <a:gd name="connsiteY3" fmla="*/ 604 h 4198"/>
                  <a:gd name="connsiteX4" fmla="*/ 2579 w 2579"/>
                  <a:gd name="connsiteY4" fmla="*/ 3622 h 4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9" h="4198">
                    <a:moveTo>
                      <a:pt x="2579" y="3595"/>
                    </a:moveTo>
                    <a:lnTo>
                      <a:pt x="0" y="4199"/>
                    </a:lnTo>
                    <a:lnTo>
                      <a:pt x="576" y="0"/>
                    </a:lnTo>
                    <a:lnTo>
                      <a:pt x="1976" y="604"/>
                    </a:lnTo>
                    <a:lnTo>
                      <a:pt x="2579" y="36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2" name="Freeform: Shape 3941">
                <a:extLst>
                  <a:ext uri="{FF2B5EF4-FFF2-40B4-BE49-F238E27FC236}">
                    <a16:creationId xmlns:a16="http://schemas.microsoft.com/office/drawing/2014/main" id="{97E9E0AD-F4AA-253E-E36B-B5F889D6629F}"/>
                  </a:ext>
                </a:extLst>
              </p:cNvPr>
              <p:cNvSpPr/>
              <p:nvPr/>
            </p:nvSpPr>
            <p:spPr>
              <a:xfrm>
                <a:off x="1665593" y="3810635"/>
                <a:ext cx="389" cy="292"/>
              </a:xfrm>
              <a:custGeom>
                <a:avLst/>
                <a:gdLst>
                  <a:gd name="connsiteX0" fmla="*/ 3018 w 3731"/>
                  <a:gd name="connsiteY0" fmla="*/ 2772 h 2799"/>
                  <a:gd name="connsiteX1" fmla="*/ 0 w 3731"/>
                  <a:gd name="connsiteY1" fmla="*/ 2772 h 2799"/>
                  <a:gd name="connsiteX2" fmla="*/ 714 w 3731"/>
                  <a:gd name="connsiteY2" fmla="*/ 933 h 2799"/>
                  <a:gd name="connsiteX3" fmla="*/ 2332 w 3731"/>
                  <a:gd name="connsiteY3" fmla="*/ 0 h 2799"/>
                  <a:gd name="connsiteX4" fmla="*/ 3732 w 3731"/>
                  <a:gd name="connsiteY4" fmla="*/ 604 h 2799"/>
                  <a:gd name="connsiteX5" fmla="*/ 3018 w 3731"/>
                  <a:gd name="connsiteY5" fmla="*/ 2799 h 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1" h="2799">
                    <a:moveTo>
                      <a:pt x="3018" y="2772"/>
                    </a:moveTo>
                    <a:lnTo>
                      <a:pt x="0" y="2772"/>
                    </a:lnTo>
                    <a:lnTo>
                      <a:pt x="714" y="933"/>
                    </a:lnTo>
                    <a:lnTo>
                      <a:pt x="2332" y="0"/>
                    </a:lnTo>
                    <a:lnTo>
                      <a:pt x="3732" y="604"/>
                    </a:lnTo>
                    <a:lnTo>
                      <a:pt x="3018" y="27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3" name="Freeform: Shape 3942">
                <a:extLst>
                  <a:ext uri="{FF2B5EF4-FFF2-40B4-BE49-F238E27FC236}">
                    <a16:creationId xmlns:a16="http://schemas.microsoft.com/office/drawing/2014/main" id="{35C84825-127E-23AD-A45D-F5851A65BA19}"/>
                  </a:ext>
                </a:extLst>
              </p:cNvPr>
              <p:cNvSpPr/>
              <p:nvPr/>
            </p:nvSpPr>
            <p:spPr>
              <a:xfrm>
                <a:off x="1667339" y="3810441"/>
                <a:ext cx="395" cy="269"/>
              </a:xfrm>
              <a:custGeom>
                <a:avLst/>
                <a:gdLst>
                  <a:gd name="connsiteX0" fmla="*/ 3458 w 3787"/>
                  <a:gd name="connsiteY0" fmla="*/ 2278 h 2579"/>
                  <a:gd name="connsiteX1" fmla="*/ 2223 w 3787"/>
                  <a:gd name="connsiteY1" fmla="*/ 2580 h 2579"/>
                  <a:gd name="connsiteX2" fmla="*/ 0 w 3787"/>
                  <a:gd name="connsiteY2" fmla="*/ 1125 h 2579"/>
                  <a:gd name="connsiteX3" fmla="*/ 686 w 3787"/>
                  <a:gd name="connsiteY3" fmla="*/ 0 h 2579"/>
                  <a:gd name="connsiteX4" fmla="*/ 3787 w 3787"/>
                  <a:gd name="connsiteY4" fmla="*/ 55 h 2579"/>
                  <a:gd name="connsiteX5" fmla="*/ 3430 w 3787"/>
                  <a:gd name="connsiteY5" fmla="*/ 2278 h 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7" h="2579">
                    <a:moveTo>
                      <a:pt x="3458" y="2278"/>
                    </a:moveTo>
                    <a:lnTo>
                      <a:pt x="2223" y="2580"/>
                    </a:lnTo>
                    <a:lnTo>
                      <a:pt x="0" y="1125"/>
                    </a:lnTo>
                    <a:lnTo>
                      <a:pt x="686" y="0"/>
                    </a:lnTo>
                    <a:lnTo>
                      <a:pt x="3787" y="55"/>
                    </a:lnTo>
                    <a:lnTo>
                      <a:pt x="3430" y="22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4" name="Freeform: Shape 3943">
                <a:extLst>
                  <a:ext uri="{FF2B5EF4-FFF2-40B4-BE49-F238E27FC236}">
                    <a16:creationId xmlns:a16="http://schemas.microsoft.com/office/drawing/2014/main" id="{E09AF47E-F6ED-CF35-A3A7-FDBC2D8FF1DA}"/>
                  </a:ext>
                </a:extLst>
              </p:cNvPr>
              <p:cNvSpPr/>
              <p:nvPr/>
            </p:nvSpPr>
            <p:spPr>
              <a:xfrm>
                <a:off x="1665848" y="3806805"/>
                <a:ext cx="252" cy="429"/>
              </a:xfrm>
              <a:custGeom>
                <a:avLst/>
                <a:gdLst>
                  <a:gd name="connsiteX0" fmla="*/ 1948 w 2415"/>
                  <a:gd name="connsiteY0" fmla="*/ 27 h 4116"/>
                  <a:gd name="connsiteX1" fmla="*/ 2415 w 2415"/>
                  <a:gd name="connsiteY1" fmla="*/ 4116 h 4116"/>
                  <a:gd name="connsiteX2" fmla="*/ 521 w 2415"/>
                  <a:gd name="connsiteY2" fmla="*/ 3842 h 4116"/>
                  <a:gd name="connsiteX3" fmla="*/ 0 w 2415"/>
                  <a:gd name="connsiteY3" fmla="*/ 2305 h 4116"/>
                  <a:gd name="connsiteX4" fmla="*/ 466 w 2415"/>
                  <a:gd name="connsiteY4" fmla="*/ 521 h 4116"/>
                  <a:gd name="connsiteX5" fmla="*/ 1976 w 2415"/>
                  <a:gd name="connsiteY5" fmla="*/ 0 h 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5" h="4116">
                    <a:moveTo>
                      <a:pt x="1948" y="27"/>
                    </a:moveTo>
                    <a:lnTo>
                      <a:pt x="2415" y="4116"/>
                    </a:lnTo>
                    <a:lnTo>
                      <a:pt x="521" y="3842"/>
                    </a:lnTo>
                    <a:lnTo>
                      <a:pt x="0" y="2305"/>
                    </a:lnTo>
                    <a:lnTo>
                      <a:pt x="466" y="521"/>
                    </a:lnTo>
                    <a:lnTo>
                      <a:pt x="197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5" name="Freeform: Shape 3944">
                <a:extLst>
                  <a:ext uri="{FF2B5EF4-FFF2-40B4-BE49-F238E27FC236}">
                    <a16:creationId xmlns:a16="http://schemas.microsoft.com/office/drawing/2014/main" id="{2821982C-9D8F-E6F5-986C-04A36CDDA2F9}"/>
                  </a:ext>
                </a:extLst>
              </p:cNvPr>
              <p:cNvSpPr/>
              <p:nvPr/>
            </p:nvSpPr>
            <p:spPr>
              <a:xfrm>
                <a:off x="1667256" y="3807109"/>
                <a:ext cx="358" cy="306"/>
              </a:xfrm>
              <a:custGeom>
                <a:avLst/>
                <a:gdLst>
                  <a:gd name="connsiteX0" fmla="*/ 3403 w 3430"/>
                  <a:gd name="connsiteY0" fmla="*/ 1893 h 2936"/>
                  <a:gd name="connsiteX1" fmla="*/ 1016 w 3430"/>
                  <a:gd name="connsiteY1" fmla="*/ 2936 h 2936"/>
                  <a:gd name="connsiteX2" fmla="*/ 0 w 3430"/>
                  <a:gd name="connsiteY2" fmla="*/ 1674 h 2936"/>
                  <a:gd name="connsiteX3" fmla="*/ 440 w 3430"/>
                  <a:gd name="connsiteY3" fmla="*/ 0 h 2936"/>
                  <a:gd name="connsiteX4" fmla="*/ 3129 w 3430"/>
                  <a:gd name="connsiteY4" fmla="*/ 192 h 2936"/>
                  <a:gd name="connsiteX5" fmla="*/ 3430 w 3430"/>
                  <a:gd name="connsiteY5" fmla="*/ 1893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30" h="2936">
                    <a:moveTo>
                      <a:pt x="3403" y="1893"/>
                    </a:moveTo>
                    <a:lnTo>
                      <a:pt x="1016" y="2936"/>
                    </a:lnTo>
                    <a:lnTo>
                      <a:pt x="0" y="1674"/>
                    </a:lnTo>
                    <a:lnTo>
                      <a:pt x="440" y="0"/>
                    </a:lnTo>
                    <a:lnTo>
                      <a:pt x="3129" y="192"/>
                    </a:lnTo>
                    <a:lnTo>
                      <a:pt x="3430" y="1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7" name="Freeform: Shape 3946">
                <a:extLst>
                  <a:ext uri="{FF2B5EF4-FFF2-40B4-BE49-F238E27FC236}">
                    <a16:creationId xmlns:a16="http://schemas.microsoft.com/office/drawing/2014/main" id="{E209A9B7-DCAB-A2AA-B1AC-FAC8C38FFADF}"/>
                  </a:ext>
                </a:extLst>
              </p:cNvPr>
              <p:cNvSpPr/>
              <p:nvPr/>
            </p:nvSpPr>
            <p:spPr>
              <a:xfrm>
                <a:off x="1713669" y="3774550"/>
                <a:ext cx="57" cy="69"/>
              </a:xfrm>
              <a:custGeom>
                <a:avLst/>
                <a:gdLst>
                  <a:gd name="connsiteX0" fmla="*/ 0 w 548"/>
                  <a:gd name="connsiteY0" fmla="*/ 55 h 658"/>
                  <a:gd name="connsiteX1" fmla="*/ 494 w 548"/>
                  <a:gd name="connsiteY1" fmla="*/ 0 h 658"/>
                  <a:gd name="connsiteX2" fmla="*/ 549 w 548"/>
                  <a:gd name="connsiteY2" fmla="*/ 659 h 658"/>
                  <a:gd name="connsiteX3" fmla="*/ 165 w 548"/>
                  <a:gd name="connsiteY3" fmla="*/ 576 h 658"/>
                  <a:gd name="connsiteX4" fmla="*/ 0 w 548"/>
                  <a:gd name="connsiteY4" fmla="*/ 27 h 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 h="658">
                    <a:moveTo>
                      <a:pt x="0" y="55"/>
                    </a:moveTo>
                    <a:lnTo>
                      <a:pt x="494" y="0"/>
                    </a:lnTo>
                    <a:lnTo>
                      <a:pt x="549" y="659"/>
                    </a:lnTo>
                    <a:lnTo>
                      <a:pt x="165" y="576"/>
                    </a:lnTo>
                    <a:lnTo>
                      <a:pt x="0"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8" name="Freeform: Shape 3947">
                <a:extLst>
                  <a:ext uri="{FF2B5EF4-FFF2-40B4-BE49-F238E27FC236}">
                    <a16:creationId xmlns:a16="http://schemas.microsoft.com/office/drawing/2014/main" id="{332BC8F4-9ED3-DA2D-1A40-7AE683ED6E67}"/>
                  </a:ext>
                </a:extLst>
              </p:cNvPr>
              <p:cNvSpPr/>
              <p:nvPr/>
            </p:nvSpPr>
            <p:spPr>
              <a:xfrm>
                <a:off x="1313051" y="3757301"/>
                <a:ext cx="37519" cy="41392"/>
              </a:xfrm>
              <a:custGeom>
                <a:avLst/>
                <a:gdLst>
                  <a:gd name="connsiteX0" fmla="*/ 359695 w 359722"/>
                  <a:gd name="connsiteY0" fmla="*/ 75880 h 396852"/>
                  <a:gd name="connsiteX1" fmla="*/ 311094 w 359722"/>
                  <a:gd name="connsiteY1" fmla="*/ 76676 h 396852"/>
                  <a:gd name="connsiteX2" fmla="*/ 309310 w 359722"/>
                  <a:gd name="connsiteY2" fmla="*/ 78048 h 396852"/>
                  <a:gd name="connsiteX3" fmla="*/ 336670 w 359722"/>
                  <a:gd name="connsiteY3" fmla="*/ 339634 h 396852"/>
                  <a:gd name="connsiteX4" fmla="*/ 344491 w 359722"/>
                  <a:gd name="connsiteY4" fmla="*/ 350117 h 396852"/>
                  <a:gd name="connsiteX5" fmla="*/ 339881 w 359722"/>
                  <a:gd name="connsiteY5" fmla="*/ 372072 h 396852"/>
                  <a:gd name="connsiteX6" fmla="*/ 335682 w 359722"/>
                  <a:gd name="connsiteY6" fmla="*/ 373993 h 396852"/>
                  <a:gd name="connsiteX7" fmla="*/ 231070 w 359722"/>
                  <a:gd name="connsiteY7" fmla="*/ 374075 h 396852"/>
                  <a:gd name="connsiteX8" fmla="*/ 229012 w 359722"/>
                  <a:gd name="connsiteY8" fmla="*/ 373471 h 396852"/>
                  <a:gd name="connsiteX9" fmla="*/ 226843 w 359722"/>
                  <a:gd name="connsiteY9" fmla="*/ 369492 h 396852"/>
                  <a:gd name="connsiteX10" fmla="*/ 223687 w 359722"/>
                  <a:gd name="connsiteY10" fmla="*/ 375694 h 396852"/>
                  <a:gd name="connsiteX11" fmla="*/ 214576 w 359722"/>
                  <a:gd name="connsiteY11" fmla="*/ 377807 h 396852"/>
                  <a:gd name="connsiteX12" fmla="*/ 187847 w 359722"/>
                  <a:gd name="connsiteY12" fmla="*/ 376463 h 396852"/>
                  <a:gd name="connsiteX13" fmla="*/ 180986 w 359722"/>
                  <a:gd name="connsiteY13" fmla="*/ 384970 h 396852"/>
                  <a:gd name="connsiteX14" fmla="*/ 164438 w 359722"/>
                  <a:gd name="connsiteY14" fmla="*/ 370260 h 396852"/>
                  <a:gd name="connsiteX15" fmla="*/ 157248 w 359722"/>
                  <a:gd name="connsiteY15" fmla="*/ 374569 h 396852"/>
                  <a:gd name="connsiteX16" fmla="*/ 154092 w 359722"/>
                  <a:gd name="connsiteY16" fmla="*/ 383817 h 396852"/>
                  <a:gd name="connsiteX17" fmla="*/ 153351 w 359722"/>
                  <a:gd name="connsiteY17" fmla="*/ 392818 h 396852"/>
                  <a:gd name="connsiteX18" fmla="*/ 147231 w 359722"/>
                  <a:gd name="connsiteY18" fmla="*/ 396853 h 396852"/>
                  <a:gd name="connsiteX19" fmla="*/ 141935 w 359722"/>
                  <a:gd name="connsiteY19" fmla="*/ 396551 h 396852"/>
                  <a:gd name="connsiteX20" fmla="*/ 136474 w 359722"/>
                  <a:gd name="connsiteY20" fmla="*/ 392846 h 396852"/>
                  <a:gd name="connsiteX21" fmla="*/ 133455 w 359722"/>
                  <a:gd name="connsiteY21" fmla="*/ 388483 h 396852"/>
                  <a:gd name="connsiteX22" fmla="*/ 126430 w 359722"/>
                  <a:gd name="connsiteY22" fmla="*/ 384860 h 396852"/>
                  <a:gd name="connsiteX23" fmla="*/ 121160 w 359722"/>
                  <a:gd name="connsiteY23" fmla="*/ 378082 h 396852"/>
                  <a:gd name="connsiteX24" fmla="*/ 120776 w 359722"/>
                  <a:gd name="connsiteY24" fmla="*/ 374734 h 396852"/>
                  <a:gd name="connsiteX25" fmla="*/ 117511 w 359722"/>
                  <a:gd name="connsiteY25" fmla="*/ 374103 h 396852"/>
                  <a:gd name="connsiteX26" fmla="*/ 113284 w 359722"/>
                  <a:gd name="connsiteY26" fmla="*/ 370041 h 396852"/>
                  <a:gd name="connsiteX27" fmla="*/ 107768 w 359722"/>
                  <a:gd name="connsiteY27" fmla="*/ 356759 h 396852"/>
                  <a:gd name="connsiteX28" fmla="*/ 94870 w 359722"/>
                  <a:gd name="connsiteY28" fmla="*/ 354783 h 396852"/>
                  <a:gd name="connsiteX29" fmla="*/ 89738 w 359722"/>
                  <a:gd name="connsiteY29" fmla="*/ 347840 h 396852"/>
                  <a:gd name="connsiteX30" fmla="*/ 79420 w 359722"/>
                  <a:gd name="connsiteY30" fmla="*/ 339442 h 396852"/>
                  <a:gd name="connsiteX31" fmla="*/ 60923 w 359722"/>
                  <a:gd name="connsiteY31" fmla="*/ 338180 h 396852"/>
                  <a:gd name="connsiteX32" fmla="*/ 54941 w 359722"/>
                  <a:gd name="connsiteY32" fmla="*/ 341253 h 396852"/>
                  <a:gd name="connsiteX33" fmla="*/ 46790 w 359722"/>
                  <a:gd name="connsiteY33" fmla="*/ 341253 h 396852"/>
                  <a:gd name="connsiteX34" fmla="*/ 40094 w 359722"/>
                  <a:gd name="connsiteY34" fmla="*/ 343970 h 396852"/>
                  <a:gd name="connsiteX35" fmla="*/ 26592 w 359722"/>
                  <a:gd name="connsiteY35" fmla="*/ 342159 h 396852"/>
                  <a:gd name="connsiteX36" fmla="*/ 22997 w 359722"/>
                  <a:gd name="connsiteY36" fmla="*/ 343805 h 396852"/>
                  <a:gd name="connsiteX37" fmla="*/ 19100 w 359722"/>
                  <a:gd name="connsiteY37" fmla="*/ 352011 h 396852"/>
                  <a:gd name="connsiteX38" fmla="*/ 18387 w 359722"/>
                  <a:gd name="connsiteY38" fmla="*/ 350612 h 396852"/>
                  <a:gd name="connsiteX39" fmla="*/ 19320 w 359722"/>
                  <a:gd name="connsiteY39" fmla="*/ 348663 h 396852"/>
                  <a:gd name="connsiteX40" fmla="*/ 18524 w 359722"/>
                  <a:gd name="connsiteY40" fmla="*/ 348032 h 396852"/>
                  <a:gd name="connsiteX41" fmla="*/ 16823 w 359722"/>
                  <a:gd name="connsiteY41" fmla="*/ 351380 h 396852"/>
                  <a:gd name="connsiteX42" fmla="*/ 16877 w 359722"/>
                  <a:gd name="connsiteY42" fmla="*/ 356566 h 396852"/>
                  <a:gd name="connsiteX43" fmla="*/ 16575 w 359722"/>
                  <a:gd name="connsiteY43" fmla="*/ 356896 h 396852"/>
                  <a:gd name="connsiteX44" fmla="*/ 16328 w 359722"/>
                  <a:gd name="connsiteY44" fmla="*/ 356978 h 396852"/>
                  <a:gd name="connsiteX45" fmla="*/ 16630 w 359722"/>
                  <a:gd name="connsiteY45" fmla="*/ 348828 h 396852"/>
                  <a:gd name="connsiteX46" fmla="*/ 18551 w 359722"/>
                  <a:gd name="connsiteY46" fmla="*/ 339799 h 396852"/>
                  <a:gd name="connsiteX47" fmla="*/ 28595 w 359722"/>
                  <a:gd name="connsiteY47" fmla="*/ 311862 h 396852"/>
                  <a:gd name="connsiteX48" fmla="*/ 30214 w 359722"/>
                  <a:gd name="connsiteY48" fmla="*/ 295314 h 396852"/>
                  <a:gd name="connsiteX49" fmla="*/ 29336 w 359722"/>
                  <a:gd name="connsiteY49" fmla="*/ 282882 h 396852"/>
                  <a:gd name="connsiteX50" fmla="*/ 25879 w 359722"/>
                  <a:gd name="connsiteY50" fmla="*/ 269545 h 396852"/>
                  <a:gd name="connsiteX51" fmla="*/ 17426 w 359722"/>
                  <a:gd name="connsiteY51" fmla="*/ 255494 h 396852"/>
                  <a:gd name="connsiteX52" fmla="*/ 20225 w 359722"/>
                  <a:gd name="connsiteY52" fmla="*/ 250911 h 396852"/>
                  <a:gd name="connsiteX53" fmla="*/ 19430 w 359722"/>
                  <a:gd name="connsiteY53" fmla="*/ 242376 h 396852"/>
                  <a:gd name="connsiteX54" fmla="*/ 22393 w 359722"/>
                  <a:gd name="connsiteY54" fmla="*/ 241965 h 396852"/>
                  <a:gd name="connsiteX55" fmla="*/ 23272 w 359722"/>
                  <a:gd name="connsiteY55" fmla="*/ 240675 h 396852"/>
                  <a:gd name="connsiteX56" fmla="*/ 24424 w 359722"/>
                  <a:gd name="connsiteY56" fmla="*/ 228655 h 396852"/>
                  <a:gd name="connsiteX57" fmla="*/ 17673 w 359722"/>
                  <a:gd name="connsiteY57" fmla="*/ 215482 h 396852"/>
                  <a:gd name="connsiteX58" fmla="*/ 13529 w 359722"/>
                  <a:gd name="connsiteY58" fmla="*/ 214302 h 396852"/>
                  <a:gd name="connsiteX59" fmla="*/ 4803 w 359722"/>
                  <a:gd name="connsiteY59" fmla="*/ 200855 h 396852"/>
                  <a:gd name="connsiteX60" fmla="*/ 2140 w 359722"/>
                  <a:gd name="connsiteY60" fmla="*/ 203133 h 396852"/>
                  <a:gd name="connsiteX61" fmla="*/ 219 w 359722"/>
                  <a:gd name="connsiteY61" fmla="*/ 209829 h 396852"/>
                  <a:gd name="connsiteX62" fmla="*/ 0 w 359722"/>
                  <a:gd name="connsiteY62" fmla="*/ 206371 h 396852"/>
                  <a:gd name="connsiteX63" fmla="*/ 713 w 359722"/>
                  <a:gd name="connsiteY63" fmla="*/ 202694 h 396852"/>
                  <a:gd name="connsiteX64" fmla="*/ 3897 w 359722"/>
                  <a:gd name="connsiteY64" fmla="*/ 193391 h 396852"/>
                  <a:gd name="connsiteX65" fmla="*/ 27909 w 359722"/>
                  <a:gd name="connsiteY65" fmla="*/ 192924 h 396852"/>
                  <a:gd name="connsiteX66" fmla="*/ 118993 w 359722"/>
                  <a:gd name="connsiteY66" fmla="*/ 192759 h 396852"/>
                  <a:gd name="connsiteX67" fmla="*/ 117264 w 359722"/>
                  <a:gd name="connsiteY67" fmla="*/ 156919 h 396852"/>
                  <a:gd name="connsiteX68" fmla="*/ 115452 w 359722"/>
                  <a:gd name="connsiteY68" fmla="*/ 148439 h 396852"/>
                  <a:gd name="connsiteX69" fmla="*/ 116303 w 359722"/>
                  <a:gd name="connsiteY69" fmla="*/ 144076 h 396852"/>
                  <a:gd name="connsiteX70" fmla="*/ 120063 w 359722"/>
                  <a:gd name="connsiteY70" fmla="*/ 139136 h 396852"/>
                  <a:gd name="connsiteX71" fmla="*/ 131095 w 359722"/>
                  <a:gd name="connsiteY71" fmla="*/ 131589 h 396852"/>
                  <a:gd name="connsiteX72" fmla="*/ 148796 w 359722"/>
                  <a:gd name="connsiteY72" fmla="*/ 124262 h 396852"/>
                  <a:gd name="connsiteX73" fmla="*/ 149235 w 359722"/>
                  <a:gd name="connsiteY73" fmla="*/ 43744 h 396852"/>
                  <a:gd name="connsiteX74" fmla="*/ 245862 w 359722"/>
                  <a:gd name="connsiteY74" fmla="*/ 43113 h 396852"/>
                  <a:gd name="connsiteX75" fmla="*/ 246987 w 359722"/>
                  <a:gd name="connsiteY75" fmla="*/ 0 h 396852"/>
                  <a:gd name="connsiteX76" fmla="*/ 359722 w 359722"/>
                  <a:gd name="connsiteY76" fmla="*/ 75852 h 396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59722" h="396852">
                    <a:moveTo>
                      <a:pt x="359695" y="75880"/>
                    </a:moveTo>
                    <a:lnTo>
                      <a:pt x="311094" y="76676"/>
                    </a:lnTo>
                    <a:lnTo>
                      <a:pt x="309310" y="78048"/>
                    </a:lnTo>
                    <a:lnTo>
                      <a:pt x="336670" y="339634"/>
                    </a:lnTo>
                    <a:lnTo>
                      <a:pt x="344491" y="350117"/>
                    </a:lnTo>
                    <a:lnTo>
                      <a:pt x="339881" y="372072"/>
                    </a:lnTo>
                    <a:lnTo>
                      <a:pt x="335682" y="373993"/>
                    </a:lnTo>
                    <a:lnTo>
                      <a:pt x="231070" y="374075"/>
                    </a:lnTo>
                    <a:lnTo>
                      <a:pt x="229012" y="373471"/>
                    </a:lnTo>
                    <a:lnTo>
                      <a:pt x="226843" y="369492"/>
                    </a:lnTo>
                    <a:lnTo>
                      <a:pt x="223687" y="375694"/>
                    </a:lnTo>
                    <a:lnTo>
                      <a:pt x="214576" y="377807"/>
                    </a:lnTo>
                    <a:lnTo>
                      <a:pt x="187847" y="376463"/>
                    </a:lnTo>
                    <a:lnTo>
                      <a:pt x="180986" y="384970"/>
                    </a:lnTo>
                    <a:lnTo>
                      <a:pt x="164438" y="370260"/>
                    </a:lnTo>
                    <a:lnTo>
                      <a:pt x="157248" y="374569"/>
                    </a:lnTo>
                    <a:lnTo>
                      <a:pt x="154092" y="383817"/>
                    </a:lnTo>
                    <a:lnTo>
                      <a:pt x="153351" y="392818"/>
                    </a:lnTo>
                    <a:lnTo>
                      <a:pt x="147231" y="396853"/>
                    </a:lnTo>
                    <a:lnTo>
                      <a:pt x="141935" y="396551"/>
                    </a:lnTo>
                    <a:lnTo>
                      <a:pt x="136474" y="392846"/>
                    </a:lnTo>
                    <a:lnTo>
                      <a:pt x="133455" y="388483"/>
                    </a:lnTo>
                    <a:lnTo>
                      <a:pt x="126430" y="384860"/>
                    </a:lnTo>
                    <a:lnTo>
                      <a:pt x="121160" y="378082"/>
                    </a:lnTo>
                    <a:lnTo>
                      <a:pt x="120776" y="374734"/>
                    </a:lnTo>
                    <a:lnTo>
                      <a:pt x="117511" y="374103"/>
                    </a:lnTo>
                    <a:lnTo>
                      <a:pt x="113284" y="370041"/>
                    </a:lnTo>
                    <a:lnTo>
                      <a:pt x="107768" y="356759"/>
                    </a:lnTo>
                    <a:lnTo>
                      <a:pt x="94870" y="354783"/>
                    </a:lnTo>
                    <a:lnTo>
                      <a:pt x="89738" y="347840"/>
                    </a:lnTo>
                    <a:lnTo>
                      <a:pt x="79420" y="339442"/>
                    </a:lnTo>
                    <a:lnTo>
                      <a:pt x="60923" y="338180"/>
                    </a:lnTo>
                    <a:lnTo>
                      <a:pt x="54941" y="341253"/>
                    </a:lnTo>
                    <a:lnTo>
                      <a:pt x="46790" y="341253"/>
                    </a:lnTo>
                    <a:cubicBezTo>
                      <a:pt x="46790" y="341253"/>
                      <a:pt x="40094" y="343970"/>
                      <a:pt x="40094" y="343970"/>
                    </a:cubicBezTo>
                    <a:lnTo>
                      <a:pt x="26592" y="342159"/>
                    </a:lnTo>
                    <a:lnTo>
                      <a:pt x="22997" y="343805"/>
                    </a:lnTo>
                    <a:lnTo>
                      <a:pt x="19100" y="352011"/>
                    </a:lnTo>
                    <a:lnTo>
                      <a:pt x="18387" y="350612"/>
                    </a:lnTo>
                    <a:lnTo>
                      <a:pt x="19320" y="348663"/>
                    </a:lnTo>
                    <a:lnTo>
                      <a:pt x="18524" y="348032"/>
                    </a:lnTo>
                    <a:lnTo>
                      <a:pt x="16823" y="351380"/>
                    </a:lnTo>
                    <a:lnTo>
                      <a:pt x="16877" y="356566"/>
                    </a:lnTo>
                    <a:lnTo>
                      <a:pt x="16575" y="356896"/>
                    </a:lnTo>
                    <a:lnTo>
                      <a:pt x="16328" y="356978"/>
                    </a:lnTo>
                    <a:lnTo>
                      <a:pt x="16630" y="348828"/>
                    </a:lnTo>
                    <a:lnTo>
                      <a:pt x="18551" y="339799"/>
                    </a:lnTo>
                    <a:lnTo>
                      <a:pt x="28595" y="311862"/>
                    </a:lnTo>
                    <a:lnTo>
                      <a:pt x="30214" y="295314"/>
                    </a:lnTo>
                    <a:lnTo>
                      <a:pt x="29336" y="282882"/>
                    </a:lnTo>
                    <a:lnTo>
                      <a:pt x="25879" y="269545"/>
                    </a:lnTo>
                    <a:lnTo>
                      <a:pt x="17426" y="255494"/>
                    </a:lnTo>
                    <a:lnTo>
                      <a:pt x="20225" y="250911"/>
                    </a:lnTo>
                    <a:lnTo>
                      <a:pt x="19430" y="242376"/>
                    </a:lnTo>
                    <a:lnTo>
                      <a:pt x="22393" y="241965"/>
                    </a:lnTo>
                    <a:lnTo>
                      <a:pt x="23272" y="240675"/>
                    </a:lnTo>
                    <a:lnTo>
                      <a:pt x="24424" y="228655"/>
                    </a:lnTo>
                    <a:lnTo>
                      <a:pt x="17673" y="215482"/>
                    </a:lnTo>
                    <a:lnTo>
                      <a:pt x="13529" y="214302"/>
                    </a:lnTo>
                    <a:lnTo>
                      <a:pt x="4803" y="200855"/>
                    </a:lnTo>
                    <a:lnTo>
                      <a:pt x="2140" y="203133"/>
                    </a:lnTo>
                    <a:lnTo>
                      <a:pt x="219" y="209829"/>
                    </a:lnTo>
                    <a:lnTo>
                      <a:pt x="0" y="206371"/>
                    </a:lnTo>
                    <a:lnTo>
                      <a:pt x="713" y="202694"/>
                    </a:lnTo>
                    <a:lnTo>
                      <a:pt x="3897" y="193391"/>
                    </a:lnTo>
                    <a:lnTo>
                      <a:pt x="27909" y="192924"/>
                    </a:lnTo>
                    <a:lnTo>
                      <a:pt x="118993" y="192759"/>
                    </a:lnTo>
                    <a:lnTo>
                      <a:pt x="117264" y="156919"/>
                    </a:lnTo>
                    <a:lnTo>
                      <a:pt x="115452" y="148439"/>
                    </a:lnTo>
                    <a:lnTo>
                      <a:pt x="116303" y="144076"/>
                    </a:lnTo>
                    <a:lnTo>
                      <a:pt x="120063" y="139136"/>
                    </a:lnTo>
                    <a:lnTo>
                      <a:pt x="131095" y="131589"/>
                    </a:lnTo>
                    <a:lnTo>
                      <a:pt x="148796" y="124262"/>
                    </a:lnTo>
                    <a:lnTo>
                      <a:pt x="149235" y="43744"/>
                    </a:lnTo>
                    <a:lnTo>
                      <a:pt x="245862" y="43113"/>
                    </a:lnTo>
                    <a:lnTo>
                      <a:pt x="246987" y="0"/>
                    </a:lnTo>
                    <a:lnTo>
                      <a:pt x="359722" y="758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9" name="Freeform: Shape 3948">
                <a:extLst>
                  <a:ext uri="{FF2B5EF4-FFF2-40B4-BE49-F238E27FC236}">
                    <a16:creationId xmlns:a16="http://schemas.microsoft.com/office/drawing/2014/main" id="{576FE341-C546-BA50-FDDE-B5D2EAFFFC64}"/>
                  </a:ext>
                </a:extLst>
              </p:cNvPr>
              <p:cNvSpPr/>
              <p:nvPr/>
            </p:nvSpPr>
            <p:spPr>
              <a:xfrm>
                <a:off x="1174434" y="3792142"/>
                <a:ext cx="346" cy="452"/>
              </a:xfrm>
              <a:custGeom>
                <a:avLst/>
                <a:gdLst>
                  <a:gd name="connsiteX0" fmla="*/ 27 w 3320"/>
                  <a:gd name="connsiteY0" fmla="*/ 2607 h 4335"/>
                  <a:gd name="connsiteX1" fmla="*/ 2168 w 3320"/>
                  <a:gd name="connsiteY1" fmla="*/ 0 h 4335"/>
                  <a:gd name="connsiteX2" fmla="*/ 3320 w 3320"/>
                  <a:gd name="connsiteY2" fmla="*/ 3540 h 4335"/>
                  <a:gd name="connsiteX3" fmla="*/ 1784 w 3320"/>
                  <a:gd name="connsiteY3" fmla="*/ 4336 h 4335"/>
                  <a:gd name="connsiteX4" fmla="*/ 0 w 3320"/>
                  <a:gd name="connsiteY4" fmla="*/ 2579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0" h="4335">
                    <a:moveTo>
                      <a:pt x="27" y="2607"/>
                    </a:moveTo>
                    <a:lnTo>
                      <a:pt x="2168" y="0"/>
                    </a:lnTo>
                    <a:lnTo>
                      <a:pt x="3320" y="3540"/>
                    </a:lnTo>
                    <a:lnTo>
                      <a:pt x="1784" y="4336"/>
                    </a:lnTo>
                    <a:lnTo>
                      <a:pt x="0" y="25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0" name="Freeform: Shape 3949">
                <a:extLst>
                  <a:ext uri="{FF2B5EF4-FFF2-40B4-BE49-F238E27FC236}">
                    <a16:creationId xmlns:a16="http://schemas.microsoft.com/office/drawing/2014/main" id="{17B90C5F-A8F0-84B5-9F84-408C5E03BFB2}"/>
                  </a:ext>
                </a:extLst>
              </p:cNvPr>
              <p:cNvSpPr/>
              <p:nvPr/>
            </p:nvSpPr>
            <p:spPr>
              <a:xfrm>
                <a:off x="1409349" y="3726051"/>
                <a:ext cx="724" cy="601"/>
              </a:xfrm>
              <a:custGeom>
                <a:avLst/>
                <a:gdLst>
                  <a:gd name="connsiteX0" fmla="*/ 6942 w 6942"/>
                  <a:gd name="connsiteY0" fmla="*/ 4418 h 5762"/>
                  <a:gd name="connsiteX1" fmla="*/ 5296 w 6942"/>
                  <a:gd name="connsiteY1" fmla="*/ 5763 h 5762"/>
                  <a:gd name="connsiteX2" fmla="*/ 1454 w 6942"/>
                  <a:gd name="connsiteY2" fmla="*/ 4446 h 5762"/>
                  <a:gd name="connsiteX3" fmla="*/ 192 w 6942"/>
                  <a:gd name="connsiteY3" fmla="*/ 3019 h 5762"/>
                  <a:gd name="connsiteX4" fmla="*/ 0 w 6942"/>
                  <a:gd name="connsiteY4" fmla="*/ 55 h 5762"/>
                  <a:gd name="connsiteX5" fmla="*/ 1454 w 6942"/>
                  <a:gd name="connsiteY5" fmla="*/ 0 h 5762"/>
                  <a:gd name="connsiteX6" fmla="*/ 6942 w 6942"/>
                  <a:gd name="connsiteY6" fmla="*/ 4391 h 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2" h="5762">
                    <a:moveTo>
                      <a:pt x="6942" y="4418"/>
                    </a:moveTo>
                    <a:lnTo>
                      <a:pt x="5296" y="5763"/>
                    </a:lnTo>
                    <a:lnTo>
                      <a:pt x="1454" y="4446"/>
                    </a:lnTo>
                    <a:lnTo>
                      <a:pt x="192" y="3019"/>
                    </a:lnTo>
                    <a:lnTo>
                      <a:pt x="0" y="55"/>
                    </a:lnTo>
                    <a:lnTo>
                      <a:pt x="1454" y="0"/>
                    </a:lnTo>
                    <a:lnTo>
                      <a:pt x="6942" y="43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1" name="Freeform: Shape 3950">
                <a:extLst>
                  <a:ext uri="{FF2B5EF4-FFF2-40B4-BE49-F238E27FC236}">
                    <a16:creationId xmlns:a16="http://schemas.microsoft.com/office/drawing/2014/main" id="{843C5212-091B-697A-001B-989B320AD6E8}"/>
                  </a:ext>
                </a:extLst>
              </p:cNvPr>
              <p:cNvSpPr/>
              <p:nvPr/>
            </p:nvSpPr>
            <p:spPr>
              <a:xfrm>
                <a:off x="1408859" y="3725610"/>
                <a:ext cx="475" cy="321"/>
              </a:xfrm>
              <a:custGeom>
                <a:avLst/>
                <a:gdLst>
                  <a:gd name="connsiteX0" fmla="*/ 4556 w 4555"/>
                  <a:gd name="connsiteY0" fmla="*/ 1235 h 3073"/>
                  <a:gd name="connsiteX1" fmla="*/ 2854 w 4555"/>
                  <a:gd name="connsiteY1" fmla="*/ 3074 h 3073"/>
                  <a:gd name="connsiteX2" fmla="*/ 110 w 4555"/>
                  <a:gd name="connsiteY2" fmla="*/ 1976 h 3073"/>
                  <a:gd name="connsiteX3" fmla="*/ 0 w 4555"/>
                  <a:gd name="connsiteY3" fmla="*/ 631 h 3073"/>
                  <a:gd name="connsiteX4" fmla="*/ 2415 w 4555"/>
                  <a:gd name="connsiteY4" fmla="*/ 0 h 3073"/>
                  <a:gd name="connsiteX5" fmla="*/ 4528 w 4555"/>
                  <a:gd name="connsiteY5" fmla="*/ 1208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 h="3073">
                    <a:moveTo>
                      <a:pt x="4556" y="1235"/>
                    </a:moveTo>
                    <a:lnTo>
                      <a:pt x="2854" y="3074"/>
                    </a:lnTo>
                    <a:lnTo>
                      <a:pt x="110" y="1976"/>
                    </a:lnTo>
                    <a:lnTo>
                      <a:pt x="0" y="631"/>
                    </a:lnTo>
                    <a:lnTo>
                      <a:pt x="2415" y="0"/>
                    </a:lnTo>
                    <a:lnTo>
                      <a:pt x="4528" y="12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2" name="Freeform: Shape 3951">
                <a:extLst>
                  <a:ext uri="{FF2B5EF4-FFF2-40B4-BE49-F238E27FC236}">
                    <a16:creationId xmlns:a16="http://schemas.microsoft.com/office/drawing/2014/main" id="{5CE304F2-609D-0742-861B-96BEAC3E5016}"/>
                  </a:ext>
                </a:extLst>
              </p:cNvPr>
              <p:cNvSpPr/>
              <p:nvPr/>
            </p:nvSpPr>
            <p:spPr>
              <a:xfrm>
                <a:off x="1465711" y="3873409"/>
                <a:ext cx="9852" cy="24338"/>
              </a:xfrm>
              <a:custGeom>
                <a:avLst/>
                <a:gdLst>
                  <a:gd name="connsiteX0" fmla="*/ 31175 w 94458"/>
                  <a:gd name="connsiteY0" fmla="*/ 6312 h 233347"/>
                  <a:gd name="connsiteX1" fmla="*/ 35539 w 94458"/>
                  <a:gd name="connsiteY1" fmla="*/ 8754 h 233347"/>
                  <a:gd name="connsiteX2" fmla="*/ 39381 w 94458"/>
                  <a:gd name="connsiteY2" fmla="*/ 3924 h 233347"/>
                  <a:gd name="connsiteX3" fmla="*/ 46049 w 94458"/>
                  <a:gd name="connsiteY3" fmla="*/ 9413 h 233347"/>
                  <a:gd name="connsiteX4" fmla="*/ 53431 w 94458"/>
                  <a:gd name="connsiteY4" fmla="*/ 19787 h 233347"/>
                  <a:gd name="connsiteX5" fmla="*/ 57027 w 94458"/>
                  <a:gd name="connsiteY5" fmla="*/ 41467 h 233347"/>
                  <a:gd name="connsiteX6" fmla="*/ 56834 w 94458"/>
                  <a:gd name="connsiteY6" fmla="*/ 49946 h 233347"/>
                  <a:gd name="connsiteX7" fmla="*/ 64546 w 94458"/>
                  <a:gd name="connsiteY7" fmla="*/ 59551 h 233347"/>
                  <a:gd name="connsiteX8" fmla="*/ 66384 w 94458"/>
                  <a:gd name="connsiteY8" fmla="*/ 65095 h 233347"/>
                  <a:gd name="connsiteX9" fmla="*/ 56752 w 94458"/>
                  <a:gd name="connsiteY9" fmla="*/ 65507 h 233347"/>
                  <a:gd name="connsiteX10" fmla="*/ 56697 w 94458"/>
                  <a:gd name="connsiteY10" fmla="*/ 69815 h 233347"/>
                  <a:gd name="connsiteX11" fmla="*/ 48904 w 94458"/>
                  <a:gd name="connsiteY11" fmla="*/ 84415 h 233347"/>
                  <a:gd name="connsiteX12" fmla="*/ 50577 w 94458"/>
                  <a:gd name="connsiteY12" fmla="*/ 91578 h 233347"/>
                  <a:gd name="connsiteX13" fmla="*/ 54858 w 94458"/>
                  <a:gd name="connsiteY13" fmla="*/ 108976 h 233347"/>
                  <a:gd name="connsiteX14" fmla="*/ 55462 w 94458"/>
                  <a:gd name="connsiteY14" fmla="*/ 121353 h 233347"/>
                  <a:gd name="connsiteX15" fmla="*/ 64052 w 94458"/>
                  <a:gd name="connsiteY15" fmla="*/ 122945 h 233347"/>
                  <a:gd name="connsiteX16" fmla="*/ 68717 w 94458"/>
                  <a:gd name="connsiteY16" fmla="*/ 127253 h 233347"/>
                  <a:gd name="connsiteX17" fmla="*/ 93471 w 94458"/>
                  <a:gd name="connsiteY17" fmla="*/ 159417 h 233347"/>
                  <a:gd name="connsiteX18" fmla="*/ 94459 w 94458"/>
                  <a:gd name="connsiteY18" fmla="*/ 166195 h 233347"/>
                  <a:gd name="connsiteX19" fmla="*/ 91495 w 94458"/>
                  <a:gd name="connsiteY19" fmla="*/ 173687 h 233347"/>
                  <a:gd name="connsiteX20" fmla="*/ 92922 w 94458"/>
                  <a:gd name="connsiteY20" fmla="*/ 182167 h 233347"/>
                  <a:gd name="connsiteX21" fmla="*/ 91385 w 94458"/>
                  <a:gd name="connsiteY21" fmla="*/ 199566 h 233347"/>
                  <a:gd name="connsiteX22" fmla="*/ 85018 w 94458"/>
                  <a:gd name="connsiteY22" fmla="*/ 203517 h 233347"/>
                  <a:gd name="connsiteX23" fmla="*/ 78350 w 94458"/>
                  <a:gd name="connsiteY23" fmla="*/ 204176 h 233347"/>
                  <a:gd name="connsiteX24" fmla="*/ 72313 w 94458"/>
                  <a:gd name="connsiteY24" fmla="*/ 216608 h 233347"/>
                  <a:gd name="connsiteX25" fmla="*/ 76292 w 94458"/>
                  <a:gd name="connsiteY25" fmla="*/ 222700 h 233347"/>
                  <a:gd name="connsiteX26" fmla="*/ 75907 w 94458"/>
                  <a:gd name="connsiteY26" fmla="*/ 233348 h 233347"/>
                  <a:gd name="connsiteX27" fmla="*/ 70309 w 94458"/>
                  <a:gd name="connsiteY27" fmla="*/ 232909 h 233347"/>
                  <a:gd name="connsiteX28" fmla="*/ 69650 w 94458"/>
                  <a:gd name="connsiteY28" fmla="*/ 230439 h 233347"/>
                  <a:gd name="connsiteX29" fmla="*/ 71900 w 94458"/>
                  <a:gd name="connsiteY29" fmla="*/ 225472 h 233347"/>
                  <a:gd name="connsiteX30" fmla="*/ 64902 w 94458"/>
                  <a:gd name="connsiteY30" fmla="*/ 221383 h 233347"/>
                  <a:gd name="connsiteX31" fmla="*/ 50797 w 94458"/>
                  <a:gd name="connsiteY31" fmla="*/ 206481 h 233347"/>
                  <a:gd name="connsiteX32" fmla="*/ 50083 w 94458"/>
                  <a:gd name="connsiteY32" fmla="*/ 200197 h 233347"/>
                  <a:gd name="connsiteX33" fmla="*/ 45830 w 94458"/>
                  <a:gd name="connsiteY33" fmla="*/ 195559 h 233347"/>
                  <a:gd name="connsiteX34" fmla="*/ 50934 w 94458"/>
                  <a:gd name="connsiteY34" fmla="*/ 187847 h 233347"/>
                  <a:gd name="connsiteX35" fmla="*/ 51126 w 94458"/>
                  <a:gd name="connsiteY35" fmla="*/ 182414 h 233347"/>
                  <a:gd name="connsiteX36" fmla="*/ 55407 w 94458"/>
                  <a:gd name="connsiteY36" fmla="*/ 176980 h 233347"/>
                  <a:gd name="connsiteX37" fmla="*/ 56011 w 94458"/>
                  <a:gd name="connsiteY37" fmla="*/ 168198 h 233347"/>
                  <a:gd name="connsiteX38" fmla="*/ 53239 w 94458"/>
                  <a:gd name="connsiteY38" fmla="*/ 155410 h 233347"/>
                  <a:gd name="connsiteX39" fmla="*/ 48190 w 94458"/>
                  <a:gd name="connsiteY39" fmla="*/ 150388 h 233347"/>
                  <a:gd name="connsiteX40" fmla="*/ 30297 w 94458"/>
                  <a:gd name="connsiteY40" fmla="*/ 154120 h 233347"/>
                  <a:gd name="connsiteX41" fmla="*/ 28376 w 94458"/>
                  <a:gd name="connsiteY41" fmla="*/ 156206 h 233347"/>
                  <a:gd name="connsiteX42" fmla="*/ 22476 w 94458"/>
                  <a:gd name="connsiteY42" fmla="*/ 149729 h 233347"/>
                  <a:gd name="connsiteX43" fmla="*/ 15890 w 94458"/>
                  <a:gd name="connsiteY43" fmla="*/ 138148 h 233347"/>
                  <a:gd name="connsiteX44" fmla="*/ 12980 w 94458"/>
                  <a:gd name="connsiteY44" fmla="*/ 136804 h 233347"/>
                  <a:gd name="connsiteX45" fmla="*/ 9358 w 94458"/>
                  <a:gd name="connsiteY45" fmla="*/ 138889 h 233347"/>
                  <a:gd name="connsiteX46" fmla="*/ 2827 w 94458"/>
                  <a:gd name="connsiteY46" fmla="*/ 131287 h 233347"/>
                  <a:gd name="connsiteX47" fmla="*/ 3183 w 94458"/>
                  <a:gd name="connsiteY47" fmla="*/ 128516 h 233347"/>
                  <a:gd name="connsiteX48" fmla="*/ 0 w 94458"/>
                  <a:gd name="connsiteY48" fmla="*/ 126183 h 233347"/>
                  <a:gd name="connsiteX49" fmla="*/ 3897 w 94458"/>
                  <a:gd name="connsiteY49" fmla="*/ 123109 h 233347"/>
                  <a:gd name="connsiteX50" fmla="*/ 8644 w 94458"/>
                  <a:gd name="connsiteY50" fmla="*/ 114410 h 233347"/>
                  <a:gd name="connsiteX51" fmla="*/ 9166 w 94458"/>
                  <a:gd name="connsiteY51" fmla="*/ 105683 h 233347"/>
                  <a:gd name="connsiteX52" fmla="*/ 7684 w 94458"/>
                  <a:gd name="connsiteY52" fmla="*/ 101786 h 233347"/>
                  <a:gd name="connsiteX53" fmla="*/ 8974 w 94458"/>
                  <a:gd name="connsiteY53" fmla="*/ 98191 h 233347"/>
                  <a:gd name="connsiteX54" fmla="*/ 22778 w 94458"/>
                  <a:gd name="connsiteY54" fmla="*/ 91468 h 233347"/>
                  <a:gd name="connsiteX55" fmla="*/ 24068 w 94458"/>
                  <a:gd name="connsiteY55" fmla="*/ 88860 h 233347"/>
                  <a:gd name="connsiteX56" fmla="*/ 19347 w 94458"/>
                  <a:gd name="connsiteY56" fmla="*/ 87461 h 233347"/>
                  <a:gd name="connsiteX57" fmla="*/ 16932 w 94458"/>
                  <a:gd name="connsiteY57" fmla="*/ 81286 h 233347"/>
                  <a:gd name="connsiteX58" fmla="*/ 18497 w 94458"/>
                  <a:gd name="connsiteY58" fmla="*/ 70885 h 233347"/>
                  <a:gd name="connsiteX59" fmla="*/ 15725 w 94458"/>
                  <a:gd name="connsiteY59" fmla="*/ 63229 h 233347"/>
                  <a:gd name="connsiteX60" fmla="*/ 20362 w 94458"/>
                  <a:gd name="connsiteY60" fmla="*/ 52828 h 233347"/>
                  <a:gd name="connsiteX61" fmla="*/ 17481 w 94458"/>
                  <a:gd name="connsiteY61" fmla="*/ 44622 h 233347"/>
                  <a:gd name="connsiteX62" fmla="*/ 23738 w 94458"/>
                  <a:gd name="connsiteY62" fmla="*/ 41110 h 233347"/>
                  <a:gd name="connsiteX63" fmla="*/ 28568 w 94458"/>
                  <a:gd name="connsiteY63" fmla="*/ 34880 h 233347"/>
                  <a:gd name="connsiteX64" fmla="*/ 25083 w 94458"/>
                  <a:gd name="connsiteY64" fmla="*/ 28925 h 233347"/>
                  <a:gd name="connsiteX65" fmla="*/ 24561 w 94458"/>
                  <a:gd name="connsiteY65" fmla="*/ 24452 h 233347"/>
                  <a:gd name="connsiteX66" fmla="*/ 18689 w 94458"/>
                  <a:gd name="connsiteY66" fmla="*/ 19869 h 233347"/>
                  <a:gd name="connsiteX67" fmla="*/ 19512 w 94458"/>
                  <a:gd name="connsiteY67" fmla="*/ 14408 h 233347"/>
                  <a:gd name="connsiteX68" fmla="*/ 15395 w 94458"/>
                  <a:gd name="connsiteY68" fmla="*/ 8946 h 233347"/>
                  <a:gd name="connsiteX69" fmla="*/ 13804 w 94458"/>
                  <a:gd name="connsiteY69" fmla="*/ 6257 h 233347"/>
                  <a:gd name="connsiteX70" fmla="*/ 9468 w 94458"/>
                  <a:gd name="connsiteY70" fmla="*/ 6861 h 233347"/>
                  <a:gd name="connsiteX71" fmla="*/ 7409 w 94458"/>
                  <a:gd name="connsiteY71" fmla="*/ 0 h 233347"/>
                  <a:gd name="connsiteX72" fmla="*/ 22860 w 94458"/>
                  <a:gd name="connsiteY72" fmla="*/ 6120 h 233347"/>
                  <a:gd name="connsiteX73" fmla="*/ 31175 w 94458"/>
                  <a:gd name="connsiteY73" fmla="*/ 6120 h 23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94458" h="233347">
                    <a:moveTo>
                      <a:pt x="31175" y="6312"/>
                    </a:moveTo>
                    <a:lnTo>
                      <a:pt x="35539" y="8754"/>
                    </a:lnTo>
                    <a:lnTo>
                      <a:pt x="39381" y="3924"/>
                    </a:lnTo>
                    <a:lnTo>
                      <a:pt x="46049" y="9413"/>
                    </a:lnTo>
                    <a:lnTo>
                      <a:pt x="53431" y="19787"/>
                    </a:lnTo>
                    <a:lnTo>
                      <a:pt x="57027" y="41467"/>
                    </a:lnTo>
                    <a:lnTo>
                      <a:pt x="56834" y="49946"/>
                    </a:lnTo>
                    <a:lnTo>
                      <a:pt x="64546" y="59551"/>
                    </a:lnTo>
                    <a:lnTo>
                      <a:pt x="66384" y="65095"/>
                    </a:lnTo>
                    <a:lnTo>
                      <a:pt x="56752" y="65507"/>
                    </a:lnTo>
                    <a:lnTo>
                      <a:pt x="56697" y="69815"/>
                    </a:lnTo>
                    <a:lnTo>
                      <a:pt x="48904" y="84415"/>
                    </a:lnTo>
                    <a:lnTo>
                      <a:pt x="50577" y="91578"/>
                    </a:lnTo>
                    <a:lnTo>
                      <a:pt x="54858" y="108976"/>
                    </a:lnTo>
                    <a:lnTo>
                      <a:pt x="55462" y="121353"/>
                    </a:lnTo>
                    <a:lnTo>
                      <a:pt x="64052" y="122945"/>
                    </a:lnTo>
                    <a:lnTo>
                      <a:pt x="68717" y="127253"/>
                    </a:lnTo>
                    <a:lnTo>
                      <a:pt x="93471" y="159417"/>
                    </a:lnTo>
                    <a:lnTo>
                      <a:pt x="94459" y="166195"/>
                    </a:lnTo>
                    <a:lnTo>
                      <a:pt x="91495" y="173687"/>
                    </a:lnTo>
                    <a:lnTo>
                      <a:pt x="92922" y="182167"/>
                    </a:lnTo>
                    <a:lnTo>
                      <a:pt x="91385" y="199566"/>
                    </a:lnTo>
                    <a:lnTo>
                      <a:pt x="85018" y="203517"/>
                    </a:lnTo>
                    <a:lnTo>
                      <a:pt x="78350" y="204176"/>
                    </a:lnTo>
                    <a:lnTo>
                      <a:pt x="72313" y="216608"/>
                    </a:lnTo>
                    <a:lnTo>
                      <a:pt x="76292" y="222700"/>
                    </a:lnTo>
                    <a:lnTo>
                      <a:pt x="75907" y="233348"/>
                    </a:lnTo>
                    <a:lnTo>
                      <a:pt x="70309" y="232909"/>
                    </a:lnTo>
                    <a:lnTo>
                      <a:pt x="69650" y="230439"/>
                    </a:lnTo>
                    <a:lnTo>
                      <a:pt x="71900" y="225472"/>
                    </a:lnTo>
                    <a:lnTo>
                      <a:pt x="64902" y="221383"/>
                    </a:lnTo>
                    <a:lnTo>
                      <a:pt x="50797" y="206481"/>
                    </a:lnTo>
                    <a:lnTo>
                      <a:pt x="50083" y="200197"/>
                    </a:lnTo>
                    <a:lnTo>
                      <a:pt x="45830" y="195559"/>
                    </a:lnTo>
                    <a:lnTo>
                      <a:pt x="50934" y="187847"/>
                    </a:lnTo>
                    <a:lnTo>
                      <a:pt x="51126" y="182414"/>
                    </a:lnTo>
                    <a:lnTo>
                      <a:pt x="55407" y="176980"/>
                    </a:lnTo>
                    <a:lnTo>
                      <a:pt x="56011" y="168198"/>
                    </a:lnTo>
                    <a:lnTo>
                      <a:pt x="53239" y="155410"/>
                    </a:lnTo>
                    <a:lnTo>
                      <a:pt x="48190" y="150388"/>
                    </a:lnTo>
                    <a:lnTo>
                      <a:pt x="30297" y="154120"/>
                    </a:lnTo>
                    <a:lnTo>
                      <a:pt x="28376" y="156206"/>
                    </a:lnTo>
                    <a:lnTo>
                      <a:pt x="22476" y="149729"/>
                    </a:lnTo>
                    <a:lnTo>
                      <a:pt x="15890" y="138148"/>
                    </a:lnTo>
                    <a:lnTo>
                      <a:pt x="12980" y="136804"/>
                    </a:lnTo>
                    <a:lnTo>
                      <a:pt x="9358" y="138889"/>
                    </a:lnTo>
                    <a:lnTo>
                      <a:pt x="2827" y="131287"/>
                    </a:lnTo>
                    <a:lnTo>
                      <a:pt x="3183" y="128516"/>
                    </a:lnTo>
                    <a:lnTo>
                      <a:pt x="0" y="126183"/>
                    </a:lnTo>
                    <a:lnTo>
                      <a:pt x="3897" y="123109"/>
                    </a:lnTo>
                    <a:lnTo>
                      <a:pt x="8644" y="114410"/>
                    </a:lnTo>
                    <a:lnTo>
                      <a:pt x="9166" y="105683"/>
                    </a:lnTo>
                    <a:lnTo>
                      <a:pt x="7684" y="101786"/>
                    </a:lnTo>
                    <a:lnTo>
                      <a:pt x="8974" y="98191"/>
                    </a:lnTo>
                    <a:lnTo>
                      <a:pt x="22778" y="91468"/>
                    </a:lnTo>
                    <a:lnTo>
                      <a:pt x="24068" y="88860"/>
                    </a:lnTo>
                    <a:lnTo>
                      <a:pt x="19347" y="87461"/>
                    </a:lnTo>
                    <a:lnTo>
                      <a:pt x="16932" y="81286"/>
                    </a:lnTo>
                    <a:lnTo>
                      <a:pt x="18497" y="70885"/>
                    </a:lnTo>
                    <a:lnTo>
                      <a:pt x="15725" y="63229"/>
                    </a:lnTo>
                    <a:lnTo>
                      <a:pt x="20362" y="52828"/>
                    </a:lnTo>
                    <a:lnTo>
                      <a:pt x="17481" y="44622"/>
                    </a:lnTo>
                    <a:lnTo>
                      <a:pt x="23738" y="41110"/>
                    </a:lnTo>
                    <a:lnTo>
                      <a:pt x="28568" y="34880"/>
                    </a:lnTo>
                    <a:lnTo>
                      <a:pt x="25083" y="28925"/>
                    </a:lnTo>
                    <a:lnTo>
                      <a:pt x="24561" y="24452"/>
                    </a:lnTo>
                    <a:lnTo>
                      <a:pt x="18689" y="19869"/>
                    </a:lnTo>
                    <a:lnTo>
                      <a:pt x="19512" y="14408"/>
                    </a:lnTo>
                    <a:lnTo>
                      <a:pt x="15395" y="8946"/>
                    </a:lnTo>
                    <a:lnTo>
                      <a:pt x="13804" y="6257"/>
                    </a:lnTo>
                    <a:lnTo>
                      <a:pt x="9468" y="6861"/>
                    </a:lnTo>
                    <a:lnTo>
                      <a:pt x="7409" y="0"/>
                    </a:lnTo>
                    <a:lnTo>
                      <a:pt x="22860" y="6120"/>
                    </a:lnTo>
                    <a:lnTo>
                      <a:pt x="31175" y="61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3" name="Freeform: Shape 3952">
                <a:extLst>
                  <a:ext uri="{FF2B5EF4-FFF2-40B4-BE49-F238E27FC236}">
                    <a16:creationId xmlns:a16="http://schemas.microsoft.com/office/drawing/2014/main" id="{43AEFE53-D92A-8F08-12D3-A35F83FA8799}"/>
                  </a:ext>
                </a:extLst>
              </p:cNvPr>
              <p:cNvSpPr/>
              <p:nvPr/>
            </p:nvSpPr>
            <p:spPr>
              <a:xfrm>
                <a:off x="1471415" y="3881432"/>
                <a:ext cx="744" cy="555"/>
              </a:xfrm>
              <a:custGeom>
                <a:avLst/>
                <a:gdLst>
                  <a:gd name="connsiteX0" fmla="*/ 1262 w 7135"/>
                  <a:gd name="connsiteY0" fmla="*/ 0 h 5324"/>
                  <a:gd name="connsiteX1" fmla="*/ 3787 w 7135"/>
                  <a:gd name="connsiteY1" fmla="*/ 1839 h 5324"/>
                  <a:gd name="connsiteX2" fmla="*/ 4610 w 7135"/>
                  <a:gd name="connsiteY2" fmla="*/ 933 h 5324"/>
                  <a:gd name="connsiteX3" fmla="*/ 7135 w 7135"/>
                  <a:gd name="connsiteY3" fmla="*/ 2086 h 5324"/>
                  <a:gd name="connsiteX4" fmla="*/ 5050 w 7135"/>
                  <a:gd name="connsiteY4" fmla="*/ 5324 h 5324"/>
                  <a:gd name="connsiteX5" fmla="*/ 2854 w 7135"/>
                  <a:gd name="connsiteY5" fmla="*/ 2937 h 5324"/>
                  <a:gd name="connsiteX6" fmla="*/ 576 w 7135"/>
                  <a:gd name="connsiteY6" fmla="*/ 3375 h 5324"/>
                  <a:gd name="connsiteX7" fmla="*/ 0 w 7135"/>
                  <a:gd name="connsiteY7" fmla="*/ 1455 h 5324"/>
                  <a:gd name="connsiteX8" fmla="*/ 1262 w 7135"/>
                  <a:gd name="connsiteY8" fmla="*/ 27 h 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5" h="5324">
                    <a:moveTo>
                      <a:pt x="1262" y="0"/>
                    </a:moveTo>
                    <a:lnTo>
                      <a:pt x="3787" y="1839"/>
                    </a:lnTo>
                    <a:lnTo>
                      <a:pt x="4610" y="933"/>
                    </a:lnTo>
                    <a:lnTo>
                      <a:pt x="7135" y="2086"/>
                    </a:lnTo>
                    <a:lnTo>
                      <a:pt x="5050" y="5324"/>
                    </a:lnTo>
                    <a:lnTo>
                      <a:pt x="2854" y="2937"/>
                    </a:lnTo>
                    <a:lnTo>
                      <a:pt x="576" y="3375"/>
                    </a:lnTo>
                    <a:lnTo>
                      <a:pt x="0" y="1455"/>
                    </a:lnTo>
                    <a:lnTo>
                      <a:pt x="1262"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4" name="Freeform: Shape 3953">
                <a:extLst>
                  <a:ext uri="{FF2B5EF4-FFF2-40B4-BE49-F238E27FC236}">
                    <a16:creationId xmlns:a16="http://schemas.microsoft.com/office/drawing/2014/main" id="{897DB250-4160-8C88-7638-FBE75BE12CE5}"/>
                  </a:ext>
                </a:extLst>
              </p:cNvPr>
              <p:cNvSpPr/>
              <p:nvPr/>
            </p:nvSpPr>
            <p:spPr>
              <a:xfrm>
                <a:off x="1006080" y="3738198"/>
                <a:ext cx="92974" cy="61185"/>
              </a:xfrm>
              <a:custGeom>
                <a:avLst/>
                <a:gdLst>
                  <a:gd name="connsiteX0" fmla="*/ 71187 w 891402"/>
                  <a:gd name="connsiteY0" fmla="*/ 8287 h 586620"/>
                  <a:gd name="connsiteX1" fmla="*/ 179916 w 891402"/>
                  <a:gd name="connsiteY1" fmla="*/ 47531 h 586620"/>
                  <a:gd name="connsiteX2" fmla="*/ 260900 w 891402"/>
                  <a:gd name="connsiteY2" fmla="*/ 47531 h 586620"/>
                  <a:gd name="connsiteX3" fmla="*/ 262355 w 891402"/>
                  <a:gd name="connsiteY3" fmla="*/ 46186 h 586620"/>
                  <a:gd name="connsiteX4" fmla="*/ 264743 w 891402"/>
                  <a:gd name="connsiteY4" fmla="*/ 32218 h 586620"/>
                  <a:gd name="connsiteX5" fmla="*/ 314881 w 891402"/>
                  <a:gd name="connsiteY5" fmla="*/ 33755 h 586620"/>
                  <a:gd name="connsiteX6" fmla="*/ 321879 w 891402"/>
                  <a:gd name="connsiteY6" fmla="*/ 42701 h 586620"/>
                  <a:gd name="connsiteX7" fmla="*/ 358982 w 891402"/>
                  <a:gd name="connsiteY7" fmla="*/ 73492 h 586620"/>
                  <a:gd name="connsiteX8" fmla="*/ 365266 w 891402"/>
                  <a:gd name="connsiteY8" fmla="*/ 85704 h 586620"/>
                  <a:gd name="connsiteX9" fmla="*/ 366968 w 891402"/>
                  <a:gd name="connsiteY9" fmla="*/ 96352 h 586620"/>
                  <a:gd name="connsiteX10" fmla="*/ 372538 w 891402"/>
                  <a:gd name="connsiteY10" fmla="*/ 106094 h 586620"/>
                  <a:gd name="connsiteX11" fmla="*/ 385409 w 891402"/>
                  <a:gd name="connsiteY11" fmla="*/ 115947 h 586620"/>
                  <a:gd name="connsiteX12" fmla="*/ 406348 w 891402"/>
                  <a:gd name="connsiteY12" fmla="*/ 126540 h 586620"/>
                  <a:gd name="connsiteX13" fmla="*/ 411398 w 891402"/>
                  <a:gd name="connsiteY13" fmla="*/ 126677 h 586620"/>
                  <a:gd name="connsiteX14" fmla="*/ 417765 w 891402"/>
                  <a:gd name="connsiteY14" fmla="*/ 120474 h 586620"/>
                  <a:gd name="connsiteX15" fmla="*/ 422183 w 891402"/>
                  <a:gd name="connsiteY15" fmla="*/ 108317 h 586620"/>
                  <a:gd name="connsiteX16" fmla="*/ 426684 w 891402"/>
                  <a:gd name="connsiteY16" fmla="*/ 101868 h 586620"/>
                  <a:gd name="connsiteX17" fmla="*/ 436892 w 891402"/>
                  <a:gd name="connsiteY17" fmla="*/ 97999 h 586620"/>
                  <a:gd name="connsiteX18" fmla="*/ 462030 w 891402"/>
                  <a:gd name="connsiteY18" fmla="*/ 101923 h 586620"/>
                  <a:gd name="connsiteX19" fmla="*/ 468177 w 891402"/>
                  <a:gd name="connsiteY19" fmla="*/ 109580 h 586620"/>
                  <a:gd name="connsiteX20" fmla="*/ 480472 w 891402"/>
                  <a:gd name="connsiteY20" fmla="*/ 119624 h 586620"/>
                  <a:gd name="connsiteX21" fmla="*/ 495812 w 891402"/>
                  <a:gd name="connsiteY21" fmla="*/ 151018 h 586620"/>
                  <a:gd name="connsiteX22" fmla="*/ 501905 w 891402"/>
                  <a:gd name="connsiteY22" fmla="*/ 156864 h 586620"/>
                  <a:gd name="connsiteX23" fmla="*/ 508107 w 891402"/>
                  <a:gd name="connsiteY23" fmla="*/ 166990 h 586620"/>
                  <a:gd name="connsiteX24" fmla="*/ 517053 w 891402"/>
                  <a:gd name="connsiteY24" fmla="*/ 174510 h 586620"/>
                  <a:gd name="connsiteX25" fmla="*/ 520429 w 891402"/>
                  <a:gd name="connsiteY25" fmla="*/ 192183 h 586620"/>
                  <a:gd name="connsiteX26" fmla="*/ 526027 w 891402"/>
                  <a:gd name="connsiteY26" fmla="*/ 200663 h 586620"/>
                  <a:gd name="connsiteX27" fmla="*/ 530143 w 891402"/>
                  <a:gd name="connsiteY27" fmla="*/ 212189 h 586620"/>
                  <a:gd name="connsiteX28" fmla="*/ 556626 w 891402"/>
                  <a:gd name="connsiteY28" fmla="*/ 224154 h 586620"/>
                  <a:gd name="connsiteX29" fmla="*/ 571610 w 891402"/>
                  <a:gd name="connsiteY29" fmla="*/ 225691 h 586620"/>
                  <a:gd name="connsiteX30" fmla="*/ 578855 w 891402"/>
                  <a:gd name="connsiteY30" fmla="*/ 230850 h 586620"/>
                  <a:gd name="connsiteX31" fmla="*/ 587719 w 891402"/>
                  <a:gd name="connsiteY31" fmla="*/ 227804 h 586620"/>
                  <a:gd name="connsiteX32" fmla="*/ 586045 w 891402"/>
                  <a:gd name="connsiteY32" fmla="*/ 237025 h 586620"/>
                  <a:gd name="connsiteX33" fmla="*/ 582368 w 891402"/>
                  <a:gd name="connsiteY33" fmla="*/ 245011 h 586620"/>
                  <a:gd name="connsiteX34" fmla="*/ 576138 w 891402"/>
                  <a:gd name="connsiteY34" fmla="*/ 249539 h 586620"/>
                  <a:gd name="connsiteX35" fmla="*/ 571967 w 891402"/>
                  <a:gd name="connsiteY35" fmla="*/ 256098 h 586620"/>
                  <a:gd name="connsiteX36" fmla="*/ 567686 w 891402"/>
                  <a:gd name="connsiteY36" fmla="*/ 342433 h 586620"/>
                  <a:gd name="connsiteX37" fmla="*/ 573421 w 891402"/>
                  <a:gd name="connsiteY37" fmla="*/ 361424 h 586620"/>
                  <a:gd name="connsiteX38" fmla="*/ 573531 w 891402"/>
                  <a:gd name="connsiteY38" fmla="*/ 367159 h 586620"/>
                  <a:gd name="connsiteX39" fmla="*/ 577510 w 891402"/>
                  <a:gd name="connsiteY39" fmla="*/ 372429 h 586620"/>
                  <a:gd name="connsiteX40" fmla="*/ 579431 w 891402"/>
                  <a:gd name="connsiteY40" fmla="*/ 368888 h 586620"/>
                  <a:gd name="connsiteX41" fmla="*/ 580776 w 891402"/>
                  <a:gd name="connsiteY41" fmla="*/ 369767 h 586620"/>
                  <a:gd name="connsiteX42" fmla="*/ 580776 w 891402"/>
                  <a:gd name="connsiteY42" fmla="*/ 380112 h 586620"/>
                  <a:gd name="connsiteX43" fmla="*/ 586841 w 891402"/>
                  <a:gd name="connsiteY43" fmla="*/ 396139 h 586620"/>
                  <a:gd name="connsiteX44" fmla="*/ 606380 w 891402"/>
                  <a:gd name="connsiteY44" fmla="*/ 421277 h 586620"/>
                  <a:gd name="connsiteX45" fmla="*/ 613762 w 891402"/>
                  <a:gd name="connsiteY45" fmla="*/ 439417 h 586620"/>
                  <a:gd name="connsiteX46" fmla="*/ 625563 w 891402"/>
                  <a:gd name="connsiteY46" fmla="*/ 453660 h 586620"/>
                  <a:gd name="connsiteX47" fmla="*/ 631463 w 891402"/>
                  <a:gd name="connsiteY47" fmla="*/ 456843 h 586620"/>
                  <a:gd name="connsiteX48" fmla="*/ 644334 w 891402"/>
                  <a:gd name="connsiteY48" fmla="*/ 458984 h 586620"/>
                  <a:gd name="connsiteX49" fmla="*/ 651798 w 891402"/>
                  <a:gd name="connsiteY49" fmla="*/ 462194 h 586620"/>
                  <a:gd name="connsiteX50" fmla="*/ 662007 w 891402"/>
                  <a:gd name="connsiteY50" fmla="*/ 472787 h 586620"/>
                  <a:gd name="connsiteX51" fmla="*/ 666096 w 891402"/>
                  <a:gd name="connsiteY51" fmla="*/ 474626 h 586620"/>
                  <a:gd name="connsiteX52" fmla="*/ 696256 w 891402"/>
                  <a:gd name="connsiteY52" fmla="*/ 467656 h 586620"/>
                  <a:gd name="connsiteX53" fmla="*/ 711350 w 891402"/>
                  <a:gd name="connsiteY53" fmla="*/ 466201 h 586620"/>
                  <a:gd name="connsiteX54" fmla="*/ 721202 w 891402"/>
                  <a:gd name="connsiteY54" fmla="*/ 461453 h 586620"/>
                  <a:gd name="connsiteX55" fmla="*/ 732700 w 891402"/>
                  <a:gd name="connsiteY55" fmla="*/ 459587 h 586620"/>
                  <a:gd name="connsiteX56" fmla="*/ 740329 w 891402"/>
                  <a:gd name="connsiteY56" fmla="*/ 460301 h 586620"/>
                  <a:gd name="connsiteX57" fmla="*/ 746504 w 891402"/>
                  <a:gd name="connsiteY57" fmla="*/ 464829 h 586620"/>
                  <a:gd name="connsiteX58" fmla="*/ 754106 w 891402"/>
                  <a:gd name="connsiteY58" fmla="*/ 465213 h 586620"/>
                  <a:gd name="connsiteX59" fmla="*/ 759951 w 891402"/>
                  <a:gd name="connsiteY59" fmla="*/ 460191 h 586620"/>
                  <a:gd name="connsiteX60" fmla="*/ 761378 w 891402"/>
                  <a:gd name="connsiteY60" fmla="*/ 450723 h 586620"/>
                  <a:gd name="connsiteX61" fmla="*/ 774523 w 891402"/>
                  <a:gd name="connsiteY61" fmla="*/ 439060 h 586620"/>
                  <a:gd name="connsiteX62" fmla="*/ 783360 w 891402"/>
                  <a:gd name="connsiteY62" fmla="*/ 419054 h 586620"/>
                  <a:gd name="connsiteX63" fmla="*/ 784540 w 891402"/>
                  <a:gd name="connsiteY63" fmla="*/ 401161 h 586620"/>
                  <a:gd name="connsiteX64" fmla="*/ 790413 w 891402"/>
                  <a:gd name="connsiteY64" fmla="*/ 385821 h 586620"/>
                  <a:gd name="connsiteX65" fmla="*/ 804793 w 891402"/>
                  <a:gd name="connsiteY65" fmla="*/ 378795 h 586620"/>
                  <a:gd name="connsiteX66" fmla="*/ 832949 w 891402"/>
                  <a:gd name="connsiteY66" fmla="*/ 374075 h 586620"/>
                  <a:gd name="connsiteX67" fmla="*/ 850760 w 891402"/>
                  <a:gd name="connsiteY67" fmla="*/ 368202 h 586620"/>
                  <a:gd name="connsiteX68" fmla="*/ 876748 w 891402"/>
                  <a:gd name="connsiteY68" fmla="*/ 372785 h 586620"/>
                  <a:gd name="connsiteX69" fmla="*/ 884734 w 891402"/>
                  <a:gd name="connsiteY69" fmla="*/ 370453 h 586620"/>
                  <a:gd name="connsiteX70" fmla="*/ 888713 w 891402"/>
                  <a:gd name="connsiteY70" fmla="*/ 374898 h 586620"/>
                  <a:gd name="connsiteX71" fmla="*/ 891403 w 891402"/>
                  <a:gd name="connsiteY71" fmla="*/ 386397 h 586620"/>
                  <a:gd name="connsiteX72" fmla="*/ 887451 w 891402"/>
                  <a:gd name="connsiteY72" fmla="*/ 394328 h 586620"/>
                  <a:gd name="connsiteX73" fmla="*/ 875184 w 891402"/>
                  <a:gd name="connsiteY73" fmla="*/ 409778 h 586620"/>
                  <a:gd name="connsiteX74" fmla="*/ 871973 w 891402"/>
                  <a:gd name="connsiteY74" fmla="*/ 422347 h 586620"/>
                  <a:gd name="connsiteX75" fmla="*/ 866787 w 891402"/>
                  <a:gd name="connsiteY75" fmla="*/ 429098 h 586620"/>
                  <a:gd name="connsiteX76" fmla="*/ 871122 w 891402"/>
                  <a:gd name="connsiteY76" fmla="*/ 433873 h 586620"/>
                  <a:gd name="connsiteX77" fmla="*/ 867802 w 891402"/>
                  <a:gd name="connsiteY77" fmla="*/ 439554 h 586620"/>
                  <a:gd name="connsiteX78" fmla="*/ 870299 w 891402"/>
                  <a:gd name="connsiteY78" fmla="*/ 444878 h 586620"/>
                  <a:gd name="connsiteX79" fmla="*/ 862478 w 891402"/>
                  <a:gd name="connsiteY79" fmla="*/ 469110 h 586620"/>
                  <a:gd name="connsiteX80" fmla="*/ 860639 w 891402"/>
                  <a:gd name="connsiteY80" fmla="*/ 471196 h 586620"/>
                  <a:gd name="connsiteX81" fmla="*/ 859048 w 891402"/>
                  <a:gd name="connsiteY81" fmla="*/ 470071 h 586620"/>
                  <a:gd name="connsiteX82" fmla="*/ 854300 w 891402"/>
                  <a:gd name="connsiteY82" fmla="*/ 457941 h 586620"/>
                  <a:gd name="connsiteX83" fmla="*/ 847384 w 891402"/>
                  <a:gd name="connsiteY83" fmla="*/ 465268 h 586620"/>
                  <a:gd name="connsiteX84" fmla="*/ 842170 w 891402"/>
                  <a:gd name="connsiteY84" fmla="*/ 466421 h 586620"/>
                  <a:gd name="connsiteX85" fmla="*/ 832538 w 891402"/>
                  <a:gd name="connsiteY85" fmla="*/ 481706 h 586620"/>
                  <a:gd name="connsiteX86" fmla="*/ 824826 w 891402"/>
                  <a:gd name="connsiteY86" fmla="*/ 481569 h 586620"/>
                  <a:gd name="connsiteX87" fmla="*/ 822960 w 891402"/>
                  <a:gd name="connsiteY87" fmla="*/ 486289 h 586620"/>
                  <a:gd name="connsiteX88" fmla="*/ 790577 w 891402"/>
                  <a:gd name="connsiteY88" fmla="*/ 486866 h 586620"/>
                  <a:gd name="connsiteX89" fmla="*/ 788958 w 891402"/>
                  <a:gd name="connsiteY89" fmla="*/ 486866 h 586620"/>
                  <a:gd name="connsiteX90" fmla="*/ 774468 w 891402"/>
                  <a:gd name="connsiteY90" fmla="*/ 487167 h 586620"/>
                  <a:gd name="connsiteX91" fmla="*/ 770489 w 891402"/>
                  <a:gd name="connsiteY91" fmla="*/ 487250 h 586620"/>
                  <a:gd name="connsiteX92" fmla="*/ 767909 w 891402"/>
                  <a:gd name="connsiteY92" fmla="*/ 501602 h 586620"/>
                  <a:gd name="connsiteX93" fmla="*/ 758744 w 891402"/>
                  <a:gd name="connsiteY93" fmla="*/ 505143 h 586620"/>
                  <a:gd name="connsiteX94" fmla="*/ 766620 w 891402"/>
                  <a:gd name="connsiteY94" fmla="*/ 513732 h 586620"/>
                  <a:gd name="connsiteX95" fmla="*/ 774468 w 891402"/>
                  <a:gd name="connsiteY95" fmla="*/ 518919 h 586620"/>
                  <a:gd name="connsiteX96" fmla="*/ 776691 w 891402"/>
                  <a:gd name="connsiteY96" fmla="*/ 520428 h 586620"/>
                  <a:gd name="connsiteX97" fmla="*/ 783799 w 891402"/>
                  <a:gd name="connsiteY97" fmla="*/ 528552 h 586620"/>
                  <a:gd name="connsiteX98" fmla="*/ 785336 w 891402"/>
                  <a:gd name="connsiteY98" fmla="*/ 531653 h 586620"/>
                  <a:gd name="connsiteX99" fmla="*/ 784677 w 891402"/>
                  <a:gd name="connsiteY99" fmla="*/ 537361 h 586620"/>
                  <a:gd name="connsiteX100" fmla="*/ 779984 w 891402"/>
                  <a:gd name="connsiteY100" fmla="*/ 539666 h 586620"/>
                  <a:gd name="connsiteX101" fmla="*/ 774468 w 891402"/>
                  <a:gd name="connsiteY101" fmla="*/ 539858 h 586620"/>
                  <a:gd name="connsiteX102" fmla="*/ 746888 w 891402"/>
                  <a:gd name="connsiteY102" fmla="*/ 540709 h 586620"/>
                  <a:gd name="connsiteX103" fmla="*/ 734292 w 891402"/>
                  <a:gd name="connsiteY103" fmla="*/ 562965 h 586620"/>
                  <a:gd name="connsiteX104" fmla="*/ 736103 w 891402"/>
                  <a:gd name="connsiteY104" fmla="*/ 571500 h 586620"/>
                  <a:gd name="connsiteX105" fmla="*/ 732234 w 891402"/>
                  <a:gd name="connsiteY105" fmla="*/ 586621 h 586620"/>
                  <a:gd name="connsiteX106" fmla="*/ 706300 w 891402"/>
                  <a:gd name="connsiteY106" fmla="*/ 560577 h 586620"/>
                  <a:gd name="connsiteX107" fmla="*/ 681135 w 891402"/>
                  <a:gd name="connsiteY107" fmla="*/ 540105 h 586620"/>
                  <a:gd name="connsiteX108" fmla="*/ 668072 w 891402"/>
                  <a:gd name="connsiteY108" fmla="*/ 535467 h 586620"/>
                  <a:gd name="connsiteX109" fmla="*/ 649822 w 891402"/>
                  <a:gd name="connsiteY109" fmla="*/ 536620 h 586620"/>
                  <a:gd name="connsiteX110" fmla="*/ 630942 w 891402"/>
                  <a:gd name="connsiteY110" fmla="*/ 544661 h 586620"/>
                  <a:gd name="connsiteX111" fmla="*/ 607862 w 891402"/>
                  <a:gd name="connsiteY111" fmla="*/ 551027 h 586620"/>
                  <a:gd name="connsiteX112" fmla="*/ 570155 w 891402"/>
                  <a:gd name="connsiteY112" fmla="*/ 541944 h 586620"/>
                  <a:gd name="connsiteX113" fmla="*/ 548722 w 891402"/>
                  <a:gd name="connsiteY113" fmla="*/ 532586 h 586620"/>
                  <a:gd name="connsiteX114" fmla="*/ 537608 w 891402"/>
                  <a:gd name="connsiteY114" fmla="*/ 525560 h 586620"/>
                  <a:gd name="connsiteX115" fmla="*/ 514995 w 891402"/>
                  <a:gd name="connsiteY115" fmla="*/ 520072 h 586620"/>
                  <a:gd name="connsiteX116" fmla="*/ 501274 w 891402"/>
                  <a:gd name="connsiteY116" fmla="*/ 512580 h 586620"/>
                  <a:gd name="connsiteX117" fmla="*/ 475285 w 891402"/>
                  <a:gd name="connsiteY117" fmla="*/ 503276 h 586620"/>
                  <a:gd name="connsiteX118" fmla="*/ 446607 w 891402"/>
                  <a:gd name="connsiteY118" fmla="*/ 483188 h 586620"/>
                  <a:gd name="connsiteX119" fmla="*/ 434175 w 891402"/>
                  <a:gd name="connsiteY119" fmla="*/ 480883 h 586620"/>
                  <a:gd name="connsiteX120" fmla="*/ 405964 w 891402"/>
                  <a:gd name="connsiteY120" fmla="*/ 471553 h 586620"/>
                  <a:gd name="connsiteX121" fmla="*/ 386754 w 891402"/>
                  <a:gd name="connsiteY121" fmla="*/ 454208 h 586620"/>
                  <a:gd name="connsiteX122" fmla="*/ 357939 w 891402"/>
                  <a:gd name="connsiteY122" fmla="*/ 437798 h 586620"/>
                  <a:gd name="connsiteX123" fmla="*/ 344080 w 891402"/>
                  <a:gd name="connsiteY123" fmla="*/ 420399 h 586620"/>
                  <a:gd name="connsiteX124" fmla="*/ 339168 w 891402"/>
                  <a:gd name="connsiteY124" fmla="*/ 409696 h 586620"/>
                  <a:gd name="connsiteX125" fmla="*/ 340265 w 891402"/>
                  <a:gd name="connsiteY125" fmla="*/ 404482 h 586620"/>
                  <a:gd name="connsiteX126" fmla="*/ 346248 w 891402"/>
                  <a:gd name="connsiteY126" fmla="*/ 399131 h 586620"/>
                  <a:gd name="connsiteX127" fmla="*/ 345013 w 891402"/>
                  <a:gd name="connsiteY127" fmla="*/ 391858 h 586620"/>
                  <a:gd name="connsiteX128" fmla="*/ 348773 w 891402"/>
                  <a:gd name="connsiteY128" fmla="*/ 383900 h 586620"/>
                  <a:gd name="connsiteX129" fmla="*/ 349651 w 891402"/>
                  <a:gd name="connsiteY129" fmla="*/ 376874 h 586620"/>
                  <a:gd name="connsiteX130" fmla="*/ 340979 w 891402"/>
                  <a:gd name="connsiteY130" fmla="*/ 358487 h 586620"/>
                  <a:gd name="connsiteX131" fmla="*/ 343175 w 891402"/>
                  <a:gd name="connsiteY131" fmla="*/ 349514 h 586620"/>
                  <a:gd name="connsiteX132" fmla="*/ 335628 w 891402"/>
                  <a:gd name="connsiteY132" fmla="*/ 337576 h 586620"/>
                  <a:gd name="connsiteX133" fmla="*/ 315539 w 891402"/>
                  <a:gd name="connsiteY133" fmla="*/ 317268 h 586620"/>
                  <a:gd name="connsiteX134" fmla="*/ 297976 w 891402"/>
                  <a:gd name="connsiteY134" fmla="*/ 294244 h 586620"/>
                  <a:gd name="connsiteX135" fmla="*/ 281044 w 891402"/>
                  <a:gd name="connsiteY135" fmla="*/ 276461 h 586620"/>
                  <a:gd name="connsiteX136" fmla="*/ 271439 w 891402"/>
                  <a:gd name="connsiteY136" fmla="*/ 270094 h 586620"/>
                  <a:gd name="connsiteX137" fmla="*/ 267981 w 891402"/>
                  <a:gd name="connsiteY137" fmla="*/ 264139 h 586620"/>
                  <a:gd name="connsiteX138" fmla="*/ 264715 w 891402"/>
                  <a:gd name="connsiteY138" fmla="*/ 263260 h 586620"/>
                  <a:gd name="connsiteX139" fmla="*/ 264166 w 891402"/>
                  <a:gd name="connsiteY139" fmla="*/ 256646 h 586620"/>
                  <a:gd name="connsiteX140" fmla="*/ 258650 w 891402"/>
                  <a:gd name="connsiteY140" fmla="*/ 253848 h 586620"/>
                  <a:gd name="connsiteX141" fmla="*/ 253738 w 891402"/>
                  <a:gd name="connsiteY141" fmla="*/ 248468 h 586620"/>
                  <a:gd name="connsiteX142" fmla="*/ 239330 w 891402"/>
                  <a:gd name="connsiteY142" fmla="*/ 241608 h 586620"/>
                  <a:gd name="connsiteX143" fmla="*/ 233869 w 891402"/>
                  <a:gd name="connsiteY143" fmla="*/ 236943 h 586620"/>
                  <a:gd name="connsiteX144" fmla="*/ 230082 w 891402"/>
                  <a:gd name="connsiteY144" fmla="*/ 238287 h 586620"/>
                  <a:gd name="connsiteX145" fmla="*/ 230905 w 891402"/>
                  <a:gd name="connsiteY145" fmla="*/ 234500 h 586620"/>
                  <a:gd name="connsiteX146" fmla="*/ 228079 w 891402"/>
                  <a:gd name="connsiteY146" fmla="*/ 225554 h 586620"/>
                  <a:gd name="connsiteX147" fmla="*/ 231372 w 891402"/>
                  <a:gd name="connsiteY147" fmla="*/ 215071 h 586620"/>
                  <a:gd name="connsiteX148" fmla="*/ 229231 w 891402"/>
                  <a:gd name="connsiteY148" fmla="*/ 208978 h 586620"/>
                  <a:gd name="connsiteX149" fmla="*/ 224401 w 891402"/>
                  <a:gd name="connsiteY149" fmla="*/ 203929 h 586620"/>
                  <a:gd name="connsiteX150" fmla="*/ 216580 w 891402"/>
                  <a:gd name="connsiteY150" fmla="*/ 200690 h 586620"/>
                  <a:gd name="connsiteX151" fmla="*/ 209116 w 891402"/>
                  <a:gd name="connsiteY151" fmla="*/ 191360 h 586620"/>
                  <a:gd name="connsiteX152" fmla="*/ 197233 w 891402"/>
                  <a:gd name="connsiteY152" fmla="*/ 183786 h 586620"/>
                  <a:gd name="connsiteX153" fmla="*/ 193363 w 891402"/>
                  <a:gd name="connsiteY153" fmla="*/ 177720 h 586620"/>
                  <a:gd name="connsiteX154" fmla="*/ 190564 w 891402"/>
                  <a:gd name="connsiteY154" fmla="*/ 166524 h 586620"/>
                  <a:gd name="connsiteX155" fmla="*/ 175141 w 891402"/>
                  <a:gd name="connsiteY155" fmla="*/ 159306 h 586620"/>
                  <a:gd name="connsiteX156" fmla="*/ 151732 w 891402"/>
                  <a:gd name="connsiteY156" fmla="*/ 133867 h 586620"/>
                  <a:gd name="connsiteX157" fmla="*/ 145475 w 891402"/>
                  <a:gd name="connsiteY157" fmla="*/ 124399 h 586620"/>
                  <a:gd name="connsiteX158" fmla="*/ 141661 w 891402"/>
                  <a:gd name="connsiteY158" fmla="*/ 133318 h 586620"/>
                  <a:gd name="connsiteX159" fmla="*/ 136419 w 891402"/>
                  <a:gd name="connsiteY159" fmla="*/ 131479 h 586620"/>
                  <a:gd name="connsiteX160" fmla="*/ 137078 w 891402"/>
                  <a:gd name="connsiteY160" fmla="*/ 122478 h 586620"/>
                  <a:gd name="connsiteX161" fmla="*/ 141578 w 891402"/>
                  <a:gd name="connsiteY161" fmla="*/ 117319 h 586620"/>
                  <a:gd name="connsiteX162" fmla="*/ 130683 w 891402"/>
                  <a:gd name="connsiteY162" fmla="*/ 97148 h 586620"/>
                  <a:gd name="connsiteX163" fmla="*/ 120338 w 891402"/>
                  <a:gd name="connsiteY163" fmla="*/ 71379 h 586620"/>
                  <a:gd name="connsiteX164" fmla="*/ 116111 w 891402"/>
                  <a:gd name="connsiteY164" fmla="*/ 53486 h 586620"/>
                  <a:gd name="connsiteX165" fmla="*/ 97176 w 891402"/>
                  <a:gd name="connsiteY165" fmla="*/ 40615 h 586620"/>
                  <a:gd name="connsiteX166" fmla="*/ 87433 w 891402"/>
                  <a:gd name="connsiteY166" fmla="*/ 40451 h 586620"/>
                  <a:gd name="connsiteX167" fmla="*/ 75880 w 891402"/>
                  <a:gd name="connsiteY167" fmla="*/ 35539 h 586620"/>
                  <a:gd name="connsiteX168" fmla="*/ 71516 w 891402"/>
                  <a:gd name="connsiteY168" fmla="*/ 35730 h 586620"/>
                  <a:gd name="connsiteX169" fmla="*/ 68580 w 891402"/>
                  <a:gd name="connsiteY169" fmla="*/ 40039 h 586620"/>
                  <a:gd name="connsiteX170" fmla="*/ 66961 w 891402"/>
                  <a:gd name="connsiteY170" fmla="*/ 50934 h 586620"/>
                  <a:gd name="connsiteX171" fmla="*/ 76045 w 891402"/>
                  <a:gd name="connsiteY171" fmla="*/ 91522 h 586620"/>
                  <a:gd name="connsiteX172" fmla="*/ 83344 w 891402"/>
                  <a:gd name="connsiteY172" fmla="*/ 101374 h 586620"/>
                  <a:gd name="connsiteX173" fmla="*/ 99344 w 891402"/>
                  <a:gd name="connsiteY173" fmla="*/ 115288 h 586620"/>
                  <a:gd name="connsiteX174" fmla="*/ 106589 w 891402"/>
                  <a:gd name="connsiteY174" fmla="*/ 127610 h 586620"/>
                  <a:gd name="connsiteX175" fmla="*/ 122204 w 891402"/>
                  <a:gd name="connsiteY175" fmla="*/ 144844 h 586620"/>
                  <a:gd name="connsiteX176" fmla="*/ 131040 w 891402"/>
                  <a:gd name="connsiteY176" fmla="*/ 167292 h 586620"/>
                  <a:gd name="connsiteX177" fmla="*/ 144570 w 891402"/>
                  <a:gd name="connsiteY177" fmla="*/ 184279 h 586620"/>
                  <a:gd name="connsiteX178" fmla="*/ 149125 w 891402"/>
                  <a:gd name="connsiteY178" fmla="*/ 187545 h 586620"/>
                  <a:gd name="connsiteX179" fmla="*/ 155657 w 891402"/>
                  <a:gd name="connsiteY179" fmla="*/ 202611 h 586620"/>
                  <a:gd name="connsiteX180" fmla="*/ 159746 w 891402"/>
                  <a:gd name="connsiteY180" fmla="*/ 202748 h 586620"/>
                  <a:gd name="connsiteX181" fmla="*/ 164521 w 891402"/>
                  <a:gd name="connsiteY181" fmla="*/ 207743 h 586620"/>
                  <a:gd name="connsiteX182" fmla="*/ 171519 w 891402"/>
                  <a:gd name="connsiteY182" fmla="*/ 231920 h 586620"/>
                  <a:gd name="connsiteX183" fmla="*/ 187381 w 891402"/>
                  <a:gd name="connsiteY183" fmla="*/ 261257 h 586620"/>
                  <a:gd name="connsiteX184" fmla="*/ 188972 w 891402"/>
                  <a:gd name="connsiteY184" fmla="*/ 273469 h 586620"/>
                  <a:gd name="connsiteX185" fmla="*/ 192293 w 891402"/>
                  <a:gd name="connsiteY185" fmla="*/ 281455 h 586620"/>
                  <a:gd name="connsiteX186" fmla="*/ 196519 w 891402"/>
                  <a:gd name="connsiteY186" fmla="*/ 284638 h 586620"/>
                  <a:gd name="connsiteX187" fmla="*/ 202666 w 891402"/>
                  <a:gd name="connsiteY187" fmla="*/ 283211 h 586620"/>
                  <a:gd name="connsiteX188" fmla="*/ 207688 w 891402"/>
                  <a:gd name="connsiteY188" fmla="*/ 285763 h 586620"/>
                  <a:gd name="connsiteX189" fmla="*/ 214330 w 891402"/>
                  <a:gd name="connsiteY189" fmla="*/ 292075 h 586620"/>
                  <a:gd name="connsiteX190" fmla="*/ 223825 w 891402"/>
                  <a:gd name="connsiteY190" fmla="*/ 306840 h 586620"/>
                  <a:gd name="connsiteX191" fmla="*/ 224895 w 891402"/>
                  <a:gd name="connsiteY191" fmla="*/ 313838 h 586620"/>
                  <a:gd name="connsiteX192" fmla="*/ 222480 w 891402"/>
                  <a:gd name="connsiteY192" fmla="*/ 318777 h 586620"/>
                  <a:gd name="connsiteX193" fmla="*/ 214522 w 891402"/>
                  <a:gd name="connsiteY193" fmla="*/ 324293 h 586620"/>
                  <a:gd name="connsiteX194" fmla="*/ 209582 w 891402"/>
                  <a:gd name="connsiteY194" fmla="*/ 323964 h 586620"/>
                  <a:gd name="connsiteX195" fmla="*/ 196711 w 891402"/>
                  <a:gd name="connsiteY195" fmla="*/ 304041 h 586620"/>
                  <a:gd name="connsiteX196" fmla="*/ 145805 w 891402"/>
                  <a:gd name="connsiteY196" fmla="*/ 262821 h 586620"/>
                  <a:gd name="connsiteX197" fmla="*/ 147726 w 891402"/>
                  <a:gd name="connsiteY197" fmla="*/ 239659 h 586620"/>
                  <a:gd name="connsiteX198" fmla="*/ 144981 w 891402"/>
                  <a:gd name="connsiteY198" fmla="*/ 229203 h 586620"/>
                  <a:gd name="connsiteX199" fmla="*/ 139904 w 891402"/>
                  <a:gd name="connsiteY199" fmla="*/ 221272 h 586620"/>
                  <a:gd name="connsiteX200" fmla="*/ 115123 w 891402"/>
                  <a:gd name="connsiteY200" fmla="*/ 200773 h 586620"/>
                  <a:gd name="connsiteX201" fmla="*/ 102664 w 891402"/>
                  <a:gd name="connsiteY201" fmla="*/ 200251 h 586620"/>
                  <a:gd name="connsiteX202" fmla="*/ 82713 w 891402"/>
                  <a:gd name="connsiteY202" fmla="*/ 188561 h 586620"/>
                  <a:gd name="connsiteX203" fmla="*/ 65589 w 891402"/>
                  <a:gd name="connsiteY203" fmla="*/ 170640 h 586620"/>
                  <a:gd name="connsiteX204" fmla="*/ 67537 w 891402"/>
                  <a:gd name="connsiteY204" fmla="*/ 166881 h 586620"/>
                  <a:gd name="connsiteX205" fmla="*/ 85046 w 891402"/>
                  <a:gd name="connsiteY205" fmla="*/ 166634 h 586620"/>
                  <a:gd name="connsiteX206" fmla="*/ 88696 w 891402"/>
                  <a:gd name="connsiteY206" fmla="*/ 153132 h 586620"/>
                  <a:gd name="connsiteX207" fmla="*/ 87982 w 891402"/>
                  <a:gd name="connsiteY207" fmla="*/ 143746 h 586620"/>
                  <a:gd name="connsiteX208" fmla="*/ 64903 w 891402"/>
                  <a:gd name="connsiteY208" fmla="*/ 116770 h 586620"/>
                  <a:gd name="connsiteX209" fmla="*/ 43058 w 891402"/>
                  <a:gd name="connsiteY209" fmla="*/ 99892 h 586620"/>
                  <a:gd name="connsiteX210" fmla="*/ 30078 w 891402"/>
                  <a:gd name="connsiteY210" fmla="*/ 66933 h 586620"/>
                  <a:gd name="connsiteX211" fmla="*/ 16411 w 891402"/>
                  <a:gd name="connsiteY211" fmla="*/ 43470 h 586620"/>
                  <a:gd name="connsiteX212" fmla="*/ 12734 w 891402"/>
                  <a:gd name="connsiteY212" fmla="*/ 29748 h 586620"/>
                  <a:gd name="connsiteX213" fmla="*/ 0 w 891402"/>
                  <a:gd name="connsiteY213" fmla="*/ 5955 h 586620"/>
                  <a:gd name="connsiteX214" fmla="*/ 68580 w 891402"/>
                  <a:gd name="connsiteY214" fmla="*/ 0 h 586620"/>
                  <a:gd name="connsiteX215" fmla="*/ 68690 w 891402"/>
                  <a:gd name="connsiteY215" fmla="*/ 5708 h 586620"/>
                  <a:gd name="connsiteX216" fmla="*/ 70968 w 891402"/>
                  <a:gd name="connsiteY216" fmla="*/ 8370 h 58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891402" h="586620">
                    <a:moveTo>
                      <a:pt x="71187" y="8287"/>
                    </a:moveTo>
                    <a:lnTo>
                      <a:pt x="179916" y="47531"/>
                    </a:lnTo>
                    <a:lnTo>
                      <a:pt x="260900" y="47531"/>
                    </a:lnTo>
                    <a:cubicBezTo>
                      <a:pt x="260900" y="47531"/>
                      <a:pt x="262355" y="46186"/>
                      <a:pt x="262355" y="46186"/>
                    </a:cubicBezTo>
                    <a:lnTo>
                      <a:pt x="264743" y="32218"/>
                    </a:lnTo>
                    <a:lnTo>
                      <a:pt x="314881" y="33755"/>
                    </a:lnTo>
                    <a:lnTo>
                      <a:pt x="321879" y="42701"/>
                    </a:lnTo>
                    <a:lnTo>
                      <a:pt x="358982" y="73492"/>
                    </a:lnTo>
                    <a:lnTo>
                      <a:pt x="365266" y="85704"/>
                    </a:lnTo>
                    <a:lnTo>
                      <a:pt x="366968" y="96352"/>
                    </a:lnTo>
                    <a:lnTo>
                      <a:pt x="372538" y="106094"/>
                    </a:lnTo>
                    <a:lnTo>
                      <a:pt x="385409" y="115947"/>
                    </a:lnTo>
                    <a:lnTo>
                      <a:pt x="406348" y="126540"/>
                    </a:lnTo>
                    <a:lnTo>
                      <a:pt x="411398" y="126677"/>
                    </a:lnTo>
                    <a:lnTo>
                      <a:pt x="417765" y="120474"/>
                    </a:lnTo>
                    <a:lnTo>
                      <a:pt x="422183" y="108317"/>
                    </a:lnTo>
                    <a:lnTo>
                      <a:pt x="426684" y="101868"/>
                    </a:lnTo>
                    <a:lnTo>
                      <a:pt x="436892" y="97999"/>
                    </a:lnTo>
                    <a:lnTo>
                      <a:pt x="462030" y="101923"/>
                    </a:lnTo>
                    <a:lnTo>
                      <a:pt x="468177" y="109580"/>
                    </a:lnTo>
                    <a:lnTo>
                      <a:pt x="480472" y="119624"/>
                    </a:lnTo>
                    <a:lnTo>
                      <a:pt x="495812" y="151018"/>
                    </a:lnTo>
                    <a:lnTo>
                      <a:pt x="501905" y="156864"/>
                    </a:lnTo>
                    <a:lnTo>
                      <a:pt x="508107" y="166990"/>
                    </a:lnTo>
                    <a:lnTo>
                      <a:pt x="517053" y="174510"/>
                    </a:lnTo>
                    <a:lnTo>
                      <a:pt x="520429" y="192183"/>
                    </a:lnTo>
                    <a:lnTo>
                      <a:pt x="526027" y="200663"/>
                    </a:lnTo>
                    <a:lnTo>
                      <a:pt x="530143" y="212189"/>
                    </a:lnTo>
                    <a:lnTo>
                      <a:pt x="556626" y="224154"/>
                    </a:lnTo>
                    <a:lnTo>
                      <a:pt x="571610" y="225691"/>
                    </a:lnTo>
                    <a:lnTo>
                      <a:pt x="578855" y="230850"/>
                    </a:lnTo>
                    <a:lnTo>
                      <a:pt x="587719" y="227804"/>
                    </a:lnTo>
                    <a:lnTo>
                      <a:pt x="586045" y="237025"/>
                    </a:lnTo>
                    <a:lnTo>
                      <a:pt x="582368" y="245011"/>
                    </a:lnTo>
                    <a:lnTo>
                      <a:pt x="576138" y="249539"/>
                    </a:lnTo>
                    <a:lnTo>
                      <a:pt x="571967" y="256098"/>
                    </a:lnTo>
                    <a:lnTo>
                      <a:pt x="567686" y="342433"/>
                    </a:lnTo>
                    <a:lnTo>
                      <a:pt x="573421" y="361424"/>
                    </a:lnTo>
                    <a:lnTo>
                      <a:pt x="573531" y="367159"/>
                    </a:lnTo>
                    <a:lnTo>
                      <a:pt x="577510" y="372429"/>
                    </a:lnTo>
                    <a:lnTo>
                      <a:pt x="579431" y="368888"/>
                    </a:lnTo>
                    <a:lnTo>
                      <a:pt x="580776" y="369767"/>
                    </a:lnTo>
                    <a:lnTo>
                      <a:pt x="580776" y="380112"/>
                    </a:lnTo>
                    <a:cubicBezTo>
                      <a:pt x="580776" y="380112"/>
                      <a:pt x="586841" y="396139"/>
                      <a:pt x="586841" y="396139"/>
                    </a:cubicBezTo>
                    <a:lnTo>
                      <a:pt x="606380" y="421277"/>
                    </a:lnTo>
                    <a:lnTo>
                      <a:pt x="613762" y="439417"/>
                    </a:lnTo>
                    <a:lnTo>
                      <a:pt x="625563" y="453660"/>
                    </a:lnTo>
                    <a:lnTo>
                      <a:pt x="631463" y="456843"/>
                    </a:lnTo>
                    <a:lnTo>
                      <a:pt x="644334" y="458984"/>
                    </a:lnTo>
                    <a:lnTo>
                      <a:pt x="651798" y="462194"/>
                    </a:lnTo>
                    <a:lnTo>
                      <a:pt x="662007" y="472787"/>
                    </a:lnTo>
                    <a:lnTo>
                      <a:pt x="666096" y="474626"/>
                    </a:lnTo>
                    <a:lnTo>
                      <a:pt x="696256" y="467656"/>
                    </a:lnTo>
                    <a:lnTo>
                      <a:pt x="711350" y="466201"/>
                    </a:lnTo>
                    <a:lnTo>
                      <a:pt x="721202" y="461453"/>
                    </a:lnTo>
                    <a:lnTo>
                      <a:pt x="732700" y="459587"/>
                    </a:lnTo>
                    <a:lnTo>
                      <a:pt x="740329" y="460301"/>
                    </a:lnTo>
                    <a:lnTo>
                      <a:pt x="746504" y="464829"/>
                    </a:lnTo>
                    <a:lnTo>
                      <a:pt x="754106" y="465213"/>
                    </a:lnTo>
                    <a:lnTo>
                      <a:pt x="759951" y="460191"/>
                    </a:lnTo>
                    <a:lnTo>
                      <a:pt x="761378" y="450723"/>
                    </a:lnTo>
                    <a:lnTo>
                      <a:pt x="774523" y="439060"/>
                    </a:lnTo>
                    <a:lnTo>
                      <a:pt x="783360" y="419054"/>
                    </a:lnTo>
                    <a:lnTo>
                      <a:pt x="784540" y="401161"/>
                    </a:lnTo>
                    <a:lnTo>
                      <a:pt x="790413" y="385821"/>
                    </a:lnTo>
                    <a:lnTo>
                      <a:pt x="804793" y="378795"/>
                    </a:lnTo>
                    <a:lnTo>
                      <a:pt x="832949" y="374075"/>
                    </a:lnTo>
                    <a:lnTo>
                      <a:pt x="850760" y="368202"/>
                    </a:lnTo>
                    <a:lnTo>
                      <a:pt x="876748" y="372785"/>
                    </a:lnTo>
                    <a:lnTo>
                      <a:pt x="884734" y="370453"/>
                    </a:lnTo>
                    <a:lnTo>
                      <a:pt x="888713" y="374898"/>
                    </a:lnTo>
                    <a:lnTo>
                      <a:pt x="891403" y="386397"/>
                    </a:lnTo>
                    <a:lnTo>
                      <a:pt x="887451" y="394328"/>
                    </a:lnTo>
                    <a:lnTo>
                      <a:pt x="875184" y="409778"/>
                    </a:lnTo>
                    <a:lnTo>
                      <a:pt x="871973" y="422347"/>
                    </a:lnTo>
                    <a:lnTo>
                      <a:pt x="866787" y="429098"/>
                    </a:lnTo>
                    <a:lnTo>
                      <a:pt x="871122" y="433873"/>
                    </a:lnTo>
                    <a:lnTo>
                      <a:pt x="867802" y="439554"/>
                    </a:lnTo>
                    <a:lnTo>
                      <a:pt x="870299" y="444878"/>
                    </a:lnTo>
                    <a:lnTo>
                      <a:pt x="862478" y="469110"/>
                    </a:lnTo>
                    <a:lnTo>
                      <a:pt x="860639" y="471196"/>
                    </a:lnTo>
                    <a:lnTo>
                      <a:pt x="859048" y="470071"/>
                    </a:lnTo>
                    <a:lnTo>
                      <a:pt x="854300" y="457941"/>
                    </a:lnTo>
                    <a:lnTo>
                      <a:pt x="847384" y="465268"/>
                    </a:lnTo>
                    <a:lnTo>
                      <a:pt x="842170" y="466421"/>
                    </a:lnTo>
                    <a:lnTo>
                      <a:pt x="832538" y="481706"/>
                    </a:lnTo>
                    <a:lnTo>
                      <a:pt x="824826" y="481569"/>
                    </a:lnTo>
                    <a:lnTo>
                      <a:pt x="822960" y="486289"/>
                    </a:lnTo>
                    <a:lnTo>
                      <a:pt x="790577" y="486866"/>
                    </a:lnTo>
                    <a:lnTo>
                      <a:pt x="788958" y="486866"/>
                    </a:lnTo>
                    <a:cubicBezTo>
                      <a:pt x="788958" y="486866"/>
                      <a:pt x="774468" y="487167"/>
                      <a:pt x="774468" y="487167"/>
                    </a:cubicBezTo>
                    <a:lnTo>
                      <a:pt x="770489" y="487250"/>
                    </a:lnTo>
                    <a:lnTo>
                      <a:pt x="767909" y="501602"/>
                    </a:lnTo>
                    <a:lnTo>
                      <a:pt x="758744" y="505143"/>
                    </a:lnTo>
                    <a:lnTo>
                      <a:pt x="766620" y="513732"/>
                    </a:lnTo>
                    <a:lnTo>
                      <a:pt x="774468" y="518919"/>
                    </a:lnTo>
                    <a:lnTo>
                      <a:pt x="776691" y="520428"/>
                    </a:lnTo>
                    <a:lnTo>
                      <a:pt x="783799" y="528552"/>
                    </a:lnTo>
                    <a:lnTo>
                      <a:pt x="785336" y="531653"/>
                    </a:lnTo>
                    <a:lnTo>
                      <a:pt x="784677" y="537361"/>
                    </a:lnTo>
                    <a:lnTo>
                      <a:pt x="779984" y="539666"/>
                    </a:lnTo>
                    <a:lnTo>
                      <a:pt x="774468" y="539858"/>
                    </a:lnTo>
                    <a:lnTo>
                      <a:pt x="746888" y="540709"/>
                    </a:lnTo>
                    <a:lnTo>
                      <a:pt x="734292" y="562965"/>
                    </a:lnTo>
                    <a:lnTo>
                      <a:pt x="736103" y="571500"/>
                    </a:lnTo>
                    <a:lnTo>
                      <a:pt x="732234" y="586621"/>
                    </a:lnTo>
                    <a:lnTo>
                      <a:pt x="706300" y="560577"/>
                    </a:lnTo>
                    <a:lnTo>
                      <a:pt x="681135" y="540105"/>
                    </a:lnTo>
                    <a:lnTo>
                      <a:pt x="668072" y="535467"/>
                    </a:lnTo>
                    <a:lnTo>
                      <a:pt x="649822" y="536620"/>
                    </a:lnTo>
                    <a:lnTo>
                      <a:pt x="630942" y="544661"/>
                    </a:lnTo>
                    <a:lnTo>
                      <a:pt x="607862" y="551027"/>
                    </a:lnTo>
                    <a:lnTo>
                      <a:pt x="570155" y="541944"/>
                    </a:lnTo>
                    <a:lnTo>
                      <a:pt x="548722" y="532586"/>
                    </a:lnTo>
                    <a:lnTo>
                      <a:pt x="537608" y="525560"/>
                    </a:lnTo>
                    <a:lnTo>
                      <a:pt x="514995" y="520072"/>
                    </a:lnTo>
                    <a:lnTo>
                      <a:pt x="501274" y="512580"/>
                    </a:lnTo>
                    <a:lnTo>
                      <a:pt x="475285" y="503276"/>
                    </a:lnTo>
                    <a:lnTo>
                      <a:pt x="446607" y="483188"/>
                    </a:lnTo>
                    <a:lnTo>
                      <a:pt x="434175" y="480883"/>
                    </a:lnTo>
                    <a:lnTo>
                      <a:pt x="405964" y="471553"/>
                    </a:lnTo>
                    <a:lnTo>
                      <a:pt x="386754" y="454208"/>
                    </a:lnTo>
                    <a:lnTo>
                      <a:pt x="357939" y="437798"/>
                    </a:lnTo>
                    <a:lnTo>
                      <a:pt x="344080" y="420399"/>
                    </a:lnTo>
                    <a:lnTo>
                      <a:pt x="339168" y="409696"/>
                    </a:lnTo>
                    <a:lnTo>
                      <a:pt x="340265" y="404482"/>
                    </a:lnTo>
                    <a:lnTo>
                      <a:pt x="346248" y="399131"/>
                    </a:lnTo>
                    <a:lnTo>
                      <a:pt x="345013" y="391858"/>
                    </a:lnTo>
                    <a:lnTo>
                      <a:pt x="348773" y="383900"/>
                    </a:lnTo>
                    <a:lnTo>
                      <a:pt x="349651" y="376874"/>
                    </a:lnTo>
                    <a:lnTo>
                      <a:pt x="340979" y="358487"/>
                    </a:lnTo>
                    <a:lnTo>
                      <a:pt x="343175" y="349514"/>
                    </a:lnTo>
                    <a:lnTo>
                      <a:pt x="335628" y="337576"/>
                    </a:lnTo>
                    <a:lnTo>
                      <a:pt x="315539" y="317268"/>
                    </a:lnTo>
                    <a:lnTo>
                      <a:pt x="297976" y="294244"/>
                    </a:lnTo>
                    <a:lnTo>
                      <a:pt x="281044" y="276461"/>
                    </a:lnTo>
                    <a:lnTo>
                      <a:pt x="271439" y="270094"/>
                    </a:lnTo>
                    <a:lnTo>
                      <a:pt x="267981" y="264139"/>
                    </a:lnTo>
                    <a:lnTo>
                      <a:pt x="264715" y="263260"/>
                    </a:lnTo>
                    <a:lnTo>
                      <a:pt x="264166" y="256646"/>
                    </a:lnTo>
                    <a:lnTo>
                      <a:pt x="258650" y="253848"/>
                    </a:lnTo>
                    <a:lnTo>
                      <a:pt x="253738" y="248468"/>
                    </a:lnTo>
                    <a:lnTo>
                      <a:pt x="239330" y="241608"/>
                    </a:lnTo>
                    <a:lnTo>
                      <a:pt x="233869" y="236943"/>
                    </a:lnTo>
                    <a:lnTo>
                      <a:pt x="230082" y="238287"/>
                    </a:lnTo>
                    <a:lnTo>
                      <a:pt x="230905" y="234500"/>
                    </a:lnTo>
                    <a:lnTo>
                      <a:pt x="228079" y="225554"/>
                    </a:lnTo>
                    <a:lnTo>
                      <a:pt x="231372" y="215071"/>
                    </a:lnTo>
                    <a:lnTo>
                      <a:pt x="229231" y="208978"/>
                    </a:lnTo>
                    <a:lnTo>
                      <a:pt x="224401" y="203929"/>
                    </a:lnTo>
                    <a:lnTo>
                      <a:pt x="216580" y="200690"/>
                    </a:lnTo>
                    <a:lnTo>
                      <a:pt x="209116" y="191360"/>
                    </a:lnTo>
                    <a:lnTo>
                      <a:pt x="197233" y="183786"/>
                    </a:lnTo>
                    <a:lnTo>
                      <a:pt x="193363" y="177720"/>
                    </a:lnTo>
                    <a:lnTo>
                      <a:pt x="190564" y="166524"/>
                    </a:lnTo>
                    <a:lnTo>
                      <a:pt x="175141" y="159306"/>
                    </a:lnTo>
                    <a:lnTo>
                      <a:pt x="151732" y="133867"/>
                    </a:lnTo>
                    <a:lnTo>
                      <a:pt x="145475" y="124399"/>
                    </a:lnTo>
                    <a:lnTo>
                      <a:pt x="141661" y="133318"/>
                    </a:lnTo>
                    <a:lnTo>
                      <a:pt x="136419" y="131479"/>
                    </a:lnTo>
                    <a:lnTo>
                      <a:pt x="137078" y="122478"/>
                    </a:lnTo>
                    <a:lnTo>
                      <a:pt x="141578" y="117319"/>
                    </a:lnTo>
                    <a:lnTo>
                      <a:pt x="130683" y="97148"/>
                    </a:lnTo>
                    <a:lnTo>
                      <a:pt x="120338" y="71379"/>
                    </a:lnTo>
                    <a:lnTo>
                      <a:pt x="116111" y="53486"/>
                    </a:lnTo>
                    <a:lnTo>
                      <a:pt x="97176" y="40615"/>
                    </a:lnTo>
                    <a:lnTo>
                      <a:pt x="87433" y="40451"/>
                    </a:lnTo>
                    <a:lnTo>
                      <a:pt x="75880" y="35539"/>
                    </a:lnTo>
                    <a:lnTo>
                      <a:pt x="71516" y="35730"/>
                    </a:lnTo>
                    <a:lnTo>
                      <a:pt x="68580" y="40039"/>
                    </a:lnTo>
                    <a:lnTo>
                      <a:pt x="66961" y="50934"/>
                    </a:lnTo>
                    <a:lnTo>
                      <a:pt x="76045" y="91522"/>
                    </a:lnTo>
                    <a:lnTo>
                      <a:pt x="83344" y="101374"/>
                    </a:lnTo>
                    <a:lnTo>
                      <a:pt x="99344" y="115288"/>
                    </a:lnTo>
                    <a:lnTo>
                      <a:pt x="106589" y="127610"/>
                    </a:lnTo>
                    <a:lnTo>
                      <a:pt x="122204" y="144844"/>
                    </a:lnTo>
                    <a:lnTo>
                      <a:pt x="131040" y="167292"/>
                    </a:lnTo>
                    <a:lnTo>
                      <a:pt x="144570" y="184279"/>
                    </a:lnTo>
                    <a:lnTo>
                      <a:pt x="149125" y="187545"/>
                    </a:lnTo>
                    <a:lnTo>
                      <a:pt x="155657" y="202611"/>
                    </a:lnTo>
                    <a:lnTo>
                      <a:pt x="159746" y="202748"/>
                    </a:lnTo>
                    <a:lnTo>
                      <a:pt x="164521" y="207743"/>
                    </a:lnTo>
                    <a:lnTo>
                      <a:pt x="171519" y="231920"/>
                    </a:lnTo>
                    <a:lnTo>
                      <a:pt x="187381" y="261257"/>
                    </a:lnTo>
                    <a:lnTo>
                      <a:pt x="188972" y="273469"/>
                    </a:lnTo>
                    <a:lnTo>
                      <a:pt x="192293" y="281455"/>
                    </a:lnTo>
                    <a:lnTo>
                      <a:pt x="196519" y="284638"/>
                    </a:lnTo>
                    <a:lnTo>
                      <a:pt x="202666" y="283211"/>
                    </a:lnTo>
                    <a:lnTo>
                      <a:pt x="207688" y="285763"/>
                    </a:lnTo>
                    <a:lnTo>
                      <a:pt x="214330" y="292075"/>
                    </a:lnTo>
                    <a:lnTo>
                      <a:pt x="223825" y="306840"/>
                    </a:lnTo>
                    <a:lnTo>
                      <a:pt x="224895" y="313838"/>
                    </a:lnTo>
                    <a:lnTo>
                      <a:pt x="222480" y="318777"/>
                    </a:lnTo>
                    <a:lnTo>
                      <a:pt x="214522" y="324293"/>
                    </a:lnTo>
                    <a:lnTo>
                      <a:pt x="209582" y="323964"/>
                    </a:lnTo>
                    <a:lnTo>
                      <a:pt x="196711" y="304041"/>
                    </a:lnTo>
                    <a:lnTo>
                      <a:pt x="145805" y="262821"/>
                    </a:lnTo>
                    <a:lnTo>
                      <a:pt x="147726" y="239659"/>
                    </a:lnTo>
                    <a:lnTo>
                      <a:pt x="144981" y="229203"/>
                    </a:lnTo>
                    <a:lnTo>
                      <a:pt x="139904" y="221272"/>
                    </a:lnTo>
                    <a:lnTo>
                      <a:pt x="115123" y="200773"/>
                    </a:lnTo>
                    <a:lnTo>
                      <a:pt x="102664" y="200251"/>
                    </a:lnTo>
                    <a:lnTo>
                      <a:pt x="82713" y="188561"/>
                    </a:lnTo>
                    <a:lnTo>
                      <a:pt x="65589" y="170640"/>
                    </a:lnTo>
                    <a:lnTo>
                      <a:pt x="67537" y="166881"/>
                    </a:lnTo>
                    <a:lnTo>
                      <a:pt x="85046" y="166634"/>
                    </a:lnTo>
                    <a:lnTo>
                      <a:pt x="88696" y="153132"/>
                    </a:lnTo>
                    <a:lnTo>
                      <a:pt x="87982" y="143746"/>
                    </a:lnTo>
                    <a:lnTo>
                      <a:pt x="64903" y="116770"/>
                    </a:lnTo>
                    <a:lnTo>
                      <a:pt x="43058" y="99892"/>
                    </a:lnTo>
                    <a:lnTo>
                      <a:pt x="30078" y="66933"/>
                    </a:lnTo>
                    <a:lnTo>
                      <a:pt x="16411" y="43470"/>
                    </a:lnTo>
                    <a:lnTo>
                      <a:pt x="12734" y="29748"/>
                    </a:lnTo>
                    <a:lnTo>
                      <a:pt x="0" y="5955"/>
                    </a:lnTo>
                    <a:lnTo>
                      <a:pt x="68580" y="0"/>
                    </a:lnTo>
                    <a:lnTo>
                      <a:pt x="68690" y="5708"/>
                    </a:lnTo>
                    <a:lnTo>
                      <a:pt x="70968" y="83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6" name="Freeform: Shape 3955">
                <a:extLst>
                  <a:ext uri="{FF2B5EF4-FFF2-40B4-BE49-F238E27FC236}">
                    <a16:creationId xmlns:a16="http://schemas.microsoft.com/office/drawing/2014/main" id="{C0FD9864-8834-2323-24F2-C8945897BB63}"/>
                  </a:ext>
                </a:extLst>
              </p:cNvPr>
              <p:cNvSpPr/>
              <p:nvPr/>
            </p:nvSpPr>
            <p:spPr>
              <a:xfrm>
                <a:off x="1672514" y="3823839"/>
                <a:ext cx="12843" cy="16687"/>
              </a:xfrm>
              <a:custGeom>
                <a:avLst/>
                <a:gdLst>
                  <a:gd name="connsiteX0" fmla="*/ 26071 w 123136"/>
                  <a:gd name="connsiteY0" fmla="*/ 26208 h 159992"/>
                  <a:gd name="connsiteX1" fmla="*/ 30380 w 123136"/>
                  <a:gd name="connsiteY1" fmla="*/ 31614 h 159992"/>
                  <a:gd name="connsiteX2" fmla="*/ 34523 w 123136"/>
                  <a:gd name="connsiteY2" fmla="*/ 26921 h 159992"/>
                  <a:gd name="connsiteX3" fmla="*/ 42509 w 123136"/>
                  <a:gd name="connsiteY3" fmla="*/ 23464 h 159992"/>
                  <a:gd name="connsiteX4" fmla="*/ 46818 w 123136"/>
                  <a:gd name="connsiteY4" fmla="*/ 27114 h 159992"/>
                  <a:gd name="connsiteX5" fmla="*/ 50412 w 123136"/>
                  <a:gd name="connsiteY5" fmla="*/ 27306 h 159992"/>
                  <a:gd name="connsiteX6" fmla="*/ 57356 w 123136"/>
                  <a:gd name="connsiteY6" fmla="*/ 17728 h 159992"/>
                  <a:gd name="connsiteX7" fmla="*/ 58069 w 123136"/>
                  <a:gd name="connsiteY7" fmla="*/ 13749 h 159992"/>
                  <a:gd name="connsiteX8" fmla="*/ 65506 w 123136"/>
                  <a:gd name="connsiteY8" fmla="*/ 16273 h 159992"/>
                  <a:gd name="connsiteX9" fmla="*/ 70776 w 123136"/>
                  <a:gd name="connsiteY9" fmla="*/ 24891 h 159992"/>
                  <a:gd name="connsiteX10" fmla="*/ 86171 w 123136"/>
                  <a:gd name="connsiteY10" fmla="*/ 36993 h 159992"/>
                  <a:gd name="connsiteX11" fmla="*/ 90837 w 123136"/>
                  <a:gd name="connsiteY11" fmla="*/ 43799 h 159992"/>
                  <a:gd name="connsiteX12" fmla="*/ 97395 w 123136"/>
                  <a:gd name="connsiteY12" fmla="*/ 56341 h 159992"/>
                  <a:gd name="connsiteX13" fmla="*/ 99316 w 123136"/>
                  <a:gd name="connsiteY13" fmla="*/ 70281 h 159992"/>
                  <a:gd name="connsiteX14" fmla="*/ 95007 w 123136"/>
                  <a:gd name="connsiteY14" fmla="*/ 87598 h 159992"/>
                  <a:gd name="connsiteX15" fmla="*/ 98438 w 123136"/>
                  <a:gd name="connsiteY15" fmla="*/ 94541 h 159992"/>
                  <a:gd name="connsiteX16" fmla="*/ 97724 w 123136"/>
                  <a:gd name="connsiteY16" fmla="*/ 110403 h 159992"/>
                  <a:gd name="connsiteX17" fmla="*/ 100442 w 123136"/>
                  <a:gd name="connsiteY17" fmla="*/ 115974 h 159992"/>
                  <a:gd name="connsiteX18" fmla="*/ 108043 w 123136"/>
                  <a:gd name="connsiteY18" fmla="*/ 121216 h 159992"/>
                  <a:gd name="connsiteX19" fmla="*/ 122066 w 123136"/>
                  <a:gd name="connsiteY19" fmla="*/ 150388 h 159992"/>
                  <a:gd name="connsiteX20" fmla="*/ 121929 w 123136"/>
                  <a:gd name="connsiteY20" fmla="*/ 150689 h 159992"/>
                  <a:gd name="connsiteX21" fmla="*/ 122094 w 123136"/>
                  <a:gd name="connsiteY21" fmla="*/ 151128 h 159992"/>
                  <a:gd name="connsiteX22" fmla="*/ 121956 w 123136"/>
                  <a:gd name="connsiteY22" fmla="*/ 151760 h 159992"/>
                  <a:gd name="connsiteX23" fmla="*/ 122039 w 123136"/>
                  <a:gd name="connsiteY23" fmla="*/ 152007 h 159992"/>
                  <a:gd name="connsiteX24" fmla="*/ 122560 w 123136"/>
                  <a:gd name="connsiteY24" fmla="*/ 152528 h 159992"/>
                  <a:gd name="connsiteX25" fmla="*/ 122725 w 123136"/>
                  <a:gd name="connsiteY25" fmla="*/ 152967 h 159992"/>
                  <a:gd name="connsiteX26" fmla="*/ 122725 w 123136"/>
                  <a:gd name="connsiteY26" fmla="*/ 153132 h 159992"/>
                  <a:gd name="connsiteX27" fmla="*/ 122725 w 123136"/>
                  <a:gd name="connsiteY27" fmla="*/ 153296 h 159992"/>
                  <a:gd name="connsiteX28" fmla="*/ 122450 w 123136"/>
                  <a:gd name="connsiteY28" fmla="*/ 153598 h 159992"/>
                  <a:gd name="connsiteX29" fmla="*/ 122450 w 123136"/>
                  <a:gd name="connsiteY29" fmla="*/ 154147 h 159992"/>
                  <a:gd name="connsiteX30" fmla="*/ 122725 w 123136"/>
                  <a:gd name="connsiteY30" fmla="*/ 154724 h 159992"/>
                  <a:gd name="connsiteX31" fmla="*/ 123082 w 123136"/>
                  <a:gd name="connsiteY31" fmla="*/ 155217 h 159992"/>
                  <a:gd name="connsiteX32" fmla="*/ 123136 w 123136"/>
                  <a:gd name="connsiteY32" fmla="*/ 155492 h 159992"/>
                  <a:gd name="connsiteX33" fmla="*/ 123136 w 123136"/>
                  <a:gd name="connsiteY33" fmla="*/ 155602 h 159992"/>
                  <a:gd name="connsiteX34" fmla="*/ 122917 w 123136"/>
                  <a:gd name="connsiteY34" fmla="*/ 155547 h 159992"/>
                  <a:gd name="connsiteX35" fmla="*/ 122725 w 123136"/>
                  <a:gd name="connsiteY35" fmla="*/ 155602 h 159992"/>
                  <a:gd name="connsiteX36" fmla="*/ 122533 w 123136"/>
                  <a:gd name="connsiteY36" fmla="*/ 156013 h 159992"/>
                  <a:gd name="connsiteX37" fmla="*/ 122533 w 123136"/>
                  <a:gd name="connsiteY37" fmla="*/ 156315 h 159992"/>
                  <a:gd name="connsiteX38" fmla="*/ 122725 w 123136"/>
                  <a:gd name="connsiteY38" fmla="*/ 157221 h 159992"/>
                  <a:gd name="connsiteX39" fmla="*/ 122670 w 123136"/>
                  <a:gd name="connsiteY39" fmla="*/ 157550 h 159992"/>
                  <a:gd name="connsiteX40" fmla="*/ 122176 w 123136"/>
                  <a:gd name="connsiteY40" fmla="*/ 157770 h 159992"/>
                  <a:gd name="connsiteX41" fmla="*/ 122094 w 123136"/>
                  <a:gd name="connsiteY41" fmla="*/ 157770 h 159992"/>
                  <a:gd name="connsiteX42" fmla="*/ 121764 w 123136"/>
                  <a:gd name="connsiteY42" fmla="*/ 157550 h 159992"/>
                  <a:gd name="connsiteX43" fmla="*/ 121600 w 123136"/>
                  <a:gd name="connsiteY43" fmla="*/ 157550 h 159992"/>
                  <a:gd name="connsiteX44" fmla="*/ 121051 w 123136"/>
                  <a:gd name="connsiteY44" fmla="*/ 158099 h 159992"/>
                  <a:gd name="connsiteX45" fmla="*/ 120749 w 123136"/>
                  <a:gd name="connsiteY45" fmla="*/ 158181 h 159992"/>
                  <a:gd name="connsiteX46" fmla="*/ 120310 w 123136"/>
                  <a:gd name="connsiteY46" fmla="*/ 158456 h 159992"/>
                  <a:gd name="connsiteX47" fmla="*/ 119843 w 123136"/>
                  <a:gd name="connsiteY47" fmla="*/ 158209 h 159992"/>
                  <a:gd name="connsiteX48" fmla="*/ 119267 w 123136"/>
                  <a:gd name="connsiteY48" fmla="*/ 158346 h 159992"/>
                  <a:gd name="connsiteX49" fmla="*/ 118856 w 123136"/>
                  <a:gd name="connsiteY49" fmla="*/ 158264 h 159992"/>
                  <a:gd name="connsiteX50" fmla="*/ 118361 w 123136"/>
                  <a:gd name="connsiteY50" fmla="*/ 158318 h 159992"/>
                  <a:gd name="connsiteX51" fmla="*/ 117950 w 123136"/>
                  <a:gd name="connsiteY51" fmla="*/ 157880 h 159992"/>
                  <a:gd name="connsiteX52" fmla="*/ 117017 w 123136"/>
                  <a:gd name="connsiteY52" fmla="*/ 157578 h 159992"/>
                  <a:gd name="connsiteX53" fmla="*/ 117017 w 123136"/>
                  <a:gd name="connsiteY53" fmla="*/ 157330 h 159992"/>
                  <a:gd name="connsiteX54" fmla="*/ 117593 w 123136"/>
                  <a:gd name="connsiteY54" fmla="*/ 156864 h 159992"/>
                  <a:gd name="connsiteX55" fmla="*/ 117593 w 123136"/>
                  <a:gd name="connsiteY55" fmla="*/ 156562 h 159992"/>
                  <a:gd name="connsiteX56" fmla="*/ 116880 w 123136"/>
                  <a:gd name="connsiteY56" fmla="*/ 155629 h 159992"/>
                  <a:gd name="connsiteX57" fmla="*/ 116166 w 123136"/>
                  <a:gd name="connsiteY57" fmla="*/ 155217 h 159992"/>
                  <a:gd name="connsiteX58" fmla="*/ 116166 w 123136"/>
                  <a:gd name="connsiteY58" fmla="*/ 154943 h 159992"/>
                  <a:gd name="connsiteX59" fmla="*/ 115837 w 123136"/>
                  <a:gd name="connsiteY59" fmla="*/ 154943 h 159992"/>
                  <a:gd name="connsiteX60" fmla="*/ 115535 w 123136"/>
                  <a:gd name="connsiteY60" fmla="*/ 154751 h 159992"/>
                  <a:gd name="connsiteX61" fmla="*/ 115535 w 123136"/>
                  <a:gd name="connsiteY61" fmla="*/ 154586 h 159992"/>
                  <a:gd name="connsiteX62" fmla="*/ 115974 w 123136"/>
                  <a:gd name="connsiteY62" fmla="*/ 154120 h 159992"/>
                  <a:gd name="connsiteX63" fmla="*/ 116056 w 123136"/>
                  <a:gd name="connsiteY63" fmla="*/ 153845 h 159992"/>
                  <a:gd name="connsiteX64" fmla="*/ 115919 w 123136"/>
                  <a:gd name="connsiteY64" fmla="*/ 153598 h 159992"/>
                  <a:gd name="connsiteX65" fmla="*/ 115508 w 123136"/>
                  <a:gd name="connsiteY65" fmla="*/ 153516 h 159992"/>
                  <a:gd name="connsiteX66" fmla="*/ 115398 w 123136"/>
                  <a:gd name="connsiteY66" fmla="*/ 153379 h 159992"/>
                  <a:gd name="connsiteX67" fmla="*/ 115261 w 123136"/>
                  <a:gd name="connsiteY67" fmla="*/ 153296 h 159992"/>
                  <a:gd name="connsiteX68" fmla="*/ 115096 w 123136"/>
                  <a:gd name="connsiteY68" fmla="*/ 153241 h 159992"/>
                  <a:gd name="connsiteX69" fmla="*/ 114931 w 123136"/>
                  <a:gd name="connsiteY69" fmla="*/ 153241 h 159992"/>
                  <a:gd name="connsiteX70" fmla="*/ 114767 w 123136"/>
                  <a:gd name="connsiteY70" fmla="*/ 153324 h 159992"/>
                  <a:gd name="connsiteX71" fmla="*/ 114657 w 123136"/>
                  <a:gd name="connsiteY71" fmla="*/ 153434 h 159992"/>
                  <a:gd name="connsiteX72" fmla="*/ 114574 w 123136"/>
                  <a:gd name="connsiteY72" fmla="*/ 153571 h 159992"/>
                  <a:gd name="connsiteX73" fmla="*/ 114519 w 123136"/>
                  <a:gd name="connsiteY73" fmla="*/ 153736 h 159992"/>
                  <a:gd name="connsiteX74" fmla="*/ 114465 w 123136"/>
                  <a:gd name="connsiteY74" fmla="*/ 154065 h 159992"/>
                  <a:gd name="connsiteX75" fmla="*/ 114574 w 123136"/>
                  <a:gd name="connsiteY75" fmla="*/ 154614 h 159992"/>
                  <a:gd name="connsiteX76" fmla="*/ 114492 w 123136"/>
                  <a:gd name="connsiteY76" fmla="*/ 155108 h 159992"/>
                  <a:gd name="connsiteX77" fmla="*/ 114081 w 123136"/>
                  <a:gd name="connsiteY77" fmla="*/ 155547 h 159992"/>
                  <a:gd name="connsiteX78" fmla="*/ 113696 w 123136"/>
                  <a:gd name="connsiteY78" fmla="*/ 155629 h 159992"/>
                  <a:gd name="connsiteX79" fmla="*/ 113422 w 123136"/>
                  <a:gd name="connsiteY79" fmla="*/ 155519 h 159992"/>
                  <a:gd name="connsiteX80" fmla="*/ 113175 w 123136"/>
                  <a:gd name="connsiteY80" fmla="*/ 155794 h 159992"/>
                  <a:gd name="connsiteX81" fmla="*/ 112077 w 123136"/>
                  <a:gd name="connsiteY81" fmla="*/ 155547 h 159992"/>
                  <a:gd name="connsiteX82" fmla="*/ 111364 w 123136"/>
                  <a:gd name="connsiteY82" fmla="*/ 155547 h 159992"/>
                  <a:gd name="connsiteX83" fmla="*/ 110842 w 123136"/>
                  <a:gd name="connsiteY83" fmla="*/ 155327 h 159992"/>
                  <a:gd name="connsiteX84" fmla="*/ 110211 w 123136"/>
                  <a:gd name="connsiteY84" fmla="*/ 154531 h 159992"/>
                  <a:gd name="connsiteX85" fmla="*/ 109113 w 123136"/>
                  <a:gd name="connsiteY85" fmla="*/ 154147 h 159992"/>
                  <a:gd name="connsiteX86" fmla="*/ 108235 w 123136"/>
                  <a:gd name="connsiteY86" fmla="*/ 154147 h 159992"/>
                  <a:gd name="connsiteX87" fmla="*/ 107357 w 123136"/>
                  <a:gd name="connsiteY87" fmla="*/ 154915 h 159992"/>
                  <a:gd name="connsiteX88" fmla="*/ 107137 w 123136"/>
                  <a:gd name="connsiteY88" fmla="*/ 154998 h 159992"/>
                  <a:gd name="connsiteX89" fmla="*/ 106479 w 123136"/>
                  <a:gd name="connsiteY89" fmla="*/ 154861 h 159992"/>
                  <a:gd name="connsiteX90" fmla="*/ 105984 w 123136"/>
                  <a:gd name="connsiteY90" fmla="*/ 154531 h 159992"/>
                  <a:gd name="connsiteX91" fmla="*/ 105683 w 123136"/>
                  <a:gd name="connsiteY91" fmla="*/ 154531 h 159992"/>
                  <a:gd name="connsiteX92" fmla="*/ 105381 w 123136"/>
                  <a:gd name="connsiteY92" fmla="*/ 154833 h 159992"/>
                  <a:gd name="connsiteX93" fmla="*/ 105052 w 123136"/>
                  <a:gd name="connsiteY93" fmla="*/ 154833 h 159992"/>
                  <a:gd name="connsiteX94" fmla="*/ 105052 w 123136"/>
                  <a:gd name="connsiteY94" fmla="*/ 155190 h 159992"/>
                  <a:gd name="connsiteX95" fmla="*/ 104531 w 123136"/>
                  <a:gd name="connsiteY95" fmla="*/ 155574 h 159992"/>
                  <a:gd name="connsiteX96" fmla="*/ 104311 w 123136"/>
                  <a:gd name="connsiteY96" fmla="*/ 156041 h 159992"/>
                  <a:gd name="connsiteX97" fmla="*/ 103926 w 123136"/>
                  <a:gd name="connsiteY97" fmla="*/ 156535 h 159992"/>
                  <a:gd name="connsiteX98" fmla="*/ 103735 w 123136"/>
                  <a:gd name="connsiteY98" fmla="*/ 157056 h 159992"/>
                  <a:gd name="connsiteX99" fmla="*/ 103405 w 123136"/>
                  <a:gd name="connsiteY99" fmla="*/ 157166 h 159992"/>
                  <a:gd name="connsiteX100" fmla="*/ 103323 w 123136"/>
                  <a:gd name="connsiteY100" fmla="*/ 157550 h 159992"/>
                  <a:gd name="connsiteX101" fmla="*/ 102636 w 123136"/>
                  <a:gd name="connsiteY101" fmla="*/ 158154 h 159992"/>
                  <a:gd name="connsiteX102" fmla="*/ 102115 w 123136"/>
                  <a:gd name="connsiteY102" fmla="*/ 158209 h 159992"/>
                  <a:gd name="connsiteX103" fmla="*/ 101045 w 123136"/>
                  <a:gd name="connsiteY103" fmla="*/ 157989 h 159992"/>
                  <a:gd name="connsiteX104" fmla="*/ 100825 w 123136"/>
                  <a:gd name="connsiteY104" fmla="*/ 158071 h 159992"/>
                  <a:gd name="connsiteX105" fmla="*/ 100743 w 123136"/>
                  <a:gd name="connsiteY105" fmla="*/ 158703 h 159992"/>
                  <a:gd name="connsiteX106" fmla="*/ 99975 w 123136"/>
                  <a:gd name="connsiteY106" fmla="*/ 159471 h 159992"/>
                  <a:gd name="connsiteX107" fmla="*/ 99975 w 123136"/>
                  <a:gd name="connsiteY107" fmla="*/ 159608 h 159992"/>
                  <a:gd name="connsiteX108" fmla="*/ 99892 w 123136"/>
                  <a:gd name="connsiteY108" fmla="*/ 159773 h 159992"/>
                  <a:gd name="connsiteX109" fmla="*/ 99782 w 123136"/>
                  <a:gd name="connsiteY109" fmla="*/ 159883 h 159992"/>
                  <a:gd name="connsiteX110" fmla="*/ 99646 w 123136"/>
                  <a:gd name="connsiteY110" fmla="*/ 159993 h 159992"/>
                  <a:gd name="connsiteX111" fmla="*/ 99481 w 123136"/>
                  <a:gd name="connsiteY111" fmla="*/ 159993 h 159992"/>
                  <a:gd name="connsiteX112" fmla="*/ 99316 w 123136"/>
                  <a:gd name="connsiteY112" fmla="*/ 159993 h 159992"/>
                  <a:gd name="connsiteX113" fmla="*/ 99151 w 123136"/>
                  <a:gd name="connsiteY113" fmla="*/ 159910 h 159992"/>
                  <a:gd name="connsiteX114" fmla="*/ 99014 w 123136"/>
                  <a:gd name="connsiteY114" fmla="*/ 159800 h 159992"/>
                  <a:gd name="connsiteX115" fmla="*/ 98657 w 123136"/>
                  <a:gd name="connsiteY115" fmla="*/ 159389 h 159992"/>
                  <a:gd name="connsiteX116" fmla="*/ 97697 w 123136"/>
                  <a:gd name="connsiteY116" fmla="*/ 158675 h 159992"/>
                  <a:gd name="connsiteX117" fmla="*/ 96956 w 123136"/>
                  <a:gd name="connsiteY117" fmla="*/ 156727 h 159992"/>
                  <a:gd name="connsiteX118" fmla="*/ 96627 w 123136"/>
                  <a:gd name="connsiteY118" fmla="*/ 155300 h 159992"/>
                  <a:gd name="connsiteX119" fmla="*/ 95858 w 123136"/>
                  <a:gd name="connsiteY119" fmla="*/ 153351 h 159992"/>
                  <a:gd name="connsiteX120" fmla="*/ 95584 w 123136"/>
                  <a:gd name="connsiteY120" fmla="*/ 152857 h 159992"/>
                  <a:gd name="connsiteX121" fmla="*/ 94541 w 123136"/>
                  <a:gd name="connsiteY121" fmla="*/ 151869 h 159992"/>
                  <a:gd name="connsiteX122" fmla="*/ 93141 w 123136"/>
                  <a:gd name="connsiteY122" fmla="*/ 151101 h 159992"/>
                  <a:gd name="connsiteX123" fmla="*/ 92730 w 123136"/>
                  <a:gd name="connsiteY123" fmla="*/ 150689 h 159992"/>
                  <a:gd name="connsiteX124" fmla="*/ 92318 w 123136"/>
                  <a:gd name="connsiteY124" fmla="*/ 150744 h 159992"/>
                  <a:gd name="connsiteX125" fmla="*/ 91604 w 123136"/>
                  <a:gd name="connsiteY125" fmla="*/ 150497 h 159992"/>
                  <a:gd name="connsiteX126" fmla="*/ 90672 w 123136"/>
                  <a:gd name="connsiteY126" fmla="*/ 150497 h 159992"/>
                  <a:gd name="connsiteX127" fmla="*/ 90672 w 123136"/>
                  <a:gd name="connsiteY127" fmla="*/ 150058 h 159992"/>
                  <a:gd name="connsiteX128" fmla="*/ 90479 w 123136"/>
                  <a:gd name="connsiteY128" fmla="*/ 149976 h 159992"/>
                  <a:gd name="connsiteX129" fmla="*/ 75715 w 123136"/>
                  <a:gd name="connsiteY129" fmla="*/ 142429 h 159992"/>
                  <a:gd name="connsiteX130" fmla="*/ 70638 w 123136"/>
                  <a:gd name="connsiteY130" fmla="*/ 136831 h 159992"/>
                  <a:gd name="connsiteX131" fmla="*/ 60155 w 123136"/>
                  <a:gd name="connsiteY131" fmla="*/ 132220 h 159992"/>
                  <a:gd name="connsiteX132" fmla="*/ 51538 w 123136"/>
                  <a:gd name="connsiteY132" fmla="*/ 126485 h 159992"/>
                  <a:gd name="connsiteX133" fmla="*/ 48629 w 123136"/>
                  <a:gd name="connsiteY133" fmla="*/ 121984 h 159992"/>
                  <a:gd name="connsiteX134" fmla="*/ 40972 w 123136"/>
                  <a:gd name="connsiteY134" fmla="*/ 118883 h 159992"/>
                  <a:gd name="connsiteX135" fmla="*/ 34029 w 123136"/>
                  <a:gd name="connsiteY135" fmla="*/ 113367 h 159992"/>
                  <a:gd name="connsiteX136" fmla="*/ 32629 w 123136"/>
                  <a:gd name="connsiteY136" fmla="*/ 109690 h 159992"/>
                  <a:gd name="connsiteX137" fmla="*/ 35429 w 123136"/>
                  <a:gd name="connsiteY137" fmla="*/ 106753 h 159992"/>
                  <a:gd name="connsiteX138" fmla="*/ 34633 w 123136"/>
                  <a:gd name="connsiteY138" fmla="*/ 102582 h 159992"/>
                  <a:gd name="connsiteX139" fmla="*/ 26592 w 123136"/>
                  <a:gd name="connsiteY139" fmla="*/ 91248 h 159992"/>
                  <a:gd name="connsiteX140" fmla="*/ 17948 w 123136"/>
                  <a:gd name="connsiteY140" fmla="*/ 83482 h 159992"/>
                  <a:gd name="connsiteX141" fmla="*/ 18551 w 123136"/>
                  <a:gd name="connsiteY141" fmla="*/ 77691 h 159992"/>
                  <a:gd name="connsiteX142" fmla="*/ 13447 w 123136"/>
                  <a:gd name="connsiteY142" fmla="*/ 73986 h 159992"/>
                  <a:gd name="connsiteX143" fmla="*/ 13228 w 123136"/>
                  <a:gd name="connsiteY143" fmla="*/ 70364 h 159992"/>
                  <a:gd name="connsiteX144" fmla="*/ 14846 w 123136"/>
                  <a:gd name="connsiteY144" fmla="*/ 65424 h 159992"/>
                  <a:gd name="connsiteX145" fmla="*/ 13776 w 123136"/>
                  <a:gd name="connsiteY145" fmla="*/ 58097 h 159992"/>
                  <a:gd name="connsiteX146" fmla="*/ 7547 w 123136"/>
                  <a:gd name="connsiteY146" fmla="*/ 48382 h 159992"/>
                  <a:gd name="connsiteX147" fmla="*/ 8809 w 123136"/>
                  <a:gd name="connsiteY147" fmla="*/ 44348 h 159992"/>
                  <a:gd name="connsiteX148" fmla="*/ 6751 w 123136"/>
                  <a:gd name="connsiteY148" fmla="*/ 22366 h 159992"/>
                  <a:gd name="connsiteX149" fmla="*/ 0 w 123136"/>
                  <a:gd name="connsiteY149" fmla="*/ 8480 h 159992"/>
                  <a:gd name="connsiteX150" fmla="*/ 1976 w 123136"/>
                  <a:gd name="connsiteY150" fmla="*/ 851 h 159992"/>
                  <a:gd name="connsiteX151" fmla="*/ 3814 w 123136"/>
                  <a:gd name="connsiteY151" fmla="*/ 0 h 159992"/>
                  <a:gd name="connsiteX152" fmla="*/ 7409 w 123136"/>
                  <a:gd name="connsiteY152" fmla="*/ 4693 h 159992"/>
                  <a:gd name="connsiteX153" fmla="*/ 19320 w 123136"/>
                  <a:gd name="connsiteY153" fmla="*/ 7492 h 159992"/>
                  <a:gd name="connsiteX154" fmla="*/ 22037 w 123136"/>
                  <a:gd name="connsiteY154" fmla="*/ 13310 h 159992"/>
                  <a:gd name="connsiteX155" fmla="*/ 28623 w 123136"/>
                  <a:gd name="connsiteY155" fmla="*/ 13913 h 159992"/>
                  <a:gd name="connsiteX156" fmla="*/ 29254 w 123136"/>
                  <a:gd name="connsiteY156" fmla="*/ 21351 h 159992"/>
                  <a:gd name="connsiteX157" fmla="*/ 25906 w 123136"/>
                  <a:gd name="connsiteY157" fmla="*/ 26290 h 15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23136" h="159992">
                    <a:moveTo>
                      <a:pt x="26071" y="26208"/>
                    </a:moveTo>
                    <a:lnTo>
                      <a:pt x="30380" y="31614"/>
                    </a:lnTo>
                    <a:lnTo>
                      <a:pt x="34523" y="26921"/>
                    </a:lnTo>
                    <a:lnTo>
                      <a:pt x="42509" y="23464"/>
                    </a:lnTo>
                    <a:lnTo>
                      <a:pt x="46818" y="27114"/>
                    </a:lnTo>
                    <a:lnTo>
                      <a:pt x="50412" y="27306"/>
                    </a:lnTo>
                    <a:lnTo>
                      <a:pt x="57356" y="17728"/>
                    </a:lnTo>
                    <a:lnTo>
                      <a:pt x="58069" y="13749"/>
                    </a:lnTo>
                    <a:lnTo>
                      <a:pt x="65506" y="16273"/>
                    </a:lnTo>
                    <a:lnTo>
                      <a:pt x="70776" y="24891"/>
                    </a:lnTo>
                    <a:lnTo>
                      <a:pt x="86171" y="36993"/>
                    </a:lnTo>
                    <a:lnTo>
                      <a:pt x="90837" y="43799"/>
                    </a:lnTo>
                    <a:lnTo>
                      <a:pt x="97395" y="56341"/>
                    </a:lnTo>
                    <a:lnTo>
                      <a:pt x="99316" y="70281"/>
                    </a:lnTo>
                    <a:lnTo>
                      <a:pt x="95007" y="87598"/>
                    </a:lnTo>
                    <a:lnTo>
                      <a:pt x="98438" y="94541"/>
                    </a:lnTo>
                    <a:lnTo>
                      <a:pt x="97724" y="110403"/>
                    </a:lnTo>
                    <a:lnTo>
                      <a:pt x="100442" y="115974"/>
                    </a:lnTo>
                    <a:lnTo>
                      <a:pt x="108043" y="121216"/>
                    </a:lnTo>
                    <a:lnTo>
                      <a:pt x="122066" y="150388"/>
                    </a:lnTo>
                    <a:lnTo>
                      <a:pt x="121929" y="150689"/>
                    </a:lnTo>
                    <a:lnTo>
                      <a:pt x="122094" y="151128"/>
                    </a:lnTo>
                    <a:lnTo>
                      <a:pt x="121956" y="151760"/>
                    </a:lnTo>
                    <a:lnTo>
                      <a:pt x="122039" y="152007"/>
                    </a:lnTo>
                    <a:lnTo>
                      <a:pt x="122560" y="152528"/>
                    </a:lnTo>
                    <a:lnTo>
                      <a:pt x="122725" y="152967"/>
                    </a:lnTo>
                    <a:lnTo>
                      <a:pt x="122725" y="153132"/>
                    </a:lnTo>
                    <a:cubicBezTo>
                      <a:pt x="122725" y="153132"/>
                      <a:pt x="122725" y="153296"/>
                      <a:pt x="122725" y="153296"/>
                    </a:cubicBezTo>
                    <a:lnTo>
                      <a:pt x="122450" y="153598"/>
                    </a:lnTo>
                    <a:lnTo>
                      <a:pt x="122450" y="154147"/>
                    </a:lnTo>
                    <a:cubicBezTo>
                      <a:pt x="122450" y="154147"/>
                      <a:pt x="122725" y="154724"/>
                      <a:pt x="122725" y="154724"/>
                    </a:cubicBezTo>
                    <a:lnTo>
                      <a:pt x="123082" y="155217"/>
                    </a:lnTo>
                    <a:lnTo>
                      <a:pt x="123136" y="155492"/>
                    </a:lnTo>
                    <a:lnTo>
                      <a:pt x="123136" y="155602"/>
                    </a:lnTo>
                    <a:cubicBezTo>
                      <a:pt x="123136" y="155602"/>
                      <a:pt x="122917" y="155547"/>
                      <a:pt x="122917" y="155547"/>
                    </a:cubicBezTo>
                    <a:lnTo>
                      <a:pt x="122725" y="155602"/>
                    </a:lnTo>
                    <a:lnTo>
                      <a:pt x="122533" y="156013"/>
                    </a:lnTo>
                    <a:lnTo>
                      <a:pt x="122533" y="156315"/>
                    </a:lnTo>
                    <a:cubicBezTo>
                      <a:pt x="122533" y="156315"/>
                      <a:pt x="122725" y="157221"/>
                      <a:pt x="122725" y="157221"/>
                    </a:cubicBezTo>
                    <a:lnTo>
                      <a:pt x="122670" y="157550"/>
                    </a:lnTo>
                    <a:lnTo>
                      <a:pt x="122176" y="157770"/>
                    </a:lnTo>
                    <a:lnTo>
                      <a:pt x="122094" y="157770"/>
                    </a:lnTo>
                    <a:cubicBezTo>
                      <a:pt x="122094" y="157770"/>
                      <a:pt x="121764" y="157550"/>
                      <a:pt x="121764" y="157550"/>
                    </a:cubicBezTo>
                    <a:lnTo>
                      <a:pt x="121600" y="157550"/>
                    </a:lnTo>
                    <a:cubicBezTo>
                      <a:pt x="121600" y="157550"/>
                      <a:pt x="121051" y="158099"/>
                      <a:pt x="121051" y="158099"/>
                    </a:cubicBezTo>
                    <a:lnTo>
                      <a:pt x="120749" y="158181"/>
                    </a:lnTo>
                    <a:lnTo>
                      <a:pt x="120310" y="158456"/>
                    </a:lnTo>
                    <a:lnTo>
                      <a:pt x="119843" y="158209"/>
                    </a:lnTo>
                    <a:lnTo>
                      <a:pt x="119267" y="158346"/>
                    </a:lnTo>
                    <a:lnTo>
                      <a:pt x="118856" y="158264"/>
                    </a:lnTo>
                    <a:lnTo>
                      <a:pt x="118361" y="158318"/>
                    </a:lnTo>
                    <a:lnTo>
                      <a:pt x="117950" y="157880"/>
                    </a:lnTo>
                    <a:lnTo>
                      <a:pt x="117017" y="157578"/>
                    </a:lnTo>
                    <a:lnTo>
                      <a:pt x="117017" y="157330"/>
                    </a:lnTo>
                    <a:cubicBezTo>
                      <a:pt x="117017" y="157330"/>
                      <a:pt x="117593" y="156864"/>
                      <a:pt x="117593" y="156864"/>
                    </a:cubicBezTo>
                    <a:lnTo>
                      <a:pt x="117593" y="156562"/>
                    </a:lnTo>
                    <a:cubicBezTo>
                      <a:pt x="117593" y="156562"/>
                      <a:pt x="116880" y="155629"/>
                      <a:pt x="116880" y="155629"/>
                    </a:cubicBezTo>
                    <a:lnTo>
                      <a:pt x="116166" y="155217"/>
                    </a:lnTo>
                    <a:lnTo>
                      <a:pt x="116166" y="154943"/>
                    </a:lnTo>
                    <a:lnTo>
                      <a:pt x="115837" y="154943"/>
                    </a:lnTo>
                    <a:cubicBezTo>
                      <a:pt x="115837" y="154943"/>
                      <a:pt x="115535" y="154751"/>
                      <a:pt x="115535" y="154751"/>
                    </a:cubicBezTo>
                    <a:lnTo>
                      <a:pt x="115535" y="154586"/>
                    </a:lnTo>
                    <a:lnTo>
                      <a:pt x="115974" y="154120"/>
                    </a:lnTo>
                    <a:lnTo>
                      <a:pt x="116056" y="153845"/>
                    </a:lnTo>
                    <a:lnTo>
                      <a:pt x="115919" y="153598"/>
                    </a:lnTo>
                    <a:lnTo>
                      <a:pt x="115508" y="153516"/>
                    </a:lnTo>
                    <a:lnTo>
                      <a:pt x="115398" y="153379"/>
                    </a:lnTo>
                    <a:lnTo>
                      <a:pt x="115261" y="153296"/>
                    </a:lnTo>
                    <a:lnTo>
                      <a:pt x="115096" y="153241"/>
                    </a:lnTo>
                    <a:lnTo>
                      <a:pt x="114931" y="153241"/>
                    </a:lnTo>
                    <a:cubicBezTo>
                      <a:pt x="114931" y="153241"/>
                      <a:pt x="114767" y="153324"/>
                      <a:pt x="114767" y="153324"/>
                    </a:cubicBezTo>
                    <a:lnTo>
                      <a:pt x="114657" y="153434"/>
                    </a:lnTo>
                    <a:lnTo>
                      <a:pt x="114574" y="153571"/>
                    </a:lnTo>
                    <a:lnTo>
                      <a:pt x="114519" y="153736"/>
                    </a:lnTo>
                    <a:lnTo>
                      <a:pt x="114465" y="154065"/>
                    </a:lnTo>
                    <a:lnTo>
                      <a:pt x="114574" y="154614"/>
                    </a:lnTo>
                    <a:lnTo>
                      <a:pt x="114492" y="155108"/>
                    </a:lnTo>
                    <a:lnTo>
                      <a:pt x="114081" y="155547"/>
                    </a:lnTo>
                    <a:lnTo>
                      <a:pt x="113696" y="155629"/>
                    </a:lnTo>
                    <a:lnTo>
                      <a:pt x="113422" y="155519"/>
                    </a:lnTo>
                    <a:lnTo>
                      <a:pt x="113175" y="155794"/>
                    </a:lnTo>
                    <a:lnTo>
                      <a:pt x="112077" y="155547"/>
                    </a:lnTo>
                    <a:lnTo>
                      <a:pt x="111364" y="155547"/>
                    </a:lnTo>
                    <a:lnTo>
                      <a:pt x="110842" y="155327"/>
                    </a:lnTo>
                    <a:lnTo>
                      <a:pt x="110211" y="154531"/>
                    </a:lnTo>
                    <a:lnTo>
                      <a:pt x="109113" y="154147"/>
                    </a:lnTo>
                    <a:lnTo>
                      <a:pt x="108235" y="154147"/>
                    </a:lnTo>
                    <a:cubicBezTo>
                      <a:pt x="108235" y="154147"/>
                      <a:pt x="107357" y="154915"/>
                      <a:pt x="107357" y="154915"/>
                    </a:cubicBezTo>
                    <a:lnTo>
                      <a:pt x="107137" y="154998"/>
                    </a:lnTo>
                    <a:lnTo>
                      <a:pt x="106479" y="154861"/>
                    </a:lnTo>
                    <a:lnTo>
                      <a:pt x="105984" y="154531"/>
                    </a:lnTo>
                    <a:lnTo>
                      <a:pt x="105683" y="154531"/>
                    </a:lnTo>
                    <a:lnTo>
                      <a:pt x="105381" y="154833"/>
                    </a:lnTo>
                    <a:lnTo>
                      <a:pt x="105052" y="154833"/>
                    </a:lnTo>
                    <a:lnTo>
                      <a:pt x="105052" y="155190"/>
                    </a:lnTo>
                    <a:lnTo>
                      <a:pt x="104531" y="155574"/>
                    </a:lnTo>
                    <a:lnTo>
                      <a:pt x="104311" y="156041"/>
                    </a:lnTo>
                    <a:lnTo>
                      <a:pt x="103926" y="156535"/>
                    </a:lnTo>
                    <a:lnTo>
                      <a:pt x="103735" y="157056"/>
                    </a:lnTo>
                    <a:lnTo>
                      <a:pt x="103405" y="157166"/>
                    </a:lnTo>
                    <a:lnTo>
                      <a:pt x="103323" y="157550"/>
                    </a:lnTo>
                    <a:lnTo>
                      <a:pt x="102636" y="158154"/>
                    </a:lnTo>
                    <a:lnTo>
                      <a:pt x="102115" y="158209"/>
                    </a:lnTo>
                    <a:lnTo>
                      <a:pt x="101045" y="157989"/>
                    </a:lnTo>
                    <a:lnTo>
                      <a:pt x="100825" y="158071"/>
                    </a:lnTo>
                    <a:lnTo>
                      <a:pt x="100743" y="158703"/>
                    </a:lnTo>
                    <a:lnTo>
                      <a:pt x="99975" y="159471"/>
                    </a:lnTo>
                    <a:lnTo>
                      <a:pt x="99975" y="159608"/>
                    </a:lnTo>
                    <a:cubicBezTo>
                      <a:pt x="99975" y="159608"/>
                      <a:pt x="99892" y="159773"/>
                      <a:pt x="99892" y="159773"/>
                    </a:cubicBezTo>
                    <a:lnTo>
                      <a:pt x="99782" y="159883"/>
                    </a:lnTo>
                    <a:lnTo>
                      <a:pt x="99646" y="159993"/>
                    </a:lnTo>
                    <a:lnTo>
                      <a:pt x="99481" y="159993"/>
                    </a:lnTo>
                    <a:cubicBezTo>
                      <a:pt x="99481" y="159993"/>
                      <a:pt x="99316" y="159993"/>
                      <a:pt x="99316" y="159993"/>
                    </a:cubicBezTo>
                    <a:lnTo>
                      <a:pt x="99151" y="159910"/>
                    </a:lnTo>
                    <a:lnTo>
                      <a:pt x="99014" y="159800"/>
                    </a:lnTo>
                    <a:lnTo>
                      <a:pt x="98657" y="159389"/>
                    </a:lnTo>
                    <a:lnTo>
                      <a:pt x="97697" y="158675"/>
                    </a:lnTo>
                    <a:lnTo>
                      <a:pt x="96956" y="156727"/>
                    </a:lnTo>
                    <a:lnTo>
                      <a:pt x="96627" y="155300"/>
                    </a:lnTo>
                    <a:lnTo>
                      <a:pt x="95858" y="153351"/>
                    </a:lnTo>
                    <a:lnTo>
                      <a:pt x="95584" y="152857"/>
                    </a:lnTo>
                    <a:lnTo>
                      <a:pt x="94541" y="151869"/>
                    </a:lnTo>
                    <a:lnTo>
                      <a:pt x="93141" y="151101"/>
                    </a:lnTo>
                    <a:lnTo>
                      <a:pt x="92730" y="150689"/>
                    </a:lnTo>
                    <a:lnTo>
                      <a:pt x="92318" y="150744"/>
                    </a:lnTo>
                    <a:lnTo>
                      <a:pt x="91604" y="150497"/>
                    </a:lnTo>
                    <a:lnTo>
                      <a:pt x="90672" y="150497"/>
                    </a:lnTo>
                    <a:lnTo>
                      <a:pt x="90672" y="150058"/>
                    </a:lnTo>
                    <a:lnTo>
                      <a:pt x="90479" y="149976"/>
                    </a:lnTo>
                    <a:lnTo>
                      <a:pt x="75715" y="142429"/>
                    </a:lnTo>
                    <a:lnTo>
                      <a:pt x="70638" y="136831"/>
                    </a:lnTo>
                    <a:lnTo>
                      <a:pt x="60155" y="132220"/>
                    </a:lnTo>
                    <a:lnTo>
                      <a:pt x="51538" y="126485"/>
                    </a:lnTo>
                    <a:lnTo>
                      <a:pt x="48629" y="121984"/>
                    </a:lnTo>
                    <a:lnTo>
                      <a:pt x="40972" y="118883"/>
                    </a:lnTo>
                    <a:lnTo>
                      <a:pt x="34029" y="113367"/>
                    </a:lnTo>
                    <a:lnTo>
                      <a:pt x="32629" y="109690"/>
                    </a:lnTo>
                    <a:lnTo>
                      <a:pt x="35429" y="106753"/>
                    </a:lnTo>
                    <a:lnTo>
                      <a:pt x="34633" y="102582"/>
                    </a:lnTo>
                    <a:lnTo>
                      <a:pt x="26592" y="91248"/>
                    </a:lnTo>
                    <a:lnTo>
                      <a:pt x="17948" y="83482"/>
                    </a:lnTo>
                    <a:lnTo>
                      <a:pt x="18551" y="77691"/>
                    </a:lnTo>
                    <a:lnTo>
                      <a:pt x="13447" y="73986"/>
                    </a:lnTo>
                    <a:lnTo>
                      <a:pt x="13228" y="70364"/>
                    </a:lnTo>
                    <a:lnTo>
                      <a:pt x="14846" y="65424"/>
                    </a:lnTo>
                    <a:lnTo>
                      <a:pt x="13776" y="58097"/>
                    </a:lnTo>
                    <a:lnTo>
                      <a:pt x="7547" y="48382"/>
                    </a:lnTo>
                    <a:lnTo>
                      <a:pt x="8809" y="44348"/>
                    </a:lnTo>
                    <a:lnTo>
                      <a:pt x="6751" y="22366"/>
                    </a:lnTo>
                    <a:lnTo>
                      <a:pt x="0" y="8480"/>
                    </a:lnTo>
                    <a:lnTo>
                      <a:pt x="1976" y="851"/>
                    </a:lnTo>
                    <a:lnTo>
                      <a:pt x="3814" y="0"/>
                    </a:lnTo>
                    <a:lnTo>
                      <a:pt x="7409" y="4693"/>
                    </a:lnTo>
                    <a:lnTo>
                      <a:pt x="19320" y="7492"/>
                    </a:lnTo>
                    <a:lnTo>
                      <a:pt x="22037" y="13310"/>
                    </a:lnTo>
                    <a:lnTo>
                      <a:pt x="28623" y="13913"/>
                    </a:lnTo>
                    <a:lnTo>
                      <a:pt x="29254" y="21351"/>
                    </a:lnTo>
                    <a:lnTo>
                      <a:pt x="25906" y="262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8" name="Freeform: Shape 3957">
                <a:extLst>
                  <a:ext uri="{FF2B5EF4-FFF2-40B4-BE49-F238E27FC236}">
                    <a16:creationId xmlns:a16="http://schemas.microsoft.com/office/drawing/2014/main" id="{1861DBC0-326C-D055-260A-5376D075AE60}"/>
                  </a:ext>
                </a:extLst>
              </p:cNvPr>
              <p:cNvSpPr/>
              <p:nvPr/>
            </p:nvSpPr>
            <p:spPr>
              <a:xfrm>
                <a:off x="1671069" y="3824678"/>
                <a:ext cx="842" cy="515"/>
              </a:xfrm>
              <a:custGeom>
                <a:avLst/>
                <a:gdLst>
                  <a:gd name="connsiteX0" fmla="*/ 7767 w 8068"/>
                  <a:gd name="connsiteY0" fmla="*/ 3074 h 4939"/>
                  <a:gd name="connsiteX1" fmla="*/ 6422 w 8068"/>
                  <a:gd name="connsiteY1" fmla="*/ 4007 h 4939"/>
                  <a:gd name="connsiteX2" fmla="*/ 4857 w 8068"/>
                  <a:gd name="connsiteY2" fmla="*/ 3430 h 4939"/>
                  <a:gd name="connsiteX3" fmla="*/ 2552 w 8068"/>
                  <a:gd name="connsiteY3" fmla="*/ 4940 h 4939"/>
                  <a:gd name="connsiteX4" fmla="*/ 1948 w 8068"/>
                  <a:gd name="connsiteY4" fmla="*/ 2196 h 4939"/>
                  <a:gd name="connsiteX5" fmla="*/ 494 w 8068"/>
                  <a:gd name="connsiteY5" fmla="*/ 2113 h 4939"/>
                  <a:gd name="connsiteX6" fmla="*/ 0 w 8068"/>
                  <a:gd name="connsiteY6" fmla="*/ 467 h 4939"/>
                  <a:gd name="connsiteX7" fmla="*/ 1564 w 8068"/>
                  <a:gd name="connsiteY7" fmla="*/ 0 h 4939"/>
                  <a:gd name="connsiteX8" fmla="*/ 8068 w 8068"/>
                  <a:gd name="connsiteY8" fmla="*/ 82 h 4939"/>
                  <a:gd name="connsiteX9" fmla="*/ 7767 w 8068"/>
                  <a:gd name="connsiteY9" fmla="*/ 3046 h 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8" h="4939">
                    <a:moveTo>
                      <a:pt x="7767" y="3074"/>
                    </a:moveTo>
                    <a:lnTo>
                      <a:pt x="6422" y="4007"/>
                    </a:lnTo>
                    <a:lnTo>
                      <a:pt x="4857" y="3430"/>
                    </a:lnTo>
                    <a:lnTo>
                      <a:pt x="2552" y="4940"/>
                    </a:lnTo>
                    <a:lnTo>
                      <a:pt x="1948" y="2196"/>
                    </a:lnTo>
                    <a:lnTo>
                      <a:pt x="494" y="2113"/>
                    </a:lnTo>
                    <a:lnTo>
                      <a:pt x="0" y="467"/>
                    </a:lnTo>
                    <a:lnTo>
                      <a:pt x="1564" y="0"/>
                    </a:lnTo>
                    <a:lnTo>
                      <a:pt x="8068" y="82"/>
                    </a:lnTo>
                    <a:lnTo>
                      <a:pt x="7767"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9" name="Freeform: Shape 3958">
                <a:extLst>
                  <a:ext uri="{FF2B5EF4-FFF2-40B4-BE49-F238E27FC236}">
                    <a16:creationId xmlns:a16="http://schemas.microsoft.com/office/drawing/2014/main" id="{AD11F833-2863-F9A4-4AF0-4B4BEAE86314}"/>
                  </a:ext>
                </a:extLst>
              </p:cNvPr>
              <p:cNvSpPr/>
              <p:nvPr/>
            </p:nvSpPr>
            <p:spPr>
              <a:xfrm>
                <a:off x="1672700" y="3827626"/>
                <a:ext cx="524" cy="615"/>
              </a:xfrm>
              <a:custGeom>
                <a:avLst/>
                <a:gdLst>
                  <a:gd name="connsiteX0" fmla="*/ 5022 w 5022"/>
                  <a:gd name="connsiteY0" fmla="*/ 1784 h 5900"/>
                  <a:gd name="connsiteX1" fmla="*/ 2662 w 5022"/>
                  <a:gd name="connsiteY1" fmla="*/ 5900 h 5900"/>
                  <a:gd name="connsiteX2" fmla="*/ 576 w 5022"/>
                  <a:gd name="connsiteY2" fmla="*/ 5406 h 5900"/>
                  <a:gd name="connsiteX3" fmla="*/ 0 w 5022"/>
                  <a:gd name="connsiteY3" fmla="*/ 302 h 5900"/>
                  <a:gd name="connsiteX4" fmla="*/ 2333 w 5022"/>
                  <a:gd name="connsiteY4" fmla="*/ 0 h 5900"/>
                  <a:gd name="connsiteX5" fmla="*/ 5022 w 5022"/>
                  <a:gd name="connsiteY5" fmla="*/ 1784 h 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2" h="5900">
                    <a:moveTo>
                      <a:pt x="5022" y="1784"/>
                    </a:moveTo>
                    <a:lnTo>
                      <a:pt x="2662" y="5900"/>
                    </a:lnTo>
                    <a:lnTo>
                      <a:pt x="576" y="5406"/>
                    </a:lnTo>
                    <a:lnTo>
                      <a:pt x="0" y="302"/>
                    </a:lnTo>
                    <a:lnTo>
                      <a:pt x="2333" y="0"/>
                    </a:lnTo>
                    <a:lnTo>
                      <a:pt x="5022"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0" name="Freeform: Shape 3959">
                <a:extLst>
                  <a:ext uri="{FF2B5EF4-FFF2-40B4-BE49-F238E27FC236}">
                    <a16:creationId xmlns:a16="http://schemas.microsoft.com/office/drawing/2014/main" id="{348F81A6-6CFB-B26B-2607-EAC402C148CF}"/>
                  </a:ext>
                </a:extLst>
              </p:cNvPr>
              <p:cNvSpPr/>
              <p:nvPr/>
            </p:nvSpPr>
            <p:spPr>
              <a:xfrm>
                <a:off x="1684796" y="3835658"/>
                <a:ext cx="335" cy="472"/>
              </a:xfrm>
              <a:custGeom>
                <a:avLst/>
                <a:gdLst>
                  <a:gd name="connsiteX0" fmla="*/ 2964 w 3211"/>
                  <a:gd name="connsiteY0" fmla="*/ 4391 h 4527"/>
                  <a:gd name="connsiteX1" fmla="*/ 1482 w 3211"/>
                  <a:gd name="connsiteY1" fmla="*/ 4528 h 4527"/>
                  <a:gd name="connsiteX2" fmla="*/ 0 w 3211"/>
                  <a:gd name="connsiteY2" fmla="*/ 2497 h 4527"/>
                  <a:gd name="connsiteX3" fmla="*/ 1345 w 3211"/>
                  <a:gd name="connsiteY3" fmla="*/ 0 h 4527"/>
                  <a:gd name="connsiteX4" fmla="*/ 2305 w 3211"/>
                  <a:gd name="connsiteY4" fmla="*/ 82 h 4527"/>
                  <a:gd name="connsiteX5" fmla="*/ 3211 w 3211"/>
                  <a:gd name="connsiteY5" fmla="*/ 2607 h 4527"/>
                  <a:gd name="connsiteX6" fmla="*/ 2937 w 3211"/>
                  <a:gd name="connsiteY6" fmla="*/ 4418 h 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1" h="4527">
                    <a:moveTo>
                      <a:pt x="2964" y="4391"/>
                    </a:moveTo>
                    <a:lnTo>
                      <a:pt x="1482" y="4528"/>
                    </a:lnTo>
                    <a:lnTo>
                      <a:pt x="0" y="2497"/>
                    </a:lnTo>
                    <a:lnTo>
                      <a:pt x="1345" y="0"/>
                    </a:lnTo>
                    <a:lnTo>
                      <a:pt x="2305" y="82"/>
                    </a:lnTo>
                    <a:lnTo>
                      <a:pt x="3211" y="2607"/>
                    </a:lnTo>
                    <a:lnTo>
                      <a:pt x="2937" y="44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1" name="Freeform: Shape 3960">
                <a:extLst>
                  <a:ext uri="{FF2B5EF4-FFF2-40B4-BE49-F238E27FC236}">
                    <a16:creationId xmlns:a16="http://schemas.microsoft.com/office/drawing/2014/main" id="{9242F96F-21B9-CA38-B642-B7A3EC00408E}"/>
                  </a:ext>
                </a:extLst>
              </p:cNvPr>
              <p:cNvSpPr/>
              <p:nvPr/>
            </p:nvSpPr>
            <p:spPr>
              <a:xfrm>
                <a:off x="1671369" y="3825167"/>
                <a:ext cx="361" cy="429"/>
              </a:xfrm>
              <a:custGeom>
                <a:avLst/>
                <a:gdLst>
                  <a:gd name="connsiteX0" fmla="*/ 3430 w 3457"/>
                  <a:gd name="connsiteY0" fmla="*/ 1756 h 4116"/>
                  <a:gd name="connsiteX1" fmla="*/ 2278 w 3457"/>
                  <a:gd name="connsiteY1" fmla="*/ 4116 h 4116"/>
                  <a:gd name="connsiteX2" fmla="*/ 0 w 3457"/>
                  <a:gd name="connsiteY2" fmla="*/ 1647 h 4116"/>
                  <a:gd name="connsiteX3" fmla="*/ 1838 w 3457"/>
                  <a:gd name="connsiteY3" fmla="*/ 0 h 4116"/>
                  <a:gd name="connsiteX4" fmla="*/ 3458 w 3457"/>
                  <a:gd name="connsiteY4" fmla="*/ 1756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4116">
                    <a:moveTo>
                      <a:pt x="3430" y="1756"/>
                    </a:moveTo>
                    <a:lnTo>
                      <a:pt x="2278" y="4116"/>
                    </a:lnTo>
                    <a:lnTo>
                      <a:pt x="0" y="1647"/>
                    </a:lnTo>
                    <a:lnTo>
                      <a:pt x="1838" y="0"/>
                    </a:lnTo>
                    <a:lnTo>
                      <a:pt x="3458"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3" name="Freeform: Shape 3962">
                <a:extLst>
                  <a:ext uri="{FF2B5EF4-FFF2-40B4-BE49-F238E27FC236}">
                    <a16:creationId xmlns:a16="http://schemas.microsoft.com/office/drawing/2014/main" id="{4E0247C3-3863-8796-782F-08BB4BE02E85}"/>
                  </a:ext>
                </a:extLst>
              </p:cNvPr>
              <p:cNvSpPr/>
              <p:nvPr/>
            </p:nvSpPr>
            <p:spPr>
              <a:xfrm>
                <a:off x="1718649" y="3827935"/>
                <a:ext cx="349" cy="355"/>
              </a:xfrm>
              <a:custGeom>
                <a:avLst/>
                <a:gdLst>
                  <a:gd name="connsiteX0" fmla="*/ 3348 w 3347"/>
                  <a:gd name="connsiteY0" fmla="*/ 2086 h 3403"/>
                  <a:gd name="connsiteX1" fmla="*/ 1866 w 3347"/>
                  <a:gd name="connsiteY1" fmla="*/ 3403 h 3403"/>
                  <a:gd name="connsiteX2" fmla="*/ 0 w 3347"/>
                  <a:gd name="connsiteY2" fmla="*/ 2635 h 3403"/>
                  <a:gd name="connsiteX3" fmla="*/ 1043 w 3347"/>
                  <a:gd name="connsiteY3" fmla="*/ 494 h 3403"/>
                  <a:gd name="connsiteX4" fmla="*/ 2607 w 3347"/>
                  <a:gd name="connsiteY4" fmla="*/ 0 h 3403"/>
                  <a:gd name="connsiteX5" fmla="*/ 3348 w 3347"/>
                  <a:gd name="connsiteY5" fmla="*/ 2086 h 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7" h="3403">
                    <a:moveTo>
                      <a:pt x="3348" y="2086"/>
                    </a:moveTo>
                    <a:lnTo>
                      <a:pt x="1866" y="3403"/>
                    </a:lnTo>
                    <a:lnTo>
                      <a:pt x="0" y="2635"/>
                    </a:lnTo>
                    <a:lnTo>
                      <a:pt x="1043" y="494"/>
                    </a:lnTo>
                    <a:lnTo>
                      <a:pt x="2607" y="0"/>
                    </a:lnTo>
                    <a:lnTo>
                      <a:pt x="3348"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5" name="Freeform: Shape 3964">
                <a:extLst>
                  <a:ext uri="{FF2B5EF4-FFF2-40B4-BE49-F238E27FC236}">
                    <a16:creationId xmlns:a16="http://schemas.microsoft.com/office/drawing/2014/main" id="{78F3C2BB-C786-C171-87B6-650C1DE6CD1A}"/>
                  </a:ext>
                </a:extLst>
              </p:cNvPr>
              <p:cNvSpPr/>
              <p:nvPr/>
            </p:nvSpPr>
            <p:spPr>
              <a:xfrm>
                <a:off x="1458137" y="3876870"/>
                <a:ext cx="32499" cy="53168"/>
              </a:xfrm>
              <a:custGeom>
                <a:avLst/>
                <a:gdLst>
                  <a:gd name="connsiteX0" fmla="*/ 299403 w 311587"/>
                  <a:gd name="connsiteY0" fmla="*/ 24451 h 509753"/>
                  <a:gd name="connsiteX1" fmla="*/ 302559 w 311587"/>
                  <a:gd name="connsiteY1" fmla="*/ 45473 h 509753"/>
                  <a:gd name="connsiteX2" fmla="*/ 302010 w 311587"/>
                  <a:gd name="connsiteY2" fmla="*/ 58371 h 509753"/>
                  <a:gd name="connsiteX3" fmla="*/ 304672 w 311587"/>
                  <a:gd name="connsiteY3" fmla="*/ 67153 h 509753"/>
                  <a:gd name="connsiteX4" fmla="*/ 300144 w 311587"/>
                  <a:gd name="connsiteY4" fmla="*/ 73931 h 509753"/>
                  <a:gd name="connsiteX5" fmla="*/ 303684 w 311587"/>
                  <a:gd name="connsiteY5" fmla="*/ 75989 h 509753"/>
                  <a:gd name="connsiteX6" fmla="*/ 303163 w 311587"/>
                  <a:gd name="connsiteY6" fmla="*/ 89985 h 509753"/>
                  <a:gd name="connsiteX7" fmla="*/ 305413 w 311587"/>
                  <a:gd name="connsiteY7" fmla="*/ 105738 h 509753"/>
                  <a:gd name="connsiteX8" fmla="*/ 304041 w 311587"/>
                  <a:gd name="connsiteY8" fmla="*/ 110376 h 509753"/>
                  <a:gd name="connsiteX9" fmla="*/ 307965 w 311587"/>
                  <a:gd name="connsiteY9" fmla="*/ 112406 h 509753"/>
                  <a:gd name="connsiteX10" fmla="*/ 307361 w 311587"/>
                  <a:gd name="connsiteY10" fmla="*/ 117511 h 509753"/>
                  <a:gd name="connsiteX11" fmla="*/ 310572 w 311587"/>
                  <a:gd name="connsiteY11" fmla="*/ 118746 h 509753"/>
                  <a:gd name="connsiteX12" fmla="*/ 311588 w 311587"/>
                  <a:gd name="connsiteY12" fmla="*/ 122313 h 509753"/>
                  <a:gd name="connsiteX13" fmla="*/ 311066 w 311587"/>
                  <a:gd name="connsiteY13" fmla="*/ 130189 h 509753"/>
                  <a:gd name="connsiteX14" fmla="*/ 303958 w 311587"/>
                  <a:gd name="connsiteY14" fmla="*/ 139987 h 509753"/>
                  <a:gd name="connsiteX15" fmla="*/ 306263 w 311587"/>
                  <a:gd name="connsiteY15" fmla="*/ 143636 h 509753"/>
                  <a:gd name="connsiteX16" fmla="*/ 304425 w 311587"/>
                  <a:gd name="connsiteY16" fmla="*/ 148521 h 509753"/>
                  <a:gd name="connsiteX17" fmla="*/ 292158 w 311587"/>
                  <a:gd name="connsiteY17" fmla="*/ 163972 h 509753"/>
                  <a:gd name="connsiteX18" fmla="*/ 283129 w 311587"/>
                  <a:gd name="connsiteY18" fmla="*/ 179148 h 509753"/>
                  <a:gd name="connsiteX19" fmla="*/ 267267 w 311587"/>
                  <a:gd name="connsiteY19" fmla="*/ 189411 h 509753"/>
                  <a:gd name="connsiteX20" fmla="*/ 259391 w 311587"/>
                  <a:gd name="connsiteY20" fmla="*/ 196656 h 509753"/>
                  <a:gd name="connsiteX21" fmla="*/ 240730 w 311587"/>
                  <a:gd name="connsiteY21" fmla="*/ 201953 h 509753"/>
                  <a:gd name="connsiteX22" fmla="*/ 208567 w 311587"/>
                  <a:gd name="connsiteY22" fmla="*/ 217760 h 509753"/>
                  <a:gd name="connsiteX23" fmla="*/ 200361 w 311587"/>
                  <a:gd name="connsiteY23" fmla="*/ 225252 h 509753"/>
                  <a:gd name="connsiteX24" fmla="*/ 179010 w 311587"/>
                  <a:gd name="connsiteY24" fmla="*/ 253189 h 509753"/>
                  <a:gd name="connsiteX25" fmla="*/ 162929 w 311587"/>
                  <a:gd name="connsiteY25" fmla="*/ 260461 h 509753"/>
                  <a:gd name="connsiteX26" fmla="*/ 145338 w 311587"/>
                  <a:gd name="connsiteY26" fmla="*/ 278738 h 509753"/>
                  <a:gd name="connsiteX27" fmla="*/ 133702 w 311587"/>
                  <a:gd name="connsiteY27" fmla="*/ 286779 h 509753"/>
                  <a:gd name="connsiteX28" fmla="*/ 131150 w 311587"/>
                  <a:gd name="connsiteY28" fmla="*/ 304041 h 509753"/>
                  <a:gd name="connsiteX29" fmla="*/ 138669 w 311587"/>
                  <a:gd name="connsiteY29" fmla="*/ 310901 h 509753"/>
                  <a:gd name="connsiteX30" fmla="*/ 142566 w 311587"/>
                  <a:gd name="connsiteY30" fmla="*/ 318009 h 509753"/>
                  <a:gd name="connsiteX31" fmla="*/ 142566 w 311587"/>
                  <a:gd name="connsiteY31" fmla="*/ 326763 h 509753"/>
                  <a:gd name="connsiteX32" fmla="*/ 147835 w 311587"/>
                  <a:gd name="connsiteY32" fmla="*/ 341583 h 509753"/>
                  <a:gd name="connsiteX33" fmla="*/ 150250 w 311587"/>
                  <a:gd name="connsiteY33" fmla="*/ 356868 h 509753"/>
                  <a:gd name="connsiteX34" fmla="*/ 151375 w 311587"/>
                  <a:gd name="connsiteY34" fmla="*/ 358240 h 509753"/>
                  <a:gd name="connsiteX35" fmla="*/ 154367 w 311587"/>
                  <a:gd name="connsiteY35" fmla="*/ 357307 h 509753"/>
                  <a:gd name="connsiteX36" fmla="*/ 155519 w 311587"/>
                  <a:gd name="connsiteY36" fmla="*/ 359091 h 509753"/>
                  <a:gd name="connsiteX37" fmla="*/ 155299 w 311587"/>
                  <a:gd name="connsiteY37" fmla="*/ 375420 h 509753"/>
                  <a:gd name="connsiteX38" fmla="*/ 157084 w 311587"/>
                  <a:gd name="connsiteY38" fmla="*/ 383433 h 509753"/>
                  <a:gd name="connsiteX39" fmla="*/ 150936 w 311587"/>
                  <a:gd name="connsiteY39" fmla="*/ 411151 h 509753"/>
                  <a:gd name="connsiteX40" fmla="*/ 155272 w 311587"/>
                  <a:gd name="connsiteY40" fmla="*/ 411480 h 509753"/>
                  <a:gd name="connsiteX41" fmla="*/ 155547 w 311587"/>
                  <a:gd name="connsiteY41" fmla="*/ 413840 h 509753"/>
                  <a:gd name="connsiteX42" fmla="*/ 151760 w 311587"/>
                  <a:gd name="connsiteY42" fmla="*/ 425009 h 509753"/>
                  <a:gd name="connsiteX43" fmla="*/ 142731 w 311587"/>
                  <a:gd name="connsiteY43" fmla="*/ 436288 h 509753"/>
                  <a:gd name="connsiteX44" fmla="*/ 91522 w 311587"/>
                  <a:gd name="connsiteY44" fmla="*/ 458078 h 509753"/>
                  <a:gd name="connsiteX45" fmla="*/ 76182 w 311587"/>
                  <a:gd name="connsiteY45" fmla="*/ 469000 h 509753"/>
                  <a:gd name="connsiteX46" fmla="*/ 69568 w 311587"/>
                  <a:gd name="connsiteY46" fmla="*/ 482008 h 509753"/>
                  <a:gd name="connsiteX47" fmla="*/ 75056 w 311587"/>
                  <a:gd name="connsiteY47" fmla="*/ 489418 h 509753"/>
                  <a:gd name="connsiteX48" fmla="*/ 79365 w 311587"/>
                  <a:gd name="connsiteY48" fmla="*/ 487826 h 509753"/>
                  <a:gd name="connsiteX49" fmla="*/ 78075 w 311587"/>
                  <a:gd name="connsiteY49" fmla="*/ 509753 h 509753"/>
                  <a:gd name="connsiteX50" fmla="*/ 55791 w 311587"/>
                  <a:gd name="connsiteY50" fmla="*/ 508985 h 509753"/>
                  <a:gd name="connsiteX51" fmla="*/ 54666 w 311587"/>
                  <a:gd name="connsiteY51" fmla="*/ 484011 h 509753"/>
                  <a:gd name="connsiteX52" fmla="*/ 51346 w 311587"/>
                  <a:gd name="connsiteY52" fmla="*/ 479977 h 509753"/>
                  <a:gd name="connsiteX53" fmla="*/ 50330 w 311587"/>
                  <a:gd name="connsiteY53" fmla="*/ 475943 h 509753"/>
                  <a:gd name="connsiteX54" fmla="*/ 53102 w 311587"/>
                  <a:gd name="connsiteY54" fmla="*/ 453275 h 509753"/>
                  <a:gd name="connsiteX55" fmla="*/ 51702 w 311587"/>
                  <a:gd name="connsiteY55" fmla="*/ 428193 h 509753"/>
                  <a:gd name="connsiteX56" fmla="*/ 48080 w 311587"/>
                  <a:gd name="connsiteY56" fmla="*/ 415596 h 509753"/>
                  <a:gd name="connsiteX57" fmla="*/ 44732 w 311587"/>
                  <a:gd name="connsiteY57" fmla="*/ 412056 h 509753"/>
                  <a:gd name="connsiteX58" fmla="*/ 38639 w 311587"/>
                  <a:gd name="connsiteY58" fmla="*/ 398198 h 509753"/>
                  <a:gd name="connsiteX59" fmla="*/ 38639 w 311587"/>
                  <a:gd name="connsiteY59" fmla="*/ 389553 h 509753"/>
                  <a:gd name="connsiteX60" fmla="*/ 31614 w 311587"/>
                  <a:gd name="connsiteY60" fmla="*/ 365952 h 509753"/>
                  <a:gd name="connsiteX61" fmla="*/ 63832 w 311587"/>
                  <a:gd name="connsiteY61" fmla="*/ 331264 h 509753"/>
                  <a:gd name="connsiteX62" fmla="*/ 63558 w 311587"/>
                  <a:gd name="connsiteY62" fmla="*/ 325117 h 509753"/>
                  <a:gd name="connsiteX63" fmla="*/ 66714 w 311587"/>
                  <a:gd name="connsiteY63" fmla="*/ 318229 h 509753"/>
                  <a:gd name="connsiteX64" fmla="*/ 66549 w 311587"/>
                  <a:gd name="connsiteY64" fmla="*/ 309749 h 509753"/>
                  <a:gd name="connsiteX65" fmla="*/ 75496 w 311587"/>
                  <a:gd name="connsiteY65" fmla="*/ 301049 h 509753"/>
                  <a:gd name="connsiteX66" fmla="*/ 81889 w 311587"/>
                  <a:gd name="connsiteY66" fmla="*/ 286477 h 509753"/>
                  <a:gd name="connsiteX67" fmla="*/ 80517 w 311587"/>
                  <a:gd name="connsiteY67" fmla="*/ 281016 h 509753"/>
                  <a:gd name="connsiteX68" fmla="*/ 77087 w 311587"/>
                  <a:gd name="connsiteY68" fmla="*/ 278244 h 509753"/>
                  <a:gd name="connsiteX69" fmla="*/ 75687 w 311587"/>
                  <a:gd name="connsiteY69" fmla="*/ 274128 h 509753"/>
                  <a:gd name="connsiteX70" fmla="*/ 77005 w 311587"/>
                  <a:gd name="connsiteY70" fmla="*/ 261641 h 509753"/>
                  <a:gd name="connsiteX71" fmla="*/ 73245 w 311587"/>
                  <a:gd name="connsiteY71" fmla="*/ 255961 h 509753"/>
                  <a:gd name="connsiteX72" fmla="*/ 74096 w 311587"/>
                  <a:gd name="connsiteY72" fmla="*/ 253079 h 509753"/>
                  <a:gd name="connsiteX73" fmla="*/ 78816 w 311587"/>
                  <a:gd name="connsiteY73" fmla="*/ 250005 h 509753"/>
                  <a:gd name="connsiteX74" fmla="*/ 78596 w 311587"/>
                  <a:gd name="connsiteY74" fmla="*/ 244105 h 509753"/>
                  <a:gd name="connsiteX75" fmla="*/ 82164 w 311587"/>
                  <a:gd name="connsiteY75" fmla="*/ 239138 h 509753"/>
                  <a:gd name="connsiteX76" fmla="*/ 80271 w 311587"/>
                  <a:gd name="connsiteY76" fmla="*/ 223797 h 509753"/>
                  <a:gd name="connsiteX77" fmla="*/ 81725 w 311587"/>
                  <a:gd name="connsiteY77" fmla="*/ 207112 h 509753"/>
                  <a:gd name="connsiteX78" fmla="*/ 77444 w 311587"/>
                  <a:gd name="connsiteY78" fmla="*/ 194818 h 509753"/>
                  <a:gd name="connsiteX79" fmla="*/ 79612 w 311587"/>
                  <a:gd name="connsiteY79" fmla="*/ 188753 h 509753"/>
                  <a:gd name="connsiteX80" fmla="*/ 74041 w 311587"/>
                  <a:gd name="connsiteY80" fmla="*/ 186887 h 509753"/>
                  <a:gd name="connsiteX81" fmla="*/ 67208 w 311587"/>
                  <a:gd name="connsiteY81" fmla="*/ 181755 h 509753"/>
                  <a:gd name="connsiteX82" fmla="*/ 50961 w 311587"/>
                  <a:gd name="connsiteY82" fmla="*/ 178681 h 509753"/>
                  <a:gd name="connsiteX83" fmla="*/ 44485 w 311587"/>
                  <a:gd name="connsiteY83" fmla="*/ 173193 h 509753"/>
                  <a:gd name="connsiteX84" fmla="*/ 29172 w 311587"/>
                  <a:gd name="connsiteY84" fmla="*/ 166442 h 509753"/>
                  <a:gd name="connsiteX85" fmla="*/ 7080 w 311587"/>
                  <a:gd name="connsiteY85" fmla="*/ 165536 h 509753"/>
                  <a:gd name="connsiteX86" fmla="*/ 5351 w 311587"/>
                  <a:gd name="connsiteY86" fmla="*/ 154202 h 509753"/>
                  <a:gd name="connsiteX87" fmla="*/ 4062 w 311587"/>
                  <a:gd name="connsiteY87" fmla="*/ 146353 h 509753"/>
                  <a:gd name="connsiteX88" fmla="*/ 0 w 311587"/>
                  <a:gd name="connsiteY88" fmla="*/ 139767 h 509753"/>
                  <a:gd name="connsiteX89" fmla="*/ 219 w 311587"/>
                  <a:gd name="connsiteY89" fmla="*/ 135321 h 509753"/>
                  <a:gd name="connsiteX90" fmla="*/ 66906 w 311587"/>
                  <a:gd name="connsiteY90" fmla="*/ 112763 h 509753"/>
                  <a:gd name="connsiteX91" fmla="*/ 69925 w 311587"/>
                  <a:gd name="connsiteY91" fmla="*/ 111446 h 509753"/>
                  <a:gd name="connsiteX92" fmla="*/ 80984 w 311587"/>
                  <a:gd name="connsiteY92" fmla="*/ 107466 h 509753"/>
                  <a:gd name="connsiteX93" fmla="*/ 83920 w 311587"/>
                  <a:gd name="connsiteY93" fmla="*/ 106314 h 509753"/>
                  <a:gd name="connsiteX94" fmla="*/ 87378 w 311587"/>
                  <a:gd name="connsiteY94" fmla="*/ 105106 h 509753"/>
                  <a:gd name="connsiteX95" fmla="*/ 88421 w 311587"/>
                  <a:gd name="connsiteY95" fmla="*/ 104914 h 509753"/>
                  <a:gd name="connsiteX96" fmla="*/ 95007 w 311587"/>
                  <a:gd name="connsiteY96" fmla="*/ 116495 h 509753"/>
                  <a:gd name="connsiteX97" fmla="*/ 100908 w 311587"/>
                  <a:gd name="connsiteY97" fmla="*/ 122972 h 509753"/>
                  <a:gd name="connsiteX98" fmla="*/ 102829 w 311587"/>
                  <a:gd name="connsiteY98" fmla="*/ 120886 h 509753"/>
                  <a:gd name="connsiteX99" fmla="*/ 120722 w 311587"/>
                  <a:gd name="connsiteY99" fmla="*/ 117154 h 509753"/>
                  <a:gd name="connsiteX100" fmla="*/ 125771 w 311587"/>
                  <a:gd name="connsiteY100" fmla="*/ 122176 h 509753"/>
                  <a:gd name="connsiteX101" fmla="*/ 128542 w 311587"/>
                  <a:gd name="connsiteY101" fmla="*/ 134964 h 509753"/>
                  <a:gd name="connsiteX102" fmla="*/ 127939 w 311587"/>
                  <a:gd name="connsiteY102" fmla="*/ 143746 h 509753"/>
                  <a:gd name="connsiteX103" fmla="*/ 123658 w 311587"/>
                  <a:gd name="connsiteY103" fmla="*/ 149180 h 509753"/>
                  <a:gd name="connsiteX104" fmla="*/ 123466 w 311587"/>
                  <a:gd name="connsiteY104" fmla="*/ 154614 h 509753"/>
                  <a:gd name="connsiteX105" fmla="*/ 118361 w 311587"/>
                  <a:gd name="connsiteY105" fmla="*/ 162325 h 509753"/>
                  <a:gd name="connsiteX106" fmla="*/ 122615 w 311587"/>
                  <a:gd name="connsiteY106" fmla="*/ 166963 h 509753"/>
                  <a:gd name="connsiteX107" fmla="*/ 123329 w 311587"/>
                  <a:gd name="connsiteY107" fmla="*/ 173248 h 509753"/>
                  <a:gd name="connsiteX108" fmla="*/ 137434 w 311587"/>
                  <a:gd name="connsiteY108" fmla="*/ 188149 h 509753"/>
                  <a:gd name="connsiteX109" fmla="*/ 144432 w 311587"/>
                  <a:gd name="connsiteY109" fmla="*/ 192238 h 509753"/>
                  <a:gd name="connsiteX110" fmla="*/ 142182 w 311587"/>
                  <a:gd name="connsiteY110" fmla="*/ 197205 h 509753"/>
                  <a:gd name="connsiteX111" fmla="*/ 142841 w 311587"/>
                  <a:gd name="connsiteY111" fmla="*/ 199675 h 509753"/>
                  <a:gd name="connsiteX112" fmla="*/ 148439 w 311587"/>
                  <a:gd name="connsiteY112" fmla="*/ 200114 h 509753"/>
                  <a:gd name="connsiteX113" fmla="*/ 148823 w 311587"/>
                  <a:gd name="connsiteY113" fmla="*/ 189466 h 509753"/>
                  <a:gd name="connsiteX114" fmla="*/ 144844 w 311587"/>
                  <a:gd name="connsiteY114" fmla="*/ 183374 h 509753"/>
                  <a:gd name="connsiteX115" fmla="*/ 150881 w 311587"/>
                  <a:gd name="connsiteY115" fmla="*/ 170942 h 509753"/>
                  <a:gd name="connsiteX116" fmla="*/ 157550 w 311587"/>
                  <a:gd name="connsiteY116" fmla="*/ 170283 h 509753"/>
                  <a:gd name="connsiteX117" fmla="*/ 163917 w 311587"/>
                  <a:gd name="connsiteY117" fmla="*/ 166332 h 509753"/>
                  <a:gd name="connsiteX118" fmla="*/ 165454 w 311587"/>
                  <a:gd name="connsiteY118" fmla="*/ 148933 h 509753"/>
                  <a:gd name="connsiteX119" fmla="*/ 164027 w 311587"/>
                  <a:gd name="connsiteY119" fmla="*/ 140453 h 509753"/>
                  <a:gd name="connsiteX120" fmla="*/ 166990 w 311587"/>
                  <a:gd name="connsiteY120" fmla="*/ 132961 h 509753"/>
                  <a:gd name="connsiteX121" fmla="*/ 166003 w 311587"/>
                  <a:gd name="connsiteY121" fmla="*/ 126183 h 509753"/>
                  <a:gd name="connsiteX122" fmla="*/ 141249 w 311587"/>
                  <a:gd name="connsiteY122" fmla="*/ 94020 h 509753"/>
                  <a:gd name="connsiteX123" fmla="*/ 136584 w 311587"/>
                  <a:gd name="connsiteY123" fmla="*/ 89711 h 509753"/>
                  <a:gd name="connsiteX124" fmla="*/ 127994 w 311587"/>
                  <a:gd name="connsiteY124" fmla="*/ 88119 h 509753"/>
                  <a:gd name="connsiteX125" fmla="*/ 127390 w 311587"/>
                  <a:gd name="connsiteY125" fmla="*/ 75743 h 509753"/>
                  <a:gd name="connsiteX126" fmla="*/ 123109 w 311587"/>
                  <a:gd name="connsiteY126" fmla="*/ 58344 h 509753"/>
                  <a:gd name="connsiteX127" fmla="*/ 121435 w 311587"/>
                  <a:gd name="connsiteY127" fmla="*/ 51181 h 509753"/>
                  <a:gd name="connsiteX128" fmla="*/ 129229 w 311587"/>
                  <a:gd name="connsiteY128" fmla="*/ 36581 h 509753"/>
                  <a:gd name="connsiteX129" fmla="*/ 129283 w 311587"/>
                  <a:gd name="connsiteY129" fmla="*/ 32273 h 509753"/>
                  <a:gd name="connsiteX130" fmla="*/ 138916 w 311587"/>
                  <a:gd name="connsiteY130" fmla="*/ 31861 h 509753"/>
                  <a:gd name="connsiteX131" fmla="*/ 156150 w 311587"/>
                  <a:gd name="connsiteY131" fmla="*/ 31751 h 509753"/>
                  <a:gd name="connsiteX132" fmla="*/ 164877 w 311587"/>
                  <a:gd name="connsiteY132" fmla="*/ 27470 h 509753"/>
                  <a:gd name="connsiteX133" fmla="*/ 174098 w 311587"/>
                  <a:gd name="connsiteY133" fmla="*/ 31504 h 509753"/>
                  <a:gd name="connsiteX134" fmla="*/ 177172 w 311587"/>
                  <a:gd name="connsiteY134" fmla="*/ 36005 h 509753"/>
                  <a:gd name="connsiteX135" fmla="*/ 188231 w 311587"/>
                  <a:gd name="connsiteY135" fmla="*/ 36197 h 509753"/>
                  <a:gd name="connsiteX136" fmla="*/ 194104 w 311587"/>
                  <a:gd name="connsiteY136" fmla="*/ 32136 h 509753"/>
                  <a:gd name="connsiteX137" fmla="*/ 203627 w 311587"/>
                  <a:gd name="connsiteY137" fmla="*/ 33645 h 509753"/>
                  <a:gd name="connsiteX138" fmla="*/ 210899 w 311587"/>
                  <a:gd name="connsiteY138" fmla="*/ 34743 h 509753"/>
                  <a:gd name="connsiteX139" fmla="*/ 218089 w 311587"/>
                  <a:gd name="connsiteY139" fmla="*/ 32410 h 509753"/>
                  <a:gd name="connsiteX140" fmla="*/ 221437 w 311587"/>
                  <a:gd name="connsiteY140" fmla="*/ 30077 h 509753"/>
                  <a:gd name="connsiteX141" fmla="*/ 223495 w 311587"/>
                  <a:gd name="connsiteY141" fmla="*/ 24314 h 509753"/>
                  <a:gd name="connsiteX142" fmla="*/ 226460 w 311587"/>
                  <a:gd name="connsiteY142" fmla="*/ 22723 h 509753"/>
                  <a:gd name="connsiteX143" fmla="*/ 234637 w 311587"/>
                  <a:gd name="connsiteY143" fmla="*/ 23052 h 509753"/>
                  <a:gd name="connsiteX144" fmla="*/ 242267 w 311587"/>
                  <a:gd name="connsiteY144" fmla="*/ 26784 h 509753"/>
                  <a:gd name="connsiteX145" fmla="*/ 254369 w 311587"/>
                  <a:gd name="connsiteY145" fmla="*/ 20061 h 509753"/>
                  <a:gd name="connsiteX146" fmla="*/ 264880 w 311587"/>
                  <a:gd name="connsiteY146" fmla="*/ 19430 h 509753"/>
                  <a:gd name="connsiteX147" fmla="*/ 273442 w 311587"/>
                  <a:gd name="connsiteY147" fmla="*/ 14106 h 509753"/>
                  <a:gd name="connsiteX148" fmla="*/ 287053 w 311587"/>
                  <a:gd name="connsiteY148" fmla="*/ 8782 h 509753"/>
                  <a:gd name="connsiteX149" fmla="*/ 298716 w 311587"/>
                  <a:gd name="connsiteY149" fmla="*/ 0 h 509753"/>
                  <a:gd name="connsiteX150" fmla="*/ 302860 w 311587"/>
                  <a:gd name="connsiteY150" fmla="*/ 1125 h 509753"/>
                  <a:gd name="connsiteX151" fmla="*/ 303958 w 311587"/>
                  <a:gd name="connsiteY151" fmla="*/ 9578 h 509753"/>
                  <a:gd name="connsiteX152" fmla="*/ 299266 w 311587"/>
                  <a:gd name="connsiteY152" fmla="*/ 24342 h 509753"/>
                  <a:gd name="connsiteX153" fmla="*/ 127308 w 311587"/>
                  <a:gd name="connsiteY153" fmla="*/ 45171 h 509753"/>
                  <a:gd name="connsiteX154" fmla="*/ 127884 w 311587"/>
                  <a:gd name="connsiteY154" fmla="*/ 47092 h 509753"/>
                  <a:gd name="connsiteX155" fmla="*/ 130162 w 311587"/>
                  <a:gd name="connsiteY155" fmla="*/ 46653 h 509753"/>
                  <a:gd name="connsiteX156" fmla="*/ 132357 w 311587"/>
                  <a:gd name="connsiteY156" fmla="*/ 49041 h 509753"/>
                  <a:gd name="connsiteX157" fmla="*/ 134443 w 311587"/>
                  <a:gd name="connsiteY157" fmla="*/ 45802 h 509753"/>
                  <a:gd name="connsiteX158" fmla="*/ 131918 w 311587"/>
                  <a:gd name="connsiteY158" fmla="*/ 44650 h 509753"/>
                  <a:gd name="connsiteX159" fmla="*/ 131095 w 311587"/>
                  <a:gd name="connsiteY159" fmla="*/ 45555 h 509753"/>
                  <a:gd name="connsiteX160" fmla="*/ 128570 w 311587"/>
                  <a:gd name="connsiteY160" fmla="*/ 43716 h 509753"/>
                  <a:gd name="connsiteX161" fmla="*/ 127308 w 311587"/>
                  <a:gd name="connsiteY161" fmla="*/ 45144 h 50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311587" h="509753">
                    <a:moveTo>
                      <a:pt x="299403" y="24451"/>
                    </a:moveTo>
                    <a:lnTo>
                      <a:pt x="302559" y="45473"/>
                    </a:lnTo>
                    <a:lnTo>
                      <a:pt x="302010" y="58371"/>
                    </a:lnTo>
                    <a:lnTo>
                      <a:pt x="304672" y="67153"/>
                    </a:lnTo>
                    <a:lnTo>
                      <a:pt x="300144" y="73931"/>
                    </a:lnTo>
                    <a:lnTo>
                      <a:pt x="303684" y="75989"/>
                    </a:lnTo>
                    <a:lnTo>
                      <a:pt x="303163" y="89985"/>
                    </a:lnTo>
                    <a:lnTo>
                      <a:pt x="305413" y="105738"/>
                    </a:lnTo>
                    <a:lnTo>
                      <a:pt x="304041" y="110376"/>
                    </a:lnTo>
                    <a:lnTo>
                      <a:pt x="307965" y="112406"/>
                    </a:lnTo>
                    <a:lnTo>
                      <a:pt x="307361" y="117511"/>
                    </a:lnTo>
                    <a:lnTo>
                      <a:pt x="310572" y="118746"/>
                    </a:lnTo>
                    <a:lnTo>
                      <a:pt x="311588" y="122313"/>
                    </a:lnTo>
                    <a:lnTo>
                      <a:pt x="311066" y="130189"/>
                    </a:lnTo>
                    <a:lnTo>
                      <a:pt x="303958" y="139987"/>
                    </a:lnTo>
                    <a:lnTo>
                      <a:pt x="306263" y="143636"/>
                    </a:lnTo>
                    <a:lnTo>
                      <a:pt x="304425" y="148521"/>
                    </a:lnTo>
                    <a:lnTo>
                      <a:pt x="292158" y="163972"/>
                    </a:lnTo>
                    <a:lnTo>
                      <a:pt x="283129" y="179148"/>
                    </a:lnTo>
                    <a:lnTo>
                      <a:pt x="267267" y="189411"/>
                    </a:lnTo>
                    <a:lnTo>
                      <a:pt x="259391" y="196656"/>
                    </a:lnTo>
                    <a:lnTo>
                      <a:pt x="240730" y="201953"/>
                    </a:lnTo>
                    <a:lnTo>
                      <a:pt x="208567" y="217760"/>
                    </a:lnTo>
                    <a:lnTo>
                      <a:pt x="200361" y="225252"/>
                    </a:lnTo>
                    <a:lnTo>
                      <a:pt x="179010" y="253189"/>
                    </a:lnTo>
                    <a:lnTo>
                      <a:pt x="162929" y="260461"/>
                    </a:lnTo>
                    <a:lnTo>
                      <a:pt x="145338" y="278738"/>
                    </a:lnTo>
                    <a:lnTo>
                      <a:pt x="133702" y="286779"/>
                    </a:lnTo>
                    <a:lnTo>
                      <a:pt x="131150" y="304041"/>
                    </a:lnTo>
                    <a:lnTo>
                      <a:pt x="138669" y="310901"/>
                    </a:lnTo>
                    <a:lnTo>
                      <a:pt x="142566" y="318009"/>
                    </a:lnTo>
                    <a:lnTo>
                      <a:pt x="142566" y="326763"/>
                    </a:lnTo>
                    <a:cubicBezTo>
                      <a:pt x="142566" y="326763"/>
                      <a:pt x="147835" y="341583"/>
                      <a:pt x="147835" y="341583"/>
                    </a:cubicBezTo>
                    <a:lnTo>
                      <a:pt x="150250" y="356868"/>
                    </a:lnTo>
                    <a:lnTo>
                      <a:pt x="151375" y="358240"/>
                    </a:lnTo>
                    <a:lnTo>
                      <a:pt x="154367" y="357307"/>
                    </a:lnTo>
                    <a:lnTo>
                      <a:pt x="155519" y="359091"/>
                    </a:lnTo>
                    <a:lnTo>
                      <a:pt x="155299" y="375420"/>
                    </a:lnTo>
                    <a:lnTo>
                      <a:pt x="157084" y="383433"/>
                    </a:lnTo>
                    <a:lnTo>
                      <a:pt x="150936" y="411151"/>
                    </a:lnTo>
                    <a:lnTo>
                      <a:pt x="155272" y="411480"/>
                    </a:lnTo>
                    <a:lnTo>
                      <a:pt x="155547" y="413840"/>
                    </a:lnTo>
                    <a:lnTo>
                      <a:pt x="151760" y="425009"/>
                    </a:lnTo>
                    <a:lnTo>
                      <a:pt x="142731" y="436288"/>
                    </a:lnTo>
                    <a:lnTo>
                      <a:pt x="91522" y="458078"/>
                    </a:lnTo>
                    <a:lnTo>
                      <a:pt x="76182" y="469000"/>
                    </a:lnTo>
                    <a:lnTo>
                      <a:pt x="69568" y="482008"/>
                    </a:lnTo>
                    <a:lnTo>
                      <a:pt x="75056" y="489418"/>
                    </a:lnTo>
                    <a:lnTo>
                      <a:pt x="79365" y="487826"/>
                    </a:lnTo>
                    <a:lnTo>
                      <a:pt x="78075" y="509753"/>
                    </a:lnTo>
                    <a:lnTo>
                      <a:pt x="55791" y="508985"/>
                    </a:lnTo>
                    <a:lnTo>
                      <a:pt x="54666" y="484011"/>
                    </a:lnTo>
                    <a:lnTo>
                      <a:pt x="51346" y="479977"/>
                    </a:lnTo>
                    <a:lnTo>
                      <a:pt x="50330" y="475943"/>
                    </a:lnTo>
                    <a:lnTo>
                      <a:pt x="53102" y="453275"/>
                    </a:lnTo>
                    <a:lnTo>
                      <a:pt x="51702" y="428193"/>
                    </a:lnTo>
                    <a:lnTo>
                      <a:pt x="48080" y="415596"/>
                    </a:lnTo>
                    <a:lnTo>
                      <a:pt x="44732" y="412056"/>
                    </a:lnTo>
                    <a:lnTo>
                      <a:pt x="38639" y="398198"/>
                    </a:lnTo>
                    <a:lnTo>
                      <a:pt x="38639" y="389553"/>
                    </a:lnTo>
                    <a:cubicBezTo>
                      <a:pt x="38639" y="389553"/>
                      <a:pt x="31614" y="365952"/>
                      <a:pt x="31614" y="365952"/>
                    </a:cubicBezTo>
                    <a:lnTo>
                      <a:pt x="63832" y="331264"/>
                    </a:lnTo>
                    <a:lnTo>
                      <a:pt x="63558" y="325117"/>
                    </a:lnTo>
                    <a:lnTo>
                      <a:pt x="66714" y="318229"/>
                    </a:lnTo>
                    <a:lnTo>
                      <a:pt x="66549" y="309749"/>
                    </a:lnTo>
                    <a:lnTo>
                      <a:pt x="75496" y="301049"/>
                    </a:lnTo>
                    <a:lnTo>
                      <a:pt x="81889" y="286477"/>
                    </a:lnTo>
                    <a:lnTo>
                      <a:pt x="80517" y="281016"/>
                    </a:lnTo>
                    <a:lnTo>
                      <a:pt x="77087" y="278244"/>
                    </a:lnTo>
                    <a:lnTo>
                      <a:pt x="75687" y="274128"/>
                    </a:lnTo>
                    <a:lnTo>
                      <a:pt x="77005" y="261641"/>
                    </a:lnTo>
                    <a:lnTo>
                      <a:pt x="73245" y="255961"/>
                    </a:lnTo>
                    <a:lnTo>
                      <a:pt x="74096" y="253079"/>
                    </a:lnTo>
                    <a:lnTo>
                      <a:pt x="78816" y="250005"/>
                    </a:lnTo>
                    <a:lnTo>
                      <a:pt x="78596" y="244105"/>
                    </a:lnTo>
                    <a:lnTo>
                      <a:pt x="82164" y="239138"/>
                    </a:lnTo>
                    <a:lnTo>
                      <a:pt x="80271" y="223797"/>
                    </a:lnTo>
                    <a:lnTo>
                      <a:pt x="81725" y="207112"/>
                    </a:lnTo>
                    <a:lnTo>
                      <a:pt x="77444" y="194818"/>
                    </a:lnTo>
                    <a:lnTo>
                      <a:pt x="79612" y="188753"/>
                    </a:lnTo>
                    <a:lnTo>
                      <a:pt x="74041" y="186887"/>
                    </a:lnTo>
                    <a:lnTo>
                      <a:pt x="67208" y="181755"/>
                    </a:lnTo>
                    <a:lnTo>
                      <a:pt x="50961" y="178681"/>
                    </a:lnTo>
                    <a:lnTo>
                      <a:pt x="44485" y="173193"/>
                    </a:lnTo>
                    <a:lnTo>
                      <a:pt x="29172" y="166442"/>
                    </a:lnTo>
                    <a:lnTo>
                      <a:pt x="7080" y="165536"/>
                    </a:lnTo>
                    <a:lnTo>
                      <a:pt x="5351" y="154202"/>
                    </a:lnTo>
                    <a:lnTo>
                      <a:pt x="4062" y="146353"/>
                    </a:lnTo>
                    <a:lnTo>
                      <a:pt x="0" y="139767"/>
                    </a:lnTo>
                    <a:lnTo>
                      <a:pt x="219" y="135321"/>
                    </a:lnTo>
                    <a:lnTo>
                      <a:pt x="66906" y="112763"/>
                    </a:lnTo>
                    <a:lnTo>
                      <a:pt x="69925" y="111446"/>
                    </a:lnTo>
                    <a:lnTo>
                      <a:pt x="80984" y="107466"/>
                    </a:lnTo>
                    <a:lnTo>
                      <a:pt x="83920" y="106314"/>
                    </a:lnTo>
                    <a:lnTo>
                      <a:pt x="87378" y="105106"/>
                    </a:lnTo>
                    <a:lnTo>
                      <a:pt x="88421" y="104914"/>
                    </a:lnTo>
                    <a:lnTo>
                      <a:pt x="95007" y="116495"/>
                    </a:lnTo>
                    <a:lnTo>
                      <a:pt x="100908" y="122972"/>
                    </a:lnTo>
                    <a:lnTo>
                      <a:pt x="102829" y="120886"/>
                    </a:lnTo>
                    <a:lnTo>
                      <a:pt x="120722" y="117154"/>
                    </a:lnTo>
                    <a:lnTo>
                      <a:pt x="125771" y="122176"/>
                    </a:lnTo>
                    <a:lnTo>
                      <a:pt x="128542" y="134964"/>
                    </a:lnTo>
                    <a:lnTo>
                      <a:pt x="127939" y="143746"/>
                    </a:lnTo>
                    <a:lnTo>
                      <a:pt x="123658" y="149180"/>
                    </a:lnTo>
                    <a:lnTo>
                      <a:pt x="123466" y="154614"/>
                    </a:lnTo>
                    <a:lnTo>
                      <a:pt x="118361" y="162325"/>
                    </a:lnTo>
                    <a:lnTo>
                      <a:pt x="122615" y="166963"/>
                    </a:lnTo>
                    <a:lnTo>
                      <a:pt x="123329" y="173248"/>
                    </a:lnTo>
                    <a:lnTo>
                      <a:pt x="137434" y="188149"/>
                    </a:lnTo>
                    <a:lnTo>
                      <a:pt x="144432" y="192238"/>
                    </a:lnTo>
                    <a:lnTo>
                      <a:pt x="142182" y="197205"/>
                    </a:lnTo>
                    <a:lnTo>
                      <a:pt x="142841" y="199675"/>
                    </a:lnTo>
                    <a:lnTo>
                      <a:pt x="148439" y="200114"/>
                    </a:lnTo>
                    <a:lnTo>
                      <a:pt x="148823" y="189466"/>
                    </a:lnTo>
                    <a:lnTo>
                      <a:pt x="144844" y="183374"/>
                    </a:lnTo>
                    <a:lnTo>
                      <a:pt x="150881" y="170942"/>
                    </a:lnTo>
                    <a:lnTo>
                      <a:pt x="157550" y="170283"/>
                    </a:lnTo>
                    <a:lnTo>
                      <a:pt x="163917" y="166332"/>
                    </a:lnTo>
                    <a:lnTo>
                      <a:pt x="165454" y="148933"/>
                    </a:lnTo>
                    <a:lnTo>
                      <a:pt x="164027" y="140453"/>
                    </a:lnTo>
                    <a:lnTo>
                      <a:pt x="166990" y="132961"/>
                    </a:lnTo>
                    <a:lnTo>
                      <a:pt x="166003" y="126183"/>
                    </a:lnTo>
                    <a:lnTo>
                      <a:pt x="141249" y="94020"/>
                    </a:lnTo>
                    <a:lnTo>
                      <a:pt x="136584" y="89711"/>
                    </a:lnTo>
                    <a:lnTo>
                      <a:pt x="127994" y="88119"/>
                    </a:lnTo>
                    <a:lnTo>
                      <a:pt x="127390" y="75743"/>
                    </a:lnTo>
                    <a:lnTo>
                      <a:pt x="123109" y="58344"/>
                    </a:lnTo>
                    <a:lnTo>
                      <a:pt x="121435" y="51181"/>
                    </a:lnTo>
                    <a:lnTo>
                      <a:pt x="129229" y="36581"/>
                    </a:lnTo>
                    <a:lnTo>
                      <a:pt x="129283" y="32273"/>
                    </a:lnTo>
                    <a:lnTo>
                      <a:pt x="138916" y="31861"/>
                    </a:lnTo>
                    <a:lnTo>
                      <a:pt x="156150" y="31751"/>
                    </a:lnTo>
                    <a:lnTo>
                      <a:pt x="164877" y="27470"/>
                    </a:lnTo>
                    <a:lnTo>
                      <a:pt x="174098" y="31504"/>
                    </a:lnTo>
                    <a:lnTo>
                      <a:pt x="177172" y="36005"/>
                    </a:lnTo>
                    <a:lnTo>
                      <a:pt x="188231" y="36197"/>
                    </a:lnTo>
                    <a:lnTo>
                      <a:pt x="194104" y="32136"/>
                    </a:lnTo>
                    <a:lnTo>
                      <a:pt x="203627" y="33645"/>
                    </a:lnTo>
                    <a:lnTo>
                      <a:pt x="210899" y="34743"/>
                    </a:lnTo>
                    <a:lnTo>
                      <a:pt x="218089" y="32410"/>
                    </a:lnTo>
                    <a:lnTo>
                      <a:pt x="221437" y="30077"/>
                    </a:lnTo>
                    <a:lnTo>
                      <a:pt x="223495" y="24314"/>
                    </a:lnTo>
                    <a:lnTo>
                      <a:pt x="226460" y="22723"/>
                    </a:lnTo>
                    <a:lnTo>
                      <a:pt x="234637" y="23052"/>
                    </a:lnTo>
                    <a:lnTo>
                      <a:pt x="242267" y="26784"/>
                    </a:lnTo>
                    <a:lnTo>
                      <a:pt x="254369" y="20061"/>
                    </a:lnTo>
                    <a:lnTo>
                      <a:pt x="264880" y="19430"/>
                    </a:lnTo>
                    <a:lnTo>
                      <a:pt x="273442" y="14106"/>
                    </a:lnTo>
                    <a:lnTo>
                      <a:pt x="287053" y="8782"/>
                    </a:lnTo>
                    <a:lnTo>
                      <a:pt x="298716" y="0"/>
                    </a:lnTo>
                    <a:lnTo>
                      <a:pt x="302860" y="1125"/>
                    </a:lnTo>
                    <a:lnTo>
                      <a:pt x="303958" y="9578"/>
                    </a:lnTo>
                    <a:lnTo>
                      <a:pt x="299266" y="24342"/>
                    </a:lnTo>
                    <a:moveTo>
                      <a:pt x="127308" y="45171"/>
                    </a:moveTo>
                    <a:lnTo>
                      <a:pt x="127884" y="47092"/>
                    </a:lnTo>
                    <a:lnTo>
                      <a:pt x="130162" y="46653"/>
                    </a:lnTo>
                    <a:lnTo>
                      <a:pt x="132357" y="49041"/>
                    </a:lnTo>
                    <a:lnTo>
                      <a:pt x="134443" y="45802"/>
                    </a:lnTo>
                    <a:lnTo>
                      <a:pt x="131918" y="44650"/>
                    </a:lnTo>
                    <a:lnTo>
                      <a:pt x="131095" y="45555"/>
                    </a:lnTo>
                    <a:lnTo>
                      <a:pt x="128570" y="43716"/>
                    </a:lnTo>
                    <a:lnTo>
                      <a:pt x="127308" y="451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6" name="Freeform: Shape 3965">
                <a:extLst>
                  <a:ext uri="{FF2B5EF4-FFF2-40B4-BE49-F238E27FC236}">
                    <a16:creationId xmlns:a16="http://schemas.microsoft.com/office/drawing/2014/main" id="{FE37B4FE-F681-24F5-DD52-B437535251F6}"/>
                  </a:ext>
                </a:extLst>
              </p:cNvPr>
              <p:cNvSpPr/>
              <p:nvPr/>
            </p:nvSpPr>
            <p:spPr>
              <a:xfrm>
                <a:off x="1466257" y="3926926"/>
                <a:ext cx="389" cy="429"/>
              </a:xfrm>
              <a:custGeom>
                <a:avLst/>
                <a:gdLst>
                  <a:gd name="connsiteX0" fmla="*/ 3733 w 3732"/>
                  <a:gd name="connsiteY0" fmla="*/ 1784 h 4116"/>
                  <a:gd name="connsiteX1" fmla="*/ 2113 w 3732"/>
                  <a:gd name="connsiteY1" fmla="*/ 4116 h 4116"/>
                  <a:gd name="connsiteX2" fmla="*/ 0 w 3732"/>
                  <a:gd name="connsiteY2" fmla="*/ 2168 h 4116"/>
                  <a:gd name="connsiteX3" fmla="*/ 1784 w 3732"/>
                  <a:gd name="connsiteY3" fmla="*/ 0 h 4116"/>
                  <a:gd name="connsiteX4" fmla="*/ 3733 w 3732"/>
                  <a:gd name="connsiteY4" fmla="*/ 1812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4116">
                    <a:moveTo>
                      <a:pt x="3733" y="1784"/>
                    </a:moveTo>
                    <a:lnTo>
                      <a:pt x="2113" y="4116"/>
                    </a:lnTo>
                    <a:lnTo>
                      <a:pt x="0" y="2168"/>
                    </a:lnTo>
                    <a:lnTo>
                      <a:pt x="1784" y="0"/>
                    </a:lnTo>
                    <a:lnTo>
                      <a:pt x="3733" y="18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7" name="Freeform: Shape 3966">
                <a:extLst>
                  <a:ext uri="{FF2B5EF4-FFF2-40B4-BE49-F238E27FC236}">
                    <a16:creationId xmlns:a16="http://schemas.microsoft.com/office/drawing/2014/main" id="{2A1E37C5-69CA-A3B1-45E7-F4818D30A362}"/>
                  </a:ext>
                </a:extLst>
              </p:cNvPr>
              <p:cNvSpPr/>
              <p:nvPr/>
            </p:nvSpPr>
            <p:spPr>
              <a:xfrm>
                <a:off x="1474026" y="3912354"/>
                <a:ext cx="309" cy="429"/>
              </a:xfrm>
              <a:custGeom>
                <a:avLst/>
                <a:gdLst>
                  <a:gd name="connsiteX0" fmla="*/ 2387 w 2963"/>
                  <a:gd name="connsiteY0" fmla="*/ 3650 h 4116"/>
                  <a:gd name="connsiteX1" fmla="*/ 960 w 2963"/>
                  <a:gd name="connsiteY1" fmla="*/ 4116 h 4116"/>
                  <a:gd name="connsiteX2" fmla="*/ 0 w 2963"/>
                  <a:gd name="connsiteY2" fmla="*/ 1564 h 4116"/>
                  <a:gd name="connsiteX3" fmla="*/ 2031 w 2963"/>
                  <a:gd name="connsiteY3" fmla="*/ 0 h 4116"/>
                  <a:gd name="connsiteX4" fmla="*/ 2963 w 2963"/>
                  <a:gd name="connsiteY4" fmla="*/ 1070 h 4116"/>
                  <a:gd name="connsiteX5" fmla="*/ 2360 w 2963"/>
                  <a:gd name="connsiteY5" fmla="*/ 3650 h 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3" h="4116">
                    <a:moveTo>
                      <a:pt x="2387" y="3650"/>
                    </a:moveTo>
                    <a:lnTo>
                      <a:pt x="960" y="4116"/>
                    </a:lnTo>
                    <a:lnTo>
                      <a:pt x="0" y="1564"/>
                    </a:lnTo>
                    <a:lnTo>
                      <a:pt x="2031" y="0"/>
                    </a:lnTo>
                    <a:lnTo>
                      <a:pt x="2963" y="1070"/>
                    </a:lnTo>
                    <a:lnTo>
                      <a:pt x="2360" y="36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8" name="Freeform: Shape 3967">
                <a:extLst>
                  <a:ext uri="{FF2B5EF4-FFF2-40B4-BE49-F238E27FC236}">
                    <a16:creationId xmlns:a16="http://schemas.microsoft.com/office/drawing/2014/main" id="{6998F4FD-A41F-4DBC-F52C-234D998FFF7D}"/>
                  </a:ext>
                </a:extLst>
              </p:cNvPr>
              <p:cNvSpPr/>
              <p:nvPr/>
            </p:nvSpPr>
            <p:spPr>
              <a:xfrm>
                <a:off x="1401434" y="3897281"/>
                <a:ext cx="41452" cy="40055"/>
              </a:xfrm>
              <a:custGeom>
                <a:avLst/>
                <a:gdLst>
                  <a:gd name="connsiteX0" fmla="*/ 343558 w 397429"/>
                  <a:gd name="connsiteY0" fmla="*/ 20582 h 384037"/>
                  <a:gd name="connsiteX1" fmla="*/ 372483 w 397429"/>
                  <a:gd name="connsiteY1" fmla="*/ 15780 h 384037"/>
                  <a:gd name="connsiteX2" fmla="*/ 388208 w 397429"/>
                  <a:gd name="connsiteY2" fmla="*/ 18058 h 384037"/>
                  <a:gd name="connsiteX3" fmla="*/ 397429 w 397429"/>
                  <a:gd name="connsiteY3" fmla="*/ 25412 h 384037"/>
                  <a:gd name="connsiteX4" fmla="*/ 384312 w 397429"/>
                  <a:gd name="connsiteY4" fmla="*/ 27443 h 384037"/>
                  <a:gd name="connsiteX5" fmla="*/ 376957 w 397429"/>
                  <a:gd name="connsiteY5" fmla="*/ 33645 h 384037"/>
                  <a:gd name="connsiteX6" fmla="*/ 372045 w 397429"/>
                  <a:gd name="connsiteY6" fmla="*/ 30572 h 384037"/>
                  <a:gd name="connsiteX7" fmla="*/ 365733 w 397429"/>
                  <a:gd name="connsiteY7" fmla="*/ 33288 h 384037"/>
                  <a:gd name="connsiteX8" fmla="*/ 349377 w 397429"/>
                  <a:gd name="connsiteY8" fmla="*/ 46626 h 384037"/>
                  <a:gd name="connsiteX9" fmla="*/ 338976 w 397429"/>
                  <a:gd name="connsiteY9" fmla="*/ 32191 h 384037"/>
                  <a:gd name="connsiteX10" fmla="*/ 321055 w 397429"/>
                  <a:gd name="connsiteY10" fmla="*/ 34359 h 384037"/>
                  <a:gd name="connsiteX11" fmla="*/ 272317 w 397429"/>
                  <a:gd name="connsiteY11" fmla="*/ 42427 h 384037"/>
                  <a:gd name="connsiteX12" fmla="*/ 271933 w 397429"/>
                  <a:gd name="connsiteY12" fmla="*/ 155821 h 384037"/>
                  <a:gd name="connsiteX13" fmla="*/ 242953 w 397429"/>
                  <a:gd name="connsiteY13" fmla="*/ 157715 h 384037"/>
                  <a:gd name="connsiteX14" fmla="*/ 242624 w 397429"/>
                  <a:gd name="connsiteY14" fmla="*/ 202584 h 384037"/>
                  <a:gd name="connsiteX15" fmla="*/ 242624 w 397429"/>
                  <a:gd name="connsiteY15" fmla="*/ 245258 h 384037"/>
                  <a:gd name="connsiteX16" fmla="*/ 242541 w 397429"/>
                  <a:gd name="connsiteY16" fmla="*/ 364937 h 384037"/>
                  <a:gd name="connsiteX17" fmla="*/ 229835 w 397429"/>
                  <a:gd name="connsiteY17" fmla="*/ 370014 h 384037"/>
                  <a:gd name="connsiteX18" fmla="*/ 226350 w 397429"/>
                  <a:gd name="connsiteY18" fmla="*/ 375502 h 384037"/>
                  <a:gd name="connsiteX19" fmla="*/ 220614 w 397429"/>
                  <a:gd name="connsiteY19" fmla="*/ 378137 h 384037"/>
                  <a:gd name="connsiteX20" fmla="*/ 220614 w 397429"/>
                  <a:gd name="connsiteY20" fmla="*/ 382061 h 384037"/>
                  <a:gd name="connsiteX21" fmla="*/ 217047 w 397429"/>
                  <a:gd name="connsiteY21" fmla="*/ 384037 h 384037"/>
                  <a:gd name="connsiteX22" fmla="*/ 205301 w 397429"/>
                  <a:gd name="connsiteY22" fmla="*/ 379756 h 384037"/>
                  <a:gd name="connsiteX23" fmla="*/ 189000 w 397429"/>
                  <a:gd name="connsiteY23" fmla="*/ 382171 h 384037"/>
                  <a:gd name="connsiteX24" fmla="*/ 181892 w 397429"/>
                  <a:gd name="connsiteY24" fmla="*/ 378110 h 384037"/>
                  <a:gd name="connsiteX25" fmla="*/ 167156 w 397429"/>
                  <a:gd name="connsiteY25" fmla="*/ 375338 h 384037"/>
                  <a:gd name="connsiteX26" fmla="*/ 164740 w 397429"/>
                  <a:gd name="connsiteY26" fmla="*/ 368505 h 384037"/>
                  <a:gd name="connsiteX27" fmla="*/ 165399 w 397429"/>
                  <a:gd name="connsiteY27" fmla="*/ 361781 h 384037"/>
                  <a:gd name="connsiteX28" fmla="*/ 160486 w 397429"/>
                  <a:gd name="connsiteY28" fmla="*/ 359339 h 384037"/>
                  <a:gd name="connsiteX29" fmla="*/ 159471 w 397429"/>
                  <a:gd name="connsiteY29" fmla="*/ 355304 h 384037"/>
                  <a:gd name="connsiteX30" fmla="*/ 156727 w 397429"/>
                  <a:gd name="connsiteY30" fmla="*/ 353465 h 384037"/>
                  <a:gd name="connsiteX31" fmla="*/ 151815 w 397429"/>
                  <a:gd name="connsiteY31" fmla="*/ 354810 h 384037"/>
                  <a:gd name="connsiteX32" fmla="*/ 147808 w 397429"/>
                  <a:gd name="connsiteY32" fmla="*/ 361314 h 384037"/>
                  <a:gd name="connsiteX33" fmla="*/ 147040 w 397429"/>
                  <a:gd name="connsiteY33" fmla="*/ 367269 h 384037"/>
                  <a:gd name="connsiteX34" fmla="*/ 138395 w 397429"/>
                  <a:gd name="connsiteY34" fmla="*/ 373060 h 384037"/>
                  <a:gd name="connsiteX35" fmla="*/ 117401 w 397429"/>
                  <a:gd name="connsiteY35" fmla="*/ 352533 h 384037"/>
                  <a:gd name="connsiteX36" fmla="*/ 104338 w 397429"/>
                  <a:gd name="connsiteY36" fmla="*/ 329014 h 384037"/>
                  <a:gd name="connsiteX37" fmla="*/ 102198 w 397429"/>
                  <a:gd name="connsiteY37" fmla="*/ 317461 h 384037"/>
                  <a:gd name="connsiteX38" fmla="*/ 98356 w 397429"/>
                  <a:gd name="connsiteY38" fmla="*/ 309420 h 384037"/>
                  <a:gd name="connsiteX39" fmla="*/ 99179 w 397429"/>
                  <a:gd name="connsiteY39" fmla="*/ 301269 h 384037"/>
                  <a:gd name="connsiteX40" fmla="*/ 94623 w 397429"/>
                  <a:gd name="connsiteY40" fmla="*/ 295890 h 384037"/>
                  <a:gd name="connsiteX41" fmla="*/ 94459 w 397429"/>
                  <a:gd name="connsiteY41" fmla="*/ 286999 h 384037"/>
                  <a:gd name="connsiteX42" fmla="*/ 90891 w 397429"/>
                  <a:gd name="connsiteY42" fmla="*/ 277229 h 384037"/>
                  <a:gd name="connsiteX43" fmla="*/ 91769 w 397429"/>
                  <a:gd name="connsiteY43" fmla="*/ 270945 h 384037"/>
                  <a:gd name="connsiteX44" fmla="*/ 89931 w 397429"/>
                  <a:gd name="connsiteY44" fmla="*/ 263206 h 384037"/>
                  <a:gd name="connsiteX45" fmla="*/ 91413 w 397429"/>
                  <a:gd name="connsiteY45" fmla="*/ 255494 h 384037"/>
                  <a:gd name="connsiteX46" fmla="*/ 88888 w 397429"/>
                  <a:gd name="connsiteY46" fmla="*/ 246383 h 384037"/>
                  <a:gd name="connsiteX47" fmla="*/ 84141 w 397429"/>
                  <a:gd name="connsiteY47" fmla="*/ 238863 h 384037"/>
                  <a:gd name="connsiteX48" fmla="*/ 80051 w 397429"/>
                  <a:gd name="connsiteY48" fmla="*/ 224456 h 384037"/>
                  <a:gd name="connsiteX49" fmla="*/ 80133 w 397429"/>
                  <a:gd name="connsiteY49" fmla="*/ 202502 h 384037"/>
                  <a:gd name="connsiteX50" fmla="*/ 78570 w 397429"/>
                  <a:gd name="connsiteY50" fmla="*/ 190509 h 384037"/>
                  <a:gd name="connsiteX51" fmla="*/ 81670 w 397429"/>
                  <a:gd name="connsiteY51" fmla="*/ 185707 h 384037"/>
                  <a:gd name="connsiteX52" fmla="*/ 81725 w 397429"/>
                  <a:gd name="connsiteY52" fmla="*/ 179697 h 384037"/>
                  <a:gd name="connsiteX53" fmla="*/ 78377 w 397429"/>
                  <a:gd name="connsiteY53" fmla="*/ 167786 h 384037"/>
                  <a:gd name="connsiteX54" fmla="*/ 65479 w 397429"/>
                  <a:gd name="connsiteY54" fmla="*/ 150195 h 384037"/>
                  <a:gd name="connsiteX55" fmla="*/ 61582 w 397429"/>
                  <a:gd name="connsiteY55" fmla="*/ 140865 h 384037"/>
                  <a:gd name="connsiteX56" fmla="*/ 48904 w 397429"/>
                  <a:gd name="connsiteY56" fmla="*/ 121161 h 384037"/>
                  <a:gd name="connsiteX57" fmla="*/ 42894 w 397429"/>
                  <a:gd name="connsiteY57" fmla="*/ 101813 h 384037"/>
                  <a:gd name="connsiteX58" fmla="*/ 38530 w 397429"/>
                  <a:gd name="connsiteY58" fmla="*/ 96078 h 384037"/>
                  <a:gd name="connsiteX59" fmla="*/ 24561 w 397429"/>
                  <a:gd name="connsiteY59" fmla="*/ 66494 h 384037"/>
                  <a:gd name="connsiteX60" fmla="*/ 17344 w 397429"/>
                  <a:gd name="connsiteY60" fmla="*/ 55353 h 384037"/>
                  <a:gd name="connsiteX61" fmla="*/ 7931 w 397429"/>
                  <a:gd name="connsiteY61" fmla="*/ 46049 h 384037"/>
                  <a:gd name="connsiteX62" fmla="*/ 1564 w 397429"/>
                  <a:gd name="connsiteY62" fmla="*/ 30709 h 384037"/>
                  <a:gd name="connsiteX63" fmla="*/ 0 w 397429"/>
                  <a:gd name="connsiteY63" fmla="*/ 8727 h 384037"/>
                  <a:gd name="connsiteX64" fmla="*/ 9880 w 397429"/>
                  <a:gd name="connsiteY64" fmla="*/ 5571 h 384037"/>
                  <a:gd name="connsiteX65" fmla="*/ 15039 w 397429"/>
                  <a:gd name="connsiteY65" fmla="*/ 7986 h 384037"/>
                  <a:gd name="connsiteX66" fmla="*/ 23272 w 397429"/>
                  <a:gd name="connsiteY66" fmla="*/ 8398 h 384037"/>
                  <a:gd name="connsiteX67" fmla="*/ 35813 w 397429"/>
                  <a:gd name="connsiteY67" fmla="*/ 823 h 384037"/>
                  <a:gd name="connsiteX68" fmla="*/ 41302 w 397429"/>
                  <a:gd name="connsiteY68" fmla="*/ 0 h 384037"/>
                  <a:gd name="connsiteX69" fmla="*/ 49672 w 397429"/>
                  <a:gd name="connsiteY69" fmla="*/ 1180 h 384037"/>
                  <a:gd name="connsiteX70" fmla="*/ 53157 w 397429"/>
                  <a:gd name="connsiteY70" fmla="*/ 5928 h 384037"/>
                  <a:gd name="connsiteX71" fmla="*/ 65397 w 397429"/>
                  <a:gd name="connsiteY71" fmla="*/ 13941 h 384037"/>
                  <a:gd name="connsiteX72" fmla="*/ 194790 w 397429"/>
                  <a:gd name="connsiteY72" fmla="*/ 13008 h 384037"/>
                  <a:gd name="connsiteX73" fmla="*/ 210241 w 397429"/>
                  <a:gd name="connsiteY73" fmla="*/ 26016 h 384037"/>
                  <a:gd name="connsiteX74" fmla="*/ 244490 w 397429"/>
                  <a:gd name="connsiteY74" fmla="*/ 28925 h 384037"/>
                  <a:gd name="connsiteX75" fmla="*/ 252448 w 397429"/>
                  <a:gd name="connsiteY75" fmla="*/ 27910 h 384037"/>
                  <a:gd name="connsiteX76" fmla="*/ 265977 w 397429"/>
                  <a:gd name="connsiteY76" fmla="*/ 32657 h 384037"/>
                  <a:gd name="connsiteX77" fmla="*/ 277394 w 397429"/>
                  <a:gd name="connsiteY77" fmla="*/ 29831 h 384037"/>
                  <a:gd name="connsiteX78" fmla="*/ 285956 w 397429"/>
                  <a:gd name="connsiteY78" fmla="*/ 32245 h 384037"/>
                  <a:gd name="connsiteX79" fmla="*/ 321000 w 397429"/>
                  <a:gd name="connsiteY79" fmla="*/ 25110 h 384037"/>
                  <a:gd name="connsiteX80" fmla="*/ 326626 w 397429"/>
                  <a:gd name="connsiteY80" fmla="*/ 23985 h 384037"/>
                  <a:gd name="connsiteX81" fmla="*/ 343449 w 397429"/>
                  <a:gd name="connsiteY81" fmla="*/ 20555 h 38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97429" h="384037">
                    <a:moveTo>
                      <a:pt x="343558" y="20582"/>
                    </a:moveTo>
                    <a:lnTo>
                      <a:pt x="372483" y="15780"/>
                    </a:lnTo>
                    <a:lnTo>
                      <a:pt x="388208" y="18058"/>
                    </a:lnTo>
                    <a:lnTo>
                      <a:pt x="397429" y="25412"/>
                    </a:lnTo>
                    <a:lnTo>
                      <a:pt x="384312" y="27443"/>
                    </a:lnTo>
                    <a:lnTo>
                      <a:pt x="376957" y="33645"/>
                    </a:lnTo>
                    <a:lnTo>
                      <a:pt x="372045" y="30572"/>
                    </a:lnTo>
                    <a:lnTo>
                      <a:pt x="365733" y="33288"/>
                    </a:lnTo>
                    <a:lnTo>
                      <a:pt x="349377" y="46626"/>
                    </a:lnTo>
                    <a:lnTo>
                      <a:pt x="338976" y="32191"/>
                    </a:lnTo>
                    <a:lnTo>
                      <a:pt x="321055" y="34359"/>
                    </a:lnTo>
                    <a:lnTo>
                      <a:pt x="272317" y="42427"/>
                    </a:lnTo>
                    <a:lnTo>
                      <a:pt x="271933" y="155821"/>
                    </a:lnTo>
                    <a:lnTo>
                      <a:pt x="242953" y="157715"/>
                    </a:lnTo>
                    <a:lnTo>
                      <a:pt x="242624" y="202584"/>
                    </a:lnTo>
                    <a:lnTo>
                      <a:pt x="242624" y="245258"/>
                    </a:lnTo>
                    <a:lnTo>
                      <a:pt x="242541" y="364937"/>
                    </a:lnTo>
                    <a:lnTo>
                      <a:pt x="229835" y="370014"/>
                    </a:lnTo>
                    <a:lnTo>
                      <a:pt x="226350" y="375502"/>
                    </a:lnTo>
                    <a:lnTo>
                      <a:pt x="220614" y="378137"/>
                    </a:lnTo>
                    <a:lnTo>
                      <a:pt x="220614" y="382061"/>
                    </a:lnTo>
                    <a:lnTo>
                      <a:pt x="217047" y="384037"/>
                    </a:lnTo>
                    <a:lnTo>
                      <a:pt x="205301" y="379756"/>
                    </a:lnTo>
                    <a:lnTo>
                      <a:pt x="189000" y="382171"/>
                    </a:lnTo>
                    <a:lnTo>
                      <a:pt x="181892" y="378110"/>
                    </a:lnTo>
                    <a:lnTo>
                      <a:pt x="167156" y="375338"/>
                    </a:lnTo>
                    <a:lnTo>
                      <a:pt x="164740" y="368505"/>
                    </a:lnTo>
                    <a:lnTo>
                      <a:pt x="165399" y="361781"/>
                    </a:lnTo>
                    <a:lnTo>
                      <a:pt x="160486" y="359339"/>
                    </a:lnTo>
                    <a:lnTo>
                      <a:pt x="159471" y="355304"/>
                    </a:lnTo>
                    <a:lnTo>
                      <a:pt x="156727" y="353465"/>
                    </a:lnTo>
                    <a:lnTo>
                      <a:pt x="151815" y="354810"/>
                    </a:lnTo>
                    <a:lnTo>
                      <a:pt x="147808" y="361314"/>
                    </a:lnTo>
                    <a:lnTo>
                      <a:pt x="147040" y="367269"/>
                    </a:lnTo>
                    <a:lnTo>
                      <a:pt x="138395" y="373060"/>
                    </a:lnTo>
                    <a:lnTo>
                      <a:pt x="117401" y="352533"/>
                    </a:lnTo>
                    <a:lnTo>
                      <a:pt x="104338" y="329014"/>
                    </a:lnTo>
                    <a:lnTo>
                      <a:pt x="102198" y="317461"/>
                    </a:lnTo>
                    <a:lnTo>
                      <a:pt x="98356" y="309420"/>
                    </a:lnTo>
                    <a:lnTo>
                      <a:pt x="99179" y="301269"/>
                    </a:lnTo>
                    <a:lnTo>
                      <a:pt x="94623" y="295890"/>
                    </a:lnTo>
                    <a:lnTo>
                      <a:pt x="94459" y="286999"/>
                    </a:lnTo>
                    <a:lnTo>
                      <a:pt x="90891" y="277229"/>
                    </a:lnTo>
                    <a:lnTo>
                      <a:pt x="91769" y="270945"/>
                    </a:lnTo>
                    <a:lnTo>
                      <a:pt x="89931" y="263206"/>
                    </a:lnTo>
                    <a:lnTo>
                      <a:pt x="91413" y="255494"/>
                    </a:lnTo>
                    <a:lnTo>
                      <a:pt x="88888" y="246383"/>
                    </a:lnTo>
                    <a:lnTo>
                      <a:pt x="84141" y="238863"/>
                    </a:lnTo>
                    <a:lnTo>
                      <a:pt x="80051" y="224456"/>
                    </a:lnTo>
                    <a:lnTo>
                      <a:pt x="80133" y="202502"/>
                    </a:lnTo>
                    <a:lnTo>
                      <a:pt x="78570" y="190509"/>
                    </a:lnTo>
                    <a:lnTo>
                      <a:pt x="81670" y="185707"/>
                    </a:lnTo>
                    <a:lnTo>
                      <a:pt x="81725" y="179697"/>
                    </a:lnTo>
                    <a:lnTo>
                      <a:pt x="78377" y="167786"/>
                    </a:lnTo>
                    <a:lnTo>
                      <a:pt x="65479" y="150195"/>
                    </a:lnTo>
                    <a:lnTo>
                      <a:pt x="61582" y="140865"/>
                    </a:lnTo>
                    <a:lnTo>
                      <a:pt x="48904" y="121161"/>
                    </a:lnTo>
                    <a:lnTo>
                      <a:pt x="42894" y="101813"/>
                    </a:lnTo>
                    <a:lnTo>
                      <a:pt x="38530" y="96078"/>
                    </a:lnTo>
                    <a:lnTo>
                      <a:pt x="24561" y="66494"/>
                    </a:lnTo>
                    <a:lnTo>
                      <a:pt x="17344" y="55353"/>
                    </a:lnTo>
                    <a:lnTo>
                      <a:pt x="7931" y="46049"/>
                    </a:lnTo>
                    <a:lnTo>
                      <a:pt x="1564" y="30709"/>
                    </a:lnTo>
                    <a:lnTo>
                      <a:pt x="0" y="8727"/>
                    </a:lnTo>
                    <a:lnTo>
                      <a:pt x="9880" y="5571"/>
                    </a:lnTo>
                    <a:lnTo>
                      <a:pt x="15039" y="7986"/>
                    </a:lnTo>
                    <a:lnTo>
                      <a:pt x="23272" y="8398"/>
                    </a:lnTo>
                    <a:lnTo>
                      <a:pt x="35813" y="823"/>
                    </a:lnTo>
                    <a:lnTo>
                      <a:pt x="41302" y="0"/>
                    </a:lnTo>
                    <a:lnTo>
                      <a:pt x="49672" y="1180"/>
                    </a:lnTo>
                    <a:lnTo>
                      <a:pt x="53157" y="5928"/>
                    </a:lnTo>
                    <a:lnTo>
                      <a:pt x="65397" y="13941"/>
                    </a:lnTo>
                    <a:lnTo>
                      <a:pt x="194790" y="13008"/>
                    </a:lnTo>
                    <a:lnTo>
                      <a:pt x="210241" y="26016"/>
                    </a:lnTo>
                    <a:lnTo>
                      <a:pt x="244490" y="28925"/>
                    </a:lnTo>
                    <a:lnTo>
                      <a:pt x="252448" y="27910"/>
                    </a:lnTo>
                    <a:lnTo>
                      <a:pt x="265977" y="32657"/>
                    </a:lnTo>
                    <a:lnTo>
                      <a:pt x="277394" y="29831"/>
                    </a:lnTo>
                    <a:lnTo>
                      <a:pt x="285956" y="32245"/>
                    </a:lnTo>
                    <a:lnTo>
                      <a:pt x="321000" y="25110"/>
                    </a:lnTo>
                    <a:lnTo>
                      <a:pt x="326626" y="23985"/>
                    </a:lnTo>
                    <a:lnTo>
                      <a:pt x="343449" y="205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6" name="Freeform: Shape 3975">
                <a:extLst>
                  <a:ext uri="{FF2B5EF4-FFF2-40B4-BE49-F238E27FC236}">
                    <a16:creationId xmlns:a16="http://schemas.microsoft.com/office/drawing/2014/main" id="{1FA172C9-D35E-E405-0FE8-EC44B6B6F9F8}"/>
                  </a:ext>
                </a:extLst>
              </p:cNvPr>
              <p:cNvSpPr/>
              <p:nvPr/>
            </p:nvSpPr>
            <p:spPr>
              <a:xfrm>
                <a:off x="1365973" y="3770216"/>
                <a:ext cx="48428" cy="38106"/>
              </a:xfrm>
              <a:custGeom>
                <a:avLst/>
                <a:gdLst>
                  <a:gd name="connsiteX0" fmla="*/ 435548 w 464307"/>
                  <a:gd name="connsiteY0" fmla="*/ 16466 h 365348"/>
                  <a:gd name="connsiteX1" fmla="*/ 441091 w 464307"/>
                  <a:gd name="connsiteY1" fmla="*/ 47915 h 365348"/>
                  <a:gd name="connsiteX2" fmla="*/ 441448 w 464307"/>
                  <a:gd name="connsiteY2" fmla="*/ 58042 h 365348"/>
                  <a:gd name="connsiteX3" fmla="*/ 441640 w 464307"/>
                  <a:gd name="connsiteY3" fmla="*/ 63695 h 365348"/>
                  <a:gd name="connsiteX4" fmla="*/ 453221 w 464307"/>
                  <a:gd name="connsiteY4" fmla="*/ 79914 h 365348"/>
                  <a:gd name="connsiteX5" fmla="*/ 453056 w 464307"/>
                  <a:gd name="connsiteY5" fmla="*/ 86665 h 365348"/>
                  <a:gd name="connsiteX6" fmla="*/ 460575 w 464307"/>
                  <a:gd name="connsiteY6" fmla="*/ 95749 h 365348"/>
                  <a:gd name="connsiteX7" fmla="*/ 464308 w 464307"/>
                  <a:gd name="connsiteY7" fmla="*/ 100194 h 365348"/>
                  <a:gd name="connsiteX8" fmla="*/ 459505 w 464307"/>
                  <a:gd name="connsiteY8" fmla="*/ 109881 h 365348"/>
                  <a:gd name="connsiteX9" fmla="*/ 457612 w 464307"/>
                  <a:gd name="connsiteY9" fmla="*/ 114602 h 365348"/>
                  <a:gd name="connsiteX10" fmla="*/ 457365 w 464307"/>
                  <a:gd name="connsiteY10" fmla="*/ 116495 h 365348"/>
                  <a:gd name="connsiteX11" fmla="*/ 456350 w 464307"/>
                  <a:gd name="connsiteY11" fmla="*/ 124701 h 365348"/>
                  <a:gd name="connsiteX12" fmla="*/ 455224 w 464307"/>
                  <a:gd name="connsiteY12" fmla="*/ 133757 h 365348"/>
                  <a:gd name="connsiteX13" fmla="*/ 453166 w 464307"/>
                  <a:gd name="connsiteY13" fmla="*/ 150470 h 365348"/>
                  <a:gd name="connsiteX14" fmla="*/ 450339 w 464307"/>
                  <a:gd name="connsiteY14" fmla="*/ 206947 h 365348"/>
                  <a:gd name="connsiteX15" fmla="*/ 417106 w 464307"/>
                  <a:gd name="connsiteY15" fmla="*/ 243721 h 365348"/>
                  <a:gd name="connsiteX16" fmla="*/ 402287 w 464307"/>
                  <a:gd name="connsiteY16" fmla="*/ 264550 h 365348"/>
                  <a:gd name="connsiteX17" fmla="*/ 400228 w 464307"/>
                  <a:gd name="connsiteY17" fmla="*/ 273661 h 365348"/>
                  <a:gd name="connsiteX18" fmla="*/ 396606 w 464307"/>
                  <a:gd name="connsiteY18" fmla="*/ 279287 h 365348"/>
                  <a:gd name="connsiteX19" fmla="*/ 391502 w 464307"/>
                  <a:gd name="connsiteY19" fmla="*/ 282059 h 365348"/>
                  <a:gd name="connsiteX20" fmla="*/ 395481 w 464307"/>
                  <a:gd name="connsiteY20" fmla="*/ 304590 h 365348"/>
                  <a:gd name="connsiteX21" fmla="*/ 387138 w 464307"/>
                  <a:gd name="connsiteY21" fmla="*/ 304754 h 365348"/>
                  <a:gd name="connsiteX22" fmla="*/ 381952 w 464307"/>
                  <a:gd name="connsiteY22" fmla="*/ 309721 h 365348"/>
                  <a:gd name="connsiteX23" fmla="*/ 373444 w 464307"/>
                  <a:gd name="connsiteY23" fmla="*/ 311395 h 365348"/>
                  <a:gd name="connsiteX24" fmla="*/ 364882 w 464307"/>
                  <a:gd name="connsiteY24" fmla="*/ 318064 h 365348"/>
                  <a:gd name="connsiteX25" fmla="*/ 360876 w 464307"/>
                  <a:gd name="connsiteY25" fmla="*/ 323690 h 365348"/>
                  <a:gd name="connsiteX26" fmla="*/ 350282 w 464307"/>
                  <a:gd name="connsiteY26" fmla="*/ 322812 h 365348"/>
                  <a:gd name="connsiteX27" fmla="*/ 343751 w 464307"/>
                  <a:gd name="connsiteY27" fmla="*/ 318723 h 365348"/>
                  <a:gd name="connsiteX28" fmla="*/ 331621 w 464307"/>
                  <a:gd name="connsiteY28" fmla="*/ 315237 h 365348"/>
                  <a:gd name="connsiteX29" fmla="*/ 309475 w 464307"/>
                  <a:gd name="connsiteY29" fmla="*/ 315237 h 365348"/>
                  <a:gd name="connsiteX30" fmla="*/ 292487 w 464307"/>
                  <a:gd name="connsiteY30" fmla="*/ 319134 h 365348"/>
                  <a:gd name="connsiteX31" fmla="*/ 276625 w 464307"/>
                  <a:gd name="connsiteY31" fmla="*/ 331868 h 365348"/>
                  <a:gd name="connsiteX32" fmla="*/ 256729 w 464307"/>
                  <a:gd name="connsiteY32" fmla="*/ 330578 h 365348"/>
                  <a:gd name="connsiteX33" fmla="*/ 241581 w 464307"/>
                  <a:gd name="connsiteY33" fmla="*/ 323827 h 365348"/>
                  <a:gd name="connsiteX34" fmla="*/ 232744 w 464307"/>
                  <a:gd name="connsiteY34" fmla="*/ 317543 h 365348"/>
                  <a:gd name="connsiteX35" fmla="*/ 225911 w 464307"/>
                  <a:gd name="connsiteY35" fmla="*/ 316116 h 365348"/>
                  <a:gd name="connsiteX36" fmla="*/ 213150 w 464307"/>
                  <a:gd name="connsiteY36" fmla="*/ 322428 h 365348"/>
                  <a:gd name="connsiteX37" fmla="*/ 198632 w 464307"/>
                  <a:gd name="connsiteY37" fmla="*/ 326105 h 365348"/>
                  <a:gd name="connsiteX38" fmla="*/ 182194 w 464307"/>
                  <a:gd name="connsiteY38" fmla="*/ 306346 h 365348"/>
                  <a:gd name="connsiteX39" fmla="*/ 157743 w 464307"/>
                  <a:gd name="connsiteY39" fmla="*/ 299293 h 365348"/>
                  <a:gd name="connsiteX40" fmla="*/ 148851 w 464307"/>
                  <a:gd name="connsiteY40" fmla="*/ 303574 h 365348"/>
                  <a:gd name="connsiteX41" fmla="*/ 130656 w 464307"/>
                  <a:gd name="connsiteY41" fmla="*/ 303876 h 365348"/>
                  <a:gd name="connsiteX42" fmla="*/ 116441 w 464307"/>
                  <a:gd name="connsiteY42" fmla="*/ 312383 h 365348"/>
                  <a:gd name="connsiteX43" fmla="*/ 114465 w 464307"/>
                  <a:gd name="connsiteY43" fmla="*/ 327312 h 365348"/>
                  <a:gd name="connsiteX44" fmla="*/ 102472 w 464307"/>
                  <a:gd name="connsiteY44" fmla="*/ 340622 h 365348"/>
                  <a:gd name="connsiteX45" fmla="*/ 102061 w 464307"/>
                  <a:gd name="connsiteY45" fmla="*/ 363372 h 365348"/>
                  <a:gd name="connsiteX46" fmla="*/ 100496 w 464307"/>
                  <a:gd name="connsiteY46" fmla="*/ 365348 h 365348"/>
                  <a:gd name="connsiteX47" fmla="*/ 99179 w 464307"/>
                  <a:gd name="connsiteY47" fmla="*/ 364333 h 365348"/>
                  <a:gd name="connsiteX48" fmla="*/ 98850 w 464307"/>
                  <a:gd name="connsiteY48" fmla="*/ 362878 h 365348"/>
                  <a:gd name="connsiteX49" fmla="*/ 92209 w 464307"/>
                  <a:gd name="connsiteY49" fmla="*/ 359283 h 365348"/>
                  <a:gd name="connsiteX50" fmla="*/ 88806 w 464307"/>
                  <a:gd name="connsiteY50" fmla="*/ 354096 h 365348"/>
                  <a:gd name="connsiteX51" fmla="*/ 77856 w 464307"/>
                  <a:gd name="connsiteY51" fmla="*/ 344519 h 365348"/>
                  <a:gd name="connsiteX52" fmla="*/ 64875 w 464307"/>
                  <a:gd name="connsiteY52" fmla="*/ 349212 h 365348"/>
                  <a:gd name="connsiteX53" fmla="*/ 66440 w 464307"/>
                  <a:gd name="connsiteY53" fmla="*/ 356402 h 365348"/>
                  <a:gd name="connsiteX54" fmla="*/ 65205 w 464307"/>
                  <a:gd name="connsiteY54" fmla="*/ 359256 h 365348"/>
                  <a:gd name="connsiteX55" fmla="*/ 57027 w 464307"/>
                  <a:gd name="connsiteY55" fmla="*/ 347236 h 365348"/>
                  <a:gd name="connsiteX56" fmla="*/ 59908 w 464307"/>
                  <a:gd name="connsiteY56" fmla="*/ 342461 h 365348"/>
                  <a:gd name="connsiteX57" fmla="*/ 58481 w 464307"/>
                  <a:gd name="connsiteY57" fmla="*/ 337987 h 365348"/>
                  <a:gd name="connsiteX58" fmla="*/ 54118 w 464307"/>
                  <a:gd name="connsiteY58" fmla="*/ 335353 h 365348"/>
                  <a:gd name="connsiteX59" fmla="*/ 47998 w 464307"/>
                  <a:gd name="connsiteY59" fmla="*/ 337384 h 365348"/>
                  <a:gd name="connsiteX60" fmla="*/ 41412 w 464307"/>
                  <a:gd name="connsiteY60" fmla="*/ 336670 h 365348"/>
                  <a:gd name="connsiteX61" fmla="*/ 25632 w 464307"/>
                  <a:gd name="connsiteY61" fmla="*/ 325913 h 365348"/>
                  <a:gd name="connsiteX62" fmla="*/ 24397 w 464307"/>
                  <a:gd name="connsiteY62" fmla="*/ 317213 h 365348"/>
                  <a:gd name="connsiteX63" fmla="*/ 28404 w 464307"/>
                  <a:gd name="connsiteY63" fmla="*/ 314002 h 365348"/>
                  <a:gd name="connsiteX64" fmla="*/ 21159 w 464307"/>
                  <a:gd name="connsiteY64" fmla="*/ 307800 h 365348"/>
                  <a:gd name="connsiteX65" fmla="*/ 13612 w 464307"/>
                  <a:gd name="connsiteY65" fmla="*/ 304480 h 365348"/>
                  <a:gd name="connsiteX66" fmla="*/ 6834 w 464307"/>
                  <a:gd name="connsiteY66" fmla="*/ 295286 h 365348"/>
                  <a:gd name="connsiteX67" fmla="*/ 5297 w 464307"/>
                  <a:gd name="connsiteY67" fmla="*/ 287300 h 365348"/>
                  <a:gd name="connsiteX68" fmla="*/ 2223 w 464307"/>
                  <a:gd name="connsiteY68" fmla="*/ 282992 h 365348"/>
                  <a:gd name="connsiteX69" fmla="*/ 0 w 464307"/>
                  <a:gd name="connsiteY69" fmla="*/ 279918 h 365348"/>
                  <a:gd name="connsiteX70" fmla="*/ 1263 w 464307"/>
                  <a:gd name="connsiteY70" fmla="*/ 265840 h 365348"/>
                  <a:gd name="connsiteX71" fmla="*/ 20939 w 464307"/>
                  <a:gd name="connsiteY71" fmla="*/ 265840 h 365348"/>
                  <a:gd name="connsiteX72" fmla="*/ 37542 w 464307"/>
                  <a:gd name="connsiteY72" fmla="*/ 257360 h 365348"/>
                  <a:gd name="connsiteX73" fmla="*/ 70172 w 464307"/>
                  <a:gd name="connsiteY73" fmla="*/ 254534 h 365348"/>
                  <a:gd name="connsiteX74" fmla="*/ 95886 w 464307"/>
                  <a:gd name="connsiteY74" fmla="*/ 254314 h 365348"/>
                  <a:gd name="connsiteX75" fmla="*/ 99481 w 464307"/>
                  <a:gd name="connsiteY75" fmla="*/ 251926 h 365348"/>
                  <a:gd name="connsiteX76" fmla="*/ 109031 w 464307"/>
                  <a:gd name="connsiteY76" fmla="*/ 240840 h 365348"/>
                  <a:gd name="connsiteX77" fmla="*/ 113751 w 464307"/>
                  <a:gd name="connsiteY77" fmla="*/ 225883 h 365348"/>
                  <a:gd name="connsiteX78" fmla="*/ 114986 w 464307"/>
                  <a:gd name="connsiteY78" fmla="*/ 209088 h 365348"/>
                  <a:gd name="connsiteX79" fmla="*/ 118883 w 464307"/>
                  <a:gd name="connsiteY79" fmla="*/ 200992 h 365348"/>
                  <a:gd name="connsiteX80" fmla="*/ 119295 w 464307"/>
                  <a:gd name="connsiteY80" fmla="*/ 138148 h 365348"/>
                  <a:gd name="connsiteX81" fmla="*/ 140124 w 464307"/>
                  <a:gd name="connsiteY81" fmla="*/ 133839 h 365348"/>
                  <a:gd name="connsiteX82" fmla="*/ 164905 w 464307"/>
                  <a:gd name="connsiteY82" fmla="*/ 128707 h 365348"/>
                  <a:gd name="connsiteX83" fmla="*/ 169351 w 464307"/>
                  <a:gd name="connsiteY83" fmla="*/ 124783 h 365348"/>
                  <a:gd name="connsiteX84" fmla="*/ 178599 w 464307"/>
                  <a:gd name="connsiteY84" fmla="*/ 116578 h 365348"/>
                  <a:gd name="connsiteX85" fmla="*/ 186091 w 464307"/>
                  <a:gd name="connsiteY85" fmla="*/ 109936 h 365348"/>
                  <a:gd name="connsiteX86" fmla="*/ 201953 w 464307"/>
                  <a:gd name="connsiteY86" fmla="*/ 95803 h 365348"/>
                  <a:gd name="connsiteX87" fmla="*/ 214961 w 464307"/>
                  <a:gd name="connsiteY87" fmla="*/ 84167 h 365348"/>
                  <a:gd name="connsiteX88" fmla="*/ 256235 w 464307"/>
                  <a:gd name="connsiteY88" fmla="*/ 58097 h 365348"/>
                  <a:gd name="connsiteX89" fmla="*/ 347346 w 464307"/>
                  <a:gd name="connsiteY89" fmla="*/ 0 h 365348"/>
                  <a:gd name="connsiteX90" fmla="*/ 389663 w 464307"/>
                  <a:gd name="connsiteY90" fmla="*/ 9989 h 365348"/>
                  <a:gd name="connsiteX91" fmla="*/ 411672 w 464307"/>
                  <a:gd name="connsiteY91" fmla="*/ 27251 h 365348"/>
                  <a:gd name="connsiteX92" fmla="*/ 435575 w 464307"/>
                  <a:gd name="connsiteY92" fmla="*/ 16520 h 36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64307" h="365348">
                    <a:moveTo>
                      <a:pt x="435548" y="16466"/>
                    </a:moveTo>
                    <a:lnTo>
                      <a:pt x="441091" y="47915"/>
                    </a:lnTo>
                    <a:lnTo>
                      <a:pt x="441448" y="58042"/>
                    </a:lnTo>
                    <a:lnTo>
                      <a:pt x="441640" y="63695"/>
                    </a:lnTo>
                    <a:lnTo>
                      <a:pt x="453221" y="79914"/>
                    </a:lnTo>
                    <a:lnTo>
                      <a:pt x="453056" y="86665"/>
                    </a:lnTo>
                    <a:lnTo>
                      <a:pt x="460575" y="95749"/>
                    </a:lnTo>
                    <a:lnTo>
                      <a:pt x="464308" y="100194"/>
                    </a:lnTo>
                    <a:lnTo>
                      <a:pt x="459505" y="109881"/>
                    </a:lnTo>
                    <a:lnTo>
                      <a:pt x="457612" y="114602"/>
                    </a:lnTo>
                    <a:lnTo>
                      <a:pt x="457365" y="116495"/>
                    </a:lnTo>
                    <a:lnTo>
                      <a:pt x="456350" y="124701"/>
                    </a:lnTo>
                    <a:lnTo>
                      <a:pt x="455224" y="133757"/>
                    </a:lnTo>
                    <a:lnTo>
                      <a:pt x="453166" y="150470"/>
                    </a:lnTo>
                    <a:lnTo>
                      <a:pt x="450339" y="206947"/>
                    </a:lnTo>
                    <a:lnTo>
                      <a:pt x="417106" y="243721"/>
                    </a:lnTo>
                    <a:lnTo>
                      <a:pt x="402287" y="264550"/>
                    </a:lnTo>
                    <a:lnTo>
                      <a:pt x="400228" y="273661"/>
                    </a:lnTo>
                    <a:lnTo>
                      <a:pt x="396606" y="279287"/>
                    </a:lnTo>
                    <a:lnTo>
                      <a:pt x="391502" y="282059"/>
                    </a:lnTo>
                    <a:lnTo>
                      <a:pt x="395481" y="304590"/>
                    </a:lnTo>
                    <a:lnTo>
                      <a:pt x="387138" y="304754"/>
                    </a:lnTo>
                    <a:lnTo>
                      <a:pt x="381952" y="309721"/>
                    </a:lnTo>
                    <a:lnTo>
                      <a:pt x="373444" y="311395"/>
                    </a:lnTo>
                    <a:lnTo>
                      <a:pt x="364882" y="318064"/>
                    </a:lnTo>
                    <a:lnTo>
                      <a:pt x="360876" y="323690"/>
                    </a:lnTo>
                    <a:lnTo>
                      <a:pt x="350282" y="322812"/>
                    </a:lnTo>
                    <a:lnTo>
                      <a:pt x="343751" y="318723"/>
                    </a:lnTo>
                    <a:lnTo>
                      <a:pt x="331621" y="315237"/>
                    </a:lnTo>
                    <a:lnTo>
                      <a:pt x="309475" y="315237"/>
                    </a:lnTo>
                    <a:cubicBezTo>
                      <a:pt x="309475" y="315237"/>
                      <a:pt x="292487" y="319134"/>
                      <a:pt x="292487" y="319134"/>
                    </a:cubicBezTo>
                    <a:lnTo>
                      <a:pt x="276625" y="331868"/>
                    </a:lnTo>
                    <a:lnTo>
                      <a:pt x="256729" y="330578"/>
                    </a:lnTo>
                    <a:lnTo>
                      <a:pt x="241581" y="323827"/>
                    </a:lnTo>
                    <a:lnTo>
                      <a:pt x="232744" y="317543"/>
                    </a:lnTo>
                    <a:lnTo>
                      <a:pt x="225911" y="316116"/>
                    </a:lnTo>
                    <a:lnTo>
                      <a:pt x="213150" y="322428"/>
                    </a:lnTo>
                    <a:lnTo>
                      <a:pt x="198632" y="326105"/>
                    </a:lnTo>
                    <a:lnTo>
                      <a:pt x="182194" y="306346"/>
                    </a:lnTo>
                    <a:lnTo>
                      <a:pt x="157743" y="299293"/>
                    </a:lnTo>
                    <a:lnTo>
                      <a:pt x="148851" y="303574"/>
                    </a:lnTo>
                    <a:lnTo>
                      <a:pt x="130656" y="303876"/>
                    </a:lnTo>
                    <a:lnTo>
                      <a:pt x="116441" y="312383"/>
                    </a:lnTo>
                    <a:lnTo>
                      <a:pt x="114465" y="327312"/>
                    </a:lnTo>
                    <a:lnTo>
                      <a:pt x="102472" y="340622"/>
                    </a:lnTo>
                    <a:lnTo>
                      <a:pt x="102061" y="363372"/>
                    </a:lnTo>
                    <a:lnTo>
                      <a:pt x="100496" y="365348"/>
                    </a:lnTo>
                    <a:lnTo>
                      <a:pt x="99179" y="364333"/>
                    </a:lnTo>
                    <a:lnTo>
                      <a:pt x="98850" y="362878"/>
                    </a:lnTo>
                    <a:lnTo>
                      <a:pt x="92209" y="359283"/>
                    </a:lnTo>
                    <a:lnTo>
                      <a:pt x="88806" y="354096"/>
                    </a:lnTo>
                    <a:lnTo>
                      <a:pt x="77856" y="344519"/>
                    </a:lnTo>
                    <a:lnTo>
                      <a:pt x="64875" y="349212"/>
                    </a:lnTo>
                    <a:lnTo>
                      <a:pt x="66440" y="356402"/>
                    </a:lnTo>
                    <a:lnTo>
                      <a:pt x="65205" y="359256"/>
                    </a:lnTo>
                    <a:lnTo>
                      <a:pt x="57027" y="347236"/>
                    </a:lnTo>
                    <a:lnTo>
                      <a:pt x="59908" y="342461"/>
                    </a:lnTo>
                    <a:lnTo>
                      <a:pt x="58481" y="337987"/>
                    </a:lnTo>
                    <a:lnTo>
                      <a:pt x="54118" y="335353"/>
                    </a:lnTo>
                    <a:lnTo>
                      <a:pt x="47998" y="337384"/>
                    </a:lnTo>
                    <a:lnTo>
                      <a:pt x="41412" y="336670"/>
                    </a:lnTo>
                    <a:lnTo>
                      <a:pt x="25632" y="325913"/>
                    </a:lnTo>
                    <a:lnTo>
                      <a:pt x="24397" y="317213"/>
                    </a:lnTo>
                    <a:lnTo>
                      <a:pt x="28404" y="314002"/>
                    </a:lnTo>
                    <a:lnTo>
                      <a:pt x="21159" y="307800"/>
                    </a:lnTo>
                    <a:lnTo>
                      <a:pt x="13612" y="304480"/>
                    </a:lnTo>
                    <a:lnTo>
                      <a:pt x="6834" y="295286"/>
                    </a:lnTo>
                    <a:lnTo>
                      <a:pt x="5297" y="287300"/>
                    </a:lnTo>
                    <a:lnTo>
                      <a:pt x="2223" y="282992"/>
                    </a:lnTo>
                    <a:lnTo>
                      <a:pt x="0" y="279918"/>
                    </a:lnTo>
                    <a:lnTo>
                      <a:pt x="1263" y="265840"/>
                    </a:lnTo>
                    <a:lnTo>
                      <a:pt x="20939" y="265840"/>
                    </a:lnTo>
                    <a:lnTo>
                      <a:pt x="37542" y="257360"/>
                    </a:lnTo>
                    <a:lnTo>
                      <a:pt x="70172" y="254534"/>
                    </a:lnTo>
                    <a:lnTo>
                      <a:pt x="95886" y="254314"/>
                    </a:lnTo>
                    <a:lnTo>
                      <a:pt x="99481" y="251926"/>
                    </a:lnTo>
                    <a:lnTo>
                      <a:pt x="109031" y="240840"/>
                    </a:lnTo>
                    <a:lnTo>
                      <a:pt x="113751" y="225883"/>
                    </a:lnTo>
                    <a:lnTo>
                      <a:pt x="114986" y="209088"/>
                    </a:lnTo>
                    <a:lnTo>
                      <a:pt x="118883" y="200992"/>
                    </a:lnTo>
                    <a:lnTo>
                      <a:pt x="119295" y="138148"/>
                    </a:lnTo>
                    <a:lnTo>
                      <a:pt x="140124" y="133839"/>
                    </a:lnTo>
                    <a:lnTo>
                      <a:pt x="164905" y="128707"/>
                    </a:lnTo>
                    <a:lnTo>
                      <a:pt x="169351" y="124783"/>
                    </a:lnTo>
                    <a:lnTo>
                      <a:pt x="178599" y="116578"/>
                    </a:lnTo>
                    <a:lnTo>
                      <a:pt x="186091" y="109936"/>
                    </a:lnTo>
                    <a:lnTo>
                      <a:pt x="201953" y="95803"/>
                    </a:lnTo>
                    <a:lnTo>
                      <a:pt x="214961" y="84167"/>
                    </a:lnTo>
                    <a:lnTo>
                      <a:pt x="256235" y="58097"/>
                    </a:lnTo>
                    <a:lnTo>
                      <a:pt x="347346" y="0"/>
                    </a:lnTo>
                    <a:lnTo>
                      <a:pt x="389663" y="9989"/>
                    </a:lnTo>
                    <a:lnTo>
                      <a:pt x="411672" y="27251"/>
                    </a:lnTo>
                    <a:lnTo>
                      <a:pt x="435575" y="165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5" name="Freeform: Shape 3984">
                <a:extLst>
                  <a:ext uri="{FF2B5EF4-FFF2-40B4-BE49-F238E27FC236}">
                    <a16:creationId xmlns:a16="http://schemas.microsoft.com/office/drawing/2014/main" id="{D07A6B54-D808-9286-8A40-9675A320AD7D}"/>
                  </a:ext>
                </a:extLst>
              </p:cNvPr>
              <p:cNvSpPr/>
              <p:nvPr/>
            </p:nvSpPr>
            <p:spPr>
              <a:xfrm>
                <a:off x="1524912" y="3765276"/>
                <a:ext cx="23952" cy="27364"/>
              </a:xfrm>
              <a:custGeom>
                <a:avLst/>
                <a:gdLst>
                  <a:gd name="connsiteX0" fmla="*/ 128625 w 229642"/>
                  <a:gd name="connsiteY0" fmla="*/ 0 h 262354"/>
                  <a:gd name="connsiteX1" fmla="*/ 133730 w 229642"/>
                  <a:gd name="connsiteY1" fmla="*/ 12734 h 262354"/>
                  <a:gd name="connsiteX2" fmla="*/ 142676 w 229642"/>
                  <a:gd name="connsiteY2" fmla="*/ 24314 h 262354"/>
                  <a:gd name="connsiteX3" fmla="*/ 154284 w 229642"/>
                  <a:gd name="connsiteY3" fmla="*/ 34606 h 262354"/>
                  <a:gd name="connsiteX4" fmla="*/ 185761 w 229642"/>
                  <a:gd name="connsiteY4" fmla="*/ 44183 h 262354"/>
                  <a:gd name="connsiteX5" fmla="*/ 191085 w 229642"/>
                  <a:gd name="connsiteY5" fmla="*/ 43195 h 262354"/>
                  <a:gd name="connsiteX6" fmla="*/ 198385 w 229642"/>
                  <a:gd name="connsiteY6" fmla="*/ 47614 h 262354"/>
                  <a:gd name="connsiteX7" fmla="*/ 213204 w 229642"/>
                  <a:gd name="connsiteY7" fmla="*/ 69074 h 262354"/>
                  <a:gd name="connsiteX8" fmla="*/ 220806 w 229642"/>
                  <a:gd name="connsiteY8" fmla="*/ 76922 h 262354"/>
                  <a:gd name="connsiteX9" fmla="*/ 229231 w 229642"/>
                  <a:gd name="connsiteY9" fmla="*/ 79804 h 262354"/>
                  <a:gd name="connsiteX10" fmla="*/ 229643 w 229642"/>
                  <a:gd name="connsiteY10" fmla="*/ 87625 h 262354"/>
                  <a:gd name="connsiteX11" fmla="*/ 219763 w 229642"/>
                  <a:gd name="connsiteY11" fmla="*/ 105463 h 262354"/>
                  <a:gd name="connsiteX12" fmla="*/ 215455 w 229642"/>
                  <a:gd name="connsiteY12" fmla="*/ 113257 h 262354"/>
                  <a:gd name="connsiteX13" fmla="*/ 201569 w 229642"/>
                  <a:gd name="connsiteY13" fmla="*/ 125524 h 262354"/>
                  <a:gd name="connsiteX14" fmla="*/ 192595 w 229642"/>
                  <a:gd name="connsiteY14" fmla="*/ 143197 h 262354"/>
                  <a:gd name="connsiteX15" fmla="*/ 191085 w 229642"/>
                  <a:gd name="connsiteY15" fmla="*/ 146134 h 262354"/>
                  <a:gd name="connsiteX16" fmla="*/ 183676 w 229642"/>
                  <a:gd name="connsiteY16" fmla="*/ 146628 h 262354"/>
                  <a:gd name="connsiteX17" fmla="*/ 183621 w 229642"/>
                  <a:gd name="connsiteY17" fmla="*/ 143225 h 262354"/>
                  <a:gd name="connsiteX18" fmla="*/ 183566 w 229642"/>
                  <a:gd name="connsiteY18" fmla="*/ 140535 h 262354"/>
                  <a:gd name="connsiteX19" fmla="*/ 180438 w 229642"/>
                  <a:gd name="connsiteY19" fmla="*/ 140426 h 262354"/>
                  <a:gd name="connsiteX20" fmla="*/ 178407 w 229642"/>
                  <a:gd name="connsiteY20" fmla="*/ 143225 h 262354"/>
                  <a:gd name="connsiteX21" fmla="*/ 171765 w 229642"/>
                  <a:gd name="connsiteY21" fmla="*/ 152281 h 262354"/>
                  <a:gd name="connsiteX22" fmla="*/ 171162 w 229642"/>
                  <a:gd name="connsiteY22" fmla="*/ 157385 h 262354"/>
                  <a:gd name="connsiteX23" fmla="*/ 168692 w 229642"/>
                  <a:gd name="connsiteY23" fmla="*/ 164027 h 262354"/>
                  <a:gd name="connsiteX24" fmla="*/ 167347 w 229642"/>
                  <a:gd name="connsiteY24" fmla="*/ 167649 h 262354"/>
                  <a:gd name="connsiteX25" fmla="*/ 168006 w 229642"/>
                  <a:gd name="connsiteY25" fmla="*/ 172232 h 262354"/>
                  <a:gd name="connsiteX26" fmla="*/ 169296 w 229642"/>
                  <a:gd name="connsiteY26" fmla="*/ 181288 h 262354"/>
                  <a:gd name="connsiteX27" fmla="*/ 170640 w 229642"/>
                  <a:gd name="connsiteY27" fmla="*/ 190509 h 262354"/>
                  <a:gd name="connsiteX28" fmla="*/ 153762 w 229642"/>
                  <a:gd name="connsiteY28" fmla="*/ 192759 h 262354"/>
                  <a:gd name="connsiteX29" fmla="*/ 141908 w 229642"/>
                  <a:gd name="connsiteY29" fmla="*/ 197233 h 262354"/>
                  <a:gd name="connsiteX30" fmla="*/ 136775 w 229642"/>
                  <a:gd name="connsiteY30" fmla="*/ 203215 h 262354"/>
                  <a:gd name="connsiteX31" fmla="*/ 133372 w 229642"/>
                  <a:gd name="connsiteY31" fmla="*/ 216909 h 262354"/>
                  <a:gd name="connsiteX32" fmla="*/ 127719 w 229642"/>
                  <a:gd name="connsiteY32" fmla="*/ 222919 h 262354"/>
                  <a:gd name="connsiteX33" fmla="*/ 109168 w 229642"/>
                  <a:gd name="connsiteY33" fmla="*/ 224099 h 262354"/>
                  <a:gd name="connsiteX34" fmla="*/ 101484 w 229642"/>
                  <a:gd name="connsiteY34" fmla="*/ 226350 h 262354"/>
                  <a:gd name="connsiteX35" fmla="*/ 95474 w 229642"/>
                  <a:gd name="connsiteY35" fmla="*/ 234747 h 262354"/>
                  <a:gd name="connsiteX36" fmla="*/ 96764 w 229642"/>
                  <a:gd name="connsiteY36" fmla="*/ 239824 h 262354"/>
                  <a:gd name="connsiteX37" fmla="*/ 95172 w 229642"/>
                  <a:gd name="connsiteY37" fmla="*/ 245340 h 262354"/>
                  <a:gd name="connsiteX38" fmla="*/ 88559 w 229642"/>
                  <a:gd name="connsiteY38" fmla="*/ 251487 h 262354"/>
                  <a:gd name="connsiteX39" fmla="*/ 82575 w 229642"/>
                  <a:gd name="connsiteY39" fmla="*/ 253298 h 262354"/>
                  <a:gd name="connsiteX40" fmla="*/ 75139 w 229642"/>
                  <a:gd name="connsiteY40" fmla="*/ 250829 h 262354"/>
                  <a:gd name="connsiteX41" fmla="*/ 61828 w 229642"/>
                  <a:gd name="connsiteY41" fmla="*/ 251871 h 262354"/>
                  <a:gd name="connsiteX42" fmla="*/ 47833 w 229642"/>
                  <a:gd name="connsiteY42" fmla="*/ 258842 h 262354"/>
                  <a:gd name="connsiteX43" fmla="*/ 32547 w 229642"/>
                  <a:gd name="connsiteY43" fmla="*/ 262355 h 262354"/>
                  <a:gd name="connsiteX44" fmla="*/ 0 w 229642"/>
                  <a:gd name="connsiteY44" fmla="*/ 189878 h 262354"/>
                  <a:gd name="connsiteX45" fmla="*/ 23573 w 229642"/>
                  <a:gd name="connsiteY45" fmla="*/ 181261 h 262354"/>
                  <a:gd name="connsiteX46" fmla="*/ 48272 w 229642"/>
                  <a:gd name="connsiteY46" fmla="*/ 172205 h 262354"/>
                  <a:gd name="connsiteX47" fmla="*/ 70611 w 229642"/>
                  <a:gd name="connsiteY47" fmla="*/ 163999 h 262354"/>
                  <a:gd name="connsiteX48" fmla="*/ 88640 w 229642"/>
                  <a:gd name="connsiteY48" fmla="*/ 157358 h 262354"/>
                  <a:gd name="connsiteX49" fmla="*/ 93031 w 229642"/>
                  <a:gd name="connsiteY49" fmla="*/ 143225 h 262354"/>
                  <a:gd name="connsiteX50" fmla="*/ 104640 w 229642"/>
                  <a:gd name="connsiteY50" fmla="*/ 105518 h 262354"/>
                  <a:gd name="connsiteX51" fmla="*/ 107521 w 229642"/>
                  <a:gd name="connsiteY51" fmla="*/ 96187 h 262354"/>
                  <a:gd name="connsiteX52" fmla="*/ 94404 w 229642"/>
                  <a:gd name="connsiteY52" fmla="*/ 73163 h 262354"/>
                  <a:gd name="connsiteX53" fmla="*/ 94815 w 229642"/>
                  <a:gd name="connsiteY53" fmla="*/ 68388 h 262354"/>
                  <a:gd name="connsiteX54" fmla="*/ 95419 w 229642"/>
                  <a:gd name="connsiteY54" fmla="*/ 59990 h 262354"/>
                  <a:gd name="connsiteX55" fmla="*/ 104887 w 229642"/>
                  <a:gd name="connsiteY55" fmla="*/ 43470 h 262354"/>
                  <a:gd name="connsiteX56" fmla="*/ 103405 w 229642"/>
                  <a:gd name="connsiteY56" fmla="*/ 33563 h 262354"/>
                  <a:gd name="connsiteX57" fmla="*/ 108921 w 229642"/>
                  <a:gd name="connsiteY57" fmla="*/ 30297 h 262354"/>
                  <a:gd name="connsiteX58" fmla="*/ 113092 w 229642"/>
                  <a:gd name="connsiteY58" fmla="*/ 30928 h 262354"/>
                  <a:gd name="connsiteX59" fmla="*/ 117703 w 229642"/>
                  <a:gd name="connsiteY59" fmla="*/ 29281 h 262354"/>
                  <a:gd name="connsiteX60" fmla="*/ 116083 w 229642"/>
                  <a:gd name="connsiteY60" fmla="*/ 25083 h 262354"/>
                  <a:gd name="connsiteX61" fmla="*/ 111336 w 229642"/>
                  <a:gd name="connsiteY61" fmla="*/ 24369 h 262354"/>
                  <a:gd name="connsiteX62" fmla="*/ 113065 w 229642"/>
                  <a:gd name="connsiteY62" fmla="*/ 1317 h 262354"/>
                  <a:gd name="connsiteX63" fmla="*/ 118169 w 229642"/>
                  <a:gd name="connsiteY63" fmla="*/ 439 h 262354"/>
                  <a:gd name="connsiteX64" fmla="*/ 118361 w 229642"/>
                  <a:gd name="connsiteY64" fmla="*/ 4501 h 262354"/>
                  <a:gd name="connsiteX65" fmla="*/ 121298 w 229642"/>
                  <a:gd name="connsiteY65" fmla="*/ 7409 h 262354"/>
                  <a:gd name="connsiteX66" fmla="*/ 128707 w 229642"/>
                  <a:gd name="connsiteY66" fmla="*/ 110 h 262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29642" h="262354">
                    <a:moveTo>
                      <a:pt x="128625" y="0"/>
                    </a:moveTo>
                    <a:lnTo>
                      <a:pt x="133730" y="12734"/>
                    </a:lnTo>
                    <a:lnTo>
                      <a:pt x="142676" y="24314"/>
                    </a:lnTo>
                    <a:lnTo>
                      <a:pt x="154284" y="34606"/>
                    </a:lnTo>
                    <a:lnTo>
                      <a:pt x="185761" y="44183"/>
                    </a:lnTo>
                    <a:lnTo>
                      <a:pt x="191085" y="43195"/>
                    </a:lnTo>
                    <a:lnTo>
                      <a:pt x="198385" y="47614"/>
                    </a:lnTo>
                    <a:lnTo>
                      <a:pt x="213204" y="69074"/>
                    </a:lnTo>
                    <a:lnTo>
                      <a:pt x="220806" y="76922"/>
                    </a:lnTo>
                    <a:lnTo>
                      <a:pt x="229231" y="79804"/>
                    </a:lnTo>
                    <a:lnTo>
                      <a:pt x="229643" y="87625"/>
                    </a:lnTo>
                    <a:lnTo>
                      <a:pt x="219763" y="105463"/>
                    </a:lnTo>
                    <a:lnTo>
                      <a:pt x="215455" y="113257"/>
                    </a:lnTo>
                    <a:lnTo>
                      <a:pt x="201569" y="125524"/>
                    </a:lnTo>
                    <a:lnTo>
                      <a:pt x="192595" y="143197"/>
                    </a:lnTo>
                    <a:lnTo>
                      <a:pt x="191085" y="146134"/>
                    </a:lnTo>
                    <a:lnTo>
                      <a:pt x="183676" y="146628"/>
                    </a:lnTo>
                    <a:lnTo>
                      <a:pt x="183621" y="143225"/>
                    </a:lnTo>
                    <a:lnTo>
                      <a:pt x="183566" y="140535"/>
                    </a:lnTo>
                    <a:lnTo>
                      <a:pt x="180438" y="140426"/>
                    </a:lnTo>
                    <a:lnTo>
                      <a:pt x="178407" y="143225"/>
                    </a:lnTo>
                    <a:lnTo>
                      <a:pt x="171765" y="152281"/>
                    </a:lnTo>
                    <a:lnTo>
                      <a:pt x="171162" y="157385"/>
                    </a:lnTo>
                    <a:lnTo>
                      <a:pt x="168692" y="164027"/>
                    </a:lnTo>
                    <a:lnTo>
                      <a:pt x="167347" y="167649"/>
                    </a:lnTo>
                    <a:lnTo>
                      <a:pt x="168006" y="172232"/>
                    </a:lnTo>
                    <a:lnTo>
                      <a:pt x="169296" y="181288"/>
                    </a:lnTo>
                    <a:lnTo>
                      <a:pt x="170640" y="190509"/>
                    </a:lnTo>
                    <a:lnTo>
                      <a:pt x="153762" y="192759"/>
                    </a:lnTo>
                    <a:lnTo>
                      <a:pt x="141908" y="197233"/>
                    </a:lnTo>
                    <a:lnTo>
                      <a:pt x="136775" y="203215"/>
                    </a:lnTo>
                    <a:lnTo>
                      <a:pt x="133372" y="216909"/>
                    </a:lnTo>
                    <a:lnTo>
                      <a:pt x="127719" y="222919"/>
                    </a:lnTo>
                    <a:lnTo>
                      <a:pt x="109168" y="224099"/>
                    </a:lnTo>
                    <a:lnTo>
                      <a:pt x="101484" y="226350"/>
                    </a:lnTo>
                    <a:lnTo>
                      <a:pt x="95474" y="234747"/>
                    </a:lnTo>
                    <a:lnTo>
                      <a:pt x="96764" y="239824"/>
                    </a:lnTo>
                    <a:lnTo>
                      <a:pt x="95172" y="245340"/>
                    </a:lnTo>
                    <a:lnTo>
                      <a:pt x="88559" y="251487"/>
                    </a:lnTo>
                    <a:lnTo>
                      <a:pt x="82575" y="253298"/>
                    </a:lnTo>
                    <a:lnTo>
                      <a:pt x="75139" y="250829"/>
                    </a:lnTo>
                    <a:lnTo>
                      <a:pt x="61828" y="251871"/>
                    </a:lnTo>
                    <a:lnTo>
                      <a:pt x="47833" y="258842"/>
                    </a:lnTo>
                    <a:lnTo>
                      <a:pt x="32547" y="262355"/>
                    </a:lnTo>
                    <a:lnTo>
                      <a:pt x="0" y="189878"/>
                    </a:lnTo>
                    <a:lnTo>
                      <a:pt x="23573" y="181261"/>
                    </a:lnTo>
                    <a:lnTo>
                      <a:pt x="48272" y="172205"/>
                    </a:lnTo>
                    <a:lnTo>
                      <a:pt x="70611" y="163999"/>
                    </a:lnTo>
                    <a:lnTo>
                      <a:pt x="88640" y="157358"/>
                    </a:lnTo>
                    <a:lnTo>
                      <a:pt x="93031" y="143225"/>
                    </a:lnTo>
                    <a:lnTo>
                      <a:pt x="104640" y="105518"/>
                    </a:lnTo>
                    <a:lnTo>
                      <a:pt x="107521" y="96187"/>
                    </a:lnTo>
                    <a:lnTo>
                      <a:pt x="94404" y="73163"/>
                    </a:lnTo>
                    <a:lnTo>
                      <a:pt x="94815" y="68388"/>
                    </a:lnTo>
                    <a:lnTo>
                      <a:pt x="95419" y="59990"/>
                    </a:lnTo>
                    <a:lnTo>
                      <a:pt x="104887" y="43470"/>
                    </a:lnTo>
                    <a:lnTo>
                      <a:pt x="103405" y="33563"/>
                    </a:lnTo>
                    <a:lnTo>
                      <a:pt x="108921" y="30297"/>
                    </a:lnTo>
                    <a:lnTo>
                      <a:pt x="113092" y="30928"/>
                    </a:lnTo>
                    <a:lnTo>
                      <a:pt x="117703" y="29281"/>
                    </a:lnTo>
                    <a:lnTo>
                      <a:pt x="116083" y="25083"/>
                    </a:lnTo>
                    <a:lnTo>
                      <a:pt x="111336" y="24369"/>
                    </a:lnTo>
                    <a:lnTo>
                      <a:pt x="113065" y="1317"/>
                    </a:lnTo>
                    <a:lnTo>
                      <a:pt x="118169" y="439"/>
                    </a:lnTo>
                    <a:lnTo>
                      <a:pt x="118361" y="4501"/>
                    </a:lnTo>
                    <a:lnTo>
                      <a:pt x="121298" y="7409"/>
                    </a:lnTo>
                    <a:lnTo>
                      <a:pt x="128707" y="1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6" name="Freeform: Shape 3985">
                <a:extLst>
                  <a:ext uri="{FF2B5EF4-FFF2-40B4-BE49-F238E27FC236}">
                    <a16:creationId xmlns:a16="http://schemas.microsoft.com/office/drawing/2014/main" id="{C4B4F622-5398-824F-CAB9-DEF5E3087F2C}"/>
                  </a:ext>
                </a:extLst>
              </p:cNvPr>
              <p:cNvSpPr/>
              <p:nvPr/>
            </p:nvSpPr>
            <p:spPr>
              <a:xfrm>
                <a:off x="1537441" y="3760616"/>
                <a:ext cx="1079" cy="2473"/>
              </a:xfrm>
              <a:custGeom>
                <a:avLst/>
                <a:gdLst>
                  <a:gd name="connsiteX0" fmla="*/ 10345 w 10345"/>
                  <a:gd name="connsiteY0" fmla="*/ 9605 h 23710"/>
                  <a:gd name="connsiteX1" fmla="*/ 5324 w 10345"/>
                  <a:gd name="connsiteY1" fmla="*/ 23711 h 23710"/>
                  <a:gd name="connsiteX2" fmla="*/ 2717 w 10345"/>
                  <a:gd name="connsiteY2" fmla="*/ 22668 h 23710"/>
                  <a:gd name="connsiteX3" fmla="*/ 2717 w 10345"/>
                  <a:gd name="connsiteY3" fmla="*/ 11471 h 23710"/>
                  <a:gd name="connsiteX4" fmla="*/ 0 w 10345"/>
                  <a:gd name="connsiteY4" fmla="*/ 9797 h 23710"/>
                  <a:gd name="connsiteX5" fmla="*/ 3156 w 10345"/>
                  <a:gd name="connsiteY5" fmla="*/ 4171 h 23710"/>
                  <a:gd name="connsiteX6" fmla="*/ 5653 w 10345"/>
                  <a:gd name="connsiteY6" fmla="*/ 4062 h 23710"/>
                  <a:gd name="connsiteX7" fmla="*/ 7601 w 10345"/>
                  <a:gd name="connsiteY7" fmla="*/ 0 h 23710"/>
                  <a:gd name="connsiteX8" fmla="*/ 9440 w 10345"/>
                  <a:gd name="connsiteY8" fmla="*/ 110 h 23710"/>
                  <a:gd name="connsiteX9" fmla="*/ 10209 w 10345"/>
                  <a:gd name="connsiteY9" fmla="*/ 5406 h 23710"/>
                  <a:gd name="connsiteX10" fmla="*/ 7711 w 10345"/>
                  <a:gd name="connsiteY10" fmla="*/ 6916 h 23710"/>
                  <a:gd name="connsiteX11" fmla="*/ 10318 w 10345"/>
                  <a:gd name="connsiteY11" fmla="*/ 9633 h 2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45" h="23710">
                    <a:moveTo>
                      <a:pt x="10345" y="9605"/>
                    </a:moveTo>
                    <a:lnTo>
                      <a:pt x="5324" y="23711"/>
                    </a:lnTo>
                    <a:lnTo>
                      <a:pt x="2717" y="22668"/>
                    </a:lnTo>
                    <a:lnTo>
                      <a:pt x="2717" y="11471"/>
                    </a:lnTo>
                    <a:lnTo>
                      <a:pt x="0" y="9797"/>
                    </a:lnTo>
                    <a:lnTo>
                      <a:pt x="3156" y="4171"/>
                    </a:lnTo>
                    <a:lnTo>
                      <a:pt x="5653" y="4062"/>
                    </a:lnTo>
                    <a:lnTo>
                      <a:pt x="7601" y="0"/>
                    </a:lnTo>
                    <a:lnTo>
                      <a:pt x="9440" y="110"/>
                    </a:lnTo>
                    <a:lnTo>
                      <a:pt x="10209" y="5406"/>
                    </a:lnTo>
                    <a:lnTo>
                      <a:pt x="7711" y="6916"/>
                    </a:lnTo>
                    <a:lnTo>
                      <a:pt x="10318" y="96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7" name="Freeform: Shape 3986">
                <a:extLst>
                  <a:ext uri="{FF2B5EF4-FFF2-40B4-BE49-F238E27FC236}">
                    <a16:creationId xmlns:a16="http://schemas.microsoft.com/office/drawing/2014/main" id="{7B5E1166-7D25-6644-CC0B-6490D4E8D700}"/>
                  </a:ext>
                </a:extLst>
              </p:cNvPr>
              <p:cNvSpPr/>
              <p:nvPr/>
            </p:nvSpPr>
            <p:spPr>
              <a:xfrm>
                <a:off x="1545218" y="3779736"/>
                <a:ext cx="1036" cy="1537"/>
              </a:xfrm>
              <a:custGeom>
                <a:avLst/>
                <a:gdLst>
                  <a:gd name="connsiteX0" fmla="*/ 4665 w 9934"/>
                  <a:gd name="connsiteY0" fmla="*/ 11334 h 14736"/>
                  <a:gd name="connsiteX1" fmla="*/ 384 w 9934"/>
                  <a:gd name="connsiteY1" fmla="*/ 14737 h 14736"/>
                  <a:gd name="connsiteX2" fmla="*/ 0 w 9934"/>
                  <a:gd name="connsiteY2" fmla="*/ 11636 h 14736"/>
                  <a:gd name="connsiteX3" fmla="*/ 301 w 9934"/>
                  <a:gd name="connsiteY3" fmla="*/ 9248 h 14736"/>
                  <a:gd name="connsiteX4" fmla="*/ 7053 w 9934"/>
                  <a:gd name="connsiteY4" fmla="*/ 659 h 14736"/>
                  <a:gd name="connsiteX5" fmla="*/ 8123 w 9934"/>
                  <a:gd name="connsiteY5" fmla="*/ 0 h 14736"/>
                  <a:gd name="connsiteX6" fmla="*/ 9934 w 9934"/>
                  <a:gd name="connsiteY6" fmla="*/ 3924 h 14736"/>
                  <a:gd name="connsiteX7" fmla="*/ 5900 w 9934"/>
                  <a:gd name="connsiteY7" fmla="*/ 6915 h 14736"/>
                  <a:gd name="connsiteX8" fmla="*/ 4638 w 9934"/>
                  <a:gd name="connsiteY8" fmla="*/ 11361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4" h="14736">
                    <a:moveTo>
                      <a:pt x="4665" y="11334"/>
                    </a:moveTo>
                    <a:lnTo>
                      <a:pt x="384" y="14737"/>
                    </a:lnTo>
                    <a:lnTo>
                      <a:pt x="0" y="11636"/>
                    </a:lnTo>
                    <a:lnTo>
                      <a:pt x="301" y="9248"/>
                    </a:lnTo>
                    <a:lnTo>
                      <a:pt x="7053" y="659"/>
                    </a:lnTo>
                    <a:lnTo>
                      <a:pt x="8123" y="0"/>
                    </a:lnTo>
                    <a:lnTo>
                      <a:pt x="9934" y="3924"/>
                    </a:lnTo>
                    <a:lnTo>
                      <a:pt x="5900" y="6915"/>
                    </a:lnTo>
                    <a:lnTo>
                      <a:pt x="4638" y="113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8" name="Freeform: Shape 3987">
                <a:extLst>
                  <a:ext uri="{FF2B5EF4-FFF2-40B4-BE49-F238E27FC236}">
                    <a16:creationId xmlns:a16="http://schemas.microsoft.com/office/drawing/2014/main" id="{98BA9CE6-FA3E-9424-722C-FDBF504063F7}"/>
                  </a:ext>
                </a:extLst>
              </p:cNvPr>
              <p:cNvSpPr/>
              <p:nvPr/>
            </p:nvSpPr>
            <p:spPr>
              <a:xfrm>
                <a:off x="1537839" y="3764037"/>
                <a:ext cx="418" cy="395"/>
              </a:xfrm>
              <a:custGeom>
                <a:avLst/>
                <a:gdLst>
                  <a:gd name="connsiteX0" fmla="*/ 3979 w 4006"/>
                  <a:gd name="connsiteY0" fmla="*/ 1564 h 3787"/>
                  <a:gd name="connsiteX1" fmla="*/ 2003 w 4006"/>
                  <a:gd name="connsiteY1" fmla="*/ 3787 h 3787"/>
                  <a:gd name="connsiteX2" fmla="*/ 0 w 4006"/>
                  <a:gd name="connsiteY2" fmla="*/ 2854 h 3787"/>
                  <a:gd name="connsiteX3" fmla="*/ 1811 w 4006"/>
                  <a:gd name="connsiteY3" fmla="*/ 0 h 3787"/>
                  <a:gd name="connsiteX4" fmla="*/ 4007 w 4006"/>
                  <a:gd name="connsiteY4" fmla="*/ 1564 h 3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3787">
                    <a:moveTo>
                      <a:pt x="3979" y="1564"/>
                    </a:moveTo>
                    <a:lnTo>
                      <a:pt x="2003" y="3787"/>
                    </a:lnTo>
                    <a:lnTo>
                      <a:pt x="0" y="2854"/>
                    </a:lnTo>
                    <a:lnTo>
                      <a:pt x="1811" y="0"/>
                    </a:lnTo>
                    <a:lnTo>
                      <a:pt x="4007"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9" name="Freeform: Shape 3988">
                <a:extLst>
                  <a:ext uri="{FF2B5EF4-FFF2-40B4-BE49-F238E27FC236}">
                    <a16:creationId xmlns:a16="http://schemas.microsoft.com/office/drawing/2014/main" id="{261E6294-CEEF-5C4D-CF43-7555D2D8E37C}"/>
                  </a:ext>
                </a:extLst>
              </p:cNvPr>
              <p:cNvSpPr/>
              <p:nvPr/>
            </p:nvSpPr>
            <p:spPr>
              <a:xfrm>
                <a:off x="1536974" y="3789703"/>
                <a:ext cx="429" cy="312"/>
              </a:xfrm>
              <a:custGeom>
                <a:avLst/>
                <a:gdLst>
                  <a:gd name="connsiteX0" fmla="*/ 4116 w 4116"/>
                  <a:gd name="connsiteY0" fmla="*/ 0 h 2991"/>
                  <a:gd name="connsiteX1" fmla="*/ 3897 w 4116"/>
                  <a:gd name="connsiteY1" fmla="*/ 2991 h 2991"/>
                  <a:gd name="connsiteX2" fmla="*/ 604 w 4116"/>
                  <a:gd name="connsiteY2" fmla="*/ 2717 h 2991"/>
                  <a:gd name="connsiteX3" fmla="*/ 0 w 4116"/>
                  <a:gd name="connsiteY3" fmla="*/ 1866 h 2991"/>
                  <a:gd name="connsiteX4" fmla="*/ 4116 w 4116"/>
                  <a:gd name="connsiteY4" fmla="*/ 0 h 2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2991">
                    <a:moveTo>
                      <a:pt x="4116" y="0"/>
                    </a:moveTo>
                    <a:lnTo>
                      <a:pt x="3897" y="2991"/>
                    </a:lnTo>
                    <a:lnTo>
                      <a:pt x="604" y="2717"/>
                    </a:lnTo>
                    <a:lnTo>
                      <a:pt x="0" y="1866"/>
                    </a:lnTo>
                    <a:lnTo>
                      <a:pt x="411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0" name="Freeform: Shape 3989">
                <a:extLst>
                  <a:ext uri="{FF2B5EF4-FFF2-40B4-BE49-F238E27FC236}">
                    <a16:creationId xmlns:a16="http://schemas.microsoft.com/office/drawing/2014/main" id="{3CBD967E-EFBB-EF5D-7591-3010F6E28833}"/>
                  </a:ext>
                </a:extLst>
              </p:cNvPr>
              <p:cNvSpPr/>
              <p:nvPr/>
            </p:nvSpPr>
            <p:spPr>
              <a:xfrm>
                <a:off x="1110716" y="3814811"/>
                <a:ext cx="17898" cy="7431"/>
              </a:xfrm>
              <a:custGeom>
                <a:avLst/>
                <a:gdLst>
                  <a:gd name="connsiteX0" fmla="*/ 146491 w 171600"/>
                  <a:gd name="connsiteY0" fmla="*/ 11554 h 71242"/>
                  <a:gd name="connsiteX1" fmla="*/ 162051 w 171600"/>
                  <a:gd name="connsiteY1" fmla="*/ 27333 h 71242"/>
                  <a:gd name="connsiteX2" fmla="*/ 166304 w 171600"/>
                  <a:gd name="connsiteY2" fmla="*/ 28157 h 71242"/>
                  <a:gd name="connsiteX3" fmla="*/ 164246 w 171600"/>
                  <a:gd name="connsiteY3" fmla="*/ 32493 h 71242"/>
                  <a:gd name="connsiteX4" fmla="*/ 165234 w 171600"/>
                  <a:gd name="connsiteY4" fmla="*/ 34276 h 71242"/>
                  <a:gd name="connsiteX5" fmla="*/ 171601 w 171600"/>
                  <a:gd name="connsiteY5" fmla="*/ 49727 h 71242"/>
                  <a:gd name="connsiteX6" fmla="*/ 167320 w 171600"/>
                  <a:gd name="connsiteY6" fmla="*/ 51730 h 71242"/>
                  <a:gd name="connsiteX7" fmla="*/ 161145 w 171600"/>
                  <a:gd name="connsiteY7" fmla="*/ 61966 h 71242"/>
                  <a:gd name="connsiteX8" fmla="*/ 155958 w 171600"/>
                  <a:gd name="connsiteY8" fmla="*/ 57905 h 71242"/>
                  <a:gd name="connsiteX9" fmla="*/ 155821 w 171600"/>
                  <a:gd name="connsiteY9" fmla="*/ 63009 h 71242"/>
                  <a:gd name="connsiteX10" fmla="*/ 153433 w 171600"/>
                  <a:gd name="connsiteY10" fmla="*/ 64738 h 71242"/>
                  <a:gd name="connsiteX11" fmla="*/ 150827 w 171600"/>
                  <a:gd name="connsiteY11" fmla="*/ 71242 h 71242"/>
                  <a:gd name="connsiteX12" fmla="*/ 142649 w 171600"/>
                  <a:gd name="connsiteY12" fmla="*/ 61994 h 71242"/>
                  <a:gd name="connsiteX13" fmla="*/ 135678 w 171600"/>
                  <a:gd name="connsiteY13" fmla="*/ 48135 h 71242"/>
                  <a:gd name="connsiteX14" fmla="*/ 139959 w 171600"/>
                  <a:gd name="connsiteY14" fmla="*/ 42729 h 71242"/>
                  <a:gd name="connsiteX15" fmla="*/ 140590 w 171600"/>
                  <a:gd name="connsiteY15" fmla="*/ 35868 h 71242"/>
                  <a:gd name="connsiteX16" fmla="*/ 134745 w 171600"/>
                  <a:gd name="connsiteY16" fmla="*/ 35978 h 71242"/>
                  <a:gd name="connsiteX17" fmla="*/ 127939 w 171600"/>
                  <a:gd name="connsiteY17" fmla="*/ 26455 h 71242"/>
                  <a:gd name="connsiteX18" fmla="*/ 120145 w 171600"/>
                  <a:gd name="connsiteY18" fmla="*/ 20939 h 71242"/>
                  <a:gd name="connsiteX19" fmla="*/ 111062 w 171600"/>
                  <a:gd name="connsiteY19" fmla="*/ 18222 h 71242"/>
                  <a:gd name="connsiteX20" fmla="*/ 104805 w 171600"/>
                  <a:gd name="connsiteY20" fmla="*/ 18689 h 71242"/>
                  <a:gd name="connsiteX21" fmla="*/ 99892 w 171600"/>
                  <a:gd name="connsiteY21" fmla="*/ 21378 h 71242"/>
                  <a:gd name="connsiteX22" fmla="*/ 92922 w 171600"/>
                  <a:gd name="connsiteY22" fmla="*/ 31779 h 71242"/>
                  <a:gd name="connsiteX23" fmla="*/ 76621 w 171600"/>
                  <a:gd name="connsiteY23" fmla="*/ 41247 h 71242"/>
                  <a:gd name="connsiteX24" fmla="*/ 76401 w 171600"/>
                  <a:gd name="connsiteY24" fmla="*/ 47230 h 71242"/>
                  <a:gd name="connsiteX25" fmla="*/ 87763 w 171600"/>
                  <a:gd name="connsiteY25" fmla="*/ 62515 h 71242"/>
                  <a:gd name="connsiteX26" fmla="*/ 74453 w 171600"/>
                  <a:gd name="connsiteY26" fmla="*/ 70199 h 71242"/>
                  <a:gd name="connsiteX27" fmla="*/ 63887 w 171600"/>
                  <a:gd name="connsiteY27" fmla="*/ 70556 h 71242"/>
                  <a:gd name="connsiteX28" fmla="*/ 60073 w 171600"/>
                  <a:gd name="connsiteY28" fmla="*/ 62899 h 71242"/>
                  <a:gd name="connsiteX29" fmla="*/ 57246 w 171600"/>
                  <a:gd name="connsiteY29" fmla="*/ 61280 h 71242"/>
                  <a:gd name="connsiteX30" fmla="*/ 58234 w 171600"/>
                  <a:gd name="connsiteY30" fmla="*/ 58371 h 71242"/>
                  <a:gd name="connsiteX31" fmla="*/ 56423 w 171600"/>
                  <a:gd name="connsiteY31" fmla="*/ 54776 h 71242"/>
                  <a:gd name="connsiteX32" fmla="*/ 54694 w 171600"/>
                  <a:gd name="connsiteY32" fmla="*/ 54721 h 71242"/>
                  <a:gd name="connsiteX33" fmla="*/ 51648 w 171600"/>
                  <a:gd name="connsiteY33" fmla="*/ 58371 h 71242"/>
                  <a:gd name="connsiteX34" fmla="*/ 45775 w 171600"/>
                  <a:gd name="connsiteY34" fmla="*/ 56752 h 71242"/>
                  <a:gd name="connsiteX35" fmla="*/ 37899 w 171600"/>
                  <a:gd name="connsiteY35" fmla="*/ 45638 h 71242"/>
                  <a:gd name="connsiteX36" fmla="*/ 31696 w 171600"/>
                  <a:gd name="connsiteY36" fmla="*/ 42537 h 71242"/>
                  <a:gd name="connsiteX37" fmla="*/ 23601 w 171600"/>
                  <a:gd name="connsiteY37" fmla="*/ 40177 h 71242"/>
                  <a:gd name="connsiteX38" fmla="*/ 18195 w 171600"/>
                  <a:gd name="connsiteY38" fmla="*/ 40918 h 71242"/>
                  <a:gd name="connsiteX39" fmla="*/ 8590 w 171600"/>
                  <a:gd name="connsiteY39" fmla="*/ 39271 h 71242"/>
                  <a:gd name="connsiteX40" fmla="*/ 5159 w 171600"/>
                  <a:gd name="connsiteY40" fmla="*/ 41219 h 71242"/>
                  <a:gd name="connsiteX41" fmla="*/ 3540 w 171600"/>
                  <a:gd name="connsiteY41" fmla="*/ 46955 h 71242"/>
                  <a:gd name="connsiteX42" fmla="*/ 2744 w 171600"/>
                  <a:gd name="connsiteY42" fmla="*/ 41521 h 71242"/>
                  <a:gd name="connsiteX43" fmla="*/ 0 w 171600"/>
                  <a:gd name="connsiteY43" fmla="*/ 38228 h 71242"/>
                  <a:gd name="connsiteX44" fmla="*/ 5049 w 171600"/>
                  <a:gd name="connsiteY44" fmla="*/ 33865 h 71242"/>
                  <a:gd name="connsiteX45" fmla="*/ 3595 w 171600"/>
                  <a:gd name="connsiteY45" fmla="*/ 25357 h 71242"/>
                  <a:gd name="connsiteX46" fmla="*/ 8507 w 171600"/>
                  <a:gd name="connsiteY46" fmla="*/ 20171 h 71242"/>
                  <a:gd name="connsiteX47" fmla="*/ 2689 w 171600"/>
                  <a:gd name="connsiteY47" fmla="*/ 15094 h 71242"/>
                  <a:gd name="connsiteX48" fmla="*/ 2607 w 171600"/>
                  <a:gd name="connsiteY48" fmla="*/ 5352 h 71242"/>
                  <a:gd name="connsiteX49" fmla="*/ 5104 w 171600"/>
                  <a:gd name="connsiteY49" fmla="*/ 467 h 71242"/>
                  <a:gd name="connsiteX50" fmla="*/ 10620 w 171600"/>
                  <a:gd name="connsiteY50" fmla="*/ 3101 h 71242"/>
                  <a:gd name="connsiteX51" fmla="*/ 13420 w 171600"/>
                  <a:gd name="connsiteY51" fmla="*/ 1345 h 71242"/>
                  <a:gd name="connsiteX52" fmla="*/ 18771 w 171600"/>
                  <a:gd name="connsiteY52" fmla="*/ 6367 h 71242"/>
                  <a:gd name="connsiteX53" fmla="*/ 19869 w 171600"/>
                  <a:gd name="connsiteY53" fmla="*/ 10868 h 71242"/>
                  <a:gd name="connsiteX54" fmla="*/ 22558 w 171600"/>
                  <a:gd name="connsiteY54" fmla="*/ 10319 h 71242"/>
                  <a:gd name="connsiteX55" fmla="*/ 27004 w 171600"/>
                  <a:gd name="connsiteY55" fmla="*/ 12679 h 71242"/>
                  <a:gd name="connsiteX56" fmla="*/ 26702 w 171600"/>
                  <a:gd name="connsiteY56" fmla="*/ 13941 h 71242"/>
                  <a:gd name="connsiteX57" fmla="*/ 22860 w 171600"/>
                  <a:gd name="connsiteY57" fmla="*/ 14161 h 71242"/>
                  <a:gd name="connsiteX58" fmla="*/ 23573 w 171600"/>
                  <a:gd name="connsiteY58" fmla="*/ 18222 h 71242"/>
                  <a:gd name="connsiteX59" fmla="*/ 27909 w 171600"/>
                  <a:gd name="connsiteY59" fmla="*/ 20143 h 71242"/>
                  <a:gd name="connsiteX60" fmla="*/ 35731 w 171600"/>
                  <a:gd name="connsiteY60" fmla="*/ 19292 h 71242"/>
                  <a:gd name="connsiteX61" fmla="*/ 32492 w 171600"/>
                  <a:gd name="connsiteY61" fmla="*/ 14764 h 71242"/>
                  <a:gd name="connsiteX62" fmla="*/ 33233 w 171600"/>
                  <a:gd name="connsiteY62" fmla="*/ 13584 h 71242"/>
                  <a:gd name="connsiteX63" fmla="*/ 44293 w 171600"/>
                  <a:gd name="connsiteY63" fmla="*/ 23876 h 71242"/>
                  <a:gd name="connsiteX64" fmla="*/ 53678 w 171600"/>
                  <a:gd name="connsiteY64" fmla="*/ 24644 h 71242"/>
                  <a:gd name="connsiteX65" fmla="*/ 63695 w 171600"/>
                  <a:gd name="connsiteY65" fmla="*/ 21735 h 71242"/>
                  <a:gd name="connsiteX66" fmla="*/ 73300 w 171600"/>
                  <a:gd name="connsiteY66" fmla="*/ 15423 h 71242"/>
                  <a:gd name="connsiteX67" fmla="*/ 85375 w 171600"/>
                  <a:gd name="connsiteY67" fmla="*/ 11746 h 71242"/>
                  <a:gd name="connsiteX68" fmla="*/ 95392 w 171600"/>
                  <a:gd name="connsiteY68" fmla="*/ 5571 h 71242"/>
                  <a:gd name="connsiteX69" fmla="*/ 100880 w 171600"/>
                  <a:gd name="connsiteY69" fmla="*/ 0 h 71242"/>
                  <a:gd name="connsiteX70" fmla="*/ 115699 w 171600"/>
                  <a:gd name="connsiteY70" fmla="*/ 2058 h 71242"/>
                  <a:gd name="connsiteX71" fmla="*/ 117126 w 171600"/>
                  <a:gd name="connsiteY71" fmla="*/ 4830 h 71242"/>
                  <a:gd name="connsiteX72" fmla="*/ 135212 w 171600"/>
                  <a:gd name="connsiteY72" fmla="*/ 6696 h 71242"/>
                  <a:gd name="connsiteX73" fmla="*/ 146463 w 171600"/>
                  <a:gd name="connsiteY73" fmla="*/ 11499 h 7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600" h="71242">
                    <a:moveTo>
                      <a:pt x="146491" y="11554"/>
                    </a:moveTo>
                    <a:lnTo>
                      <a:pt x="162051" y="27333"/>
                    </a:lnTo>
                    <a:lnTo>
                      <a:pt x="166304" y="28157"/>
                    </a:lnTo>
                    <a:lnTo>
                      <a:pt x="164246" y="32493"/>
                    </a:lnTo>
                    <a:lnTo>
                      <a:pt x="165234" y="34276"/>
                    </a:lnTo>
                    <a:lnTo>
                      <a:pt x="171601" y="49727"/>
                    </a:lnTo>
                    <a:lnTo>
                      <a:pt x="167320" y="51730"/>
                    </a:lnTo>
                    <a:lnTo>
                      <a:pt x="161145" y="61966"/>
                    </a:lnTo>
                    <a:lnTo>
                      <a:pt x="155958" y="57905"/>
                    </a:lnTo>
                    <a:lnTo>
                      <a:pt x="155821" y="63009"/>
                    </a:lnTo>
                    <a:lnTo>
                      <a:pt x="153433" y="64738"/>
                    </a:lnTo>
                    <a:lnTo>
                      <a:pt x="150827" y="71242"/>
                    </a:lnTo>
                    <a:lnTo>
                      <a:pt x="142649" y="61994"/>
                    </a:lnTo>
                    <a:lnTo>
                      <a:pt x="135678" y="48135"/>
                    </a:lnTo>
                    <a:lnTo>
                      <a:pt x="139959" y="42729"/>
                    </a:lnTo>
                    <a:lnTo>
                      <a:pt x="140590" y="35868"/>
                    </a:lnTo>
                    <a:lnTo>
                      <a:pt x="134745" y="35978"/>
                    </a:lnTo>
                    <a:lnTo>
                      <a:pt x="127939" y="26455"/>
                    </a:lnTo>
                    <a:lnTo>
                      <a:pt x="120145" y="20939"/>
                    </a:lnTo>
                    <a:lnTo>
                      <a:pt x="111062" y="18222"/>
                    </a:lnTo>
                    <a:lnTo>
                      <a:pt x="104805" y="18689"/>
                    </a:lnTo>
                    <a:lnTo>
                      <a:pt x="99892" y="21378"/>
                    </a:lnTo>
                    <a:lnTo>
                      <a:pt x="92922" y="31779"/>
                    </a:lnTo>
                    <a:lnTo>
                      <a:pt x="76621" y="41247"/>
                    </a:lnTo>
                    <a:lnTo>
                      <a:pt x="76401" y="47230"/>
                    </a:lnTo>
                    <a:lnTo>
                      <a:pt x="87763" y="62515"/>
                    </a:lnTo>
                    <a:lnTo>
                      <a:pt x="74453" y="70199"/>
                    </a:lnTo>
                    <a:lnTo>
                      <a:pt x="63887" y="70556"/>
                    </a:lnTo>
                    <a:lnTo>
                      <a:pt x="60073" y="62899"/>
                    </a:lnTo>
                    <a:lnTo>
                      <a:pt x="57246" y="61280"/>
                    </a:lnTo>
                    <a:lnTo>
                      <a:pt x="58234" y="58371"/>
                    </a:lnTo>
                    <a:lnTo>
                      <a:pt x="56423" y="54776"/>
                    </a:lnTo>
                    <a:lnTo>
                      <a:pt x="54694" y="54721"/>
                    </a:lnTo>
                    <a:lnTo>
                      <a:pt x="51648" y="58371"/>
                    </a:lnTo>
                    <a:lnTo>
                      <a:pt x="45775" y="56752"/>
                    </a:lnTo>
                    <a:lnTo>
                      <a:pt x="37899" y="45638"/>
                    </a:lnTo>
                    <a:lnTo>
                      <a:pt x="31696" y="42537"/>
                    </a:lnTo>
                    <a:lnTo>
                      <a:pt x="23601" y="40177"/>
                    </a:lnTo>
                    <a:lnTo>
                      <a:pt x="18195" y="40918"/>
                    </a:lnTo>
                    <a:lnTo>
                      <a:pt x="8590" y="39271"/>
                    </a:lnTo>
                    <a:lnTo>
                      <a:pt x="5159" y="41219"/>
                    </a:lnTo>
                    <a:lnTo>
                      <a:pt x="3540" y="46955"/>
                    </a:lnTo>
                    <a:lnTo>
                      <a:pt x="2744" y="41521"/>
                    </a:lnTo>
                    <a:lnTo>
                      <a:pt x="0" y="38228"/>
                    </a:lnTo>
                    <a:lnTo>
                      <a:pt x="5049" y="33865"/>
                    </a:lnTo>
                    <a:lnTo>
                      <a:pt x="3595" y="25357"/>
                    </a:lnTo>
                    <a:lnTo>
                      <a:pt x="8507" y="20171"/>
                    </a:lnTo>
                    <a:lnTo>
                      <a:pt x="2689" y="15094"/>
                    </a:lnTo>
                    <a:lnTo>
                      <a:pt x="2607" y="5352"/>
                    </a:lnTo>
                    <a:lnTo>
                      <a:pt x="5104" y="467"/>
                    </a:lnTo>
                    <a:lnTo>
                      <a:pt x="10620" y="3101"/>
                    </a:lnTo>
                    <a:lnTo>
                      <a:pt x="13420" y="1345"/>
                    </a:lnTo>
                    <a:lnTo>
                      <a:pt x="18771" y="6367"/>
                    </a:lnTo>
                    <a:lnTo>
                      <a:pt x="19869" y="10868"/>
                    </a:lnTo>
                    <a:lnTo>
                      <a:pt x="22558" y="10319"/>
                    </a:lnTo>
                    <a:lnTo>
                      <a:pt x="27004" y="12679"/>
                    </a:lnTo>
                    <a:lnTo>
                      <a:pt x="26702" y="13941"/>
                    </a:lnTo>
                    <a:lnTo>
                      <a:pt x="22860" y="14161"/>
                    </a:lnTo>
                    <a:lnTo>
                      <a:pt x="23573" y="18222"/>
                    </a:lnTo>
                    <a:lnTo>
                      <a:pt x="27909" y="20143"/>
                    </a:lnTo>
                    <a:lnTo>
                      <a:pt x="35731" y="19292"/>
                    </a:lnTo>
                    <a:lnTo>
                      <a:pt x="32492" y="14764"/>
                    </a:lnTo>
                    <a:lnTo>
                      <a:pt x="33233" y="13584"/>
                    </a:lnTo>
                    <a:lnTo>
                      <a:pt x="44293" y="23876"/>
                    </a:lnTo>
                    <a:lnTo>
                      <a:pt x="53678" y="24644"/>
                    </a:lnTo>
                    <a:lnTo>
                      <a:pt x="63695" y="21735"/>
                    </a:lnTo>
                    <a:lnTo>
                      <a:pt x="73300" y="15423"/>
                    </a:lnTo>
                    <a:lnTo>
                      <a:pt x="85375" y="11746"/>
                    </a:lnTo>
                    <a:lnTo>
                      <a:pt x="95392" y="5571"/>
                    </a:lnTo>
                    <a:lnTo>
                      <a:pt x="100880" y="0"/>
                    </a:lnTo>
                    <a:lnTo>
                      <a:pt x="115699" y="2058"/>
                    </a:lnTo>
                    <a:lnTo>
                      <a:pt x="117126" y="4830"/>
                    </a:lnTo>
                    <a:lnTo>
                      <a:pt x="135212" y="6696"/>
                    </a:lnTo>
                    <a:lnTo>
                      <a:pt x="146463" y="114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4" name="Freeform: Shape 4063">
                <a:extLst>
                  <a:ext uri="{FF2B5EF4-FFF2-40B4-BE49-F238E27FC236}">
                    <a16:creationId xmlns:a16="http://schemas.microsoft.com/office/drawing/2014/main" id="{988DD049-FB2E-0125-8D9F-AFE43994061F}"/>
                  </a:ext>
                </a:extLst>
              </p:cNvPr>
              <p:cNvSpPr/>
              <p:nvPr/>
            </p:nvSpPr>
            <p:spPr>
              <a:xfrm>
                <a:off x="1159035" y="3786660"/>
                <a:ext cx="5164" cy="1912"/>
              </a:xfrm>
              <a:custGeom>
                <a:avLst/>
                <a:gdLst>
                  <a:gd name="connsiteX0" fmla="*/ 7492 w 49507"/>
                  <a:gd name="connsiteY0" fmla="*/ 0 h 18332"/>
                  <a:gd name="connsiteX1" fmla="*/ 10511 w 49507"/>
                  <a:gd name="connsiteY1" fmla="*/ 741 h 18332"/>
                  <a:gd name="connsiteX2" fmla="*/ 14106 w 49507"/>
                  <a:gd name="connsiteY2" fmla="*/ 522 h 18332"/>
                  <a:gd name="connsiteX3" fmla="*/ 16411 w 49507"/>
                  <a:gd name="connsiteY3" fmla="*/ 1125 h 18332"/>
                  <a:gd name="connsiteX4" fmla="*/ 18936 w 49507"/>
                  <a:gd name="connsiteY4" fmla="*/ 494 h 18332"/>
                  <a:gd name="connsiteX5" fmla="*/ 23628 w 49507"/>
                  <a:gd name="connsiteY5" fmla="*/ 1235 h 18332"/>
                  <a:gd name="connsiteX6" fmla="*/ 25577 w 49507"/>
                  <a:gd name="connsiteY6" fmla="*/ 576 h 18332"/>
                  <a:gd name="connsiteX7" fmla="*/ 28815 w 49507"/>
                  <a:gd name="connsiteY7" fmla="*/ 1153 h 18332"/>
                  <a:gd name="connsiteX8" fmla="*/ 33371 w 49507"/>
                  <a:gd name="connsiteY8" fmla="*/ 1098 h 18332"/>
                  <a:gd name="connsiteX9" fmla="*/ 36691 w 49507"/>
                  <a:gd name="connsiteY9" fmla="*/ 2031 h 18332"/>
                  <a:gd name="connsiteX10" fmla="*/ 40204 w 49507"/>
                  <a:gd name="connsiteY10" fmla="*/ 1784 h 18332"/>
                  <a:gd name="connsiteX11" fmla="*/ 47778 w 49507"/>
                  <a:gd name="connsiteY11" fmla="*/ 4473 h 18332"/>
                  <a:gd name="connsiteX12" fmla="*/ 49507 w 49507"/>
                  <a:gd name="connsiteY12" fmla="*/ 7876 h 18332"/>
                  <a:gd name="connsiteX13" fmla="*/ 49150 w 49507"/>
                  <a:gd name="connsiteY13" fmla="*/ 9276 h 18332"/>
                  <a:gd name="connsiteX14" fmla="*/ 45363 w 49507"/>
                  <a:gd name="connsiteY14" fmla="*/ 10017 h 18332"/>
                  <a:gd name="connsiteX15" fmla="*/ 44129 w 49507"/>
                  <a:gd name="connsiteY15" fmla="*/ 11334 h 18332"/>
                  <a:gd name="connsiteX16" fmla="*/ 42152 w 49507"/>
                  <a:gd name="connsiteY16" fmla="*/ 15286 h 18332"/>
                  <a:gd name="connsiteX17" fmla="*/ 39683 w 49507"/>
                  <a:gd name="connsiteY17" fmla="*/ 16521 h 18332"/>
                  <a:gd name="connsiteX18" fmla="*/ 36856 w 49507"/>
                  <a:gd name="connsiteY18" fmla="*/ 16438 h 18332"/>
                  <a:gd name="connsiteX19" fmla="*/ 29995 w 49507"/>
                  <a:gd name="connsiteY19" fmla="*/ 18332 h 18332"/>
                  <a:gd name="connsiteX20" fmla="*/ 27800 w 49507"/>
                  <a:gd name="connsiteY20" fmla="*/ 16466 h 18332"/>
                  <a:gd name="connsiteX21" fmla="*/ 25988 w 49507"/>
                  <a:gd name="connsiteY21" fmla="*/ 17591 h 18332"/>
                  <a:gd name="connsiteX22" fmla="*/ 23683 w 49507"/>
                  <a:gd name="connsiteY22" fmla="*/ 16109 h 18332"/>
                  <a:gd name="connsiteX23" fmla="*/ 20308 w 49507"/>
                  <a:gd name="connsiteY23" fmla="*/ 16905 h 18332"/>
                  <a:gd name="connsiteX24" fmla="*/ 14847 w 49507"/>
                  <a:gd name="connsiteY24" fmla="*/ 16274 h 18332"/>
                  <a:gd name="connsiteX25" fmla="*/ 9276 w 49507"/>
                  <a:gd name="connsiteY25" fmla="*/ 17893 h 18332"/>
                  <a:gd name="connsiteX26" fmla="*/ 8370 w 49507"/>
                  <a:gd name="connsiteY26" fmla="*/ 16740 h 18332"/>
                  <a:gd name="connsiteX27" fmla="*/ 4830 w 49507"/>
                  <a:gd name="connsiteY27" fmla="*/ 17454 h 18332"/>
                  <a:gd name="connsiteX28" fmla="*/ 1674 w 49507"/>
                  <a:gd name="connsiteY28" fmla="*/ 16191 h 18332"/>
                  <a:gd name="connsiteX29" fmla="*/ 2470 w 49507"/>
                  <a:gd name="connsiteY29" fmla="*/ 15149 h 18332"/>
                  <a:gd name="connsiteX30" fmla="*/ 2607 w 49507"/>
                  <a:gd name="connsiteY30" fmla="*/ 10675 h 18332"/>
                  <a:gd name="connsiteX31" fmla="*/ 3403 w 49507"/>
                  <a:gd name="connsiteY31" fmla="*/ 9386 h 18332"/>
                  <a:gd name="connsiteX32" fmla="*/ 2223 w 49507"/>
                  <a:gd name="connsiteY32" fmla="*/ 6916 h 18332"/>
                  <a:gd name="connsiteX33" fmla="*/ 0 w 49507"/>
                  <a:gd name="connsiteY33" fmla="*/ 4583 h 18332"/>
                  <a:gd name="connsiteX34" fmla="*/ 3266 w 49507"/>
                  <a:gd name="connsiteY34" fmla="*/ 2882 h 18332"/>
                  <a:gd name="connsiteX35" fmla="*/ 3787 w 49507"/>
                  <a:gd name="connsiteY35" fmla="*/ 165 h 18332"/>
                  <a:gd name="connsiteX36" fmla="*/ 7519 w 49507"/>
                  <a:gd name="connsiteY36" fmla="*/ 0 h 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9507" h="18332">
                    <a:moveTo>
                      <a:pt x="7492" y="0"/>
                    </a:moveTo>
                    <a:lnTo>
                      <a:pt x="10511" y="741"/>
                    </a:lnTo>
                    <a:lnTo>
                      <a:pt x="14106" y="522"/>
                    </a:lnTo>
                    <a:lnTo>
                      <a:pt x="16411" y="1125"/>
                    </a:lnTo>
                    <a:lnTo>
                      <a:pt x="18936" y="494"/>
                    </a:lnTo>
                    <a:lnTo>
                      <a:pt x="23628" y="1235"/>
                    </a:lnTo>
                    <a:lnTo>
                      <a:pt x="25577" y="576"/>
                    </a:lnTo>
                    <a:lnTo>
                      <a:pt x="28815" y="1153"/>
                    </a:lnTo>
                    <a:lnTo>
                      <a:pt x="33371" y="1098"/>
                    </a:lnTo>
                    <a:lnTo>
                      <a:pt x="36691" y="2031"/>
                    </a:lnTo>
                    <a:lnTo>
                      <a:pt x="40204" y="1784"/>
                    </a:lnTo>
                    <a:lnTo>
                      <a:pt x="47778" y="4473"/>
                    </a:lnTo>
                    <a:lnTo>
                      <a:pt x="49507" y="7876"/>
                    </a:lnTo>
                    <a:lnTo>
                      <a:pt x="49150" y="9276"/>
                    </a:lnTo>
                    <a:lnTo>
                      <a:pt x="45363" y="10017"/>
                    </a:lnTo>
                    <a:lnTo>
                      <a:pt x="44129" y="11334"/>
                    </a:lnTo>
                    <a:lnTo>
                      <a:pt x="42152" y="15286"/>
                    </a:lnTo>
                    <a:lnTo>
                      <a:pt x="39683" y="16521"/>
                    </a:lnTo>
                    <a:lnTo>
                      <a:pt x="36856" y="16438"/>
                    </a:lnTo>
                    <a:lnTo>
                      <a:pt x="29995" y="18332"/>
                    </a:lnTo>
                    <a:lnTo>
                      <a:pt x="27800" y="16466"/>
                    </a:lnTo>
                    <a:lnTo>
                      <a:pt x="25988" y="17591"/>
                    </a:lnTo>
                    <a:lnTo>
                      <a:pt x="23683" y="16109"/>
                    </a:lnTo>
                    <a:lnTo>
                      <a:pt x="20308" y="16905"/>
                    </a:lnTo>
                    <a:lnTo>
                      <a:pt x="14847" y="16274"/>
                    </a:lnTo>
                    <a:lnTo>
                      <a:pt x="9276" y="17893"/>
                    </a:lnTo>
                    <a:lnTo>
                      <a:pt x="8370" y="16740"/>
                    </a:lnTo>
                    <a:lnTo>
                      <a:pt x="4830" y="17454"/>
                    </a:lnTo>
                    <a:lnTo>
                      <a:pt x="1674" y="16191"/>
                    </a:lnTo>
                    <a:lnTo>
                      <a:pt x="2470" y="15149"/>
                    </a:lnTo>
                    <a:lnTo>
                      <a:pt x="2607" y="10675"/>
                    </a:lnTo>
                    <a:lnTo>
                      <a:pt x="3403" y="9386"/>
                    </a:lnTo>
                    <a:lnTo>
                      <a:pt x="2223" y="6916"/>
                    </a:lnTo>
                    <a:lnTo>
                      <a:pt x="0" y="4583"/>
                    </a:lnTo>
                    <a:lnTo>
                      <a:pt x="3266" y="2882"/>
                    </a:lnTo>
                    <a:lnTo>
                      <a:pt x="3787" y="165"/>
                    </a:lnTo>
                    <a:lnTo>
                      <a:pt x="7519"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5" name="Freeform: Shape 4064">
                <a:extLst>
                  <a:ext uri="{FF2B5EF4-FFF2-40B4-BE49-F238E27FC236}">
                    <a16:creationId xmlns:a16="http://schemas.microsoft.com/office/drawing/2014/main" id="{EAF5DDDD-7F65-CD1A-7BBD-834F52532BFB}"/>
                  </a:ext>
                </a:extLst>
              </p:cNvPr>
              <p:cNvSpPr/>
              <p:nvPr/>
            </p:nvSpPr>
            <p:spPr>
              <a:xfrm>
                <a:off x="1164456" y="3787705"/>
                <a:ext cx="489" cy="341"/>
              </a:xfrm>
              <a:custGeom>
                <a:avLst/>
                <a:gdLst>
                  <a:gd name="connsiteX0" fmla="*/ 4693 w 4692"/>
                  <a:gd name="connsiteY0" fmla="*/ 2388 h 3265"/>
                  <a:gd name="connsiteX1" fmla="*/ 686 w 4692"/>
                  <a:gd name="connsiteY1" fmla="*/ 3266 h 3265"/>
                  <a:gd name="connsiteX2" fmla="*/ 0 w 4692"/>
                  <a:gd name="connsiteY2" fmla="*/ 2607 h 3265"/>
                  <a:gd name="connsiteX3" fmla="*/ 4007 w 4692"/>
                  <a:gd name="connsiteY3" fmla="*/ 0 h 3265"/>
                  <a:gd name="connsiteX4" fmla="*/ 4693 w 4692"/>
                  <a:gd name="connsiteY4" fmla="*/ 2388 h 3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3265">
                    <a:moveTo>
                      <a:pt x="4693" y="2388"/>
                    </a:moveTo>
                    <a:lnTo>
                      <a:pt x="686" y="3266"/>
                    </a:lnTo>
                    <a:lnTo>
                      <a:pt x="0" y="2607"/>
                    </a:lnTo>
                    <a:lnTo>
                      <a:pt x="4007" y="0"/>
                    </a:lnTo>
                    <a:lnTo>
                      <a:pt x="4693"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6" name="Freeform: Shape 4065">
                <a:extLst>
                  <a:ext uri="{FF2B5EF4-FFF2-40B4-BE49-F238E27FC236}">
                    <a16:creationId xmlns:a16="http://schemas.microsoft.com/office/drawing/2014/main" id="{58BEB4E4-C613-4152-178B-511708036F2F}"/>
                  </a:ext>
                </a:extLst>
              </p:cNvPr>
              <p:cNvSpPr/>
              <p:nvPr/>
            </p:nvSpPr>
            <p:spPr>
              <a:xfrm>
                <a:off x="1156905" y="3787880"/>
                <a:ext cx="432" cy="300"/>
              </a:xfrm>
              <a:custGeom>
                <a:avLst/>
                <a:gdLst>
                  <a:gd name="connsiteX0" fmla="*/ 4116 w 4143"/>
                  <a:gd name="connsiteY0" fmla="*/ 1180 h 2881"/>
                  <a:gd name="connsiteX1" fmla="*/ 1948 w 4143"/>
                  <a:gd name="connsiteY1" fmla="*/ 2882 h 2881"/>
                  <a:gd name="connsiteX2" fmla="*/ 0 w 4143"/>
                  <a:gd name="connsiteY2" fmla="*/ 1619 h 2881"/>
                  <a:gd name="connsiteX3" fmla="*/ 604 w 4143"/>
                  <a:gd name="connsiteY3" fmla="*/ 302 h 2881"/>
                  <a:gd name="connsiteX4" fmla="*/ 3430 w 4143"/>
                  <a:gd name="connsiteY4" fmla="*/ 0 h 2881"/>
                  <a:gd name="connsiteX5" fmla="*/ 4144 w 4143"/>
                  <a:gd name="connsiteY5" fmla="*/ 1180 h 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3" h="2881">
                    <a:moveTo>
                      <a:pt x="4116" y="1180"/>
                    </a:moveTo>
                    <a:lnTo>
                      <a:pt x="1948" y="2882"/>
                    </a:lnTo>
                    <a:lnTo>
                      <a:pt x="0" y="1619"/>
                    </a:lnTo>
                    <a:lnTo>
                      <a:pt x="604" y="302"/>
                    </a:lnTo>
                    <a:lnTo>
                      <a:pt x="3430" y="0"/>
                    </a:lnTo>
                    <a:lnTo>
                      <a:pt x="4144"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7" name="Freeform: Shape 4066">
                <a:extLst>
                  <a:ext uri="{FF2B5EF4-FFF2-40B4-BE49-F238E27FC236}">
                    <a16:creationId xmlns:a16="http://schemas.microsoft.com/office/drawing/2014/main" id="{FA41E081-0260-839F-09A7-CA5B96B8B129}"/>
                  </a:ext>
                </a:extLst>
              </p:cNvPr>
              <p:cNvSpPr/>
              <p:nvPr/>
            </p:nvSpPr>
            <p:spPr>
              <a:xfrm>
                <a:off x="1472449" y="3738811"/>
                <a:ext cx="2018" cy="4282"/>
              </a:xfrm>
              <a:custGeom>
                <a:avLst/>
                <a:gdLst>
                  <a:gd name="connsiteX0" fmla="*/ 7738 w 19347"/>
                  <a:gd name="connsiteY0" fmla="*/ 40616 h 41054"/>
                  <a:gd name="connsiteX1" fmla="*/ 1838 w 19347"/>
                  <a:gd name="connsiteY1" fmla="*/ 41055 h 41054"/>
                  <a:gd name="connsiteX2" fmla="*/ 0 w 19347"/>
                  <a:gd name="connsiteY2" fmla="*/ 39518 h 41054"/>
                  <a:gd name="connsiteX3" fmla="*/ 2634 w 19347"/>
                  <a:gd name="connsiteY3" fmla="*/ 31587 h 41054"/>
                  <a:gd name="connsiteX4" fmla="*/ 9220 w 19347"/>
                  <a:gd name="connsiteY4" fmla="*/ 26291 h 41054"/>
                  <a:gd name="connsiteX5" fmla="*/ 2332 w 19347"/>
                  <a:gd name="connsiteY5" fmla="*/ 23876 h 41054"/>
                  <a:gd name="connsiteX6" fmla="*/ 2332 w 19347"/>
                  <a:gd name="connsiteY6" fmla="*/ 12212 h 41054"/>
                  <a:gd name="connsiteX7" fmla="*/ 4940 w 19347"/>
                  <a:gd name="connsiteY7" fmla="*/ 3485 h 41054"/>
                  <a:gd name="connsiteX8" fmla="*/ 9934 w 19347"/>
                  <a:gd name="connsiteY8" fmla="*/ 0 h 41054"/>
                  <a:gd name="connsiteX9" fmla="*/ 19347 w 19347"/>
                  <a:gd name="connsiteY9" fmla="*/ 5050 h 41054"/>
                  <a:gd name="connsiteX10" fmla="*/ 19183 w 19347"/>
                  <a:gd name="connsiteY10" fmla="*/ 26784 h 41054"/>
                  <a:gd name="connsiteX11" fmla="*/ 17042 w 19347"/>
                  <a:gd name="connsiteY11" fmla="*/ 36170 h 41054"/>
                  <a:gd name="connsiteX12" fmla="*/ 7793 w 19347"/>
                  <a:gd name="connsiteY12" fmla="*/ 40561 h 4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47" h="41054">
                    <a:moveTo>
                      <a:pt x="7738" y="40616"/>
                    </a:moveTo>
                    <a:lnTo>
                      <a:pt x="1838" y="41055"/>
                    </a:lnTo>
                    <a:lnTo>
                      <a:pt x="0" y="39518"/>
                    </a:lnTo>
                    <a:lnTo>
                      <a:pt x="2634" y="31587"/>
                    </a:lnTo>
                    <a:lnTo>
                      <a:pt x="9220" y="26291"/>
                    </a:lnTo>
                    <a:lnTo>
                      <a:pt x="2332" y="23876"/>
                    </a:lnTo>
                    <a:lnTo>
                      <a:pt x="2332" y="12212"/>
                    </a:lnTo>
                    <a:cubicBezTo>
                      <a:pt x="2332" y="12212"/>
                      <a:pt x="4940" y="3485"/>
                      <a:pt x="4940" y="3485"/>
                    </a:cubicBezTo>
                    <a:lnTo>
                      <a:pt x="9934" y="0"/>
                    </a:lnTo>
                    <a:lnTo>
                      <a:pt x="19347" y="5050"/>
                    </a:lnTo>
                    <a:lnTo>
                      <a:pt x="19183" y="26784"/>
                    </a:lnTo>
                    <a:lnTo>
                      <a:pt x="17042" y="36170"/>
                    </a:lnTo>
                    <a:lnTo>
                      <a:pt x="7793" y="405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8" name="Freeform: Shape 4067">
                <a:extLst>
                  <a:ext uri="{FF2B5EF4-FFF2-40B4-BE49-F238E27FC236}">
                    <a16:creationId xmlns:a16="http://schemas.microsoft.com/office/drawing/2014/main" id="{B86E3552-2649-990B-913F-D9787E395F44}"/>
                  </a:ext>
                </a:extLst>
              </p:cNvPr>
              <p:cNvSpPr/>
              <p:nvPr/>
            </p:nvSpPr>
            <p:spPr>
              <a:xfrm>
                <a:off x="1470365" y="3742208"/>
                <a:ext cx="976" cy="1348"/>
              </a:xfrm>
              <a:custGeom>
                <a:avLst/>
                <a:gdLst>
                  <a:gd name="connsiteX0" fmla="*/ 9358 w 9357"/>
                  <a:gd name="connsiteY0" fmla="*/ 2415 h 12925"/>
                  <a:gd name="connsiteX1" fmla="*/ 1455 w 9357"/>
                  <a:gd name="connsiteY1" fmla="*/ 12926 h 12925"/>
                  <a:gd name="connsiteX2" fmla="*/ 0 w 9357"/>
                  <a:gd name="connsiteY2" fmla="*/ 9468 h 12925"/>
                  <a:gd name="connsiteX3" fmla="*/ 439 w 9357"/>
                  <a:gd name="connsiteY3" fmla="*/ 9029 h 12925"/>
                  <a:gd name="connsiteX4" fmla="*/ 7464 w 9357"/>
                  <a:gd name="connsiteY4" fmla="*/ 796 h 12925"/>
                  <a:gd name="connsiteX5" fmla="*/ 7986 w 9357"/>
                  <a:gd name="connsiteY5" fmla="*/ 0 h 12925"/>
                  <a:gd name="connsiteX6" fmla="*/ 9358 w 9357"/>
                  <a:gd name="connsiteY6" fmla="*/ 2415 h 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7" h="12925">
                    <a:moveTo>
                      <a:pt x="9358" y="2415"/>
                    </a:moveTo>
                    <a:lnTo>
                      <a:pt x="1455" y="12926"/>
                    </a:lnTo>
                    <a:lnTo>
                      <a:pt x="0" y="9468"/>
                    </a:lnTo>
                    <a:lnTo>
                      <a:pt x="439" y="9029"/>
                    </a:lnTo>
                    <a:lnTo>
                      <a:pt x="7464" y="796"/>
                    </a:lnTo>
                    <a:lnTo>
                      <a:pt x="7986" y="0"/>
                    </a:lnTo>
                    <a:lnTo>
                      <a:pt x="9358"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9" name="Freeform: Shape 4068">
                <a:extLst>
                  <a:ext uri="{FF2B5EF4-FFF2-40B4-BE49-F238E27FC236}">
                    <a16:creationId xmlns:a16="http://schemas.microsoft.com/office/drawing/2014/main" id="{F55FE174-6C49-9147-8355-4EC4BA033C44}"/>
                  </a:ext>
                </a:extLst>
              </p:cNvPr>
              <p:cNvSpPr/>
              <p:nvPr/>
            </p:nvSpPr>
            <p:spPr>
              <a:xfrm>
                <a:off x="1173223" y="3904786"/>
                <a:ext cx="25689" cy="27707"/>
              </a:xfrm>
              <a:custGeom>
                <a:avLst/>
                <a:gdLst>
                  <a:gd name="connsiteX0" fmla="*/ 131808 w 246300"/>
                  <a:gd name="connsiteY0" fmla="*/ 27223 h 265648"/>
                  <a:gd name="connsiteX1" fmla="*/ 136200 w 246300"/>
                  <a:gd name="connsiteY1" fmla="*/ 36060 h 265648"/>
                  <a:gd name="connsiteX2" fmla="*/ 136968 w 246300"/>
                  <a:gd name="connsiteY2" fmla="*/ 42975 h 265648"/>
                  <a:gd name="connsiteX3" fmla="*/ 139657 w 246300"/>
                  <a:gd name="connsiteY3" fmla="*/ 44704 h 265648"/>
                  <a:gd name="connsiteX4" fmla="*/ 138724 w 246300"/>
                  <a:gd name="connsiteY4" fmla="*/ 46543 h 265648"/>
                  <a:gd name="connsiteX5" fmla="*/ 141359 w 246300"/>
                  <a:gd name="connsiteY5" fmla="*/ 53184 h 265648"/>
                  <a:gd name="connsiteX6" fmla="*/ 138203 w 246300"/>
                  <a:gd name="connsiteY6" fmla="*/ 70418 h 265648"/>
                  <a:gd name="connsiteX7" fmla="*/ 139191 w 246300"/>
                  <a:gd name="connsiteY7" fmla="*/ 75441 h 265648"/>
                  <a:gd name="connsiteX8" fmla="*/ 137572 w 246300"/>
                  <a:gd name="connsiteY8" fmla="*/ 87653 h 265648"/>
                  <a:gd name="connsiteX9" fmla="*/ 141551 w 246300"/>
                  <a:gd name="connsiteY9" fmla="*/ 89492 h 265648"/>
                  <a:gd name="connsiteX10" fmla="*/ 146765 w 246300"/>
                  <a:gd name="connsiteY10" fmla="*/ 88256 h 265648"/>
                  <a:gd name="connsiteX11" fmla="*/ 156617 w 246300"/>
                  <a:gd name="connsiteY11" fmla="*/ 92318 h 265648"/>
                  <a:gd name="connsiteX12" fmla="*/ 170723 w 246300"/>
                  <a:gd name="connsiteY12" fmla="*/ 94074 h 265648"/>
                  <a:gd name="connsiteX13" fmla="*/ 176980 w 246300"/>
                  <a:gd name="connsiteY13" fmla="*/ 92345 h 265648"/>
                  <a:gd name="connsiteX14" fmla="*/ 182715 w 246300"/>
                  <a:gd name="connsiteY14" fmla="*/ 87982 h 265648"/>
                  <a:gd name="connsiteX15" fmla="*/ 189109 w 246300"/>
                  <a:gd name="connsiteY15" fmla="*/ 93800 h 265648"/>
                  <a:gd name="connsiteX16" fmla="*/ 199400 w 246300"/>
                  <a:gd name="connsiteY16" fmla="*/ 94431 h 265648"/>
                  <a:gd name="connsiteX17" fmla="*/ 206289 w 246300"/>
                  <a:gd name="connsiteY17" fmla="*/ 105573 h 265648"/>
                  <a:gd name="connsiteX18" fmla="*/ 206728 w 246300"/>
                  <a:gd name="connsiteY18" fmla="*/ 120008 h 265648"/>
                  <a:gd name="connsiteX19" fmla="*/ 209060 w 246300"/>
                  <a:gd name="connsiteY19" fmla="*/ 123466 h 265648"/>
                  <a:gd name="connsiteX20" fmla="*/ 209198 w 246300"/>
                  <a:gd name="connsiteY20" fmla="*/ 135431 h 265648"/>
                  <a:gd name="connsiteX21" fmla="*/ 213149 w 246300"/>
                  <a:gd name="connsiteY21" fmla="*/ 147725 h 265648"/>
                  <a:gd name="connsiteX22" fmla="*/ 224648 w 246300"/>
                  <a:gd name="connsiteY22" fmla="*/ 148357 h 265648"/>
                  <a:gd name="connsiteX23" fmla="*/ 235269 w 246300"/>
                  <a:gd name="connsiteY23" fmla="*/ 143664 h 265648"/>
                  <a:gd name="connsiteX24" fmla="*/ 240455 w 246300"/>
                  <a:gd name="connsiteY24" fmla="*/ 145777 h 265648"/>
                  <a:gd name="connsiteX25" fmla="*/ 245258 w 246300"/>
                  <a:gd name="connsiteY25" fmla="*/ 150580 h 265648"/>
                  <a:gd name="connsiteX26" fmla="*/ 246301 w 246300"/>
                  <a:gd name="connsiteY26" fmla="*/ 160816 h 265648"/>
                  <a:gd name="connsiteX27" fmla="*/ 241032 w 246300"/>
                  <a:gd name="connsiteY27" fmla="*/ 187051 h 265648"/>
                  <a:gd name="connsiteX28" fmla="*/ 236503 w 246300"/>
                  <a:gd name="connsiteY28" fmla="*/ 196135 h 265648"/>
                  <a:gd name="connsiteX29" fmla="*/ 236805 w 246300"/>
                  <a:gd name="connsiteY29" fmla="*/ 200635 h 265648"/>
                  <a:gd name="connsiteX30" fmla="*/ 236010 w 246300"/>
                  <a:gd name="connsiteY30" fmla="*/ 206920 h 265648"/>
                  <a:gd name="connsiteX31" fmla="*/ 235378 w 246300"/>
                  <a:gd name="connsiteY31" fmla="*/ 221190 h 265648"/>
                  <a:gd name="connsiteX32" fmla="*/ 230356 w 246300"/>
                  <a:gd name="connsiteY32" fmla="*/ 235269 h 265648"/>
                  <a:gd name="connsiteX33" fmla="*/ 221986 w 246300"/>
                  <a:gd name="connsiteY33" fmla="*/ 241361 h 265648"/>
                  <a:gd name="connsiteX34" fmla="*/ 220257 w 246300"/>
                  <a:gd name="connsiteY34" fmla="*/ 244764 h 265648"/>
                  <a:gd name="connsiteX35" fmla="*/ 214055 w 246300"/>
                  <a:gd name="connsiteY35" fmla="*/ 245889 h 265648"/>
                  <a:gd name="connsiteX36" fmla="*/ 208155 w 246300"/>
                  <a:gd name="connsiteY36" fmla="*/ 251131 h 265648"/>
                  <a:gd name="connsiteX37" fmla="*/ 207057 w 246300"/>
                  <a:gd name="connsiteY37" fmla="*/ 257388 h 265648"/>
                  <a:gd name="connsiteX38" fmla="*/ 203572 w 246300"/>
                  <a:gd name="connsiteY38" fmla="*/ 260708 h 265648"/>
                  <a:gd name="connsiteX39" fmla="*/ 192210 w 246300"/>
                  <a:gd name="connsiteY39" fmla="*/ 257305 h 265648"/>
                  <a:gd name="connsiteX40" fmla="*/ 187106 w 246300"/>
                  <a:gd name="connsiteY40" fmla="*/ 260214 h 265648"/>
                  <a:gd name="connsiteX41" fmla="*/ 185871 w 246300"/>
                  <a:gd name="connsiteY41" fmla="*/ 264029 h 265648"/>
                  <a:gd name="connsiteX42" fmla="*/ 183484 w 246300"/>
                  <a:gd name="connsiteY42" fmla="*/ 265648 h 265648"/>
                  <a:gd name="connsiteX43" fmla="*/ 177666 w 246300"/>
                  <a:gd name="connsiteY43" fmla="*/ 261367 h 265648"/>
                  <a:gd name="connsiteX44" fmla="*/ 172945 w 246300"/>
                  <a:gd name="connsiteY44" fmla="*/ 262684 h 265648"/>
                  <a:gd name="connsiteX45" fmla="*/ 168363 w 246300"/>
                  <a:gd name="connsiteY45" fmla="*/ 260736 h 265648"/>
                  <a:gd name="connsiteX46" fmla="*/ 162188 w 246300"/>
                  <a:gd name="connsiteY46" fmla="*/ 262574 h 265648"/>
                  <a:gd name="connsiteX47" fmla="*/ 138779 w 246300"/>
                  <a:gd name="connsiteY47" fmla="*/ 255851 h 265648"/>
                  <a:gd name="connsiteX48" fmla="*/ 119295 w 246300"/>
                  <a:gd name="connsiteY48" fmla="*/ 256125 h 265648"/>
                  <a:gd name="connsiteX49" fmla="*/ 117758 w 246300"/>
                  <a:gd name="connsiteY49" fmla="*/ 251762 h 265648"/>
                  <a:gd name="connsiteX50" fmla="*/ 128872 w 246300"/>
                  <a:gd name="connsiteY50" fmla="*/ 238672 h 265648"/>
                  <a:gd name="connsiteX51" fmla="*/ 133400 w 246300"/>
                  <a:gd name="connsiteY51" fmla="*/ 219654 h 265648"/>
                  <a:gd name="connsiteX52" fmla="*/ 140179 w 246300"/>
                  <a:gd name="connsiteY52" fmla="*/ 214412 h 265648"/>
                  <a:gd name="connsiteX53" fmla="*/ 142017 w 246300"/>
                  <a:gd name="connsiteY53" fmla="*/ 206947 h 265648"/>
                  <a:gd name="connsiteX54" fmla="*/ 148494 w 246300"/>
                  <a:gd name="connsiteY54" fmla="*/ 200334 h 265648"/>
                  <a:gd name="connsiteX55" fmla="*/ 149399 w 246300"/>
                  <a:gd name="connsiteY55" fmla="*/ 196821 h 265648"/>
                  <a:gd name="connsiteX56" fmla="*/ 142649 w 246300"/>
                  <a:gd name="connsiteY56" fmla="*/ 186064 h 265648"/>
                  <a:gd name="connsiteX57" fmla="*/ 130354 w 246300"/>
                  <a:gd name="connsiteY57" fmla="*/ 179724 h 265648"/>
                  <a:gd name="connsiteX58" fmla="*/ 126320 w 246300"/>
                  <a:gd name="connsiteY58" fmla="*/ 180602 h 265648"/>
                  <a:gd name="connsiteX59" fmla="*/ 121929 w 246300"/>
                  <a:gd name="connsiteY59" fmla="*/ 176705 h 265648"/>
                  <a:gd name="connsiteX60" fmla="*/ 107165 w 246300"/>
                  <a:gd name="connsiteY60" fmla="*/ 170393 h 265648"/>
                  <a:gd name="connsiteX61" fmla="*/ 77883 w 246300"/>
                  <a:gd name="connsiteY61" fmla="*/ 149948 h 265648"/>
                  <a:gd name="connsiteX62" fmla="*/ 68388 w 246300"/>
                  <a:gd name="connsiteY62" fmla="*/ 150332 h 265648"/>
                  <a:gd name="connsiteX63" fmla="*/ 49123 w 246300"/>
                  <a:gd name="connsiteY63" fmla="*/ 142594 h 265648"/>
                  <a:gd name="connsiteX64" fmla="*/ 44320 w 246300"/>
                  <a:gd name="connsiteY64" fmla="*/ 135705 h 265648"/>
                  <a:gd name="connsiteX65" fmla="*/ 33947 w 246300"/>
                  <a:gd name="connsiteY65" fmla="*/ 130134 h 265648"/>
                  <a:gd name="connsiteX66" fmla="*/ 22970 w 246300"/>
                  <a:gd name="connsiteY66" fmla="*/ 120063 h 265648"/>
                  <a:gd name="connsiteX67" fmla="*/ 19347 w 246300"/>
                  <a:gd name="connsiteY67" fmla="*/ 117236 h 265648"/>
                  <a:gd name="connsiteX68" fmla="*/ 11416 w 246300"/>
                  <a:gd name="connsiteY68" fmla="*/ 102115 h 265648"/>
                  <a:gd name="connsiteX69" fmla="*/ 0 w 246300"/>
                  <a:gd name="connsiteY69" fmla="*/ 93114 h 265648"/>
                  <a:gd name="connsiteX70" fmla="*/ 11059 w 246300"/>
                  <a:gd name="connsiteY70" fmla="*/ 55791 h 265648"/>
                  <a:gd name="connsiteX71" fmla="*/ 11444 w 246300"/>
                  <a:gd name="connsiteY71" fmla="*/ 39710 h 265648"/>
                  <a:gd name="connsiteX72" fmla="*/ 21103 w 246300"/>
                  <a:gd name="connsiteY72" fmla="*/ 25001 h 265648"/>
                  <a:gd name="connsiteX73" fmla="*/ 27717 w 246300"/>
                  <a:gd name="connsiteY73" fmla="*/ 10977 h 265648"/>
                  <a:gd name="connsiteX74" fmla="*/ 78377 w 246300"/>
                  <a:gd name="connsiteY74" fmla="*/ 164 h 265648"/>
                  <a:gd name="connsiteX75" fmla="*/ 104750 w 246300"/>
                  <a:gd name="connsiteY75" fmla="*/ 0 h 265648"/>
                  <a:gd name="connsiteX76" fmla="*/ 130820 w 246300"/>
                  <a:gd name="connsiteY76" fmla="*/ 15972 h 265648"/>
                  <a:gd name="connsiteX77" fmla="*/ 131863 w 246300"/>
                  <a:gd name="connsiteY77" fmla="*/ 27223 h 26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46300" h="265648">
                    <a:moveTo>
                      <a:pt x="131808" y="27223"/>
                    </a:moveTo>
                    <a:lnTo>
                      <a:pt x="136200" y="36060"/>
                    </a:lnTo>
                    <a:lnTo>
                      <a:pt x="136968" y="42975"/>
                    </a:lnTo>
                    <a:lnTo>
                      <a:pt x="139657" y="44704"/>
                    </a:lnTo>
                    <a:lnTo>
                      <a:pt x="138724" y="46543"/>
                    </a:lnTo>
                    <a:lnTo>
                      <a:pt x="141359" y="53184"/>
                    </a:lnTo>
                    <a:lnTo>
                      <a:pt x="138203" y="70418"/>
                    </a:lnTo>
                    <a:lnTo>
                      <a:pt x="139191" y="75441"/>
                    </a:lnTo>
                    <a:lnTo>
                      <a:pt x="137572" y="87653"/>
                    </a:lnTo>
                    <a:lnTo>
                      <a:pt x="141551" y="89492"/>
                    </a:lnTo>
                    <a:lnTo>
                      <a:pt x="146765" y="88256"/>
                    </a:lnTo>
                    <a:lnTo>
                      <a:pt x="156617" y="92318"/>
                    </a:lnTo>
                    <a:lnTo>
                      <a:pt x="170723" y="94074"/>
                    </a:lnTo>
                    <a:lnTo>
                      <a:pt x="176980" y="92345"/>
                    </a:lnTo>
                    <a:lnTo>
                      <a:pt x="182715" y="87982"/>
                    </a:lnTo>
                    <a:lnTo>
                      <a:pt x="189109" y="93800"/>
                    </a:lnTo>
                    <a:lnTo>
                      <a:pt x="199400" y="94431"/>
                    </a:lnTo>
                    <a:lnTo>
                      <a:pt x="206289" y="105573"/>
                    </a:lnTo>
                    <a:lnTo>
                      <a:pt x="206728" y="120008"/>
                    </a:lnTo>
                    <a:lnTo>
                      <a:pt x="209060" y="123466"/>
                    </a:lnTo>
                    <a:lnTo>
                      <a:pt x="209198" y="135431"/>
                    </a:lnTo>
                    <a:lnTo>
                      <a:pt x="213149" y="147725"/>
                    </a:lnTo>
                    <a:lnTo>
                      <a:pt x="224648" y="148357"/>
                    </a:lnTo>
                    <a:lnTo>
                      <a:pt x="235269" y="143664"/>
                    </a:lnTo>
                    <a:lnTo>
                      <a:pt x="240455" y="145777"/>
                    </a:lnTo>
                    <a:lnTo>
                      <a:pt x="245258" y="150580"/>
                    </a:lnTo>
                    <a:lnTo>
                      <a:pt x="246301" y="160816"/>
                    </a:lnTo>
                    <a:lnTo>
                      <a:pt x="241032" y="187051"/>
                    </a:lnTo>
                    <a:lnTo>
                      <a:pt x="236503" y="196135"/>
                    </a:lnTo>
                    <a:lnTo>
                      <a:pt x="236805" y="200635"/>
                    </a:lnTo>
                    <a:lnTo>
                      <a:pt x="236010" y="206920"/>
                    </a:lnTo>
                    <a:lnTo>
                      <a:pt x="235378" y="221190"/>
                    </a:lnTo>
                    <a:lnTo>
                      <a:pt x="230356" y="235269"/>
                    </a:lnTo>
                    <a:lnTo>
                      <a:pt x="221986" y="241361"/>
                    </a:lnTo>
                    <a:lnTo>
                      <a:pt x="220257" y="244764"/>
                    </a:lnTo>
                    <a:lnTo>
                      <a:pt x="214055" y="245889"/>
                    </a:lnTo>
                    <a:lnTo>
                      <a:pt x="208155" y="251131"/>
                    </a:lnTo>
                    <a:lnTo>
                      <a:pt x="207057" y="257388"/>
                    </a:lnTo>
                    <a:lnTo>
                      <a:pt x="203572" y="260708"/>
                    </a:lnTo>
                    <a:lnTo>
                      <a:pt x="192210" y="257305"/>
                    </a:lnTo>
                    <a:lnTo>
                      <a:pt x="187106" y="260214"/>
                    </a:lnTo>
                    <a:lnTo>
                      <a:pt x="185871" y="264029"/>
                    </a:lnTo>
                    <a:lnTo>
                      <a:pt x="183484" y="265648"/>
                    </a:lnTo>
                    <a:lnTo>
                      <a:pt x="177666" y="261367"/>
                    </a:lnTo>
                    <a:lnTo>
                      <a:pt x="172945" y="262684"/>
                    </a:lnTo>
                    <a:lnTo>
                      <a:pt x="168363" y="260736"/>
                    </a:lnTo>
                    <a:lnTo>
                      <a:pt x="162188" y="262574"/>
                    </a:lnTo>
                    <a:lnTo>
                      <a:pt x="138779" y="255851"/>
                    </a:lnTo>
                    <a:lnTo>
                      <a:pt x="119295" y="256125"/>
                    </a:lnTo>
                    <a:lnTo>
                      <a:pt x="117758" y="251762"/>
                    </a:lnTo>
                    <a:lnTo>
                      <a:pt x="128872" y="238672"/>
                    </a:lnTo>
                    <a:lnTo>
                      <a:pt x="133400" y="219654"/>
                    </a:lnTo>
                    <a:lnTo>
                      <a:pt x="140179" y="214412"/>
                    </a:lnTo>
                    <a:lnTo>
                      <a:pt x="142017" y="206947"/>
                    </a:lnTo>
                    <a:lnTo>
                      <a:pt x="148494" y="200334"/>
                    </a:lnTo>
                    <a:lnTo>
                      <a:pt x="149399" y="196821"/>
                    </a:lnTo>
                    <a:lnTo>
                      <a:pt x="142649" y="186064"/>
                    </a:lnTo>
                    <a:lnTo>
                      <a:pt x="130354" y="179724"/>
                    </a:lnTo>
                    <a:lnTo>
                      <a:pt x="126320" y="180602"/>
                    </a:lnTo>
                    <a:lnTo>
                      <a:pt x="121929" y="176705"/>
                    </a:lnTo>
                    <a:lnTo>
                      <a:pt x="107165" y="170393"/>
                    </a:lnTo>
                    <a:lnTo>
                      <a:pt x="77883" y="149948"/>
                    </a:lnTo>
                    <a:lnTo>
                      <a:pt x="68388" y="150332"/>
                    </a:lnTo>
                    <a:lnTo>
                      <a:pt x="49123" y="142594"/>
                    </a:lnTo>
                    <a:lnTo>
                      <a:pt x="44320" y="135705"/>
                    </a:lnTo>
                    <a:lnTo>
                      <a:pt x="33947" y="130134"/>
                    </a:lnTo>
                    <a:lnTo>
                      <a:pt x="22970" y="120063"/>
                    </a:lnTo>
                    <a:lnTo>
                      <a:pt x="19347" y="117236"/>
                    </a:lnTo>
                    <a:lnTo>
                      <a:pt x="11416" y="102115"/>
                    </a:lnTo>
                    <a:lnTo>
                      <a:pt x="0" y="93114"/>
                    </a:lnTo>
                    <a:lnTo>
                      <a:pt x="11059" y="55791"/>
                    </a:lnTo>
                    <a:lnTo>
                      <a:pt x="11444" y="39710"/>
                    </a:lnTo>
                    <a:lnTo>
                      <a:pt x="21103" y="25001"/>
                    </a:lnTo>
                    <a:lnTo>
                      <a:pt x="27717" y="10977"/>
                    </a:lnTo>
                    <a:lnTo>
                      <a:pt x="78377" y="164"/>
                    </a:lnTo>
                    <a:lnTo>
                      <a:pt x="104750" y="0"/>
                    </a:lnTo>
                    <a:lnTo>
                      <a:pt x="130820" y="15972"/>
                    </a:lnTo>
                    <a:lnTo>
                      <a:pt x="131863" y="27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0" name="Freeform: Shape 4069">
                <a:extLst>
                  <a:ext uri="{FF2B5EF4-FFF2-40B4-BE49-F238E27FC236}">
                    <a16:creationId xmlns:a16="http://schemas.microsoft.com/office/drawing/2014/main" id="{839BC089-9DF5-6D3E-52EE-750213D2A330}"/>
                  </a:ext>
                </a:extLst>
              </p:cNvPr>
              <p:cNvSpPr/>
              <p:nvPr/>
            </p:nvSpPr>
            <p:spPr>
              <a:xfrm>
                <a:off x="1521171" y="3761337"/>
                <a:ext cx="2567" cy="5630"/>
              </a:xfrm>
              <a:custGeom>
                <a:avLst/>
                <a:gdLst>
                  <a:gd name="connsiteX0" fmla="*/ 15423 w 24616"/>
                  <a:gd name="connsiteY0" fmla="*/ 53102 h 53980"/>
                  <a:gd name="connsiteX1" fmla="*/ 9550 w 24616"/>
                  <a:gd name="connsiteY1" fmla="*/ 53980 h 53980"/>
                  <a:gd name="connsiteX2" fmla="*/ 5982 w 24616"/>
                  <a:gd name="connsiteY2" fmla="*/ 52608 h 53980"/>
                  <a:gd name="connsiteX3" fmla="*/ 1015 w 24616"/>
                  <a:gd name="connsiteY3" fmla="*/ 45555 h 53980"/>
                  <a:gd name="connsiteX4" fmla="*/ 2196 w 24616"/>
                  <a:gd name="connsiteY4" fmla="*/ 41247 h 53980"/>
                  <a:gd name="connsiteX5" fmla="*/ 0 w 24616"/>
                  <a:gd name="connsiteY5" fmla="*/ 22558 h 53980"/>
                  <a:gd name="connsiteX6" fmla="*/ 1345 w 24616"/>
                  <a:gd name="connsiteY6" fmla="*/ 19183 h 53980"/>
                  <a:gd name="connsiteX7" fmla="*/ 3979 w 24616"/>
                  <a:gd name="connsiteY7" fmla="*/ 17920 h 53980"/>
                  <a:gd name="connsiteX8" fmla="*/ 6449 w 24616"/>
                  <a:gd name="connsiteY8" fmla="*/ 6614 h 53980"/>
                  <a:gd name="connsiteX9" fmla="*/ 13804 w 24616"/>
                  <a:gd name="connsiteY9" fmla="*/ 0 h 53980"/>
                  <a:gd name="connsiteX10" fmla="*/ 23299 w 24616"/>
                  <a:gd name="connsiteY10" fmla="*/ 8782 h 53980"/>
                  <a:gd name="connsiteX11" fmla="*/ 23601 w 24616"/>
                  <a:gd name="connsiteY11" fmla="*/ 13282 h 53980"/>
                  <a:gd name="connsiteX12" fmla="*/ 21433 w 24616"/>
                  <a:gd name="connsiteY12" fmla="*/ 19128 h 53980"/>
                  <a:gd name="connsiteX13" fmla="*/ 24616 w 24616"/>
                  <a:gd name="connsiteY13" fmla="*/ 35429 h 53980"/>
                  <a:gd name="connsiteX14" fmla="*/ 19621 w 24616"/>
                  <a:gd name="connsiteY14" fmla="*/ 47119 h 53980"/>
                  <a:gd name="connsiteX15" fmla="*/ 15286 w 24616"/>
                  <a:gd name="connsiteY15" fmla="*/ 49891 h 53980"/>
                  <a:gd name="connsiteX16" fmla="*/ 15450 w 24616"/>
                  <a:gd name="connsiteY16" fmla="*/ 53075 h 5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616" h="53980">
                    <a:moveTo>
                      <a:pt x="15423" y="53102"/>
                    </a:moveTo>
                    <a:lnTo>
                      <a:pt x="9550" y="53980"/>
                    </a:lnTo>
                    <a:lnTo>
                      <a:pt x="5982" y="52608"/>
                    </a:lnTo>
                    <a:lnTo>
                      <a:pt x="1015" y="45555"/>
                    </a:lnTo>
                    <a:lnTo>
                      <a:pt x="2196" y="41247"/>
                    </a:lnTo>
                    <a:lnTo>
                      <a:pt x="0" y="22558"/>
                    </a:lnTo>
                    <a:lnTo>
                      <a:pt x="1345" y="19183"/>
                    </a:lnTo>
                    <a:lnTo>
                      <a:pt x="3979" y="17920"/>
                    </a:lnTo>
                    <a:lnTo>
                      <a:pt x="6449" y="6614"/>
                    </a:lnTo>
                    <a:lnTo>
                      <a:pt x="13804" y="0"/>
                    </a:lnTo>
                    <a:lnTo>
                      <a:pt x="23299" y="8782"/>
                    </a:lnTo>
                    <a:lnTo>
                      <a:pt x="23601" y="13282"/>
                    </a:lnTo>
                    <a:lnTo>
                      <a:pt x="21433" y="19128"/>
                    </a:lnTo>
                    <a:lnTo>
                      <a:pt x="24616" y="35429"/>
                    </a:lnTo>
                    <a:lnTo>
                      <a:pt x="19621" y="47119"/>
                    </a:lnTo>
                    <a:lnTo>
                      <a:pt x="15286" y="49891"/>
                    </a:lnTo>
                    <a:lnTo>
                      <a:pt x="15450" y="530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1" name="Freeform: Shape 4070">
                <a:extLst>
                  <a:ext uri="{FF2B5EF4-FFF2-40B4-BE49-F238E27FC236}">
                    <a16:creationId xmlns:a16="http://schemas.microsoft.com/office/drawing/2014/main" id="{AFE52EA8-61F5-BB29-A58D-B711CD3AD8E8}"/>
                  </a:ext>
                </a:extLst>
              </p:cNvPr>
              <p:cNvSpPr/>
              <p:nvPr/>
            </p:nvSpPr>
            <p:spPr>
              <a:xfrm>
                <a:off x="1552147" y="3722478"/>
                <a:ext cx="44426" cy="46038"/>
              </a:xfrm>
              <a:custGeom>
                <a:avLst/>
                <a:gdLst>
                  <a:gd name="connsiteX0" fmla="*/ 343668 w 425942"/>
                  <a:gd name="connsiteY0" fmla="*/ 37130 h 441392"/>
                  <a:gd name="connsiteX1" fmla="*/ 346906 w 425942"/>
                  <a:gd name="connsiteY1" fmla="*/ 39353 h 441392"/>
                  <a:gd name="connsiteX2" fmla="*/ 358406 w 425942"/>
                  <a:gd name="connsiteY2" fmla="*/ 39134 h 441392"/>
                  <a:gd name="connsiteX3" fmla="*/ 364388 w 425942"/>
                  <a:gd name="connsiteY3" fmla="*/ 46598 h 441392"/>
                  <a:gd name="connsiteX4" fmla="*/ 378219 w 425942"/>
                  <a:gd name="connsiteY4" fmla="*/ 50961 h 441392"/>
                  <a:gd name="connsiteX5" fmla="*/ 378274 w 425942"/>
                  <a:gd name="connsiteY5" fmla="*/ 60210 h 441392"/>
                  <a:gd name="connsiteX6" fmla="*/ 388318 w 425942"/>
                  <a:gd name="connsiteY6" fmla="*/ 65451 h 441392"/>
                  <a:gd name="connsiteX7" fmla="*/ 385464 w 425942"/>
                  <a:gd name="connsiteY7" fmla="*/ 73163 h 441392"/>
                  <a:gd name="connsiteX8" fmla="*/ 378741 w 425942"/>
                  <a:gd name="connsiteY8" fmla="*/ 77417 h 441392"/>
                  <a:gd name="connsiteX9" fmla="*/ 368943 w 425942"/>
                  <a:gd name="connsiteY9" fmla="*/ 89354 h 441392"/>
                  <a:gd name="connsiteX10" fmla="*/ 373252 w 425942"/>
                  <a:gd name="connsiteY10" fmla="*/ 108894 h 441392"/>
                  <a:gd name="connsiteX11" fmla="*/ 373608 w 425942"/>
                  <a:gd name="connsiteY11" fmla="*/ 126622 h 441392"/>
                  <a:gd name="connsiteX12" fmla="*/ 375722 w 425942"/>
                  <a:gd name="connsiteY12" fmla="*/ 136254 h 441392"/>
                  <a:gd name="connsiteX13" fmla="*/ 396661 w 425942"/>
                  <a:gd name="connsiteY13" fmla="*/ 147643 h 441392"/>
                  <a:gd name="connsiteX14" fmla="*/ 405415 w 425942"/>
                  <a:gd name="connsiteY14" fmla="*/ 147341 h 441392"/>
                  <a:gd name="connsiteX15" fmla="*/ 406732 w 425942"/>
                  <a:gd name="connsiteY15" fmla="*/ 157166 h 441392"/>
                  <a:gd name="connsiteX16" fmla="*/ 416941 w 425942"/>
                  <a:gd name="connsiteY16" fmla="*/ 159032 h 441392"/>
                  <a:gd name="connsiteX17" fmla="*/ 425146 w 425942"/>
                  <a:gd name="connsiteY17" fmla="*/ 163834 h 441392"/>
                  <a:gd name="connsiteX18" fmla="*/ 425942 w 425942"/>
                  <a:gd name="connsiteY18" fmla="*/ 166771 h 441392"/>
                  <a:gd name="connsiteX19" fmla="*/ 422759 w 425942"/>
                  <a:gd name="connsiteY19" fmla="*/ 171491 h 441392"/>
                  <a:gd name="connsiteX20" fmla="*/ 412303 w 425942"/>
                  <a:gd name="connsiteY20" fmla="*/ 173906 h 441392"/>
                  <a:gd name="connsiteX21" fmla="*/ 402040 w 425942"/>
                  <a:gd name="connsiteY21" fmla="*/ 181974 h 441392"/>
                  <a:gd name="connsiteX22" fmla="*/ 401491 w 425942"/>
                  <a:gd name="connsiteY22" fmla="*/ 184856 h 441392"/>
                  <a:gd name="connsiteX23" fmla="*/ 404427 w 425942"/>
                  <a:gd name="connsiteY23" fmla="*/ 193446 h 441392"/>
                  <a:gd name="connsiteX24" fmla="*/ 402095 w 425942"/>
                  <a:gd name="connsiteY24" fmla="*/ 203737 h 441392"/>
                  <a:gd name="connsiteX25" fmla="*/ 405250 w 425942"/>
                  <a:gd name="connsiteY25" fmla="*/ 207112 h 441392"/>
                  <a:gd name="connsiteX26" fmla="*/ 398417 w 425942"/>
                  <a:gd name="connsiteY26" fmla="*/ 212079 h 441392"/>
                  <a:gd name="connsiteX27" fmla="*/ 383077 w 425942"/>
                  <a:gd name="connsiteY27" fmla="*/ 229999 h 441392"/>
                  <a:gd name="connsiteX28" fmla="*/ 383735 w 425942"/>
                  <a:gd name="connsiteY28" fmla="*/ 238232 h 441392"/>
                  <a:gd name="connsiteX29" fmla="*/ 368395 w 425942"/>
                  <a:gd name="connsiteY29" fmla="*/ 246246 h 441392"/>
                  <a:gd name="connsiteX30" fmla="*/ 364086 w 425942"/>
                  <a:gd name="connsiteY30" fmla="*/ 259775 h 441392"/>
                  <a:gd name="connsiteX31" fmla="*/ 354920 w 425942"/>
                  <a:gd name="connsiteY31" fmla="*/ 275884 h 441392"/>
                  <a:gd name="connsiteX32" fmla="*/ 337165 w 425942"/>
                  <a:gd name="connsiteY32" fmla="*/ 287410 h 441392"/>
                  <a:gd name="connsiteX33" fmla="*/ 332609 w 425942"/>
                  <a:gd name="connsiteY33" fmla="*/ 298552 h 441392"/>
                  <a:gd name="connsiteX34" fmla="*/ 325830 w 425942"/>
                  <a:gd name="connsiteY34" fmla="*/ 305907 h 441392"/>
                  <a:gd name="connsiteX35" fmla="*/ 323607 w 425942"/>
                  <a:gd name="connsiteY35" fmla="*/ 312164 h 441392"/>
                  <a:gd name="connsiteX36" fmla="*/ 293338 w 425942"/>
                  <a:gd name="connsiteY36" fmla="*/ 320671 h 441392"/>
                  <a:gd name="connsiteX37" fmla="*/ 290264 w 425942"/>
                  <a:gd name="connsiteY37" fmla="*/ 319573 h 441392"/>
                  <a:gd name="connsiteX38" fmla="*/ 285297 w 425942"/>
                  <a:gd name="connsiteY38" fmla="*/ 311011 h 441392"/>
                  <a:gd name="connsiteX39" fmla="*/ 279699 w 425942"/>
                  <a:gd name="connsiteY39" fmla="*/ 310764 h 441392"/>
                  <a:gd name="connsiteX40" fmla="*/ 274128 w 425942"/>
                  <a:gd name="connsiteY40" fmla="*/ 315429 h 441392"/>
                  <a:gd name="connsiteX41" fmla="*/ 268530 w 425942"/>
                  <a:gd name="connsiteY41" fmla="*/ 325830 h 441392"/>
                  <a:gd name="connsiteX42" fmla="*/ 256043 w 425942"/>
                  <a:gd name="connsiteY42" fmla="*/ 338976 h 441392"/>
                  <a:gd name="connsiteX43" fmla="*/ 253985 w 425942"/>
                  <a:gd name="connsiteY43" fmla="*/ 344766 h 441392"/>
                  <a:gd name="connsiteX44" fmla="*/ 253985 w 425942"/>
                  <a:gd name="connsiteY44" fmla="*/ 351929 h 441392"/>
                  <a:gd name="connsiteX45" fmla="*/ 263755 w 425942"/>
                  <a:gd name="connsiteY45" fmla="*/ 357555 h 441392"/>
                  <a:gd name="connsiteX46" fmla="*/ 272975 w 425942"/>
                  <a:gd name="connsiteY46" fmla="*/ 359091 h 441392"/>
                  <a:gd name="connsiteX47" fmla="*/ 273524 w 425942"/>
                  <a:gd name="connsiteY47" fmla="*/ 367379 h 441392"/>
                  <a:gd name="connsiteX48" fmla="*/ 271027 w 425942"/>
                  <a:gd name="connsiteY48" fmla="*/ 375008 h 441392"/>
                  <a:gd name="connsiteX49" fmla="*/ 271576 w 425942"/>
                  <a:gd name="connsiteY49" fmla="*/ 379097 h 441392"/>
                  <a:gd name="connsiteX50" fmla="*/ 277311 w 425942"/>
                  <a:gd name="connsiteY50" fmla="*/ 386672 h 441392"/>
                  <a:gd name="connsiteX51" fmla="*/ 287493 w 425942"/>
                  <a:gd name="connsiteY51" fmla="*/ 387275 h 441392"/>
                  <a:gd name="connsiteX52" fmla="*/ 287986 w 425942"/>
                  <a:gd name="connsiteY52" fmla="*/ 396661 h 441392"/>
                  <a:gd name="connsiteX53" fmla="*/ 294079 w 425942"/>
                  <a:gd name="connsiteY53" fmla="*/ 404921 h 441392"/>
                  <a:gd name="connsiteX54" fmla="*/ 299787 w 425942"/>
                  <a:gd name="connsiteY54" fmla="*/ 419082 h 441392"/>
                  <a:gd name="connsiteX55" fmla="*/ 297646 w 425942"/>
                  <a:gd name="connsiteY55" fmla="*/ 425092 h 441392"/>
                  <a:gd name="connsiteX56" fmla="*/ 300501 w 425942"/>
                  <a:gd name="connsiteY56" fmla="*/ 428742 h 441392"/>
                  <a:gd name="connsiteX57" fmla="*/ 295122 w 425942"/>
                  <a:gd name="connsiteY57" fmla="*/ 431596 h 441392"/>
                  <a:gd name="connsiteX58" fmla="*/ 294847 w 425942"/>
                  <a:gd name="connsiteY58" fmla="*/ 433517 h 441392"/>
                  <a:gd name="connsiteX59" fmla="*/ 286477 w 425942"/>
                  <a:gd name="connsiteY59" fmla="*/ 434148 h 441392"/>
                  <a:gd name="connsiteX60" fmla="*/ 284611 w 425942"/>
                  <a:gd name="connsiteY60" fmla="*/ 428467 h 441392"/>
                  <a:gd name="connsiteX61" fmla="*/ 271603 w 425942"/>
                  <a:gd name="connsiteY61" fmla="*/ 432831 h 441392"/>
                  <a:gd name="connsiteX62" fmla="*/ 270890 w 425942"/>
                  <a:gd name="connsiteY62" fmla="*/ 434669 h 441392"/>
                  <a:gd name="connsiteX63" fmla="*/ 268338 w 425942"/>
                  <a:gd name="connsiteY63" fmla="*/ 436371 h 441392"/>
                  <a:gd name="connsiteX64" fmla="*/ 262026 w 425942"/>
                  <a:gd name="connsiteY64" fmla="*/ 436316 h 441392"/>
                  <a:gd name="connsiteX65" fmla="*/ 256071 w 425942"/>
                  <a:gd name="connsiteY65" fmla="*/ 432995 h 441392"/>
                  <a:gd name="connsiteX66" fmla="*/ 252064 w 425942"/>
                  <a:gd name="connsiteY66" fmla="*/ 433215 h 441392"/>
                  <a:gd name="connsiteX67" fmla="*/ 237793 w 425942"/>
                  <a:gd name="connsiteY67" fmla="*/ 433599 h 441392"/>
                  <a:gd name="connsiteX68" fmla="*/ 236998 w 425942"/>
                  <a:gd name="connsiteY68" fmla="*/ 432776 h 441392"/>
                  <a:gd name="connsiteX69" fmla="*/ 235735 w 425942"/>
                  <a:gd name="connsiteY69" fmla="*/ 433517 h 441392"/>
                  <a:gd name="connsiteX70" fmla="*/ 229533 w 425942"/>
                  <a:gd name="connsiteY70" fmla="*/ 430608 h 441392"/>
                  <a:gd name="connsiteX71" fmla="*/ 225801 w 425942"/>
                  <a:gd name="connsiteY71" fmla="*/ 435465 h 441392"/>
                  <a:gd name="connsiteX72" fmla="*/ 220285 w 425942"/>
                  <a:gd name="connsiteY72" fmla="*/ 437578 h 441392"/>
                  <a:gd name="connsiteX73" fmla="*/ 217183 w 425942"/>
                  <a:gd name="connsiteY73" fmla="*/ 437880 h 441392"/>
                  <a:gd name="connsiteX74" fmla="*/ 216004 w 425942"/>
                  <a:gd name="connsiteY74" fmla="*/ 435054 h 441392"/>
                  <a:gd name="connsiteX75" fmla="*/ 209418 w 425942"/>
                  <a:gd name="connsiteY75" fmla="*/ 438182 h 441392"/>
                  <a:gd name="connsiteX76" fmla="*/ 205274 w 425942"/>
                  <a:gd name="connsiteY76" fmla="*/ 435877 h 441392"/>
                  <a:gd name="connsiteX77" fmla="*/ 197892 w 425942"/>
                  <a:gd name="connsiteY77" fmla="*/ 441393 h 441392"/>
                  <a:gd name="connsiteX78" fmla="*/ 195806 w 425942"/>
                  <a:gd name="connsiteY78" fmla="*/ 435959 h 441392"/>
                  <a:gd name="connsiteX79" fmla="*/ 196355 w 425942"/>
                  <a:gd name="connsiteY79" fmla="*/ 430992 h 441392"/>
                  <a:gd name="connsiteX80" fmla="*/ 192622 w 425942"/>
                  <a:gd name="connsiteY80" fmla="*/ 424625 h 441392"/>
                  <a:gd name="connsiteX81" fmla="*/ 194241 w 425942"/>
                  <a:gd name="connsiteY81" fmla="*/ 418094 h 441392"/>
                  <a:gd name="connsiteX82" fmla="*/ 188616 w 425942"/>
                  <a:gd name="connsiteY82" fmla="*/ 416063 h 441392"/>
                  <a:gd name="connsiteX83" fmla="*/ 182825 w 425942"/>
                  <a:gd name="connsiteY83" fmla="*/ 416914 h 441392"/>
                  <a:gd name="connsiteX84" fmla="*/ 177858 w 425942"/>
                  <a:gd name="connsiteY84" fmla="*/ 414608 h 441392"/>
                  <a:gd name="connsiteX85" fmla="*/ 171299 w 425942"/>
                  <a:gd name="connsiteY85" fmla="*/ 414801 h 441392"/>
                  <a:gd name="connsiteX86" fmla="*/ 172205 w 425942"/>
                  <a:gd name="connsiteY86" fmla="*/ 403604 h 441392"/>
                  <a:gd name="connsiteX87" fmla="*/ 166305 w 425942"/>
                  <a:gd name="connsiteY87" fmla="*/ 392435 h 441392"/>
                  <a:gd name="connsiteX88" fmla="*/ 161392 w 425942"/>
                  <a:gd name="connsiteY88" fmla="*/ 389827 h 441392"/>
                  <a:gd name="connsiteX89" fmla="*/ 157056 w 425942"/>
                  <a:gd name="connsiteY89" fmla="*/ 390816 h 441392"/>
                  <a:gd name="connsiteX90" fmla="*/ 150607 w 425942"/>
                  <a:gd name="connsiteY90" fmla="*/ 395837 h 441392"/>
                  <a:gd name="connsiteX91" fmla="*/ 115288 w 425942"/>
                  <a:gd name="connsiteY91" fmla="*/ 399378 h 441392"/>
                  <a:gd name="connsiteX92" fmla="*/ 110321 w 425942"/>
                  <a:gd name="connsiteY92" fmla="*/ 402863 h 441392"/>
                  <a:gd name="connsiteX93" fmla="*/ 97340 w 425942"/>
                  <a:gd name="connsiteY93" fmla="*/ 398884 h 441392"/>
                  <a:gd name="connsiteX94" fmla="*/ 95364 w 425942"/>
                  <a:gd name="connsiteY94" fmla="*/ 394301 h 441392"/>
                  <a:gd name="connsiteX95" fmla="*/ 92565 w 425942"/>
                  <a:gd name="connsiteY95" fmla="*/ 394959 h 441392"/>
                  <a:gd name="connsiteX96" fmla="*/ 91495 w 425942"/>
                  <a:gd name="connsiteY96" fmla="*/ 398170 h 441392"/>
                  <a:gd name="connsiteX97" fmla="*/ 80819 w 425942"/>
                  <a:gd name="connsiteY97" fmla="*/ 397896 h 441392"/>
                  <a:gd name="connsiteX98" fmla="*/ 75166 w 425942"/>
                  <a:gd name="connsiteY98" fmla="*/ 402369 h 441392"/>
                  <a:gd name="connsiteX99" fmla="*/ 50989 w 425942"/>
                  <a:gd name="connsiteY99" fmla="*/ 401079 h 441392"/>
                  <a:gd name="connsiteX100" fmla="*/ 43278 w 425942"/>
                  <a:gd name="connsiteY100" fmla="*/ 403631 h 441392"/>
                  <a:gd name="connsiteX101" fmla="*/ 37871 w 425942"/>
                  <a:gd name="connsiteY101" fmla="*/ 403165 h 441392"/>
                  <a:gd name="connsiteX102" fmla="*/ 27937 w 425942"/>
                  <a:gd name="connsiteY102" fmla="*/ 407885 h 441392"/>
                  <a:gd name="connsiteX103" fmla="*/ 21762 w 425942"/>
                  <a:gd name="connsiteY103" fmla="*/ 403219 h 441392"/>
                  <a:gd name="connsiteX104" fmla="*/ 23629 w 425942"/>
                  <a:gd name="connsiteY104" fmla="*/ 390623 h 441392"/>
                  <a:gd name="connsiteX105" fmla="*/ 29501 w 425942"/>
                  <a:gd name="connsiteY105" fmla="*/ 369245 h 441392"/>
                  <a:gd name="connsiteX106" fmla="*/ 40917 w 425942"/>
                  <a:gd name="connsiteY106" fmla="*/ 364745 h 441392"/>
                  <a:gd name="connsiteX107" fmla="*/ 41768 w 425942"/>
                  <a:gd name="connsiteY107" fmla="*/ 360738 h 441392"/>
                  <a:gd name="connsiteX108" fmla="*/ 44650 w 425942"/>
                  <a:gd name="connsiteY108" fmla="*/ 358872 h 441392"/>
                  <a:gd name="connsiteX109" fmla="*/ 56505 w 425942"/>
                  <a:gd name="connsiteY109" fmla="*/ 355688 h 441392"/>
                  <a:gd name="connsiteX110" fmla="*/ 67125 w 425942"/>
                  <a:gd name="connsiteY110" fmla="*/ 355359 h 441392"/>
                  <a:gd name="connsiteX111" fmla="*/ 70418 w 425942"/>
                  <a:gd name="connsiteY111" fmla="*/ 347675 h 441392"/>
                  <a:gd name="connsiteX112" fmla="*/ 71379 w 425942"/>
                  <a:gd name="connsiteY112" fmla="*/ 338893 h 441392"/>
                  <a:gd name="connsiteX113" fmla="*/ 67921 w 425942"/>
                  <a:gd name="connsiteY113" fmla="*/ 336368 h 441392"/>
                  <a:gd name="connsiteX114" fmla="*/ 60813 w 425942"/>
                  <a:gd name="connsiteY114" fmla="*/ 337439 h 441392"/>
                  <a:gd name="connsiteX115" fmla="*/ 56917 w 425942"/>
                  <a:gd name="connsiteY115" fmla="*/ 336122 h 441392"/>
                  <a:gd name="connsiteX116" fmla="*/ 58206 w 425942"/>
                  <a:gd name="connsiteY116" fmla="*/ 327367 h 441392"/>
                  <a:gd name="connsiteX117" fmla="*/ 56038 w 425942"/>
                  <a:gd name="connsiteY117" fmla="*/ 302230 h 441392"/>
                  <a:gd name="connsiteX118" fmla="*/ 50687 w 425942"/>
                  <a:gd name="connsiteY118" fmla="*/ 301955 h 441392"/>
                  <a:gd name="connsiteX119" fmla="*/ 45336 w 425942"/>
                  <a:gd name="connsiteY119" fmla="*/ 297070 h 441392"/>
                  <a:gd name="connsiteX120" fmla="*/ 34880 w 425942"/>
                  <a:gd name="connsiteY120" fmla="*/ 293942 h 441392"/>
                  <a:gd name="connsiteX121" fmla="*/ 27196 w 425942"/>
                  <a:gd name="connsiteY121" fmla="*/ 289139 h 441392"/>
                  <a:gd name="connsiteX122" fmla="*/ 18990 w 425942"/>
                  <a:gd name="connsiteY122" fmla="*/ 277668 h 441392"/>
                  <a:gd name="connsiteX123" fmla="*/ 13886 w 425942"/>
                  <a:gd name="connsiteY123" fmla="*/ 265044 h 441392"/>
                  <a:gd name="connsiteX124" fmla="*/ 0 w 425942"/>
                  <a:gd name="connsiteY124" fmla="*/ 248469 h 441392"/>
                  <a:gd name="connsiteX125" fmla="*/ 47943 w 425942"/>
                  <a:gd name="connsiteY125" fmla="*/ 264056 h 441392"/>
                  <a:gd name="connsiteX126" fmla="*/ 78487 w 425942"/>
                  <a:gd name="connsiteY126" fmla="*/ 261257 h 441392"/>
                  <a:gd name="connsiteX127" fmla="*/ 95145 w 425942"/>
                  <a:gd name="connsiteY127" fmla="*/ 263645 h 441392"/>
                  <a:gd name="connsiteX128" fmla="*/ 106177 w 425942"/>
                  <a:gd name="connsiteY128" fmla="*/ 258485 h 441392"/>
                  <a:gd name="connsiteX129" fmla="*/ 124728 w 425942"/>
                  <a:gd name="connsiteY129" fmla="*/ 259007 h 441392"/>
                  <a:gd name="connsiteX130" fmla="*/ 156946 w 425942"/>
                  <a:gd name="connsiteY130" fmla="*/ 248798 h 441392"/>
                  <a:gd name="connsiteX131" fmla="*/ 160541 w 425942"/>
                  <a:gd name="connsiteY131" fmla="*/ 244956 h 441392"/>
                  <a:gd name="connsiteX132" fmla="*/ 158675 w 425942"/>
                  <a:gd name="connsiteY132" fmla="*/ 240428 h 441392"/>
                  <a:gd name="connsiteX133" fmla="*/ 160377 w 425942"/>
                  <a:gd name="connsiteY133" fmla="*/ 233155 h 441392"/>
                  <a:gd name="connsiteX134" fmla="*/ 159745 w 425942"/>
                  <a:gd name="connsiteY134" fmla="*/ 223029 h 441392"/>
                  <a:gd name="connsiteX135" fmla="*/ 162078 w 425942"/>
                  <a:gd name="connsiteY135" fmla="*/ 213232 h 441392"/>
                  <a:gd name="connsiteX136" fmla="*/ 168445 w 425942"/>
                  <a:gd name="connsiteY136" fmla="*/ 209170 h 441392"/>
                  <a:gd name="connsiteX137" fmla="*/ 173357 w 425942"/>
                  <a:gd name="connsiteY137" fmla="*/ 202419 h 441392"/>
                  <a:gd name="connsiteX138" fmla="*/ 178352 w 425942"/>
                  <a:gd name="connsiteY138" fmla="*/ 199620 h 441392"/>
                  <a:gd name="connsiteX139" fmla="*/ 189247 w 425942"/>
                  <a:gd name="connsiteY139" fmla="*/ 202200 h 441392"/>
                  <a:gd name="connsiteX140" fmla="*/ 201130 w 425942"/>
                  <a:gd name="connsiteY140" fmla="*/ 198742 h 441392"/>
                  <a:gd name="connsiteX141" fmla="*/ 202392 w 425942"/>
                  <a:gd name="connsiteY141" fmla="*/ 196574 h 441392"/>
                  <a:gd name="connsiteX142" fmla="*/ 198824 w 425942"/>
                  <a:gd name="connsiteY142" fmla="*/ 194598 h 441392"/>
                  <a:gd name="connsiteX143" fmla="*/ 198468 w 425942"/>
                  <a:gd name="connsiteY143" fmla="*/ 191936 h 441392"/>
                  <a:gd name="connsiteX144" fmla="*/ 209390 w 425942"/>
                  <a:gd name="connsiteY144" fmla="*/ 186804 h 441392"/>
                  <a:gd name="connsiteX145" fmla="*/ 214879 w 425942"/>
                  <a:gd name="connsiteY145" fmla="*/ 181892 h 441392"/>
                  <a:gd name="connsiteX146" fmla="*/ 225773 w 425942"/>
                  <a:gd name="connsiteY146" fmla="*/ 185624 h 441392"/>
                  <a:gd name="connsiteX147" fmla="*/ 229341 w 425942"/>
                  <a:gd name="connsiteY147" fmla="*/ 183484 h 441392"/>
                  <a:gd name="connsiteX148" fmla="*/ 235872 w 425942"/>
                  <a:gd name="connsiteY148" fmla="*/ 188094 h 441392"/>
                  <a:gd name="connsiteX149" fmla="*/ 240785 w 425942"/>
                  <a:gd name="connsiteY149" fmla="*/ 186283 h 441392"/>
                  <a:gd name="connsiteX150" fmla="*/ 246795 w 425942"/>
                  <a:gd name="connsiteY150" fmla="*/ 178791 h 441392"/>
                  <a:gd name="connsiteX151" fmla="*/ 248057 w 425942"/>
                  <a:gd name="connsiteY151" fmla="*/ 175717 h 441392"/>
                  <a:gd name="connsiteX152" fmla="*/ 246795 w 425942"/>
                  <a:gd name="connsiteY152" fmla="*/ 159279 h 441392"/>
                  <a:gd name="connsiteX153" fmla="*/ 251679 w 425942"/>
                  <a:gd name="connsiteY153" fmla="*/ 152555 h 441392"/>
                  <a:gd name="connsiteX154" fmla="*/ 251296 w 425942"/>
                  <a:gd name="connsiteY154" fmla="*/ 147808 h 441392"/>
                  <a:gd name="connsiteX155" fmla="*/ 255302 w 425942"/>
                  <a:gd name="connsiteY155" fmla="*/ 138450 h 441392"/>
                  <a:gd name="connsiteX156" fmla="*/ 267925 w 425942"/>
                  <a:gd name="connsiteY156" fmla="*/ 135294 h 441392"/>
                  <a:gd name="connsiteX157" fmla="*/ 276899 w 425942"/>
                  <a:gd name="connsiteY157" fmla="*/ 127747 h 441392"/>
                  <a:gd name="connsiteX158" fmla="*/ 272701 w 425942"/>
                  <a:gd name="connsiteY158" fmla="*/ 116221 h 441392"/>
                  <a:gd name="connsiteX159" fmla="*/ 266307 w 425942"/>
                  <a:gd name="connsiteY159" fmla="*/ 110239 h 441392"/>
                  <a:gd name="connsiteX160" fmla="*/ 265786 w 425942"/>
                  <a:gd name="connsiteY160" fmla="*/ 104832 h 441392"/>
                  <a:gd name="connsiteX161" fmla="*/ 286697 w 425942"/>
                  <a:gd name="connsiteY161" fmla="*/ 106561 h 441392"/>
                  <a:gd name="connsiteX162" fmla="*/ 294024 w 425942"/>
                  <a:gd name="connsiteY162" fmla="*/ 105463 h 441392"/>
                  <a:gd name="connsiteX163" fmla="*/ 299760 w 425942"/>
                  <a:gd name="connsiteY163" fmla="*/ 101676 h 441392"/>
                  <a:gd name="connsiteX164" fmla="*/ 302147 w 425942"/>
                  <a:gd name="connsiteY164" fmla="*/ 93114 h 441392"/>
                  <a:gd name="connsiteX165" fmla="*/ 299101 w 425942"/>
                  <a:gd name="connsiteY165" fmla="*/ 87982 h 441392"/>
                  <a:gd name="connsiteX166" fmla="*/ 299211 w 425942"/>
                  <a:gd name="connsiteY166" fmla="*/ 84908 h 441392"/>
                  <a:gd name="connsiteX167" fmla="*/ 316747 w 425942"/>
                  <a:gd name="connsiteY167" fmla="*/ 62543 h 441392"/>
                  <a:gd name="connsiteX168" fmla="*/ 315018 w 425942"/>
                  <a:gd name="connsiteY168" fmla="*/ 58124 h 441392"/>
                  <a:gd name="connsiteX169" fmla="*/ 316143 w 425942"/>
                  <a:gd name="connsiteY169" fmla="*/ 52855 h 441392"/>
                  <a:gd name="connsiteX170" fmla="*/ 312987 w 425942"/>
                  <a:gd name="connsiteY170" fmla="*/ 42399 h 441392"/>
                  <a:gd name="connsiteX171" fmla="*/ 305056 w 425942"/>
                  <a:gd name="connsiteY171" fmla="*/ 31477 h 441392"/>
                  <a:gd name="connsiteX172" fmla="*/ 305660 w 425942"/>
                  <a:gd name="connsiteY172" fmla="*/ 29556 h 441392"/>
                  <a:gd name="connsiteX173" fmla="*/ 316884 w 425942"/>
                  <a:gd name="connsiteY173" fmla="*/ 17097 h 441392"/>
                  <a:gd name="connsiteX174" fmla="*/ 321083 w 425942"/>
                  <a:gd name="connsiteY174" fmla="*/ 16960 h 441392"/>
                  <a:gd name="connsiteX175" fmla="*/ 335765 w 425942"/>
                  <a:gd name="connsiteY175" fmla="*/ 5516 h 441392"/>
                  <a:gd name="connsiteX176" fmla="*/ 346001 w 425942"/>
                  <a:gd name="connsiteY176" fmla="*/ 2360 h 441392"/>
                  <a:gd name="connsiteX177" fmla="*/ 375530 w 425942"/>
                  <a:gd name="connsiteY177" fmla="*/ 0 h 441392"/>
                  <a:gd name="connsiteX178" fmla="*/ 379646 w 425942"/>
                  <a:gd name="connsiteY178" fmla="*/ 6010 h 441392"/>
                  <a:gd name="connsiteX179" fmla="*/ 360464 w 425942"/>
                  <a:gd name="connsiteY179" fmla="*/ 7602 h 441392"/>
                  <a:gd name="connsiteX180" fmla="*/ 354289 w 425942"/>
                  <a:gd name="connsiteY180" fmla="*/ 16987 h 441392"/>
                  <a:gd name="connsiteX181" fmla="*/ 344300 w 425942"/>
                  <a:gd name="connsiteY181" fmla="*/ 24973 h 441392"/>
                  <a:gd name="connsiteX182" fmla="*/ 343916 w 425942"/>
                  <a:gd name="connsiteY182" fmla="*/ 36938 h 44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425942" h="441392">
                    <a:moveTo>
                      <a:pt x="343668" y="37130"/>
                    </a:moveTo>
                    <a:lnTo>
                      <a:pt x="346906" y="39353"/>
                    </a:lnTo>
                    <a:lnTo>
                      <a:pt x="358406" y="39134"/>
                    </a:lnTo>
                    <a:lnTo>
                      <a:pt x="364388" y="46598"/>
                    </a:lnTo>
                    <a:lnTo>
                      <a:pt x="378219" y="50961"/>
                    </a:lnTo>
                    <a:lnTo>
                      <a:pt x="378274" y="60210"/>
                    </a:lnTo>
                    <a:lnTo>
                      <a:pt x="388318" y="65451"/>
                    </a:lnTo>
                    <a:lnTo>
                      <a:pt x="385464" y="73163"/>
                    </a:lnTo>
                    <a:lnTo>
                      <a:pt x="378741" y="77417"/>
                    </a:lnTo>
                    <a:lnTo>
                      <a:pt x="368943" y="89354"/>
                    </a:lnTo>
                    <a:lnTo>
                      <a:pt x="373252" y="108894"/>
                    </a:lnTo>
                    <a:lnTo>
                      <a:pt x="373608" y="126622"/>
                    </a:lnTo>
                    <a:lnTo>
                      <a:pt x="375722" y="136254"/>
                    </a:lnTo>
                    <a:lnTo>
                      <a:pt x="396661" y="147643"/>
                    </a:lnTo>
                    <a:lnTo>
                      <a:pt x="405415" y="147341"/>
                    </a:lnTo>
                    <a:lnTo>
                      <a:pt x="406732" y="157166"/>
                    </a:lnTo>
                    <a:lnTo>
                      <a:pt x="416941" y="159032"/>
                    </a:lnTo>
                    <a:lnTo>
                      <a:pt x="425146" y="163834"/>
                    </a:lnTo>
                    <a:lnTo>
                      <a:pt x="425942" y="166771"/>
                    </a:lnTo>
                    <a:lnTo>
                      <a:pt x="422759" y="171491"/>
                    </a:lnTo>
                    <a:lnTo>
                      <a:pt x="412303" y="173906"/>
                    </a:lnTo>
                    <a:lnTo>
                      <a:pt x="402040" y="181974"/>
                    </a:lnTo>
                    <a:lnTo>
                      <a:pt x="401491" y="184856"/>
                    </a:lnTo>
                    <a:lnTo>
                      <a:pt x="404427" y="193446"/>
                    </a:lnTo>
                    <a:lnTo>
                      <a:pt x="402095" y="203737"/>
                    </a:lnTo>
                    <a:lnTo>
                      <a:pt x="405250" y="207112"/>
                    </a:lnTo>
                    <a:lnTo>
                      <a:pt x="398417" y="212079"/>
                    </a:lnTo>
                    <a:lnTo>
                      <a:pt x="383077" y="229999"/>
                    </a:lnTo>
                    <a:lnTo>
                      <a:pt x="383735" y="238232"/>
                    </a:lnTo>
                    <a:lnTo>
                      <a:pt x="368395" y="246246"/>
                    </a:lnTo>
                    <a:lnTo>
                      <a:pt x="364086" y="259775"/>
                    </a:lnTo>
                    <a:lnTo>
                      <a:pt x="354920" y="275884"/>
                    </a:lnTo>
                    <a:lnTo>
                      <a:pt x="337165" y="287410"/>
                    </a:lnTo>
                    <a:lnTo>
                      <a:pt x="332609" y="298552"/>
                    </a:lnTo>
                    <a:lnTo>
                      <a:pt x="325830" y="305907"/>
                    </a:lnTo>
                    <a:lnTo>
                      <a:pt x="323607" y="312164"/>
                    </a:lnTo>
                    <a:lnTo>
                      <a:pt x="293338" y="320671"/>
                    </a:lnTo>
                    <a:lnTo>
                      <a:pt x="290264" y="319573"/>
                    </a:lnTo>
                    <a:lnTo>
                      <a:pt x="285297" y="311011"/>
                    </a:lnTo>
                    <a:lnTo>
                      <a:pt x="279699" y="310764"/>
                    </a:lnTo>
                    <a:lnTo>
                      <a:pt x="274128" y="315429"/>
                    </a:lnTo>
                    <a:lnTo>
                      <a:pt x="268530" y="325830"/>
                    </a:lnTo>
                    <a:lnTo>
                      <a:pt x="256043" y="338976"/>
                    </a:lnTo>
                    <a:lnTo>
                      <a:pt x="253985" y="344766"/>
                    </a:lnTo>
                    <a:lnTo>
                      <a:pt x="253985" y="351929"/>
                    </a:lnTo>
                    <a:cubicBezTo>
                      <a:pt x="253985" y="351929"/>
                      <a:pt x="263755" y="357555"/>
                      <a:pt x="263755" y="357555"/>
                    </a:cubicBezTo>
                    <a:lnTo>
                      <a:pt x="272975" y="359091"/>
                    </a:lnTo>
                    <a:lnTo>
                      <a:pt x="273524" y="367379"/>
                    </a:lnTo>
                    <a:lnTo>
                      <a:pt x="271027" y="375008"/>
                    </a:lnTo>
                    <a:lnTo>
                      <a:pt x="271576" y="379097"/>
                    </a:lnTo>
                    <a:lnTo>
                      <a:pt x="277311" y="386672"/>
                    </a:lnTo>
                    <a:lnTo>
                      <a:pt x="287493" y="387275"/>
                    </a:lnTo>
                    <a:lnTo>
                      <a:pt x="287986" y="396661"/>
                    </a:lnTo>
                    <a:lnTo>
                      <a:pt x="294079" y="404921"/>
                    </a:lnTo>
                    <a:lnTo>
                      <a:pt x="299787" y="419082"/>
                    </a:lnTo>
                    <a:lnTo>
                      <a:pt x="297646" y="425092"/>
                    </a:lnTo>
                    <a:lnTo>
                      <a:pt x="300501" y="428742"/>
                    </a:lnTo>
                    <a:lnTo>
                      <a:pt x="295122" y="431596"/>
                    </a:lnTo>
                    <a:lnTo>
                      <a:pt x="294847" y="433517"/>
                    </a:lnTo>
                    <a:lnTo>
                      <a:pt x="286477" y="434148"/>
                    </a:lnTo>
                    <a:lnTo>
                      <a:pt x="284611" y="428467"/>
                    </a:lnTo>
                    <a:lnTo>
                      <a:pt x="271603" y="432831"/>
                    </a:lnTo>
                    <a:lnTo>
                      <a:pt x="270890" y="434669"/>
                    </a:lnTo>
                    <a:lnTo>
                      <a:pt x="268338" y="436371"/>
                    </a:lnTo>
                    <a:lnTo>
                      <a:pt x="262026" y="436316"/>
                    </a:lnTo>
                    <a:lnTo>
                      <a:pt x="256071" y="432995"/>
                    </a:lnTo>
                    <a:lnTo>
                      <a:pt x="252064" y="433215"/>
                    </a:lnTo>
                    <a:lnTo>
                      <a:pt x="237793" y="433599"/>
                    </a:lnTo>
                    <a:lnTo>
                      <a:pt x="236998" y="432776"/>
                    </a:lnTo>
                    <a:lnTo>
                      <a:pt x="235735" y="433517"/>
                    </a:lnTo>
                    <a:lnTo>
                      <a:pt x="229533" y="430608"/>
                    </a:lnTo>
                    <a:lnTo>
                      <a:pt x="225801" y="435465"/>
                    </a:lnTo>
                    <a:lnTo>
                      <a:pt x="220285" y="437578"/>
                    </a:lnTo>
                    <a:lnTo>
                      <a:pt x="217183" y="437880"/>
                    </a:lnTo>
                    <a:lnTo>
                      <a:pt x="216004" y="435054"/>
                    </a:lnTo>
                    <a:lnTo>
                      <a:pt x="209418" y="438182"/>
                    </a:lnTo>
                    <a:lnTo>
                      <a:pt x="205274" y="435877"/>
                    </a:lnTo>
                    <a:lnTo>
                      <a:pt x="197892" y="441393"/>
                    </a:lnTo>
                    <a:lnTo>
                      <a:pt x="195806" y="435959"/>
                    </a:lnTo>
                    <a:lnTo>
                      <a:pt x="196355" y="430992"/>
                    </a:lnTo>
                    <a:lnTo>
                      <a:pt x="192622" y="424625"/>
                    </a:lnTo>
                    <a:lnTo>
                      <a:pt x="194241" y="418094"/>
                    </a:lnTo>
                    <a:lnTo>
                      <a:pt x="188616" y="416063"/>
                    </a:lnTo>
                    <a:lnTo>
                      <a:pt x="182825" y="416914"/>
                    </a:lnTo>
                    <a:lnTo>
                      <a:pt x="177858" y="414608"/>
                    </a:lnTo>
                    <a:lnTo>
                      <a:pt x="171299" y="414801"/>
                    </a:lnTo>
                    <a:lnTo>
                      <a:pt x="172205" y="403604"/>
                    </a:lnTo>
                    <a:lnTo>
                      <a:pt x="166305" y="392435"/>
                    </a:lnTo>
                    <a:lnTo>
                      <a:pt x="161392" y="389827"/>
                    </a:lnTo>
                    <a:lnTo>
                      <a:pt x="157056" y="390816"/>
                    </a:lnTo>
                    <a:lnTo>
                      <a:pt x="150607" y="395837"/>
                    </a:lnTo>
                    <a:lnTo>
                      <a:pt x="115288" y="399378"/>
                    </a:lnTo>
                    <a:lnTo>
                      <a:pt x="110321" y="402863"/>
                    </a:lnTo>
                    <a:lnTo>
                      <a:pt x="97340" y="398884"/>
                    </a:lnTo>
                    <a:lnTo>
                      <a:pt x="95364" y="394301"/>
                    </a:lnTo>
                    <a:lnTo>
                      <a:pt x="92565" y="394959"/>
                    </a:lnTo>
                    <a:lnTo>
                      <a:pt x="91495" y="398170"/>
                    </a:lnTo>
                    <a:lnTo>
                      <a:pt x="80819" y="397896"/>
                    </a:lnTo>
                    <a:lnTo>
                      <a:pt x="75166" y="402369"/>
                    </a:lnTo>
                    <a:lnTo>
                      <a:pt x="50989" y="401079"/>
                    </a:lnTo>
                    <a:lnTo>
                      <a:pt x="43278" y="403631"/>
                    </a:lnTo>
                    <a:lnTo>
                      <a:pt x="37871" y="403165"/>
                    </a:lnTo>
                    <a:lnTo>
                      <a:pt x="27937" y="407885"/>
                    </a:lnTo>
                    <a:lnTo>
                      <a:pt x="21762" y="403219"/>
                    </a:lnTo>
                    <a:lnTo>
                      <a:pt x="23629" y="390623"/>
                    </a:lnTo>
                    <a:lnTo>
                      <a:pt x="29501" y="369245"/>
                    </a:lnTo>
                    <a:lnTo>
                      <a:pt x="40917" y="364745"/>
                    </a:lnTo>
                    <a:lnTo>
                      <a:pt x="41768" y="360738"/>
                    </a:lnTo>
                    <a:lnTo>
                      <a:pt x="44650" y="358872"/>
                    </a:lnTo>
                    <a:lnTo>
                      <a:pt x="56505" y="355688"/>
                    </a:lnTo>
                    <a:lnTo>
                      <a:pt x="67125" y="355359"/>
                    </a:lnTo>
                    <a:lnTo>
                      <a:pt x="70418" y="347675"/>
                    </a:lnTo>
                    <a:lnTo>
                      <a:pt x="71379" y="338893"/>
                    </a:lnTo>
                    <a:lnTo>
                      <a:pt x="67921" y="336368"/>
                    </a:lnTo>
                    <a:lnTo>
                      <a:pt x="60813" y="337439"/>
                    </a:lnTo>
                    <a:lnTo>
                      <a:pt x="56917" y="336122"/>
                    </a:lnTo>
                    <a:lnTo>
                      <a:pt x="58206" y="327367"/>
                    </a:lnTo>
                    <a:lnTo>
                      <a:pt x="56038" y="302230"/>
                    </a:lnTo>
                    <a:lnTo>
                      <a:pt x="50687" y="301955"/>
                    </a:lnTo>
                    <a:lnTo>
                      <a:pt x="45336" y="297070"/>
                    </a:lnTo>
                    <a:lnTo>
                      <a:pt x="34880" y="293942"/>
                    </a:lnTo>
                    <a:lnTo>
                      <a:pt x="27196" y="289139"/>
                    </a:lnTo>
                    <a:lnTo>
                      <a:pt x="18990" y="277668"/>
                    </a:lnTo>
                    <a:lnTo>
                      <a:pt x="13886" y="265044"/>
                    </a:lnTo>
                    <a:lnTo>
                      <a:pt x="0" y="248469"/>
                    </a:lnTo>
                    <a:lnTo>
                      <a:pt x="47943" y="264056"/>
                    </a:lnTo>
                    <a:lnTo>
                      <a:pt x="78487" y="261257"/>
                    </a:lnTo>
                    <a:lnTo>
                      <a:pt x="95145" y="263645"/>
                    </a:lnTo>
                    <a:lnTo>
                      <a:pt x="106177" y="258485"/>
                    </a:lnTo>
                    <a:lnTo>
                      <a:pt x="124728" y="259007"/>
                    </a:lnTo>
                    <a:lnTo>
                      <a:pt x="156946" y="248798"/>
                    </a:lnTo>
                    <a:lnTo>
                      <a:pt x="160541" y="244956"/>
                    </a:lnTo>
                    <a:lnTo>
                      <a:pt x="158675" y="240428"/>
                    </a:lnTo>
                    <a:lnTo>
                      <a:pt x="160377" y="233155"/>
                    </a:lnTo>
                    <a:lnTo>
                      <a:pt x="159745" y="223029"/>
                    </a:lnTo>
                    <a:lnTo>
                      <a:pt x="162078" y="213232"/>
                    </a:lnTo>
                    <a:lnTo>
                      <a:pt x="168445" y="209170"/>
                    </a:lnTo>
                    <a:lnTo>
                      <a:pt x="173357" y="202419"/>
                    </a:lnTo>
                    <a:lnTo>
                      <a:pt x="178352" y="199620"/>
                    </a:lnTo>
                    <a:lnTo>
                      <a:pt x="189247" y="202200"/>
                    </a:lnTo>
                    <a:lnTo>
                      <a:pt x="201130" y="198742"/>
                    </a:lnTo>
                    <a:lnTo>
                      <a:pt x="202392" y="196574"/>
                    </a:lnTo>
                    <a:lnTo>
                      <a:pt x="198824" y="194598"/>
                    </a:lnTo>
                    <a:lnTo>
                      <a:pt x="198468" y="191936"/>
                    </a:lnTo>
                    <a:lnTo>
                      <a:pt x="209390" y="186804"/>
                    </a:lnTo>
                    <a:lnTo>
                      <a:pt x="214879" y="181892"/>
                    </a:lnTo>
                    <a:lnTo>
                      <a:pt x="225773" y="185624"/>
                    </a:lnTo>
                    <a:lnTo>
                      <a:pt x="229341" y="183484"/>
                    </a:lnTo>
                    <a:lnTo>
                      <a:pt x="235872" y="188094"/>
                    </a:lnTo>
                    <a:lnTo>
                      <a:pt x="240785" y="186283"/>
                    </a:lnTo>
                    <a:lnTo>
                      <a:pt x="246795" y="178791"/>
                    </a:lnTo>
                    <a:lnTo>
                      <a:pt x="248057" y="175717"/>
                    </a:lnTo>
                    <a:lnTo>
                      <a:pt x="246795" y="159279"/>
                    </a:lnTo>
                    <a:lnTo>
                      <a:pt x="251679" y="152555"/>
                    </a:lnTo>
                    <a:lnTo>
                      <a:pt x="251296" y="147808"/>
                    </a:lnTo>
                    <a:lnTo>
                      <a:pt x="255302" y="138450"/>
                    </a:lnTo>
                    <a:lnTo>
                      <a:pt x="267925" y="135294"/>
                    </a:lnTo>
                    <a:lnTo>
                      <a:pt x="276899" y="127747"/>
                    </a:lnTo>
                    <a:lnTo>
                      <a:pt x="272701" y="116221"/>
                    </a:lnTo>
                    <a:lnTo>
                      <a:pt x="266307" y="110239"/>
                    </a:lnTo>
                    <a:lnTo>
                      <a:pt x="265786" y="104832"/>
                    </a:lnTo>
                    <a:lnTo>
                      <a:pt x="286697" y="106561"/>
                    </a:lnTo>
                    <a:lnTo>
                      <a:pt x="294024" y="105463"/>
                    </a:lnTo>
                    <a:lnTo>
                      <a:pt x="299760" y="101676"/>
                    </a:lnTo>
                    <a:lnTo>
                      <a:pt x="302147" y="93114"/>
                    </a:lnTo>
                    <a:lnTo>
                      <a:pt x="299101" y="87982"/>
                    </a:lnTo>
                    <a:lnTo>
                      <a:pt x="299211" y="84908"/>
                    </a:lnTo>
                    <a:lnTo>
                      <a:pt x="316747" y="62543"/>
                    </a:lnTo>
                    <a:lnTo>
                      <a:pt x="315018" y="58124"/>
                    </a:lnTo>
                    <a:lnTo>
                      <a:pt x="316143" y="52855"/>
                    </a:lnTo>
                    <a:lnTo>
                      <a:pt x="312987" y="42399"/>
                    </a:lnTo>
                    <a:lnTo>
                      <a:pt x="305056" y="31477"/>
                    </a:lnTo>
                    <a:lnTo>
                      <a:pt x="305660" y="29556"/>
                    </a:lnTo>
                    <a:lnTo>
                      <a:pt x="316884" y="17097"/>
                    </a:lnTo>
                    <a:lnTo>
                      <a:pt x="321083" y="16960"/>
                    </a:lnTo>
                    <a:lnTo>
                      <a:pt x="335765" y="5516"/>
                    </a:lnTo>
                    <a:lnTo>
                      <a:pt x="346001" y="2360"/>
                    </a:lnTo>
                    <a:lnTo>
                      <a:pt x="375530" y="0"/>
                    </a:lnTo>
                    <a:lnTo>
                      <a:pt x="379646" y="6010"/>
                    </a:lnTo>
                    <a:lnTo>
                      <a:pt x="360464" y="7602"/>
                    </a:lnTo>
                    <a:lnTo>
                      <a:pt x="354289" y="16987"/>
                    </a:lnTo>
                    <a:lnTo>
                      <a:pt x="344300" y="24973"/>
                    </a:lnTo>
                    <a:lnTo>
                      <a:pt x="343916" y="369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2" name="Freeform: Shape 4071">
                <a:extLst>
                  <a:ext uri="{FF2B5EF4-FFF2-40B4-BE49-F238E27FC236}">
                    <a16:creationId xmlns:a16="http://schemas.microsoft.com/office/drawing/2014/main" id="{721ACAAC-F67E-FD86-5652-014055ACE234}"/>
                  </a:ext>
                </a:extLst>
              </p:cNvPr>
              <p:cNvSpPr/>
              <p:nvPr/>
            </p:nvSpPr>
            <p:spPr>
              <a:xfrm>
                <a:off x="1568666" y="3763335"/>
                <a:ext cx="844" cy="484"/>
              </a:xfrm>
              <a:custGeom>
                <a:avLst/>
                <a:gdLst>
                  <a:gd name="connsiteX0" fmla="*/ 8096 w 8095"/>
                  <a:gd name="connsiteY0" fmla="*/ 3238 h 4637"/>
                  <a:gd name="connsiteX1" fmla="*/ 6230 w 8095"/>
                  <a:gd name="connsiteY1" fmla="*/ 4638 h 4637"/>
                  <a:gd name="connsiteX2" fmla="*/ 357 w 8095"/>
                  <a:gd name="connsiteY2" fmla="*/ 2360 h 4637"/>
                  <a:gd name="connsiteX3" fmla="*/ 0 w 8095"/>
                  <a:gd name="connsiteY3" fmla="*/ 1756 h 4637"/>
                  <a:gd name="connsiteX4" fmla="*/ 2278 w 8095"/>
                  <a:gd name="connsiteY4" fmla="*/ 0 h 4637"/>
                  <a:gd name="connsiteX5" fmla="*/ 3678 w 8095"/>
                  <a:gd name="connsiteY5" fmla="*/ 1701 h 4637"/>
                  <a:gd name="connsiteX6" fmla="*/ 8096 w 8095"/>
                  <a:gd name="connsiteY6" fmla="*/ 3238 h 4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95" h="4637">
                    <a:moveTo>
                      <a:pt x="8096" y="3238"/>
                    </a:moveTo>
                    <a:lnTo>
                      <a:pt x="6230" y="4638"/>
                    </a:lnTo>
                    <a:lnTo>
                      <a:pt x="357" y="2360"/>
                    </a:lnTo>
                    <a:lnTo>
                      <a:pt x="0" y="1756"/>
                    </a:lnTo>
                    <a:lnTo>
                      <a:pt x="2278" y="0"/>
                    </a:lnTo>
                    <a:lnTo>
                      <a:pt x="3678" y="1701"/>
                    </a:lnTo>
                    <a:lnTo>
                      <a:pt x="8096"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3" name="Freeform: Shape 4072">
                <a:extLst>
                  <a:ext uri="{FF2B5EF4-FFF2-40B4-BE49-F238E27FC236}">
                    <a16:creationId xmlns:a16="http://schemas.microsoft.com/office/drawing/2014/main" id="{E42F8CED-2CD5-F73F-E7D4-377B2B9B995F}"/>
                  </a:ext>
                </a:extLst>
              </p:cNvPr>
              <p:cNvSpPr/>
              <p:nvPr/>
            </p:nvSpPr>
            <p:spPr>
              <a:xfrm>
                <a:off x="1571731" y="3767348"/>
                <a:ext cx="386" cy="346"/>
              </a:xfrm>
              <a:custGeom>
                <a:avLst/>
                <a:gdLst>
                  <a:gd name="connsiteX0" fmla="*/ 3320 w 3705"/>
                  <a:gd name="connsiteY0" fmla="*/ 2662 h 3320"/>
                  <a:gd name="connsiteX1" fmla="*/ 961 w 3705"/>
                  <a:gd name="connsiteY1" fmla="*/ 3320 h 3320"/>
                  <a:gd name="connsiteX2" fmla="*/ 0 w 3705"/>
                  <a:gd name="connsiteY2" fmla="*/ 1152 h 3320"/>
                  <a:gd name="connsiteX3" fmla="*/ 1290 w 3705"/>
                  <a:gd name="connsiteY3" fmla="*/ 0 h 3320"/>
                  <a:gd name="connsiteX4" fmla="*/ 3705 w 3705"/>
                  <a:gd name="connsiteY4" fmla="*/ 1290 h 3320"/>
                  <a:gd name="connsiteX5" fmla="*/ 3320 w 3705"/>
                  <a:gd name="connsiteY5" fmla="*/ 2662 h 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5" h="3320">
                    <a:moveTo>
                      <a:pt x="3320" y="2662"/>
                    </a:moveTo>
                    <a:lnTo>
                      <a:pt x="961" y="3320"/>
                    </a:lnTo>
                    <a:lnTo>
                      <a:pt x="0" y="1152"/>
                    </a:lnTo>
                    <a:lnTo>
                      <a:pt x="1290" y="0"/>
                    </a:lnTo>
                    <a:lnTo>
                      <a:pt x="3705" y="1290"/>
                    </a:lnTo>
                    <a:lnTo>
                      <a:pt x="3320"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4" name="Freeform: Shape 4073">
                <a:extLst>
                  <a:ext uri="{FF2B5EF4-FFF2-40B4-BE49-F238E27FC236}">
                    <a16:creationId xmlns:a16="http://schemas.microsoft.com/office/drawing/2014/main" id="{1E404716-F08C-EBB6-42CB-6531A5DADA56}"/>
                  </a:ext>
                </a:extLst>
              </p:cNvPr>
              <p:cNvSpPr/>
              <p:nvPr/>
            </p:nvSpPr>
            <p:spPr>
              <a:xfrm>
                <a:off x="1192352" y="3680190"/>
                <a:ext cx="507" cy="736"/>
              </a:xfrm>
              <a:custGeom>
                <a:avLst/>
                <a:gdLst>
                  <a:gd name="connsiteX0" fmla="*/ 4857 w 4857"/>
                  <a:gd name="connsiteY0" fmla="*/ 2388 h 7052"/>
                  <a:gd name="connsiteX1" fmla="*/ 2579 w 4857"/>
                  <a:gd name="connsiteY1" fmla="*/ 7053 h 7052"/>
                  <a:gd name="connsiteX2" fmla="*/ 631 w 4857"/>
                  <a:gd name="connsiteY2" fmla="*/ 4281 h 7052"/>
                  <a:gd name="connsiteX3" fmla="*/ 0 w 4857"/>
                  <a:gd name="connsiteY3" fmla="*/ 0 h 7052"/>
                  <a:gd name="connsiteX4" fmla="*/ 4857 w 4857"/>
                  <a:gd name="connsiteY4" fmla="*/ 2388 h 7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 h="7052">
                    <a:moveTo>
                      <a:pt x="4857" y="2388"/>
                    </a:moveTo>
                    <a:lnTo>
                      <a:pt x="2579" y="7053"/>
                    </a:lnTo>
                    <a:lnTo>
                      <a:pt x="631" y="4281"/>
                    </a:lnTo>
                    <a:lnTo>
                      <a:pt x="0" y="0"/>
                    </a:lnTo>
                    <a:lnTo>
                      <a:pt x="4857"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5" name="Freeform: Shape 4074">
                <a:extLst>
                  <a:ext uri="{FF2B5EF4-FFF2-40B4-BE49-F238E27FC236}">
                    <a16:creationId xmlns:a16="http://schemas.microsoft.com/office/drawing/2014/main" id="{A5E15BA2-244C-509E-2F30-59BD7E4E449C}"/>
                  </a:ext>
                </a:extLst>
              </p:cNvPr>
              <p:cNvSpPr/>
              <p:nvPr/>
            </p:nvSpPr>
            <p:spPr>
              <a:xfrm>
                <a:off x="1192378" y="3681178"/>
                <a:ext cx="458" cy="489"/>
              </a:xfrm>
              <a:custGeom>
                <a:avLst/>
                <a:gdLst>
                  <a:gd name="connsiteX0" fmla="*/ 4007 w 4390"/>
                  <a:gd name="connsiteY0" fmla="*/ 2854 h 4692"/>
                  <a:gd name="connsiteX1" fmla="*/ 1674 w 4390"/>
                  <a:gd name="connsiteY1" fmla="*/ 4693 h 4692"/>
                  <a:gd name="connsiteX2" fmla="*/ 0 w 4390"/>
                  <a:gd name="connsiteY2" fmla="*/ 2854 h 4692"/>
                  <a:gd name="connsiteX3" fmla="*/ 2607 w 4390"/>
                  <a:gd name="connsiteY3" fmla="*/ 0 h 4692"/>
                  <a:gd name="connsiteX4" fmla="*/ 4391 w 4390"/>
                  <a:gd name="connsiteY4" fmla="*/ 659 h 4692"/>
                  <a:gd name="connsiteX5" fmla="*/ 4007 w 4390"/>
                  <a:gd name="connsiteY5" fmla="*/ 2827 h 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0" h="4692">
                    <a:moveTo>
                      <a:pt x="4007" y="2854"/>
                    </a:moveTo>
                    <a:lnTo>
                      <a:pt x="1674" y="4693"/>
                    </a:lnTo>
                    <a:lnTo>
                      <a:pt x="0" y="2854"/>
                    </a:lnTo>
                    <a:lnTo>
                      <a:pt x="2607" y="0"/>
                    </a:lnTo>
                    <a:lnTo>
                      <a:pt x="4391" y="659"/>
                    </a:lnTo>
                    <a:lnTo>
                      <a:pt x="4007" y="28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6" name="Freeform: Shape 4075">
                <a:extLst>
                  <a:ext uri="{FF2B5EF4-FFF2-40B4-BE49-F238E27FC236}">
                    <a16:creationId xmlns:a16="http://schemas.microsoft.com/office/drawing/2014/main" id="{FB4763C6-4918-1223-A937-EE0BC9649B18}"/>
                  </a:ext>
                </a:extLst>
              </p:cNvPr>
              <p:cNvSpPr/>
              <p:nvPr/>
            </p:nvSpPr>
            <p:spPr>
              <a:xfrm>
                <a:off x="1330125" y="3818206"/>
                <a:ext cx="12600" cy="12858"/>
              </a:xfrm>
              <a:custGeom>
                <a:avLst/>
                <a:gdLst>
                  <a:gd name="connsiteX0" fmla="*/ 88970 w 120804"/>
                  <a:gd name="connsiteY0" fmla="*/ 28815 h 123273"/>
                  <a:gd name="connsiteX1" fmla="*/ 94322 w 120804"/>
                  <a:gd name="connsiteY1" fmla="*/ 40369 h 123273"/>
                  <a:gd name="connsiteX2" fmla="*/ 94431 w 120804"/>
                  <a:gd name="connsiteY2" fmla="*/ 44622 h 123273"/>
                  <a:gd name="connsiteX3" fmla="*/ 93059 w 120804"/>
                  <a:gd name="connsiteY3" fmla="*/ 51648 h 123273"/>
                  <a:gd name="connsiteX4" fmla="*/ 86830 w 120804"/>
                  <a:gd name="connsiteY4" fmla="*/ 60155 h 123273"/>
                  <a:gd name="connsiteX5" fmla="*/ 96737 w 120804"/>
                  <a:gd name="connsiteY5" fmla="*/ 66192 h 123273"/>
                  <a:gd name="connsiteX6" fmla="*/ 105409 w 120804"/>
                  <a:gd name="connsiteY6" fmla="*/ 66659 h 123273"/>
                  <a:gd name="connsiteX7" fmla="*/ 110184 w 120804"/>
                  <a:gd name="connsiteY7" fmla="*/ 76154 h 123273"/>
                  <a:gd name="connsiteX8" fmla="*/ 119459 w 120804"/>
                  <a:gd name="connsiteY8" fmla="*/ 80353 h 123273"/>
                  <a:gd name="connsiteX9" fmla="*/ 120804 w 120804"/>
                  <a:gd name="connsiteY9" fmla="*/ 94788 h 123273"/>
                  <a:gd name="connsiteX10" fmla="*/ 116248 w 120804"/>
                  <a:gd name="connsiteY10" fmla="*/ 102472 h 123273"/>
                  <a:gd name="connsiteX11" fmla="*/ 115315 w 120804"/>
                  <a:gd name="connsiteY11" fmla="*/ 108208 h 123273"/>
                  <a:gd name="connsiteX12" fmla="*/ 116880 w 120804"/>
                  <a:gd name="connsiteY12" fmla="*/ 123274 h 123273"/>
                  <a:gd name="connsiteX13" fmla="*/ 110623 w 120804"/>
                  <a:gd name="connsiteY13" fmla="*/ 122670 h 123273"/>
                  <a:gd name="connsiteX14" fmla="*/ 104887 w 120804"/>
                  <a:gd name="connsiteY14" fmla="*/ 119240 h 123273"/>
                  <a:gd name="connsiteX15" fmla="*/ 95694 w 120804"/>
                  <a:gd name="connsiteY15" fmla="*/ 116934 h 123273"/>
                  <a:gd name="connsiteX16" fmla="*/ 65644 w 120804"/>
                  <a:gd name="connsiteY16" fmla="*/ 100469 h 123273"/>
                  <a:gd name="connsiteX17" fmla="*/ 41329 w 120804"/>
                  <a:gd name="connsiteY17" fmla="*/ 77142 h 123273"/>
                  <a:gd name="connsiteX18" fmla="*/ 32328 w 120804"/>
                  <a:gd name="connsiteY18" fmla="*/ 70858 h 123273"/>
                  <a:gd name="connsiteX19" fmla="*/ 21598 w 120804"/>
                  <a:gd name="connsiteY19" fmla="*/ 66659 h 123273"/>
                  <a:gd name="connsiteX20" fmla="*/ 18250 w 120804"/>
                  <a:gd name="connsiteY20" fmla="*/ 61143 h 123273"/>
                  <a:gd name="connsiteX21" fmla="*/ 4885 w 120804"/>
                  <a:gd name="connsiteY21" fmla="*/ 54227 h 123273"/>
                  <a:gd name="connsiteX22" fmla="*/ 0 w 120804"/>
                  <a:gd name="connsiteY22" fmla="*/ 47559 h 123273"/>
                  <a:gd name="connsiteX23" fmla="*/ 2882 w 120804"/>
                  <a:gd name="connsiteY23" fmla="*/ 45994 h 123273"/>
                  <a:gd name="connsiteX24" fmla="*/ 5626 w 120804"/>
                  <a:gd name="connsiteY24" fmla="*/ 39353 h 123273"/>
                  <a:gd name="connsiteX25" fmla="*/ 25851 w 120804"/>
                  <a:gd name="connsiteY25" fmla="*/ 22037 h 123273"/>
                  <a:gd name="connsiteX26" fmla="*/ 27059 w 120804"/>
                  <a:gd name="connsiteY26" fmla="*/ 13694 h 123273"/>
                  <a:gd name="connsiteX27" fmla="*/ 34880 w 120804"/>
                  <a:gd name="connsiteY27" fmla="*/ 9386 h 123273"/>
                  <a:gd name="connsiteX28" fmla="*/ 35786 w 120804"/>
                  <a:gd name="connsiteY28" fmla="*/ 1125 h 123273"/>
                  <a:gd name="connsiteX29" fmla="*/ 40698 w 120804"/>
                  <a:gd name="connsiteY29" fmla="*/ 659 h 123273"/>
                  <a:gd name="connsiteX30" fmla="*/ 43333 w 120804"/>
                  <a:gd name="connsiteY30" fmla="*/ 2497 h 123273"/>
                  <a:gd name="connsiteX31" fmla="*/ 50989 w 120804"/>
                  <a:gd name="connsiteY31" fmla="*/ 0 h 123273"/>
                  <a:gd name="connsiteX32" fmla="*/ 58509 w 120804"/>
                  <a:gd name="connsiteY32" fmla="*/ 4309 h 123273"/>
                  <a:gd name="connsiteX33" fmla="*/ 62927 w 120804"/>
                  <a:gd name="connsiteY33" fmla="*/ 23272 h 123273"/>
                  <a:gd name="connsiteX34" fmla="*/ 60676 w 120804"/>
                  <a:gd name="connsiteY34" fmla="*/ 32602 h 123273"/>
                  <a:gd name="connsiteX35" fmla="*/ 66879 w 120804"/>
                  <a:gd name="connsiteY35" fmla="*/ 34194 h 123273"/>
                  <a:gd name="connsiteX36" fmla="*/ 71242 w 120804"/>
                  <a:gd name="connsiteY36" fmla="*/ 38530 h 123273"/>
                  <a:gd name="connsiteX37" fmla="*/ 77801 w 120804"/>
                  <a:gd name="connsiteY37" fmla="*/ 36637 h 123273"/>
                  <a:gd name="connsiteX38" fmla="*/ 83482 w 120804"/>
                  <a:gd name="connsiteY38" fmla="*/ 25055 h 123273"/>
                  <a:gd name="connsiteX39" fmla="*/ 85787 w 120804"/>
                  <a:gd name="connsiteY39" fmla="*/ 24973 h 123273"/>
                  <a:gd name="connsiteX40" fmla="*/ 88998 w 120804"/>
                  <a:gd name="connsiteY40" fmla="*/ 28788 h 123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0804" h="123273">
                    <a:moveTo>
                      <a:pt x="88970" y="28815"/>
                    </a:moveTo>
                    <a:lnTo>
                      <a:pt x="94322" y="40369"/>
                    </a:lnTo>
                    <a:lnTo>
                      <a:pt x="94431" y="44622"/>
                    </a:lnTo>
                    <a:lnTo>
                      <a:pt x="93059" y="51648"/>
                    </a:lnTo>
                    <a:lnTo>
                      <a:pt x="86830" y="60155"/>
                    </a:lnTo>
                    <a:lnTo>
                      <a:pt x="96737" y="66192"/>
                    </a:lnTo>
                    <a:lnTo>
                      <a:pt x="105409" y="66659"/>
                    </a:lnTo>
                    <a:lnTo>
                      <a:pt x="110184" y="76154"/>
                    </a:lnTo>
                    <a:lnTo>
                      <a:pt x="119459" y="80353"/>
                    </a:lnTo>
                    <a:lnTo>
                      <a:pt x="120804" y="94788"/>
                    </a:lnTo>
                    <a:lnTo>
                      <a:pt x="116248" y="102472"/>
                    </a:lnTo>
                    <a:lnTo>
                      <a:pt x="115315" y="108208"/>
                    </a:lnTo>
                    <a:lnTo>
                      <a:pt x="116880" y="123274"/>
                    </a:lnTo>
                    <a:lnTo>
                      <a:pt x="110623" y="122670"/>
                    </a:lnTo>
                    <a:lnTo>
                      <a:pt x="104887" y="119240"/>
                    </a:lnTo>
                    <a:lnTo>
                      <a:pt x="95694" y="116934"/>
                    </a:lnTo>
                    <a:lnTo>
                      <a:pt x="65644" y="100469"/>
                    </a:lnTo>
                    <a:lnTo>
                      <a:pt x="41329" y="77142"/>
                    </a:lnTo>
                    <a:lnTo>
                      <a:pt x="32328" y="70858"/>
                    </a:lnTo>
                    <a:lnTo>
                      <a:pt x="21598" y="66659"/>
                    </a:lnTo>
                    <a:lnTo>
                      <a:pt x="18250" y="61143"/>
                    </a:lnTo>
                    <a:lnTo>
                      <a:pt x="4885" y="54227"/>
                    </a:lnTo>
                    <a:lnTo>
                      <a:pt x="0" y="47559"/>
                    </a:lnTo>
                    <a:lnTo>
                      <a:pt x="2882" y="45994"/>
                    </a:lnTo>
                    <a:lnTo>
                      <a:pt x="5626" y="39353"/>
                    </a:lnTo>
                    <a:lnTo>
                      <a:pt x="25851" y="22037"/>
                    </a:lnTo>
                    <a:lnTo>
                      <a:pt x="27059" y="13694"/>
                    </a:lnTo>
                    <a:lnTo>
                      <a:pt x="34880" y="9386"/>
                    </a:lnTo>
                    <a:lnTo>
                      <a:pt x="35786" y="1125"/>
                    </a:lnTo>
                    <a:lnTo>
                      <a:pt x="40698" y="659"/>
                    </a:lnTo>
                    <a:lnTo>
                      <a:pt x="43333" y="2497"/>
                    </a:lnTo>
                    <a:lnTo>
                      <a:pt x="50989" y="0"/>
                    </a:lnTo>
                    <a:lnTo>
                      <a:pt x="58509" y="4309"/>
                    </a:lnTo>
                    <a:lnTo>
                      <a:pt x="62927" y="23272"/>
                    </a:lnTo>
                    <a:lnTo>
                      <a:pt x="60676" y="32602"/>
                    </a:lnTo>
                    <a:lnTo>
                      <a:pt x="66879" y="34194"/>
                    </a:lnTo>
                    <a:lnTo>
                      <a:pt x="71242" y="38530"/>
                    </a:lnTo>
                    <a:lnTo>
                      <a:pt x="77801" y="36637"/>
                    </a:lnTo>
                    <a:lnTo>
                      <a:pt x="83482" y="25055"/>
                    </a:lnTo>
                    <a:lnTo>
                      <a:pt x="85787" y="24973"/>
                    </a:lnTo>
                    <a:lnTo>
                      <a:pt x="88998" y="287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7" name="Freeform: Shape 4076">
                <a:extLst>
                  <a:ext uri="{FF2B5EF4-FFF2-40B4-BE49-F238E27FC236}">
                    <a16:creationId xmlns:a16="http://schemas.microsoft.com/office/drawing/2014/main" id="{C9247B29-CE18-16AC-1AFB-6A473A7FDC81}"/>
                  </a:ext>
                </a:extLst>
              </p:cNvPr>
              <p:cNvSpPr/>
              <p:nvPr/>
            </p:nvSpPr>
            <p:spPr>
              <a:xfrm>
                <a:off x="1448376" y="3936028"/>
                <a:ext cx="7333" cy="7293"/>
              </a:xfrm>
              <a:custGeom>
                <a:avLst/>
                <a:gdLst>
                  <a:gd name="connsiteX0" fmla="*/ 0 w 70309"/>
                  <a:gd name="connsiteY0" fmla="*/ 35951 h 69924"/>
                  <a:gd name="connsiteX1" fmla="*/ 9194 w 70309"/>
                  <a:gd name="connsiteY1" fmla="*/ 29721 h 69924"/>
                  <a:gd name="connsiteX2" fmla="*/ 20967 w 70309"/>
                  <a:gd name="connsiteY2" fmla="*/ 11718 h 69924"/>
                  <a:gd name="connsiteX3" fmla="*/ 29529 w 70309"/>
                  <a:gd name="connsiteY3" fmla="*/ 8672 h 69924"/>
                  <a:gd name="connsiteX4" fmla="*/ 33206 w 70309"/>
                  <a:gd name="connsiteY4" fmla="*/ 4034 h 69924"/>
                  <a:gd name="connsiteX5" fmla="*/ 46735 w 70309"/>
                  <a:gd name="connsiteY5" fmla="*/ 0 h 69924"/>
                  <a:gd name="connsiteX6" fmla="*/ 55874 w 70309"/>
                  <a:gd name="connsiteY6" fmla="*/ 8672 h 69924"/>
                  <a:gd name="connsiteX7" fmla="*/ 67263 w 70309"/>
                  <a:gd name="connsiteY7" fmla="*/ 17728 h 69924"/>
                  <a:gd name="connsiteX8" fmla="*/ 70309 w 70309"/>
                  <a:gd name="connsiteY8" fmla="*/ 27251 h 69924"/>
                  <a:gd name="connsiteX9" fmla="*/ 62240 w 70309"/>
                  <a:gd name="connsiteY9" fmla="*/ 37569 h 69924"/>
                  <a:gd name="connsiteX10" fmla="*/ 61473 w 70309"/>
                  <a:gd name="connsiteY10" fmla="*/ 45281 h 69924"/>
                  <a:gd name="connsiteX11" fmla="*/ 51977 w 70309"/>
                  <a:gd name="connsiteY11" fmla="*/ 51154 h 69924"/>
                  <a:gd name="connsiteX12" fmla="*/ 39710 w 70309"/>
                  <a:gd name="connsiteY12" fmla="*/ 53267 h 69924"/>
                  <a:gd name="connsiteX13" fmla="*/ 35292 w 70309"/>
                  <a:gd name="connsiteY13" fmla="*/ 57740 h 69924"/>
                  <a:gd name="connsiteX14" fmla="*/ 31862 w 70309"/>
                  <a:gd name="connsiteY14" fmla="*/ 67949 h 69924"/>
                  <a:gd name="connsiteX15" fmla="*/ 29281 w 70309"/>
                  <a:gd name="connsiteY15" fmla="*/ 69925 h 69924"/>
                  <a:gd name="connsiteX16" fmla="*/ 20472 w 70309"/>
                  <a:gd name="connsiteY16" fmla="*/ 67565 h 69924"/>
                  <a:gd name="connsiteX17" fmla="*/ 10483 w 70309"/>
                  <a:gd name="connsiteY17" fmla="*/ 57164 h 69924"/>
                  <a:gd name="connsiteX18" fmla="*/ 10181 w 70309"/>
                  <a:gd name="connsiteY18" fmla="*/ 53185 h 69924"/>
                  <a:gd name="connsiteX19" fmla="*/ 55 w 70309"/>
                  <a:gd name="connsiteY19" fmla="*/ 35923 h 6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309" h="69924">
                    <a:moveTo>
                      <a:pt x="0" y="35951"/>
                    </a:moveTo>
                    <a:lnTo>
                      <a:pt x="9194" y="29721"/>
                    </a:lnTo>
                    <a:lnTo>
                      <a:pt x="20967" y="11718"/>
                    </a:lnTo>
                    <a:lnTo>
                      <a:pt x="29529" y="8672"/>
                    </a:lnTo>
                    <a:lnTo>
                      <a:pt x="33206" y="4034"/>
                    </a:lnTo>
                    <a:lnTo>
                      <a:pt x="46735" y="0"/>
                    </a:lnTo>
                    <a:lnTo>
                      <a:pt x="55874" y="8672"/>
                    </a:lnTo>
                    <a:lnTo>
                      <a:pt x="67263" y="17728"/>
                    </a:lnTo>
                    <a:lnTo>
                      <a:pt x="70309" y="27251"/>
                    </a:lnTo>
                    <a:lnTo>
                      <a:pt x="62240" y="37569"/>
                    </a:lnTo>
                    <a:lnTo>
                      <a:pt x="61473" y="45281"/>
                    </a:lnTo>
                    <a:lnTo>
                      <a:pt x="51977" y="51154"/>
                    </a:lnTo>
                    <a:lnTo>
                      <a:pt x="39710" y="53267"/>
                    </a:lnTo>
                    <a:lnTo>
                      <a:pt x="35292" y="57740"/>
                    </a:lnTo>
                    <a:lnTo>
                      <a:pt x="31862" y="67949"/>
                    </a:lnTo>
                    <a:lnTo>
                      <a:pt x="29281" y="69925"/>
                    </a:lnTo>
                    <a:lnTo>
                      <a:pt x="20472" y="67565"/>
                    </a:lnTo>
                    <a:lnTo>
                      <a:pt x="10483" y="57164"/>
                    </a:lnTo>
                    <a:lnTo>
                      <a:pt x="10181" y="53185"/>
                    </a:lnTo>
                    <a:lnTo>
                      <a:pt x="55" y="359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5" name="Freeform: Shape 4124">
                <a:extLst>
                  <a:ext uri="{FF2B5EF4-FFF2-40B4-BE49-F238E27FC236}">
                    <a16:creationId xmlns:a16="http://schemas.microsoft.com/office/drawing/2014/main" id="{958BD78D-F762-4F82-64AD-DB546D3BAE2D}"/>
                  </a:ext>
                </a:extLst>
              </p:cNvPr>
              <p:cNvSpPr/>
              <p:nvPr/>
            </p:nvSpPr>
            <p:spPr>
              <a:xfrm>
                <a:off x="1394244" y="3736501"/>
                <a:ext cx="48290" cy="46945"/>
              </a:xfrm>
              <a:custGeom>
                <a:avLst/>
                <a:gdLst>
                  <a:gd name="connsiteX0" fmla="*/ 462991 w 462990"/>
                  <a:gd name="connsiteY0" fmla="*/ 52855 h 450092"/>
                  <a:gd name="connsiteX1" fmla="*/ 455032 w 462990"/>
                  <a:gd name="connsiteY1" fmla="*/ 61664 h 450092"/>
                  <a:gd name="connsiteX2" fmla="*/ 456953 w 462990"/>
                  <a:gd name="connsiteY2" fmla="*/ 75056 h 450092"/>
                  <a:gd name="connsiteX3" fmla="*/ 458655 w 462990"/>
                  <a:gd name="connsiteY3" fmla="*/ 84799 h 450092"/>
                  <a:gd name="connsiteX4" fmla="*/ 456486 w 462990"/>
                  <a:gd name="connsiteY4" fmla="*/ 92565 h 450092"/>
                  <a:gd name="connsiteX5" fmla="*/ 450229 w 462990"/>
                  <a:gd name="connsiteY5" fmla="*/ 103872 h 450092"/>
                  <a:gd name="connsiteX6" fmla="*/ 458627 w 462990"/>
                  <a:gd name="connsiteY6" fmla="*/ 136501 h 450092"/>
                  <a:gd name="connsiteX7" fmla="*/ 458627 w 462990"/>
                  <a:gd name="connsiteY7" fmla="*/ 371441 h 450092"/>
                  <a:gd name="connsiteX8" fmla="*/ 458627 w 462990"/>
                  <a:gd name="connsiteY8" fmla="*/ 381293 h 450092"/>
                  <a:gd name="connsiteX9" fmla="*/ 458627 w 462990"/>
                  <a:gd name="connsiteY9" fmla="*/ 434532 h 450092"/>
                  <a:gd name="connsiteX10" fmla="*/ 429236 w 462990"/>
                  <a:gd name="connsiteY10" fmla="*/ 434532 h 450092"/>
                  <a:gd name="connsiteX11" fmla="*/ 429236 w 462990"/>
                  <a:gd name="connsiteY11" fmla="*/ 450092 h 450092"/>
                  <a:gd name="connsiteX12" fmla="*/ 427040 w 462990"/>
                  <a:gd name="connsiteY12" fmla="*/ 448940 h 450092"/>
                  <a:gd name="connsiteX13" fmla="*/ 425202 w 462990"/>
                  <a:gd name="connsiteY13" fmla="*/ 448007 h 450092"/>
                  <a:gd name="connsiteX14" fmla="*/ 413538 w 462990"/>
                  <a:gd name="connsiteY14" fmla="*/ 441887 h 450092"/>
                  <a:gd name="connsiteX15" fmla="*/ 409587 w 462990"/>
                  <a:gd name="connsiteY15" fmla="*/ 439801 h 450092"/>
                  <a:gd name="connsiteX16" fmla="*/ 396935 w 462990"/>
                  <a:gd name="connsiteY16" fmla="*/ 433160 h 450092"/>
                  <a:gd name="connsiteX17" fmla="*/ 369931 w 462990"/>
                  <a:gd name="connsiteY17" fmla="*/ 419027 h 450092"/>
                  <a:gd name="connsiteX18" fmla="*/ 323855 w 462990"/>
                  <a:gd name="connsiteY18" fmla="*/ 394767 h 450092"/>
                  <a:gd name="connsiteX19" fmla="*/ 298415 w 462990"/>
                  <a:gd name="connsiteY19" fmla="*/ 381320 h 450092"/>
                  <a:gd name="connsiteX20" fmla="*/ 194955 w 462990"/>
                  <a:gd name="connsiteY20" fmla="*/ 326242 h 450092"/>
                  <a:gd name="connsiteX21" fmla="*/ 164466 w 462990"/>
                  <a:gd name="connsiteY21" fmla="*/ 339744 h 450092"/>
                  <a:gd name="connsiteX22" fmla="*/ 140563 w 462990"/>
                  <a:gd name="connsiteY22" fmla="*/ 350474 h 450092"/>
                  <a:gd name="connsiteX23" fmla="*/ 118554 w 462990"/>
                  <a:gd name="connsiteY23" fmla="*/ 333213 h 450092"/>
                  <a:gd name="connsiteX24" fmla="*/ 76237 w 462990"/>
                  <a:gd name="connsiteY24" fmla="*/ 323223 h 450092"/>
                  <a:gd name="connsiteX25" fmla="*/ 64656 w 462990"/>
                  <a:gd name="connsiteY25" fmla="*/ 299787 h 450092"/>
                  <a:gd name="connsiteX26" fmla="*/ 58947 w 462990"/>
                  <a:gd name="connsiteY26" fmla="*/ 300610 h 450092"/>
                  <a:gd name="connsiteX27" fmla="*/ 39655 w 462990"/>
                  <a:gd name="connsiteY27" fmla="*/ 289825 h 450092"/>
                  <a:gd name="connsiteX28" fmla="*/ 30709 w 462990"/>
                  <a:gd name="connsiteY28" fmla="*/ 291966 h 450092"/>
                  <a:gd name="connsiteX29" fmla="*/ 25550 w 462990"/>
                  <a:gd name="connsiteY29" fmla="*/ 288371 h 450092"/>
                  <a:gd name="connsiteX30" fmla="*/ 23464 w 462990"/>
                  <a:gd name="connsiteY30" fmla="*/ 283376 h 450092"/>
                  <a:gd name="connsiteX31" fmla="*/ 19101 w 462990"/>
                  <a:gd name="connsiteY31" fmla="*/ 279507 h 450092"/>
                  <a:gd name="connsiteX32" fmla="*/ 17591 w 462990"/>
                  <a:gd name="connsiteY32" fmla="*/ 263508 h 450092"/>
                  <a:gd name="connsiteX33" fmla="*/ 467 w 462990"/>
                  <a:gd name="connsiteY33" fmla="*/ 236888 h 450092"/>
                  <a:gd name="connsiteX34" fmla="*/ 3650 w 462990"/>
                  <a:gd name="connsiteY34" fmla="*/ 230356 h 450092"/>
                  <a:gd name="connsiteX35" fmla="*/ 12816 w 462990"/>
                  <a:gd name="connsiteY35" fmla="*/ 225664 h 450092"/>
                  <a:gd name="connsiteX36" fmla="*/ 14572 w 462990"/>
                  <a:gd name="connsiteY36" fmla="*/ 222535 h 450092"/>
                  <a:gd name="connsiteX37" fmla="*/ 15066 w 462990"/>
                  <a:gd name="connsiteY37" fmla="*/ 214906 h 450092"/>
                  <a:gd name="connsiteX38" fmla="*/ 11306 w 462990"/>
                  <a:gd name="connsiteY38" fmla="*/ 199730 h 450092"/>
                  <a:gd name="connsiteX39" fmla="*/ 16191 w 462990"/>
                  <a:gd name="connsiteY39" fmla="*/ 181179 h 450092"/>
                  <a:gd name="connsiteX40" fmla="*/ 12953 w 462990"/>
                  <a:gd name="connsiteY40" fmla="*/ 167375 h 450092"/>
                  <a:gd name="connsiteX41" fmla="*/ 14627 w 462990"/>
                  <a:gd name="connsiteY41" fmla="*/ 150333 h 450092"/>
                  <a:gd name="connsiteX42" fmla="*/ 11499 w 462990"/>
                  <a:gd name="connsiteY42" fmla="*/ 130546 h 450092"/>
                  <a:gd name="connsiteX43" fmla="*/ 0 w 462990"/>
                  <a:gd name="connsiteY43" fmla="*/ 105354 h 450092"/>
                  <a:gd name="connsiteX44" fmla="*/ 4309 w 462990"/>
                  <a:gd name="connsiteY44" fmla="*/ 100990 h 450092"/>
                  <a:gd name="connsiteX45" fmla="*/ 15862 w 462990"/>
                  <a:gd name="connsiteY45" fmla="*/ 95804 h 450092"/>
                  <a:gd name="connsiteX46" fmla="*/ 24095 w 462990"/>
                  <a:gd name="connsiteY46" fmla="*/ 84168 h 450092"/>
                  <a:gd name="connsiteX47" fmla="*/ 25796 w 462990"/>
                  <a:gd name="connsiteY47" fmla="*/ 75029 h 450092"/>
                  <a:gd name="connsiteX48" fmla="*/ 22366 w 462990"/>
                  <a:gd name="connsiteY48" fmla="*/ 57301 h 450092"/>
                  <a:gd name="connsiteX49" fmla="*/ 26812 w 462990"/>
                  <a:gd name="connsiteY49" fmla="*/ 51044 h 450092"/>
                  <a:gd name="connsiteX50" fmla="*/ 33563 w 462990"/>
                  <a:gd name="connsiteY50" fmla="*/ 48629 h 450092"/>
                  <a:gd name="connsiteX51" fmla="*/ 36829 w 462990"/>
                  <a:gd name="connsiteY51" fmla="*/ 41988 h 450092"/>
                  <a:gd name="connsiteX52" fmla="*/ 44183 w 462990"/>
                  <a:gd name="connsiteY52" fmla="*/ 35813 h 450092"/>
                  <a:gd name="connsiteX53" fmla="*/ 62598 w 462990"/>
                  <a:gd name="connsiteY53" fmla="*/ 25988 h 450092"/>
                  <a:gd name="connsiteX54" fmla="*/ 63970 w 462990"/>
                  <a:gd name="connsiteY54" fmla="*/ 22586 h 450092"/>
                  <a:gd name="connsiteX55" fmla="*/ 61500 w 462990"/>
                  <a:gd name="connsiteY55" fmla="*/ 17591 h 450092"/>
                  <a:gd name="connsiteX56" fmla="*/ 61500 w 462990"/>
                  <a:gd name="connsiteY56" fmla="*/ 8974 h 450092"/>
                  <a:gd name="connsiteX57" fmla="*/ 63503 w 462990"/>
                  <a:gd name="connsiteY57" fmla="*/ 0 h 450092"/>
                  <a:gd name="connsiteX58" fmla="*/ 86885 w 462990"/>
                  <a:gd name="connsiteY58" fmla="*/ 11910 h 450092"/>
                  <a:gd name="connsiteX59" fmla="*/ 98438 w 462990"/>
                  <a:gd name="connsiteY59" fmla="*/ 12926 h 450092"/>
                  <a:gd name="connsiteX60" fmla="*/ 115590 w 462990"/>
                  <a:gd name="connsiteY60" fmla="*/ 9248 h 450092"/>
                  <a:gd name="connsiteX61" fmla="*/ 122670 w 462990"/>
                  <a:gd name="connsiteY61" fmla="*/ 12569 h 450092"/>
                  <a:gd name="connsiteX62" fmla="*/ 141441 w 462990"/>
                  <a:gd name="connsiteY62" fmla="*/ 16493 h 450092"/>
                  <a:gd name="connsiteX63" fmla="*/ 146271 w 462990"/>
                  <a:gd name="connsiteY63" fmla="*/ 20472 h 450092"/>
                  <a:gd name="connsiteX64" fmla="*/ 171299 w 462990"/>
                  <a:gd name="connsiteY64" fmla="*/ 28376 h 450092"/>
                  <a:gd name="connsiteX65" fmla="*/ 174565 w 462990"/>
                  <a:gd name="connsiteY65" fmla="*/ 34166 h 450092"/>
                  <a:gd name="connsiteX66" fmla="*/ 175745 w 462990"/>
                  <a:gd name="connsiteY66" fmla="*/ 43854 h 450092"/>
                  <a:gd name="connsiteX67" fmla="*/ 179752 w 462990"/>
                  <a:gd name="connsiteY67" fmla="*/ 53486 h 450092"/>
                  <a:gd name="connsiteX68" fmla="*/ 188149 w 462990"/>
                  <a:gd name="connsiteY68" fmla="*/ 62515 h 450092"/>
                  <a:gd name="connsiteX69" fmla="*/ 198111 w 462990"/>
                  <a:gd name="connsiteY69" fmla="*/ 66522 h 450092"/>
                  <a:gd name="connsiteX70" fmla="*/ 217046 w 462990"/>
                  <a:gd name="connsiteY70" fmla="*/ 68141 h 450092"/>
                  <a:gd name="connsiteX71" fmla="*/ 238918 w 462990"/>
                  <a:gd name="connsiteY71" fmla="*/ 75002 h 450092"/>
                  <a:gd name="connsiteX72" fmla="*/ 257662 w 462990"/>
                  <a:gd name="connsiteY72" fmla="*/ 82521 h 450092"/>
                  <a:gd name="connsiteX73" fmla="*/ 278409 w 462990"/>
                  <a:gd name="connsiteY73" fmla="*/ 98383 h 450092"/>
                  <a:gd name="connsiteX74" fmla="*/ 286971 w 462990"/>
                  <a:gd name="connsiteY74" fmla="*/ 100112 h 450092"/>
                  <a:gd name="connsiteX75" fmla="*/ 303931 w 462990"/>
                  <a:gd name="connsiteY75" fmla="*/ 92153 h 450092"/>
                  <a:gd name="connsiteX76" fmla="*/ 315677 w 462990"/>
                  <a:gd name="connsiteY76" fmla="*/ 75002 h 450092"/>
                  <a:gd name="connsiteX77" fmla="*/ 316336 w 462990"/>
                  <a:gd name="connsiteY77" fmla="*/ 68635 h 450092"/>
                  <a:gd name="connsiteX78" fmla="*/ 311642 w 462990"/>
                  <a:gd name="connsiteY78" fmla="*/ 59140 h 450092"/>
                  <a:gd name="connsiteX79" fmla="*/ 309475 w 462990"/>
                  <a:gd name="connsiteY79" fmla="*/ 48382 h 450092"/>
                  <a:gd name="connsiteX80" fmla="*/ 310243 w 462990"/>
                  <a:gd name="connsiteY80" fmla="*/ 41905 h 450092"/>
                  <a:gd name="connsiteX81" fmla="*/ 314305 w 462990"/>
                  <a:gd name="connsiteY81" fmla="*/ 35292 h 450092"/>
                  <a:gd name="connsiteX82" fmla="*/ 328822 w 462990"/>
                  <a:gd name="connsiteY82" fmla="*/ 21653 h 450092"/>
                  <a:gd name="connsiteX83" fmla="*/ 341007 w 462990"/>
                  <a:gd name="connsiteY83" fmla="*/ 15149 h 450092"/>
                  <a:gd name="connsiteX84" fmla="*/ 352039 w 462990"/>
                  <a:gd name="connsiteY84" fmla="*/ 13310 h 450092"/>
                  <a:gd name="connsiteX85" fmla="*/ 361095 w 462990"/>
                  <a:gd name="connsiteY85" fmla="*/ 8150 h 450092"/>
                  <a:gd name="connsiteX86" fmla="*/ 374898 w 462990"/>
                  <a:gd name="connsiteY86" fmla="*/ 8727 h 450092"/>
                  <a:gd name="connsiteX87" fmla="*/ 402067 w 462990"/>
                  <a:gd name="connsiteY87" fmla="*/ 18551 h 450092"/>
                  <a:gd name="connsiteX88" fmla="*/ 404016 w 462990"/>
                  <a:gd name="connsiteY88" fmla="*/ 24973 h 450092"/>
                  <a:gd name="connsiteX89" fmla="*/ 402863 w 462990"/>
                  <a:gd name="connsiteY89" fmla="*/ 29089 h 450092"/>
                  <a:gd name="connsiteX90" fmla="*/ 407912 w 462990"/>
                  <a:gd name="connsiteY90" fmla="*/ 33069 h 450092"/>
                  <a:gd name="connsiteX91" fmla="*/ 422019 w 462990"/>
                  <a:gd name="connsiteY91" fmla="*/ 34935 h 450092"/>
                  <a:gd name="connsiteX92" fmla="*/ 433105 w 462990"/>
                  <a:gd name="connsiteY92" fmla="*/ 40286 h 450092"/>
                  <a:gd name="connsiteX93" fmla="*/ 457337 w 462990"/>
                  <a:gd name="connsiteY93" fmla="*/ 41659 h 450092"/>
                  <a:gd name="connsiteX94" fmla="*/ 462991 w 462990"/>
                  <a:gd name="connsiteY94" fmla="*/ 52828 h 45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62990" h="450092">
                    <a:moveTo>
                      <a:pt x="462991" y="52855"/>
                    </a:moveTo>
                    <a:lnTo>
                      <a:pt x="455032" y="61664"/>
                    </a:lnTo>
                    <a:lnTo>
                      <a:pt x="456953" y="75056"/>
                    </a:lnTo>
                    <a:lnTo>
                      <a:pt x="458655" y="84799"/>
                    </a:lnTo>
                    <a:lnTo>
                      <a:pt x="456486" y="92565"/>
                    </a:lnTo>
                    <a:lnTo>
                      <a:pt x="450229" y="103872"/>
                    </a:lnTo>
                    <a:lnTo>
                      <a:pt x="458627" y="136501"/>
                    </a:lnTo>
                    <a:lnTo>
                      <a:pt x="458627" y="371441"/>
                    </a:lnTo>
                    <a:cubicBezTo>
                      <a:pt x="458627" y="371441"/>
                      <a:pt x="458627" y="381293"/>
                      <a:pt x="458627" y="381293"/>
                    </a:cubicBezTo>
                    <a:lnTo>
                      <a:pt x="458627" y="434532"/>
                    </a:lnTo>
                    <a:lnTo>
                      <a:pt x="429236" y="434532"/>
                    </a:lnTo>
                    <a:lnTo>
                      <a:pt x="429236" y="450092"/>
                    </a:lnTo>
                    <a:cubicBezTo>
                      <a:pt x="429236" y="450092"/>
                      <a:pt x="427040" y="448940"/>
                      <a:pt x="427040" y="448940"/>
                    </a:cubicBezTo>
                    <a:lnTo>
                      <a:pt x="425202" y="448007"/>
                    </a:lnTo>
                    <a:lnTo>
                      <a:pt x="413538" y="441887"/>
                    </a:lnTo>
                    <a:lnTo>
                      <a:pt x="409587" y="439801"/>
                    </a:lnTo>
                    <a:lnTo>
                      <a:pt x="396935" y="433160"/>
                    </a:lnTo>
                    <a:lnTo>
                      <a:pt x="369931" y="419027"/>
                    </a:lnTo>
                    <a:lnTo>
                      <a:pt x="323855" y="394767"/>
                    </a:lnTo>
                    <a:lnTo>
                      <a:pt x="298415" y="381320"/>
                    </a:lnTo>
                    <a:lnTo>
                      <a:pt x="194955" y="326242"/>
                    </a:lnTo>
                    <a:lnTo>
                      <a:pt x="164466" y="339744"/>
                    </a:lnTo>
                    <a:lnTo>
                      <a:pt x="140563" y="350474"/>
                    </a:lnTo>
                    <a:lnTo>
                      <a:pt x="118554" y="333213"/>
                    </a:lnTo>
                    <a:lnTo>
                      <a:pt x="76237" y="323223"/>
                    </a:lnTo>
                    <a:lnTo>
                      <a:pt x="64656" y="299787"/>
                    </a:lnTo>
                    <a:lnTo>
                      <a:pt x="58947" y="300610"/>
                    </a:lnTo>
                    <a:lnTo>
                      <a:pt x="39655" y="289825"/>
                    </a:lnTo>
                    <a:lnTo>
                      <a:pt x="30709" y="291966"/>
                    </a:lnTo>
                    <a:lnTo>
                      <a:pt x="25550" y="288371"/>
                    </a:lnTo>
                    <a:lnTo>
                      <a:pt x="23464" y="283376"/>
                    </a:lnTo>
                    <a:lnTo>
                      <a:pt x="19101" y="279507"/>
                    </a:lnTo>
                    <a:lnTo>
                      <a:pt x="17591" y="263508"/>
                    </a:lnTo>
                    <a:lnTo>
                      <a:pt x="467" y="236888"/>
                    </a:lnTo>
                    <a:lnTo>
                      <a:pt x="3650" y="230356"/>
                    </a:lnTo>
                    <a:lnTo>
                      <a:pt x="12816" y="225664"/>
                    </a:lnTo>
                    <a:lnTo>
                      <a:pt x="14572" y="222535"/>
                    </a:lnTo>
                    <a:lnTo>
                      <a:pt x="15066" y="214906"/>
                    </a:lnTo>
                    <a:lnTo>
                      <a:pt x="11306" y="199730"/>
                    </a:lnTo>
                    <a:lnTo>
                      <a:pt x="16191" y="181179"/>
                    </a:lnTo>
                    <a:lnTo>
                      <a:pt x="12953" y="167375"/>
                    </a:lnTo>
                    <a:lnTo>
                      <a:pt x="14627" y="150333"/>
                    </a:lnTo>
                    <a:lnTo>
                      <a:pt x="11499" y="130546"/>
                    </a:lnTo>
                    <a:lnTo>
                      <a:pt x="0" y="105354"/>
                    </a:lnTo>
                    <a:lnTo>
                      <a:pt x="4309" y="100990"/>
                    </a:lnTo>
                    <a:lnTo>
                      <a:pt x="15862" y="95804"/>
                    </a:lnTo>
                    <a:lnTo>
                      <a:pt x="24095" y="84168"/>
                    </a:lnTo>
                    <a:lnTo>
                      <a:pt x="25796" y="75029"/>
                    </a:lnTo>
                    <a:lnTo>
                      <a:pt x="22366" y="57301"/>
                    </a:lnTo>
                    <a:lnTo>
                      <a:pt x="26812" y="51044"/>
                    </a:lnTo>
                    <a:lnTo>
                      <a:pt x="33563" y="48629"/>
                    </a:lnTo>
                    <a:lnTo>
                      <a:pt x="36829" y="41988"/>
                    </a:lnTo>
                    <a:lnTo>
                      <a:pt x="44183" y="35813"/>
                    </a:lnTo>
                    <a:lnTo>
                      <a:pt x="62598" y="25988"/>
                    </a:lnTo>
                    <a:lnTo>
                      <a:pt x="63970" y="22586"/>
                    </a:lnTo>
                    <a:lnTo>
                      <a:pt x="61500" y="17591"/>
                    </a:lnTo>
                    <a:lnTo>
                      <a:pt x="61500" y="8974"/>
                    </a:lnTo>
                    <a:cubicBezTo>
                      <a:pt x="61500" y="8974"/>
                      <a:pt x="63503" y="0"/>
                      <a:pt x="63503" y="0"/>
                    </a:cubicBezTo>
                    <a:lnTo>
                      <a:pt x="86885" y="11910"/>
                    </a:lnTo>
                    <a:lnTo>
                      <a:pt x="98438" y="12926"/>
                    </a:lnTo>
                    <a:lnTo>
                      <a:pt x="115590" y="9248"/>
                    </a:lnTo>
                    <a:lnTo>
                      <a:pt x="122670" y="12569"/>
                    </a:lnTo>
                    <a:lnTo>
                      <a:pt x="141441" y="16493"/>
                    </a:lnTo>
                    <a:lnTo>
                      <a:pt x="146271" y="20472"/>
                    </a:lnTo>
                    <a:lnTo>
                      <a:pt x="171299" y="28376"/>
                    </a:lnTo>
                    <a:lnTo>
                      <a:pt x="174565" y="34166"/>
                    </a:lnTo>
                    <a:lnTo>
                      <a:pt x="175745" y="43854"/>
                    </a:lnTo>
                    <a:lnTo>
                      <a:pt x="179752" y="53486"/>
                    </a:lnTo>
                    <a:lnTo>
                      <a:pt x="188149" y="62515"/>
                    </a:lnTo>
                    <a:lnTo>
                      <a:pt x="198111" y="66522"/>
                    </a:lnTo>
                    <a:lnTo>
                      <a:pt x="217046" y="68141"/>
                    </a:lnTo>
                    <a:lnTo>
                      <a:pt x="238918" y="75002"/>
                    </a:lnTo>
                    <a:lnTo>
                      <a:pt x="257662" y="82521"/>
                    </a:lnTo>
                    <a:lnTo>
                      <a:pt x="278409" y="98383"/>
                    </a:lnTo>
                    <a:lnTo>
                      <a:pt x="286971" y="100112"/>
                    </a:lnTo>
                    <a:lnTo>
                      <a:pt x="303931" y="92153"/>
                    </a:lnTo>
                    <a:lnTo>
                      <a:pt x="315677" y="75002"/>
                    </a:lnTo>
                    <a:lnTo>
                      <a:pt x="316336" y="68635"/>
                    </a:lnTo>
                    <a:lnTo>
                      <a:pt x="311642" y="59140"/>
                    </a:lnTo>
                    <a:lnTo>
                      <a:pt x="309475" y="48382"/>
                    </a:lnTo>
                    <a:lnTo>
                      <a:pt x="310243" y="41905"/>
                    </a:lnTo>
                    <a:lnTo>
                      <a:pt x="314305" y="35292"/>
                    </a:lnTo>
                    <a:lnTo>
                      <a:pt x="328822" y="21653"/>
                    </a:lnTo>
                    <a:lnTo>
                      <a:pt x="341007" y="15149"/>
                    </a:lnTo>
                    <a:lnTo>
                      <a:pt x="352039" y="13310"/>
                    </a:lnTo>
                    <a:lnTo>
                      <a:pt x="361095" y="8150"/>
                    </a:lnTo>
                    <a:lnTo>
                      <a:pt x="374898" y="8727"/>
                    </a:lnTo>
                    <a:lnTo>
                      <a:pt x="402067" y="18551"/>
                    </a:lnTo>
                    <a:lnTo>
                      <a:pt x="404016" y="24973"/>
                    </a:lnTo>
                    <a:lnTo>
                      <a:pt x="402863" y="29089"/>
                    </a:lnTo>
                    <a:lnTo>
                      <a:pt x="407912" y="33069"/>
                    </a:lnTo>
                    <a:lnTo>
                      <a:pt x="422019" y="34935"/>
                    </a:lnTo>
                    <a:lnTo>
                      <a:pt x="433105" y="40286"/>
                    </a:lnTo>
                    <a:lnTo>
                      <a:pt x="457337" y="41659"/>
                    </a:lnTo>
                    <a:lnTo>
                      <a:pt x="462991" y="528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6" name="Freeform: Shape 4125">
                <a:extLst>
                  <a:ext uri="{FF2B5EF4-FFF2-40B4-BE49-F238E27FC236}">
                    <a16:creationId xmlns:a16="http://schemas.microsoft.com/office/drawing/2014/main" id="{7535EECD-882B-6F93-AE20-98958BE23E2D}"/>
                  </a:ext>
                </a:extLst>
              </p:cNvPr>
              <p:cNvSpPr/>
              <p:nvPr/>
            </p:nvSpPr>
            <p:spPr>
              <a:xfrm>
                <a:off x="1325038" y="3726265"/>
                <a:ext cx="37279" cy="29831"/>
              </a:xfrm>
              <a:custGeom>
                <a:avLst/>
                <a:gdLst>
                  <a:gd name="connsiteX0" fmla="*/ 229753 w 357417"/>
                  <a:gd name="connsiteY0" fmla="*/ 1592 h 286010"/>
                  <a:gd name="connsiteX1" fmla="*/ 229615 w 357417"/>
                  <a:gd name="connsiteY1" fmla="*/ 2223 h 286010"/>
                  <a:gd name="connsiteX2" fmla="*/ 229451 w 357417"/>
                  <a:gd name="connsiteY2" fmla="*/ 2470 h 286010"/>
                  <a:gd name="connsiteX3" fmla="*/ 229451 w 357417"/>
                  <a:gd name="connsiteY3" fmla="*/ 2799 h 286010"/>
                  <a:gd name="connsiteX4" fmla="*/ 229670 w 357417"/>
                  <a:gd name="connsiteY4" fmla="*/ 5351 h 286010"/>
                  <a:gd name="connsiteX5" fmla="*/ 229999 w 357417"/>
                  <a:gd name="connsiteY5" fmla="*/ 7245 h 286010"/>
                  <a:gd name="connsiteX6" fmla="*/ 230191 w 357417"/>
                  <a:gd name="connsiteY6" fmla="*/ 7904 h 286010"/>
                  <a:gd name="connsiteX7" fmla="*/ 230466 w 357417"/>
                  <a:gd name="connsiteY7" fmla="*/ 8398 h 286010"/>
                  <a:gd name="connsiteX8" fmla="*/ 230877 w 357417"/>
                  <a:gd name="connsiteY8" fmla="*/ 8398 h 286010"/>
                  <a:gd name="connsiteX9" fmla="*/ 231344 w 357417"/>
                  <a:gd name="connsiteY9" fmla="*/ 8260 h 286010"/>
                  <a:gd name="connsiteX10" fmla="*/ 231838 w 357417"/>
                  <a:gd name="connsiteY10" fmla="*/ 8343 h 286010"/>
                  <a:gd name="connsiteX11" fmla="*/ 231646 w 357417"/>
                  <a:gd name="connsiteY11" fmla="*/ 8919 h 286010"/>
                  <a:gd name="connsiteX12" fmla="*/ 231564 w 357417"/>
                  <a:gd name="connsiteY12" fmla="*/ 9138 h 286010"/>
                  <a:gd name="connsiteX13" fmla="*/ 232113 w 357417"/>
                  <a:gd name="connsiteY13" fmla="*/ 11334 h 286010"/>
                  <a:gd name="connsiteX14" fmla="*/ 232826 w 357417"/>
                  <a:gd name="connsiteY14" fmla="*/ 13227 h 286010"/>
                  <a:gd name="connsiteX15" fmla="*/ 233018 w 357417"/>
                  <a:gd name="connsiteY15" fmla="*/ 13337 h 286010"/>
                  <a:gd name="connsiteX16" fmla="*/ 233265 w 357417"/>
                  <a:gd name="connsiteY16" fmla="*/ 13255 h 286010"/>
                  <a:gd name="connsiteX17" fmla="*/ 233649 w 357417"/>
                  <a:gd name="connsiteY17" fmla="*/ 13667 h 286010"/>
                  <a:gd name="connsiteX18" fmla="*/ 233979 w 357417"/>
                  <a:gd name="connsiteY18" fmla="*/ 13557 h 286010"/>
                  <a:gd name="connsiteX19" fmla="*/ 234226 w 357417"/>
                  <a:gd name="connsiteY19" fmla="*/ 13749 h 286010"/>
                  <a:gd name="connsiteX20" fmla="*/ 234500 w 357417"/>
                  <a:gd name="connsiteY20" fmla="*/ 13749 h 286010"/>
                  <a:gd name="connsiteX21" fmla="*/ 234802 w 357417"/>
                  <a:gd name="connsiteY21" fmla="*/ 13913 h 286010"/>
                  <a:gd name="connsiteX22" fmla="*/ 235433 w 357417"/>
                  <a:gd name="connsiteY22" fmla="*/ 14902 h 286010"/>
                  <a:gd name="connsiteX23" fmla="*/ 236805 w 357417"/>
                  <a:gd name="connsiteY23" fmla="*/ 15945 h 286010"/>
                  <a:gd name="connsiteX24" fmla="*/ 238095 w 357417"/>
                  <a:gd name="connsiteY24" fmla="*/ 18387 h 286010"/>
                  <a:gd name="connsiteX25" fmla="*/ 238973 w 357417"/>
                  <a:gd name="connsiteY25" fmla="*/ 18661 h 286010"/>
                  <a:gd name="connsiteX26" fmla="*/ 239440 w 357417"/>
                  <a:gd name="connsiteY26" fmla="*/ 18579 h 286010"/>
                  <a:gd name="connsiteX27" fmla="*/ 240126 w 357417"/>
                  <a:gd name="connsiteY27" fmla="*/ 19457 h 286010"/>
                  <a:gd name="connsiteX28" fmla="*/ 240977 w 357417"/>
                  <a:gd name="connsiteY28" fmla="*/ 20225 h 286010"/>
                  <a:gd name="connsiteX29" fmla="*/ 242074 w 357417"/>
                  <a:gd name="connsiteY29" fmla="*/ 21625 h 286010"/>
                  <a:gd name="connsiteX30" fmla="*/ 242897 w 357417"/>
                  <a:gd name="connsiteY30" fmla="*/ 22092 h 286010"/>
                  <a:gd name="connsiteX31" fmla="*/ 243501 w 357417"/>
                  <a:gd name="connsiteY31" fmla="*/ 22256 h 286010"/>
                  <a:gd name="connsiteX32" fmla="*/ 243803 w 357417"/>
                  <a:gd name="connsiteY32" fmla="*/ 22256 h 286010"/>
                  <a:gd name="connsiteX33" fmla="*/ 244160 w 357417"/>
                  <a:gd name="connsiteY33" fmla="*/ 22640 h 286010"/>
                  <a:gd name="connsiteX34" fmla="*/ 244462 w 357417"/>
                  <a:gd name="connsiteY34" fmla="*/ 23052 h 286010"/>
                  <a:gd name="connsiteX35" fmla="*/ 245285 w 357417"/>
                  <a:gd name="connsiteY35" fmla="*/ 23793 h 286010"/>
                  <a:gd name="connsiteX36" fmla="*/ 245862 w 357417"/>
                  <a:gd name="connsiteY36" fmla="*/ 24013 h 286010"/>
                  <a:gd name="connsiteX37" fmla="*/ 246355 w 357417"/>
                  <a:gd name="connsiteY37" fmla="*/ 24507 h 286010"/>
                  <a:gd name="connsiteX38" fmla="*/ 246795 w 357417"/>
                  <a:gd name="connsiteY38" fmla="*/ 24671 h 286010"/>
                  <a:gd name="connsiteX39" fmla="*/ 247234 w 357417"/>
                  <a:gd name="connsiteY39" fmla="*/ 24973 h 286010"/>
                  <a:gd name="connsiteX40" fmla="*/ 247727 w 357417"/>
                  <a:gd name="connsiteY40" fmla="*/ 25055 h 286010"/>
                  <a:gd name="connsiteX41" fmla="*/ 248167 w 357417"/>
                  <a:gd name="connsiteY41" fmla="*/ 25302 h 286010"/>
                  <a:gd name="connsiteX42" fmla="*/ 249401 w 357417"/>
                  <a:gd name="connsiteY42" fmla="*/ 25742 h 286010"/>
                  <a:gd name="connsiteX43" fmla="*/ 249704 w 357417"/>
                  <a:gd name="connsiteY43" fmla="*/ 25687 h 286010"/>
                  <a:gd name="connsiteX44" fmla="*/ 249896 w 357417"/>
                  <a:gd name="connsiteY44" fmla="*/ 25495 h 286010"/>
                  <a:gd name="connsiteX45" fmla="*/ 250088 w 357417"/>
                  <a:gd name="connsiteY45" fmla="*/ 25495 h 286010"/>
                  <a:gd name="connsiteX46" fmla="*/ 250307 w 357417"/>
                  <a:gd name="connsiteY46" fmla="*/ 25440 h 286010"/>
                  <a:gd name="connsiteX47" fmla="*/ 250801 w 357417"/>
                  <a:gd name="connsiteY47" fmla="*/ 26043 h 286010"/>
                  <a:gd name="connsiteX48" fmla="*/ 251405 w 357417"/>
                  <a:gd name="connsiteY48" fmla="*/ 26318 h 286010"/>
                  <a:gd name="connsiteX49" fmla="*/ 251707 w 357417"/>
                  <a:gd name="connsiteY49" fmla="*/ 26373 h 286010"/>
                  <a:gd name="connsiteX50" fmla="*/ 252091 w 357417"/>
                  <a:gd name="connsiteY50" fmla="*/ 26236 h 286010"/>
                  <a:gd name="connsiteX51" fmla="*/ 254067 w 357417"/>
                  <a:gd name="connsiteY51" fmla="*/ 26812 h 286010"/>
                  <a:gd name="connsiteX52" fmla="*/ 254890 w 357417"/>
                  <a:gd name="connsiteY52" fmla="*/ 26812 h 286010"/>
                  <a:gd name="connsiteX53" fmla="*/ 256372 w 357417"/>
                  <a:gd name="connsiteY53" fmla="*/ 27443 h 286010"/>
                  <a:gd name="connsiteX54" fmla="*/ 256921 w 357417"/>
                  <a:gd name="connsiteY54" fmla="*/ 27580 h 286010"/>
                  <a:gd name="connsiteX55" fmla="*/ 257525 w 357417"/>
                  <a:gd name="connsiteY55" fmla="*/ 27443 h 286010"/>
                  <a:gd name="connsiteX56" fmla="*/ 257964 w 357417"/>
                  <a:gd name="connsiteY56" fmla="*/ 27608 h 286010"/>
                  <a:gd name="connsiteX57" fmla="*/ 258293 w 357417"/>
                  <a:gd name="connsiteY57" fmla="*/ 27608 h 286010"/>
                  <a:gd name="connsiteX58" fmla="*/ 258458 w 357417"/>
                  <a:gd name="connsiteY58" fmla="*/ 27800 h 286010"/>
                  <a:gd name="connsiteX59" fmla="*/ 258595 w 357417"/>
                  <a:gd name="connsiteY59" fmla="*/ 27717 h 286010"/>
                  <a:gd name="connsiteX60" fmla="*/ 258979 w 357417"/>
                  <a:gd name="connsiteY60" fmla="*/ 27827 h 286010"/>
                  <a:gd name="connsiteX61" fmla="*/ 259473 w 357417"/>
                  <a:gd name="connsiteY61" fmla="*/ 27470 h 286010"/>
                  <a:gd name="connsiteX62" fmla="*/ 259885 w 357417"/>
                  <a:gd name="connsiteY62" fmla="*/ 27470 h 286010"/>
                  <a:gd name="connsiteX63" fmla="*/ 260242 w 357417"/>
                  <a:gd name="connsiteY63" fmla="*/ 27141 h 286010"/>
                  <a:gd name="connsiteX64" fmla="*/ 260434 w 357417"/>
                  <a:gd name="connsiteY64" fmla="*/ 27059 h 286010"/>
                  <a:gd name="connsiteX65" fmla="*/ 260653 w 357417"/>
                  <a:gd name="connsiteY65" fmla="*/ 27059 h 286010"/>
                  <a:gd name="connsiteX66" fmla="*/ 260818 w 357417"/>
                  <a:gd name="connsiteY66" fmla="*/ 26976 h 286010"/>
                  <a:gd name="connsiteX67" fmla="*/ 260928 w 357417"/>
                  <a:gd name="connsiteY67" fmla="*/ 26922 h 286010"/>
                  <a:gd name="connsiteX68" fmla="*/ 261065 w 357417"/>
                  <a:gd name="connsiteY68" fmla="*/ 26592 h 286010"/>
                  <a:gd name="connsiteX69" fmla="*/ 261175 w 357417"/>
                  <a:gd name="connsiteY69" fmla="*/ 26702 h 286010"/>
                  <a:gd name="connsiteX70" fmla="*/ 262108 w 357417"/>
                  <a:gd name="connsiteY70" fmla="*/ 26345 h 286010"/>
                  <a:gd name="connsiteX71" fmla="*/ 262437 w 357417"/>
                  <a:gd name="connsiteY71" fmla="*/ 26455 h 286010"/>
                  <a:gd name="connsiteX72" fmla="*/ 262821 w 357417"/>
                  <a:gd name="connsiteY72" fmla="*/ 26455 h 286010"/>
                  <a:gd name="connsiteX73" fmla="*/ 263068 w 357417"/>
                  <a:gd name="connsiteY73" fmla="*/ 26455 h 286010"/>
                  <a:gd name="connsiteX74" fmla="*/ 263178 w 357417"/>
                  <a:gd name="connsiteY74" fmla="*/ 26400 h 286010"/>
                  <a:gd name="connsiteX75" fmla="*/ 263233 w 357417"/>
                  <a:gd name="connsiteY75" fmla="*/ 26290 h 286010"/>
                  <a:gd name="connsiteX76" fmla="*/ 263370 w 357417"/>
                  <a:gd name="connsiteY76" fmla="*/ 26290 h 286010"/>
                  <a:gd name="connsiteX77" fmla="*/ 263946 w 357417"/>
                  <a:gd name="connsiteY77" fmla="*/ 25933 h 286010"/>
                  <a:gd name="connsiteX78" fmla="*/ 264331 w 357417"/>
                  <a:gd name="connsiteY78" fmla="*/ 25933 h 286010"/>
                  <a:gd name="connsiteX79" fmla="*/ 264715 w 357417"/>
                  <a:gd name="connsiteY79" fmla="*/ 25796 h 286010"/>
                  <a:gd name="connsiteX80" fmla="*/ 264825 w 357417"/>
                  <a:gd name="connsiteY80" fmla="*/ 25796 h 286010"/>
                  <a:gd name="connsiteX81" fmla="*/ 265017 w 357417"/>
                  <a:gd name="connsiteY81" fmla="*/ 25961 h 286010"/>
                  <a:gd name="connsiteX82" fmla="*/ 265181 w 357417"/>
                  <a:gd name="connsiteY82" fmla="*/ 25906 h 286010"/>
                  <a:gd name="connsiteX83" fmla="*/ 265456 w 357417"/>
                  <a:gd name="connsiteY83" fmla="*/ 25906 h 286010"/>
                  <a:gd name="connsiteX84" fmla="*/ 265648 w 357417"/>
                  <a:gd name="connsiteY84" fmla="*/ 25824 h 286010"/>
                  <a:gd name="connsiteX85" fmla="*/ 266252 w 357417"/>
                  <a:gd name="connsiteY85" fmla="*/ 25632 h 286010"/>
                  <a:gd name="connsiteX86" fmla="*/ 266883 w 357417"/>
                  <a:gd name="connsiteY86" fmla="*/ 25138 h 286010"/>
                  <a:gd name="connsiteX87" fmla="*/ 267487 w 357417"/>
                  <a:gd name="connsiteY87" fmla="*/ 24973 h 286010"/>
                  <a:gd name="connsiteX88" fmla="*/ 267706 w 357417"/>
                  <a:gd name="connsiteY88" fmla="*/ 24809 h 286010"/>
                  <a:gd name="connsiteX89" fmla="*/ 267953 w 357417"/>
                  <a:gd name="connsiteY89" fmla="*/ 24809 h 286010"/>
                  <a:gd name="connsiteX90" fmla="*/ 268282 w 357417"/>
                  <a:gd name="connsiteY90" fmla="*/ 24589 h 286010"/>
                  <a:gd name="connsiteX91" fmla="*/ 268502 w 357417"/>
                  <a:gd name="connsiteY91" fmla="*/ 24589 h 286010"/>
                  <a:gd name="connsiteX92" fmla="*/ 269023 w 357417"/>
                  <a:gd name="connsiteY92" fmla="*/ 24397 h 286010"/>
                  <a:gd name="connsiteX93" fmla="*/ 269078 w 357417"/>
                  <a:gd name="connsiteY93" fmla="*/ 24561 h 286010"/>
                  <a:gd name="connsiteX94" fmla="*/ 269325 w 357417"/>
                  <a:gd name="connsiteY94" fmla="*/ 24671 h 286010"/>
                  <a:gd name="connsiteX95" fmla="*/ 269682 w 357417"/>
                  <a:gd name="connsiteY95" fmla="*/ 24534 h 286010"/>
                  <a:gd name="connsiteX96" fmla="*/ 270121 w 357417"/>
                  <a:gd name="connsiteY96" fmla="*/ 24534 h 286010"/>
                  <a:gd name="connsiteX97" fmla="*/ 271301 w 357417"/>
                  <a:gd name="connsiteY97" fmla="*/ 23766 h 286010"/>
                  <a:gd name="connsiteX98" fmla="*/ 271685 w 357417"/>
                  <a:gd name="connsiteY98" fmla="*/ 23628 h 286010"/>
                  <a:gd name="connsiteX99" fmla="*/ 271932 w 357417"/>
                  <a:gd name="connsiteY99" fmla="*/ 23738 h 286010"/>
                  <a:gd name="connsiteX100" fmla="*/ 272069 w 357417"/>
                  <a:gd name="connsiteY100" fmla="*/ 23875 h 286010"/>
                  <a:gd name="connsiteX101" fmla="*/ 271850 w 357417"/>
                  <a:gd name="connsiteY101" fmla="*/ 24068 h 286010"/>
                  <a:gd name="connsiteX102" fmla="*/ 271768 w 357417"/>
                  <a:gd name="connsiteY102" fmla="*/ 24287 h 286010"/>
                  <a:gd name="connsiteX103" fmla="*/ 271932 w 357417"/>
                  <a:gd name="connsiteY103" fmla="*/ 24424 h 286010"/>
                  <a:gd name="connsiteX104" fmla="*/ 271877 w 357417"/>
                  <a:gd name="connsiteY104" fmla="*/ 24671 h 286010"/>
                  <a:gd name="connsiteX105" fmla="*/ 272317 w 357417"/>
                  <a:gd name="connsiteY105" fmla="*/ 25357 h 286010"/>
                  <a:gd name="connsiteX106" fmla="*/ 272399 w 357417"/>
                  <a:gd name="connsiteY106" fmla="*/ 25357 h 286010"/>
                  <a:gd name="connsiteX107" fmla="*/ 273003 w 357417"/>
                  <a:gd name="connsiteY107" fmla="*/ 25687 h 286010"/>
                  <a:gd name="connsiteX108" fmla="*/ 273634 w 357417"/>
                  <a:gd name="connsiteY108" fmla="*/ 25879 h 286010"/>
                  <a:gd name="connsiteX109" fmla="*/ 273853 w 357417"/>
                  <a:gd name="connsiteY109" fmla="*/ 25961 h 286010"/>
                  <a:gd name="connsiteX110" fmla="*/ 274430 w 357417"/>
                  <a:gd name="connsiteY110" fmla="*/ 25961 h 286010"/>
                  <a:gd name="connsiteX111" fmla="*/ 274951 w 357417"/>
                  <a:gd name="connsiteY111" fmla="*/ 25879 h 286010"/>
                  <a:gd name="connsiteX112" fmla="*/ 275747 w 357417"/>
                  <a:gd name="connsiteY112" fmla="*/ 25550 h 286010"/>
                  <a:gd name="connsiteX113" fmla="*/ 276323 w 357417"/>
                  <a:gd name="connsiteY113" fmla="*/ 25055 h 286010"/>
                  <a:gd name="connsiteX114" fmla="*/ 276515 w 357417"/>
                  <a:gd name="connsiteY114" fmla="*/ 24644 h 286010"/>
                  <a:gd name="connsiteX115" fmla="*/ 276735 w 357417"/>
                  <a:gd name="connsiteY115" fmla="*/ 23518 h 286010"/>
                  <a:gd name="connsiteX116" fmla="*/ 276954 w 357417"/>
                  <a:gd name="connsiteY116" fmla="*/ 23217 h 286010"/>
                  <a:gd name="connsiteX117" fmla="*/ 277256 w 357417"/>
                  <a:gd name="connsiteY117" fmla="*/ 23135 h 286010"/>
                  <a:gd name="connsiteX118" fmla="*/ 277585 w 357417"/>
                  <a:gd name="connsiteY118" fmla="*/ 22860 h 286010"/>
                  <a:gd name="connsiteX119" fmla="*/ 277860 w 357417"/>
                  <a:gd name="connsiteY119" fmla="*/ 22778 h 286010"/>
                  <a:gd name="connsiteX120" fmla="*/ 278025 w 357417"/>
                  <a:gd name="connsiteY120" fmla="*/ 22778 h 286010"/>
                  <a:gd name="connsiteX121" fmla="*/ 278272 w 357417"/>
                  <a:gd name="connsiteY121" fmla="*/ 22668 h 286010"/>
                  <a:gd name="connsiteX122" fmla="*/ 278876 w 357417"/>
                  <a:gd name="connsiteY122" fmla="*/ 22805 h 286010"/>
                  <a:gd name="connsiteX123" fmla="*/ 279150 w 357417"/>
                  <a:gd name="connsiteY123" fmla="*/ 22805 h 286010"/>
                  <a:gd name="connsiteX124" fmla="*/ 279232 w 357417"/>
                  <a:gd name="connsiteY124" fmla="*/ 22997 h 286010"/>
                  <a:gd name="connsiteX125" fmla="*/ 279644 w 357417"/>
                  <a:gd name="connsiteY125" fmla="*/ 23436 h 286010"/>
                  <a:gd name="connsiteX126" fmla="*/ 281867 w 357417"/>
                  <a:gd name="connsiteY126" fmla="*/ 24946 h 286010"/>
                  <a:gd name="connsiteX127" fmla="*/ 282388 w 357417"/>
                  <a:gd name="connsiteY127" fmla="*/ 25138 h 286010"/>
                  <a:gd name="connsiteX128" fmla="*/ 282663 w 357417"/>
                  <a:gd name="connsiteY128" fmla="*/ 25083 h 286010"/>
                  <a:gd name="connsiteX129" fmla="*/ 283266 w 357417"/>
                  <a:gd name="connsiteY129" fmla="*/ 25220 h 286010"/>
                  <a:gd name="connsiteX130" fmla="*/ 284721 w 357417"/>
                  <a:gd name="connsiteY130" fmla="*/ 25851 h 286010"/>
                  <a:gd name="connsiteX131" fmla="*/ 285160 w 357417"/>
                  <a:gd name="connsiteY131" fmla="*/ 25906 h 286010"/>
                  <a:gd name="connsiteX132" fmla="*/ 285818 w 357417"/>
                  <a:gd name="connsiteY132" fmla="*/ 25659 h 286010"/>
                  <a:gd name="connsiteX133" fmla="*/ 286066 w 357417"/>
                  <a:gd name="connsiteY133" fmla="*/ 25933 h 286010"/>
                  <a:gd name="connsiteX134" fmla="*/ 286614 w 357417"/>
                  <a:gd name="connsiteY134" fmla="*/ 26126 h 286010"/>
                  <a:gd name="connsiteX135" fmla="*/ 289276 w 357417"/>
                  <a:gd name="connsiteY135" fmla="*/ 26373 h 286010"/>
                  <a:gd name="connsiteX136" fmla="*/ 289606 w 357417"/>
                  <a:gd name="connsiteY136" fmla="*/ 26181 h 286010"/>
                  <a:gd name="connsiteX137" fmla="*/ 290182 w 357417"/>
                  <a:gd name="connsiteY137" fmla="*/ 25714 h 286010"/>
                  <a:gd name="connsiteX138" fmla="*/ 291472 w 357417"/>
                  <a:gd name="connsiteY138" fmla="*/ 25385 h 286010"/>
                  <a:gd name="connsiteX139" fmla="*/ 291829 w 357417"/>
                  <a:gd name="connsiteY139" fmla="*/ 25193 h 286010"/>
                  <a:gd name="connsiteX140" fmla="*/ 292048 w 357417"/>
                  <a:gd name="connsiteY140" fmla="*/ 25138 h 286010"/>
                  <a:gd name="connsiteX141" fmla="*/ 292185 w 357417"/>
                  <a:gd name="connsiteY141" fmla="*/ 25028 h 286010"/>
                  <a:gd name="connsiteX142" fmla="*/ 292515 w 357417"/>
                  <a:gd name="connsiteY142" fmla="*/ 25028 h 286010"/>
                  <a:gd name="connsiteX143" fmla="*/ 292789 w 357417"/>
                  <a:gd name="connsiteY143" fmla="*/ 24863 h 286010"/>
                  <a:gd name="connsiteX144" fmla="*/ 293146 w 357417"/>
                  <a:gd name="connsiteY144" fmla="*/ 24973 h 286010"/>
                  <a:gd name="connsiteX145" fmla="*/ 293667 w 357417"/>
                  <a:gd name="connsiteY145" fmla="*/ 24726 h 286010"/>
                  <a:gd name="connsiteX146" fmla="*/ 294463 w 357417"/>
                  <a:gd name="connsiteY146" fmla="*/ 23985 h 286010"/>
                  <a:gd name="connsiteX147" fmla="*/ 295231 w 357417"/>
                  <a:gd name="connsiteY147" fmla="*/ 22805 h 286010"/>
                  <a:gd name="connsiteX148" fmla="*/ 295506 w 357417"/>
                  <a:gd name="connsiteY148" fmla="*/ 22860 h 286010"/>
                  <a:gd name="connsiteX149" fmla="*/ 295725 w 357417"/>
                  <a:gd name="connsiteY149" fmla="*/ 23107 h 286010"/>
                  <a:gd name="connsiteX150" fmla="*/ 296000 w 357417"/>
                  <a:gd name="connsiteY150" fmla="*/ 23244 h 286010"/>
                  <a:gd name="connsiteX151" fmla="*/ 296411 w 357417"/>
                  <a:gd name="connsiteY151" fmla="*/ 23107 h 286010"/>
                  <a:gd name="connsiteX152" fmla="*/ 296823 w 357417"/>
                  <a:gd name="connsiteY152" fmla="*/ 22805 h 286010"/>
                  <a:gd name="connsiteX153" fmla="*/ 297207 w 357417"/>
                  <a:gd name="connsiteY153" fmla="*/ 22421 h 286010"/>
                  <a:gd name="connsiteX154" fmla="*/ 297729 w 357417"/>
                  <a:gd name="connsiteY154" fmla="*/ 21680 h 286010"/>
                  <a:gd name="connsiteX155" fmla="*/ 298854 w 357417"/>
                  <a:gd name="connsiteY155" fmla="*/ 19457 h 286010"/>
                  <a:gd name="connsiteX156" fmla="*/ 298964 w 357417"/>
                  <a:gd name="connsiteY156" fmla="*/ 18991 h 286010"/>
                  <a:gd name="connsiteX157" fmla="*/ 298909 w 357417"/>
                  <a:gd name="connsiteY157" fmla="*/ 18826 h 286010"/>
                  <a:gd name="connsiteX158" fmla="*/ 299128 w 357417"/>
                  <a:gd name="connsiteY158" fmla="*/ 18743 h 286010"/>
                  <a:gd name="connsiteX159" fmla="*/ 298964 w 357417"/>
                  <a:gd name="connsiteY159" fmla="*/ 18551 h 286010"/>
                  <a:gd name="connsiteX160" fmla="*/ 299074 w 357417"/>
                  <a:gd name="connsiteY160" fmla="*/ 18277 h 286010"/>
                  <a:gd name="connsiteX161" fmla="*/ 299348 w 357417"/>
                  <a:gd name="connsiteY161" fmla="*/ 18003 h 286010"/>
                  <a:gd name="connsiteX162" fmla="*/ 299430 w 357417"/>
                  <a:gd name="connsiteY162" fmla="*/ 17893 h 286010"/>
                  <a:gd name="connsiteX163" fmla="*/ 299567 w 357417"/>
                  <a:gd name="connsiteY163" fmla="*/ 17756 h 286010"/>
                  <a:gd name="connsiteX164" fmla="*/ 299732 w 357417"/>
                  <a:gd name="connsiteY164" fmla="*/ 17756 h 286010"/>
                  <a:gd name="connsiteX165" fmla="*/ 299924 w 357417"/>
                  <a:gd name="connsiteY165" fmla="*/ 17756 h 286010"/>
                  <a:gd name="connsiteX166" fmla="*/ 300061 w 357417"/>
                  <a:gd name="connsiteY166" fmla="*/ 17838 h 286010"/>
                  <a:gd name="connsiteX167" fmla="*/ 300198 w 357417"/>
                  <a:gd name="connsiteY167" fmla="*/ 17975 h 286010"/>
                  <a:gd name="connsiteX168" fmla="*/ 300308 w 357417"/>
                  <a:gd name="connsiteY168" fmla="*/ 18167 h 286010"/>
                  <a:gd name="connsiteX169" fmla="*/ 300501 w 357417"/>
                  <a:gd name="connsiteY169" fmla="*/ 18579 h 286010"/>
                  <a:gd name="connsiteX170" fmla="*/ 300336 w 357417"/>
                  <a:gd name="connsiteY170" fmla="*/ 18936 h 286010"/>
                  <a:gd name="connsiteX171" fmla="*/ 300418 w 357417"/>
                  <a:gd name="connsiteY171" fmla="*/ 19238 h 286010"/>
                  <a:gd name="connsiteX172" fmla="*/ 300281 w 357417"/>
                  <a:gd name="connsiteY172" fmla="*/ 19402 h 286010"/>
                  <a:gd name="connsiteX173" fmla="*/ 300089 w 357417"/>
                  <a:gd name="connsiteY173" fmla="*/ 19924 h 286010"/>
                  <a:gd name="connsiteX174" fmla="*/ 300144 w 357417"/>
                  <a:gd name="connsiteY174" fmla="*/ 20143 h 286010"/>
                  <a:gd name="connsiteX175" fmla="*/ 300308 w 357417"/>
                  <a:gd name="connsiteY175" fmla="*/ 20253 h 286010"/>
                  <a:gd name="connsiteX176" fmla="*/ 300501 w 357417"/>
                  <a:gd name="connsiteY176" fmla="*/ 20637 h 286010"/>
                  <a:gd name="connsiteX177" fmla="*/ 300391 w 357417"/>
                  <a:gd name="connsiteY177" fmla="*/ 21104 h 286010"/>
                  <a:gd name="connsiteX178" fmla="*/ 300034 w 357417"/>
                  <a:gd name="connsiteY178" fmla="*/ 21735 h 286010"/>
                  <a:gd name="connsiteX179" fmla="*/ 299979 w 357417"/>
                  <a:gd name="connsiteY179" fmla="*/ 22201 h 286010"/>
                  <a:gd name="connsiteX180" fmla="*/ 300116 w 357417"/>
                  <a:gd name="connsiteY180" fmla="*/ 22695 h 286010"/>
                  <a:gd name="connsiteX181" fmla="*/ 301351 w 357417"/>
                  <a:gd name="connsiteY181" fmla="*/ 23299 h 286010"/>
                  <a:gd name="connsiteX182" fmla="*/ 304068 w 357417"/>
                  <a:gd name="connsiteY182" fmla="*/ 28870 h 286010"/>
                  <a:gd name="connsiteX183" fmla="*/ 311478 w 357417"/>
                  <a:gd name="connsiteY183" fmla="*/ 29803 h 286010"/>
                  <a:gd name="connsiteX184" fmla="*/ 316692 w 357417"/>
                  <a:gd name="connsiteY184" fmla="*/ 28486 h 286010"/>
                  <a:gd name="connsiteX185" fmla="*/ 322482 w 357417"/>
                  <a:gd name="connsiteY185" fmla="*/ 30050 h 286010"/>
                  <a:gd name="connsiteX186" fmla="*/ 325885 w 357417"/>
                  <a:gd name="connsiteY186" fmla="*/ 33233 h 286010"/>
                  <a:gd name="connsiteX187" fmla="*/ 335463 w 357417"/>
                  <a:gd name="connsiteY187" fmla="*/ 42207 h 286010"/>
                  <a:gd name="connsiteX188" fmla="*/ 333734 w 357417"/>
                  <a:gd name="connsiteY188" fmla="*/ 46708 h 286010"/>
                  <a:gd name="connsiteX189" fmla="*/ 337000 w 357417"/>
                  <a:gd name="connsiteY189" fmla="*/ 51126 h 286010"/>
                  <a:gd name="connsiteX190" fmla="*/ 335627 w 357417"/>
                  <a:gd name="connsiteY190" fmla="*/ 54886 h 286010"/>
                  <a:gd name="connsiteX191" fmla="*/ 338756 w 357417"/>
                  <a:gd name="connsiteY191" fmla="*/ 65314 h 286010"/>
                  <a:gd name="connsiteX192" fmla="*/ 337055 w 357417"/>
                  <a:gd name="connsiteY192" fmla="*/ 79091 h 286010"/>
                  <a:gd name="connsiteX193" fmla="*/ 340540 w 357417"/>
                  <a:gd name="connsiteY193" fmla="*/ 83975 h 286010"/>
                  <a:gd name="connsiteX194" fmla="*/ 338564 w 357417"/>
                  <a:gd name="connsiteY194" fmla="*/ 93443 h 286010"/>
                  <a:gd name="connsiteX195" fmla="*/ 343696 w 357417"/>
                  <a:gd name="connsiteY195" fmla="*/ 101758 h 286010"/>
                  <a:gd name="connsiteX196" fmla="*/ 342817 w 357417"/>
                  <a:gd name="connsiteY196" fmla="*/ 106396 h 286010"/>
                  <a:gd name="connsiteX197" fmla="*/ 346715 w 357417"/>
                  <a:gd name="connsiteY197" fmla="*/ 112571 h 286010"/>
                  <a:gd name="connsiteX198" fmla="*/ 354371 w 357417"/>
                  <a:gd name="connsiteY198" fmla="*/ 118746 h 286010"/>
                  <a:gd name="connsiteX199" fmla="*/ 357417 w 357417"/>
                  <a:gd name="connsiteY199" fmla="*/ 121216 h 286010"/>
                  <a:gd name="connsiteX200" fmla="*/ 354371 w 357417"/>
                  <a:gd name="connsiteY200" fmla="*/ 124042 h 286010"/>
                  <a:gd name="connsiteX201" fmla="*/ 351297 w 357417"/>
                  <a:gd name="connsiteY201" fmla="*/ 126896 h 286010"/>
                  <a:gd name="connsiteX202" fmla="*/ 350721 w 357417"/>
                  <a:gd name="connsiteY202" fmla="*/ 131946 h 286010"/>
                  <a:gd name="connsiteX203" fmla="*/ 352889 w 357417"/>
                  <a:gd name="connsiteY203" fmla="*/ 134526 h 286010"/>
                  <a:gd name="connsiteX204" fmla="*/ 351819 w 357417"/>
                  <a:gd name="connsiteY204" fmla="*/ 135733 h 286010"/>
                  <a:gd name="connsiteX205" fmla="*/ 328959 w 357417"/>
                  <a:gd name="connsiteY205" fmla="*/ 132989 h 286010"/>
                  <a:gd name="connsiteX206" fmla="*/ 325885 w 357417"/>
                  <a:gd name="connsiteY206" fmla="*/ 133236 h 286010"/>
                  <a:gd name="connsiteX207" fmla="*/ 313536 w 357417"/>
                  <a:gd name="connsiteY207" fmla="*/ 134169 h 286010"/>
                  <a:gd name="connsiteX208" fmla="*/ 311478 w 357417"/>
                  <a:gd name="connsiteY208" fmla="*/ 134333 h 286010"/>
                  <a:gd name="connsiteX209" fmla="*/ 303135 w 357417"/>
                  <a:gd name="connsiteY209" fmla="*/ 134937 h 286010"/>
                  <a:gd name="connsiteX210" fmla="*/ 301708 w 357417"/>
                  <a:gd name="connsiteY210" fmla="*/ 137736 h 286010"/>
                  <a:gd name="connsiteX211" fmla="*/ 303794 w 357417"/>
                  <a:gd name="connsiteY211" fmla="*/ 145558 h 286010"/>
                  <a:gd name="connsiteX212" fmla="*/ 290374 w 357417"/>
                  <a:gd name="connsiteY212" fmla="*/ 149125 h 286010"/>
                  <a:gd name="connsiteX213" fmla="*/ 279836 w 357417"/>
                  <a:gd name="connsiteY213" fmla="*/ 152638 h 286010"/>
                  <a:gd name="connsiteX214" fmla="*/ 279369 w 357417"/>
                  <a:gd name="connsiteY214" fmla="*/ 159828 h 286010"/>
                  <a:gd name="connsiteX215" fmla="*/ 276625 w 357417"/>
                  <a:gd name="connsiteY215" fmla="*/ 164987 h 286010"/>
                  <a:gd name="connsiteX216" fmla="*/ 283184 w 357417"/>
                  <a:gd name="connsiteY216" fmla="*/ 173742 h 286010"/>
                  <a:gd name="connsiteX217" fmla="*/ 279863 w 357417"/>
                  <a:gd name="connsiteY217" fmla="*/ 183621 h 286010"/>
                  <a:gd name="connsiteX218" fmla="*/ 261092 w 357417"/>
                  <a:gd name="connsiteY218" fmla="*/ 189357 h 286010"/>
                  <a:gd name="connsiteX219" fmla="*/ 252009 w 357417"/>
                  <a:gd name="connsiteY219" fmla="*/ 197644 h 286010"/>
                  <a:gd name="connsiteX220" fmla="*/ 241828 w 357417"/>
                  <a:gd name="connsiteY220" fmla="*/ 203188 h 286010"/>
                  <a:gd name="connsiteX221" fmla="*/ 232113 w 357417"/>
                  <a:gd name="connsiteY221" fmla="*/ 211201 h 286010"/>
                  <a:gd name="connsiteX222" fmla="*/ 224264 w 357417"/>
                  <a:gd name="connsiteY222" fmla="*/ 223907 h 286010"/>
                  <a:gd name="connsiteX223" fmla="*/ 219324 w 357417"/>
                  <a:gd name="connsiteY223" fmla="*/ 223441 h 286010"/>
                  <a:gd name="connsiteX224" fmla="*/ 216580 w 357417"/>
                  <a:gd name="connsiteY224" fmla="*/ 220861 h 286010"/>
                  <a:gd name="connsiteX225" fmla="*/ 198166 w 357417"/>
                  <a:gd name="connsiteY225" fmla="*/ 222371 h 286010"/>
                  <a:gd name="connsiteX226" fmla="*/ 187984 w 357417"/>
                  <a:gd name="connsiteY226" fmla="*/ 225362 h 286010"/>
                  <a:gd name="connsiteX227" fmla="*/ 176678 w 357417"/>
                  <a:gd name="connsiteY227" fmla="*/ 224182 h 286010"/>
                  <a:gd name="connsiteX228" fmla="*/ 170695 w 357417"/>
                  <a:gd name="connsiteY228" fmla="*/ 228106 h 286010"/>
                  <a:gd name="connsiteX229" fmla="*/ 164328 w 357417"/>
                  <a:gd name="connsiteY229" fmla="*/ 229204 h 286010"/>
                  <a:gd name="connsiteX230" fmla="*/ 133400 w 357417"/>
                  <a:gd name="connsiteY230" fmla="*/ 250719 h 286010"/>
                  <a:gd name="connsiteX231" fmla="*/ 132549 w 357417"/>
                  <a:gd name="connsiteY231" fmla="*/ 286011 h 286010"/>
                  <a:gd name="connsiteX232" fmla="*/ 0 w 357417"/>
                  <a:gd name="connsiteY232" fmla="*/ 285819 h 286010"/>
                  <a:gd name="connsiteX233" fmla="*/ 7958 w 357417"/>
                  <a:gd name="connsiteY233" fmla="*/ 276433 h 286010"/>
                  <a:gd name="connsiteX234" fmla="*/ 31532 w 357417"/>
                  <a:gd name="connsiteY234" fmla="*/ 271932 h 286010"/>
                  <a:gd name="connsiteX235" fmla="*/ 49205 w 357417"/>
                  <a:gd name="connsiteY235" fmla="*/ 264084 h 286010"/>
                  <a:gd name="connsiteX236" fmla="*/ 62652 w 357417"/>
                  <a:gd name="connsiteY236" fmla="*/ 249594 h 286010"/>
                  <a:gd name="connsiteX237" fmla="*/ 77636 w 357417"/>
                  <a:gd name="connsiteY237" fmla="*/ 240785 h 286010"/>
                  <a:gd name="connsiteX238" fmla="*/ 87461 w 357417"/>
                  <a:gd name="connsiteY238" fmla="*/ 229972 h 286010"/>
                  <a:gd name="connsiteX239" fmla="*/ 99508 w 357417"/>
                  <a:gd name="connsiteY239" fmla="*/ 211833 h 286010"/>
                  <a:gd name="connsiteX240" fmla="*/ 104036 w 357417"/>
                  <a:gd name="connsiteY240" fmla="*/ 200416 h 286010"/>
                  <a:gd name="connsiteX241" fmla="*/ 104530 w 357417"/>
                  <a:gd name="connsiteY241" fmla="*/ 193830 h 286010"/>
                  <a:gd name="connsiteX242" fmla="*/ 97120 w 357417"/>
                  <a:gd name="connsiteY242" fmla="*/ 185295 h 286010"/>
                  <a:gd name="connsiteX243" fmla="*/ 98904 w 357417"/>
                  <a:gd name="connsiteY243" fmla="*/ 179065 h 286010"/>
                  <a:gd name="connsiteX244" fmla="*/ 98575 w 357417"/>
                  <a:gd name="connsiteY244" fmla="*/ 159224 h 286010"/>
                  <a:gd name="connsiteX245" fmla="*/ 103158 w 357417"/>
                  <a:gd name="connsiteY245" fmla="*/ 149070 h 286010"/>
                  <a:gd name="connsiteX246" fmla="*/ 114821 w 357417"/>
                  <a:gd name="connsiteY246" fmla="*/ 132687 h 286010"/>
                  <a:gd name="connsiteX247" fmla="*/ 115261 w 357417"/>
                  <a:gd name="connsiteY247" fmla="*/ 119542 h 286010"/>
                  <a:gd name="connsiteX248" fmla="*/ 126786 w 357417"/>
                  <a:gd name="connsiteY248" fmla="*/ 108235 h 286010"/>
                  <a:gd name="connsiteX249" fmla="*/ 135157 w 357417"/>
                  <a:gd name="connsiteY249" fmla="*/ 96627 h 286010"/>
                  <a:gd name="connsiteX250" fmla="*/ 166195 w 357417"/>
                  <a:gd name="connsiteY250" fmla="*/ 81615 h 286010"/>
                  <a:gd name="connsiteX251" fmla="*/ 182743 w 357417"/>
                  <a:gd name="connsiteY251" fmla="*/ 71187 h 286010"/>
                  <a:gd name="connsiteX252" fmla="*/ 188259 w 357417"/>
                  <a:gd name="connsiteY252" fmla="*/ 64710 h 286010"/>
                  <a:gd name="connsiteX253" fmla="*/ 200910 w 357417"/>
                  <a:gd name="connsiteY253" fmla="*/ 40616 h 286010"/>
                  <a:gd name="connsiteX254" fmla="*/ 213287 w 357417"/>
                  <a:gd name="connsiteY254" fmla="*/ 5159 h 286010"/>
                  <a:gd name="connsiteX255" fmla="*/ 229231 w 357417"/>
                  <a:gd name="connsiteY255" fmla="*/ 0 h 286010"/>
                  <a:gd name="connsiteX256" fmla="*/ 230356 w 357417"/>
                  <a:gd name="connsiteY256" fmla="*/ 1537 h 28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357417" h="286010">
                    <a:moveTo>
                      <a:pt x="229753" y="1592"/>
                    </a:moveTo>
                    <a:lnTo>
                      <a:pt x="229615" y="2223"/>
                    </a:lnTo>
                    <a:lnTo>
                      <a:pt x="229451" y="2470"/>
                    </a:lnTo>
                    <a:lnTo>
                      <a:pt x="229451" y="2799"/>
                    </a:lnTo>
                    <a:lnTo>
                      <a:pt x="229670" y="5351"/>
                    </a:lnTo>
                    <a:lnTo>
                      <a:pt x="229999" y="7245"/>
                    </a:lnTo>
                    <a:lnTo>
                      <a:pt x="230191" y="7904"/>
                    </a:lnTo>
                    <a:lnTo>
                      <a:pt x="230466" y="8398"/>
                    </a:lnTo>
                    <a:lnTo>
                      <a:pt x="230877" y="8398"/>
                    </a:lnTo>
                    <a:cubicBezTo>
                      <a:pt x="230877" y="8398"/>
                      <a:pt x="231344" y="8260"/>
                      <a:pt x="231344" y="8260"/>
                    </a:cubicBezTo>
                    <a:lnTo>
                      <a:pt x="231838" y="8343"/>
                    </a:lnTo>
                    <a:lnTo>
                      <a:pt x="231646" y="8919"/>
                    </a:lnTo>
                    <a:lnTo>
                      <a:pt x="231564" y="9138"/>
                    </a:lnTo>
                    <a:lnTo>
                      <a:pt x="232113" y="11334"/>
                    </a:lnTo>
                    <a:lnTo>
                      <a:pt x="232826" y="13227"/>
                    </a:lnTo>
                    <a:lnTo>
                      <a:pt x="233018" y="13337"/>
                    </a:lnTo>
                    <a:lnTo>
                      <a:pt x="233265" y="13255"/>
                    </a:lnTo>
                    <a:lnTo>
                      <a:pt x="233649" y="13667"/>
                    </a:lnTo>
                    <a:lnTo>
                      <a:pt x="233979" y="13557"/>
                    </a:lnTo>
                    <a:lnTo>
                      <a:pt x="234226" y="13749"/>
                    </a:lnTo>
                    <a:lnTo>
                      <a:pt x="234500" y="13749"/>
                    </a:lnTo>
                    <a:cubicBezTo>
                      <a:pt x="234500" y="13749"/>
                      <a:pt x="234802" y="13913"/>
                      <a:pt x="234802" y="13913"/>
                    </a:cubicBezTo>
                    <a:lnTo>
                      <a:pt x="235433" y="14902"/>
                    </a:lnTo>
                    <a:lnTo>
                      <a:pt x="236805" y="15945"/>
                    </a:lnTo>
                    <a:lnTo>
                      <a:pt x="238095" y="18387"/>
                    </a:lnTo>
                    <a:lnTo>
                      <a:pt x="238973" y="18661"/>
                    </a:lnTo>
                    <a:lnTo>
                      <a:pt x="239440" y="18579"/>
                    </a:lnTo>
                    <a:lnTo>
                      <a:pt x="240126" y="19457"/>
                    </a:lnTo>
                    <a:lnTo>
                      <a:pt x="240977" y="20225"/>
                    </a:lnTo>
                    <a:lnTo>
                      <a:pt x="242074" y="21625"/>
                    </a:lnTo>
                    <a:lnTo>
                      <a:pt x="242897" y="22092"/>
                    </a:lnTo>
                    <a:lnTo>
                      <a:pt x="243501" y="22256"/>
                    </a:lnTo>
                    <a:lnTo>
                      <a:pt x="243803" y="22256"/>
                    </a:lnTo>
                    <a:cubicBezTo>
                      <a:pt x="243803" y="22256"/>
                      <a:pt x="244160" y="22640"/>
                      <a:pt x="244160" y="22640"/>
                    </a:cubicBezTo>
                    <a:lnTo>
                      <a:pt x="244462" y="23052"/>
                    </a:lnTo>
                    <a:lnTo>
                      <a:pt x="245285" y="23793"/>
                    </a:lnTo>
                    <a:lnTo>
                      <a:pt x="245862" y="24013"/>
                    </a:lnTo>
                    <a:lnTo>
                      <a:pt x="246355" y="24507"/>
                    </a:lnTo>
                    <a:lnTo>
                      <a:pt x="246795" y="24671"/>
                    </a:lnTo>
                    <a:lnTo>
                      <a:pt x="247234" y="24973"/>
                    </a:lnTo>
                    <a:lnTo>
                      <a:pt x="247727" y="25055"/>
                    </a:lnTo>
                    <a:lnTo>
                      <a:pt x="248167" y="25302"/>
                    </a:lnTo>
                    <a:lnTo>
                      <a:pt x="249401" y="25742"/>
                    </a:lnTo>
                    <a:lnTo>
                      <a:pt x="249704" y="25687"/>
                    </a:lnTo>
                    <a:lnTo>
                      <a:pt x="249896" y="25495"/>
                    </a:lnTo>
                    <a:lnTo>
                      <a:pt x="250088" y="25495"/>
                    </a:lnTo>
                    <a:cubicBezTo>
                      <a:pt x="250088" y="25495"/>
                      <a:pt x="250307" y="25440"/>
                      <a:pt x="250307" y="25440"/>
                    </a:cubicBezTo>
                    <a:lnTo>
                      <a:pt x="250801" y="26043"/>
                    </a:lnTo>
                    <a:lnTo>
                      <a:pt x="251405" y="26318"/>
                    </a:lnTo>
                    <a:lnTo>
                      <a:pt x="251707" y="26373"/>
                    </a:lnTo>
                    <a:lnTo>
                      <a:pt x="252091" y="26236"/>
                    </a:lnTo>
                    <a:lnTo>
                      <a:pt x="254067" y="26812"/>
                    </a:lnTo>
                    <a:lnTo>
                      <a:pt x="254890" y="26812"/>
                    </a:lnTo>
                    <a:lnTo>
                      <a:pt x="256372" y="27443"/>
                    </a:lnTo>
                    <a:lnTo>
                      <a:pt x="256921" y="27580"/>
                    </a:lnTo>
                    <a:lnTo>
                      <a:pt x="257525" y="27443"/>
                    </a:lnTo>
                    <a:lnTo>
                      <a:pt x="257964" y="27608"/>
                    </a:lnTo>
                    <a:lnTo>
                      <a:pt x="258293" y="27608"/>
                    </a:lnTo>
                    <a:lnTo>
                      <a:pt x="258458" y="27800"/>
                    </a:lnTo>
                    <a:lnTo>
                      <a:pt x="258595" y="27717"/>
                    </a:lnTo>
                    <a:lnTo>
                      <a:pt x="258979" y="27827"/>
                    </a:lnTo>
                    <a:lnTo>
                      <a:pt x="259473" y="27470"/>
                    </a:lnTo>
                    <a:lnTo>
                      <a:pt x="259885" y="27470"/>
                    </a:lnTo>
                    <a:cubicBezTo>
                      <a:pt x="259885" y="27470"/>
                      <a:pt x="260242" y="27141"/>
                      <a:pt x="260242" y="27141"/>
                    </a:cubicBezTo>
                    <a:lnTo>
                      <a:pt x="260434" y="27059"/>
                    </a:lnTo>
                    <a:lnTo>
                      <a:pt x="260653" y="27059"/>
                    </a:lnTo>
                    <a:lnTo>
                      <a:pt x="260818" y="26976"/>
                    </a:lnTo>
                    <a:lnTo>
                      <a:pt x="260928" y="26922"/>
                    </a:lnTo>
                    <a:lnTo>
                      <a:pt x="261065" y="26592"/>
                    </a:lnTo>
                    <a:lnTo>
                      <a:pt x="261175" y="26702"/>
                    </a:lnTo>
                    <a:lnTo>
                      <a:pt x="262108" y="26345"/>
                    </a:lnTo>
                    <a:lnTo>
                      <a:pt x="262437" y="26455"/>
                    </a:lnTo>
                    <a:lnTo>
                      <a:pt x="262821" y="26455"/>
                    </a:lnTo>
                    <a:cubicBezTo>
                      <a:pt x="262821" y="26455"/>
                      <a:pt x="263068" y="26455"/>
                      <a:pt x="263068" y="26455"/>
                    </a:cubicBezTo>
                    <a:lnTo>
                      <a:pt x="263178" y="26400"/>
                    </a:lnTo>
                    <a:lnTo>
                      <a:pt x="263233" y="26290"/>
                    </a:lnTo>
                    <a:lnTo>
                      <a:pt x="263370" y="26290"/>
                    </a:lnTo>
                    <a:lnTo>
                      <a:pt x="263946" y="25933"/>
                    </a:lnTo>
                    <a:lnTo>
                      <a:pt x="264331" y="25933"/>
                    </a:lnTo>
                    <a:lnTo>
                      <a:pt x="264715" y="25796"/>
                    </a:lnTo>
                    <a:lnTo>
                      <a:pt x="264825" y="25796"/>
                    </a:lnTo>
                    <a:cubicBezTo>
                      <a:pt x="264825" y="25796"/>
                      <a:pt x="265017" y="25961"/>
                      <a:pt x="265017" y="25961"/>
                    </a:cubicBezTo>
                    <a:lnTo>
                      <a:pt x="265181" y="25906"/>
                    </a:lnTo>
                    <a:lnTo>
                      <a:pt x="265456" y="25906"/>
                    </a:lnTo>
                    <a:lnTo>
                      <a:pt x="265648" y="25824"/>
                    </a:lnTo>
                    <a:lnTo>
                      <a:pt x="266252" y="25632"/>
                    </a:lnTo>
                    <a:lnTo>
                      <a:pt x="266883" y="25138"/>
                    </a:lnTo>
                    <a:lnTo>
                      <a:pt x="267487" y="24973"/>
                    </a:lnTo>
                    <a:lnTo>
                      <a:pt x="267706" y="24809"/>
                    </a:lnTo>
                    <a:lnTo>
                      <a:pt x="267953" y="24809"/>
                    </a:lnTo>
                    <a:lnTo>
                      <a:pt x="268282" y="24589"/>
                    </a:lnTo>
                    <a:lnTo>
                      <a:pt x="268502" y="24589"/>
                    </a:lnTo>
                    <a:cubicBezTo>
                      <a:pt x="268502" y="24589"/>
                      <a:pt x="269023" y="24397"/>
                      <a:pt x="269023" y="24397"/>
                    </a:cubicBezTo>
                    <a:lnTo>
                      <a:pt x="269078" y="24561"/>
                    </a:lnTo>
                    <a:lnTo>
                      <a:pt x="269325" y="24671"/>
                    </a:lnTo>
                    <a:lnTo>
                      <a:pt x="269682" y="24534"/>
                    </a:lnTo>
                    <a:lnTo>
                      <a:pt x="270121" y="24534"/>
                    </a:lnTo>
                    <a:lnTo>
                      <a:pt x="271301" y="23766"/>
                    </a:lnTo>
                    <a:lnTo>
                      <a:pt x="271685" y="23628"/>
                    </a:lnTo>
                    <a:lnTo>
                      <a:pt x="271932" y="23738"/>
                    </a:lnTo>
                    <a:lnTo>
                      <a:pt x="272069" y="23875"/>
                    </a:lnTo>
                    <a:lnTo>
                      <a:pt x="271850" y="24068"/>
                    </a:lnTo>
                    <a:lnTo>
                      <a:pt x="271768" y="24287"/>
                    </a:lnTo>
                    <a:lnTo>
                      <a:pt x="271932" y="24424"/>
                    </a:lnTo>
                    <a:lnTo>
                      <a:pt x="271877" y="24671"/>
                    </a:lnTo>
                    <a:lnTo>
                      <a:pt x="272317" y="25357"/>
                    </a:lnTo>
                    <a:lnTo>
                      <a:pt x="272399" y="25357"/>
                    </a:lnTo>
                    <a:lnTo>
                      <a:pt x="273003" y="25687"/>
                    </a:lnTo>
                    <a:lnTo>
                      <a:pt x="273634" y="25879"/>
                    </a:lnTo>
                    <a:lnTo>
                      <a:pt x="273853" y="25961"/>
                    </a:lnTo>
                    <a:lnTo>
                      <a:pt x="274430" y="25961"/>
                    </a:lnTo>
                    <a:lnTo>
                      <a:pt x="274951" y="25879"/>
                    </a:lnTo>
                    <a:lnTo>
                      <a:pt x="275747" y="25550"/>
                    </a:lnTo>
                    <a:lnTo>
                      <a:pt x="276323" y="25055"/>
                    </a:lnTo>
                    <a:lnTo>
                      <a:pt x="276515" y="24644"/>
                    </a:lnTo>
                    <a:lnTo>
                      <a:pt x="276735" y="23518"/>
                    </a:lnTo>
                    <a:lnTo>
                      <a:pt x="276954" y="23217"/>
                    </a:lnTo>
                    <a:lnTo>
                      <a:pt x="277256" y="23135"/>
                    </a:lnTo>
                    <a:lnTo>
                      <a:pt x="277585" y="22860"/>
                    </a:lnTo>
                    <a:lnTo>
                      <a:pt x="277860" y="22778"/>
                    </a:lnTo>
                    <a:lnTo>
                      <a:pt x="278025" y="22778"/>
                    </a:lnTo>
                    <a:cubicBezTo>
                      <a:pt x="278025" y="22778"/>
                      <a:pt x="278272" y="22668"/>
                      <a:pt x="278272" y="22668"/>
                    </a:cubicBezTo>
                    <a:lnTo>
                      <a:pt x="278876" y="22805"/>
                    </a:lnTo>
                    <a:lnTo>
                      <a:pt x="279150" y="22805"/>
                    </a:lnTo>
                    <a:cubicBezTo>
                      <a:pt x="279150" y="22805"/>
                      <a:pt x="279232" y="22997"/>
                      <a:pt x="279232" y="22997"/>
                    </a:cubicBezTo>
                    <a:lnTo>
                      <a:pt x="279644" y="23436"/>
                    </a:lnTo>
                    <a:lnTo>
                      <a:pt x="281867" y="24946"/>
                    </a:lnTo>
                    <a:lnTo>
                      <a:pt x="282388" y="25138"/>
                    </a:lnTo>
                    <a:lnTo>
                      <a:pt x="282663" y="25083"/>
                    </a:lnTo>
                    <a:lnTo>
                      <a:pt x="283266" y="25220"/>
                    </a:lnTo>
                    <a:lnTo>
                      <a:pt x="284721" y="25851"/>
                    </a:lnTo>
                    <a:lnTo>
                      <a:pt x="285160" y="25906"/>
                    </a:lnTo>
                    <a:lnTo>
                      <a:pt x="285818" y="25659"/>
                    </a:lnTo>
                    <a:lnTo>
                      <a:pt x="286066" y="25933"/>
                    </a:lnTo>
                    <a:lnTo>
                      <a:pt x="286614" y="26126"/>
                    </a:lnTo>
                    <a:lnTo>
                      <a:pt x="289276" y="26373"/>
                    </a:lnTo>
                    <a:lnTo>
                      <a:pt x="289606" y="26181"/>
                    </a:lnTo>
                    <a:lnTo>
                      <a:pt x="290182" y="25714"/>
                    </a:lnTo>
                    <a:lnTo>
                      <a:pt x="291472" y="25385"/>
                    </a:lnTo>
                    <a:lnTo>
                      <a:pt x="291829" y="25193"/>
                    </a:lnTo>
                    <a:lnTo>
                      <a:pt x="292048" y="25138"/>
                    </a:lnTo>
                    <a:lnTo>
                      <a:pt x="292185" y="25028"/>
                    </a:lnTo>
                    <a:lnTo>
                      <a:pt x="292515" y="25028"/>
                    </a:lnTo>
                    <a:lnTo>
                      <a:pt x="292789" y="24863"/>
                    </a:lnTo>
                    <a:lnTo>
                      <a:pt x="293146" y="24973"/>
                    </a:lnTo>
                    <a:lnTo>
                      <a:pt x="293667" y="24726"/>
                    </a:lnTo>
                    <a:lnTo>
                      <a:pt x="294463" y="23985"/>
                    </a:lnTo>
                    <a:lnTo>
                      <a:pt x="295231" y="22805"/>
                    </a:lnTo>
                    <a:lnTo>
                      <a:pt x="295506" y="22860"/>
                    </a:lnTo>
                    <a:lnTo>
                      <a:pt x="295725" y="23107"/>
                    </a:lnTo>
                    <a:lnTo>
                      <a:pt x="296000" y="23244"/>
                    </a:lnTo>
                    <a:lnTo>
                      <a:pt x="296411" y="23107"/>
                    </a:lnTo>
                    <a:lnTo>
                      <a:pt x="296823" y="22805"/>
                    </a:lnTo>
                    <a:lnTo>
                      <a:pt x="297207" y="22421"/>
                    </a:lnTo>
                    <a:lnTo>
                      <a:pt x="297729" y="21680"/>
                    </a:lnTo>
                    <a:lnTo>
                      <a:pt x="298854" y="19457"/>
                    </a:lnTo>
                    <a:lnTo>
                      <a:pt x="298964" y="18991"/>
                    </a:lnTo>
                    <a:lnTo>
                      <a:pt x="298909" y="18826"/>
                    </a:lnTo>
                    <a:lnTo>
                      <a:pt x="299128" y="18743"/>
                    </a:lnTo>
                    <a:lnTo>
                      <a:pt x="298964" y="18551"/>
                    </a:lnTo>
                    <a:lnTo>
                      <a:pt x="299074" y="18277"/>
                    </a:lnTo>
                    <a:lnTo>
                      <a:pt x="299348" y="18003"/>
                    </a:lnTo>
                    <a:lnTo>
                      <a:pt x="299430" y="17893"/>
                    </a:lnTo>
                    <a:lnTo>
                      <a:pt x="299567" y="17756"/>
                    </a:lnTo>
                    <a:lnTo>
                      <a:pt x="299732" y="17756"/>
                    </a:lnTo>
                    <a:cubicBezTo>
                      <a:pt x="299732" y="17756"/>
                      <a:pt x="299924" y="17756"/>
                      <a:pt x="299924" y="17756"/>
                    </a:cubicBezTo>
                    <a:lnTo>
                      <a:pt x="300061" y="17838"/>
                    </a:lnTo>
                    <a:lnTo>
                      <a:pt x="300198" y="17975"/>
                    </a:lnTo>
                    <a:lnTo>
                      <a:pt x="300308" y="18167"/>
                    </a:lnTo>
                    <a:lnTo>
                      <a:pt x="300501" y="18579"/>
                    </a:lnTo>
                    <a:lnTo>
                      <a:pt x="300336" y="18936"/>
                    </a:lnTo>
                    <a:lnTo>
                      <a:pt x="300418" y="19238"/>
                    </a:lnTo>
                    <a:lnTo>
                      <a:pt x="300281" y="19402"/>
                    </a:lnTo>
                    <a:lnTo>
                      <a:pt x="300089" y="19924"/>
                    </a:lnTo>
                    <a:lnTo>
                      <a:pt x="300144" y="20143"/>
                    </a:lnTo>
                    <a:lnTo>
                      <a:pt x="300308" y="20253"/>
                    </a:lnTo>
                    <a:lnTo>
                      <a:pt x="300501" y="20637"/>
                    </a:lnTo>
                    <a:lnTo>
                      <a:pt x="300391" y="21104"/>
                    </a:lnTo>
                    <a:lnTo>
                      <a:pt x="300034" y="21735"/>
                    </a:lnTo>
                    <a:lnTo>
                      <a:pt x="299979" y="22201"/>
                    </a:lnTo>
                    <a:lnTo>
                      <a:pt x="300116" y="22695"/>
                    </a:lnTo>
                    <a:lnTo>
                      <a:pt x="301351" y="23299"/>
                    </a:lnTo>
                    <a:lnTo>
                      <a:pt x="304068" y="28870"/>
                    </a:lnTo>
                    <a:lnTo>
                      <a:pt x="311478" y="29803"/>
                    </a:lnTo>
                    <a:lnTo>
                      <a:pt x="316692" y="28486"/>
                    </a:lnTo>
                    <a:lnTo>
                      <a:pt x="322482" y="30050"/>
                    </a:lnTo>
                    <a:lnTo>
                      <a:pt x="325885" y="33233"/>
                    </a:lnTo>
                    <a:lnTo>
                      <a:pt x="335463" y="42207"/>
                    </a:lnTo>
                    <a:lnTo>
                      <a:pt x="333734" y="46708"/>
                    </a:lnTo>
                    <a:lnTo>
                      <a:pt x="337000" y="51126"/>
                    </a:lnTo>
                    <a:lnTo>
                      <a:pt x="335627" y="54886"/>
                    </a:lnTo>
                    <a:lnTo>
                      <a:pt x="338756" y="65314"/>
                    </a:lnTo>
                    <a:lnTo>
                      <a:pt x="337055" y="79091"/>
                    </a:lnTo>
                    <a:lnTo>
                      <a:pt x="340540" y="83975"/>
                    </a:lnTo>
                    <a:lnTo>
                      <a:pt x="338564" y="93443"/>
                    </a:lnTo>
                    <a:lnTo>
                      <a:pt x="343696" y="101758"/>
                    </a:lnTo>
                    <a:lnTo>
                      <a:pt x="342817" y="106396"/>
                    </a:lnTo>
                    <a:lnTo>
                      <a:pt x="346715" y="112571"/>
                    </a:lnTo>
                    <a:lnTo>
                      <a:pt x="354371" y="118746"/>
                    </a:lnTo>
                    <a:lnTo>
                      <a:pt x="357417" y="121216"/>
                    </a:lnTo>
                    <a:lnTo>
                      <a:pt x="354371" y="124042"/>
                    </a:lnTo>
                    <a:lnTo>
                      <a:pt x="351297" y="126896"/>
                    </a:lnTo>
                    <a:lnTo>
                      <a:pt x="350721" y="131946"/>
                    </a:lnTo>
                    <a:lnTo>
                      <a:pt x="352889" y="134526"/>
                    </a:lnTo>
                    <a:lnTo>
                      <a:pt x="351819" y="135733"/>
                    </a:lnTo>
                    <a:lnTo>
                      <a:pt x="328959" y="132989"/>
                    </a:lnTo>
                    <a:lnTo>
                      <a:pt x="325885" y="133236"/>
                    </a:lnTo>
                    <a:lnTo>
                      <a:pt x="313536" y="134169"/>
                    </a:lnTo>
                    <a:lnTo>
                      <a:pt x="311478" y="134333"/>
                    </a:lnTo>
                    <a:lnTo>
                      <a:pt x="303135" y="134937"/>
                    </a:lnTo>
                    <a:lnTo>
                      <a:pt x="301708" y="137736"/>
                    </a:lnTo>
                    <a:lnTo>
                      <a:pt x="303794" y="145558"/>
                    </a:lnTo>
                    <a:lnTo>
                      <a:pt x="290374" y="149125"/>
                    </a:lnTo>
                    <a:lnTo>
                      <a:pt x="279836" y="152638"/>
                    </a:lnTo>
                    <a:lnTo>
                      <a:pt x="279369" y="159828"/>
                    </a:lnTo>
                    <a:lnTo>
                      <a:pt x="276625" y="164987"/>
                    </a:lnTo>
                    <a:lnTo>
                      <a:pt x="283184" y="173742"/>
                    </a:lnTo>
                    <a:lnTo>
                      <a:pt x="279863" y="183621"/>
                    </a:lnTo>
                    <a:lnTo>
                      <a:pt x="261092" y="189357"/>
                    </a:lnTo>
                    <a:lnTo>
                      <a:pt x="252009" y="197644"/>
                    </a:lnTo>
                    <a:lnTo>
                      <a:pt x="241828" y="203188"/>
                    </a:lnTo>
                    <a:lnTo>
                      <a:pt x="232113" y="211201"/>
                    </a:lnTo>
                    <a:lnTo>
                      <a:pt x="224264" y="223907"/>
                    </a:lnTo>
                    <a:lnTo>
                      <a:pt x="219324" y="223441"/>
                    </a:lnTo>
                    <a:lnTo>
                      <a:pt x="216580" y="220861"/>
                    </a:lnTo>
                    <a:lnTo>
                      <a:pt x="198166" y="222371"/>
                    </a:lnTo>
                    <a:lnTo>
                      <a:pt x="187984" y="225362"/>
                    </a:lnTo>
                    <a:lnTo>
                      <a:pt x="176678" y="224182"/>
                    </a:lnTo>
                    <a:lnTo>
                      <a:pt x="170695" y="228106"/>
                    </a:lnTo>
                    <a:lnTo>
                      <a:pt x="164328" y="229204"/>
                    </a:lnTo>
                    <a:lnTo>
                      <a:pt x="133400" y="250719"/>
                    </a:lnTo>
                    <a:lnTo>
                      <a:pt x="132549" y="286011"/>
                    </a:lnTo>
                    <a:lnTo>
                      <a:pt x="0" y="285819"/>
                    </a:lnTo>
                    <a:lnTo>
                      <a:pt x="7958" y="276433"/>
                    </a:lnTo>
                    <a:lnTo>
                      <a:pt x="31532" y="271932"/>
                    </a:lnTo>
                    <a:lnTo>
                      <a:pt x="49205" y="264084"/>
                    </a:lnTo>
                    <a:lnTo>
                      <a:pt x="62652" y="249594"/>
                    </a:lnTo>
                    <a:lnTo>
                      <a:pt x="77636" y="240785"/>
                    </a:lnTo>
                    <a:lnTo>
                      <a:pt x="87461" y="229972"/>
                    </a:lnTo>
                    <a:lnTo>
                      <a:pt x="99508" y="211833"/>
                    </a:lnTo>
                    <a:lnTo>
                      <a:pt x="104036" y="200416"/>
                    </a:lnTo>
                    <a:lnTo>
                      <a:pt x="104530" y="193830"/>
                    </a:lnTo>
                    <a:lnTo>
                      <a:pt x="97120" y="185295"/>
                    </a:lnTo>
                    <a:lnTo>
                      <a:pt x="98904" y="179065"/>
                    </a:lnTo>
                    <a:lnTo>
                      <a:pt x="98575" y="159224"/>
                    </a:lnTo>
                    <a:lnTo>
                      <a:pt x="103158" y="149070"/>
                    </a:lnTo>
                    <a:lnTo>
                      <a:pt x="114821" y="132687"/>
                    </a:lnTo>
                    <a:lnTo>
                      <a:pt x="115261" y="119542"/>
                    </a:lnTo>
                    <a:lnTo>
                      <a:pt x="126786" y="108235"/>
                    </a:lnTo>
                    <a:lnTo>
                      <a:pt x="135157" y="96627"/>
                    </a:lnTo>
                    <a:lnTo>
                      <a:pt x="166195" y="81615"/>
                    </a:lnTo>
                    <a:lnTo>
                      <a:pt x="182743" y="71187"/>
                    </a:lnTo>
                    <a:lnTo>
                      <a:pt x="188259" y="64710"/>
                    </a:lnTo>
                    <a:lnTo>
                      <a:pt x="200910" y="40616"/>
                    </a:lnTo>
                    <a:lnTo>
                      <a:pt x="213287" y="5159"/>
                    </a:lnTo>
                    <a:lnTo>
                      <a:pt x="229231" y="0"/>
                    </a:lnTo>
                    <a:lnTo>
                      <a:pt x="230356" y="15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7" name="Freeform: Shape 4126">
                <a:extLst>
                  <a:ext uri="{FF2B5EF4-FFF2-40B4-BE49-F238E27FC236}">
                    <a16:creationId xmlns:a16="http://schemas.microsoft.com/office/drawing/2014/main" id="{F603680B-C658-D91A-C028-8A32C74AC7F9}"/>
                  </a:ext>
                </a:extLst>
              </p:cNvPr>
              <p:cNvSpPr/>
              <p:nvPr/>
            </p:nvSpPr>
            <p:spPr>
              <a:xfrm>
                <a:off x="1498032" y="3881444"/>
                <a:ext cx="22197" cy="44283"/>
              </a:xfrm>
              <a:custGeom>
                <a:avLst/>
                <a:gdLst>
                  <a:gd name="connsiteX0" fmla="*/ 185240 w 212820"/>
                  <a:gd name="connsiteY0" fmla="*/ 12843 h 424570"/>
                  <a:gd name="connsiteX1" fmla="*/ 187353 w 212820"/>
                  <a:gd name="connsiteY1" fmla="*/ 20720 h 424570"/>
                  <a:gd name="connsiteX2" fmla="*/ 195806 w 212820"/>
                  <a:gd name="connsiteY2" fmla="*/ 31065 h 424570"/>
                  <a:gd name="connsiteX3" fmla="*/ 199538 w 212820"/>
                  <a:gd name="connsiteY3" fmla="*/ 46324 h 424570"/>
                  <a:gd name="connsiteX4" fmla="*/ 202831 w 212820"/>
                  <a:gd name="connsiteY4" fmla="*/ 55627 h 424570"/>
                  <a:gd name="connsiteX5" fmla="*/ 204368 w 212820"/>
                  <a:gd name="connsiteY5" fmla="*/ 79145 h 424570"/>
                  <a:gd name="connsiteX6" fmla="*/ 207634 w 212820"/>
                  <a:gd name="connsiteY6" fmla="*/ 89876 h 424570"/>
                  <a:gd name="connsiteX7" fmla="*/ 212820 w 212820"/>
                  <a:gd name="connsiteY7" fmla="*/ 101210 h 424570"/>
                  <a:gd name="connsiteX8" fmla="*/ 211009 w 212820"/>
                  <a:gd name="connsiteY8" fmla="*/ 109333 h 424570"/>
                  <a:gd name="connsiteX9" fmla="*/ 205466 w 212820"/>
                  <a:gd name="connsiteY9" fmla="*/ 120969 h 424570"/>
                  <a:gd name="connsiteX10" fmla="*/ 199950 w 212820"/>
                  <a:gd name="connsiteY10" fmla="*/ 118417 h 424570"/>
                  <a:gd name="connsiteX11" fmla="*/ 195394 w 212820"/>
                  <a:gd name="connsiteY11" fmla="*/ 105628 h 424570"/>
                  <a:gd name="connsiteX12" fmla="*/ 190619 w 212820"/>
                  <a:gd name="connsiteY12" fmla="*/ 105628 h 424570"/>
                  <a:gd name="connsiteX13" fmla="*/ 187984 w 212820"/>
                  <a:gd name="connsiteY13" fmla="*/ 108702 h 424570"/>
                  <a:gd name="connsiteX14" fmla="*/ 190537 w 212820"/>
                  <a:gd name="connsiteY14" fmla="*/ 119020 h 424570"/>
                  <a:gd name="connsiteX15" fmla="*/ 189796 w 212820"/>
                  <a:gd name="connsiteY15" fmla="*/ 124179 h 424570"/>
                  <a:gd name="connsiteX16" fmla="*/ 194187 w 212820"/>
                  <a:gd name="connsiteY16" fmla="*/ 128927 h 424570"/>
                  <a:gd name="connsiteX17" fmla="*/ 194571 w 212820"/>
                  <a:gd name="connsiteY17" fmla="*/ 136721 h 424570"/>
                  <a:gd name="connsiteX18" fmla="*/ 191525 w 212820"/>
                  <a:gd name="connsiteY18" fmla="*/ 148082 h 424570"/>
                  <a:gd name="connsiteX19" fmla="*/ 186997 w 212820"/>
                  <a:gd name="connsiteY19" fmla="*/ 150827 h 424570"/>
                  <a:gd name="connsiteX20" fmla="*/ 182084 w 212820"/>
                  <a:gd name="connsiteY20" fmla="*/ 161749 h 424570"/>
                  <a:gd name="connsiteX21" fmla="*/ 184115 w 212820"/>
                  <a:gd name="connsiteY21" fmla="*/ 176431 h 424570"/>
                  <a:gd name="connsiteX22" fmla="*/ 179175 w 212820"/>
                  <a:gd name="connsiteY22" fmla="*/ 196519 h 424570"/>
                  <a:gd name="connsiteX23" fmla="*/ 155986 w 212820"/>
                  <a:gd name="connsiteY23" fmla="*/ 264303 h 424570"/>
                  <a:gd name="connsiteX24" fmla="*/ 148384 w 212820"/>
                  <a:gd name="connsiteY24" fmla="*/ 292515 h 424570"/>
                  <a:gd name="connsiteX25" fmla="*/ 137242 w 212820"/>
                  <a:gd name="connsiteY25" fmla="*/ 323278 h 424570"/>
                  <a:gd name="connsiteX26" fmla="*/ 130217 w 212820"/>
                  <a:gd name="connsiteY26" fmla="*/ 354481 h 424570"/>
                  <a:gd name="connsiteX27" fmla="*/ 127665 w 212820"/>
                  <a:gd name="connsiteY27" fmla="*/ 366803 h 424570"/>
                  <a:gd name="connsiteX28" fmla="*/ 113559 w 212820"/>
                  <a:gd name="connsiteY28" fmla="*/ 403302 h 424570"/>
                  <a:gd name="connsiteX29" fmla="*/ 102746 w 212820"/>
                  <a:gd name="connsiteY29" fmla="*/ 410575 h 424570"/>
                  <a:gd name="connsiteX30" fmla="*/ 90397 w 212820"/>
                  <a:gd name="connsiteY30" fmla="*/ 411535 h 424570"/>
                  <a:gd name="connsiteX31" fmla="*/ 68635 w 212820"/>
                  <a:gd name="connsiteY31" fmla="*/ 423088 h 424570"/>
                  <a:gd name="connsiteX32" fmla="*/ 57905 w 212820"/>
                  <a:gd name="connsiteY32" fmla="*/ 424570 h 424570"/>
                  <a:gd name="connsiteX33" fmla="*/ 45857 w 212820"/>
                  <a:gd name="connsiteY33" fmla="*/ 416337 h 424570"/>
                  <a:gd name="connsiteX34" fmla="*/ 33535 w 212820"/>
                  <a:gd name="connsiteY34" fmla="*/ 413730 h 424570"/>
                  <a:gd name="connsiteX35" fmla="*/ 23739 w 212820"/>
                  <a:gd name="connsiteY35" fmla="*/ 405278 h 424570"/>
                  <a:gd name="connsiteX36" fmla="*/ 19814 w 212820"/>
                  <a:gd name="connsiteY36" fmla="*/ 392764 h 424570"/>
                  <a:gd name="connsiteX37" fmla="*/ 13886 w 212820"/>
                  <a:gd name="connsiteY37" fmla="*/ 385821 h 424570"/>
                  <a:gd name="connsiteX38" fmla="*/ 12789 w 212820"/>
                  <a:gd name="connsiteY38" fmla="*/ 381842 h 424570"/>
                  <a:gd name="connsiteX39" fmla="*/ 11663 w 212820"/>
                  <a:gd name="connsiteY39" fmla="*/ 363647 h 424570"/>
                  <a:gd name="connsiteX40" fmla="*/ 15368 w 212820"/>
                  <a:gd name="connsiteY40" fmla="*/ 358323 h 424570"/>
                  <a:gd name="connsiteX41" fmla="*/ 14655 w 212820"/>
                  <a:gd name="connsiteY41" fmla="*/ 354481 h 424570"/>
                  <a:gd name="connsiteX42" fmla="*/ 11498 w 212820"/>
                  <a:gd name="connsiteY42" fmla="*/ 350694 h 424570"/>
                  <a:gd name="connsiteX43" fmla="*/ 10291 w 212820"/>
                  <a:gd name="connsiteY43" fmla="*/ 343367 h 424570"/>
                  <a:gd name="connsiteX44" fmla="*/ 3595 w 212820"/>
                  <a:gd name="connsiteY44" fmla="*/ 334393 h 424570"/>
                  <a:gd name="connsiteX45" fmla="*/ 0 w 212820"/>
                  <a:gd name="connsiteY45" fmla="*/ 319025 h 424570"/>
                  <a:gd name="connsiteX46" fmla="*/ 1729 w 212820"/>
                  <a:gd name="connsiteY46" fmla="*/ 316253 h 424570"/>
                  <a:gd name="connsiteX47" fmla="*/ 357 w 212820"/>
                  <a:gd name="connsiteY47" fmla="*/ 310764 h 424570"/>
                  <a:gd name="connsiteX48" fmla="*/ 6587 w 212820"/>
                  <a:gd name="connsiteY48" fmla="*/ 296713 h 424570"/>
                  <a:gd name="connsiteX49" fmla="*/ 7767 w 212820"/>
                  <a:gd name="connsiteY49" fmla="*/ 287795 h 424570"/>
                  <a:gd name="connsiteX50" fmla="*/ 14325 w 212820"/>
                  <a:gd name="connsiteY50" fmla="*/ 287520 h 424570"/>
                  <a:gd name="connsiteX51" fmla="*/ 20088 w 212820"/>
                  <a:gd name="connsiteY51" fmla="*/ 272070 h 424570"/>
                  <a:gd name="connsiteX52" fmla="*/ 24946 w 212820"/>
                  <a:gd name="connsiteY52" fmla="*/ 264303 h 424570"/>
                  <a:gd name="connsiteX53" fmla="*/ 36088 w 212820"/>
                  <a:gd name="connsiteY53" fmla="*/ 245395 h 424570"/>
                  <a:gd name="connsiteX54" fmla="*/ 34085 w 212820"/>
                  <a:gd name="connsiteY54" fmla="*/ 238068 h 424570"/>
                  <a:gd name="connsiteX55" fmla="*/ 36060 w 212820"/>
                  <a:gd name="connsiteY55" fmla="*/ 229890 h 424570"/>
                  <a:gd name="connsiteX56" fmla="*/ 30928 w 212820"/>
                  <a:gd name="connsiteY56" fmla="*/ 220175 h 424570"/>
                  <a:gd name="connsiteX57" fmla="*/ 29310 w 212820"/>
                  <a:gd name="connsiteY57" fmla="*/ 207304 h 424570"/>
                  <a:gd name="connsiteX58" fmla="*/ 23711 w 212820"/>
                  <a:gd name="connsiteY58" fmla="*/ 195504 h 424570"/>
                  <a:gd name="connsiteX59" fmla="*/ 22943 w 212820"/>
                  <a:gd name="connsiteY59" fmla="*/ 176458 h 424570"/>
                  <a:gd name="connsiteX60" fmla="*/ 21103 w 212820"/>
                  <a:gd name="connsiteY60" fmla="*/ 174126 h 424570"/>
                  <a:gd name="connsiteX61" fmla="*/ 20692 w 212820"/>
                  <a:gd name="connsiteY61" fmla="*/ 167594 h 424570"/>
                  <a:gd name="connsiteX62" fmla="*/ 34716 w 212820"/>
                  <a:gd name="connsiteY62" fmla="*/ 143719 h 424570"/>
                  <a:gd name="connsiteX63" fmla="*/ 35703 w 212820"/>
                  <a:gd name="connsiteY63" fmla="*/ 129119 h 424570"/>
                  <a:gd name="connsiteX64" fmla="*/ 42482 w 212820"/>
                  <a:gd name="connsiteY64" fmla="*/ 128488 h 424570"/>
                  <a:gd name="connsiteX65" fmla="*/ 47367 w 212820"/>
                  <a:gd name="connsiteY65" fmla="*/ 131205 h 424570"/>
                  <a:gd name="connsiteX66" fmla="*/ 58701 w 212820"/>
                  <a:gd name="connsiteY66" fmla="*/ 120914 h 424570"/>
                  <a:gd name="connsiteX67" fmla="*/ 60759 w 212820"/>
                  <a:gd name="connsiteY67" fmla="*/ 126649 h 424570"/>
                  <a:gd name="connsiteX68" fmla="*/ 65369 w 212820"/>
                  <a:gd name="connsiteY68" fmla="*/ 121764 h 424570"/>
                  <a:gd name="connsiteX69" fmla="*/ 70007 w 212820"/>
                  <a:gd name="connsiteY69" fmla="*/ 121902 h 424570"/>
                  <a:gd name="connsiteX70" fmla="*/ 71928 w 212820"/>
                  <a:gd name="connsiteY70" fmla="*/ 115974 h 424570"/>
                  <a:gd name="connsiteX71" fmla="*/ 75029 w 212820"/>
                  <a:gd name="connsiteY71" fmla="*/ 117566 h 424570"/>
                  <a:gd name="connsiteX72" fmla="*/ 79969 w 212820"/>
                  <a:gd name="connsiteY72" fmla="*/ 116166 h 424570"/>
                  <a:gd name="connsiteX73" fmla="*/ 83125 w 212820"/>
                  <a:gd name="connsiteY73" fmla="*/ 118362 h 424570"/>
                  <a:gd name="connsiteX74" fmla="*/ 82933 w 212820"/>
                  <a:gd name="connsiteY74" fmla="*/ 115233 h 424570"/>
                  <a:gd name="connsiteX75" fmla="*/ 85979 w 212820"/>
                  <a:gd name="connsiteY75" fmla="*/ 113532 h 424570"/>
                  <a:gd name="connsiteX76" fmla="*/ 89793 w 212820"/>
                  <a:gd name="connsiteY76" fmla="*/ 116139 h 424570"/>
                  <a:gd name="connsiteX77" fmla="*/ 91165 w 212820"/>
                  <a:gd name="connsiteY77" fmla="*/ 111693 h 424570"/>
                  <a:gd name="connsiteX78" fmla="*/ 95639 w 212820"/>
                  <a:gd name="connsiteY78" fmla="*/ 107604 h 424570"/>
                  <a:gd name="connsiteX79" fmla="*/ 107906 w 212820"/>
                  <a:gd name="connsiteY79" fmla="*/ 98410 h 424570"/>
                  <a:gd name="connsiteX80" fmla="*/ 111720 w 212820"/>
                  <a:gd name="connsiteY80" fmla="*/ 102280 h 424570"/>
                  <a:gd name="connsiteX81" fmla="*/ 109772 w 212820"/>
                  <a:gd name="connsiteY81" fmla="*/ 106067 h 424570"/>
                  <a:gd name="connsiteX82" fmla="*/ 116880 w 212820"/>
                  <a:gd name="connsiteY82" fmla="*/ 105546 h 424570"/>
                  <a:gd name="connsiteX83" fmla="*/ 112571 w 212820"/>
                  <a:gd name="connsiteY83" fmla="*/ 97560 h 424570"/>
                  <a:gd name="connsiteX84" fmla="*/ 118966 w 212820"/>
                  <a:gd name="connsiteY84" fmla="*/ 89876 h 424570"/>
                  <a:gd name="connsiteX85" fmla="*/ 120008 w 212820"/>
                  <a:gd name="connsiteY85" fmla="*/ 86281 h 424570"/>
                  <a:gd name="connsiteX86" fmla="*/ 123741 w 212820"/>
                  <a:gd name="connsiteY86" fmla="*/ 82548 h 424570"/>
                  <a:gd name="connsiteX87" fmla="*/ 125333 w 212820"/>
                  <a:gd name="connsiteY87" fmla="*/ 85951 h 424570"/>
                  <a:gd name="connsiteX88" fmla="*/ 123356 w 212820"/>
                  <a:gd name="connsiteY88" fmla="*/ 89876 h 424570"/>
                  <a:gd name="connsiteX89" fmla="*/ 122478 w 212820"/>
                  <a:gd name="connsiteY89" fmla="*/ 94349 h 424570"/>
                  <a:gd name="connsiteX90" fmla="*/ 123329 w 212820"/>
                  <a:gd name="connsiteY90" fmla="*/ 95804 h 424570"/>
                  <a:gd name="connsiteX91" fmla="*/ 126759 w 212820"/>
                  <a:gd name="connsiteY91" fmla="*/ 92236 h 424570"/>
                  <a:gd name="connsiteX92" fmla="*/ 132248 w 212820"/>
                  <a:gd name="connsiteY92" fmla="*/ 80627 h 424570"/>
                  <a:gd name="connsiteX93" fmla="*/ 131287 w 212820"/>
                  <a:gd name="connsiteY93" fmla="*/ 74041 h 424570"/>
                  <a:gd name="connsiteX94" fmla="*/ 133346 w 212820"/>
                  <a:gd name="connsiteY94" fmla="*/ 69239 h 424570"/>
                  <a:gd name="connsiteX95" fmla="*/ 138203 w 212820"/>
                  <a:gd name="connsiteY95" fmla="*/ 69348 h 424570"/>
                  <a:gd name="connsiteX96" fmla="*/ 139849 w 212820"/>
                  <a:gd name="connsiteY96" fmla="*/ 71077 h 424570"/>
                  <a:gd name="connsiteX97" fmla="*/ 140975 w 212820"/>
                  <a:gd name="connsiteY97" fmla="*/ 69897 h 424570"/>
                  <a:gd name="connsiteX98" fmla="*/ 141085 w 212820"/>
                  <a:gd name="connsiteY98" fmla="*/ 67565 h 424570"/>
                  <a:gd name="connsiteX99" fmla="*/ 139548 w 212820"/>
                  <a:gd name="connsiteY99" fmla="*/ 68635 h 424570"/>
                  <a:gd name="connsiteX100" fmla="*/ 137572 w 212820"/>
                  <a:gd name="connsiteY100" fmla="*/ 67290 h 424570"/>
                  <a:gd name="connsiteX101" fmla="*/ 138258 w 212820"/>
                  <a:gd name="connsiteY101" fmla="*/ 65177 h 424570"/>
                  <a:gd name="connsiteX102" fmla="*/ 140920 w 212820"/>
                  <a:gd name="connsiteY102" fmla="*/ 64326 h 424570"/>
                  <a:gd name="connsiteX103" fmla="*/ 139493 w 212820"/>
                  <a:gd name="connsiteY103" fmla="*/ 62158 h 424570"/>
                  <a:gd name="connsiteX104" fmla="*/ 140535 w 212820"/>
                  <a:gd name="connsiteY104" fmla="*/ 59771 h 424570"/>
                  <a:gd name="connsiteX105" fmla="*/ 137297 w 212820"/>
                  <a:gd name="connsiteY105" fmla="*/ 58014 h 424570"/>
                  <a:gd name="connsiteX106" fmla="*/ 136282 w 212820"/>
                  <a:gd name="connsiteY106" fmla="*/ 55188 h 424570"/>
                  <a:gd name="connsiteX107" fmla="*/ 136941 w 212820"/>
                  <a:gd name="connsiteY107" fmla="*/ 49946 h 424570"/>
                  <a:gd name="connsiteX108" fmla="*/ 140783 w 212820"/>
                  <a:gd name="connsiteY108" fmla="*/ 48409 h 424570"/>
                  <a:gd name="connsiteX109" fmla="*/ 143335 w 212820"/>
                  <a:gd name="connsiteY109" fmla="*/ 49068 h 424570"/>
                  <a:gd name="connsiteX110" fmla="*/ 145420 w 212820"/>
                  <a:gd name="connsiteY110" fmla="*/ 54529 h 424570"/>
                  <a:gd name="connsiteX111" fmla="*/ 147808 w 212820"/>
                  <a:gd name="connsiteY111" fmla="*/ 55682 h 424570"/>
                  <a:gd name="connsiteX112" fmla="*/ 150250 w 212820"/>
                  <a:gd name="connsiteY112" fmla="*/ 53898 h 424570"/>
                  <a:gd name="connsiteX113" fmla="*/ 150085 w 212820"/>
                  <a:gd name="connsiteY113" fmla="*/ 47943 h 424570"/>
                  <a:gd name="connsiteX114" fmla="*/ 154970 w 212820"/>
                  <a:gd name="connsiteY114" fmla="*/ 48217 h 424570"/>
                  <a:gd name="connsiteX115" fmla="*/ 155273 w 212820"/>
                  <a:gd name="connsiteY115" fmla="*/ 43854 h 424570"/>
                  <a:gd name="connsiteX116" fmla="*/ 158895 w 212820"/>
                  <a:gd name="connsiteY116" fmla="*/ 45281 h 424570"/>
                  <a:gd name="connsiteX117" fmla="*/ 162957 w 212820"/>
                  <a:gd name="connsiteY117" fmla="*/ 42948 h 424570"/>
                  <a:gd name="connsiteX118" fmla="*/ 165289 w 212820"/>
                  <a:gd name="connsiteY118" fmla="*/ 33206 h 424570"/>
                  <a:gd name="connsiteX119" fmla="*/ 167978 w 212820"/>
                  <a:gd name="connsiteY119" fmla="*/ 29556 h 424570"/>
                  <a:gd name="connsiteX120" fmla="*/ 167978 w 212820"/>
                  <a:gd name="connsiteY120" fmla="*/ 25742 h 424570"/>
                  <a:gd name="connsiteX121" fmla="*/ 162764 w 212820"/>
                  <a:gd name="connsiteY121" fmla="*/ 14956 h 424570"/>
                  <a:gd name="connsiteX122" fmla="*/ 163368 w 212820"/>
                  <a:gd name="connsiteY122" fmla="*/ 14188 h 424570"/>
                  <a:gd name="connsiteX123" fmla="*/ 167320 w 212820"/>
                  <a:gd name="connsiteY123" fmla="*/ 15286 h 424570"/>
                  <a:gd name="connsiteX124" fmla="*/ 169159 w 212820"/>
                  <a:gd name="connsiteY124" fmla="*/ 11471 h 424570"/>
                  <a:gd name="connsiteX125" fmla="*/ 173714 w 212820"/>
                  <a:gd name="connsiteY125" fmla="*/ 8617 h 424570"/>
                  <a:gd name="connsiteX126" fmla="*/ 175251 w 212820"/>
                  <a:gd name="connsiteY126" fmla="*/ 2909 h 424570"/>
                  <a:gd name="connsiteX127" fmla="*/ 175004 w 212820"/>
                  <a:gd name="connsiteY127" fmla="*/ 1701 h 424570"/>
                  <a:gd name="connsiteX128" fmla="*/ 176842 w 212820"/>
                  <a:gd name="connsiteY128" fmla="*/ 0 h 424570"/>
                  <a:gd name="connsiteX129" fmla="*/ 179230 w 212820"/>
                  <a:gd name="connsiteY129" fmla="*/ 2909 h 424570"/>
                  <a:gd name="connsiteX130" fmla="*/ 180465 w 212820"/>
                  <a:gd name="connsiteY130" fmla="*/ 6065 h 424570"/>
                  <a:gd name="connsiteX131" fmla="*/ 177337 w 212820"/>
                  <a:gd name="connsiteY131" fmla="*/ 7629 h 424570"/>
                  <a:gd name="connsiteX132" fmla="*/ 185268 w 212820"/>
                  <a:gd name="connsiteY132" fmla="*/ 12898 h 42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212820" h="424570">
                    <a:moveTo>
                      <a:pt x="185240" y="12843"/>
                    </a:moveTo>
                    <a:lnTo>
                      <a:pt x="187353" y="20720"/>
                    </a:lnTo>
                    <a:lnTo>
                      <a:pt x="195806" y="31065"/>
                    </a:lnTo>
                    <a:lnTo>
                      <a:pt x="199538" y="46324"/>
                    </a:lnTo>
                    <a:lnTo>
                      <a:pt x="202831" y="55627"/>
                    </a:lnTo>
                    <a:lnTo>
                      <a:pt x="204368" y="79145"/>
                    </a:lnTo>
                    <a:lnTo>
                      <a:pt x="207634" y="89876"/>
                    </a:lnTo>
                    <a:lnTo>
                      <a:pt x="212820" y="101210"/>
                    </a:lnTo>
                    <a:lnTo>
                      <a:pt x="211009" y="109333"/>
                    </a:lnTo>
                    <a:lnTo>
                      <a:pt x="205466" y="120969"/>
                    </a:lnTo>
                    <a:lnTo>
                      <a:pt x="199950" y="118417"/>
                    </a:lnTo>
                    <a:lnTo>
                      <a:pt x="195394" y="105628"/>
                    </a:lnTo>
                    <a:lnTo>
                      <a:pt x="190619" y="105628"/>
                    </a:lnTo>
                    <a:cubicBezTo>
                      <a:pt x="190619" y="105628"/>
                      <a:pt x="187984" y="108702"/>
                      <a:pt x="187984" y="108702"/>
                    </a:cubicBezTo>
                    <a:lnTo>
                      <a:pt x="190537" y="119020"/>
                    </a:lnTo>
                    <a:lnTo>
                      <a:pt x="189796" y="124179"/>
                    </a:lnTo>
                    <a:lnTo>
                      <a:pt x="194187" y="128927"/>
                    </a:lnTo>
                    <a:lnTo>
                      <a:pt x="194571" y="136721"/>
                    </a:lnTo>
                    <a:lnTo>
                      <a:pt x="191525" y="148082"/>
                    </a:lnTo>
                    <a:lnTo>
                      <a:pt x="186997" y="150827"/>
                    </a:lnTo>
                    <a:lnTo>
                      <a:pt x="182084" y="161749"/>
                    </a:lnTo>
                    <a:lnTo>
                      <a:pt x="184115" y="176431"/>
                    </a:lnTo>
                    <a:lnTo>
                      <a:pt x="179175" y="196519"/>
                    </a:lnTo>
                    <a:lnTo>
                      <a:pt x="155986" y="264303"/>
                    </a:lnTo>
                    <a:lnTo>
                      <a:pt x="148384" y="292515"/>
                    </a:lnTo>
                    <a:lnTo>
                      <a:pt x="137242" y="323278"/>
                    </a:lnTo>
                    <a:lnTo>
                      <a:pt x="130217" y="354481"/>
                    </a:lnTo>
                    <a:lnTo>
                      <a:pt x="127665" y="366803"/>
                    </a:lnTo>
                    <a:lnTo>
                      <a:pt x="113559" y="403302"/>
                    </a:lnTo>
                    <a:lnTo>
                      <a:pt x="102746" y="410575"/>
                    </a:lnTo>
                    <a:lnTo>
                      <a:pt x="90397" y="411535"/>
                    </a:lnTo>
                    <a:lnTo>
                      <a:pt x="68635" y="423088"/>
                    </a:lnTo>
                    <a:lnTo>
                      <a:pt x="57905" y="424570"/>
                    </a:lnTo>
                    <a:lnTo>
                      <a:pt x="45857" y="416337"/>
                    </a:lnTo>
                    <a:lnTo>
                      <a:pt x="33535" y="413730"/>
                    </a:lnTo>
                    <a:lnTo>
                      <a:pt x="23739" y="405278"/>
                    </a:lnTo>
                    <a:lnTo>
                      <a:pt x="19814" y="392764"/>
                    </a:lnTo>
                    <a:lnTo>
                      <a:pt x="13886" y="385821"/>
                    </a:lnTo>
                    <a:lnTo>
                      <a:pt x="12789" y="381842"/>
                    </a:lnTo>
                    <a:lnTo>
                      <a:pt x="11663" y="363647"/>
                    </a:lnTo>
                    <a:lnTo>
                      <a:pt x="15368" y="358323"/>
                    </a:lnTo>
                    <a:lnTo>
                      <a:pt x="14655" y="354481"/>
                    </a:lnTo>
                    <a:lnTo>
                      <a:pt x="11498" y="350694"/>
                    </a:lnTo>
                    <a:lnTo>
                      <a:pt x="10291" y="343367"/>
                    </a:lnTo>
                    <a:lnTo>
                      <a:pt x="3595" y="334393"/>
                    </a:lnTo>
                    <a:lnTo>
                      <a:pt x="0" y="319025"/>
                    </a:lnTo>
                    <a:lnTo>
                      <a:pt x="1729" y="316253"/>
                    </a:lnTo>
                    <a:lnTo>
                      <a:pt x="357" y="310764"/>
                    </a:lnTo>
                    <a:lnTo>
                      <a:pt x="6587" y="296713"/>
                    </a:lnTo>
                    <a:lnTo>
                      <a:pt x="7767" y="287795"/>
                    </a:lnTo>
                    <a:lnTo>
                      <a:pt x="14325" y="287520"/>
                    </a:lnTo>
                    <a:lnTo>
                      <a:pt x="20088" y="272070"/>
                    </a:lnTo>
                    <a:lnTo>
                      <a:pt x="24946" y="264303"/>
                    </a:lnTo>
                    <a:lnTo>
                      <a:pt x="36088" y="245395"/>
                    </a:lnTo>
                    <a:lnTo>
                      <a:pt x="34085" y="238068"/>
                    </a:lnTo>
                    <a:lnTo>
                      <a:pt x="36060" y="229890"/>
                    </a:lnTo>
                    <a:lnTo>
                      <a:pt x="30928" y="220175"/>
                    </a:lnTo>
                    <a:lnTo>
                      <a:pt x="29310" y="207304"/>
                    </a:lnTo>
                    <a:lnTo>
                      <a:pt x="23711" y="195504"/>
                    </a:lnTo>
                    <a:lnTo>
                      <a:pt x="22943" y="176458"/>
                    </a:lnTo>
                    <a:lnTo>
                      <a:pt x="21103" y="174126"/>
                    </a:lnTo>
                    <a:lnTo>
                      <a:pt x="20692" y="167594"/>
                    </a:lnTo>
                    <a:lnTo>
                      <a:pt x="34716" y="143719"/>
                    </a:lnTo>
                    <a:lnTo>
                      <a:pt x="35703" y="129119"/>
                    </a:lnTo>
                    <a:lnTo>
                      <a:pt x="42482" y="128488"/>
                    </a:lnTo>
                    <a:lnTo>
                      <a:pt x="47367" y="131205"/>
                    </a:lnTo>
                    <a:lnTo>
                      <a:pt x="58701" y="120914"/>
                    </a:lnTo>
                    <a:lnTo>
                      <a:pt x="60759" y="126649"/>
                    </a:lnTo>
                    <a:lnTo>
                      <a:pt x="65369" y="121764"/>
                    </a:lnTo>
                    <a:lnTo>
                      <a:pt x="70007" y="121902"/>
                    </a:lnTo>
                    <a:lnTo>
                      <a:pt x="71928" y="115974"/>
                    </a:lnTo>
                    <a:lnTo>
                      <a:pt x="75029" y="117566"/>
                    </a:lnTo>
                    <a:lnTo>
                      <a:pt x="79969" y="116166"/>
                    </a:lnTo>
                    <a:lnTo>
                      <a:pt x="83125" y="118362"/>
                    </a:lnTo>
                    <a:lnTo>
                      <a:pt x="82933" y="115233"/>
                    </a:lnTo>
                    <a:lnTo>
                      <a:pt x="85979" y="113532"/>
                    </a:lnTo>
                    <a:lnTo>
                      <a:pt x="89793" y="116139"/>
                    </a:lnTo>
                    <a:lnTo>
                      <a:pt x="91165" y="111693"/>
                    </a:lnTo>
                    <a:lnTo>
                      <a:pt x="95639" y="107604"/>
                    </a:lnTo>
                    <a:lnTo>
                      <a:pt x="107906" y="98410"/>
                    </a:lnTo>
                    <a:lnTo>
                      <a:pt x="111720" y="102280"/>
                    </a:lnTo>
                    <a:lnTo>
                      <a:pt x="109772" y="106067"/>
                    </a:lnTo>
                    <a:lnTo>
                      <a:pt x="116880" y="105546"/>
                    </a:lnTo>
                    <a:lnTo>
                      <a:pt x="112571" y="97560"/>
                    </a:lnTo>
                    <a:lnTo>
                      <a:pt x="118966" y="89876"/>
                    </a:lnTo>
                    <a:lnTo>
                      <a:pt x="120008" y="86281"/>
                    </a:lnTo>
                    <a:lnTo>
                      <a:pt x="123741" y="82548"/>
                    </a:lnTo>
                    <a:lnTo>
                      <a:pt x="125333" y="85951"/>
                    </a:lnTo>
                    <a:lnTo>
                      <a:pt x="123356" y="89876"/>
                    </a:lnTo>
                    <a:lnTo>
                      <a:pt x="122478" y="94349"/>
                    </a:lnTo>
                    <a:lnTo>
                      <a:pt x="123329" y="95804"/>
                    </a:lnTo>
                    <a:lnTo>
                      <a:pt x="126759" y="92236"/>
                    </a:lnTo>
                    <a:lnTo>
                      <a:pt x="132248" y="80627"/>
                    </a:lnTo>
                    <a:lnTo>
                      <a:pt x="131287" y="74041"/>
                    </a:lnTo>
                    <a:lnTo>
                      <a:pt x="133346" y="69239"/>
                    </a:lnTo>
                    <a:lnTo>
                      <a:pt x="138203" y="69348"/>
                    </a:lnTo>
                    <a:lnTo>
                      <a:pt x="139849" y="71077"/>
                    </a:lnTo>
                    <a:lnTo>
                      <a:pt x="140975" y="69897"/>
                    </a:lnTo>
                    <a:lnTo>
                      <a:pt x="141085" y="67565"/>
                    </a:lnTo>
                    <a:lnTo>
                      <a:pt x="139548" y="68635"/>
                    </a:lnTo>
                    <a:lnTo>
                      <a:pt x="137572" y="67290"/>
                    </a:lnTo>
                    <a:lnTo>
                      <a:pt x="138258" y="65177"/>
                    </a:lnTo>
                    <a:lnTo>
                      <a:pt x="140920" y="64326"/>
                    </a:lnTo>
                    <a:lnTo>
                      <a:pt x="139493" y="62158"/>
                    </a:lnTo>
                    <a:lnTo>
                      <a:pt x="140535" y="59771"/>
                    </a:lnTo>
                    <a:lnTo>
                      <a:pt x="137297" y="58014"/>
                    </a:lnTo>
                    <a:lnTo>
                      <a:pt x="136282" y="55188"/>
                    </a:lnTo>
                    <a:lnTo>
                      <a:pt x="136941" y="49946"/>
                    </a:lnTo>
                    <a:lnTo>
                      <a:pt x="140783" y="48409"/>
                    </a:lnTo>
                    <a:lnTo>
                      <a:pt x="143335" y="49068"/>
                    </a:lnTo>
                    <a:lnTo>
                      <a:pt x="145420" y="54529"/>
                    </a:lnTo>
                    <a:lnTo>
                      <a:pt x="147808" y="55682"/>
                    </a:lnTo>
                    <a:lnTo>
                      <a:pt x="150250" y="53898"/>
                    </a:lnTo>
                    <a:lnTo>
                      <a:pt x="150085" y="47943"/>
                    </a:lnTo>
                    <a:lnTo>
                      <a:pt x="154970" y="48217"/>
                    </a:lnTo>
                    <a:lnTo>
                      <a:pt x="155273" y="43854"/>
                    </a:lnTo>
                    <a:lnTo>
                      <a:pt x="158895" y="45281"/>
                    </a:lnTo>
                    <a:lnTo>
                      <a:pt x="162957" y="42948"/>
                    </a:lnTo>
                    <a:lnTo>
                      <a:pt x="165289" y="33206"/>
                    </a:lnTo>
                    <a:lnTo>
                      <a:pt x="167978" y="29556"/>
                    </a:lnTo>
                    <a:lnTo>
                      <a:pt x="167978" y="25742"/>
                    </a:lnTo>
                    <a:cubicBezTo>
                      <a:pt x="167978" y="25742"/>
                      <a:pt x="162764" y="14956"/>
                      <a:pt x="162764" y="14956"/>
                    </a:cubicBezTo>
                    <a:lnTo>
                      <a:pt x="163368" y="14188"/>
                    </a:lnTo>
                    <a:lnTo>
                      <a:pt x="167320" y="15286"/>
                    </a:lnTo>
                    <a:lnTo>
                      <a:pt x="169159" y="11471"/>
                    </a:lnTo>
                    <a:lnTo>
                      <a:pt x="173714" y="8617"/>
                    </a:lnTo>
                    <a:lnTo>
                      <a:pt x="175251" y="2909"/>
                    </a:lnTo>
                    <a:lnTo>
                      <a:pt x="175004" y="1701"/>
                    </a:lnTo>
                    <a:lnTo>
                      <a:pt x="176842" y="0"/>
                    </a:lnTo>
                    <a:lnTo>
                      <a:pt x="179230" y="2909"/>
                    </a:lnTo>
                    <a:lnTo>
                      <a:pt x="180465" y="6065"/>
                    </a:lnTo>
                    <a:lnTo>
                      <a:pt x="177337" y="7629"/>
                    </a:lnTo>
                    <a:lnTo>
                      <a:pt x="185268" y="128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8" name="Freeform: Shape 4127">
                <a:extLst>
                  <a:ext uri="{FF2B5EF4-FFF2-40B4-BE49-F238E27FC236}">
                    <a16:creationId xmlns:a16="http://schemas.microsoft.com/office/drawing/2014/main" id="{85E7DD80-9F70-DB41-8F9D-D7A09770329A}"/>
                  </a:ext>
                </a:extLst>
              </p:cNvPr>
              <p:cNvSpPr/>
              <p:nvPr/>
            </p:nvSpPr>
            <p:spPr>
              <a:xfrm>
                <a:off x="1513142" y="3885325"/>
                <a:ext cx="675" cy="1007"/>
              </a:xfrm>
              <a:custGeom>
                <a:avLst/>
                <a:gdLst>
                  <a:gd name="connsiteX0" fmla="*/ 4062 w 6476"/>
                  <a:gd name="connsiteY0" fmla="*/ 0 h 9659"/>
                  <a:gd name="connsiteX1" fmla="*/ 6477 w 6476"/>
                  <a:gd name="connsiteY1" fmla="*/ 9166 h 9659"/>
                  <a:gd name="connsiteX2" fmla="*/ 5214 w 6476"/>
                  <a:gd name="connsiteY2" fmla="*/ 9660 h 9659"/>
                  <a:gd name="connsiteX3" fmla="*/ 4226 w 6476"/>
                  <a:gd name="connsiteY3" fmla="*/ 6531 h 9659"/>
                  <a:gd name="connsiteX4" fmla="*/ 906 w 6476"/>
                  <a:gd name="connsiteY4" fmla="*/ 5626 h 9659"/>
                  <a:gd name="connsiteX5" fmla="*/ 0 w 6476"/>
                  <a:gd name="connsiteY5" fmla="*/ 2827 h 9659"/>
                  <a:gd name="connsiteX6" fmla="*/ 357 w 6476"/>
                  <a:gd name="connsiteY6" fmla="*/ 1564 h 9659"/>
                  <a:gd name="connsiteX7" fmla="*/ 2333 w 6476"/>
                  <a:gd name="connsiteY7" fmla="*/ 1756 h 9659"/>
                  <a:gd name="connsiteX8" fmla="*/ 4089 w 6476"/>
                  <a:gd name="connsiteY8" fmla="*/ 27 h 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6" h="9659">
                    <a:moveTo>
                      <a:pt x="4062" y="0"/>
                    </a:moveTo>
                    <a:lnTo>
                      <a:pt x="6477" y="9166"/>
                    </a:lnTo>
                    <a:lnTo>
                      <a:pt x="5214" y="9660"/>
                    </a:lnTo>
                    <a:lnTo>
                      <a:pt x="4226" y="6531"/>
                    </a:lnTo>
                    <a:lnTo>
                      <a:pt x="906" y="5626"/>
                    </a:lnTo>
                    <a:lnTo>
                      <a:pt x="0" y="2827"/>
                    </a:lnTo>
                    <a:lnTo>
                      <a:pt x="357" y="1564"/>
                    </a:lnTo>
                    <a:lnTo>
                      <a:pt x="2333" y="1756"/>
                    </a:lnTo>
                    <a:lnTo>
                      <a:pt x="4089"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9" name="Freeform: Shape 4128">
                <a:extLst>
                  <a:ext uri="{FF2B5EF4-FFF2-40B4-BE49-F238E27FC236}">
                    <a16:creationId xmlns:a16="http://schemas.microsoft.com/office/drawing/2014/main" id="{E6AAE3AC-FA7F-E812-C9AE-FA1FB2066CF2}"/>
                  </a:ext>
                </a:extLst>
              </p:cNvPr>
              <p:cNvSpPr/>
              <p:nvPr/>
            </p:nvSpPr>
            <p:spPr>
              <a:xfrm>
                <a:off x="1518309" y="3896766"/>
                <a:ext cx="378" cy="610"/>
              </a:xfrm>
              <a:custGeom>
                <a:avLst/>
                <a:gdLst>
                  <a:gd name="connsiteX0" fmla="*/ 3623 w 3622"/>
                  <a:gd name="connsiteY0" fmla="*/ 576 h 5845"/>
                  <a:gd name="connsiteX1" fmla="*/ 1015 w 3622"/>
                  <a:gd name="connsiteY1" fmla="*/ 5845 h 5845"/>
                  <a:gd name="connsiteX2" fmla="*/ 0 w 3622"/>
                  <a:gd name="connsiteY2" fmla="*/ 4665 h 5845"/>
                  <a:gd name="connsiteX3" fmla="*/ 2442 w 3622"/>
                  <a:gd name="connsiteY3" fmla="*/ 0 h 5845"/>
                  <a:gd name="connsiteX4" fmla="*/ 3623 w 3622"/>
                  <a:gd name="connsiteY4" fmla="*/ 604 h 5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5845">
                    <a:moveTo>
                      <a:pt x="3623" y="576"/>
                    </a:moveTo>
                    <a:lnTo>
                      <a:pt x="1015" y="5845"/>
                    </a:lnTo>
                    <a:lnTo>
                      <a:pt x="0" y="4665"/>
                    </a:lnTo>
                    <a:lnTo>
                      <a:pt x="2442" y="0"/>
                    </a:lnTo>
                    <a:lnTo>
                      <a:pt x="3623" y="6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0" name="Freeform: Shape 4129">
                <a:extLst>
                  <a:ext uri="{FF2B5EF4-FFF2-40B4-BE49-F238E27FC236}">
                    <a16:creationId xmlns:a16="http://schemas.microsoft.com/office/drawing/2014/main" id="{5C7216D4-8622-FFD2-0667-69E4023C3F39}"/>
                  </a:ext>
                </a:extLst>
              </p:cNvPr>
              <p:cNvSpPr/>
              <p:nvPr/>
            </p:nvSpPr>
            <p:spPr>
              <a:xfrm>
                <a:off x="1327852" y="3765216"/>
                <a:ext cx="50557" cy="47850"/>
              </a:xfrm>
              <a:custGeom>
                <a:avLst/>
                <a:gdLst>
                  <a:gd name="connsiteX0" fmla="*/ 484725 w 484725"/>
                  <a:gd name="connsiteY0" fmla="*/ 186036 h 458764"/>
                  <a:gd name="connsiteX1" fmla="*/ 484314 w 484725"/>
                  <a:gd name="connsiteY1" fmla="*/ 248881 h 458764"/>
                  <a:gd name="connsiteX2" fmla="*/ 480417 w 484725"/>
                  <a:gd name="connsiteY2" fmla="*/ 256976 h 458764"/>
                  <a:gd name="connsiteX3" fmla="*/ 479182 w 484725"/>
                  <a:gd name="connsiteY3" fmla="*/ 273771 h 458764"/>
                  <a:gd name="connsiteX4" fmla="*/ 474462 w 484725"/>
                  <a:gd name="connsiteY4" fmla="*/ 288728 h 458764"/>
                  <a:gd name="connsiteX5" fmla="*/ 464912 w 484725"/>
                  <a:gd name="connsiteY5" fmla="*/ 299815 h 458764"/>
                  <a:gd name="connsiteX6" fmla="*/ 461316 w 484725"/>
                  <a:gd name="connsiteY6" fmla="*/ 302202 h 458764"/>
                  <a:gd name="connsiteX7" fmla="*/ 435602 w 484725"/>
                  <a:gd name="connsiteY7" fmla="*/ 302422 h 458764"/>
                  <a:gd name="connsiteX8" fmla="*/ 402973 w 484725"/>
                  <a:gd name="connsiteY8" fmla="*/ 305249 h 458764"/>
                  <a:gd name="connsiteX9" fmla="*/ 386370 w 484725"/>
                  <a:gd name="connsiteY9" fmla="*/ 313728 h 458764"/>
                  <a:gd name="connsiteX10" fmla="*/ 366693 w 484725"/>
                  <a:gd name="connsiteY10" fmla="*/ 313728 h 458764"/>
                  <a:gd name="connsiteX11" fmla="*/ 339058 w 484725"/>
                  <a:gd name="connsiteY11" fmla="*/ 311560 h 458764"/>
                  <a:gd name="connsiteX12" fmla="*/ 328410 w 484725"/>
                  <a:gd name="connsiteY12" fmla="*/ 319189 h 458764"/>
                  <a:gd name="connsiteX13" fmla="*/ 311450 w 484725"/>
                  <a:gd name="connsiteY13" fmla="*/ 327779 h 458764"/>
                  <a:gd name="connsiteX14" fmla="*/ 303108 w 484725"/>
                  <a:gd name="connsiteY14" fmla="*/ 329673 h 458764"/>
                  <a:gd name="connsiteX15" fmla="*/ 301104 w 484725"/>
                  <a:gd name="connsiteY15" fmla="*/ 336561 h 458764"/>
                  <a:gd name="connsiteX16" fmla="*/ 298387 w 484725"/>
                  <a:gd name="connsiteY16" fmla="*/ 338454 h 458764"/>
                  <a:gd name="connsiteX17" fmla="*/ 287465 w 484725"/>
                  <a:gd name="connsiteY17" fmla="*/ 335107 h 458764"/>
                  <a:gd name="connsiteX18" fmla="*/ 286038 w 484725"/>
                  <a:gd name="connsiteY18" fmla="*/ 336067 h 458764"/>
                  <a:gd name="connsiteX19" fmla="*/ 283980 w 484725"/>
                  <a:gd name="connsiteY19" fmla="*/ 337412 h 458764"/>
                  <a:gd name="connsiteX20" fmla="*/ 277366 w 484725"/>
                  <a:gd name="connsiteY20" fmla="*/ 341720 h 458764"/>
                  <a:gd name="connsiteX21" fmla="*/ 274814 w 484725"/>
                  <a:gd name="connsiteY21" fmla="*/ 354097 h 458764"/>
                  <a:gd name="connsiteX22" fmla="*/ 264084 w 484725"/>
                  <a:gd name="connsiteY22" fmla="*/ 352917 h 458764"/>
                  <a:gd name="connsiteX23" fmla="*/ 263892 w 484725"/>
                  <a:gd name="connsiteY23" fmla="*/ 364882 h 458764"/>
                  <a:gd name="connsiteX24" fmla="*/ 259583 w 484725"/>
                  <a:gd name="connsiteY24" fmla="*/ 366556 h 458764"/>
                  <a:gd name="connsiteX25" fmla="*/ 258238 w 484725"/>
                  <a:gd name="connsiteY25" fmla="*/ 368806 h 458764"/>
                  <a:gd name="connsiteX26" fmla="*/ 244572 w 484725"/>
                  <a:gd name="connsiteY26" fmla="*/ 362467 h 458764"/>
                  <a:gd name="connsiteX27" fmla="*/ 243227 w 484725"/>
                  <a:gd name="connsiteY27" fmla="*/ 360134 h 458764"/>
                  <a:gd name="connsiteX28" fmla="*/ 240977 w 484725"/>
                  <a:gd name="connsiteY28" fmla="*/ 361232 h 458764"/>
                  <a:gd name="connsiteX29" fmla="*/ 232799 w 484725"/>
                  <a:gd name="connsiteY29" fmla="*/ 369740 h 458764"/>
                  <a:gd name="connsiteX30" fmla="*/ 235488 w 484725"/>
                  <a:gd name="connsiteY30" fmla="*/ 380140 h 458764"/>
                  <a:gd name="connsiteX31" fmla="*/ 233869 w 484725"/>
                  <a:gd name="connsiteY31" fmla="*/ 382500 h 458764"/>
                  <a:gd name="connsiteX32" fmla="*/ 228435 w 484725"/>
                  <a:gd name="connsiteY32" fmla="*/ 383104 h 458764"/>
                  <a:gd name="connsiteX33" fmla="*/ 230054 w 484725"/>
                  <a:gd name="connsiteY33" fmla="*/ 386589 h 458764"/>
                  <a:gd name="connsiteX34" fmla="*/ 229012 w 484725"/>
                  <a:gd name="connsiteY34" fmla="*/ 393697 h 458764"/>
                  <a:gd name="connsiteX35" fmla="*/ 223797 w 484725"/>
                  <a:gd name="connsiteY35" fmla="*/ 401601 h 458764"/>
                  <a:gd name="connsiteX36" fmla="*/ 220751 w 484725"/>
                  <a:gd name="connsiteY36" fmla="*/ 403851 h 458764"/>
                  <a:gd name="connsiteX37" fmla="*/ 209445 w 484725"/>
                  <a:gd name="connsiteY37" fmla="*/ 405388 h 458764"/>
                  <a:gd name="connsiteX38" fmla="*/ 203490 w 484725"/>
                  <a:gd name="connsiteY38" fmla="*/ 409916 h 458764"/>
                  <a:gd name="connsiteX39" fmla="*/ 206893 w 484725"/>
                  <a:gd name="connsiteY39" fmla="*/ 420372 h 458764"/>
                  <a:gd name="connsiteX40" fmla="*/ 204533 w 484725"/>
                  <a:gd name="connsiteY40" fmla="*/ 427040 h 458764"/>
                  <a:gd name="connsiteX41" fmla="*/ 198577 w 484725"/>
                  <a:gd name="connsiteY41" fmla="*/ 432886 h 458764"/>
                  <a:gd name="connsiteX42" fmla="*/ 200087 w 484725"/>
                  <a:gd name="connsiteY42" fmla="*/ 438704 h 458764"/>
                  <a:gd name="connsiteX43" fmla="*/ 197672 w 484725"/>
                  <a:gd name="connsiteY43" fmla="*/ 451135 h 458764"/>
                  <a:gd name="connsiteX44" fmla="*/ 190262 w 484725"/>
                  <a:gd name="connsiteY44" fmla="*/ 451053 h 458764"/>
                  <a:gd name="connsiteX45" fmla="*/ 182962 w 484725"/>
                  <a:gd name="connsiteY45" fmla="*/ 457584 h 458764"/>
                  <a:gd name="connsiteX46" fmla="*/ 179367 w 484725"/>
                  <a:gd name="connsiteY46" fmla="*/ 457584 h 458764"/>
                  <a:gd name="connsiteX47" fmla="*/ 177227 w 484725"/>
                  <a:gd name="connsiteY47" fmla="*/ 455773 h 458764"/>
                  <a:gd name="connsiteX48" fmla="*/ 178379 w 484725"/>
                  <a:gd name="connsiteY48" fmla="*/ 450422 h 458764"/>
                  <a:gd name="connsiteX49" fmla="*/ 175827 w 484725"/>
                  <a:gd name="connsiteY49" fmla="*/ 442655 h 458764"/>
                  <a:gd name="connsiteX50" fmla="*/ 171820 w 484725"/>
                  <a:gd name="connsiteY50" fmla="*/ 443506 h 458764"/>
                  <a:gd name="connsiteX51" fmla="*/ 170037 w 484725"/>
                  <a:gd name="connsiteY51" fmla="*/ 446744 h 458764"/>
                  <a:gd name="connsiteX52" fmla="*/ 164411 w 484725"/>
                  <a:gd name="connsiteY52" fmla="*/ 444823 h 458764"/>
                  <a:gd name="connsiteX53" fmla="*/ 164054 w 484725"/>
                  <a:gd name="connsiteY53" fmla="*/ 452233 h 458764"/>
                  <a:gd name="connsiteX54" fmla="*/ 155519 w 484725"/>
                  <a:gd name="connsiteY54" fmla="*/ 453578 h 458764"/>
                  <a:gd name="connsiteX55" fmla="*/ 153104 w 484725"/>
                  <a:gd name="connsiteY55" fmla="*/ 458490 h 458764"/>
                  <a:gd name="connsiteX56" fmla="*/ 143636 w 484725"/>
                  <a:gd name="connsiteY56" fmla="*/ 455581 h 458764"/>
                  <a:gd name="connsiteX57" fmla="*/ 140151 w 484725"/>
                  <a:gd name="connsiteY57" fmla="*/ 450230 h 458764"/>
                  <a:gd name="connsiteX58" fmla="*/ 132906 w 484725"/>
                  <a:gd name="connsiteY58" fmla="*/ 451245 h 458764"/>
                  <a:gd name="connsiteX59" fmla="*/ 129723 w 484725"/>
                  <a:gd name="connsiteY59" fmla="*/ 456871 h 458764"/>
                  <a:gd name="connsiteX60" fmla="*/ 125332 w 484725"/>
                  <a:gd name="connsiteY60" fmla="*/ 458764 h 458764"/>
                  <a:gd name="connsiteX61" fmla="*/ 125332 w 484725"/>
                  <a:gd name="connsiteY61" fmla="*/ 454840 h 458764"/>
                  <a:gd name="connsiteX62" fmla="*/ 118197 w 484725"/>
                  <a:gd name="connsiteY62" fmla="*/ 451190 h 458764"/>
                  <a:gd name="connsiteX63" fmla="*/ 116880 w 484725"/>
                  <a:gd name="connsiteY63" fmla="*/ 448912 h 458764"/>
                  <a:gd name="connsiteX64" fmla="*/ 115590 w 484725"/>
                  <a:gd name="connsiteY64" fmla="*/ 433791 h 458764"/>
                  <a:gd name="connsiteX65" fmla="*/ 112159 w 484725"/>
                  <a:gd name="connsiteY65" fmla="*/ 432035 h 458764"/>
                  <a:gd name="connsiteX66" fmla="*/ 108702 w 484725"/>
                  <a:gd name="connsiteY66" fmla="*/ 434917 h 458764"/>
                  <a:gd name="connsiteX67" fmla="*/ 105244 w 484725"/>
                  <a:gd name="connsiteY67" fmla="*/ 434752 h 458764"/>
                  <a:gd name="connsiteX68" fmla="*/ 107851 w 484725"/>
                  <a:gd name="connsiteY68" fmla="*/ 428769 h 458764"/>
                  <a:gd name="connsiteX69" fmla="*/ 113092 w 484725"/>
                  <a:gd name="connsiteY69" fmla="*/ 424571 h 458764"/>
                  <a:gd name="connsiteX70" fmla="*/ 106177 w 484725"/>
                  <a:gd name="connsiteY70" fmla="*/ 419494 h 458764"/>
                  <a:gd name="connsiteX71" fmla="*/ 104311 w 484725"/>
                  <a:gd name="connsiteY71" fmla="*/ 415707 h 458764"/>
                  <a:gd name="connsiteX72" fmla="*/ 100112 w 484725"/>
                  <a:gd name="connsiteY72" fmla="*/ 414883 h 458764"/>
                  <a:gd name="connsiteX73" fmla="*/ 100935 w 484725"/>
                  <a:gd name="connsiteY73" fmla="*/ 405360 h 458764"/>
                  <a:gd name="connsiteX74" fmla="*/ 93718 w 484725"/>
                  <a:gd name="connsiteY74" fmla="*/ 391172 h 458764"/>
                  <a:gd name="connsiteX75" fmla="*/ 85265 w 484725"/>
                  <a:gd name="connsiteY75" fmla="*/ 389498 h 458764"/>
                  <a:gd name="connsiteX76" fmla="*/ 85265 w 484725"/>
                  <a:gd name="connsiteY76" fmla="*/ 396085 h 458764"/>
                  <a:gd name="connsiteX77" fmla="*/ 76895 w 484725"/>
                  <a:gd name="connsiteY77" fmla="*/ 399103 h 458764"/>
                  <a:gd name="connsiteX78" fmla="*/ 74178 w 484725"/>
                  <a:gd name="connsiteY78" fmla="*/ 402945 h 458764"/>
                  <a:gd name="connsiteX79" fmla="*/ 57850 w 484725"/>
                  <a:gd name="connsiteY79" fmla="*/ 397923 h 458764"/>
                  <a:gd name="connsiteX80" fmla="*/ 51428 w 484725"/>
                  <a:gd name="connsiteY80" fmla="*/ 400860 h 458764"/>
                  <a:gd name="connsiteX81" fmla="*/ 45748 w 484725"/>
                  <a:gd name="connsiteY81" fmla="*/ 406513 h 458764"/>
                  <a:gd name="connsiteX82" fmla="*/ 41768 w 484725"/>
                  <a:gd name="connsiteY82" fmla="*/ 400201 h 458764"/>
                  <a:gd name="connsiteX83" fmla="*/ 37817 w 484725"/>
                  <a:gd name="connsiteY83" fmla="*/ 397539 h 458764"/>
                  <a:gd name="connsiteX84" fmla="*/ 35347 w 484725"/>
                  <a:gd name="connsiteY84" fmla="*/ 397951 h 458764"/>
                  <a:gd name="connsiteX85" fmla="*/ 30791 w 484725"/>
                  <a:gd name="connsiteY85" fmla="*/ 403439 h 458764"/>
                  <a:gd name="connsiteX86" fmla="*/ 27086 w 484725"/>
                  <a:gd name="connsiteY86" fmla="*/ 403082 h 458764"/>
                  <a:gd name="connsiteX87" fmla="*/ 22311 w 484725"/>
                  <a:gd name="connsiteY87" fmla="*/ 398280 h 458764"/>
                  <a:gd name="connsiteX88" fmla="*/ 25330 w 484725"/>
                  <a:gd name="connsiteY88" fmla="*/ 391639 h 458764"/>
                  <a:gd name="connsiteX89" fmla="*/ 25330 w 484725"/>
                  <a:gd name="connsiteY89" fmla="*/ 388757 h 458764"/>
                  <a:gd name="connsiteX90" fmla="*/ 23930 w 484725"/>
                  <a:gd name="connsiteY90" fmla="*/ 384229 h 458764"/>
                  <a:gd name="connsiteX91" fmla="*/ 25138 w 484725"/>
                  <a:gd name="connsiteY91" fmla="*/ 380881 h 458764"/>
                  <a:gd name="connsiteX92" fmla="*/ 24259 w 484725"/>
                  <a:gd name="connsiteY92" fmla="*/ 373389 h 458764"/>
                  <a:gd name="connsiteX93" fmla="*/ 20610 w 484725"/>
                  <a:gd name="connsiteY93" fmla="*/ 366144 h 458764"/>
                  <a:gd name="connsiteX94" fmla="*/ 16932 w 484725"/>
                  <a:gd name="connsiteY94" fmla="*/ 362000 h 458764"/>
                  <a:gd name="connsiteX95" fmla="*/ 11938 w 484725"/>
                  <a:gd name="connsiteY95" fmla="*/ 363537 h 458764"/>
                  <a:gd name="connsiteX96" fmla="*/ 5681 w 484725"/>
                  <a:gd name="connsiteY96" fmla="*/ 354069 h 458764"/>
                  <a:gd name="connsiteX97" fmla="*/ 8782 w 484725"/>
                  <a:gd name="connsiteY97" fmla="*/ 346770 h 458764"/>
                  <a:gd name="connsiteX98" fmla="*/ 6943 w 484725"/>
                  <a:gd name="connsiteY98" fmla="*/ 343312 h 458764"/>
                  <a:gd name="connsiteX99" fmla="*/ 6477 w 484725"/>
                  <a:gd name="connsiteY99" fmla="*/ 336039 h 458764"/>
                  <a:gd name="connsiteX100" fmla="*/ 1207 w 484725"/>
                  <a:gd name="connsiteY100" fmla="*/ 330523 h 458764"/>
                  <a:gd name="connsiteX101" fmla="*/ 2250 w 484725"/>
                  <a:gd name="connsiteY101" fmla="*/ 324129 h 458764"/>
                  <a:gd name="connsiteX102" fmla="*/ 0 w 484725"/>
                  <a:gd name="connsiteY102" fmla="*/ 320671 h 458764"/>
                  <a:gd name="connsiteX103" fmla="*/ 5296 w 484725"/>
                  <a:gd name="connsiteY103" fmla="*/ 320973 h 458764"/>
                  <a:gd name="connsiteX104" fmla="*/ 11416 w 484725"/>
                  <a:gd name="connsiteY104" fmla="*/ 316939 h 458764"/>
                  <a:gd name="connsiteX105" fmla="*/ 12157 w 484725"/>
                  <a:gd name="connsiteY105" fmla="*/ 307938 h 458764"/>
                  <a:gd name="connsiteX106" fmla="*/ 15313 w 484725"/>
                  <a:gd name="connsiteY106" fmla="*/ 298690 h 458764"/>
                  <a:gd name="connsiteX107" fmla="*/ 22503 w 484725"/>
                  <a:gd name="connsiteY107" fmla="*/ 294381 h 458764"/>
                  <a:gd name="connsiteX108" fmla="*/ 39051 w 484725"/>
                  <a:gd name="connsiteY108" fmla="*/ 309090 h 458764"/>
                  <a:gd name="connsiteX109" fmla="*/ 45912 w 484725"/>
                  <a:gd name="connsiteY109" fmla="*/ 300583 h 458764"/>
                  <a:gd name="connsiteX110" fmla="*/ 72641 w 484725"/>
                  <a:gd name="connsiteY110" fmla="*/ 301928 h 458764"/>
                  <a:gd name="connsiteX111" fmla="*/ 81753 w 484725"/>
                  <a:gd name="connsiteY111" fmla="*/ 299815 h 458764"/>
                  <a:gd name="connsiteX112" fmla="*/ 84908 w 484725"/>
                  <a:gd name="connsiteY112" fmla="*/ 293612 h 458764"/>
                  <a:gd name="connsiteX113" fmla="*/ 87077 w 484725"/>
                  <a:gd name="connsiteY113" fmla="*/ 297592 h 458764"/>
                  <a:gd name="connsiteX114" fmla="*/ 89135 w 484725"/>
                  <a:gd name="connsiteY114" fmla="*/ 298195 h 458764"/>
                  <a:gd name="connsiteX115" fmla="*/ 193747 w 484725"/>
                  <a:gd name="connsiteY115" fmla="*/ 298113 h 458764"/>
                  <a:gd name="connsiteX116" fmla="*/ 197946 w 484725"/>
                  <a:gd name="connsiteY116" fmla="*/ 296192 h 458764"/>
                  <a:gd name="connsiteX117" fmla="*/ 202556 w 484725"/>
                  <a:gd name="connsiteY117" fmla="*/ 274238 h 458764"/>
                  <a:gd name="connsiteX118" fmla="*/ 194735 w 484725"/>
                  <a:gd name="connsiteY118" fmla="*/ 263755 h 458764"/>
                  <a:gd name="connsiteX119" fmla="*/ 167375 w 484725"/>
                  <a:gd name="connsiteY119" fmla="*/ 2168 h 458764"/>
                  <a:gd name="connsiteX120" fmla="*/ 169159 w 484725"/>
                  <a:gd name="connsiteY120" fmla="*/ 796 h 458764"/>
                  <a:gd name="connsiteX121" fmla="*/ 217760 w 484725"/>
                  <a:gd name="connsiteY121" fmla="*/ 0 h 458764"/>
                  <a:gd name="connsiteX122" fmla="*/ 283897 w 484725"/>
                  <a:gd name="connsiteY122" fmla="*/ 46955 h 458764"/>
                  <a:gd name="connsiteX123" fmla="*/ 285956 w 484725"/>
                  <a:gd name="connsiteY123" fmla="*/ 48409 h 458764"/>
                  <a:gd name="connsiteX124" fmla="*/ 298305 w 484725"/>
                  <a:gd name="connsiteY124" fmla="*/ 57109 h 458764"/>
                  <a:gd name="connsiteX125" fmla="*/ 326818 w 484725"/>
                  <a:gd name="connsiteY125" fmla="*/ 77115 h 458764"/>
                  <a:gd name="connsiteX126" fmla="*/ 367626 w 484725"/>
                  <a:gd name="connsiteY126" fmla="*/ 105628 h 458764"/>
                  <a:gd name="connsiteX127" fmla="*/ 392160 w 484725"/>
                  <a:gd name="connsiteY127" fmla="*/ 123933 h 458764"/>
                  <a:gd name="connsiteX128" fmla="*/ 395646 w 484725"/>
                  <a:gd name="connsiteY128" fmla="*/ 135596 h 458764"/>
                  <a:gd name="connsiteX129" fmla="*/ 406293 w 484725"/>
                  <a:gd name="connsiteY129" fmla="*/ 141002 h 458764"/>
                  <a:gd name="connsiteX130" fmla="*/ 413401 w 484725"/>
                  <a:gd name="connsiteY130" fmla="*/ 149427 h 458764"/>
                  <a:gd name="connsiteX131" fmla="*/ 425339 w 484725"/>
                  <a:gd name="connsiteY131" fmla="*/ 150772 h 458764"/>
                  <a:gd name="connsiteX132" fmla="*/ 430635 w 484725"/>
                  <a:gd name="connsiteY132" fmla="*/ 156809 h 458764"/>
                  <a:gd name="connsiteX133" fmla="*/ 439581 w 484725"/>
                  <a:gd name="connsiteY133" fmla="*/ 157907 h 458764"/>
                  <a:gd name="connsiteX134" fmla="*/ 454071 w 484725"/>
                  <a:gd name="connsiteY134" fmla="*/ 164411 h 458764"/>
                  <a:gd name="connsiteX135" fmla="*/ 455444 w 484725"/>
                  <a:gd name="connsiteY135" fmla="*/ 175059 h 458764"/>
                  <a:gd name="connsiteX136" fmla="*/ 452837 w 484725"/>
                  <a:gd name="connsiteY136" fmla="*/ 185323 h 458764"/>
                  <a:gd name="connsiteX137" fmla="*/ 457584 w 484725"/>
                  <a:gd name="connsiteY137" fmla="*/ 190235 h 458764"/>
                  <a:gd name="connsiteX138" fmla="*/ 484698 w 484725"/>
                  <a:gd name="connsiteY138" fmla="*/ 186064 h 45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484725" h="458764">
                    <a:moveTo>
                      <a:pt x="484725" y="186036"/>
                    </a:moveTo>
                    <a:lnTo>
                      <a:pt x="484314" y="248881"/>
                    </a:lnTo>
                    <a:lnTo>
                      <a:pt x="480417" y="256976"/>
                    </a:lnTo>
                    <a:lnTo>
                      <a:pt x="479182" y="273771"/>
                    </a:lnTo>
                    <a:lnTo>
                      <a:pt x="474462" y="288728"/>
                    </a:lnTo>
                    <a:lnTo>
                      <a:pt x="464912" y="299815"/>
                    </a:lnTo>
                    <a:lnTo>
                      <a:pt x="461316" y="302202"/>
                    </a:lnTo>
                    <a:lnTo>
                      <a:pt x="435602" y="302422"/>
                    </a:lnTo>
                    <a:lnTo>
                      <a:pt x="402973" y="305249"/>
                    </a:lnTo>
                    <a:lnTo>
                      <a:pt x="386370" y="313728"/>
                    </a:lnTo>
                    <a:lnTo>
                      <a:pt x="366693" y="313728"/>
                    </a:lnTo>
                    <a:lnTo>
                      <a:pt x="339058" y="311560"/>
                    </a:lnTo>
                    <a:lnTo>
                      <a:pt x="328410" y="319189"/>
                    </a:lnTo>
                    <a:lnTo>
                      <a:pt x="311450" y="327779"/>
                    </a:lnTo>
                    <a:lnTo>
                      <a:pt x="303108" y="329673"/>
                    </a:lnTo>
                    <a:lnTo>
                      <a:pt x="301104" y="336561"/>
                    </a:lnTo>
                    <a:lnTo>
                      <a:pt x="298387" y="338454"/>
                    </a:lnTo>
                    <a:lnTo>
                      <a:pt x="287465" y="335107"/>
                    </a:lnTo>
                    <a:lnTo>
                      <a:pt x="286038" y="336067"/>
                    </a:lnTo>
                    <a:lnTo>
                      <a:pt x="283980" y="337412"/>
                    </a:lnTo>
                    <a:lnTo>
                      <a:pt x="277366" y="341720"/>
                    </a:lnTo>
                    <a:lnTo>
                      <a:pt x="274814" y="354097"/>
                    </a:lnTo>
                    <a:lnTo>
                      <a:pt x="264084" y="352917"/>
                    </a:lnTo>
                    <a:lnTo>
                      <a:pt x="263892" y="364882"/>
                    </a:lnTo>
                    <a:lnTo>
                      <a:pt x="259583" y="366556"/>
                    </a:lnTo>
                    <a:lnTo>
                      <a:pt x="258238" y="368806"/>
                    </a:lnTo>
                    <a:lnTo>
                      <a:pt x="244572" y="362467"/>
                    </a:lnTo>
                    <a:lnTo>
                      <a:pt x="243227" y="360134"/>
                    </a:lnTo>
                    <a:lnTo>
                      <a:pt x="240977" y="361232"/>
                    </a:lnTo>
                    <a:lnTo>
                      <a:pt x="232799" y="369740"/>
                    </a:lnTo>
                    <a:lnTo>
                      <a:pt x="235488" y="380140"/>
                    </a:lnTo>
                    <a:lnTo>
                      <a:pt x="233869" y="382500"/>
                    </a:lnTo>
                    <a:lnTo>
                      <a:pt x="228435" y="383104"/>
                    </a:lnTo>
                    <a:lnTo>
                      <a:pt x="230054" y="386589"/>
                    </a:lnTo>
                    <a:lnTo>
                      <a:pt x="229012" y="393697"/>
                    </a:lnTo>
                    <a:lnTo>
                      <a:pt x="223797" y="401601"/>
                    </a:lnTo>
                    <a:lnTo>
                      <a:pt x="220751" y="403851"/>
                    </a:lnTo>
                    <a:lnTo>
                      <a:pt x="209445" y="405388"/>
                    </a:lnTo>
                    <a:lnTo>
                      <a:pt x="203490" y="409916"/>
                    </a:lnTo>
                    <a:lnTo>
                      <a:pt x="206893" y="420372"/>
                    </a:lnTo>
                    <a:lnTo>
                      <a:pt x="204533" y="427040"/>
                    </a:lnTo>
                    <a:lnTo>
                      <a:pt x="198577" y="432886"/>
                    </a:lnTo>
                    <a:lnTo>
                      <a:pt x="200087" y="438704"/>
                    </a:lnTo>
                    <a:lnTo>
                      <a:pt x="197672" y="451135"/>
                    </a:lnTo>
                    <a:lnTo>
                      <a:pt x="190262" y="451053"/>
                    </a:lnTo>
                    <a:lnTo>
                      <a:pt x="182962" y="457584"/>
                    </a:lnTo>
                    <a:lnTo>
                      <a:pt x="179367" y="457584"/>
                    </a:lnTo>
                    <a:cubicBezTo>
                      <a:pt x="179367" y="457584"/>
                      <a:pt x="177227" y="455773"/>
                      <a:pt x="177227" y="455773"/>
                    </a:cubicBezTo>
                    <a:lnTo>
                      <a:pt x="178379" y="450422"/>
                    </a:lnTo>
                    <a:lnTo>
                      <a:pt x="175827" y="442655"/>
                    </a:lnTo>
                    <a:lnTo>
                      <a:pt x="171820" y="443506"/>
                    </a:lnTo>
                    <a:lnTo>
                      <a:pt x="170037" y="446744"/>
                    </a:lnTo>
                    <a:lnTo>
                      <a:pt x="164411" y="444823"/>
                    </a:lnTo>
                    <a:lnTo>
                      <a:pt x="164054" y="452233"/>
                    </a:lnTo>
                    <a:lnTo>
                      <a:pt x="155519" y="453578"/>
                    </a:lnTo>
                    <a:lnTo>
                      <a:pt x="153104" y="458490"/>
                    </a:lnTo>
                    <a:lnTo>
                      <a:pt x="143636" y="455581"/>
                    </a:lnTo>
                    <a:lnTo>
                      <a:pt x="140151" y="450230"/>
                    </a:lnTo>
                    <a:lnTo>
                      <a:pt x="132906" y="451245"/>
                    </a:lnTo>
                    <a:lnTo>
                      <a:pt x="129723" y="456871"/>
                    </a:lnTo>
                    <a:lnTo>
                      <a:pt x="125332" y="458764"/>
                    </a:lnTo>
                    <a:lnTo>
                      <a:pt x="125332" y="454840"/>
                    </a:lnTo>
                    <a:cubicBezTo>
                      <a:pt x="125332" y="454840"/>
                      <a:pt x="118197" y="451190"/>
                      <a:pt x="118197" y="451190"/>
                    </a:cubicBezTo>
                    <a:lnTo>
                      <a:pt x="116880" y="448912"/>
                    </a:lnTo>
                    <a:lnTo>
                      <a:pt x="115590" y="433791"/>
                    </a:lnTo>
                    <a:lnTo>
                      <a:pt x="112159" y="432035"/>
                    </a:lnTo>
                    <a:lnTo>
                      <a:pt x="108702" y="434917"/>
                    </a:lnTo>
                    <a:lnTo>
                      <a:pt x="105244" y="434752"/>
                    </a:lnTo>
                    <a:lnTo>
                      <a:pt x="107851" y="428769"/>
                    </a:lnTo>
                    <a:lnTo>
                      <a:pt x="113092" y="424571"/>
                    </a:lnTo>
                    <a:lnTo>
                      <a:pt x="106177" y="419494"/>
                    </a:lnTo>
                    <a:lnTo>
                      <a:pt x="104311" y="415707"/>
                    </a:lnTo>
                    <a:lnTo>
                      <a:pt x="100112" y="414883"/>
                    </a:lnTo>
                    <a:lnTo>
                      <a:pt x="100935" y="405360"/>
                    </a:lnTo>
                    <a:lnTo>
                      <a:pt x="93718" y="391172"/>
                    </a:lnTo>
                    <a:lnTo>
                      <a:pt x="85265" y="389498"/>
                    </a:lnTo>
                    <a:lnTo>
                      <a:pt x="85265" y="396085"/>
                    </a:lnTo>
                    <a:cubicBezTo>
                      <a:pt x="85265" y="396085"/>
                      <a:pt x="76895" y="399103"/>
                      <a:pt x="76895" y="399103"/>
                    </a:cubicBezTo>
                    <a:lnTo>
                      <a:pt x="74178" y="402945"/>
                    </a:lnTo>
                    <a:lnTo>
                      <a:pt x="57850" y="397923"/>
                    </a:lnTo>
                    <a:lnTo>
                      <a:pt x="51428" y="400860"/>
                    </a:lnTo>
                    <a:lnTo>
                      <a:pt x="45748" y="406513"/>
                    </a:lnTo>
                    <a:lnTo>
                      <a:pt x="41768" y="400201"/>
                    </a:lnTo>
                    <a:lnTo>
                      <a:pt x="37817" y="397539"/>
                    </a:lnTo>
                    <a:lnTo>
                      <a:pt x="35347" y="397951"/>
                    </a:lnTo>
                    <a:lnTo>
                      <a:pt x="30791" y="403439"/>
                    </a:lnTo>
                    <a:lnTo>
                      <a:pt x="27086" y="403082"/>
                    </a:lnTo>
                    <a:lnTo>
                      <a:pt x="22311" y="398280"/>
                    </a:lnTo>
                    <a:lnTo>
                      <a:pt x="25330" y="391639"/>
                    </a:lnTo>
                    <a:lnTo>
                      <a:pt x="25330" y="388757"/>
                    </a:lnTo>
                    <a:cubicBezTo>
                      <a:pt x="25330" y="388757"/>
                      <a:pt x="23930" y="384229"/>
                      <a:pt x="23930" y="384229"/>
                    </a:cubicBezTo>
                    <a:lnTo>
                      <a:pt x="25138" y="380881"/>
                    </a:lnTo>
                    <a:lnTo>
                      <a:pt x="24259" y="373389"/>
                    </a:lnTo>
                    <a:lnTo>
                      <a:pt x="20610" y="366144"/>
                    </a:lnTo>
                    <a:lnTo>
                      <a:pt x="16932" y="362000"/>
                    </a:lnTo>
                    <a:lnTo>
                      <a:pt x="11938" y="363537"/>
                    </a:lnTo>
                    <a:lnTo>
                      <a:pt x="5681" y="354069"/>
                    </a:lnTo>
                    <a:lnTo>
                      <a:pt x="8782" y="346770"/>
                    </a:lnTo>
                    <a:lnTo>
                      <a:pt x="6943" y="343312"/>
                    </a:lnTo>
                    <a:lnTo>
                      <a:pt x="6477" y="336039"/>
                    </a:lnTo>
                    <a:lnTo>
                      <a:pt x="1207" y="330523"/>
                    </a:lnTo>
                    <a:lnTo>
                      <a:pt x="2250" y="324129"/>
                    </a:lnTo>
                    <a:lnTo>
                      <a:pt x="0" y="320671"/>
                    </a:lnTo>
                    <a:lnTo>
                      <a:pt x="5296" y="320973"/>
                    </a:lnTo>
                    <a:lnTo>
                      <a:pt x="11416" y="316939"/>
                    </a:lnTo>
                    <a:lnTo>
                      <a:pt x="12157" y="307938"/>
                    </a:lnTo>
                    <a:lnTo>
                      <a:pt x="15313" y="298690"/>
                    </a:lnTo>
                    <a:lnTo>
                      <a:pt x="22503" y="294381"/>
                    </a:lnTo>
                    <a:lnTo>
                      <a:pt x="39051" y="309090"/>
                    </a:lnTo>
                    <a:lnTo>
                      <a:pt x="45912" y="300583"/>
                    </a:lnTo>
                    <a:lnTo>
                      <a:pt x="72641" y="301928"/>
                    </a:lnTo>
                    <a:lnTo>
                      <a:pt x="81753" y="299815"/>
                    </a:lnTo>
                    <a:lnTo>
                      <a:pt x="84908" y="293612"/>
                    </a:lnTo>
                    <a:lnTo>
                      <a:pt x="87077" y="297592"/>
                    </a:lnTo>
                    <a:lnTo>
                      <a:pt x="89135" y="298195"/>
                    </a:lnTo>
                    <a:lnTo>
                      <a:pt x="193747" y="298113"/>
                    </a:lnTo>
                    <a:lnTo>
                      <a:pt x="197946" y="296192"/>
                    </a:lnTo>
                    <a:lnTo>
                      <a:pt x="202556" y="274238"/>
                    </a:lnTo>
                    <a:lnTo>
                      <a:pt x="194735" y="263755"/>
                    </a:lnTo>
                    <a:lnTo>
                      <a:pt x="167375" y="2168"/>
                    </a:lnTo>
                    <a:lnTo>
                      <a:pt x="169159" y="796"/>
                    </a:lnTo>
                    <a:lnTo>
                      <a:pt x="217760" y="0"/>
                    </a:lnTo>
                    <a:lnTo>
                      <a:pt x="283897" y="46955"/>
                    </a:lnTo>
                    <a:lnTo>
                      <a:pt x="285956" y="48409"/>
                    </a:lnTo>
                    <a:lnTo>
                      <a:pt x="298305" y="57109"/>
                    </a:lnTo>
                    <a:lnTo>
                      <a:pt x="326818" y="77115"/>
                    </a:lnTo>
                    <a:lnTo>
                      <a:pt x="367626" y="105628"/>
                    </a:lnTo>
                    <a:lnTo>
                      <a:pt x="392160" y="123933"/>
                    </a:lnTo>
                    <a:lnTo>
                      <a:pt x="395646" y="135596"/>
                    </a:lnTo>
                    <a:lnTo>
                      <a:pt x="406293" y="141002"/>
                    </a:lnTo>
                    <a:lnTo>
                      <a:pt x="413401" y="149427"/>
                    </a:lnTo>
                    <a:lnTo>
                      <a:pt x="425339" y="150772"/>
                    </a:lnTo>
                    <a:lnTo>
                      <a:pt x="430635" y="156809"/>
                    </a:lnTo>
                    <a:lnTo>
                      <a:pt x="439581" y="157907"/>
                    </a:lnTo>
                    <a:lnTo>
                      <a:pt x="454071" y="164411"/>
                    </a:lnTo>
                    <a:lnTo>
                      <a:pt x="455444" y="175059"/>
                    </a:lnTo>
                    <a:lnTo>
                      <a:pt x="452837" y="185323"/>
                    </a:lnTo>
                    <a:lnTo>
                      <a:pt x="457584" y="190235"/>
                    </a:lnTo>
                    <a:lnTo>
                      <a:pt x="484698" y="1860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1" name="Freeform: Shape 4130">
                <a:extLst>
                  <a:ext uri="{FF2B5EF4-FFF2-40B4-BE49-F238E27FC236}">
                    <a16:creationId xmlns:a16="http://schemas.microsoft.com/office/drawing/2014/main" id="{384BE339-A54D-BF12-95F1-66436C1CAA0C}"/>
                  </a:ext>
                </a:extLst>
              </p:cNvPr>
              <p:cNvSpPr/>
              <p:nvPr/>
            </p:nvSpPr>
            <p:spPr>
              <a:xfrm>
                <a:off x="1186155" y="3941378"/>
                <a:ext cx="16364" cy="17724"/>
              </a:xfrm>
              <a:custGeom>
                <a:avLst/>
                <a:gdLst>
                  <a:gd name="connsiteX0" fmla="*/ 148549 w 156891"/>
                  <a:gd name="connsiteY0" fmla="*/ 126348 h 169927"/>
                  <a:gd name="connsiteX1" fmla="*/ 134580 w 156891"/>
                  <a:gd name="connsiteY1" fmla="*/ 150525 h 169927"/>
                  <a:gd name="connsiteX2" fmla="*/ 124756 w 156891"/>
                  <a:gd name="connsiteY2" fmla="*/ 158813 h 169927"/>
                  <a:gd name="connsiteX3" fmla="*/ 102225 w 156891"/>
                  <a:gd name="connsiteY3" fmla="*/ 169927 h 169927"/>
                  <a:gd name="connsiteX4" fmla="*/ 89821 w 156891"/>
                  <a:gd name="connsiteY4" fmla="*/ 163972 h 169927"/>
                  <a:gd name="connsiteX5" fmla="*/ 81149 w 156891"/>
                  <a:gd name="connsiteY5" fmla="*/ 162874 h 169927"/>
                  <a:gd name="connsiteX6" fmla="*/ 67263 w 156891"/>
                  <a:gd name="connsiteY6" fmla="*/ 168061 h 169927"/>
                  <a:gd name="connsiteX7" fmla="*/ 64711 w 156891"/>
                  <a:gd name="connsiteY7" fmla="*/ 166579 h 169927"/>
                  <a:gd name="connsiteX8" fmla="*/ 47449 w 156891"/>
                  <a:gd name="connsiteY8" fmla="*/ 159800 h 169927"/>
                  <a:gd name="connsiteX9" fmla="*/ 37377 w 156891"/>
                  <a:gd name="connsiteY9" fmla="*/ 151677 h 169927"/>
                  <a:gd name="connsiteX10" fmla="*/ 17262 w 156891"/>
                  <a:gd name="connsiteY10" fmla="*/ 152007 h 169927"/>
                  <a:gd name="connsiteX11" fmla="*/ 11910 w 156891"/>
                  <a:gd name="connsiteY11" fmla="*/ 144048 h 169927"/>
                  <a:gd name="connsiteX12" fmla="*/ 6724 w 156891"/>
                  <a:gd name="connsiteY12" fmla="*/ 140590 h 169927"/>
                  <a:gd name="connsiteX13" fmla="*/ 165 w 156891"/>
                  <a:gd name="connsiteY13" fmla="*/ 129915 h 169927"/>
                  <a:gd name="connsiteX14" fmla="*/ 0 w 156891"/>
                  <a:gd name="connsiteY14" fmla="*/ 118938 h 169927"/>
                  <a:gd name="connsiteX15" fmla="*/ 2223 w 156891"/>
                  <a:gd name="connsiteY15" fmla="*/ 106068 h 169927"/>
                  <a:gd name="connsiteX16" fmla="*/ 8233 w 156891"/>
                  <a:gd name="connsiteY16" fmla="*/ 103268 h 169927"/>
                  <a:gd name="connsiteX17" fmla="*/ 8700 w 156891"/>
                  <a:gd name="connsiteY17" fmla="*/ 100853 h 169927"/>
                  <a:gd name="connsiteX18" fmla="*/ 6778 w 156891"/>
                  <a:gd name="connsiteY18" fmla="*/ 81122 h 169927"/>
                  <a:gd name="connsiteX19" fmla="*/ 9276 w 156891"/>
                  <a:gd name="connsiteY19" fmla="*/ 74590 h 169927"/>
                  <a:gd name="connsiteX20" fmla="*/ 7190 w 156891"/>
                  <a:gd name="connsiteY20" fmla="*/ 61033 h 169927"/>
                  <a:gd name="connsiteX21" fmla="*/ 10291 w 156891"/>
                  <a:gd name="connsiteY21" fmla="*/ 58097 h 169927"/>
                  <a:gd name="connsiteX22" fmla="*/ 12404 w 156891"/>
                  <a:gd name="connsiteY22" fmla="*/ 52526 h 169927"/>
                  <a:gd name="connsiteX23" fmla="*/ 10785 w 156891"/>
                  <a:gd name="connsiteY23" fmla="*/ 46187 h 169927"/>
                  <a:gd name="connsiteX24" fmla="*/ 14984 w 156891"/>
                  <a:gd name="connsiteY24" fmla="*/ 37625 h 169927"/>
                  <a:gd name="connsiteX25" fmla="*/ 15945 w 156891"/>
                  <a:gd name="connsiteY25" fmla="*/ 28651 h 169927"/>
                  <a:gd name="connsiteX26" fmla="*/ 17948 w 156891"/>
                  <a:gd name="connsiteY26" fmla="*/ 26620 h 169927"/>
                  <a:gd name="connsiteX27" fmla="*/ 15917 w 156891"/>
                  <a:gd name="connsiteY27" fmla="*/ 14271 h 169927"/>
                  <a:gd name="connsiteX28" fmla="*/ 22503 w 156891"/>
                  <a:gd name="connsiteY28" fmla="*/ 8124 h 169927"/>
                  <a:gd name="connsiteX29" fmla="*/ 23738 w 156891"/>
                  <a:gd name="connsiteY29" fmla="*/ 2388 h 169927"/>
                  <a:gd name="connsiteX30" fmla="*/ 26647 w 156891"/>
                  <a:gd name="connsiteY30" fmla="*/ 5434 h 169927"/>
                  <a:gd name="connsiteX31" fmla="*/ 30764 w 156891"/>
                  <a:gd name="connsiteY31" fmla="*/ 6120 h 169927"/>
                  <a:gd name="connsiteX32" fmla="*/ 35813 w 156891"/>
                  <a:gd name="connsiteY32" fmla="*/ 5324 h 169927"/>
                  <a:gd name="connsiteX33" fmla="*/ 39710 w 156891"/>
                  <a:gd name="connsiteY33" fmla="*/ 192 h 169927"/>
                  <a:gd name="connsiteX34" fmla="*/ 46818 w 156891"/>
                  <a:gd name="connsiteY34" fmla="*/ 0 h 169927"/>
                  <a:gd name="connsiteX35" fmla="*/ 65644 w 156891"/>
                  <a:gd name="connsiteY35" fmla="*/ 17015 h 169927"/>
                  <a:gd name="connsiteX36" fmla="*/ 71187 w 156891"/>
                  <a:gd name="connsiteY36" fmla="*/ 24589 h 169927"/>
                  <a:gd name="connsiteX37" fmla="*/ 71928 w 156891"/>
                  <a:gd name="connsiteY37" fmla="*/ 32548 h 169927"/>
                  <a:gd name="connsiteX38" fmla="*/ 75797 w 156891"/>
                  <a:gd name="connsiteY38" fmla="*/ 32603 h 169927"/>
                  <a:gd name="connsiteX39" fmla="*/ 83646 w 156891"/>
                  <a:gd name="connsiteY39" fmla="*/ 25962 h 169927"/>
                  <a:gd name="connsiteX40" fmla="*/ 93773 w 156891"/>
                  <a:gd name="connsiteY40" fmla="*/ 39025 h 169927"/>
                  <a:gd name="connsiteX41" fmla="*/ 114876 w 156891"/>
                  <a:gd name="connsiteY41" fmla="*/ 48245 h 169927"/>
                  <a:gd name="connsiteX42" fmla="*/ 118197 w 156891"/>
                  <a:gd name="connsiteY42" fmla="*/ 54639 h 169927"/>
                  <a:gd name="connsiteX43" fmla="*/ 135568 w 156891"/>
                  <a:gd name="connsiteY43" fmla="*/ 67099 h 169927"/>
                  <a:gd name="connsiteX44" fmla="*/ 137709 w 156891"/>
                  <a:gd name="connsiteY44" fmla="*/ 68635 h 169927"/>
                  <a:gd name="connsiteX45" fmla="*/ 142457 w 156891"/>
                  <a:gd name="connsiteY45" fmla="*/ 80107 h 169927"/>
                  <a:gd name="connsiteX46" fmla="*/ 156892 w 156891"/>
                  <a:gd name="connsiteY46" fmla="*/ 90864 h 169927"/>
                  <a:gd name="connsiteX47" fmla="*/ 144762 w 156891"/>
                  <a:gd name="connsiteY47" fmla="*/ 105793 h 169927"/>
                  <a:gd name="connsiteX48" fmla="*/ 144377 w 156891"/>
                  <a:gd name="connsiteY48" fmla="*/ 122862 h 169927"/>
                  <a:gd name="connsiteX49" fmla="*/ 148494 w 156891"/>
                  <a:gd name="connsiteY49" fmla="*/ 126320 h 16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6891" h="169927">
                    <a:moveTo>
                      <a:pt x="148549" y="126348"/>
                    </a:moveTo>
                    <a:lnTo>
                      <a:pt x="134580" y="150525"/>
                    </a:lnTo>
                    <a:lnTo>
                      <a:pt x="124756" y="158813"/>
                    </a:lnTo>
                    <a:lnTo>
                      <a:pt x="102225" y="169927"/>
                    </a:lnTo>
                    <a:lnTo>
                      <a:pt x="89821" y="163972"/>
                    </a:lnTo>
                    <a:lnTo>
                      <a:pt x="81149" y="162874"/>
                    </a:lnTo>
                    <a:lnTo>
                      <a:pt x="67263" y="168061"/>
                    </a:lnTo>
                    <a:lnTo>
                      <a:pt x="64711" y="166579"/>
                    </a:lnTo>
                    <a:lnTo>
                      <a:pt x="47449" y="159800"/>
                    </a:lnTo>
                    <a:lnTo>
                      <a:pt x="37377" y="151677"/>
                    </a:lnTo>
                    <a:lnTo>
                      <a:pt x="17262" y="152007"/>
                    </a:lnTo>
                    <a:lnTo>
                      <a:pt x="11910" y="144048"/>
                    </a:lnTo>
                    <a:lnTo>
                      <a:pt x="6724" y="140590"/>
                    </a:lnTo>
                    <a:lnTo>
                      <a:pt x="165" y="129915"/>
                    </a:lnTo>
                    <a:lnTo>
                      <a:pt x="0" y="118938"/>
                    </a:lnTo>
                    <a:lnTo>
                      <a:pt x="2223" y="106068"/>
                    </a:lnTo>
                    <a:lnTo>
                      <a:pt x="8233" y="103268"/>
                    </a:lnTo>
                    <a:lnTo>
                      <a:pt x="8700" y="100853"/>
                    </a:lnTo>
                    <a:lnTo>
                      <a:pt x="6778" y="81122"/>
                    </a:lnTo>
                    <a:lnTo>
                      <a:pt x="9276" y="74590"/>
                    </a:lnTo>
                    <a:lnTo>
                      <a:pt x="7190" y="61033"/>
                    </a:lnTo>
                    <a:lnTo>
                      <a:pt x="10291" y="58097"/>
                    </a:lnTo>
                    <a:lnTo>
                      <a:pt x="12404" y="52526"/>
                    </a:lnTo>
                    <a:lnTo>
                      <a:pt x="10785" y="46187"/>
                    </a:lnTo>
                    <a:lnTo>
                      <a:pt x="14984" y="37625"/>
                    </a:lnTo>
                    <a:lnTo>
                      <a:pt x="15945" y="28651"/>
                    </a:lnTo>
                    <a:lnTo>
                      <a:pt x="17948" y="26620"/>
                    </a:lnTo>
                    <a:lnTo>
                      <a:pt x="15917" y="14271"/>
                    </a:lnTo>
                    <a:lnTo>
                      <a:pt x="22503" y="8124"/>
                    </a:lnTo>
                    <a:lnTo>
                      <a:pt x="23738" y="2388"/>
                    </a:lnTo>
                    <a:lnTo>
                      <a:pt x="26647" y="5434"/>
                    </a:lnTo>
                    <a:lnTo>
                      <a:pt x="30764" y="6120"/>
                    </a:lnTo>
                    <a:lnTo>
                      <a:pt x="35813" y="5324"/>
                    </a:lnTo>
                    <a:lnTo>
                      <a:pt x="39710" y="192"/>
                    </a:lnTo>
                    <a:lnTo>
                      <a:pt x="46818" y="0"/>
                    </a:lnTo>
                    <a:lnTo>
                      <a:pt x="65644" y="17015"/>
                    </a:lnTo>
                    <a:lnTo>
                      <a:pt x="71187" y="24589"/>
                    </a:lnTo>
                    <a:lnTo>
                      <a:pt x="71928" y="32548"/>
                    </a:lnTo>
                    <a:lnTo>
                      <a:pt x="75797" y="32603"/>
                    </a:lnTo>
                    <a:lnTo>
                      <a:pt x="83646" y="25962"/>
                    </a:lnTo>
                    <a:lnTo>
                      <a:pt x="93773" y="39025"/>
                    </a:lnTo>
                    <a:lnTo>
                      <a:pt x="114876" y="48245"/>
                    </a:lnTo>
                    <a:lnTo>
                      <a:pt x="118197" y="54639"/>
                    </a:lnTo>
                    <a:lnTo>
                      <a:pt x="135568" y="67099"/>
                    </a:lnTo>
                    <a:lnTo>
                      <a:pt x="137709" y="68635"/>
                    </a:lnTo>
                    <a:lnTo>
                      <a:pt x="142457" y="80107"/>
                    </a:lnTo>
                    <a:lnTo>
                      <a:pt x="156892" y="90864"/>
                    </a:lnTo>
                    <a:lnTo>
                      <a:pt x="144762" y="105793"/>
                    </a:lnTo>
                    <a:lnTo>
                      <a:pt x="144377" y="122862"/>
                    </a:lnTo>
                    <a:lnTo>
                      <a:pt x="148494" y="1263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2" name="Freeform: Shape 4131">
                <a:extLst>
                  <a:ext uri="{FF2B5EF4-FFF2-40B4-BE49-F238E27FC236}">
                    <a16:creationId xmlns:a16="http://schemas.microsoft.com/office/drawing/2014/main" id="{B66D4355-54DA-5DED-4833-5587B5E5F32D}"/>
                  </a:ext>
                </a:extLst>
              </p:cNvPr>
              <p:cNvSpPr/>
              <p:nvPr/>
            </p:nvSpPr>
            <p:spPr>
              <a:xfrm>
                <a:off x="1537177" y="3687003"/>
                <a:ext cx="52089" cy="34431"/>
              </a:xfrm>
              <a:custGeom>
                <a:avLst/>
                <a:gdLst>
                  <a:gd name="connsiteX0" fmla="*/ 150168 w 499407"/>
                  <a:gd name="connsiteY0" fmla="*/ 54557 h 330111"/>
                  <a:gd name="connsiteX1" fmla="*/ 177172 w 499407"/>
                  <a:gd name="connsiteY1" fmla="*/ 85622 h 330111"/>
                  <a:gd name="connsiteX2" fmla="*/ 216909 w 499407"/>
                  <a:gd name="connsiteY2" fmla="*/ 79201 h 330111"/>
                  <a:gd name="connsiteX3" fmla="*/ 250335 w 499407"/>
                  <a:gd name="connsiteY3" fmla="*/ 81506 h 330111"/>
                  <a:gd name="connsiteX4" fmla="*/ 268667 w 499407"/>
                  <a:gd name="connsiteY4" fmla="*/ 76100 h 330111"/>
                  <a:gd name="connsiteX5" fmla="*/ 283623 w 499407"/>
                  <a:gd name="connsiteY5" fmla="*/ 94486 h 330111"/>
                  <a:gd name="connsiteX6" fmla="*/ 288947 w 499407"/>
                  <a:gd name="connsiteY6" fmla="*/ 109415 h 330111"/>
                  <a:gd name="connsiteX7" fmla="*/ 296659 w 499407"/>
                  <a:gd name="connsiteY7" fmla="*/ 109799 h 330111"/>
                  <a:gd name="connsiteX8" fmla="*/ 296933 w 499407"/>
                  <a:gd name="connsiteY8" fmla="*/ 120886 h 330111"/>
                  <a:gd name="connsiteX9" fmla="*/ 297125 w 499407"/>
                  <a:gd name="connsiteY9" fmla="*/ 128543 h 330111"/>
                  <a:gd name="connsiteX10" fmla="*/ 296467 w 499407"/>
                  <a:gd name="connsiteY10" fmla="*/ 130162 h 330111"/>
                  <a:gd name="connsiteX11" fmla="*/ 294820 w 499407"/>
                  <a:gd name="connsiteY11" fmla="*/ 134087 h 330111"/>
                  <a:gd name="connsiteX12" fmla="*/ 294985 w 499407"/>
                  <a:gd name="connsiteY12" fmla="*/ 146683 h 330111"/>
                  <a:gd name="connsiteX13" fmla="*/ 295643 w 499407"/>
                  <a:gd name="connsiteY13" fmla="*/ 148274 h 330111"/>
                  <a:gd name="connsiteX14" fmla="*/ 309502 w 499407"/>
                  <a:gd name="connsiteY14" fmla="*/ 150882 h 330111"/>
                  <a:gd name="connsiteX15" fmla="*/ 310627 w 499407"/>
                  <a:gd name="connsiteY15" fmla="*/ 159169 h 330111"/>
                  <a:gd name="connsiteX16" fmla="*/ 310874 w 499407"/>
                  <a:gd name="connsiteY16" fmla="*/ 161008 h 330111"/>
                  <a:gd name="connsiteX17" fmla="*/ 312768 w 499407"/>
                  <a:gd name="connsiteY17" fmla="*/ 175251 h 330111"/>
                  <a:gd name="connsiteX18" fmla="*/ 350941 w 499407"/>
                  <a:gd name="connsiteY18" fmla="*/ 178379 h 330111"/>
                  <a:gd name="connsiteX19" fmla="*/ 357033 w 499407"/>
                  <a:gd name="connsiteY19" fmla="*/ 184444 h 330111"/>
                  <a:gd name="connsiteX20" fmla="*/ 355414 w 499407"/>
                  <a:gd name="connsiteY20" fmla="*/ 192924 h 330111"/>
                  <a:gd name="connsiteX21" fmla="*/ 366748 w 499407"/>
                  <a:gd name="connsiteY21" fmla="*/ 200636 h 330111"/>
                  <a:gd name="connsiteX22" fmla="*/ 371359 w 499407"/>
                  <a:gd name="connsiteY22" fmla="*/ 199511 h 330111"/>
                  <a:gd name="connsiteX23" fmla="*/ 370315 w 499407"/>
                  <a:gd name="connsiteY23" fmla="*/ 189521 h 330111"/>
                  <a:gd name="connsiteX24" fmla="*/ 383543 w 499407"/>
                  <a:gd name="connsiteY24" fmla="*/ 172150 h 330111"/>
                  <a:gd name="connsiteX25" fmla="*/ 395454 w 499407"/>
                  <a:gd name="connsiteY25" fmla="*/ 164329 h 330111"/>
                  <a:gd name="connsiteX26" fmla="*/ 399543 w 499407"/>
                  <a:gd name="connsiteY26" fmla="*/ 160981 h 330111"/>
                  <a:gd name="connsiteX27" fmla="*/ 404070 w 499407"/>
                  <a:gd name="connsiteY27" fmla="*/ 159142 h 330111"/>
                  <a:gd name="connsiteX28" fmla="*/ 410108 w 499407"/>
                  <a:gd name="connsiteY28" fmla="*/ 156672 h 330111"/>
                  <a:gd name="connsiteX29" fmla="*/ 419933 w 499407"/>
                  <a:gd name="connsiteY29" fmla="*/ 146655 h 330111"/>
                  <a:gd name="connsiteX30" fmla="*/ 424021 w 499407"/>
                  <a:gd name="connsiteY30" fmla="*/ 142457 h 330111"/>
                  <a:gd name="connsiteX31" fmla="*/ 429867 w 499407"/>
                  <a:gd name="connsiteY31" fmla="*/ 145173 h 330111"/>
                  <a:gd name="connsiteX32" fmla="*/ 437853 w 499407"/>
                  <a:gd name="connsiteY32" fmla="*/ 137325 h 330111"/>
                  <a:gd name="connsiteX33" fmla="*/ 439472 w 499407"/>
                  <a:gd name="connsiteY33" fmla="*/ 135733 h 330111"/>
                  <a:gd name="connsiteX34" fmla="*/ 444604 w 499407"/>
                  <a:gd name="connsiteY34" fmla="*/ 135129 h 330111"/>
                  <a:gd name="connsiteX35" fmla="*/ 446772 w 499407"/>
                  <a:gd name="connsiteY35" fmla="*/ 137297 h 330111"/>
                  <a:gd name="connsiteX36" fmla="*/ 447047 w 499407"/>
                  <a:gd name="connsiteY36" fmla="*/ 139246 h 330111"/>
                  <a:gd name="connsiteX37" fmla="*/ 437551 w 499407"/>
                  <a:gd name="connsiteY37" fmla="*/ 144927 h 330111"/>
                  <a:gd name="connsiteX38" fmla="*/ 436481 w 499407"/>
                  <a:gd name="connsiteY38" fmla="*/ 146601 h 330111"/>
                  <a:gd name="connsiteX39" fmla="*/ 434725 w 499407"/>
                  <a:gd name="connsiteY39" fmla="*/ 149262 h 330111"/>
                  <a:gd name="connsiteX40" fmla="*/ 422101 w 499407"/>
                  <a:gd name="connsiteY40" fmla="*/ 159087 h 330111"/>
                  <a:gd name="connsiteX41" fmla="*/ 420399 w 499407"/>
                  <a:gd name="connsiteY41" fmla="*/ 160404 h 330111"/>
                  <a:gd name="connsiteX42" fmla="*/ 419137 w 499407"/>
                  <a:gd name="connsiteY42" fmla="*/ 164411 h 330111"/>
                  <a:gd name="connsiteX43" fmla="*/ 425668 w 499407"/>
                  <a:gd name="connsiteY43" fmla="*/ 168418 h 330111"/>
                  <a:gd name="connsiteX44" fmla="*/ 432117 w 499407"/>
                  <a:gd name="connsiteY44" fmla="*/ 168884 h 330111"/>
                  <a:gd name="connsiteX45" fmla="*/ 436947 w 499407"/>
                  <a:gd name="connsiteY45" fmla="*/ 177172 h 330111"/>
                  <a:gd name="connsiteX46" fmla="*/ 449050 w 499407"/>
                  <a:gd name="connsiteY46" fmla="*/ 179806 h 330111"/>
                  <a:gd name="connsiteX47" fmla="*/ 454016 w 499407"/>
                  <a:gd name="connsiteY47" fmla="*/ 178270 h 330111"/>
                  <a:gd name="connsiteX48" fmla="*/ 462799 w 499407"/>
                  <a:gd name="connsiteY48" fmla="*/ 166305 h 330111"/>
                  <a:gd name="connsiteX49" fmla="*/ 469028 w 499407"/>
                  <a:gd name="connsiteY49" fmla="*/ 177858 h 330111"/>
                  <a:gd name="connsiteX50" fmla="*/ 499407 w 499407"/>
                  <a:gd name="connsiteY50" fmla="*/ 193089 h 330111"/>
                  <a:gd name="connsiteX51" fmla="*/ 492163 w 499407"/>
                  <a:gd name="connsiteY51" fmla="*/ 201212 h 330111"/>
                  <a:gd name="connsiteX52" fmla="*/ 483106 w 499407"/>
                  <a:gd name="connsiteY52" fmla="*/ 201926 h 330111"/>
                  <a:gd name="connsiteX53" fmla="*/ 481899 w 499407"/>
                  <a:gd name="connsiteY53" fmla="*/ 206152 h 330111"/>
                  <a:gd name="connsiteX54" fmla="*/ 475257 w 499407"/>
                  <a:gd name="connsiteY54" fmla="*/ 206865 h 330111"/>
                  <a:gd name="connsiteX55" fmla="*/ 465213 w 499407"/>
                  <a:gd name="connsiteY55" fmla="*/ 216416 h 330111"/>
                  <a:gd name="connsiteX56" fmla="*/ 448858 w 499407"/>
                  <a:gd name="connsiteY56" fmla="*/ 212107 h 330111"/>
                  <a:gd name="connsiteX57" fmla="*/ 440241 w 499407"/>
                  <a:gd name="connsiteY57" fmla="*/ 215180 h 330111"/>
                  <a:gd name="connsiteX58" fmla="*/ 431458 w 499407"/>
                  <a:gd name="connsiteY58" fmla="*/ 216717 h 330111"/>
                  <a:gd name="connsiteX59" fmla="*/ 422952 w 499407"/>
                  <a:gd name="connsiteY59" fmla="*/ 207908 h 330111"/>
                  <a:gd name="connsiteX60" fmla="*/ 433599 w 499407"/>
                  <a:gd name="connsiteY60" fmla="*/ 196135 h 330111"/>
                  <a:gd name="connsiteX61" fmla="*/ 425339 w 499407"/>
                  <a:gd name="connsiteY61" fmla="*/ 185131 h 330111"/>
                  <a:gd name="connsiteX62" fmla="*/ 420207 w 499407"/>
                  <a:gd name="connsiteY62" fmla="*/ 190674 h 330111"/>
                  <a:gd name="connsiteX63" fmla="*/ 404098 w 499407"/>
                  <a:gd name="connsiteY63" fmla="*/ 198632 h 330111"/>
                  <a:gd name="connsiteX64" fmla="*/ 394987 w 499407"/>
                  <a:gd name="connsiteY64" fmla="*/ 194818 h 330111"/>
                  <a:gd name="connsiteX65" fmla="*/ 390266 w 499407"/>
                  <a:gd name="connsiteY65" fmla="*/ 203682 h 330111"/>
                  <a:gd name="connsiteX66" fmla="*/ 390102 w 499407"/>
                  <a:gd name="connsiteY66" fmla="*/ 214851 h 330111"/>
                  <a:gd name="connsiteX67" fmla="*/ 380552 w 499407"/>
                  <a:gd name="connsiteY67" fmla="*/ 217349 h 330111"/>
                  <a:gd name="connsiteX68" fmla="*/ 381265 w 499407"/>
                  <a:gd name="connsiteY68" fmla="*/ 220532 h 330111"/>
                  <a:gd name="connsiteX69" fmla="*/ 377176 w 499407"/>
                  <a:gd name="connsiteY69" fmla="*/ 223962 h 330111"/>
                  <a:gd name="connsiteX70" fmla="*/ 376847 w 499407"/>
                  <a:gd name="connsiteY70" fmla="*/ 228490 h 330111"/>
                  <a:gd name="connsiteX71" fmla="*/ 372346 w 499407"/>
                  <a:gd name="connsiteY71" fmla="*/ 230768 h 330111"/>
                  <a:gd name="connsiteX72" fmla="*/ 368257 w 499407"/>
                  <a:gd name="connsiteY72" fmla="*/ 240373 h 330111"/>
                  <a:gd name="connsiteX73" fmla="*/ 345535 w 499407"/>
                  <a:gd name="connsiteY73" fmla="*/ 237629 h 330111"/>
                  <a:gd name="connsiteX74" fmla="*/ 337521 w 499407"/>
                  <a:gd name="connsiteY74" fmla="*/ 242596 h 330111"/>
                  <a:gd name="connsiteX75" fmla="*/ 336918 w 499407"/>
                  <a:gd name="connsiteY75" fmla="*/ 252695 h 330111"/>
                  <a:gd name="connsiteX76" fmla="*/ 342050 w 499407"/>
                  <a:gd name="connsiteY76" fmla="*/ 256153 h 330111"/>
                  <a:gd name="connsiteX77" fmla="*/ 344958 w 499407"/>
                  <a:gd name="connsiteY77" fmla="*/ 261120 h 330111"/>
                  <a:gd name="connsiteX78" fmla="*/ 353603 w 499407"/>
                  <a:gd name="connsiteY78" fmla="*/ 261449 h 330111"/>
                  <a:gd name="connsiteX79" fmla="*/ 357417 w 499407"/>
                  <a:gd name="connsiteY79" fmla="*/ 264057 h 330111"/>
                  <a:gd name="connsiteX80" fmla="*/ 355496 w 499407"/>
                  <a:gd name="connsiteY80" fmla="*/ 278546 h 330111"/>
                  <a:gd name="connsiteX81" fmla="*/ 363977 w 499407"/>
                  <a:gd name="connsiteY81" fmla="*/ 292872 h 330111"/>
                  <a:gd name="connsiteX82" fmla="*/ 360930 w 499407"/>
                  <a:gd name="connsiteY82" fmla="*/ 301543 h 330111"/>
                  <a:gd name="connsiteX83" fmla="*/ 355908 w 499407"/>
                  <a:gd name="connsiteY83" fmla="*/ 306072 h 330111"/>
                  <a:gd name="connsiteX84" fmla="*/ 349322 w 499407"/>
                  <a:gd name="connsiteY84" fmla="*/ 316473 h 330111"/>
                  <a:gd name="connsiteX85" fmla="*/ 346413 w 499407"/>
                  <a:gd name="connsiteY85" fmla="*/ 330112 h 330111"/>
                  <a:gd name="connsiteX86" fmla="*/ 338235 w 499407"/>
                  <a:gd name="connsiteY86" fmla="*/ 327038 h 330111"/>
                  <a:gd name="connsiteX87" fmla="*/ 331401 w 499407"/>
                  <a:gd name="connsiteY87" fmla="*/ 329371 h 330111"/>
                  <a:gd name="connsiteX88" fmla="*/ 322949 w 499407"/>
                  <a:gd name="connsiteY88" fmla="*/ 322400 h 330111"/>
                  <a:gd name="connsiteX89" fmla="*/ 310408 w 499407"/>
                  <a:gd name="connsiteY89" fmla="*/ 323663 h 330111"/>
                  <a:gd name="connsiteX90" fmla="*/ 312521 w 499407"/>
                  <a:gd name="connsiteY90" fmla="*/ 303712 h 330111"/>
                  <a:gd name="connsiteX91" fmla="*/ 311121 w 499407"/>
                  <a:gd name="connsiteY91" fmla="*/ 300089 h 330111"/>
                  <a:gd name="connsiteX92" fmla="*/ 293860 w 499407"/>
                  <a:gd name="connsiteY92" fmla="*/ 291307 h 330111"/>
                  <a:gd name="connsiteX93" fmla="*/ 276433 w 499407"/>
                  <a:gd name="connsiteY93" fmla="*/ 285819 h 330111"/>
                  <a:gd name="connsiteX94" fmla="*/ 248222 w 499407"/>
                  <a:gd name="connsiteY94" fmla="*/ 265456 h 330111"/>
                  <a:gd name="connsiteX95" fmla="*/ 236257 w 499407"/>
                  <a:gd name="connsiteY95" fmla="*/ 260215 h 330111"/>
                  <a:gd name="connsiteX96" fmla="*/ 194680 w 499407"/>
                  <a:gd name="connsiteY96" fmla="*/ 228490 h 330111"/>
                  <a:gd name="connsiteX97" fmla="*/ 189247 w 499407"/>
                  <a:gd name="connsiteY97" fmla="*/ 221493 h 330111"/>
                  <a:gd name="connsiteX98" fmla="*/ 185707 w 499407"/>
                  <a:gd name="connsiteY98" fmla="*/ 208073 h 330111"/>
                  <a:gd name="connsiteX99" fmla="*/ 180081 w 499407"/>
                  <a:gd name="connsiteY99" fmla="*/ 199922 h 330111"/>
                  <a:gd name="connsiteX100" fmla="*/ 175553 w 499407"/>
                  <a:gd name="connsiteY100" fmla="*/ 186887 h 330111"/>
                  <a:gd name="connsiteX101" fmla="*/ 171574 w 499407"/>
                  <a:gd name="connsiteY101" fmla="*/ 181042 h 330111"/>
                  <a:gd name="connsiteX102" fmla="*/ 162710 w 499407"/>
                  <a:gd name="connsiteY102" fmla="*/ 175745 h 330111"/>
                  <a:gd name="connsiteX103" fmla="*/ 153955 w 499407"/>
                  <a:gd name="connsiteY103" fmla="*/ 178434 h 330111"/>
                  <a:gd name="connsiteX104" fmla="*/ 129586 w 499407"/>
                  <a:gd name="connsiteY104" fmla="*/ 174373 h 330111"/>
                  <a:gd name="connsiteX105" fmla="*/ 122862 w 499407"/>
                  <a:gd name="connsiteY105" fmla="*/ 168912 h 330111"/>
                  <a:gd name="connsiteX106" fmla="*/ 121380 w 499407"/>
                  <a:gd name="connsiteY106" fmla="*/ 159115 h 330111"/>
                  <a:gd name="connsiteX107" fmla="*/ 121902 w 499407"/>
                  <a:gd name="connsiteY107" fmla="*/ 153187 h 330111"/>
                  <a:gd name="connsiteX108" fmla="*/ 118225 w 499407"/>
                  <a:gd name="connsiteY108" fmla="*/ 146601 h 330111"/>
                  <a:gd name="connsiteX109" fmla="*/ 116139 w 499407"/>
                  <a:gd name="connsiteY109" fmla="*/ 137105 h 330111"/>
                  <a:gd name="connsiteX110" fmla="*/ 100497 w 499407"/>
                  <a:gd name="connsiteY110" fmla="*/ 133757 h 330111"/>
                  <a:gd name="connsiteX111" fmla="*/ 97121 w 499407"/>
                  <a:gd name="connsiteY111" fmla="*/ 130135 h 330111"/>
                  <a:gd name="connsiteX112" fmla="*/ 93718 w 499407"/>
                  <a:gd name="connsiteY112" fmla="*/ 126512 h 330111"/>
                  <a:gd name="connsiteX113" fmla="*/ 83619 w 499407"/>
                  <a:gd name="connsiteY113" fmla="*/ 120886 h 330111"/>
                  <a:gd name="connsiteX114" fmla="*/ 77746 w 499407"/>
                  <a:gd name="connsiteY114" fmla="*/ 117621 h 330111"/>
                  <a:gd name="connsiteX115" fmla="*/ 66248 w 499407"/>
                  <a:gd name="connsiteY115" fmla="*/ 120640 h 330111"/>
                  <a:gd name="connsiteX116" fmla="*/ 66248 w 499407"/>
                  <a:gd name="connsiteY116" fmla="*/ 120914 h 330111"/>
                  <a:gd name="connsiteX117" fmla="*/ 66879 w 499407"/>
                  <a:gd name="connsiteY117" fmla="*/ 127061 h 330111"/>
                  <a:gd name="connsiteX118" fmla="*/ 58344 w 499407"/>
                  <a:gd name="connsiteY118" fmla="*/ 128186 h 330111"/>
                  <a:gd name="connsiteX119" fmla="*/ 57438 w 499407"/>
                  <a:gd name="connsiteY119" fmla="*/ 130162 h 330111"/>
                  <a:gd name="connsiteX120" fmla="*/ 53871 w 499407"/>
                  <a:gd name="connsiteY120" fmla="*/ 137901 h 330111"/>
                  <a:gd name="connsiteX121" fmla="*/ 42454 w 499407"/>
                  <a:gd name="connsiteY121" fmla="*/ 139767 h 330111"/>
                  <a:gd name="connsiteX122" fmla="*/ 37488 w 499407"/>
                  <a:gd name="connsiteY122" fmla="*/ 143198 h 330111"/>
                  <a:gd name="connsiteX123" fmla="*/ 29776 w 499407"/>
                  <a:gd name="connsiteY123" fmla="*/ 153379 h 330111"/>
                  <a:gd name="connsiteX124" fmla="*/ 29776 w 499407"/>
                  <a:gd name="connsiteY124" fmla="*/ 159142 h 330111"/>
                  <a:gd name="connsiteX125" fmla="*/ 29995 w 499407"/>
                  <a:gd name="connsiteY125" fmla="*/ 160981 h 330111"/>
                  <a:gd name="connsiteX126" fmla="*/ 32273 w 499407"/>
                  <a:gd name="connsiteY126" fmla="*/ 171601 h 330111"/>
                  <a:gd name="connsiteX127" fmla="*/ 30763 w 499407"/>
                  <a:gd name="connsiteY127" fmla="*/ 174400 h 330111"/>
                  <a:gd name="connsiteX128" fmla="*/ 0 w 499407"/>
                  <a:gd name="connsiteY128" fmla="*/ 172863 h 330111"/>
                  <a:gd name="connsiteX129" fmla="*/ 0 w 499407"/>
                  <a:gd name="connsiteY129" fmla="*/ 146628 h 330111"/>
                  <a:gd name="connsiteX130" fmla="*/ 55 w 499407"/>
                  <a:gd name="connsiteY130" fmla="*/ 130107 h 330111"/>
                  <a:gd name="connsiteX131" fmla="*/ 55 w 499407"/>
                  <a:gd name="connsiteY131" fmla="*/ 120859 h 330111"/>
                  <a:gd name="connsiteX132" fmla="*/ 385 w 499407"/>
                  <a:gd name="connsiteY132" fmla="*/ 24836 h 330111"/>
                  <a:gd name="connsiteX133" fmla="*/ 75853 w 499407"/>
                  <a:gd name="connsiteY133" fmla="*/ 0 h 330111"/>
                  <a:gd name="connsiteX134" fmla="*/ 150085 w 499407"/>
                  <a:gd name="connsiteY134" fmla="*/ 54529 h 330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499407" h="330111">
                    <a:moveTo>
                      <a:pt x="150168" y="54557"/>
                    </a:moveTo>
                    <a:lnTo>
                      <a:pt x="177172" y="85622"/>
                    </a:lnTo>
                    <a:lnTo>
                      <a:pt x="216909" y="79201"/>
                    </a:lnTo>
                    <a:lnTo>
                      <a:pt x="250335" y="81506"/>
                    </a:lnTo>
                    <a:lnTo>
                      <a:pt x="268667" y="76100"/>
                    </a:lnTo>
                    <a:lnTo>
                      <a:pt x="283623" y="94486"/>
                    </a:lnTo>
                    <a:lnTo>
                      <a:pt x="288947" y="109415"/>
                    </a:lnTo>
                    <a:lnTo>
                      <a:pt x="296659" y="109799"/>
                    </a:lnTo>
                    <a:lnTo>
                      <a:pt x="296933" y="120886"/>
                    </a:lnTo>
                    <a:lnTo>
                      <a:pt x="297125" y="128543"/>
                    </a:lnTo>
                    <a:lnTo>
                      <a:pt x="296467" y="130162"/>
                    </a:lnTo>
                    <a:lnTo>
                      <a:pt x="294820" y="134087"/>
                    </a:lnTo>
                    <a:lnTo>
                      <a:pt x="294985" y="146683"/>
                    </a:lnTo>
                    <a:lnTo>
                      <a:pt x="295643" y="148274"/>
                    </a:lnTo>
                    <a:lnTo>
                      <a:pt x="309502" y="150882"/>
                    </a:lnTo>
                    <a:lnTo>
                      <a:pt x="310627" y="159169"/>
                    </a:lnTo>
                    <a:lnTo>
                      <a:pt x="310874" y="161008"/>
                    </a:lnTo>
                    <a:lnTo>
                      <a:pt x="312768" y="175251"/>
                    </a:lnTo>
                    <a:lnTo>
                      <a:pt x="350941" y="178379"/>
                    </a:lnTo>
                    <a:lnTo>
                      <a:pt x="357033" y="184444"/>
                    </a:lnTo>
                    <a:lnTo>
                      <a:pt x="355414" y="192924"/>
                    </a:lnTo>
                    <a:lnTo>
                      <a:pt x="366748" y="200636"/>
                    </a:lnTo>
                    <a:lnTo>
                      <a:pt x="371359" y="199511"/>
                    </a:lnTo>
                    <a:lnTo>
                      <a:pt x="370315" y="189521"/>
                    </a:lnTo>
                    <a:lnTo>
                      <a:pt x="383543" y="172150"/>
                    </a:lnTo>
                    <a:lnTo>
                      <a:pt x="395454" y="164329"/>
                    </a:lnTo>
                    <a:lnTo>
                      <a:pt x="399543" y="160981"/>
                    </a:lnTo>
                    <a:lnTo>
                      <a:pt x="404070" y="159142"/>
                    </a:lnTo>
                    <a:lnTo>
                      <a:pt x="410108" y="156672"/>
                    </a:lnTo>
                    <a:lnTo>
                      <a:pt x="419933" y="146655"/>
                    </a:lnTo>
                    <a:lnTo>
                      <a:pt x="424021" y="142457"/>
                    </a:lnTo>
                    <a:lnTo>
                      <a:pt x="429867" y="145173"/>
                    </a:lnTo>
                    <a:lnTo>
                      <a:pt x="437853" y="137325"/>
                    </a:lnTo>
                    <a:lnTo>
                      <a:pt x="439472" y="135733"/>
                    </a:lnTo>
                    <a:lnTo>
                      <a:pt x="444604" y="135129"/>
                    </a:lnTo>
                    <a:lnTo>
                      <a:pt x="446772" y="137297"/>
                    </a:lnTo>
                    <a:lnTo>
                      <a:pt x="447047" y="139246"/>
                    </a:lnTo>
                    <a:lnTo>
                      <a:pt x="437551" y="144927"/>
                    </a:lnTo>
                    <a:lnTo>
                      <a:pt x="436481" y="146601"/>
                    </a:lnTo>
                    <a:lnTo>
                      <a:pt x="434725" y="149262"/>
                    </a:lnTo>
                    <a:lnTo>
                      <a:pt x="422101" y="159087"/>
                    </a:lnTo>
                    <a:lnTo>
                      <a:pt x="420399" y="160404"/>
                    </a:lnTo>
                    <a:lnTo>
                      <a:pt x="419137" y="164411"/>
                    </a:lnTo>
                    <a:lnTo>
                      <a:pt x="425668" y="168418"/>
                    </a:lnTo>
                    <a:lnTo>
                      <a:pt x="432117" y="168884"/>
                    </a:lnTo>
                    <a:lnTo>
                      <a:pt x="436947" y="177172"/>
                    </a:lnTo>
                    <a:lnTo>
                      <a:pt x="449050" y="179806"/>
                    </a:lnTo>
                    <a:lnTo>
                      <a:pt x="454016" y="178270"/>
                    </a:lnTo>
                    <a:lnTo>
                      <a:pt x="462799" y="166305"/>
                    </a:lnTo>
                    <a:lnTo>
                      <a:pt x="469028" y="177858"/>
                    </a:lnTo>
                    <a:lnTo>
                      <a:pt x="499407" y="193089"/>
                    </a:lnTo>
                    <a:lnTo>
                      <a:pt x="492163" y="201212"/>
                    </a:lnTo>
                    <a:lnTo>
                      <a:pt x="483106" y="201926"/>
                    </a:lnTo>
                    <a:lnTo>
                      <a:pt x="481899" y="206152"/>
                    </a:lnTo>
                    <a:lnTo>
                      <a:pt x="475257" y="206865"/>
                    </a:lnTo>
                    <a:lnTo>
                      <a:pt x="465213" y="216416"/>
                    </a:lnTo>
                    <a:lnTo>
                      <a:pt x="448858" y="212107"/>
                    </a:lnTo>
                    <a:lnTo>
                      <a:pt x="440241" y="215180"/>
                    </a:lnTo>
                    <a:lnTo>
                      <a:pt x="431458" y="216717"/>
                    </a:lnTo>
                    <a:lnTo>
                      <a:pt x="422952" y="207908"/>
                    </a:lnTo>
                    <a:lnTo>
                      <a:pt x="433599" y="196135"/>
                    </a:lnTo>
                    <a:lnTo>
                      <a:pt x="425339" y="185131"/>
                    </a:lnTo>
                    <a:lnTo>
                      <a:pt x="420207" y="190674"/>
                    </a:lnTo>
                    <a:lnTo>
                      <a:pt x="404098" y="198632"/>
                    </a:lnTo>
                    <a:lnTo>
                      <a:pt x="394987" y="194818"/>
                    </a:lnTo>
                    <a:lnTo>
                      <a:pt x="390266" y="203682"/>
                    </a:lnTo>
                    <a:lnTo>
                      <a:pt x="390102" y="214851"/>
                    </a:lnTo>
                    <a:lnTo>
                      <a:pt x="380552" y="217349"/>
                    </a:lnTo>
                    <a:lnTo>
                      <a:pt x="381265" y="220532"/>
                    </a:lnTo>
                    <a:lnTo>
                      <a:pt x="377176" y="223962"/>
                    </a:lnTo>
                    <a:lnTo>
                      <a:pt x="376847" y="228490"/>
                    </a:lnTo>
                    <a:lnTo>
                      <a:pt x="372346" y="230768"/>
                    </a:lnTo>
                    <a:lnTo>
                      <a:pt x="368257" y="240373"/>
                    </a:lnTo>
                    <a:lnTo>
                      <a:pt x="345535" y="237629"/>
                    </a:lnTo>
                    <a:lnTo>
                      <a:pt x="337521" y="242596"/>
                    </a:lnTo>
                    <a:lnTo>
                      <a:pt x="336918" y="252695"/>
                    </a:lnTo>
                    <a:lnTo>
                      <a:pt x="342050" y="256153"/>
                    </a:lnTo>
                    <a:lnTo>
                      <a:pt x="344958" y="261120"/>
                    </a:lnTo>
                    <a:lnTo>
                      <a:pt x="353603" y="261449"/>
                    </a:lnTo>
                    <a:lnTo>
                      <a:pt x="357417" y="264057"/>
                    </a:lnTo>
                    <a:lnTo>
                      <a:pt x="355496" y="278546"/>
                    </a:lnTo>
                    <a:lnTo>
                      <a:pt x="363977" y="292872"/>
                    </a:lnTo>
                    <a:lnTo>
                      <a:pt x="360930" y="301543"/>
                    </a:lnTo>
                    <a:lnTo>
                      <a:pt x="355908" y="306072"/>
                    </a:lnTo>
                    <a:lnTo>
                      <a:pt x="349322" y="316473"/>
                    </a:lnTo>
                    <a:lnTo>
                      <a:pt x="346413" y="330112"/>
                    </a:lnTo>
                    <a:lnTo>
                      <a:pt x="338235" y="327038"/>
                    </a:lnTo>
                    <a:lnTo>
                      <a:pt x="331401" y="329371"/>
                    </a:lnTo>
                    <a:lnTo>
                      <a:pt x="322949" y="322400"/>
                    </a:lnTo>
                    <a:lnTo>
                      <a:pt x="310408" y="323663"/>
                    </a:lnTo>
                    <a:lnTo>
                      <a:pt x="312521" y="303712"/>
                    </a:lnTo>
                    <a:lnTo>
                      <a:pt x="311121" y="300089"/>
                    </a:lnTo>
                    <a:lnTo>
                      <a:pt x="293860" y="291307"/>
                    </a:lnTo>
                    <a:lnTo>
                      <a:pt x="276433" y="285819"/>
                    </a:lnTo>
                    <a:lnTo>
                      <a:pt x="248222" y="265456"/>
                    </a:lnTo>
                    <a:lnTo>
                      <a:pt x="236257" y="260215"/>
                    </a:lnTo>
                    <a:lnTo>
                      <a:pt x="194680" y="228490"/>
                    </a:lnTo>
                    <a:lnTo>
                      <a:pt x="189247" y="221493"/>
                    </a:lnTo>
                    <a:lnTo>
                      <a:pt x="185707" y="208073"/>
                    </a:lnTo>
                    <a:lnTo>
                      <a:pt x="180081" y="199922"/>
                    </a:lnTo>
                    <a:lnTo>
                      <a:pt x="175553" y="186887"/>
                    </a:lnTo>
                    <a:lnTo>
                      <a:pt x="171574" y="181042"/>
                    </a:lnTo>
                    <a:lnTo>
                      <a:pt x="162710" y="175745"/>
                    </a:lnTo>
                    <a:lnTo>
                      <a:pt x="153955" y="178434"/>
                    </a:lnTo>
                    <a:lnTo>
                      <a:pt x="129586" y="174373"/>
                    </a:lnTo>
                    <a:lnTo>
                      <a:pt x="122862" y="168912"/>
                    </a:lnTo>
                    <a:lnTo>
                      <a:pt x="121380" y="159115"/>
                    </a:lnTo>
                    <a:lnTo>
                      <a:pt x="121902" y="153187"/>
                    </a:lnTo>
                    <a:lnTo>
                      <a:pt x="118225" y="146601"/>
                    </a:lnTo>
                    <a:lnTo>
                      <a:pt x="116139" y="137105"/>
                    </a:lnTo>
                    <a:lnTo>
                      <a:pt x="100497" y="133757"/>
                    </a:lnTo>
                    <a:lnTo>
                      <a:pt x="97121" y="130135"/>
                    </a:lnTo>
                    <a:lnTo>
                      <a:pt x="93718" y="126512"/>
                    </a:lnTo>
                    <a:lnTo>
                      <a:pt x="83619" y="120886"/>
                    </a:lnTo>
                    <a:lnTo>
                      <a:pt x="77746" y="117621"/>
                    </a:lnTo>
                    <a:lnTo>
                      <a:pt x="66248" y="120640"/>
                    </a:lnTo>
                    <a:lnTo>
                      <a:pt x="66248" y="120914"/>
                    </a:lnTo>
                    <a:cubicBezTo>
                      <a:pt x="66248" y="120914"/>
                      <a:pt x="66879" y="127061"/>
                      <a:pt x="66879" y="127061"/>
                    </a:cubicBezTo>
                    <a:lnTo>
                      <a:pt x="58344" y="128186"/>
                    </a:lnTo>
                    <a:lnTo>
                      <a:pt x="57438" y="130162"/>
                    </a:lnTo>
                    <a:lnTo>
                      <a:pt x="53871" y="137901"/>
                    </a:lnTo>
                    <a:lnTo>
                      <a:pt x="42454" y="139767"/>
                    </a:lnTo>
                    <a:lnTo>
                      <a:pt x="37488" y="143198"/>
                    </a:lnTo>
                    <a:lnTo>
                      <a:pt x="29776" y="153379"/>
                    </a:lnTo>
                    <a:lnTo>
                      <a:pt x="29776" y="159142"/>
                    </a:lnTo>
                    <a:lnTo>
                      <a:pt x="29995" y="160981"/>
                    </a:lnTo>
                    <a:lnTo>
                      <a:pt x="32273" y="171601"/>
                    </a:lnTo>
                    <a:lnTo>
                      <a:pt x="30763" y="174400"/>
                    </a:lnTo>
                    <a:lnTo>
                      <a:pt x="0" y="172863"/>
                    </a:lnTo>
                    <a:lnTo>
                      <a:pt x="0" y="146628"/>
                    </a:lnTo>
                    <a:cubicBezTo>
                      <a:pt x="0" y="146628"/>
                      <a:pt x="55" y="130107"/>
                      <a:pt x="55" y="130107"/>
                    </a:cubicBezTo>
                    <a:lnTo>
                      <a:pt x="55" y="120859"/>
                    </a:lnTo>
                    <a:cubicBezTo>
                      <a:pt x="55" y="120859"/>
                      <a:pt x="385" y="24836"/>
                      <a:pt x="385" y="24836"/>
                    </a:cubicBezTo>
                    <a:lnTo>
                      <a:pt x="75853" y="0"/>
                    </a:lnTo>
                    <a:lnTo>
                      <a:pt x="150085" y="545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3" name="Freeform: Shape 4132">
                <a:extLst>
                  <a:ext uri="{FF2B5EF4-FFF2-40B4-BE49-F238E27FC236}">
                    <a16:creationId xmlns:a16="http://schemas.microsoft.com/office/drawing/2014/main" id="{8E6475C6-7E50-3A35-82D6-5026ADEC9747}"/>
                  </a:ext>
                </a:extLst>
              </p:cNvPr>
              <p:cNvSpPr/>
              <p:nvPr/>
            </p:nvSpPr>
            <p:spPr>
              <a:xfrm>
                <a:off x="1583166" y="3709655"/>
                <a:ext cx="758" cy="1228"/>
              </a:xfrm>
              <a:custGeom>
                <a:avLst/>
                <a:gdLst>
                  <a:gd name="connsiteX0" fmla="*/ 7272 w 7272"/>
                  <a:gd name="connsiteY0" fmla="*/ 10099 h 11773"/>
                  <a:gd name="connsiteX1" fmla="*/ 4500 w 7272"/>
                  <a:gd name="connsiteY1" fmla="*/ 11773 h 11773"/>
                  <a:gd name="connsiteX2" fmla="*/ 2607 w 7272"/>
                  <a:gd name="connsiteY2" fmla="*/ 9331 h 11773"/>
                  <a:gd name="connsiteX3" fmla="*/ 2799 w 7272"/>
                  <a:gd name="connsiteY3" fmla="*/ 6449 h 11773"/>
                  <a:gd name="connsiteX4" fmla="*/ 576 w 7272"/>
                  <a:gd name="connsiteY4" fmla="*/ 5736 h 11773"/>
                  <a:gd name="connsiteX5" fmla="*/ 0 w 7272"/>
                  <a:gd name="connsiteY5" fmla="*/ 0 h 11773"/>
                  <a:gd name="connsiteX6" fmla="*/ 2662 w 7272"/>
                  <a:gd name="connsiteY6" fmla="*/ 714 h 11773"/>
                  <a:gd name="connsiteX7" fmla="*/ 3842 w 7272"/>
                  <a:gd name="connsiteY7" fmla="*/ 6175 h 11773"/>
                  <a:gd name="connsiteX8" fmla="*/ 7272 w 7272"/>
                  <a:gd name="connsiteY8" fmla="*/ 10127 h 1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72" h="11773">
                    <a:moveTo>
                      <a:pt x="7272" y="10099"/>
                    </a:moveTo>
                    <a:lnTo>
                      <a:pt x="4500" y="11773"/>
                    </a:lnTo>
                    <a:lnTo>
                      <a:pt x="2607" y="9331"/>
                    </a:lnTo>
                    <a:lnTo>
                      <a:pt x="2799" y="6449"/>
                    </a:lnTo>
                    <a:lnTo>
                      <a:pt x="576" y="5736"/>
                    </a:lnTo>
                    <a:lnTo>
                      <a:pt x="0" y="0"/>
                    </a:lnTo>
                    <a:lnTo>
                      <a:pt x="2662" y="714"/>
                    </a:lnTo>
                    <a:lnTo>
                      <a:pt x="3842" y="6175"/>
                    </a:lnTo>
                    <a:lnTo>
                      <a:pt x="7272" y="101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4" name="Freeform: Shape 4133">
                <a:extLst>
                  <a:ext uri="{FF2B5EF4-FFF2-40B4-BE49-F238E27FC236}">
                    <a16:creationId xmlns:a16="http://schemas.microsoft.com/office/drawing/2014/main" id="{38181A2C-BC71-05D3-BCCC-800CCCEA8F97}"/>
                  </a:ext>
                </a:extLst>
              </p:cNvPr>
              <p:cNvSpPr/>
              <p:nvPr/>
            </p:nvSpPr>
            <p:spPr>
              <a:xfrm>
                <a:off x="1585262" y="3710348"/>
                <a:ext cx="478" cy="446"/>
              </a:xfrm>
              <a:custGeom>
                <a:avLst/>
                <a:gdLst>
                  <a:gd name="connsiteX0" fmla="*/ 4583 w 4583"/>
                  <a:gd name="connsiteY0" fmla="*/ 302 h 4280"/>
                  <a:gd name="connsiteX1" fmla="*/ 3046 w 4583"/>
                  <a:gd name="connsiteY1" fmla="*/ 4281 h 4280"/>
                  <a:gd name="connsiteX2" fmla="*/ 0 w 4583"/>
                  <a:gd name="connsiteY2" fmla="*/ 2552 h 4280"/>
                  <a:gd name="connsiteX3" fmla="*/ 3595 w 4583"/>
                  <a:gd name="connsiteY3" fmla="*/ 0 h 4280"/>
                  <a:gd name="connsiteX4" fmla="*/ 4556 w 4583"/>
                  <a:gd name="connsiteY4" fmla="*/ 302 h 4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 h="4280">
                    <a:moveTo>
                      <a:pt x="4583" y="302"/>
                    </a:moveTo>
                    <a:lnTo>
                      <a:pt x="3046" y="4281"/>
                    </a:lnTo>
                    <a:lnTo>
                      <a:pt x="0" y="2552"/>
                    </a:lnTo>
                    <a:lnTo>
                      <a:pt x="3595" y="0"/>
                    </a:lnTo>
                    <a:lnTo>
                      <a:pt x="4556" y="3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5" name="Freeform: Shape 4134">
                <a:extLst>
                  <a:ext uri="{FF2B5EF4-FFF2-40B4-BE49-F238E27FC236}">
                    <a16:creationId xmlns:a16="http://schemas.microsoft.com/office/drawing/2014/main" id="{919205E1-1A1D-6B65-1B95-578E646AE75F}"/>
                  </a:ext>
                </a:extLst>
              </p:cNvPr>
              <p:cNvSpPr/>
              <p:nvPr/>
            </p:nvSpPr>
            <p:spPr>
              <a:xfrm>
                <a:off x="1544505" y="3700679"/>
                <a:ext cx="447" cy="398"/>
              </a:xfrm>
              <a:custGeom>
                <a:avLst/>
                <a:gdLst>
                  <a:gd name="connsiteX0" fmla="*/ 4281 w 4281"/>
                  <a:gd name="connsiteY0" fmla="*/ 2141 h 3814"/>
                  <a:gd name="connsiteX1" fmla="*/ 3375 w 4281"/>
                  <a:gd name="connsiteY1" fmla="*/ 3815 h 3814"/>
                  <a:gd name="connsiteX2" fmla="*/ 0 w 4281"/>
                  <a:gd name="connsiteY2" fmla="*/ 3156 h 3814"/>
                  <a:gd name="connsiteX3" fmla="*/ 1125 w 4281"/>
                  <a:gd name="connsiteY3" fmla="*/ 0 h 3814"/>
                  <a:gd name="connsiteX4" fmla="*/ 4281 w 4281"/>
                  <a:gd name="connsiteY4" fmla="*/ 2168 h 3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3814">
                    <a:moveTo>
                      <a:pt x="4281" y="2141"/>
                    </a:moveTo>
                    <a:lnTo>
                      <a:pt x="3375" y="3815"/>
                    </a:lnTo>
                    <a:lnTo>
                      <a:pt x="0" y="3156"/>
                    </a:lnTo>
                    <a:lnTo>
                      <a:pt x="1125" y="0"/>
                    </a:lnTo>
                    <a:lnTo>
                      <a:pt x="4281"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6" name="Freeform: Shape 4135">
                <a:extLst>
                  <a:ext uri="{FF2B5EF4-FFF2-40B4-BE49-F238E27FC236}">
                    <a16:creationId xmlns:a16="http://schemas.microsoft.com/office/drawing/2014/main" id="{D8638544-83D4-A94B-F9AA-0DDAE78C0207}"/>
                  </a:ext>
                </a:extLst>
              </p:cNvPr>
              <p:cNvSpPr/>
              <p:nvPr/>
            </p:nvSpPr>
            <p:spPr>
              <a:xfrm>
                <a:off x="1177411" y="3803027"/>
                <a:ext cx="509" cy="804"/>
              </a:xfrm>
              <a:custGeom>
                <a:avLst/>
                <a:gdLst>
                  <a:gd name="connsiteX0" fmla="*/ 4007 w 4884"/>
                  <a:gd name="connsiteY0" fmla="*/ 6888 h 7711"/>
                  <a:gd name="connsiteX1" fmla="*/ 2662 w 4884"/>
                  <a:gd name="connsiteY1" fmla="*/ 7711 h 7711"/>
                  <a:gd name="connsiteX2" fmla="*/ 0 w 4884"/>
                  <a:gd name="connsiteY2" fmla="*/ 5296 h 7711"/>
                  <a:gd name="connsiteX3" fmla="*/ 521 w 4884"/>
                  <a:gd name="connsiteY3" fmla="*/ 2991 h 7711"/>
                  <a:gd name="connsiteX4" fmla="*/ 2333 w 4884"/>
                  <a:gd name="connsiteY4" fmla="*/ 274 h 7711"/>
                  <a:gd name="connsiteX5" fmla="*/ 3650 w 4884"/>
                  <a:gd name="connsiteY5" fmla="*/ 0 h 7711"/>
                  <a:gd name="connsiteX6" fmla="*/ 4775 w 4884"/>
                  <a:gd name="connsiteY6" fmla="*/ 1537 h 7711"/>
                  <a:gd name="connsiteX7" fmla="*/ 4885 w 4884"/>
                  <a:gd name="connsiteY7" fmla="*/ 4281 h 7711"/>
                  <a:gd name="connsiteX8" fmla="*/ 4034 w 4884"/>
                  <a:gd name="connsiteY8" fmla="*/ 6888 h 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84" h="7711">
                    <a:moveTo>
                      <a:pt x="4007" y="6888"/>
                    </a:moveTo>
                    <a:lnTo>
                      <a:pt x="2662" y="7711"/>
                    </a:lnTo>
                    <a:lnTo>
                      <a:pt x="0" y="5296"/>
                    </a:lnTo>
                    <a:lnTo>
                      <a:pt x="521" y="2991"/>
                    </a:lnTo>
                    <a:lnTo>
                      <a:pt x="2333" y="274"/>
                    </a:lnTo>
                    <a:lnTo>
                      <a:pt x="3650" y="0"/>
                    </a:lnTo>
                    <a:lnTo>
                      <a:pt x="4775" y="1537"/>
                    </a:lnTo>
                    <a:lnTo>
                      <a:pt x="4885" y="4281"/>
                    </a:lnTo>
                    <a:lnTo>
                      <a:pt x="4034" y="68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7" name="Freeform: Shape 4136">
                <a:extLst>
                  <a:ext uri="{FF2B5EF4-FFF2-40B4-BE49-F238E27FC236}">
                    <a16:creationId xmlns:a16="http://schemas.microsoft.com/office/drawing/2014/main" id="{19285C6F-59A1-F7A5-98FC-CF1B4C91E8B1}"/>
                  </a:ext>
                </a:extLst>
              </p:cNvPr>
              <p:cNvSpPr/>
              <p:nvPr/>
            </p:nvSpPr>
            <p:spPr>
              <a:xfrm>
                <a:off x="1176615" y="3805681"/>
                <a:ext cx="258" cy="306"/>
              </a:xfrm>
              <a:custGeom>
                <a:avLst/>
                <a:gdLst>
                  <a:gd name="connsiteX0" fmla="*/ 2470 w 2469"/>
                  <a:gd name="connsiteY0" fmla="*/ 0 h 2936"/>
                  <a:gd name="connsiteX1" fmla="*/ 2113 w 2469"/>
                  <a:gd name="connsiteY1" fmla="*/ 2937 h 2936"/>
                  <a:gd name="connsiteX2" fmla="*/ 0 w 2469"/>
                  <a:gd name="connsiteY2" fmla="*/ 2470 h 2936"/>
                  <a:gd name="connsiteX3" fmla="*/ 412 w 2469"/>
                  <a:gd name="connsiteY3" fmla="*/ 906 h 2936"/>
                  <a:gd name="connsiteX4" fmla="*/ 2470 w 2469"/>
                  <a:gd name="connsiteY4" fmla="*/ 0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9" h="2936">
                    <a:moveTo>
                      <a:pt x="2470" y="0"/>
                    </a:moveTo>
                    <a:lnTo>
                      <a:pt x="2113" y="2937"/>
                    </a:lnTo>
                    <a:lnTo>
                      <a:pt x="0" y="2470"/>
                    </a:lnTo>
                    <a:lnTo>
                      <a:pt x="412" y="906"/>
                    </a:lnTo>
                    <a:lnTo>
                      <a:pt x="247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8" name="Freeform: Shape 4137">
                <a:extLst>
                  <a:ext uri="{FF2B5EF4-FFF2-40B4-BE49-F238E27FC236}">
                    <a16:creationId xmlns:a16="http://schemas.microsoft.com/office/drawing/2014/main" id="{8084D8A1-3EAD-B87B-47E3-E2B499E7DF68}"/>
                  </a:ext>
                </a:extLst>
              </p:cNvPr>
              <p:cNvSpPr/>
              <p:nvPr/>
            </p:nvSpPr>
            <p:spPr>
              <a:xfrm>
                <a:off x="1572327" y="3706309"/>
                <a:ext cx="23491" cy="16985"/>
              </a:xfrm>
              <a:custGeom>
                <a:avLst/>
                <a:gdLst>
                  <a:gd name="connsiteX0" fmla="*/ 96627 w 225224"/>
                  <a:gd name="connsiteY0" fmla="*/ 11060 h 162846"/>
                  <a:gd name="connsiteX1" fmla="*/ 85979 w 225224"/>
                  <a:gd name="connsiteY1" fmla="*/ 22832 h 162846"/>
                  <a:gd name="connsiteX2" fmla="*/ 94486 w 225224"/>
                  <a:gd name="connsiteY2" fmla="*/ 31642 h 162846"/>
                  <a:gd name="connsiteX3" fmla="*/ 103268 w 225224"/>
                  <a:gd name="connsiteY3" fmla="*/ 30105 h 162846"/>
                  <a:gd name="connsiteX4" fmla="*/ 91111 w 225224"/>
                  <a:gd name="connsiteY4" fmla="*/ 39600 h 162846"/>
                  <a:gd name="connsiteX5" fmla="*/ 75715 w 225224"/>
                  <a:gd name="connsiteY5" fmla="*/ 30791 h 162846"/>
                  <a:gd name="connsiteX6" fmla="*/ 63558 w 225224"/>
                  <a:gd name="connsiteY6" fmla="*/ 34798 h 162846"/>
                  <a:gd name="connsiteX7" fmla="*/ 59743 w 225224"/>
                  <a:gd name="connsiteY7" fmla="*/ 41549 h 162846"/>
                  <a:gd name="connsiteX8" fmla="*/ 55490 w 225224"/>
                  <a:gd name="connsiteY8" fmla="*/ 41741 h 162846"/>
                  <a:gd name="connsiteX9" fmla="*/ 54117 w 225224"/>
                  <a:gd name="connsiteY9" fmla="*/ 47174 h 162846"/>
                  <a:gd name="connsiteX10" fmla="*/ 55545 w 225224"/>
                  <a:gd name="connsiteY10" fmla="*/ 54145 h 162846"/>
                  <a:gd name="connsiteX11" fmla="*/ 58618 w 225224"/>
                  <a:gd name="connsiteY11" fmla="*/ 56560 h 162846"/>
                  <a:gd name="connsiteX12" fmla="*/ 89848 w 225224"/>
                  <a:gd name="connsiteY12" fmla="*/ 54529 h 162846"/>
                  <a:gd name="connsiteX13" fmla="*/ 100825 w 225224"/>
                  <a:gd name="connsiteY13" fmla="*/ 61856 h 162846"/>
                  <a:gd name="connsiteX14" fmla="*/ 118416 w 225224"/>
                  <a:gd name="connsiteY14" fmla="*/ 54776 h 162846"/>
                  <a:gd name="connsiteX15" fmla="*/ 121627 w 225224"/>
                  <a:gd name="connsiteY15" fmla="*/ 59085 h 162846"/>
                  <a:gd name="connsiteX16" fmla="*/ 126100 w 225224"/>
                  <a:gd name="connsiteY16" fmla="*/ 60814 h 162846"/>
                  <a:gd name="connsiteX17" fmla="*/ 128214 w 225224"/>
                  <a:gd name="connsiteY17" fmla="*/ 65534 h 162846"/>
                  <a:gd name="connsiteX18" fmla="*/ 134416 w 225224"/>
                  <a:gd name="connsiteY18" fmla="*/ 64354 h 162846"/>
                  <a:gd name="connsiteX19" fmla="*/ 140947 w 225224"/>
                  <a:gd name="connsiteY19" fmla="*/ 69294 h 162846"/>
                  <a:gd name="connsiteX20" fmla="*/ 148878 w 225224"/>
                  <a:gd name="connsiteY20" fmla="*/ 63338 h 162846"/>
                  <a:gd name="connsiteX21" fmla="*/ 167868 w 225224"/>
                  <a:gd name="connsiteY21" fmla="*/ 63091 h 162846"/>
                  <a:gd name="connsiteX22" fmla="*/ 182413 w 225224"/>
                  <a:gd name="connsiteY22" fmla="*/ 59359 h 162846"/>
                  <a:gd name="connsiteX23" fmla="*/ 180190 w 225224"/>
                  <a:gd name="connsiteY23" fmla="*/ 67674 h 162846"/>
                  <a:gd name="connsiteX24" fmla="*/ 186750 w 225224"/>
                  <a:gd name="connsiteY24" fmla="*/ 76868 h 162846"/>
                  <a:gd name="connsiteX25" fmla="*/ 184774 w 225224"/>
                  <a:gd name="connsiteY25" fmla="*/ 82521 h 162846"/>
                  <a:gd name="connsiteX26" fmla="*/ 188122 w 225224"/>
                  <a:gd name="connsiteY26" fmla="*/ 92538 h 162846"/>
                  <a:gd name="connsiteX27" fmla="*/ 192952 w 225224"/>
                  <a:gd name="connsiteY27" fmla="*/ 94129 h 162846"/>
                  <a:gd name="connsiteX28" fmla="*/ 196903 w 225224"/>
                  <a:gd name="connsiteY28" fmla="*/ 90370 h 162846"/>
                  <a:gd name="connsiteX29" fmla="*/ 201706 w 225224"/>
                  <a:gd name="connsiteY29" fmla="*/ 90123 h 162846"/>
                  <a:gd name="connsiteX30" fmla="*/ 216580 w 225224"/>
                  <a:gd name="connsiteY30" fmla="*/ 96901 h 162846"/>
                  <a:gd name="connsiteX31" fmla="*/ 216059 w 225224"/>
                  <a:gd name="connsiteY31" fmla="*/ 108125 h 162846"/>
                  <a:gd name="connsiteX32" fmla="*/ 220641 w 225224"/>
                  <a:gd name="connsiteY32" fmla="*/ 122505 h 162846"/>
                  <a:gd name="connsiteX33" fmla="*/ 219846 w 225224"/>
                  <a:gd name="connsiteY33" fmla="*/ 128955 h 162846"/>
                  <a:gd name="connsiteX34" fmla="*/ 225225 w 225224"/>
                  <a:gd name="connsiteY34" fmla="*/ 135980 h 162846"/>
                  <a:gd name="connsiteX35" fmla="*/ 224099 w 225224"/>
                  <a:gd name="connsiteY35" fmla="*/ 139685 h 162846"/>
                  <a:gd name="connsiteX36" fmla="*/ 218665 w 225224"/>
                  <a:gd name="connsiteY36" fmla="*/ 143005 h 162846"/>
                  <a:gd name="connsiteX37" fmla="*/ 213232 w 225224"/>
                  <a:gd name="connsiteY37" fmla="*/ 137517 h 162846"/>
                  <a:gd name="connsiteX38" fmla="*/ 203489 w 225224"/>
                  <a:gd name="connsiteY38" fmla="*/ 136391 h 162846"/>
                  <a:gd name="connsiteX39" fmla="*/ 184582 w 225224"/>
                  <a:gd name="connsiteY39" fmla="*/ 142594 h 162846"/>
                  <a:gd name="connsiteX40" fmla="*/ 182688 w 225224"/>
                  <a:gd name="connsiteY40" fmla="*/ 141359 h 162846"/>
                  <a:gd name="connsiteX41" fmla="*/ 185020 w 225224"/>
                  <a:gd name="connsiteY41" fmla="*/ 138285 h 162846"/>
                  <a:gd name="connsiteX42" fmla="*/ 184334 w 225224"/>
                  <a:gd name="connsiteY42" fmla="*/ 135925 h 162846"/>
                  <a:gd name="connsiteX43" fmla="*/ 172205 w 225224"/>
                  <a:gd name="connsiteY43" fmla="*/ 135212 h 162846"/>
                  <a:gd name="connsiteX44" fmla="*/ 157989 w 225224"/>
                  <a:gd name="connsiteY44" fmla="*/ 143746 h 162846"/>
                  <a:gd name="connsiteX45" fmla="*/ 152638 w 225224"/>
                  <a:gd name="connsiteY45" fmla="*/ 150442 h 162846"/>
                  <a:gd name="connsiteX46" fmla="*/ 143060 w 225224"/>
                  <a:gd name="connsiteY46" fmla="*/ 152802 h 162846"/>
                  <a:gd name="connsiteX47" fmla="*/ 129338 w 225224"/>
                  <a:gd name="connsiteY47" fmla="*/ 162600 h 162846"/>
                  <a:gd name="connsiteX48" fmla="*/ 124234 w 225224"/>
                  <a:gd name="connsiteY48" fmla="*/ 162847 h 162846"/>
                  <a:gd name="connsiteX49" fmla="*/ 120886 w 225224"/>
                  <a:gd name="connsiteY49" fmla="*/ 159279 h 162846"/>
                  <a:gd name="connsiteX50" fmla="*/ 117374 w 225224"/>
                  <a:gd name="connsiteY50" fmla="*/ 148851 h 162846"/>
                  <a:gd name="connsiteX51" fmla="*/ 121024 w 225224"/>
                  <a:gd name="connsiteY51" fmla="*/ 119020 h 162846"/>
                  <a:gd name="connsiteX52" fmla="*/ 113285 w 225224"/>
                  <a:gd name="connsiteY52" fmla="*/ 117291 h 162846"/>
                  <a:gd name="connsiteX53" fmla="*/ 114163 w 225224"/>
                  <a:gd name="connsiteY53" fmla="*/ 104805 h 162846"/>
                  <a:gd name="connsiteX54" fmla="*/ 102966 w 225224"/>
                  <a:gd name="connsiteY54" fmla="*/ 97340 h 162846"/>
                  <a:gd name="connsiteX55" fmla="*/ 95886 w 225224"/>
                  <a:gd name="connsiteY55" fmla="*/ 99206 h 162846"/>
                  <a:gd name="connsiteX56" fmla="*/ 89025 w 225224"/>
                  <a:gd name="connsiteY56" fmla="*/ 109827 h 162846"/>
                  <a:gd name="connsiteX57" fmla="*/ 81451 w 225224"/>
                  <a:gd name="connsiteY57" fmla="*/ 116934 h 162846"/>
                  <a:gd name="connsiteX58" fmla="*/ 82988 w 225224"/>
                  <a:gd name="connsiteY58" fmla="*/ 125744 h 162846"/>
                  <a:gd name="connsiteX59" fmla="*/ 80271 w 225224"/>
                  <a:gd name="connsiteY59" fmla="*/ 130491 h 162846"/>
                  <a:gd name="connsiteX60" fmla="*/ 61554 w 225224"/>
                  <a:gd name="connsiteY60" fmla="*/ 130629 h 162846"/>
                  <a:gd name="connsiteX61" fmla="*/ 57082 w 225224"/>
                  <a:gd name="connsiteY61" fmla="*/ 136474 h 162846"/>
                  <a:gd name="connsiteX62" fmla="*/ 57850 w 225224"/>
                  <a:gd name="connsiteY62" fmla="*/ 143499 h 162846"/>
                  <a:gd name="connsiteX63" fmla="*/ 53596 w 225224"/>
                  <a:gd name="connsiteY63" fmla="*/ 146820 h 162846"/>
                  <a:gd name="connsiteX64" fmla="*/ 44842 w 225224"/>
                  <a:gd name="connsiteY64" fmla="*/ 140865 h 162846"/>
                  <a:gd name="connsiteX65" fmla="*/ 40396 w 225224"/>
                  <a:gd name="connsiteY65" fmla="*/ 140673 h 162846"/>
                  <a:gd name="connsiteX66" fmla="*/ 17042 w 225224"/>
                  <a:gd name="connsiteY66" fmla="*/ 153351 h 162846"/>
                  <a:gd name="connsiteX67" fmla="*/ 11279 w 225224"/>
                  <a:gd name="connsiteY67" fmla="*/ 148823 h 162846"/>
                  <a:gd name="connsiteX68" fmla="*/ 9495 w 225224"/>
                  <a:gd name="connsiteY68" fmla="*/ 144981 h 162846"/>
                  <a:gd name="connsiteX69" fmla="*/ 12404 w 225224"/>
                  <a:gd name="connsiteY69" fmla="*/ 131342 h 162846"/>
                  <a:gd name="connsiteX70" fmla="*/ 18990 w 225224"/>
                  <a:gd name="connsiteY70" fmla="*/ 120941 h 162846"/>
                  <a:gd name="connsiteX71" fmla="*/ 24013 w 225224"/>
                  <a:gd name="connsiteY71" fmla="*/ 116413 h 162846"/>
                  <a:gd name="connsiteX72" fmla="*/ 27059 w 225224"/>
                  <a:gd name="connsiteY72" fmla="*/ 107741 h 162846"/>
                  <a:gd name="connsiteX73" fmla="*/ 18579 w 225224"/>
                  <a:gd name="connsiteY73" fmla="*/ 93416 h 162846"/>
                  <a:gd name="connsiteX74" fmla="*/ 20500 w 225224"/>
                  <a:gd name="connsiteY74" fmla="*/ 78926 h 162846"/>
                  <a:gd name="connsiteX75" fmla="*/ 16686 w 225224"/>
                  <a:gd name="connsiteY75" fmla="*/ 76319 h 162846"/>
                  <a:gd name="connsiteX76" fmla="*/ 8041 w 225224"/>
                  <a:gd name="connsiteY76" fmla="*/ 75989 h 162846"/>
                  <a:gd name="connsiteX77" fmla="*/ 5132 w 225224"/>
                  <a:gd name="connsiteY77" fmla="*/ 71022 h 162846"/>
                  <a:gd name="connsiteX78" fmla="*/ 0 w 225224"/>
                  <a:gd name="connsiteY78" fmla="*/ 67565 h 162846"/>
                  <a:gd name="connsiteX79" fmla="*/ 604 w 225224"/>
                  <a:gd name="connsiteY79" fmla="*/ 57465 h 162846"/>
                  <a:gd name="connsiteX80" fmla="*/ 8617 w 225224"/>
                  <a:gd name="connsiteY80" fmla="*/ 52498 h 162846"/>
                  <a:gd name="connsiteX81" fmla="*/ 31340 w 225224"/>
                  <a:gd name="connsiteY81" fmla="*/ 55243 h 162846"/>
                  <a:gd name="connsiteX82" fmla="*/ 35429 w 225224"/>
                  <a:gd name="connsiteY82" fmla="*/ 45638 h 162846"/>
                  <a:gd name="connsiteX83" fmla="*/ 39930 w 225224"/>
                  <a:gd name="connsiteY83" fmla="*/ 43360 h 162846"/>
                  <a:gd name="connsiteX84" fmla="*/ 40259 w 225224"/>
                  <a:gd name="connsiteY84" fmla="*/ 38832 h 162846"/>
                  <a:gd name="connsiteX85" fmla="*/ 44348 w 225224"/>
                  <a:gd name="connsiteY85" fmla="*/ 35402 h 162846"/>
                  <a:gd name="connsiteX86" fmla="*/ 43634 w 225224"/>
                  <a:gd name="connsiteY86" fmla="*/ 32218 h 162846"/>
                  <a:gd name="connsiteX87" fmla="*/ 53184 w 225224"/>
                  <a:gd name="connsiteY87" fmla="*/ 29721 h 162846"/>
                  <a:gd name="connsiteX88" fmla="*/ 53349 w 225224"/>
                  <a:gd name="connsiteY88" fmla="*/ 18551 h 162846"/>
                  <a:gd name="connsiteX89" fmla="*/ 58069 w 225224"/>
                  <a:gd name="connsiteY89" fmla="*/ 9687 h 162846"/>
                  <a:gd name="connsiteX90" fmla="*/ 67180 w 225224"/>
                  <a:gd name="connsiteY90" fmla="*/ 13502 h 162846"/>
                  <a:gd name="connsiteX91" fmla="*/ 83290 w 225224"/>
                  <a:gd name="connsiteY91" fmla="*/ 5544 h 162846"/>
                  <a:gd name="connsiteX92" fmla="*/ 88421 w 225224"/>
                  <a:gd name="connsiteY92" fmla="*/ 0 h 162846"/>
                  <a:gd name="connsiteX93" fmla="*/ 96682 w 225224"/>
                  <a:gd name="connsiteY93" fmla="*/ 11005 h 16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25224" h="162846">
                    <a:moveTo>
                      <a:pt x="96627" y="11060"/>
                    </a:moveTo>
                    <a:lnTo>
                      <a:pt x="85979" y="22832"/>
                    </a:lnTo>
                    <a:lnTo>
                      <a:pt x="94486" y="31642"/>
                    </a:lnTo>
                    <a:lnTo>
                      <a:pt x="103268" y="30105"/>
                    </a:lnTo>
                    <a:lnTo>
                      <a:pt x="91111" y="39600"/>
                    </a:lnTo>
                    <a:lnTo>
                      <a:pt x="75715" y="30791"/>
                    </a:lnTo>
                    <a:lnTo>
                      <a:pt x="63558" y="34798"/>
                    </a:lnTo>
                    <a:lnTo>
                      <a:pt x="59743" y="41549"/>
                    </a:lnTo>
                    <a:lnTo>
                      <a:pt x="55490" y="41741"/>
                    </a:lnTo>
                    <a:lnTo>
                      <a:pt x="54117" y="47174"/>
                    </a:lnTo>
                    <a:lnTo>
                      <a:pt x="55545" y="54145"/>
                    </a:lnTo>
                    <a:lnTo>
                      <a:pt x="58618" y="56560"/>
                    </a:lnTo>
                    <a:lnTo>
                      <a:pt x="89848" y="54529"/>
                    </a:lnTo>
                    <a:lnTo>
                      <a:pt x="100825" y="61856"/>
                    </a:lnTo>
                    <a:lnTo>
                      <a:pt x="118416" y="54776"/>
                    </a:lnTo>
                    <a:lnTo>
                      <a:pt x="121627" y="59085"/>
                    </a:lnTo>
                    <a:lnTo>
                      <a:pt x="126100" y="60814"/>
                    </a:lnTo>
                    <a:lnTo>
                      <a:pt x="128214" y="65534"/>
                    </a:lnTo>
                    <a:lnTo>
                      <a:pt x="134416" y="64354"/>
                    </a:lnTo>
                    <a:lnTo>
                      <a:pt x="140947" y="69294"/>
                    </a:lnTo>
                    <a:lnTo>
                      <a:pt x="148878" y="63338"/>
                    </a:lnTo>
                    <a:lnTo>
                      <a:pt x="167868" y="63091"/>
                    </a:lnTo>
                    <a:lnTo>
                      <a:pt x="182413" y="59359"/>
                    </a:lnTo>
                    <a:lnTo>
                      <a:pt x="180190" y="67674"/>
                    </a:lnTo>
                    <a:lnTo>
                      <a:pt x="186750" y="76868"/>
                    </a:lnTo>
                    <a:lnTo>
                      <a:pt x="184774" y="82521"/>
                    </a:lnTo>
                    <a:lnTo>
                      <a:pt x="188122" y="92538"/>
                    </a:lnTo>
                    <a:lnTo>
                      <a:pt x="192952" y="94129"/>
                    </a:lnTo>
                    <a:lnTo>
                      <a:pt x="196903" y="90370"/>
                    </a:lnTo>
                    <a:lnTo>
                      <a:pt x="201706" y="90123"/>
                    </a:lnTo>
                    <a:lnTo>
                      <a:pt x="216580" y="96901"/>
                    </a:lnTo>
                    <a:lnTo>
                      <a:pt x="216059" y="108125"/>
                    </a:lnTo>
                    <a:lnTo>
                      <a:pt x="220641" y="122505"/>
                    </a:lnTo>
                    <a:lnTo>
                      <a:pt x="219846" y="128955"/>
                    </a:lnTo>
                    <a:lnTo>
                      <a:pt x="225225" y="135980"/>
                    </a:lnTo>
                    <a:lnTo>
                      <a:pt x="224099" y="139685"/>
                    </a:lnTo>
                    <a:lnTo>
                      <a:pt x="218665" y="143005"/>
                    </a:lnTo>
                    <a:lnTo>
                      <a:pt x="213232" y="137517"/>
                    </a:lnTo>
                    <a:lnTo>
                      <a:pt x="203489" y="136391"/>
                    </a:lnTo>
                    <a:lnTo>
                      <a:pt x="184582" y="142594"/>
                    </a:lnTo>
                    <a:lnTo>
                      <a:pt x="182688" y="141359"/>
                    </a:lnTo>
                    <a:lnTo>
                      <a:pt x="185020" y="138285"/>
                    </a:lnTo>
                    <a:lnTo>
                      <a:pt x="184334" y="135925"/>
                    </a:lnTo>
                    <a:lnTo>
                      <a:pt x="172205" y="135212"/>
                    </a:lnTo>
                    <a:lnTo>
                      <a:pt x="157989" y="143746"/>
                    </a:lnTo>
                    <a:lnTo>
                      <a:pt x="152638" y="150442"/>
                    </a:lnTo>
                    <a:lnTo>
                      <a:pt x="143060" y="152802"/>
                    </a:lnTo>
                    <a:lnTo>
                      <a:pt x="129338" y="162600"/>
                    </a:lnTo>
                    <a:lnTo>
                      <a:pt x="124234" y="162847"/>
                    </a:lnTo>
                    <a:lnTo>
                      <a:pt x="120886" y="159279"/>
                    </a:lnTo>
                    <a:lnTo>
                      <a:pt x="117374" y="148851"/>
                    </a:lnTo>
                    <a:lnTo>
                      <a:pt x="121024" y="119020"/>
                    </a:lnTo>
                    <a:lnTo>
                      <a:pt x="113285" y="117291"/>
                    </a:lnTo>
                    <a:lnTo>
                      <a:pt x="114163" y="104805"/>
                    </a:lnTo>
                    <a:lnTo>
                      <a:pt x="102966" y="97340"/>
                    </a:lnTo>
                    <a:lnTo>
                      <a:pt x="95886" y="99206"/>
                    </a:lnTo>
                    <a:lnTo>
                      <a:pt x="89025" y="109827"/>
                    </a:lnTo>
                    <a:lnTo>
                      <a:pt x="81451" y="116934"/>
                    </a:lnTo>
                    <a:lnTo>
                      <a:pt x="82988" y="125744"/>
                    </a:lnTo>
                    <a:lnTo>
                      <a:pt x="80271" y="130491"/>
                    </a:lnTo>
                    <a:lnTo>
                      <a:pt x="61554" y="130629"/>
                    </a:lnTo>
                    <a:lnTo>
                      <a:pt x="57082" y="136474"/>
                    </a:lnTo>
                    <a:lnTo>
                      <a:pt x="57850" y="143499"/>
                    </a:lnTo>
                    <a:lnTo>
                      <a:pt x="53596" y="146820"/>
                    </a:lnTo>
                    <a:lnTo>
                      <a:pt x="44842" y="140865"/>
                    </a:lnTo>
                    <a:lnTo>
                      <a:pt x="40396" y="140673"/>
                    </a:lnTo>
                    <a:lnTo>
                      <a:pt x="17042" y="153351"/>
                    </a:lnTo>
                    <a:lnTo>
                      <a:pt x="11279" y="148823"/>
                    </a:lnTo>
                    <a:lnTo>
                      <a:pt x="9495" y="144981"/>
                    </a:lnTo>
                    <a:lnTo>
                      <a:pt x="12404" y="131342"/>
                    </a:lnTo>
                    <a:lnTo>
                      <a:pt x="18990" y="120941"/>
                    </a:lnTo>
                    <a:lnTo>
                      <a:pt x="24013" y="116413"/>
                    </a:lnTo>
                    <a:lnTo>
                      <a:pt x="27059" y="107741"/>
                    </a:lnTo>
                    <a:lnTo>
                      <a:pt x="18579" y="93416"/>
                    </a:lnTo>
                    <a:lnTo>
                      <a:pt x="20500" y="78926"/>
                    </a:lnTo>
                    <a:lnTo>
                      <a:pt x="16686" y="76319"/>
                    </a:lnTo>
                    <a:lnTo>
                      <a:pt x="8041" y="75989"/>
                    </a:lnTo>
                    <a:lnTo>
                      <a:pt x="5132" y="71022"/>
                    </a:lnTo>
                    <a:lnTo>
                      <a:pt x="0" y="67565"/>
                    </a:lnTo>
                    <a:lnTo>
                      <a:pt x="604" y="57465"/>
                    </a:lnTo>
                    <a:lnTo>
                      <a:pt x="8617" y="52498"/>
                    </a:lnTo>
                    <a:lnTo>
                      <a:pt x="31340" y="55243"/>
                    </a:lnTo>
                    <a:lnTo>
                      <a:pt x="35429" y="45638"/>
                    </a:lnTo>
                    <a:lnTo>
                      <a:pt x="39930" y="43360"/>
                    </a:lnTo>
                    <a:lnTo>
                      <a:pt x="40259" y="38832"/>
                    </a:lnTo>
                    <a:lnTo>
                      <a:pt x="44348" y="35402"/>
                    </a:lnTo>
                    <a:lnTo>
                      <a:pt x="43634" y="32218"/>
                    </a:lnTo>
                    <a:lnTo>
                      <a:pt x="53184" y="29721"/>
                    </a:lnTo>
                    <a:lnTo>
                      <a:pt x="53349" y="18551"/>
                    </a:lnTo>
                    <a:lnTo>
                      <a:pt x="58069" y="9687"/>
                    </a:lnTo>
                    <a:lnTo>
                      <a:pt x="67180" y="13502"/>
                    </a:lnTo>
                    <a:lnTo>
                      <a:pt x="83290" y="5544"/>
                    </a:lnTo>
                    <a:lnTo>
                      <a:pt x="88421" y="0"/>
                    </a:lnTo>
                    <a:lnTo>
                      <a:pt x="96682" y="110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9" name="Freeform: Shape 4138">
                <a:extLst>
                  <a:ext uri="{FF2B5EF4-FFF2-40B4-BE49-F238E27FC236}">
                    <a16:creationId xmlns:a16="http://schemas.microsoft.com/office/drawing/2014/main" id="{1A578BFB-1819-A3F6-D7C2-1E7E924395F7}"/>
                  </a:ext>
                </a:extLst>
              </p:cNvPr>
              <p:cNvSpPr/>
              <p:nvPr/>
            </p:nvSpPr>
            <p:spPr>
              <a:xfrm>
                <a:off x="1581655" y="3710749"/>
                <a:ext cx="753" cy="412"/>
              </a:xfrm>
              <a:custGeom>
                <a:avLst/>
                <a:gdLst>
                  <a:gd name="connsiteX0" fmla="*/ 7217 w 7217"/>
                  <a:gd name="connsiteY0" fmla="*/ 1043 h 3951"/>
                  <a:gd name="connsiteX1" fmla="*/ 4803 w 7217"/>
                  <a:gd name="connsiteY1" fmla="*/ 3952 h 3951"/>
                  <a:gd name="connsiteX2" fmla="*/ 1290 w 7217"/>
                  <a:gd name="connsiteY2" fmla="*/ 2552 h 3951"/>
                  <a:gd name="connsiteX3" fmla="*/ 0 w 7217"/>
                  <a:gd name="connsiteY3" fmla="*/ 741 h 3951"/>
                  <a:gd name="connsiteX4" fmla="*/ 6559 w 7217"/>
                  <a:gd name="connsiteY4" fmla="*/ 0 h 3951"/>
                  <a:gd name="connsiteX5" fmla="*/ 7217 w 7217"/>
                  <a:gd name="connsiteY5" fmla="*/ 1043 h 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17" h="3951">
                    <a:moveTo>
                      <a:pt x="7217" y="1043"/>
                    </a:moveTo>
                    <a:lnTo>
                      <a:pt x="4803" y="3952"/>
                    </a:lnTo>
                    <a:lnTo>
                      <a:pt x="1290" y="2552"/>
                    </a:lnTo>
                    <a:lnTo>
                      <a:pt x="0" y="741"/>
                    </a:lnTo>
                    <a:lnTo>
                      <a:pt x="6559" y="0"/>
                    </a:lnTo>
                    <a:lnTo>
                      <a:pt x="7217" y="10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3" name="Freeform: Shape 4142">
                <a:extLst>
                  <a:ext uri="{FF2B5EF4-FFF2-40B4-BE49-F238E27FC236}">
                    <a16:creationId xmlns:a16="http://schemas.microsoft.com/office/drawing/2014/main" id="{7E67B7BB-AAF3-B26D-01BC-D8591C689A94}"/>
                  </a:ext>
                </a:extLst>
              </p:cNvPr>
              <p:cNvSpPr/>
              <p:nvPr/>
            </p:nvSpPr>
            <p:spPr>
              <a:xfrm>
                <a:off x="1526235" y="3699273"/>
                <a:ext cx="43542" cy="29871"/>
              </a:xfrm>
              <a:custGeom>
                <a:avLst/>
                <a:gdLst>
                  <a:gd name="connsiteX0" fmla="*/ 415350 w 417462"/>
                  <a:gd name="connsiteY0" fmla="*/ 206042 h 286395"/>
                  <a:gd name="connsiteX1" fmla="*/ 408297 w 417462"/>
                  <a:gd name="connsiteY1" fmla="*/ 206811 h 286395"/>
                  <a:gd name="connsiteX2" fmla="*/ 390706 w 417462"/>
                  <a:gd name="connsiteY2" fmla="*/ 199950 h 286395"/>
                  <a:gd name="connsiteX3" fmla="*/ 385108 w 417462"/>
                  <a:gd name="connsiteY3" fmla="*/ 210021 h 286395"/>
                  <a:gd name="connsiteX4" fmla="*/ 368175 w 417462"/>
                  <a:gd name="connsiteY4" fmla="*/ 211778 h 286395"/>
                  <a:gd name="connsiteX5" fmla="*/ 362961 w 417462"/>
                  <a:gd name="connsiteY5" fmla="*/ 215400 h 286395"/>
                  <a:gd name="connsiteX6" fmla="*/ 363372 w 417462"/>
                  <a:gd name="connsiteY6" fmla="*/ 221986 h 286395"/>
                  <a:gd name="connsiteX7" fmla="*/ 359037 w 417462"/>
                  <a:gd name="connsiteY7" fmla="*/ 231344 h 286395"/>
                  <a:gd name="connsiteX8" fmla="*/ 358625 w 417462"/>
                  <a:gd name="connsiteY8" fmla="*/ 236119 h 286395"/>
                  <a:gd name="connsiteX9" fmla="*/ 358488 w 417462"/>
                  <a:gd name="connsiteY9" fmla="*/ 240263 h 286395"/>
                  <a:gd name="connsiteX10" fmla="*/ 355935 w 417462"/>
                  <a:gd name="connsiteY10" fmla="*/ 244297 h 286395"/>
                  <a:gd name="connsiteX11" fmla="*/ 343586 w 417462"/>
                  <a:gd name="connsiteY11" fmla="*/ 250994 h 286395"/>
                  <a:gd name="connsiteX12" fmla="*/ 341445 w 417462"/>
                  <a:gd name="connsiteY12" fmla="*/ 254232 h 286395"/>
                  <a:gd name="connsiteX13" fmla="*/ 314826 w 417462"/>
                  <a:gd name="connsiteY13" fmla="*/ 261120 h 286395"/>
                  <a:gd name="connsiteX14" fmla="*/ 317433 w 417462"/>
                  <a:gd name="connsiteY14" fmla="*/ 267020 h 286395"/>
                  <a:gd name="connsiteX15" fmla="*/ 314688 w 417462"/>
                  <a:gd name="connsiteY15" fmla="*/ 269298 h 286395"/>
                  <a:gd name="connsiteX16" fmla="*/ 313728 w 417462"/>
                  <a:gd name="connsiteY16" fmla="*/ 275939 h 286395"/>
                  <a:gd name="connsiteX17" fmla="*/ 301077 w 417462"/>
                  <a:gd name="connsiteY17" fmla="*/ 283706 h 286395"/>
                  <a:gd name="connsiteX18" fmla="*/ 295369 w 417462"/>
                  <a:gd name="connsiteY18" fmla="*/ 282471 h 286395"/>
                  <a:gd name="connsiteX19" fmla="*/ 290758 w 417462"/>
                  <a:gd name="connsiteY19" fmla="*/ 286395 h 286395"/>
                  <a:gd name="connsiteX20" fmla="*/ 289249 w 417462"/>
                  <a:gd name="connsiteY20" fmla="*/ 281757 h 286395"/>
                  <a:gd name="connsiteX21" fmla="*/ 282800 w 417462"/>
                  <a:gd name="connsiteY21" fmla="*/ 276296 h 286395"/>
                  <a:gd name="connsiteX22" fmla="*/ 270066 w 417462"/>
                  <a:gd name="connsiteY22" fmla="*/ 276186 h 286395"/>
                  <a:gd name="connsiteX23" fmla="*/ 262547 w 417462"/>
                  <a:gd name="connsiteY23" fmla="*/ 269984 h 286395"/>
                  <a:gd name="connsiteX24" fmla="*/ 260077 w 417462"/>
                  <a:gd name="connsiteY24" fmla="*/ 270066 h 286395"/>
                  <a:gd name="connsiteX25" fmla="*/ 259336 w 417462"/>
                  <a:gd name="connsiteY25" fmla="*/ 261093 h 286395"/>
                  <a:gd name="connsiteX26" fmla="*/ 256729 w 417462"/>
                  <a:gd name="connsiteY26" fmla="*/ 256921 h 286395"/>
                  <a:gd name="connsiteX27" fmla="*/ 258321 w 417462"/>
                  <a:gd name="connsiteY27" fmla="*/ 250170 h 286395"/>
                  <a:gd name="connsiteX28" fmla="*/ 256400 w 417462"/>
                  <a:gd name="connsiteY28" fmla="*/ 242514 h 286395"/>
                  <a:gd name="connsiteX29" fmla="*/ 257223 w 417462"/>
                  <a:gd name="connsiteY29" fmla="*/ 236092 h 286395"/>
                  <a:gd name="connsiteX30" fmla="*/ 254891 w 417462"/>
                  <a:gd name="connsiteY30" fmla="*/ 232332 h 286395"/>
                  <a:gd name="connsiteX31" fmla="*/ 233265 w 417462"/>
                  <a:gd name="connsiteY31" fmla="*/ 232387 h 286395"/>
                  <a:gd name="connsiteX32" fmla="*/ 223550 w 417462"/>
                  <a:gd name="connsiteY32" fmla="*/ 218583 h 286395"/>
                  <a:gd name="connsiteX33" fmla="*/ 209719 w 417462"/>
                  <a:gd name="connsiteY33" fmla="*/ 213534 h 286395"/>
                  <a:gd name="connsiteX34" fmla="*/ 205850 w 417462"/>
                  <a:gd name="connsiteY34" fmla="*/ 208320 h 286395"/>
                  <a:gd name="connsiteX35" fmla="*/ 203435 w 417462"/>
                  <a:gd name="connsiteY35" fmla="*/ 199950 h 286395"/>
                  <a:gd name="connsiteX36" fmla="*/ 188533 w 417462"/>
                  <a:gd name="connsiteY36" fmla="*/ 194077 h 286395"/>
                  <a:gd name="connsiteX37" fmla="*/ 172808 w 417462"/>
                  <a:gd name="connsiteY37" fmla="*/ 194543 h 286395"/>
                  <a:gd name="connsiteX38" fmla="*/ 169241 w 417462"/>
                  <a:gd name="connsiteY38" fmla="*/ 190372 h 286395"/>
                  <a:gd name="connsiteX39" fmla="*/ 147972 w 417462"/>
                  <a:gd name="connsiteY39" fmla="*/ 184417 h 286395"/>
                  <a:gd name="connsiteX40" fmla="*/ 140838 w 417462"/>
                  <a:gd name="connsiteY40" fmla="*/ 172068 h 286395"/>
                  <a:gd name="connsiteX41" fmla="*/ 136008 w 417462"/>
                  <a:gd name="connsiteY41" fmla="*/ 174510 h 286395"/>
                  <a:gd name="connsiteX42" fmla="*/ 119762 w 417462"/>
                  <a:gd name="connsiteY42" fmla="*/ 172342 h 286395"/>
                  <a:gd name="connsiteX43" fmla="*/ 115947 w 417462"/>
                  <a:gd name="connsiteY43" fmla="*/ 174098 h 286395"/>
                  <a:gd name="connsiteX44" fmla="*/ 113532 w 417462"/>
                  <a:gd name="connsiteY44" fmla="*/ 179148 h 286395"/>
                  <a:gd name="connsiteX45" fmla="*/ 98547 w 417462"/>
                  <a:gd name="connsiteY45" fmla="*/ 177666 h 286395"/>
                  <a:gd name="connsiteX46" fmla="*/ 89217 w 417462"/>
                  <a:gd name="connsiteY46" fmla="*/ 179093 h 286395"/>
                  <a:gd name="connsiteX47" fmla="*/ 79612 w 417462"/>
                  <a:gd name="connsiteY47" fmla="*/ 184060 h 286395"/>
                  <a:gd name="connsiteX48" fmla="*/ 71159 w 417462"/>
                  <a:gd name="connsiteY48" fmla="*/ 191909 h 286395"/>
                  <a:gd name="connsiteX49" fmla="*/ 69513 w 417462"/>
                  <a:gd name="connsiteY49" fmla="*/ 199291 h 286395"/>
                  <a:gd name="connsiteX50" fmla="*/ 66604 w 417462"/>
                  <a:gd name="connsiteY50" fmla="*/ 202200 h 286395"/>
                  <a:gd name="connsiteX51" fmla="*/ 53679 w 417462"/>
                  <a:gd name="connsiteY51" fmla="*/ 207249 h 286395"/>
                  <a:gd name="connsiteX52" fmla="*/ 43415 w 417462"/>
                  <a:gd name="connsiteY52" fmla="*/ 206618 h 286395"/>
                  <a:gd name="connsiteX53" fmla="*/ 40616 w 417462"/>
                  <a:gd name="connsiteY53" fmla="*/ 183594 h 286395"/>
                  <a:gd name="connsiteX54" fmla="*/ 41522 w 417462"/>
                  <a:gd name="connsiteY54" fmla="*/ 160953 h 286395"/>
                  <a:gd name="connsiteX55" fmla="*/ 44567 w 417462"/>
                  <a:gd name="connsiteY55" fmla="*/ 147945 h 286395"/>
                  <a:gd name="connsiteX56" fmla="*/ 31862 w 417462"/>
                  <a:gd name="connsiteY56" fmla="*/ 132769 h 286395"/>
                  <a:gd name="connsiteX57" fmla="*/ 21899 w 417462"/>
                  <a:gd name="connsiteY57" fmla="*/ 132577 h 286395"/>
                  <a:gd name="connsiteX58" fmla="*/ 20281 w 417462"/>
                  <a:gd name="connsiteY58" fmla="*/ 130574 h 286395"/>
                  <a:gd name="connsiteX59" fmla="*/ 24013 w 417462"/>
                  <a:gd name="connsiteY59" fmla="*/ 124536 h 286395"/>
                  <a:gd name="connsiteX60" fmla="*/ 35127 w 417462"/>
                  <a:gd name="connsiteY60" fmla="*/ 124674 h 286395"/>
                  <a:gd name="connsiteX61" fmla="*/ 34798 w 417462"/>
                  <a:gd name="connsiteY61" fmla="*/ 121819 h 286395"/>
                  <a:gd name="connsiteX62" fmla="*/ 29748 w 417462"/>
                  <a:gd name="connsiteY62" fmla="*/ 116303 h 286395"/>
                  <a:gd name="connsiteX63" fmla="*/ 32218 w 417462"/>
                  <a:gd name="connsiteY63" fmla="*/ 108400 h 286395"/>
                  <a:gd name="connsiteX64" fmla="*/ 28349 w 417462"/>
                  <a:gd name="connsiteY64" fmla="*/ 106836 h 286395"/>
                  <a:gd name="connsiteX65" fmla="*/ 13035 w 417462"/>
                  <a:gd name="connsiteY65" fmla="*/ 107988 h 286395"/>
                  <a:gd name="connsiteX66" fmla="*/ 9633 w 417462"/>
                  <a:gd name="connsiteY66" fmla="*/ 103762 h 286395"/>
                  <a:gd name="connsiteX67" fmla="*/ 8150 w 417462"/>
                  <a:gd name="connsiteY67" fmla="*/ 94871 h 286395"/>
                  <a:gd name="connsiteX68" fmla="*/ 14765 w 417462"/>
                  <a:gd name="connsiteY68" fmla="*/ 67455 h 286395"/>
                  <a:gd name="connsiteX69" fmla="*/ 20802 w 417462"/>
                  <a:gd name="connsiteY69" fmla="*/ 76127 h 286395"/>
                  <a:gd name="connsiteX70" fmla="*/ 30489 w 417462"/>
                  <a:gd name="connsiteY70" fmla="*/ 77334 h 286395"/>
                  <a:gd name="connsiteX71" fmla="*/ 34798 w 417462"/>
                  <a:gd name="connsiteY71" fmla="*/ 73712 h 286395"/>
                  <a:gd name="connsiteX72" fmla="*/ 40341 w 417462"/>
                  <a:gd name="connsiteY72" fmla="*/ 81890 h 286395"/>
                  <a:gd name="connsiteX73" fmla="*/ 55462 w 417462"/>
                  <a:gd name="connsiteY73" fmla="*/ 79283 h 286395"/>
                  <a:gd name="connsiteX74" fmla="*/ 55271 w 417462"/>
                  <a:gd name="connsiteY74" fmla="*/ 72011 h 286395"/>
                  <a:gd name="connsiteX75" fmla="*/ 61033 w 417462"/>
                  <a:gd name="connsiteY75" fmla="*/ 74700 h 286395"/>
                  <a:gd name="connsiteX76" fmla="*/ 66604 w 417462"/>
                  <a:gd name="connsiteY76" fmla="*/ 71572 h 286395"/>
                  <a:gd name="connsiteX77" fmla="*/ 66138 w 417462"/>
                  <a:gd name="connsiteY77" fmla="*/ 62872 h 286395"/>
                  <a:gd name="connsiteX78" fmla="*/ 49096 w 417462"/>
                  <a:gd name="connsiteY78" fmla="*/ 48959 h 286395"/>
                  <a:gd name="connsiteX79" fmla="*/ 47174 w 417462"/>
                  <a:gd name="connsiteY79" fmla="*/ 43333 h 286395"/>
                  <a:gd name="connsiteX80" fmla="*/ 46681 w 417462"/>
                  <a:gd name="connsiteY80" fmla="*/ 41494 h 286395"/>
                  <a:gd name="connsiteX81" fmla="*/ 43278 w 417462"/>
                  <a:gd name="connsiteY81" fmla="*/ 29007 h 286395"/>
                  <a:gd name="connsiteX82" fmla="*/ 42619 w 417462"/>
                  <a:gd name="connsiteY82" fmla="*/ 26537 h 286395"/>
                  <a:gd name="connsiteX83" fmla="*/ 35374 w 417462"/>
                  <a:gd name="connsiteY83" fmla="*/ 23190 h 286395"/>
                  <a:gd name="connsiteX84" fmla="*/ 18277 w 417462"/>
                  <a:gd name="connsiteY84" fmla="*/ 27278 h 286395"/>
                  <a:gd name="connsiteX85" fmla="*/ 17289 w 417462"/>
                  <a:gd name="connsiteY85" fmla="*/ 29035 h 286395"/>
                  <a:gd name="connsiteX86" fmla="*/ 11663 w 417462"/>
                  <a:gd name="connsiteY86" fmla="*/ 38640 h 286395"/>
                  <a:gd name="connsiteX87" fmla="*/ 12980 w 417462"/>
                  <a:gd name="connsiteY87" fmla="*/ 41521 h 286395"/>
                  <a:gd name="connsiteX88" fmla="*/ 11032 w 417462"/>
                  <a:gd name="connsiteY88" fmla="*/ 55600 h 286395"/>
                  <a:gd name="connsiteX89" fmla="*/ 4885 w 417462"/>
                  <a:gd name="connsiteY89" fmla="*/ 48190 h 286395"/>
                  <a:gd name="connsiteX90" fmla="*/ 3650 w 417462"/>
                  <a:gd name="connsiteY90" fmla="*/ 41521 h 286395"/>
                  <a:gd name="connsiteX91" fmla="*/ 0 w 417462"/>
                  <a:gd name="connsiteY91" fmla="*/ 37926 h 286395"/>
                  <a:gd name="connsiteX92" fmla="*/ 10181 w 417462"/>
                  <a:gd name="connsiteY92" fmla="*/ 29035 h 286395"/>
                  <a:gd name="connsiteX93" fmla="*/ 29968 w 417462"/>
                  <a:gd name="connsiteY93" fmla="*/ 18085 h 286395"/>
                  <a:gd name="connsiteX94" fmla="*/ 51538 w 417462"/>
                  <a:gd name="connsiteY94" fmla="*/ 15258 h 286395"/>
                  <a:gd name="connsiteX95" fmla="*/ 71352 w 417462"/>
                  <a:gd name="connsiteY95" fmla="*/ 29035 h 286395"/>
                  <a:gd name="connsiteX96" fmla="*/ 78103 w 417462"/>
                  <a:gd name="connsiteY96" fmla="*/ 41521 h 286395"/>
                  <a:gd name="connsiteX97" fmla="*/ 80737 w 417462"/>
                  <a:gd name="connsiteY97" fmla="*/ 46406 h 286395"/>
                  <a:gd name="connsiteX98" fmla="*/ 88531 w 417462"/>
                  <a:gd name="connsiteY98" fmla="*/ 55847 h 286395"/>
                  <a:gd name="connsiteX99" fmla="*/ 93498 w 417462"/>
                  <a:gd name="connsiteY99" fmla="*/ 57713 h 286395"/>
                  <a:gd name="connsiteX100" fmla="*/ 104969 w 417462"/>
                  <a:gd name="connsiteY100" fmla="*/ 55243 h 286395"/>
                  <a:gd name="connsiteX101" fmla="*/ 135733 w 417462"/>
                  <a:gd name="connsiteY101" fmla="*/ 56780 h 286395"/>
                  <a:gd name="connsiteX102" fmla="*/ 137242 w 417462"/>
                  <a:gd name="connsiteY102" fmla="*/ 53980 h 286395"/>
                  <a:gd name="connsiteX103" fmla="*/ 134964 w 417462"/>
                  <a:gd name="connsiteY103" fmla="*/ 43360 h 286395"/>
                  <a:gd name="connsiteX104" fmla="*/ 134745 w 417462"/>
                  <a:gd name="connsiteY104" fmla="*/ 41521 h 286395"/>
                  <a:gd name="connsiteX105" fmla="*/ 134745 w 417462"/>
                  <a:gd name="connsiteY105" fmla="*/ 35758 h 286395"/>
                  <a:gd name="connsiteX106" fmla="*/ 142456 w 417462"/>
                  <a:gd name="connsiteY106" fmla="*/ 25577 h 286395"/>
                  <a:gd name="connsiteX107" fmla="*/ 147424 w 417462"/>
                  <a:gd name="connsiteY107" fmla="*/ 22147 h 286395"/>
                  <a:gd name="connsiteX108" fmla="*/ 158840 w 417462"/>
                  <a:gd name="connsiteY108" fmla="*/ 20280 h 286395"/>
                  <a:gd name="connsiteX109" fmla="*/ 162407 w 417462"/>
                  <a:gd name="connsiteY109" fmla="*/ 12542 h 286395"/>
                  <a:gd name="connsiteX110" fmla="*/ 163313 w 417462"/>
                  <a:gd name="connsiteY110" fmla="*/ 10566 h 286395"/>
                  <a:gd name="connsiteX111" fmla="*/ 171848 w 417462"/>
                  <a:gd name="connsiteY111" fmla="*/ 9441 h 286395"/>
                  <a:gd name="connsiteX112" fmla="*/ 171217 w 417462"/>
                  <a:gd name="connsiteY112" fmla="*/ 3293 h 286395"/>
                  <a:gd name="connsiteX113" fmla="*/ 171217 w 417462"/>
                  <a:gd name="connsiteY113" fmla="*/ 3019 h 286395"/>
                  <a:gd name="connsiteX114" fmla="*/ 182688 w 417462"/>
                  <a:gd name="connsiteY114" fmla="*/ 0 h 286395"/>
                  <a:gd name="connsiteX115" fmla="*/ 188561 w 417462"/>
                  <a:gd name="connsiteY115" fmla="*/ 3266 h 286395"/>
                  <a:gd name="connsiteX116" fmla="*/ 198660 w 417462"/>
                  <a:gd name="connsiteY116" fmla="*/ 8892 h 286395"/>
                  <a:gd name="connsiteX117" fmla="*/ 202063 w 417462"/>
                  <a:gd name="connsiteY117" fmla="*/ 12514 h 286395"/>
                  <a:gd name="connsiteX118" fmla="*/ 205438 w 417462"/>
                  <a:gd name="connsiteY118" fmla="*/ 16136 h 286395"/>
                  <a:gd name="connsiteX119" fmla="*/ 221081 w 417462"/>
                  <a:gd name="connsiteY119" fmla="*/ 19485 h 286395"/>
                  <a:gd name="connsiteX120" fmla="*/ 223166 w 417462"/>
                  <a:gd name="connsiteY120" fmla="*/ 28980 h 286395"/>
                  <a:gd name="connsiteX121" fmla="*/ 226843 w 417462"/>
                  <a:gd name="connsiteY121" fmla="*/ 35566 h 286395"/>
                  <a:gd name="connsiteX122" fmla="*/ 226322 w 417462"/>
                  <a:gd name="connsiteY122" fmla="*/ 41494 h 286395"/>
                  <a:gd name="connsiteX123" fmla="*/ 227804 w 417462"/>
                  <a:gd name="connsiteY123" fmla="*/ 51291 h 286395"/>
                  <a:gd name="connsiteX124" fmla="*/ 234528 w 417462"/>
                  <a:gd name="connsiteY124" fmla="*/ 56752 h 286395"/>
                  <a:gd name="connsiteX125" fmla="*/ 258897 w 417462"/>
                  <a:gd name="connsiteY125" fmla="*/ 60814 h 286395"/>
                  <a:gd name="connsiteX126" fmla="*/ 267651 w 417462"/>
                  <a:gd name="connsiteY126" fmla="*/ 58124 h 286395"/>
                  <a:gd name="connsiteX127" fmla="*/ 276515 w 417462"/>
                  <a:gd name="connsiteY127" fmla="*/ 63421 h 286395"/>
                  <a:gd name="connsiteX128" fmla="*/ 280495 w 417462"/>
                  <a:gd name="connsiteY128" fmla="*/ 69266 h 286395"/>
                  <a:gd name="connsiteX129" fmla="*/ 285023 w 417462"/>
                  <a:gd name="connsiteY129" fmla="*/ 82302 h 286395"/>
                  <a:gd name="connsiteX130" fmla="*/ 290648 w 417462"/>
                  <a:gd name="connsiteY130" fmla="*/ 90452 h 286395"/>
                  <a:gd name="connsiteX131" fmla="*/ 294189 w 417462"/>
                  <a:gd name="connsiteY131" fmla="*/ 103872 h 286395"/>
                  <a:gd name="connsiteX132" fmla="*/ 299622 w 417462"/>
                  <a:gd name="connsiteY132" fmla="*/ 110870 h 286395"/>
                  <a:gd name="connsiteX133" fmla="*/ 341199 w 417462"/>
                  <a:gd name="connsiteY133" fmla="*/ 142594 h 286395"/>
                  <a:gd name="connsiteX134" fmla="*/ 353164 w 417462"/>
                  <a:gd name="connsiteY134" fmla="*/ 147835 h 286395"/>
                  <a:gd name="connsiteX135" fmla="*/ 381375 w 417462"/>
                  <a:gd name="connsiteY135" fmla="*/ 168198 h 286395"/>
                  <a:gd name="connsiteX136" fmla="*/ 398802 w 417462"/>
                  <a:gd name="connsiteY136" fmla="*/ 173687 h 286395"/>
                  <a:gd name="connsiteX137" fmla="*/ 416063 w 417462"/>
                  <a:gd name="connsiteY137" fmla="*/ 182469 h 286395"/>
                  <a:gd name="connsiteX138" fmla="*/ 417463 w 417462"/>
                  <a:gd name="connsiteY138" fmla="*/ 186091 h 286395"/>
                  <a:gd name="connsiteX139" fmla="*/ 415350 w 417462"/>
                  <a:gd name="connsiteY139" fmla="*/ 206042 h 286395"/>
                  <a:gd name="connsiteX140" fmla="*/ 175169 w 417462"/>
                  <a:gd name="connsiteY140" fmla="*/ 16603 h 286395"/>
                  <a:gd name="connsiteX141" fmla="*/ 178544 w 417462"/>
                  <a:gd name="connsiteY141" fmla="*/ 17262 h 286395"/>
                  <a:gd name="connsiteX142" fmla="*/ 179450 w 417462"/>
                  <a:gd name="connsiteY142" fmla="*/ 15588 h 286395"/>
                  <a:gd name="connsiteX143" fmla="*/ 176294 w 417462"/>
                  <a:gd name="connsiteY143" fmla="*/ 13420 h 286395"/>
                  <a:gd name="connsiteX144" fmla="*/ 175169 w 417462"/>
                  <a:gd name="connsiteY144" fmla="*/ 16576 h 286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17462" h="286395">
                    <a:moveTo>
                      <a:pt x="415350" y="206042"/>
                    </a:moveTo>
                    <a:lnTo>
                      <a:pt x="408297" y="206811"/>
                    </a:lnTo>
                    <a:lnTo>
                      <a:pt x="390706" y="199950"/>
                    </a:lnTo>
                    <a:lnTo>
                      <a:pt x="385108" y="210021"/>
                    </a:lnTo>
                    <a:lnTo>
                      <a:pt x="368175" y="211778"/>
                    </a:lnTo>
                    <a:lnTo>
                      <a:pt x="362961" y="215400"/>
                    </a:lnTo>
                    <a:lnTo>
                      <a:pt x="363372" y="221986"/>
                    </a:lnTo>
                    <a:lnTo>
                      <a:pt x="359037" y="231344"/>
                    </a:lnTo>
                    <a:lnTo>
                      <a:pt x="358625" y="236119"/>
                    </a:lnTo>
                    <a:lnTo>
                      <a:pt x="358488" y="240263"/>
                    </a:lnTo>
                    <a:lnTo>
                      <a:pt x="355935" y="244297"/>
                    </a:lnTo>
                    <a:lnTo>
                      <a:pt x="343586" y="250994"/>
                    </a:lnTo>
                    <a:lnTo>
                      <a:pt x="341445" y="254232"/>
                    </a:lnTo>
                    <a:lnTo>
                      <a:pt x="314826" y="261120"/>
                    </a:lnTo>
                    <a:lnTo>
                      <a:pt x="317433" y="267020"/>
                    </a:lnTo>
                    <a:lnTo>
                      <a:pt x="314688" y="269298"/>
                    </a:lnTo>
                    <a:lnTo>
                      <a:pt x="313728" y="275939"/>
                    </a:lnTo>
                    <a:lnTo>
                      <a:pt x="301077" y="283706"/>
                    </a:lnTo>
                    <a:lnTo>
                      <a:pt x="295369" y="282471"/>
                    </a:lnTo>
                    <a:lnTo>
                      <a:pt x="290758" y="286395"/>
                    </a:lnTo>
                    <a:lnTo>
                      <a:pt x="289249" y="281757"/>
                    </a:lnTo>
                    <a:lnTo>
                      <a:pt x="282800" y="276296"/>
                    </a:lnTo>
                    <a:lnTo>
                      <a:pt x="270066" y="276186"/>
                    </a:lnTo>
                    <a:lnTo>
                      <a:pt x="262547" y="269984"/>
                    </a:lnTo>
                    <a:lnTo>
                      <a:pt x="260077" y="270066"/>
                    </a:lnTo>
                    <a:lnTo>
                      <a:pt x="259336" y="261093"/>
                    </a:lnTo>
                    <a:lnTo>
                      <a:pt x="256729" y="256921"/>
                    </a:lnTo>
                    <a:lnTo>
                      <a:pt x="258321" y="250170"/>
                    </a:lnTo>
                    <a:lnTo>
                      <a:pt x="256400" y="242514"/>
                    </a:lnTo>
                    <a:lnTo>
                      <a:pt x="257223" y="236092"/>
                    </a:lnTo>
                    <a:lnTo>
                      <a:pt x="254891" y="232332"/>
                    </a:lnTo>
                    <a:lnTo>
                      <a:pt x="233265" y="232387"/>
                    </a:lnTo>
                    <a:lnTo>
                      <a:pt x="223550" y="218583"/>
                    </a:lnTo>
                    <a:lnTo>
                      <a:pt x="209719" y="213534"/>
                    </a:lnTo>
                    <a:lnTo>
                      <a:pt x="205850" y="208320"/>
                    </a:lnTo>
                    <a:lnTo>
                      <a:pt x="203435" y="199950"/>
                    </a:lnTo>
                    <a:lnTo>
                      <a:pt x="188533" y="194077"/>
                    </a:lnTo>
                    <a:lnTo>
                      <a:pt x="172808" y="194543"/>
                    </a:lnTo>
                    <a:lnTo>
                      <a:pt x="169241" y="190372"/>
                    </a:lnTo>
                    <a:lnTo>
                      <a:pt x="147972" y="184417"/>
                    </a:lnTo>
                    <a:lnTo>
                      <a:pt x="140838" y="172068"/>
                    </a:lnTo>
                    <a:lnTo>
                      <a:pt x="136008" y="174510"/>
                    </a:lnTo>
                    <a:lnTo>
                      <a:pt x="119762" y="172342"/>
                    </a:lnTo>
                    <a:lnTo>
                      <a:pt x="115947" y="174098"/>
                    </a:lnTo>
                    <a:lnTo>
                      <a:pt x="113532" y="179148"/>
                    </a:lnTo>
                    <a:lnTo>
                      <a:pt x="98547" y="177666"/>
                    </a:lnTo>
                    <a:lnTo>
                      <a:pt x="89217" y="179093"/>
                    </a:lnTo>
                    <a:lnTo>
                      <a:pt x="79612" y="184060"/>
                    </a:lnTo>
                    <a:lnTo>
                      <a:pt x="71159" y="191909"/>
                    </a:lnTo>
                    <a:lnTo>
                      <a:pt x="69513" y="199291"/>
                    </a:lnTo>
                    <a:lnTo>
                      <a:pt x="66604" y="202200"/>
                    </a:lnTo>
                    <a:lnTo>
                      <a:pt x="53679" y="207249"/>
                    </a:lnTo>
                    <a:lnTo>
                      <a:pt x="43415" y="206618"/>
                    </a:lnTo>
                    <a:lnTo>
                      <a:pt x="40616" y="183594"/>
                    </a:lnTo>
                    <a:lnTo>
                      <a:pt x="41522" y="160953"/>
                    </a:lnTo>
                    <a:lnTo>
                      <a:pt x="44567" y="147945"/>
                    </a:lnTo>
                    <a:lnTo>
                      <a:pt x="31862" y="132769"/>
                    </a:lnTo>
                    <a:lnTo>
                      <a:pt x="21899" y="132577"/>
                    </a:lnTo>
                    <a:lnTo>
                      <a:pt x="20281" y="130574"/>
                    </a:lnTo>
                    <a:lnTo>
                      <a:pt x="24013" y="124536"/>
                    </a:lnTo>
                    <a:lnTo>
                      <a:pt x="35127" y="124674"/>
                    </a:lnTo>
                    <a:lnTo>
                      <a:pt x="34798" y="121819"/>
                    </a:lnTo>
                    <a:lnTo>
                      <a:pt x="29748" y="116303"/>
                    </a:lnTo>
                    <a:lnTo>
                      <a:pt x="32218" y="108400"/>
                    </a:lnTo>
                    <a:lnTo>
                      <a:pt x="28349" y="106836"/>
                    </a:lnTo>
                    <a:lnTo>
                      <a:pt x="13035" y="107988"/>
                    </a:lnTo>
                    <a:lnTo>
                      <a:pt x="9633" y="103762"/>
                    </a:lnTo>
                    <a:lnTo>
                      <a:pt x="8150" y="94871"/>
                    </a:lnTo>
                    <a:lnTo>
                      <a:pt x="14765" y="67455"/>
                    </a:lnTo>
                    <a:lnTo>
                      <a:pt x="20802" y="76127"/>
                    </a:lnTo>
                    <a:lnTo>
                      <a:pt x="30489" y="77334"/>
                    </a:lnTo>
                    <a:lnTo>
                      <a:pt x="34798" y="73712"/>
                    </a:lnTo>
                    <a:lnTo>
                      <a:pt x="40341" y="81890"/>
                    </a:lnTo>
                    <a:lnTo>
                      <a:pt x="55462" y="79283"/>
                    </a:lnTo>
                    <a:lnTo>
                      <a:pt x="55271" y="72011"/>
                    </a:lnTo>
                    <a:lnTo>
                      <a:pt x="61033" y="74700"/>
                    </a:lnTo>
                    <a:lnTo>
                      <a:pt x="66604" y="71572"/>
                    </a:lnTo>
                    <a:lnTo>
                      <a:pt x="66138" y="62872"/>
                    </a:lnTo>
                    <a:lnTo>
                      <a:pt x="49096" y="48959"/>
                    </a:lnTo>
                    <a:lnTo>
                      <a:pt x="47174" y="43333"/>
                    </a:lnTo>
                    <a:lnTo>
                      <a:pt x="46681" y="41494"/>
                    </a:lnTo>
                    <a:lnTo>
                      <a:pt x="43278" y="29007"/>
                    </a:lnTo>
                    <a:lnTo>
                      <a:pt x="42619" y="26537"/>
                    </a:lnTo>
                    <a:lnTo>
                      <a:pt x="35374" y="23190"/>
                    </a:lnTo>
                    <a:lnTo>
                      <a:pt x="18277" y="27278"/>
                    </a:lnTo>
                    <a:lnTo>
                      <a:pt x="17289" y="29035"/>
                    </a:lnTo>
                    <a:lnTo>
                      <a:pt x="11663" y="38640"/>
                    </a:lnTo>
                    <a:lnTo>
                      <a:pt x="12980" y="41521"/>
                    </a:lnTo>
                    <a:lnTo>
                      <a:pt x="11032" y="55600"/>
                    </a:lnTo>
                    <a:lnTo>
                      <a:pt x="4885" y="48190"/>
                    </a:lnTo>
                    <a:lnTo>
                      <a:pt x="3650" y="41521"/>
                    </a:lnTo>
                    <a:lnTo>
                      <a:pt x="0" y="37926"/>
                    </a:lnTo>
                    <a:lnTo>
                      <a:pt x="10181" y="29035"/>
                    </a:lnTo>
                    <a:lnTo>
                      <a:pt x="29968" y="18085"/>
                    </a:lnTo>
                    <a:lnTo>
                      <a:pt x="51538" y="15258"/>
                    </a:lnTo>
                    <a:lnTo>
                      <a:pt x="71352" y="29035"/>
                    </a:lnTo>
                    <a:lnTo>
                      <a:pt x="78103" y="41521"/>
                    </a:lnTo>
                    <a:lnTo>
                      <a:pt x="80737" y="46406"/>
                    </a:lnTo>
                    <a:lnTo>
                      <a:pt x="88531" y="55847"/>
                    </a:lnTo>
                    <a:lnTo>
                      <a:pt x="93498" y="57713"/>
                    </a:lnTo>
                    <a:lnTo>
                      <a:pt x="104969" y="55243"/>
                    </a:lnTo>
                    <a:lnTo>
                      <a:pt x="135733" y="56780"/>
                    </a:lnTo>
                    <a:lnTo>
                      <a:pt x="137242" y="53980"/>
                    </a:lnTo>
                    <a:lnTo>
                      <a:pt x="134964" y="43360"/>
                    </a:lnTo>
                    <a:lnTo>
                      <a:pt x="134745" y="41521"/>
                    </a:lnTo>
                    <a:lnTo>
                      <a:pt x="134745" y="35758"/>
                    </a:lnTo>
                    <a:lnTo>
                      <a:pt x="142456" y="25577"/>
                    </a:lnTo>
                    <a:lnTo>
                      <a:pt x="147424" y="22147"/>
                    </a:lnTo>
                    <a:lnTo>
                      <a:pt x="158840" y="20280"/>
                    </a:lnTo>
                    <a:lnTo>
                      <a:pt x="162407" y="12542"/>
                    </a:lnTo>
                    <a:lnTo>
                      <a:pt x="163313" y="10566"/>
                    </a:lnTo>
                    <a:lnTo>
                      <a:pt x="171848" y="9441"/>
                    </a:lnTo>
                    <a:lnTo>
                      <a:pt x="171217" y="3293"/>
                    </a:lnTo>
                    <a:lnTo>
                      <a:pt x="171217" y="3019"/>
                    </a:lnTo>
                    <a:cubicBezTo>
                      <a:pt x="171217" y="3019"/>
                      <a:pt x="182688" y="0"/>
                      <a:pt x="182688" y="0"/>
                    </a:cubicBezTo>
                    <a:lnTo>
                      <a:pt x="188561" y="3266"/>
                    </a:lnTo>
                    <a:lnTo>
                      <a:pt x="198660" y="8892"/>
                    </a:lnTo>
                    <a:lnTo>
                      <a:pt x="202063" y="12514"/>
                    </a:lnTo>
                    <a:lnTo>
                      <a:pt x="205438" y="16136"/>
                    </a:lnTo>
                    <a:lnTo>
                      <a:pt x="221081" y="19485"/>
                    </a:lnTo>
                    <a:lnTo>
                      <a:pt x="223166" y="28980"/>
                    </a:lnTo>
                    <a:lnTo>
                      <a:pt x="226843" y="35566"/>
                    </a:lnTo>
                    <a:lnTo>
                      <a:pt x="226322" y="41494"/>
                    </a:lnTo>
                    <a:lnTo>
                      <a:pt x="227804" y="51291"/>
                    </a:lnTo>
                    <a:lnTo>
                      <a:pt x="234528" y="56752"/>
                    </a:lnTo>
                    <a:lnTo>
                      <a:pt x="258897" y="60814"/>
                    </a:lnTo>
                    <a:lnTo>
                      <a:pt x="267651" y="58124"/>
                    </a:lnTo>
                    <a:lnTo>
                      <a:pt x="276515" y="63421"/>
                    </a:lnTo>
                    <a:lnTo>
                      <a:pt x="280495" y="69266"/>
                    </a:lnTo>
                    <a:lnTo>
                      <a:pt x="285023" y="82302"/>
                    </a:lnTo>
                    <a:lnTo>
                      <a:pt x="290648" y="90452"/>
                    </a:lnTo>
                    <a:lnTo>
                      <a:pt x="294189" y="103872"/>
                    </a:lnTo>
                    <a:lnTo>
                      <a:pt x="299622" y="110870"/>
                    </a:lnTo>
                    <a:lnTo>
                      <a:pt x="341199" y="142594"/>
                    </a:lnTo>
                    <a:lnTo>
                      <a:pt x="353164" y="147835"/>
                    </a:lnTo>
                    <a:lnTo>
                      <a:pt x="381375" y="168198"/>
                    </a:lnTo>
                    <a:lnTo>
                      <a:pt x="398802" y="173687"/>
                    </a:lnTo>
                    <a:lnTo>
                      <a:pt x="416063" y="182469"/>
                    </a:lnTo>
                    <a:lnTo>
                      <a:pt x="417463" y="186091"/>
                    </a:lnTo>
                    <a:lnTo>
                      <a:pt x="415350" y="206042"/>
                    </a:lnTo>
                    <a:moveTo>
                      <a:pt x="175169" y="16603"/>
                    </a:moveTo>
                    <a:lnTo>
                      <a:pt x="178544" y="17262"/>
                    </a:lnTo>
                    <a:lnTo>
                      <a:pt x="179450" y="15588"/>
                    </a:lnTo>
                    <a:lnTo>
                      <a:pt x="176294" y="13420"/>
                    </a:lnTo>
                    <a:lnTo>
                      <a:pt x="175169" y="165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4" name="Freeform: Shape 4143">
                <a:extLst>
                  <a:ext uri="{FF2B5EF4-FFF2-40B4-BE49-F238E27FC236}">
                    <a16:creationId xmlns:a16="http://schemas.microsoft.com/office/drawing/2014/main" id="{5DAC776D-D28E-5C34-0B80-FA21077D0208}"/>
                  </a:ext>
                </a:extLst>
              </p:cNvPr>
              <p:cNvSpPr/>
              <p:nvPr/>
            </p:nvSpPr>
            <p:spPr>
              <a:xfrm>
                <a:off x="1388511" y="3720864"/>
                <a:ext cx="12402" cy="26182"/>
              </a:xfrm>
              <a:custGeom>
                <a:avLst/>
                <a:gdLst>
                  <a:gd name="connsiteX0" fmla="*/ 66439 w 118910"/>
                  <a:gd name="connsiteY0" fmla="*/ 4281 h 251020"/>
                  <a:gd name="connsiteX1" fmla="*/ 67510 w 118910"/>
                  <a:gd name="connsiteY1" fmla="*/ 6257 h 251020"/>
                  <a:gd name="connsiteX2" fmla="*/ 72340 w 118910"/>
                  <a:gd name="connsiteY2" fmla="*/ 2799 h 251020"/>
                  <a:gd name="connsiteX3" fmla="*/ 77389 w 118910"/>
                  <a:gd name="connsiteY3" fmla="*/ 4336 h 251020"/>
                  <a:gd name="connsiteX4" fmla="*/ 78350 w 118910"/>
                  <a:gd name="connsiteY4" fmla="*/ 11718 h 251020"/>
                  <a:gd name="connsiteX5" fmla="*/ 82109 w 118910"/>
                  <a:gd name="connsiteY5" fmla="*/ 16905 h 251020"/>
                  <a:gd name="connsiteX6" fmla="*/ 81670 w 118910"/>
                  <a:gd name="connsiteY6" fmla="*/ 20198 h 251020"/>
                  <a:gd name="connsiteX7" fmla="*/ 84689 w 118910"/>
                  <a:gd name="connsiteY7" fmla="*/ 22064 h 251020"/>
                  <a:gd name="connsiteX8" fmla="*/ 102856 w 118910"/>
                  <a:gd name="connsiteY8" fmla="*/ 9715 h 251020"/>
                  <a:gd name="connsiteX9" fmla="*/ 105189 w 118910"/>
                  <a:gd name="connsiteY9" fmla="*/ 17509 h 251020"/>
                  <a:gd name="connsiteX10" fmla="*/ 96380 w 118910"/>
                  <a:gd name="connsiteY10" fmla="*/ 31175 h 251020"/>
                  <a:gd name="connsiteX11" fmla="*/ 93333 w 118910"/>
                  <a:gd name="connsiteY11" fmla="*/ 32877 h 251020"/>
                  <a:gd name="connsiteX12" fmla="*/ 89437 w 118910"/>
                  <a:gd name="connsiteY12" fmla="*/ 34660 h 251020"/>
                  <a:gd name="connsiteX13" fmla="*/ 87104 w 118910"/>
                  <a:gd name="connsiteY13" fmla="*/ 38859 h 251020"/>
                  <a:gd name="connsiteX14" fmla="*/ 87378 w 118910"/>
                  <a:gd name="connsiteY14" fmla="*/ 48053 h 251020"/>
                  <a:gd name="connsiteX15" fmla="*/ 91907 w 118910"/>
                  <a:gd name="connsiteY15" fmla="*/ 55600 h 251020"/>
                  <a:gd name="connsiteX16" fmla="*/ 102527 w 118910"/>
                  <a:gd name="connsiteY16" fmla="*/ 62488 h 251020"/>
                  <a:gd name="connsiteX17" fmla="*/ 103268 w 118910"/>
                  <a:gd name="connsiteY17" fmla="*/ 72285 h 251020"/>
                  <a:gd name="connsiteX18" fmla="*/ 105628 w 118910"/>
                  <a:gd name="connsiteY18" fmla="*/ 76978 h 251020"/>
                  <a:gd name="connsiteX19" fmla="*/ 93553 w 118910"/>
                  <a:gd name="connsiteY19" fmla="*/ 97066 h 251020"/>
                  <a:gd name="connsiteX20" fmla="*/ 75797 w 118910"/>
                  <a:gd name="connsiteY20" fmla="*/ 110074 h 251020"/>
                  <a:gd name="connsiteX21" fmla="*/ 73629 w 118910"/>
                  <a:gd name="connsiteY21" fmla="*/ 118883 h 251020"/>
                  <a:gd name="connsiteX22" fmla="*/ 77279 w 118910"/>
                  <a:gd name="connsiteY22" fmla="*/ 125936 h 251020"/>
                  <a:gd name="connsiteX23" fmla="*/ 86637 w 118910"/>
                  <a:gd name="connsiteY23" fmla="*/ 133044 h 251020"/>
                  <a:gd name="connsiteX24" fmla="*/ 92785 w 118910"/>
                  <a:gd name="connsiteY24" fmla="*/ 130821 h 251020"/>
                  <a:gd name="connsiteX25" fmla="*/ 95062 w 118910"/>
                  <a:gd name="connsiteY25" fmla="*/ 124838 h 251020"/>
                  <a:gd name="connsiteX26" fmla="*/ 100002 w 118910"/>
                  <a:gd name="connsiteY26" fmla="*/ 124701 h 251020"/>
                  <a:gd name="connsiteX27" fmla="*/ 102801 w 118910"/>
                  <a:gd name="connsiteY27" fmla="*/ 128406 h 251020"/>
                  <a:gd name="connsiteX28" fmla="*/ 100139 w 118910"/>
                  <a:gd name="connsiteY28" fmla="*/ 131424 h 251020"/>
                  <a:gd name="connsiteX29" fmla="*/ 95062 w 118910"/>
                  <a:gd name="connsiteY29" fmla="*/ 131287 h 251020"/>
                  <a:gd name="connsiteX30" fmla="*/ 93526 w 118910"/>
                  <a:gd name="connsiteY30" fmla="*/ 137682 h 251020"/>
                  <a:gd name="connsiteX31" fmla="*/ 97450 w 118910"/>
                  <a:gd name="connsiteY31" fmla="*/ 138011 h 251020"/>
                  <a:gd name="connsiteX32" fmla="*/ 102335 w 118910"/>
                  <a:gd name="connsiteY32" fmla="*/ 133894 h 251020"/>
                  <a:gd name="connsiteX33" fmla="*/ 104503 w 118910"/>
                  <a:gd name="connsiteY33" fmla="*/ 136227 h 251020"/>
                  <a:gd name="connsiteX34" fmla="*/ 107110 w 118910"/>
                  <a:gd name="connsiteY34" fmla="*/ 147863 h 251020"/>
                  <a:gd name="connsiteX35" fmla="*/ 118444 w 118910"/>
                  <a:gd name="connsiteY35" fmla="*/ 150031 h 251020"/>
                  <a:gd name="connsiteX36" fmla="*/ 116468 w 118910"/>
                  <a:gd name="connsiteY36" fmla="*/ 159004 h 251020"/>
                  <a:gd name="connsiteX37" fmla="*/ 116468 w 118910"/>
                  <a:gd name="connsiteY37" fmla="*/ 167622 h 251020"/>
                  <a:gd name="connsiteX38" fmla="*/ 118910 w 118910"/>
                  <a:gd name="connsiteY38" fmla="*/ 172616 h 251020"/>
                  <a:gd name="connsiteX39" fmla="*/ 117538 w 118910"/>
                  <a:gd name="connsiteY39" fmla="*/ 176019 h 251020"/>
                  <a:gd name="connsiteX40" fmla="*/ 99124 w 118910"/>
                  <a:gd name="connsiteY40" fmla="*/ 185844 h 251020"/>
                  <a:gd name="connsiteX41" fmla="*/ 91769 w 118910"/>
                  <a:gd name="connsiteY41" fmla="*/ 192018 h 251020"/>
                  <a:gd name="connsiteX42" fmla="*/ 88504 w 118910"/>
                  <a:gd name="connsiteY42" fmla="*/ 198660 h 251020"/>
                  <a:gd name="connsiteX43" fmla="*/ 81752 w 118910"/>
                  <a:gd name="connsiteY43" fmla="*/ 201075 h 251020"/>
                  <a:gd name="connsiteX44" fmla="*/ 77307 w 118910"/>
                  <a:gd name="connsiteY44" fmla="*/ 207332 h 251020"/>
                  <a:gd name="connsiteX45" fmla="*/ 80737 w 118910"/>
                  <a:gd name="connsiteY45" fmla="*/ 225060 h 251020"/>
                  <a:gd name="connsiteX46" fmla="*/ 79036 w 118910"/>
                  <a:gd name="connsiteY46" fmla="*/ 234198 h 251020"/>
                  <a:gd name="connsiteX47" fmla="*/ 70803 w 118910"/>
                  <a:gd name="connsiteY47" fmla="*/ 245834 h 251020"/>
                  <a:gd name="connsiteX48" fmla="*/ 59249 w 118910"/>
                  <a:gd name="connsiteY48" fmla="*/ 251021 h 251020"/>
                  <a:gd name="connsiteX49" fmla="*/ 44979 w 118910"/>
                  <a:gd name="connsiteY49" fmla="*/ 188670 h 251020"/>
                  <a:gd name="connsiteX50" fmla="*/ 25138 w 118910"/>
                  <a:gd name="connsiteY50" fmla="*/ 173385 h 251020"/>
                  <a:gd name="connsiteX51" fmla="*/ 21982 w 118910"/>
                  <a:gd name="connsiteY51" fmla="*/ 160816 h 251020"/>
                  <a:gd name="connsiteX52" fmla="*/ 16768 w 118910"/>
                  <a:gd name="connsiteY52" fmla="*/ 152940 h 251020"/>
                  <a:gd name="connsiteX53" fmla="*/ 7958 w 118910"/>
                  <a:gd name="connsiteY53" fmla="*/ 147287 h 251020"/>
                  <a:gd name="connsiteX54" fmla="*/ 0 w 118910"/>
                  <a:gd name="connsiteY54" fmla="*/ 127171 h 251020"/>
                  <a:gd name="connsiteX55" fmla="*/ 1454 w 118910"/>
                  <a:gd name="connsiteY55" fmla="*/ 117044 h 251020"/>
                  <a:gd name="connsiteX56" fmla="*/ 21103 w 118910"/>
                  <a:gd name="connsiteY56" fmla="*/ 96325 h 251020"/>
                  <a:gd name="connsiteX57" fmla="*/ 21680 w 118910"/>
                  <a:gd name="connsiteY57" fmla="*/ 87955 h 251020"/>
                  <a:gd name="connsiteX58" fmla="*/ 26318 w 118910"/>
                  <a:gd name="connsiteY58" fmla="*/ 77307 h 251020"/>
                  <a:gd name="connsiteX59" fmla="*/ 23710 w 118910"/>
                  <a:gd name="connsiteY59" fmla="*/ 73053 h 251020"/>
                  <a:gd name="connsiteX60" fmla="*/ 23930 w 118910"/>
                  <a:gd name="connsiteY60" fmla="*/ 62844 h 251020"/>
                  <a:gd name="connsiteX61" fmla="*/ 21570 w 118910"/>
                  <a:gd name="connsiteY61" fmla="*/ 55325 h 251020"/>
                  <a:gd name="connsiteX62" fmla="*/ 24946 w 118910"/>
                  <a:gd name="connsiteY62" fmla="*/ 35511 h 251020"/>
                  <a:gd name="connsiteX63" fmla="*/ 20417 w 118910"/>
                  <a:gd name="connsiteY63" fmla="*/ 30599 h 251020"/>
                  <a:gd name="connsiteX64" fmla="*/ 32053 w 118910"/>
                  <a:gd name="connsiteY64" fmla="*/ 18798 h 251020"/>
                  <a:gd name="connsiteX65" fmla="*/ 32520 w 118910"/>
                  <a:gd name="connsiteY65" fmla="*/ 14353 h 251020"/>
                  <a:gd name="connsiteX66" fmla="*/ 39381 w 118910"/>
                  <a:gd name="connsiteY66" fmla="*/ 12075 h 251020"/>
                  <a:gd name="connsiteX67" fmla="*/ 48876 w 118910"/>
                  <a:gd name="connsiteY67" fmla="*/ 4171 h 251020"/>
                  <a:gd name="connsiteX68" fmla="*/ 67043 w 118910"/>
                  <a:gd name="connsiteY68" fmla="*/ 0 h 251020"/>
                  <a:gd name="connsiteX69" fmla="*/ 68827 w 118910"/>
                  <a:gd name="connsiteY69" fmla="*/ 2634 h 251020"/>
                  <a:gd name="connsiteX70" fmla="*/ 66412 w 118910"/>
                  <a:gd name="connsiteY70" fmla="*/ 4363 h 25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18910" h="251020">
                    <a:moveTo>
                      <a:pt x="66439" y="4281"/>
                    </a:moveTo>
                    <a:lnTo>
                      <a:pt x="67510" y="6257"/>
                    </a:lnTo>
                    <a:lnTo>
                      <a:pt x="72340" y="2799"/>
                    </a:lnTo>
                    <a:lnTo>
                      <a:pt x="77389" y="4336"/>
                    </a:lnTo>
                    <a:lnTo>
                      <a:pt x="78350" y="11718"/>
                    </a:lnTo>
                    <a:lnTo>
                      <a:pt x="82109" y="16905"/>
                    </a:lnTo>
                    <a:lnTo>
                      <a:pt x="81670" y="20198"/>
                    </a:lnTo>
                    <a:lnTo>
                      <a:pt x="84689" y="22064"/>
                    </a:lnTo>
                    <a:lnTo>
                      <a:pt x="102856" y="9715"/>
                    </a:lnTo>
                    <a:lnTo>
                      <a:pt x="105189" y="17509"/>
                    </a:lnTo>
                    <a:lnTo>
                      <a:pt x="96380" y="31175"/>
                    </a:lnTo>
                    <a:lnTo>
                      <a:pt x="93333" y="32877"/>
                    </a:lnTo>
                    <a:lnTo>
                      <a:pt x="89437" y="34660"/>
                    </a:lnTo>
                    <a:lnTo>
                      <a:pt x="87104" y="38859"/>
                    </a:lnTo>
                    <a:lnTo>
                      <a:pt x="87378" y="48053"/>
                    </a:lnTo>
                    <a:lnTo>
                      <a:pt x="91907" y="55600"/>
                    </a:lnTo>
                    <a:lnTo>
                      <a:pt x="102527" y="62488"/>
                    </a:lnTo>
                    <a:lnTo>
                      <a:pt x="103268" y="72285"/>
                    </a:lnTo>
                    <a:lnTo>
                      <a:pt x="105628" y="76978"/>
                    </a:lnTo>
                    <a:lnTo>
                      <a:pt x="93553" y="97066"/>
                    </a:lnTo>
                    <a:lnTo>
                      <a:pt x="75797" y="110074"/>
                    </a:lnTo>
                    <a:lnTo>
                      <a:pt x="73629" y="118883"/>
                    </a:lnTo>
                    <a:lnTo>
                      <a:pt x="77279" y="125936"/>
                    </a:lnTo>
                    <a:lnTo>
                      <a:pt x="86637" y="133044"/>
                    </a:lnTo>
                    <a:lnTo>
                      <a:pt x="92785" y="130821"/>
                    </a:lnTo>
                    <a:lnTo>
                      <a:pt x="95062" y="124838"/>
                    </a:lnTo>
                    <a:lnTo>
                      <a:pt x="100002" y="124701"/>
                    </a:lnTo>
                    <a:lnTo>
                      <a:pt x="102801" y="128406"/>
                    </a:lnTo>
                    <a:lnTo>
                      <a:pt x="100139" y="131424"/>
                    </a:lnTo>
                    <a:lnTo>
                      <a:pt x="95062" y="131287"/>
                    </a:lnTo>
                    <a:lnTo>
                      <a:pt x="93526" y="137682"/>
                    </a:lnTo>
                    <a:lnTo>
                      <a:pt x="97450" y="138011"/>
                    </a:lnTo>
                    <a:lnTo>
                      <a:pt x="102335" y="133894"/>
                    </a:lnTo>
                    <a:lnTo>
                      <a:pt x="104503" y="136227"/>
                    </a:lnTo>
                    <a:lnTo>
                      <a:pt x="107110" y="147863"/>
                    </a:lnTo>
                    <a:lnTo>
                      <a:pt x="118444" y="150031"/>
                    </a:lnTo>
                    <a:lnTo>
                      <a:pt x="116468" y="159004"/>
                    </a:lnTo>
                    <a:lnTo>
                      <a:pt x="116468" y="167622"/>
                    </a:lnTo>
                    <a:cubicBezTo>
                      <a:pt x="116468" y="167622"/>
                      <a:pt x="118910" y="172616"/>
                      <a:pt x="118910" y="172616"/>
                    </a:cubicBezTo>
                    <a:lnTo>
                      <a:pt x="117538" y="176019"/>
                    </a:lnTo>
                    <a:lnTo>
                      <a:pt x="99124" y="185844"/>
                    </a:lnTo>
                    <a:lnTo>
                      <a:pt x="91769" y="192018"/>
                    </a:lnTo>
                    <a:lnTo>
                      <a:pt x="88504" y="198660"/>
                    </a:lnTo>
                    <a:lnTo>
                      <a:pt x="81752" y="201075"/>
                    </a:lnTo>
                    <a:lnTo>
                      <a:pt x="77307" y="207332"/>
                    </a:lnTo>
                    <a:lnTo>
                      <a:pt x="80737" y="225060"/>
                    </a:lnTo>
                    <a:lnTo>
                      <a:pt x="79036" y="234198"/>
                    </a:lnTo>
                    <a:lnTo>
                      <a:pt x="70803" y="245834"/>
                    </a:lnTo>
                    <a:lnTo>
                      <a:pt x="59249" y="251021"/>
                    </a:lnTo>
                    <a:lnTo>
                      <a:pt x="44979" y="188670"/>
                    </a:lnTo>
                    <a:lnTo>
                      <a:pt x="25138" y="173385"/>
                    </a:lnTo>
                    <a:lnTo>
                      <a:pt x="21982" y="160816"/>
                    </a:lnTo>
                    <a:lnTo>
                      <a:pt x="16768" y="152940"/>
                    </a:lnTo>
                    <a:lnTo>
                      <a:pt x="7958" y="147287"/>
                    </a:lnTo>
                    <a:lnTo>
                      <a:pt x="0" y="127171"/>
                    </a:lnTo>
                    <a:lnTo>
                      <a:pt x="1454" y="117044"/>
                    </a:lnTo>
                    <a:lnTo>
                      <a:pt x="21103" y="96325"/>
                    </a:lnTo>
                    <a:lnTo>
                      <a:pt x="21680" y="87955"/>
                    </a:lnTo>
                    <a:lnTo>
                      <a:pt x="26318" y="77307"/>
                    </a:lnTo>
                    <a:lnTo>
                      <a:pt x="23710" y="73053"/>
                    </a:lnTo>
                    <a:lnTo>
                      <a:pt x="23930" y="62844"/>
                    </a:lnTo>
                    <a:lnTo>
                      <a:pt x="21570" y="55325"/>
                    </a:lnTo>
                    <a:lnTo>
                      <a:pt x="24946" y="35511"/>
                    </a:lnTo>
                    <a:lnTo>
                      <a:pt x="20417" y="30599"/>
                    </a:lnTo>
                    <a:lnTo>
                      <a:pt x="32053" y="18798"/>
                    </a:lnTo>
                    <a:lnTo>
                      <a:pt x="32520" y="14353"/>
                    </a:lnTo>
                    <a:lnTo>
                      <a:pt x="39381" y="12075"/>
                    </a:lnTo>
                    <a:lnTo>
                      <a:pt x="48876" y="4171"/>
                    </a:lnTo>
                    <a:lnTo>
                      <a:pt x="67043" y="0"/>
                    </a:lnTo>
                    <a:lnTo>
                      <a:pt x="68827" y="2634"/>
                    </a:lnTo>
                    <a:lnTo>
                      <a:pt x="66412" y="43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5" name="Freeform: Shape 4144">
                <a:extLst>
                  <a:ext uri="{FF2B5EF4-FFF2-40B4-BE49-F238E27FC236}">
                    <a16:creationId xmlns:a16="http://schemas.microsoft.com/office/drawing/2014/main" id="{A0EEEDFB-4BD5-47C0-ACC9-A8134C950326}"/>
                  </a:ext>
                </a:extLst>
              </p:cNvPr>
              <p:cNvSpPr/>
              <p:nvPr/>
            </p:nvSpPr>
            <p:spPr>
              <a:xfrm>
                <a:off x="1399794" y="3730370"/>
                <a:ext cx="404" cy="412"/>
              </a:xfrm>
              <a:custGeom>
                <a:avLst/>
                <a:gdLst>
                  <a:gd name="connsiteX0" fmla="*/ 3870 w 3869"/>
                  <a:gd name="connsiteY0" fmla="*/ 2415 h 3951"/>
                  <a:gd name="connsiteX1" fmla="*/ 796 w 3869"/>
                  <a:gd name="connsiteY1" fmla="*/ 3952 h 3951"/>
                  <a:gd name="connsiteX2" fmla="*/ 0 w 3869"/>
                  <a:gd name="connsiteY2" fmla="*/ 741 h 3951"/>
                  <a:gd name="connsiteX3" fmla="*/ 2003 w 3869"/>
                  <a:gd name="connsiteY3" fmla="*/ 0 h 3951"/>
                  <a:gd name="connsiteX4" fmla="*/ 3870 w 3869"/>
                  <a:gd name="connsiteY4" fmla="*/ 2442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3951">
                    <a:moveTo>
                      <a:pt x="3870" y="2415"/>
                    </a:moveTo>
                    <a:lnTo>
                      <a:pt x="796" y="3952"/>
                    </a:lnTo>
                    <a:lnTo>
                      <a:pt x="0" y="741"/>
                    </a:lnTo>
                    <a:lnTo>
                      <a:pt x="2003" y="0"/>
                    </a:lnTo>
                    <a:lnTo>
                      <a:pt x="3870" y="24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6" name="Freeform: Shape 4145">
                <a:extLst>
                  <a:ext uri="{FF2B5EF4-FFF2-40B4-BE49-F238E27FC236}">
                    <a16:creationId xmlns:a16="http://schemas.microsoft.com/office/drawing/2014/main" id="{CA7D079D-C6B5-3C2F-793D-BA1BF6C950D9}"/>
                  </a:ext>
                </a:extLst>
              </p:cNvPr>
              <p:cNvSpPr/>
              <p:nvPr/>
            </p:nvSpPr>
            <p:spPr>
              <a:xfrm>
                <a:off x="1399038" y="3730899"/>
                <a:ext cx="424" cy="341"/>
              </a:xfrm>
              <a:custGeom>
                <a:avLst/>
                <a:gdLst>
                  <a:gd name="connsiteX0" fmla="*/ 4062 w 4061"/>
                  <a:gd name="connsiteY0" fmla="*/ 1756 h 3265"/>
                  <a:gd name="connsiteX1" fmla="*/ 2497 w 4061"/>
                  <a:gd name="connsiteY1" fmla="*/ 3266 h 3265"/>
                  <a:gd name="connsiteX2" fmla="*/ 0 w 4061"/>
                  <a:gd name="connsiteY2" fmla="*/ 1015 h 3265"/>
                  <a:gd name="connsiteX3" fmla="*/ 796 w 4061"/>
                  <a:gd name="connsiteY3" fmla="*/ 0 h 3265"/>
                  <a:gd name="connsiteX4" fmla="*/ 3760 w 4061"/>
                  <a:gd name="connsiteY4" fmla="*/ 55 h 3265"/>
                  <a:gd name="connsiteX5" fmla="*/ 4062 w 4061"/>
                  <a:gd name="connsiteY5" fmla="*/ 1784 h 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1" h="3265">
                    <a:moveTo>
                      <a:pt x="4062" y="1756"/>
                    </a:moveTo>
                    <a:lnTo>
                      <a:pt x="2497" y="3266"/>
                    </a:lnTo>
                    <a:lnTo>
                      <a:pt x="0" y="1015"/>
                    </a:lnTo>
                    <a:lnTo>
                      <a:pt x="796" y="0"/>
                    </a:lnTo>
                    <a:lnTo>
                      <a:pt x="3760" y="55"/>
                    </a:lnTo>
                    <a:lnTo>
                      <a:pt x="4062"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7" name="Freeform: Shape 4146">
                <a:extLst>
                  <a:ext uri="{FF2B5EF4-FFF2-40B4-BE49-F238E27FC236}">
                    <a16:creationId xmlns:a16="http://schemas.microsoft.com/office/drawing/2014/main" id="{2B6624C5-FD1B-59C5-57A9-E41D2ED8EB7E}"/>
                  </a:ext>
                </a:extLst>
              </p:cNvPr>
              <p:cNvSpPr/>
              <p:nvPr/>
            </p:nvSpPr>
            <p:spPr>
              <a:xfrm>
                <a:off x="1445448" y="3701913"/>
                <a:ext cx="57415" cy="24556"/>
              </a:xfrm>
              <a:custGeom>
                <a:avLst/>
                <a:gdLst>
                  <a:gd name="connsiteX0" fmla="*/ 265154 w 550478"/>
                  <a:gd name="connsiteY0" fmla="*/ 2579 h 235433"/>
                  <a:gd name="connsiteX1" fmla="*/ 267980 w 550478"/>
                  <a:gd name="connsiteY1" fmla="*/ 11636 h 235433"/>
                  <a:gd name="connsiteX2" fmla="*/ 274841 w 550478"/>
                  <a:gd name="connsiteY2" fmla="*/ 16191 h 235433"/>
                  <a:gd name="connsiteX3" fmla="*/ 276954 w 550478"/>
                  <a:gd name="connsiteY3" fmla="*/ 17454 h 235433"/>
                  <a:gd name="connsiteX4" fmla="*/ 281949 w 550478"/>
                  <a:gd name="connsiteY4" fmla="*/ 16191 h 235433"/>
                  <a:gd name="connsiteX5" fmla="*/ 289140 w 550478"/>
                  <a:gd name="connsiteY5" fmla="*/ 14353 h 235433"/>
                  <a:gd name="connsiteX6" fmla="*/ 291911 w 550478"/>
                  <a:gd name="connsiteY6" fmla="*/ 16191 h 235433"/>
                  <a:gd name="connsiteX7" fmla="*/ 294683 w 550478"/>
                  <a:gd name="connsiteY7" fmla="*/ 18030 h 235433"/>
                  <a:gd name="connsiteX8" fmla="*/ 295863 w 550478"/>
                  <a:gd name="connsiteY8" fmla="*/ 25055 h 235433"/>
                  <a:gd name="connsiteX9" fmla="*/ 302970 w 550478"/>
                  <a:gd name="connsiteY9" fmla="*/ 31998 h 235433"/>
                  <a:gd name="connsiteX10" fmla="*/ 306236 w 550478"/>
                  <a:gd name="connsiteY10" fmla="*/ 32053 h 235433"/>
                  <a:gd name="connsiteX11" fmla="*/ 312191 w 550478"/>
                  <a:gd name="connsiteY11" fmla="*/ 27854 h 235433"/>
                  <a:gd name="connsiteX12" fmla="*/ 319217 w 550478"/>
                  <a:gd name="connsiteY12" fmla="*/ 30544 h 235433"/>
                  <a:gd name="connsiteX13" fmla="*/ 325144 w 550478"/>
                  <a:gd name="connsiteY13" fmla="*/ 36554 h 235433"/>
                  <a:gd name="connsiteX14" fmla="*/ 336588 w 550478"/>
                  <a:gd name="connsiteY14" fmla="*/ 40972 h 235433"/>
                  <a:gd name="connsiteX15" fmla="*/ 342708 w 550478"/>
                  <a:gd name="connsiteY15" fmla="*/ 38118 h 235433"/>
                  <a:gd name="connsiteX16" fmla="*/ 346742 w 550478"/>
                  <a:gd name="connsiteY16" fmla="*/ 42592 h 235433"/>
                  <a:gd name="connsiteX17" fmla="*/ 353328 w 550478"/>
                  <a:gd name="connsiteY17" fmla="*/ 43909 h 235433"/>
                  <a:gd name="connsiteX18" fmla="*/ 364553 w 550478"/>
                  <a:gd name="connsiteY18" fmla="*/ 45583 h 235433"/>
                  <a:gd name="connsiteX19" fmla="*/ 384805 w 550478"/>
                  <a:gd name="connsiteY19" fmla="*/ 39436 h 235433"/>
                  <a:gd name="connsiteX20" fmla="*/ 392792 w 550478"/>
                  <a:gd name="connsiteY20" fmla="*/ 38640 h 235433"/>
                  <a:gd name="connsiteX21" fmla="*/ 398006 w 550478"/>
                  <a:gd name="connsiteY21" fmla="*/ 41988 h 235433"/>
                  <a:gd name="connsiteX22" fmla="*/ 412770 w 550478"/>
                  <a:gd name="connsiteY22" fmla="*/ 45418 h 235433"/>
                  <a:gd name="connsiteX23" fmla="*/ 418560 w 550478"/>
                  <a:gd name="connsiteY23" fmla="*/ 42784 h 235433"/>
                  <a:gd name="connsiteX24" fmla="*/ 428742 w 550478"/>
                  <a:gd name="connsiteY24" fmla="*/ 39490 h 235433"/>
                  <a:gd name="connsiteX25" fmla="*/ 445729 w 550478"/>
                  <a:gd name="connsiteY25" fmla="*/ 29419 h 235433"/>
                  <a:gd name="connsiteX26" fmla="*/ 454429 w 550478"/>
                  <a:gd name="connsiteY26" fmla="*/ 21954 h 235433"/>
                  <a:gd name="connsiteX27" fmla="*/ 462387 w 550478"/>
                  <a:gd name="connsiteY27" fmla="*/ 24781 h 235433"/>
                  <a:gd name="connsiteX28" fmla="*/ 466558 w 550478"/>
                  <a:gd name="connsiteY28" fmla="*/ 22339 h 235433"/>
                  <a:gd name="connsiteX29" fmla="*/ 472980 w 550478"/>
                  <a:gd name="connsiteY29" fmla="*/ 22421 h 235433"/>
                  <a:gd name="connsiteX30" fmla="*/ 481514 w 550478"/>
                  <a:gd name="connsiteY30" fmla="*/ 24781 h 235433"/>
                  <a:gd name="connsiteX31" fmla="*/ 482941 w 550478"/>
                  <a:gd name="connsiteY31" fmla="*/ 25192 h 235433"/>
                  <a:gd name="connsiteX32" fmla="*/ 485906 w 550478"/>
                  <a:gd name="connsiteY32" fmla="*/ 19676 h 235433"/>
                  <a:gd name="connsiteX33" fmla="*/ 491202 w 550478"/>
                  <a:gd name="connsiteY33" fmla="*/ 19402 h 235433"/>
                  <a:gd name="connsiteX34" fmla="*/ 492135 w 550478"/>
                  <a:gd name="connsiteY34" fmla="*/ 22750 h 235433"/>
                  <a:gd name="connsiteX35" fmla="*/ 501987 w 550478"/>
                  <a:gd name="connsiteY35" fmla="*/ 30297 h 235433"/>
                  <a:gd name="connsiteX36" fmla="*/ 504210 w 550478"/>
                  <a:gd name="connsiteY36" fmla="*/ 34825 h 235433"/>
                  <a:gd name="connsiteX37" fmla="*/ 509040 w 550478"/>
                  <a:gd name="connsiteY37" fmla="*/ 34935 h 235433"/>
                  <a:gd name="connsiteX38" fmla="*/ 511125 w 550478"/>
                  <a:gd name="connsiteY38" fmla="*/ 37514 h 235433"/>
                  <a:gd name="connsiteX39" fmla="*/ 510988 w 550478"/>
                  <a:gd name="connsiteY39" fmla="*/ 40094 h 235433"/>
                  <a:gd name="connsiteX40" fmla="*/ 516532 w 550478"/>
                  <a:gd name="connsiteY40" fmla="*/ 44924 h 235433"/>
                  <a:gd name="connsiteX41" fmla="*/ 518974 w 550478"/>
                  <a:gd name="connsiteY41" fmla="*/ 51977 h 235433"/>
                  <a:gd name="connsiteX42" fmla="*/ 514831 w 550478"/>
                  <a:gd name="connsiteY42" fmla="*/ 63009 h 235433"/>
                  <a:gd name="connsiteX43" fmla="*/ 517657 w 550478"/>
                  <a:gd name="connsiteY43" fmla="*/ 73959 h 235433"/>
                  <a:gd name="connsiteX44" fmla="*/ 516394 w 550478"/>
                  <a:gd name="connsiteY44" fmla="*/ 75989 h 235433"/>
                  <a:gd name="connsiteX45" fmla="*/ 524353 w 550478"/>
                  <a:gd name="connsiteY45" fmla="*/ 80188 h 235433"/>
                  <a:gd name="connsiteX46" fmla="*/ 529128 w 550478"/>
                  <a:gd name="connsiteY46" fmla="*/ 80188 h 235433"/>
                  <a:gd name="connsiteX47" fmla="*/ 536455 w 550478"/>
                  <a:gd name="connsiteY47" fmla="*/ 80078 h 235433"/>
                  <a:gd name="connsiteX48" fmla="*/ 544332 w 550478"/>
                  <a:gd name="connsiteY48" fmla="*/ 87406 h 235433"/>
                  <a:gd name="connsiteX49" fmla="*/ 549189 w 550478"/>
                  <a:gd name="connsiteY49" fmla="*/ 91934 h 235433"/>
                  <a:gd name="connsiteX50" fmla="*/ 550479 w 550478"/>
                  <a:gd name="connsiteY50" fmla="*/ 95090 h 235433"/>
                  <a:gd name="connsiteX51" fmla="*/ 545512 w 550478"/>
                  <a:gd name="connsiteY51" fmla="*/ 90589 h 235433"/>
                  <a:gd name="connsiteX52" fmla="*/ 544332 w 550478"/>
                  <a:gd name="connsiteY52" fmla="*/ 90452 h 235433"/>
                  <a:gd name="connsiteX53" fmla="*/ 541368 w 550478"/>
                  <a:gd name="connsiteY53" fmla="*/ 91824 h 235433"/>
                  <a:gd name="connsiteX54" fmla="*/ 538404 w 550478"/>
                  <a:gd name="connsiteY54" fmla="*/ 102691 h 235433"/>
                  <a:gd name="connsiteX55" fmla="*/ 529128 w 550478"/>
                  <a:gd name="connsiteY55" fmla="*/ 105051 h 235433"/>
                  <a:gd name="connsiteX56" fmla="*/ 528058 w 550478"/>
                  <a:gd name="connsiteY56" fmla="*/ 105326 h 235433"/>
                  <a:gd name="connsiteX57" fmla="*/ 529128 w 550478"/>
                  <a:gd name="connsiteY57" fmla="*/ 107329 h 235433"/>
                  <a:gd name="connsiteX58" fmla="*/ 532421 w 550478"/>
                  <a:gd name="connsiteY58" fmla="*/ 113449 h 235433"/>
                  <a:gd name="connsiteX59" fmla="*/ 531763 w 550478"/>
                  <a:gd name="connsiteY59" fmla="*/ 119624 h 235433"/>
                  <a:gd name="connsiteX60" fmla="*/ 535083 w 550478"/>
                  <a:gd name="connsiteY60" fmla="*/ 125607 h 235433"/>
                  <a:gd name="connsiteX61" fmla="*/ 535934 w 550478"/>
                  <a:gd name="connsiteY61" fmla="*/ 141139 h 235433"/>
                  <a:gd name="connsiteX62" fmla="*/ 540050 w 550478"/>
                  <a:gd name="connsiteY62" fmla="*/ 144268 h 235433"/>
                  <a:gd name="connsiteX63" fmla="*/ 533601 w 550478"/>
                  <a:gd name="connsiteY63" fmla="*/ 159718 h 235433"/>
                  <a:gd name="connsiteX64" fmla="*/ 540215 w 550478"/>
                  <a:gd name="connsiteY64" fmla="*/ 163752 h 235433"/>
                  <a:gd name="connsiteX65" fmla="*/ 544002 w 550478"/>
                  <a:gd name="connsiteY65" fmla="*/ 167430 h 235433"/>
                  <a:gd name="connsiteX66" fmla="*/ 544332 w 550478"/>
                  <a:gd name="connsiteY66" fmla="*/ 176623 h 235433"/>
                  <a:gd name="connsiteX67" fmla="*/ 550067 w 550478"/>
                  <a:gd name="connsiteY67" fmla="*/ 182249 h 235433"/>
                  <a:gd name="connsiteX68" fmla="*/ 549930 w 550478"/>
                  <a:gd name="connsiteY68" fmla="*/ 187188 h 235433"/>
                  <a:gd name="connsiteX69" fmla="*/ 544332 w 550478"/>
                  <a:gd name="connsiteY69" fmla="*/ 187847 h 235433"/>
                  <a:gd name="connsiteX70" fmla="*/ 535303 w 550478"/>
                  <a:gd name="connsiteY70" fmla="*/ 194241 h 235433"/>
                  <a:gd name="connsiteX71" fmla="*/ 532915 w 550478"/>
                  <a:gd name="connsiteY71" fmla="*/ 190976 h 235433"/>
                  <a:gd name="connsiteX72" fmla="*/ 533546 w 550478"/>
                  <a:gd name="connsiteY72" fmla="*/ 184719 h 235433"/>
                  <a:gd name="connsiteX73" fmla="*/ 531241 w 550478"/>
                  <a:gd name="connsiteY73" fmla="*/ 182605 h 235433"/>
                  <a:gd name="connsiteX74" fmla="*/ 529128 w 550478"/>
                  <a:gd name="connsiteY74" fmla="*/ 182358 h 235433"/>
                  <a:gd name="connsiteX75" fmla="*/ 527509 w 550478"/>
                  <a:gd name="connsiteY75" fmla="*/ 182167 h 235433"/>
                  <a:gd name="connsiteX76" fmla="*/ 522487 w 550478"/>
                  <a:gd name="connsiteY76" fmla="*/ 185268 h 235433"/>
                  <a:gd name="connsiteX77" fmla="*/ 509643 w 550478"/>
                  <a:gd name="connsiteY77" fmla="*/ 183511 h 235433"/>
                  <a:gd name="connsiteX78" fmla="*/ 502234 w 550478"/>
                  <a:gd name="connsiteY78" fmla="*/ 180273 h 235433"/>
                  <a:gd name="connsiteX79" fmla="*/ 490790 w 550478"/>
                  <a:gd name="connsiteY79" fmla="*/ 179971 h 235433"/>
                  <a:gd name="connsiteX80" fmla="*/ 484588 w 550478"/>
                  <a:gd name="connsiteY80" fmla="*/ 187683 h 235433"/>
                  <a:gd name="connsiteX81" fmla="*/ 481487 w 550478"/>
                  <a:gd name="connsiteY81" fmla="*/ 188670 h 235433"/>
                  <a:gd name="connsiteX82" fmla="*/ 478221 w 550478"/>
                  <a:gd name="connsiteY82" fmla="*/ 189686 h 235433"/>
                  <a:gd name="connsiteX83" fmla="*/ 477425 w 550478"/>
                  <a:gd name="connsiteY83" fmla="*/ 184856 h 235433"/>
                  <a:gd name="connsiteX84" fmla="*/ 474023 w 550478"/>
                  <a:gd name="connsiteY84" fmla="*/ 183319 h 235433"/>
                  <a:gd name="connsiteX85" fmla="*/ 457859 w 550478"/>
                  <a:gd name="connsiteY85" fmla="*/ 189878 h 235433"/>
                  <a:gd name="connsiteX86" fmla="*/ 432254 w 550478"/>
                  <a:gd name="connsiteY86" fmla="*/ 189329 h 235433"/>
                  <a:gd name="connsiteX87" fmla="*/ 415596 w 550478"/>
                  <a:gd name="connsiteY87" fmla="*/ 197315 h 235433"/>
                  <a:gd name="connsiteX88" fmla="*/ 403686 w 550478"/>
                  <a:gd name="connsiteY88" fmla="*/ 202639 h 235433"/>
                  <a:gd name="connsiteX89" fmla="*/ 386645 w 550478"/>
                  <a:gd name="connsiteY89" fmla="*/ 205767 h 235433"/>
                  <a:gd name="connsiteX90" fmla="*/ 372045 w 550478"/>
                  <a:gd name="connsiteY90" fmla="*/ 204450 h 235433"/>
                  <a:gd name="connsiteX91" fmla="*/ 361314 w 550478"/>
                  <a:gd name="connsiteY91" fmla="*/ 197562 h 235433"/>
                  <a:gd name="connsiteX92" fmla="*/ 351545 w 550478"/>
                  <a:gd name="connsiteY92" fmla="*/ 199373 h 235433"/>
                  <a:gd name="connsiteX93" fmla="*/ 337960 w 550478"/>
                  <a:gd name="connsiteY93" fmla="*/ 204587 h 235433"/>
                  <a:gd name="connsiteX94" fmla="*/ 325282 w 550478"/>
                  <a:gd name="connsiteY94" fmla="*/ 206124 h 235433"/>
                  <a:gd name="connsiteX95" fmla="*/ 311286 w 550478"/>
                  <a:gd name="connsiteY95" fmla="*/ 199867 h 235433"/>
                  <a:gd name="connsiteX96" fmla="*/ 310709 w 550478"/>
                  <a:gd name="connsiteY96" fmla="*/ 199867 h 235433"/>
                  <a:gd name="connsiteX97" fmla="*/ 307800 w 550478"/>
                  <a:gd name="connsiteY97" fmla="*/ 210982 h 235433"/>
                  <a:gd name="connsiteX98" fmla="*/ 311066 w 550478"/>
                  <a:gd name="connsiteY98" fmla="*/ 221163 h 235433"/>
                  <a:gd name="connsiteX99" fmla="*/ 303327 w 550478"/>
                  <a:gd name="connsiteY99" fmla="*/ 222754 h 235433"/>
                  <a:gd name="connsiteX100" fmla="*/ 301900 w 550478"/>
                  <a:gd name="connsiteY100" fmla="*/ 229917 h 235433"/>
                  <a:gd name="connsiteX101" fmla="*/ 294656 w 550478"/>
                  <a:gd name="connsiteY101" fmla="*/ 235433 h 235433"/>
                  <a:gd name="connsiteX102" fmla="*/ 288837 w 550478"/>
                  <a:gd name="connsiteY102" fmla="*/ 232881 h 235433"/>
                  <a:gd name="connsiteX103" fmla="*/ 289633 w 550478"/>
                  <a:gd name="connsiteY103" fmla="*/ 228024 h 235433"/>
                  <a:gd name="connsiteX104" fmla="*/ 285956 w 550478"/>
                  <a:gd name="connsiteY104" fmla="*/ 218336 h 235433"/>
                  <a:gd name="connsiteX105" fmla="*/ 297263 w 550478"/>
                  <a:gd name="connsiteY105" fmla="*/ 205493 h 235433"/>
                  <a:gd name="connsiteX106" fmla="*/ 295204 w 550478"/>
                  <a:gd name="connsiteY106" fmla="*/ 198962 h 235433"/>
                  <a:gd name="connsiteX107" fmla="*/ 290182 w 550478"/>
                  <a:gd name="connsiteY107" fmla="*/ 197260 h 235433"/>
                  <a:gd name="connsiteX108" fmla="*/ 282032 w 550478"/>
                  <a:gd name="connsiteY108" fmla="*/ 202666 h 235433"/>
                  <a:gd name="connsiteX109" fmla="*/ 277998 w 550478"/>
                  <a:gd name="connsiteY109" fmla="*/ 209362 h 235433"/>
                  <a:gd name="connsiteX110" fmla="*/ 271521 w 550478"/>
                  <a:gd name="connsiteY110" fmla="*/ 209911 h 235433"/>
                  <a:gd name="connsiteX111" fmla="*/ 258897 w 550478"/>
                  <a:gd name="connsiteY111" fmla="*/ 203325 h 235433"/>
                  <a:gd name="connsiteX112" fmla="*/ 250774 w 550478"/>
                  <a:gd name="connsiteY112" fmla="*/ 201431 h 235433"/>
                  <a:gd name="connsiteX113" fmla="*/ 239138 w 550478"/>
                  <a:gd name="connsiteY113" fmla="*/ 210982 h 235433"/>
                  <a:gd name="connsiteX114" fmla="*/ 233100 w 550478"/>
                  <a:gd name="connsiteY114" fmla="*/ 219599 h 235433"/>
                  <a:gd name="connsiteX115" fmla="*/ 228325 w 550478"/>
                  <a:gd name="connsiteY115" fmla="*/ 219681 h 235433"/>
                  <a:gd name="connsiteX116" fmla="*/ 224401 w 550478"/>
                  <a:gd name="connsiteY116" fmla="*/ 223962 h 235433"/>
                  <a:gd name="connsiteX117" fmla="*/ 201871 w 550478"/>
                  <a:gd name="connsiteY117" fmla="*/ 226953 h 235433"/>
                  <a:gd name="connsiteX118" fmla="*/ 196793 w 550478"/>
                  <a:gd name="connsiteY118" fmla="*/ 229368 h 235433"/>
                  <a:gd name="connsiteX119" fmla="*/ 190564 w 550478"/>
                  <a:gd name="connsiteY119" fmla="*/ 226926 h 235433"/>
                  <a:gd name="connsiteX120" fmla="*/ 183319 w 550478"/>
                  <a:gd name="connsiteY120" fmla="*/ 222645 h 235433"/>
                  <a:gd name="connsiteX121" fmla="*/ 174894 w 550478"/>
                  <a:gd name="connsiteY121" fmla="*/ 211009 h 235433"/>
                  <a:gd name="connsiteX122" fmla="*/ 152363 w 550478"/>
                  <a:gd name="connsiteY122" fmla="*/ 200498 h 235433"/>
                  <a:gd name="connsiteX123" fmla="*/ 134251 w 550478"/>
                  <a:gd name="connsiteY123" fmla="*/ 198413 h 235433"/>
                  <a:gd name="connsiteX124" fmla="*/ 131754 w 550478"/>
                  <a:gd name="connsiteY124" fmla="*/ 202172 h 235433"/>
                  <a:gd name="connsiteX125" fmla="*/ 130985 w 550478"/>
                  <a:gd name="connsiteY125" fmla="*/ 211036 h 235433"/>
                  <a:gd name="connsiteX126" fmla="*/ 127912 w 550478"/>
                  <a:gd name="connsiteY126" fmla="*/ 220916 h 235433"/>
                  <a:gd name="connsiteX127" fmla="*/ 120941 w 550478"/>
                  <a:gd name="connsiteY127" fmla="*/ 219105 h 235433"/>
                  <a:gd name="connsiteX128" fmla="*/ 107879 w 550478"/>
                  <a:gd name="connsiteY128" fmla="*/ 225307 h 235433"/>
                  <a:gd name="connsiteX129" fmla="*/ 93086 w 550478"/>
                  <a:gd name="connsiteY129" fmla="*/ 219269 h 235433"/>
                  <a:gd name="connsiteX130" fmla="*/ 89793 w 550478"/>
                  <a:gd name="connsiteY130" fmla="*/ 216196 h 235433"/>
                  <a:gd name="connsiteX131" fmla="*/ 86089 w 550478"/>
                  <a:gd name="connsiteY131" fmla="*/ 205191 h 235433"/>
                  <a:gd name="connsiteX132" fmla="*/ 79942 w 550478"/>
                  <a:gd name="connsiteY132" fmla="*/ 205630 h 235433"/>
                  <a:gd name="connsiteX133" fmla="*/ 72175 w 550478"/>
                  <a:gd name="connsiteY133" fmla="*/ 200745 h 235433"/>
                  <a:gd name="connsiteX134" fmla="*/ 65562 w 550478"/>
                  <a:gd name="connsiteY134" fmla="*/ 200059 h 235433"/>
                  <a:gd name="connsiteX135" fmla="*/ 61664 w 550478"/>
                  <a:gd name="connsiteY135" fmla="*/ 205191 h 235433"/>
                  <a:gd name="connsiteX136" fmla="*/ 57905 w 550478"/>
                  <a:gd name="connsiteY136" fmla="*/ 206399 h 235433"/>
                  <a:gd name="connsiteX137" fmla="*/ 59002 w 550478"/>
                  <a:gd name="connsiteY137" fmla="*/ 201925 h 235433"/>
                  <a:gd name="connsiteX138" fmla="*/ 57877 w 550478"/>
                  <a:gd name="connsiteY138" fmla="*/ 197535 h 235433"/>
                  <a:gd name="connsiteX139" fmla="*/ 60402 w 550478"/>
                  <a:gd name="connsiteY139" fmla="*/ 193253 h 235433"/>
                  <a:gd name="connsiteX140" fmla="*/ 35155 w 550478"/>
                  <a:gd name="connsiteY140" fmla="*/ 193884 h 235433"/>
                  <a:gd name="connsiteX141" fmla="*/ 35648 w 550478"/>
                  <a:gd name="connsiteY141" fmla="*/ 189823 h 235433"/>
                  <a:gd name="connsiteX142" fmla="*/ 41412 w 550478"/>
                  <a:gd name="connsiteY142" fmla="*/ 189384 h 235433"/>
                  <a:gd name="connsiteX143" fmla="*/ 43662 w 550478"/>
                  <a:gd name="connsiteY143" fmla="*/ 185542 h 235433"/>
                  <a:gd name="connsiteX144" fmla="*/ 38475 w 550478"/>
                  <a:gd name="connsiteY144" fmla="*/ 180163 h 235433"/>
                  <a:gd name="connsiteX145" fmla="*/ 33398 w 550478"/>
                  <a:gd name="connsiteY145" fmla="*/ 179806 h 235433"/>
                  <a:gd name="connsiteX146" fmla="*/ 31998 w 550478"/>
                  <a:gd name="connsiteY146" fmla="*/ 172616 h 235433"/>
                  <a:gd name="connsiteX147" fmla="*/ 29227 w 550478"/>
                  <a:gd name="connsiteY147" fmla="*/ 169680 h 235433"/>
                  <a:gd name="connsiteX148" fmla="*/ 33041 w 550478"/>
                  <a:gd name="connsiteY148" fmla="*/ 166222 h 235433"/>
                  <a:gd name="connsiteX149" fmla="*/ 34331 w 550478"/>
                  <a:gd name="connsiteY149" fmla="*/ 161337 h 235433"/>
                  <a:gd name="connsiteX150" fmla="*/ 32218 w 550478"/>
                  <a:gd name="connsiteY150" fmla="*/ 158071 h 235433"/>
                  <a:gd name="connsiteX151" fmla="*/ 19979 w 550478"/>
                  <a:gd name="connsiteY151" fmla="*/ 150909 h 235433"/>
                  <a:gd name="connsiteX152" fmla="*/ 12816 w 550478"/>
                  <a:gd name="connsiteY152" fmla="*/ 150415 h 235433"/>
                  <a:gd name="connsiteX153" fmla="*/ 7958 w 550478"/>
                  <a:gd name="connsiteY153" fmla="*/ 146792 h 235433"/>
                  <a:gd name="connsiteX154" fmla="*/ 10346 w 550478"/>
                  <a:gd name="connsiteY154" fmla="*/ 133565 h 235433"/>
                  <a:gd name="connsiteX155" fmla="*/ 17372 w 550478"/>
                  <a:gd name="connsiteY155" fmla="*/ 141413 h 235433"/>
                  <a:gd name="connsiteX156" fmla="*/ 24644 w 550478"/>
                  <a:gd name="connsiteY156" fmla="*/ 139904 h 235433"/>
                  <a:gd name="connsiteX157" fmla="*/ 20362 w 550478"/>
                  <a:gd name="connsiteY157" fmla="*/ 131891 h 235433"/>
                  <a:gd name="connsiteX158" fmla="*/ 25247 w 550478"/>
                  <a:gd name="connsiteY158" fmla="*/ 124262 h 235433"/>
                  <a:gd name="connsiteX159" fmla="*/ 19621 w 550478"/>
                  <a:gd name="connsiteY159" fmla="*/ 112489 h 235433"/>
                  <a:gd name="connsiteX160" fmla="*/ 17728 w 550478"/>
                  <a:gd name="connsiteY160" fmla="*/ 107247 h 235433"/>
                  <a:gd name="connsiteX161" fmla="*/ 23134 w 550478"/>
                  <a:gd name="connsiteY161" fmla="*/ 99097 h 235433"/>
                  <a:gd name="connsiteX162" fmla="*/ 15368 w 550478"/>
                  <a:gd name="connsiteY162" fmla="*/ 98328 h 235433"/>
                  <a:gd name="connsiteX163" fmla="*/ 2909 w 550478"/>
                  <a:gd name="connsiteY163" fmla="*/ 101292 h 235433"/>
                  <a:gd name="connsiteX164" fmla="*/ 0 w 550478"/>
                  <a:gd name="connsiteY164" fmla="*/ 99398 h 235433"/>
                  <a:gd name="connsiteX165" fmla="*/ 2470 w 550478"/>
                  <a:gd name="connsiteY165" fmla="*/ 83234 h 235433"/>
                  <a:gd name="connsiteX166" fmla="*/ 32493 w 550478"/>
                  <a:gd name="connsiteY166" fmla="*/ 64271 h 235433"/>
                  <a:gd name="connsiteX167" fmla="*/ 41467 w 550478"/>
                  <a:gd name="connsiteY167" fmla="*/ 69294 h 235433"/>
                  <a:gd name="connsiteX168" fmla="*/ 49891 w 550478"/>
                  <a:gd name="connsiteY168" fmla="*/ 67647 h 235433"/>
                  <a:gd name="connsiteX169" fmla="*/ 48053 w 550478"/>
                  <a:gd name="connsiteY169" fmla="*/ 63064 h 235433"/>
                  <a:gd name="connsiteX170" fmla="*/ 49013 w 550478"/>
                  <a:gd name="connsiteY170" fmla="*/ 61499 h 235433"/>
                  <a:gd name="connsiteX171" fmla="*/ 55297 w 550478"/>
                  <a:gd name="connsiteY171" fmla="*/ 62707 h 235433"/>
                  <a:gd name="connsiteX172" fmla="*/ 54584 w 550478"/>
                  <a:gd name="connsiteY172" fmla="*/ 66933 h 235433"/>
                  <a:gd name="connsiteX173" fmla="*/ 60868 w 550478"/>
                  <a:gd name="connsiteY173" fmla="*/ 65808 h 235433"/>
                  <a:gd name="connsiteX174" fmla="*/ 83701 w 550478"/>
                  <a:gd name="connsiteY174" fmla="*/ 67070 h 235433"/>
                  <a:gd name="connsiteX175" fmla="*/ 86748 w 550478"/>
                  <a:gd name="connsiteY175" fmla="*/ 65314 h 235433"/>
                  <a:gd name="connsiteX176" fmla="*/ 85156 w 550478"/>
                  <a:gd name="connsiteY176" fmla="*/ 63064 h 235433"/>
                  <a:gd name="connsiteX177" fmla="*/ 81341 w 550478"/>
                  <a:gd name="connsiteY177" fmla="*/ 59469 h 235433"/>
                  <a:gd name="connsiteX178" fmla="*/ 86116 w 550478"/>
                  <a:gd name="connsiteY178" fmla="*/ 56286 h 235433"/>
                  <a:gd name="connsiteX179" fmla="*/ 101484 w 550478"/>
                  <a:gd name="connsiteY179" fmla="*/ 54200 h 235433"/>
                  <a:gd name="connsiteX180" fmla="*/ 102198 w 550478"/>
                  <a:gd name="connsiteY180" fmla="*/ 51785 h 235433"/>
                  <a:gd name="connsiteX181" fmla="*/ 95474 w 550478"/>
                  <a:gd name="connsiteY181" fmla="*/ 49864 h 235433"/>
                  <a:gd name="connsiteX182" fmla="*/ 86939 w 550478"/>
                  <a:gd name="connsiteY182" fmla="*/ 43552 h 235433"/>
                  <a:gd name="connsiteX183" fmla="*/ 90397 w 550478"/>
                  <a:gd name="connsiteY183" fmla="*/ 33316 h 235433"/>
                  <a:gd name="connsiteX184" fmla="*/ 110843 w 550478"/>
                  <a:gd name="connsiteY184" fmla="*/ 36773 h 235433"/>
                  <a:gd name="connsiteX185" fmla="*/ 125223 w 550478"/>
                  <a:gd name="connsiteY185" fmla="*/ 35154 h 235433"/>
                  <a:gd name="connsiteX186" fmla="*/ 134278 w 550478"/>
                  <a:gd name="connsiteY186" fmla="*/ 37487 h 235433"/>
                  <a:gd name="connsiteX187" fmla="*/ 143692 w 550478"/>
                  <a:gd name="connsiteY187" fmla="*/ 39518 h 235433"/>
                  <a:gd name="connsiteX188" fmla="*/ 152912 w 550478"/>
                  <a:gd name="connsiteY188" fmla="*/ 37789 h 235433"/>
                  <a:gd name="connsiteX189" fmla="*/ 157413 w 550478"/>
                  <a:gd name="connsiteY189" fmla="*/ 29583 h 235433"/>
                  <a:gd name="connsiteX190" fmla="*/ 175470 w 550478"/>
                  <a:gd name="connsiteY190" fmla="*/ 19621 h 235433"/>
                  <a:gd name="connsiteX191" fmla="*/ 177886 w 550478"/>
                  <a:gd name="connsiteY191" fmla="*/ 18002 h 235433"/>
                  <a:gd name="connsiteX192" fmla="*/ 180657 w 550478"/>
                  <a:gd name="connsiteY192" fmla="*/ 16164 h 235433"/>
                  <a:gd name="connsiteX193" fmla="*/ 188177 w 550478"/>
                  <a:gd name="connsiteY193" fmla="*/ 11169 h 235433"/>
                  <a:gd name="connsiteX194" fmla="*/ 195284 w 550478"/>
                  <a:gd name="connsiteY194" fmla="*/ 9056 h 235433"/>
                  <a:gd name="connsiteX195" fmla="*/ 209829 w 550478"/>
                  <a:gd name="connsiteY195" fmla="*/ 3677 h 235433"/>
                  <a:gd name="connsiteX196" fmla="*/ 212848 w 550478"/>
                  <a:gd name="connsiteY196" fmla="*/ 2552 h 235433"/>
                  <a:gd name="connsiteX197" fmla="*/ 225581 w 550478"/>
                  <a:gd name="connsiteY197" fmla="*/ 3677 h 235433"/>
                  <a:gd name="connsiteX198" fmla="*/ 239193 w 550478"/>
                  <a:gd name="connsiteY198" fmla="*/ 4857 h 235433"/>
                  <a:gd name="connsiteX199" fmla="*/ 253710 w 550478"/>
                  <a:gd name="connsiteY199" fmla="*/ 4857 h 235433"/>
                  <a:gd name="connsiteX200" fmla="*/ 261751 w 550478"/>
                  <a:gd name="connsiteY200" fmla="*/ 0 h 235433"/>
                  <a:gd name="connsiteX201" fmla="*/ 265154 w 550478"/>
                  <a:gd name="connsiteY201" fmla="*/ 2552 h 23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550478" h="235433">
                    <a:moveTo>
                      <a:pt x="265154" y="2579"/>
                    </a:moveTo>
                    <a:lnTo>
                      <a:pt x="267980" y="11636"/>
                    </a:lnTo>
                    <a:lnTo>
                      <a:pt x="274841" y="16191"/>
                    </a:lnTo>
                    <a:lnTo>
                      <a:pt x="276954" y="17454"/>
                    </a:lnTo>
                    <a:lnTo>
                      <a:pt x="281949" y="16191"/>
                    </a:lnTo>
                    <a:lnTo>
                      <a:pt x="289140" y="14353"/>
                    </a:lnTo>
                    <a:lnTo>
                      <a:pt x="291911" y="16191"/>
                    </a:lnTo>
                    <a:lnTo>
                      <a:pt x="294683" y="18030"/>
                    </a:lnTo>
                    <a:lnTo>
                      <a:pt x="295863" y="25055"/>
                    </a:lnTo>
                    <a:lnTo>
                      <a:pt x="302970" y="31998"/>
                    </a:lnTo>
                    <a:lnTo>
                      <a:pt x="306236" y="32053"/>
                    </a:lnTo>
                    <a:lnTo>
                      <a:pt x="312191" y="27854"/>
                    </a:lnTo>
                    <a:lnTo>
                      <a:pt x="319217" y="30544"/>
                    </a:lnTo>
                    <a:lnTo>
                      <a:pt x="325144" y="36554"/>
                    </a:lnTo>
                    <a:lnTo>
                      <a:pt x="336588" y="40972"/>
                    </a:lnTo>
                    <a:lnTo>
                      <a:pt x="342708" y="38118"/>
                    </a:lnTo>
                    <a:lnTo>
                      <a:pt x="346742" y="42592"/>
                    </a:lnTo>
                    <a:lnTo>
                      <a:pt x="353328" y="43909"/>
                    </a:lnTo>
                    <a:lnTo>
                      <a:pt x="364553" y="45583"/>
                    </a:lnTo>
                    <a:lnTo>
                      <a:pt x="384805" y="39436"/>
                    </a:lnTo>
                    <a:lnTo>
                      <a:pt x="392792" y="38640"/>
                    </a:lnTo>
                    <a:lnTo>
                      <a:pt x="398006" y="41988"/>
                    </a:lnTo>
                    <a:lnTo>
                      <a:pt x="412770" y="45418"/>
                    </a:lnTo>
                    <a:lnTo>
                      <a:pt x="418560" y="42784"/>
                    </a:lnTo>
                    <a:lnTo>
                      <a:pt x="428742" y="39490"/>
                    </a:lnTo>
                    <a:lnTo>
                      <a:pt x="445729" y="29419"/>
                    </a:lnTo>
                    <a:lnTo>
                      <a:pt x="454429" y="21954"/>
                    </a:lnTo>
                    <a:lnTo>
                      <a:pt x="462387" y="24781"/>
                    </a:lnTo>
                    <a:lnTo>
                      <a:pt x="466558" y="22339"/>
                    </a:lnTo>
                    <a:lnTo>
                      <a:pt x="472980" y="22421"/>
                    </a:lnTo>
                    <a:lnTo>
                      <a:pt x="481514" y="24781"/>
                    </a:lnTo>
                    <a:lnTo>
                      <a:pt x="482941" y="25192"/>
                    </a:lnTo>
                    <a:lnTo>
                      <a:pt x="485906" y="19676"/>
                    </a:lnTo>
                    <a:lnTo>
                      <a:pt x="491202" y="19402"/>
                    </a:lnTo>
                    <a:lnTo>
                      <a:pt x="492135" y="22750"/>
                    </a:lnTo>
                    <a:lnTo>
                      <a:pt x="501987" y="30297"/>
                    </a:lnTo>
                    <a:lnTo>
                      <a:pt x="504210" y="34825"/>
                    </a:lnTo>
                    <a:lnTo>
                      <a:pt x="509040" y="34935"/>
                    </a:lnTo>
                    <a:lnTo>
                      <a:pt x="511125" y="37514"/>
                    </a:lnTo>
                    <a:lnTo>
                      <a:pt x="510988" y="40094"/>
                    </a:lnTo>
                    <a:lnTo>
                      <a:pt x="516532" y="44924"/>
                    </a:lnTo>
                    <a:lnTo>
                      <a:pt x="518974" y="51977"/>
                    </a:lnTo>
                    <a:lnTo>
                      <a:pt x="514831" y="63009"/>
                    </a:lnTo>
                    <a:lnTo>
                      <a:pt x="517657" y="73959"/>
                    </a:lnTo>
                    <a:lnTo>
                      <a:pt x="516394" y="75989"/>
                    </a:lnTo>
                    <a:lnTo>
                      <a:pt x="524353" y="80188"/>
                    </a:lnTo>
                    <a:lnTo>
                      <a:pt x="529128" y="80188"/>
                    </a:lnTo>
                    <a:cubicBezTo>
                      <a:pt x="529128" y="80188"/>
                      <a:pt x="536455" y="80078"/>
                      <a:pt x="536455" y="80078"/>
                    </a:cubicBezTo>
                    <a:lnTo>
                      <a:pt x="544332" y="87406"/>
                    </a:lnTo>
                    <a:lnTo>
                      <a:pt x="549189" y="91934"/>
                    </a:lnTo>
                    <a:lnTo>
                      <a:pt x="550479" y="95090"/>
                    </a:lnTo>
                    <a:lnTo>
                      <a:pt x="545512" y="90589"/>
                    </a:lnTo>
                    <a:lnTo>
                      <a:pt x="544332" y="90452"/>
                    </a:lnTo>
                    <a:lnTo>
                      <a:pt x="541368" y="91824"/>
                    </a:lnTo>
                    <a:lnTo>
                      <a:pt x="538404" y="102691"/>
                    </a:lnTo>
                    <a:lnTo>
                      <a:pt x="529128" y="105051"/>
                    </a:lnTo>
                    <a:lnTo>
                      <a:pt x="528058" y="105326"/>
                    </a:lnTo>
                    <a:lnTo>
                      <a:pt x="529128" y="107329"/>
                    </a:lnTo>
                    <a:lnTo>
                      <a:pt x="532421" y="113449"/>
                    </a:lnTo>
                    <a:lnTo>
                      <a:pt x="531763" y="119624"/>
                    </a:lnTo>
                    <a:lnTo>
                      <a:pt x="535083" y="125607"/>
                    </a:lnTo>
                    <a:lnTo>
                      <a:pt x="535934" y="141139"/>
                    </a:lnTo>
                    <a:lnTo>
                      <a:pt x="540050" y="144268"/>
                    </a:lnTo>
                    <a:lnTo>
                      <a:pt x="533601" y="159718"/>
                    </a:lnTo>
                    <a:lnTo>
                      <a:pt x="540215" y="163752"/>
                    </a:lnTo>
                    <a:lnTo>
                      <a:pt x="544002" y="167430"/>
                    </a:lnTo>
                    <a:lnTo>
                      <a:pt x="544332" y="176623"/>
                    </a:lnTo>
                    <a:lnTo>
                      <a:pt x="550067" y="182249"/>
                    </a:lnTo>
                    <a:lnTo>
                      <a:pt x="549930" y="187188"/>
                    </a:lnTo>
                    <a:lnTo>
                      <a:pt x="544332" y="187847"/>
                    </a:lnTo>
                    <a:lnTo>
                      <a:pt x="535303" y="194241"/>
                    </a:lnTo>
                    <a:lnTo>
                      <a:pt x="532915" y="190976"/>
                    </a:lnTo>
                    <a:lnTo>
                      <a:pt x="533546" y="184719"/>
                    </a:lnTo>
                    <a:lnTo>
                      <a:pt x="531241" y="182605"/>
                    </a:lnTo>
                    <a:lnTo>
                      <a:pt x="529128" y="182358"/>
                    </a:lnTo>
                    <a:lnTo>
                      <a:pt x="527509" y="182167"/>
                    </a:lnTo>
                    <a:lnTo>
                      <a:pt x="522487" y="185268"/>
                    </a:lnTo>
                    <a:lnTo>
                      <a:pt x="509643" y="183511"/>
                    </a:lnTo>
                    <a:lnTo>
                      <a:pt x="502234" y="180273"/>
                    </a:lnTo>
                    <a:lnTo>
                      <a:pt x="490790" y="179971"/>
                    </a:lnTo>
                    <a:lnTo>
                      <a:pt x="484588" y="187683"/>
                    </a:lnTo>
                    <a:lnTo>
                      <a:pt x="481487" y="188670"/>
                    </a:lnTo>
                    <a:lnTo>
                      <a:pt x="478221" y="189686"/>
                    </a:lnTo>
                    <a:lnTo>
                      <a:pt x="477425" y="184856"/>
                    </a:lnTo>
                    <a:lnTo>
                      <a:pt x="474023" y="183319"/>
                    </a:lnTo>
                    <a:lnTo>
                      <a:pt x="457859" y="189878"/>
                    </a:lnTo>
                    <a:lnTo>
                      <a:pt x="432254" y="189329"/>
                    </a:lnTo>
                    <a:lnTo>
                      <a:pt x="415596" y="197315"/>
                    </a:lnTo>
                    <a:lnTo>
                      <a:pt x="403686" y="202639"/>
                    </a:lnTo>
                    <a:lnTo>
                      <a:pt x="386645" y="205767"/>
                    </a:lnTo>
                    <a:lnTo>
                      <a:pt x="372045" y="204450"/>
                    </a:lnTo>
                    <a:lnTo>
                      <a:pt x="361314" y="197562"/>
                    </a:lnTo>
                    <a:lnTo>
                      <a:pt x="351545" y="199373"/>
                    </a:lnTo>
                    <a:lnTo>
                      <a:pt x="337960" y="204587"/>
                    </a:lnTo>
                    <a:lnTo>
                      <a:pt x="325282" y="206124"/>
                    </a:lnTo>
                    <a:lnTo>
                      <a:pt x="311286" y="199867"/>
                    </a:lnTo>
                    <a:lnTo>
                      <a:pt x="310709" y="199867"/>
                    </a:lnTo>
                    <a:cubicBezTo>
                      <a:pt x="310709" y="199867"/>
                      <a:pt x="307800" y="210982"/>
                      <a:pt x="307800" y="210982"/>
                    </a:cubicBezTo>
                    <a:lnTo>
                      <a:pt x="311066" y="221163"/>
                    </a:lnTo>
                    <a:lnTo>
                      <a:pt x="303327" y="222754"/>
                    </a:lnTo>
                    <a:lnTo>
                      <a:pt x="301900" y="229917"/>
                    </a:lnTo>
                    <a:lnTo>
                      <a:pt x="294656" y="235433"/>
                    </a:lnTo>
                    <a:lnTo>
                      <a:pt x="288837" y="232881"/>
                    </a:lnTo>
                    <a:lnTo>
                      <a:pt x="289633" y="228024"/>
                    </a:lnTo>
                    <a:lnTo>
                      <a:pt x="285956" y="218336"/>
                    </a:lnTo>
                    <a:lnTo>
                      <a:pt x="297263" y="205493"/>
                    </a:lnTo>
                    <a:lnTo>
                      <a:pt x="295204" y="198962"/>
                    </a:lnTo>
                    <a:lnTo>
                      <a:pt x="290182" y="197260"/>
                    </a:lnTo>
                    <a:lnTo>
                      <a:pt x="282032" y="202666"/>
                    </a:lnTo>
                    <a:lnTo>
                      <a:pt x="277998" y="209362"/>
                    </a:lnTo>
                    <a:lnTo>
                      <a:pt x="271521" y="209911"/>
                    </a:lnTo>
                    <a:lnTo>
                      <a:pt x="258897" y="203325"/>
                    </a:lnTo>
                    <a:lnTo>
                      <a:pt x="250774" y="201431"/>
                    </a:lnTo>
                    <a:lnTo>
                      <a:pt x="239138" y="210982"/>
                    </a:lnTo>
                    <a:lnTo>
                      <a:pt x="233100" y="219599"/>
                    </a:lnTo>
                    <a:lnTo>
                      <a:pt x="228325" y="219681"/>
                    </a:lnTo>
                    <a:lnTo>
                      <a:pt x="224401" y="223962"/>
                    </a:lnTo>
                    <a:lnTo>
                      <a:pt x="201871" y="226953"/>
                    </a:lnTo>
                    <a:lnTo>
                      <a:pt x="196793" y="229368"/>
                    </a:lnTo>
                    <a:lnTo>
                      <a:pt x="190564" y="226926"/>
                    </a:lnTo>
                    <a:lnTo>
                      <a:pt x="183319" y="222645"/>
                    </a:lnTo>
                    <a:lnTo>
                      <a:pt x="174894" y="211009"/>
                    </a:lnTo>
                    <a:lnTo>
                      <a:pt x="152363" y="200498"/>
                    </a:lnTo>
                    <a:lnTo>
                      <a:pt x="134251" y="198413"/>
                    </a:lnTo>
                    <a:lnTo>
                      <a:pt x="131754" y="202172"/>
                    </a:lnTo>
                    <a:lnTo>
                      <a:pt x="130985" y="211036"/>
                    </a:lnTo>
                    <a:lnTo>
                      <a:pt x="127912" y="220916"/>
                    </a:lnTo>
                    <a:lnTo>
                      <a:pt x="120941" y="219105"/>
                    </a:lnTo>
                    <a:lnTo>
                      <a:pt x="107879" y="225307"/>
                    </a:lnTo>
                    <a:lnTo>
                      <a:pt x="93086" y="219269"/>
                    </a:lnTo>
                    <a:lnTo>
                      <a:pt x="89793" y="216196"/>
                    </a:lnTo>
                    <a:lnTo>
                      <a:pt x="86089" y="205191"/>
                    </a:lnTo>
                    <a:lnTo>
                      <a:pt x="79942" y="205630"/>
                    </a:lnTo>
                    <a:lnTo>
                      <a:pt x="72175" y="200745"/>
                    </a:lnTo>
                    <a:lnTo>
                      <a:pt x="65562" y="200059"/>
                    </a:lnTo>
                    <a:lnTo>
                      <a:pt x="61664" y="205191"/>
                    </a:lnTo>
                    <a:lnTo>
                      <a:pt x="57905" y="206399"/>
                    </a:lnTo>
                    <a:lnTo>
                      <a:pt x="59002" y="201925"/>
                    </a:lnTo>
                    <a:lnTo>
                      <a:pt x="57877" y="197535"/>
                    </a:lnTo>
                    <a:lnTo>
                      <a:pt x="60402" y="193253"/>
                    </a:lnTo>
                    <a:lnTo>
                      <a:pt x="35155" y="193884"/>
                    </a:lnTo>
                    <a:lnTo>
                      <a:pt x="35648" y="189823"/>
                    </a:lnTo>
                    <a:lnTo>
                      <a:pt x="41412" y="189384"/>
                    </a:lnTo>
                    <a:lnTo>
                      <a:pt x="43662" y="185542"/>
                    </a:lnTo>
                    <a:lnTo>
                      <a:pt x="38475" y="180163"/>
                    </a:lnTo>
                    <a:lnTo>
                      <a:pt x="33398" y="179806"/>
                    </a:lnTo>
                    <a:lnTo>
                      <a:pt x="31998" y="172616"/>
                    </a:lnTo>
                    <a:lnTo>
                      <a:pt x="29227" y="169680"/>
                    </a:lnTo>
                    <a:lnTo>
                      <a:pt x="33041" y="166222"/>
                    </a:lnTo>
                    <a:lnTo>
                      <a:pt x="34331" y="161337"/>
                    </a:lnTo>
                    <a:lnTo>
                      <a:pt x="32218" y="158071"/>
                    </a:lnTo>
                    <a:lnTo>
                      <a:pt x="19979" y="150909"/>
                    </a:lnTo>
                    <a:lnTo>
                      <a:pt x="12816" y="150415"/>
                    </a:lnTo>
                    <a:lnTo>
                      <a:pt x="7958" y="146792"/>
                    </a:lnTo>
                    <a:lnTo>
                      <a:pt x="10346" y="133565"/>
                    </a:lnTo>
                    <a:lnTo>
                      <a:pt x="17372" y="141413"/>
                    </a:lnTo>
                    <a:lnTo>
                      <a:pt x="24644" y="139904"/>
                    </a:lnTo>
                    <a:lnTo>
                      <a:pt x="20362" y="131891"/>
                    </a:lnTo>
                    <a:lnTo>
                      <a:pt x="25247" y="124262"/>
                    </a:lnTo>
                    <a:lnTo>
                      <a:pt x="19621" y="112489"/>
                    </a:lnTo>
                    <a:lnTo>
                      <a:pt x="17728" y="107247"/>
                    </a:lnTo>
                    <a:lnTo>
                      <a:pt x="23134" y="99097"/>
                    </a:lnTo>
                    <a:lnTo>
                      <a:pt x="15368" y="98328"/>
                    </a:lnTo>
                    <a:lnTo>
                      <a:pt x="2909" y="101292"/>
                    </a:lnTo>
                    <a:lnTo>
                      <a:pt x="0" y="99398"/>
                    </a:lnTo>
                    <a:lnTo>
                      <a:pt x="2470" y="83234"/>
                    </a:lnTo>
                    <a:lnTo>
                      <a:pt x="32493" y="64271"/>
                    </a:lnTo>
                    <a:lnTo>
                      <a:pt x="41467" y="69294"/>
                    </a:lnTo>
                    <a:lnTo>
                      <a:pt x="49891" y="67647"/>
                    </a:lnTo>
                    <a:lnTo>
                      <a:pt x="48053" y="63064"/>
                    </a:lnTo>
                    <a:lnTo>
                      <a:pt x="49013" y="61499"/>
                    </a:lnTo>
                    <a:lnTo>
                      <a:pt x="55297" y="62707"/>
                    </a:lnTo>
                    <a:lnTo>
                      <a:pt x="54584" y="66933"/>
                    </a:lnTo>
                    <a:lnTo>
                      <a:pt x="60868" y="65808"/>
                    </a:lnTo>
                    <a:lnTo>
                      <a:pt x="83701" y="67070"/>
                    </a:lnTo>
                    <a:lnTo>
                      <a:pt x="86748" y="65314"/>
                    </a:lnTo>
                    <a:lnTo>
                      <a:pt x="85156" y="63064"/>
                    </a:lnTo>
                    <a:lnTo>
                      <a:pt x="81341" y="59469"/>
                    </a:lnTo>
                    <a:lnTo>
                      <a:pt x="86116" y="56286"/>
                    </a:lnTo>
                    <a:lnTo>
                      <a:pt x="101484" y="54200"/>
                    </a:lnTo>
                    <a:lnTo>
                      <a:pt x="102198" y="51785"/>
                    </a:lnTo>
                    <a:lnTo>
                      <a:pt x="95474" y="49864"/>
                    </a:lnTo>
                    <a:lnTo>
                      <a:pt x="86939" y="43552"/>
                    </a:lnTo>
                    <a:lnTo>
                      <a:pt x="90397" y="33316"/>
                    </a:lnTo>
                    <a:lnTo>
                      <a:pt x="110843" y="36773"/>
                    </a:lnTo>
                    <a:lnTo>
                      <a:pt x="125223" y="35154"/>
                    </a:lnTo>
                    <a:lnTo>
                      <a:pt x="134278" y="37487"/>
                    </a:lnTo>
                    <a:lnTo>
                      <a:pt x="143692" y="39518"/>
                    </a:lnTo>
                    <a:lnTo>
                      <a:pt x="152912" y="37789"/>
                    </a:lnTo>
                    <a:lnTo>
                      <a:pt x="157413" y="29583"/>
                    </a:lnTo>
                    <a:lnTo>
                      <a:pt x="175470" y="19621"/>
                    </a:lnTo>
                    <a:lnTo>
                      <a:pt x="177886" y="18002"/>
                    </a:lnTo>
                    <a:lnTo>
                      <a:pt x="180657" y="16164"/>
                    </a:lnTo>
                    <a:lnTo>
                      <a:pt x="188177" y="11169"/>
                    </a:lnTo>
                    <a:lnTo>
                      <a:pt x="195284" y="9056"/>
                    </a:lnTo>
                    <a:lnTo>
                      <a:pt x="209829" y="3677"/>
                    </a:lnTo>
                    <a:lnTo>
                      <a:pt x="212848" y="2552"/>
                    </a:lnTo>
                    <a:lnTo>
                      <a:pt x="225581" y="3677"/>
                    </a:lnTo>
                    <a:lnTo>
                      <a:pt x="239193" y="4857"/>
                    </a:lnTo>
                    <a:lnTo>
                      <a:pt x="253710" y="4857"/>
                    </a:lnTo>
                    <a:cubicBezTo>
                      <a:pt x="253710" y="4857"/>
                      <a:pt x="261751" y="0"/>
                      <a:pt x="261751" y="0"/>
                    </a:cubicBezTo>
                    <a:lnTo>
                      <a:pt x="265154"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8" name="Freeform: Shape 4147">
                <a:extLst>
                  <a:ext uri="{FF2B5EF4-FFF2-40B4-BE49-F238E27FC236}">
                    <a16:creationId xmlns:a16="http://schemas.microsoft.com/office/drawing/2014/main" id="{C1D7D827-1D36-8762-D401-6191C8200743}"/>
                  </a:ext>
                </a:extLst>
              </p:cNvPr>
              <p:cNvSpPr/>
              <p:nvPr/>
            </p:nvSpPr>
            <p:spPr>
              <a:xfrm>
                <a:off x="1445254" y="3701855"/>
                <a:ext cx="8962" cy="8241"/>
              </a:xfrm>
              <a:custGeom>
                <a:avLst/>
                <a:gdLst>
                  <a:gd name="connsiteX0" fmla="*/ 42125 w 85924"/>
                  <a:gd name="connsiteY0" fmla="*/ 4254 h 79008"/>
                  <a:gd name="connsiteX1" fmla="*/ 44841 w 85924"/>
                  <a:gd name="connsiteY1" fmla="*/ 5845 h 79008"/>
                  <a:gd name="connsiteX2" fmla="*/ 56807 w 85924"/>
                  <a:gd name="connsiteY2" fmla="*/ 4446 h 79008"/>
                  <a:gd name="connsiteX3" fmla="*/ 58865 w 85924"/>
                  <a:gd name="connsiteY3" fmla="*/ 4309 h 79008"/>
                  <a:gd name="connsiteX4" fmla="*/ 57603 w 85924"/>
                  <a:gd name="connsiteY4" fmla="*/ 10538 h 79008"/>
                  <a:gd name="connsiteX5" fmla="*/ 60621 w 85924"/>
                  <a:gd name="connsiteY5" fmla="*/ 16740 h 79008"/>
                  <a:gd name="connsiteX6" fmla="*/ 61499 w 85924"/>
                  <a:gd name="connsiteY6" fmla="*/ 18579 h 79008"/>
                  <a:gd name="connsiteX7" fmla="*/ 62323 w 85924"/>
                  <a:gd name="connsiteY7" fmla="*/ 20253 h 79008"/>
                  <a:gd name="connsiteX8" fmla="*/ 63146 w 85924"/>
                  <a:gd name="connsiteY8" fmla="*/ 20857 h 79008"/>
                  <a:gd name="connsiteX9" fmla="*/ 85924 w 85924"/>
                  <a:gd name="connsiteY9" fmla="*/ 32795 h 79008"/>
                  <a:gd name="connsiteX10" fmla="*/ 81917 w 85924"/>
                  <a:gd name="connsiteY10" fmla="*/ 43333 h 79008"/>
                  <a:gd name="connsiteX11" fmla="*/ 77114 w 85924"/>
                  <a:gd name="connsiteY11" fmla="*/ 44101 h 79008"/>
                  <a:gd name="connsiteX12" fmla="*/ 64573 w 85924"/>
                  <a:gd name="connsiteY12" fmla="*/ 40122 h 79008"/>
                  <a:gd name="connsiteX13" fmla="*/ 57548 w 85924"/>
                  <a:gd name="connsiteY13" fmla="*/ 42180 h 79008"/>
                  <a:gd name="connsiteX14" fmla="*/ 44650 w 85924"/>
                  <a:gd name="connsiteY14" fmla="*/ 44046 h 79008"/>
                  <a:gd name="connsiteX15" fmla="*/ 36911 w 85924"/>
                  <a:gd name="connsiteY15" fmla="*/ 54557 h 79008"/>
                  <a:gd name="connsiteX16" fmla="*/ 27470 w 85924"/>
                  <a:gd name="connsiteY16" fmla="*/ 60210 h 79008"/>
                  <a:gd name="connsiteX17" fmla="*/ 21296 w 85924"/>
                  <a:gd name="connsiteY17" fmla="*/ 63805 h 79008"/>
                  <a:gd name="connsiteX18" fmla="*/ 20253 w 85924"/>
                  <a:gd name="connsiteY18" fmla="*/ 66988 h 79008"/>
                  <a:gd name="connsiteX19" fmla="*/ 7327 w 85924"/>
                  <a:gd name="connsiteY19" fmla="*/ 79008 h 79008"/>
                  <a:gd name="connsiteX20" fmla="*/ 5681 w 85924"/>
                  <a:gd name="connsiteY20" fmla="*/ 77499 h 79008"/>
                  <a:gd name="connsiteX21" fmla="*/ 6696 w 85924"/>
                  <a:gd name="connsiteY21" fmla="*/ 69376 h 79008"/>
                  <a:gd name="connsiteX22" fmla="*/ 21762 w 85924"/>
                  <a:gd name="connsiteY22" fmla="*/ 59469 h 79008"/>
                  <a:gd name="connsiteX23" fmla="*/ 20610 w 85924"/>
                  <a:gd name="connsiteY23" fmla="*/ 56697 h 79008"/>
                  <a:gd name="connsiteX24" fmla="*/ 3485 w 85924"/>
                  <a:gd name="connsiteY24" fmla="*/ 58509 h 79008"/>
                  <a:gd name="connsiteX25" fmla="*/ 1345 w 85924"/>
                  <a:gd name="connsiteY25" fmla="*/ 57301 h 79008"/>
                  <a:gd name="connsiteX26" fmla="*/ 631 w 85924"/>
                  <a:gd name="connsiteY26" fmla="*/ 54667 h 79008"/>
                  <a:gd name="connsiteX27" fmla="*/ 0 w 85924"/>
                  <a:gd name="connsiteY27" fmla="*/ 53322 h 79008"/>
                  <a:gd name="connsiteX28" fmla="*/ 9220 w 85924"/>
                  <a:gd name="connsiteY28" fmla="*/ 44266 h 79008"/>
                  <a:gd name="connsiteX29" fmla="*/ 9056 w 85924"/>
                  <a:gd name="connsiteY29" fmla="*/ 33508 h 79008"/>
                  <a:gd name="connsiteX30" fmla="*/ 17262 w 85924"/>
                  <a:gd name="connsiteY30" fmla="*/ 28239 h 79008"/>
                  <a:gd name="connsiteX31" fmla="*/ 15999 w 85924"/>
                  <a:gd name="connsiteY31" fmla="*/ 19265 h 79008"/>
                  <a:gd name="connsiteX32" fmla="*/ 14819 w 85924"/>
                  <a:gd name="connsiteY32" fmla="*/ 18497 h 79008"/>
                  <a:gd name="connsiteX33" fmla="*/ 12047 w 85924"/>
                  <a:gd name="connsiteY33" fmla="*/ 16658 h 79008"/>
                  <a:gd name="connsiteX34" fmla="*/ 9523 w 85924"/>
                  <a:gd name="connsiteY34" fmla="*/ 14957 h 79008"/>
                  <a:gd name="connsiteX35" fmla="*/ 9770 w 85924"/>
                  <a:gd name="connsiteY35" fmla="*/ 11526 h 79008"/>
                  <a:gd name="connsiteX36" fmla="*/ 14737 w 85924"/>
                  <a:gd name="connsiteY36" fmla="*/ 9962 h 79008"/>
                  <a:gd name="connsiteX37" fmla="*/ 15505 w 85924"/>
                  <a:gd name="connsiteY37" fmla="*/ 6477 h 79008"/>
                  <a:gd name="connsiteX38" fmla="*/ 24561 w 85924"/>
                  <a:gd name="connsiteY38" fmla="*/ 4171 h 79008"/>
                  <a:gd name="connsiteX39" fmla="*/ 26922 w 85924"/>
                  <a:gd name="connsiteY39" fmla="*/ 3568 h 79008"/>
                  <a:gd name="connsiteX40" fmla="*/ 27882 w 85924"/>
                  <a:gd name="connsiteY40" fmla="*/ 2909 h 79008"/>
                  <a:gd name="connsiteX41" fmla="*/ 30160 w 85924"/>
                  <a:gd name="connsiteY41" fmla="*/ 82 h 79008"/>
                  <a:gd name="connsiteX42" fmla="*/ 36527 w 85924"/>
                  <a:gd name="connsiteY42" fmla="*/ 0 h 79008"/>
                  <a:gd name="connsiteX43" fmla="*/ 39930 w 85924"/>
                  <a:gd name="connsiteY43" fmla="*/ 2909 h 79008"/>
                  <a:gd name="connsiteX44" fmla="*/ 42097 w 85924"/>
                  <a:gd name="connsiteY44" fmla="*/ 4199 h 7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5924" h="79008">
                    <a:moveTo>
                      <a:pt x="42125" y="4254"/>
                    </a:moveTo>
                    <a:lnTo>
                      <a:pt x="44841" y="5845"/>
                    </a:lnTo>
                    <a:lnTo>
                      <a:pt x="56807" y="4446"/>
                    </a:lnTo>
                    <a:lnTo>
                      <a:pt x="58865" y="4309"/>
                    </a:lnTo>
                    <a:lnTo>
                      <a:pt x="57603" y="10538"/>
                    </a:lnTo>
                    <a:lnTo>
                      <a:pt x="60621" y="16740"/>
                    </a:lnTo>
                    <a:lnTo>
                      <a:pt x="61499" y="18579"/>
                    </a:lnTo>
                    <a:lnTo>
                      <a:pt x="62323" y="20253"/>
                    </a:lnTo>
                    <a:lnTo>
                      <a:pt x="63146" y="20857"/>
                    </a:lnTo>
                    <a:lnTo>
                      <a:pt x="85924" y="32795"/>
                    </a:lnTo>
                    <a:lnTo>
                      <a:pt x="81917" y="43333"/>
                    </a:lnTo>
                    <a:lnTo>
                      <a:pt x="77114" y="44101"/>
                    </a:lnTo>
                    <a:lnTo>
                      <a:pt x="64573" y="40122"/>
                    </a:lnTo>
                    <a:lnTo>
                      <a:pt x="57548" y="42180"/>
                    </a:lnTo>
                    <a:lnTo>
                      <a:pt x="44650" y="44046"/>
                    </a:lnTo>
                    <a:lnTo>
                      <a:pt x="36911" y="54557"/>
                    </a:lnTo>
                    <a:lnTo>
                      <a:pt x="27470" y="60210"/>
                    </a:lnTo>
                    <a:lnTo>
                      <a:pt x="21296" y="63805"/>
                    </a:lnTo>
                    <a:lnTo>
                      <a:pt x="20253" y="66988"/>
                    </a:lnTo>
                    <a:lnTo>
                      <a:pt x="7327" y="79008"/>
                    </a:lnTo>
                    <a:lnTo>
                      <a:pt x="5681" y="77499"/>
                    </a:lnTo>
                    <a:lnTo>
                      <a:pt x="6696" y="69376"/>
                    </a:lnTo>
                    <a:lnTo>
                      <a:pt x="21762" y="59469"/>
                    </a:lnTo>
                    <a:lnTo>
                      <a:pt x="20610" y="56697"/>
                    </a:lnTo>
                    <a:lnTo>
                      <a:pt x="3485" y="58509"/>
                    </a:lnTo>
                    <a:lnTo>
                      <a:pt x="1345" y="57301"/>
                    </a:lnTo>
                    <a:lnTo>
                      <a:pt x="631" y="54667"/>
                    </a:lnTo>
                    <a:lnTo>
                      <a:pt x="0" y="53322"/>
                    </a:lnTo>
                    <a:lnTo>
                      <a:pt x="9220" y="44266"/>
                    </a:lnTo>
                    <a:lnTo>
                      <a:pt x="9056" y="33508"/>
                    </a:lnTo>
                    <a:lnTo>
                      <a:pt x="17262" y="28239"/>
                    </a:lnTo>
                    <a:lnTo>
                      <a:pt x="15999" y="19265"/>
                    </a:lnTo>
                    <a:lnTo>
                      <a:pt x="14819" y="18497"/>
                    </a:lnTo>
                    <a:lnTo>
                      <a:pt x="12047" y="16658"/>
                    </a:lnTo>
                    <a:lnTo>
                      <a:pt x="9523" y="14957"/>
                    </a:lnTo>
                    <a:lnTo>
                      <a:pt x="9770" y="11526"/>
                    </a:lnTo>
                    <a:lnTo>
                      <a:pt x="14737" y="9962"/>
                    </a:lnTo>
                    <a:lnTo>
                      <a:pt x="15505" y="6477"/>
                    </a:lnTo>
                    <a:lnTo>
                      <a:pt x="24561" y="4171"/>
                    </a:lnTo>
                    <a:lnTo>
                      <a:pt x="26922" y="3568"/>
                    </a:lnTo>
                    <a:lnTo>
                      <a:pt x="27882" y="2909"/>
                    </a:lnTo>
                    <a:lnTo>
                      <a:pt x="30160" y="82"/>
                    </a:lnTo>
                    <a:lnTo>
                      <a:pt x="36527" y="0"/>
                    </a:lnTo>
                    <a:lnTo>
                      <a:pt x="39930" y="2909"/>
                    </a:lnTo>
                    <a:lnTo>
                      <a:pt x="42097" y="41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9" name="Freeform: Shape 4148">
                <a:extLst>
                  <a:ext uri="{FF2B5EF4-FFF2-40B4-BE49-F238E27FC236}">
                    <a16:creationId xmlns:a16="http://schemas.microsoft.com/office/drawing/2014/main" id="{A91976C4-5CFD-3AD7-FC51-88CD4ED425D3}"/>
                  </a:ext>
                </a:extLst>
              </p:cNvPr>
              <p:cNvSpPr/>
              <p:nvPr/>
            </p:nvSpPr>
            <p:spPr>
              <a:xfrm>
                <a:off x="1449447" y="3722879"/>
                <a:ext cx="967" cy="584"/>
              </a:xfrm>
              <a:custGeom>
                <a:avLst/>
                <a:gdLst>
                  <a:gd name="connsiteX0" fmla="*/ 9276 w 9276"/>
                  <a:gd name="connsiteY0" fmla="*/ 823 h 5598"/>
                  <a:gd name="connsiteX1" fmla="*/ 8014 w 9276"/>
                  <a:gd name="connsiteY1" fmla="*/ 5241 h 5598"/>
                  <a:gd name="connsiteX2" fmla="*/ 3403 w 9276"/>
                  <a:gd name="connsiteY2" fmla="*/ 4665 h 5598"/>
                  <a:gd name="connsiteX3" fmla="*/ 2333 w 9276"/>
                  <a:gd name="connsiteY3" fmla="*/ 5598 h 5598"/>
                  <a:gd name="connsiteX4" fmla="*/ 0 w 9276"/>
                  <a:gd name="connsiteY4" fmla="*/ 4253 h 5598"/>
                  <a:gd name="connsiteX5" fmla="*/ 878 w 9276"/>
                  <a:gd name="connsiteY5" fmla="*/ 2058 h 5598"/>
                  <a:gd name="connsiteX6" fmla="*/ 6202 w 9276"/>
                  <a:gd name="connsiteY6" fmla="*/ 1345 h 5598"/>
                  <a:gd name="connsiteX7" fmla="*/ 7218 w 9276"/>
                  <a:gd name="connsiteY7" fmla="*/ 0 h 5598"/>
                  <a:gd name="connsiteX8" fmla="*/ 9276 w 9276"/>
                  <a:gd name="connsiteY8" fmla="*/ 796 h 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76" h="5598">
                    <a:moveTo>
                      <a:pt x="9276" y="823"/>
                    </a:moveTo>
                    <a:lnTo>
                      <a:pt x="8014" y="5241"/>
                    </a:lnTo>
                    <a:lnTo>
                      <a:pt x="3403" y="4665"/>
                    </a:lnTo>
                    <a:lnTo>
                      <a:pt x="2333" y="5598"/>
                    </a:lnTo>
                    <a:lnTo>
                      <a:pt x="0" y="4253"/>
                    </a:lnTo>
                    <a:lnTo>
                      <a:pt x="878" y="2058"/>
                    </a:lnTo>
                    <a:lnTo>
                      <a:pt x="6202" y="1345"/>
                    </a:lnTo>
                    <a:lnTo>
                      <a:pt x="7218" y="0"/>
                    </a:lnTo>
                    <a:lnTo>
                      <a:pt x="9276" y="7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0" name="Freeform: Shape 4149">
                <a:extLst>
                  <a:ext uri="{FF2B5EF4-FFF2-40B4-BE49-F238E27FC236}">
                    <a16:creationId xmlns:a16="http://schemas.microsoft.com/office/drawing/2014/main" id="{2406F6DF-7C1E-A95C-C55E-29E93A6FB81E}"/>
                  </a:ext>
                </a:extLst>
              </p:cNvPr>
              <p:cNvSpPr/>
              <p:nvPr/>
            </p:nvSpPr>
            <p:spPr>
              <a:xfrm>
                <a:off x="1444123" y="3709400"/>
                <a:ext cx="985" cy="601"/>
              </a:xfrm>
              <a:custGeom>
                <a:avLst/>
                <a:gdLst>
                  <a:gd name="connsiteX0" fmla="*/ 5104 w 9440"/>
                  <a:gd name="connsiteY0" fmla="*/ 5434 h 5763"/>
                  <a:gd name="connsiteX1" fmla="*/ 2167 w 9440"/>
                  <a:gd name="connsiteY1" fmla="*/ 5763 h 5763"/>
                  <a:gd name="connsiteX2" fmla="*/ 0 w 9440"/>
                  <a:gd name="connsiteY2" fmla="*/ 4473 h 5763"/>
                  <a:gd name="connsiteX3" fmla="*/ 192 w 9440"/>
                  <a:gd name="connsiteY3" fmla="*/ 3348 h 5763"/>
                  <a:gd name="connsiteX4" fmla="*/ 3704 w 9440"/>
                  <a:gd name="connsiteY4" fmla="*/ 1125 h 5763"/>
                  <a:gd name="connsiteX5" fmla="*/ 8178 w 9440"/>
                  <a:gd name="connsiteY5" fmla="*/ 0 h 5763"/>
                  <a:gd name="connsiteX6" fmla="*/ 9440 w 9440"/>
                  <a:gd name="connsiteY6" fmla="*/ 3952 h 5763"/>
                  <a:gd name="connsiteX7" fmla="*/ 5104 w 9440"/>
                  <a:gd name="connsiteY7" fmla="*/ 5461 h 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40" h="5763">
                    <a:moveTo>
                      <a:pt x="5104" y="5434"/>
                    </a:moveTo>
                    <a:lnTo>
                      <a:pt x="2167" y="5763"/>
                    </a:lnTo>
                    <a:lnTo>
                      <a:pt x="0" y="4473"/>
                    </a:lnTo>
                    <a:lnTo>
                      <a:pt x="192" y="3348"/>
                    </a:lnTo>
                    <a:lnTo>
                      <a:pt x="3704" y="1125"/>
                    </a:lnTo>
                    <a:lnTo>
                      <a:pt x="8178" y="0"/>
                    </a:lnTo>
                    <a:lnTo>
                      <a:pt x="9440" y="3952"/>
                    </a:lnTo>
                    <a:lnTo>
                      <a:pt x="5104" y="54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1" name="Freeform: Shape 4150">
                <a:extLst>
                  <a:ext uri="{FF2B5EF4-FFF2-40B4-BE49-F238E27FC236}">
                    <a16:creationId xmlns:a16="http://schemas.microsoft.com/office/drawing/2014/main" id="{0F22BF4B-E6EB-A9E8-3B15-3837F7DF6C12}"/>
                  </a:ext>
                </a:extLst>
              </p:cNvPr>
              <p:cNvSpPr/>
              <p:nvPr/>
            </p:nvSpPr>
            <p:spPr>
              <a:xfrm>
                <a:off x="1449816" y="3707657"/>
                <a:ext cx="612" cy="412"/>
              </a:xfrm>
              <a:custGeom>
                <a:avLst/>
                <a:gdLst>
                  <a:gd name="connsiteX0" fmla="*/ 5873 w 5872"/>
                  <a:gd name="connsiteY0" fmla="*/ 2168 h 3951"/>
                  <a:gd name="connsiteX1" fmla="*/ 1509 w 5872"/>
                  <a:gd name="connsiteY1" fmla="*/ 3952 h 3951"/>
                  <a:gd name="connsiteX2" fmla="*/ 0 w 5872"/>
                  <a:gd name="connsiteY2" fmla="*/ 3046 h 3951"/>
                  <a:gd name="connsiteX3" fmla="*/ 220 w 5872"/>
                  <a:gd name="connsiteY3" fmla="*/ 1427 h 3951"/>
                  <a:gd name="connsiteX4" fmla="*/ 3403 w 5872"/>
                  <a:gd name="connsiteY4" fmla="*/ 0 h 3951"/>
                  <a:gd name="connsiteX5" fmla="*/ 5873 w 5872"/>
                  <a:gd name="connsiteY5" fmla="*/ 2168 h 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2" h="3951">
                    <a:moveTo>
                      <a:pt x="5873" y="2168"/>
                    </a:moveTo>
                    <a:lnTo>
                      <a:pt x="1509" y="3952"/>
                    </a:lnTo>
                    <a:lnTo>
                      <a:pt x="0" y="3046"/>
                    </a:lnTo>
                    <a:lnTo>
                      <a:pt x="220" y="1427"/>
                    </a:lnTo>
                    <a:lnTo>
                      <a:pt x="3403" y="0"/>
                    </a:lnTo>
                    <a:lnTo>
                      <a:pt x="5873"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2" name="Freeform: Shape 4151">
                <a:extLst>
                  <a:ext uri="{FF2B5EF4-FFF2-40B4-BE49-F238E27FC236}">
                    <a16:creationId xmlns:a16="http://schemas.microsoft.com/office/drawing/2014/main" id="{92938F7B-A7DB-5413-9361-032E2F358AA6}"/>
                  </a:ext>
                </a:extLst>
              </p:cNvPr>
              <p:cNvSpPr/>
              <p:nvPr/>
            </p:nvSpPr>
            <p:spPr>
              <a:xfrm>
                <a:off x="1450572" y="3722856"/>
                <a:ext cx="730" cy="232"/>
              </a:xfrm>
              <a:custGeom>
                <a:avLst/>
                <a:gdLst>
                  <a:gd name="connsiteX0" fmla="*/ 6971 w 6998"/>
                  <a:gd name="connsiteY0" fmla="*/ 1784 h 2223"/>
                  <a:gd name="connsiteX1" fmla="*/ 2058 w 6998"/>
                  <a:gd name="connsiteY1" fmla="*/ 2223 h 2223"/>
                  <a:gd name="connsiteX2" fmla="*/ 0 w 6998"/>
                  <a:gd name="connsiteY2" fmla="*/ 1180 h 2223"/>
                  <a:gd name="connsiteX3" fmla="*/ 1674 w 6998"/>
                  <a:gd name="connsiteY3" fmla="*/ 0 h 2223"/>
                  <a:gd name="connsiteX4" fmla="*/ 6834 w 6998"/>
                  <a:gd name="connsiteY4" fmla="*/ 494 h 2223"/>
                  <a:gd name="connsiteX5" fmla="*/ 6998 w 6998"/>
                  <a:gd name="connsiteY5" fmla="*/ 1811 h 2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8" h="2223">
                    <a:moveTo>
                      <a:pt x="6971" y="1784"/>
                    </a:moveTo>
                    <a:lnTo>
                      <a:pt x="2058" y="2223"/>
                    </a:lnTo>
                    <a:lnTo>
                      <a:pt x="0" y="1180"/>
                    </a:lnTo>
                    <a:lnTo>
                      <a:pt x="1674" y="0"/>
                    </a:lnTo>
                    <a:lnTo>
                      <a:pt x="6834" y="494"/>
                    </a:lnTo>
                    <a:lnTo>
                      <a:pt x="6998"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3" name="Freeform: Shape 4152">
                <a:extLst>
                  <a:ext uri="{FF2B5EF4-FFF2-40B4-BE49-F238E27FC236}">
                    <a16:creationId xmlns:a16="http://schemas.microsoft.com/office/drawing/2014/main" id="{876F1215-B6DC-774E-573B-B6B22A4CBC80}"/>
                  </a:ext>
                </a:extLst>
              </p:cNvPr>
              <p:cNvSpPr/>
              <p:nvPr/>
            </p:nvSpPr>
            <p:spPr>
              <a:xfrm>
                <a:off x="1445102" y="3710915"/>
                <a:ext cx="401" cy="429"/>
              </a:xfrm>
              <a:custGeom>
                <a:avLst/>
                <a:gdLst>
                  <a:gd name="connsiteX0" fmla="*/ 3842 w 3841"/>
                  <a:gd name="connsiteY0" fmla="*/ 3458 h 4116"/>
                  <a:gd name="connsiteX1" fmla="*/ 2168 w 3841"/>
                  <a:gd name="connsiteY1" fmla="*/ 4116 h 4116"/>
                  <a:gd name="connsiteX2" fmla="*/ 0 w 3841"/>
                  <a:gd name="connsiteY2" fmla="*/ 1262 h 4116"/>
                  <a:gd name="connsiteX3" fmla="*/ 3320 w 3841"/>
                  <a:gd name="connsiteY3" fmla="*/ 0 h 4116"/>
                  <a:gd name="connsiteX4" fmla="*/ 3842 w 3841"/>
                  <a:gd name="connsiteY4" fmla="*/ 3430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1" h="4116">
                    <a:moveTo>
                      <a:pt x="3842" y="3458"/>
                    </a:moveTo>
                    <a:lnTo>
                      <a:pt x="2168" y="4116"/>
                    </a:lnTo>
                    <a:lnTo>
                      <a:pt x="0" y="1262"/>
                    </a:lnTo>
                    <a:lnTo>
                      <a:pt x="3320" y="0"/>
                    </a:lnTo>
                    <a:lnTo>
                      <a:pt x="3842" y="34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4" name="Freeform: Shape 4153">
                <a:extLst>
                  <a:ext uri="{FF2B5EF4-FFF2-40B4-BE49-F238E27FC236}">
                    <a16:creationId xmlns:a16="http://schemas.microsoft.com/office/drawing/2014/main" id="{0A6A2168-FE03-55C5-83AA-D46EEA525806}"/>
                  </a:ext>
                </a:extLst>
              </p:cNvPr>
              <p:cNvSpPr/>
              <p:nvPr/>
            </p:nvSpPr>
            <p:spPr>
              <a:xfrm>
                <a:off x="1451061" y="3723606"/>
                <a:ext cx="489" cy="298"/>
              </a:xfrm>
              <a:custGeom>
                <a:avLst/>
                <a:gdLst>
                  <a:gd name="connsiteX0" fmla="*/ 4665 w 4692"/>
                  <a:gd name="connsiteY0" fmla="*/ 1372 h 2854"/>
                  <a:gd name="connsiteX1" fmla="*/ 1152 w 4692"/>
                  <a:gd name="connsiteY1" fmla="*/ 2854 h 2854"/>
                  <a:gd name="connsiteX2" fmla="*/ 0 w 4692"/>
                  <a:gd name="connsiteY2" fmla="*/ 55 h 2854"/>
                  <a:gd name="connsiteX3" fmla="*/ 4281 w 4692"/>
                  <a:gd name="connsiteY3" fmla="*/ 0 h 2854"/>
                  <a:gd name="connsiteX4" fmla="*/ 4693 w 4692"/>
                  <a:gd name="connsiteY4" fmla="*/ 1372 h 2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2854">
                    <a:moveTo>
                      <a:pt x="4665" y="1372"/>
                    </a:moveTo>
                    <a:lnTo>
                      <a:pt x="1152" y="2854"/>
                    </a:lnTo>
                    <a:lnTo>
                      <a:pt x="0" y="55"/>
                    </a:lnTo>
                    <a:lnTo>
                      <a:pt x="4281" y="0"/>
                    </a:lnTo>
                    <a:lnTo>
                      <a:pt x="4693" y="13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5" name="Freeform: Shape 4154">
                <a:extLst>
                  <a:ext uri="{FF2B5EF4-FFF2-40B4-BE49-F238E27FC236}">
                    <a16:creationId xmlns:a16="http://schemas.microsoft.com/office/drawing/2014/main" id="{BC71E7A1-6EA4-3814-F681-C53B005E9541}"/>
                  </a:ext>
                </a:extLst>
              </p:cNvPr>
              <p:cNvSpPr/>
              <p:nvPr/>
            </p:nvSpPr>
            <p:spPr>
              <a:xfrm>
                <a:off x="1446922" y="3712692"/>
                <a:ext cx="326" cy="452"/>
              </a:xfrm>
              <a:custGeom>
                <a:avLst/>
                <a:gdLst>
                  <a:gd name="connsiteX0" fmla="*/ 2580 w 3128"/>
                  <a:gd name="connsiteY0" fmla="*/ 4336 h 4336"/>
                  <a:gd name="connsiteX1" fmla="*/ 1098 w 3128"/>
                  <a:gd name="connsiteY1" fmla="*/ 4336 h 4336"/>
                  <a:gd name="connsiteX2" fmla="*/ 0 w 3128"/>
                  <a:gd name="connsiteY2" fmla="*/ 1537 h 4336"/>
                  <a:gd name="connsiteX3" fmla="*/ 1757 w 3128"/>
                  <a:gd name="connsiteY3" fmla="*/ 0 h 4336"/>
                  <a:gd name="connsiteX4" fmla="*/ 3129 w 3128"/>
                  <a:gd name="connsiteY4" fmla="*/ 906 h 4336"/>
                  <a:gd name="connsiteX5" fmla="*/ 2580 w 3128"/>
                  <a:gd name="connsiteY5" fmla="*/ 4309 h 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4336">
                    <a:moveTo>
                      <a:pt x="2580" y="4336"/>
                    </a:moveTo>
                    <a:lnTo>
                      <a:pt x="1098" y="4336"/>
                    </a:lnTo>
                    <a:lnTo>
                      <a:pt x="0" y="1537"/>
                    </a:lnTo>
                    <a:lnTo>
                      <a:pt x="1757" y="0"/>
                    </a:lnTo>
                    <a:lnTo>
                      <a:pt x="3129" y="906"/>
                    </a:lnTo>
                    <a:lnTo>
                      <a:pt x="2580" y="43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6" name="Freeform: Shape 4155">
                <a:extLst>
                  <a:ext uri="{FF2B5EF4-FFF2-40B4-BE49-F238E27FC236}">
                    <a16:creationId xmlns:a16="http://schemas.microsoft.com/office/drawing/2014/main" id="{A77FFA28-A469-769C-6F6A-D068A9751411}"/>
                  </a:ext>
                </a:extLst>
              </p:cNvPr>
              <p:cNvSpPr/>
              <p:nvPr/>
            </p:nvSpPr>
            <p:spPr>
              <a:xfrm>
                <a:off x="1449913" y="3708204"/>
                <a:ext cx="352" cy="415"/>
              </a:xfrm>
              <a:custGeom>
                <a:avLst/>
                <a:gdLst>
                  <a:gd name="connsiteX0" fmla="*/ 3375 w 3375"/>
                  <a:gd name="connsiteY0" fmla="*/ 1921 h 3979"/>
                  <a:gd name="connsiteX1" fmla="*/ 1921 w 3375"/>
                  <a:gd name="connsiteY1" fmla="*/ 3979 h 3979"/>
                  <a:gd name="connsiteX2" fmla="*/ 0 w 3375"/>
                  <a:gd name="connsiteY2" fmla="*/ 3595 h 3979"/>
                  <a:gd name="connsiteX3" fmla="*/ 329 w 3375"/>
                  <a:gd name="connsiteY3" fmla="*/ 714 h 3979"/>
                  <a:gd name="connsiteX4" fmla="*/ 2442 w 3375"/>
                  <a:gd name="connsiteY4" fmla="*/ 0 h 3979"/>
                  <a:gd name="connsiteX5" fmla="*/ 3375 w 3375"/>
                  <a:gd name="connsiteY5" fmla="*/ 1893 h 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5" h="3979">
                    <a:moveTo>
                      <a:pt x="3375" y="1921"/>
                    </a:moveTo>
                    <a:lnTo>
                      <a:pt x="1921" y="3979"/>
                    </a:lnTo>
                    <a:lnTo>
                      <a:pt x="0" y="3595"/>
                    </a:lnTo>
                    <a:lnTo>
                      <a:pt x="329" y="714"/>
                    </a:lnTo>
                    <a:lnTo>
                      <a:pt x="2442" y="0"/>
                    </a:lnTo>
                    <a:lnTo>
                      <a:pt x="3375" y="1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7" name="Freeform: Shape 4156">
                <a:extLst>
                  <a:ext uri="{FF2B5EF4-FFF2-40B4-BE49-F238E27FC236}">
                    <a16:creationId xmlns:a16="http://schemas.microsoft.com/office/drawing/2014/main" id="{086A10C1-5617-EC09-5268-D33C3B5B6407}"/>
                  </a:ext>
                </a:extLst>
              </p:cNvPr>
              <p:cNvSpPr/>
              <p:nvPr/>
            </p:nvSpPr>
            <p:spPr>
              <a:xfrm>
                <a:off x="1447180" y="3716093"/>
                <a:ext cx="315" cy="384"/>
              </a:xfrm>
              <a:custGeom>
                <a:avLst/>
                <a:gdLst>
                  <a:gd name="connsiteX0" fmla="*/ 3018 w 3018"/>
                  <a:gd name="connsiteY0" fmla="*/ 3403 h 3677"/>
                  <a:gd name="connsiteX1" fmla="*/ 110 w 3018"/>
                  <a:gd name="connsiteY1" fmla="*/ 3678 h 3677"/>
                  <a:gd name="connsiteX2" fmla="*/ 0 w 3018"/>
                  <a:gd name="connsiteY2" fmla="*/ 686 h 3677"/>
                  <a:gd name="connsiteX3" fmla="*/ 2607 w 3018"/>
                  <a:gd name="connsiteY3" fmla="*/ 0 h 3677"/>
                  <a:gd name="connsiteX4" fmla="*/ 3018 w 3018"/>
                  <a:gd name="connsiteY4" fmla="*/ 3403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 h="3677">
                    <a:moveTo>
                      <a:pt x="3018" y="3403"/>
                    </a:moveTo>
                    <a:lnTo>
                      <a:pt x="110" y="3678"/>
                    </a:lnTo>
                    <a:lnTo>
                      <a:pt x="0" y="686"/>
                    </a:lnTo>
                    <a:lnTo>
                      <a:pt x="2607" y="0"/>
                    </a:lnTo>
                    <a:lnTo>
                      <a:pt x="3018"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8" name="Freeform: Shape 4157">
                <a:extLst>
                  <a:ext uri="{FF2B5EF4-FFF2-40B4-BE49-F238E27FC236}">
                    <a16:creationId xmlns:a16="http://schemas.microsoft.com/office/drawing/2014/main" id="{77F409EF-6573-D813-D0A8-36EB6FBF53EC}"/>
                  </a:ext>
                </a:extLst>
              </p:cNvPr>
              <p:cNvSpPr/>
              <p:nvPr/>
            </p:nvSpPr>
            <p:spPr>
              <a:xfrm>
                <a:off x="1175344" y="3811002"/>
                <a:ext cx="3191" cy="2588"/>
              </a:xfrm>
              <a:custGeom>
                <a:avLst/>
                <a:gdLst>
                  <a:gd name="connsiteX0" fmla="*/ 30572 w 30598"/>
                  <a:gd name="connsiteY0" fmla="*/ 247 h 24808"/>
                  <a:gd name="connsiteX1" fmla="*/ 26977 w 30598"/>
                  <a:gd name="connsiteY1" fmla="*/ 5571 h 24808"/>
                  <a:gd name="connsiteX2" fmla="*/ 27608 w 30598"/>
                  <a:gd name="connsiteY2" fmla="*/ 9385 h 24808"/>
                  <a:gd name="connsiteX3" fmla="*/ 26839 w 30598"/>
                  <a:gd name="connsiteY3" fmla="*/ 9934 h 24808"/>
                  <a:gd name="connsiteX4" fmla="*/ 27882 w 30598"/>
                  <a:gd name="connsiteY4" fmla="*/ 14435 h 24808"/>
                  <a:gd name="connsiteX5" fmla="*/ 28239 w 30598"/>
                  <a:gd name="connsiteY5" fmla="*/ 20994 h 24808"/>
                  <a:gd name="connsiteX6" fmla="*/ 23272 w 30598"/>
                  <a:gd name="connsiteY6" fmla="*/ 22860 h 24808"/>
                  <a:gd name="connsiteX7" fmla="*/ 11197 w 30598"/>
                  <a:gd name="connsiteY7" fmla="*/ 22915 h 24808"/>
                  <a:gd name="connsiteX8" fmla="*/ 9605 w 30598"/>
                  <a:gd name="connsiteY8" fmla="*/ 23436 h 24808"/>
                  <a:gd name="connsiteX9" fmla="*/ 7684 w 30598"/>
                  <a:gd name="connsiteY9" fmla="*/ 22586 h 24808"/>
                  <a:gd name="connsiteX10" fmla="*/ 4364 w 30598"/>
                  <a:gd name="connsiteY10" fmla="*/ 22448 h 24808"/>
                  <a:gd name="connsiteX11" fmla="*/ 1235 w 30598"/>
                  <a:gd name="connsiteY11" fmla="*/ 24808 h 24808"/>
                  <a:gd name="connsiteX12" fmla="*/ 0 w 30598"/>
                  <a:gd name="connsiteY12" fmla="*/ 23409 h 24808"/>
                  <a:gd name="connsiteX13" fmla="*/ 741 w 30598"/>
                  <a:gd name="connsiteY13" fmla="*/ 21735 h 24808"/>
                  <a:gd name="connsiteX14" fmla="*/ 3540 w 30598"/>
                  <a:gd name="connsiteY14" fmla="*/ 21735 h 24808"/>
                  <a:gd name="connsiteX15" fmla="*/ 6669 w 30598"/>
                  <a:gd name="connsiteY15" fmla="*/ 20500 h 24808"/>
                  <a:gd name="connsiteX16" fmla="*/ 9907 w 30598"/>
                  <a:gd name="connsiteY16" fmla="*/ 17673 h 24808"/>
                  <a:gd name="connsiteX17" fmla="*/ 12404 w 30598"/>
                  <a:gd name="connsiteY17" fmla="*/ 18195 h 24808"/>
                  <a:gd name="connsiteX18" fmla="*/ 14572 w 30598"/>
                  <a:gd name="connsiteY18" fmla="*/ 16219 h 24808"/>
                  <a:gd name="connsiteX19" fmla="*/ 13447 w 30598"/>
                  <a:gd name="connsiteY19" fmla="*/ 12541 h 24808"/>
                  <a:gd name="connsiteX20" fmla="*/ 14408 w 30598"/>
                  <a:gd name="connsiteY20" fmla="*/ 8919 h 24808"/>
                  <a:gd name="connsiteX21" fmla="*/ 13392 w 30598"/>
                  <a:gd name="connsiteY21" fmla="*/ 6065 h 24808"/>
                  <a:gd name="connsiteX22" fmla="*/ 9001 w 30598"/>
                  <a:gd name="connsiteY22" fmla="*/ 3952 h 24808"/>
                  <a:gd name="connsiteX23" fmla="*/ 10099 w 30598"/>
                  <a:gd name="connsiteY23" fmla="*/ 2881 h 24808"/>
                  <a:gd name="connsiteX24" fmla="*/ 15423 w 30598"/>
                  <a:gd name="connsiteY24" fmla="*/ 2442 h 24808"/>
                  <a:gd name="connsiteX25" fmla="*/ 17454 w 30598"/>
                  <a:gd name="connsiteY25" fmla="*/ 905 h 24808"/>
                  <a:gd name="connsiteX26" fmla="*/ 20171 w 30598"/>
                  <a:gd name="connsiteY26" fmla="*/ 1427 h 24808"/>
                  <a:gd name="connsiteX27" fmla="*/ 27745 w 30598"/>
                  <a:gd name="connsiteY27" fmla="*/ 0 h 24808"/>
                  <a:gd name="connsiteX28" fmla="*/ 30599 w 30598"/>
                  <a:gd name="connsiteY28" fmla="*/ 274 h 2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598" h="24808">
                    <a:moveTo>
                      <a:pt x="30572" y="247"/>
                    </a:moveTo>
                    <a:lnTo>
                      <a:pt x="26977" y="5571"/>
                    </a:lnTo>
                    <a:lnTo>
                      <a:pt x="27608" y="9385"/>
                    </a:lnTo>
                    <a:lnTo>
                      <a:pt x="26839" y="9934"/>
                    </a:lnTo>
                    <a:lnTo>
                      <a:pt x="27882" y="14435"/>
                    </a:lnTo>
                    <a:lnTo>
                      <a:pt x="28239" y="20994"/>
                    </a:lnTo>
                    <a:lnTo>
                      <a:pt x="23272" y="22860"/>
                    </a:lnTo>
                    <a:lnTo>
                      <a:pt x="11197" y="22915"/>
                    </a:lnTo>
                    <a:lnTo>
                      <a:pt x="9605" y="23436"/>
                    </a:lnTo>
                    <a:lnTo>
                      <a:pt x="7684" y="22586"/>
                    </a:lnTo>
                    <a:lnTo>
                      <a:pt x="4364" y="22448"/>
                    </a:lnTo>
                    <a:lnTo>
                      <a:pt x="1235" y="24808"/>
                    </a:lnTo>
                    <a:lnTo>
                      <a:pt x="0" y="23409"/>
                    </a:lnTo>
                    <a:lnTo>
                      <a:pt x="741" y="21735"/>
                    </a:lnTo>
                    <a:lnTo>
                      <a:pt x="3540" y="21735"/>
                    </a:lnTo>
                    <a:lnTo>
                      <a:pt x="6669" y="20500"/>
                    </a:lnTo>
                    <a:lnTo>
                      <a:pt x="9907" y="17673"/>
                    </a:lnTo>
                    <a:lnTo>
                      <a:pt x="12404" y="18195"/>
                    </a:lnTo>
                    <a:lnTo>
                      <a:pt x="14572" y="16219"/>
                    </a:lnTo>
                    <a:lnTo>
                      <a:pt x="13447" y="12541"/>
                    </a:lnTo>
                    <a:lnTo>
                      <a:pt x="14408" y="8919"/>
                    </a:lnTo>
                    <a:lnTo>
                      <a:pt x="13392" y="6065"/>
                    </a:lnTo>
                    <a:lnTo>
                      <a:pt x="9001" y="3952"/>
                    </a:lnTo>
                    <a:lnTo>
                      <a:pt x="10099" y="2881"/>
                    </a:lnTo>
                    <a:lnTo>
                      <a:pt x="15423" y="2442"/>
                    </a:lnTo>
                    <a:lnTo>
                      <a:pt x="17454" y="905"/>
                    </a:lnTo>
                    <a:lnTo>
                      <a:pt x="20171" y="1427"/>
                    </a:lnTo>
                    <a:lnTo>
                      <a:pt x="27745" y="0"/>
                    </a:lnTo>
                    <a:lnTo>
                      <a:pt x="30599" y="2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9" name="Freeform: Shape 4158">
                <a:extLst>
                  <a:ext uri="{FF2B5EF4-FFF2-40B4-BE49-F238E27FC236}">
                    <a16:creationId xmlns:a16="http://schemas.microsoft.com/office/drawing/2014/main" id="{4D5B4A27-7273-1011-5FA6-F7F9C2E3A165}"/>
                  </a:ext>
                </a:extLst>
              </p:cNvPr>
              <p:cNvSpPr/>
              <p:nvPr/>
            </p:nvSpPr>
            <p:spPr>
              <a:xfrm>
                <a:off x="1178902" y="3809462"/>
                <a:ext cx="927" cy="512"/>
              </a:xfrm>
              <a:custGeom>
                <a:avLst/>
                <a:gdLst>
                  <a:gd name="connsiteX0" fmla="*/ 4473 w 8891"/>
                  <a:gd name="connsiteY0" fmla="*/ 4281 h 4912"/>
                  <a:gd name="connsiteX1" fmla="*/ 604 w 8891"/>
                  <a:gd name="connsiteY1" fmla="*/ 4912 h 4912"/>
                  <a:gd name="connsiteX2" fmla="*/ 0 w 8891"/>
                  <a:gd name="connsiteY2" fmla="*/ 4336 h 4912"/>
                  <a:gd name="connsiteX3" fmla="*/ 1317 w 8891"/>
                  <a:gd name="connsiteY3" fmla="*/ 2525 h 4912"/>
                  <a:gd name="connsiteX4" fmla="*/ 5434 w 8891"/>
                  <a:gd name="connsiteY4" fmla="*/ 247 h 4912"/>
                  <a:gd name="connsiteX5" fmla="*/ 7904 w 8891"/>
                  <a:gd name="connsiteY5" fmla="*/ 0 h 4912"/>
                  <a:gd name="connsiteX6" fmla="*/ 8891 w 8891"/>
                  <a:gd name="connsiteY6" fmla="*/ 1098 h 4912"/>
                  <a:gd name="connsiteX7" fmla="*/ 4501 w 8891"/>
                  <a:gd name="connsiteY7" fmla="*/ 4226 h 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91" h="4912">
                    <a:moveTo>
                      <a:pt x="4473" y="4281"/>
                    </a:moveTo>
                    <a:lnTo>
                      <a:pt x="604" y="4912"/>
                    </a:lnTo>
                    <a:lnTo>
                      <a:pt x="0" y="4336"/>
                    </a:lnTo>
                    <a:lnTo>
                      <a:pt x="1317" y="2525"/>
                    </a:lnTo>
                    <a:lnTo>
                      <a:pt x="5434" y="247"/>
                    </a:lnTo>
                    <a:lnTo>
                      <a:pt x="7904" y="0"/>
                    </a:lnTo>
                    <a:lnTo>
                      <a:pt x="8891" y="1098"/>
                    </a:lnTo>
                    <a:lnTo>
                      <a:pt x="4501"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0" name="Freeform: Shape 4159">
                <a:extLst>
                  <a:ext uri="{FF2B5EF4-FFF2-40B4-BE49-F238E27FC236}">
                    <a16:creationId xmlns:a16="http://schemas.microsoft.com/office/drawing/2014/main" id="{DC8E823C-76FF-858F-FE21-E6A53A1A5FB0}"/>
                  </a:ext>
                </a:extLst>
              </p:cNvPr>
              <p:cNvSpPr/>
              <p:nvPr/>
            </p:nvSpPr>
            <p:spPr>
              <a:xfrm>
                <a:off x="1455446" y="3847519"/>
                <a:ext cx="33870" cy="33143"/>
              </a:xfrm>
              <a:custGeom>
                <a:avLst/>
                <a:gdLst>
                  <a:gd name="connsiteX0" fmla="*/ 250719 w 324732"/>
                  <a:gd name="connsiteY0" fmla="*/ 80792 h 317762"/>
                  <a:gd name="connsiteX1" fmla="*/ 289661 w 324732"/>
                  <a:gd name="connsiteY1" fmla="*/ 108153 h 317762"/>
                  <a:gd name="connsiteX2" fmla="*/ 289661 w 324732"/>
                  <a:gd name="connsiteY2" fmla="*/ 108455 h 317762"/>
                  <a:gd name="connsiteX3" fmla="*/ 287520 w 324732"/>
                  <a:gd name="connsiteY3" fmla="*/ 121627 h 317762"/>
                  <a:gd name="connsiteX4" fmla="*/ 279096 w 324732"/>
                  <a:gd name="connsiteY4" fmla="*/ 141853 h 317762"/>
                  <a:gd name="connsiteX5" fmla="*/ 277778 w 324732"/>
                  <a:gd name="connsiteY5" fmla="*/ 149125 h 317762"/>
                  <a:gd name="connsiteX6" fmla="*/ 280358 w 324732"/>
                  <a:gd name="connsiteY6" fmla="*/ 158895 h 317762"/>
                  <a:gd name="connsiteX7" fmla="*/ 297565 w 324732"/>
                  <a:gd name="connsiteY7" fmla="*/ 174098 h 317762"/>
                  <a:gd name="connsiteX8" fmla="*/ 299183 w 324732"/>
                  <a:gd name="connsiteY8" fmla="*/ 177858 h 317762"/>
                  <a:gd name="connsiteX9" fmla="*/ 292076 w 324732"/>
                  <a:gd name="connsiteY9" fmla="*/ 194049 h 317762"/>
                  <a:gd name="connsiteX10" fmla="*/ 291829 w 324732"/>
                  <a:gd name="connsiteY10" fmla="*/ 201047 h 317762"/>
                  <a:gd name="connsiteX11" fmla="*/ 294875 w 324732"/>
                  <a:gd name="connsiteY11" fmla="*/ 204944 h 317762"/>
                  <a:gd name="connsiteX12" fmla="*/ 295369 w 324732"/>
                  <a:gd name="connsiteY12" fmla="*/ 209088 h 317762"/>
                  <a:gd name="connsiteX13" fmla="*/ 291253 w 324732"/>
                  <a:gd name="connsiteY13" fmla="*/ 217046 h 317762"/>
                  <a:gd name="connsiteX14" fmla="*/ 297565 w 324732"/>
                  <a:gd name="connsiteY14" fmla="*/ 231811 h 317762"/>
                  <a:gd name="connsiteX15" fmla="*/ 295698 w 324732"/>
                  <a:gd name="connsiteY15" fmla="*/ 234884 h 317762"/>
                  <a:gd name="connsiteX16" fmla="*/ 298690 w 324732"/>
                  <a:gd name="connsiteY16" fmla="*/ 239522 h 317762"/>
                  <a:gd name="connsiteX17" fmla="*/ 300501 w 324732"/>
                  <a:gd name="connsiteY17" fmla="*/ 238233 h 317762"/>
                  <a:gd name="connsiteX18" fmla="*/ 301626 w 324732"/>
                  <a:gd name="connsiteY18" fmla="*/ 239550 h 317762"/>
                  <a:gd name="connsiteX19" fmla="*/ 302422 w 324732"/>
                  <a:gd name="connsiteY19" fmla="*/ 245450 h 317762"/>
                  <a:gd name="connsiteX20" fmla="*/ 300638 w 324732"/>
                  <a:gd name="connsiteY20" fmla="*/ 249210 h 317762"/>
                  <a:gd name="connsiteX21" fmla="*/ 304316 w 324732"/>
                  <a:gd name="connsiteY21" fmla="*/ 253628 h 317762"/>
                  <a:gd name="connsiteX22" fmla="*/ 306730 w 324732"/>
                  <a:gd name="connsiteY22" fmla="*/ 261449 h 317762"/>
                  <a:gd name="connsiteX23" fmla="*/ 306127 w 324732"/>
                  <a:gd name="connsiteY23" fmla="*/ 265758 h 317762"/>
                  <a:gd name="connsiteX24" fmla="*/ 321824 w 324732"/>
                  <a:gd name="connsiteY24" fmla="*/ 274896 h 317762"/>
                  <a:gd name="connsiteX25" fmla="*/ 324733 w 324732"/>
                  <a:gd name="connsiteY25" fmla="*/ 277860 h 317762"/>
                  <a:gd name="connsiteX26" fmla="*/ 324733 w 324732"/>
                  <a:gd name="connsiteY26" fmla="*/ 281565 h 317762"/>
                  <a:gd name="connsiteX27" fmla="*/ 313070 w 324732"/>
                  <a:gd name="connsiteY27" fmla="*/ 290347 h 317762"/>
                  <a:gd name="connsiteX28" fmla="*/ 299458 w 324732"/>
                  <a:gd name="connsiteY28" fmla="*/ 295671 h 317762"/>
                  <a:gd name="connsiteX29" fmla="*/ 290896 w 324732"/>
                  <a:gd name="connsiteY29" fmla="*/ 300995 h 317762"/>
                  <a:gd name="connsiteX30" fmla="*/ 280385 w 324732"/>
                  <a:gd name="connsiteY30" fmla="*/ 301626 h 317762"/>
                  <a:gd name="connsiteX31" fmla="*/ 268283 w 324732"/>
                  <a:gd name="connsiteY31" fmla="*/ 308349 h 317762"/>
                  <a:gd name="connsiteX32" fmla="*/ 260653 w 324732"/>
                  <a:gd name="connsiteY32" fmla="*/ 304617 h 317762"/>
                  <a:gd name="connsiteX33" fmla="*/ 252475 w 324732"/>
                  <a:gd name="connsiteY33" fmla="*/ 304288 h 317762"/>
                  <a:gd name="connsiteX34" fmla="*/ 249512 w 324732"/>
                  <a:gd name="connsiteY34" fmla="*/ 305879 h 317762"/>
                  <a:gd name="connsiteX35" fmla="*/ 247454 w 324732"/>
                  <a:gd name="connsiteY35" fmla="*/ 311643 h 317762"/>
                  <a:gd name="connsiteX36" fmla="*/ 244106 w 324732"/>
                  <a:gd name="connsiteY36" fmla="*/ 313975 h 317762"/>
                  <a:gd name="connsiteX37" fmla="*/ 236915 w 324732"/>
                  <a:gd name="connsiteY37" fmla="*/ 316308 h 317762"/>
                  <a:gd name="connsiteX38" fmla="*/ 229643 w 324732"/>
                  <a:gd name="connsiteY38" fmla="*/ 315210 h 317762"/>
                  <a:gd name="connsiteX39" fmla="*/ 220121 w 324732"/>
                  <a:gd name="connsiteY39" fmla="*/ 313701 h 317762"/>
                  <a:gd name="connsiteX40" fmla="*/ 214248 w 324732"/>
                  <a:gd name="connsiteY40" fmla="*/ 317762 h 317762"/>
                  <a:gd name="connsiteX41" fmla="*/ 203188 w 324732"/>
                  <a:gd name="connsiteY41" fmla="*/ 317570 h 317762"/>
                  <a:gd name="connsiteX42" fmla="*/ 200115 w 324732"/>
                  <a:gd name="connsiteY42" fmla="*/ 313069 h 317762"/>
                  <a:gd name="connsiteX43" fmla="*/ 190894 w 324732"/>
                  <a:gd name="connsiteY43" fmla="*/ 309035 h 317762"/>
                  <a:gd name="connsiteX44" fmla="*/ 182167 w 324732"/>
                  <a:gd name="connsiteY44" fmla="*/ 313317 h 317762"/>
                  <a:gd name="connsiteX45" fmla="*/ 164933 w 324732"/>
                  <a:gd name="connsiteY45" fmla="*/ 313426 h 317762"/>
                  <a:gd name="connsiteX46" fmla="*/ 163094 w 324732"/>
                  <a:gd name="connsiteY46" fmla="*/ 307883 h 317762"/>
                  <a:gd name="connsiteX47" fmla="*/ 155382 w 324732"/>
                  <a:gd name="connsiteY47" fmla="*/ 298278 h 317762"/>
                  <a:gd name="connsiteX48" fmla="*/ 155575 w 324732"/>
                  <a:gd name="connsiteY48" fmla="*/ 289798 h 317762"/>
                  <a:gd name="connsiteX49" fmla="*/ 151980 w 324732"/>
                  <a:gd name="connsiteY49" fmla="*/ 268118 h 317762"/>
                  <a:gd name="connsiteX50" fmla="*/ 144598 w 324732"/>
                  <a:gd name="connsiteY50" fmla="*/ 257745 h 317762"/>
                  <a:gd name="connsiteX51" fmla="*/ 137928 w 324732"/>
                  <a:gd name="connsiteY51" fmla="*/ 252256 h 317762"/>
                  <a:gd name="connsiteX52" fmla="*/ 134087 w 324732"/>
                  <a:gd name="connsiteY52" fmla="*/ 257086 h 317762"/>
                  <a:gd name="connsiteX53" fmla="*/ 129723 w 324732"/>
                  <a:gd name="connsiteY53" fmla="*/ 254644 h 317762"/>
                  <a:gd name="connsiteX54" fmla="*/ 121408 w 324732"/>
                  <a:gd name="connsiteY54" fmla="*/ 254644 h 317762"/>
                  <a:gd name="connsiteX55" fmla="*/ 105958 w 324732"/>
                  <a:gd name="connsiteY55" fmla="*/ 248496 h 317762"/>
                  <a:gd name="connsiteX56" fmla="*/ 94102 w 324732"/>
                  <a:gd name="connsiteY56" fmla="*/ 243886 h 317762"/>
                  <a:gd name="connsiteX57" fmla="*/ 90425 w 324732"/>
                  <a:gd name="connsiteY57" fmla="*/ 240428 h 317762"/>
                  <a:gd name="connsiteX58" fmla="*/ 85293 w 324732"/>
                  <a:gd name="connsiteY58" fmla="*/ 240345 h 317762"/>
                  <a:gd name="connsiteX59" fmla="*/ 77856 w 324732"/>
                  <a:gd name="connsiteY59" fmla="*/ 238233 h 317762"/>
                  <a:gd name="connsiteX60" fmla="*/ 74563 w 324732"/>
                  <a:gd name="connsiteY60" fmla="*/ 234034 h 317762"/>
                  <a:gd name="connsiteX61" fmla="*/ 67620 w 324732"/>
                  <a:gd name="connsiteY61" fmla="*/ 233101 h 317762"/>
                  <a:gd name="connsiteX62" fmla="*/ 64573 w 324732"/>
                  <a:gd name="connsiteY62" fmla="*/ 227694 h 317762"/>
                  <a:gd name="connsiteX63" fmla="*/ 59634 w 324732"/>
                  <a:gd name="connsiteY63" fmla="*/ 224923 h 317762"/>
                  <a:gd name="connsiteX64" fmla="*/ 49727 w 324732"/>
                  <a:gd name="connsiteY64" fmla="*/ 224319 h 317762"/>
                  <a:gd name="connsiteX65" fmla="*/ 41768 w 324732"/>
                  <a:gd name="connsiteY65" fmla="*/ 212491 h 317762"/>
                  <a:gd name="connsiteX66" fmla="*/ 32548 w 324732"/>
                  <a:gd name="connsiteY66" fmla="*/ 193940 h 317762"/>
                  <a:gd name="connsiteX67" fmla="*/ 28349 w 324732"/>
                  <a:gd name="connsiteY67" fmla="*/ 181590 h 317762"/>
                  <a:gd name="connsiteX68" fmla="*/ 21296 w 324732"/>
                  <a:gd name="connsiteY68" fmla="*/ 172836 h 317762"/>
                  <a:gd name="connsiteX69" fmla="*/ 11252 w 324732"/>
                  <a:gd name="connsiteY69" fmla="*/ 165948 h 317762"/>
                  <a:gd name="connsiteX70" fmla="*/ 5489 w 324732"/>
                  <a:gd name="connsiteY70" fmla="*/ 154641 h 317762"/>
                  <a:gd name="connsiteX71" fmla="*/ 4556 w 324732"/>
                  <a:gd name="connsiteY71" fmla="*/ 146655 h 317762"/>
                  <a:gd name="connsiteX72" fmla="*/ 7959 w 324732"/>
                  <a:gd name="connsiteY72" fmla="*/ 139218 h 317762"/>
                  <a:gd name="connsiteX73" fmla="*/ 0 w 324732"/>
                  <a:gd name="connsiteY73" fmla="*/ 115700 h 317762"/>
                  <a:gd name="connsiteX74" fmla="*/ 2141 w 324732"/>
                  <a:gd name="connsiteY74" fmla="*/ 101621 h 317762"/>
                  <a:gd name="connsiteX75" fmla="*/ 11691 w 324732"/>
                  <a:gd name="connsiteY75" fmla="*/ 101676 h 317762"/>
                  <a:gd name="connsiteX76" fmla="*/ 19512 w 324732"/>
                  <a:gd name="connsiteY76" fmla="*/ 96983 h 317762"/>
                  <a:gd name="connsiteX77" fmla="*/ 30380 w 324732"/>
                  <a:gd name="connsiteY77" fmla="*/ 81231 h 317762"/>
                  <a:gd name="connsiteX78" fmla="*/ 32712 w 324732"/>
                  <a:gd name="connsiteY78" fmla="*/ 75331 h 317762"/>
                  <a:gd name="connsiteX79" fmla="*/ 43305 w 324732"/>
                  <a:gd name="connsiteY79" fmla="*/ 66138 h 317762"/>
                  <a:gd name="connsiteX80" fmla="*/ 42646 w 324732"/>
                  <a:gd name="connsiteY80" fmla="*/ 59249 h 317762"/>
                  <a:gd name="connsiteX81" fmla="*/ 33399 w 324732"/>
                  <a:gd name="connsiteY81" fmla="*/ 56889 h 317762"/>
                  <a:gd name="connsiteX82" fmla="*/ 31532 w 324732"/>
                  <a:gd name="connsiteY82" fmla="*/ 54804 h 317762"/>
                  <a:gd name="connsiteX83" fmla="*/ 32603 w 324732"/>
                  <a:gd name="connsiteY83" fmla="*/ 51785 h 317762"/>
                  <a:gd name="connsiteX84" fmla="*/ 33151 w 324732"/>
                  <a:gd name="connsiteY84" fmla="*/ 50303 h 317762"/>
                  <a:gd name="connsiteX85" fmla="*/ 32109 w 324732"/>
                  <a:gd name="connsiteY85" fmla="*/ 48300 h 317762"/>
                  <a:gd name="connsiteX86" fmla="*/ 35127 w 324732"/>
                  <a:gd name="connsiteY86" fmla="*/ 41686 h 317762"/>
                  <a:gd name="connsiteX87" fmla="*/ 42729 w 324732"/>
                  <a:gd name="connsiteY87" fmla="*/ 39655 h 317762"/>
                  <a:gd name="connsiteX88" fmla="*/ 44897 w 324732"/>
                  <a:gd name="connsiteY88" fmla="*/ 32849 h 317762"/>
                  <a:gd name="connsiteX89" fmla="*/ 43140 w 324732"/>
                  <a:gd name="connsiteY89" fmla="*/ 18908 h 317762"/>
                  <a:gd name="connsiteX90" fmla="*/ 39216 w 324732"/>
                  <a:gd name="connsiteY90" fmla="*/ 12734 h 317762"/>
                  <a:gd name="connsiteX91" fmla="*/ 33014 w 324732"/>
                  <a:gd name="connsiteY91" fmla="*/ 3650 h 317762"/>
                  <a:gd name="connsiteX92" fmla="*/ 33069 w 324732"/>
                  <a:gd name="connsiteY92" fmla="*/ 1811 h 317762"/>
                  <a:gd name="connsiteX93" fmla="*/ 42263 w 324732"/>
                  <a:gd name="connsiteY93" fmla="*/ 0 h 317762"/>
                  <a:gd name="connsiteX94" fmla="*/ 134828 w 324732"/>
                  <a:gd name="connsiteY94" fmla="*/ 110 h 317762"/>
                  <a:gd name="connsiteX95" fmla="*/ 144213 w 324732"/>
                  <a:gd name="connsiteY95" fmla="*/ 3650 h 317762"/>
                  <a:gd name="connsiteX96" fmla="*/ 160212 w 324732"/>
                  <a:gd name="connsiteY96" fmla="*/ 12734 h 317762"/>
                  <a:gd name="connsiteX97" fmla="*/ 242212 w 324732"/>
                  <a:gd name="connsiteY97" fmla="*/ 59359 h 317762"/>
                  <a:gd name="connsiteX98" fmla="*/ 245258 w 324732"/>
                  <a:gd name="connsiteY98" fmla="*/ 66549 h 317762"/>
                  <a:gd name="connsiteX99" fmla="*/ 243447 w 324732"/>
                  <a:gd name="connsiteY99" fmla="*/ 73492 h 317762"/>
                  <a:gd name="connsiteX100" fmla="*/ 250857 w 324732"/>
                  <a:gd name="connsiteY100" fmla="*/ 80847 h 3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24732" h="317762">
                    <a:moveTo>
                      <a:pt x="250719" y="80792"/>
                    </a:moveTo>
                    <a:lnTo>
                      <a:pt x="289661" y="108153"/>
                    </a:lnTo>
                    <a:lnTo>
                      <a:pt x="289661" y="108455"/>
                    </a:lnTo>
                    <a:cubicBezTo>
                      <a:pt x="289661" y="108455"/>
                      <a:pt x="287520" y="121627"/>
                      <a:pt x="287520" y="121627"/>
                    </a:cubicBezTo>
                    <a:lnTo>
                      <a:pt x="279096" y="141853"/>
                    </a:lnTo>
                    <a:lnTo>
                      <a:pt x="277778" y="149125"/>
                    </a:lnTo>
                    <a:lnTo>
                      <a:pt x="280358" y="158895"/>
                    </a:lnTo>
                    <a:lnTo>
                      <a:pt x="297565" y="174098"/>
                    </a:lnTo>
                    <a:lnTo>
                      <a:pt x="299183" y="177858"/>
                    </a:lnTo>
                    <a:lnTo>
                      <a:pt x="292076" y="194049"/>
                    </a:lnTo>
                    <a:lnTo>
                      <a:pt x="291829" y="201047"/>
                    </a:lnTo>
                    <a:lnTo>
                      <a:pt x="294875" y="204944"/>
                    </a:lnTo>
                    <a:lnTo>
                      <a:pt x="295369" y="209088"/>
                    </a:lnTo>
                    <a:lnTo>
                      <a:pt x="291253" y="217046"/>
                    </a:lnTo>
                    <a:lnTo>
                      <a:pt x="297565" y="231811"/>
                    </a:lnTo>
                    <a:lnTo>
                      <a:pt x="295698" y="234884"/>
                    </a:lnTo>
                    <a:lnTo>
                      <a:pt x="298690" y="239522"/>
                    </a:lnTo>
                    <a:lnTo>
                      <a:pt x="300501" y="238233"/>
                    </a:lnTo>
                    <a:lnTo>
                      <a:pt x="301626" y="239550"/>
                    </a:lnTo>
                    <a:lnTo>
                      <a:pt x="302422" y="245450"/>
                    </a:lnTo>
                    <a:lnTo>
                      <a:pt x="300638" y="249210"/>
                    </a:lnTo>
                    <a:lnTo>
                      <a:pt x="304316" y="253628"/>
                    </a:lnTo>
                    <a:lnTo>
                      <a:pt x="306730" y="261449"/>
                    </a:lnTo>
                    <a:lnTo>
                      <a:pt x="306127" y="265758"/>
                    </a:lnTo>
                    <a:lnTo>
                      <a:pt x="321824" y="274896"/>
                    </a:lnTo>
                    <a:lnTo>
                      <a:pt x="324733" y="277860"/>
                    </a:lnTo>
                    <a:lnTo>
                      <a:pt x="324733" y="281565"/>
                    </a:lnTo>
                    <a:lnTo>
                      <a:pt x="313070" y="290347"/>
                    </a:lnTo>
                    <a:lnTo>
                      <a:pt x="299458" y="295671"/>
                    </a:lnTo>
                    <a:lnTo>
                      <a:pt x="290896" y="300995"/>
                    </a:lnTo>
                    <a:lnTo>
                      <a:pt x="280385" y="301626"/>
                    </a:lnTo>
                    <a:lnTo>
                      <a:pt x="268283" y="308349"/>
                    </a:lnTo>
                    <a:lnTo>
                      <a:pt x="260653" y="304617"/>
                    </a:lnTo>
                    <a:lnTo>
                      <a:pt x="252475" y="304288"/>
                    </a:lnTo>
                    <a:lnTo>
                      <a:pt x="249512" y="305879"/>
                    </a:lnTo>
                    <a:lnTo>
                      <a:pt x="247454" y="311643"/>
                    </a:lnTo>
                    <a:lnTo>
                      <a:pt x="244106" y="313975"/>
                    </a:lnTo>
                    <a:lnTo>
                      <a:pt x="236915" y="316308"/>
                    </a:lnTo>
                    <a:lnTo>
                      <a:pt x="229643" y="315210"/>
                    </a:lnTo>
                    <a:lnTo>
                      <a:pt x="220121" y="313701"/>
                    </a:lnTo>
                    <a:lnTo>
                      <a:pt x="214248" y="317762"/>
                    </a:lnTo>
                    <a:lnTo>
                      <a:pt x="203188" y="317570"/>
                    </a:lnTo>
                    <a:lnTo>
                      <a:pt x="200115" y="313069"/>
                    </a:lnTo>
                    <a:lnTo>
                      <a:pt x="190894" y="309035"/>
                    </a:lnTo>
                    <a:lnTo>
                      <a:pt x="182167" y="313317"/>
                    </a:lnTo>
                    <a:lnTo>
                      <a:pt x="164933" y="313426"/>
                    </a:lnTo>
                    <a:lnTo>
                      <a:pt x="163094" y="307883"/>
                    </a:lnTo>
                    <a:lnTo>
                      <a:pt x="155382" y="298278"/>
                    </a:lnTo>
                    <a:lnTo>
                      <a:pt x="155575" y="289798"/>
                    </a:lnTo>
                    <a:lnTo>
                      <a:pt x="151980" y="268118"/>
                    </a:lnTo>
                    <a:lnTo>
                      <a:pt x="144598" y="257745"/>
                    </a:lnTo>
                    <a:lnTo>
                      <a:pt x="137928" y="252256"/>
                    </a:lnTo>
                    <a:lnTo>
                      <a:pt x="134087" y="257086"/>
                    </a:lnTo>
                    <a:lnTo>
                      <a:pt x="129723" y="254644"/>
                    </a:lnTo>
                    <a:lnTo>
                      <a:pt x="121408" y="254644"/>
                    </a:lnTo>
                    <a:cubicBezTo>
                      <a:pt x="121408" y="254644"/>
                      <a:pt x="105958" y="248496"/>
                      <a:pt x="105958" y="248496"/>
                    </a:cubicBezTo>
                    <a:lnTo>
                      <a:pt x="94102" y="243886"/>
                    </a:lnTo>
                    <a:lnTo>
                      <a:pt x="90425" y="240428"/>
                    </a:lnTo>
                    <a:lnTo>
                      <a:pt x="85293" y="240345"/>
                    </a:lnTo>
                    <a:lnTo>
                      <a:pt x="77856" y="238233"/>
                    </a:lnTo>
                    <a:lnTo>
                      <a:pt x="74563" y="234034"/>
                    </a:lnTo>
                    <a:lnTo>
                      <a:pt x="67620" y="233101"/>
                    </a:lnTo>
                    <a:lnTo>
                      <a:pt x="64573" y="227694"/>
                    </a:lnTo>
                    <a:lnTo>
                      <a:pt x="59634" y="224923"/>
                    </a:lnTo>
                    <a:lnTo>
                      <a:pt x="49727" y="224319"/>
                    </a:lnTo>
                    <a:lnTo>
                      <a:pt x="41768" y="212491"/>
                    </a:lnTo>
                    <a:lnTo>
                      <a:pt x="32548" y="193940"/>
                    </a:lnTo>
                    <a:lnTo>
                      <a:pt x="28349" y="181590"/>
                    </a:lnTo>
                    <a:lnTo>
                      <a:pt x="21296" y="172836"/>
                    </a:lnTo>
                    <a:lnTo>
                      <a:pt x="11252" y="165948"/>
                    </a:lnTo>
                    <a:lnTo>
                      <a:pt x="5489" y="154641"/>
                    </a:lnTo>
                    <a:lnTo>
                      <a:pt x="4556" y="146655"/>
                    </a:lnTo>
                    <a:lnTo>
                      <a:pt x="7959" y="139218"/>
                    </a:lnTo>
                    <a:lnTo>
                      <a:pt x="0" y="115700"/>
                    </a:lnTo>
                    <a:lnTo>
                      <a:pt x="2141" y="101621"/>
                    </a:lnTo>
                    <a:lnTo>
                      <a:pt x="11691" y="101676"/>
                    </a:lnTo>
                    <a:lnTo>
                      <a:pt x="19512" y="96983"/>
                    </a:lnTo>
                    <a:lnTo>
                      <a:pt x="30380" y="81231"/>
                    </a:lnTo>
                    <a:lnTo>
                      <a:pt x="32712" y="75331"/>
                    </a:lnTo>
                    <a:lnTo>
                      <a:pt x="43305" y="66138"/>
                    </a:lnTo>
                    <a:lnTo>
                      <a:pt x="42646" y="59249"/>
                    </a:lnTo>
                    <a:lnTo>
                      <a:pt x="33399" y="56889"/>
                    </a:lnTo>
                    <a:lnTo>
                      <a:pt x="31532" y="54804"/>
                    </a:lnTo>
                    <a:lnTo>
                      <a:pt x="32603" y="51785"/>
                    </a:lnTo>
                    <a:lnTo>
                      <a:pt x="33151" y="50303"/>
                    </a:lnTo>
                    <a:lnTo>
                      <a:pt x="32109" y="48300"/>
                    </a:lnTo>
                    <a:lnTo>
                      <a:pt x="35127" y="41686"/>
                    </a:lnTo>
                    <a:lnTo>
                      <a:pt x="42729" y="39655"/>
                    </a:lnTo>
                    <a:lnTo>
                      <a:pt x="44897" y="32849"/>
                    </a:lnTo>
                    <a:lnTo>
                      <a:pt x="43140" y="18908"/>
                    </a:lnTo>
                    <a:lnTo>
                      <a:pt x="39216" y="12734"/>
                    </a:lnTo>
                    <a:lnTo>
                      <a:pt x="33014" y="3650"/>
                    </a:lnTo>
                    <a:lnTo>
                      <a:pt x="33069" y="1811"/>
                    </a:lnTo>
                    <a:lnTo>
                      <a:pt x="42263" y="0"/>
                    </a:lnTo>
                    <a:lnTo>
                      <a:pt x="134828" y="110"/>
                    </a:lnTo>
                    <a:lnTo>
                      <a:pt x="144213" y="3650"/>
                    </a:lnTo>
                    <a:lnTo>
                      <a:pt x="160212" y="12734"/>
                    </a:lnTo>
                    <a:lnTo>
                      <a:pt x="242212" y="59359"/>
                    </a:lnTo>
                    <a:lnTo>
                      <a:pt x="245258" y="66549"/>
                    </a:lnTo>
                    <a:lnTo>
                      <a:pt x="243447" y="73492"/>
                    </a:lnTo>
                    <a:lnTo>
                      <a:pt x="250857" y="808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1" name="Freeform: Shape 4160">
                <a:extLst>
                  <a:ext uri="{FF2B5EF4-FFF2-40B4-BE49-F238E27FC236}">
                    <a16:creationId xmlns:a16="http://schemas.microsoft.com/office/drawing/2014/main" id="{E8747F57-EAB4-8EE8-73FF-4B90FF1956C3}"/>
                  </a:ext>
                </a:extLst>
              </p:cNvPr>
              <p:cNvSpPr/>
              <p:nvPr/>
            </p:nvSpPr>
            <p:spPr>
              <a:xfrm>
                <a:off x="1472798" y="3684381"/>
                <a:ext cx="524" cy="418"/>
              </a:xfrm>
              <a:custGeom>
                <a:avLst/>
                <a:gdLst>
                  <a:gd name="connsiteX0" fmla="*/ 4995 w 5022"/>
                  <a:gd name="connsiteY0" fmla="*/ 1838 h 4006"/>
                  <a:gd name="connsiteX1" fmla="*/ 604 w 5022"/>
                  <a:gd name="connsiteY1" fmla="*/ 4007 h 4006"/>
                  <a:gd name="connsiteX2" fmla="*/ 0 w 5022"/>
                  <a:gd name="connsiteY2" fmla="*/ 1784 h 4006"/>
                  <a:gd name="connsiteX3" fmla="*/ 4665 w 5022"/>
                  <a:gd name="connsiteY3" fmla="*/ 0 h 4006"/>
                  <a:gd name="connsiteX4" fmla="*/ 5022 w 5022"/>
                  <a:gd name="connsiteY4" fmla="*/ 1838 h 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2" h="4006">
                    <a:moveTo>
                      <a:pt x="4995" y="1838"/>
                    </a:moveTo>
                    <a:lnTo>
                      <a:pt x="604" y="4007"/>
                    </a:lnTo>
                    <a:lnTo>
                      <a:pt x="0" y="1784"/>
                    </a:lnTo>
                    <a:lnTo>
                      <a:pt x="4665" y="0"/>
                    </a:lnTo>
                    <a:lnTo>
                      <a:pt x="5022"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2" name="Freeform: Shape 4161">
                <a:extLst>
                  <a:ext uri="{FF2B5EF4-FFF2-40B4-BE49-F238E27FC236}">
                    <a16:creationId xmlns:a16="http://schemas.microsoft.com/office/drawing/2014/main" id="{B4E421EC-98D0-763B-D23A-E4085F1DBACE}"/>
                  </a:ext>
                </a:extLst>
              </p:cNvPr>
              <p:cNvSpPr/>
              <p:nvPr/>
            </p:nvSpPr>
            <p:spPr>
              <a:xfrm>
                <a:off x="1472182" y="3685360"/>
                <a:ext cx="298" cy="612"/>
              </a:xfrm>
              <a:custGeom>
                <a:avLst/>
                <a:gdLst>
                  <a:gd name="connsiteX0" fmla="*/ 2854 w 2854"/>
                  <a:gd name="connsiteY0" fmla="*/ 3705 h 5872"/>
                  <a:gd name="connsiteX1" fmla="*/ 1290 w 2854"/>
                  <a:gd name="connsiteY1" fmla="*/ 5873 h 5872"/>
                  <a:gd name="connsiteX2" fmla="*/ 0 w 2854"/>
                  <a:gd name="connsiteY2" fmla="*/ 5489 h 5872"/>
                  <a:gd name="connsiteX3" fmla="*/ 714 w 2854"/>
                  <a:gd name="connsiteY3" fmla="*/ 3156 h 5872"/>
                  <a:gd name="connsiteX4" fmla="*/ 110 w 2854"/>
                  <a:gd name="connsiteY4" fmla="*/ 0 h 5872"/>
                  <a:gd name="connsiteX5" fmla="*/ 2251 w 2854"/>
                  <a:gd name="connsiteY5" fmla="*/ 1098 h 5872"/>
                  <a:gd name="connsiteX6" fmla="*/ 2854 w 2854"/>
                  <a:gd name="connsiteY6" fmla="*/ 3705 h 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4" h="5872">
                    <a:moveTo>
                      <a:pt x="2854" y="3705"/>
                    </a:moveTo>
                    <a:lnTo>
                      <a:pt x="1290" y="5873"/>
                    </a:lnTo>
                    <a:lnTo>
                      <a:pt x="0" y="5489"/>
                    </a:lnTo>
                    <a:lnTo>
                      <a:pt x="714" y="3156"/>
                    </a:lnTo>
                    <a:lnTo>
                      <a:pt x="110" y="0"/>
                    </a:lnTo>
                    <a:lnTo>
                      <a:pt x="2251" y="1098"/>
                    </a:lnTo>
                    <a:lnTo>
                      <a:pt x="2854"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3" name="Freeform: Shape 4162">
                <a:extLst>
                  <a:ext uri="{FF2B5EF4-FFF2-40B4-BE49-F238E27FC236}">
                    <a16:creationId xmlns:a16="http://schemas.microsoft.com/office/drawing/2014/main" id="{A8A52164-EC89-5E61-1F9A-B793E13725E0}"/>
                  </a:ext>
                </a:extLst>
              </p:cNvPr>
              <p:cNvSpPr/>
              <p:nvPr/>
            </p:nvSpPr>
            <p:spPr>
              <a:xfrm>
                <a:off x="1456159" y="3831513"/>
                <a:ext cx="16682" cy="17334"/>
              </a:xfrm>
              <a:custGeom>
                <a:avLst/>
                <a:gdLst>
                  <a:gd name="connsiteX0" fmla="*/ 127802 w 159937"/>
                  <a:gd name="connsiteY0" fmla="*/ 153489 h 166194"/>
                  <a:gd name="connsiteX1" fmla="*/ 35237 w 159937"/>
                  <a:gd name="connsiteY1" fmla="*/ 153379 h 166194"/>
                  <a:gd name="connsiteX2" fmla="*/ 26043 w 159937"/>
                  <a:gd name="connsiteY2" fmla="*/ 155190 h 166194"/>
                  <a:gd name="connsiteX3" fmla="*/ 23107 w 159937"/>
                  <a:gd name="connsiteY3" fmla="*/ 155931 h 166194"/>
                  <a:gd name="connsiteX4" fmla="*/ 12158 w 159937"/>
                  <a:gd name="connsiteY4" fmla="*/ 166140 h 166194"/>
                  <a:gd name="connsiteX5" fmla="*/ 9687 w 159937"/>
                  <a:gd name="connsiteY5" fmla="*/ 166195 h 166194"/>
                  <a:gd name="connsiteX6" fmla="*/ 9578 w 159937"/>
                  <a:gd name="connsiteY6" fmla="*/ 166112 h 166194"/>
                  <a:gd name="connsiteX7" fmla="*/ 6587 w 159937"/>
                  <a:gd name="connsiteY7" fmla="*/ 163560 h 166194"/>
                  <a:gd name="connsiteX8" fmla="*/ 0 w 159937"/>
                  <a:gd name="connsiteY8" fmla="*/ 164878 h 166194"/>
                  <a:gd name="connsiteX9" fmla="*/ 302 w 159937"/>
                  <a:gd name="connsiteY9" fmla="*/ 157029 h 166194"/>
                  <a:gd name="connsiteX10" fmla="*/ 2333 w 159937"/>
                  <a:gd name="connsiteY10" fmla="*/ 139356 h 166194"/>
                  <a:gd name="connsiteX11" fmla="*/ 3046 w 159937"/>
                  <a:gd name="connsiteY11" fmla="*/ 133098 h 166194"/>
                  <a:gd name="connsiteX12" fmla="*/ 4419 w 159937"/>
                  <a:gd name="connsiteY12" fmla="*/ 121518 h 166194"/>
                  <a:gd name="connsiteX13" fmla="*/ 10264 w 159937"/>
                  <a:gd name="connsiteY13" fmla="*/ 110568 h 166194"/>
                  <a:gd name="connsiteX14" fmla="*/ 10511 w 159937"/>
                  <a:gd name="connsiteY14" fmla="*/ 108976 h 166194"/>
                  <a:gd name="connsiteX15" fmla="*/ 11773 w 159937"/>
                  <a:gd name="connsiteY15" fmla="*/ 99920 h 166194"/>
                  <a:gd name="connsiteX16" fmla="*/ 17317 w 159937"/>
                  <a:gd name="connsiteY16" fmla="*/ 96846 h 166194"/>
                  <a:gd name="connsiteX17" fmla="*/ 19814 w 159937"/>
                  <a:gd name="connsiteY17" fmla="*/ 90425 h 166194"/>
                  <a:gd name="connsiteX18" fmla="*/ 42372 w 159937"/>
                  <a:gd name="connsiteY18" fmla="*/ 72395 h 166194"/>
                  <a:gd name="connsiteX19" fmla="*/ 50166 w 159937"/>
                  <a:gd name="connsiteY19" fmla="*/ 62076 h 166194"/>
                  <a:gd name="connsiteX20" fmla="*/ 46900 w 159937"/>
                  <a:gd name="connsiteY20" fmla="*/ 56780 h 166194"/>
                  <a:gd name="connsiteX21" fmla="*/ 41083 w 159937"/>
                  <a:gd name="connsiteY21" fmla="*/ 53679 h 166194"/>
                  <a:gd name="connsiteX22" fmla="*/ 37652 w 159937"/>
                  <a:gd name="connsiteY22" fmla="*/ 54337 h 166194"/>
                  <a:gd name="connsiteX23" fmla="*/ 33947 w 159937"/>
                  <a:gd name="connsiteY23" fmla="*/ 51319 h 166194"/>
                  <a:gd name="connsiteX24" fmla="*/ 37679 w 159937"/>
                  <a:gd name="connsiteY24" fmla="*/ 39573 h 166194"/>
                  <a:gd name="connsiteX25" fmla="*/ 34962 w 159937"/>
                  <a:gd name="connsiteY25" fmla="*/ 33261 h 166194"/>
                  <a:gd name="connsiteX26" fmla="*/ 39326 w 159937"/>
                  <a:gd name="connsiteY26" fmla="*/ 23080 h 166194"/>
                  <a:gd name="connsiteX27" fmla="*/ 39025 w 159937"/>
                  <a:gd name="connsiteY27" fmla="*/ 21433 h 166194"/>
                  <a:gd name="connsiteX28" fmla="*/ 37213 w 159937"/>
                  <a:gd name="connsiteY28" fmla="*/ 21378 h 166194"/>
                  <a:gd name="connsiteX29" fmla="*/ 40726 w 159937"/>
                  <a:gd name="connsiteY29" fmla="*/ 15835 h 166194"/>
                  <a:gd name="connsiteX30" fmla="*/ 47614 w 159937"/>
                  <a:gd name="connsiteY30" fmla="*/ 12459 h 166194"/>
                  <a:gd name="connsiteX31" fmla="*/ 57521 w 159937"/>
                  <a:gd name="connsiteY31" fmla="*/ 16109 h 166194"/>
                  <a:gd name="connsiteX32" fmla="*/ 66000 w 159937"/>
                  <a:gd name="connsiteY32" fmla="*/ 12514 h 166194"/>
                  <a:gd name="connsiteX33" fmla="*/ 69733 w 159937"/>
                  <a:gd name="connsiteY33" fmla="*/ 18030 h 166194"/>
                  <a:gd name="connsiteX34" fmla="*/ 75688 w 159937"/>
                  <a:gd name="connsiteY34" fmla="*/ 20500 h 166194"/>
                  <a:gd name="connsiteX35" fmla="*/ 77033 w 159937"/>
                  <a:gd name="connsiteY35" fmla="*/ 17317 h 166194"/>
                  <a:gd name="connsiteX36" fmla="*/ 82329 w 159937"/>
                  <a:gd name="connsiteY36" fmla="*/ 14161 h 166194"/>
                  <a:gd name="connsiteX37" fmla="*/ 100359 w 159937"/>
                  <a:gd name="connsiteY37" fmla="*/ 10538 h 166194"/>
                  <a:gd name="connsiteX38" fmla="*/ 106150 w 159937"/>
                  <a:gd name="connsiteY38" fmla="*/ 12926 h 166194"/>
                  <a:gd name="connsiteX39" fmla="*/ 114822 w 159937"/>
                  <a:gd name="connsiteY39" fmla="*/ 13475 h 166194"/>
                  <a:gd name="connsiteX40" fmla="*/ 129531 w 159937"/>
                  <a:gd name="connsiteY40" fmla="*/ 0 h 166194"/>
                  <a:gd name="connsiteX41" fmla="*/ 135870 w 159937"/>
                  <a:gd name="connsiteY41" fmla="*/ 12349 h 166194"/>
                  <a:gd name="connsiteX42" fmla="*/ 142868 w 159937"/>
                  <a:gd name="connsiteY42" fmla="*/ 16356 h 166194"/>
                  <a:gd name="connsiteX43" fmla="*/ 141908 w 159937"/>
                  <a:gd name="connsiteY43" fmla="*/ 25522 h 166194"/>
                  <a:gd name="connsiteX44" fmla="*/ 147424 w 159937"/>
                  <a:gd name="connsiteY44" fmla="*/ 37981 h 166194"/>
                  <a:gd name="connsiteX45" fmla="*/ 151815 w 159937"/>
                  <a:gd name="connsiteY45" fmla="*/ 41055 h 166194"/>
                  <a:gd name="connsiteX46" fmla="*/ 157111 w 159937"/>
                  <a:gd name="connsiteY46" fmla="*/ 51236 h 166194"/>
                  <a:gd name="connsiteX47" fmla="*/ 159938 w 159937"/>
                  <a:gd name="connsiteY47" fmla="*/ 68470 h 166194"/>
                  <a:gd name="connsiteX48" fmla="*/ 158374 w 159937"/>
                  <a:gd name="connsiteY48" fmla="*/ 75962 h 166194"/>
                  <a:gd name="connsiteX49" fmla="*/ 152913 w 159937"/>
                  <a:gd name="connsiteY49" fmla="*/ 82411 h 166194"/>
                  <a:gd name="connsiteX50" fmla="*/ 153379 w 159937"/>
                  <a:gd name="connsiteY50" fmla="*/ 87241 h 166194"/>
                  <a:gd name="connsiteX51" fmla="*/ 145146 w 159937"/>
                  <a:gd name="connsiteY51" fmla="*/ 92373 h 166194"/>
                  <a:gd name="connsiteX52" fmla="*/ 142320 w 159937"/>
                  <a:gd name="connsiteY52" fmla="*/ 98960 h 166194"/>
                  <a:gd name="connsiteX53" fmla="*/ 134471 w 159937"/>
                  <a:gd name="connsiteY53" fmla="*/ 107165 h 166194"/>
                  <a:gd name="connsiteX54" fmla="*/ 133867 w 159937"/>
                  <a:gd name="connsiteY54" fmla="*/ 109059 h 166194"/>
                  <a:gd name="connsiteX55" fmla="*/ 132495 w 159937"/>
                  <a:gd name="connsiteY55" fmla="*/ 113395 h 166194"/>
                  <a:gd name="connsiteX56" fmla="*/ 127610 w 159937"/>
                  <a:gd name="connsiteY56" fmla="*/ 120612 h 166194"/>
                  <a:gd name="connsiteX57" fmla="*/ 129037 w 159937"/>
                  <a:gd name="connsiteY57" fmla="*/ 128598 h 166194"/>
                  <a:gd name="connsiteX58" fmla="*/ 128790 w 159937"/>
                  <a:gd name="connsiteY58" fmla="*/ 133153 h 166194"/>
                  <a:gd name="connsiteX59" fmla="*/ 128461 w 159937"/>
                  <a:gd name="connsiteY59" fmla="*/ 139410 h 166194"/>
                  <a:gd name="connsiteX60" fmla="*/ 127720 w 159937"/>
                  <a:gd name="connsiteY60" fmla="*/ 153516 h 16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9937" h="166194">
                    <a:moveTo>
                      <a:pt x="127802" y="153489"/>
                    </a:moveTo>
                    <a:lnTo>
                      <a:pt x="35237" y="153379"/>
                    </a:lnTo>
                    <a:lnTo>
                      <a:pt x="26043" y="155190"/>
                    </a:lnTo>
                    <a:lnTo>
                      <a:pt x="23107" y="155931"/>
                    </a:lnTo>
                    <a:lnTo>
                      <a:pt x="12158" y="166140"/>
                    </a:lnTo>
                    <a:lnTo>
                      <a:pt x="9687" y="166195"/>
                    </a:lnTo>
                    <a:lnTo>
                      <a:pt x="9578" y="166112"/>
                    </a:lnTo>
                    <a:lnTo>
                      <a:pt x="6587" y="163560"/>
                    </a:lnTo>
                    <a:lnTo>
                      <a:pt x="0" y="164878"/>
                    </a:lnTo>
                    <a:lnTo>
                      <a:pt x="302" y="157029"/>
                    </a:lnTo>
                    <a:lnTo>
                      <a:pt x="2333" y="139356"/>
                    </a:lnTo>
                    <a:lnTo>
                      <a:pt x="3046" y="133098"/>
                    </a:lnTo>
                    <a:lnTo>
                      <a:pt x="4419" y="121518"/>
                    </a:lnTo>
                    <a:lnTo>
                      <a:pt x="10264" y="110568"/>
                    </a:lnTo>
                    <a:lnTo>
                      <a:pt x="10511" y="108976"/>
                    </a:lnTo>
                    <a:lnTo>
                      <a:pt x="11773" y="99920"/>
                    </a:lnTo>
                    <a:lnTo>
                      <a:pt x="17317" y="96846"/>
                    </a:lnTo>
                    <a:lnTo>
                      <a:pt x="19814" y="90425"/>
                    </a:lnTo>
                    <a:lnTo>
                      <a:pt x="42372" y="72395"/>
                    </a:lnTo>
                    <a:lnTo>
                      <a:pt x="50166" y="62076"/>
                    </a:lnTo>
                    <a:lnTo>
                      <a:pt x="46900" y="56780"/>
                    </a:lnTo>
                    <a:lnTo>
                      <a:pt x="41083" y="53679"/>
                    </a:lnTo>
                    <a:lnTo>
                      <a:pt x="37652" y="54337"/>
                    </a:lnTo>
                    <a:lnTo>
                      <a:pt x="33947" y="51319"/>
                    </a:lnTo>
                    <a:lnTo>
                      <a:pt x="37679" y="39573"/>
                    </a:lnTo>
                    <a:lnTo>
                      <a:pt x="34962" y="33261"/>
                    </a:lnTo>
                    <a:lnTo>
                      <a:pt x="39326" y="23080"/>
                    </a:lnTo>
                    <a:lnTo>
                      <a:pt x="39025" y="21433"/>
                    </a:lnTo>
                    <a:lnTo>
                      <a:pt x="37213" y="21378"/>
                    </a:lnTo>
                    <a:lnTo>
                      <a:pt x="40726" y="15835"/>
                    </a:lnTo>
                    <a:lnTo>
                      <a:pt x="47614" y="12459"/>
                    </a:lnTo>
                    <a:lnTo>
                      <a:pt x="57521" y="16109"/>
                    </a:lnTo>
                    <a:lnTo>
                      <a:pt x="66000" y="12514"/>
                    </a:lnTo>
                    <a:lnTo>
                      <a:pt x="69733" y="18030"/>
                    </a:lnTo>
                    <a:lnTo>
                      <a:pt x="75688" y="20500"/>
                    </a:lnTo>
                    <a:lnTo>
                      <a:pt x="77033" y="17317"/>
                    </a:lnTo>
                    <a:lnTo>
                      <a:pt x="82329" y="14161"/>
                    </a:lnTo>
                    <a:lnTo>
                      <a:pt x="100359" y="10538"/>
                    </a:lnTo>
                    <a:lnTo>
                      <a:pt x="106150" y="12926"/>
                    </a:lnTo>
                    <a:lnTo>
                      <a:pt x="114822" y="13475"/>
                    </a:lnTo>
                    <a:lnTo>
                      <a:pt x="129531" y="0"/>
                    </a:lnTo>
                    <a:lnTo>
                      <a:pt x="135870" y="12349"/>
                    </a:lnTo>
                    <a:lnTo>
                      <a:pt x="142868" y="16356"/>
                    </a:lnTo>
                    <a:lnTo>
                      <a:pt x="141908" y="25522"/>
                    </a:lnTo>
                    <a:lnTo>
                      <a:pt x="147424" y="37981"/>
                    </a:lnTo>
                    <a:lnTo>
                      <a:pt x="151815" y="41055"/>
                    </a:lnTo>
                    <a:lnTo>
                      <a:pt x="157111" y="51236"/>
                    </a:lnTo>
                    <a:lnTo>
                      <a:pt x="159938" y="68470"/>
                    </a:lnTo>
                    <a:lnTo>
                      <a:pt x="158374" y="75962"/>
                    </a:lnTo>
                    <a:lnTo>
                      <a:pt x="152913" y="82411"/>
                    </a:lnTo>
                    <a:lnTo>
                      <a:pt x="153379" y="87241"/>
                    </a:lnTo>
                    <a:lnTo>
                      <a:pt x="145146" y="92373"/>
                    </a:lnTo>
                    <a:lnTo>
                      <a:pt x="142320" y="98960"/>
                    </a:lnTo>
                    <a:lnTo>
                      <a:pt x="134471" y="107165"/>
                    </a:lnTo>
                    <a:lnTo>
                      <a:pt x="133867" y="109059"/>
                    </a:lnTo>
                    <a:lnTo>
                      <a:pt x="132495" y="113395"/>
                    </a:lnTo>
                    <a:lnTo>
                      <a:pt x="127610" y="120612"/>
                    </a:lnTo>
                    <a:lnTo>
                      <a:pt x="129037" y="128598"/>
                    </a:lnTo>
                    <a:lnTo>
                      <a:pt x="128790" y="133153"/>
                    </a:lnTo>
                    <a:lnTo>
                      <a:pt x="128461" y="139410"/>
                    </a:lnTo>
                    <a:lnTo>
                      <a:pt x="127720" y="1535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4" name="Freeform: Shape 4163">
                <a:extLst>
                  <a:ext uri="{FF2B5EF4-FFF2-40B4-BE49-F238E27FC236}">
                    <a16:creationId xmlns:a16="http://schemas.microsoft.com/office/drawing/2014/main" id="{39D774D9-894E-5581-5C73-B966001B35D6}"/>
                  </a:ext>
                </a:extLst>
              </p:cNvPr>
              <p:cNvSpPr/>
              <p:nvPr/>
            </p:nvSpPr>
            <p:spPr>
              <a:xfrm>
                <a:off x="1439552" y="3806645"/>
                <a:ext cx="36114" cy="27098"/>
              </a:xfrm>
              <a:custGeom>
                <a:avLst/>
                <a:gdLst>
                  <a:gd name="connsiteX0" fmla="*/ 292323 w 346248"/>
                  <a:gd name="connsiteY0" fmla="*/ 81835 h 259802"/>
                  <a:gd name="connsiteX1" fmla="*/ 292131 w 346248"/>
                  <a:gd name="connsiteY1" fmla="*/ 97039 h 259802"/>
                  <a:gd name="connsiteX2" fmla="*/ 291994 w 346248"/>
                  <a:gd name="connsiteY2" fmla="*/ 109031 h 259802"/>
                  <a:gd name="connsiteX3" fmla="*/ 283678 w 346248"/>
                  <a:gd name="connsiteY3" fmla="*/ 113998 h 259802"/>
                  <a:gd name="connsiteX4" fmla="*/ 282224 w 346248"/>
                  <a:gd name="connsiteY4" fmla="*/ 114849 h 259802"/>
                  <a:gd name="connsiteX5" fmla="*/ 279617 w 346248"/>
                  <a:gd name="connsiteY5" fmla="*/ 113998 h 259802"/>
                  <a:gd name="connsiteX6" fmla="*/ 276241 w 346248"/>
                  <a:gd name="connsiteY6" fmla="*/ 112873 h 259802"/>
                  <a:gd name="connsiteX7" fmla="*/ 268118 w 346248"/>
                  <a:gd name="connsiteY7" fmla="*/ 113998 h 259802"/>
                  <a:gd name="connsiteX8" fmla="*/ 266993 w 346248"/>
                  <a:gd name="connsiteY8" fmla="*/ 114163 h 259802"/>
                  <a:gd name="connsiteX9" fmla="*/ 260269 w 346248"/>
                  <a:gd name="connsiteY9" fmla="*/ 130107 h 259802"/>
                  <a:gd name="connsiteX10" fmla="*/ 268255 w 346248"/>
                  <a:gd name="connsiteY10" fmla="*/ 134416 h 259802"/>
                  <a:gd name="connsiteX11" fmla="*/ 281812 w 346248"/>
                  <a:gd name="connsiteY11" fmla="*/ 137572 h 259802"/>
                  <a:gd name="connsiteX12" fmla="*/ 286971 w 346248"/>
                  <a:gd name="connsiteY12" fmla="*/ 141798 h 259802"/>
                  <a:gd name="connsiteX13" fmla="*/ 290073 w 346248"/>
                  <a:gd name="connsiteY13" fmla="*/ 148824 h 259802"/>
                  <a:gd name="connsiteX14" fmla="*/ 295314 w 346248"/>
                  <a:gd name="connsiteY14" fmla="*/ 155026 h 259802"/>
                  <a:gd name="connsiteX15" fmla="*/ 317159 w 346248"/>
                  <a:gd name="connsiteY15" fmla="*/ 170531 h 259802"/>
                  <a:gd name="connsiteX16" fmla="*/ 318421 w 346248"/>
                  <a:gd name="connsiteY16" fmla="*/ 187216 h 259802"/>
                  <a:gd name="connsiteX17" fmla="*/ 322099 w 346248"/>
                  <a:gd name="connsiteY17" fmla="*/ 195586 h 259802"/>
                  <a:gd name="connsiteX18" fmla="*/ 328411 w 346248"/>
                  <a:gd name="connsiteY18" fmla="*/ 204478 h 259802"/>
                  <a:gd name="connsiteX19" fmla="*/ 334887 w 346248"/>
                  <a:gd name="connsiteY19" fmla="*/ 203435 h 259802"/>
                  <a:gd name="connsiteX20" fmla="*/ 341995 w 346248"/>
                  <a:gd name="connsiteY20" fmla="*/ 205740 h 259802"/>
                  <a:gd name="connsiteX21" fmla="*/ 342626 w 346248"/>
                  <a:gd name="connsiteY21" fmla="*/ 220532 h 259802"/>
                  <a:gd name="connsiteX22" fmla="*/ 346249 w 346248"/>
                  <a:gd name="connsiteY22" fmla="*/ 226460 h 259802"/>
                  <a:gd name="connsiteX23" fmla="*/ 333350 w 346248"/>
                  <a:gd name="connsiteY23" fmla="*/ 226460 h 259802"/>
                  <a:gd name="connsiteX24" fmla="*/ 331155 w 346248"/>
                  <a:gd name="connsiteY24" fmla="*/ 222124 h 259802"/>
                  <a:gd name="connsiteX25" fmla="*/ 331841 w 346248"/>
                  <a:gd name="connsiteY25" fmla="*/ 218199 h 259802"/>
                  <a:gd name="connsiteX26" fmla="*/ 328218 w 346248"/>
                  <a:gd name="connsiteY26" fmla="*/ 217678 h 259802"/>
                  <a:gd name="connsiteX27" fmla="*/ 327395 w 346248"/>
                  <a:gd name="connsiteY27" fmla="*/ 215126 h 259802"/>
                  <a:gd name="connsiteX28" fmla="*/ 304343 w 346248"/>
                  <a:gd name="connsiteY28" fmla="*/ 222892 h 259802"/>
                  <a:gd name="connsiteX29" fmla="*/ 300089 w 346248"/>
                  <a:gd name="connsiteY29" fmla="*/ 226460 h 259802"/>
                  <a:gd name="connsiteX30" fmla="*/ 288783 w 346248"/>
                  <a:gd name="connsiteY30" fmla="*/ 238425 h 259802"/>
                  <a:gd name="connsiteX31" fmla="*/ 274073 w 346248"/>
                  <a:gd name="connsiteY31" fmla="*/ 251899 h 259802"/>
                  <a:gd name="connsiteX32" fmla="*/ 265402 w 346248"/>
                  <a:gd name="connsiteY32" fmla="*/ 251350 h 259802"/>
                  <a:gd name="connsiteX33" fmla="*/ 259611 w 346248"/>
                  <a:gd name="connsiteY33" fmla="*/ 248963 h 259802"/>
                  <a:gd name="connsiteX34" fmla="*/ 241581 w 346248"/>
                  <a:gd name="connsiteY34" fmla="*/ 252585 h 259802"/>
                  <a:gd name="connsiteX35" fmla="*/ 236284 w 346248"/>
                  <a:gd name="connsiteY35" fmla="*/ 255741 h 259802"/>
                  <a:gd name="connsiteX36" fmla="*/ 234940 w 346248"/>
                  <a:gd name="connsiteY36" fmla="*/ 258925 h 259802"/>
                  <a:gd name="connsiteX37" fmla="*/ 228985 w 346248"/>
                  <a:gd name="connsiteY37" fmla="*/ 256455 h 259802"/>
                  <a:gd name="connsiteX38" fmla="*/ 225252 w 346248"/>
                  <a:gd name="connsiteY38" fmla="*/ 250939 h 259802"/>
                  <a:gd name="connsiteX39" fmla="*/ 216773 w 346248"/>
                  <a:gd name="connsiteY39" fmla="*/ 254534 h 259802"/>
                  <a:gd name="connsiteX40" fmla="*/ 206866 w 346248"/>
                  <a:gd name="connsiteY40" fmla="*/ 250884 h 259802"/>
                  <a:gd name="connsiteX41" fmla="*/ 199977 w 346248"/>
                  <a:gd name="connsiteY41" fmla="*/ 254259 h 259802"/>
                  <a:gd name="connsiteX42" fmla="*/ 196465 w 346248"/>
                  <a:gd name="connsiteY42" fmla="*/ 259803 h 259802"/>
                  <a:gd name="connsiteX43" fmla="*/ 194022 w 346248"/>
                  <a:gd name="connsiteY43" fmla="*/ 255357 h 259802"/>
                  <a:gd name="connsiteX44" fmla="*/ 188259 w 346248"/>
                  <a:gd name="connsiteY44" fmla="*/ 255933 h 259802"/>
                  <a:gd name="connsiteX45" fmla="*/ 187326 w 346248"/>
                  <a:gd name="connsiteY45" fmla="*/ 249237 h 259802"/>
                  <a:gd name="connsiteX46" fmla="*/ 178105 w 346248"/>
                  <a:gd name="connsiteY46" fmla="*/ 245944 h 259802"/>
                  <a:gd name="connsiteX47" fmla="*/ 171190 w 346248"/>
                  <a:gd name="connsiteY47" fmla="*/ 238150 h 259802"/>
                  <a:gd name="connsiteX48" fmla="*/ 165756 w 346248"/>
                  <a:gd name="connsiteY48" fmla="*/ 233430 h 259802"/>
                  <a:gd name="connsiteX49" fmla="*/ 165290 w 346248"/>
                  <a:gd name="connsiteY49" fmla="*/ 228271 h 259802"/>
                  <a:gd name="connsiteX50" fmla="*/ 158182 w 346248"/>
                  <a:gd name="connsiteY50" fmla="*/ 225197 h 259802"/>
                  <a:gd name="connsiteX51" fmla="*/ 156123 w 346248"/>
                  <a:gd name="connsiteY51" fmla="*/ 225499 h 259802"/>
                  <a:gd name="connsiteX52" fmla="*/ 154038 w 346248"/>
                  <a:gd name="connsiteY52" fmla="*/ 230000 h 259802"/>
                  <a:gd name="connsiteX53" fmla="*/ 148412 w 346248"/>
                  <a:gd name="connsiteY53" fmla="*/ 234006 h 259802"/>
                  <a:gd name="connsiteX54" fmla="*/ 135075 w 346248"/>
                  <a:gd name="connsiteY54" fmla="*/ 228710 h 259802"/>
                  <a:gd name="connsiteX55" fmla="*/ 124234 w 346248"/>
                  <a:gd name="connsiteY55" fmla="*/ 236257 h 259802"/>
                  <a:gd name="connsiteX56" fmla="*/ 114657 w 346248"/>
                  <a:gd name="connsiteY56" fmla="*/ 231893 h 259802"/>
                  <a:gd name="connsiteX57" fmla="*/ 112956 w 346248"/>
                  <a:gd name="connsiteY57" fmla="*/ 228655 h 259802"/>
                  <a:gd name="connsiteX58" fmla="*/ 107933 w 346248"/>
                  <a:gd name="connsiteY58" fmla="*/ 227722 h 259802"/>
                  <a:gd name="connsiteX59" fmla="*/ 102939 w 346248"/>
                  <a:gd name="connsiteY59" fmla="*/ 219324 h 259802"/>
                  <a:gd name="connsiteX60" fmla="*/ 96188 w 346248"/>
                  <a:gd name="connsiteY60" fmla="*/ 214659 h 259802"/>
                  <a:gd name="connsiteX61" fmla="*/ 91001 w 346248"/>
                  <a:gd name="connsiteY61" fmla="*/ 205877 h 259802"/>
                  <a:gd name="connsiteX62" fmla="*/ 90864 w 346248"/>
                  <a:gd name="connsiteY62" fmla="*/ 198248 h 259802"/>
                  <a:gd name="connsiteX63" fmla="*/ 88312 w 346248"/>
                  <a:gd name="connsiteY63" fmla="*/ 193748 h 259802"/>
                  <a:gd name="connsiteX64" fmla="*/ 78377 w 346248"/>
                  <a:gd name="connsiteY64" fmla="*/ 186530 h 259802"/>
                  <a:gd name="connsiteX65" fmla="*/ 72011 w 346248"/>
                  <a:gd name="connsiteY65" fmla="*/ 185021 h 259802"/>
                  <a:gd name="connsiteX66" fmla="*/ 69184 w 346248"/>
                  <a:gd name="connsiteY66" fmla="*/ 182578 h 259802"/>
                  <a:gd name="connsiteX67" fmla="*/ 68224 w 346248"/>
                  <a:gd name="connsiteY67" fmla="*/ 178791 h 259802"/>
                  <a:gd name="connsiteX68" fmla="*/ 63146 w 346248"/>
                  <a:gd name="connsiteY68" fmla="*/ 172671 h 259802"/>
                  <a:gd name="connsiteX69" fmla="*/ 64244 w 346248"/>
                  <a:gd name="connsiteY69" fmla="*/ 165893 h 259802"/>
                  <a:gd name="connsiteX70" fmla="*/ 56972 w 346248"/>
                  <a:gd name="connsiteY70" fmla="*/ 161173 h 259802"/>
                  <a:gd name="connsiteX71" fmla="*/ 53185 w 346248"/>
                  <a:gd name="connsiteY71" fmla="*/ 155465 h 259802"/>
                  <a:gd name="connsiteX72" fmla="*/ 37433 w 346248"/>
                  <a:gd name="connsiteY72" fmla="*/ 146875 h 259802"/>
                  <a:gd name="connsiteX73" fmla="*/ 36198 w 346248"/>
                  <a:gd name="connsiteY73" fmla="*/ 146189 h 259802"/>
                  <a:gd name="connsiteX74" fmla="*/ 30819 w 346248"/>
                  <a:gd name="connsiteY74" fmla="*/ 141634 h 259802"/>
                  <a:gd name="connsiteX75" fmla="*/ 29858 w 346248"/>
                  <a:gd name="connsiteY75" fmla="*/ 139026 h 259802"/>
                  <a:gd name="connsiteX76" fmla="*/ 32520 w 346248"/>
                  <a:gd name="connsiteY76" fmla="*/ 134169 h 259802"/>
                  <a:gd name="connsiteX77" fmla="*/ 30572 w 346248"/>
                  <a:gd name="connsiteY77" fmla="*/ 130272 h 259802"/>
                  <a:gd name="connsiteX78" fmla="*/ 24205 w 346248"/>
                  <a:gd name="connsiteY78" fmla="*/ 127610 h 259802"/>
                  <a:gd name="connsiteX79" fmla="*/ 18497 w 346248"/>
                  <a:gd name="connsiteY79" fmla="*/ 121133 h 259802"/>
                  <a:gd name="connsiteX80" fmla="*/ 1509 w 346248"/>
                  <a:gd name="connsiteY80" fmla="*/ 116989 h 259802"/>
                  <a:gd name="connsiteX81" fmla="*/ 467 w 346248"/>
                  <a:gd name="connsiteY81" fmla="*/ 113971 h 259802"/>
                  <a:gd name="connsiteX82" fmla="*/ 0 w 346248"/>
                  <a:gd name="connsiteY82" fmla="*/ 112654 h 259802"/>
                  <a:gd name="connsiteX83" fmla="*/ 1455 w 346248"/>
                  <a:gd name="connsiteY83" fmla="*/ 107330 h 259802"/>
                  <a:gd name="connsiteX84" fmla="*/ 11279 w 346248"/>
                  <a:gd name="connsiteY84" fmla="*/ 99755 h 259802"/>
                  <a:gd name="connsiteX85" fmla="*/ 11499 w 346248"/>
                  <a:gd name="connsiteY85" fmla="*/ 96984 h 259802"/>
                  <a:gd name="connsiteX86" fmla="*/ 12432 w 346248"/>
                  <a:gd name="connsiteY86" fmla="*/ 85457 h 259802"/>
                  <a:gd name="connsiteX87" fmla="*/ 16603 w 346248"/>
                  <a:gd name="connsiteY87" fmla="*/ 81506 h 259802"/>
                  <a:gd name="connsiteX88" fmla="*/ 16768 w 346248"/>
                  <a:gd name="connsiteY88" fmla="*/ 74151 h 259802"/>
                  <a:gd name="connsiteX89" fmla="*/ 23574 w 346248"/>
                  <a:gd name="connsiteY89" fmla="*/ 67400 h 259802"/>
                  <a:gd name="connsiteX90" fmla="*/ 25742 w 346248"/>
                  <a:gd name="connsiteY90" fmla="*/ 61665 h 259802"/>
                  <a:gd name="connsiteX91" fmla="*/ 27224 w 346248"/>
                  <a:gd name="connsiteY91" fmla="*/ 58481 h 259802"/>
                  <a:gd name="connsiteX92" fmla="*/ 30270 w 346248"/>
                  <a:gd name="connsiteY92" fmla="*/ 56972 h 259802"/>
                  <a:gd name="connsiteX93" fmla="*/ 37460 w 346248"/>
                  <a:gd name="connsiteY93" fmla="*/ 56066 h 259802"/>
                  <a:gd name="connsiteX94" fmla="*/ 48711 w 346248"/>
                  <a:gd name="connsiteY94" fmla="*/ 54612 h 259802"/>
                  <a:gd name="connsiteX95" fmla="*/ 52526 w 346248"/>
                  <a:gd name="connsiteY95" fmla="*/ 61665 h 259802"/>
                  <a:gd name="connsiteX96" fmla="*/ 59688 w 346248"/>
                  <a:gd name="connsiteY96" fmla="*/ 69458 h 259802"/>
                  <a:gd name="connsiteX97" fmla="*/ 63119 w 346248"/>
                  <a:gd name="connsiteY97" fmla="*/ 77554 h 259802"/>
                  <a:gd name="connsiteX98" fmla="*/ 69733 w 346248"/>
                  <a:gd name="connsiteY98" fmla="*/ 81122 h 259802"/>
                  <a:gd name="connsiteX99" fmla="*/ 75249 w 346248"/>
                  <a:gd name="connsiteY99" fmla="*/ 81808 h 259802"/>
                  <a:gd name="connsiteX100" fmla="*/ 87681 w 346248"/>
                  <a:gd name="connsiteY100" fmla="*/ 78103 h 259802"/>
                  <a:gd name="connsiteX101" fmla="*/ 109854 w 346248"/>
                  <a:gd name="connsiteY101" fmla="*/ 78487 h 259802"/>
                  <a:gd name="connsiteX102" fmla="*/ 113257 w 346248"/>
                  <a:gd name="connsiteY102" fmla="*/ 85457 h 259802"/>
                  <a:gd name="connsiteX103" fmla="*/ 115370 w 346248"/>
                  <a:gd name="connsiteY103" fmla="*/ 86391 h 259802"/>
                  <a:gd name="connsiteX104" fmla="*/ 133977 w 346248"/>
                  <a:gd name="connsiteY104" fmla="*/ 86253 h 259802"/>
                  <a:gd name="connsiteX105" fmla="*/ 135020 w 346248"/>
                  <a:gd name="connsiteY105" fmla="*/ 85457 h 259802"/>
                  <a:gd name="connsiteX106" fmla="*/ 141305 w 346248"/>
                  <a:gd name="connsiteY106" fmla="*/ 77526 h 259802"/>
                  <a:gd name="connsiteX107" fmla="*/ 145119 w 346248"/>
                  <a:gd name="connsiteY107" fmla="*/ 74398 h 259802"/>
                  <a:gd name="connsiteX108" fmla="*/ 157084 w 346248"/>
                  <a:gd name="connsiteY108" fmla="*/ 73932 h 259802"/>
                  <a:gd name="connsiteX109" fmla="*/ 158401 w 346248"/>
                  <a:gd name="connsiteY109" fmla="*/ 64464 h 259802"/>
                  <a:gd name="connsiteX110" fmla="*/ 164082 w 346248"/>
                  <a:gd name="connsiteY110" fmla="*/ 61637 h 259802"/>
                  <a:gd name="connsiteX111" fmla="*/ 170449 w 346248"/>
                  <a:gd name="connsiteY111" fmla="*/ 58454 h 259802"/>
                  <a:gd name="connsiteX112" fmla="*/ 175389 w 346248"/>
                  <a:gd name="connsiteY112" fmla="*/ 61637 h 259802"/>
                  <a:gd name="connsiteX113" fmla="*/ 195422 w 346248"/>
                  <a:gd name="connsiteY113" fmla="*/ 74563 h 259802"/>
                  <a:gd name="connsiteX114" fmla="*/ 210378 w 346248"/>
                  <a:gd name="connsiteY114" fmla="*/ 72999 h 259802"/>
                  <a:gd name="connsiteX115" fmla="*/ 220450 w 346248"/>
                  <a:gd name="connsiteY115" fmla="*/ 61610 h 259802"/>
                  <a:gd name="connsiteX116" fmla="*/ 223990 w 346248"/>
                  <a:gd name="connsiteY116" fmla="*/ 57576 h 259802"/>
                  <a:gd name="connsiteX117" fmla="*/ 229862 w 346248"/>
                  <a:gd name="connsiteY117" fmla="*/ 47861 h 259802"/>
                  <a:gd name="connsiteX118" fmla="*/ 231564 w 346248"/>
                  <a:gd name="connsiteY118" fmla="*/ 46324 h 259802"/>
                  <a:gd name="connsiteX119" fmla="*/ 243282 w 346248"/>
                  <a:gd name="connsiteY119" fmla="*/ 35676 h 259802"/>
                  <a:gd name="connsiteX120" fmla="*/ 241169 w 346248"/>
                  <a:gd name="connsiteY120" fmla="*/ 16521 h 259802"/>
                  <a:gd name="connsiteX121" fmla="*/ 235653 w 346248"/>
                  <a:gd name="connsiteY121" fmla="*/ 9276 h 259802"/>
                  <a:gd name="connsiteX122" fmla="*/ 251378 w 346248"/>
                  <a:gd name="connsiteY122" fmla="*/ 8096 h 259802"/>
                  <a:gd name="connsiteX123" fmla="*/ 252339 w 346248"/>
                  <a:gd name="connsiteY123" fmla="*/ 741 h 259802"/>
                  <a:gd name="connsiteX124" fmla="*/ 254644 w 346248"/>
                  <a:gd name="connsiteY124" fmla="*/ 0 h 259802"/>
                  <a:gd name="connsiteX125" fmla="*/ 267405 w 346248"/>
                  <a:gd name="connsiteY125" fmla="*/ 851 h 259802"/>
                  <a:gd name="connsiteX126" fmla="*/ 263892 w 346248"/>
                  <a:gd name="connsiteY126" fmla="*/ 18634 h 259802"/>
                  <a:gd name="connsiteX127" fmla="*/ 266801 w 346248"/>
                  <a:gd name="connsiteY127" fmla="*/ 44183 h 259802"/>
                  <a:gd name="connsiteX128" fmla="*/ 271192 w 346248"/>
                  <a:gd name="connsiteY128" fmla="*/ 46324 h 259802"/>
                  <a:gd name="connsiteX129" fmla="*/ 274211 w 346248"/>
                  <a:gd name="connsiteY129" fmla="*/ 47778 h 259802"/>
                  <a:gd name="connsiteX130" fmla="*/ 286807 w 346248"/>
                  <a:gd name="connsiteY130" fmla="*/ 61610 h 259802"/>
                  <a:gd name="connsiteX131" fmla="*/ 288042 w 346248"/>
                  <a:gd name="connsiteY131" fmla="*/ 62927 h 259802"/>
                  <a:gd name="connsiteX132" fmla="*/ 288728 w 346248"/>
                  <a:gd name="connsiteY132" fmla="*/ 69102 h 259802"/>
                  <a:gd name="connsiteX133" fmla="*/ 286203 w 346248"/>
                  <a:gd name="connsiteY133" fmla="*/ 79804 h 259802"/>
                  <a:gd name="connsiteX134" fmla="*/ 287274 w 346248"/>
                  <a:gd name="connsiteY134" fmla="*/ 81533 h 259802"/>
                  <a:gd name="connsiteX135" fmla="*/ 292405 w 346248"/>
                  <a:gd name="connsiteY135" fmla="*/ 81753 h 259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46248" h="259802">
                    <a:moveTo>
                      <a:pt x="292323" y="81835"/>
                    </a:moveTo>
                    <a:lnTo>
                      <a:pt x="292131" y="97039"/>
                    </a:lnTo>
                    <a:lnTo>
                      <a:pt x="291994" y="109031"/>
                    </a:lnTo>
                    <a:lnTo>
                      <a:pt x="283678" y="113998"/>
                    </a:lnTo>
                    <a:lnTo>
                      <a:pt x="282224" y="114849"/>
                    </a:lnTo>
                    <a:lnTo>
                      <a:pt x="279617" y="113998"/>
                    </a:lnTo>
                    <a:lnTo>
                      <a:pt x="276241" y="112873"/>
                    </a:lnTo>
                    <a:lnTo>
                      <a:pt x="268118" y="113998"/>
                    </a:lnTo>
                    <a:lnTo>
                      <a:pt x="266993" y="114163"/>
                    </a:lnTo>
                    <a:lnTo>
                      <a:pt x="260269" y="130107"/>
                    </a:lnTo>
                    <a:lnTo>
                      <a:pt x="268255" y="134416"/>
                    </a:lnTo>
                    <a:lnTo>
                      <a:pt x="281812" y="137572"/>
                    </a:lnTo>
                    <a:lnTo>
                      <a:pt x="286971" y="141798"/>
                    </a:lnTo>
                    <a:lnTo>
                      <a:pt x="290073" y="148824"/>
                    </a:lnTo>
                    <a:lnTo>
                      <a:pt x="295314" y="155026"/>
                    </a:lnTo>
                    <a:lnTo>
                      <a:pt x="317159" y="170531"/>
                    </a:lnTo>
                    <a:lnTo>
                      <a:pt x="318421" y="187216"/>
                    </a:lnTo>
                    <a:lnTo>
                      <a:pt x="322099" y="195586"/>
                    </a:lnTo>
                    <a:lnTo>
                      <a:pt x="328411" y="204478"/>
                    </a:lnTo>
                    <a:lnTo>
                      <a:pt x="334887" y="203435"/>
                    </a:lnTo>
                    <a:lnTo>
                      <a:pt x="341995" y="205740"/>
                    </a:lnTo>
                    <a:lnTo>
                      <a:pt x="342626" y="220532"/>
                    </a:lnTo>
                    <a:lnTo>
                      <a:pt x="346249" y="226460"/>
                    </a:lnTo>
                    <a:lnTo>
                      <a:pt x="333350" y="226460"/>
                    </a:lnTo>
                    <a:lnTo>
                      <a:pt x="331155" y="222124"/>
                    </a:lnTo>
                    <a:lnTo>
                      <a:pt x="331841" y="218199"/>
                    </a:lnTo>
                    <a:lnTo>
                      <a:pt x="328218" y="217678"/>
                    </a:lnTo>
                    <a:lnTo>
                      <a:pt x="327395" y="215126"/>
                    </a:lnTo>
                    <a:lnTo>
                      <a:pt x="304343" y="222892"/>
                    </a:lnTo>
                    <a:lnTo>
                      <a:pt x="300089" y="226460"/>
                    </a:lnTo>
                    <a:lnTo>
                      <a:pt x="288783" y="238425"/>
                    </a:lnTo>
                    <a:lnTo>
                      <a:pt x="274073" y="251899"/>
                    </a:lnTo>
                    <a:lnTo>
                      <a:pt x="265402" y="251350"/>
                    </a:lnTo>
                    <a:lnTo>
                      <a:pt x="259611" y="248963"/>
                    </a:lnTo>
                    <a:lnTo>
                      <a:pt x="241581" y="252585"/>
                    </a:lnTo>
                    <a:lnTo>
                      <a:pt x="236284" y="255741"/>
                    </a:lnTo>
                    <a:lnTo>
                      <a:pt x="234940" y="258925"/>
                    </a:lnTo>
                    <a:lnTo>
                      <a:pt x="228985" y="256455"/>
                    </a:lnTo>
                    <a:lnTo>
                      <a:pt x="225252" y="250939"/>
                    </a:lnTo>
                    <a:lnTo>
                      <a:pt x="216773" y="254534"/>
                    </a:lnTo>
                    <a:lnTo>
                      <a:pt x="206866" y="250884"/>
                    </a:lnTo>
                    <a:lnTo>
                      <a:pt x="199977" y="254259"/>
                    </a:lnTo>
                    <a:lnTo>
                      <a:pt x="196465" y="259803"/>
                    </a:lnTo>
                    <a:lnTo>
                      <a:pt x="194022" y="255357"/>
                    </a:lnTo>
                    <a:lnTo>
                      <a:pt x="188259" y="255933"/>
                    </a:lnTo>
                    <a:lnTo>
                      <a:pt x="187326" y="249237"/>
                    </a:lnTo>
                    <a:lnTo>
                      <a:pt x="178105" y="245944"/>
                    </a:lnTo>
                    <a:lnTo>
                      <a:pt x="171190" y="238150"/>
                    </a:lnTo>
                    <a:lnTo>
                      <a:pt x="165756" y="233430"/>
                    </a:lnTo>
                    <a:lnTo>
                      <a:pt x="165290" y="228271"/>
                    </a:lnTo>
                    <a:lnTo>
                      <a:pt x="158182" y="225197"/>
                    </a:lnTo>
                    <a:lnTo>
                      <a:pt x="156123" y="225499"/>
                    </a:lnTo>
                    <a:lnTo>
                      <a:pt x="154038" y="230000"/>
                    </a:lnTo>
                    <a:lnTo>
                      <a:pt x="148412" y="234006"/>
                    </a:lnTo>
                    <a:lnTo>
                      <a:pt x="135075" y="228710"/>
                    </a:lnTo>
                    <a:lnTo>
                      <a:pt x="124234" y="236257"/>
                    </a:lnTo>
                    <a:lnTo>
                      <a:pt x="114657" y="231893"/>
                    </a:lnTo>
                    <a:lnTo>
                      <a:pt x="112956" y="228655"/>
                    </a:lnTo>
                    <a:lnTo>
                      <a:pt x="107933" y="227722"/>
                    </a:lnTo>
                    <a:lnTo>
                      <a:pt x="102939" y="219324"/>
                    </a:lnTo>
                    <a:lnTo>
                      <a:pt x="96188" y="214659"/>
                    </a:lnTo>
                    <a:lnTo>
                      <a:pt x="91001" y="205877"/>
                    </a:lnTo>
                    <a:lnTo>
                      <a:pt x="90864" y="198248"/>
                    </a:lnTo>
                    <a:lnTo>
                      <a:pt x="88312" y="193748"/>
                    </a:lnTo>
                    <a:lnTo>
                      <a:pt x="78377" y="186530"/>
                    </a:lnTo>
                    <a:lnTo>
                      <a:pt x="72011" y="185021"/>
                    </a:lnTo>
                    <a:lnTo>
                      <a:pt x="69184" y="182578"/>
                    </a:lnTo>
                    <a:lnTo>
                      <a:pt x="68224" y="178791"/>
                    </a:lnTo>
                    <a:lnTo>
                      <a:pt x="63146" y="172671"/>
                    </a:lnTo>
                    <a:lnTo>
                      <a:pt x="64244" y="165893"/>
                    </a:lnTo>
                    <a:lnTo>
                      <a:pt x="56972" y="161173"/>
                    </a:lnTo>
                    <a:lnTo>
                      <a:pt x="53185" y="155465"/>
                    </a:lnTo>
                    <a:lnTo>
                      <a:pt x="37433" y="146875"/>
                    </a:lnTo>
                    <a:lnTo>
                      <a:pt x="36198" y="146189"/>
                    </a:lnTo>
                    <a:lnTo>
                      <a:pt x="30819" y="141634"/>
                    </a:lnTo>
                    <a:lnTo>
                      <a:pt x="29858" y="139026"/>
                    </a:lnTo>
                    <a:lnTo>
                      <a:pt x="32520" y="134169"/>
                    </a:lnTo>
                    <a:lnTo>
                      <a:pt x="30572" y="130272"/>
                    </a:lnTo>
                    <a:lnTo>
                      <a:pt x="24205" y="127610"/>
                    </a:lnTo>
                    <a:lnTo>
                      <a:pt x="18497" y="121133"/>
                    </a:lnTo>
                    <a:lnTo>
                      <a:pt x="1509" y="116989"/>
                    </a:lnTo>
                    <a:lnTo>
                      <a:pt x="467" y="113971"/>
                    </a:lnTo>
                    <a:lnTo>
                      <a:pt x="0" y="112654"/>
                    </a:lnTo>
                    <a:lnTo>
                      <a:pt x="1455" y="107330"/>
                    </a:lnTo>
                    <a:lnTo>
                      <a:pt x="11279" y="99755"/>
                    </a:lnTo>
                    <a:lnTo>
                      <a:pt x="11499" y="96984"/>
                    </a:lnTo>
                    <a:lnTo>
                      <a:pt x="12432" y="85457"/>
                    </a:lnTo>
                    <a:lnTo>
                      <a:pt x="16603" y="81506"/>
                    </a:lnTo>
                    <a:lnTo>
                      <a:pt x="16768" y="74151"/>
                    </a:lnTo>
                    <a:lnTo>
                      <a:pt x="23574" y="67400"/>
                    </a:lnTo>
                    <a:lnTo>
                      <a:pt x="25742" y="61665"/>
                    </a:lnTo>
                    <a:lnTo>
                      <a:pt x="27224" y="58481"/>
                    </a:lnTo>
                    <a:lnTo>
                      <a:pt x="30270" y="56972"/>
                    </a:lnTo>
                    <a:lnTo>
                      <a:pt x="37460" y="56066"/>
                    </a:lnTo>
                    <a:lnTo>
                      <a:pt x="48711" y="54612"/>
                    </a:lnTo>
                    <a:lnTo>
                      <a:pt x="52526" y="61665"/>
                    </a:lnTo>
                    <a:lnTo>
                      <a:pt x="59688" y="69458"/>
                    </a:lnTo>
                    <a:lnTo>
                      <a:pt x="63119" y="77554"/>
                    </a:lnTo>
                    <a:lnTo>
                      <a:pt x="69733" y="81122"/>
                    </a:lnTo>
                    <a:lnTo>
                      <a:pt x="75249" y="81808"/>
                    </a:lnTo>
                    <a:lnTo>
                      <a:pt x="87681" y="78103"/>
                    </a:lnTo>
                    <a:lnTo>
                      <a:pt x="109854" y="78487"/>
                    </a:lnTo>
                    <a:lnTo>
                      <a:pt x="113257" y="85457"/>
                    </a:lnTo>
                    <a:lnTo>
                      <a:pt x="115370" y="86391"/>
                    </a:lnTo>
                    <a:lnTo>
                      <a:pt x="133977" y="86253"/>
                    </a:lnTo>
                    <a:lnTo>
                      <a:pt x="135020" y="85457"/>
                    </a:lnTo>
                    <a:lnTo>
                      <a:pt x="141305" y="77526"/>
                    </a:lnTo>
                    <a:lnTo>
                      <a:pt x="145119" y="74398"/>
                    </a:lnTo>
                    <a:lnTo>
                      <a:pt x="157084" y="73932"/>
                    </a:lnTo>
                    <a:lnTo>
                      <a:pt x="158401" y="64464"/>
                    </a:lnTo>
                    <a:lnTo>
                      <a:pt x="164082" y="61637"/>
                    </a:lnTo>
                    <a:lnTo>
                      <a:pt x="170449" y="58454"/>
                    </a:lnTo>
                    <a:lnTo>
                      <a:pt x="175389" y="61637"/>
                    </a:lnTo>
                    <a:lnTo>
                      <a:pt x="195422" y="74563"/>
                    </a:lnTo>
                    <a:lnTo>
                      <a:pt x="210378" y="72999"/>
                    </a:lnTo>
                    <a:lnTo>
                      <a:pt x="220450" y="61610"/>
                    </a:lnTo>
                    <a:lnTo>
                      <a:pt x="223990" y="57576"/>
                    </a:lnTo>
                    <a:lnTo>
                      <a:pt x="229862" y="47861"/>
                    </a:lnTo>
                    <a:lnTo>
                      <a:pt x="231564" y="46324"/>
                    </a:lnTo>
                    <a:lnTo>
                      <a:pt x="243282" y="35676"/>
                    </a:lnTo>
                    <a:lnTo>
                      <a:pt x="241169" y="16521"/>
                    </a:lnTo>
                    <a:lnTo>
                      <a:pt x="235653" y="9276"/>
                    </a:lnTo>
                    <a:lnTo>
                      <a:pt x="251378" y="8096"/>
                    </a:lnTo>
                    <a:lnTo>
                      <a:pt x="252339" y="741"/>
                    </a:lnTo>
                    <a:lnTo>
                      <a:pt x="254644" y="0"/>
                    </a:lnTo>
                    <a:lnTo>
                      <a:pt x="267405" y="851"/>
                    </a:lnTo>
                    <a:lnTo>
                      <a:pt x="263892" y="18634"/>
                    </a:lnTo>
                    <a:lnTo>
                      <a:pt x="266801" y="44183"/>
                    </a:lnTo>
                    <a:lnTo>
                      <a:pt x="271192" y="46324"/>
                    </a:lnTo>
                    <a:lnTo>
                      <a:pt x="274211" y="47778"/>
                    </a:lnTo>
                    <a:lnTo>
                      <a:pt x="286807" y="61610"/>
                    </a:lnTo>
                    <a:lnTo>
                      <a:pt x="288042" y="62927"/>
                    </a:lnTo>
                    <a:lnTo>
                      <a:pt x="288728" y="69102"/>
                    </a:lnTo>
                    <a:lnTo>
                      <a:pt x="286203" y="79804"/>
                    </a:lnTo>
                    <a:lnTo>
                      <a:pt x="287274" y="81533"/>
                    </a:lnTo>
                    <a:lnTo>
                      <a:pt x="292405" y="817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5" name="Freeform: Shape 4164">
                <a:extLst>
                  <a:ext uri="{FF2B5EF4-FFF2-40B4-BE49-F238E27FC236}">
                    <a16:creationId xmlns:a16="http://schemas.microsoft.com/office/drawing/2014/main" id="{BF7257BB-5EFC-5155-1481-8341EB0FF615}"/>
                  </a:ext>
                </a:extLst>
              </p:cNvPr>
              <p:cNvSpPr/>
              <p:nvPr/>
            </p:nvSpPr>
            <p:spPr>
              <a:xfrm>
                <a:off x="1088928" y="3799750"/>
                <a:ext cx="7353" cy="3953"/>
              </a:xfrm>
              <a:custGeom>
                <a:avLst/>
                <a:gdLst>
                  <a:gd name="connsiteX0" fmla="*/ 67867 w 70501"/>
                  <a:gd name="connsiteY0" fmla="*/ 30654 h 37898"/>
                  <a:gd name="connsiteX1" fmla="*/ 66769 w 70501"/>
                  <a:gd name="connsiteY1" fmla="*/ 31532 h 37898"/>
                  <a:gd name="connsiteX2" fmla="*/ 68113 w 70501"/>
                  <a:gd name="connsiteY2" fmla="*/ 34221 h 37898"/>
                  <a:gd name="connsiteX3" fmla="*/ 64656 w 70501"/>
                  <a:gd name="connsiteY3" fmla="*/ 37899 h 37898"/>
                  <a:gd name="connsiteX4" fmla="*/ 49233 w 70501"/>
                  <a:gd name="connsiteY4" fmla="*/ 37762 h 37898"/>
                  <a:gd name="connsiteX5" fmla="*/ 38612 w 70501"/>
                  <a:gd name="connsiteY5" fmla="*/ 35319 h 37898"/>
                  <a:gd name="connsiteX6" fmla="*/ 24561 w 70501"/>
                  <a:gd name="connsiteY6" fmla="*/ 28568 h 37898"/>
                  <a:gd name="connsiteX7" fmla="*/ 9770 w 70501"/>
                  <a:gd name="connsiteY7" fmla="*/ 26729 h 37898"/>
                  <a:gd name="connsiteX8" fmla="*/ 0 w 70501"/>
                  <a:gd name="connsiteY8" fmla="*/ 20527 h 37898"/>
                  <a:gd name="connsiteX9" fmla="*/ 3074 w 70501"/>
                  <a:gd name="connsiteY9" fmla="*/ 14709 h 37898"/>
                  <a:gd name="connsiteX10" fmla="*/ 11032 w 70501"/>
                  <a:gd name="connsiteY10" fmla="*/ 11115 h 37898"/>
                  <a:gd name="connsiteX11" fmla="*/ 13337 w 70501"/>
                  <a:gd name="connsiteY11" fmla="*/ 7684 h 37898"/>
                  <a:gd name="connsiteX12" fmla="*/ 17070 w 70501"/>
                  <a:gd name="connsiteY12" fmla="*/ 5845 h 37898"/>
                  <a:gd name="connsiteX13" fmla="*/ 16685 w 70501"/>
                  <a:gd name="connsiteY13" fmla="*/ 768 h 37898"/>
                  <a:gd name="connsiteX14" fmla="*/ 22695 w 70501"/>
                  <a:gd name="connsiteY14" fmla="*/ 0 h 37898"/>
                  <a:gd name="connsiteX15" fmla="*/ 30572 w 70501"/>
                  <a:gd name="connsiteY15" fmla="*/ 1400 h 37898"/>
                  <a:gd name="connsiteX16" fmla="*/ 33673 w 70501"/>
                  <a:gd name="connsiteY16" fmla="*/ 5735 h 37898"/>
                  <a:gd name="connsiteX17" fmla="*/ 46845 w 70501"/>
                  <a:gd name="connsiteY17" fmla="*/ 13447 h 37898"/>
                  <a:gd name="connsiteX18" fmla="*/ 48821 w 70501"/>
                  <a:gd name="connsiteY18" fmla="*/ 16686 h 37898"/>
                  <a:gd name="connsiteX19" fmla="*/ 57932 w 70501"/>
                  <a:gd name="connsiteY19" fmla="*/ 12953 h 37898"/>
                  <a:gd name="connsiteX20" fmla="*/ 62323 w 70501"/>
                  <a:gd name="connsiteY20" fmla="*/ 15999 h 37898"/>
                  <a:gd name="connsiteX21" fmla="*/ 69101 w 70501"/>
                  <a:gd name="connsiteY21" fmla="*/ 16768 h 37898"/>
                  <a:gd name="connsiteX22" fmla="*/ 70501 w 70501"/>
                  <a:gd name="connsiteY22" fmla="*/ 18798 h 37898"/>
                  <a:gd name="connsiteX23" fmla="*/ 69074 w 70501"/>
                  <a:gd name="connsiteY23" fmla="*/ 26565 h 37898"/>
                  <a:gd name="connsiteX24" fmla="*/ 70419 w 70501"/>
                  <a:gd name="connsiteY24" fmla="*/ 28651 h 37898"/>
                  <a:gd name="connsiteX25" fmla="*/ 67867 w 70501"/>
                  <a:gd name="connsiteY25" fmla="*/ 30626 h 3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501" h="37898">
                    <a:moveTo>
                      <a:pt x="67867" y="30654"/>
                    </a:moveTo>
                    <a:lnTo>
                      <a:pt x="66769" y="31532"/>
                    </a:lnTo>
                    <a:lnTo>
                      <a:pt x="68113" y="34221"/>
                    </a:lnTo>
                    <a:lnTo>
                      <a:pt x="64656" y="37899"/>
                    </a:lnTo>
                    <a:lnTo>
                      <a:pt x="49233" y="37762"/>
                    </a:lnTo>
                    <a:lnTo>
                      <a:pt x="38612" y="35319"/>
                    </a:lnTo>
                    <a:lnTo>
                      <a:pt x="24561" y="28568"/>
                    </a:lnTo>
                    <a:lnTo>
                      <a:pt x="9770" y="26729"/>
                    </a:lnTo>
                    <a:lnTo>
                      <a:pt x="0" y="20527"/>
                    </a:lnTo>
                    <a:lnTo>
                      <a:pt x="3074" y="14709"/>
                    </a:lnTo>
                    <a:lnTo>
                      <a:pt x="11032" y="11115"/>
                    </a:lnTo>
                    <a:lnTo>
                      <a:pt x="13337" y="7684"/>
                    </a:lnTo>
                    <a:lnTo>
                      <a:pt x="17070" y="5845"/>
                    </a:lnTo>
                    <a:lnTo>
                      <a:pt x="16685" y="768"/>
                    </a:lnTo>
                    <a:lnTo>
                      <a:pt x="22695" y="0"/>
                    </a:lnTo>
                    <a:lnTo>
                      <a:pt x="30572" y="1400"/>
                    </a:lnTo>
                    <a:lnTo>
                      <a:pt x="33673" y="5735"/>
                    </a:lnTo>
                    <a:lnTo>
                      <a:pt x="46845" y="13447"/>
                    </a:lnTo>
                    <a:lnTo>
                      <a:pt x="48821" y="16686"/>
                    </a:lnTo>
                    <a:lnTo>
                      <a:pt x="57932" y="12953"/>
                    </a:lnTo>
                    <a:lnTo>
                      <a:pt x="62323" y="15999"/>
                    </a:lnTo>
                    <a:lnTo>
                      <a:pt x="69101" y="16768"/>
                    </a:lnTo>
                    <a:lnTo>
                      <a:pt x="70501" y="18798"/>
                    </a:lnTo>
                    <a:lnTo>
                      <a:pt x="69074" y="26565"/>
                    </a:lnTo>
                    <a:lnTo>
                      <a:pt x="70419" y="28651"/>
                    </a:lnTo>
                    <a:lnTo>
                      <a:pt x="67867" y="306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6" name="Freeform: Shape 4165">
                <a:extLst>
                  <a:ext uri="{FF2B5EF4-FFF2-40B4-BE49-F238E27FC236}">
                    <a16:creationId xmlns:a16="http://schemas.microsoft.com/office/drawing/2014/main" id="{BB5C6FDC-9B85-CC14-9234-B8C9A93B3F74}"/>
                  </a:ext>
                </a:extLst>
              </p:cNvPr>
              <p:cNvSpPr/>
              <p:nvPr/>
            </p:nvSpPr>
            <p:spPr>
              <a:xfrm>
                <a:off x="1171864" y="3788126"/>
                <a:ext cx="209" cy="146"/>
              </a:xfrm>
              <a:custGeom>
                <a:avLst/>
                <a:gdLst>
                  <a:gd name="connsiteX0" fmla="*/ 0 w 2003"/>
                  <a:gd name="connsiteY0" fmla="*/ 302 h 1399"/>
                  <a:gd name="connsiteX1" fmla="*/ 2003 w 2003"/>
                  <a:gd name="connsiteY1" fmla="*/ 0 h 1399"/>
                  <a:gd name="connsiteX2" fmla="*/ 1427 w 2003"/>
                  <a:gd name="connsiteY2" fmla="*/ 1400 h 1399"/>
                  <a:gd name="connsiteX3" fmla="*/ 0 w 2003"/>
                  <a:gd name="connsiteY3" fmla="*/ 988 h 1399"/>
                  <a:gd name="connsiteX4" fmla="*/ 0 w 2003"/>
                  <a:gd name="connsiteY4" fmla="*/ 302 h 1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3" h="1399">
                    <a:moveTo>
                      <a:pt x="0" y="302"/>
                    </a:moveTo>
                    <a:lnTo>
                      <a:pt x="2003" y="0"/>
                    </a:lnTo>
                    <a:lnTo>
                      <a:pt x="1427" y="1400"/>
                    </a:lnTo>
                    <a:lnTo>
                      <a:pt x="0" y="988"/>
                    </a:lnTo>
                    <a:lnTo>
                      <a:pt x="0" y="3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7" name="Freeform: Shape 4166">
                <a:extLst>
                  <a:ext uri="{FF2B5EF4-FFF2-40B4-BE49-F238E27FC236}">
                    <a16:creationId xmlns:a16="http://schemas.microsoft.com/office/drawing/2014/main" id="{2BF1DBF3-4B26-163F-7006-D5892619F44B}"/>
                  </a:ext>
                </a:extLst>
              </p:cNvPr>
              <p:cNvSpPr/>
              <p:nvPr/>
            </p:nvSpPr>
            <p:spPr>
              <a:xfrm>
                <a:off x="1474667" y="3721044"/>
                <a:ext cx="20657" cy="18511"/>
              </a:xfrm>
              <a:custGeom>
                <a:avLst/>
                <a:gdLst>
                  <a:gd name="connsiteX0" fmla="*/ 198056 w 198055"/>
                  <a:gd name="connsiteY0" fmla="*/ 6394 h 177473"/>
                  <a:gd name="connsiteX1" fmla="*/ 197781 w 198055"/>
                  <a:gd name="connsiteY1" fmla="*/ 8974 h 177473"/>
                  <a:gd name="connsiteX2" fmla="*/ 183731 w 198055"/>
                  <a:gd name="connsiteY2" fmla="*/ 24259 h 177473"/>
                  <a:gd name="connsiteX3" fmla="*/ 171491 w 198055"/>
                  <a:gd name="connsiteY3" fmla="*/ 27662 h 177473"/>
                  <a:gd name="connsiteX4" fmla="*/ 166551 w 198055"/>
                  <a:gd name="connsiteY4" fmla="*/ 36829 h 177473"/>
                  <a:gd name="connsiteX5" fmla="*/ 166003 w 198055"/>
                  <a:gd name="connsiteY5" fmla="*/ 44979 h 177473"/>
                  <a:gd name="connsiteX6" fmla="*/ 169625 w 198055"/>
                  <a:gd name="connsiteY6" fmla="*/ 59057 h 177473"/>
                  <a:gd name="connsiteX7" fmla="*/ 165975 w 198055"/>
                  <a:gd name="connsiteY7" fmla="*/ 68909 h 177473"/>
                  <a:gd name="connsiteX8" fmla="*/ 164849 w 198055"/>
                  <a:gd name="connsiteY8" fmla="*/ 90617 h 177473"/>
                  <a:gd name="connsiteX9" fmla="*/ 158621 w 198055"/>
                  <a:gd name="connsiteY9" fmla="*/ 103268 h 177473"/>
                  <a:gd name="connsiteX10" fmla="*/ 93224 w 198055"/>
                  <a:gd name="connsiteY10" fmla="*/ 140920 h 177473"/>
                  <a:gd name="connsiteX11" fmla="*/ 35813 w 198055"/>
                  <a:gd name="connsiteY11" fmla="*/ 177474 h 177473"/>
                  <a:gd name="connsiteX12" fmla="*/ 24424 w 198055"/>
                  <a:gd name="connsiteY12" fmla="*/ 175992 h 177473"/>
                  <a:gd name="connsiteX13" fmla="*/ 14463 w 198055"/>
                  <a:gd name="connsiteY13" fmla="*/ 170750 h 177473"/>
                  <a:gd name="connsiteX14" fmla="*/ 8727 w 198055"/>
                  <a:gd name="connsiteY14" fmla="*/ 163725 h 177473"/>
                  <a:gd name="connsiteX15" fmla="*/ 5077 w 198055"/>
                  <a:gd name="connsiteY15" fmla="*/ 162901 h 177473"/>
                  <a:gd name="connsiteX16" fmla="*/ 1427 w 198055"/>
                  <a:gd name="connsiteY16" fmla="*/ 164877 h 177473"/>
                  <a:gd name="connsiteX17" fmla="*/ 0 w 198055"/>
                  <a:gd name="connsiteY17" fmla="*/ 156535 h 177473"/>
                  <a:gd name="connsiteX18" fmla="*/ 1345 w 198055"/>
                  <a:gd name="connsiteY18" fmla="*/ 146436 h 177473"/>
                  <a:gd name="connsiteX19" fmla="*/ 27 w 198055"/>
                  <a:gd name="connsiteY19" fmla="*/ 145558 h 177473"/>
                  <a:gd name="connsiteX20" fmla="*/ 11828 w 198055"/>
                  <a:gd name="connsiteY20" fmla="*/ 134498 h 177473"/>
                  <a:gd name="connsiteX21" fmla="*/ 9742 w 198055"/>
                  <a:gd name="connsiteY21" fmla="*/ 131123 h 177473"/>
                  <a:gd name="connsiteX22" fmla="*/ 10977 w 198055"/>
                  <a:gd name="connsiteY22" fmla="*/ 128131 h 177473"/>
                  <a:gd name="connsiteX23" fmla="*/ 13173 w 198055"/>
                  <a:gd name="connsiteY23" fmla="*/ 125332 h 177473"/>
                  <a:gd name="connsiteX24" fmla="*/ 14463 w 198055"/>
                  <a:gd name="connsiteY24" fmla="*/ 124728 h 177473"/>
                  <a:gd name="connsiteX25" fmla="*/ 21351 w 198055"/>
                  <a:gd name="connsiteY25" fmla="*/ 124536 h 177473"/>
                  <a:gd name="connsiteX26" fmla="*/ 20308 w 198055"/>
                  <a:gd name="connsiteY26" fmla="*/ 120832 h 177473"/>
                  <a:gd name="connsiteX27" fmla="*/ 25769 w 198055"/>
                  <a:gd name="connsiteY27" fmla="*/ 116523 h 177473"/>
                  <a:gd name="connsiteX28" fmla="*/ 29034 w 198055"/>
                  <a:gd name="connsiteY28" fmla="*/ 110705 h 177473"/>
                  <a:gd name="connsiteX29" fmla="*/ 26482 w 198055"/>
                  <a:gd name="connsiteY29" fmla="*/ 103240 h 177473"/>
                  <a:gd name="connsiteX30" fmla="*/ 22448 w 198055"/>
                  <a:gd name="connsiteY30" fmla="*/ 99838 h 177473"/>
                  <a:gd name="connsiteX31" fmla="*/ 22037 w 198055"/>
                  <a:gd name="connsiteY31" fmla="*/ 95804 h 177473"/>
                  <a:gd name="connsiteX32" fmla="*/ 14435 w 198055"/>
                  <a:gd name="connsiteY32" fmla="*/ 96105 h 177473"/>
                  <a:gd name="connsiteX33" fmla="*/ 10319 w 198055"/>
                  <a:gd name="connsiteY33" fmla="*/ 96242 h 177473"/>
                  <a:gd name="connsiteX34" fmla="*/ 7409 w 198055"/>
                  <a:gd name="connsiteY34" fmla="*/ 86583 h 177473"/>
                  <a:gd name="connsiteX35" fmla="*/ 9248 w 198055"/>
                  <a:gd name="connsiteY35" fmla="*/ 75935 h 177473"/>
                  <a:gd name="connsiteX36" fmla="*/ 8205 w 198055"/>
                  <a:gd name="connsiteY36" fmla="*/ 68964 h 177473"/>
                  <a:gd name="connsiteX37" fmla="*/ 3814 w 198055"/>
                  <a:gd name="connsiteY37" fmla="*/ 62707 h 177473"/>
                  <a:gd name="connsiteX38" fmla="*/ 6312 w 198055"/>
                  <a:gd name="connsiteY38" fmla="*/ 52636 h 177473"/>
                  <a:gd name="connsiteX39" fmla="*/ 8589 w 198055"/>
                  <a:gd name="connsiteY39" fmla="*/ 49562 h 177473"/>
                  <a:gd name="connsiteX40" fmla="*/ 14408 w 198055"/>
                  <a:gd name="connsiteY40" fmla="*/ 52114 h 177473"/>
                  <a:gd name="connsiteX41" fmla="*/ 21652 w 198055"/>
                  <a:gd name="connsiteY41" fmla="*/ 46598 h 177473"/>
                  <a:gd name="connsiteX42" fmla="*/ 23079 w 198055"/>
                  <a:gd name="connsiteY42" fmla="*/ 39436 h 177473"/>
                  <a:gd name="connsiteX43" fmla="*/ 30818 w 198055"/>
                  <a:gd name="connsiteY43" fmla="*/ 37844 h 177473"/>
                  <a:gd name="connsiteX44" fmla="*/ 27553 w 198055"/>
                  <a:gd name="connsiteY44" fmla="*/ 27662 h 177473"/>
                  <a:gd name="connsiteX45" fmla="*/ 30461 w 198055"/>
                  <a:gd name="connsiteY45" fmla="*/ 16521 h 177473"/>
                  <a:gd name="connsiteX46" fmla="*/ 31038 w 198055"/>
                  <a:gd name="connsiteY46" fmla="*/ 16521 h 177473"/>
                  <a:gd name="connsiteX47" fmla="*/ 45034 w 198055"/>
                  <a:gd name="connsiteY47" fmla="*/ 22805 h 177473"/>
                  <a:gd name="connsiteX48" fmla="*/ 57713 w 198055"/>
                  <a:gd name="connsiteY48" fmla="*/ 21268 h 177473"/>
                  <a:gd name="connsiteX49" fmla="*/ 71297 w 198055"/>
                  <a:gd name="connsiteY49" fmla="*/ 16054 h 177473"/>
                  <a:gd name="connsiteX50" fmla="*/ 81067 w 198055"/>
                  <a:gd name="connsiteY50" fmla="*/ 14243 h 177473"/>
                  <a:gd name="connsiteX51" fmla="*/ 91797 w 198055"/>
                  <a:gd name="connsiteY51" fmla="*/ 21131 h 177473"/>
                  <a:gd name="connsiteX52" fmla="*/ 106396 w 198055"/>
                  <a:gd name="connsiteY52" fmla="*/ 22449 h 177473"/>
                  <a:gd name="connsiteX53" fmla="*/ 123438 w 198055"/>
                  <a:gd name="connsiteY53" fmla="*/ 19320 h 177473"/>
                  <a:gd name="connsiteX54" fmla="*/ 135348 w 198055"/>
                  <a:gd name="connsiteY54" fmla="*/ 13996 h 177473"/>
                  <a:gd name="connsiteX55" fmla="*/ 152006 w 198055"/>
                  <a:gd name="connsiteY55" fmla="*/ 6010 h 177473"/>
                  <a:gd name="connsiteX56" fmla="*/ 177611 w 198055"/>
                  <a:gd name="connsiteY56" fmla="*/ 6559 h 177473"/>
                  <a:gd name="connsiteX57" fmla="*/ 193774 w 198055"/>
                  <a:gd name="connsiteY57" fmla="*/ 0 h 177473"/>
                  <a:gd name="connsiteX58" fmla="*/ 197177 w 198055"/>
                  <a:gd name="connsiteY58" fmla="*/ 1537 h 177473"/>
                  <a:gd name="connsiteX59" fmla="*/ 197973 w 198055"/>
                  <a:gd name="connsiteY59" fmla="*/ 6367 h 177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98055" h="177473">
                    <a:moveTo>
                      <a:pt x="198056" y="6394"/>
                    </a:moveTo>
                    <a:lnTo>
                      <a:pt x="197781" y="8974"/>
                    </a:lnTo>
                    <a:lnTo>
                      <a:pt x="183731" y="24259"/>
                    </a:lnTo>
                    <a:lnTo>
                      <a:pt x="171491" y="27662"/>
                    </a:lnTo>
                    <a:lnTo>
                      <a:pt x="166551" y="36829"/>
                    </a:lnTo>
                    <a:lnTo>
                      <a:pt x="166003" y="44979"/>
                    </a:lnTo>
                    <a:lnTo>
                      <a:pt x="169625" y="59057"/>
                    </a:lnTo>
                    <a:lnTo>
                      <a:pt x="165975" y="68909"/>
                    </a:lnTo>
                    <a:lnTo>
                      <a:pt x="164849" y="90617"/>
                    </a:lnTo>
                    <a:lnTo>
                      <a:pt x="158621" y="103268"/>
                    </a:lnTo>
                    <a:lnTo>
                      <a:pt x="93224" y="140920"/>
                    </a:lnTo>
                    <a:lnTo>
                      <a:pt x="35813" y="177474"/>
                    </a:lnTo>
                    <a:lnTo>
                      <a:pt x="24424" y="175992"/>
                    </a:lnTo>
                    <a:lnTo>
                      <a:pt x="14463" y="170750"/>
                    </a:lnTo>
                    <a:lnTo>
                      <a:pt x="8727" y="163725"/>
                    </a:lnTo>
                    <a:lnTo>
                      <a:pt x="5077" y="162901"/>
                    </a:lnTo>
                    <a:lnTo>
                      <a:pt x="1427" y="164877"/>
                    </a:lnTo>
                    <a:lnTo>
                      <a:pt x="0" y="156535"/>
                    </a:lnTo>
                    <a:lnTo>
                      <a:pt x="1345" y="146436"/>
                    </a:lnTo>
                    <a:lnTo>
                      <a:pt x="27" y="145558"/>
                    </a:lnTo>
                    <a:lnTo>
                      <a:pt x="11828" y="134498"/>
                    </a:lnTo>
                    <a:lnTo>
                      <a:pt x="9742" y="131123"/>
                    </a:lnTo>
                    <a:lnTo>
                      <a:pt x="10977" y="128131"/>
                    </a:lnTo>
                    <a:lnTo>
                      <a:pt x="13173" y="125332"/>
                    </a:lnTo>
                    <a:lnTo>
                      <a:pt x="14463" y="124728"/>
                    </a:lnTo>
                    <a:lnTo>
                      <a:pt x="21351" y="124536"/>
                    </a:lnTo>
                    <a:lnTo>
                      <a:pt x="20308" y="120832"/>
                    </a:lnTo>
                    <a:lnTo>
                      <a:pt x="25769" y="116523"/>
                    </a:lnTo>
                    <a:lnTo>
                      <a:pt x="29034" y="110705"/>
                    </a:lnTo>
                    <a:lnTo>
                      <a:pt x="26482" y="103240"/>
                    </a:lnTo>
                    <a:lnTo>
                      <a:pt x="22448" y="99838"/>
                    </a:lnTo>
                    <a:lnTo>
                      <a:pt x="22037" y="95804"/>
                    </a:lnTo>
                    <a:lnTo>
                      <a:pt x="14435" y="96105"/>
                    </a:lnTo>
                    <a:lnTo>
                      <a:pt x="10319" y="96242"/>
                    </a:lnTo>
                    <a:lnTo>
                      <a:pt x="7409" y="86583"/>
                    </a:lnTo>
                    <a:lnTo>
                      <a:pt x="9248" y="75935"/>
                    </a:lnTo>
                    <a:lnTo>
                      <a:pt x="8205" y="68964"/>
                    </a:lnTo>
                    <a:lnTo>
                      <a:pt x="3814" y="62707"/>
                    </a:lnTo>
                    <a:lnTo>
                      <a:pt x="6312" y="52636"/>
                    </a:lnTo>
                    <a:lnTo>
                      <a:pt x="8589" y="49562"/>
                    </a:lnTo>
                    <a:lnTo>
                      <a:pt x="14408" y="52114"/>
                    </a:lnTo>
                    <a:lnTo>
                      <a:pt x="21652" y="46598"/>
                    </a:lnTo>
                    <a:lnTo>
                      <a:pt x="23079" y="39436"/>
                    </a:lnTo>
                    <a:lnTo>
                      <a:pt x="30818" y="37844"/>
                    </a:lnTo>
                    <a:lnTo>
                      <a:pt x="27553" y="27662"/>
                    </a:lnTo>
                    <a:lnTo>
                      <a:pt x="30461" y="16521"/>
                    </a:lnTo>
                    <a:lnTo>
                      <a:pt x="31038" y="16521"/>
                    </a:lnTo>
                    <a:cubicBezTo>
                      <a:pt x="31038" y="16521"/>
                      <a:pt x="45034" y="22805"/>
                      <a:pt x="45034" y="22805"/>
                    </a:cubicBezTo>
                    <a:lnTo>
                      <a:pt x="57713" y="21268"/>
                    </a:lnTo>
                    <a:lnTo>
                      <a:pt x="71297" y="16054"/>
                    </a:lnTo>
                    <a:lnTo>
                      <a:pt x="81067" y="14243"/>
                    </a:lnTo>
                    <a:lnTo>
                      <a:pt x="91797" y="21131"/>
                    </a:lnTo>
                    <a:lnTo>
                      <a:pt x="106396" y="22449"/>
                    </a:lnTo>
                    <a:lnTo>
                      <a:pt x="123438" y="19320"/>
                    </a:lnTo>
                    <a:lnTo>
                      <a:pt x="135348" y="13996"/>
                    </a:lnTo>
                    <a:lnTo>
                      <a:pt x="152006" y="6010"/>
                    </a:lnTo>
                    <a:lnTo>
                      <a:pt x="177611" y="6559"/>
                    </a:lnTo>
                    <a:lnTo>
                      <a:pt x="193774" y="0"/>
                    </a:lnTo>
                    <a:lnTo>
                      <a:pt x="197177" y="1537"/>
                    </a:lnTo>
                    <a:lnTo>
                      <a:pt x="197973" y="63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8" name="Freeform: Shape 4167">
                <a:extLst>
                  <a:ext uri="{FF2B5EF4-FFF2-40B4-BE49-F238E27FC236}">
                    <a16:creationId xmlns:a16="http://schemas.microsoft.com/office/drawing/2014/main" id="{291DEEAE-2EE4-5DFA-0017-91C8A85E8D99}"/>
                  </a:ext>
                </a:extLst>
              </p:cNvPr>
              <p:cNvSpPr/>
              <p:nvPr/>
            </p:nvSpPr>
            <p:spPr>
              <a:xfrm>
                <a:off x="1459889" y="3926216"/>
                <a:ext cx="4079" cy="5401"/>
              </a:xfrm>
              <a:custGeom>
                <a:avLst/>
                <a:gdLst>
                  <a:gd name="connsiteX0" fmla="*/ 34661 w 39106"/>
                  <a:gd name="connsiteY0" fmla="*/ 6916 h 51785"/>
                  <a:gd name="connsiteX1" fmla="*/ 37981 w 39106"/>
                  <a:gd name="connsiteY1" fmla="*/ 10950 h 51785"/>
                  <a:gd name="connsiteX2" fmla="*/ 39106 w 39106"/>
                  <a:gd name="connsiteY2" fmla="*/ 35923 h 51785"/>
                  <a:gd name="connsiteX3" fmla="*/ 35593 w 39106"/>
                  <a:gd name="connsiteY3" fmla="*/ 36225 h 51785"/>
                  <a:gd name="connsiteX4" fmla="*/ 34002 w 39106"/>
                  <a:gd name="connsiteY4" fmla="*/ 51373 h 51785"/>
                  <a:gd name="connsiteX5" fmla="*/ 21378 w 39106"/>
                  <a:gd name="connsiteY5" fmla="*/ 51785 h 51785"/>
                  <a:gd name="connsiteX6" fmla="*/ 9825 w 39106"/>
                  <a:gd name="connsiteY6" fmla="*/ 47312 h 51785"/>
                  <a:gd name="connsiteX7" fmla="*/ 0 w 39106"/>
                  <a:gd name="connsiteY7" fmla="*/ 33124 h 51785"/>
                  <a:gd name="connsiteX8" fmla="*/ 961 w 39106"/>
                  <a:gd name="connsiteY8" fmla="*/ 22366 h 51785"/>
                  <a:gd name="connsiteX9" fmla="*/ 10236 w 39106"/>
                  <a:gd name="connsiteY9" fmla="*/ 5544 h 51785"/>
                  <a:gd name="connsiteX10" fmla="*/ 15094 w 39106"/>
                  <a:gd name="connsiteY10" fmla="*/ 604 h 51785"/>
                  <a:gd name="connsiteX11" fmla="*/ 18909 w 39106"/>
                  <a:gd name="connsiteY11" fmla="*/ 0 h 51785"/>
                  <a:gd name="connsiteX12" fmla="*/ 30873 w 39106"/>
                  <a:gd name="connsiteY12" fmla="*/ 7959 h 51785"/>
                  <a:gd name="connsiteX13" fmla="*/ 34606 w 39106"/>
                  <a:gd name="connsiteY13" fmla="*/ 6971 h 5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106" h="51785">
                    <a:moveTo>
                      <a:pt x="34661" y="6916"/>
                    </a:moveTo>
                    <a:lnTo>
                      <a:pt x="37981" y="10950"/>
                    </a:lnTo>
                    <a:lnTo>
                      <a:pt x="39106" y="35923"/>
                    </a:lnTo>
                    <a:lnTo>
                      <a:pt x="35593" y="36225"/>
                    </a:lnTo>
                    <a:lnTo>
                      <a:pt x="34002" y="51373"/>
                    </a:lnTo>
                    <a:lnTo>
                      <a:pt x="21378" y="51785"/>
                    </a:lnTo>
                    <a:lnTo>
                      <a:pt x="9825" y="47312"/>
                    </a:lnTo>
                    <a:lnTo>
                      <a:pt x="0" y="33124"/>
                    </a:lnTo>
                    <a:lnTo>
                      <a:pt x="961" y="22366"/>
                    </a:lnTo>
                    <a:lnTo>
                      <a:pt x="10236" y="5544"/>
                    </a:lnTo>
                    <a:lnTo>
                      <a:pt x="15094" y="604"/>
                    </a:lnTo>
                    <a:lnTo>
                      <a:pt x="18909" y="0"/>
                    </a:lnTo>
                    <a:lnTo>
                      <a:pt x="30873" y="7959"/>
                    </a:lnTo>
                    <a:lnTo>
                      <a:pt x="34606" y="69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9" name="Freeform: Shape 4168">
                <a:extLst>
                  <a:ext uri="{FF2B5EF4-FFF2-40B4-BE49-F238E27FC236}">
                    <a16:creationId xmlns:a16="http://schemas.microsoft.com/office/drawing/2014/main" id="{40EFFC43-0848-EA40-D1D3-EEDE99E66D95}"/>
                  </a:ext>
                </a:extLst>
              </p:cNvPr>
              <p:cNvSpPr/>
              <p:nvPr/>
            </p:nvSpPr>
            <p:spPr>
              <a:xfrm>
                <a:off x="1144382" y="3775386"/>
                <a:ext cx="547" cy="518"/>
              </a:xfrm>
              <a:custGeom>
                <a:avLst/>
                <a:gdLst>
                  <a:gd name="connsiteX0" fmla="*/ 5241 w 5241"/>
                  <a:gd name="connsiteY0" fmla="*/ 2964 h 4967"/>
                  <a:gd name="connsiteX1" fmla="*/ 4336 w 5241"/>
                  <a:gd name="connsiteY1" fmla="*/ 4967 h 4967"/>
                  <a:gd name="connsiteX2" fmla="*/ 0 w 5241"/>
                  <a:gd name="connsiteY2" fmla="*/ 933 h 4967"/>
                  <a:gd name="connsiteX3" fmla="*/ 2113 w 5241"/>
                  <a:gd name="connsiteY3" fmla="*/ 0 h 4967"/>
                  <a:gd name="connsiteX4" fmla="*/ 4144 w 5241"/>
                  <a:gd name="connsiteY4" fmla="*/ 522 h 4967"/>
                  <a:gd name="connsiteX5" fmla="*/ 5241 w 5241"/>
                  <a:gd name="connsiteY5" fmla="*/ 2964 h 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41" h="4967">
                    <a:moveTo>
                      <a:pt x="5241" y="2964"/>
                    </a:moveTo>
                    <a:lnTo>
                      <a:pt x="4336" y="4967"/>
                    </a:lnTo>
                    <a:lnTo>
                      <a:pt x="0" y="933"/>
                    </a:lnTo>
                    <a:lnTo>
                      <a:pt x="2113" y="0"/>
                    </a:lnTo>
                    <a:lnTo>
                      <a:pt x="4144" y="522"/>
                    </a:lnTo>
                    <a:lnTo>
                      <a:pt x="5241"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0" name="Freeform: Shape 4169">
                <a:extLst>
                  <a:ext uri="{FF2B5EF4-FFF2-40B4-BE49-F238E27FC236}">
                    <a16:creationId xmlns:a16="http://schemas.microsoft.com/office/drawing/2014/main" id="{25142120-855A-B917-70FC-E2AA31AB57D8}"/>
                  </a:ext>
                </a:extLst>
              </p:cNvPr>
              <p:cNvSpPr/>
              <p:nvPr/>
            </p:nvSpPr>
            <p:spPr>
              <a:xfrm>
                <a:off x="1143767" y="3775786"/>
                <a:ext cx="392" cy="409"/>
              </a:xfrm>
              <a:custGeom>
                <a:avLst/>
                <a:gdLst>
                  <a:gd name="connsiteX0" fmla="*/ 3760 w 3759"/>
                  <a:gd name="connsiteY0" fmla="*/ 2058 h 3924"/>
                  <a:gd name="connsiteX1" fmla="*/ 1948 w 3759"/>
                  <a:gd name="connsiteY1" fmla="*/ 3924 h 3924"/>
                  <a:gd name="connsiteX2" fmla="*/ 0 w 3759"/>
                  <a:gd name="connsiteY2" fmla="*/ 1647 h 3924"/>
                  <a:gd name="connsiteX3" fmla="*/ 2909 w 3759"/>
                  <a:gd name="connsiteY3" fmla="*/ 0 h 3924"/>
                  <a:gd name="connsiteX4" fmla="*/ 3760 w 3759"/>
                  <a:gd name="connsiteY4" fmla="*/ 2031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9" h="3924">
                    <a:moveTo>
                      <a:pt x="3760" y="2058"/>
                    </a:moveTo>
                    <a:lnTo>
                      <a:pt x="1948" y="3924"/>
                    </a:lnTo>
                    <a:lnTo>
                      <a:pt x="0" y="1647"/>
                    </a:lnTo>
                    <a:lnTo>
                      <a:pt x="2909" y="0"/>
                    </a:lnTo>
                    <a:lnTo>
                      <a:pt x="376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1" name="Freeform: Shape 4170">
                <a:extLst>
                  <a:ext uri="{FF2B5EF4-FFF2-40B4-BE49-F238E27FC236}">
                    <a16:creationId xmlns:a16="http://schemas.microsoft.com/office/drawing/2014/main" id="{2A89EA5D-2D44-E404-7280-3C930F568DA8}"/>
                  </a:ext>
                </a:extLst>
              </p:cNvPr>
              <p:cNvSpPr/>
              <p:nvPr/>
            </p:nvSpPr>
            <p:spPr>
              <a:xfrm>
                <a:off x="1143426" y="3775678"/>
                <a:ext cx="343" cy="435"/>
              </a:xfrm>
              <a:custGeom>
                <a:avLst/>
                <a:gdLst>
                  <a:gd name="connsiteX0" fmla="*/ 3293 w 3293"/>
                  <a:gd name="connsiteY0" fmla="*/ 2964 h 4171"/>
                  <a:gd name="connsiteX1" fmla="*/ 2744 w 3293"/>
                  <a:gd name="connsiteY1" fmla="*/ 4171 h 4171"/>
                  <a:gd name="connsiteX2" fmla="*/ 0 w 3293"/>
                  <a:gd name="connsiteY2" fmla="*/ 3650 h 4171"/>
                  <a:gd name="connsiteX3" fmla="*/ 659 w 3293"/>
                  <a:gd name="connsiteY3" fmla="*/ 0 h 4171"/>
                  <a:gd name="connsiteX4" fmla="*/ 3266 w 3293"/>
                  <a:gd name="connsiteY4" fmla="*/ 2964 h 4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 h="4171">
                    <a:moveTo>
                      <a:pt x="3293" y="2964"/>
                    </a:moveTo>
                    <a:lnTo>
                      <a:pt x="2744" y="4171"/>
                    </a:lnTo>
                    <a:lnTo>
                      <a:pt x="0" y="3650"/>
                    </a:lnTo>
                    <a:lnTo>
                      <a:pt x="659" y="0"/>
                    </a:lnTo>
                    <a:lnTo>
                      <a:pt x="3266"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2" name="Freeform: Shape 4171">
                <a:extLst>
                  <a:ext uri="{FF2B5EF4-FFF2-40B4-BE49-F238E27FC236}">
                    <a16:creationId xmlns:a16="http://schemas.microsoft.com/office/drawing/2014/main" id="{1BDEE3F0-934B-1A18-3602-ED05A5971056}"/>
                  </a:ext>
                </a:extLst>
              </p:cNvPr>
              <p:cNvSpPr/>
              <p:nvPr/>
            </p:nvSpPr>
            <p:spPr>
              <a:xfrm>
                <a:off x="1145897" y="3776087"/>
                <a:ext cx="329" cy="372"/>
              </a:xfrm>
              <a:custGeom>
                <a:avLst/>
                <a:gdLst>
                  <a:gd name="connsiteX0" fmla="*/ 3156 w 3156"/>
                  <a:gd name="connsiteY0" fmla="*/ 2607 h 3567"/>
                  <a:gd name="connsiteX1" fmla="*/ 2004 w 3156"/>
                  <a:gd name="connsiteY1" fmla="*/ 3567 h 3567"/>
                  <a:gd name="connsiteX2" fmla="*/ 0 w 3156"/>
                  <a:gd name="connsiteY2" fmla="*/ 1756 h 3567"/>
                  <a:gd name="connsiteX3" fmla="*/ 906 w 3156"/>
                  <a:gd name="connsiteY3" fmla="*/ 192 h 3567"/>
                  <a:gd name="connsiteX4" fmla="*/ 2964 w 3156"/>
                  <a:gd name="connsiteY4" fmla="*/ 0 h 3567"/>
                  <a:gd name="connsiteX5" fmla="*/ 3156 w 3156"/>
                  <a:gd name="connsiteY5" fmla="*/ 2579 h 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6" h="3567">
                    <a:moveTo>
                      <a:pt x="3156" y="2607"/>
                    </a:moveTo>
                    <a:lnTo>
                      <a:pt x="2004" y="3567"/>
                    </a:lnTo>
                    <a:lnTo>
                      <a:pt x="0" y="1756"/>
                    </a:lnTo>
                    <a:lnTo>
                      <a:pt x="906" y="192"/>
                    </a:lnTo>
                    <a:lnTo>
                      <a:pt x="2964" y="0"/>
                    </a:lnTo>
                    <a:lnTo>
                      <a:pt x="3156" y="25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3" name="Freeform: Shape 4172">
                <a:extLst>
                  <a:ext uri="{FF2B5EF4-FFF2-40B4-BE49-F238E27FC236}">
                    <a16:creationId xmlns:a16="http://schemas.microsoft.com/office/drawing/2014/main" id="{C3FD38BD-0DC5-3426-D6D5-FC3EA1EB6572}"/>
                  </a:ext>
                </a:extLst>
              </p:cNvPr>
              <p:cNvSpPr/>
              <p:nvPr/>
            </p:nvSpPr>
            <p:spPr>
              <a:xfrm>
                <a:off x="1144986" y="3775789"/>
                <a:ext cx="521" cy="235"/>
              </a:xfrm>
              <a:custGeom>
                <a:avLst/>
                <a:gdLst>
                  <a:gd name="connsiteX0" fmla="*/ 4994 w 4994"/>
                  <a:gd name="connsiteY0" fmla="*/ 1427 h 2250"/>
                  <a:gd name="connsiteX1" fmla="*/ 741 w 4994"/>
                  <a:gd name="connsiteY1" fmla="*/ 2250 h 2250"/>
                  <a:gd name="connsiteX2" fmla="*/ 0 w 4994"/>
                  <a:gd name="connsiteY2" fmla="*/ 412 h 2250"/>
                  <a:gd name="connsiteX3" fmla="*/ 4665 w 4994"/>
                  <a:gd name="connsiteY3" fmla="*/ 0 h 2250"/>
                  <a:gd name="connsiteX4" fmla="*/ 4994 w 4994"/>
                  <a:gd name="connsiteY4" fmla="*/ 1400 h 2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4" h="2250">
                    <a:moveTo>
                      <a:pt x="4994" y="1427"/>
                    </a:moveTo>
                    <a:lnTo>
                      <a:pt x="741" y="2250"/>
                    </a:lnTo>
                    <a:lnTo>
                      <a:pt x="0" y="412"/>
                    </a:lnTo>
                    <a:lnTo>
                      <a:pt x="4665" y="0"/>
                    </a:lnTo>
                    <a:lnTo>
                      <a:pt x="4994" y="14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4" name="Freeform: Shape 4173">
                <a:extLst>
                  <a:ext uri="{FF2B5EF4-FFF2-40B4-BE49-F238E27FC236}">
                    <a16:creationId xmlns:a16="http://schemas.microsoft.com/office/drawing/2014/main" id="{59128881-5569-8F09-A104-891AF6600D9B}"/>
                  </a:ext>
                </a:extLst>
              </p:cNvPr>
              <p:cNvSpPr/>
              <p:nvPr/>
            </p:nvSpPr>
            <p:spPr>
              <a:xfrm>
                <a:off x="1406818" y="3770525"/>
                <a:ext cx="32207" cy="50929"/>
              </a:xfrm>
              <a:custGeom>
                <a:avLst/>
                <a:gdLst>
                  <a:gd name="connsiteX0" fmla="*/ 308706 w 308788"/>
                  <a:gd name="connsiteY0" fmla="*/ 123878 h 488293"/>
                  <a:gd name="connsiteX1" fmla="*/ 308706 w 308788"/>
                  <a:gd name="connsiteY1" fmla="*/ 130821 h 488293"/>
                  <a:gd name="connsiteX2" fmla="*/ 308541 w 308788"/>
                  <a:gd name="connsiteY2" fmla="*/ 239742 h 488293"/>
                  <a:gd name="connsiteX3" fmla="*/ 286971 w 308788"/>
                  <a:gd name="connsiteY3" fmla="*/ 240675 h 488293"/>
                  <a:gd name="connsiteX4" fmla="*/ 283459 w 308788"/>
                  <a:gd name="connsiteY4" fmla="*/ 240812 h 488293"/>
                  <a:gd name="connsiteX5" fmla="*/ 277805 w 308788"/>
                  <a:gd name="connsiteY5" fmla="*/ 245340 h 488293"/>
                  <a:gd name="connsiteX6" fmla="*/ 278848 w 308788"/>
                  <a:gd name="connsiteY6" fmla="*/ 255714 h 488293"/>
                  <a:gd name="connsiteX7" fmla="*/ 270011 w 308788"/>
                  <a:gd name="connsiteY7" fmla="*/ 267212 h 488293"/>
                  <a:gd name="connsiteX8" fmla="*/ 270176 w 308788"/>
                  <a:gd name="connsiteY8" fmla="*/ 271713 h 488293"/>
                  <a:gd name="connsiteX9" fmla="*/ 261696 w 308788"/>
                  <a:gd name="connsiteY9" fmla="*/ 276021 h 488293"/>
                  <a:gd name="connsiteX10" fmla="*/ 263014 w 308788"/>
                  <a:gd name="connsiteY10" fmla="*/ 284309 h 488293"/>
                  <a:gd name="connsiteX11" fmla="*/ 265950 w 308788"/>
                  <a:gd name="connsiteY11" fmla="*/ 286450 h 488293"/>
                  <a:gd name="connsiteX12" fmla="*/ 265950 w 308788"/>
                  <a:gd name="connsiteY12" fmla="*/ 288508 h 488293"/>
                  <a:gd name="connsiteX13" fmla="*/ 256372 w 308788"/>
                  <a:gd name="connsiteY13" fmla="*/ 294820 h 488293"/>
                  <a:gd name="connsiteX14" fmla="*/ 255686 w 308788"/>
                  <a:gd name="connsiteY14" fmla="*/ 295643 h 488293"/>
                  <a:gd name="connsiteX15" fmla="*/ 252695 w 308788"/>
                  <a:gd name="connsiteY15" fmla="*/ 299266 h 488293"/>
                  <a:gd name="connsiteX16" fmla="*/ 255686 w 308788"/>
                  <a:gd name="connsiteY16" fmla="*/ 307224 h 488293"/>
                  <a:gd name="connsiteX17" fmla="*/ 257772 w 308788"/>
                  <a:gd name="connsiteY17" fmla="*/ 312822 h 488293"/>
                  <a:gd name="connsiteX18" fmla="*/ 255686 w 308788"/>
                  <a:gd name="connsiteY18" fmla="*/ 314634 h 488293"/>
                  <a:gd name="connsiteX19" fmla="*/ 248634 w 308788"/>
                  <a:gd name="connsiteY19" fmla="*/ 320754 h 488293"/>
                  <a:gd name="connsiteX20" fmla="*/ 245093 w 308788"/>
                  <a:gd name="connsiteY20" fmla="*/ 328740 h 488293"/>
                  <a:gd name="connsiteX21" fmla="*/ 248715 w 308788"/>
                  <a:gd name="connsiteY21" fmla="*/ 334008 h 488293"/>
                  <a:gd name="connsiteX22" fmla="*/ 255686 w 308788"/>
                  <a:gd name="connsiteY22" fmla="*/ 331319 h 488293"/>
                  <a:gd name="connsiteX23" fmla="*/ 262300 w 308788"/>
                  <a:gd name="connsiteY23" fmla="*/ 334557 h 488293"/>
                  <a:gd name="connsiteX24" fmla="*/ 261559 w 308788"/>
                  <a:gd name="connsiteY24" fmla="*/ 340238 h 488293"/>
                  <a:gd name="connsiteX25" fmla="*/ 263891 w 308788"/>
                  <a:gd name="connsiteY25" fmla="*/ 349624 h 488293"/>
                  <a:gd name="connsiteX26" fmla="*/ 268173 w 308788"/>
                  <a:gd name="connsiteY26" fmla="*/ 353109 h 488293"/>
                  <a:gd name="connsiteX27" fmla="*/ 267349 w 308788"/>
                  <a:gd name="connsiteY27" fmla="*/ 364525 h 488293"/>
                  <a:gd name="connsiteX28" fmla="*/ 278025 w 308788"/>
                  <a:gd name="connsiteY28" fmla="*/ 373307 h 488293"/>
                  <a:gd name="connsiteX29" fmla="*/ 275720 w 308788"/>
                  <a:gd name="connsiteY29" fmla="*/ 385272 h 488293"/>
                  <a:gd name="connsiteX30" fmla="*/ 264825 w 308788"/>
                  <a:gd name="connsiteY30" fmla="*/ 383433 h 488293"/>
                  <a:gd name="connsiteX31" fmla="*/ 246108 w 308788"/>
                  <a:gd name="connsiteY31" fmla="*/ 388071 h 488293"/>
                  <a:gd name="connsiteX32" fmla="*/ 243447 w 308788"/>
                  <a:gd name="connsiteY32" fmla="*/ 392654 h 488293"/>
                  <a:gd name="connsiteX33" fmla="*/ 242486 w 308788"/>
                  <a:gd name="connsiteY33" fmla="*/ 394328 h 488293"/>
                  <a:gd name="connsiteX34" fmla="*/ 241443 w 308788"/>
                  <a:gd name="connsiteY34" fmla="*/ 403577 h 488293"/>
                  <a:gd name="connsiteX35" fmla="*/ 235433 w 308788"/>
                  <a:gd name="connsiteY35" fmla="*/ 407912 h 488293"/>
                  <a:gd name="connsiteX36" fmla="*/ 231536 w 308788"/>
                  <a:gd name="connsiteY36" fmla="*/ 413264 h 488293"/>
                  <a:gd name="connsiteX37" fmla="*/ 227694 w 308788"/>
                  <a:gd name="connsiteY37" fmla="*/ 414197 h 488293"/>
                  <a:gd name="connsiteX38" fmla="*/ 222288 w 308788"/>
                  <a:gd name="connsiteY38" fmla="*/ 419521 h 488293"/>
                  <a:gd name="connsiteX39" fmla="*/ 220943 w 308788"/>
                  <a:gd name="connsiteY39" fmla="*/ 420865 h 488293"/>
                  <a:gd name="connsiteX40" fmla="*/ 217568 w 308788"/>
                  <a:gd name="connsiteY40" fmla="*/ 427534 h 488293"/>
                  <a:gd name="connsiteX41" fmla="*/ 210460 w 308788"/>
                  <a:gd name="connsiteY41" fmla="*/ 431760 h 488293"/>
                  <a:gd name="connsiteX42" fmla="*/ 203434 w 308788"/>
                  <a:gd name="connsiteY42" fmla="*/ 437825 h 488293"/>
                  <a:gd name="connsiteX43" fmla="*/ 202529 w 308788"/>
                  <a:gd name="connsiteY43" fmla="*/ 438594 h 488293"/>
                  <a:gd name="connsiteX44" fmla="*/ 193198 w 308788"/>
                  <a:gd name="connsiteY44" fmla="*/ 438868 h 488293"/>
                  <a:gd name="connsiteX45" fmla="*/ 182468 w 308788"/>
                  <a:gd name="connsiteY45" fmla="*/ 442024 h 488293"/>
                  <a:gd name="connsiteX46" fmla="*/ 165536 w 308788"/>
                  <a:gd name="connsiteY46" fmla="*/ 442381 h 488293"/>
                  <a:gd name="connsiteX47" fmla="*/ 163697 w 308788"/>
                  <a:gd name="connsiteY47" fmla="*/ 443259 h 488293"/>
                  <a:gd name="connsiteX48" fmla="*/ 159663 w 308788"/>
                  <a:gd name="connsiteY48" fmla="*/ 445235 h 488293"/>
                  <a:gd name="connsiteX49" fmla="*/ 158730 w 308788"/>
                  <a:gd name="connsiteY49" fmla="*/ 447677 h 488293"/>
                  <a:gd name="connsiteX50" fmla="*/ 164548 w 308788"/>
                  <a:gd name="connsiteY50" fmla="*/ 452919 h 488293"/>
                  <a:gd name="connsiteX51" fmla="*/ 160541 w 308788"/>
                  <a:gd name="connsiteY51" fmla="*/ 458901 h 488293"/>
                  <a:gd name="connsiteX52" fmla="*/ 159663 w 308788"/>
                  <a:gd name="connsiteY52" fmla="*/ 460219 h 488293"/>
                  <a:gd name="connsiteX53" fmla="*/ 158373 w 308788"/>
                  <a:gd name="connsiteY53" fmla="*/ 462167 h 488293"/>
                  <a:gd name="connsiteX54" fmla="*/ 149207 w 308788"/>
                  <a:gd name="connsiteY54" fmla="*/ 471168 h 488293"/>
                  <a:gd name="connsiteX55" fmla="*/ 123000 w 308788"/>
                  <a:gd name="connsiteY55" fmla="*/ 473529 h 488293"/>
                  <a:gd name="connsiteX56" fmla="*/ 98547 w 308788"/>
                  <a:gd name="connsiteY56" fmla="*/ 486043 h 488293"/>
                  <a:gd name="connsiteX57" fmla="*/ 89903 w 308788"/>
                  <a:gd name="connsiteY57" fmla="*/ 477480 h 488293"/>
                  <a:gd name="connsiteX58" fmla="*/ 84140 w 308788"/>
                  <a:gd name="connsiteY58" fmla="*/ 482667 h 488293"/>
                  <a:gd name="connsiteX59" fmla="*/ 71407 w 308788"/>
                  <a:gd name="connsiteY59" fmla="*/ 488293 h 488293"/>
                  <a:gd name="connsiteX60" fmla="*/ 59002 w 308788"/>
                  <a:gd name="connsiteY60" fmla="*/ 486674 h 488293"/>
                  <a:gd name="connsiteX61" fmla="*/ 61308 w 308788"/>
                  <a:gd name="connsiteY61" fmla="*/ 480170 h 488293"/>
                  <a:gd name="connsiteX62" fmla="*/ 56286 w 308788"/>
                  <a:gd name="connsiteY62" fmla="*/ 472870 h 488293"/>
                  <a:gd name="connsiteX63" fmla="*/ 51922 w 308788"/>
                  <a:gd name="connsiteY63" fmla="*/ 460191 h 488293"/>
                  <a:gd name="connsiteX64" fmla="*/ 51456 w 308788"/>
                  <a:gd name="connsiteY64" fmla="*/ 458874 h 488293"/>
                  <a:gd name="connsiteX65" fmla="*/ 49287 w 308788"/>
                  <a:gd name="connsiteY65" fmla="*/ 454620 h 488293"/>
                  <a:gd name="connsiteX66" fmla="*/ 34770 w 308788"/>
                  <a:gd name="connsiteY66" fmla="*/ 446031 h 488293"/>
                  <a:gd name="connsiteX67" fmla="*/ 32465 w 308788"/>
                  <a:gd name="connsiteY67" fmla="*/ 443204 h 488293"/>
                  <a:gd name="connsiteX68" fmla="*/ 16191 w 308788"/>
                  <a:gd name="connsiteY68" fmla="*/ 423308 h 488293"/>
                  <a:gd name="connsiteX69" fmla="*/ 22421 w 308788"/>
                  <a:gd name="connsiteY69" fmla="*/ 413566 h 488293"/>
                  <a:gd name="connsiteX70" fmla="*/ 57273 w 308788"/>
                  <a:gd name="connsiteY70" fmla="*/ 414636 h 488293"/>
                  <a:gd name="connsiteX71" fmla="*/ 62543 w 308788"/>
                  <a:gd name="connsiteY71" fmla="*/ 412688 h 488293"/>
                  <a:gd name="connsiteX72" fmla="*/ 57823 w 308788"/>
                  <a:gd name="connsiteY72" fmla="*/ 407885 h 488293"/>
                  <a:gd name="connsiteX73" fmla="*/ 53267 w 308788"/>
                  <a:gd name="connsiteY73" fmla="*/ 403220 h 488293"/>
                  <a:gd name="connsiteX74" fmla="*/ 48601 w 308788"/>
                  <a:gd name="connsiteY74" fmla="*/ 395700 h 488293"/>
                  <a:gd name="connsiteX75" fmla="*/ 47970 w 308788"/>
                  <a:gd name="connsiteY75" fmla="*/ 392627 h 488293"/>
                  <a:gd name="connsiteX76" fmla="*/ 45144 w 308788"/>
                  <a:gd name="connsiteY76" fmla="*/ 378905 h 488293"/>
                  <a:gd name="connsiteX77" fmla="*/ 47614 w 308788"/>
                  <a:gd name="connsiteY77" fmla="*/ 367050 h 488293"/>
                  <a:gd name="connsiteX78" fmla="*/ 46928 w 308788"/>
                  <a:gd name="connsiteY78" fmla="*/ 358844 h 488293"/>
                  <a:gd name="connsiteX79" fmla="*/ 45473 w 308788"/>
                  <a:gd name="connsiteY79" fmla="*/ 351874 h 488293"/>
                  <a:gd name="connsiteX80" fmla="*/ 41302 w 308788"/>
                  <a:gd name="connsiteY80" fmla="*/ 347401 h 488293"/>
                  <a:gd name="connsiteX81" fmla="*/ 38996 w 308788"/>
                  <a:gd name="connsiteY81" fmla="*/ 335545 h 488293"/>
                  <a:gd name="connsiteX82" fmla="*/ 31916 w 308788"/>
                  <a:gd name="connsiteY82" fmla="*/ 329947 h 488293"/>
                  <a:gd name="connsiteX83" fmla="*/ 28019 w 308788"/>
                  <a:gd name="connsiteY83" fmla="*/ 321769 h 488293"/>
                  <a:gd name="connsiteX84" fmla="*/ 17234 w 308788"/>
                  <a:gd name="connsiteY84" fmla="*/ 320726 h 488293"/>
                  <a:gd name="connsiteX85" fmla="*/ 3979 w 308788"/>
                  <a:gd name="connsiteY85" fmla="*/ 301626 h 488293"/>
                  <a:gd name="connsiteX86" fmla="*/ 0 w 308788"/>
                  <a:gd name="connsiteY86" fmla="*/ 279095 h 488293"/>
                  <a:gd name="connsiteX87" fmla="*/ 5104 w 308788"/>
                  <a:gd name="connsiteY87" fmla="*/ 276323 h 488293"/>
                  <a:gd name="connsiteX88" fmla="*/ 8727 w 308788"/>
                  <a:gd name="connsiteY88" fmla="*/ 270698 h 488293"/>
                  <a:gd name="connsiteX89" fmla="*/ 10785 w 308788"/>
                  <a:gd name="connsiteY89" fmla="*/ 261586 h 488293"/>
                  <a:gd name="connsiteX90" fmla="*/ 25605 w 308788"/>
                  <a:gd name="connsiteY90" fmla="*/ 240757 h 488293"/>
                  <a:gd name="connsiteX91" fmla="*/ 58838 w 308788"/>
                  <a:gd name="connsiteY91" fmla="*/ 203984 h 488293"/>
                  <a:gd name="connsiteX92" fmla="*/ 61664 w 308788"/>
                  <a:gd name="connsiteY92" fmla="*/ 147506 h 488293"/>
                  <a:gd name="connsiteX93" fmla="*/ 63723 w 308788"/>
                  <a:gd name="connsiteY93" fmla="*/ 130793 h 488293"/>
                  <a:gd name="connsiteX94" fmla="*/ 64847 w 308788"/>
                  <a:gd name="connsiteY94" fmla="*/ 121737 h 488293"/>
                  <a:gd name="connsiteX95" fmla="*/ 65863 w 308788"/>
                  <a:gd name="connsiteY95" fmla="*/ 113532 h 488293"/>
                  <a:gd name="connsiteX96" fmla="*/ 66110 w 308788"/>
                  <a:gd name="connsiteY96" fmla="*/ 111638 h 488293"/>
                  <a:gd name="connsiteX97" fmla="*/ 68004 w 308788"/>
                  <a:gd name="connsiteY97" fmla="*/ 106918 h 488293"/>
                  <a:gd name="connsiteX98" fmla="*/ 72806 w 308788"/>
                  <a:gd name="connsiteY98" fmla="*/ 97231 h 488293"/>
                  <a:gd name="connsiteX99" fmla="*/ 69074 w 308788"/>
                  <a:gd name="connsiteY99" fmla="*/ 92785 h 488293"/>
                  <a:gd name="connsiteX100" fmla="*/ 61554 w 308788"/>
                  <a:gd name="connsiteY100" fmla="*/ 83701 h 488293"/>
                  <a:gd name="connsiteX101" fmla="*/ 61719 w 308788"/>
                  <a:gd name="connsiteY101" fmla="*/ 76950 h 488293"/>
                  <a:gd name="connsiteX102" fmla="*/ 50138 w 308788"/>
                  <a:gd name="connsiteY102" fmla="*/ 60731 h 488293"/>
                  <a:gd name="connsiteX103" fmla="*/ 49946 w 308788"/>
                  <a:gd name="connsiteY103" fmla="*/ 55078 h 488293"/>
                  <a:gd name="connsiteX104" fmla="*/ 49590 w 308788"/>
                  <a:gd name="connsiteY104" fmla="*/ 44952 h 488293"/>
                  <a:gd name="connsiteX105" fmla="*/ 44046 w 308788"/>
                  <a:gd name="connsiteY105" fmla="*/ 13502 h 488293"/>
                  <a:gd name="connsiteX106" fmla="*/ 74535 w 308788"/>
                  <a:gd name="connsiteY106" fmla="*/ 0 h 488293"/>
                  <a:gd name="connsiteX107" fmla="*/ 177995 w 308788"/>
                  <a:gd name="connsiteY107" fmla="*/ 55078 h 488293"/>
                  <a:gd name="connsiteX108" fmla="*/ 203434 w 308788"/>
                  <a:gd name="connsiteY108" fmla="*/ 68525 h 488293"/>
                  <a:gd name="connsiteX109" fmla="*/ 249511 w 308788"/>
                  <a:gd name="connsiteY109" fmla="*/ 92785 h 488293"/>
                  <a:gd name="connsiteX110" fmla="*/ 276515 w 308788"/>
                  <a:gd name="connsiteY110" fmla="*/ 106918 h 488293"/>
                  <a:gd name="connsiteX111" fmla="*/ 289166 w 308788"/>
                  <a:gd name="connsiteY111" fmla="*/ 113559 h 488293"/>
                  <a:gd name="connsiteX112" fmla="*/ 293119 w 308788"/>
                  <a:gd name="connsiteY112" fmla="*/ 115645 h 488293"/>
                  <a:gd name="connsiteX113" fmla="*/ 304782 w 308788"/>
                  <a:gd name="connsiteY113" fmla="*/ 121764 h 488293"/>
                  <a:gd name="connsiteX114" fmla="*/ 306620 w 308788"/>
                  <a:gd name="connsiteY114" fmla="*/ 122697 h 488293"/>
                  <a:gd name="connsiteX115" fmla="*/ 308788 w 308788"/>
                  <a:gd name="connsiteY115" fmla="*/ 123850 h 48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308788" h="488293">
                    <a:moveTo>
                      <a:pt x="308706" y="123878"/>
                    </a:moveTo>
                    <a:lnTo>
                      <a:pt x="308706" y="130821"/>
                    </a:lnTo>
                    <a:lnTo>
                      <a:pt x="308541" y="239742"/>
                    </a:lnTo>
                    <a:lnTo>
                      <a:pt x="286971" y="240675"/>
                    </a:lnTo>
                    <a:lnTo>
                      <a:pt x="283459" y="240812"/>
                    </a:lnTo>
                    <a:lnTo>
                      <a:pt x="277805" y="245340"/>
                    </a:lnTo>
                    <a:lnTo>
                      <a:pt x="278848" y="255714"/>
                    </a:lnTo>
                    <a:lnTo>
                      <a:pt x="270011" y="267212"/>
                    </a:lnTo>
                    <a:lnTo>
                      <a:pt x="270176" y="271713"/>
                    </a:lnTo>
                    <a:lnTo>
                      <a:pt x="261696" y="276021"/>
                    </a:lnTo>
                    <a:lnTo>
                      <a:pt x="263014" y="284309"/>
                    </a:lnTo>
                    <a:lnTo>
                      <a:pt x="265950" y="286450"/>
                    </a:lnTo>
                    <a:lnTo>
                      <a:pt x="265950" y="288508"/>
                    </a:lnTo>
                    <a:cubicBezTo>
                      <a:pt x="265950" y="288508"/>
                      <a:pt x="256372" y="294820"/>
                      <a:pt x="256372" y="294820"/>
                    </a:cubicBezTo>
                    <a:lnTo>
                      <a:pt x="255686" y="295643"/>
                    </a:lnTo>
                    <a:lnTo>
                      <a:pt x="252695" y="299266"/>
                    </a:lnTo>
                    <a:lnTo>
                      <a:pt x="255686" y="307224"/>
                    </a:lnTo>
                    <a:lnTo>
                      <a:pt x="257772" y="312822"/>
                    </a:lnTo>
                    <a:lnTo>
                      <a:pt x="255686" y="314634"/>
                    </a:lnTo>
                    <a:lnTo>
                      <a:pt x="248634" y="320754"/>
                    </a:lnTo>
                    <a:lnTo>
                      <a:pt x="245093" y="328740"/>
                    </a:lnTo>
                    <a:lnTo>
                      <a:pt x="248715" y="334008"/>
                    </a:lnTo>
                    <a:lnTo>
                      <a:pt x="255686" y="331319"/>
                    </a:lnTo>
                    <a:lnTo>
                      <a:pt x="262300" y="334557"/>
                    </a:lnTo>
                    <a:lnTo>
                      <a:pt x="261559" y="340238"/>
                    </a:lnTo>
                    <a:lnTo>
                      <a:pt x="263891" y="349624"/>
                    </a:lnTo>
                    <a:lnTo>
                      <a:pt x="268173" y="353109"/>
                    </a:lnTo>
                    <a:lnTo>
                      <a:pt x="267349" y="364525"/>
                    </a:lnTo>
                    <a:lnTo>
                      <a:pt x="278025" y="373307"/>
                    </a:lnTo>
                    <a:lnTo>
                      <a:pt x="275720" y="385272"/>
                    </a:lnTo>
                    <a:lnTo>
                      <a:pt x="264825" y="383433"/>
                    </a:lnTo>
                    <a:lnTo>
                      <a:pt x="246108" y="388071"/>
                    </a:lnTo>
                    <a:lnTo>
                      <a:pt x="243447" y="392654"/>
                    </a:lnTo>
                    <a:lnTo>
                      <a:pt x="242486" y="394328"/>
                    </a:lnTo>
                    <a:lnTo>
                      <a:pt x="241443" y="403577"/>
                    </a:lnTo>
                    <a:lnTo>
                      <a:pt x="235433" y="407912"/>
                    </a:lnTo>
                    <a:lnTo>
                      <a:pt x="231536" y="413264"/>
                    </a:lnTo>
                    <a:lnTo>
                      <a:pt x="227694" y="414197"/>
                    </a:lnTo>
                    <a:lnTo>
                      <a:pt x="222288" y="419521"/>
                    </a:lnTo>
                    <a:lnTo>
                      <a:pt x="220943" y="420865"/>
                    </a:lnTo>
                    <a:lnTo>
                      <a:pt x="217568" y="427534"/>
                    </a:lnTo>
                    <a:lnTo>
                      <a:pt x="210460" y="431760"/>
                    </a:lnTo>
                    <a:lnTo>
                      <a:pt x="203434" y="437825"/>
                    </a:lnTo>
                    <a:lnTo>
                      <a:pt x="202529" y="438594"/>
                    </a:lnTo>
                    <a:lnTo>
                      <a:pt x="193198" y="438868"/>
                    </a:lnTo>
                    <a:lnTo>
                      <a:pt x="182468" y="442024"/>
                    </a:lnTo>
                    <a:lnTo>
                      <a:pt x="165536" y="442381"/>
                    </a:lnTo>
                    <a:lnTo>
                      <a:pt x="163697" y="443259"/>
                    </a:lnTo>
                    <a:lnTo>
                      <a:pt x="159663" y="445235"/>
                    </a:lnTo>
                    <a:lnTo>
                      <a:pt x="158730" y="447677"/>
                    </a:lnTo>
                    <a:lnTo>
                      <a:pt x="164548" y="452919"/>
                    </a:lnTo>
                    <a:lnTo>
                      <a:pt x="160541" y="458901"/>
                    </a:lnTo>
                    <a:lnTo>
                      <a:pt x="159663" y="460219"/>
                    </a:lnTo>
                    <a:lnTo>
                      <a:pt x="158373" y="462167"/>
                    </a:lnTo>
                    <a:lnTo>
                      <a:pt x="149207" y="471168"/>
                    </a:lnTo>
                    <a:lnTo>
                      <a:pt x="123000" y="473529"/>
                    </a:lnTo>
                    <a:lnTo>
                      <a:pt x="98547" y="486043"/>
                    </a:lnTo>
                    <a:lnTo>
                      <a:pt x="89903" y="477480"/>
                    </a:lnTo>
                    <a:lnTo>
                      <a:pt x="84140" y="482667"/>
                    </a:lnTo>
                    <a:lnTo>
                      <a:pt x="71407" y="488293"/>
                    </a:lnTo>
                    <a:lnTo>
                      <a:pt x="59002" y="486674"/>
                    </a:lnTo>
                    <a:lnTo>
                      <a:pt x="61308" y="480170"/>
                    </a:lnTo>
                    <a:lnTo>
                      <a:pt x="56286" y="472870"/>
                    </a:lnTo>
                    <a:lnTo>
                      <a:pt x="51922" y="460191"/>
                    </a:lnTo>
                    <a:lnTo>
                      <a:pt x="51456" y="458874"/>
                    </a:lnTo>
                    <a:lnTo>
                      <a:pt x="49287" y="454620"/>
                    </a:lnTo>
                    <a:lnTo>
                      <a:pt x="34770" y="446031"/>
                    </a:lnTo>
                    <a:lnTo>
                      <a:pt x="32465" y="443204"/>
                    </a:lnTo>
                    <a:lnTo>
                      <a:pt x="16191" y="423308"/>
                    </a:lnTo>
                    <a:lnTo>
                      <a:pt x="22421" y="413566"/>
                    </a:lnTo>
                    <a:lnTo>
                      <a:pt x="57273" y="414636"/>
                    </a:lnTo>
                    <a:lnTo>
                      <a:pt x="62543" y="412688"/>
                    </a:lnTo>
                    <a:lnTo>
                      <a:pt x="57823" y="407885"/>
                    </a:lnTo>
                    <a:lnTo>
                      <a:pt x="53267" y="403220"/>
                    </a:lnTo>
                    <a:lnTo>
                      <a:pt x="48601" y="395700"/>
                    </a:lnTo>
                    <a:lnTo>
                      <a:pt x="47970" y="392627"/>
                    </a:lnTo>
                    <a:lnTo>
                      <a:pt x="45144" y="378905"/>
                    </a:lnTo>
                    <a:lnTo>
                      <a:pt x="47614" y="367050"/>
                    </a:lnTo>
                    <a:lnTo>
                      <a:pt x="46928" y="358844"/>
                    </a:lnTo>
                    <a:lnTo>
                      <a:pt x="45473" y="351874"/>
                    </a:lnTo>
                    <a:lnTo>
                      <a:pt x="41302" y="347401"/>
                    </a:lnTo>
                    <a:lnTo>
                      <a:pt x="38996" y="335545"/>
                    </a:lnTo>
                    <a:lnTo>
                      <a:pt x="31916" y="329947"/>
                    </a:lnTo>
                    <a:lnTo>
                      <a:pt x="28019" y="321769"/>
                    </a:lnTo>
                    <a:lnTo>
                      <a:pt x="17234" y="320726"/>
                    </a:lnTo>
                    <a:lnTo>
                      <a:pt x="3979" y="301626"/>
                    </a:lnTo>
                    <a:lnTo>
                      <a:pt x="0" y="279095"/>
                    </a:lnTo>
                    <a:lnTo>
                      <a:pt x="5104" y="276323"/>
                    </a:lnTo>
                    <a:lnTo>
                      <a:pt x="8727" y="270698"/>
                    </a:lnTo>
                    <a:lnTo>
                      <a:pt x="10785" y="261586"/>
                    </a:lnTo>
                    <a:lnTo>
                      <a:pt x="25605" y="240757"/>
                    </a:lnTo>
                    <a:lnTo>
                      <a:pt x="58838" y="203984"/>
                    </a:lnTo>
                    <a:lnTo>
                      <a:pt x="61664" y="147506"/>
                    </a:lnTo>
                    <a:lnTo>
                      <a:pt x="63723" y="130793"/>
                    </a:lnTo>
                    <a:lnTo>
                      <a:pt x="64847" y="121737"/>
                    </a:lnTo>
                    <a:lnTo>
                      <a:pt x="65863" y="113532"/>
                    </a:lnTo>
                    <a:lnTo>
                      <a:pt x="66110" y="111638"/>
                    </a:lnTo>
                    <a:lnTo>
                      <a:pt x="68004" y="106918"/>
                    </a:lnTo>
                    <a:lnTo>
                      <a:pt x="72806" y="97231"/>
                    </a:lnTo>
                    <a:lnTo>
                      <a:pt x="69074" y="92785"/>
                    </a:lnTo>
                    <a:lnTo>
                      <a:pt x="61554" y="83701"/>
                    </a:lnTo>
                    <a:lnTo>
                      <a:pt x="61719" y="76950"/>
                    </a:lnTo>
                    <a:lnTo>
                      <a:pt x="50138" y="60731"/>
                    </a:lnTo>
                    <a:lnTo>
                      <a:pt x="49946" y="55078"/>
                    </a:lnTo>
                    <a:lnTo>
                      <a:pt x="49590" y="44952"/>
                    </a:lnTo>
                    <a:lnTo>
                      <a:pt x="44046" y="13502"/>
                    </a:lnTo>
                    <a:lnTo>
                      <a:pt x="74535" y="0"/>
                    </a:lnTo>
                    <a:lnTo>
                      <a:pt x="177995" y="55078"/>
                    </a:lnTo>
                    <a:lnTo>
                      <a:pt x="203434" y="68525"/>
                    </a:lnTo>
                    <a:lnTo>
                      <a:pt x="249511" y="92785"/>
                    </a:lnTo>
                    <a:lnTo>
                      <a:pt x="276515" y="106918"/>
                    </a:lnTo>
                    <a:lnTo>
                      <a:pt x="289166" y="113559"/>
                    </a:lnTo>
                    <a:lnTo>
                      <a:pt x="293119" y="115645"/>
                    </a:lnTo>
                    <a:lnTo>
                      <a:pt x="304782" y="121764"/>
                    </a:lnTo>
                    <a:lnTo>
                      <a:pt x="306620" y="122697"/>
                    </a:lnTo>
                    <a:lnTo>
                      <a:pt x="308788" y="1238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5" name="Freeform: Shape 4174">
                <a:extLst>
                  <a:ext uri="{FF2B5EF4-FFF2-40B4-BE49-F238E27FC236}">
                    <a16:creationId xmlns:a16="http://schemas.microsoft.com/office/drawing/2014/main" id="{72562E04-C043-24E9-1404-B203B3E3E8E5}"/>
                  </a:ext>
                </a:extLst>
              </p:cNvPr>
              <p:cNvSpPr/>
              <p:nvPr/>
            </p:nvSpPr>
            <p:spPr>
              <a:xfrm>
                <a:off x="1364957" y="3810071"/>
                <a:ext cx="5882" cy="15600"/>
              </a:xfrm>
              <a:custGeom>
                <a:avLst/>
                <a:gdLst>
                  <a:gd name="connsiteX0" fmla="*/ 30846 w 56395"/>
                  <a:gd name="connsiteY0" fmla="*/ 4253 h 149564"/>
                  <a:gd name="connsiteX1" fmla="*/ 27690 w 56395"/>
                  <a:gd name="connsiteY1" fmla="*/ 21954 h 149564"/>
                  <a:gd name="connsiteX2" fmla="*/ 42838 w 56395"/>
                  <a:gd name="connsiteY2" fmla="*/ 34249 h 149564"/>
                  <a:gd name="connsiteX3" fmla="*/ 46022 w 56395"/>
                  <a:gd name="connsiteY3" fmla="*/ 53130 h 149564"/>
                  <a:gd name="connsiteX4" fmla="*/ 51757 w 56395"/>
                  <a:gd name="connsiteY4" fmla="*/ 64848 h 149564"/>
                  <a:gd name="connsiteX5" fmla="*/ 52635 w 56395"/>
                  <a:gd name="connsiteY5" fmla="*/ 107165 h 149564"/>
                  <a:gd name="connsiteX6" fmla="*/ 51044 w 56395"/>
                  <a:gd name="connsiteY6" fmla="*/ 131946 h 149564"/>
                  <a:gd name="connsiteX7" fmla="*/ 56395 w 56395"/>
                  <a:gd name="connsiteY7" fmla="*/ 143060 h 149564"/>
                  <a:gd name="connsiteX8" fmla="*/ 52087 w 56395"/>
                  <a:gd name="connsiteY8" fmla="*/ 145942 h 149564"/>
                  <a:gd name="connsiteX9" fmla="*/ 39463 w 56395"/>
                  <a:gd name="connsiteY9" fmla="*/ 149564 h 149564"/>
                  <a:gd name="connsiteX10" fmla="*/ 30846 w 56395"/>
                  <a:gd name="connsiteY10" fmla="*/ 142731 h 149564"/>
                  <a:gd name="connsiteX11" fmla="*/ 26373 w 56395"/>
                  <a:gd name="connsiteY11" fmla="*/ 139191 h 149564"/>
                  <a:gd name="connsiteX12" fmla="*/ 20665 w 56395"/>
                  <a:gd name="connsiteY12" fmla="*/ 128708 h 149564"/>
                  <a:gd name="connsiteX13" fmla="*/ 23107 w 56395"/>
                  <a:gd name="connsiteY13" fmla="*/ 114574 h 149564"/>
                  <a:gd name="connsiteX14" fmla="*/ 20116 w 56395"/>
                  <a:gd name="connsiteY14" fmla="*/ 107741 h 149564"/>
                  <a:gd name="connsiteX15" fmla="*/ 22229 w 56395"/>
                  <a:gd name="connsiteY15" fmla="*/ 100386 h 149564"/>
                  <a:gd name="connsiteX16" fmla="*/ 21707 w 56395"/>
                  <a:gd name="connsiteY16" fmla="*/ 90507 h 149564"/>
                  <a:gd name="connsiteX17" fmla="*/ 24918 w 56395"/>
                  <a:gd name="connsiteY17" fmla="*/ 83866 h 149564"/>
                  <a:gd name="connsiteX18" fmla="*/ 16521 w 56395"/>
                  <a:gd name="connsiteY18" fmla="*/ 72587 h 149564"/>
                  <a:gd name="connsiteX19" fmla="*/ 18826 w 56395"/>
                  <a:gd name="connsiteY19" fmla="*/ 67565 h 149564"/>
                  <a:gd name="connsiteX20" fmla="*/ 18030 w 56395"/>
                  <a:gd name="connsiteY20" fmla="*/ 61747 h 149564"/>
                  <a:gd name="connsiteX21" fmla="*/ 20116 w 56395"/>
                  <a:gd name="connsiteY21" fmla="*/ 52910 h 149564"/>
                  <a:gd name="connsiteX22" fmla="*/ 17618 w 56395"/>
                  <a:gd name="connsiteY22" fmla="*/ 49919 h 149564"/>
                  <a:gd name="connsiteX23" fmla="*/ 12075 w 56395"/>
                  <a:gd name="connsiteY23" fmla="*/ 49096 h 149564"/>
                  <a:gd name="connsiteX24" fmla="*/ 14654 w 56395"/>
                  <a:gd name="connsiteY24" fmla="*/ 44814 h 149564"/>
                  <a:gd name="connsiteX25" fmla="*/ 15560 w 56395"/>
                  <a:gd name="connsiteY25" fmla="*/ 32053 h 149564"/>
                  <a:gd name="connsiteX26" fmla="*/ 14408 w 56395"/>
                  <a:gd name="connsiteY26" fmla="*/ 25412 h 149564"/>
                  <a:gd name="connsiteX27" fmla="*/ 11883 w 56395"/>
                  <a:gd name="connsiteY27" fmla="*/ 22887 h 149564"/>
                  <a:gd name="connsiteX28" fmla="*/ 2525 w 56395"/>
                  <a:gd name="connsiteY28" fmla="*/ 13612 h 149564"/>
                  <a:gd name="connsiteX29" fmla="*/ 4912 w 56395"/>
                  <a:gd name="connsiteY29" fmla="*/ 3129 h 149564"/>
                  <a:gd name="connsiteX30" fmla="*/ 0 w 56395"/>
                  <a:gd name="connsiteY30" fmla="*/ 0 h 149564"/>
                  <a:gd name="connsiteX31" fmla="*/ 11883 w 56395"/>
                  <a:gd name="connsiteY31" fmla="*/ 2470 h 149564"/>
                  <a:gd name="connsiteX32" fmla="*/ 17234 w 56395"/>
                  <a:gd name="connsiteY32" fmla="*/ 3595 h 149564"/>
                  <a:gd name="connsiteX33" fmla="*/ 19347 w 56395"/>
                  <a:gd name="connsiteY33" fmla="*/ 5681 h 149564"/>
                  <a:gd name="connsiteX34" fmla="*/ 30846 w 56395"/>
                  <a:gd name="connsiteY34" fmla="*/ 4281 h 14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6395" h="149564">
                    <a:moveTo>
                      <a:pt x="30846" y="4253"/>
                    </a:moveTo>
                    <a:lnTo>
                      <a:pt x="27690" y="21954"/>
                    </a:lnTo>
                    <a:lnTo>
                      <a:pt x="42838" y="34249"/>
                    </a:lnTo>
                    <a:lnTo>
                      <a:pt x="46022" y="53130"/>
                    </a:lnTo>
                    <a:lnTo>
                      <a:pt x="51757" y="64848"/>
                    </a:lnTo>
                    <a:lnTo>
                      <a:pt x="52635" y="107165"/>
                    </a:lnTo>
                    <a:lnTo>
                      <a:pt x="51044" y="131946"/>
                    </a:lnTo>
                    <a:lnTo>
                      <a:pt x="56395" y="143060"/>
                    </a:lnTo>
                    <a:lnTo>
                      <a:pt x="52087" y="145942"/>
                    </a:lnTo>
                    <a:lnTo>
                      <a:pt x="39463" y="149564"/>
                    </a:lnTo>
                    <a:lnTo>
                      <a:pt x="30846" y="142731"/>
                    </a:lnTo>
                    <a:lnTo>
                      <a:pt x="26373" y="139191"/>
                    </a:lnTo>
                    <a:lnTo>
                      <a:pt x="20665" y="128708"/>
                    </a:lnTo>
                    <a:lnTo>
                      <a:pt x="23107" y="114574"/>
                    </a:lnTo>
                    <a:lnTo>
                      <a:pt x="20116" y="107741"/>
                    </a:lnTo>
                    <a:lnTo>
                      <a:pt x="22229" y="100386"/>
                    </a:lnTo>
                    <a:lnTo>
                      <a:pt x="21707" y="90507"/>
                    </a:lnTo>
                    <a:lnTo>
                      <a:pt x="24918" y="83866"/>
                    </a:lnTo>
                    <a:lnTo>
                      <a:pt x="16521" y="72587"/>
                    </a:lnTo>
                    <a:lnTo>
                      <a:pt x="18826" y="67565"/>
                    </a:lnTo>
                    <a:lnTo>
                      <a:pt x="18030" y="61747"/>
                    </a:lnTo>
                    <a:lnTo>
                      <a:pt x="20116" y="52910"/>
                    </a:lnTo>
                    <a:lnTo>
                      <a:pt x="17618" y="49919"/>
                    </a:lnTo>
                    <a:lnTo>
                      <a:pt x="12075" y="49096"/>
                    </a:lnTo>
                    <a:lnTo>
                      <a:pt x="14654" y="44814"/>
                    </a:lnTo>
                    <a:lnTo>
                      <a:pt x="15560" y="32053"/>
                    </a:lnTo>
                    <a:lnTo>
                      <a:pt x="14408" y="25412"/>
                    </a:lnTo>
                    <a:lnTo>
                      <a:pt x="11883" y="22887"/>
                    </a:lnTo>
                    <a:lnTo>
                      <a:pt x="2525" y="13612"/>
                    </a:lnTo>
                    <a:lnTo>
                      <a:pt x="4912" y="3129"/>
                    </a:lnTo>
                    <a:lnTo>
                      <a:pt x="0" y="0"/>
                    </a:lnTo>
                    <a:lnTo>
                      <a:pt x="11883" y="2470"/>
                    </a:lnTo>
                    <a:lnTo>
                      <a:pt x="17234" y="3595"/>
                    </a:lnTo>
                    <a:lnTo>
                      <a:pt x="19347" y="5681"/>
                    </a:lnTo>
                    <a:lnTo>
                      <a:pt x="30846"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6" name="Freeform: Shape 4175">
                <a:extLst>
                  <a:ext uri="{FF2B5EF4-FFF2-40B4-BE49-F238E27FC236}">
                    <a16:creationId xmlns:a16="http://schemas.microsoft.com/office/drawing/2014/main" id="{C2AD0D44-97C7-A2E0-CD9D-12B06C14311C}"/>
                  </a:ext>
                </a:extLst>
              </p:cNvPr>
              <p:cNvSpPr/>
              <p:nvPr/>
            </p:nvSpPr>
            <p:spPr>
              <a:xfrm>
                <a:off x="1664165" y="3780369"/>
                <a:ext cx="25197" cy="46765"/>
              </a:xfrm>
              <a:custGeom>
                <a:avLst/>
                <a:gdLst>
                  <a:gd name="connsiteX0" fmla="*/ 79118 w 241579"/>
                  <a:gd name="connsiteY0" fmla="*/ 2827 h 448363"/>
                  <a:gd name="connsiteX1" fmla="*/ 80188 w 241579"/>
                  <a:gd name="connsiteY1" fmla="*/ 5104 h 448363"/>
                  <a:gd name="connsiteX2" fmla="*/ 86363 w 241579"/>
                  <a:gd name="connsiteY2" fmla="*/ 2058 h 448363"/>
                  <a:gd name="connsiteX3" fmla="*/ 92675 w 241579"/>
                  <a:gd name="connsiteY3" fmla="*/ 9221 h 448363"/>
                  <a:gd name="connsiteX4" fmla="*/ 89381 w 241579"/>
                  <a:gd name="connsiteY4" fmla="*/ 20857 h 448363"/>
                  <a:gd name="connsiteX5" fmla="*/ 91659 w 241579"/>
                  <a:gd name="connsiteY5" fmla="*/ 27470 h 448363"/>
                  <a:gd name="connsiteX6" fmla="*/ 99069 w 241579"/>
                  <a:gd name="connsiteY6" fmla="*/ 28596 h 448363"/>
                  <a:gd name="connsiteX7" fmla="*/ 105298 w 241579"/>
                  <a:gd name="connsiteY7" fmla="*/ 25769 h 448363"/>
                  <a:gd name="connsiteX8" fmla="*/ 113586 w 241579"/>
                  <a:gd name="connsiteY8" fmla="*/ 28239 h 448363"/>
                  <a:gd name="connsiteX9" fmla="*/ 112544 w 241579"/>
                  <a:gd name="connsiteY9" fmla="*/ 34304 h 448363"/>
                  <a:gd name="connsiteX10" fmla="*/ 115535 w 241579"/>
                  <a:gd name="connsiteY10" fmla="*/ 44073 h 448363"/>
                  <a:gd name="connsiteX11" fmla="*/ 112735 w 241579"/>
                  <a:gd name="connsiteY11" fmla="*/ 55627 h 448363"/>
                  <a:gd name="connsiteX12" fmla="*/ 108674 w 241579"/>
                  <a:gd name="connsiteY12" fmla="*/ 61719 h 448363"/>
                  <a:gd name="connsiteX13" fmla="*/ 110842 w 241579"/>
                  <a:gd name="connsiteY13" fmla="*/ 66741 h 448363"/>
                  <a:gd name="connsiteX14" fmla="*/ 111034 w 241579"/>
                  <a:gd name="connsiteY14" fmla="*/ 72614 h 448363"/>
                  <a:gd name="connsiteX15" fmla="*/ 105929 w 241579"/>
                  <a:gd name="connsiteY15" fmla="*/ 83756 h 448363"/>
                  <a:gd name="connsiteX16" fmla="*/ 105847 w 241579"/>
                  <a:gd name="connsiteY16" fmla="*/ 88778 h 448363"/>
                  <a:gd name="connsiteX17" fmla="*/ 107302 w 241579"/>
                  <a:gd name="connsiteY17" fmla="*/ 90479 h 448363"/>
                  <a:gd name="connsiteX18" fmla="*/ 111089 w 241579"/>
                  <a:gd name="connsiteY18" fmla="*/ 91687 h 448363"/>
                  <a:gd name="connsiteX19" fmla="*/ 129146 w 241579"/>
                  <a:gd name="connsiteY19" fmla="*/ 75221 h 448363"/>
                  <a:gd name="connsiteX20" fmla="*/ 138312 w 241579"/>
                  <a:gd name="connsiteY20" fmla="*/ 70336 h 448363"/>
                  <a:gd name="connsiteX21" fmla="*/ 155437 w 241579"/>
                  <a:gd name="connsiteY21" fmla="*/ 80819 h 448363"/>
                  <a:gd name="connsiteX22" fmla="*/ 165591 w 241579"/>
                  <a:gd name="connsiteY22" fmla="*/ 76319 h 448363"/>
                  <a:gd name="connsiteX23" fmla="*/ 175690 w 241579"/>
                  <a:gd name="connsiteY23" fmla="*/ 63064 h 448363"/>
                  <a:gd name="connsiteX24" fmla="*/ 193446 w 241579"/>
                  <a:gd name="connsiteY24" fmla="*/ 66686 h 448363"/>
                  <a:gd name="connsiteX25" fmla="*/ 207688 w 241579"/>
                  <a:gd name="connsiteY25" fmla="*/ 85869 h 448363"/>
                  <a:gd name="connsiteX26" fmla="*/ 215263 w 241579"/>
                  <a:gd name="connsiteY26" fmla="*/ 91742 h 448363"/>
                  <a:gd name="connsiteX27" fmla="*/ 217567 w 241579"/>
                  <a:gd name="connsiteY27" fmla="*/ 98136 h 448363"/>
                  <a:gd name="connsiteX28" fmla="*/ 216004 w 241579"/>
                  <a:gd name="connsiteY28" fmla="*/ 107494 h 448363"/>
                  <a:gd name="connsiteX29" fmla="*/ 216881 w 241579"/>
                  <a:gd name="connsiteY29" fmla="*/ 121655 h 448363"/>
                  <a:gd name="connsiteX30" fmla="*/ 225060 w 241579"/>
                  <a:gd name="connsiteY30" fmla="*/ 133510 h 448363"/>
                  <a:gd name="connsiteX31" fmla="*/ 233567 w 241579"/>
                  <a:gd name="connsiteY31" fmla="*/ 137270 h 448363"/>
                  <a:gd name="connsiteX32" fmla="*/ 235653 w 241579"/>
                  <a:gd name="connsiteY32" fmla="*/ 143445 h 448363"/>
                  <a:gd name="connsiteX33" fmla="*/ 241580 w 241579"/>
                  <a:gd name="connsiteY33" fmla="*/ 148412 h 448363"/>
                  <a:gd name="connsiteX34" fmla="*/ 238562 w 241579"/>
                  <a:gd name="connsiteY34" fmla="*/ 157111 h 448363"/>
                  <a:gd name="connsiteX35" fmla="*/ 240044 w 241579"/>
                  <a:gd name="connsiteY35" fmla="*/ 159416 h 448363"/>
                  <a:gd name="connsiteX36" fmla="*/ 238314 w 241579"/>
                  <a:gd name="connsiteY36" fmla="*/ 163889 h 448363"/>
                  <a:gd name="connsiteX37" fmla="*/ 240976 w 241579"/>
                  <a:gd name="connsiteY37" fmla="*/ 169460 h 448363"/>
                  <a:gd name="connsiteX38" fmla="*/ 238397 w 241579"/>
                  <a:gd name="connsiteY38" fmla="*/ 182221 h 448363"/>
                  <a:gd name="connsiteX39" fmla="*/ 235653 w 241579"/>
                  <a:gd name="connsiteY39" fmla="*/ 185761 h 448363"/>
                  <a:gd name="connsiteX40" fmla="*/ 229505 w 241579"/>
                  <a:gd name="connsiteY40" fmla="*/ 188067 h 448363"/>
                  <a:gd name="connsiteX41" fmla="*/ 226240 w 241579"/>
                  <a:gd name="connsiteY41" fmla="*/ 191442 h 448363"/>
                  <a:gd name="connsiteX42" fmla="*/ 222947 w 241579"/>
                  <a:gd name="connsiteY42" fmla="*/ 187243 h 448363"/>
                  <a:gd name="connsiteX43" fmla="*/ 218418 w 241579"/>
                  <a:gd name="connsiteY43" fmla="*/ 185624 h 448363"/>
                  <a:gd name="connsiteX44" fmla="*/ 209554 w 241579"/>
                  <a:gd name="connsiteY44" fmla="*/ 187820 h 448363"/>
                  <a:gd name="connsiteX45" fmla="*/ 200965 w 241579"/>
                  <a:gd name="connsiteY45" fmla="*/ 186640 h 448363"/>
                  <a:gd name="connsiteX46" fmla="*/ 193116 w 241579"/>
                  <a:gd name="connsiteY46" fmla="*/ 188396 h 448363"/>
                  <a:gd name="connsiteX47" fmla="*/ 184060 w 241579"/>
                  <a:gd name="connsiteY47" fmla="*/ 185707 h 448363"/>
                  <a:gd name="connsiteX48" fmla="*/ 169982 w 241579"/>
                  <a:gd name="connsiteY48" fmla="*/ 188670 h 448363"/>
                  <a:gd name="connsiteX49" fmla="*/ 165371 w 241579"/>
                  <a:gd name="connsiteY49" fmla="*/ 191662 h 448363"/>
                  <a:gd name="connsiteX50" fmla="*/ 151951 w 241579"/>
                  <a:gd name="connsiteY50" fmla="*/ 210707 h 448363"/>
                  <a:gd name="connsiteX51" fmla="*/ 146765 w 241579"/>
                  <a:gd name="connsiteY51" fmla="*/ 211778 h 448363"/>
                  <a:gd name="connsiteX52" fmla="*/ 146079 w 241579"/>
                  <a:gd name="connsiteY52" fmla="*/ 214110 h 448363"/>
                  <a:gd name="connsiteX53" fmla="*/ 146134 w 241579"/>
                  <a:gd name="connsiteY53" fmla="*/ 220587 h 448363"/>
                  <a:gd name="connsiteX54" fmla="*/ 150223 w 241579"/>
                  <a:gd name="connsiteY54" fmla="*/ 228518 h 448363"/>
                  <a:gd name="connsiteX55" fmla="*/ 150744 w 241579"/>
                  <a:gd name="connsiteY55" fmla="*/ 238178 h 448363"/>
                  <a:gd name="connsiteX56" fmla="*/ 158263 w 241579"/>
                  <a:gd name="connsiteY56" fmla="*/ 245505 h 448363"/>
                  <a:gd name="connsiteX57" fmla="*/ 156480 w 241579"/>
                  <a:gd name="connsiteY57" fmla="*/ 253738 h 448363"/>
                  <a:gd name="connsiteX58" fmla="*/ 162050 w 241579"/>
                  <a:gd name="connsiteY58" fmla="*/ 266389 h 448363"/>
                  <a:gd name="connsiteX59" fmla="*/ 162188 w 241579"/>
                  <a:gd name="connsiteY59" fmla="*/ 269435 h 448363"/>
                  <a:gd name="connsiteX60" fmla="*/ 154312 w 241579"/>
                  <a:gd name="connsiteY60" fmla="*/ 253957 h 448363"/>
                  <a:gd name="connsiteX61" fmla="*/ 150827 w 241579"/>
                  <a:gd name="connsiteY61" fmla="*/ 254945 h 448363"/>
                  <a:gd name="connsiteX62" fmla="*/ 144185 w 241579"/>
                  <a:gd name="connsiteY62" fmla="*/ 252311 h 448363"/>
                  <a:gd name="connsiteX63" fmla="*/ 129750 w 241579"/>
                  <a:gd name="connsiteY63" fmla="*/ 238864 h 448363"/>
                  <a:gd name="connsiteX64" fmla="*/ 118251 w 241579"/>
                  <a:gd name="connsiteY64" fmla="*/ 240538 h 448363"/>
                  <a:gd name="connsiteX65" fmla="*/ 102856 w 241579"/>
                  <a:gd name="connsiteY65" fmla="*/ 239083 h 448363"/>
                  <a:gd name="connsiteX66" fmla="*/ 104036 w 241579"/>
                  <a:gd name="connsiteY66" fmla="*/ 215592 h 448363"/>
                  <a:gd name="connsiteX67" fmla="*/ 93992 w 241579"/>
                  <a:gd name="connsiteY67" fmla="*/ 213040 h 448363"/>
                  <a:gd name="connsiteX68" fmla="*/ 83865 w 241579"/>
                  <a:gd name="connsiteY68" fmla="*/ 214330 h 448363"/>
                  <a:gd name="connsiteX69" fmla="*/ 77938 w 241579"/>
                  <a:gd name="connsiteY69" fmla="*/ 217184 h 448363"/>
                  <a:gd name="connsiteX70" fmla="*/ 76127 w 241579"/>
                  <a:gd name="connsiteY70" fmla="*/ 220010 h 448363"/>
                  <a:gd name="connsiteX71" fmla="*/ 78789 w 241579"/>
                  <a:gd name="connsiteY71" fmla="*/ 227036 h 448363"/>
                  <a:gd name="connsiteX72" fmla="*/ 75523 w 241579"/>
                  <a:gd name="connsiteY72" fmla="*/ 239852 h 448363"/>
                  <a:gd name="connsiteX73" fmla="*/ 76401 w 241579"/>
                  <a:gd name="connsiteY73" fmla="*/ 253793 h 448363"/>
                  <a:gd name="connsiteX74" fmla="*/ 65643 w 241579"/>
                  <a:gd name="connsiteY74" fmla="*/ 274320 h 448363"/>
                  <a:gd name="connsiteX75" fmla="*/ 61911 w 241579"/>
                  <a:gd name="connsiteY75" fmla="*/ 284776 h 448363"/>
                  <a:gd name="connsiteX76" fmla="*/ 61802 w 241579"/>
                  <a:gd name="connsiteY76" fmla="*/ 292460 h 448363"/>
                  <a:gd name="connsiteX77" fmla="*/ 56038 w 241579"/>
                  <a:gd name="connsiteY77" fmla="*/ 300501 h 448363"/>
                  <a:gd name="connsiteX78" fmla="*/ 54831 w 241579"/>
                  <a:gd name="connsiteY78" fmla="*/ 306648 h 448363"/>
                  <a:gd name="connsiteX79" fmla="*/ 52663 w 241579"/>
                  <a:gd name="connsiteY79" fmla="*/ 309118 h 448363"/>
                  <a:gd name="connsiteX80" fmla="*/ 51620 w 241579"/>
                  <a:gd name="connsiteY80" fmla="*/ 324623 h 448363"/>
                  <a:gd name="connsiteX81" fmla="*/ 55187 w 241579"/>
                  <a:gd name="connsiteY81" fmla="*/ 341143 h 448363"/>
                  <a:gd name="connsiteX82" fmla="*/ 59716 w 241579"/>
                  <a:gd name="connsiteY82" fmla="*/ 342379 h 448363"/>
                  <a:gd name="connsiteX83" fmla="*/ 68140 w 241579"/>
                  <a:gd name="connsiteY83" fmla="*/ 339305 h 448363"/>
                  <a:gd name="connsiteX84" fmla="*/ 71708 w 241579"/>
                  <a:gd name="connsiteY84" fmla="*/ 340814 h 448363"/>
                  <a:gd name="connsiteX85" fmla="*/ 76868 w 241579"/>
                  <a:gd name="connsiteY85" fmla="*/ 361808 h 448363"/>
                  <a:gd name="connsiteX86" fmla="*/ 79475 w 241579"/>
                  <a:gd name="connsiteY86" fmla="*/ 365815 h 448363"/>
                  <a:gd name="connsiteX87" fmla="*/ 82548 w 241579"/>
                  <a:gd name="connsiteY87" fmla="*/ 365321 h 448363"/>
                  <a:gd name="connsiteX88" fmla="*/ 84442 w 241579"/>
                  <a:gd name="connsiteY88" fmla="*/ 370041 h 448363"/>
                  <a:gd name="connsiteX89" fmla="*/ 87515 w 241579"/>
                  <a:gd name="connsiteY89" fmla="*/ 385491 h 448363"/>
                  <a:gd name="connsiteX90" fmla="*/ 90067 w 241579"/>
                  <a:gd name="connsiteY90" fmla="*/ 395261 h 448363"/>
                  <a:gd name="connsiteX91" fmla="*/ 91934 w 241579"/>
                  <a:gd name="connsiteY91" fmla="*/ 399295 h 448363"/>
                  <a:gd name="connsiteX92" fmla="*/ 98602 w 241579"/>
                  <a:gd name="connsiteY92" fmla="*/ 407995 h 448363"/>
                  <a:gd name="connsiteX93" fmla="*/ 106725 w 241579"/>
                  <a:gd name="connsiteY93" fmla="*/ 412166 h 448363"/>
                  <a:gd name="connsiteX94" fmla="*/ 115261 w 241579"/>
                  <a:gd name="connsiteY94" fmla="*/ 411041 h 448363"/>
                  <a:gd name="connsiteX95" fmla="*/ 121654 w 241579"/>
                  <a:gd name="connsiteY95" fmla="*/ 412633 h 448363"/>
                  <a:gd name="connsiteX96" fmla="*/ 129393 w 241579"/>
                  <a:gd name="connsiteY96" fmla="*/ 423390 h 448363"/>
                  <a:gd name="connsiteX97" fmla="*/ 138010 w 241579"/>
                  <a:gd name="connsiteY97" fmla="*/ 430498 h 448363"/>
                  <a:gd name="connsiteX98" fmla="*/ 137297 w 241579"/>
                  <a:gd name="connsiteY98" fmla="*/ 434477 h 448363"/>
                  <a:gd name="connsiteX99" fmla="*/ 130354 w 241579"/>
                  <a:gd name="connsiteY99" fmla="*/ 444055 h 448363"/>
                  <a:gd name="connsiteX100" fmla="*/ 126759 w 241579"/>
                  <a:gd name="connsiteY100" fmla="*/ 443863 h 448363"/>
                  <a:gd name="connsiteX101" fmla="*/ 122450 w 241579"/>
                  <a:gd name="connsiteY101" fmla="*/ 440213 h 448363"/>
                  <a:gd name="connsiteX102" fmla="*/ 114465 w 241579"/>
                  <a:gd name="connsiteY102" fmla="*/ 443671 h 448363"/>
                  <a:gd name="connsiteX103" fmla="*/ 110321 w 241579"/>
                  <a:gd name="connsiteY103" fmla="*/ 448363 h 448363"/>
                  <a:gd name="connsiteX104" fmla="*/ 106012 w 241579"/>
                  <a:gd name="connsiteY104" fmla="*/ 442957 h 448363"/>
                  <a:gd name="connsiteX105" fmla="*/ 109360 w 241579"/>
                  <a:gd name="connsiteY105" fmla="*/ 438017 h 448363"/>
                  <a:gd name="connsiteX106" fmla="*/ 108729 w 241579"/>
                  <a:gd name="connsiteY106" fmla="*/ 430580 h 448363"/>
                  <a:gd name="connsiteX107" fmla="*/ 102143 w 241579"/>
                  <a:gd name="connsiteY107" fmla="*/ 429976 h 448363"/>
                  <a:gd name="connsiteX108" fmla="*/ 99426 w 241579"/>
                  <a:gd name="connsiteY108" fmla="*/ 424158 h 448363"/>
                  <a:gd name="connsiteX109" fmla="*/ 87515 w 241579"/>
                  <a:gd name="connsiteY109" fmla="*/ 421360 h 448363"/>
                  <a:gd name="connsiteX110" fmla="*/ 83920 w 241579"/>
                  <a:gd name="connsiteY110" fmla="*/ 416667 h 448363"/>
                  <a:gd name="connsiteX111" fmla="*/ 82082 w 241579"/>
                  <a:gd name="connsiteY111" fmla="*/ 417518 h 448363"/>
                  <a:gd name="connsiteX112" fmla="*/ 80106 w 241579"/>
                  <a:gd name="connsiteY112" fmla="*/ 425147 h 448363"/>
                  <a:gd name="connsiteX113" fmla="*/ 68662 w 241579"/>
                  <a:gd name="connsiteY113" fmla="*/ 412303 h 448363"/>
                  <a:gd name="connsiteX114" fmla="*/ 66494 w 241579"/>
                  <a:gd name="connsiteY114" fmla="*/ 404208 h 448363"/>
                  <a:gd name="connsiteX115" fmla="*/ 61116 w 241579"/>
                  <a:gd name="connsiteY115" fmla="*/ 400393 h 448363"/>
                  <a:gd name="connsiteX116" fmla="*/ 57959 w 241579"/>
                  <a:gd name="connsiteY116" fmla="*/ 400777 h 448363"/>
                  <a:gd name="connsiteX117" fmla="*/ 57328 w 241579"/>
                  <a:gd name="connsiteY117" fmla="*/ 396304 h 448363"/>
                  <a:gd name="connsiteX118" fmla="*/ 53953 w 241579"/>
                  <a:gd name="connsiteY118" fmla="*/ 389004 h 448363"/>
                  <a:gd name="connsiteX119" fmla="*/ 51565 w 241579"/>
                  <a:gd name="connsiteY119" fmla="*/ 387769 h 448363"/>
                  <a:gd name="connsiteX120" fmla="*/ 49781 w 241579"/>
                  <a:gd name="connsiteY120" fmla="*/ 389663 h 448363"/>
                  <a:gd name="connsiteX121" fmla="*/ 48684 w 241579"/>
                  <a:gd name="connsiteY121" fmla="*/ 389498 h 448363"/>
                  <a:gd name="connsiteX122" fmla="*/ 45830 w 241579"/>
                  <a:gd name="connsiteY122" fmla="*/ 380195 h 448363"/>
                  <a:gd name="connsiteX123" fmla="*/ 40533 w 241579"/>
                  <a:gd name="connsiteY123" fmla="*/ 376353 h 448363"/>
                  <a:gd name="connsiteX124" fmla="*/ 37762 w 241579"/>
                  <a:gd name="connsiteY124" fmla="*/ 369629 h 448363"/>
                  <a:gd name="connsiteX125" fmla="*/ 34907 w 241579"/>
                  <a:gd name="connsiteY125" fmla="*/ 368367 h 448363"/>
                  <a:gd name="connsiteX126" fmla="*/ 31477 w 241579"/>
                  <a:gd name="connsiteY126" fmla="*/ 370425 h 448363"/>
                  <a:gd name="connsiteX127" fmla="*/ 29665 w 241579"/>
                  <a:gd name="connsiteY127" fmla="*/ 374707 h 448363"/>
                  <a:gd name="connsiteX128" fmla="*/ 29556 w 241579"/>
                  <a:gd name="connsiteY128" fmla="*/ 381348 h 448363"/>
                  <a:gd name="connsiteX129" fmla="*/ 26921 w 241579"/>
                  <a:gd name="connsiteY129" fmla="*/ 383104 h 448363"/>
                  <a:gd name="connsiteX130" fmla="*/ 24149 w 241579"/>
                  <a:gd name="connsiteY130" fmla="*/ 361863 h 448363"/>
                  <a:gd name="connsiteX131" fmla="*/ 25466 w 241579"/>
                  <a:gd name="connsiteY131" fmla="*/ 344519 h 448363"/>
                  <a:gd name="connsiteX132" fmla="*/ 30461 w 241579"/>
                  <a:gd name="connsiteY132" fmla="*/ 334118 h 448363"/>
                  <a:gd name="connsiteX133" fmla="*/ 32492 w 241579"/>
                  <a:gd name="connsiteY133" fmla="*/ 331676 h 448363"/>
                  <a:gd name="connsiteX134" fmla="*/ 32163 w 241579"/>
                  <a:gd name="connsiteY134" fmla="*/ 329151 h 448363"/>
                  <a:gd name="connsiteX135" fmla="*/ 33261 w 241579"/>
                  <a:gd name="connsiteY135" fmla="*/ 323992 h 448363"/>
                  <a:gd name="connsiteX136" fmla="*/ 38393 w 241579"/>
                  <a:gd name="connsiteY136" fmla="*/ 312356 h 448363"/>
                  <a:gd name="connsiteX137" fmla="*/ 39820 w 241579"/>
                  <a:gd name="connsiteY137" fmla="*/ 307114 h 448363"/>
                  <a:gd name="connsiteX138" fmla="*/ 41631 w 241579"/>
                  <a:gd name="connsiteY138" fmla="*/ 297893 h 448363"/>
                  <a:gd name="connsiteX139" fmla="*/ 53898 w 241579"/>
                  <a:gd name="connsiteY139" fmla="*/ 284721 h 448363"/>
                  <a:gd name="connsiteX140" fmla="*/ 65863 w 241579"/>
                  <a:gd name="connsiteY140" fmla="*/ 264303 h 448363"/>
                  <a:gd name="connsiteX141" fmla="*/ 61335 w 241579"/>
                  <a:gd name="connsiteY141" fmla="*/ 252503 h 448363"/>
                  <a:gd name="connsiteX142" fmla="*/ 59359 w 241579"/>
                  <a:gd name="connsiteY142" fmla="*/ 241581 h 448363"/>
                  <a:gd name="connsiteX143" fmla="*/ 53788 w 241579"/>
                  <a:gd name="connsiteY143" fmla="*/ 234253 h 448363"/>
                  <a:gd name="connsiteX144" fmla="*/ 51071 w 241579"/>
                  <a:gd name="connsiteY144" fmla="*/ 227255 h 448363"/>
                  <a:gd name="connsiteX145" fmla="*/ 52937 w 241579"/>
                  <a:gd name="connsiteY145" fmla="*/ 214933 h 448363"/>
                  <a:gd name="connsiteX146" fmla="*/ 49754 w 241579"/>
                  <a:gd name="connsiteY146" fmla="*/ 201980 h 448363"/>
                  <a:gd name="connsiteX147" fmla="*/ 45473 w 241579"/>
                  <a:gd name="connsiteY147" fmla="*/ 195861 h 448363"/>
                  <a:gd name="connsiteX148" fmla="*/ 35374 w 241579"/>
                  <a:gd name="connsiteY148" fmla="*/ 188012 h 448363"/>
                  <a:gd name="connsiteX149" fmla="*/ 25000 w 241579"/>
                  <a:gd name="connsiteY149" fmla="*/ 171711 h 448363"/>
                  <a:gd name="connsiteX150" fmla="*/ 24232 w 241579"/>
                  <a:gd name="connsiteY150" fmla="*/ 162462 h 448363"/>
                  <a:gd name="connsiteX151" fmla="*/ 33974 w 241579"/>
                  <a:gd name="connsiteY151" fmla="*/ 156151 h 448363"/>
                  <a:gd name="connsiteX152" fmla="*/ 35346 w 241579"/>
                  <a:gd name="connsiteY152" fmla="*/ 137489 h 448363"/>
                  <a:gd name="connsiteX153" fmla="*/ 37762 w 241579"/>
                  <a:gd name="connsiteY153" fmla="*/ 134580 h 448363"/>
                  <a:gd name="connsiteX154" fmla="*/ 42399 w 241579"/>
                  <a:gd name="connsiteY154" fmla="*/ 132906 h 448363"/>
                  <a:gd name="connsiteX155" fmla="*/ 44265 w 241579"/>
                  <a:gd name="connsiteY155" fmla="*/ 126759 h 448363"/>
                  <a:gd name="connsiteX156" fmla="*/ 42317 w 241579"/>
                  <a:gd name="connsiteY156" fmla="*/ 125634 h 448363"/>
                  <a:gd name="connsiteX157" fmla="*/ 37075 w 241579"/>
                  <a:gd name="connsiteY157" fmla="*/ 126924 h 448363"/>
                  <a:gd name="connsiteX158" fmla="*/ 32465 w 241579"/>
                  <a:gd name="connsiteY158" fmla="*/ 116358 h 448363"/>
                  <a:gd name="connsiteX159" fmla="*/ 32300 w 241579"/>
                  <a:gd name="connsiteY159" fmla="*/ 108866 h 448363"/>
                  <a:gd name="connsiteX160" fmla="*/ 11800 w 241579"/>
                  <a:gd name="connsiteY160" fmla="*/ 85814 h 448363"/>
                  <a:gd name="connsiteX161" fmla="*/ 9028 w 241579"/>
                  <a:gd name="connsiteY161" fmla="*/ 80298 h 448363"/>
                  <a:gd name="connsiteX162" fmla="*/ 6861 w 241579"/>
                  <a:gd name="connsiteY162" fmla="*/ 68415 h 448363"/>
                  <a:gd name="connsiteX163" fmla="*/ 2167 w 241579"/>
                  <a:gd name="connsiteY163" fmla="*/ 65891 h 448363"/>
                  <a:gd name="connsiteX164" fmla="*/ 0 w 241579"/>
                  <a:gd name="connsiteY164" fmla="*/ 60731 h 448363"/>
                  <a:gd name="connsiteX165" fmla="*/ 10126 w 241579"/>
                  <a:gd name="connsiteY165" fmla="*/ 57273 h 448363"/>
                  <a:gd name="connsiteX166" fmla="*/ 8891 w 241579"/>
                  <a:gd name="connsiteY166" fmla="*/ 46982 h 448363"/>
                  <a:gd name="connsiteX167" fmla="*/ 12761 w 241579"/>
                  <a:gd name="connsiteY167" fmla="*/ 40945 h 448363"/>
                  <a:gd name="connsiteX168" fmla="*/ 12267 w 241579"/>
                  <a:gd name="connsiteY168" fmla="*/ 31889 h 448363"/>
                  <a:gd name="connsiteX169" fmla="*/ 17563 w 241579"/>
                  <a:gd name="connsiteY169" fmla="*/ 25412 h 448363"/>
                  <a:gd name="connsiteX170" fmla="*/ 19924 w 241579"/>
                  <a:gd name="connsiteY170" fmla="*/ 20637 h 448363"/>
                  <a:gd name="connsiteX171" fmla="*/ 27882 w 241579"/>
                  <a:gd name="connsiteY171" fmla="*/ 23518 h 448363"/>
                  <a:gd name="connsiteX172" fmla="*/ 45967 w 241579"/>
                  <a:gd name="connsiteY172" fmla="*/ 20610 h 448363"/>
                  <a:gd name="connsiteX173" fmla="*/ 47805 w 241579"/>
                  <a:gd name="connsiteY173" fmla="*/ 18579 h 448363"/>
                  <a:gd name="connsiteX174" fmla="*/ 50111 w 241579"/>
                  <a:gd name="connsiteY174" fmla="*/ 11169 h 448363"/>
                  <a:gd name="connsiteX175" fmla="*/ 59716 w 241579"/>
                  <a:gd name="connsiteY175" fmla="*/ 10593 h 448363"/>
                  <a:gd name="connsiteX176" fmla="*/ 62213 w 241579"/>
                  <a:gd name="connsiteY176" fmla="*/ 8946 h 448363"/>
                  <a:gd name="connsiteX177" fmla="*/ 62158 w 241579"/>
                  <a:gd name="connsiteY177" fmla="*/ 2936 h 448363"/>
                  <a:gd name="connsiteX178" fmla="*/ 69815 w 241579"/>
                  <a:gd name="connsiteY178" fmla="*/ 2854 h 448363"/>
                  <a:gd name="connsiteX179" fmla="*/ 74425 w 241579"/>
                  <a:gd name="connsiteY179" fmla="*/ 0 h 448363"/>
                  <a:gd name="connsiteX180" fmla="*/ 79063 w 241579"/>
                  <a:gd name="connsiteY180" fmla="*/ 2744 h 448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241579" h="448363">
                    <a:moveTo>
                      <a:pt x="79118" y="2827"/>
                    </a:moveTo>
                    <a:lnTo>
                      <a:pt x="80188" y="5104"/>
                    </a:lnTo>
                    <a:lnTo>
                      <a:pt x="86363" y="2058"/>
                    </a:lnTo>
                    <a:lnTo>
                      <a:pt x="92675" y="9221"/>
                    </a:lnTo>
                    <a:lnTo>
                      <a:pt x="89381" y="20857"/>
                    </a:lnTo>
                    <a:lnTo>
                      <a:pt x="91659" y="27470"/>
                    </a:lnTo>
                    <a:lnTo>
                      <a:pt x="99069" y="28596"/>
                    </a:lnTo>
                    <a:lnTo>
                      <a:pt x="105298" y="25769"/>
                    </a:lnTo>
                    <a:lnTo>
                      <a:pt x="113586" y="28239"/>
                    </a:lnTo>
                    <a:lnTo>
                      <a:pt x="112544" y="34304"/>
                    </a:lnTo>
                    <a:lnTo>
                      <a:pt x="115535" y="44073"/>
                    </a:lnTo>
                    <a:lnTo>
                      <a:pt x="112735" y="55627"/>
                    </a:lnTo>
                    <a:lnTo>
                      <a:pt x="108674" y="61719"/>
                    </a:lnTo>
                    <a:lnTo>
                      <a:pt x="110842" y="66741"/>
                    </a:lnTo>
                    <a:lnTo>
                      <a:pt x="111034" y="72614"/>
                    </a:lnTo>
                    <a:lnTo>
                      <a:pt x="105929" y="83756"/>
                    </a:lnTo>
                    <a:lnTo>
                      <a:pt x="105847" y="88778"/>
                    </a:lnTo>
                    <a:lnTo>
                      <a:pt x="107302" y="90479"/>
                    </a:lnTo>
                    <a:lnTo>
                      <a:pt x="111089" y="91687"/>
                    </a:lnTo>
                    <a:lnTo>
                      <a:pt x="129146" y="75221"/>
                    </a:lnTo>
                    <a:lnTo>
                      <a:pt x="138312" y="70336"/>
                    </a:lnTo>
                    <a:lnTo>
                      <a:pt x="155437" y="80819"/>
                    </a:lnTo>
                    <a:lnTo>
                      <a:pt x="165591" y="76319"/>
                    </a:lnTo>
                    <a:lnTo>
                      <a:pt x="175690" y="63064"/>
                    </a:lnTo>
                    <a:lnTo>
                      <a:pt x="193446" y="66686"/>
                    </a:lnTo>
                    <a:lnTo>
                      <a:pt x="207688" y="85869"/>
                    </a:lnTo>
                    <a:lnTo>
                      <a:pt x="215263" y="91742"/>
                    </a:lnTo>
                    <a:lnTo>
                      <a:pt x="217567" y="98136"/>
                    </a:lnTo>
                    <a:lnTo>
                      <a:pt x="216004" y="107494"/>
                    </a:lnTo>
                    <a:lnTo>
                      <a:pt x="216881" y="121655"/>
                    </a:lnTo>
                    <a:lnTo>
                      <a:pt x="225060" y="133510"/>
                    </a:lnTo>
                    <a:lnTo>
                      <a:pt x="233567" y="137270"/>
                    </a:lnTo>
                    <a:lnTo>
                      <a:pt x="235653" y="143445"/>
                    </a:lnTo>
                    <a:lnTo>
                      <a:pt x="241580" y="148412"/>
                    </a:lnTo>
                    <a:lnTo>
                      <a:pt x="238562" y="157111"/>
                    </a:lnTo>
                    <a:lnTo>
                      <a:pt x="240044" y="159416"/>
                    </a:lnTo>
                    <a:lnTo>
                      <a:pt x="238314" y="163889"/>
                    </a:lnTo>
                    <a:lnTo>
                      <a:pt x="240976" y="169460"/>
                    </a:lnTo>
                    <a:lnTo>
                      <a:pt x="238397" y="182221"/>
                    </a:lnTo>
                    <a:lnTo>
                      <a:pt x="235653" y="185761"/>
                    </a:lnTo>
                    <a:lnTo>
                      <a:pt x="229505" y="188067"/>
                    </a:lnTo>
                    <a:lnTo>
                      <a:pt x="226240" y="191442"/>
                    </a:lnTo>
                    <a:lnTo>
                      <a:pt x="222947" y="187243"/>
                    </a:lnTo>
                    <a:lnTo>
                      <a:pt x="218418" y="185624"/>
                    </a:lnTo>
                    <a:lnTo>
                      <a:pt x="209554" y="187820"/>
                    </a:lnTo>
                    <a:lnTo>
                      <a:pt x="200965" y="186640"/>
                    </a:lnTo>
                    <a:lnTo>
                      <a:pt x="193116" y="188396"/>
                    </a:lnTo>
                    <a:lnTo>
                      <a:pt x="184060" y="185707"/>
                    </a:lnTo>
                    <a:lnTo>
                      <a:pt x="169982" y="188670"/>
                    </a:lnTo>
                    <a:lnTo>
                      <a:pt x="165371" y="191662"/>
                    </a:lnTo>
                    <a:lnTo>
                      <a:pt x="151951" y="210707"/>
                    </a:lnTo>
                    <a:lnTo>
                      <a:pt x="146765" y="211778"/>
                    </a:lnTo>
                    <a:lnTo>
                      <a:pt x="146079" y="214110"/>
                    </a:lnTo>
                    <a:lnTo>
                      <a:pt x="146134" y="220587"/>
                    </a:lnTo>
                    <a:lnTo>
                      <a:pt x="150223" y="228518"/>
                    </a:lnTo>
                    <a:lnTo>
                      <a:pt x="150744" y="238178"/>
                    </a:lnTo>
                    <a:lnTo>
                      <a:pt x="158263" y="245505"/>
                    </a:lnTo>
                    <a:lnTo>
                      <a:pt x="156480" y="253738"/>
                    </a:lnTo>
                    <a:lnTo>
                      <a:pt x="162050" y="266389"/>
                    </a:lnTo>
                    <a:lnTo>
                      <a:pt x="162188" y="269435"/>
                    </a:lnTo>
                    <a:lnTo>
                      <a:pt x="154312" y="253957"/>
                    </a:lnTo>
                    <a:lnTo>
                      <a:pt x="150827" y="254945"/>
                    </a:lnTo>
                    <a:lnTo>
                      <a:pt x="144185" y="252311"/>
                    </a:lnTo>
                    <a:lnTo>
                      <a:pt x="129750" y="238864"/>
                    </a:lnTo>
                    <a:lnTo>
                      <a:pt x="118251" y="240538"/>
                    </a:lnTo>
                    <a:lnTo>
                      <a:pt x="102856" y="239083"/>
                    </a:lnTo>
                    <a:lnTo>
                      <a:pt x="104036" y="215592"/>
                    </a:lnTo>
                    <a:lnTo>
                      <a:pt x="93992" y="213040"/>
                    </a:lnTo>
                    <a:lnTo>
                      <a:pt x="83865" y="214330"/>
                    </a:lnTo>
                    <a:lnTo>
                      <a:pt x="77938" y="217184"/>
                    </a:lnTo>
                    <a:lnTo>
                      <a:pt x="76127" y="220010"/>
                    </a:lnTo>
                    <a:lnTo>
                      <a:pt x="78789" y="227036"/>
                    </a:lnTo>
                    <a:lnTo>
                      <a:pt x="75523" y="239852"/>
                    </a:lnTo>
                    <a:lnTo>
                      <a:pt x="76401" y="253793"/>
                    </a:lnTo>
                    <a:lnTo>
                      <a:pt x="65643" y="274320"/>
                    </a:lnTo>
                    <a:lnTo>
                      <a:pt x="61911" y="284776"/>
                    </a:lnTo>
                    <a:lnTo>
                      <a:pt x="61802" y="292460"/>
                    </a:lnTo>
                    <a:lnTo>
                      <a:pt x="56038" y="300501"/>
                    </a:lnTo>
                    <a:lnTo>
                      <a:pt x="54831" y="306648"/>
                    </a:lnTo>
                    <a:lnTo>
                      <a:pt x="52663" y="309118"/>
                    </a:lnTo>
                    <a:lnTo>
                      <a:pt x="51620" y="324623"/>
                    </a:lnTo>
                    <a:lnTo>
                      <a:pt x="55187" y="341143"/>
                    </a:lnTo>
                    <a:lnTo>
                      <a:pt x="59716" y="342379"/>
                    </a:lnTo>
                    <a:lnTo>
                      <a:pt x="68140" y="339305"/>
                    </a:lnTo>
                    <a:lnTo>
                      <a:pt x="71708" y="340814"/>
                    </a:lnTo>
                    <a:lnTo>
                      <a:pt x="76868" y="361808"/>
                    </a:lnTo>
                    <a:lnTo>
                      <a:pt x="79475" y="365815"/>
                    </a:lnTo>
                    <a:lnTo>
                      <a:pt x="82548" y="365321"/>
                    </a:lnTo>
                    <a:lnTo>
                      <a:pt x="84442" y="370041"/>
                    </a:lnTo>
                    <a:lnTo>
                      <a:pt x="87515" y="385491"/>
                    </a:lnTo>
                    <a:lnTo>
                      <a:pt x="90067" y="395261"/>
                    </a:lnTo>
                    <a:lnTo>
                      <a:pt x="91934" y="399295"/>
                    </a:lnTo>
                    <a:lnTo>
                      <a:pt x="98602" y="407995"/>
                    </a:lnTo>
                    <a:lnTo>
                      <a:pt x="106725" y="412166"/>
                    </a:lnTo>
                    <a:lnTo>
                      <a:pt x="115261" y="411041"/>
                    </a:lnTo>
                    <a:lnTo>
                      <a:pt x="121654" y="412633"/>
                    </a:lnTo>
                    <a:lnTo>
                      <a:pt x="129393" y="423390"/>
                    </a:lnTo>
                    <a:lnTo>
                      <a:pt x="138010" y="430498"/>
                    </a:lnTo>
                    <a:lnTo>
                      <a:pt x="137297" y="434477"/>
                    </a:lnTo>
                    <a:lnTo>
                      <a:pt x="130354" y="444055"/>
                    </a:lnTo>
                    <a:lnTo>
                      <a:pt x="126759" y="443863"/>
                    </a:lnTo>
                    <a:lnTo>
                      <a:pt x="122450" y="440213"/>
                    </a:lnTo>
                    <a:lnTo>
                      <a:pt x="114465" y="443671"/>
                    </a:lnTo>
                    <a:lnTo>
                      <a:pt x="110321" y="448363"/>
                    </a:lnTo>
                    <a:lnTo>
                      <a:pt x="106012" y="442957"/>
                    </a:lnTo>
                    <a:lnTo>
                      <a:pt x="109360" y="438017"/>
                    </a:lnTo>
                    <a:lnTo>
                      <a:pt x="108729" y="430580"/>
                    </a:lnTo>
                    <a:lnTo>
                      <a:pt x="102143" y="429976"/>
                    </a:lnTo>
                    <a:lnTo>
                      <a:pt x="99426" y="424158"/>
                    </a:lnTo>
                    <a:lnTo>
                      <a:pt x="87515" y="421360"/>
                    </a:lnTo>
                    <a:lnTo>
                      <a:pt x="83920" y="416667"/>
                    </a:lnTo>
                    <a:lnTo>
                      <a:pt x="82082" y="417518"/>
                    </a:lnTo>
                    <a:lnTo>
                      <a:pt x="80106" y="425147"/>
                    </a:lnTo>
                    <a:lnTo>
                      <a:pt x="68662" y="412303"/>
                    </a:lnTo>
                    <a:lnTo>
                      <a:pt x="66494" y="404208"/>
                    </a:lnTo>
                    <a:lnTo>
                      <a:pt x="61116" y="400393"/>
                    </a:lnTo>
                    <a:lnTo>
                      <a:pt x="57959" y="400777"/>
                    </a:lnTo>
                    <a:lnTo>
                      <a:pt x="57328" y="396304"/>
                    </a:lnTo>
                    <a:lnTo>
                      <a:pt x="53953" y="389004"/>
                    </a:lnTo>
                    <a:lnTo>
                      <a:pt x="51565" y="387769"/>
                    </a:lnTo>
                    <a:lnTo>
                      <a:pt x="49781" y="389663"/>
                    </a:lnTo>
                    <a:lnTo>
                      <a:pt x="48684" y="389498"/>
                    </a:lnTo>
                    <a:lnTo>
                      <a:pt x="45830" y="380195"/>
                    </a:lnTo>
                    <a:lnTo>
                      <a:pt x="40533" y="376353"/>
                    </a:lnTo>
                    <a:lnTo>
                      <a:pt x="37762" y="369629"/>
                    </a:lnTo>
                    <a:lnTo>
                      <a:pt x="34907" y="368367"/>
                    </a:lnTo>
                    <a:lnTo>
                      <a:pt x="31477" y="370425"/>
                    </a:lnTo>
                    <a:lnTo>
                      <a:pt x="29665" y="374707"/>
                    </a:lnTo>
                    <a:lnTo>
                      <a:pt x="29556" y="381348"/>
                    </a:lnTo>
                    <a:lnTo>
                      <a:pt x="26921" y="383104"/>
                    </a:lnTo>
                    <a:lnTo>
                      <a:pt x="24149" y="361863"/>
                    </a:lnTo>
                    <a:lnTo>
                      <a:pt x="25466" y="344519"/>
                    </a:lnTo>
                    <a:lnTo>
                      <a:pt x="30461" y="334118"/>
                    </a:lnTo>
                    <a:lnTo>
                      <a:pt x="32492" y="331676"/>
                    </a:lnTo>
                    <a:lnTo>
                      <a:pt x="32163" y="329151"/>
                    </a:lnTo>
                    <a:lnTo>
                      <a:pt x="33261" y="323992"/>
                    </a:lnTo>
                    <a:lnTo>
                      <a:pt x="38393" y="312356"/>
                    </a:lnTo>
                    <a:lnTo>
                      <a:pt x="39820" y="307114"/>
                    </a:lnTo>
                    <a:lnTo>
                      <a:pt x="41631" y="297893"/>
                    </a:lnTo>
                    <a:lnTo>
                      <a:pt x="53898" y="284721"/>
                    </a:lnTo>
                    <a:lnTo>
                      <a:pt x="65863" y="264303"/>
                    </a:lnTo>
                    <a:lnTo>
                      <a:pt x="61335" y="252503"/>
                    </a:lnTo>
                    <a:lnTo>
                      <a:pt x="59359" y="241581"/>
                    </a:lnTo>
                    <a:lnTo>
                      <a:pt x="53788" y="234253"/>
                    </a:lnTo>
                    <a:lnTo>
                      <a:pt x="51071" y="227255"/>
                    </a:lnTo>
                    <a:lnTo>
                      <a:pt x="52937" y="214933"/>
                    </a:lnTo>
                    <a:lnTo>
                      <a:pt x="49754" y="201980"/>
                    </a:lnTo>
                    <a:lnTo>
                      <a:pt x="45473" y="195861"/>
                    </a:lnTo>
                    <a:lnTo>
                      <a:pt x="35374" y="188012"/>
                    </a:lnTo>
                    <a:lnTo>
                      <a:pt x="25000" y="171711"/>
                    </a:lnTo>
                    <a:lnTo>
                      <a:pt x="24232" y="162462"/>
                    </a:lnTo>
                    <a:lnTo>
                      <a:pt x="33974" y="156151"/>
                    </a:lnTo>
                    <a:lnTo>
                      <a:pt x="35346" y="137489"/>
                    </a:lnTo>
                    <a:lnTo>
                      <a:pt x="37762" y="134580"/>
                    </a:lnTo>
                    <a:lnTo>
                      <a:pt x="42399" y="132906"/>
                    </a:lnTo>
                    <a:lnTo>
                      <a:pt x="44265" y="126759"/>
                    </a:lnTo>
                    <a:lnTo>
                      <a:pt x="42317" y="125634"/>
                    </a:lnTo>
                    <a:lnTo>
                      <a:pt x="37075" y="126924"/>
                    </a:lnTo>
                    <a:lnTo>
                      <a:pt x="32465" y="116358"/>
                    </a:lnTo>
                    <a:lnTo>
                      <a:pt x="32300" y="108866"/>
                    </a:lnTo>
                    <a:lnTo>
                      <a:pt x="11800" y="85814"/>
                    </a:lnTo>
                    <a:lnTo>
                      <a:pt x="9028" y="80298"/>
                    </a:lnTo>
                    <a:lnTo>
                      <a:pt x="6861" y="68415"/>
                    </a:lnTo>
                    <a:lnTo>
                      <a:pt x="2167" y="65891"/>
                    </a:lnTo>
                    <a:lnTo>
                      <a:pt x="0" y="60731"/>
                    </a:lnTo>
                    <a:lnTo>
                      <a:pt x="10126" y="57273"/>
                    </a:lnTo>
                    <a:lnTo>
                      <a:pt x="8891" y="46982"/>
                    </a:lnTo>
                    <a:lnTo>
                      <a:pt x="12761" y="40945"/>
                    </a:lnTo>
                    <a:lnTo>
                      <a:pt x="12267" y="31889"/>
                    </a:lnTo>
                    <a:lnTo>
                      <a:pt x="17563" y="25412"/>
                    </a:lnTo>
                    <a:lnTo>
                      <a:pt x="19924" y="20637"/>
                    </a:lnTo>
                    <a:lnTo>
                      <a:pt x="27882" y="23518"/>
                    </a:lnTo>
                    <a:lnTo>
                      <a:pt x="45967" y="20610"/>
                    </a:lnTo>
                    <a:lnTo>
                      <a:pt x="47805" y="18579"/>
                    </a:lnTo>
                    <a:lnTo>
                      <a:pt x="50111" y="11169"/>
                    </a:lnTo>
                    <a:lnTo>
                      <a:pt x="59716" y="10593"/>
                    </a:lnTo>
                    <a:lnTo>
                      <a:pt x="62213" y="8946"/>
                    </a:lnTo>
                    <a:lnTo>
                      <a:pt x="62158" y="2936"/>
                    </a:lnTo>
                    <a:lnTo>
                      <a:pt x="69815" y="2854"/>
                    </a:lnTo>
                    <a:lnTo>
                      <a:pt x="74425" y="0"/>
                    </a:lnTo>
                    <a:lnTo>
                      <a:pt x="79063"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7" name="Freeform: Shape 4176">
                <a:extLst>
                  <a:ext uri="{FF2B5EF4-FFF2-40B4-BE49-F238E27FC236}">
                    <a16:creationId xmlns:a16="http://schemas.microsoft.com/office/drawing/2014/main" id="{4FBF1179-AECD-FA39-6BC0-FCDBBA04CFA9}"/>
                  </a:ext>
                </a:extLst>
              </p:cNvPr>
              <p:cNvSpPr/>
              <p:nvPr/>
            </p:nvSpPr>
            <p:spPr>
              <a:xfrm>
                <a:off x="1679063" y="3806946"/>
                <a:ext cx="535" cy="538"/>
              </a:xfrm>
              <a:custGeom>
                <a:avLst/>
                <a:gdLst>
                  <a:gd name="connsiteX0" fmla="*/ 5132 w 5132"/>
                  <a:gd name="connsiteY0" fmla="*/ 4309 h 5159"/>
                  <a:gd name="connsiteX1" fmla="*/ 3650 w 5132"/>
                  <a:gd name="connsiteY1" fmla="*/ 5159 h 5159"/>
                  <a:gd name="connsiteX2" fmla="*/ 1263 w 5132"/>
                  <a:gd name="connsiteY2" fmla="*/ 4583 h 5159"/>
                  <a:gd name="connsiteX3" fmla="*/ 0 w 5132"/>
                  <a:gd name="connsiteY3" fmla="*/ 0 h 5159"/>
                  <a:gd name="connsiteX4" fmla="*/ 2992 w 5132"/>
                  <a:gd name="connsiteY4" fmla="*/ 686 h 5159"/>
                  <a:gd name="connsiteX5" fmla="*/ 5132 w 5132"/>
                  <a:gd name="connsiteY5" fmla="*/ 4281 h 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2" h="5159">
                    <a:moveTo>
                      <a:pt x="5132" y="4309"/>
                    </a:moveTo>
                    <a:lnTo>
                      <a:pt x="3650" y="5159"/>
                    </a:lnTo>
                    <a:lnTo>
                      <a:pt x="1263" y="4583"/>
                    </a:lnTo>
                    <a:lnTo>
                      <a:pt x="0" y="0"/>
                    </a:lnTo>
                    <a:lnTo>
                      <a:pt x="2992" y="686"/>
                    </a:lnTo>
                    <a:lnTo>
                      <a:pt x="5132"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8" name="Freeform: Shape 4177">
                <a:extLst>
                  <a:ext uri="{FF2B5EF4-FFF2-40B4-BE49-F238E27FC236}">
                    <a16:creationId xmlns:a16="http://schemas.microsoft.com/office/drawing/2014/main" id="{E1CDB108-D84F-ED96-017C-14CB9A23A800}"/>
                  </a:ext>
                </a:extLst>
              </p:cNvPr>
              <p:cNvSpPr/>
              <p:nvPr/>
            </p:nvSpPr>
            <p:spPr>
              <a:xfrm>
                <a:off x="1671896" y="3814952"/>
                <a:ext cx="455" cy="484"/>
              </a:xfrm>
              <a:custGeom>
                <a:avLst/>
                <a:gdLst>
                  <a:gd name="connsiteX0" fmla="*/ 4363 w 4363"/>
                  <a:gd name="connsiteY0" fmla="*/ 2827 h 4638"/>
                  <a:gd name="connsiteX1" fmla="*/ 1729 w 4363"/>
                  <a:gd name="connsiteY1" fmla="*/ 4638 h 4638"/>
                  <a:gd name="connsiteX2" fmla="*/ 0 w 4363"/>
                  <a:gd name="connsiteY2" fmla="*/ 0 h 4638"/>
                  <a:gd name="connsiteX3" fmla="*/ 3018 w 4363"/>
                  <a:gd name="connsiteY3" fmla="*/ 0 h 4638"/>
                  <a:gd name="connsiteX4" fmla="*/ 4363 w 4363"/>
                  <a:gd name="connsiteY4" fmla="*/ 2854 h 4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4638">
                    <a:moveTo>
                      <a:pt x="4363" y="2827"/>
                    </a:moveTo>
                    <a:lnTo>
                      <a:pt x="1729" y="4638"/>
                    </a:lnTo>
                    <a:lnTo>
                      <a:pt x="0" y="0"/>
                    </a:lnTo>
                    <a:lnTo>
                      <a:pt x="3018" y="0"/>
                    </a:lnTo>
                    <a:lnTo>
                      <a:pt x="4363"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9" name="Freeform: Shape 4178">
                <a:extLst>
                  <a:ext uri="{FF2B5EF4-FFF2-40B4-BE49-F238E27FC236}">
                    <a16:creationId xmlns:a16="http://schemas.microsoft.com/office/drawing/2014/main" id="{417139FA-F666-1D06-7762-C3DF00EE1879}"/>
                  </a:ext>
                </a:extLst>
              </p:cNvPr>
              <p:cNvSpPr/>
              <p:nvPr/>
            </p:nvSpPr>
            <p:spPr>
              <a:xfrm>
                <a:off x="1667605" y="3819454"/>
                <a:ext cx="358" cy="567"/>
              </a:xfrm>
              <a:custGeom>
                <a:avLst/>
                <a:gdLst>
                  <a:gd name="connsiteX0" fmla="*/ 3320 w 3430"/>
                  <a:gd name="connsiteY0" fmla="*/ 4062 h 5433"/>
                  <a:gd name="connsiteX1" fmla="*/ 1564 w 3430"/>
                  <a:gd name="connsiteY1" fmla="*/ 5434 h 5433"/>
                  <a:gd name="connsiteX2" fmla="*/ 0 w 3430"/>
                  <a:gd name="connsiteY2" fmla="*/ 1070 h 5433"/>
                  <a:gd name="connsiteX3" fmla="*/ 3430 w 3430"/>
                  <a:gd name="connsiteY3" fmla="*/ 0 h 5433"/>
                  <a:gd name="connsiteX4" fmla="*/ 3293 w 3430"/>
                  <a:gd name="connsiteY4" fmla="*/ 4089 h 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5433">
                    <a:moveTo>
                      <a:pt x="3320" y="4062"/>
                    </a:moveTo>
                    <a:lnTo>
                      <a:pt x="1564" y="5434"/>
                    </a:lnTo>
                    <a:lnTo>
                      <a:pt x="0" y="1070"/>
                    </a:lnTo>
                    <a:lnTo>
                      <a:pt x="3430" y="0"/>
                    </a:lnTo>
                    <a:lnTo>
                      <a:pt x="3293" y="40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0" name="Freeform: Shape 4179">
                <a:extLst>
                  <a:ext uri="{FF2B5EF4-FFF2-40B4-BE49-F238E27FC236}">
                    <a16:creationId xmlns:a16="http://schemas.microsoft.com/office/drawing/2014/main" id="{F8439152-C180-4442-0795-F21985D09799}"/>
                  </a:ext>
                </a:extLst>
              </p:cNvPr>
              <p:cNvSpPr/>
              <p:nvPr/>
            </p:nvSpPr>
            <p:spPr>
              <a:xfrm>
                <a:off x="1670914" y="3823851"/>
                <a:ext cx="300" cy="535"/>
              </a:xfrm>
              <a:custGeom>
                <a:avLst/>
                <a:gdLst>
                  <a:gd name="connsiteX0" fmla="*/ 2882 w 2881"/>
                  <a:gd name="connsiteY0" fmla="*/ 5132 h 5131"/>
                  <a:gd name="connsiteX1" fmla="*/ 1372 w 2881"/>
                  <a:gd name="connsiteY1" fmla="*/ 5132 h 5131"/>
                  <a:gd name="connsiteX2" fmla="*/ 0 w 2881"/>
                  <a:gd name="connsiteY2" fmla="*/ 2991 h 5131"/>
                  <a:gd name="connsiteX3" fmla="*/ 1592 w 2881"/>
                  <a:gd name="connsiteY3" fmla="*/ 0 h 5131"/>
                  <a:gd name="connsiteX4" fmla="*/ 2470 w 2881"/>
                  <a:gd name="connsiteY4" fmla="*/ 0 h 5131"/>
                  <a:gd name="connsiteX5" fmla="*/ 2882 w 2881"/>
                  <a:gd name="connsiteY5" fmla="*/ 5132 h 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 h="5131">
                    <a:moveTo>
                      <a:pt x="2882" y="5132"/>
                    </a:moveTo>
                    <a:lnTo>
                      <a:pt x="1372" y="5132"/>
                    </a:lnTo>
                    <a:lnTo>
                      <a:pt x="0" y="2991"/>
                    </a:lnTo>
                    <a:lnTo>
                      <a:pt x="1592" y="0"/>
                    </a:lnTo>
                    <a:lnTo>
                      <a:pt x="2470" y="0"/>
                    </a:lnTo>
                    <a:lnTo>
                      <a:pt x="2882" y="513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1" name="Freeform: Shape 4180">
                <a:extLst>
                  <a:ext uri="{FF2B5EF4-FFF2-40B4-BE49-F238E27FC236}">
                    <a16:creationId xmlns:a16="http://schemas.microsoft.com/office/drawing/2014/main" id="{ADE8ECB2-58C2-B1B2-D723-0543C2CAD452}"/>
                  </a:ext>
                </a:extLst>
              </p:cNvPr>
              <p:cNvSpPr/>
              <p:nvPr/>
            </p:nvSpPr>
            <p:spPr>
              <a:xfrm>
                <a:off x="1672013" y="3814253"/>
                <a:ext cx="375" cy="432"/>
              </a:xfrm>
              <a:custGeom>
                <a:avLst/>
                <a:gdLst>
                  <a:gd name="connsiteX0" fmla="*/ 3019 w 3595"/>
                  <a:gd name="connsiteY0" fmla="*/ 0 h 4143"/>
                  <a:gd name="connsiteX1" fmla="*/ 3595 w 3595"/>
                  <a:gd name="connsiteY1" fmla="*/ 4144 h 4143"/>
                  <a:gd name="connsiteX2" fmla="*/ 741 w 3595"/>
                  <a:gd name="connsiteY2" fmla="*/ 2689 h 4143"/>
                  <a:gd name="connsiteX3" fmla="*/ 0 w 3595"/>
                  <a:gd name="connsiteY3" fmla="*/ 714 h 4143"/>
                  <a:gd name="connsiteX4" fmla="*/ 3046 w 3595"/>
                  <a:gd name="connsiteY4" fmla="*/ 27 h 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4143">
                    <a:moveTo>
                      <a:pt x="3019" y="0"/>
                    </a:moveTo>
                    <a:lnTo>
                      <a:pt x="3595" y="4144"/>
                    </a:lnTo>
                    <a:lnTo>
                      <a:pt x="741" y="2689"/>
                    </a:lnTo>
                    <a:lnTo>
                      <a:pt x="0" y="714"/>
                    </a:lnTo>
                    <a:lnTo>
                      <a:pt x="3046"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2" name="Freeform: Shape 4181">
                <a:extLst>
                  <a:ext uri="{FF2B5EF4-FFF2-40B4-BE49-F238E27FC236}">
                    <a16:creationId xmlns:a16="http://schemas.microsoft.com/office/drawing/2014/main" id="{BFB28C92-EA6E-9374-8C82-C9F4D04A64C7}"/>
                  </a:ext>
                </a:extLst>
              </p:cNvPr>
              <p:cNvSpPr/>
              <p:nvPr/>
            </p:nvSpPr>
            <p:spPr>
              <a:xfrm>
                <a:off x="1679842" y="3808208"/>
                <a:ext cx="335" cy="472"/>
              </a:xfrm>
              <a:custGeom>
                <a:avLst/>
                <a:gdLst>
                  <a:gd name="connsiteX0" fmla="*/ 3211 w 3210"/>
                  <a:gd name="connsiteY0" fmla="*/ 1207 h 4528"/>
                  <a:gd name="connsiteX1" fmla="*/ 2140 w 3210"/>
                  <a:gd name="connsiteY1" fmla="*/ 4528 h 4528"/>
                  <a:gd name="connsiteX2" fmla="*/ 1097 w 3210"/>
                  <a:gd name="connsiteY2" fmla="*/ 3485 h 4528"/>
                  <a:gd name="connsiteX3" fmla="*/ 0 w 3210"/>
                  <a:gd name="connsiteY3" fmla="*/ 0 h 4528"/>
                  <a:gd name="connsiteX4" fmla="*/ 3211 w 3210"/>
                  <a:gd name="connsiteY4" fmla="*/ 1207 h 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 h="4528">
                    <a:moveTo>
                      <a:pt x="3211" y="1207"/>
                    </a:moveTo>
                    <a:lnTo>
                      <a:pt x="2140" y="4528"/>
                    </a:lnTo>
                    <a:lnTo>
                      <a:pt x="1097" y="3485"/>
                    </a:lnTo>
                    <a:lnTo>
                      <a:pt x="0" y="0"/>
                    </a:lnTo>
                    <a:lnTo>
                      <a:pt x="3211" y="12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3" name="Freeform: Shape 4182">
                <a:extLst>
                  <a:ext uri="{FF2B5EF4-FFF2-40B4-BE49-F238E27FC236}">
                    <a16:creationId xmlns:a16="http://schemas.microsoft.com/office/drawing/2014/main" id="{B6A3A625-3A7F-1CDC-E8DE-81DF5647902E}"/>
                  </a:ext>
                </a:extLst>
              </p:cNvPr>
              <p:cNvSpPr/>
              <p:nvPr/>
            </p:nvSpPr>
            <p:spPr>
              <a:xfrm>
                <a:off x="1669818" y="3824154"/>
                <a:ext cx="372" cy="366"/>
              </a:xfrm>
              <a:custGeom>
                <a:avLst/>
                <a:gdLst>
                  <a:gd name="connsiteX0" fmla="*/ 3540 w 3567"/>
                  <a:gd name="connsiteY0" fmla="*/ 2552 h 3512"/>
                  <a:gd name="connsiteX1" fmla="*/ 1481 w 3567"/>
                  <a:gd name="connsiteY1" fmla="*/ 3513 h 3512"/>
                  <a:gd name="connsiteX2" fmla="*/ 0 w 3567"/>
                  <a:gd name="connsiteY2" fmla="*/ 1455 h 3512"/>
                  <a:gd name="connsiteX3" fmla="*/ 3046 w 3567"/>
                  <a:gd name="connsiteY3" fmla="*/ 0 h 3512"/>
                  <a:gd name="connsiteX4" fmla="*/ 3567 w 3567"/>
                  <a:gd name="connsiteY4" fmla="*/ 2552 h 3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512">
                    <a:moveTo>
                      <a:pt x="3540" y="2552"/>
                    </a:moveTo>
                    <a:lnTo>
                      <a:pt x="1481" y="3513"/>
                    </a:lnTo>
                    <a:lnTo>
                      <a:pt x="0" y="1455"/>
                    </a:lnTo>
                    <a:lnTo>
                      <a:pt x="3046" y="0"/>
                    </a:lnTo>
                    <a:lnTo>
                      <a:pt x="3567"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4" name="Freeform: Shape 4183">
                <a:extLst>
                  <a:ext uri="{FF2B5EF4-FFF2-40B4-BE49-F238E27FC236}">
                    <a16:creationId xmlns:a16="http://schemas.microsoft.com/office/drawing/2014/main" id="{F5CDC454-767D-A67F-3F88-AD17DB372F2B}"/>
                  </a:ext>
                </a:extLst>
              </p:cNvPr>
              <p:cNvSpPr/>
              <p:nvPr/>
            </p:nvSpPr>
            <p:spPr>
              <a:xfrm>
                <a:off x="1664729" y="3817471"/>
                <a:ext cx="300" cy="429"/>
              </a:xfrm>
              <a:custGeom>
                <a:avLst/>
                <a:gdLst>
                  <a:gd name="connsiteX0" fmla="*/ 2634 w 2881"/>
                  <a:gd name="connsiteY0" fmla="*/ 3870 h 4116"/>
                  <a:gd name="connsiteX1" fmla="*/ 1536 w 2881"/>
                  <a:gd name="connsiteY1" fmla="*/ 4116 h 4116"/>
                  <a:gd name="connsiteX2" fmla="*/ 0 w 2881"/>
                  <a:gd name="connsiteY2" fmla="*/ 1400 h 4116"/>
                  <a:gd name="connsiteX3" fmla="*/ 2882 w 2881"/>
                  <a:gd name="connsiteY3" fmla="*/ 0 h 4116"/>
                  <a:gd name="connsiteX4" fmla="*/ 2634 w 2881"/>
                  <a:gd name="connsiteY4" fmla="*/ 3870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1" h="4116">
                    <a:moveTo>
                      <a:pt x="2634" y="3870"/>
                    </a:moveTo>
                    <a:lnTo>
                      <a:pt x="1536" y="4116"/>
                    </a:lnTo>
                    <a:lnTo>
                      <a:pt x="0" y="1400"/>
                    </a:lnTo>
                    <a:lnTo>
                      <a:pt x="2882" y="0"/>
                    </a:lnTo>
                    <a:lnTo>
                      <a:pt x="2634" y="38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5" name="Freeform: Shape 4184">
                <a:extLst>
                  <a:ext uri="{FF2B5EF4-FFF2-40B4-BE49-F238E27FC236}">
                    <a16:creationId xmlns:a16="http://schemas.microsoft.com/office/drawing/2014/main" id="{75EB4C9F-3844-100B-C673-F782FE88843F}"/>
                  </a:ext>
                </a:extLst>
              </p:cNvPr>
              <p:cNvSpPr/>
              <p:nvPr/>
            </p:nvSpPr>
            <p:spPr>
              <a:xfrm>
                <a:off x="850684" y="3527691"/>
                <a:ext cx="115879" cy="116860"/>
              </a:xfrm>
              <a:custGeom>
                <a:avLst/>
                <a:gdLst>
                  <a:gd name="connsiteX0" fmla="*/ 352039 w 1111001"/>
                  <a:gd name="connsiteY0" fmla="*/ 31697 h 1120414"/>
                  <a:gd name="connsiteX1" fmla="*/ 354234 w 1111001"/>
                  <a:gd name="connsiteY1" fmla="*/ 38448 h 1120414"/>
                  <a:gd name="connsiteX2" fmla="*/ 372346 w 1111001"/>
                  <a:gd name="connsiteY2" fmla="*/ 19786 h 1120414"/>
                  <a:gd name="connsiteX3" fmla="*/ 379317 w 1111001"/>
                  <a:gd name="connsiteY3" fmla="*/ 18826 h 1120414"/>
                  <a:gd name="connsiteX4" fmla="*/ 391639 w 1111001"/>
                  <a:gd name="connsiteY4" fmla="*/ 40780 h 1120414"/>
                  <a:gd name="connsiteX5" fmla="*/ 426766 w 1111001"/>
                  <a:gd name="connsiteY5" fmla="*/ 34386 h 1120414"/>
                  <a:gd name="connsiteX6" fmla="*/ 449900 w 1111001"/>
                  <a:gd name="connsiteY6" fmla="*/ 40863 h 1120414"/>
                  <a:gd name="connsiteX7" fmla="*/ 452507 w 1111001"/>
                  <a:gd name="connsiteY7" fmla="*/ 45308 h 1120414"/>
                  <a:gd name="connsiteX8" fmla="*/ 455746 w 1111001"/>
                  <a:gd name="connsiteY8" fmla="*/ 62625 h 1120414"/>
                  <a:gd name="connsiteX9" fmla="*/ 477398 w 1111001"/>
                  <a:gd name="connsiteY9" fmla="*/ 76209 h 1120414"/>
                  <a:gd name="connsiteX10" fmla="*/ 508024 w 1111001"/>
                  <a:gd name="connsiteY10" fmla="*/ 78322 h 1120414"/>
                  <a:gd name="connsiteX11" fmla="*/ 538898 w 1111001"/>
                  <a:gd name="connsiteY11" fmla="*/ 70364 h 1120414"/>
                  <a:gd name="connsiteX12" fmla="*/ 589036 w 1111001"/>
                  <a:gd name="connsiteY12" fmla="*/ 93004 h 1120414"/>
                  <a:gd name="connsiteX13" fmla="*/ 641480 w 1111001"/>
                  <a:gd name="connsiteY13" fmla="*/ 99783 h 1120414"/>
                  <a:gd name="connsiteX14" fmla="*/ 672133 w 1111001"/>
                  <a:gd name="connsiteY14" fmla="*/ 113010 h 1120414"/>
                  <a:gd name="connsiteX15" fmla="*/ 705422 w 1111001"/>
                  <a:gd name="connsiteY15" fmla="*/ 103378 h 1120414"/>
                  <a:gd name="connsiteX16" fmla="*/ 722327 w 1111001"/>
                  <a:gd name="connsiteY16" fmla="*/ 104119 h 1120414"/>
                  <a:gd name="connsiteX17" fmla="*/ 788107 w 1111001"/>
                  <a:gd name="connsiteY17" fmla="*/ 145173 h 1120414"/>
                  <a:gd name="connsiteX18" fmla="*/ 788025 w 1111001"/>
                  <a:gd name="connsiteY18" fmla="*/ 287520 h 1120414"/>
                  <a:gd name="connsiteX19" fmla="*/ 787915 w 1111001"/>
                  <a:gd name="connsiteY19" fmla="*/ 495867 h 1120414"/>
                  <a:gd name="connsiteX20" fmla="*/ 787915 w 1111001"/>
                  <a:gd name="connsiteY20" fmla="*/ 518590 h 1120414"/>
                  <a:gd name="connsiteX21" fmla="*/ 787915 w 1111001"/>
                  <a:gd name="connsiteY21" fmla="*/ 521252 h 1120414"/>
                  <a:gd name="connsiteX22" fmla="*/ 787915 w 1111001"/>
                  <a:gd name="connsiteY22" fmla="*/ 524737 h 1120414"/>
                  <a:gd name="connsiteX23" fmla="*/ 787915 w 1111001"/>
                  <a:gd name="connsiteY23" fmla="*/ 540023 h 1120414"/>
                  <a:gd name="connsiteX24" fmla="*/ 787915 w 1111001"/>
                  <a:gd name="connsiteY24" fmla="*/ 542493 h 1120414"/>
                  <a:gd name="connsiteX25" fmla="*/ 788547 w 1111001"/>
                  <a:gd name="connsiteY25" fmla="*/ 796917 h 1120414"/>
                  <a:gd name="connsiteX26" fmla="*/ 799194 w 1111001"/>
                  <a:gd name="connsiteY26" fmla="*/ 803009 h 1120414"/>
                  <a:gd name="connsiteX27" fmla="*/ 805534 w 1111001"/>
                  <a:gd name="connsiteY27" fmla="*/ 800567 h 1120414"/>
                  <a:gd name="connsiteX28" fmla="*/ 817170 w 1111001"/>
                  <a:gd name="connsiteY28" fmla="*/ 805753 h 1120414"/>
                  <a:gd name="connsiteX29" fmla="*/ 827241 w 1111001"/>
                  <a:gd name="connsiteY29" fmla="*/ 798261 h 1120414"/>
                  <a:gd name="connsiteX30" fmla="*/ 843844 w 1111001"/>
                  <a:gd name="connsiteY30" fmla="*/ 797438 h 1120414"/>
                  <a:gd name="connsiteX31" fmla="*/ 842856 w 1111001"/>
                  <a:gd name="connsiteY31" fmla="*/ 813684 h 1120414"/>
                  <a:gd name="connsiteX32" fmla="*/ 854163 w 1111001"/>
                  <a:gd name="connsiteY32" fmla="*/ 822768 h 1120414"/>
                  <a:gd name="connsiteX33" fmla="*/ 859789 w 1111001"/>
                  <a:gd name="connsiteY33" fmla="*/ 833032 h 1120414"/>
                  <a:gd name="connsiteX34" fmla="*/ 885667 w 1111001"/>
                  <a:gd name="connsiteY34" fmla="*/ 859734 h 1120414"/>
                  <a:gd name="connsiteX35" fmla="*/ 892226 w 1111001"/>
                  <a:gd name="connsiteY35" fmla="*/ 879575 h 1120414"/>
                  <a:gd name="connsiteX36" fmla="*/ 918187 w 1111001"/>
                  <a:gd name="connsiteY36" fmla="*/ 864838 h 1120414"/>
                  <a:gd name="connsiteX37" fmla="*/ 921041 w 1111001"/>
                  <a:gd name="connsiteY37" fmla="*/ 859185 h 1120414"/>
                  <a:gd name="connsiteX38" fmla="*/ 922057 w 1111001"/>
                  <a:gd name="connsiteY38" fmla="*/ 850485 h 1120414"/>
                  <a:gd name="connsiteX39" fmla="*/ 925899 w 1111001"/>
                  <a:gd name="connsiteY39" fmla="*/ 847165 h 1120414"/>
                  <a:gd name="connsiteX40" fmla="*/ 927875 w 1111001"/>
                  <a:gd name="connsiteY40" fmla="*/ 840222 h 1120414"/>
                  <a:gd name="connsiteX41" fmla="*/ 940279 w 1111001"/>
                  <a:gd name="connsiteY41" fmla="*/ 834349 h 1120414"/>
                  <a:gd name="connsiteX42" fmla="*/ 949856 w 1111001"/>
                  <a:gd name="connsiteY42" fmla="*/ 830644 h 1120414"/>
                  <a:gd name="connsiteX43" fmla="*/ 960916 w 1111001"/>
                  <a:gd name="connsiteY43" fmla="*/ 840963 h 1120414"/>
                  <a:gd name="connsiteX44" fmla="*/ 965142 w 1111001"/>
                  <a:gd name="connsiteY44" fmla="*/ 858169 h 1120414"/>
                  <a:gd name="connsiteX45" fmla="*/ 975927 w 1111001"/>
                  <a:gd name="connsiteY45" fmla="*/ 865277 h 1120414"/>
                  <a:gd name="connsiteX46" fmla="*/ 986081 w 1111001"/>
                  <a:gd name="connsiteY46" fmla="*/ 882072 h 1120414"/>
                  <a:gd name="connsiteX47" fmla="*/ 998129 w 1111001"/>
                  <a:gd name="connsiteY47" fmla="*/ 891485 h 1120414"/>
                  <a:gd name="connsiteX48" fmla="*/ 1009298 w 1111001"/>
                  <a:gd name="connsiteY48" fmla="*/ 905591 h 1120414"/>
                  <a:gd name="connsiteX49" fmla="*/ 1013277 w 1111001"/>
                  <a:gd name="connsiteY49" fmla="*/ 917007 h 1120414"/>
                  <a:gd name="connsiteX50" fmla="*/ 1042504 w 1111001"/>
                  <a:gd name="connsiteY50" fmla="*/ 970494 h 1120414"/>
                  <a:gd name="connsiteX51" fmla="*/ 1043656 w 1111001"/>
                  <a:gd name="connsiteY51" fmla="*/ 980785 h 1120414"/>
                  <a:gd name="connsiteX52" fmla="*/ 1049365 w 1111001"/>
                  <a:gd name="connsiteY52" fmla="*/ 985175 h 1120414"/>
                  <a:gd name="connsiteX53" fmla="*/ 1050572 w 1111001"/>
                  <a:gd name="connsiteY53" fmla="*/ 992420 h 1120414"/>
                  <a:gd name="connsiteX54" fmla="*/ 1058503 w 1111001"/>
                  <a:gd name="connsiteY54" fmla="*/ 1006416 h 1120414"/>
                  <a:gd name="connsiteX55" fmla="*/ 1094097 w 1111001"/>
                  <a:gd name="connsiteY55" fmla="*/ 1025462 h 1120414"/>
                  <a:gd name="connsiteX56" fmla="*/ 1107461 w 1111001"/>
                  <a:gd name="connsiteY56" fmla="*/ 1035286 h 1120414"/>
                  <a:gd name="connsiteX57" fmla="*/ 1111002 w 1111001"/>
                  <a:gd name="connsiteY57" fmla="*/ 1044452 h 1120414"/>
                  <a:gd name="connsiteX58" fmla="*/ 1107681 w 1111001"/>
                  <a:gd name="connsiteY58" fmla="*/ 1049721 h 1120414"/>
                  <a:gd name="connsiteX59" fmla="*/ 1106885 w 1111001"/>
                  <a:gd name="connsiteY59" fmla="*/ 1053207 h 1120414"/>
                  <a:gd name="connsiteX60" fmla="*/ 1106720 w 1111001"/>
                  <a:gd name="connsiteY60" fmla="*/ 1053920 h 1120414"/>
                  <a:gd name="connsiteX61" fmla="*/ 1107489 w 1111001"/>
                  <a:gd name="connsiteY61" fmla="*/ 1062674 h 1120414"/>
                  <a:gd name="connsiteX62" fmla="*/ 1109492 w 1111001"/>
                  <a:gd name="connsiteY62" fmla="*/ 1070057 h 1120414"/>
                  <a:gd name="connsiteX63" fmla="*/ 1110151 w 1111001"/>
                  <a:gd name="connsiteY63" fmla="*/ 1077796 h 1120414"/>
                  <a:gd name="connsiteX64" fmla="*/ 1107681 w 1111001"/>
                  <a:gd name="connsiteY64" fmla="*/ 1081775 h 1120414"/>
                  <a:gd name="connsiteX65" fmla="*/ 1101534 w 1111001"/>
                  <a:gd name="connsiteY65" fmla="*/ 1094728 h 1120414"/>
                  <a:gd name="connsiteX66" fmla="*/ 1097253 w 1111001"/>
                  <a:gd name="connsiteY66" fmla="*/ 1099667 h 1120414"/>
                  <a:gd name="connsiteX67" fmla="*/ 1093273 w 1111001"/>
                  <a:gd name="connsiteY67" fmla="*/ 1102055 h 1120414"/>
                  <a:gd name="connsiteX68" fmla="*/ 1091051 w 1111001"/>
                  <a:gd name="connsiteY68" fmla="*/ 1104854 h 1120414"/>
                  <a:gd name="connsiteX69" fmla="*/ 1083531 w 1111001"/>
                  <a:gd name="connsiteY69" fmla="*/ 1098241 h 1120414"/>
                  <a:gd name="connsiteX70" fmla="*/ 1080348 w 1111001"/>
                  <a:gd name="connsiteY70" fmla="*/ 1085397 h 1120414"/>
                  <a:gd name="connsiteX71" fmla="*/ 1080650 w 1111001"/>
                  <a:gd name="connsiteY71" fmla="*/ 1081912 h 1120414"/>
                  <a:gd name="connsiteX72" fmla="*/ 1082708 w 1111001"/>
                  <a:gd name="connsiteY72" fmla="*/ 1077960 h 1120414"/>
                  <a:gd name="connsiteX73" fmla="*/ 1082406 w 1111001"/>
                  <a:gd name="connsiteY73" fmla="*/ 1076176 h 1120414"/>
                  <a:gd name="connsiteX74" fmla="*/ 1081061 w 1111001"/>
                  <a:gd name="connsiteY74" fmla="*/ 1076368 h 1120414"/>
                  <a:gd name="connsiteX75" fmla="*/ 1078125 w 1111001"/>
                  <a:gd name="connsiteY75" fmla="*/ 1080183 h 1120414"/>
                  <a:gd name="connsiteX76" fmla="*/ 1076094 w 1111001"/>
                  <a:gd name="connsiteY76" fmla="*/ 1081089 h 1120414"/>
                  <a:gd name="connsiteX77" fmla="*/ 1067697 w 1111001"/>
                  <a:gd name="connsiteY77" fmla="*/ 1075984 h 1120414"/>
                  <a:gd name="connsiteX78" fmla="*/ 1067450 w 1111001"/>
                  <a:gd name="connsiteY78" fmla="*/ 1078125 h 1120414"/>
                  <a:gd name="connsiteX79" fmla="*/ 1070002 w 1111001"/>
                  <a:gd name="connsiteY79" fmla="*/ 1081720 h 1120414"/>
                  <a:gd name="connsiteX80" fmla="*/ 1070990 w 1111001"/>
                  <a:gd name="connsiteY80" fmla="*/ 1084931 h 1120414"/>
                  <a:gd name="connsiteX81" fmla="*/ 1070852 w 1111001"/>
                  <a:gd name="connsiteY81" fmla="*/ 1088828 h 1120414"/>
                  <a:gd name="connsiteX82" fmla="*/ 1069206 w 1111001"/>
                  <a:gd name="connsiteY82" fmla="*/ 1090886 h 1120414"/>
                  <a:gd name="connsiteX83" fmla="*/ 1064678 w 1111001"/>
                  <a:gd name="connsiteY83" fmla="*/ 1089788 h 1120414"/>
                  <a:gd name="connsiteX84" fmla="*/ 1063278 w 1111001"/>
                  <a:gd name="connsiteY84" fmla="*/ 1077000 h 1120414"/>
                  <a:gd name="connsiteX85" fmla="*/ 1061988 w 1111001"/>
                  <a:gd name="connsiteY85" fmla="*/ 1077850 h 1120414"/>
                  <a:gd name="connsiteX86" fmla="*/ 1060040 w 1111001"/>
                  <a:gd name="connsiteY86" fmla="*/ 1083174 h 1120414"/>
                  <a:gd name="connsiteX87" fmla="*/ 1058366 w 1111001"/>
                  <a:gd name="connsiteY87" fmla="*/ 1082077 h 1120414"/>
                  <a:gd name="connsiteX88" fmla="*/ 1057049 w 1111001"/>
                  <a:gd name="connsiteY88" fmla="*/ 1074338 h 1120414"/>
                  <a:gd name="connsiteX89" fmla="*/ 1058119 w 1111001"/>
                  <a:gd name="connsiteY89" fmla="*/ 1066626 h 1120414"/>
                  <a:gd name="connsiteX90" fmla="*/ 1060753 w 1111001"/>
                  <a:gd name="connsiteY90" fmla="*/ 1060259 h 1120414"/>
                  <a:gd name="connsiteX91" fmla="*/ 1060150 w 1111001"/>
                  <a:gd name="connsiteY91" fmla="*/ 1048020 h 1120414"/>
                  <a:gd name="connsiteX92" fmla="*/ 1058778 w 1111001"/>
                  <a:gd name="connsiteY92" fmla="*/ 1048541 h 1120414"/>
                  <a:gd name="connsiteX93" fmla="*/ 1056829 w 1111001"/>
                  <a:gd name="connsiteY93" fmla="*/ 1057103 h 1120414"/>
                  <a:gd name="connsiteX94" fmla="*/ 1052905 w 1111001"/>
                  <a:gd name="connsiteY94" fmla="*/ 1063827 h 1120414"/>
                  <a:gd name="connsiteX95" fmla="*/ 1048871 w 1111001"/>
                  <a:gd name="connsiteY95" fmla="*/ 1062537 h 1120414"/>
                  <a:gd name="connsiteX96" fmla="*/ 1046620 w 1111001"/>
                  <a:gd name="connsiteY96" fmla="*/ 1056802 h 1120414"/>
                  <a:gd name="connsiteX97" fmla="*/ 1047169 w 1111001"/>
                  <a:gd name="connsiteY97" fmla="*/ 1052081 h 1120414"/>
                  <a:gd name="connsiteX98" fmla="*/ 1050353 w 1111001"/>
                  <a:gd name="connsiteY98" fmla="*/ 1045605 h 1120414"/>
                  <a:gd name="connsiteX99" fmla="*/ 1050956 w 1111001"/>
                  <a:gd name="connsiteY99" fmla="*/ 1038909 h 1120414"/>
                  <a:gd name="connsiteX100" fmla="*/ 1052575 w 1111001"/>
                  <a:gd name="connsiteY100" fmla="*/ 1034079 h 1120414"/>
                  <a:gd name="connsiteX101" fmla="*/ 1052575 w 1111001"/>
                  <a:gd name="connsiteY101" fmla="*/ 1031911 h 1120414"/>
                  <a:gd name="connsiteX102" fmla="*/ 1049337 w 1111001"/>
                  <a:gd name="connsiteY102" fmla="*/ 1035424 h 1120414"/>
                  <a:gd name="connsiteX103" fmla="*/ 1046922 w 1111001"/>
                  <a:gd name="connsiteY103" fmla="*/ 1043190 h 1120414"/>
                  <a:gd name="connsiteX104" fmla="*/ 1042339 w 1111001"/>
                  <a:gd name="connsiteY104" fmla="*/ 1046126 h 1120414"/>
                  <a:gd name="connsiteX105" fmla="*/ 1037893 w 1111001"/>
                  <a:gd name="connsiteY105" fmla="*/ 1038909 h 1120414"/>
                  <a:gd name="connsiteX106" fmla="*/ 1033091 w 1111001"/>
                  <a:gd name="connsiteY106" fmla="*/ 1035780 h 1120414"/>
                  <a:gd name="connsiteX107" fmla="*/ 1030292 w 1111001"/>
                  <a:gd name="connsiteY107" fmla="*/ 1027986 h 1120414"/>
                  <a:gd name="connsiteX108" fmla="*/ 1026148 w 1111001"/>
                  <a:gd name="connsiteY108" fmla="*/ 1026230 h 1120414"/>
                  <a:gd name="connsiteX109" fmla="*/ 1022416 w 1111001"/>
                  <a:gd name="connsiteY109" fmla="*/ 1021675 h 1120414"/>
                  <a:gd name="connsiteX110" fmla="*/ 1023733 w 1111001"/>
                  <a:gd name="connsiteY110" fmla="*/ 1017833 h 1120414"/>
                  <a:gd name="connsiteX111" fmla="*/ 1026834 w 1111001"/>
                  <a:gd name="connsiteY111" fmla="*/ 1016378 h 1120414"/>
                  <a:gd name="connsiteX112" fmla="*/ 1032213 w 1111001"/>
                  <a:gd name="connsiteY112" fmla="*/ 1018134 h 1120414"/>
                  <a:gd name="connsiteX113" fmla="*/ 1034216 w 1111001"/>
                  <a:gd name="connsiteY113" fmla="*/ 1023843 h 1120414"/>
                  <a:gd name="connsiteX114" fmla="*/ 1037564 w 1111001"/>
                  <a:gd name="connsiteY114" fmla="*/ 1019205 h 1120414"/>
                  <a:gd name="connsiteX115" fmla="*/ 1041104 w 1111001"/>
                  <a:gd name="connsiteY115" fmla="*/ 1021126 h 1120414"/>
                  <a:gd name="connsiteX116" fmla="*/ 1043300 w 1111001"/>
                  <a:gd name="connsiteY116" fmla="*/ 1013936 h 1120414"/>
                  <a:gd name="connsiteX117" fmla="*/ 1041516 w 1111001"/>
                  <a:gd name="connsiteY117" fmla="*/ 1008996 h 1120414"/>
                  <a:gd name="connsiteX118" fmla="*/ 1027410 w 1111001"/>
                  <a:gd name="connsiteY118" fmla="*/ 1012865 h 1120414"/>
                  <a:gd name="connsiteX119" fmla="*/ 1022004 w 1111001"/>
                  <a:gd name="connsiteY119" fmla="*/ 1013140 h 1120414"/>
                  <a:gd name="connsiteX120" fmla="*/ 1017970 w 1111001"/>
                  <a:gd name="connsiteY120" fmla="*/ 1015308 h 1120414"/>
                  <a:gd name="connsiteX121" fmla="*/ 1007404 w 1111001"/>
                  <a:gd name="connsiteY121" fmla="*/ 1016268 h 1120414"/>
                  <a:gd name="connsiteX122" fmla="*/ 999089 w 1111001"/>
                  <a:gd name="connsiteY122" fmla="*/ 1011905 h 1120414"/>
                  <a:gd name="connsiteX123" fmla="*/ 994534 w 1111001"/>
                  <a:gd name="connsiteY123" fmla="*/ 1033640 h 1120414"/>
                  <a:gd name="connsiteX124" fmla="*/ 992997 w 1111001"/>
                  <a:gd name="connsiteY124" fmla="*/ 1033502 h 1120414"/>
                  <a:gd name="connsiteX125" fmla="*/ 992393 w 1111001"/>
                  <a:gd name="connsiteY125" fmla="*/ 1028261 h 1120414"/>
                  <a:gd name="connsiteX126" fmla="*/ 991789 w 1111001"/>
                  <a:gd name="connsiteY126" fmla="*/ 1027383 h 1120414"/>
                  <a:gd name="connsiteX127" fmla="*/ 989758 w 1111001"/>
                  <a:gd name="connsiteY127" fmla="*/ 1036192 h 1120414"/>
                  <a:gd name="connsiteX128" fmla="*/ 988798 w 1111001"/>
                  <a:gd name="connsiteY128" fmla="*/ 1037345 h 1120414"/>
                  <a:gd name="connsiteX129" fmla="*/ 986932 w 1111001"/>
                  <a:gd name="connsiteY129" fmla="*/ 1034216 h 1120414"/>
                  <a:gd name="connsiteX130" fmla="*/ 985971 w 1111001"/>
                  <a:gd name="connsiteY130" fmla="*/ 1023980 h 1120414"/>
                  <a:gd name="connsiteX131" fmla="*/ 988194 w 1111001"/>
                  <a:gd name="connsiteY131" fmla="*/ 1014540 h 1120414"/>
                  <a:gd name="connsiteX132" fmla="*/ 983529 w 1111001"/>
                  <a:gd name="connsiteY132" fmla="*/ 1003562 h 1120414"/>
                  <a:gd name="connsiteX133" fmla="*/ 983392 w 1111001"/>
                  <a:gd name="connsiteY133" fmla="*/ 995576 h 1120414"/>
                  <a:gd name="connsiteX134" fmla="*/ 991158 w 1111001"/>
                  <a:gd name="connsiteY134" fmla="*/ 991186 h 1120414"/>
                  <a:gd name="connsiteX135" fmla="*/ 996976 w 1111001"/>
                  <a:gd name="connsiteY135" fmla="*/ 999419 h 1120414"/>
                  <a:gd name="connsiteX136" fmla="*/ 997936 w 1111001"/>
                  <a:gd name="connsiteY136" fmla="*/ 993107 h 1120414"/>
                  <a:gd name="connsiteX137" fmla="*/ 994643 w 1111001"/>
                  <a:gd name="connsiteY137" fmla="*/ 985615 h 1120414"/>
                  <a:gd name="connsiteX138" fmla="*/ 995055 w 1111001"/>
                  <a:gd name="connsiteY138" fmla="*/ 983941 h 1120414"/>
                  <a:gd name="connsiteX139" fmla="*/ 997936 w 1111001"/>
                  <a:gd name="connsiteY139" fmla="*/ 982376 h 1120414"/>
                  <a:gd name="connsiteX140" fmla="*/ 1017942 w 1111001"/>
                  <a:gd name="connsiteY140" fmla="*/ 986794 h 1120414"/>
                  <a:gd name="connsiteX141" fmla="*/ 1027136 w 1111001"/>
                  <a:gd name="connsiteY141" fmla="*/ 998156 h 1120414"/>
                  <a:gd name="connsiteX142" fmla="*/ 1032076 w 1111001"/>
                  <a:gd name="connsiteY142" fmla="*/ 1000653 h 1120414"/>
                  <a:gd name="connsiteX143" fmla="*/ 1032844 w 1111001"/>
                  <a:gd name="connsiteY143" fmla="*/ 999116 h 1120414"/>
                  <a:gd name="connsiteX144" fmla="*/ 1023843 w 1111001"/>
                  <a:gd name="connsiteY144" fmla="*/ 984379 h 1120414"/>
                  <a:gd name="connsiteX145" fmla="*/ 1018601 w 1111001"/>
                  <a:gd name="connsiteY145" fmla="*/ 979989 h 1120414"/>
                  <a:gd name="connsiteX146" fmla="*/ 1013112 w 1111001"/>
                  <a:gd name="connsiteY146" fmla="*/ 979769 h 1120414"/>
                  <a:gd name="connsiteX147" fmla="*/ 1008365 w 1111001"/>
                  <a:gd name="connsiteY147" fmla="*/ 976339 h 1120414"/>
                  <a:gd name="connsiteX148" fmla="*/ 1008667 w 1111001"/>
                  <a:gd name="connsiteY148" fmla="*/ 972003 h 1120414"/>
                  <a:gd name="connsiteX149" fmla="*/ 1011466 w 1111001"/>
                  <a:gd name="connsiteY149" fmla="*/ 968079 h 1120414"/>
                  <a:gd name="connsiteX150" fmla="*/ 1008392 w 1111001"/>
                  <a:gd name="connsiteY150" fmla="*/ 957266 h 1120414"/>
                  <a:gd name="connsiteX151" fmla="*/ 1004523 w 1111001"/>
                  <a:gd name="connsiteY151" fmla="*/ 951585 h 1120414"/>
                  <a:gd name="connsiteX152" fmla="*/ 1007843 w 1111001"/>
                  <a:gd name="connsiteY152" fmla="*/ 946838 h 1120414"/>
                  <a:gd name="connsiteX153" fmla="*/ 1006307 w 1111001"/>
                  <a:gd name="connsiteY153" fmla="*/ 942666 h 1120414"/>
                  <a:gd name="connsiteX154" fmla="*/ 1001092 w 1111001"/>
                  <a:gd name="connsiteY154" fmla="*/ 940498 h 1120414"/>
                  <a:gd name="connsiteX155" fmla="*/ 993902 w 1111001"/>
                  <a:gd name="connsiteY155" fmla="*/ 929850 h 1120414"/>
                  <a:gd name="connsiteX156" fmla="*/ 992173 w 1111001"/>
                  <a:gd name="connsiteY156" fmla="*/ 919889 h 1120414"/>
                  <a:gd name="connsiteX157" fmla="*/ 992064 w 1111001"/>
                  <a:gd name="connsiteY157" fmla="*/ 914674 h 1120414"/>
                  <a:gd name="connsiteX158" fmla="*/ 987590 w 1111001"/>
                  <a:gd name="connsiteY158" fmla="*/ 919998 h 1120414"/>
                  <a:gd name="connsiteX159" fmla="*/ 976833 w 1111001"/>
                  <a:gd name="connsiteY159" fmla="*/ 917446 h 1120414"/>
                  <a:gd name="connsiteX160" fmla="*/ 967941 w 1111001"/>
                  <a:gd name="connsiteY160" fmla="*/ 901200 h 1120414"/>
                  <a:gd name="connsiteX161" fmla="*/ 954192 w 1111001"/>
                  <a:gd name="connsiteY161" fmla="*/ 864811 h 1120414"/>
                  <a:gd name="connsiteX162" fmla="*/ 954083 w 1111001"/>
                  <a:gd name="connsiteY162" fmla="*/ 864591 h 1120414"/>
                  <a:gd name="connsiteX163" fmla="*/ 953918 w 1111001"/>
                  <a:gd name="connsiteY163" fmla="*/ 864426 h 1120414"/>
                  <a:gd name="connsiteX164" fmla="*/ 953753 w 1111001"/>
                  <a:gd name="connsiteY164" fmla="*/ 864426 h 1120414"/>
                  <a:gd name="connsiteX165" fmla="*/ 953589 w 1111001"/>
                  <a:gd name="connsiteY165" fmla="*/ 864426 h 1120414"/>
                  <a:gd name="connsiteX166" fmla="*/ 953451 w 1111001"/>
                  <a:gd name="connsiteY166" fmla="*/ 864591 h 1120414"/>
                  <a:gd name="connsiteX167" fmla="*/ 953342 w 1111001"/>
                  <a:gd name="connsiteY167" fmla="*/ 864838 h 1120414"/>
                  <a:gd name="connsiteX168" fmla="*/ 953287 w 1111001"/>
                  <a:gd name="connsiteY168" fmla="*/ 865167 h 1120414"/>
                  <a:gd name="connsiteX169" fmla="*/ 953287 w 1111001"/>
                  <a:gd name="connsiteY169" fmla="*/ 865497 h 1120414"/>
                  <a:gd name="connsiteX170" fmla="*/ 953753 w 1111001"/>
                  <a:gd name="connsiteY170" fmla="*/ 876529 h 1120414"/>
                  <a:gd name="connsiteX171" fmla="*/ 960861 w 1111001"/>
                  <a:gd name="connsiteY171" fmla="*/ 910366 h 1120414"/>
                  <a:gd name="connsiteX172" fmla="*/ 959818 w 1111001"/>
                  <a:gd name="connsiteY172" fmla="*/ 916458 h 1120414"/>
                  <a:gd name="connsiteX173" fmla="*/ 940471 w 1111001"/>
                  <a:gd name="connsiteY173" fmla="*/ 908610 h 1120414"/>
                  <a:gd name="connsiteX174" fmla="*/ 940306 w 1111001"/>
                  <a:gd name="connsiteY174" fmla="*/ 908198 h 1120414"/>
                  <a:gd name="connsiteX175" fmla="*/ 931991 w 1111001"/>
                  <a:gd name="connsiteY175" fmla="*/ 888274 h 1120414"/>
                  <a:gd name="connsiteX176" fmla="*/ 917309 w 1111001"/>
                  <a:gd name="connsiteY176" fmla="*/ 882210 h 1120414"/>
                  <a:gd name="connsiteX177" fmla="*/ 915745 w 1111001"/>
                  <a:gd name="connsiteY177" fmla="*/ 883911 h 1120414"/>
                  <a:gd name="connsiteX178" fmla="*/ 926393 w 1111001"/>
                  <a:gd name="connsiteY178" fmla="*/ 897221 h 1120414"/>
                  <a:gd name="connsiteX179" fmla="*/ 929055 w 1111001"/>
                  <a:gd name="connsiteY179" fmla="*/ 907430 h 1120414"/>
                  <a:gd name="connsiteX180" fmla="*/ 914153 w 1111001"/>
                  <a:gd name="connsiteY180" fmla="*/ 915196 h 1120414"/>
                  <a:gd name="connsiteX181" fmla="*/ 891266 w 1111001"/>
                  <a:gd name="connsiteY181" fmla="*/ 899883 h 1120414"/>
                  <a:gd name="connsiteX182" fmla="*/ 867445 w 1111001"/>
                  <a:gd name="connsiteY182" fmla="*/ 873592 h 1120414"/>
                  <a:gd name="connsiteX183" fmla="*/ 829052 w 1111001"/>
                  <a:gd name="connsiteY183" fmla="*/ 846534 h 1120414"/>
                  <a:gd name="connsiteX184" fmla="*/ 827214 w 1111001"/>
                  <a:gd name="connsiteY184" fmla="*/ 841374 h 1120414"/>
                  <a:gd name="connsiteX185" fmla="*/ 828119 w 1111001"/>
                  <a:gd name="connsiteY185" fmla="*/ 830233 h 1120414"/>
                  <a:gd name="connsiteX186" fmla="*/ 826116 w 1111001"/>
                  <a:gd name="connsiteY186" fmla="*/ 824936 h 1120414"/>
                  <a:gd name="connsiteX187" fmla="*/ 805259 w 1111001"/>
                  <a:gd name="connsiteY187" fmla="*/ 833361 h 1120414"/>
                  <a:gd name="connsiteX188" fmla="*/ 783360 w 1111001"/>
                  <a:gd name="connsiteY188" fmla="*/ 826555 h 1120414"/>
                  <a:gd name="connsiteX189" fmla="*/ 773178 w 1111001"/>
                  <a:gd name="connsiteY189" fmla="*/ 817526 h 1120414"/>
                  <a:gd name="connsiteX190" fmla="*/ 734566 w 1111001"/>
                  <a:gd name="connsiteY190" fmla="*/ 813328 h 1120414"/>
                  <a:gd name="connsiteX191" fmla="*/ 693072 w 1111001"/>
                  <a:gd name="connsiteY191" fmla="*/ 817032 h 1120414"/>
                  <a:gd name="connsiteX192" fmla="*/ 673176 w 1111001"/>
                  <a:gd name="connsiteY192" fmla="*/ 797054 h 1120414"/>
                  <a:gd name="connsiteX193" fmla="*/ 661623 w 1111001"/>
                  <a:gd name="connsiteY193" fmla="*/ 796560 h 1120414"/>
                  <a:gd name="connsiteX194" fmla="*/ 649603 w 1111001"/>
                  <a:gd name="connsiteY194" fmla="*/ 791318 h 1120414"/>
                  <a:gd name="connsiteX195" fmla="*/ 639312 w 1111001"/>
                  <a:gd name="connsiteY195" fmla="*/ 780451 h 1120414"/>
                  <a:gd name="connsiteX196" fmla="*/ 626715 w 1111001"/>
                  <a:gd name="connsiteY196" fmla="*/ 773810 h 1120414"/>
                  <a:gd name="connsiteX197" fmla="*/ 615903 w 1111001"/>
                  <a:gd name="connsiteY197" fmla="*/ 760582 h 1120414"/>
                  <a:gd name="connsiteX198" fmla="*/ 596940 w 1111001"/>
                  <a:gd name="connsiteY198" fmla="*/ 760363 h 1120414"/>
                  <a:gd name="connsiteX199" fmla="*/ 583987 w 1111001"/>
                  <a:gd name="connsiteY199" fmla="*/ 766290 h 1120414"/>
                  <a:gd name="connsiteX200" fmla="*/ 580584 w 1111001"/>
                  <a:gd name="connsiteY200" fmla="*/ 755368 h 1120414"/>
                  <a:gd name="connsiteX201" fmla="*/ 576110 w 1111001"/>
                  <a:gd name="connsiteY201" fmla="*/ 759759 h 1120414"/>
                  <a:gd name="connsiteX202" fmla="*/ 573037 w 1111001"/>
                  <a:gd name="connsiteY202" fmla="*/ 771175 h 1120414"/>
                  <a:gd name="connsiteX203" fmla="*/ 579623 w 1111001"/>
                  <a:gd name="connsiteY203" fmla="*/ 788903 h 1120414"/>
                  <a:gd name="connsiteX204" fmla="*/ 579102 w 1111001"/>
                  <a:gd name="connsiteY204" fmla="*/ 802488 h 1120414"/>
                  <a:gd name="connsiteX205" fmla="*/ 581599 w 1111001"/>
                  <a:gd name="connsiteY205" fmla="*/ 814919 h 1120414"/>
                  <a:gd name="connsiteX206" fmla="*/ 573119 w 1111001"/>
                  <a:gd name="connsiteY206" fmla="*/ 813739 h 1120414"/>
                  <a:gd name="connsiteX207" fmla="*/ 559453 w 1111001"/>
                  <a:gd name="connsiteY207" fmla="*/ 820133 h 1120414"/>
                  <a:gd name="connsiteX208" fmla="*/ 540929 w 1111001"/>
                  <a:gd name="connsiteY208" fmla="*/ 817334 h 1120414"/>
                  <a:gd name="connsiteX209" fmla="*/ 515983 w 1111001"/>
                  <a:gd name="connsiteY209" fmla="*/ 845902 h 1120414"/>
                  <a:gd name="connsiteX210" fmla="*/ 507777 w 1111001"/>
                  <a:gd name="connsiteY210" fmla="*/ 847576 h 1120414"/>
                  <a:gd name="connsiteX211" fmla="*/ 497953 w 1111001"/>
                  <a:gd name="connsiteY211" fmla="*/ 856770 h 1120414"/>
                  <a:gd name="connsiteX212" fmla="*/ 469385 w 1111001"/>
                  <a:gd name="connsiteY212" fmla="*/ 860173 h 1120414"/>
                  <a:gd name="connsiteX213" fmla="*/ 470345 w 1111001"/>
                  <a:gd name="connsiteY213" fmla="*/ 853038 h 1120414"/>
                  <a:gd name="connsiteX214" fmla="*/ 481542 w 1111001"/>
                  <a:gd name="connsiteY214" fmla="*/ 840688 h 1120414"/>
                  <a:gd name="connsiteX215" fmla="*/ 472623 w 1111001"/>
                  <a:gd name="connsiteY215" fmla="*/ 825485 h 1120414"/>
                  <a:gd name="connsiteX216" fmla="*/ 482310 w 1111001"/>
                  <a:gd name="connsiteY216" fmla="*/ 795791 h 1120414"/>
                  <a:gd name="connsiteX217" fmla="*/ 486262 w 1111001"/>
                  <a:gd name="connsiteY217" fmla="*/ 776280 h 1120414"/>
                  <a:gd name="connsiteX218" fmla="*/ 507640 w 1111001"/>
                  <a:gd name="connsiteY218" fmla="*/ 760363 h 1120414"/>
                  <a:gd name="connsiteX219" fmla="*/ 526686 w 1111001"/>
                  <a:gd name="connsiteY219" fmla="*/ 760610 h 1120414"/>
                  <a:gd name="connsiteX220" fmla="*/ 526741 w 1111001"/>
                  <a:gd name="connsiteY220" fmla="*/ 748425 h 1120414"/>
                  <a:gd name="connsiteX221" fmla="*/ 530061 w 1111001"/>
                  <a:gd name="connsiteY221" fmla="*/ 737887 h 1120414"/>
                  <a:gd name="connsiteX222" fmla="*/ 529293 w 1111001"/>
                  <a:gd name="connsiteY222" fmla="*/ 735856 h 1120414"/>
                  <a:gd name="connsiteX223" fmla="*/ 520346 w 1111001"/>
                  <a:gd name="connsiteY223" fmla="*/ 741646 h 1120414"/>
                  <a:gd name="connsiteX224" fmla="*/ 498639 w 1111001"/>
                  <a:gd name="connsiteY224" fmla="*/ 745928 h 1120414"/>
                  <a:gd name="connsiteX225" fmla="*/ 474901 w 1111001"/>
                  <a:gd name="connsiteY225" fmla="*/ 764150 h 1120414"/>
                  <a:gd name="connsiteX226" fmla="*/ 449982 w 1111001"/>
                  <a:gd name="connsiteY226" fmla="*/ 799195 h 1120414"/>
                  <a:gd name="connsiteX227" fmla="*/ 441146 w 1111001"/>
                  <a:gd name="connsiteY227" fmla="*/ 820874 h 1120414"/>
                  <a:gd name="connsiteX228" fmla="*/ 429620 w 1111001"/>
                  <a:gd name="connsiteY228" fmla="*/ 834349 h 1120414"/>
                  <a:gd name="connsiteX229" fmla="*/ 418451 w 1111001"/>
                  <a:gd name="connsiteY229" fmla="*/ 840057 h 1120414"/>
                  <a:gd name="connsiteX230" fmla="*/ 404619 w 1111001"/>
                  <a:gd name="connsiteY230" fmla="*/ 860036 h 1120414"/>
                  <a:gd name="connsiteX231" fmla="*/ 405141 w 1111001"/>
                  <a:gd name="connsiteY231" fmla="*/ 870546 h 1120414"/>
                  <a:gd name="connsiteX232" fmla="*/ 419219 w 1111001"/>
                  <a:gd name="connsiteY232" fmla="*/ 879026 h 1120414"/>
                  <a:gd name="connsiteX233" fmla="*/ 417408 w 1111001"/>
                  <a:gd name="connsiteY233" fmla="*/ 893104 h 1120414"/>
                  <a:gd name="connsiteX234" fmla="*/ 408379 w 1111001"/>
                  <a:gd name="connsiteY234" fmla="*/ 902023 h 1120414"/>
                  <a:gd name="connsiteX235" fmla="*/ 393779 w 1111001"/>
                  <a:gd name="connsiteY235" fmla="*/ 924115 h 1120414"/>
                  <a:gd name="connsiteX236" fmla="*/ 359036 w 1111001"/>
                  <a:gd name="connsiteY236" fmla="*/ 947881 h 1120414"/>
                  <a:gd name="connsiteX237" fmla="*/ 339909 w 1111001"/>
                  <a:gd name="connsiteY237" fmla="*/ 964621 h 1120414"/>
                  <a:gd name="connsiteX238" fmla="*/ 333542 w 1111001"/>
                  <a:gd name="connsiteY238" fmla="*/ 978123 h 1120414"/>
                  <a:gd name="connsiteX239" fmla="*/ 325803 w 1111001"/>
                  <a:gd name="connsiteY239" fmla="*/ 987014 h 1120414"/>
                  <a:gd name="connsiteX240" fmla="*/ 293173 w 1111001"/>
                  <a:gd name="connsiteY240" fmla="*/ 1007487 h 1120414"/>
                  <a:gd name="connsiteX241" fmla="*/ 291335 w 1111001"/>
                  <a:gd name="connsiteY241" fmla="*/ 1013799 h 1120414"/>
                  <a:gd name="connsiteX242" fmla="*/ 287548 w 1111001"/>
                  <a:gd name="connsiteY242" fmla="*/ 1009490 h 1120414"/>
                  <a:gd name="connsiteX243" fmla="*/ 276515 w 1111001"/>
                  <a:gd name="connsiteY243" fmla="*/ 1017174 h 1120414"/>
                  <a:gd name="connsiteX244" fmla="*/ 275281 w 1111001"/>
                  <a:gd name="connsiteY244" fmla="*/ 1020495 h 1120414"/>
                  <a:gd name="connsiteX245" fmla="*/ 277586 w 1111001"/>
                  <a:gd name="connsiteY245" fmla="*/ 1028481 h 1120414"/>
                  <a:gd name="connsiteX246" fmla="*/ 273606 w 1111001"/>
                  <a:gd name="connsiteY246" fmla="*/ 1035726 h 1120414"/>
                  <a:gd name="connsiteX247" fmla="*/ 248304 w 1111001"/>
                  <a:gd name="connsiteY247" fmla="*/ 1048157 h 1120414"/>
                  <a:gd name="connsiteX248" fmla="*/ 242020 w 1111001"/>
                  <a:gd name="connsiteY248" fmla="*/ 1054442 h 1120414"/>
                  <a:gd name="connsiteX249" fmla="*/ 233979 w 1111001"/>
                  <a:gd name="connsiteY249" fmla="*/ 1049831 h 1120414"/>
                  <a:gd name="connsiteX250" fmla="*/ 214467 w 1111001"/>
                  <a:gd name="connsiteY250" fmla="*/ 1063937 h 1120414"/>
                  <a:gd name="connsiteX251" fmla="*/ 193061 w 1111001"/>
                  <a:gd name="connsiteY251" fmla="*/ 1071429 h 1120414"/>
                  <a:gd name="connsiteX252" fmla="*/ 189000 w 1111001"/>
                  <a:gd name="connsiteY252" fmla="*/ 1071100 h 1120414"/>
                  <a:gd name="connsiteX253" fmla="*/ 186393 w 1111001"/>
                  <a:gd name="connsiteY253" fmla="*/ 1064293 h 1120414"/>
                  <a:gd name="connsiteX254" fmla="*/ 183237 w 1111001"/>
                  <a:gd name="connsiteY254" fmla="*/ 1063278 h 1120414"/>
                  <a:gd name="connsiteX255" fmla="*/ 167210 w 1111001"/>
                  <a:gd name="connsiteY255" fmla="*/ 1085864 h 1120414"/>
                  <a:gd name="connsiteX256" fmla="*/ 159608 w 1111001"/>
                  <a:gd name="connsiteY256" fmla="*/ 1087236 h 1120414"/>
                  <a:gd name="connsiteX257" fmla="*/ 152446 w 1111001"/>
                  <a:gd name="connsiteY257" fmla="*/ 1081006 h 1120414"/>
                  <a:gd name="connsiteX258" fmla="*/ 149125 w 1111001"/>
                  <a:gd name="connsiteY258" fmla="*/ 1091490 h 1120414"/>
                  <a:gd name="connsiteX259" fmla="*/ 138093 w 1111001"/>
                  <a:gd name="connsiteY259" fmla="*/ 1091160 h 1120414"/>
                  <a:gd name="connsiteX260" fmla="*/ 134965 w 1111001"/>
                  <a:gd name="connsiteY260" fmla="*/ 1098488 h 1120414"/>
                  <a:gd name="connsiteX261" fmla="*/ 125387 w 1111001"/>
                  <a:gd name="connsiteY261" fmla="*/ 1108559 h 1120414"/>
                  <a:gd name="connsiteX262" fmla="*/ 107631 w 1111001"/>
                  <a:gd name="connsiteY262" fmla="*/ 1112868 h 1120414"/>
                  <a:gd name="connsiteX263" fmla="*/ 94651 w 1111001"/>
                  <a:gd name="connsiteY263" fmla="*/ 1120415 h 1120414"/>
                  <a:gd name="connsiteX264" fmla="*/ 89162 w 1111001"/>
                  <a:gd name="connsiteY264" fmla="*/ 1119619 h 1120414"/>
                  <a:gd name="connsiteX265" fmla="*/ 87049 w 1111001"/>
                  <a:gd name="connsiteY265" fmla="*/ 1115831 h 1120414"/>
                  <a:gd name="connsiteX266" fmla="*/ 88449 w 1111001"/>
                  <a:gd name="connsiteY266" fmla="*/ 1110178 h 1120414"/>
                  <a:gd name="connsiteX267" fmla="*/ 100496 w 1111001"/>
                  <a:gd name="connsiteY267" fmla="*/ 1096594 h 1120414"/>
                  <a:gd name="connsiteX268" fmla="*/ 119542 w 1111001"/>
                  <a:gd name="connsiteY268" fmla="*/ 1091105 h 1120414"/>
                  <a:gd name="connsiteX269" fmla="*/ 130491 w 1111001"/>
                  <a:gd name="connsiteY269" fmla="*/ 1093081 h 1120414"/>
                  <a:gd name="connsiteX270" fmla="*/ 135212 w 1111001"/>
                  <a:gd name="connsiteY270" fmla="*/ 1086138 h 1120414"/>
                  <a:gd name="connsiteX271" fmla="*/ 147671 w 1111001"/>
                  <a:gd name="connsiteY271" fmla="*/ 1077823 h 1120414"/>
                  <a:gd name="connsiteX272" fmla="*/ 163889 w 1111001"/>
                  <a:gd name="connsiteY272" fmla="*/ 1056994 h 1120414"/>
                  <a:gd name="connsiteX273" fmla="*/ 175992 w 1111001"/>
                  <a:gd name="connsiteY273" fmla="*/ 1046950 h 1120414"/>
                  <a:gd name="connsiteX274" fmla="*/ 195202 w 1111001"/>
                  <a:gd name="connsiteY274" fmla="*/ 1043355 h 1120414"/>
                  <a:gd name="connsiteX275" fmla="*/ 204642 w 1111001"/>
                  <a:gd name="connsiteY275" fmla="*/ 1049612 h 1120414"/>
                  <a:gd name="connsiteX276" fmla="*/ 215921 w 1111001"/>
                  <a:gd name="connsiteY276" fmla="*/ 1048569 h 1120414"/>
                  <a:gd name="connsiteX277" fmla="*/ 215647 w 1111001"/>
                  <a:gd name="connsiteY277" fmla="*/ 1037043 h 1120414"/>
                  <a:gd name="connsiteX278" fmla="*/ 221136 w 1111001"/>
                  <a:gd name="connsiteY278" fmla="*/ 1024337 h 1120414"/>
                  <a:gd name="connsiteX279" fmla="*/ 235214 w 1111001"/>
                  <a:gd name="connsiteY279" fmla="*/ 1011191 h 1120414"/>
                  <a:gd name="connsiteX280" fmla="*/ 253848 w 1111001"/>
                  <a:gd name="connsiteY280" fmla="*/ 999364 h 1120414"/>
                  <a:gd name="connsiteX281" fmla="*/ 266499 w 1111001"/>
                  <a:gd name="connsiteY281" fmla="*/ 995851 h 1120414"/>
                  <a:gd name="connsiteX282" fmla="*/ 270011 w 1111001"/>
                  <a:gd name="connsiteY282" fmla="*/ 985313 h 1120414"/>
                  <a:gd name="connsiteX283" fmla="*/ 275802 w 1111001"/>
                  <a:gd name="connsiteY283" fmla="*/ 975955 h 1120414"/>
                  <a:gd name="connsiteX284" fmla="*/ 296823 w 1111001"/>
                  <a:gd name="connsiteY284" fmla="*/ 958034 h 1120414"/>
                  <a:gd name="connsiteX285" fmla="*/ 299787 w 1111001"/>
                  <a:gd name="connsiteY285" fmla="*/ 930564 h 1120414"/>
                  <a:gd name="connsiteX286" fmla="*/ 302970 w 1111001"/>
                  <a:gd name="connsiteY286" fmla="*/ 921892 h 1120414"/>
                  <a:gd name="connsiteX287" fmla="*/ 302970 w 1111001"/>
                  <a:gd name="connsiteY287" fmla="*/ 909076 h 1120414"/>
                  <a:gd name="connsiteX288" fmla="*/ 315237 w 1111001"/>
                  <a:gd name="connsiteY288" fmla="*/ 888274 h 1120414"/>
                  <a:gd name="connsiteX289" fmla="*/ 314359 w 1111001"/>
                  <a:gd name="connsiteY289" fmla="*/ 885365 h 1120414"/>
                  <a:gd name="connsiteX290" fmla="*/ 282059 w 1111001"/>
                  <a:gd name="connsiteY290" fmla="*/ 894367 h 1120414"/>
                  <a:gd name="connsiteX291" fmla="*/ 275884 w 1111001"/>
                  <a:gd name="connsiteY291" fmla="*/ 888439 h 1120414"/>
                  <a:gd name="connsiteX292" fmla="*/ 272591 w 1111001"/>
                  <a:gd name="connsiteY292" fmla="*/ 877819 h 1120414"/>
                  <a:gd name="connsiteX293" fmla="*/ 266169 w 1111001"/>
                  <a:gd name="connsiteY293" fmla="*/ 886271 h 1120414"/>
                  <a:gd name="connsiteX294" fmla="*/ 263837 w 1111001"/>
                  <a:gd name="connsiteY294" fmla="*/ 901996 h 1120414"/>
                  <a:gd name="connsiteX295" fmla="*/ 259830 w 1111001"/>
                  <a:gd name="connsiteY295" fmla="*/ 905975 h 1120414"/>
                  <a:gd name="connsiteX296" fmla="*/ 241635 w 1111001"/>
                  <a:gd name="connsiteY296" fmla="*/ 884926 h 1120414"/>
                  <a:gd name="connsiteX297" fmla="*/ 230192 w 1111001"/>
                  <a:gd name="connsiteY297" fmla="*/ 884679 h 1120414"/>
                  <a:gd name="connsiteX298" fmla="*/ 216662 w 1111001"/>
                  <a:gd name="connsiteY298" fmla="*/ 875513 h 1120414"/>
                  <a:gd name="connsiteX299" fmla="*/ 177803 w 1111001"/>
                  <a:gd name="connsiteY299" fmla="*/ 895519 h 1120414"/>
                  <a:gd name="connsiteX300" fmla="*/ 176678 w 1111001"/>
                  <a:gd name="connsiteY300" fmla="*/ 891842 h 1120414"/>
                  <a:gd name="connsiteX301" fmla="*/ 177583 w 1111001"/>
                  <a:gd name="connsiteY301" fmla="*/ 873949 h 1120414"/>
                  <a:gd name="connsiteX302" fmla="*/ 172232 w 1111001"/>
                  <a:gd name="connsiteY302" fmla="*/ 861463 h 1120414"/>
                  <a:gd name="connsiteX303" fmla="*/ 175223 w 1111001"/>
                  <a:gd name="connsiteY303" fmla="*/ 842582 h 1120414"/>
                  <a:gd name="connsiteX304" fmla="*/ 161200 w 1111001"/>
                  <a:gd name="connsiteY304" fmla="*/ 807757 h 1120414"/>
                  <a:gd name="connsiteX305" fmla="*/ 159142 w 1111001"/>
                  <a:gd name="connsiteY305" fmla="*/ 796258 h 1120414"/>
                  <a:gd name="connsiteX306" fmla="*/ 156288 w 1111001"/>
                  <a:gd name="connsiteY306" fmla="*/ 800265 h 1120414"/>
                  <a:gd name="connsiteX307" fmla="*/ 154147 w 1111001"/>
                  <a:gd name="connsiteY307" fmla="*/ 813300 h 1120414"/>
                  <a:gd name="connsiteX308" fmla="*/ 149619 w 1111001"/>
                  <a:gd name="connsiteY308" fmla="*/ 819475 h 1120414"/>
                  <a:gd name="connsiteX309" fmla="*/ 131370 w 1111001"/>
                  <a:gd name="connsiteY309" fmla="*/ 827076 h 1120414"/>
                  <a:gd name="connsiteX310" fmla="*/ 110321 w 1111001"/>
                  <a:gd name="connsiteY310" fmla="*/ 825540 h 1120414"/>
                  <a:gd name="connsiteX311" fmla="*/ 97368 w 1111001"/>
                  <a:gd name="connsiteY311" fmla="*/ 807565 h 1120414"/>
                  <a:gd name="connsiteX312" fmla="*/ 77170 w 1111001"/>
                  <a:gd name="connsiteY312" fmla="*/ 786543 h 1120414"/>
                  <a:gd name="connsiteX313" fmla="*/ 81039 w 1111001"/>
                  <a:gd name="connsiteY313" fmla="*/ 770352 h 1120414"/>
                  <a:gd name="connsiteX314" fmla="*/ 79310 w 1111001"/>
                  <a:gd name="connsiteY314" fmla="*/ 754627 h 1120414"/>
                  <a:gd name="connsiteX315" fmla="*/ 74151 w 1111001"/>
                  <a:gd name="connsiteY315" fmla="*/ 749468 h 1120414"/>
                  <a:gd name="connsiteX316" fmla="*/ 64491 w 1111001"/>
                  <a:gd name="connsiteY316" fmla="*/ 747272 h 1120414"/>
                  <a:gd name="connsiteX317" fmla="*/ 52197 w 1111001"/>
                  <a:gd name="connsiteY317" fmla="*/ 721970 h 1120414"/>
                  <a:gd name="connsiteX318" fmla="*/ 54365 w 1111001"/>
                  <a:gd name="connsiteY318" fmla="*/ 709922 h 1120414"/>
                  <a:gd name="connsiteX319" fmla="*/ 60704 w 1111001"/>
                  <a:gd name="connsiteY319" fmla="*/ 701388 h 1120414"/>
                  <a:gd name="connsiteX320" fmla="*/ 64628 w 1111001"/>
                  <a:gd name="connsiteY320" fmla="*/ 685855 h 1120414"/>
                  <a:gd name="connsiteX321" fmla="*/ 81478 w 1111001"/>
                  <a:gd name="connsiteY321" fmla="*/ 658412 h 1120414"/>
                  <a:gd name="connsiteX322" fmla="*/ 91632 w 1111001"/>
                  <a:gd name="connsiteY322" fmla="*/ 631902 h 1120414"/>
                  <a:gd name="connsiteX323" fmla="*/ 99014 w 1111001"/>
                  <a:gd name="connsiteY323" fmla="*/ 621529 h 1120414"/>
                  <a:gd name="connsiteX324" fmla="*/ 112571 w 1111001"/>
                  <a:gd name="connsiteY324" fmla="*/ 617988 h 1120414"/>
                  <a:gd name="connsiteX325" fmla="*/ 136392 w 1111001"/>
                  <a:gd name="connsiteY325" fmla="*/ 627648 h 1120414"/>
                  <a:gd name="connsiteX326" fmla="*/ 144131 w 1111001"/>
                  <a:gd name="connsiteY326" fmla="*/ 622736 h 1120414"/>
                  <a:gd name="connsiteX327" fmla="*/ 163149 w 1111001"/>
                  <a:gd name="connsiteY327" fmla="*/ 600727 h 1120414"/>
                  <a:gd name="connsiteX328" fmla="*/ 186667 w 1111001"/>
                  <a:gd name="connsiteY328" fmla="*/ 601413 h 1120414"/>
                  <a:gd name="connsiteX329" fmla="*/ 198715 w 1111001"/>
                  <a:gd name="connsiteY329" fmla="*/ 593098 h 1120414"/>
                  <a:gd name="connsiteX330" fmla="*/ 203435 w 1111001"/>
                  <a:gd name="connsiteY330" fmla="*/ 583959 h 1120414"/>
                  <a:gd name="connsiteX331" fmla="*/ 204258 w 1111001"/>
                  <a:gd name="connsiteY331" fmla="*/ 573394 h 1120414"/>
                  <a:gd name="connsiteX332" fmla="*/ 199456 w 1111001"/>
                  <a:gd name="connsiteY332" fmla="*/ 553086 h 1120414"/>
                  <a:gd name="connsiteX333" fmla="*/ 194488 w 1111001"/>
                  <a:gd name="connsiteY333" fmla="*/ 542493 h 1120414"/>
                  <a:gd name="connsiteX334" fmla="*/ 192073 w 1111001"/>
                  <a:gd name="connsiteY334" fmla="*/ 535193 h 1120414"/>
                  <a:gd name="connsiteX335" fmla="*/ 201898 w 1111001"/>
                  <a:gd name="connsiteY335" fmla="*/ 525478 h 1120414"/>
                  <a:gd name="connsiteX336" fmla="*/ 203490 w 1111001"/>
                  <a:gd name="connsiteY336" fmla="*/ 520374 h 1120414"/>
                  <a:gd name="connsiteX337" fmla="*/ 201651 w 1111001"/>
                  <a:gd name="connsiteY337" fmla="*/ 513486 h 1120414"/>
                  <a:gd name="connsiteX338" fmla="*/ 194351 w 1111001"/>
                  <a:gd name="connsiteY338" fmla="*/ 508162 h 1120414"/>
                  <a:gd name="connsiteX339" fmla="*/ 159142 w 1111001"/>
                  <a:gd name="connsiteY339" fmla="*/ 527893 h 1120414"/>
                  <a:gd name="connsiteX340" fmla="*/ 148384 w 1111001"/>
                  <a:gd name="connsiteY340" fmla="*/ 540956 h 1120414"/>
                  <a:gd name="connsiteX341" fmla="*/ 136995 w 1111001"/>
                  <a:gd name="connsiteY341" fmla="*/ 527180 h 1120414"/>
                  <a:gd name="connsiteX342" fmla="*/ 136392 w 1111001"/>
                  <a:gd name="connsiteY342" fmla="*/ 534452 h 1120414"/>
                  <a:gd name="connsiteX343" fmla="*/ 134471 w 1111001"/>
                  <a:gd name="connsiteY343" fmla="*/ 536071 h 1120414"/>
                  <a:gd name="connsiteX344" fmla="*/ 117182 w 1111001"/>
                  <a:gd name="connsiteY344" fmla="*/ 528826 h 1120414"/>
                  <a:gd name="connsiteX345" fmla="*/ 80024 w 1111001"/>
                  <a:gd name="connsiteY345" fmla="*/ 535769 h 1120414"/>
                  <a:gd name="connsiteX346" fmla="*/ 49946 w 1111001"/>
                  <a:gd name="connsiteY346" fmla="*/ 527646 h 1120414"/>
                  <a:gd name="connsiteX347" fmla="*/ 43360 w 1111001"/>
                  <a:gd name="connsiteY347" fmla="*/ 520319 h 1120414"/>
                  <a:gd name="connsiteX348" fmla="*/ 34578 w 1111001"/>
                  <a:gd name="connsiteY348" fmla="*/ 497843 h 1120414"/>
                  <a:gd name="connsiteX349" fmla="*/ 36499 w 1111001"/>
                  <a:gd name="connsiteY349" fmla="*/ 483902 h 1120414"/>
                  <a:gd name="connsiteX350" fmla="*/ 35594 w 1111001"/>
                  <a:gd name="connsiteY350" fmla="*/ 478770 h 1120414"/>
                  <a:gd name="connsiteX351" fmla="*/ 11828 w 1111001"/>
                  <a:gd name="connsiteY351" fmla="*/ 468644 h 1120414"/>
                  <a:gd name="connsiteX352" fmla="*/ 0 w 1111001"/>
                  <a:gd name="connsiteY352" fmla="*/ 452782 h 1120414"/>
                  <a:gd name="connsiteX353" fmla="*/ 37569 w 1111001"/>
                  <a:gd name="connsiteY353" fmla="*/ 418999 h 1120414"/>
                  <a:gd name="connsiteX354" fmla="*/ 57548 w 1111001"/>
                  <a:gd name="connsiteY354" fmla="*/ 416804 h 1120414"/>
                  <a:gd name="connsiteX355" fmla="*/ 65698 w 1111001"/>
                  <a:gd name="connsiteY355" fmla="*/ 401381 h 1120414"/>
                  <a:gd name="connsiteX356" fmla="*/ 96517 w 1111001"/>
                  <a:gd name="connsiteY356" fmla="*/ 387358 h 1120414"/>
                  <a:gd name="connsiteX357" fmla="*/ 114657 w 1111001"/>
                  <a:gd name="connsiteY357" fmla="*/ 390047 h 1120414"/>
                  <a:gd name="connsiteX358" fmla="*/ 117127 w 1111001"/>
                  <a:gd name="connsiteY358" fmla="*/ 412358 h 1120414"/>
                  <a:gd name="connsiteX359" fmla="*/ 127335 w 1111001"/>
                  <a:gd name="connsiteY359" fmla="*/ 422567 h 1120414"/>
                  <a:gd name="connsiteX360" fmla="*/ 170284 w 1111001"/>
                  <a:gd name="connsiteY360" fmla="*/ 423335 h 1120414"/>
                  <a:gd name="connsiteX361" fmla="*/ 187106 w 1111001"/>
                  <a:gd name="connsiteY361" fmla="*/ 408489 h 1120414"/>
                  <a:gd name="connsiteX362" fmla="*/ 187353 w 1111001"/>
                  <a:gd name="connsiteY362" fmla="*/ 404372 h 1120414"/>
                  <a:gd name="connsiteX363" fmla="*/ 180300 w 1111001"/>
                  <a:gd name="connsiteY363" fmla="*/ 396798 h 1120414"/>
                  <a:gd name="connsiteX364" fmla="*/ 181727 w 1111001"/>
                  <a:gd name="connsiteY364" fmla="*/ 386452 h 1120414"/>
                  <a:gd name="connsiteX365" fmla="*/ 174071 w 1111001"/>
                  <a:gd name="connsiteY365" fmla="*/ 356539 h 1120414"/>
                  <a:gd name="connsiteX366" fmla="*/ 143938 w 1111001"/>
                  <a:gd name="connsiteY366" fmla="*/ 352340 h 1120414"/>
                  <a:gd name="connsiteX367" fmla="*/ 126210 w 1111001"/>
                  <a:gd name="connsiteY367" fmla="*/ 345480 h 1120414"/>
                  <a:gd name="connsiteX368" fmla="*/ 105957 w 1111001"/>
                  <a:gd name="connsiteY368" fmla="*/ 307828 h 1120414"/>
                  <a:gd name="connsiteX369" fmla="*/ 45061 w 1111001"/>
                  <a:gd name="connsiteY369" fmla="*/ 254973 h 1120414"/>
                  <a:gd name="connsiteX370" fmla="*/ 42317 w 1111001"/>
                  <a:gd name="connsiteY370" fmla="*/ 240016 h 1120414"/>
                  <a:gd name="connsiteX371" fmla="*/ 49068 w 1111001"/>
                  <a:gd name="connsiteY371" fmla="*/ 214577 h 1120414"/>
                  <a:gd name="connsiteX372" fmla="*/ 115425 w 1111001"/>
                  <a:gd name="connsiteY372" fmla="*/ 192293 h 1120414"/>
                  <a:gd name="connsiteX373" fmla="*/ 132165 w 1111001"/>
                  <a:gd name="connsiteY373" fmla="*/ 171464 h 1120414"/>
                  <a:gd name="connsiteX374" fmla="*/ 145118 w 1111001"/>
                  <a:gd name="connsiteY374" fmla="*/ 130656 h 1120414"/>
                  <a:gd name="connsiteX375" fmla="*/ 167731 w 1111001"/>
                  <a:gd name="connsiteY375" fmla="*/ 97478 h 1120414"/>
                  <a:gd name="connsiteX376" fmla="*/ 199840 w 1111001"/>
                  <a:gd name="connsiteY376" fmla="*/ 85265 h 1120414"/>
                  <a:gd name="connsiteX377" fmla="*/ 242788 w 1111001"/>
                  <a:gd name="connsiteY377" fmla="*/ 44238 h 1120414"/>
                  <a:gd name="connsiteX378" fmla="*/ 289880 w 1111001"/>
                  <a:gd name="connsiteY378" fmla="*/ 36252 h 1120414"/>
                  <a:gd name="connsiteX379" fmla="*/ 329700 w 1111001"/>
                  <a:gd name="connsiteY379" fmla="*/ 0 h 1120414"/>
                  <a:gd name="connsiteX380" fmla="*/ 354454 w 1111001"/>
                  <a:gd name="connsiteY380" fmla="*/ 14270 h 1120414"/>
                  <a:gd name="connsiteX381" fmla="*/ 355085 w 1111001"/>
                  <a:gd name="connsiteY381" fmla="*/ 20363 h 1120414"/>
                  <a:gd name="connsiteX382" fmla="*/ 352066 w 1111001"/>
                  <a:gd name="connsiteY382" fmla="*/ 31614 h 112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Lst>
                <a:rect l="l" t="t" r="r" b="b"/>
                <a:pathLst>
                  <a:path w="1111001" h="1120414">
                    <a:moveTo>
                      <a:pt x="352039" y="31697"/>
                    </a:moveTo>
                    <a:lnTo>
                      <a:pt x="354234" y="38448"/>
                    </a:lnTo>
                    <a:lnTo>
                      <a:pt x="372346" y="19786"/>
                    </a:lnTo>
                    <a:lnTo>
                      <a:pt x="379317" y="18826"/>
                    </a:lnTo>
                    <a:lnTo>
                      <a:pt x="391639" y="40780"/>
                    </a:lnTo>
                    <a:lnTo>
                      <a:pt x="426766" y="34386"/>
                    </a:lnTo>
                    <a:lnTo>
                      <a:pt x="449900" y="40863"/>
                    </a:lnTo>
                    <a:lnTo>
                      <a:pt x="452507" y="45308"/>
                    </a:lnTo>
                    <a:lnTo>
                      <a:pt x="455746" y="62625"/>
                    </a:lnTo>
                    <a:lnTo>
                      <a:pt x="477398" y="76209"/>
                    </a:lnTo>
                    <a:lnTo>
                      <a:pt x="508024" y="78322"/>
                    </a:lnTo>
                    <a:lnTo>
                      <a:pt x="538898" y="70364"/>
                    </a:lnTo>
                    <a:lnTo>
                      <a:pt x="589036" y="93004"/>
                    </a:lnTo>
                    <a:lnTo>
                      <a:pt x="641480" y="99783"/>
                    </a:lnTo>
                    <a:lnTo>
                      <a:pt x="672133" y="113010"/>
                    </a:lnTo>
                    <a:lnTo>
                      <a:pt x="705422" y="103378"/>
                    </a:lnTo>
                    <a:lnTo>
                      <a:pt x="722327" y="104119"/>
                    </a:lnTo>
                    <a:lnTo>
                      <a:pt x="788107" y="145173"/>
                    </a:lnTo>
                    <a:lnTo>
                      <a:pt x="788025" y="287520"/>
                    </a:lnTo>
                    <a:lnTo>
                      <a:pt x="787915" y="495867"/>
                    </a:lnTo>
                    <a:lnTo>
                      <a:pt x="787915" y="518590"/>
                    </a:lnTo>
                    <a:cubicBezTo>
                      <a:pt x="787915" y="518590"/>
                      <a:pt x="787915" y="521252"/>
                      <a:pt x="787915" y="521252"/>
                    </a:cubicBezTo>
                    <a:lnTo>
                      <a:pt x="787915" y="524737"/>
                    </a:lnTo>
                    <a:cubicBezTo>
                      <a:pt x="787915" y="524737"/>
                      <a:pt x="787915" y="540023"/>
                      <a:pt x="787915" y="540023"/>
                    </a:cubicBezTo>
                    <a:lnTo>
                      <a:pt x="787915" y="542493"/>
                    </a:lnTo>
                    <a:cubicBezTo>
                      <a:pt x="787915" y="542493"/>
                      <a:pt x="788547" y="796917"/>
                      <a:pt x="788547" y="796917"/>
                    </a:cubicBezTo>
                    <a:lnTo>
                      <a:pt x="799194" y="803009"/>
                    </a:lnTo>
                    <a:lnTo>
                      <a:pt x="805534" y="800567"/>
                    </a:lnTo>
                    <a:lnTo>
                      <a:pt x="817170" y="805753"/>
                    </a:lnTo>
                    <a:lnTo>
                      <a:pt x="827241" y="798261"/>
                    </a:lnTo>
                    <a:lnTo>
                      <a:pt x="843844" y="797438"/>
                    </a:lnTo>
                    <a:lnTo>
                      <a:pt x="842856" y="813684"/>
                    </a:lnTo>
                    <a:lnTo>
                      <a:pt x="854163" y="822768"/>
                    </a:lnTo>
                    <a:lnTo>
                      <a:pt x="859789" y="833032"/>
                    </a:lnTo>
                    <a:lnTo>
                      <a:pt x="885667" y="859734"/>
                    </a:lnTo>
                    <a:lnTo>
                      <a:pt x="892226" y="879575"/>
                    </a:lnTo>
                    <a:lnTo>
                      <a:pt x="918187" y="864838"/>
                    </a:lnTo>
                    <a:lnTo>
                      <a:pt x="921041" y="859185"/>
                    </a:lnTo>
                    <a:lnTo>
                      <a:pt x="922057" y="850485"/>
                    </a:lnTo>
                    <a:lnTo>
                      <a:pt x="925899" y="847165"/>
                    </a:lnTo>
                    <a:lnTo>
                      <a:pt x="927875" y="840222"/>
                    </a:lnTo>
                    <a:lnTo>
                      <a:pt x="940279" y="834349"/>
                    </a:lnTo>
                    <a:lnTo>
                      <a:pt x="949856" y="830644"/>
                    </a:lnTo>
                    <a:lnTo>
                      <a:pt x="960916" y="840963"/>
                    </a:lnTo>
                    <a:lnTo>
                      <a:pt x="965142" y="858169"/>
                    </a:lnTo>
                    <a:lnTo>
                      <a:pt x="975927" y="865277"/>
                    </a:lnTo>
                    <a:lnTo>
                      <a:pt x="986081" y="882072"/>
                    </a:lnTo>
                    <a:lnTo>
                      <a:pt x="998129" y="891485"/>
                    </a:lnTo>
                    <a:lnTo>
                      <a:pt x="1009298" y="905591"/>
                    </a:lnTo>
                    <a:lnTo>
                      <a:pt x="1013277" y="917007"/>
                    </a:lnTo>
                    <a:lnTo>
                      <a:pt x="1042504" y="970494"/>
                    </a:lnTo>
                    <a:lnTo>
                      <a:pt x="1043656" y="980785"/>
                    </a:lnTo>
                    <a:lnTo>
                      <a:pt x="1049365" y="985175"/>
                    </a:lnTo>
                    <a:lnTo>
                      <a:pt x="1050572" y="992420"/>
                    </a:lnTo>
                    <a:lnTo>
                      <a:pt x="1058503" y="1006416"/>
                    </a:lnTo>
                    <a:lnTo>
                      <a:pt x="1094097" y="1025462"/>
                    </a:lnTo>
                    <a:lnTo>
                      <a:pt x="1107461" y="1035286"/>
                    </a:lnTo>
                    <a:lnTo>
                      <a:pt x="1111002" y="1044452"/>
                    </a:lnTo>
                    <a:lnTo>
                      <a:pt x="1107681" y="1049721"/>
                    </a:lnTo>
                    <a:lnTo>
                      <a:pt x="1106885" y="1053207"/>
                    </a:lnTo>
                    <a:lnTo>
                      <a:pt x="1106720" y="1053920"/>
                    </a:lnTo>
                    <a:lnTo>
                      <a:pt x="1107489" y="1062674"/>
                    </a:lnTo>
                    <a:lnTo>
                      <a:pt x="1109492" y="1070057"/>
                    </a:lnTo>
                    <a:lnTo>
                      <a:pt x="1110151" y="1077796"/>
                    </a:lnTo>
                    <a:lnTo>
                      <a:pt x="1107681" y="1081775"/>
                    </a:lnTo>
                    <a:lnTo>
                      <a:pt x="1101534" y="1094728"/>
                    </a:lnTo>
                    <a:lnTo>
                      <a:pt x="1097253" y="1099667"/>
                    </a:lnTo>
                    <a:lnTo>
                      <a:pt x="1093273" y="1102055"/>
                    </a:lnTo>
                    <a:lnTo>
                      <a:pt x="1091051" y="1104854"/>
                    </a:lnTo>
                    <a:lnTo>
                      <a:pt x="1083531" y="1098241"/>
                    </a:lnTo>
                    <a:lnTo>
                      <a:pt x="1080348" y="1085397"/>
                    </a:lnTo>
                    <a:lnTo>
                      <a:pt x="1080650" y="1081912"/>
                    </a:lnTo>
                    <a:lnTo>
                      <a:pt x="1082708" y="1077960"/>
                    </a:lnTo>
                    <a:lnTo>
                      <a:pt x="1082406" y="1076176"/>
                    </a:lnTo>
                    <a:lnTo>
                      <a:pt x="1081061" y="1076368"/>
                    </a:lnTo>
                    <a:lnTo>
                      <a:pt x="1078125" y="1080183"/>
                    </a:lnTo>
                    <a:lnTo>
                      <a:pt x="1076094" y="1081089"/>
                    </a:lnTo>
                    <a:lnTo>
                      <a:pt x="1067697" y="1075984"/>
                    </a:lnTo>
                    <a:lnTo>
                      <a:pt x="1067450" y="1078125"/>
                    </a:lnTo>
                    <a:lnTo>
                      <a:pt x="1070002" y="1081720"/>
                    </a:lnTo>
                    <a:lnTo>
                      <a:pt x="1070990" y="1084931"/>
                    </a:lnTo>
                    <a:lnTo>
                      <a:pt x="1070852" y="1088828"/>
                    </a:lnTo>
                    <a:lnTo>
                      <a:pt x="1069206" y="1090886"/>
                    </a:lnTo>
                    <a:lnTo>
                      <a:pt x="1064678" y="1089788"/>
                    </a:lnTo>
                    <a:lnTo>
                      <a:pt x="1063278" y="1077000"/>
                    </a:lnTo>
                    <a:lnTo>
                      <a:pt x="1061988" y="1077850"/>
                    </a:lnTo>
                    <a:lnTo>
                      <a:pt x="1060040" y="1083174"/>
                    </a:lnTo>
                    <a:lnTo>
                      <a:pt x="1058366" y="1082077"/>
                    </a:lnTo>
                    <a:lnTo>
                      <a:pt x="1057049" y="1074338"/>
                    </a:lnTo>
                    <a:lnTo>
                      <a:pt x="1058119" y="1066626"/>
                    </a:lnTo>
                    <a:lnTo>
                      <a:pt x="1060753" y="1060259"/>
                    </a:lnTo>
                    <a:lnTo>
                      <a:pt x="1060150" y="1048020"/>
                    </a:lnTo>
                    <a:lnTo>
                      <a:pt x="1058778" y="1048541"/>
                    </a:lnTo>
                    <a:lnTo>
                      <a:pt x="1056829" y="1057103"/>
                    </a:lnTo>
                    <a:lnTo>
                      <a:pt x="1052905" y="1063827"/>
                    </a:lnTo>
                    <a:lnTo>
                      <a:pt x="1048871" y="1062537"/>
                    </a:lnTo>
                    <a:lnTo>
                      <a:pt x="1046620" y="1056802"/>
                    </a:lnTo>
                    <a:lnTo>
                      <a:pt x="1047169" y="1052081"/>
                    </a:lnTo>
                    <a:lnTo>
                      <a:pt x="1050353" y="1045605"/>
                    </a:lnTo>
                    <a:lnTo>
                      <a:pt x="1050956" y="1038909"/>
                    </a:lnTo>
                    <a:lnTo>
                      <a:pt x="1052575" y="1034079"/>
                    </a:lnTo>
                    <a:lnTo>
                      <a:pt x="1052575" y="1031911"/>
                    </a:lnTo>
                    <a:cubicBezTo>
                      <a:pt x="1052575" y="1031911"/>
                      <a:pt x="1049337" y="1035424"/>
                      <a:pt x="1049337" y="1035424"/>
                    </a:cubicBezTo>
                    <a:lnTo>
                      <a:pt x="1046922" y="1043190"/>
                    </a:lnTo>
                    <a:lnTo>
                      <a:pt x="1042339" y="1046126"/>
                    </a:lnTo>
                    <a:lnTo>
                      <a:pt x="1037893" y="1038909"/>
                    </a:lnTo>
                    <a:lnTo>
                      <a:pt x="1033091" y="1035780"/>
                    </a:lnTo>
                    <a:lnTo>
                      <a:pt x="1030292" y="1027986"/>
                    </a:lnTo>
                    <a:lnTo>
                      <a:pt x="1026148" y="1026230"/>
                    </a:lnTo>
                    <a:lnTo>
                      <a:pt x="1022416" y="1021675"/>
                    </a:lnTo>
                    <a:lnTo>
                      <a:pt x="1023733" y="1017833"/>
                    </a:lnTo>
                    <a:lnTo>
                      <a:pt x="1026834" y="1016378"/>
                    </a:lnTo>
                    <a:lnTo>
                      <a:pt x="1032213" y="1018134"/>
                    </a:lnTo>
                    <a:lnTo>
                      <a:pt x="1034216" y="1023843"/>
                    </a:lnTo>
                    <a:lnTo>
                      <a:pt x="1037564" y="1019205"/>
                    </a:lnTo>
                    <a:lnTo>
                      <a:pt x="1041104" y="1021126"/>
                    </a:lnTo>
                    <a:lnTo>
                      <a:pt x="1043300" y="1013936"/>
                    </a:lnTo>
                    <a:lnTo>
                      <a:pt x="1041516" y="1008996"/>
                    </a:lnTo>
                    <a:lnTo>
                      <a:pt x="1027410" y="1012865"/>
                    </a:lnTo>
                    <a:lnTo>
                      <a:pt x="1022004" y="1013140"/>
                    </a:lnTo>
                    <a:lnTo>
                      <a:pt x="1017970" y="1015308"/>
                    </a:lnTo>
                    <a:lnTo>
                      <a:pt x="1007404" y="1016268"/>
                    </a:lnTo>
                    <a:lnTo>
                      <a:pt x="999089" y="1011905"/>
                    </a:lnTo>
                    <a:lnTo>
                      <a:pt x="994534" y="1033640"/>
                    </a:lnTo>
                    <a:lnTo>
                      <a:pt x="992997" y="1033502"/>
                    </a:lnTo>
                    <a:lnTo>
                      <a:pt x="992393" y="1028261"/>
                    </a:lnTo>
                    <a:lnTo>
                      <a:pt x="991789" y="1027383"/>
                    </a:lnTo>
                    <a:lnTo>
                      <a:pt x="989758" y="1036192"/>
                    </a:lnTo>
                    <a:lnTo>
                      <a:pt x="988798" y="1037345"/>
                    </a:lnTo>
                    <a:lnTo>
                      <a:pt x="986932" y="1034216"/>
                    </a:lnTo>
                    <a:lnTo>
                      <a:pt x="985971" y="1023980"/>
                    </a:lnTo>
                    <a:lnTo>
                      <a:pt x="988194" y="1014540"/>
                    </a:lnTo>
                    <a:lnTo>
                      <a:pt x="983529" y="1003562"/>
                    </a:lnTo>
                    <a:lnTo>
                      <a:pt x="983392" y="995576"/>
                    </a:lnTo>
                    <a:lnTo>
                      <a:pt x="991158" y="991186"/>
                    </a:lnTo>
                    <a:lnTo>
                      <a:pt x="996976" y="999419"/>
                    </a:lnTo>
                    <a:lnTo>
                      <a:pt x="997936" y="993107"/>
                    </a:lnTo>
                    <a:lnTo>
                      <a:pt x="994643" y="985615"/>
                    </a:lnTo>
                    <a:lnTo>
                      <a:pt x="995055" y="983941"/>
                    </a:lnTo>
                    <a:lnTo>
                      <a:pt x="997936" y="982376"/>
                    </a:lnTo>
                    <a:lnTo>
                      <a:pt x="1017942" y="986794"/>
                    </a:lnTo>
                    <a:lnTo>
                      <a:pt x="1027136" y="998156"/>
                    </a:lnTo>
                    <a:lnTo>
                      <a:pt x="1032076" y="1000653"/>
                    </a:lnTo>
                    <a:lnTo>
                      <a:pt x="1032844" y="999116"/>
                    </a:lnTo>
                    <a:lnTo>
                      <a:pt x="1023843" y="984379"/>
                    </a:lnTo>
                    <a:lnTo>
                      <a:pt x="1018601" y="979989"/>
                    </a:lnTo>
                    <a:lnTo>
                      <a:pt x="1013112" y="979769"/>
                    </a:lnTo>
                    <a:lnTo>
                      <a:pt x="1008365" y="976339"/>
                    </a:lnTo>
                    <a:lnTo>
                      <a:pt x="1008667" y="972003"/>
                    </a:lnTo>
                    <a:lnTo>
                      <a:pt x="1011466" y="968079"/>
                    </a:lnTo>
                    <a:lnTo>
                      <a:pt x="1008392" y="957266"/>
                    </a:lnTo>
                    <a:lnTo>
                      <a:pt x="1004523" y="951585"/>
                    </a:lnTo>
                    <a:lnTo>
                      <a:pt x="1007843" y="946838"/>
                    </a:lnTo>
                    <a:lnTo>
                      <a:pt x="1006307" y="942666"/>
                    </a:lnTo>
                    <a:lnTo>
                      <a:pt x="1001092" y="940498"/>
                    </a:lnTo>
                    <a:lnTo>
                      <a:pt x="993902" y="929850"/>
                    </a:lnTo>
                    <a:lnTo>
                      <a:pt x="992173" y="919889"/>
                    </a:lnTo>
                    <a:lnTo>
                      <a:pt x="992064" y="914674"/>
                    </a:lnTo>
                    <a:lnTo>
                      <a:pt x="987590" y="919998"/>
                    </a:lnTo>
                    <a:lnTo>
                      <a:pt x="976833" y="917446"/>
                    </a:lnTo>
                    <a:lnTo>
                      <a:pt x="967941" y="901200"/>
                    </a:lnTo>
                    <a:lnTo>
                      <a:pt x="954192" y="864811"/>
                    </a:lnTo>
                    <a:lnTo>
                      <a:pt x="954083" y="864591"/>
                    </a:lnTo>
                    <a:lnTo>
                      <a:pt x="953918" y="864426"/>
                    </a:lnTo>
                    <a:lnTo>
                      <a:pt x="953753" y="864426"/>
                    </a:lnTo>
                    <a:cubicBezTo>
                      <a:pt x="953753" y="864426"/>
                      <a:pt x="953589" y="864426"/>
                      <a:pt x="953589" y="864426"/>
                    </a:cubicBezTo>
                    <a:lnTo>
                      <a:pt x="953451" y="864591"/>
                    </a:lnTo>
                    <a:lnTo>
                      <a:pt x="953342" y="864838"/>
                    </a:lnTo>
                    <a:lnTo>
                      <a:pt x="953287" y="865167"/>
                    </a:lnTo>
                    <a:lnTo>
                      <a:pt x="953287" y="865497"/>
                    </a:lnTo>
                    <a:cubicBezTo>
                      <a:pt x="953287" y="865497"/>
                      <a:pt x="953753" y="876529"/>
                      <a:pt x="953753" y="876529"/>
                    </a:cubicBezTo>
                    <a:lnTo>
                      <a:pt x="960861" y="910366"/>
                    </a:lnTo>
                    <a:lnTo>
                      <a:pt x="959818" y="916458"/>
                    </a:lnTo>
                    <a:lnTo>
                      <a:pt x="940471" y="908610"/>
                    </a:lnTo>
                    <a:lnTo>
                      <a:pt x="940306" y="908198"/>
                    </a:lnTo>
                    <a:lnTo>
                      <a:pt x="931991" y="888274"/>
                    </a:lnTo>
                    <a:lnTo>
                      <a:pt x="917309" y="882210"/>
                    </a:lnTo>
                    <a:lnTo>
                      <a:pt x="915745" y="883911"/>
                    </a:lnTo>
                    <a:lnTo>
                      <a:pt x="926393" y="897221"/>
                    </a:lnTo>
                    <a:lnTo>
                      <a:pt x="929055" y="907430"/>
                    </a:lnTo>
                    <a:lnTo>
                      <a:pt x="914153" y="915196"/>
                    </a:lnTo>
                    <a:lnTo>
                      <a:pt x="891266" y="899883"/>
                    </a:lnTo>
                    <a:lnTo>
                      <a:pt x="867445" y="873592"/>
                    </a:lnTo>
                    <a:lnTo>
                      <a:pt x="829052" y="846534"/>
                    </a:lnTo>
                    <a:lnTo>
                      <a:pt x="827214" y="841374"/>
                    </a:lnTo>
                    <a:lnTo>
                      <a:pt x="828119" y="830233"/>
                    </a:lnTo>
                    <a:lnTo>
                      <a:pt x="826116" y="824936"/>
                    </a:lnTo>
                    <a:lnTo>
                      <a:pt x="805259" y="833361"/>
                    </a:lnTo>
                    <a:lnTo>
                      <a:pt x="783360" y="826555"/>
                    </a:lnTo>
                    <a:lnTo>
                      <a:pt x="773178" y="817526"/>
                    </a:lnTo>
                    <a:lnTo>
                      <a:pt x="734566" y="813328"/>
                    </a:lnTo>
                    <a:lnTo>
                      <a:pt x="693072" y="817032"/>
                    </a:lnTo>
                    <a:lnTo>
                      <a:pt x="673176" y="797054"/>
                    </a:lnTo>
                    <a:lnTo>
                      <a:pt x="661623" y="796560"/>
                    </a:lnTo>
                    <a:lnTo>
                      <a:pt x="649603" y="791318"/>
                    </a:lnTo>
                    <a:lnTo>
                      <a:pt x="639312" y="780451"/>
                    </a:lnTo>
                    <a:lnTo>
                      <a:pt x="626715" y="773810"/>
                    </a:lnTo>
                    <a:lnTo>
                      <a:pt x="615903" y="760582"/>
                    </a:lnTo>
                    <a:lnTo>
                      <a:pt x="596940" y="760363"/>
                    </a:lnTo>
                    <a:lnTo>
                      <a:pt x="583987" y="766290"/>
                    </a:lnTo>
                    <a:lnTo>
                      <a:pt x="580584" y="755368"/>
                    </a:lnTo>
                    <a:lnTo>
                      <a:pt x="576110" y="759759"/>
                    </a:lnTo>
                    <a:lnTo>
                      <a:pt x="573037" y="771175"/>
                    </a:lnTo>
                    <a:lnTo>
                      <a:pt x="579623" y="788903"/>
                    </a:lnTo>
                    <a:lnTo>
                      <a:pt x="579102" y="802488"/>
                    </a:lnTo>
                    <a:lnTo>
                      <a:pt x="581599" y="814919"/>
                    </a:lnTo>
                    <a:lnTo>
                      <a:pt x="573119" y="813739"/>
                    </a:lnTo>
                    <a:lnTo>
                      <a:pt x="559453" y="820133"/>
                    </a:lnTo>
                    <a:lnTo>
                      <a:pt x="540929" y="817334"/>
                    </a:lnTo>
                    <a:lnTo>
                      <a:pt x="515983" y="845902"/>
                    </a:lnTo>
                    <a:lnTo>
                      <a:pt x="507777" y="847576"/>
                    </a:lnTo>
                    <a:lnTo>
                      <a:pt x="497953" y="856770"/>
                    </a:lnTo>
                    <a:lnTo>
                      <a:pt x="469385" y="860173"/>
                    </a:lnTo>
                    <a:lnTo>
                      <a:pt x="470345" y="853038"/>
                    </a:lnTo>
                    <a:lnTo>
                      <a:pt x="481542" y="840688"/>
                    </a:lnTo>
                    <a:lnTo>
                      <a:pt x="472623" y="825485"/>
                    </a:lnTo>
                    <a:lnTo>
                      <a:pt x="482310" y="795791"/>
                    </a:lnTo>
                    <a:lnTo>
                      <a:pt x="486262" y="776280"/>
                    </a:lnTo>
                    <a:lnTo>
                      <a:pt x="507640" y="760363"/>
                    </a:lnTo>
                    <a:lnTo>
                      <a:pt x="526686" y="760610"/>
                    </a:lnTo>
                    <a:lnTo>
                      <a:pt x="526741" y="748425"/>
                    </a:lnTo>
                    <a:lnTo>
                      <a:pt x="530061" y="737887"/>
                    </a:lnTo>
                    <a:lnTo>
                      <a:pt x="529293" y="735856"/>
                    </a:lnTo>
                    <a:lnTo>
                      <a:pt x="520346" y="741646"/>
                    </a:lnTo>
                    <a:lnTo>
                      <a:pt x="498639" y="745928"/>
                    </a:lnTo>
                    <a:lnTo>
                      <a:pt x="474901" y="764150"/>
                    </a:lnTo>
                    <a:lnTo>
                      <a:pt x="449982" y="799195"/>
                    </a:lnTo>
                    <a:lnTo>
                      <a:pt x="441146" y="820874"/>
                    </a:lnTo>
                    <a:lnTo>
                      <a:pt x="429620" y="834349"/>
                    </a:lnTo>
                    <a:lnTo>
                      <a:pt x="418451" y="840057"/>
                    </a:lnTo>
                    <a:lnTo>
                      <a:pt x="404619" y="860036"/>
                    </a:lnTo>
                    <a:lnTo>
                      <a:pt x="405141" y="870546"/>
                    </a:lnTo>
                    <a:lnTo>
                      <a:pt x="419219" y="879026"/>
                    </a:lnTo>
                    <a:lnTo>
                      <a:pt x="417408" y="893104"/>
                    </a:lnTo>
                    <a:lnTo>
                      <a:pt x="408379" y="902023"/>
                    </a:lnTo>
                    <a:lnTo>
                      <a:pt x="393779" y="924115"/>
                    </a:lnTo>
                    <a:lnTo>
                      <a:pt x="359036" y="947881"/>
                    </a:lnTo>
                    <a:lnTo>
                      <a:pt x="339909" y="964621"/>
                    </a:lnTo>
                    <a:lnTo>
                      <a:pt x="333542" y="978123"/>
                    </a:lnTo>
                    <a:lnTo>
                      <a:pt x="325803" y="987014"/>
                    </a:lnTo>
                    <a:lnTo>
                      <a:pt x="293173" y="1007487"/>
                    </a:lnTo>
                    <a:lnTo>
                      <a:pt x="291335" y="1013799"/>
                    </a:lnTo>
                    <a:lnTo>
                      <a:pt x="287548" y="1009490"/>
                    </a:lnTo>
                    <a:lnTo>
                      <a:pt x="276515" y="1017174"/>
                    </a:lnTo>
                    <a:lnTo>
                      <a:pt x="275281" y="1020495"/>
                    </a:lnTo>
                    <a:lnTo>
                      <a:pt x="277586" y="1028481"/>
                    </a:lnTo>
                    <a:lnTo>
                      <a:pt x="273606" y="1035726"/>
                    </a:lnTo>
                    <a:lnTo>
                      <a:pt x="248304" y="1048157"/>
                    </a:lnTo>
                    <a:lnTo>
                      <a:pt x="242020" y="1054442"/>
                    </a:lnTo>
                    <a:lnTo>
                      <a:pt x="233979" y="1049831"/>
                    </a:lnTo>
                    <a:lnTo>
                      <a:pt x="214467" y="1063937"/>
                    </a:lnTo>
                    <a:lnTo>
                      <a:pt x="193061" y="1071429"/>
                    </a:lnTo>
                    <a:lnTo>
                      <a:pt x="189000" y="1071100"/>
                    </a:lnTo>
                    <a:lnTo>
                      <a:pt x="186393" y="1064293"/>
                    </a:lnTo>
                    <a:lnTo>
                      <a:pt x="183237" y="1063278"/>
                    </a:lnTo>
                    <a:lnTo>
                      <a:pt x="167210" y="1085864"/>
                    </a:lnTo>
                    <a:lnTo>
                      <a:pt x="159608" y="1087236"/>
                    </a:lnTo>
                    <a:lnTo>
                      <a:pt x="152446" y="1081006"/>
                    </a:lnTo>
                    <a:lnTo>
                      <a:pt x="149125" y="1091490"/>
                    </a:lnTo>
                    <a:lnTo>
                      <a:pt x="138093" y="1091160"/>
                    </a:lnTo>
                    <a:lnTo>
                      <a:pt x="134965" y="1098488"/>
                    </a:lnTo>
                    <a:lnTo>
                      <a:pt x="125387" y="1108559"/>
                    </a:lnTo>
                    <a:lnTo>
                      <a:pt x="107631" y="1112868"/>
                    </a:lnTo>
                    <a:lnTo>
                      <a:pt x="94651" y="1120415"/>
                    </a:lnTo>
                    <a:lnTo>
                      <a:pt x="89162" y="1119619"/>
                    </a:lnTo>
                    <a:lnTo>
                      <a:pt x="87049" y="1115831"/>
                    </a:lnTo>
                    <a:lnTo>
                      <a:pt x="88449" y="1110178"/>
                    </a:lnTo>
                    <a:lnTo>
                      <a:pt x="100496" y="1096594"/>
                    </a:lnTo>
                    <a:lnTo>
                      <a:pt x="119542" y="1091105"/>
                    </a:lnTo>
                    <a:lnTo>
                      <a:pt x="130491" y="1093081"/>
                    </a:lnTo>
                    <a:lnTo>
                      <a:pt x="135212" y="1086138"/>
                    </a:lnTo>
                    <a:lnTo>
                      <a:pt x="147671" y="1077823"/>
                    </a:lnTo>
                    <a:lnTo>
                      <a:pt x="163889" y="1056994"/>
                    </a:lnTo>
                    <a:lnTo>
                      <a:pt x="175992" y="1046950"/>
                    </a:lnTo>
                    <a:lnTo>
                      <a:pt x="195202" y="1043355"/>
                    </a:lnTo>
                    <a:lnTo>
                      <a:pt x="204642" y="1049612"/>
                    </a:lnTo>
                    <a:lnTo>
                      <a:pt x="215921" y="1048569"/>
                    </a:lnTo>
                    <a:lnTo>
                      <a:pt x="215647" y="1037043"/>
                    </a:lnTo>
                    <a:lnTo>
                      <a:pt x="221136" y="1024337"/>
                    </a:lnTo>
                    <a:lnTo>
                      <a:pt x="235214" y="1011191"/>
                    </a:lnTo>
                    <a:lnTo>
                      <a:pt x="253848" y="999364"/>
                    </a:lnTo>
                    <a:lnTo>
                      <a:pt x="266499" y="995851"/>
                    </a:lnTo>
                    <a:lnTo>
                      <a:pt x="270011" y="985313"/>
                    </a:lnTo>
                    <a:lnTo>
                      <a:pt x="275802" y="975955"/>
                    </a:lnTo>
                    <a:lnTo>
                      <a:pt x="296823" y="958034"/>
                    </a:lnTo>
                    <a:lnTo>
                      <a:pt x="299787" y="930564"/>
                    </a:lnTo>
                    <a:lnTo>
                      <a:pt x="302970" y="921892"/>
                    </a:lnTo>
                    <a:lnTo>
                      <a:pt x="302970" y="909076"/>
                    </a:lnTo>
                    <a:cubicBezTo>
                      <a:pt x="302970" y="909076"/>
                      <a:pt x="315237" y="888274"/>
                      <a:pt x="315237" y="888274"/>
                    </a:cubicBezTo>
                    <a:lnTo>
                      <a:pt x="314359" y="885365"/>
                    </a:lnTo>
                    <a:lnTo>
                      <a:pt x="282059" y="894367"/>
                    </a:lnTo>
                    <a:lnTo>
                      <a:pt x="275884" y="888439"/>
                    </a:lnTo>
                    <a:lnTo>
                      <a:pt x="272591" y="877819"/>
                    </a:lnTo>
                    <a:lnTo>
                      <a:pt x="266169" y="886271"/>
                    </a:lnTo>
                    <a:lnTo>
                      <a:pt x="263837" y="901996"/>
                    </a:lnTo>
                    <a:lnTo>
                      <a:pt x="259830" y="905975"/>
                    </a:lnTo>
                    <a:lnTo>
                      <a:pt x="241635" y="884926"/>
                    </a:lnTo>
                    <a:lnTo>
                      <a:pt x="230192" y="884679"/>
                    </a:lnTo>
                    <a:lnTo>
                      <a:pt x="216662" y="875513"/>
                    </a:lnTo>
                    <a:lnTo>
                      <a:pt x="177803" y="895519"/>
                    </a:lnTo>
                    <a:lnTo>
                      <a:pt x="176678" y="891842"/>
                    </a:lnTo>
                    <a:lnTo>
                      <a:pt x="177583" y="873949"/>
                    </a:lnTo>
                    <a:lnTo>
                      <a:pt x="172232" y="861463"/>
                    </a:lnTo>
                    <a:lnTo>
                      <a:pt x="175223" y="842582"/>
                    </a:lnTo>
                    <a:lnTo>
                      <a:pt x="161200" y="807757"/>
                    </a:lnTo>
                    <a:lnTo>
                      <a:pt x="159142" y="796258"/>
                    </a:lnTo>
                    <a:lnTo>
                      <a:pt x="156288" y="800265"/>
                    </a:lnTo>
                    <a:lnTo>
                      <a:pt x="154147" y="813300"/>
                    </a:lnTo>
                    <a:lnTo>
                      <a:pt x="149619" y="819475"/>
                    </a:lnTo>
                    <a:lnTo>
                      <a:pt x="131370" y="827076"/>
                    </a:lnTo>
                    <a:lnTo>
                      <a:pt x="110321" y="825540"/>
                    </a:lnTo>
                    <a:lnTo>
                      <a:pt x="97368" y="807565"/>
                    </a:lnTo>
                    <a:lnTo>
                      <a:pt x="77170" y="786543"/>
                    </a:lnTo>
                    <a:lnTo>
                      <a:pt x="81039" y="770352"/>
                    </a:lnTo>
                    <a:lnTo>
                      <a:pt x="79310" y="754627"/>
                    </a:lnTo>
                    <a:lnTo>
                      <a:pt x="74151" y="749468"/>
                    </a:lnTo>
                    <a:lnTo>
                      <a:pt x="64491" y="747272"/>
                    </a:lnTo>
                    <a:lnTo>
                      <a:pt x="52197" y="721970"/>
                    </a:lnTo>
                    <a:lnTo>
                      <a:pt x="54365" y="709922"/>
                    </a:lnTo>
                    <a:lnTo>
                      <a:pt x="60704" y="701388"/>
                    </a:lnTo>
                    <a:lnTo>
                      <a:pt x="64628" y="685855"/>
                    </a:lnTo>
                    <a:lnTo>
                      <a:pt x="81478" y="658412"/>
                    </a:lnTo>
                    <a:lnTo>
                      <a:pt x="91632" y="631902"/>
                    </a:lnTo>
                    <a:lnTo>
                      <a:pt x="99014" y="621529"/>
                    </a:lnTo>
                    <a:lnTo>
                      <a:pt x="112571" y="617988"/>
                    </a:lnTo>
                    <a:lnTo>
                      <a:pt x="136392" y="627648"/>
                    </a:lnTo>
                    <a:lnTo>
                      <a:pt x="144131" y="622736"/>
                    </a:lnTo>
                    <a:lnTo>
                      <a:pt x="163149" y="600727"/>
                    </a:lnTo>
                    <a:lnTo>
                      <a:pt x="186667" y="601413"/>
                    </a:lnTo>
                    <a:lnTo>
                      <a:pt x="198715" y="593098"/>
                    </a:lnTo>
                    <a:lnTo>
                      <a:pt x="203435" y="583959"/>
                    </a:lnTo>
                    <a:lnTo>
                      <a:pt x="204258" y="573394"/>
                    </a:lnTo>
                    <a:lnTo>
                      <a:pt x="199456" y="553086"/>
                    </a:lnTo>
                    <a:lnTo>
                      <a:pt x="194488" y="542493"/>
                    </a:lnTo>
                    <a:lnTo>
                      <a:pt x="192073" y="535193"/>
                    </a:lnTo>
                    <a:lnTo>
                      <a:pt x="201898" y="525478"/>
                    </a:lnTo>
                    <a:lnTo>
                      <a:pt x="203490" y="520374"/>
                    </a:lnTo>
                    <a:lnTo>
                      <a:pt x="201651" y="513486"/>
                    </a:lnTo>
                    <a:lnTo>
                      <a:pt x="194351" y="508162"/>
                    </a:lnTo>
                    <a:lnTo>
                      <a:pt x="159142" y="527893"/>
                    </a:lnTo>
                    <a:lnTo>
                      <a:pt x="148384" y="540956"/>
                    </a:lnTo>
                    <a:lnTo>
                      <a:pt x="136995" y="527180"/>
                    </a:lnTo>
                    <a:lnTo>
                      <a:pt x="136392" y="534452"/>
                    </a:lnTo>
                    <a:lnTo>
                      <a:pt x="134471" y="536071"/>
                    </a:lnTo>
                    <a:lnTo>
                      <a:pt x="117182" y="528826"/>
                    </a:lnTo>
                    <a:lnTo>
                      <a:pt x="80024" y="535769"/>
                    </a:lnTo>
                    <a:lnTo>
                      <a:pt x="49946" y="527646"/>
                    </a:lnTo>
                    <a:lnTo>
                      <a:pt x="43360" y="520319"/>
                    </a:lnTo>
                    <a:lnTo>
                      <a:pt x="34578" y="497843"/>
                    </a:lnTo>
                    <a:lnTo>
                      <a:pt x="36499" y="483902"/>
                    </a:lnTo>
                    <a:lnTo>
                      <a:pt x="35594" y="478770"/>
                    </a:lnTo>
                    <a:lnTo>
                      <a:pt x="11828" y="468644"/>
                    </a:lnTo>
                    <a:lnTo>
                      <a:pt x="0" y="452782"/>
                    </a:lnTo>
                    <a:lnTo>
                      <a:pt x="37569" y="418999"/>
                    </a:lnTo>
                    <a:lnTo>
                      <a:pt x="57548" y="416804"/>
                    </a:lnTo>
                    <a:lnTo>
                      <a:pt x="65698" y="401381"/>
                    </a:lnTo>
                    <a:lnTo>
                      <a:pt x="96517" y="387358"/>
                    </a:lnTo>
                    <a:lnTo>
                      <a:pt x="114657" y="390047"/>
                    </a:lnTo>
                    <a:lnTo>
                      <a:pt x="117127" y="412358"/>
                    </a:lnTo>
                    <a:lnTo>
                      <a:pt x="127335" y="422567"/>
                    </a:lnTo>
                    <a:lnTo>
                      <a:pt x="170284" y="423335"/>
                    </a:lnTo>
                    <a:lnTo>
                      <a:pt x="187106" y="408489"/>
                    </a:lnTo>
                    <a:lnTo>
                      <a:pt x="187353" y="404372"/>
                    </a:lnTo>
                    <a:lnTo>
                      <a:pt x="180300" y="396798"/>
                    </a:lnTo>
                    <a:lnTo>
                      <a:pt x="181727" y="386452"/>
                    </a:lnTo>
                    <a:lnTo>
                      <a:pt x="174071" y="356539"/>
                    </a:lnTo>
                    <a:lnTo>
                      <a:pt x="143938" y="352340"/>
                    </a:lnTo>
                    <a:lnTo>
                      <a:pt x="126210" y="345480"/>
                    </a:lnTo>
                    <a:lnTo>
                      <a:pt x="105957" y="307828"/>
                    </a:lnTo>
                    <a:lnTo>
                      <a:pt x="45061" y="254973"/>
                    </a:lnTo>
                    <a:lnTo>
                      <a:pt x="42317" y="240016"/>
                    </a:lnTo>
                    <a:lnTo>
                      <a:pt x="49068" y="214577"/>
                    </a:lnTo>
                    <a:lnTo>
                      <a:pt x="115425" y="192293"/>
                    </a:lnTo>
                    <a:lnTo>
                      <a:pt x="132165" y="171464"/>
                    </a:lnTo>
                    <a:lnTo>
                      <a:pt x="145118" y="130656"/>
                    </a:lnTo>
                    <a:lnTo>
                      <a:pt x="167731" y="97478"/>
                    </a:lnTo>
                    <a:lnTo>
                      <a:pt x="199840" y="85265"/>
                    </a:lnTo>
                    <a:lnTo>
                      <a:pt x="242788" y="44238"/>
                    </a:lnTo>
                    <a:lnTo>
                      <a:pt x="289880" y="36252"/>
                    </a:lnTo>
                    <a:lnTo>
                      <a:pt x="329700" y="0"/>
                    </a:lnTo>
                    <a:lnTo>
                      <a:pt x="354454" y="14270"/>
                    </a:lnTo>
                    <a:lnTo>
                      <a:pt x="355085" y="20363"/>
                    </a:lnTo>
                    <a:lnTo>
                      <a:pt x="352066" y="316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6" name="Freeform: Shape 4185">
                <a:extLst>
                  <a:ext uri="{FF2B5EF4-FFF2-40B4-BE49-F238E27FC236}">
                    <a16:creationId xmlns:a16="http://schemas.microsoft.com/office/drawing/2014/main" id="{7E7055BB-FD7A-D31B-4901-8F62BA4AC4B2}"/>
                  </a:ext>
                </a:extLst>
              </p:cNvPr>
              <p:cNvSpPr/>
              <p:nvPr/>
            </p:nvSpPr>
            <p:spPr>
              <a:xfrm>
                <a:off x="890751" y="3621338"/>
                <a:ext cx="8458" cy="11140"/>
              </a:xfrm>
              <a:custGeom>
                <a:avLst/>
                <a:gdLst>
                  <a:gd name="connsiteX0" fmla="*/ 69458 w 81093"/>
                  <a:gd name="connsiteY0" fmla="*/ 467 h 106808"/>
                  <a:gd name="connsiteX1" fmla="*/ 66412 w 81093"/>
                  <a:gd name="connsiteY1" fmla="*/ 12981 h 106808"/>
                  <a:gd name="connsiteX2" fmla="*/ 71269 w 81093"/>
                  <a:gd name="connsiteY2" fmla="*/ 11115 h 106808"/>
                  <a:gd name="connsiteX3" fmla="*/ 74069 w 81093"/>
                  <a:gd name="connsiteY3" fmla="*/ 14819 h 106808"/>
                  <a:gd name="connsiteX4" fmla="*/ 76785 w 81093"/>
                  <a:gd name="connsiteY4" fmla="*/ 13447 h 106808"/>
                  <a:gd name="connsiteX5" fmla="*/ 75852 w 81093"/>
                  <a:gd name="connsiteY5" fmla="*/ 19594 h 106808"/>
                  <a:gd name="connsiteX6" fmla="*/ 79173 w 81093"/>
                  <a:gd name="connsiteY6" fmla="*/ 17509 h 106808"/>
                  <a:gd name="connsiteX7" fmla="*/ 80518 w 81093"/>
                  <a:gd name="connsiteY7" fmla="*/ 15341 h 106808"/>
                  <a:gd name="connsiteX8" fmla="*/ 81094 w 81093"/>
                  <a:gd name="connsiteY8" fmla="*/ 19622 h 106808"/>
                  <a:gd name="connsiteX9" fmla="*/ 77636 w 81093"/>
                  <a:gd name="connsiteY9" fmla="*/ 24918 h 106808"/>
                  <a:gd name="connsiteX10" fmla="*/ 73767 w 81093"/>
                  <a:gd name="connsiteY10" fmla="*/ 23327 h 106808"/>
                  <a:gd name="connsiteX11" fmla="*/ 72998 w 81093"/>
                  <a:gd name="connsiteY11" fmla="*/ 19622 h 106808"/>
                  <a:gd name="connsiteX12" fmla="*/ 70336 w 81093"/>
                  <a:gd name="connsiteY12" fmla="*/ 26400 h 106808"/>
                  <a:gd name="connsiteX13" fmla="*/ 62488 w 81093"/>
                  <a:gd name="connsiteY13" fmla="*/ 26647 h 106808"/>
                  <a:gd name="connsiteX14" fmla="*/ 58481 w 81093"/>
                  <a:gd name="connsiteY14" fmla="*/ 31724 h 106808"/>
                  <a:gd name="connsiteX15" fmla="*/ 53404 w 81093"/>
                  <a:gd name="connsiteY15" fmla="*/ 46982 h 106808"/>
                  <a:gd name="connsiteX16" fmla="*/ 54612 w 81093"/>
                  <a:gd name="connsiteY16" fmla="*/ 48657 h 106808"/>
                  <a:gd name="connsiteX17" fmla="*/ 56313 w 81093"/>
                  <a:gd name="connsiteY17" fmla="*/ 43442 h 106808"/>
                  <a:gd name="connsiteX18" fmla="*/ 66412 w 81093"/>
                  <a:gd name="connsiteY18" fmla="*/ 37130 h 106808"/>
                  <a:gd name="connsiteX19" fmla="*/ 68031 w 81093"/>
                  <a:gd name="connsiteY19" fmla="*/ 39655 h 106808"/>
                  <a:gd name="connsiteX20" fmla="*/ 67949 w 81093"/>
                  <a:gd name="connsiteY20" fmla="*/ 46159 h 106808"/>
                  <a:gd name="connsiteX21" fmla="*/ 66577 w 81093"/>
                  <a:gd name="connsiteY21" fmla="*/ 46982 h 106808"/>
                  <a:gd name="connsiteX22" fmla="*/ 67702 w 81093"/>
                  <a:gd name="connsiteY22" fmla="*/ 54859 h 106808"/>
                  <a:gd name="connsiteX23" fmla="*/ 74233 w 81093"/>
                  <a:gd name="connsiteY23" fmla="*/ 55298 h 106808"/>
                  <a:gd name="connsiteX24" fmla="*/ 74563 w 81093"/>
                  <a:gd name="connsiteY24" fmla="*/ 57027 h 106808"/>
                  <a:gd name="connsiteX25" fmla="*/ 69650 w 81093"/>
                  <a:gd name="connsiteY25" fmla="*/ 65232 h 106808"/>
                  <a:gd name="connsiteX26" fmla="*/ 59524 w 81093"/>
                  <a:gd name="connsiteY26" fmla="*/ 62872 h 106808"/>
                  <a:gd name="connsiteX27" fmla="*/ 59112 w 81093"/>
                  <a:gd name="connsiteY27" fmla="*/ 64601 h 106808"/>
                  <a:gd name="connsiteX28" fmla="*/ 61829 w 81093"/>
                  <a:gd name="connsiteY28" fmla="*/ 69019 h 106808"/>
                  <a:gd name="connsiteX29" fmla="*/ 56752 w 81093"/>
                  <a:gd name="connsiteY29" fmla="*/ 73959 h 106808"/>
                  <a:gd name="connsiteX30" fmla="*/ 55215 w 81093"/>
                  <a:gd name="connsiteY30" fmla="*/ 73959 h 106808"/>
                  <a:gd name="connsiteX31" fmla="*/ 52361 w 81093"/>
                  <a:gd name="connsiteY31" fmla="*/ 70748 h 106808"/>
                  <a:gd name="connsiteX32" fmla="*/ 50523 w 81093"/>
                  <a:gd name="connsiteY32" fmla="*/ 71763 h 106808"/>
                  <a:gd name="connsiteX33" fmla="*/ 51867 w 81093"/>
                  <a:gd name="connsiteY33" fmla="*/ 73959 h 106808"/>
                  <a:gd name="connsiteX34" fmla="*/ 49480 w 81093"/>
                  <a:gd name="connsiteY34" fmla="*/ 78268 h 106808"/>
                  <a:gd name="connsiteX35" fmla="*/ 51758 w 81093"/>
                  <a:gd name="connsiteY35" fmla="*/ 80628 h 106808"/>
                  <a:gd name="connsiteX36" fmla="*/ 51675 w 81093"/>
                  <a:gd name="connsiteY36" fmla="*/ 82411 h 106808"/>
                  <a:gd name="connsiteX37" fmla="*/ 42454 w 81093"/>
                  <a:gd name="connsiteY37" fmla="*/ 88751 h 106808"/>
                  <a:gd name="connsiteX38" fmla="*/ 40122 w 81093"/>
                  <a:gd name="connsiteY38" fmla="*/ 85101 h 106808"/>
                  <a:gd name="connsiteX39" fmla="*/ 40533 w 81093"/>
                  <a:gd name="connsiteY39" fmla="*/ 79420 h 106808"/>
                  <a:gd name="connsiteX40" fmla="*/ 33920 w 81093"/>
                  <a:gd name="connsiteY40" fmla="*/ 84936 h 106808"/>
                  <a:gd name="connsiteX41" fmla="*/ 34057 w 81093"/>
                  <a:gd name="connsiteY41" fmla="*/ 90535 h 106808"/>
                  <a:gd name="connsiteX42" fmla="*/ 31532 w 81093"/>
                  <a:gd name="connsiteY42" fmla="*/ 92565 h 106808"/>
                  <a:gd name="connsiteX43" fmla="*/ 23409 w 81093"/>
                  <a:gd name="connsiteY43" fmla="*/ 101841 h 106808"/>
                  <a:gd name="connsiteX44" fmla="*/ 21488 w 81093"/>
                  <a:gd name="connsiteY44" fmla="*/ 102582 h 106808"/>
                  <a:gd name="connsiteX45" fmla="*/ 21570 w 81093"/>
                  <a:gd name="connsiteY45" fmla="*/ 106808 h 106808"/>
                  <a:gd name="connsiteX46" fmla="*/ 18634 w 81093"/>
                  <a:gd name="connsiteY46" fmla="*/ 104695 h 106808"/>
                  <a:gd name="connsiteX47" fmla="*/ 17948 w 81093"/>
                  <a:gd name="connsiteY47" fmla="*/ 102006 h 106808"/>
                  <a:gd name="connsiteX48" fmla="*/ 19457 w 81093"/>
                  <a:gd name="connsiteY48" fmla="*/ 97834 h 106808"/>
                  <a:gd name="connsiteX49" fmla="*/ 25906 w 81093"/>
                  <a:gd name="connsiteY49" fmla="*/ 91605 h 106808"/>
                  <a:gd name="connsiteX50" fmla="*/ 26235 w 81093"/>
                  <a:gd name="connsiteY50" fmla="*/ 88861 h 106808"/>
                  <a:gd name="connsiteX51" fmla="*/ 22915 w 81093"/>
                  <a:gd name="connsiteY51" fmla="*/ 90535 h 106808"/>
                  <a:gd name="connsiteX52" fmla="*/ 22915 w 81093"/>
                  <a:gd name="connsiteY52" fmla="*/ 85595 h 106808"/>
                  <a:gd name="connsiteX53" fmla="*/ 16768 w 81093"/>
                  <a:gd name="connsiteY53" fmla="*/ 92675 h 106808"/>
                  <a:gd name="connsiteX54" fmla="*/ 13365 w 81093"/>
                  <a:gd name="connsiteY54" fmla="*/ 93526 h 106808"/>
                  <a:gd name="connsiteX55" fmla="*/ 7025 w 81093"/>
                  <a:gd name="connsiteY55" fmla="*/ 89217 h 106808"/>
                  <a:gd name="connsiteX56" fmla="*/ 5543 w 81093"/>
                  <a:gd name="connsiteY56" fmla="*/ 78268 h 106808"/>
                  <a:gd name="connsiteX57" fmla="*/ 0 w 81093"/>
                  <a:gd name="connsiteY57" fmla="*/ 71846 h 106808"/>
                  <a:gd name="connsiteX58" fmla="*/ 1701 w 81093"/>
                  <a:gd name="connsiteY58" fmla="*/ 63942 h 106808"/>
                  <a:gd name="connsiteX59" fmla="*/ 12212 w 81093"/>
                  <a:gd name="connsiteY59" fmla="*/ 53980 h 106808"/>
                  <a:gd name="connsiteX60" fmla="*/ 20857 w 81093"/>
                  <a:gd name="connsiteY60" fmla="*/ 53541 h 106808"/>
                  <a:gd name="connsiteX61" fmla="*/ 23464 w 81093"/>
                  <a:gd name="connsiteY61" fmla="*/ 60155 h 106808"/>
                  <a:gd name="connsiteX62" fmla="*/ 26208 w 81093"/>
                  <a:gd name="connsiteY62" fmla="*/ 60100 h 106808"/>
                  <a:gd name="connsiteX63" fmla="*/ 26126 w 81093"/>
                  <a:gd name="connsiteY63" fmla="*/ 54200 h 106808"/>
                  <a:gd name="connsiteX64" fmla="*/ 27251 w 81093"/>
                  <a:gd name="connsiteY64" fmla="*/ 51565 h 106808"/>
                  <a:gd name="connsiteX65" fmla="*/ 24781 w 81093"/>
                  <a:gd name="connsiteY65" fmla="*/ 50138 h 106808"/>
                  <a:gd name="connsiteX66" fmla="*/ 24067 w 81093"/>
                  <a:gd name="connsiteY66" fmla="*/ 44924 h 106808"/>
                  <a:gd name="connsiteX67" fmla="*/ 27388 w 81093"/>
                  <a:gd name="connsiteY67" fmla="*/ 41000 h 106808"/>
                  <a:gd name="connsiteX68" fmla="*/ 31505 w 81093"/>
                  <a:gd name="connsiteY68" fmla="*/ 40835 h 106808"/>
                  <a:gd name="connsiteX69" fmla="*/ 34084 w 81093"/>
                  <a:gd name="connsiteY69" fmla="*/ 43964 h 106808"/>
                  <a:gd name="connsiteX70" fmla="*/ 35045 w 81093"/>
                  <a:gd name="connsiteY70" fmla="*/ 48903 h 106808"/>
                  <a:gd name="connsiteX71" fmla="*/ 36554 w 81093"/>
                  <a:gd name="connsiteY71" fmla="*/ 46955 h 106808"/>
                  <a:gd name="connsiteX72" fmla="*/ 39106 w 81093"/>
                  <a:gd name="connsiteY72" fmla="*/ 46516 h 106808"/>
                  <a:gd name="connsiteX73" fmla="*/ 38557 w 81093"/>
                  <a:gd name="connsiteY73" fmla="*/ 38448 h 106808"/>
                  <a:gd name="connsiteX74" fmla="*/ 44128 w 81093"/>
                  <a:gd name="connsiteY74" fmla="*/ 40478 h 106808"/>
                  <a:gd name="connsiteX75" fmla="*/ 43689 w 81093"/>
                  <a:gd name="connsiteY75" fmla="*/ 35539 h 106808"/>
                  <a:gd name="connsiteX76" fmla="*/ 45940 w 81093"/>
                  <a:gd name="connsiteY76" fmla="*/ 35154 h 106808"/>
                  <a:gd name="connsiteX77" fmla="*/ 46077 w 81093"/>
                  <a:gd name="connsiteY77" fmla="*/ 33234 h 106808"/>
                  <a:gd name="connsiteX78" fmla="*/ 41549 w 81093"/>
                  <a:gd name="connsiteY78" fmla="*/ 30270 h 106808"/>
                  <a:gd name="connsiteX79" fmla="*/ 41549 w 81093"/>
                  <a:gd name="connsiteY79" fmla="*/ 28404 h 106808"/>
                  <a:gd name="connsiteX80" fmla="*/ 48739 w 81093"/>
                  <a:gd name="connsiteY80" fmla="*/ 22668 h 106808"/>
                  <a:gd name="connsiteX81" fmla="*/ 48108 w 81093"/>
                  <a:gd name="connsiteY81" fmla="*/ 19594 h 106808"/>
                  <a:gd name="connsiteX82" fmla="*/ 55874 w 81093"/>
                  <a:gd name="connsiteY82" fmla="*/ 15231 h 106808"/>
                  <a:gd name="connsiteX83" fmla="*/ 63942 w 81093"/>
                  <a:gd name="connsiteY83" fmla="*/ 0 h 106808"/>
                  <a:gd name="connsiteX84" fmla="*/ 69595 w 81093"/>
                  <a:gd name="connsiteY84" fmla="*/ 494 h 10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81093" h="106808">
                    <a:moveTo>
                      <a:pt x="69458" y="467"/>
                    </a:moveTo>
                    <a:lnTo>
                      <a:pt x="66412" y="12981"/>
                    </a:lnTo>
                    <a:lnTo>
                      <a:pt x="71269" y="11115"/>
                    </a:lnTo>
                    <a:lnTo>
                      <a:pt x="74069" y="14819"/>
                    </a:lnTo>
                    <a:lnTo>
                      <a:pt x="76785" y="13447"/>
                    </a:lnTo>
                    <a:lnTo>
                      <a:pt x="75852" y="19594"/>
                    </a:lnTo>
                    <a:lnTo>
                      <a:pt x="79173" y="17509"/>
                    </a:lnTo>
                    <a:lnTo>
                      <a:pt x="80518" y="15341"/>
                    </a:lnTo>
                    <a:lnTo>
                      <a:pt x="81094" y="19622"/>
                    </a:lnTo>
                    <a:lnTo>
                      <a:pt x="77636" y="24918"/>
                    </a:lnTo>
                    <a:lnTo>
                      <a:pt x="73767" y="23327"/>
                    </a:lnTo>
                    <a:lnTo>
                      <a:pt x="72998" y="19622"/>
                    </a:lnTo>
                    <a:lnTo>
                      <a:pt x="70336" y="26400"/>
                    </a:lnTo>
                    <a:lnTo>
                      <a:pt x="62488" y="26647"/>
                    </a:lnTo>
                    <a:lnTo>
                      <a:pt x="58481" y="31724"/>
                    </a:lnTo>
                    <a:lnTo>
                      <a:pt x="53404" y="46982"/>
                    </a:lnTo>
                    <a:lnTo>
                      <a:pt x="54612" y="48657"/>
                    </a:lnTo>
                    <a:lnTo>
                      <a:pt x="56313" y="43442"/>
                    </a:lnTo>
                    <a:lnTo>
                      <a:pt x="66412" y="37130"/>
                    </a:lnTo>
                    <a:lnTo>
                      <a:pt x="68031" y="39655"/>
                    </a:lnTo>
                    <a:lnTo>
                      <a:pt x="67949" y="46159"/>
                    </a:lnTo>
                    <a:lnTo>
                      <a:pt x="66577" y="46982"/>
                    </a:lnTo>
                    <a:lnTo>
                      <a:pt x="67702" y="54859"/>
                    </a:lnTo>
                    <a:lnTo>
                      <a:pt x="74233" y="55298"/>
                    </a:lnTo>
                    <a:lnTo>
                      <a:pt x="74563" y="57027"/>
                    </a:lnTo>
                    <a:lnTo>
                      <a:pt x="69650" y="65232"/>
                    </a:lnTo>
                    <a:lnTo>
                      <a:pt x="59524" y="62872"/>
                    </a:lnTo>
                    <a:lnTo>
                      <a:pt x="59112" y="64601"/>
                    </a:lnTo>
                    <a:lnTo>
                      <a:pt x="61829" y="69019"/>
                    </a:lnTo>
                    <a:lnTo>
                      <a:pt x="56752" y="73959"/>
                    </a:lnTo>
                    <a:lnTo>
                      <a:pt x="55215" y="73959"/>
                    </a:lnTo>
                    <a:lnTo>
                      <a:pt x="52361" y="70748"/>
                    </a:lnTo>
                    <a:lnTo>
                      <a:pt x="50523" y="71763"/>
                    </a:lnTo>
                    <a:lnTo>
                      <a:pt x="51867" y="73959"/>
                    </a:lnTo>
                    <a:lnTo>
                      <a:pt x="49480" y="78268"/>
                    </a:lnTo>
                    <a:lnTo>
                      <a:pt x="51758" y="80628"/>
                    </a:lnTo>
                    <a:lnTo>
                      <a:pt x="51675" y="82411"/>
                    </a:lnTo>
                    <a:lnTo>
                      <a:pt x="42454" y="88751"/>
                    </a:lnTo>
                    <a:lnTo>
                      <a:pt x="40122" y="85101"/>
                    </a:lnTo>
                    <a:lnTo>
                      <a:pt x="40533" y="79420"/>
                    </a:lnTo>
                    <a:lnTo>
                      <a:pt x="33920" y="84936"/>
                    </a:lnTo>
                    <a:lnTo>
                      <a:pt x="34057" y="90535"/>
                    </a:lnTo>
                    <a:lnTo>
                      <a:pt x="31532" y="92565"/>
                    </a:lnTo>
                    <a:lnTo>
                      <a:pt x="23409" y="101841"/>
                    </a:lnTo>
                    <a:lnTo>
                      <a:pt x="21488" y="102582"/>
                    </a:lnTo>
                    <a:lnTo>
                      <a:pt x="21570" y="106808"/>
                    </a:lnTo>
                    <a:lnTo>
                      <a:pt x="18634" y="104695"/>
                    </a:lnTo>
                    <a:lnTo>
                      <a:pt x="17948" y="102006"/>
                    </a:lnTo>
                    <a:lnTo>
                      <a:pt x="19457" y="97834"/>
                    </a:lnTo>
                    <a:lnTo>
                      <a:pt x="25906" y="91605"/>
                    </a:lnTo>
                    <a:lnTo>
                      <a:pt x="26235" y="88861"/>
                    </a:lnTo>
                    <a:lnTo>
                      <a:pt x="22915" y="90535"/>
                    </a:lnTo>
                    <a:lnTo>
                      <a:pt x="22915" y="85595"/>
                    </a:lnTo>
                    <a:cubicBezTo>
                      <a:pt x="22915" y="85595"/>
                      <a:pt x="16768" y="92675"/>
                      <a:pt x="16768" y="92675"/>
                    </a:cubicBezTo>
                    <a:lnTo>
                      <a:pt x="13365" y="93526"/>
                    </a:lnTo>
                    <a:lnTo>
                      <a:pt x="7025" y="89217"/>
                    </a:lnTo>
                    <a:lnTo>
                      <a:pt x="5543" y="78268"/>
                    </a:lnTo>
                    <a:lnTo>
                      <a:pt x="0" y="71846"/>
                    </a:lnTo>
                    <a:lnTo>
                      <a:pt x="1701" y="63942"/>
                    </a:lnTo>
                    <a:lnTo>
                      <a:pt x="12212" y="53980"/>
                    </a:lnTo>
                    <a:lnTo>
                      <a:pt x="20857" y="53541"/>
                    </a:lnTo>
                    <a:lnTo>
                      <a:pt x="23464" y="60155"/>
                    </a:lnTo>
                    <a:lnTo>
                      <a:pt x="26208" y="60100"/>
                    </a:lnTo>
                    <a:lnTo>
                      <a:pt x="26126" y="54200"/>
                    </a:lnTo>
                    <a:lnTo>
                      <a:pt x="27251" y="51565"/>
                    </a:lnTo>
                    <a:lnTo>
                      <a:pt x="24781" y="50138"/>
                    </a:lnTo>
                    <a:lnTo>
                      <a:pt x="24067" y="44924"/>
                    </a:lnTo>
                    <a:lnTo>
                      <a:pt x="27388" y="41000"/>
                    </a:lnTo>
                    <a:lnTo>
                      <a:pt x="31505" y="40835"/>
                    </a:lnTo>
                    <a:lnTo>
                      <a:pt x="34084" y="43964"/>
                    </a:lnTo>
                    <a:lnTo>
                      <a:pt x="35045" y="48903"/>
                    </a:lnTo>
                    <a:lnTo>
                      <a:pt x="36554" y="46955"/>
                    </a:lnTo>
                    <a:lnTo>
                      <a:pt x="39106" y="46516"/>
                    </a:lnTo>
                    <a:lnTo>
                      <a:pt x="38557" y="38448"/>
                    </a:lnTo>
                    <a:lnTo>
                      <a:pt x="44128" y="40478"/>
                    </a:lnTo>
                    <a:lnTo>
                      <a:pt x="43689" y="35539"/>
                    </a:lnTo>
                    <a:lnTo>
                      <a:pt x="45940" y="35154"/>
                    </a:lnTo>
                    <a:lnTo>
                      <a:pt x="46077" y="33234"/>
                    </a:lnTo>
                    <a:lnTo>
                      <a:pt x="41549" y="30270"/>
                    </a:lnTo>
                    <a:lnTo>
                      <a:pt x="41549" y="28404"/>
                    </a:lnTo>
                    <a:cubicBezTo>
                      <a:pt x="41549" y="28404"/>
                      <a:pt x="48739" y="22668"/>
                      <a:pt x="48739" y="22668"/>
                    </a:cubicBezTo>
                    <a:lnTo>
                      <a:pt x="48108" y="19594"/>
                    </a:lnTo>
                    <a:lnTo>
                      <a:pt x="55874" y="15231"/>
                    </a:lnTo>
                    <a:lnTo>
                      <a:pt x="63942" y="0"/>
                    </a:lnTo>
                    <a:lnTo>
                      <a:pt x="69595" y="4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7" name="Freeform: Shape 4186">
                <a:extLst>
                  <a:ext uri="{FF2B5EF4-FFF2-40B4-BE49-F238E27FC236}">
                    <a16:creationId xmlns:a16="http://schemas.microsoft.com/office/drawing/2014/main" id="{59443E42-4B62-7D9C-10C6-7FB70F9F98A3}"/>
                  </a:ext>
                </a:extLst>
              </p:cNvPr>
              <p:cNvSpPr/>
              <p:nvPr/>
            </p:nvSpPr>
            <p:spPr>
              <a:xfrm>
                <a:off x="946498" y="3623193"/>
                <a:ext cx="5805" cy="11475"/>
              </a:xfrm>
              <a:custGeom>
                <a:avLst/>
                <a:gdLst>
                  <a:gd name="connsiteX0" fmla="*/ 14270 w 55654"/>
                  <a:gd name="connsiteY0" fmla="*/ 0 h 110018"/>
                  <a:gd name="connsiteX1" fmla="*/ 16795 w 55654"/>
                  <a:gd name="connsiteY1" fmla="*/ 2799 h 110018"/>
                  <a:gd name="connsiteX2" fmla="*/ 21680 w 55654"/>
                  <a:gd name="connsiteY2" fmla="*/ 2195 h 110018"/>
                  <a:gd name="connsiteX3" fmla="*/ 23217 w 55654"/>
                  <a:gd name="connsiteY3" fmla="*/ 2003 h 110018"/>
                  <a:gd name="connsiteX4" fmla="*/ 28596 w 55654"/>
                  <a:gd name="connsiteY4" fmla="*/ 6394 h 110018"/>
                  <a:gd name="connsiteX5" fmla="*/ 29419 w 55654"/>
                  <a:gd name="connsiteY5" fmla="*/ 12651 h 110018"/>
                  <a:gd name="connsiteX6" fmla="*/ 32438 w 55654"/>
                  <a:gd name="connsiteY6" fmla="*/ 11499 h 110018"/>
                  <a:gd name="connsiteX7" fmla="*/ 34990 w 55654"/>
                  <a:gd name="connsiteY7" fmla="*/ 10017 h 110018"/>
                  <a:gd name="connsiteX8" fmla="*/ 46763 w 55654"/>
                  <a:gd name="connsiteY8" fmla="*/ 18469 h 110018"/>
                  <a:gd name="connsiteX9" fmla="*/ 45994 w 55654"/>
                  <a:gd name="connsiteY9" fmla="*/ 27388 h 110018"/>
                  <a:gd name="connsiteX10" fmla="*/ 49370 w 55654"/>
                  <a:gd name="connsiteY10" fmla="*/ 39161 h 110018"/>
                  <a:gd name="connsiteX11" fmla="*/ 49507 w 55654"/>
                  <a:gd name="connsiteY11" fmla="*/ 56862 h 110018"/>
                  <a:gd name="connsiteX12" fmla="*/ 55462 w 55654"/>
                  <a:gd name="connsiteY12" fmla="*/ 84387 h 110018"/>
                  <a:gd name="connsiteX13" fmla="*/ 55654 w 55654"/>
                  <a:gd name="connsiteY13" fmla="*/ 106067 h 110018"/>
                  <a:gd name="connsiteX14" fmla="*/ 55654 w 55654"/>
                  <a:gd name="connsiteY14" fmla="*/ 110019 h 110018"/>
                  <a:gd name="connsiteX15" fmla="*/ 51318 w 55654"/>
                  <a:gd name="connsiteY15" fmla="*/ 109552 h 110018"/>
                  <a:gd name="connsiteX16" fmla="*/ 49836 w 55654"/>
                  <a:gd name="connsiteY16" fmla="*/ 106067 h 110018"/>
                  <a:gd name="connsiteX17" fmla="*/ 43662 w 55654"/>
                  <a:gd name="connsiteY17" fmla="*/ 91412 h 110018"/>
                  <a:gd name="connsiteX18" fmla="*/ 32794 w 55654"/>
                  <a:gd name="connsiteY18" fmla="*/ 81478 h 110018"/>
                  <a:gd name="connsiteX19" fmla="*/ 35676 w 55654"/>
                  <a:gd name="connsiteY19" fmla="*/ 70885 h 110018"/>
                  <a:gd name="connsiteX20" fmla="*/ 32465 w 55654"/>
                  <a:gd name="connsiteY20" fmla="*/ 65342 h 110018"/>
                  <a:gd name="connsiteX21" fmla="*/ 25824 w 55654"/>
                  <a:gd name="connsiteY21" fmla="*/ 70501 h 110018"/>
                  <a:gd name="connsiteX22" fmla="*/ 21707 w 55654"/>
                  <a:gd name="connsiteY22" fmla="*/ 70501 h 110018"/>
                  <a:gd name="connsiteX23" fmla="*/ 21707 w 55654"/>
                  <a:gd name="connsiteY23" fmla="*/ 68744 h 110018"/>
                  <a:gd name="connsiteX24" fmla="*/ 22640 w 55654"/>
                  <a:gd name="connsiteY24" fmla="*/ 64244 h 110018"/>
                  <a:gd name="connsiteX25" fmla="*/ 21954 w 55654"/>
                  <a:gd name="connsiteY25" fmla="*/ 50495 h 110018"/>
                  <a:gd name="connsiteX26" fmla="*/ 21707 w 55654"/>
                  <a:gd name="connsiteY26" fmla="*/ 50193 h 110018"/>
                  <a:gd name="connsiteX27" fmla="*/ 10758 w 55654"/>
                  <a:gd name="connsiteY27" fmla="*/ 37377 h 110018"/>
                  <a:gd name="connsiteX28" fmla="*/ 0 w 55654"/>
                  <a:gd name="connsiteY28" fmla="*/ 17317 h 110018"/>
                  <a:gd name="connsiteX29" fmla="*/ 4803 w 55654"/>
                  <a:gd name="connsiteY29" fmla="*/ 6092 h 110018"/>
                  <a:gd name="connsiteX30" fmla="*/ 11142 w 55654"/>
                  <a:gd name="connsiteY30" fmla="*/ 4830 h 110018"/>
                  <a:gd name="connsiteX31" fmla="*/ 14270 w 55654"/>
                  <a:gd name="connsiteY31" fmla="*/ 0 h 1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5654" h="110018">
                    <a:moveTo>
                      <a:pt x="14270" y="0"/>
                    </a:moveTo>
                    <a:lnTo>
                      <a:pt x="16795" y="2799"/>
                    </a:lnTo>
                    <a:lnTo>
                      <a:pt x="21680" y="2195"/>
                    </a:lnTo>
                    <a:lnTo>
                      <a:pt x="23217" y="2003"/>
                    </a:lnTo>
                    <a:lnTo>
                      <a:pt x="28596" y="6394"/>
                    </a:lnTo>
                    <a:lnTo>
                      <a:pt x="29419" y="12651"/>
                    </a:lnTo>
                    <a:lnTo>
                      <a:pt x="32438" y="11499"/>
                    </a:lnTo>
                    <a:lnTo>
                      <a:pt x="34990" y="10017"/>
                    </a:lnTo>
                    <a:lnTo>
                      <a:pt x="46763" y="18469"/>
                    </a:lnTo>
                    <a:lnTo>
                      <a:pt x="45994" y="27388"/>
                    </a:lnTo>
                    <a:lnTo>
                      <a:pt x="49370" y="39161"/>
                    </a:lnTo>
                    <a:lnTo>
                      <a:pt x="49507" y="56862"/>
                    </a:lnTo>
                    <a:lnTo>
                      <a:pt x="55462" y="84387"/>
                    </a:lnTo>
                    <a:lnTo>
                      <a:pt x="55654" y="106067"/>
                    </a:lnTo>
                    <a:lnTo>
                      <a:pt x="55654" y="110019"/>
                    </a:lnTo>
                    <a:cubicBezTo>
                      <a:pt x="55654" y="110019"/>
                      <a:pt x="51318" y="109552"/>
                      <a:pt x="51318" y="109552"/>
                    </a:cubicBezTo>
                    <a:lnTo>
                      <a:pt x="49836" y="106067"/>
                    </a:lnTo>
                    <a:lnTo>
                      <a:pt x="43662" y="91412"/>
                    </a:lnTo>
                    <a:lnTo>
                      <a:pt x="32794" y="81478"/>
                    </a:lnTo>
                    <a:lnTo>
                      <a:pt x="35676" y="70885"/>
                    </a:lnTo>
                    <a:lnTo>
                      <a:pt x="32465" y="65342"/>
                    </a:lnTo>
                    <a:lnTo>
                      <a:pt x="25824" y="70501"/>
                    </a:lnTo>
                    <a:lnTo>
                      <a:pt x="21707" y="70501"/>
                    </a:lnTo>
                    <a:cubicBezTo>
                      <a:pt x="21707" y="70501"/>
                      <a:pt x="21707" y="68744"/>
                      <a:pt x="21707" y="68744"/>
                    </a:cubicBezTo>
                    <a:lnTo>
                      <a:pt x="22640" y="64244"/>
                    </a:lnTo>
                    <a:lnTo>
                      <a:pt x="21954" y="50495"/>
                    </a:lnTo>
                    <a:lnTo>
                      <a:pt x="21707" y="50193"/>
                    </a:lnTo>
                    <a:lnTo>
                      <a:pt x="10758" y="37377"/>
                    </a:lnTo>
                    <a:lnTo>
                      <a:pt x="0" y="17317"/>
                    </a:lnTo>
                    <a:lnTo>
                      <a:pt x="4803" y="6092"/>
                    </a:lnTo>
                    <a:lnTo>
                      <a:pt x="11142" y="4830"/>
                    </a:lnTo>
                    <a:lnTo>
                      <a:pt x="1427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8" name="Freeform: Shape 4187">
                <a:extLst>
                  <a:ext uri="{FF2B5EF4-FFF2-40B4-BE49-F238E27FC236}">
                    <a16:creationId xmlns:a16="http://schemas.microsoft.com/office/drawing/2014/main" id="{D3BC4F2C-3855-CF80-24FC-B5E6150E0087}"/>
                  </a:ext>
                </a:extLst>
              </p:cNvPr>
              <p:cNvSpPr/>
              <p:nvPr/>
            </p:nvSpPr>
            <p:spPr>
              <a:xfrm>
                <a:off x="955039" y="3634213"/>
                <a:ext cx="5510" cy="8965"/>
              </a:xfrm>
              <a:custGeom>
                <a:avLst/>
                <a:gdLst>
                  <a:gd name="connsiteX0" fmla="*/ 21790 w 52827"/>
                  <a:gd name="connsiteY0" fmla="*/ 12459 h 85951"/>
                  <a:gd name="connsiteX1" fmla="*/ 36060 w 52827"/>
                  <a:gd name="connsiteY1" fmla="*/ 27031 h 85951"/>
                  <a:gd name="connsiteX2" fmla="*/ 44183 w 52827"/>
                  <a:gd name="connsiteY2" fmla="*/ 42537 h 85951"/>
                  <a:gd name="connsiteX3" fmla="*/ 43662 w 52827"/>
                  <a:gd name="connsiteY3" fmla="*/ 47531 h 85951"/>
                  <a:gd name="connsiteX4" fmla="*/ 49233 w 52827"/>
                  <a:gd name="connsiteY4" fmla="*/ 57850 h 85951"/>
                  <a:gd name="connsiteX5" fmla="*/ 51565 w 52827"/>
                  <a:gd name="connsiteY5" fmla="*/ 58728 h 85951"/>
                  <a:gd name="connsiteX6" fmla="*/ 52828 w 52827"/>
                  <a:gd name="connsiteY6" fmla="*/ 79118 h 85951"/>
                  <a:gd name="connsiteX7" fmla="*/ 50001 w 52827"/>
                  <a:gd name="connsiteY7" fmla="*/ 85485 h 85951"/>
                  <a:gd name="connsiteX8" fmla="*/ 42207 w 52827"/>
                  <a:gd name="connsiteY8" fmla="*/ 83564 h 85951"/>
                  <a:gd name="connsiteX9" fmla="*/ 39902 w 52827"/>
                  <a:gd name="connsiteY9" fmla="*/ 81231 h 85951"/>
                  <a:gd name="connsiteX10" fmla="*/ 40972 w 52827"/>
                  <a:gd name="connsiteY10" fmla="*/ 75852 h 85951"/>
                  <a:gd name="connsiteX11" fmla="*/ 36389 w 52827"/>
                  <a:gd name="connsiteY11" fmla="*/ 73959 h 85951"/>
                  <a:gd name="connsiteX12" fmla="*/ 34194 w 52827"/>
                  <a:gd name="connsiteY12" fmla="*/ 62844 h 85951"/>
                  <a:gd name="connsiteX13" fmla="*/ 28925 w 52827"/>
                  <a:gd name="connsiteY13" fmla="*/ 69760 h 85951"/>
                  <a:gd name="connsiteX14" fmla="*/ 22915 w 52827"/>
                  <a:gd name="connsiteY14" fmla="*/ 62103 h 85951"/>
                  <a:gd name="connsiteX15" fmla="*/ 22064 w 52827"/>
                  <a:gd name="connsiteY15" fmla="*/ 62899 h 85951"/>
                  <a:gd name="connsiteX16" fmla="*/ 22284 w 52827"/>
                  <a:gd name="connsiteY16" fmla="*/ 68415 h 85951"/>
                  <a:gd name="connsiteX17" fmla="*/ 25220 w 52827"/>
                  <a:gd name="connsiteY17" fmla="*/ 74124 h 85951"/>
                  <a:gd name="connsiteX18" fmla="*/ 29391 w 52827"/>
                  <a:gd name="connsiteY18" fmla="*/ 73492 h 85951"/>
                  <a:gd name="connsiteX19" fmla="*/ 32300 w 52827"/>
                  <a:gd name="connsiteY19" fmla="*/ 76977 h 85951"/>
                  <a:gd name="connsiteX20" fmla="*/ 30791 w 52827"/>
                  <a:gd name="connsiteY20" fmla="*/ 85210 h 85951"/>
                  <a:gd name="connsiteX21" fmla="*/ 29282 w 52827"/>
                  <a:gd name="connsiteY21" fmla="*/ 85951 h 85951"/>
                  <a:gd name="connsiteX22" fmla="*/ 18003 w 52827"/>
                  <a:gd name="connsiteY22" fmla="*/ 69678 h 85951"/>
                  <a:gd name="connsiteX23" fmla="*/ 15862 w 52827"/>
                  <a:gd name="connsiteY23" fmla="*/ 66165 h 85951"/>
                  <a:gd name="connsiteX24" fmla="*/ 15478 w 52827"/>
                  <a:gd name="connsiteY24" fmla="*/ 59579 h 85951"/>
                  <a:gd name="connsiteX25" fmla="*/ 10401 w 52827"/>
                  <a:gd name="connsiteY25" fmla="*/ 59414 h 85951"/>
                  <a:gd name="connsiteX26" fmla="*/ 9687 w 52827"/>
                  <a:gd name="connsiteY26" fmla="*/ 54831 h 85951"/>
                  <a:gd name="connsiteX27" fmla="*/ 13282 w 52827"/>
                  <a:gd name="connsiteY27" fmla="*/ 52745 h 85951"/>
                  <a:gd name="connsiteX28" fmla="*/ 12185 w 52827"/>
                  <a:gd name="connsiteY28" fmla="*/ 49617 h 85951"/>
                  <a:gd name="connsiteX29" fmla="*/ 13529 w 52827"/>
                  <a:gd name="connsiteY29" fmla="*/ 46186 h 85951"/>
                  <a:gd name="connsiteX30" fmla="*/ 15697 w 52827"/>
                  <a:gd name="connsiteY30" fmla="*/ 47257 h 85951"/>
                  <a:gd name="connsiteX31" fmla="*/ 16329 w 52827"/>
                  <a:gd name="connsiteY31" fmla="*/ 50961 h 85951"/>
                  <a:gd name="connsiteX32" fmla="*/ 20610 w 52827"/>
                  <a:gd name="connsiteY32" fmla="*/ 48437 h 85951"/>
                  <a:gd name="connsiteX33" fmla="*/ 20719 w 52827"/>
                  <a:gd name="connsiteY33" fmla="*/ 46735 h 85951"/>
                  <a:gd name="connsiteX34" fmla="*/ 15313 w 52827"/>
                  <a:gd name="connsiteY34" fmla="*/ 42125 h 85951"/>
                  <a:gd name="connsiteX35" fmla="*/ 10209 w 52827"/>
                  <a:gd name="connsiteY35" fmla="*/ 47229 h 85951"/>
                  <a:gd name="connsiteX36" fmla="*/ 9084 w 52827"/>
                  <a:gd name="connsiteY36" fmla="*/ 51291 h 85951"/>
                  <a:gd name="connsiteX37" fmla="*/ 5324 w 52827"/>
                  <a:gd name="connsiteY37" fmla="*/ 56587 h 85951"/>
                  <a:gd name="connsiteX38" fmla="*/ 2936 w 52827"/>
                  <a:gd name="connsiteY38" fmla="*/ 54968 h 85951"/>
                  <a:gd name="connsiteX39" fmla="*/ 4693 w 52827"/>
                  <a:gd name="connsiteY39" fmla="*/ 50550 h 85951"/>
                  <a:gd name="connsiteX40" fmla="*/ 1317 w 52827"/>
                  <a:gd name="connsiteY40" fmla="*/ 45253 h 85951"/>
                  <a:gd name="connsiteX41" fmla="*/ 1784 w 52827"/>
                  <a:gd name="connsiteY41" fmla="*/ 42811 h 85951"/>
                  <a:gd name="connsiteX42" fmla="*/ 4391 w 52827"/>
                  <a:gd name="connsiteY42" fmla="*/ 42701 h 85951"/>
                  <a:gd name="connsiteX43" fmla="*/ 5543 w 52827"/>
                  <a:gd name="connsiteY43" fmla="*/ 47586 h 85951"/>
                  <a:gd name="connsiteX44" fmla="*/ 11663 w 52827"/>
                  <a:gd name="connsiteY44" fmla="*/ 40314 h 85951"/>
                  <a:gd name="connsiteX45" fmla="*/ 9056 w 52827"/>
                  <a:gd name="connsiteY45" fmla="*/ 33453 h 85951"/>
                  <a:gd name="connsiteX46" fmla="*/ 4967 w 52827"/>
                  <a:gd name="connsiteY46" fmla="*/ 37322 h 85951"/>
                  <a:gd name="connsiteX47" fmla="*/ 2881 w 52827"/>
                  <a:gd name="connsiteY47" fmla="*/ 29885 h 85951"/>
                  <a:gd name="connsiteX48" fmla="*/ 4940 w 52827"/>
                  <a:gd name="connsiteY48" fmla="*/ 28157 h 85951"/>
                  <a:gd name="connsiteX49" fmla="*/ 9715 w 52827"/>
                  <a:gd name="connsiteY49" fmla="*/ 29776 h 85951"/>
                  <a:gd name="connsiteX50" fmla="*/ 12212 w 52827"/>
                  <a:gd name="connsiteY50" fmla="*/ 28239 h 85951"/>
                  <a:gd name="connsiteX51" fmla="*/ 11691 w 52827"/>
                  <a:gd name="connsiteY51" fmla="*/ 25742 h 85951"/>
                  <a:gd name="connsiteX52" fmla="*/ 7547 w 52827"/>
                  <a:gd name="connsiteY52" fmla="*/ 20225 h 85951"/>
                  <a:gd name="connsiteX53" fmla="*/ 2497 w 52827"/>
                  <a:gd name="connsiteY53" fmla="*/ 24726 h 85951"/>
                  <a:gd name="connsiteX54" fmla="*/ 0 w 52827"/>
                  <a:gd name="connsiteY54" fmla="*/ 21954 h 85951"/>
                  <a:gd name="connsiteX55" fmla="*/ 5351 w 52827"/>
                  <a:gd name="connsiteY55" fmla="*/ 10154 h 85951"/>
                  <a:gd name="connsiteX56" fmla="*/ 4062 w 52827"/>
                  <a:gd name="connsiteY56" fmla="*/ 7300 h 85951"/>
                  <a:gd name="connsiteX57" fmla="*/ 3403 w 52827"/>
                  <a:gd name="connsiteY57" fmla="*/ 2470 h 85951"/>
                  <a:gd name="connsiteX58" fmla="*/ 4720 w 52827"/>
                  <a:gd name="connsiteY58" fmla="*/ 0 h 85951"/>
                  <a:gd name="connsiteX59" fmla="*/ 16877 w 52827"/>
                  <a:gd name="connsiteY59" fmla="*/ 1921 h 85951"/>
                  <a:gd name="connsiteX60" fmla="*/ 17948 w 52827"/>
                  <a:gd name="connsiteY60" fmla="*/ 3320 h 85951"/>
                  <a:gd name="connsiteX61" fmla="*/ 21762 w 52827"/>
                  <a:gd name="connsiteY61" fmla="*/ 12459 h 8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2827" h="85951">
                    <a:moveTo>
                      <a:pt x="21790" y="12459"/>
                    </a:moveTo>
                    <a:lnTo>
                      <a:pt x="36060" y="27031"/>
                    </a:lnTo>
                    <a:lnTo>
                      <a:pt x="44183" y="42537"/>
                    </a:lnTo>
                    <a:lnTo>
                      <a:pt x="43662" y="47531"/>
                    </a:lnTo>
                    <a:lnTo>
                      <a:pt x="49233" y="57850"/>
                    </a:lnTo>
                    <a:lnTo>
                      <a:pt x="51565" y="58728"/>
                    </a:lnTo>
                    <a:lnTo>
                      <a:pt x="52828" y="79118"/>
                    </a:lnTo>
                    <a:lnTo>
                      <a:pt x="50001" y="85485"/>
                    </a:lnTo>
                    <a:lnTo>
                      <a:pt x="42207" y="83564"/>
                    </a:lnTo>
                    <a:lnTo>
                      <a:pt x="39902" y="81231"/>
                    </a:lnTo>
                    <a:lnTo>
                      <a:pt x="40972" y="75852"/>
                    </a:lnTo>
                    <a:lnTo>
                      <a:pt x="36389" y="73959"/>
                    </a:lnTo>
                    <a:lnTo>
                      <a:pt x="34194" y="62844"/>
                    </a:lnTo>
                    <a:lnTo>
                      <a:pt x="28925" y="69760"/>
                    </a:lnTo>
                    <a:lnTo>
                      <a:pt x="22915" y="62103"/>
                    </a:lnTo>
                    <a:lnTo>
                      <a:pt x="22064" y="62899"/>
                    </a:lnTo>
                    <a:lnTo>
                      <a:pt x="22284" y="68415"/>
                    </a:lnTo>
                    <a:lnTo>
                      <a:pt x="25220" y="74124"/>
                    </a:lnTo>
                    <a:lnTo>
                      <a:pt x="29391" y="73492"/>
                    </a:lnTo>
                    <a:lnTo>
                      <a:pt x="32300" y="76977"/>
                    </a:lnTo>
                    <a:lnTo>
                      <a:pt x="30791" y="85210"/>
                    </a:lnTo>
                    <a:lnTo>
                      <a:pt x="29282" y="85951"/>
                    </a:lnTo>
                    <a:lnTo>
                      <a:pt x="18003" y="69678"/>
                    </a:lnTo>
                    <a:lnTo>
                      <a:pt x="15862" y="66165"/>
                    </a:lnTo>
                    <a:lnTo>
                      <a:pt x="15478" y="59579"/>
                    </a:lnTo>
                    <a:lnTo>
                      <a:pt x="10401" y="59414"/>
                    </a:lnTo>
                    <a:lnTo>
                      <a:pt x="9687" y="54831"/>
                    </a:lnTo>
                    <a:lnTo>
                      <a:pt x="13282" y="52745"/>
                    </a:lnTo>
                    <a:lnTo>
                      <a:pt x="12185" y="49617"/>
                    </a:lnTo>
                    <a:lnTo>
                      <a:pt x="13529" y="46186"/>
                    </a:lnTo>
                    <a:lnTo>
                      <a:pt x="15697" y="47257"/>
                    </a:lnTo>
                    <a:lnTo>
                      <a:pt x="16329" y="50961"/>
                    </a:lnTo>
                    <a:lnTo>
                      <a:pt x="20610" y="48437"/>
                    </a:lnTo>
                    <a:lnTo>
                      <a:pt x="20719" y="46735"/>
                    </a:lnTo>
                    <a:lnTo>
                      <a:pt x="15313" y="42125"/>
                    </a:lnTo>
                    <a:lnTo>
                      <a:pt x="10209" y="47229"/>
                    </a:lnTo>
                    <a:lnTo>
                      <a:pt x="9084" y="51291"/>
                    </a:lnTo>
                    <a:lnTo>
                      <a:pt x="5324" y="56587"/>
                    </a:lnTo>
                    <a:lnTo>
                      <a:pt x="2936" y="54968"/>
                    </a:lnTo>
                    <a:lnTo>
                      <a:pt x="4693" y="50550"/>
                    </a:lnTo>
                    <a:lnTo>
                      <a:pt x="1317" y="45253"/>
                    </a:lnTo>
                    <a:lnTo>
                      <a:pt x="1784" y="42811"/>
                    </a:lnTo>
                    <a:lnTo>
                      <a:pt x="4391" y="42701"/>
                    </a:lnTo>
                    <a:lnTo>
                      <a:pt x="5543" y="47586"/>
                    </a:lnTo>
                    <a:lnTo>
                      <a:pt x="11663" y="40314"/>
                    </a:lnTo>
                    <a:lnTo>
                      <a:pt x="9056" y="33453"/>
                    </a:lnTo>
                    <a:lnTo>
                      <a:pt x="4967" y="37322"/>
                    </a:lnTo>
                    <a:lnTo>
                      <a:pt x="2881" y="29885"/>
                    </a:lnTo>
                    <a:lnTo>
                      <a:pt x="4940" y="28157"/>
                    </a:lnTo>
                    <a:lnTo>
                      <a:pt x="9715" y="29776"/>
                    </a:lnTo>
                    <a:lnTo>
                      <a:pt x="12212" y="28239"/>
                    </a:lnTo>
                    <a:lnTo>
                      <a:pt x="11691" y="25742"/>
                    </a:lnTo>
                    <a:lnTo>
                      <a:pt x="7547" y="20225"/>
                    </a:lnTo>
                    <a:lnTo>
                      <a:pt x="2497" y="24726"/>
                    </a:lnTo>
                    <a:lnTo>
                      <a:pt x="0" y="21954"/>
                    </a:lnTo>
                    <a:lnTo>
                      <a:pt x="5351" y="10154"/>
                    </a:lnTo>
                    <a:lnTo>
                      <a:pt x="4062" y="7300"/>
                    </a:lnTo>
                    <a:lnTo>
                      <a:pt x="3403" y="2470"/>
                    </a:lnTo>
                    <a:lnTo>
                      <a:pt x="4720" y="0"/>
                    </a:lnTo>
                    <a:lnTo>
                      <a:pt x="16877" y="1921"/>
                    </a:lnTo>
                    <a:lnTo>
                      <a:pt x="17948" y="3320"/>
                    </a:lnTo>
                    <a:lnTo>
                      <a:pt x="21762" y="124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9" name="Freeform: Shape 4188">
                <a:extLst>
                  <a:ext uri="{FF2B5EF4-FFF2-40B4-BE49-F238E27FC236}">
                    <a16:creationId xmlns:a16="http://schemas.microsoft.com/office/drawing/2014/main" id="{B35852DD-3B2D-2F73-1D76-2A9BCA614A76}"/>
                  </a:ext>
                </a:extLst>
              </p:cNvPr>
              <p:cNvSpPr/>
              <p:nvPr/>
            </p:nvSpPr>
            <p:spPr>
              <a:xfrm>
                <a:off x="838256" y="3588361"/>
                <a:ext cx="9540" cy="5719"/>
              </a:xfrm>
              <a:custGeom>
                <a:avLst/>
                <a:gdLst>
                  <a:gd name="connsiteX0" fmla="*/ 10867 w 91467"/>
                  <a:gd name="connsiteY0" fmla="*/ 10922 h 54831"/>
                  <a:gd name="connsiteX1" fmla="*/ 27333 w 91467"/>
                  <a:gd name="connsiteY1" fmla="*/ 13310 h 54831"/>
                  <a:gd name="connsiteX2" fmla="*/ 41796 w 91467"/>
                  <a:gd name="connsiteY2" fmla="*/ 5653 h 54831"/>
                  <a:gd name="connsiteX3" fmla="*/ 51895 w 91467"/>
                  <a:gd name="connsiteY3" fmla="*/ 14435 h 54831"/>
                  <a:gd name="connsiteX4" fmla="*/ 53020 w 91467"/>
                  <a:gd name="connsiteY4" fmla="*/ 19567 h 54831"/>
                  <a:gd name="connsiteX5" fmla="*/ 58454 w 91467"/>
                  <a:gd name="connsiteY5" fmla="*/ 22201 h 54831"/>
                  <a:gd name="connsiteX6" fmla="*/ 64299 w 91467"/>
                  <a:gd name="connsiteY6" fmla="*/ 23079 h 54831"/>
                  <a:gd name="connsiteX7" fmla="*/ 67592 w 91467"/>
                  <a:gd name="connsiteY7" fmla="*/ 26812 h 54831"/>
                  <a:gd name="connsiteX8" fmla="*/ 76264 w 91467"/>
                  <a:gd name="connsiteY8" fmla="*/ 28760 h 54831"/>
                  <a:gd name="connsiteX9" fmla="*/ 83152 w 91467"/>
                  <a:gd name="connsiteY9" fmla="*/ 28678 h 54831"/>
                  <a:gd name="connsiteX10" fmla="*/ 91056 w 91467"/>
                  <a:gd name="connsiteY10" fmla="*/ 31175 h 54831"/>
                  <a:gd name="connsiteX11" fmla="*/ 91467 w 91467"/>
                  <a:gd name="connsiteY11" fmla="*/ 35923 h 54831"/>
                  <a:gd name="connsiteX12" fmla="*/ 87516 w 91467"/>
                  <a:gd name="connsiteY12" fmla="*/ 41357 h 54831"/>
                  <a:gd name="connsiteX13" fmla="*/ 80984 w 91467"/>
                  <a:gd name="connsiteY13" fmla="*/ 39463 h 54831"/>
                  <a:gd name="connsiteX14" fmla="*/ 73629 w 91467"/>
                  <a:gd name="connsiteY14" fmla="*/ 39875 h 54831"/>
                  <a:gd name="connsiteX15" fmla="*/ 70117 w 91467"/>
                  <a:gd name="connsiteY15" fmla="*/ 44567 h 54831"/>
                  <a:gd name="connsiteX16" fmla="*/ 68086 w 91467"/>
                  <a:gd name="connsiteY16" fmla="*/ 45775 h 54831"/>
                  <a:gd name="connsiteX17" fmla="*/ 66549 w 91467"/>
                  <a:gd name="connsiteY17" fmla="*/ 49123 h 54831"/>
                  <a:gd name="connsiteX18" fmla="*/ 66906 w 91467"/>
                  <a:gd name="connsiteY18" fmla="*/ 52443 h 54831"/>
                  <a:gd name="connsiteX19" fmla="*/ 64464 w 91467"/>
                  <a:gd name="connsiteY19" fmla="*/ 54831 h 54831"/>
                  <a:gd name="connsiteX20" fmla="*/ 61253 w 91467"/>
                  <a:gd name="connsiteY20" fmla="*/ 53459 h 54831"/>
                  <a:gd name="connsiteX21" fmla="*/ 60731 w 91467"/>
                  <a:gd name="connsiteY21" fmla="*/ 49589 h 54831"/>
                  <a:gd name="connsiteX22" fmla="*/ 56340 w 91467"/>
                  <a:gd name="connsiteY22" fmla="*/ 41796 h 54831"/>
                  <a:gd name="connsiteX23" fmla="*/ 52800 w 91467"/>
                  <a:gd name="connsiteY23" fmla="*/ 39984 h 54831"/>
                  <a:gd name="connsiteX24" fmla="*/ 45665 w 91467"/>
                  <a:gd name="connsiteY24" fmla="*/ 38612 h 54831"/>
                  <a:gd name="connsiteX25" fmla="*/ 43387 w 91467"/>
                  <a:gd name="connsiteY25" fmla="*/ 32383 h 54831"/>
                  <a:gd name="connsiteX26" fmla="*/ 40835 w 91467"/>
                  <a:gd name="connsiteY26" fmla="*/ 29803 h 54831"/>
                  <a:gd name="connsiteX27" fmla="*/ 35950 w 91467"/>
                  <a:gd name="connsiteY27" fmla="*/ 26922 h 54831"/>
                  <a:gd name="connsiteX28" fmla="*/ 27416 w 91467"/>
                  <a:gd name="connsiteY28" fmla="*/ 23628 h 54831"/>
                  <a:gd name="connsiteX29" fmla="*/ 22284 w 91467"/>
                  <a:gd name="connsiteY29" fmla="*/ 23327 h 54831"/>
                  <a:gd name="connsiteX30" fmla="*/ 16548 w 91467"/>
                  <a:gd name="connsiteY30" fmla="*/ 26016 h 54831"/>
                  <a:gd name="connsiteX31" fmla="*/ 13063 w 91467"/>
                  <a:gd name="connsiteY31" fmla="*/ 29913 h 54831"/>
                  <a:gd name="connsiteX32" fmla="*/ 8507 w 91467"/>
                  <a:gd name="connsiteY32" fmla="*/ 29968 h 54831"/>
                  <a:gd name="connsiteX33" fmla="*/ 3156 w 91467"/>
                  <a:gd name="connsiteY33" fmla="*/ 26922 h 54831"/>
                  <a:gd name="connsiteX34" fmla="*/ 0 w 91467"/>
                  <a:gd name="connsiteY34" fmla="*/ 19347 h 54831"/>
                  <a:gd name="connsiteX35" fmla="*/ 329 w 91467"/>
                  <a:gd name="connsiteY35" fmla="*/ 14380 h 54831"/>
                  <a:gd name="connsiteX36" fmla="*/ 4034 w 91467"/>
                  <a:gd name="connsiteY36" fmla="*/ 0 h 54831"/>
                  <a:gd name="connsiteX37" fmla="*/ 10840 w 91467"/>
                  <a:gd name="connsiteY37" fmla="*/ 10867 h 54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1467" h="54831">
                    <a:moveTo>
                      <a:pt x="10867" y="10922"/>
                    </a:moveTo>
                    <a:lnTo>
                      <a:pt x="27333" y="13310"/>
                    </a:lnTo>
                    <a:lnTo>
                      <a:pt x="41796" y="5653"/>
                    </a:lnTo>
                    <a:lnTo>
                      <a:pt x="51895" y="14435"/>
                    </a:lnTo>
                    <a:lnTo>
                      <a:pt x="53020" y="19567"/>
                    </a:lnTo>
                    <a:lnTo>
                      <a:pt x="58454" y="22201"/>
                    </a:lnTo>
                    <a:lnTo>
                      <a:pt x="64299" y="23079"/>
                    </a:lnTo>
                    <a:lnTo>
                      <a:pt x="67592" y="26812"/>
                    </a:lnTo>
                    <a:lnTo>
                      <a:pt x="76264" y="28760"/>
                    </a:lnTo>
                    <a:lnTo>
                      <a:pt x="83152" y="28678"/>
                    </a:lnTo>
                    <a:lnTo>
                      <a:pt x="91056" y="31175"/>
                    </a:lnTo>
                    <a:lnTo>
                      <a:pt x="91467" y="35923"/>
                    </a:lnTo>
                    <a:lnTo>
                      <a:pt x="87516" y="41357"/>
                    </a:lnTo>
                    <a:lnTo>
                      <a:pt x="80984" y="39463"/>
                    </a:lnTo>
                    <a:lnTo>
                      <a:pt x="73629" y="39875"/>
                    </a:lnTo>
                    <a:lnTo>
                      <a:pt x="70117" y="44567"/>
                    </a:lnTo>
                    <a:lnTo>
                      <a:pt x="68086" y="45775"/>
                    </a:lnTo>
                    <a:lnTo>
                      <a:pt x="66549" y="49123"/>
                    </a:lnTo>
                    <a:lnTo>
                      <a:pt x="66906" y="52443"/>
                    </a:lnTo>
                    <a:lnTo>
                      <a:pt x="64464" y="54831"/>
                    </a:lnTo>
                    <a:lnTo>
                      <a:pt x="61253" y="53459"/>
                    </a:lnTo>
                    <a:lnTo>
                      <a:pt x="60731" y="49589"/>
                    </a:lnTo>
                    <a:lnTo>
                      <a:pt x="56340" y="41796"/>
                    </a:lnTo>
                    <a:lnTo>
                      <a:pt x="52800" y="39984"/>
                    </a:lnTo>
                    <a:lnTo>
                      <a:pt x="45665" y="38612"/>
                    </a:lnTo>
                    <a:lnTo>
                      <a:pt x="43387" y="32383"/>
                    </a:lnTo>
                    <a:lnTo>
                      <a:pt x="40835" y="29803"/>
                    </a:lnTo>
                    <a:lnTo>
                      <a:pt x="35950" y="26922"/>
                    </a:lnTo>
                    <a:lnTo>
                      <a:pt x="27416" y="23628"/>
                    </a:lnTo>
                    <a:lnTo>
                      <a:pt x="22284" y="23327"/>
                    </a:lnTo>
                    <a:lnTo>
                      <a:pt x="16548" y="26016"/>
                    </a:lnTo>
                    <a:lnTo>
                      <a:pt x="13063" y="29913"/>
                    </a:lnTo>
                    <a:lnTo>
                      <a:pt x="8507" y="29968"/>
                    </a:lnTo>
                    <a:lnTo>
                      <a:pt x="3156" y="26922"/>
                    </a:lnTo>
                    <a:lnTo>
                      <a:pt x="0" y="19347"/>
                    </a:lnTo>
                    <a:lnTo>
                      <a:pt x="329" y="14380"/>
                    </a:lnTo>
                    <a:lnTo>
                      <a:pt x="4034" y="0"/>
                    </a:lnTo>
                    <a:lnTo>
                      <a:pt x="10840" y="108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0" name="Freeform: Shape 4189">
                <a:extLst>
                  <a:ext uri="{FF2B5EF4-FFF2-40B4-BE49-F238E27FC236}">
                    <a16:creationId xmlns:a16="http://schemas.microsoft.com/office/drawing/2014/main" id="{EAB6D6DD-AEEC-27B3-04B7-A24E54C80C83}"/>
                  </a:ext>
                </a:extLst>
              </p:cNvPr>
              <p:cNvSpPr/>
              <p:nvPr/>
            </p:nvSpPr>
            <p:spPr>
              <a:xfrm>
                <a:off x="951381" y="3622583"/>
                <a:ext cx="3240" cy="7728"/>
              </a:xfrm>
              <a:custGeom>
                <a:avLst/>
                <a:gdLst>
                  <a:gd name="connsiteX0" fmla="*/ 24205 w 31065"/>
                  <a:gd name="connsiteY0" fmla="*/ 19128 h 74096"/>
                  <a:gd name="connsiteX1" fmla="*/ 30160 w 31065"/>
                  <a:gd name="connsiteY1" fmla="*/ 32520 h 74096"/>
                  <a:gd name="connsiteX2" fmla="*/ 29227 w 31065"/>
                  <a:gd name="connsiteY2" fmla="*/ 34551 h 74096"/>
                  <a:gd name="connsiteX3" fmla="*/ 22092 w 31065"/>
                  <a:gd name="connsiteY3" fmla="*/ 22229 h 74096"/>
                  <a:gd name="connsiteX4" fmla="*/ 20253 w 31065"/>
                  <a:gd name="connsiteY4" fmla="*/ 21625 h 74096"/>
                  <a:gd name="connsiteX5" fmla="*/ 19924 w 31065"/>
                  <a:gd name="connsiteY5" fmla="*/ 24287 h 74096"/>
                  <a:gd name="connsiteX6" fmla="*/ 29007 w 31065"/>
                  <a:gd name="connsiteY6" fmla="*/ 42784 h 74096"/>
                  <a:gd name="connsiteX7" fmla="*/ 31065 w 31065"/>
                  <a:gd name="connsiteY7" fmla="*/ 53404 h 74096"/>
                  <a:gd name="connsiteX8" fmla="*/ 13914 w 31065"/>
                  <a:gd name="connsiteY8" fmla="*/ 73382 h 74096"/>
                  <a:gd name="connsiteX9" fmla="*/ 11444 w 31065"/>
                  <a:gd name="connsiteY9" fmla="*/ 74096 h 74096"/>
                  <a:gd name="connsiteX10" fmla="*/ 10044 w 31065"/>
                  <a:gd name="connsiteY10" fmla="*/ 71599 h 74096"/>
                  <a:gd name="connsiteX11" fmla="*/ 10648 w 31065"/>
                  <a:gd name="connsiteY11" fmla="*/ 62378 h 74096"/>
                  <a:gd name="connsiteX12" fmla="*/ 13337 w 31065"/>
                  <a:gd name="connsiteY12" fmla="*/ 53377 h 74096"/>
                  <a:gd name="connsiteX13" fmla="*/ 8315 w 31065"/>
                  <a:gd name="connsiteY13" fmla="*/ 42674 h 74096"/>
                  <a:gd name="connsiteX14" fmla="*/ 7382 w 31065"/>
                  <a:gd name="connsiteY14" fmla="*/ 34331 h 74096"/>
                  <a:gd name="connsiteX15" fmla="*/ 4720 w 31065"/>
                  <a:gd name="connsiteY15" fmla="*/ 17124 h 74096"/>
                  <a:gd name="connsiteX16" fmla="*/ 576 w 31065"/>
                  <a:gd name="connsiteY16" fmla="*/ 6806 h 74096"/>
                  <a:gd name="connsiteX17" fmla="*/ 0 w 31065"/>
                  <a:gd name="connsiteY17" fmla="*/ 1811 h 74096"/>
                  <a:gd name="connsiteX18" fmla="*/ 714 w 31065"/>
                  <a:gd name="connsiteY18" fmla="*/ 0 h 74096"/>
                  <a:gd name="connsiteX19" fmla="*/ 5928 w 31065"/>
                  <a:gd name="connsiteY19" fmla="*/ 6778 h 74096"/>
                  <a:gd name="connsiteX20" fmla="*/ 8452 w 31065"/>
                  <a:gd name="connsiteY20" fmla="*/ 12185 h 74096"/>
                  <a:gd name="connsiteX21" fmla="*/ 20692 w 31065"/>
                  <a:gd name="connsiteY21" fmla="*/ 14133 h 74096"/>
                  <a:gd name="connsiteX22" fmla="*/ 24205 w 31065"/>
                  <a:gd name="connsiteY22" fmla="*/ 19073 h 7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65" h="74096">
                    <a:moveTo>
                      <a:pt x="24205" y="19128"/>
                    </a:moveTo>
                    <a:lnTo>
                      <a:pt x="30160" y="32520"/>
                    </a:lnTo>
                    <a:lnTo>
                      <a:pt x="29227" y="34551"/>
                    </a:lnTo>
                    <a:lnTo>
                      <a:pt x="22092" y="22229"/>
                    </a:lnTo>
                    <a:lnTo>
                      <a:pt x="20253" y="21625"/>
                    </a:lnTo>
                    <a:lnTo>
                      <a:pt x="19924" y="24287"/>
                    </a:lnTo>
                    <a:lnTo>
                      <a:pt x="29007" y="42784"/>
                    </a:lnTo>
                    <a:lnTo>
                      <a:pt x="31065" y="53404"/>
                    </a:lnTo>
                    <a:lnTo>
                      <a:pt x="13914" y="73382"/>
                    </a:lnTo>
                    <a:lnTo>
                      <a:pt x="11444" y="74096"/>
                    </a:lnTo>
                    <a:lnTo>
                      <a:pt x="10044" y="71599"/>
                    </a:lnTo>
                    <a:lnTo>
                      <a:pt x="10648" y="62378"/>
                    </a:lnTo>
                    <a:lnTo>
                      <a:pt x="13337" y="53377"/>
                    </a:lnTo>
                    <a:lnTo>
                      <a:pt x="8315" y="42674"/>
                    </a:lnTo>
                    <a:lnTo>
                      <a:pt x="7382" y="34331"/>
                    </a:lnTo>
                    <a:lnTo>
                      <a:pt x="4720" y="17124"/>
                    </a:lnTo>
                    <a:lnTo>
                      <a:pt x="576" y="6806"/>
                    </a:lnTo>
                    <a:lnTo>
                      <a:pt x="0" y="1811"/>
                    </a:lnTo>
                    <a:lnTo>
                      <a:pt x="714" y="0"/>
                    </a:lnTo>
                    <a:lnTo>
                      <a:pt x="5928" y="6778"/>
                    </a:lnTo>
                    <a:lnTo>
                      <a:pt x="8452" y="12185"/>
                    </a:lnTo>
                    <a:lnTo>
                      <a:pt x="20692" y="14133"/>
                    </a:lnTo>
                    <a:lnTo>
                      <a:pt x="24205" y="190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1" name="Freeform: Shape 4190">
                <a:extLst>
                  <a:ext uri="{FF2B5EF4-FFF2-40B4-BE49-F238E27FC236}">
                    <a16:creationId xmlns:a16="http://schemas.microsoft.com/office/drawing/2014/main" id="{684BBC0F-5DA3-FDA9-D9E0-479A77D0F298}"/>
                  </a:ext>
                </a:extLst>
              </p:cNvPr>
              <p:cNvSpPr/>
              <p:nvPr/>
            </p:nvSpPr>
            <p:spPr>
              <a:xfrm>
                <a:off x="850696" y="3646818"/>
                <a:ext cx="5032" cy="3913"/>
              </a:xfrm>
              <a:custGeom>
                <a:avLst/>
                <a:gdLst>
                  <a:gd name="connsiteX0" fmla="*/ 33398 w 48244"/>
                  <a:gd name="connsiteY0" fmla="*/ 0 h 37514"/>
                  <a:gd name="connsiteX1" fmla="*/ 34660 w 48244"/>
                  <a:gd name="connsiteY1" fmla="*/ 5955 h 37514"/>
                  <a:gd name="connsiteX2" fmla="*/ 40945 w 48244"/>
                  <a:gd name="connsiteY2" fmla="*/ 2360 h 37514"/>
                  <a:gd name="connsiteX3" fmla="*/ 44814 w 48244"/>
                  <a:gd name="connsiteY3" fmla="*/ 3979 h 37514"/>
                  <a:gd name="connsiteX4" fmla="*/ 38777 w 48244"/>
                  <a:gd name="connsiteY4" fmla="*/ 12267 h 37514"/>
                  <a:gd name="connsiteX5" fmla="*/ 39243 w 48244"/>
                  <a:gd name="connsiteY5" fmla="*/ 13831 h 37514"/>
                  <a:gd name="connsiteX6" fmla="*/ 48245 w 48244"/>
                  <a:gd name="connsiteY6" fmla="*/ 9824 h 37514"/>
                  <a:gd name="connsiteX7" fmla="*/ 47394 w 48244"/>
                  <a:gd name="connsiteY7" fmla="*/ 13145 h 37514"/>
                  <a:gd name="connsiteX8" fmla="*/ 40561 w 48244"/>
                  <a:gd name="connsiteY8" fmla="*/ 17426 h 37514"/>
                  <a:gd name="connsiteX9" fmla="*/ 37789 w 48244"/>
                  <a:gd name="connsiteY9" fmla="*/ 18359 h 37514"/>
                  <a:gd name="connsiteX10" fmla="*/ 33453 w 48244"/>
                  <a:gd name="connsiteY10" fmla="*/ 24095 h 37514"/>
                  <a:gd name="connsiteX11" fmla="*/ 8178 w 48244"/>
                  <a:gd name="connsiteY11" fmla="*/ 36471 h 37514"/>
                  <a:gd name="connsiteX12" fmla="*/ 3019 w 48244"/>
                  <a:gd name="connsiteY12" fmla="*/ 37514 h 37514"/>
                  <a:gd name="connsiteX13" fmla="*/ 0 w 48244"/>
                  <a:gd name="connsiteY13" fmla="*/ 35237 h 37514"/>
                  <a:gd name="connsiteX14" fmla="*/ 2497 w 48244"/>
                  <a:gd name="connsiteY14" fmla="*/ 31559 h 37514"/>
                  <a:gd name="connsiteX15" fmla="*/ 17289 w 48244"/>
                  <a:gd name="connsiteY15" fmla="*/ 25961 h 37514"/>
                  <a:gd name="connsiteX16" fmla="*/ 21598 w 48244"/>
                  <a:gd name="connsiteY16" fmla="*/ 17426 h 37514"/>
                  <a:gd name="connsiteX17" fmla="*/ 27717 w 48244"/>
                  <a:gd name="connsiteY17" fmla="*/ 15505 h 37514"/>
                  <a:gd name="connsiteX18" fmla="*/ 27717 w 48244"/>
                  <a:gd name="connsiteY18" fmla="*/ 13749 h 37514"/>
                  <a:gd name="connsiteX19" fmla="*/ 20253 w 48244"/>
                  <a:gd name="connsiteY19" fmla="*/ 10346 h 37514"/>
                  <a:gd name="connsiteX20" fmla="*/ 19375 w 48244"/>
                  <a:gd name="connsiteY20" fmla="*/ 8260 h 37514"/>
                  <a:gd name="connsiteX21" fmla="*/ 20857 w 48244"/>
                  <a:gd name="connsiteY21" fmla="*/ 4830 h 37514"/>
                  <a:gd name="connsiteX22" fmla="*/ 33480 w 48244"/>
                  <a:gd name="connsiteY22" fmla="*/ 0 h 37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244" h="37514">
                    <a:moveTo>
                      <a:pt x="33398" y="0"/>
                    </a:moveTo>
                    <a:lnTo>
                      <a:pt x="34660" y="5955"/>
                    </a:lnTo>
                    <a:lnTo>
                      <a:pt x="40945" y="2360"/>
                    </a:lnTo>
                    <a:lnTo>
                      <a:pt x="44814" y="3979"/>
                    </a:lnTo>
                    <a:lnTo>
                      <a:pt x="38777" y="12267"/>
                    </a:lnTo>
                    <a:lnTo>
                      <a:pt x="39243" y="13831"/>
                    </a:lnTo>
                    <a:lnTo>
                      <a:pt x="48245" y="9824"/>
                    </a:lnTo>
                    <a:lnTo>
                      <a:pt x="47394" y="13145"/>
                    </a:lnTo>
                    <a:lnTo>
                      <a:pt x="40561" y="17426"/>
                    </a:lnTo>
                    <a:lnTo>
                      <a:pt x="37789" y="18359"/>
                    </a:lnTo>
                    <a:lnTo>
                      <a:pt x="33453" y="24095"/>
                    </a:lnTo>
                    <a:lnTo>
                      <a:pt x="8178" y="36471"/>
                    </a:lnTo>
                    <a:lnTo>
                      <a:pt x="3019" y="37514"/>
                    </a:lnTo>
                    <a:lnTo>
                      <a:pt x="0" y="35237"/>
                    </a:lnTo>
                    <a:lnTo>
                      <a:pt x="2497" y="31559"/>
                    </a:lnTo>
                    <a:lnTo>
                      <a:pt x="17289" y="25961"/>
                    </a:lnTo>
                    <a:lnTo>
                      <a:pt x="21598" y="17426"/>
                    </a:lnTo>
                    <a:lnTo>
                      <a:pt x="27717" y="15505"/>
                    </a:lnTo>
                    <a:lnTo>
                      <a:pt x="27717" y="13749"/>
                    </a:lnTo>
                    <a:cubicBezTo>
                      <a:pt x="27717" y="13749"/>
                      <a:pt x="20253" y="10346"/>
                      <a:pt x="20253" y="10346"/>
                    </a:cubicBezTo>
                    <a:lnTo>
                      <a:pt x="19375" y="8260"/>
                    </a:lnTo>
                    <a:lnTo>
                      <a:pt x="20857" y="4830"/>
                    </a:lnTo>
                    <a:lnTo>
                      <a:pt x="3348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2" name="Freeform: Shape 4191">
                <a:extLst>
                  <a:ext uri="{FF2B5EF4-FFF2-40B4-BE49-F238E27FC236}">
                    <a16:creationId xmlns:a16="http://schemas.microsoft.com/office/drawing/2014/main" id="{EFF5CC9E-4D87-265D-3277-0159B4064029}"/>
                  </a:ext>
                </a:extLst>
              </p:cNvPr>
              <p:cNvSpPr/>
              <p:nvPr/>
            </p:nvSpPr>
            <p:spPr>
              <a:xfrm>
                <a:off x="851944" y="3610533"/>
                <a:ext cx="5407" cy="3933"/>
              </a:xfrm>
              <a:custGeom>
                <a:avLst/>
                <a:gdLst>
                  <a:gd name="connsiteX0" fmla="*/ 36005 w 51839"/>
                  <a:gd name="connsiteY0" fmla="*/ 27 h 37706"/>
                  <a:gd name="connsiteX1" fmla="*/ 38804 w 51839"/>
                  <a:gd name="connsiteY1" fmla="*/ 4446 h 37706"/>
                  <a:gd name="connsiteX2" fmla="*/ 45912 w 51839"/>
                  <a:gd name="connsiteY2" fmla="*/ 4089 h 37706"/>
                  <a:gd name="connsiteX3" fmla="*/ 49919 w 51839"/>
                  <a:gd name="connsiteY3" fmla="*/ 7300 h 37706"/>
                  <a:gd name="connsiteX4" fmla="*/ 50001 w 51839"/>
                  <a:gd name="connsiteY4" fmla="*/ 19951 h 37706"/>
                  <a:gd name="connsiteX5" fmla="*/ 51840 w 51839"/>
                  <a:gd name="connsiteY5" fmla="*/ 28157 h 37706"/>
                  <a:gd name="connsiteX6" fmla="*/ 40259 w 51839"/>
                  <a:gd name="connsiteY6" fmla="*/ 30407 h 37706"/>
                  <a:gd name="connsiteX7" fmla="*/ 36033 w 51839"/>
                  <a:gd name="connsiteY7" fmla="*/ 37707 h 37706"/>
                  <a:gd name="connsiteX8" fmla="*/ 33810 w 51839"/>
                  <a:gd name="connsiteY8" fmla="*/ 32987 h 37706"/>
                  <a:gd name="connsiteX9" fmla="*/ 22448 w 51839"/>
                  <a:gd name="connsiteY9" fmla="*/ 32053 h 37706"/>
                  <a:gd name="connsiteX10" fmla="*/ 7711 w 51839"/>
                  <a:gd name="connsiteY10" fmla="*/ 23601 h 37706"/>
                  <a:gd name="connsiteX11" fmla="*/ 1701 w 51839"/>
                  <a:gd name="connsiteY11" fmla="*/ 18716 h 37706"/>
                  <a:gd name="connsiteX12" fmla="*/ 0 w 51839"/>
                  <a:gd name="connsiteY12" fmla="*/ 13310 h 37706"/>
                  <a:gd name="connsiteX13" fmla="*/ 2223 w 51839"/>
                  <a:gd name="connsiteY13" fmla="*/ 10044 h 37706"/>
                  <a:gd name="connsiteX14" fmla="*/ 15149 w 51839"/>
                  <a:gd name="connsiteY14" fmla="*/ 10895 h 37706"/>
                  <a:gd name="connsiteX15" fmla="*/ 16246 w 51839"/>
                  <a:gd name="connsiteY15" fmla="*/ 7300 h 37706"/>
                  <a:gd name="connsiteX16" fmla="*/ 25961 w 51839"/>
                  <a:gd name="connsiteY16" fmla="*/ 1317 h 37706"/>
                  <a:gd name="connsiteX17" fmla="*/ 35978 w 51839"/>
                  <a:gd name="connsiteY17" fmla="*/ 0 h 37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839" h="37706">
                    <a:moveTo>
                      <a:pt x="36005" y="27"/>
                    </a:moveTo>
                    <a:lnTo>
                      <a:pt x="38804" y="4446"/>
                    </a:lnTo>
                    <a:lnTo>
                      <a:pt x="45912" y="4089"/>
                    </a:lnTo>
                    <a:lnTo>
                      <a:pt x="49919" y="7300"/>
                    </a:lnTo>
                    <a:lnTo>
                      <a:pt x="50001" y="19951"/>
                    </a:lnTo>
                    <a:lnTo>
                      <a:pt x="51840" y="28157"/>
                    </a:lnTo>
                    <a:lnTo>
                      <a:pt x="40259" y="30407"/>
                    </a:lnTo>
                    <a:lnTo>
                      <a:pt x="36033" y="37707"/>
                    </a:lnTo>
                    <a:lnTo>
                      <a:pt x="33810" y="32987"/>
                    </a:lnTo>
                    <a:lnTo>
                      <a:pt x="22448" y="32053"/>
                    </a:lnTo>
                    <a:lnTo>
                      <a:pt x="7711" y="23601"/>
                    </a:lnTo>
                    <a:lnTo>
                      <a:pt x="1701" y="18716"/>
                    </a:lnTo>
                    <a:lnTo>
                      <a:pt x="0" y="13310"/>
                    </a:lnTo>
                    <a:lnTo>
                      <a:pt x="2223" y="10044"/>
                    </a:lnTo>
                    <a:lnTo>
                      <a:pt x="15149" y="10895"/>
                    </a:lnTo>
                    <a:lnTo>
                      <a:pt x="16246" y="7300"/>
                    </a:lnTo>
                    <a:lnTo>
                      <a:pt x="25961" y="1317"/>
                    </a:lnTo>
                    <a:lnTo>
                      <a:pt x="3597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3" name="Freeform: Shape 4192">
                <a:extLst>
                  <a:ext uri="{FF2B5EF4-FFF2-40B4-BE49-F238E27FC236}">
                    <a16:creationId xmlns:a16="http://schemas.microsoft.com/office/drawing/2014/main" id="{87C5D98D-DEEA-DDE1-E96F-964CC83FE855}"/>
                  </a:ext>
                </a:extLst>
              </p:cNvPr>
              <p:cNvSpPr/>
              <p:nvPr/>
            </p:nvSpPr>
            <p:spPr>
              <a:xfrm>
                <a:off x="847284" y="3649228"/>
                <a:ext cx="3320" cy="3232"/>
              </a:xfrm>
              <a:custGeom>
                <a:avLst/>
                <a:gdLst>
                  <a:gd name="connsiteX0" fmla="*/ 11965 w 31833"/>
                  <a:gd name="connsiteY0" fmla="*/ 24863 h 30983"/>
                  <a:gd name="connsiteX1" fmla="*/ 686 w 31833"/>
                  <a:gd name="connsiteY1" fmla="*/ 30983 h 30983"/>
                  <a:gd name="connsiteX2" fmla="*/ 0 w 31833"/>
                  <a:gd name="connsiteY2" fmla="*/ 30132 h 30983"/>
                  <a:gd name="connsiteX3" fmla="*/ 3156 w 31833"/>
                  <a:gd name="connsiteY3" fmla="*/ 23436 h 30983"/>
                  <a:gd name="connsiteX4" fmla="*/ 2827 w 31833"/>
                  <a:gd name="connsiteY4" fmla="*/ 20143 h 30983"/>
                  <a:gd name="connsiteX5" fmla="*/ 7931 w 31833"/>
                  <a:gd name="connsiteY5" fmla="*/ 14188 h 30983"/>
                  <a:gd name="connsiteX6" fmla="*/ 15450 w 31833"/>
                  <a:gd name="connsiteY6" fmla="*/ 13584 h 30983"/>
                  <a:gd name="connsiteX7" fmla="*/ 15149 w 31833"/>
                  <a:gd name="connsiteY7" fmla="*/ 5324 h 30983"/>
                  <a:gd name="connsiteX8" fmla="*/ 22064 w 31833"/>
                  <a:gd name="connsiteY8" fmla="*/ 0 h 30983"/>
                  <a:gd name="connsiteX9" fmla="*/ 31834 w 31833"/>
                  <a:gd name="connsiteY9" fmla="*/ 1921 h 30983"/>
                  <a:gd name="connsiteX10" fmla="*/ 29968 w 31833"/>
                  <a:gd name="connsiteY10" fmla="*/ 8343 h 30983"/>
                  <a:gd name="connsiteX11" fmla="*/ 17426 w 31833"/>
                  <a:gd name="connsiteY11" fmla="*/ 16274 h 30983"/>
                  <a:gd name="connsiteX12" fmla="*/ 15533 w 31833"/>
                  <a:gd name="connsiteY12" fmla="*/ 20143 h 30983"/>
                  <a:gd name="connsiteX13" fmla="*/ 11993 w 31833"/>
                  <a:gd name="connsiteY13" fmla="*/ 24863 h 3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833" h="30983">
                    <a:moveTo>
                      <a:pt x="11965" y="24863"/>
                    </a:moveTo>
                    <a:lnTo>
                      <a:pt x="686" y="30983"/>
                    </a:lnTo>
                    <a:lnTo>
                      <a:pt x="0" y="30132"/>
                    </a:lnTo>
                    <a:lnTo>
                      <a:pt x="3156" y="23436"/>
                    </a:lnTo>
                    <a:lnTo>
                      <a:pt x="2827" y="20143"/>
                    </a:lnTo>
                    <a:lnTo>
                      <a:pt x="7931" y="14188"/>
                    </a:lnTo>
                    <a:lnTo>
                      <a:pt x="15450" y="13584"/>
                    </a:lnTo>
                    <a:lnTo>
                      <a:pt x="15149" y="5324"/>
                    </a:lnTo>
                    <a:lnTo>
                      <a:pt x="22064" y="0"/>
                    </a:lnTo>
                    <a:lnTo>
                      <a:pt x="31834" y="1921"/>
                    </a:lnTo>
                    <a:lnTo>
                      <a:pt x="29968" y="8343"/>
                    </a:lnTo>
                    <a:lnTo>
                      <a:pt x="17426" y="16274"/>
                    </a:lnTo>
                    <a:lnTo>
                      <a:pt x="15533" y="20143"/>
                    </a:lnTo>
                    <a:lnTo>
                      <a:pt x="11993" y="248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4" name="Freeform: Shape 4193">
                <a:extLst>
                  <a:ext uri="{FF2B5EF4-FFF2-40B4-BE49-F238E27FC236}">
                    <a16:creationId xmlns:a16="http://schemas.microsoft.com/office/drawing/2014/main" id="{F88C6891-8792-DF85-4C26-D3D73BDA5C20}"/>
                  </a:ext>
                </a:extLst>
              </p:cNvPr>
              <p:cNvSpPr/>
              <p:nvPr/>
            </p:nvSpPr>
            <p:spPr>
              <a:xfrm>
                <a:off x="911675" y="3610819"/>
                <a:ext cx="2891" cy="3598"/>
              </a:xfrm>
              <a:custGeom>
                <a:avLst/>
                <a:gdLst>
                  <a:gd name="connsiteX0" fmla="*/ 12569 w 27717"/>
                  <a:gd name="connsiteY0" fmla="*/ 29007 h 34495"/>
                  <a:gd name="connsiteX1" fmla="*/ 1235 w 27717"/>
                  <a:gd name="connsiteY1" fmla="*/ 34496 h 34495"/>
                  <a:gd name="connsiteX2" fmla="*/ 0 w 27717"/>
                  <a:gd name="connsiteY2" fmla="*/ 31395 h 34495"/>
                  <a:gd name="connsiteX3" fmla="*/ 14215 w 27717"/>
                  <a:gd name="connsiteY3" fmla="*/ 14270 h 34495"/>
                  <a:gd name="connsiteX4" fmla="*/ 20966 w 27717"/>
                  <a:gd name="connsiteY4" fmla="*/ 0 h 34495"/>
                  <a:gd name="connsiteX5" fmla="*/ 23162 w 27717"/>
                  <a:gd name="connsiteY5" fmla="*/ 0 h 34495"/>
                  <a:gd name="connsiteX6" fmla="*/ 27717 w 27717"/>
                  <a:gd name="connsiteY6" fmla="*/ 4748 h 34495"/>
                  <a:gd name="connsiteX7" fmla="*/ 17015 w 27717"/>
                  <a:gd name="connsiteY7" fmla="*/ 17125 h 34495"/>
                  <a:gd name="connsiteX8" fmla="*/ 12871 w 27717"/>
                  <a:gd name="connsiteY8" fmla="*/ 24561 h 34495"/>
                  <a:gd name="connsiteX9" fmla="*/ 12569 w 27717"/>
                  <a:gd name="connsiteY9" fmla="*/ 29035 h 3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717" h="34495">
                    <a:moveTo>
                      <a:pt x="12569" y="29007"/>
                    </a:moveTo>
                    <a:lnTo>
                      <a:pt x="1235" y="34496"/>
                    </a:lnTo>
                    <a:lnTo>
                      <a:pt x="0" y="31395"/>
                    </a:lnTo>
                    <a:lnTo>
                      <a:pt x="14215" y="14270"/>
                    </a:lnTo>
                    <a:lnTo>
                      <a:pt x="20966" y="0"/>
                    </a:lnTo>
                    <a:lnTo>
                      <a:pt x="23162" y="0"/>
                    </a:lnTo>
                    <a:lnTo>
                      <a:pt x="27717" y="4748"/>
                    </a:lnTo>
                    <a:lnTo>
                      <a:pt x="17015" y="17125"/>
                    </a:lnTo>
                    <a:lnTo>
                      <a:pt x="12871" y="24561"/>
                    </a:lnTo>
                    <a:lnTo>
                      <a:pt x="12569" y="290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5" name="Freeform: Shape 4194">
                <a:extLst>
                  <a:ext uri="{FF2B5EF4-FFF2-40B4-BE49-F238E27FC236}">
                    <a16:creationId xmlns:a16="http://schemas.microsoft.com/office/drawing/2014/main" id="{D114A661-7BC1-021A-2A8B-8E10FD2DFB04}"/>
                  </a:ext>
                </a:extLst>
              </p:cNvPr>
              <p:cNvSpPr/>
              <p:nvPr/>
            </p:nvSpPr>
            <p:spPr>
              <a:xfrm>
                <a:off x="828538" y="3655025"/>
                <a:ext cx="3111" cy="1958"/>
              </a:xfrm>
              <a:custGeom>
                <a:avLst/>
                <a:gdLst>
                  <a:gd name="connsiteX0" fmla="*/ 18689 w 29830"/>
                  <a:gd name="connsiteY0" fmla="*/ 14380 h 18770"/>
                  <a:gd name="connsiteX1" fmla="*/ 8535 w 29830"/>
                  <a:gd name="connsiteY1" fmla="*/ 18771 h 18770"/>
                  <a:gd name="connsiteX2" fmla="*/ 494 w 29830"/>
                  <a:gd name="connsiteY2" fmla="*/ 17783 h 18770"/>
                  <a:gd name="connsiteX3" fmla="*/ 0 w 29830"/>
                  <a:gd name="connsiteY3" fmla="*/ 16823 h 18770"/>
                  <a:gd name="connsiteX4" fmla="*/ 2497 w 29830"/>
                  <a:gd name="connsiteY4" fmla="*/ 14380 h 18770"/>
                  <a:gd name="connsiteX5" fmla="*/ 6367 w 29830"/>
                  <a:gd name="connsiteY5" fmla="*/ 15204 h 18770"/>
                  <a:gd name="connsiteX6" fmla="*/ 7794 w 29830"/>
                  <a:gd name="connsiteY6" fmla="*/ 14380 h 18770"/>
                  <a:gd name="connsiteX7" fmla="*/ 12294 w 29830"/>
                  <a:gd name="connsiteY7" fmla="*/ 14380 h 18770"/>
                  <a:gd name="connsiteX8" fmla="*/ 20939 w 29830"/>
                  <a:gd name="connsiteY8" fmla="*/ 8782 h 18770"/>
                  <a:gd name="connsiteX9" fmla="*/ 21131 w 29830"/>
                  <a:gd name="connsiteY9" fmla="*/ 1317 h 18770"/>
                  <a:gd name="connsiteX10" fmla="*/ 25138 w 29830"/>
                  <a:gd name="connsiteY10" fmla="*/ 0 h 18770"/>
                  <a:gd name="connsiteX11" fmla="*/ 29337 w 29830"/>
                  <a:gd name="connsiteY11" fmla="*/ 2497 h 18770"/>
                  <a:gd name="connsiteX12" fmla="*/ 29831 w 29830"/>
                  <a:gd name="connsiteY12" fmla="*/ 5324 h 18770"/>
                  <a:gd name="connsiteX13" fmla="*/ 23299 w 29830"/>
                  <a:gd name="connsiteY13" fmla="*/ 14408 h 18770"/>
                  <a:gd name="connsiteX14" fmla="*/ 18661 w 29830"/>
                  <a:gd name="connsiteY14" fmla="*/ 14408 h 1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830" h="18770">
                    <a:moveTo>
                      <a:pt x="18689" y="14380"/>
                    </a:moveTo>
                    <a:lnTo>
                      <a:pt x="8535" y="18771"/>
                    </a:lnTo>
                    <a:lnTo>
                      <a:pt x="494" y="17783"/>
                    </a:lnTo>
                    <a:lnTo>
                      <a:pt x="0" y="16823"/>
                    </a:lnTo>
                    <a:lnTo>
                      <a:pt x="2497" y="14380"/>
                    </a:lnTo>
                    <a:lnTo>
                      <a:pt x="6367" y="15204"/>
                    </a:lnTo>
                    <a:lnTo>
                      <a:pt x="7794" y="14380"/>
                    </a:lnTo>
                    <a:lnTo>
                      <a:pt x="12294" y="14380"/>
                    </a:lnTo>
                    <a:lnTo>
                      <a:pt x="20939" y="8782"/>
                    </a:lnTo>
                    <a:lnTo>
                      <a:pt x="21131" y="1317"/>
                    </a:lnTo>
                    <a:lnTo>
                      <a:pt x="25138" y="0"/>
                    </a:lnTo>
                    <a:lnTo>
                      <a:pt x="29337" y="2497"/>
                    </a:lnTo>
                    <a:lnTo>
                      <a:pt x="29831" y="5324"/>
                    </a:lnTo>
                    <a:lnTo>
                      <a:pt x="23299" y="14408"/>
                    </a:lnTo>
                    <a:lnTo>
                      <a:pt x="18661" y="144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6" name="Freeform: Shape 4195">
                <a:extLst>
                  <a:ext uri="{FF2B5EF4-FFF2-40B4-BE49-F238E27FC236}">
                    <a16:creationId xmlns:a16="http://schemas.microsoft.com/office/drawing/2014/main" id="{63D9DA0F-6E52-F462-373F-E7D155242F88}"/>
                  </a:ext>
                </a:extLst>
              </p:cNvPr>
              <p:cNvSpPr/>
              <p:nvPr/>
            </p:nvSpPr>
            <p:spPr>
              <a:xfrm>
                <a:off x="822513" y="3657174"/>
                <a:ext cx="2107" cy="1912"/>
              </a:xfrm>
              <a:custGeom>
                <a:avLst/>
                <a:gdLst>
                  <a:gd name="connsiteX0" fmla="*/ 3458 w 20198"/>
                  <a:gd name="connsiteY0" fmla="*/ 14956 h 18332"/>
                  <a:gd name="connsiteX1" fmla="*/ 878 w 20198"/>
                  <a:gd name="connsiteY1" fmla="*/ 18332 h 18332"/>
                  <a:gd name="connsiteX2" fmla="*/ 0 w 20198"/>
                  <a:gd name="connsiteY2" fmla="*/ 15450 h 18332"/>
                  <a:gd name="connsiteX3" fmla="*/ 2333 w 20198"/>
                  <a:gd name="connsiteY3" fmla="*/ 8096 h 18332"/>
                  <a:gd name="connsiteX4" fmla="*/ 5242 w 20198"/>
                  <a:gd name="connsiteY4" fmla="*/ 6449 h 18332"/>
                  <a:gd name="connsiteX5" fmla="*/ 6147 w 20198"/>
                  <a:gd name="connsiteY5" fmla="*/ 1098 h 18332"/>
                  <a:gd name="connsiteX6" fmla="*/ 11553 w 20198"/>
                  <a:gd name="connsiteY6" fmla="*/ 0 h 18332"/>
                  <a:gd name="connsiteX7" fmla="*/ 11032 w 20198"/>
                  <a:gd name="connsiteY7" fmla="*/ 6367 h 18332"/>
                  <a:gd name="connsiteX8" fmla="*/ 20198 w 20198"/>
                  <a:gd name="connsiteY8" fmla="*/ 7355 h 18332"/>
                  <a:gd name="connsiteX9" fmla="*/ 19100 w 20198"/>
                  <a:gd name="connsiteY9" fmla="*/ 10840 h 18332"/>
                  <a:gd name="connsiteX10" fmla="*/ 3458 w 20198"/>
                  <a:gd name="connsiteY10" fmla="*/ 14929 h 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98" h="18332">
                    <a:moveTo>
                      <a:pt x="3458" y="14956"/>
                    </a:moveTo>
                    <a:lnTo>
                      <a:pt x="878" y="18332"/>
                    </a:lnTo>
                    <a:lnTo>
                      <a:pt x="0" y="15450"/>
                    </a:lnTo>
                    <a:lnTo>
                      <a:pt x="2333" y="8096"/>
                    </a:lnTo>
                    <a:lnTo>
                      <a:pt x="5242" y="6449"/>
                    </a:lnTo>
                    <a:lnTo>
                      <a:pt x="6147" y="1098"/>
                    </a:lnTo>
                    <a:lnTo>
                      <a:pt x="11553" y="0"/>
                    </a:lnTo>
                    <a:lnTo>
                      <a:pt x="11032" y="6367"/>
                    </a:lnTo>
                    <a:lnTo>
                      <a:pt x="20198" y="7355"/>
                    </a:lnTo>
                    <a:lnTo>
                      <a:pt x="19100" y="10840"/>
                    </a:lnTo>
                    <a:lnTo>
                      <a:pt x="3458" y="149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7" name="Freeform: Shape 4196">
                <a:extLst>
                  <a:ext uri="{FF2B5EF4-FFF2-40B4-BE49-F238E27FC236}">
                    <a16:creationId xmlns:a16="http://schemas.microsoft.com/office/drawing/2014/main" id="{27B4B827-E3EC-2AEF-4F45-1E09D3E87DF3}"/>
                  </a:ext>
                </a:extLst>
              </p:cNvPr>
              <p:cNvSpPr/>
              <p:nvPr/>
            </p:nvSpPr>
            <p:spPr>
              <a:xfrm>
                <a:off x="834521" y="3609253"/>
                <a:ext cx="2064" cy="1760"/>
              </a:xfrm>
              <a:custGeom>
                <a:avLst/>
                <a:gdLst>
                  <a:gd name="connsiteX0" fmla="*/ 8288 w 19786"/>
                  <a:gd name="connsiteY0" fmla="*/ 9056 h 16877"/>
                  <a:gd name="connsiteX1" fmla="*/ 16027 w 19786"/>
                  <a:gd name="connsiteY1" fmla="*/ 13200 h 16877"/>
                  <a:gd name="connsiteX2" fmla="*/ 19622 w 19786"/>
                  <a:gd name="connsiteY2" fmla="*/ 12980 h 16877"/>
                  <a:gd name="connsiteX3" fmla="*/ 19786 w 19786"/>
                  <a:gd name="connsiteY3" fmla="*/ 15862 h 16877"/>
                  <a:gd name="connsiteX4" fmla="*/ 13392 w 19786"/>
                  <a:gd name="connsiteY4" fmla="*/ 16877 h 16877"/>
                  <a:gd name="connsiteX5" fmla="*/ 9385 w 19786"/>
                  <a:gd name="connsiteY5" fmla="*/ 14078 h 16877"/>
                  <a:gd name="connsiteX6" fmla="*/ 3430 w 19786"/>
                  <a:gd name="connsiteY6" fmla="*/ 7327 h 16877"/>
                  <a:gd name="connsiteX7" fmla="*/ 0 w 19786"/>
                  <a:gd name="connsiteY7" fmla="*/ 6120 h 16877"/>
                  <a:gd name="connsiteX8" fmla="*/ 659 w 19786"/>
                  <a:gd name="connsiteY8" fmla="*/ 2552 h 16877"/>
                  <a:gd name="connsiteX9" fmla="*/ 3183 w 19786"/>
                  <a:gd name="connsiteY9" fmla="*/ 0 h 16877"/>
                  <a:gd name="connsiteX10" fmla="*/ 5324 w 19786"/>
                  <a:gd name="connsiteY10" fmla="*/ 6175 h 16877"/>
                  <a:gd name="connsiteX11" fmla="*/ 8233 w 19786"/>
                  <a:gd name="connsiteY11" fmla="*/ 9056 h 1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86" h="16877">
                    <a:moveTo>
                      <a:pt x="8288" y="9056"/>
                    </a:moveTo>
                    <a:lnTo>
                      <a:pt x="16027" y="13200"/>
                    </a:lnTo>
                    <a:lnTo>
                      <a:pt x="19622" y="12980"/>
                    </a:lnTo>
                    <a:lnTo>
                      <a:pt x="19786" y="15862"/>
                    </a:lnTo>
                    <a:lnTo>
                      <a:pt x="13392" y="16877"/>
                    </a:lnTo>
                    <a:lnTo>
                      <a:pt x="9385" y="14078"/>
                    </a:lnTo>
                    <a:lnTo>
                      <a:pt x="3430" y="7327"/>
                    </a:lnTo>
                    <a:lnTo>
                      <a:pt x="0" y="6120"/>
                    </a:lnTo>
                    <a:lnTo>
                      <a:pt x="659" y="2552"/>
                    </a:lnTo>
                    <a:lnTo>
                      <a:pt x="3183" y="0"/>
                    </a:lnTo>
                    <a:lnTo>
                      <a:pt x="5324" y="6175"/>
                    </a:lnTo>
                    <a:lnTo>
                      <a:pt x="8233" y="90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8" name="Freeform: Shape 4197">
                <a:extLst>
                  <a:ext uri="{FF2B5EF4-FFF2-40B4-BE49-F238E27FC236}">
                    <a16:creationId xmlns:a16="http://schemas.microsoft.com/office/drawing/2014/main" id="{9B0EA46C-442B-9883-29DE-792EFD4708FF}"/>
                  </a:ext>
                </a:extLst>
              </p:cNvPr>
              <p:cNvSpPr/>
              <p:nvPr/>
            </p:nvSpPr>
            <p:spPr>
              <a:xfrm>
                <a:off x="866593" y="3565130"/>
                <a:ext cx="1732" cy="2484"/>
              </a:xfrm>
              <a:custGeom>
                <a:avLst/>
                <a:gdLst>
                  <a:gd name="connsiteX0" fmla="*/ 16603 w 16603"/>
                  <a:gd name="connsiteY0" fmla="*/ 12349 h 23820"/>
                  <a:gd name="connsiteX1" fmla="*/ 16301 w 16603"/>
                  <a:gd name="connsiteY1" fmla="*/ 23820 h 23820"/>
                  <a:gd name="connsiteX2" fmla="*/ 14023 w 16603"/>
                  <a:gd name="connsiteY2" fmla="*/ 20966 h 23820"/>
                  <a:gd name="connsiteX3" fmla="*/ 3540 w 16603"/>
                  <a:gd name="connsiteY3" fmla="*/ 14078 h 23820"/>
                  <a:gd name="connsiteX4" fmla="*/ 0 w 16603"/>
                  <a:gd name="connsiteY4" fmla="*/ 4857 h 23820"/>
                  <a:gd name="connsiteX5" fmla="*/ 2744 w 16603"/>
                  <a:gd name="connsiteY5" fmla="*/ 165 h 23820"/>
                  <a:gd name="connsiteX6" fmla="*/ 7821 w 16603"/>
                  <a:gd name="connsiteY6" fmla="*/ 0 h 23820"/>
                  <a:gd name="connsiteX7" fmla="*/ 14023 w 16603"/>
                  <a:gd name="connsiteY7" fmla="*/ 9468 h 23820"/>
                  <a:gd name="connsiteX8" fmla="*/ 16603 w 16603"/>
                  <a:gd name="connsiteY8" fmla="*/ 12377 h 2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03" h="23820">
                    <a:moveTo>
                      <a:pt x="16603" y="12349"/>
                    </a:moveTo>
                    <a:lnTo>
                      <a:pt x="16301" y="23820"/>
                    </a:lnTo>
                    <a:lnTo>
                      <a:pt x="14023" y="20966"/>
                    </a:lnTo>
                    <a:lnTo>
                      <a:pt x="3540" y="14078"/>
                    </a:lnTo>
                    <a:lnTo>
                      <a:pt x="0" y="4857"/>
                    </a:lnTo>
                    <a:lnTo>
                      <a:pt x="2744" y="165"/>
                    </a:lnTo>
                    <a:lnTo>
                      <a:pt x="7821" y="0"/>
                    </a:lnTo>
                    <a:lnTo>
                      <a:pt x="14023" y="9468"/>
                    </a:lnTo>
                    <a:lnTo>
                      <a:pt x="16603" y="123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9" name="Freeform: Shape 4198">
                <a:extLst>
                  <a:ext uri="{FF2B5EF4-FFF2-40B4-BE49-F238E27FC236}">
                    <a16:creationId xmlns:a16="http://schemas.microsoft.com/office/drawing/2014/main" id="{067F6DEF-9824-0DB0-F209-4A72ED43484E}"/>
                  </a:ext>
                </a:extLst>
              </p:cNvPr>
              <p:cNvSpPr/>
              <p:nvPr/>
            </p:nvSpPr>
            <p:spPr>
              <a:xfrm>
                <a:off x="915299" y="3609803"/>
                <a:ext cx="1886" cy="1686"/>
              </a:xfrm>
              <a:custGeom>
                <a:avLst/>
                <a:gdLst>
                  <a:gd name="connsiteX0" fmla="*/ 17563 w 18084"/>
                  <a:gd name="connsiteY0" fmla="*/ 0 h 16163"/>
                  <a:gd name="connsiteX1" fmla="*/ 18085 w 18084"/>
                  <a:gd name="connsiteY1" fmla="*/ 7437 h 16163"/>
                  <a:gd name="connsiteX2" fmla="*/ 15478 w 18084"/>
                  <a:gd name="connsiteY2" fmla="*/ 9825 h 16163"/>
                  <a:gd name="connsiteX3" fmla="*/ 10346 w 18084"/>
                  <a:gd name="connsiteY3" fmla="*/ 10977 h 16163"/>
                  <a:gd name="connsiteX4" fmla="*/ 3760 w 18084"/>
                  <a:gd name="connsiteY4" fmla="*/ 16164 h 16163"/>
                  <a:gd name="connsiteX5" fmla="*/ 2250 w 18084"/>
                  <a:gd name="connsiteY5" fmla="*/ 14819 h 16163"/>
                  <a:gd name="connsiteX6" fmla="*/ 3568 w 18084"/>
                  <a:gd name="connsiteY6" fmla="*/ 9825 h 16163"/>
                  <a:gd name="connsiteX7" fmla="*/ 0 w 18084"/>
                  <a:gd name="connsiteY7" fmla="*/ 9825 h 16163"/>
                  <a:gd name="connsiteX8" fmla="*/ 1894 w 18084"/>
                  <a:gd name="connsiteY8" fmla="*/ 4254 h 16163"/>
                  <a:gd name="connsiteX9" fmla="*/ 4857 w 18084"/>
                  <a:gd name="connsiteY9" fmla="*/ 1839 h 16163"/>
                  <a:gd name="connsiteX10" fmla="*/ 11718 w 18084"/>
                  <a:gd name="connsiteY10" fmla="*/ 5708 h 16163"/>
                  <a:gd name="connsiteX11" fmla="*/ 13337 w 18084"/>
                  <a:gd name="connsiteY11" fmla="*/ 220 h 16163"/>
                  <a:gd name="connsiteX12" fmla="*/ 17591 w 18084"/>
                  <a:gd name="connsiteY12" fmla="*/ 0 h 1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84" h="16163">
                    <a:moveTo>
                      <a:pt x="17563" y="0"/>
                    </a:moveTo>
                    <a:lnTo>
                      <a:pt x="18085" y="7437"/>
                    </a:lnTo>
                    <a:lnTo>
                      <a:pt x="15478" y="9825"/>
                    </a:lnTo>
                    <a:lnTo>
                      <a:pt x="10346" y="10977"/>
                    </a:lnTo>
                    <a:lnTo>
                      <a:pt x="3760" y="16164"/>
                    </a:lnTo>
                    <a:lnTo>
                      <a:pt x="2250" y="14819"/>
                    </a:lnTo>
                    <a:lnTo>
                      <a:pt x="3568" y="9825"/>
                    </a:lnTo>
                    <a:lnTo>
                      <a:pt x="0" y="9825"/>
                    </a:lnTo>
                    <a:lnTo>
                      <a:pt x="1894" y="4254"/>
                    </a:lnTo>
                    <a:lnTo>
                      <a:pt x="4857" y="1839"/>
                    </a:lnTo>
                    <a:lnTo>
                      <a:pt x="11718" y="5708"/>
                    </a:lnTo>
                    <a:lnTo>
                      <a:pt x="13337" y="220"/>
                    </a:lnTo>
                    <a:lnTo>
                      <a:pt x="17591"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0" name="Freeform: Shape 4199">
                <a:extLst>
                  <a:ext uri="{FF2B5EF4-FFF2-40B4-BE49-F238E27FC236}">
                    <a16:creationId xmlns:a16="http://schemas.microsoft.com/office/drawing/2014/main" id="{B5661E51-A976-63F7-17F7-2996885A9291}"/>
                  </a:ext>
                </a:extLst>
              </p:cNvPr>
              <p:cNvSpPr/>
              <p:nvPr/>
            </p:nvSpPr>
            <p:spPr>
              <a:xfrm>
                <a:off x="818652" y="3657455"/>
                <a:ext cx="1463" cy="1365"/>
              </a:xfrm>
              <a:custGeom>
                <a:avLst/>
                <a:gdLst>
                  <a:gd name="connsiteX0" fmla="*/ 10730 w 14023"/>
                  <a:gd name="connsiteY0" fmla="*/ 11636 h 13090"/>
                  <a:gd name="connsiteX1" fmla="*/ 8864 w 14023"/>
                  <a:gd name="connsiteY1" fmla="*/ 13090 h 13090"/>
                  <a:gd name="connsiteX2" fmla="*/ 3211 w 14023"/>
                  <a:gd name="connsiteY2" fmla="*/ 11691 h 13090"/>
                  <a:gd name="connsiteX3" fmla="*/ 3513 w 14023"/>
                  <a:gd name="connsiteY3" fmla="*/ 10236 h 13090"/>
                  <a:gd name="connsiteX4" fmla="*/ 7904 w 14023"/>
                  <a:gd name="connsiteY4" fmla="*/ 9687 h 13090"/>
                  <a:gd name="connsiteX5" fmla="*/ 7904 w 14023"/>
                  <a:gd name="connsiteY5" fmla="*/ 6943 h 13090"/>
                  <a:gd name="connsiteX6" fmla="*/ 5050 w 14023"/>
                  <a:gd name="connsiteY6" fmla="*/ 6504 h 13090"/>
                  <a:gd name="connsiteX7" fmla="*/ 0 w 14023"/>
                  <a:gd name="connsiteY7" fmla="*/ 2333 h 13090"/>
                  <a:gd name="connsiteX8" fmla="*/ 2936 w 14023"/>
                  <a:gd name="connsiteY8" fmla="*/ 0 h 13090"/>
                  <a:gd name="connsiteX9" fmla="*/ 8123 w 14023"/>
                  <a:gd name="connsiteY9" fmla="*/ 796 h 13090"/>
                  <a:gd name="connsiteX10" fmla="*/ 9084 w 14023"/>
                  <a:gd name="connsiteY10" fmla="*/ 3129 h 13090"/>
                  <a:gd name="connsiteX11" fmla="*/ 14023 w 14023"/>
                  <a:gd name="connsiteY11" fmla="*/ 4912 h 13090"/>
                  <a:gd name="connsiteX12" fmla="*/ 10758 w 14023"/>
                  <a:gd name="connsiteY12" fmla="*/ 11608 h 1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23" h="13090">
                    <a:moveTo>
                      <a:pt x="10730" y="11636"/>
                    </a:moveTo>
                    <a:lnTo>
                      <a:pt x="8864" y="13090"/>
                    </a:lnTo>
                    <a:lnTo>
                      <a:pt x="3211" y="11691"/>
                    </a:lnTo>
                    <a:lnTo>
                      <a:pt x="3513" y="10236"/>
                    </a:lnTo>
                    <a:lnTo>
                      <a:pt x="7904" y="9687"/>
                    </a:lnTo>
                    <a:lnTo>
                      <a:pt x="7904" y="6943"/>
                    </a:lnTo>
                    <a:cubicBezTo>
                      <a:pt x="7904" y="6943"/>
                      <a:pt x="5050" y="6504"/>
                      <a:pt x="5050" y="6504"/>
                    </a:cubicBezTo>
                    <a:lnTo>
                      <a:pt x="0" y="2333"/>
                    </a:lnTo>
                    <a:lnTo>
                      <a:pt x="2936" y="0"/>
                    </a:lnTo>
                    <a:lnTo>
                      <a:pt x="8123" y="796"/>
                    </a:lnTo>
                    <a:lnTo>
                      <a:pt x="9084" y="3129"/>
                    </a:lnTo>
                    <a:lnTo>
                      <a:pt x="14023" y="4912"/>
                    </a:lnTo>
                    <a:lnTo>
                      <a:pt x="10758" y="116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1" name="Freeform: Shape 4200">
                <a:extLst>
                  <a:ext uri="{FF2B5EF4-FFF2-40B4-BE49-F238E27FC236}">
                    <a16:creationId xmlns:a16="http://schemas.microsoft.com/office/drawing/2014/main" id="{DB27C4E0-30B9-07F2-08A9-99566F73D541}"/>
                  </a:ext>
                </a:extLst>
              </p:cNvPr>
              <p:cNvSpPr/>
              <p:nvPr/>
            </p:nvSpPr>
            <p:spPr>
              <a:xfrm>
                <a:off x="871971" y="3639465"/>
                <a:ext cx="1586" cy="1262"/>
              </a:xfrm>
              <a:custGeom>
                <a:avLst/>
                <a:gdLst>
                  <a:gd name="connsiteX0" fmla="*/ 15176 w 15203"/>
                  <a:gd name="connsiteY0" fmla="*/ 3897 h 12102"/>
                  <a:gd name="connsiteX1" fmla="*/ 14709 w 15203"/>
                  <a:gd name="connsiteY1" fmla="*/ 6586 h 12102"/>
                  <a:gd name="connsiteX2" fmla="*/ 8809 w 15203"/>
                  <a:gd name="connsiteY2" fmla="*/ 3979 h 12102"/>
                  <a:gd name="connsiteX3" fmla="*/ 8535 w 15203"/>
                  <a:gd name="connsiteY3" fmla="*/ 7355 h 12102"/>
                  <a:gd name="connsiteX4" fmla="*/ 10401 w 15203"/>
                  <a:gd name="connsiteY4" fmla="*/ 9138 h 12102"/>
                  <a:gd name="connsiteX5" fmla="*/ 7629 w 15203"/>
                  <a:gd name="connsiteY5" fmla="*/ 12102 h 12102"/>
                  <a:gd name="connsiteX6" fmla="*/ 3019 w 15203"/>
                  <a:gd name="connsiteY6" fmla="*/ 10264 h 12102"/>
                  <a:gd name="connsiteX7" fmla="*/ 1317 w 15203"/>
                  <a:gd name="connsiteY7" fmla="*/ 11279 h 12102"/>
                  <a:gd name="connsiteX8" fmla="*/ 0 w 15203"/>
                  <a:gd name="connsiteY8" fmla="*/ 9166 h 12102"/>
                  <a:gd name="connsiteX9" fmla="*/ 631 w 15203"/>
                  <a:gd name="connsiteY9" fmla="*/ 3156 h 12102"/>
                  <a:gd name="connsiteX10" fmla="*/ 3375 w 15203"/>
                  <a:gd name="connsiteY10" fmla="*/ 0 h 12102"/>
                  <a:gd name="connsiteX11" fmla="*/ 15203 w 15203"/>
                  <a:gd name="connsiteY11" fmla="*/ 3952 h 12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3" h="12102">
                    <a:moveTo>
                      <a:pt x="15176" y="3897"/>
                    </a:moveTo>
                    <a:lnTo>
                      <a:pt x="14709" y="6586"/>
                    </a:lnTo>
                    <a:lnTo>
                      <a:pt x="8809" y="3979"/>
                    </a:lnTo>
                    <a:lnTo>
                      <a:pt x="8535" y="7355"/>
                    </a:lnTo>
                    <a:lnTo>
                      <a:pt x="10401" y="9138"/>
                    </a:lnTo>
                    <a:lnTo>
                      <a:pt x="7629" y="12102"/>
                    </a:lnTo>
                    <a:lnTo>
                      <a:pt x="3019" y="10264"/>
                    </a:lnTo>
                    <a:lnTo>
                      <a:pt x="1317" y="11279"/>
                    </a:lnTo>
                    <a:lnTo>
                      <a:pt x="0" y="9166"/>
                    </a:lnTo>
                    <a:lnTo>
                      <a:pt x="631" y="3156"/>
                    </a:lnTo>
                    <a:lnTo>
                      <a:pt x="3375" y="0"/>
                    </a:lnTo>
                    <a:lnTo>
                      <a:pt x="15203" y="39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2" name="Freeform: Shape 4201">
                <a:extLst>
                  <a:ext uri="{FF2B5EF4-FFF2-40B4-BE49-F238E27FC236}">
                    <a16:creationId xmlns:a16="http://schemas.microsoft.com/office/drawing/2014/main" id="{1D9B893D-256A-AF73-159C-F1F650D9A21F}"/>
                  </a:ext>
                </a:extLst>
              </p:cNvPr>
              <p:cNvSpPr/>
              <p:nvPr/>
            </p:nvSpPr>
            <p:spPr>
              <a:xfrm>
                <a:off x="911723" y="3609634"/>
                <a:ext cx="904" cy="2230"/>
              </a:xfrm>
              <a:custGeom>
                <a:avLst/>
                <a:gdLst>
                  <a:gd name="connsiteX0" fmla="*/ 7492 w 8671"/>
                  <a:gd name="connsiteY0" fmla="*/ 11444 h 21378"/>
                  <a:gd name="connsiteX1" fmla="*/ 3211 w 8671"/>
                  <a:gd name="connsiteY1" fmla="*/ 21378 h 21378"/>
                  <a:gd name="connsiteX2" fmla="*/ 0 w 8671"/>
                  <a:gd name="connsiteY2" fmla="*/ 18277 h 21378"/>
                  <a:gd name="connsiteX3" fmla="*/ 1866 w 8671"/>
                  <a:gd name="connsiteY3" fmla="*/ 11471 h 21378"/>
                  <a:gd name="connsiteX4" fmla="*/ 2470 w 8671"/>
                  <a:gd name="connsiteY4" fmla="*/ 5845 h 21378"/>
                  <a:gd name="connsiteX5" fmla="*/ 7904 w 8671"/>
                  <a:gd name="connsiteY5" fmla="*/ 0 h 21378"/>
                  <a:gd name="connsiteX6" fmla="*/ 8672 w 8671"/>
                  <a:gd name="connsiteY6" fmla="*/ 1180 h 21378"/>
                  <a:gd name="connsiteX7" fmla="*/ 7492 w 8671"/>
                  <a:gd name="connsiteY7" fmla="*/ 11499 h 21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71" h="21378">
                    <a:moveTo>
                      <a:pt x="7492" y="11444"/>
                    </a:moveTo>
                    <a:lnTo>
                      <a:pt x="3211" y="21378"/>
                    </a:lnTo>
                    <a:lnTo>
                      <a:pt x="0" y="18277"/>
                    </a:lnTo>
                    <a:lnTo>
                      <a:pt x="1866" y="11471"/>
                    </a:lnTo>
                    <a:lnTo>
                      <a:pt x="2470" y="5845"/>
                    </a:lnTo>
                    <a:lnTo>
                      <a:pt x="7904" y="0"/>
                    </a:lnTo>
                    <a:lnTo>
                      <a:pt x="8672" y="1180"/>
                    </a:lnTo>
                    <a:lnTo>
                      <a:pt x="7492" y="114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3" name="Freeform: Shape 4202">
                <a:extLst>
                  <a:ext uri="{FF2B5EF4-FFF2-40B4-BE49-F238E27FC236}">
                    <a16:creationId xmlns:a16="http://schemas.microsoft.com/office/drawing/2014/main" id="{5CF1910E-73E9-CA7E-7619-EF47E7E536C0}"/>
                  </a:ext>
                </a:extLst>
              </p:cNvPr>
              <p:cNvSpPr/>
              <p:nvPr/>
            </p:nvSpPr>
            <p:spPr>
              <a:xfrm>
                <a:off x="874201" y="3640029"/>
                <a:ext cx="1033" cy="1506"/>
              </a:xfrm>
              <a:custGeom>
                <a:avLst/>
                <a:gdLst>
                  <a:gd name="connsiteX0" fmla="*/ 8315 w 9906"/>
                  <a:gd name="connsiteY0" fmla="*/ 2580 h 14435"/>
                  <a:gd name="connsiteX1" fmla="*/ 7602 w 9906"/>
                  <a:gd name="connsiteY1" fmla="*/ 4830 h 14435"/>
                  <a:gd name="connsiteX2" fmla="*/ 9907 w 9906"/>
                  <a:gd name="connsiteY2" fmla="*/ 4418 h 14435"/>
                  <a:gd name="connsiteX3" fmla="*/ 9907 w 9906"/>
                  <a:gd name="connsiteY3" fmla="*/ 7081 h 14435"/>
                  <a:gd name="connsiteX4" fmla="*/ 7382 w 9906"/>
                  <a:gd name="connsiteY4" fmla="*/ 9276 h 14435"/>
                  <a:gd name="connsiteX5" fmla="*/ 5653 w 9906"/>
                  <a:gd name="connsiteY5" fmla="*/ 6696 h 14435"/>
                  <a:gd name="connsiteX6" fmla="*/ 4309 w 9906"/>
                  <a:gd name="connsiteY6" fmla="*/ 11279 h 14435"/>
                  <a:gd name="connsiteX7" fmla="*/ 741 w 9906"/>
                  <a:gd name="connsiteY7" fmla="*/ 14435 h 14435"/>
                  <a:gd name="connsiteX8" fmla="*/ 0 w 9906"/>
                  <a:gd name="connsiteY8" fmla="*/ 13612 h 14435"/>
                  <a:gd name="connsiteX9" fmla="*/ 1070 w 9906"/>
                  <a:gd name="connsiteY9" fmla="*/ 8453 h 14435"/>
                  <a:gd name="connsiteX10" fmla="*/ 5296 w 9906"/>
                  <a:gd name="connsiteY10" fmla="*/ 4309 h 14435"/>
                  <a:gd name="connsiteX11" fmla="*/ 6751 w 9906"/>
                  <a:gd name="connsiteY11" fmla="*/ 0 h 14435"/>
                  <a:gd name="connsiteX12" fmla="*/ 8315 w 9906"/>
                  <a:gd name="connsiteY12" fmla="*/ 2552 h 1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06" h="14435">
                    <a:moveTo>
                      <a:pt x="8315" y="2580"/>
                    </a:moveTo>
                    <a:lnTo>
                      <a:pt x="7602" y="4830"/>
                    </a:lnTo>
                    <a:lnTo>
                      <a:pt x="9907" y="4418"/>
                    </a:lnTo>
                    <a:lnTo>
                      <a:pt x="9907" y="7081"/>
                    </a:lnTo>
                    <a:cubicBezTo>
                      <a:pt x="9907" y="7081"/>
                      <a:pt x="7382" y="9276"/>
                      <a:pt x="7382" y="9276"/>
                    </a:cubicBezTo>
                    <a:lnTo>
                      <a:pt x="5653" y="6696"/>
                    </a:lnTo>
                    <a:lnTo>
                      <a:pt x="4309" y="11279"/>
                    </a:lnTo>
                    <a:lnTo>
                      <a:pt x="741" y="14435"/>
                    </a:lnTo>
                    <a:lnTo>
                      <a:pt x="0" y="13612"/>
                    </a:lnTo>
                    <a:lnTo>
                      <a:pt x="1070" y="8453"/>
                    </a:lnTo>
                    <a:lnTo>
                      <a:pt x="5296" y="4309"/>
                    </a:lnTo>
                    <a:lnTo>
                      <a:pt x="6751" y="0"/>
                    </a:lnTo>
                    <a:lnTo>
                      <a:pt x="8315"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4" name="Freeform: Shape 4203">
                <a:extLst>
                  <a:ext uri="{FF2B5EF4-FFF2-40B4-BE49-F238E27FC236}">
                    <a16:creationId xmlns:a16="http://schemas.microsoft.com/office/drawing/2014/main" id="{2CBF07C4-E312-E54B-1DFF-E86604B28A95}"/>
                  </a:ext>
                </a:extLst>
              </p:cNvPr>
              <p:cNvSpPr/>
              <p:nvPr/>
            </p:nvSpPr>
            <p:spPr>
              <a:xfrm>
                <a:off x="821197" y="3657415"/>
                <a:ext cx="1073" cy="1234"/>
              </a:xfrm>
              <a:custGeom>
                <a:avLst/>
                <a:gdLst>
                  <a:gd name="connsiteX0" fmla="*/ 7245 w 10291"/>
                  <a:gd name="connsiteY0" fmla="*/ 10566 h 11828"/>
                  <a:gd name="connsiteX1" fmla="*/ 3705 w 10291"/>
                  <a:gd name="connsiteY1" fmla="*/ 11828 h 11828"/>
                  <a:gd name="connsiteX2" fmla="*/ 0 w 10291"/>
                  <a:gd name="connsiteY2" fmla="*/ 8617 h 11828"/>
                  <a:gd name="connsiteX3" fmla="*/ 412 w 10291"/>
                  <a:gd name="connsiteY3" fmla="*/ 7602 h 11828"/>
                  <a:gd name="connsiteX4" fmla="*/ 5571 w 10291"/>
                  <a:gd name="connsiteY4" fmla="*/ 5544 h 11828"/>
                  <a:gd name="connsiteX5" fmla="*/ 5928 w 10291"/>
                  <a:gd name="connsiteY5" fmla="*/ 412 h 11828"/>
                  <a:gd name="connsiteX6" fmla="*/ 8946 w 10291"/>
                  <a:gd name="connsiteY6" fmla="*/ 0 h 11828"/>
                  <a:gd name="connsiteX7" fmla="*/ 10291 w 10291"/>
                  <a:gd name="connsiteY7" fmla="*/ 1619 h 11828"/>
                  <a:gd name="connsiteX8" fmla="*/ 7739 w 10291"/>
                  <a:gd name="connsiteY8" fmla="*/ 5736 h 11828"/>
                  <a:gd name="connsiteX9" fmla="*/ 8370 w 10291"/>
                  <a:gd name="connsiteY9" fmla="*/ 7547 h 11828"/>
                  <a:gd name="connsiteX10" fmla="*/ 7245 w 10291"/>
                  <a:gd name="connsiteY10" fmla="*/ 10593 h 1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1" h="11828">
                    <a:moveTo>
                      <a:pt x="7245" y="10566"/>
                    </a:moveTo>
                    <a:lnTo>
                      <a:pt x="3705" y="11828"/>
                    </a:lnTo>
                    <a:lnTo>
                      <a:pt x="0" y="8617"/>
                    </a:lnTo>
                    <a:lnTo>
                      <a:pt x="412" y="7602"/>
                    </a:lnTo>
                    <a:lnTo>
                      <a:pt x="5571" y="5544"/>
                    </a:lnTo>
                    <a:lnTo>
                      <a:pt x="5928" y="412"/>
                    </a:lnTo>
                    <a:lnTo>
                      <a:pt x="8946" y="0"/>
                    </a:lnTo>
                    <a:lnTo>
                      <a:pt x="10291" y="1619"/>
                    </a:lnTo>
                    <a:lnTo>
                      <a:pt x="7739" y="5736"/>
                    </a:lnTo>
                    <a:lnTo>
                      <a:pt x="8370" y="7547"/>
                    </a:lnTo>
                    <a:lnTo>
                      <a:pt x="7245" y="105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5" name="Freeform: Shape 4204">
                <a:extLst>
                  <a:ext uri="{FF2B5EF4-FFF2-40B4-BE49-F238E27FC236}">
                    <a16:creationId xmlns:a16="http://schemas.microsoft.com/office/drawing/2014/main" id="{D5EC815A-803B-DD1C-8FE3-6486B7D4264C}"/>
                  </a:ext>
                </a:extLst>
              </p:cNvPr>
              <p:cNvSpPr/>
              <p:nvPr/>
            </p:nvSpPr>
            <p:spPr>
              <a:xfrm>
                <a:off x="871236" y="3620376"/>
                <a:ext cx="1045" cy="1297"/>
              </a:xfrm>
              <a:custGeom>
                <a:avLst/>
                <a:gdLst>
                  <a:gd name="connsiteX0" fmla="*/ 6037 w 10016"/>
                  <a:gd name="connsiteY0" fmla="*/ 10785 h 12431"/>
                  <a:gd name="connsiteX1" fmla="*/ 3760 w 10016"/>
                  <a:gd name="connsiteY1" fmla="*/ 12432 h 12431"/>
                  <a:gd name="connsiteX2" fmla="*/ 274 w 10016"/>
                  <a:gd name="connsiteY2" fmla="*/ 12185 h 12431"/>
                  <a:gd name="connsiteX3" fmla="*/ 0 w 10016"/>
                  <a:gd name="connsiteY3" fmla="*/ 7492 h 12431"/>
                  <a:gd name="connsiteX4" fmla="*/ 1043 w 10016"/>
                  <a:gd name="connsiteY4" fmla="*/ 4171 h 12431"/>
                  <a:gd name="connsiteX5" fmla="*/ 8782 w 10016"/>
                  <a:gd name="connsiteY5" fmla="*/ 0 h 12431"/>
                  <a:gd name="connsiteX6" fmla="*/ 10017 w 10016"/>
                  <a:gd name="connsiteY6" fmla="*/ 1592 h 12431"/>
                  <a:gd name="connsiteX7" fmla="*/ 6065 w 10016"/>
                  <a:gd name="connsiteY7" fmla="*/ 10785 h 1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6" h="12431">
                    <a:moveTo>
                      <a:pt x="6037" y="10785"/>
                    </a:moveTo>
                    <a:lnTo>
                      <a:pt x="3760" y="12432"/>
                    </a:lnTo>
                    <a:lnTo>
                      <a:pt x="274" y="12185"/>
                    </a:lnTo>
                    <a:lnTo>
                      <a:pt x="0" y="7492"/>
                    </a:lnTo>
                    <a:lnTo>
                      <a:pt x="1043" y="4171"/>
                    </a:lnTo>
                    <a:lnTo>
                      <a:pt x="8782" y="0"/>
                    </a:lnTo>
                    <a:lnTo>
                      <a:pt x="10017" y="1592"/>
                    </a:lnTo>
                    <a:lnTo>
                      <a:pt x="6065" y="107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6" name="Freeform: Shape 4205">
                <a:extLst>
                  <a:ext uri="{FF2B5EF4-FFF2-40B4-BE49-F238E27FC236}">
                    <a16:creationId xmlns:a16="http://schemas.microsoft.com/office/drawing/2014/main" id="{F3715E93-EFC8-DDB3-0465-C6A8C41365E2}"/>
                  </a:ext>
                </a:extLst>
              </p:cNvPr>
              <p:cNvSpPr/>
              <p:nvPr/>
            </p:nvSpPr>
            <p:spPr>
              <a:xfrm>
                <a:off x="831859" y="3656316"/>
                <a:ext cx="1826" cy="541"/>
              </a:xfrm>
              <a:custGeom>
                <a:avLst/>
                <a:gdLst>
                  <a:gd name="connsiteX0" fmla="*/ 11581 w 17508"/>
                  <a:gd name="connsiteY0" fmla="*/ 137 h 5186"/>
                  <a:gd name="connsiteX1" fmla="*/ 12185 w 17508"/>
                  <a:gd name="connsiteY1" fmla="*/ 1976 h 5186"/>
                  <a:gd name="connsiteX2" fmla="*/ 16411 w 17508"/>
                  <a:gd name="connsiteY2" fmla="*/ 1976 h 5186"/>
                  <a:gd name="connsiteX3" fmla="*/ 17509 w 17508"/>
                  <a:gd name="connsiteY3" fmla="*/ 4309 h 5186"/>
                  <a:gd name="connsiteX4" fmla="*/ 16027 w 17508"/>
                  <a:gd name="connsiteY4" fmla="*/ 5187 h 5186"/>
                  <a:gd name="connsiteX5" fmla="*/ 1454 w 17508"/>
                  <a:gd name="connsiteY5" fmla="*/ 5022 h 5186"/>
                  <a:gd name="connsiteX6" fmla="*/ 0 w 17508"/>
                  <a:gd name="connsiteY6" fmla="*/ 2937 h 5186"/>
                  <a:gd name="connsiteX7" fmla="*/ 8699 w 17508"/>
                  <a:gd name="connsiteY7" fmla="*/ 0 h 5186"/>
                  <a:gd name="connsiteX8" fmla="*/ 11553 w 17508"/>
                  <a:gd name="connsiteY8" fmla="*/ 137 h 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08" h="5186">
                    <a:moveTo>
                      <a:pt x="11581" y="137"/>
                    </a:moveTo>
                    <a:lnTo>
                      <a:pt x="12185" y="1976"/>
                    </a:lnTo>
                    <a:lnTo>
                      <a:pt x="16411" y="1976"/>
                    </a:lnTo>
                    <a:lnTo>
                      <a:pt x="17509" y="4309"/>
                    </a:lnTo>
                    <a:lnTo>
                      <a:pt x="16027" y="5187"/>
                    </a:lnTo>
                    <a:lnTo>
                      <a:pt x="1454" y="5022"/>
                    </a:lnTo>
                    <a:lnTo>
                      <a:pt x="0" y="2937"/>
                    </a:lnTo>
                    <a:lnTo>
                      <a:pt x="8699" y="0"/>
                    </a:lnTo>
                    <a:lnTo>
                      <a:pt x="11553" y="1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7" name="Freeform: Shape 4206">
                <a:extLst>
                  <a:ext uri="{FF2B5EF4-FFF2-40B4-BE49-F238E27FC236}">
                    <a16:creationId xmlns:a16="http://schemas.microsoft.com/office/drawing/2014/main" id="{F6FAC3BF-5174-4642-2ABC-004E3E384015}"/>
                  </a:ext>
                </a:extLst>
              </p:cNvPr>
              <p:cNvSpPr/>
              <p:nvPr/>
            </p:nvSpPr>
            <p:spPr>
              <a:xfrm>
                <a:off x="865886" y="3644305"/>
                <a:ext cx="1357" cy="753"/>
              </a:xfrm>
              <a:custGeom>
                <a:avLst/>
                <a:gdLst>
                  <a:gd name="connsiteX0" fmla="*/ 12596 w 13007"/>
                  <a:gd name="connsiteY0" fmla="*/ 3458 h 7217"/>
                  <a:gd name="connsiteX1" fmla="*/ 13008 w 13007"/>
                  <a:gd name="connsiteY1" fmla="*/ 5324 h 7217"/>
                  <a:gd name="connsiteX2" fmla="*/ 9989 w 13007"/>
                  <a:gd name="connsiteY2" fmla="*/ 7218 h 7217"/>
                  <a:gd name="connsiteX3" fmla="*/ 9358 w 13007"/>
                  <a:gd name="connsiteY3" fmla="*/ 4583 h 7217"/>
                  <a:gd name="connsiteX4" fmla="*/ 5983 w 13007"/>
                  <a:gd name="connsiteY4" fmla="*/ 5708 h 7217"/>
                  <a:gd name="connsiteX5" fmla="*/ 2607 w 13007"/>
                  <a:gd name="connsiteY5" fmla="*/ 4116 h 7217"/>
                  <a:gd name="connsiteX6" fmla="*/ 2470 w 13007"/>
                  <a:gd name="connsiteY6" fmla="*/ 5681 h 7217"/>
                  <a:gd name="connsiteX7" fmla="*/ 0 w 13007"/>
                  <a:gd name="connsiteY7" fmla="*/ 3430 h 7217"/>
                  <a:gd name="connsiteX8" fmla="*/ 494 w 13007"/>
                  <a:gd name="connsiteY8" fmla="*/ 0 h 7217"/>
                  <a:gd name="connsiteX9" fmla="*/ 12624 w 13007"/>
                  <a:gd name="connsiteY9" fmla="*/ 3430 h 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07" h="7217">
                    <a:moveTo>
                      <a:pt x="12596" y="3458"/>
                    </a:moveTo>
                    <a:lnTo>
                      <a:pt x="13008" y="5324"/>
                    </a:lnTo>
                    <a:lnTo>
                      <a:pt x="9989" y="7218"/>
                    </a:lnTo>
                    <a:lnTo>
                      <a:pt x="9358" y="4583"/>
                    </a:lnTo>
                    <a:lnTo>
                      <a:pt x="5983" y="5708"/>
                    </a:lnTo>
                    <a:lnTo>
                      <a:pt x="2607" y="4116"/>
                    </a:lnTo>
                    <a:lnTo>
                      <a:pt x="2470" y="5681"/>
                    </a:lnTo>
                    <a:lnTo>
                      <a:pt x="0" y="3430"/>
                    </a:lnTo>
                    <a:lnTo>
                      <a:pt x="494" y="0"/>
                    </a:lnTo>
                    <a:lnTo>
                      <a:pt x="12624" y="34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8" name="Freeform: Shape 4207">
                <a:extLst>
                  <a:ext uri="{FF2B5EF4-FFF2-40B4-BE49-F238E27FC236}">
                    <a16:creationId xmlns:a16="http://schemas.microsoft.com/office/drawing/2014/main" id="{1818B0B3-2535-DD07-5B01-F927325DEF10}"/>
                  </a:ext>
                </a:extLst>
              </p:cNvPr>
              <p:cNvSpPr/>
              <p:nvPr/>
            </p:nvSpPr>
            <p:spPr>
              <a:xfrm>
                <a:off x="868665" y="3640607"/>
                <a:ext cx="1259" cy="796"/>
              </a:xfrm>
              <a:custGeom>
                <a:avLst/>
                <a:gdLst>
                  <a:gd name="connsiteX0" fmla="*/ 3019 w 12074"/>
                  <a:gd name="connsiteY0" fmla="*/ 0 h 7629"/>
                  <a:gd name="connsiteX1" fmla="*/ 7849 w 12074"/>
                  <a:gd name="connsiteY1" fmla="*/ 2909 h 7629"/>
                  <a:gd name="connsiteX2" fmla="*/ 8590 w 12074"/>
                  <a:gd name="connsiteY2" fmla="*/ 1701 h 7629"/>
                  <a:gd name="connsiteX3" fmla="*/ 12075 w 12074"/>
                  <a:gd name="connsiteY3" fmla="*/ 5022 h 7629"/>
                  <a:gd name="connsiteX4" fmla="*/ 10017 w 12074"/>
                  <a:gd name="connsiteY4" fmla="*/ 7629 h 7629"/>
                  <a:gd name="connsiteX5" fmla="*/ 8013 w 12074"/>
                  <a:gd name="connsiteY5" fmla="*/ 5379 h 7629"/>
                  <a:gd name="connsiteX6" fmla="*/ 5543 w 12074"/>
                  <a:gd name="connsiteY6" fmla="*/ 6669 h 7629"/>
                  <a:gd name="connsiteX7" fmla="*/ 2223 w 12074"/>
                  <a:gd name="connsiteY7" fmla="*/ 3320 h 7629"/>
                  <a:gd name="connsiteX8" fmla="*/ 0 w 12074"/>
                  <a:gd name="connsiteY8" fmla="*/ 3732 h 7629"/>
                  <a:gd name="connsiteX9" fmla="*/ 823 w 12074"/>
                  <a:gd name="connsiteY9" fmla="*/ 905 h 7629"/>
                  <a:gd name="connsiteX10" fmla="*/ 3019 w 12074"/>
                  <a:gd name="connsiteY10" fmla="*/ 27 h 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74" h="7629">
                    <a:moveTo>
                      <a:pt x="3019" y="0"/>
                    </a:moveTo>
                    <a:lnTo>
                      <a:pt x="7849" y="2909"/>
                    </a:lnTo>
                    <a:lnTo>
                      <a:pt x="8590" y="1701"/>
                    </a:lnTo>
                    <a:lnTo>
                      <a:pt x="12075" y="5022"/>
                    </a:lnTo>
                    <a:lnTo>
                      <a:pt x="10017" y="7629"/>
                    </a:lnTo>
                    <a:lnTo>
                      <a:pt x="8013" y="5379"/>
                    </a:lnTo>
                    <a:lnTo>
                      <a:pt x="5543" y="6669"/>
                    </a:lnTo>
                    <a:lnTo>
                      <a:pt x="2223" y="3320"/>
                    </a:lnTo>
                    <a:lnTo>
                      <a:pt x="0" y="3732"/>
                    </a:lnTo>
                    <a:lnTo>
                      <a:pt x="823" y="905"/>
                    </a:lnTo>
                    <a:lnTo>
                      <a:pt x="3019"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9" name="Freeform: Shape 4208">
                <a:extLst>
                  <a:ext uri="{FF2B5EF4-FFF2-40B4-BE49-F238E27FC236}">
                    <a16:creationId xmlns:a16="http://schemas.microsoft.com/office/drawing/2014/main" id="{4A29A162-562C-0F52-1324-B2A8D26ACCBB}"/>
                  </a:ext>
                </a:extLst>
              </p:cNvPr>
              <p:cNvSpPr/>
              <p:nvPr/>
            </p:nvSpPr>
            <p:spPr>
              <a:xfrm>
                <a:off x="891845" y="3632733"/>
                <a:ext cx="1331" cy="718"/>
              </a:xfrm>
              <a:custGeom>
                <a:avLst/>
                <a:gdLst>
                  <a:gd name="connsiteX0" fmla="*/ 8123 w 12760"/>
                  <a:gd name="connsiteY0" fmla="*/ 27 h 6888"/>
                  <a:gd name="connsiteX1" fmla="*/ 10401 w 12760"/>
                  <a:gd name="connsiteY1" fmla="*/ 3677 h 6888"/>
                  <a:gd name="connsiteX2" fmla="*/ 12761 w 12760"/>
                  <a:gd name="connsiteY2" fmla="*/ 3375 h 6888"/>
                  <a:gd name="connsiteX3" fmla="*/ 12459 w 12760"/>
                  <a:gd name="connsiteY3" fmla="*/ 6202 h 6888"/>
                  <a:gd name="connsiteX4" fmla="*/ 8480 w 12760"/>
                  <a:gd name="connsiteY4" fmla="*/ 6422 h 6888"/>
                  <a:gd name="connsiteX5" fmla="*/ 7849 w 12760"/>
                  <a:gd name="connsiteY5" fmla="*/ 4748 h 6888"/>
                  <a:gd name="connsiteX6" fmla="*/ 4007 w 12760"/>
                  <a:gd name="connsiteY6" fmla="*/ 6888 h 6888"/>
                  <a:gd name="connsiteX7" fmla="*/ 686 w 12760"/>
                  <a:gd name="connsiteY7" fmla="*/ 6010 h 6888"/>
                  <a:gd name="connsiteX8" fmla="*/ 0 w 12760"/>
                  <a:gd name="connsiteY8" fmla="*/ 4309 h 6888"/>
                  <a:gd name="connsiteX9" fmla="*/ 4226 w 12760"/>
                  <a:gd name="connsiteY9" fmla="*/ 247 h 6888"/>
                  <a:gd name="connsiteX10" fmla="*/ 8123 w 12760"/>
                  <a:gd name="connsiteY10" fmla="*/ 0 h 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60" h="6888">
                    <a:moveTo>
                      <a:pt x="8123" y="27"/>
                    </a:moveTo>
                    <a:lnTo>
                      <a:pt x="10401" y="3677"/>
                    </a:lnTo>
                    <a:lnTo>
                      <a:pt x="12761" y="3375"/>
                    </a:lnTo>
                    <a:lnTo>
                      <a:pt x="12459" y="6202"/>
                    </a:lnTo>
                    <a:lnTo>
                      <a:pt x="8480" y="6422"/>
                    </a:lnTo>
                    <a:lnTo>
                      <a:pt x="7849" y="4748"/>
                    </a:lnTo>
                    <a:lnTo>
                      <a:pt x="4007" y="6888"/>
                    </a:lnTo>
                    <a:lnTo>
                      <a:pt x="686" y="6010"/>
                    </a:lnTo>
                    <a:lnTo>
                      <a:pt x="0" y="4309"/>
                    </a:lnTo>
                    <a:lnTo>
                      <a:pt x="4226" y="247"/>
                    </a:lnTo>
                    <a:lnTo>
                      <a:pt x="8123"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0" name="Freeform: Shape 4209">
                <a:extLst>
                  <a:ext uri="{FF2B5EF4-FFF2-40B4-BE49-F238E27FC236}">
                    <a16:creationId xmlns:a16="http://schemas.microsoft.com/office/drawing/2014/main" id="{9A473A1D-5CD8-ABC4-74FD-8BDD04794CAC}"/>
                  </a:ext>
                </a:extLst>
              </p:cNvPr>
              <p:cNvSpPr/>
              <p:nvPr/>
            </p:nvSpPr>
            <p:spPr>
              <a:xfrm>
                <a:off x="890531" y="3632867"/>
                <a:ext cx="862" cy="1076"/>
              </a:xfrm>
              <a:custGeom>
                <a:avLst/>
                <a:gdLst>
                  <a:gd name="connsiteX0" fmla="*/ 5928 w 8260"/>
                  <a:gd name="connsiteY0" fmla="*/ 6010 h 10318"/>
                  <a:gd name="connsiteX1" fmla="*/ 1976 w 8260"/>
                  <a:gd name="connsiteY1" fmla="*/ 10319 h 10318"/>
                  <a:gd name="connsiteX2" fmla="*/ 0 w 8260"/>
                  <a:gd name="connsiteY2" fmla="*/ 8919 h 10318"/>
                  <a:gd name="connsiteX3" fmla="*/ 3211 w 8260"/>
                  <a:gd name="connsiteY3" fmla="*/ 3705 h 10318"/>
                  <a:gd name="connsiteX4" fmla="*/ 7931 w 8260"/>
                  <a:gd name="connsiteY4" fmla="*/ 0 h 10318"/>
                  <a:gd name="connsiteX5" fmla="*/ 8260 w 8260"/>
                  <a:gd name="connsiteY5" fmla="*/ 4967 h 10318"/>
                  <a:gd name="connsiteX6" fmla="*/ 5928 w 8260"/>
                  <a:gd name="connsiteY6" fmla="*/ 5983 h 1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0" h="10318">
                    <a:moveTo>
                      <a:pt x="5928" y="6010"/>
                    </a:moveTo>
                    <a:lnTo>
                      <a:pt x="1976" y="10319"/>
                    </a:lnTo>
                    <a:lnTo>
                      <a:pt x="0" y="8919"/>
                    </a:lnTo>
                    <a:lnTo>
                      <a:pt x="3211" y="3705"/>
                    </a:lnTo>
                    <a:lnTo>
                      <a:pt x="7931" y="0"/>
                    </a:lnTo>
                    <a:lnTo>
                      <a:pt x="8260" y="4967"/>
                    </a:lnTo>
                    <a:lnTo>
                      <a:pt x="5928" y="59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1" name="Freeform: Shape 4210">
                <a:extLst>
                  <a:ext uri="{FF2B5EF4-FFF2-40B4-BE49-F238E27FC236}">
                    <a16:creationId xmlns:a16="http://schemas.microsoft.com/office/drawing/2014/main" id="{4BAD019D-D026-A6AD-9DCB-B2B4803BE5C7}"/>
                  </a:ext>
                </a:extLst>
              </p:cNvPr>
              <p:cNvSpPr/>
              <p:nvPr/>
            </p:nvSpPr>
            <p:spPr>
              <a:xfrm>
                <a:off x="855951" y="3645722"/>
                <a:ext cx="1033" cy="827"/>
              </a:xfrm>
              <a:custGeom>
                <a:avLst/>
                <a:gdLst>
                  <a:gd name="connsiteX0" fmla="*/ 9879 w 9906"/>
                  <a:gd name="connsiteY0" fmla="*/ 6367 h 7931"/>
                  <a:gd name="connsiteX1" fmla="*/ 878 w 9906"/>
                  <a:gd name="connsiteY1" fmla="*/ 7931 h 7931"/>
                  <a:gd name="connsiteX2" fmla="*/ 0 w 9906"/>
                  <a:gd name="connsiteY2" fmla="*/ 1948 h 7931"/>
                  <a:gd name="connsiteX3" fmla="*/ 3321 w 9906"/>
                  <a:gd name="connsiteY3" fmla="*/ 0 h 7931"/>
                  <a:gd name="connsiteX4" fmla="*/ 9056 w 9906"/>
                  <a:gd name="connsiteY4" fmla="*/ 3293 h 7931"/>
                  <a:gd name="connsiteX5" fmla="*/ 9907 w 9906"/>
                  <a:gd name="connsiteY5" fmla="*/ 6367 h 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 h="7931">
                    <a:moveTo>
                      <a:pt x="9879" y="6367"/>
                    </a:moveTo>
                    <a:lnTo>
                      <a:pt x="878" y="7931"/>
                    </a:lnTo>
                    <a:lnTo>
                      <a:pt x="0" y="1948"/>
                    </a:lnTo>
                    <a:lnTo>
                      <a:pt x="3321" y="0"/>
                    </a:lnTo>
                    <a:lnTo>
                      <a:pt x="9056" y="3293"/>
                    </a:lnTo>
                    <a:lnTo>
                      <a:pt x="9907" y="63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2" name="Freeform: Shape 4211">
                <a:extLst>
                  <a:ext uri="{FF2B5EF4-FFF2-40B4-BE49-F238E27FC236}">
                    <a16:creationId xmlns:a16="http://schemas.microsoft.com/office/drawing/2014/main" id="{43CA6578-E6E2-F004-0830-36E83477C635}"/>
                  </a:ext>
                </a:extLst>
              </p:cNvPr>
              <p:cNvSpPr/>
              <p:nvPr/>
            </p:nvSpPr>
            <p:spPr>
              <a:xfrm>
                <a:off x="835823" y="3655111"/>
                <a:ext cx="1007" cy="718"/>
              </a:xfrm>
              <a:custGeom>
                <a:avLst/>
                <a:gdLst>
                  <a:gd name="connsiteX0" fmla="*/ 6504 w 9659"/>
                  <a:gd name="connsiteY0" fmla="*/ 5489 h 6888"/>
                  <a:gd name="connsiteX1" fmla="*/ 2854 w 9659"/>
                  <a:gd name="connsiteY1" fmla="*/ 6888 h 6888"/>
                  <a:gd name="connsiteX2" fmla="*/ 0 w 9659"/>
                  <a:gd name="connsiteY2" fmla="*/ 5873 h 6888"/>
                  <a:gd name="connsiteX3" fmla="*/ 2607 w 9659"/>
                  <a:gd name="connsiteY3" fmla="*/ 1592 h 6888"/>
                  <a:gd name="connsiteX4" fmla="*/ 5736 w 9659"/>
                  <a:gd name="connsiteY4" fmla="*/ 0 h 6888"/>
                  <a:gd name="connsiteX5" fmla="*/ 8946 w 9659"/>
                  <a:gd name="connsiteY5" fmla="*/ 1180 h 6888"/>
                  <a:gd name="connsiteX6" fmla="*/ 9660 w 9659"/>
                  <a:gd name="connsiteY6" fmla="*/ 2964 h 6888"/>
                  <a:gd name="connsiteX7" fmla="*/ 6449 w 9659"/>
                  <a:gd name="connsiteY7" fmla="*/ 5489 h 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59" h="6888">
                    <a:moveTo>
                      <a:pt x="6504" y="5489"/>
                    </a:moveTo>
                    <a:lnTo>
                      <a:pt x="2854" y="6888"/>
                    </a:lnTo>
                    <a:lnTo>
                      <a:pt x="0" y="5873"/>
                    </a:lnTo>
                    <a:lnTo>
                      <a:pt x="2607" y="1592"/>
                    </a:lnTo>
                    <a:lnTo>
                      <a:pt x="5736" y="0"/>
                    </a:lnTo>
                    <a:lnTo>
                      <a:pt x="8946" y="1180"/>
                    </a:lnTo>
                    <a:lnTo>
                      <a:pt x="9660" y="2964"/>
                    </a:lnTo>
                    <a:lnTo>
                      <a:pt x="6449" y="54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3" name="Freeform: Shape 4212">
                <a:extLst>
                  <a:ext uri="{FF2B5EF4-FFF2-40B4-BE49-F238E27FC236}">
                    <a16:creationId xmlns:a16="http://schemas.microsoft.com/office/drawing/2014/main" id="{9DFA3282-2D8C-2CF8-1530-8C613BD09E89}"/>
                  </a:ext>
                </a:extLst>
              </p:cNvPr>
              <p:cNvSpPr/>
              <p:nvPr/>
            </p:nvSpPr>
            <p:spPr>
              <a:xfrm>
                <a:off x="841307" y="3653562"/>
                <a:ext cx="864" cy="779"/>
              </a:xfrm>
              <a:custGeom>
                <a:avLst/>
                <a:gdLst>
                  <a:gd name="connsiteX0" fmla="*/ 8260 w 8287"/>
                  <a:gd name="connsiteY0" fmla="*/ 1070 h 7464"/>
                  <a:gd name="connsiteX1" fmla="*/ 6833 w 8287"/>
                  <a:gd name="connsiteY1" fmla="*/ 4693 h 7464"/>
                  <a:gd name="connsiteX2" fmla="*/ 4775 w 8287"/>
                  <a:gd name="connsiteY2" fmla="*/ 4583 h 7464"/>
                  <a:gd name="connsiteX3" fmla="*/ 1482 w 8287"/>
                  <a:gd name="connsiteY3" fmla="*/ 7464 h 7464"/>
                  <a:gd name="connsiteX4" fmla="*/ 0 w 8287"/>
                  <a:gd name="connsiteY4" fmla="*/ 6696 h 7464"/>
                  <a:gd name="connsiteX5" fmla="*/ 741 w 8287"/>
                  <a:gd name="connsiteY5" fmla="*/ 3074 h 7464"/>
                  <a:gd name="connsiteX6" fmla="*/ 4995 w 8287"/>
                  <a:gd name="connsiteY6" fmla="*/ 0 h 7464"/>
                  <a:gd name="connsiteX7" fmla="*/ 8288 w 8287"/>
                  <a:gd name="connsiteY7" fmla="*/ 1070 h 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87" h="7464">
                    <a:moveTo>
                      <a:pt x="8260" y="1070"/>
                    </a:moveTo>
                    <a:lnTo>
                      <a:pt x="6833" y="4693"/>
                    </a:lnTo>
                    <a:lnTo>
                      <a:pt x="4775" y="4583"/>
                    </a:lnTo>
                    <a:lnTo>
                      <a:pt x="1482" y="7464"/>
                    </a:lnTo>
                    <a:lnTo>
                      <a:pt x="0" y="6696"/>
                    </a:lnTo>
                    <a:lnTo>
                      <a:pt x="741" y="3074"/>
                    </a:lnTo>
                    <a:lnTo>
                      <a:pt x="4995" y="0"/>
                    </a:lnTo>
                    <a:lnTo>
                      <a:pt x="8288" y="10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4" name="Freeform: Shape 4213">
                <a:extLst>
                  <a:ext uri="{FF2B5EF4-FFF2-40B4-BE49-F238E27FC236}">
                    <a16:creationId xmlns:a16="http://schemas.microsoft.com/office/drawing/2014/main" id="{75D7200B-19A5-8423-5D71-03E45B6CAE72}"/>
                  </a:ext>
                </a:extLst>
              </p:cNvPr>
              <p:cNvSpPr/>
              <p:nvPr/>
            </p:nvSpPr>
            <p:spPr>
              <a:xfrm>
                <a:off x="988151" y="3673023"/>
                <a:ext cx="561" cy="1079"/>
              </a:xfrm>
              <a:custGeom>
                <a:avLst/>
                <a:gdLst>
                  <a:gd name="connsiteX0" fmla="*/ 5379 w 5378"/>
                  <a:gd name="connsiteY0" fmla="*/ 5763 h 10346"/>
                  <a:gd name="connsiteX1" fmla="*/ 2497 w 5378"/>
                  <a:gd name="connsiteY1" fmla="*/ 10346 h 10346"/>
                  <a:gd name="connsiteX2" fmla="*/ 0 w 5378"/>
                  <a:gd name="connsiteY2" fmla="*/ 0 h 10346"/>
                  <a:gd name="connsiteX3" fmla="*/ 5324 w 5378"/>
                  <a:gd name="connsiteY3" fmla="*/ 0 h 10346"/>
                  <a:gd name="connsiteX4" fmla="*/ 5379 w 5378"/>
                  <a:gd name="connsiteY4" fmla="*/ 5735 h 10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8" h="10346">
                    <a:moveTo>
                      <a:pt x="5379" y="5763"/>
                    </a:moveTo>
                    <a:lnTo>
                      <a:pt x="2497" y="10346"/>
                    </a:lnTo>
                    <a:lnTo>
                      <a:pt x="0" y="0"/>
                    </a:lnTo>
                    <a:lnTo>
                      <a:pt x="5324" y="0"/>
                    </a:lnTo>
                    <a:lnTo>
                      <a:pt x="5379" y="57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5" name="Freeform: Shape 4214">
                <a:extLst>
                  <a:ext uri="{FF2B5EF4-FFF2-40B4-BE49-F238E27FC236}">
                    <a16:creationId xmlns:a16="http://schemas.microsoft.com/office/drawing/2014/main" id="{C9234FFD-20CA-81D4-653D-20364086B729}"/>
                  </a:ext>
                </a:extLst>
              </p:cNvPr>
              <p:cNvSpPr/>
              <p:nvPr/>
            </p:nvSpPr>
            <p:spPr>
              <a:xfrm>
                <a:off x="824789" y="3657452"/>
                <a:ext cx="859" cy="756"/>
              </a:xfrm>
              <a:custGeom>
                <a:avLst/>
                <a:gdLst>
                  <a:gd name="connsiteX0" fmla="*/ 8233 w 8232"/>
                  <a:gd name="connsiteY0" fmla="*/ 1784 h 7244"/>
                  <a:gd name="connsiteX1" fmla="*/ 5873 w 8232"/>
                  <a:gd name="connsiteY1" fmla="*/ 4638 h 7244"/>
                  <a:gd name="connsiteX2" fmla="*/ 1976 w 8232"/>
                  <a:gd name="connsiteY2" fmla="*/ 7245 h 7244"/>
                  <a:gd name="connsiteX3" fmla="*/ 0 w 8232"/>
                  <a:gd name="connsiteY3" fmla="*/ 4391 h 7244"/>
                  <a:gd name="connsiteX4" fmla="*/ 631 w 8232"/>
                  <a:gd name="connsiteY4" fmla="*/ 1921 h 7244"/>
                  <a:gd name="connsiteX5" fmla="*/ 3540 w 8232"/>
                  <a:gd name="connsiteY5" fmla="*/ 3897 h 7244"/>
                  <a:gd name="connsiteX6" fmla="*/ 5571 w 8232"/>
                  <a:gd name="connsiteY6" fmla="*/ 0 h 7244"/>
                  <a:gd name="connsiteX7" fmla="*/ 8205 w 8232"/>
                  <a:gd name="connsiteY7" fmla="*/ 1784 h 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32" h="7244">
                    <a:moveTo>
                      <a:pt x="8233" y="1784"/>
                    </a:moveTo>
                    <a:lnTo>
                      <a:pt x="5873" y="4638"/>
                    </a:lnTo>
                    <a:lnTo>
                      <a:pt x="1976" y="7245"/>
                    </a:lnTo>
                    <a:lnTo>
                      <a:pt x="0" y="4391"/>
                    </a:lnTo>
                    <a:lnTo>
                      <a:pt x="631" y="1921"/>
                    </a:lnTo>
                    <a:lnTo>
                      <a:pt x="3540" y="3897"/>
                    </a:lnTo>
                    <a:lnTo>
                      <a:pt x="5571" y="0"/>
                    </a:lnTo>
                    <a:lnTo>
                      <a:pt x="8205"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6" name="Freeform: Shape 4215">
                <a:extLst>
                  <a:ext uri="{FF2B5EF4-FFF2-40B4-BE49-F238E27FC236}">
                    <a16:creationId xmlns:a16="http://schemas.microsoft.com/office/drawing/2014/main" id="{0DCEDFB3-279A-AA6E-5A01-46925957D1E0}"/>
                  </a:ext>
                </a:extLst>
              </p:cNvPr>
              <p:cNvSpPr/>
              <p:nvPr/>
            </p:nvSpPr>
            <p:spPr>
              <a:xfrm>
                <a:off x="962029" y="3641563"/>
                <a:ext cx="833" cy="779"/>
              </a:xfrm>
              <a:custGeom>
                <a:avLst/>
                <a:gdLst>
                  <a:gd name="connsiteX0" fmla="*/ 7986 w 7985"/>
                  <a:gd name="connsiteY0" fmla="*/ 5626 h 7464"/>
                  <a:gd name="connsiteX1" fmla="*/ 5406 w 7985"/>
                  <a:gd name="connsiteY1" fmla="*/ 7465 h 7464"/>
                  <a:gd name="connsiteX2" fmla="*/ 2936 w 7985"/>
                  <a:gd name="connsiteY2" fmla="*/ 6010 h 7464"/>
                  <a:gd name="connsiteX3" fmla="*/ 796 w 7985"/>
                  <a:gd name="connsiteY3" fmla="*/ 4912 h 7464"/>
                  <a:gd name="connsiteX4" fmla="*/ 0 w 7985"/>
                  <a:gd name="connsiteY4" fmla="*/ 3321 h 7464"/>
                  <a:gd name="connsiteX5" fmla="*/ 576 w 7985"/>
                  <a:gd name="connsiteY5" fmla="*/ 2031 h 7464"/>
                  <a:gd name="connsiteX6" fmla="*/ 2964 w 7985"/>
                  <a:gd name="connsiteY6" fmla="*/ 1455 h 7464"/>
                  <a:gd name="connsiteX7" fmla="*/ 6669 w 7985"/>
                  <a:gd name="connsiteY7" fmla="*/ 0 h 7464"/>
                  <a:gd name="connsiteX8" fmla="*/ 7986 w 7985"/>
                  <a:gd name="connsiteY8" fmla="*/ 5598 h 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5" h="7464">
                    <a:moveTo>
                      <a:pt x="7986" y="5626"/>
                    </a:moveTo>
                    <a:lnTo>
                      <a:pt x="5406" y="7465"/>
                    </a:lnTo>
                    <a:lnTo>
                      <a:pt x="2936" y="6010"/>
                    </a:lnTo>
                    <a:lnTo>
                      <a:pt x="796" y="4912"/>
                    </a:lnTo>
                    <a:lnTo>
                      <a:pt x="0" y="3321"/>
                    </a:lnTo>
                    <a:lnTo>
                      <a:pt x="576" y="2031"/>
                    </a:lnTo>
                    <a:lnTo>
                      <a:pt x="2964" y="1455"/>
                    </a:lnTo>
                    <a:lnTo>
                      <a:pt x="6669" y="0"/>
                    </a:lnTo>
                    <a:lnTo>
                      <a:pt x="7986" y="55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7" name="Freeform: Shape 4216">
                <a:extLst>
                  <a:ext uri="{FF2B5EF4-FFF2-40B4-BE49-F238E27FC236}">
                    <a16:creationId xmlns:a16="http://schemas.microsoft.com/office/drawing/2014/main" id="{C882C318-9017-0AC3-DCD0-434DF82D6042}"/>
                  </a:ext>
                </a:extLst>
              </p:cNvPr>
              <p:cNvSpPr/>
              <p:nvPr/>
            </p:nvSpPr>
            <p:spPr>
              <a:xfrm>
                <a:off x="857230" y="3645401"/>
                <a:ext cx="664" cy="836"/>
              </a:xfrm>
              <a:custGeom>
                <a:avLst/>
                <a:gdLst>
                  <a:gd name="connsiteX0" fmla="*/ 6284 w 6366"/>
                  <a:gd name="connsiteY0" fmla="*/ 5653 h 8013"/>
                  <a:gd name="connsiteX1" fmla="*/ 2141 w 6366"/>
                  <a:gd name="connsiteY1" fmla="*/ 8013 h 8013"/>
                  <a:gd name="connsiteX2" fmla="*/ 1070 w 6366"/>
                  <a:gd name="connsiteY2" fmla="*/ 7272 h 8013"/>
                  <a:gd name="connsiteX3" fmla="*/ 0 w 6366"/>
                  <a:gd name="connsiteY3" fmla="*/ 1674 h 8013"/>
                  <a:gd name="connsiteX4" fmla="*/ 2031 w 6366"/>
                  <a:gd name="connsiteY4" fmla="*/ 0 h 8013"/>
                  <a:gd name="connsiteX5" fmla="*/ 6367 w 6366"/>
                  <a:gd name="connsiteY5" fmla="*/ 4034 h 8013"/>
                  <a:gd name="connsiteX6" fmla="*/ 6284 w 6366"/>
                  <a:gd name="connsiteY6" fmla="*/ 5681 h 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66" h="8013">
                    <a:moveTo>
                      <a:pt x="6284" y="5653"/>
                    </a:moveTo>
                    <a:lnTo>
                      <a:pt x="2141" y="8013"/>
                    </a:lnTo>
                    <a:lnTo>
                      <a:pt x="1070" y="7272"/>
                    </a:lnTo>
                    <a:lnTo>
                      <a:pt x="0" y="1674"/>
                    </a:lnTo>
                    <a:lnTo>
                      <a:pt x="2031" y="0"/>
                    </a:lnTo>
                    <a:lnTo>
                      <a:pt x="6367" y="4034"/>
                    </a:lnTo>
                    <a:lnTo>
                      <a:pt x="6284" y="56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8" name="Freeform: Shape 4217">
                <a:extLst>
                  <a:ext uri="{FF2B5EF4-FFF2-40B4-BE49-F238E27FC236}">
                    <a16:creationId xmlns:a16="http://schemas.microsoft.com/office/drawing/2014/main" id="{075F1217-97B0-E92D-2D7A-ECC4C24AC9AE}"/>
                  </a:ext>
                </a:extLst>
              </p:cNvPr>
              <p:cNvSpPr/>
              <p:nvPr/>
            </p:nvSpPr>
            <p:spPr>
              <a:xfrm>
                <a:off x="987555" y="3673103"/>
                <a:ext cx="529" cy="919"/>
              </a:xfrm>
              <a:custGeom>
                <a:avLst/>
                <a:gdLst>
                  <a:gd name="connsiteX0" fmla="*/ 5077 w 5076"/>
                  <a:gd name="connsiteY0" fmla="*/ 2909 h 8809"/>
                  <a:gd name="connsiteX1" fmla="*/ 3787 w 5076"/>
                  <a:gd name="connsiteY1" fmla="*/ 8809 h 8809"/>
                  <a:gd name="connsiteX2" fmla="*/ 1180 w 5076"/>
                  <a:gd name="connsiteY2" fmla="*/ 7135 h 8809"/>
                  <a:gd name="connsiteX3" fmla="*/ 0 w 5076"/>
                  <a:gd name="connsiteY3" fmla="*/ 4418 h 8809"/>
                  <a:gd name="connsiteX4" fmla="*/ 412 w 5076"/>
                  <a:gd name="connsiteY4" fmla="*/ 0 h 8809"/>
                  <a:gd name="connsiteX5" fmla="*/ 5077 w 5076"/>
                  <a:gd name="connsiteY5" fmla="*/ 2909 h 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6" h="8809">
                    <a:moveTo>
                      <a:pt x="5077" y="2909"/>
                    </a:moveTo>
                    <a:lnTo>
                      <a:pt x="3787" y="8809"/>
                    </a:lnTo>
                    <a:lnTo>
                      <a:pt x="1180" y="7135"/>
                    </a:lnTo>
                    <a:lnTo>
                      <a:pt x="0" y="4418"/>
                    </a:lnTo>
                    <a:lnTo>
                      <a:pt x="412" y="0"/>
                    </a:lnTo>
                    <a:lnTo>
                      <a:pt x="5077"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9" name="Freeform: Shape 4218">
                <a:extLst>
                  <a:ext uri="{FF2B5EF4-FFF2-40B4-BE49-F238E27FC236}">
                    <a16:creationId xmlns:a16="http://schemas.microsoft.com/office/drawing/2014/main" id="{0D3D69E4-F4B3-1CFE-48FE-075A6FE24B8E}"/>
                  </a:ext>
                </a:extLst>
              </p:cNvPr>
              <p:cNvSpPr/>
              <p:nvPr/>
            </p:nvSpPr>
            <p:spPr>
              <a:xfrm>
                <a:off x="1114317" y="3766429"/>
                <a:ext cx="767" cy="421"/>
              </a:xfrm>
              <a:custGeom>
                <a:avLst/>
                <a:gdLst>
                  <a:gd name="connsiteX0" fmla="*/ 1537 w 7354"/>
                  <a:gd name="connsiteY0" fmla="*/ 0 h 4034"/>
                  <a:gd name="connsiteX1" fmla="*/ 2470 w 7354"/>
                  <a:gd name="connsiteY1" fmla="*/ 1509 h 4034"/>
                  <a:gd name="connsiteX2" fmla="*/ 4062 w 7354"/>
                  <a:gd name="connsiteY2" fmla="*/ 110 h 4034"/>
                  <a:gd name="connsiteX3" fmla="*/ 7355 w 7354"/>
                  <a:gd name="connsiteY3" fmla="*/ 439 h 4034"/>
                  <a:gd name="connsiteX4" fmla="*/ 7355 w 7354"/>
                  <a:gd name="connsiteY4" fmla="*/ 1592 h 4034"/>
                  <a:gd name="connsiteX5" fmla="*/ 604 w 7354"/>
                  <a:gd name="connsiteY5" fmla="*/ 4034 h 4034"/>
                  <a:gd name="connsiteX6" fmla="*/ 0 w 7354"/>
                  <a:gd name="connsiteY6" fmla="*/ 2662 h 4034"/>
                  <a:gd name="connsiteX7" fmla="*/ 1564 w 7354"/>
                  <a:gd name="connsiteY7" fmla="*/ 0 h 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4" h="4034">
                    <a:moveTo>
                      <a:pt x="1537" y="0"/>
                    </a:moveTo>
                    <a:lnTo>
                      <a:pt x="2470" y="1509"/>
                    </a:lnTo>
                    <a:lnTo>
                      <a:pt x="4062" y="110"/>
                    </a:lnTo>
                    <a:lnTo>
                      <a:pt x="7355" y="439"/>
                    </a:lnTo>
                    <a:lnTo>
                      <a:pt x="7355" y="1592"/>
                    </a:lnTo>
                    <a:cubicBezTo>
                      <a:pt x="7355" y="1592"/>
                      <a:pt x="604" y="4034"/>
                      <a:pt x="604" y="4034"/>
                    </a:cubicBezTo>
                    <a:lnTo>
                      <a:pt x="0" y="2662"/>
                    </a:lnTo>
                    <a:lnTo>
                      <a:pt x="156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0" name="Freeform: Shape 4219">
                <a:extLst>
                  <a:ext uri="{FF2B5EF4-FFF2-40B4-BE49-F238E27FC236}">
                    <a16:creationId xmlns:a16="http://schemas.microsoft.com/office/drawing/2014/main" id="{B909B367-01B0-A7BA-03BB-48C71CD02E02}"/>
                  </a:ext>
                </a:extLst>
              </p:cNvPr>
              <p:cNvSpPr/>
              <p:nvPr/>
            </p:nvSpPr>
            <p:spPr>
              <a:xfrm>
                <a:off x="867105" y="3641678"/>
                <a:ext cx="618" cy="824"/>
              </a:xfrm>
              <a:custGeom>
                <a:avLst/>
                <a:gdLst>
                  <a:gd name="connsiteX0" fmla="*/ 5928 w 5927"/>
                  <a:gd name="connsiteY0" fmla="*/ 4912 h 7903"/>
                  <a:gd name="connsiteX1" fmla="*/ 3458 w 5927"/>
                  <a:gd name="connsiteY1" fmla="*/ 7904 h 7903"/>
                  <a:gd name="connsiteX2" fmla="*/ 494 w 5927"/>
                  <a:gd name="connsiteY2" fmla="*/ 5461 h 7903"/>
                  <a:gd name="connsiteX3" fmla="*/ 0 w 5927"/>
                  <a:gd name="connsiteY3" fmla="*/ 2799 h 7903"/>
                  <a:gd name="connsiteX4" fmla="*/ 3238 w 5927"/>
                  <a:gd name="connsiteY4" fmla="*/ 0 h 7903"/>
                  <a:gd name="connsiteX5" fmla="*/ 5873 w 5927"/>
                  <a:gd name="connsiteY5" fmla="*/ 1427 h 7903"/>
                  <a:gd name="connsiteX6" fmla="*/ 5873 w 5927"/>
                  <a:gd name="connsiteY6" fmla="*/ 4912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7" h="7903">
                    <a:moveTo>
                      <a:pt x="5928" y="4912"/>
                    </a:moveTo>
                    <a:lnTo>
                      <a:pt x="3458" y="7904"/>
                    </a:lnTo>
                    <a:lnTo>
                      <a:pt x="494" y="5461"/>
                    </a:lnTo>
                    <a:lnTo>
                      <a:pt x="0" y="2799"/>
                    </a:lnTo>
                    <a:lnTo>
                      <a:pt x="3238" y="0"/>
                    </a:lnTo>
                    <a:lnTo>
                      <a:pt x="5873" y="1427"/>
                    </a:lnTo>
                    <a:lnTo>
                      <a:pt x="5873" y="49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1" name="Freeform: Shape 4220">
                <a:extLst>
                  <a:ext uri="{FF2B5EF4-FFF2-40B4-BE49-F238E27FC236}">
                    <a16:creationId xmlns:a16="http://schemas.microsoft.com/office/drawing/2014/main" id="{DFA6C6D7-0DA1-D6DF-1FD6-3B1B5E73330C}"/>
                  </a:ext>
                </a:extLst>
              </p:cNvPr>
              <p:cNvSpPr/>
              <p:nvPr/>
            </p:nvSpPr>
            <p:spPr>
              <a:xfrm>
                <a:off x="1115195" y="3766049"/>
                <a:ext cx="756" cy="415"/>
              </a:xfrm>
              <a:custGeom>
                <a:avLst/>
                <a:gdLst>
                  <a:gd name="connsiteX0" fmla="*/ 7245 w 7244"/>
                  <a:gd name="connsiteY0" fmla="*/ 2882 h 3979"/>
                  <a:gd name="connsiteX1" fmla="*/ 6038 w 7244"/>
                  <a:gd name="connsiteY1" fmla="*/ 3979 h 3979"/>
                  <a:gd name="connsiteX2" fmla="*/ 522 w 7244"/>
                  <a:gd name="connsiteY2" fmla="*/ 3458 h 3979"/>
                  <a:gd name="connsiteX3" fmla="*/ 0 w 7244"/>
                  <a:gd name="connsiteY3" fmla="*/ 2827 h 3979"/>
                  <a:gd name="connsiteX4" fmla="*/ 3266 w 7244"/>
                  <a:gd name="connsiteY4" fmla="*/ 0 h 3979"/>
                  <a:gd name="connsiteX5" fmla="*/ 7218 w 7244"/>
                  <a:gd name="connsiteY5" fmla="*/ 2854 h 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44" h="3979">
                    <a:moveTo>
                      <a:pt x="7245" y="2882"/>
                    </a:moveTo>
                    <a:lnTo>
                      <a:pt x="6038" y="3979"/>
                    </a:lnTo>
                    <a:lnTo>
                      <a:pt x="522" y="3458"/>
                    </a:lnTo>
                    <a:lnTo>
                      <a:pt x="0" y="2827"/>
                    </a:lnTo>
                    <a:lnTo>
                      <a:pt x="3266" y="0"/>
                    </a:lnTo>
                    <a:lnTo>
                      <a:pt x="7218"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2" name="Freeform: Shape 4221">
                <a:extLst>
                  <a:ext uri="{FF2B5EF4-FFF2-40B4-BE49-F238E27FC236}">
                    <a16:creationId xmlns:a16="http://schemas.microsoft.com/office/drawing/2014/main" id="{6813C1B9-90B2-2432-B6A8-515E88DBB229}"/>
                  </a:ext>
                </a:extLst>
              </p:cNvPr>
              <p:cNvSpPr/>
              <p:nvPr/>
            </p:nvSpPr>
            <p:spPr>
              <a:xfrm>
                <a:off x="887651" y="3636637"/>
                <a:ext cx="535" cy="839"/>
              </a:xfrm>
              <a:custGeom>
                <a:avLst/>
                <a:gdLst>
                  <a:gd name="connsiteX0" fmla="*/ 5132 w 5131"/>
                  <a:gd name="connsiteY0" fmla="*/ 384 h 8040"/>
                  <a:gd name="connsiteX1" fmla="*/ 4473 w 5131"/>
                  <a:gd name="connsiteY1" fmla="*/ 8041 h 8040"/>
                  <a:gd name="connsiteX2" fmla="*/ 0 w 5131"/>
                  <a:gd name="connsiteY2" fmla="*/ 6477 h 8040"/>
                  <a:gd name="connsiteX3" fmla="*/ 549 w 5131"/>
                  <a:gd name="connsiteY3" fmla="*/ 4226 h 8040"/>
                  <a:gd name="connsiteX4" fmla="*/ 3815 w 5131"/>
                  <a:gd name="connsiteY4" fmla="*/ 0 h 8040"/>
                  <a:gd name="connsiteX5" fmla="*/ 5132 w 5131"/>
                  <a:gd name="connsiteY5" fmla="*/ 384 h 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1" h="8040">
                    <a:moveTo>
                      <a:pt x="5132" y="384"/>
                    </a:moveTo>
                    <a:lnTo>
                      <a:pt x="4473" y="8041"/>
                    </a:lnTo>
                    <a:lnTo>
                      <a:pt x="0" y="6477"/>
                    </a:lnTo>
                    <a:lnTo>
                      <a:pt x="549" y="4226"/>
                    </a:lnTo>
                    <a:lnTo>
                      <a:pt x="3815" y="0"/>
                    </a:lnTo>
                    <a:lnTo>
                      <a:pt x="5132"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3" name="Freeform: Shape 4222">
                <a:extLst>
                  <a:ext uri="{FF2B5EF4-FFF2-40B4-BE49-F238E27FC236}">
                    <a16:creationId xmlns:a16="http://schemas.microsoft.com/office/drawing/2014/main" id="{3442A555-10C7-3F18-226E-51F215358B71}"/>
                  </a:ext>
                </a:extLst>
              </p:cNvPr>
              <p:cNvSpPr/>
              <p:nvPr/>
            </p:nvSpPr>
            <p:spPr>
              <a:xfrm>
                <a:off x="866413" y="3589357"/>
                <a:ext cx="850" cy="624"/>
              </a:xfrm>
              <a:custGeom>
                <a:avLst/>
                <a:gdLst>
                  <a:gd name="connsiteX0" fmla="*/ 8151 w 8150"/>
                  <a:gd name="connsiteY0" fmla="*/ 5104 h 5982"/>
                  <a:gd name="connsiteX1" fmla="*/ 1262 w 8150"/>
                  <a:gd name="connsiteY1" fmla="*/ 5983 h 5982"/>
                  <a:gd name="connsiteX2" fmla="*/ 0 w 8150"/>
                  <a:gd name="connsiteY2" fmla="*/ 4885 h 5982"/>
                  <a:gd name="connsiteX3" fmla="*/ 961 w 8150"/>
                  <a:gd name="connsiteY3" fmla="*/ 1592 h 5982"/>
                  <a:gd name="connsiteX4" fmla="*/ 4748 w 8150"/>
                  <a:gd name="connsiteY4" fmla="*/ 0 h 5982"/>
                  <a:gd name="connsiteX5" fmla="*/ 7931 w 8150"/>
                  <a:gd name="connsiteY5" fmla="*/ 1537 h 5982"/>
                  <a:gd name="connsiteX6" fmla="*/ 8151 w 8150"/>
                  <a:gd name="connsiteY6" fmla="*/ 5104 h 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0" h="5982">
                    <a:moveTo>
                      <a:pt x="8151" y="5104"/>
                    </a:moveTo>
                    <a:lnTo>
                      <a:pt x="1262" y="5983"/>
                    </a:lnTo>
                    <a:lnTo>
                      <a:pt x="0" y="4885"/>
                    </a:lnTo>
                    <a:lnTo>
                      <a:pt x="961" y="1592"/>
                    </a:lnTo>
                    <a:lnTo>
                      <a:pt x="4748" y="0"/>
                    </a:lnTo>
                    <a:lnTo>
                      <a:pt x="7931" y="1537"/>
                    </a:lnTo>
                    <a:lnTo>
                      <a:pt x="8151" y="51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4" name="Freeform: Shape 4223">
                <a:extLst>
                  <a:ext uri="{FF2B5EF4-FFF2-40B4-BE49-F238E27FC236}">
                    <a16:creationId xmlns:a16="http://schemas.microsoft.com/office/drawing/2014/main" id="{0B24C8BE-5B96-8F1E-F079-ABB96EF8C924}"/>
                  </a:ext>
                </a:extLst>
              </p:cNvPr>
              <p:cNvSpPr/>
              <p:nvPr/>
            </p:nvSpPr>
            <p:spPr>
              <a:xfrm>
                <a:off x="844361" y="3652543"/>
                <a:ext cx="601" cy="635"/>
              </a:xfrm>
              <a:custGeom>
                <a:avLst/>
                <a:gdLst>
                  <a:gd name="connsiteX0" fmla="*/ 5653 w 5763"/>
                  <a:gd name="connsiteY0" fmla="*/ 4062 h 6092"/>
                  <a:gd name="connsiteX1" fmla="*/ 3622 w 5763"/>
                  <a:gd name="connsiteY1" fmla="*/ 6092 h 6092"/>
                  <a:gd name="connsiteX2" fmla="*/ 0 w 5763"/>
                  <a:gd name="connsiteY2" fmla="*/ 2415 h 6092"/>
                  <a:gd name="connsiteX3" fmla="*/ 2223 w 5763"/>
                  <a:gd name="connsiteY3" fmla="*/ 0 h 6092"/>
                  <a:gd name="connsiteX4" fmla="*/ 5763 w 5763"/>
                  <a:gd name="connsiteY4" fmla="*/ 1372 h 6092"/>
                  <a:gd name="connsiteX5" fmla="*/ 5681 w 5763"/>
                  <a:gd name="connsiteY5" fmla="*/ 4062 h 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3" h="6092">
                    <a:moveTo>
                      <a:pt x="5653" y="4062"/>
                    </a:moveTo>
                    <a:lnTo>
                      <a:pt x="3622" y="6092"/>
                    </a:lnTo>
                    <a:lnTo>
                      <a:pt x="0" y="2415"/>
                    </a:lnTo>
                    <a:lnTo>
                      <a:pt x="2223" y="0"/>
                    </a:lnTo>
                    <a:lnTo>
                      <a:pt x="5763" y="1372"/>
                    </a:lnTo>
                    <a:lnTo>
                      <a:pt x="5681" y="40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5" name="Freeform: Shape 4224">
                <a:extLst>
                  <a:ext uri="{FF2B5EF4-FFF2-40B4-BE49-F238E27FC236}">
                    <a16:creationId xmlns:a16="http://schemas.microsoft.com/office/drawing/2014/main" id="{8548C208-61F5-7177-7714-BA181552441D}"/>
                  </a:ext>
                </a:extLst>
              </p:cNvPr>
              <p:cNvSpPr/>
              <p:nvPr/>
            </p:nvSpPr>
            <p:spPr>
              <a:xfrm>
                <a:off x="842604" y="3629367"/>
                <a:ext cx="801" cy="495"/>
              </a:xfrm>
              <a:custGeom>
                <a:avLst/>
                <a:gdLst>
                  <a:gd name="connsiteX0" fmla="*/ 7684 w 7684"/>
                  <a:gd name="connsiteY0" fmla="*/ 2552 h 4747"/>
                  <a:gd name="connsiteX1" fmla="*/ 4309 w 7684"/>
                  <a:gd name="connsiteY1" fmla="*/ 4748 h 4747"/>
                  <a:gd name="connsiteX2" fmla="*/ 0 w 7684"/>
                  <a:gd name="connsiteY2" fmla="*/ 3183 h 4747"/>
                  <a:gd name="connsiteX3" fmla="*/ 604 w 7684"/>
                  <a:gd name="connsiteY3" fmla="*/ 933 h 4747"/>
                  <a:gd name="connsiteX4" fmla="*/ 7190 w 7684"/>
                  <a:gd name="connsiteY4" fmla="*/ 0 h 4747"/>
                  <a:gd name="connsiteX5" fmla="*/ 7684 w 7684"/>
                  <a:gd name="connsiteY5" fmla="*/ 2552 h 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84" h="4747">
                    <a:moveTo>
                      <a:pt x="7684" y="2552"/>
                    </a:moveTo>
                    <a:lnTo>
                      <a:pt x="4309" y="4748"/>
                    </a:lnTo>
                    <a:lnTo>
                      <a:pt x="0" y="3183"/>
                    </a:lnTo>
                    <a:lnTo>
                      <a:pt x="604" y="933"/>
                    </a:lnTo>
                    <a:lnTo>
                      <a:pt x="7190" y="0"/>
                    </a:lnTo>
                    <a:lnTo>
                      <a:pt x="7684"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6" name="Freeform: Shape 4225">
                <a:extLst>
                  <a:ext uri="{FF2B5EF4-FFF2-40B4-BE49-F238E27FC236}">
                    <a16:creationId xmlns:a16="http://schemas.microsoft.com/office/drawing/2014/main" id="{65DF819B-D116-BA23-ACE0-915667E635CE}"/>
                  </a:ext>
                </a:extLst>
              </p:cNvPr>
              <p:cNvSpPr/>
              <p:nvPr/>
            </p:nvSpPr>
            <p:spPr>
              <a:xfrm>
                <a:off x="912926" y="3608414"/>
                <a:ext cx="578" cy="753"/>
              </a:xfrm>
              <a:custGeom>
                <a:avLst/>
                <a:gdLst>
                  <a:gd name="connsiteX0" fmla="*/ 5543 w 5543"/>
                  <a:gd name="connsiteY0" fmla="*/ 4528 h 7217"/>
                  <a:gd name="connsiteX1" fmla="*/ 3101 w 5543"/>
                  <a:gd name="connsiteY1" fmla="*/ 7218 h 7217"/>
                  <a:gd name="connsiteX2" fmla="*/ 0 w 5543"/>
                  <a:gd name="connsiteY2" fmla="*/ 5077 h 7217"/>
                  <a:gd name="connsiteX3" fmla="*/ 467 w 5543"/>
                  <a:gd name="connsiteY3" fmla="*/ 768 h 7217"/>
                  <a:gd name="connsiteX4" fmla="*/ 3238 w 5543"/>
                  <a:gd name="connsiteY4" fmla="*/ 0 h 7217"/>
                  <a:gd name="connsiteX5" fmla="*/ 5516 w 5543"/>
                  <a:gd name="connsiteY5" fmla="*/ 4555 h 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3" h="7217">
                    <a:moveTo>
                      <a:pt x="5543" y="4528"/>
                    </a:moveTo>
                    <a:lnTo>
                      <a:pt x="3101" y="7218"/>
                    </a:lnTo>
                    <a:lnTo>
                      <a:pt x="0" y="5077"/>
                    </a:lnTo>
                    <a:lnTo>
                      <a:pt x="467" y="768"/>
                    </a:lnTo>
                    <a:lnTo>
                      <a:pt x="3238" y="0"/>
                    </a:lnTo>
                    <a:lnTo>
                      <a:pt x="5516" y="45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7" name="Freeform: Shape 4226">
                <a:extLst>
                  <a:ext uri="{FF2B5EF4-FFF2-40B4-BE49-F238E27FC236}">
                    <a16:creationId xmlns:a16="http://schemas.microsoft.com/office/drawing/2014/main" id="{BDC36F49-B1A2-BCC7-0434-BE510DE650BF}"/>
                  </a:ext>
                </a:extLst>
              </p:cNvPr>
              <p:cNvSpPr/>
              <p:nvPr/>
            </p:nvSpPr>
            <p:spPr>
              <a:xfrm>
                <a:off x="1110770" y="3766218"/>
                <a:ext cx="498" cy="472"/>
              </a:xfrm>
              <a:custGeom>
                <a:avLst/>
                <a:gdLst>
                  <a:gd name="connsiteX0" fmla="*/ 4309 w 4775"/>
                  <a:gd name="connsiteY0" fmla="*/ 1537 h 4528"/>
                  <a:gd name="connsiteX1" fmla="*/ 1015 w 4775"/>
                  <a:gd name="connsiteY1" fmla="*/ 4528 h 4528"/>
                  <a:gd name="connsiteX2" fmla="*/ 0 w 4775"/>
                  <a:gd name="connsiteY2" fmla="*/ 3924 h 4528"/>
                  <a:gd name="connsiteX3" fmla="*/ 2360 w 4775"/>
                  <a:gd name="connsiteY3" fmla="*/ 961 h 4528"/>
                  <a:gd name="connsiteX4" fmla="*/ 4775 w 4775"/>
                  <a:gd name="connsiteY4" fmla="*/ 0 h 4528"/>
                  <a:gd name="connsiteX5" fmla="*/ 4309 w 4775"/>
                  <a:gd name="connsiteY5" fmla="*/ 1537 h 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 h="4528">
                    <a:moveTo>
                      <a:pt x="4309" y="1537"/>
                    </a:moveTo>
                    <a:lnTo>
                      <a:pt x="1015" y="4528"/>
                    </a:lnTo>
                    <a:lnTo>
                      <a:pt x="0" y="3924"/>
                    </a:lnTo>
                    <a:lnTo>
                      <a:pt x="2360" y="961"/>
                    </a:lnTo>
                    <a:lnTo>
                      <a:pt x="4775" y="0"/>
                    </a:lnTo>
                    <a:lnTo>
                      <a:pt x="4309" y="15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8" name="Freeform: Shape 4227">
                <a:extLst>
                  <a:ext uri="{FF2B5EF4-FFF2-40B4-BE49-F238E27FC236}">
                    <a16:creationId xmlns:a16="http://schemas.microsoft.com/office/drawing/2014/main" id="{67CA5553-BCE6-ACBD-CF41-A0D398A919EE}"/>
                  </a:ext>
                </a:extLst>
              </p:cNvPr>
              <p:cNvSpPr/>
              <p:nvPr/>
            </p:nvSpPr>
            <p:spPr>
              <a:xfrm>
                <a:off x="824912" y="3656527"/>
                <a:ext cx="521" cy="650"/>
              </a:xfrm>
              <a:custGeom>
                <a:avLst/>
                <a:gdLst>
                  <a:gd name="connsiteX0" fmla="*/ 4995 w 4994"/>
                  <a:gd name="connsiteY0" fmla="*/ 2168 h 6229"/>
                  <a:gd name="connsiteX1" fmla="*/ 4007 w 4994"/>
                  <a:gd name="connsiteY1" fmla="*/ 6230 h 6229"/>
                  <a:gd name="connsiteX2" fmla="*/ 0 w 4994"/>
                  <a:gd name="connsiteY2" fmla="*/ 4254 h 6229"/>
                  <a:gd name="connsiteX3" fmla="*/ 1070 w 4994"/>
                  <a:gd name="connsiteY3" fmla="*/ 0 h 6229"/>
                  <a:gd name="connsiteX4" fmla="*/ 2854 w 4994"/>
                  <a:gd name="connsiteY4" fmla="*/ 0 h 6229"/>
                  <a:gd name="connsiteX5" fmla="*/ 4995 w 4994"/>
                  <a:gd name="connsiteY5" fmla="*/ 2168 h 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4" h="6229">
                    <a:moveTo>
                      <a:pt x="4995" y="2168"/>
                    </a:moveTo>
                    <a:lnTo>
                      <a:pt x="4007" y="6230"/>
                    </a:lnTo>
                    <a:lnTo>
                      <a:pt x="0" y="4254"/>
                    </a:lnTo>
                    <a:lnTo>
                      <a:pt x="1070" y="0"/>
                    </a:lnTo>
                    <a:lnTo>
                      <a:pt x="2854" y="0"/>
                    </a:lnTo>
                    <a:lnTo>
                      <a:pt x="4995"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9" name="Freeform: Shape 4228">
                <a:extLst>
                  <a:ext uri="{FF2B5EF4-FFF2-40B4-BE49-F238E27FC236}">
                    <a16:creationId xmlns:a16="http://schemas.microsoft.com/office/drawing/2014/main" id="{19046925-8950-C0C3-FF29-ED1DE6C5772F}"/>
                  </a:ext>
                </a:extLst>
              </p:cNvPr>
              <p:cNvSpPr/>
              <p:nvPr/>
            </p:nvSpPr>
            <p:spPr>
              <a:xfrm>
                <a:off x="916277" y="3615960"/>
                <a:ext cx="475" cy="850"/>
              </a:xfrm>
              <a:custGeom>
                <a:avLst/>
                <a:gdLst>
                  <a:gd name="connsiteX0" fmla="*/ 4556 w 4555"/>
                  <a:gd name="connsiteY0" fmla="*/ 2964 h 8150"/>
                  <a:gd name="connsiteX1" fmla="*/ 1482 w 4555"/>
                  <a:gd name="connsiteY1" fmla="*/ 8150 h 8150"/>
                  <a:gd name="connsiteX2" fmla="*/ 0 w 4555"/>
                  <a:gd name="connsiteY2" fmla="*/ 6970 h 8150"/>
                  <a:gd name="connsiteX3" fmla="*/ 3897 w 4555"/>
                  <a:gd name="connsiteY3" fmla="*/ 0 h 8150"/>
                  <a:gd name="connsiteX4" fmla="*/ 4556 w 4555"/>
                  <a:gd name="connsiteY4" fmla="*/ 2991 h 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8150">
                    <a:moveTo>
                      <a:pt x="4556" y="2964"/>
                    </a:moveTo>
                    <a:lnTo>
                      <a:pt x="1482" y="8150"/>
                    </a:lnTo>
                    <a:lnTo>
                      <a:pt x="0" y="6970"/>
                    </a:lnTo>
                    <a:lnTo>
                      <a:pt x="3897" y="0"/>
                    </a:lnTo>
                    <a:lnTo>
                      <a:pt x="4556" y="29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0" name="Freeform: Shape 4229">
                <a:extLst>
                  <a:ext uri="{FF2B5EF4-FFF2-40B4-BE49-F238E27FC236}">
                    <a16:creationId xmlns:a16="http://schemas.microsoft.com/office/drawing/2014/main" id="{D8BC7074-BED5-ECB2-3332-B5BCFAED8A42}"/>
                  </a:ext>
                </a:extLst>
              </p:cNvPr>
              <p:cNvSpPr/>
              <p:nvPr/>
            </p:nvSpPr>
            <p:spPr>
              <a:xfrm>
                <a:off x="864432" y="3642817"/>
                <a:ext cx="644" cy="538"/>
              </a:xfrm>
              <a:custGeom>
                <a:avLst/>
                <a:gdLst>
                  <a:gd name="connsiteX0" fmla="*/ 6175 w 6174"/>
                  <a:gd name="connsiteY0" fmla="*/ 2964 h 5159"/>
                  <a:gd name="connsiteX1" fmla="*/ 5159 w 6174"/>
                  <a:gd name="connsiteY1" fmla="*/ 5159 h 5159"/>
                  <a:gd name="connsiteX2" fmla="*/ 0 w 6174"/>
                  <a:gd name="connsiteY2" fmla="*/ 2964 h 5159"/>
                  <a:gd name="connsiteX3" fmla="*/ 247 w 6174"/>
                  <a:gd name="connsiteY3" fmla="*/ 1180 h 5159"/>
                  <a:gd name="connsiteX4" fmla="*/ 3650 w 6174"/>
                  <a:gd name="connsiteY4" fmla="*/ 0 h 5159"/>
                  <a:gd name="connsiteX5" fmla="*/ 6175 w 6174"/>
                  <a:gd name="connsiteY5" fmla="*/ 2964 h 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74" h="5159">
                    <a:moveTo>
                      <a:pt x="6175" y="2964"/>
                    </a:moveTo>
                    <a:lnTo>
                      <a:pt x="5159" y="5159"/>
                    </a:lnTo>
                    <a:lnTo>
                      <a:pt x="0" y="2964"/>
                    </a:lnTo>
                    <a:lnTo>
                      <a:pt x="247" y="1180"/>
                    </a:lnTo>
                    <a:lnTo>
                      <a:pt x="3650" y="0"/>
                    </a:lnTo>
                    <a:lnTo>
                      <a:pt x="6175"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1" name="Freeform: Shape 4230">
                <a:extLst>
                  <a:ext uri="{FF2B5EF4-FFF2-40B4-BE49-F238E27FC236}">
                    <a16:creationId xmlns:a16="http://schemas.microsoft.com/office/drawing/2014/main" id="{BE6E3D9C-0A76-DC46-8BB8-1B2B3681D4F5}"/>
                  </a:ext>
                </a:extLst>
              </p:cNvPr>
              <p:cNvSpPr/>
              <p:nvPr/>
            </p:nvSpPr>
            <p:spPr>
              <a:xfrm>
                <a:off x="894332" y="3616549"/>
                <a:ext cx="627" cy="587"/>
              </a:xfrm>
              <a:custGeom>
                <a:avLst/>
                <a:gdLst>
                  <a:gd name="connsiteX0" fmla="*/ 6010 w 6010"/>
                  <a:gd name="connsiteY0" fmla="*/ 4501 h 5625"/>
                  <a:gd name="connsiteX1" fmla="*/ 1317 w 6010"/>
                  <a:gd name="connsiteY1" fmla="*/ 5626 h 5625"/>
                  <a:gd name="connsiteX2" fmla="*/ 0 w 6010"/>
                  <a:gd name="connsiteY2" fmla="*/ 4610 h 5625"/>
                  <a:gd name="connsiteX3" fmla="*/ 604 w 6010"/>
                  <a:gd name="connsiteY3" fmla="*/ 1345 h 5625"/>
                  <a:gd name="connsiteX4" fmla="*/ 5159 w 6010"/>
                  <a:gd name="connsiteY4" fmla="*/ 0 h 5625"/>
                  <a:gd name="connsiteX5" fmla="*/ 6010 w 6010"/>
                  <a:gd name="connsiteY5" fmla="*/ 4501 h 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0" h="5625">
                    <a:moveTo>
                      <a:pt x="6010" y="4501"/>
                    </a:moveTo>
                    <a:lnTo>
                      <a:pt x="1317" y="5626"/>
                    </a:lnTo>
                    <a:lnTo>
                      <a:pt x="0" y="4610"/>
                    </a:lnTo>
                    <a:lnTo>
                      <a:pt x="604" y="1345"/>
                    </a:lnTo>
                    <a:lnTo>
                      <a:pt x="5159" y="0"/>
                    </a:lnTo>
                    <a:lnTo>
                      <a:pt x="6010" y="45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2" name="Freeform: Shape 4231">
                <a:extLst>
                  <a:ext uri="{FF2B5EF4-FFF2-40B4-BE49-F238E27FC236}">
                    <a16:creationId xmlns:a16="http://schemas.microsoft.com/office/drawing/2014/main" id="{48FF7AFA-C404-42AF-7721-1AE04E4F9897}"/>
                  </a:ext>
                </a:extLst>
              </p:cNvPr>
              <p:cNvSpPr/>
              <p:nvPr/>
            </p:nvSpPr>
            <p:spPr>
              <a:xfrm>
                <a:off x="873689" y="3641763"/>
                <a:ext cx="441" cy="610"/>
              </a:xfrm>
              <a:custGeom>
                <a:avLst/>
                <a:gdLst>
                  <a:gd name="connsiteX0" fmla="*/ 4226 w 4226"/>
                  <a:gd name="connsiteY0" fmla="*/ 3485 h 5845"/>
                  <a:gd name="connsiteX1" fmla="*/ 2195 w 4226"/>
                  <a:gd name="connsiteY1" fmla="*/ 5845 h 5845"/>
                  <a:gd name="connsiteX2" fmla="*/ 0 w 4226"/>
                  <a:gd name="connsiteY2" fmla="*/ 2223 h 5845"/>
                  <a:gd name="connsiteX3" fmla="*/ 1729 w 4226"/>
                  <a:gd name="connsiteY3" fmla="*/ 0 h 5845"/>
                  <a:gd name="connsiteX4" fmla="*/ 4226 w 4226"/>
                  <a:gd name="connsiteY4" fmla="*/ 3485 h 5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 h="5845">
                    <a:moveTo>
                      <a:pt x="4226" y="3485"/>
                    </a:moveTo>
                    <a:lnTo>
                      <a:pt x="2195" y="5845"/>
                    </a:lnTo>
                    <a:lnTo>
                      <a:pt x="0" y="2223"/>
                    </a:lnTo>
                    <a:lnTo>
                      <a:pt x="1729" y="0"/>
                    </a:lnTo>
                    <a:lnTo>
                      <a:pt x="4226"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3" name="Freeform: Shape 4232">
                <a:extLst>
                  <a:ext uri="{FF2B5EF4-FFF2-40B4-BE49-F238E27FC236}">
                    <a16:creationId xmlns:a16="http://schemas.microsoft.com/office/drawing/2014/main" id="{DA614F3C-2DAC-2472-615A-CFDAABAB9E14}"/>
                  </a:ext>
                </a:extLst>
              </p:cNvPr>
              <p:cNvSpPr/>
              <p:nvPr/>
            </p:nvSpPr>
            <p:spPr>
              <a:xfrm>
                <a:off x="884259" y="3634828"/>
                <a:ext cx="449" cy="607"/>
              </a:xfrm>
              <a:custGeom>
                <a:avLst/>
                <a:gdLst>
                  <a:gd name="connsiteX0" fmla="*/ 3156 w 4308"/>
                  <a:gd name="connsiteY0" fmla="*/ 3815 h 5817"/>
                  <a:gd name="connsiteX1" fmla="*/ 1564 w 4308"/>
                  <a:gd name="connsiteY1" fmla="*/ 5818 h 5817"/>
                  <a:gd name="connsiteX2" fmla="*/ 0 w 4308"/>
                  <a:gd name="connsiteY2" fmla="*/ 2497 h 5817"/>
                  <a:gd name="connsiteX3" fmla="*/ 1811 w 4308"/>
                  <a:gd name="connsiteY3" fmla="*/ 0 h 5817"/>
                  <a:gd name="connsiteX4" fmla="*/ 3156 w 4308"/>
                  <a:gd name="connsiteY4" fmla="*/ 1262 h 5817"/>
                  <a:gd name="connsiteX5" fmla="*/ 4309 w 4308"/>
                  <a:gd name="connsiteY5" fmla="*/ 2333 h 5817"/>
                  <a:gd name="connsiteX6" fmla="*/ 3156 w 4308"/>
                  <a:gd name="connsiteY6" fmla="*/ 3815 h 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8" h="5817">
                    <a:moveTo>
                      <a:pt x="3156" y="3815"/>
                    </a:moveTo>
                    <a:lnTo>
                      <a:pt x="1564" y="5818"/>
                    </a:lnTo>
                    <a:lnTo>
                      <a:pt x="0" y="2497"/>
                    </a:lnTo>
                    <a:lnTo>
                      <a:pt x="1811" y="0"/>
                    </a:lnTo>
                    <a:lnTo>
                      <a:pt x="3156" y="1262"/>
                    </a:lnTo>
                    <a:lnTo>
                      <a:pt x="4309" y="2333"/>
                    </a:lnTo>
                    <a:lnTo>
                      <a:pt x="3156" y="38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4" name="Freeform: Shape 4233">
                <a:extLst>
                  <a:ext uri="{FF2B5EF4-FFF2-40B4-BE49-F238E27FC236}">
                    <a16:creationId xmlns:a16="http://schemas.microsoft.com/office/drawing/2014/main" id="{37A9F248-CD05-0878-C276-D40BF8B18227}"/>
                  </a:ext>
                </a:extLst>
              </p:cNvPr>
              <p:cNvSpPr/>
              <p:nvPr/>
            </p:nvSpPr>
            <p:spPr>
              <a:xfrm>
                <a:off x="873156" y="3620224"/>
                <a:ext cx="329" cy="893"/>
              </a:xfrm>
              <a:custGeom>
                <a:avLst/>
                <a:gdLst>
                  <a:gd name="connsiteX0" fmla="*/ 3156 w 3155"/>
                  <a:gd name="connsiteY0" fmla="*/ 2936 h 8562"/>
                  <a:gd name="connsiteX1" fmla="*/ 1647 w 3155"/>
                  <a:gd name="connsiteY1" fmla="*/ 8562 h 8562"/>
                  <a:gd name="connsiteX2" fmla="*/ 0 w 3155"/>
                  <a:gd name="connsiteY2" fmla="*/ 4583 h 8562"/>
                  <a:gd name="connsiteX3" fmla="*/ 1647 w 3155"/>
                  <a:gd name="connsiteY3" fmla="*/ 0 h 8562"/>
                  <a:gd name="connsiteX4" fmla="*/ 3128 w 3155"/>
                  <a:gd name="connsiteY4" fmla="*/ 2936 h 8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5" h="8562">
                    <a:moveTo>
                      <a:pt x="3156" y="2936"/>
                    </a:moveTo>
                    <a:lnTo>
                      <a:pt x="1647" y="8562"/>
                    </a:lnTo>
                    <a:lnTo>
                      <a:pt x="0" y="4583"/>
                    </a:lnTo>
                    <a:lnTo>
                      <a:pt x="1647" y="0"/>
                    </a:lnTo>
                    <a:lnTo>
                      <a:pt x="3128" y="29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5" name="Freeform: Shape 4234">
                <a:extLst>
                  <a:ext uri="{FF2B5EF4-FFF2-40B4-BE49-F238E27FC236}">
                    <a16:creationId xmlns:a16="http://schemas.microsoft.com/office/drawing/2014/main" id="{BB634CE2-E756-D04E-BF37-B24AFE8813BB}"/>
                  </a:ext>
                </a:extLst>
              </p:cNvPr>
              <p:cNvSpPr/>
              <p:nvPr/>
            </p:nvSpPr>
            <p:spPr>
              <a:xfrm>
                <a:off x="820152" y="3658248"/>
                <a:ext cx="449" cy="538"/>
              </a:xfrm>
              <a:custGeom>
                <a:avLst/>
                <a:gdLst>
                  <a:gd name="connsiteX0" fmla="*/ 4309 w 4308"/>
                  <a:gd name="connsiteY0" fmla="*/ 3019 h 5159"/>
                  <a:gd name="connsiteX1" fmla="*/ 2360 w 4308"/>
                  <a:gd name="connsiteY1" fmla="*/ 5159 h 5159"/>
                  <a:gd name="connsiteX2" fmla="*/ 0 w 4308"/>
                  <a:gd name="connsiteY2" fmla="*/ 2772 h 5159"/>
                  <a:gd name="connsiteX3" fmla="*/ 3348 w 4308"/>
                  <a:gd name="connsiteY3" fmla="*/ 0 h 5159"/>
                  <a:gd name="connsiteX4" fmla="*/ 4309 w 4308"/>
                  <a:gd name="connsiteY4" fmla="*/ 3019 h 5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5159">
                    <a:moveTo>
                      <a:pt x="4309" y="3019"/>
                    </a:moveTo>
                    <a:lnTo>
                      <a:pt x="2360" y="5159"/>
                    </a:lnTo>
                    <a:lnTo>
                      <a:pt x="0" y="2772"/>
                    </a:lnTo>
                    <a:lnTo>
                      <a:pt x="3348" y="0"/>
                    </a:lnTo>
                    <a:lnTo>
                      <a:pt x="4309"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6" name="Freeform: Shape 4235">
                <a:extLst>
                  <a:ext uri="{FF2B5EF4-FFF2-40B4-BE49-F238E27FC236}">
                    <a16:creationId xmlns:a16="http://schemas.microsoft.com/office/drawing/2014/main" id="{28BEE87E-E226-113A-FEF3-B75CA5ADF932}"/>
                  </a:ext>
                </a:extLst>
              </p:cNvPr>
              <p:cNvSpPr/>
              <p:nvPr/>
            </p:nvSpPr>
            <p:spPr>
              <a:xfrm>
                <a:off x="984707" y="3682323"/>
                <a:ext cx="326" cy="653"/>
              </a:xfrm>
              <a:custGeom>
                <a:avLst/>
                <a:gdLst>
                  <a:gd name="connsiteX0" fmla="*/ 3129 w 3128"/>
                  <a:gd name="connsiteY0" fmla="*/ 1701 h 6257"/>
                  <a:gd name="connsiteX1" fmla="*/ 2195 w 3128"/>
                  <a:gd name="connsiteY1" fmla="*/ 6257 h 6257"/>
                  <a:gd name="connsiteX2" fmla="*/ 0 w 3128"/>
                  <a:gd name="connsiteY2" fmla="*/ 2251 h 6257"/>
                  <a:gd name="connsiteX3" fmla="*/ 988 w 3128"/>
                  <a:gd name="connsiteY3" fmla="*/ 0 h 6257"/>
                  <a:gd name="connsiteX4" fmla="*/ 3129 w 3128"/>
                  <a:gd name="connsiteY4" fmla="*/ 1701 h 6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8" h="6257">
                    <a:moveTo>
                      <a:pt x="3129" y="1701"/>
                    </a:moveTo>
                    <a:lnTo>
                      <a:pt x="2195" y="6257"/>
                    </a:lnTo>
                    <a:lnTo>
                      <a:pt x="0" y="2251"/>
                    </a:lnTo>
                    <a:lnTo>
                      <a:pt x="988" y="0"/>
                    </a:lnTo>
                    <a:lnTo>
                      <a:pt x="3129"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7" name="Freeform: Shape 4236">
                <a:extLst>
                  <a:ext uri="{FF2B5EF4-FFF2-40B4-BE49-F238E27FC236}">
                    <a16:creationId xmlns:a16="http://schemas.microsoft.com/office/drawing/2014/main" id="{15512EF6-768C-8258-4FBD-C570939E3619}"/>
                  </a:ext>
                </a:extLst>
              </p:cNvPr>
              <p:cNvSpPr/>
              <p:nvPr/>
            </p:nvSpPr>
            <p:spPr>
              <a:xfrm>
                <a:off x="839813" y="3654346"/>
                <a:ext cx="472" cy="507"/>
              </a:xfrm>
              <a:custGeom>
                <a:avLst/>
                <a:gdLst>
                  <a:gd name="connsiteX0" fmla="*/ 4528 w 4528"/>
                  <a:gd name="connsiteY0" fmla="*/ 2196 h 4857"/>
                  <a:gd name="connsiteX1" fmla="*/ 2882 w 4528"/>
                  <a:gd name="connsiteY1" fmla="*/ 4857 h 4857"/>
                  <a:gd name="connsiteX2" fmla="*/ 0 w 4528"/>
                  <a:gd name="connsiteY2" fmla="*/ 3595 h 4857"/>
                  <a:gd name="connsiteX3" fmla="*/ 2223 w 4528"/>
                  <a:gd name="connsiteY3" fmla="*/ 0 h 4857"/>
                  <a:gd name="connsiteX4" fmla="*/ 4528 w 4528"/>
                  <a:gd name="connsiteY4" fmla="*/ 2196 h 4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8" h="4857">
                    <a:moveTo>
                      <a:pt x="4528" y="2196"/>
                    </a:moveTo>
                    <a:lnTo>
                      <a:pt x="2882" y="4857"/>
                    </a:lnTo>
                    <a:lnTo>
                      <a:pt x="0" y="3595"/>
                    </a:lnTo>
                    <a:lnTo>
                      <a:pt x="2223" y="0"/>
                    </a:lnTo>
                    <a:lnTo>
                      <a:pt x="4528" y="21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8" name="Freeform: Shape 4237">
                <a:extLst>
                  <a:ext uri="{FF2B5EF4-FFF2-40B4-BE49-F238E27FC236}">
                    <a16:creationId xmlns:a16="http://schemas.microsoft.com/office/drawing/2014/main" id="{75F9684D-0859-AAFE-76DB-D79648D99A78}"/>
                  </a:ext>
                </a:extLst>
              </p:cNvPr>
              <p:cNvSpPr/>
              <p:nvPr/>
            </p:nvSpPr>
            <p:spPr>
              <a:xfrm>
                <a:off x="834191" y="3608535"/>
                <a:ext cx="452" cy="658"/>
              </a:xfrm>
              <a:custGeom>
                <a:avLst/>
                <a:gdLst>
                  <a:gd name="connsiteX0" fmla="*/ 4309 w 4335"/>
                  <a:gd name="connsiteY0" fmla="*/ 2772 h 6311"/>
                  <a:gd name="connsiteX1" fmla="*/ 2607 w 4335"/>
                  <a:gd name="connsiteY1" fmla="*/ 6312 h 6311"/>
                  <a:gd name="connsiteX2" fmla="*/ 0 w 4335"/>
                  <a:gd name="connsiteY2" fmla="*/ 4116 h 6311"/>
                  <a:gd name="connsiteX3" fmla="*/ 1729 w 4335"/>
                  <a:gd name="connsiteY3" fmla="*/ 0 h 6311"/>
                  <a:gd name="connsiteX4" fmla="*/ 4336 w 4335"/>
                  <a:gd name="connsiteY4" fmla="*/ 2772 h 6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5" h="6311">
                    <a:moveTo>
                      <a:pt x="4309" y="2772"/>
                    </a:moveTo>
                    <a:lnTo>
                      <a:pt x="2607" y="6312"/>
                    </a:lnTo>
                    <a:lnTo>
                      <a:pt x="0" y="4116"/>
                    </a:lnTo>
                    <a:lnTo>
                      <a:pt x="1729" y="0"/>
                    </a:lnTo>
                    <a:lnTo>
                      <a:pt x="4336"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9" name="Freeform: Shape 4238">
                <a:extLst>
                  <a:ext uri="{FF2B5EF4-FFF2-40B4-BE49-F238E27FC236}">
                    <a16:creationId xmlns:a16="http://schemas.microsoft.com/office/drawing/2014/main" id="{D64A19BB-04A4-37C7-5A56-9BA6AE99FA7F}"/>
                  </a:ext>
                </a:extLst>
              </p:cNvPr>
              <p:cNvSpPr/>
              <p:nvPr/>
            </p:nvSpPr>
            <p:spPr>
              <a:xfrm>
                <a:off x="899407" y="3623281"/>
                <a:ext cx="375" cy="733"/>
              </a:xfrm>
              <a:custGeom>
                <a:avLst/>
                <a:gdLst>
                  <a:gd name="connsiteX0" fmla="*/ 3568 w 3595"/>
                  <a:gd name="connsiteY0" fmla="*/ 4171 h 7025"/>
                  <a:gd name="connsiteX1" fmla="*/ 933 w 3595"/>
                  <a:gd name="connsiteY1" fmla="*/ 7025 h 7025"/>
                  <a:gd name="connsiteX2" fmla="*/ 0 w 3595"/>
                  <a:gd name="connsiteY2" fmla="*/ 3622 h 7025"/>
                  <a:gd name="connsiteX3" fmla="*/ 3129 w 3595"/>
                  <a:gd name="connsiteY3" fmla="*/ 0 h 7025"/>
                  <a:gd name="connsiteX4" fmla="*/ 3595 w 3595"/>
                  <a:gd name="connsiteY4" fmla="*/ 4199 h 7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7025">
                    <a:moveTo>
                      <a:pt x="3568" y="4171"/>
                    </a:moveTo>
                    <a:lnTo>
                      <a:pt x="933" y="7025"/>
                    </a:lnTo>
                    <a:lnTo>
                      <a:pt x="0" y="3622"/>
                    </a:lnTo>
                    <a:lnTo>
                      <a:pt x="3129" y="0"/>
                    </a:lnTo>
                    <a:lnTo>
                      <a:pt x="3595" y="41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0" name="Freeform: Shape 4239">
                <a:extLst>
                  <a:ext uri="{FF2B5EF4-FFF2-40B4-BE49-F238E27FC236}">
                    <a16:creationId xmlns:a16="http://schemas.microsoft.com/office/drawing/2014/main" id="{43C72A36-547C-CDCA-CECA-DB36F85BBA49}"/>
                  </a:ext>
                </a:extLst>
              </p:cNvPr>
              <p:cNvSpPr/>
              <p:nvPr/>
            </p:nvSpPr>
            <p:spPr>
              <a:xfrm>
                <a:off x="906276" y="3614068"/>
                <a:ext cx="432" cy="644"/>
              </a:xfrm>
              <a:custGeom>
                <a:avLst/>
                <a:gdLst>
                  <a:gd name="connsiteX0" fmla="*/ 4144 w 4143"/>
                  <a:gd name="connsiteY0" fmla="*/ 3211 h 6174"/>
                  <a:gd name="connsiteX1" fmla="*/ 4089 w 4143"/>
                  <a:gd name="connsiteY1" fmla="*/ 6175 h 6174"/>
                  <a:gd name="connsiteX2" fmla="*/ 1509 w 4143"/>
                  <a:gd name="connsiteY2" fmla="*/ 5598 h 6174"/>
                  <a:gd name="connsiteX3" fmla="*/ 0 w 4143"/>
                  <a:gd name="connsiteY3" fmla="*/ 0 h 6174"/>
                  <a:gd name="connsiteX4" fmla="*/ 1262 w 4143"/>
                  <a:gd name="connsiteY4" fmla="*/ 0 h 6174"/>
                  <a:gd name="connsiteX5" fmla="*/ 4144 w 4143"/>
                  <a:gd name="connsiteY5" fmla="*/ 3211 h 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3" h="6174">
                    <a:moveTo>
                      <a:pt x="4144" y="3211"/>
                    </a:moveTo>
                    <a:lnTo>
                      <a:pt x="4089" y="6175"/>
                    </a:lnTo>
                    <a:lnTo>
                      <a:pt x="1509" y="5598"/>
                    </a:lnTo>
                    <a:lnTo>
                      <a:pt x="0" y="0"/>
                    </a:lnTo>
                    <a:lnTo>
                      <a:pt x="1262" y="0"/>
                    </a:lnTo>
                    <a:lnTo>
                      <a:pt x="4144"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1" name="Freeform: Shape 4240">
                <a:extLst>
                  <a:ext uri="{FF2B5EF4-FFF2-40B4-BE49-F238E27FC236}">
                    <a16:creationId xmlns:a16="http://schemas.microsoft.com/office/drawing/2014/main" id="{915CD14E-9844-A379-F85A-3E6FB8F5D18C}"/>
                  </a:ext>
                </a:extLst>
              </p:cNvPr>
              <p:cNvSpPr/>
              <p:nvPr/>
            </p:nvSpPr>
            <p:spPr>
              <a:xfrm>
                <a:off x="876508" y="3641918"/>
                <a:ext cx="544" cy="444"/>
              </a:xfrm>
              <a:custGeom>
                <a:avLst/>
                <a:gdLst>
                  <a:gd name="connsiteX0" fmla="*/ 4967 w 5214"/>
                  <a:gd name="connsiteY0" fmla="*/ 2717 h 4253"/>
                  <a:gd name="connsiteX1" fmla="*/ 1564 w 5214"/>
                  <a:gd name="connsiteY1" fmla="*/ 4254 h 4253"/>
                  <a:gd name="connsiteX2" fmla="*/ 0 w 5214"/>
                  <a:gd name="connsiteY2" fmla="*/ 1866 h 4253"/>
                  <a:gd name="connsiteX3" fmla="*/ 5214 w 5214"/>
                  <a:gd name="connsiteY3" fmla="*/ 0 h 4253"/>
                  <a:gd name="connsiteX4" fmla="*/ 4940 w 5214"/>
                  <a:gd name="connsiteY4" fmla="*/ 2744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4" h="4253">
                    <a:moveTo>
                      <a:pt x="4967" y="2717"/>
                    </a:moveTo>
                    <a:lnTo>
                      <a:pt x="1564" y="4254"/>
                    </a:lnTo>
                    <a:lnTo>
                      <a:pt x="0" y="1866"/>
                    </a:lnTo>
                    <a:lnTo>
                      <a:pt x="5214" y="0"/>
                    </a:lnTo>
                    <a:lnTo>
                      <a:pt x="4940"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2" name="Freeform: Shape 4241">
                <a:extLst>
                  <a:ext uri="{FF2B5EF4-FFF2-40B4-BE49-F238E27FC236}">
                    <a16:creationId xmlns:a16="http://schemas.microsoft.com/office/drawing/2014/main" id="{7C86CD33-5952-8E55-9388-D970A07F60AF}"/>
                  </a:ext>
                </a:extLst>
              </p:cNvPr>
              <p:cNvSpPr/>
              <p:nvPr/>
            </p:nvSpPr>
            <p:spPr>
              <a:xfrm>
                <a:off x="844845" y="3632810"/>
                <a:ext cx="544" cy="461"/>
              </a:xfrm>
              <a:custGeom>
                <a:avLst/>
                <a:gdLst>
                  <a:gd name="connsiteX0" fmla="*/ 5214 w 5214"/>
                  <a:gd name="connsiteY0" fmla="*/ 384 h 4418"/>
                  <a:gd name="connsiteX1" fmla="*/ 3403 w 5214"/>
                  <a:gd name="connsiteY1" fmla="*/ 4418 h 4418"/>
                  <a:gd name="connsiteX2" fmla="*/ 357 w 5214"/>
                  <a:gd name="connsiteY2" fmla="*/ 3211 h 4418"/>
                  <a:gd name="connsiteX3" fmla="*/ 0 w 5214"/>
                  <a:gd name="connsiteY3" fmla="*/ 1070 h 4418"/>
                  <a:gd name="connsiteX4" fmla="*/ 467 w 5214"/>
                  <a:gd name="connsiteY4" fmla="*/ 0 h 4418"/>
                  <a:gd name="connsiteX5" fmla="*/ 5214 w 5214"/>
                  <a:gd name="connsiteY5" fmla="*/ 412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4" h="4418">
                    <a:moveTo>
                      <a:pt x="5214" y="384"/>
                    </a:moveTo>
                    <a:lnTo>
                      <a:pt x="3403" y="4418"/>
                    </a:lnTo>
                    <a:lnTo>
                      <a:pt x="357" y="3211"/>
                    </a:lnTo>
                    <a:lnTo>
                      <a:pt x="0" y="1070"/>
                    </a:lnTo>
                    <a:lnTo>
                      <a:pt x="467" y="0"/>
                    </a:lnTo>
                    <a:lnTo>
                      <a:pt x="5214" y="4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3" name="Freeform: Shape 4242">
                <a:extLst>
                  <a:ext uri="{FF2B5EF4-FFF2-40B4-BE49-F238E27FC236}">
                    <a16:creationId xmlns:a16="http://schemas.microsoft.com/office/drawing/2014/main" id="{214F69CA-CCA0-362C-31E6-F689C5D80466}"/>
                  </a:ext>
                </a:extLst>
              </p:cNvPr>
              <p:cNvSpPr/>
              <p:nvPr/>
            </p:nvSpPr>
            <p:spPr>
              <a:xfrm>
                <a:off x="954450" y="3636488"/>
                <a:ext cx="412" cy="595"/>
              </a:xfrm>
              <a:custGeom>
                <a:avLst/>
                <a:gdLst>
                  <a:gd name="connsiteX0" fmla="*/ 3952 w 3951"/>
                  <a:gd name="connsiteY0" fmla="*/ 3348 h 5708"/>
                  <a:gd name="connsiteX1" fmla="*/ 1454 w 3951"/>
                  <a:gd name="connsiteY1" fmla="*/ 5708 h 5708"/>
                  <a:gd name="connsiteX2" fmla="*/ 0 w 3951"/>
                  <a:gd name="connsiteY2" fmla="*/ 2196 h 5708"/>
                  <a:gd name="connsiteX3" fmla="*/ 3430 w 3951"/>
                  <a:gd name="connsiteY3" fmla="*/ 0 h 5708"/>
                  <a:gd name="connsiteX4" fmla="*/ 3952 w 3951"/>
                  <a:gd name="connsiteY4" fmla="*/ 3348 h 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5708">
                    <a:moveTo>
                      <a:pt x="3952" y="3348"/>
                    </a:moveTo>
                    <a:lnTo>
                      <a:pt x="1454" y="5708"/>
                    </a:lnTo>
                    <a:lnTo>
                      <a:pt x="0" y="2196"/>
                    </a:lnTo>
                    <a:lnTo>
                      <a:pt x="3430" y="0"/>
                    </a:lnTo>
                    <a:lnTo>
                      <a:pt x="3952"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4" name="Freeform: Shape 4243">
                <a:extLst>
                  <a:ext uri="{FF2B5EF4-FFF2-40B4-BE49-F238E27FC236}">
                    <a16:creationId xmlns:a16="http://schemas.microsoft.com/office/drawing/2014/main" id="{F89EF8EE-5BB2-8C84-C165-309D0B210109}"/>
                  </a:ext>
                </a:extLst>
              </p:cNvPr>
              <p:cNvSpPr/>
              <p:nvPr/>
            </p:nvSpPr>
            <p:spPr>
              <a:xfrm>
                <a:off x="843397" y="3652346"/>
                <a:ext cx="532" cy="426"/>
              </a:xfrm>
              <a:custGeom>
                <a:avLst/>
                <a:gdLst>
                  <a:gd name="connsiteX0" fmla="*/ 5104 w 5104"/>
                  <a:gd name="connsiteY0" fmla="*/ 878 h 4088"/>
                  <a:gd name="connsiteX1" fmla="*/ 4391 w 5104"/>
                  <a:gd name="connsiteY1" fmla="*/ 4089 h 4088"/>
                  <a:gd name="connsiteX2" fmla="*/ 0 w 5104"/>
                  <a:gd name="connsiteY2" fmla="*/ 1674 h 4088"/>
                  <a:gd name="connsiteX3" fmla="*/ 1509 w 5104"/>
                  <a:gd name="connsiteY3" fmla="*/ 0 h 4088"/>
                  <a:gd name="connsiteX4" fmla="*/ 5104 w 5104"/>
                  <a:gd name="connsiteY4" fmla="*/ 851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4" h="4088">
                    <a:moveTo>
                      <a:pt x="5104" y="878"/>
                    </a:moveTo>
                    <a:lnTo>
                      <a:pt x="4391" y="4089"/>
                    </a:lnTo>
                    <a:lnTo>
                      <a:pt x="0" y="1674"/>
                    </a:lnTo>
                    <a:lnTo>
                      <a:pt x="1509" y="0"/>
                    </a:lnTo>
                    <a:lnTo>
                      <a:pt x="5104" y="8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5" name="Freeform: Shape 4244">
                <a:extLst>
                  <a:ext uri="{FF2B5EF4-FFF2-40B4-BE49-F238E27FC236}">
                    <a16:creationId xmlns:a16="http://schemas.microsoft.com/office/drawing/2014/main" id="{64E83EA5-5594-8EB8-1B03-9F60049252F0}"/>
                  </a:ext>
                </a:extLst>
              </p:cNvPr>
              <p:cNvSpPr/>
              <p:nvPr/>
            </p:nvSpPr>
            <p:spPr>
              <a:xfrm>
                <a:off x="858745" y="3646160"/>
                <a:ext cx="627" cy="369"/>
              </a:xfrm>
              <a:custGeom>
                <a:avLst/>
                <a:gdLst>
                  <a:gd name="connsiteX0" fmla="*/ 6010 w 6009"/>
                  <a:gd name="connsiteY0" fmla="*/ 2991 h 3540"/>
                  <a:gd name="connsiteX1" fmla="*/ 3513 w 6009"/>
                  <a:gd name="connsiteY1" fmla="*/ 3540 h 3540"/>
                  <a:gd name="connsiteX2" fmla="*/ 0 w 6009"/>
                  <a:gd name="connsiteY2" fmla="*/ 1564 h 3540"/>
                  <a:gd name="connsiteX3" fmla="*/ 823 w 6009"/>
                  <a:gd name="connsiteY3" fmla="*/ 302 h 3540"/>
                  <a:gd name="connsiteX4" fmla="*/ 5736 w 6009"/>
                  <a:gd name="connsiteY4" fmla="*/ 0 h 3540"/>
                  <a:gd name="connsiteX5" fmla="*/ 6010 w 6009"/>
                  <a:gd name="connsiteY5" fmla="*/ 3019 h 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9" h="3540">
                    <a:moveTo>
                      <a:pt x="6010" y="2991"/>
                    </a:moveTo>
                    <a:lnTo>
                      <a:pt x="3513" y="3540"/>
                    </a:lnTo>
                    <a:lnTo>
                      <a:pt x="0" y="1564"/>
                    </a:lnTo>
                    <a:lnTo>
                      <a:pt x="823" y="302"/>
                    </a:lnTo>
                    <a:lnTo>
                      <a:pt x="5736" y="0"/>
                    </a:lnTo>
                    <a:lnTo>
                      <a:pt x="6010"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6" name="Freeform: Shape 4245">
                <a:extLst>
                  <a:ext uri="{FF2B5EF4-FFF2-40B4-BE49-F238E27FC236}">
                    <a16:creationId xmlns:a16="http://schemas.microsoft.com/office/drawing/2014/main" id="{8E81BEAE-4CE4-CB6D-D12D-85B2125FF392}"/>
                  </a:ext>
                </a:extLst>
              </p:cNvPr>
              <p:cNvSpPr/>
              <p:nvPr/>
            </p:nvSpPr>
            <p:spPr>
              <a:xfrm>
                <a:off x="816654" y="3657861"/>
                <a:ext cx="444" cy="489"/>
              </a:xfrm>
              <a:custGeom>
                <a:avLst/>
                <a:gdLst>
                  <a:gd name="connsiteX0" fmla="*/ 3979 w 4253"/>
                  <a:gd name="connsiteY0" fmla="*/ 4171 h 4692"/>
                  <a:gd name="connsiteX1" fmla="*/ 1976 w 4253"/>
                  <a:gd name="connsiteY1" fmla="*/ 4693 h 4692"/>
                  <a:gd name="connsiteX2" fmla="*/ 0 w 4253"/>
                  <a:gd name="connsiteY2" fmla="*/ 2799 h 4692"/>
                  <a:gd name="connsiteX3" fmla="*/ 2525 w 4253"/>
                  <a:gd name="connsiteY3" fmla="*/ 0 h 4692"/>
                  <a:gd name="connsiteX4" fmla="*/ 4254 w 4253"/>
                  <a:gd name="connsiteY4" fmla="*/ 1674 h 4692"/>
                  <a:gd name="connsiteX5" fmla="*/ 3952 w 4253"/>
                  <a:gd name="connsiteY5" fmla="*/ 4199 h 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3" h="4692">
                    <a:moveTo>
                      <a:pt x="3979" y="4171"/>
                    </a:moveTo>
                    <a:lnTo>
                      <a:pt x="1976" y="4693"/>
                    </a:lnTo>
                    <a:lnTo>
                      <a:pt x="0" y="2799"/>
                    </a:lnTo>
                    <a:lnTo>
                      <a:pt x="2525" y="0"/>
                    </a:lnTo>
                    <a:lnTo>
                      <a:pt x="4254" y="1674"/>
                    </a:lnTo>
                    <a:lnTo>
                      <a:pt x="3952" y="41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7" name="Freeform: Shape 4246">
                <a:extLst>
                  <a:ext uri="{FF2B5EF4-FFF2-40B4-BE49-F238E27FC236}">
                    <a16:creationId xmlns:a16="http://schemas.microsoft.com/office/drawing/2014/main" id="{A9B8A6F1-88DF-E0FE-4FAD-D9C14989FAA3}"/>
                  </a:ext>
                </a:extLst>
              </p:cNvPr>
              <p:cNvSpPr/>
              <p:nvPr/>
            </p:nvSpPr>
            <p:spPr>
              <a:xfrm>
                <a:off x="904390" y="3605443"/>
                <a:ext cx="375" cy="738"/>
              </a:xfrm>
              <a:custGeom>
                <a:avLst/>
                <a:gdLst>
                  <a:gd name="connsiteX0" fmla="*/ 3595 w 3595"/>
                  <a:gd name="connsiteY0" fmla="*/ 5324 h 7080"/>
                  <a:gd name="connsiteX1" fmla="*/ 1701 w 3595"/>
                  <a:gd name="connsiteY1" fmla="*/ 7080 h 7080"/>
                  <a:gd name="connsiteX2" fmla="*/ 0 w 3595"/>
                  <a:gd name="connsiteY2" fmla="*/ 3266 h 7080"/>
                  <a:gd name="connsiteX3" fmla="*/ 3293 w 3595"/>
                  <a:gd name="connsiteY3" fmla="*/ 0 h 7080"/>
                  <a:gd name="connsiteX4" fmla="*/ 3595 w 3595"/>
                  <a:gd name="connsiteY4" fmla="*/ 5351 h 7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7080">
                    <a:moveTo>
                      <a:pt x="3595" y="5324"/>
                    </a:moveTo>
                    <a:lnTo>
                      <a:pt x="1701" y="7080"/>
                    </a:lnTo>
                    <a:lnTo>
                      <a:pt x="0" y="3266"/>
                    </a:lnTo>
                    <a:lnTo>
                      <a:pt x="3293" y="0"/>
                    </a:lnTo>
                    <a:lnTo>
                      <a:pt x="3595" y="53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8" name="Freeform: Shape 4247">
                <a:extLst>
                  <a:ext uri="{FF2B5EF4-FFF2-40B4-BE49-F238E27FC236}">
                    <a16:creationId xmlns:a16="http://schemas.microsoft.com/office/drawing/2014/main" id="{5B607EFC-6C7A-F65B-0DAA-EB9FD4837EF4}"/>
                  </a:ext>
                </a:extLst>
              </p:cNvPr>
              <p:cNvSpPr/>
              <p:nvPr/>
            </p:nvSpPr>
            <p:spPr>
              <a:xfrm>
                <a:off x="876305" y="3641311"/>
                <a:ext cx="369" cy="633"/>
              </a:xfrm>
              <a:custGeom>
                <a:avLst/>
                <a:gdLst>
                  <a:gd name="connsiteX0" fmla="*/ 3540 w 3540"/>
                  <a:gd name="connsiteY0" fmla="*/ 4419 h 6065"/>
                  <a:gd name="connsiteX1" fmla="*/ 631 w 3540"/>
                  <a:gd name="connsiteY1" fmla="*/ 6065 h 6065"/>
                  <a:gd name="connsiteX2" fmla="*/ 0 w 3540"/>
                  <a:gd name="connsiteY2" fmla="*/ 2552 h 6065"/>
                  <a:gd name="connsiteX3" fmla="*/ 2113 w 3540"/>
                  <a:gd name="connsiteY3" fmla="*/ 0 h 6065"/>
                  <a:gd name="connsiteX4" fmla="*/ 3540 w 3540"/>
                  <a:gd name="connsiteY4" fmla="*/ 4419 h 6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 h="6065">
                    <a:moveTo>
                      <a:pt x="3540" y="4419"/>
                    </a:moveTo>
                    <a:lnTo>
                      <a:pt x="631" y="6065"/>
                    </a:lnTo>
                    <a:lnTo>
                      <a:pt x="0" y="2552"/>
                    </a:lnTo>
                    <a:lnTo>
                      <a:pt x="2113" y="0"/>
                    </a:lnTo>
                    <a:lnTo>
                      <a:pt x="3540" y="44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9" name="Freeform: Shape 4248">
                <a:extLst>
                  <a:ext uri="{FF2B5EF4-FFF2-40B4-BE49-F238E27FC236}">
                    <a16:creationId xmlns:a16="http://schemas.microsoft.com/office/drawing/2014/main" id="{E3561E48-8A36-F91B-E590-A76F7970BAE4}"/>
                  </a:ext>
                </a:extLst>
              </p:cNvPr>
              <p:cNvSpPr/>
              <p:nvPr/>
            </p:nvSpPr>
            <p:spPr>
              <a:xfrm>
                <a:off x="884437" y="3635538"/>
                <a:ext cx="381" cy="627"/>
              </a:xfrm>
              <a:custGeom>
                <a:avLst/>
                <a:gdLst>
                  <a:gd name="connsiteX0" fmla="*/ 3650 w 3649"/>
                  <a:gd name="connsiteY0" fmla="*/ 2991 h 6009"/>
                  <a:gd name="connsiteX1" fmla="*/ 3019 w 3649"/>
                  <a:gd name="connsiteY1" fmla="*/ 6010 h 6009"/>
                  <a:gd name="connsiteX2" fmla="*/ 0 w 3649"/>
                  <a:gd name="connsiteY2" fmla="*/ 4610 h 6009"/>
                  <a:gd name="connsiteX3" fmla="*/ 1153 w 3649"/>
                  <a:gd name="connsiteY3" fmla="*/ 0 h 6009"/>
                  <a:gd name="connsiteX4" fmla="*/ 3650 w 3649"/>
                  <a:gd name="connsiteY4" fmla="*/ 3019 h 6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9" h="6009">
                    <a:moveTo>
                      <a:pt x="3650" y="2991"/>
                    </a:moveTo>
                    <a:lnTo>
                      <a:pt x="3019" y="6010"/>
                    </a:lnTo>
                    <a:lnTo>
                      <a:pt x="0" y="4610"/>
                    </a:lnTo>
                    <a:lnTo>
                      <a:pt x="1153" y="0"/>
                    </a:lnTo>
                    <a:lnTo>
                      <a:pt x="3650"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0" name="Freeform: Shape 4249">
                <a:extLst>
                  <a:ext uri="{FF2B5EF4-FFF2-40B4-BE49-F238E27FC236}">
                    <a16:creationId xmlns:a16="http://schemas.microsoft.com/office/drawing/2014/main" id="{3D14740D-7E58-2860-31AD-14D9C5E9EADB}"/>
                  </a:ext>
                </a:extLst>
              </p:cNvPr>
              <p:cNvSpPr/>
              <p:nvPr/>
            </p:nvSpPr>
            <p:spPr>
              <a:xfrm>
                <a:off x="881022" y="3634004"/>
                <a:ext cx="432" cy="552"/>
              </a:xfrm>
              <a:custGeom>
                <a:avLst/>
                <a:gdLst>
                  <a:gd name="connsiteX0" fmla="*/ 4144 w 4143"/>
                  <a:gd name="connsiteY0" fmla="*/ 4830 h 5296"/>
                  <a:gd name="connsiteX1" fmla="*/ 768 w 4143"/>
                  <a:gd name="connsiteY1" fmla="*/ 5296 h 5296"/>
                  <a:gd name="connsiteX2" fmla="*/ 0 w 4143"/>
                  <a:gd name="connsiteY2" fmla="*/ 2360 h 5296"/>
                  <a:gd name="connsiteX3" fmla="*/ 2058 w 4143"/>
                  <a:gd name="connsiteY3" fmla="*/ 0 h 5296"/>
                  <a:gd name="connsiteX4" fmla="*/ 4144 w 4143"/>
                  <a:gd name="connsiteY4" fmla="*/ 4830 h 5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 h="5296">
                    <a:moveTo>
                      <a:pt x="4144" y="4830"/>
                    </a:moveTo>
                    <a:lnTo>
                      <a:pt x="768" y="5296"/>
                    </a:lnTo>
                    <a:lnTo>
                      <a:pt x="0" y="2360"/>
                    </a:lnTo>
                    <a:lnTo>
                      <a:pt x="2058" y="0"/>
                    </a:lnTo>
                    <a:lnTo>
                      <a:pt x="4144" y="48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1" name="Freeform: Shape 4250">
                <a:extLst>
                  <a:ext uri="{FF2B5EF4-FFF2-40B4-BE49-F238E27FC236}">
                    <a16:creationId xmlns:a16="http://schemas.microsoft.com/office/drawing/2014/main" id="{20F58F82-AB9E-6E1A-3D1E-BEA162462520}"/>
                  </a:ext>
                </a:extLst>
              </p:cNvPr>
              <p:cNvSpPr/>
              <p:nvPr/>
            </p:nvSpPr>
            <p:spPr>
              <a:xfrm>
                <a:off x="898022" y="3619100"/>
                <a:ext cx="401" cy="638"/>
              </a:xfrm>
              <a:custGeom>
                <a:avLst/>
                <a:gdLst>
                  <a:gd name="connsiteX0" fmla="*/ 3842 w 3842"/>
                  <a:gd name="connsiteY0" fmla="*/ 5159 h 6119"/>
                  <a:gd name="connsiteX1" fmla="*/ 1674 w 3842"/>
                  <a:gd name="connsiteY1" fmla="*/ 6120 h 6119"/>
                  <a:gd name="connsiteX2" fmla="*/ 0 w 3842"/>
                  <a:gd name="connsiteY2" fmla="*/ 0 h 6119"/>
                  <a:gd name="connsiteX3" fmla="*/ 3183 w 3842"/>
                  <a:gd name="connsiteY3" fmla="*/ 1070 h 6119"/>
                  <a:gd name="connsiteX4" fmla="*/ 3842 w 3842"/>
                  <a:gd name="connsiteY4" fmla="*/ 5159 h 6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2" h="6119">
                    <a:moveTo>
                      <a:pt x="3842" y="5159"/>
                    </a:moveTo>
                    <a:lnTo>
                      <a:pt x="1674" y="6120"/>
                    </a:lnTo>
                    <a:lnTo>
                      <a:pt x="0" y="0"/>
                    </a:lnTo>
                    <a:lnTo>
                      <a:pt x="3183" y="1070"/>
                    </a:lnTo>
                    <a:lnTo>
                      <a:pt x="3842" y="51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2" name="Freeform: Shape 4251">
                <a:extLst>
                  <a:ext uri="{FF2B5EF4-FFF2-40B4-BE49-F238E27FC236}">
                    <a16:creationId xmlns:a16="http://schemas.microsoft.com/office/drawing/2014/main" id="{32A62BD8-413F-4E03-BA86-50132E1651EC}"/>
                  </a:ext>
                </a:extLst>
              </p:cNvPr>
              <p:cNvSpPr/>
              <p:nvPr/>
            </p:nvSpPr>
            <p:spPr>
              <a:xfrm>
                <a:off x="816248" y="3660002"/>
                <a:ext cx="452" cy="464"/>
              </a:xfrm>
              <a:custGeom>
                <a:avLst/>
                <a:gdLst>
                  <a:gd name="connsiteX0" fmla="*/ 3128 w 4335"/>
                  <a:gd name="connsiteY0" fmla="*/ 0 h 4445"/>
                  <a:gd name="connsiteX1" fmla="*/ 4336 w 4335"/>
                  <a:gd name="connsiteY1" fmla="*/ 4446 h 4445"/>
                  <a:gd name="connsiteX2" fmla="*/ 631 w 4335"/>
                  <a:gd name="connsiteY2" fmla="*/ 3320 h 4445"/>
                  <a:gd name="connsiteX3" fmla="*/ 0 w 4335"/>
                  <a:gd name="connsiteY3" fmla="*/ 1317 h 4445"/>
                  <a:gd name="connsiteX4" fmla="*/ 3128 w 4335"/>
                  <a:gd name="connsiteY4" fmla="*/ 0 h 4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5" h="4445">
                    <a:moveTo>
                      <a:pt x="3128" y="0"/>
                    </a:moveTo>
                    <a:lnTo>
                      <a:pt x="4336" y="4446"/>
                    </a:lnTo>
                    <a:lnTo>
                      <a:pt x="631" y="3320"/>
                    </a:lnTo>
                    <a:lnTo>
                      <a:pt x="0" y="1317"/>
                    </a:lnTo>
                    <a:lnTo>
                      <a:pt x="312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3" name="Freeform: Shape 4252">
                <a:extLst>
                  <a:ext uri="{FF2B5EF4-FFF2-40B4-BE49-F238E27FC236}">
                    <a16:creationId xmlns:a16="http://schemas.microsoft.com/office/drawing/2014/main" id="{408EDEDE-26D6-C957-679B-A0994DB71070}"/>
                  </a:ext>
                </a:extLst>
              </p:cNvPr>
              <p:cNvSpPr/>
              <p:nvPr/>
            </p:nvSpPr>
            <p:spPr>
              <a:xfrm>
                <a:off x="871565" y="3635973"/>
                <a:ext cx="424" cy="549"/>
              </a:xfrm>
              <a:custGeom>
                <a:avLst/>
                <a:gdLst>
                  <a:gd name="connsiteX0" fmla="*/ 4062 w 4061"/>
                  <a:gd name="connsiteY0" fmla="*/ 2333 h 5268"/>
                  <a:gd name="connsiteX1" fmla="*/ 3513 w 4061"/>
                  <a:gd name="connsiteY1" fmla="*/ 5269 h 5268"/>
                  <a:gd name="connsiteX2" fmla="*/ 0 w 4061"/>
                  <a:gd name="connsiteY2" fmla="*/ 3952 h 5268"/>
                  <a:gd name="connsiteX3" fmla="*/ 1345 w 4061"/>
                  <a:gd name="connsiteY3" fmla="*/ 0 h 5268"/>
                  <a:gd name="connsiteX4" fmla="*/ 4062 w 4061"/>
                  <a:gd name="connsiteY4" fmla="*/ 2333 h 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5268">
                    <a:moveTo>
                      <a:pt x="4062" y="2333"/>
                    </a:moveTo>
                    <a:lnTo>
                      <a:pt x="3513" y="5269"/>
                    </a:lnTo>
                    <a:lnTo>
                      <a:pt x="0" y="3952"/>
                    </a:lnTo>
                    <a:lnTo>
                      <a:pt x="1345" y="0"/>
                    </a:lnTo>
                    <a:lnTo>
                      <a:pt x="4062" y="23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4" name="Freeform: Shape 4253">
                <a:extLst>
                  <a:ext uri="{FF2B5EF4-FFF2-40B4-BE49-F238E27FC236}">
                    <a16:creationId xmlns:a16="http://schemas.microsoft.com/office/drawing/2014/main" id="{EDE6D974-52B6-A5B0-54BF-6F4AF6CD2C20}"/>
                  </a:ext>
                </a:extLst>
              </p:cNvPr>
              <p:cNvSpPr/>
              <p:nvPr/>
            </p:nvSpPr>
            <p:spPr>
              <a:xfrm>
                <a:off x="873566" y="3639059"/>
                <a:ext cx="492" cy="464"/>
              </a:xfrm>
              <a:custGeom>
                <a:avLst/>
                <a:gdLst>
                  <a:gd name="connsiteX0" fmla="*/ 4720 w 4720"/>
                  <a:gd name="connsiteY0" fmla="*/ 714 h 4445"/>
                  <a:gd name="connsiteX1" fmla="*/ 4007 w 4720"/>
                  <a:gd name="connsiteY1" fmla="*/ 4446 h 4445"/>
                  <a:gd name="connsiteX2" fmla="*/ 0 w 4720"/>
                  <a:gd name="connsiteY2" fmla="*/ 2415 h 4445"/>
                  <a:gd name="connsiteX3" fmla="*/ 1839 w 4720"/>
                  <a:gd name="connsiteY3" fmla="*/ 0 h 4445"/>
                  <a:gd name="connsiteX4" fmla="*/ 4720 w 4720"/>
                  <a:gd name="connsiteY4" fmla="*/ 714 h 4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0" h="4445">
                    <a:moveTo>
                      <a:pt x="4720" y="714"/>
                    </a:moveTo>
                    <a:lnTo>
                      <a:pt x="4007" y="4446"/>
                    </a:lnTo>
                    <a:lnTo>
                      <a:pt x="0" y="2415"/>
                    </a:lnTo>
                    <a:lnTo>
                      <a:pt x="1839" y="0"/>
                    </a:lnTo>
                    <a:lnTo>
                      <a:pt x="4720" y="7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5" name="Freeform: Shape 4254">
                <a:extLst>
                  <a:ext uri="{FF2B5EF4-FFF2-40B4-BE49-F238E27FC236}">
                    <a16:creationId xmlns:a16="http://schemas.microsoft.com/office/drawing/2014/main" id="{DD246143-5073-DE24-9C4A-CC1AD34A425B}"/>
                  </a:ext>
                </a:extLst>
              </p:cNvPr>
              <p:cNvSpPr/>
              <p:nvPr/>
            </p:nvSpPr>
            <p:spPr>
              <a:xfrm>
                <a:off x="836693" y="3610647"/>
                <a:ext cx="341" cy="770"/>
              </a:xfrm>
              <a:custGeom>
                <a:avLst/>
                <a:gdLst>
                  <a:gd name="connsiteX0" fmla="*/ 3266 w 3265"/>
                  <a:gd name="connsiteY0" fmla="*/ 6202 h 7382"/>
                  <a:gd name="connsiteX1" fmla="*/ 1098 w 3265"/>
                  <a:gd name="connsiteY1" fmla="*/ 7382 h 7382"/>
                  <a:gd name="connsiteX2" fmla="*/ 0 w 3265"/>
                  <a:gd name="connsiteY2" fmla="*/ 3815 h 7382"/>
                  <a:gd name="connsiteX3" fmla="*/ 2827 w 3265"/>
                  <a:gd name="connsiteY3" fmla="*/ 0 h 7382"/>
                  <a:gd name="connsiteX4" fmla="*/ 3266 w 3265"/>
                  <a:gd name="connsiteY4" fmla="*/ 6202 h 7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7382">
                    <a:moveTo>
                      <a:pt x="3266" y="6202"/>
                    </a:moveTo>
                    <a:lnTo>
                      <a:pt x="1098" y="7382"/>
                    </a:lnTo>
                    <a:lnTo>
                      <a:pt x="0" y="3815"/>
                    </a:lnTo>
                    <a:lnTo>
                      <a:pt x="2827" y="0"/>
                    </a:lnTo>
                    <a:lnTo>
                      <a:pt x="3266" y="62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6" name="Freeform: Shape 4255">
                <a:extLst>
                  <a:ext uri="{FF2B5EF4-FFF2-40B4-BE49-F238E27FC236}">
                    <a16:creationId xmlns:a16="http://schemas.microsoft.com/office/drawing/2014/main" id="{DEDB475B-6DA9-6CA3-84F7-C44625DFD14B}"/>
                  </a:ext>
                </a:extLst>
              </p:cNvPr>
              <p:cNvSpPr/>
              <p:nvPr/>
            </p:nvSpPr>
            <p:spPr>
              <a:xfrm>
                <a:off x="875609" y="3640925"/>
                <a:ext cx="392" cy="581"/>
              </a:xfrm>
              <a:custGeom>
                <a:avLst/>
                <a:gdLst>
                  <a:gd name="connsiteX0" fmla="*/ 2744 w 3759"/>
                  <a:gd name="connsiteY0" fmla="*/ 27 h 5571"/>
                  <a:gd name="connsiteX1" fmla="*/ 3760 w 3759"/>
                  <a:gd name="connsiteY1" fmla="*/ 5571 h 5571"/>
                  <a:gd name="connsiteX2" fmla="*/ 988 w 3759"/>
                  <a:gd name="connsiteY2" fmla="*/ 5104 h 5571"/>
                  <a:gd name="connsiteX3" fmla="*/ 0 w 3759"/>
                  <a:gd name="connsiteY3" fmla="*/ 2525 h 5571"/>
                  <a:gd name="connsiteX4" fmla="*/ 2744 w 3759"/>
                  <a:gd name="connsiteY4" fmla="*/ 0 h 5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9" h="5571">
                    <a:moveTo>
                      <a:pt x="2744" y="27"/>
                    </a:moveTo>
                    <a:lnTo>
                      <a:pt x="3760" y="5571"/>
                    </a:lnTo>
                    <a:lnTo>
                      <a:pt x="988" y="5104"/>
                    </a:lnTo>
                    <a:lnTo>
                      <a:pt x="0" y="2525"/>
                    </a:lnTo>
                    <a:lnTo>
                      <a:pt x="274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7" name="Freeform: Shape 4256">
                <a:extLst>
                  <a:ext uri="{FF2B5EF4-FFF2-40B4-BE49-F238E27FC236}">
                    <a16:creationId xmlns:a16="http://schemas.microsoft.com/office/drawing/2014/main" id="{5FB65145-C222-0623-A7E4-294BB3AEB84E}"/>
                  </a:ext>
                </a:extLst>
              </p:cNvPr>
              <p:cNvSpPr/>
              <p:nvPr/>
            </p:nvSpPr>
            <p:spPr>
              <a:xfrm>
                <a:off x="864681" y="3639142"/>
                <a:ext cx="449" cy="507"/>
              </a:xfrm>
              <a:custGeom>
                <a:avLst/>
                <a:gdLst>
                  <a:gd name="connsiteX0" fmla="*/ 4309 w 4308"/>
                  <a:gd name="connsiteY0" fmla="*/ 384 h 4857"/>
                  <a:gd name="connsiteX1" fmla="*/ 2772 w 4308"/>
                  <a:gd name="connsiteY1" fmla="*/ 4857 h 4857"/>
                  <a:gd name="connsiteX2" fmla="*/ 0 w 4308"/>
                  <a:gd name="connsiteY2" fmla="*/ 1921 h 4857"/>
                  <a:gd name="connsiteX3" fmla="*/ 412 w 4308"/>
                  <a:gd name="connsiteY3" fmla="*/ 0 h 4857"/>
                  <a:gd name="connsiteX4" fmla="*/ 4309 w 4308"/>
                  <a:gd name="connsiteY4" fmla="*/ 384 h 4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4857">
                    <a:moveTo>
                      <a:pt x="4309" y="384"/>
                    </a:moveTo>
                    <a:lnTo>
                      <a:pt x="2772" y="4857"/>
                    </a:lnTo>
                    <a:lnTo>
                      <a:pt x="0" y="1921"/>
                    </a:lnTo>
                    <a:lnTo>
                      <a:pt x="412" y="0"/>
                    </a:lnTo>
                    <a:lnTo>
                      <a:pt x="4309"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8" name="Freeform: Shape 4257">
                <a:extLst>
                  <a:ext uri="{FF2B5EF4-FFF2-40B4-BE49-F238E27FC236}">
                    <a16:creationId xmlns:a16="http://schemas.microsoft.com/office/drawing/2014/main" id="{02178DB9-F509-1FA4-392C-4B065BF0026E}"/>
                  </a:ext>
                </a:extLst>
              </p:cNvPr>
              <p:cNvSpPr/>
              <p:nvPr/>
            </p:nvSpPr>
            <p:spPr>
              <a:xfrm>
                <a:off x="870137" y="3640335"/>
                <a:ext cx="464" cy="489"/>
              </a:xfrm>
              <a:custGeom>
                <a:avLst/>
                <a:gdLst>
                  <a:gd name="connsiteX0" fmla="*/ 4418 w 4445"/>
                  <a:gd name="connsiteY0" fmla="*/ 0 h 4692"/>
                  <a:gd name="connsiteX1" fmla="*/ 3211 w 4445"/>
                  <a:gd name="connsiteY1" fmla="*/ 4693 h 4692"/>
                  <a:gd name="connsiteX2" fmla="*/ 0 w 4445"/>
                  <a:gd name="connsiteY2" fmla="*/ 1592 h 4692"/>
                  <a:gd name="connsiteX3" fmla="*/ 906 w 4445"/>
                  <a:gd name="connsiteY3" fmla="*/ 0 h 4692"/>
                  <a:gd name="connsiteX4" fmla="*/ 4446 w 4445"/>
                  <a:gd name="connsiteY4" fmla="*/ 0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 h="4692">
                    <a:moveTo>
                      <a:pt x="4418" y="0"/>
                    </a:moveTo>
                    <a:lnTo>
                      <a:pt x="3211" y="4693"/>
                    </a:lnTo>
                    <a:lnTo>
                      <a:pt x="0" y="1592"/>
                    </a:lnTo>
                    <a:lnTo>
                      <a:pt x="906" y="0"/>
                    </a:lnTo>
                    <a:lnTo>
                      <a:pt x="444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9" name="Freeform: Shape 4258">
                <a:extLst>
                  <a:ext uri="{FF2B5EF4-FFF2-40B4-BE49-F238E27FC236}">
                    <a16:creationId xmlns:a16="http://schemas.microsoft.com/office/drawing/2014/main" id="{EA629C52-E05D-3532-91D5-FA7E2D2A8C5B}"/>
                  </a:ext>
                </a:extLst>
              </p:cNvPr>
              <p:cNvSpPr/>
              <p:nvPr/>
            </p:nvSpPr>
            <p:spPr>
              <a:xfrm>
                <a:off x="815781" y="3660443"/>
                <a:ext cx="349" cy="590"/>
              </a:xfrm>
              <a:custGeom>
                <a:avLst/>
                <a:gdLst>
                  <a:gd name="connsiteX0" fmla="*/ 3348 w 3348"/>
                  <a:gd name="connsiteY0" fmla="*/ 2991 h 5653"/>
                  <a:gd name="connsiteX1" fmla="*/ 878 w 3348"/>
                  <a:gd name="connsiteY1" fmla="*/ 5653 h 5653"/>
                  <a:gd name="connsiteX2" fmla="*/ 0 w 3348"/>
                  <a:gd name="connsiteY2" fmla="*/ 3650 h 5653"/>
                  <a:gd name="connsiteX3" fmla="*/ 823 w 3348"/>
                  <a:gd name="connsiteY3" fmla="*/ 466 h 5653"/>
                  <a:gd name="connsiteX4" fmla="*/ 2278 w 3348"/>
                  <a:gd name="connsiteY4" fmla="*/ 0 h 5653"/>
                  <a:gd name="connsiteX5" fmla="*/ 3348 w 3348"/>
                  <a:gd name="connsiteY5" fmla="*/ 3019 h 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8" h="5653">
                    <a:moveTo>
                      <a:pt x="3348" y="2991"/>
                    </a:moveTo>
                    <a:lnTo>
                      <a:pt x="878" y="5653"/>
                    </a:lnTo>
                    <a:lnTo>
                      <a:pt x="0" y="3650"/>
                    </a:lnTo>
                    <a:lnTo>
                      <a:pt x="823" y="466"/>
                    </a:lnTo>
                    <a:lnTo>
                      <a:pt x="2278" y="0"/>
                    </a:lnTo>
                    <a:lnTo>
                      <a:pt x="3348"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0" name="Freeform: Shape 4259">
                <a:extLst>
                  <a:ext uri="{FF2B5EF4-FFF2-40B4-BE49-F238E27FC236}">
                    <a16:creationId xmlns:a16="http://schemas.microsoft.com/office/drawing/2014/main" id="{997EAB08-B798-00FA-4757-F9EDAC5A4246}"/>
                  </a:ext>
                </a:extLst>
              </p:cNvPr>
              <p:cNvSpPr/>
              <p:nvPr/>
            </p:nvSpPr>
            <p:spPr>
              <a:xfrm>
                <a:off x="984410" y="3680651"/>
                <a:ext cx="392" cy="484"/>
              </a:xfrm>
              <a:custGeom>
                <a:avLst/>
                <a:gdLst>
                  <a:gd name="connsiteX0" fmla="*/ 3760 w 3759"/>
                  <a:gd name="connsiteY0" fmla="*/ 3815 h 4637"/>
                  <a:gd name="connsiteX1" fmla="*/ 55 w 3759"/>
                  <a:gd name="connsiteY1" fmla="*/ 4638 h 4637"/>
                  <a:gd name="connsiteX2" fmla="*/ 0 w 3759"/>
                  <a:gd name="connsiteY2" fmla="*/ 1674 h 4637"/>
                  <a:gd name="connsiteX3" fmla="*/ 1537 w 3759"/>
                  <a:gd name="connsiteY3" fmla="*/ 0 h 4637"/>
                  <a:gd name="connsiteX4" fmla="*/ 3760 w 3759"/>
                  <a:gd name="connsiteY4" fmla="*/ 3787 h 4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9" h="4637">
                    <a:moveTo>
                      <a:pt x="3760" y="3815"/>
                    </a:moveTo>
                    <a:lnTo>
                      <a:pt x="55" y="4638"/>
                    </a:lnTo>
                    <a:lnTo>
                      <a:pt x="0" y="1674"/>
                    </a:lnTo>
                    <a:lnTo>
                      <a:pt x="1537" y="0"/>
                    </a:lnTo>
                    <a:lnTo>
                      <a:pt x="3760" y="37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1" name="Freeform: Shape 4260">
                <a:extLst>
                  <a:ext uri="{FF2B5EF4-FFF2-40B4-BE49-F238E27FC236}">
                    <a16:creationId xmlns:a16="http://schemas.microsoft.com/office/drawing/2014/main" id="{4D7F66D9-23E3-5806-6F3F-FAD992A59119}"/>
                  </a:ext>
                </a:extLst>
              </p:cNvPr>
              <p:cNvSpPr/>
              <p:nvPr/>
            </p:nvSpPr>
            <p:spPr>
              <a:xfrm>
                <a:off x="1113933" y="3766326"/>
                <a:ext cx="352" cy="401"/>
              </a:xfrm>
              <a:custGeom>
                <a:avLst/>
                <a:gdLst>
                  <a:gd name="connsiteX0" fmla="*/ 1976 w 3375"/>
                  <a:gd name="connsiteY0" fmla="*/ 3705 h 3842"/>
                  <a:gd name="connsiteX1" fmla="*/ 0 w 3375"/>
                  <a:gd name="connsiteY1" fmla="*/ 3842 h 3842"/>
                  <a:gd name="connsiteX2" fmla="*/ 714 w 3375"/>
                  <a:gd name="connsiteY2" fmla="*/ 0 h 3842"/>
                  <a:gd name="connsiteX3" fmla="*/ 3375 w 3375"/>
                  <a:gd name="connsiteY3" fmla="*/ 1592 h 3842"/>
                  <a:gd name="connsiteX4" fmla="*/ 1976 w 3375"/>
                  <a:gd name="connsiteY4" fmla="*/ 3705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3842">
                    <a:moveTo>
                      <a:pt x="1976" y="3705"/>
                    </a:moveTo>
                    <a:lnTo>
                      <a:pt x="0" y="3842"/>
                    </a:lnTo>
                    <a:lnTo>
                      <a:pt x="714" y="0"/>
                    </a:lnTo>
                    <a:lnTo>
                      <a:pt x="3375" y="1592"/>
                    </a:lnTo>
                    <a:lnTo>
                      <a:pt x="1976"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2" name="Freeform: Shape 4261">
                <a:extLst>
                  <a:ext uri="{FF2B5EF4-FFF2-40B4-BE49-F238E27FC236}">
                    <a16:creationId xmlns:a16="http://schemas.microsoft.com/office/drawing/2014/main" id="{D236D9B3-F53E-EA34-0828-402877429CF0}"/>
                  </a:ext>
                </a:extLst>
              </p:cNvPr>
              <p:cNvSpPr/>
              <p:nvPr/>
            </p:nvSpPr>
            <p:spPr>
              <a:xfrm>
                <a:off x="843855" y="3652752"/>
                <a:ext cx="455" cy="452"/>
              </a:xfrm>
              <a:custGeom>
                <a:avLst/>
                <a:gdLst>
                  <a:gd name="connsiteX0" fmla="*/ 4336 w 4363"/>
                  <a:gd name="connsiteY0" fmla="*/ 2223 h 4335"/>
                  <a:gd name="connsiteX1" fmla="*/ 1372 w 4363"/>
                  <a:gd name="connsiteY1" fmla="*/ 4336 h 4335"/>
                  <a:gd name="connsiteX2" fmla="*/ 0 w 4363"/>
                  <a:gd name="connsiteY2" fmla="*/ 466 h 4335"/>
                  <a:gd name="connsiteX3" fmla="*/ 4171 w 4363"/>
                  <a:gd name="connsiteY3" fmla="*/ 0 h 4335"/>
                  <a:gd name="connsiteX4" fmla="*/ 4363 w 4363"/>
                  <a:gd name="connsiteY4" fmla="*/ 2195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4335">
                    <a:moveTo>
                      <a:pt x="4336" y="2223"/>
                    </a:moveTo>
                    <a:lnTo>
                      <a:pt x="1372" y="4336"/>
                    </a:lnTo>
                    <a:lnTo>
                      <a:pt x="0" y="466"/>
                    </a:lnTo>
                    <a:lnTo>
                      <a:pt x="4171" y="0"/>
                    </a:lnTo>
                    <a:lnTo>
                      <a:pt x="4363" y="21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3" name="Freeform: Shape 4262">
                <a:extLst>
                  <a:ext uri="{FF2B5EF4-FFF2-40B4-BE49-F238E27FC236}">
                    <a16:creationId xmlns:a16="http://schemas.microsoft.com/office/drawing/2014/main" id="{C077B54F-710B-C2BD-D649-D26598DFEECB}"/>
                  </a:ext>
                </a:extLst>
              </p:cNvPr>
              <p:cNvSpPr/>
              <p:nvPr/>
            </p:nvSpPr>
            <p:spPr>
              <a:xfrm>
                <a:off x="869312" y="3640201"/>
                <a:ext cx="561" cy="384"/>
              </a:xfrm>
              <a:custGeom>
                <a:avLst/>
                <a:gdLst>
                  <a:gd name="connsiteX0" fmla="*/ 5379 w 5378"/>
                  <a:gd name="connsiteY0" fmla="*/ 2168 h 3677"/>
                  <a:gd name="connsiteX1" fmla="*/ 2141 w 5378"/>
                  <a:gd name="connsiteY1" fmla="*/ 3678 h 3677"/>
                  <a:gd name="connsiteX2" fmla="*/ 0 w 5378"/>
                  <a:gd name="connsiteY2" fmla="*/ 2168 h 3677"/>
                  <a:gd name="connsiteX3" fmla="*/ 1262 w 5378"/>
                  <a:gd name="connsiteY3" fmla="*/ 494 h 3677"/>
                  <a:gd name="connsiteX4" fmla="*/ 4501 w 5378"/>
                  <a:gd name="connsiteY4" fmla="*/ 0 h 3677"/>
                  <a:gd name="connsiteX5" fmla="*/ 5379 w 5378"/>
                  <a:gd name="connsiteY5" fmla="*/ 2141 h 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78" h="3677">
                    <a:moveTo>
                      <a:pt x="5379" y="2168"/>
                    </a:moveTo>
                    <a:lnTo>
                      <a:pt x="2141" y="3678"/>
                    </a:lnTo>
                    <a:lnTo>
                      <a:pt x="0" y="2168"/>
                    </a:lnTo>
                    <a:lnTo>
                      <a:pt x="1262" y="494"/>
                    </a:lnTo>
                    <a:lnTo>
                      <a:pt x="4501" y="0"/>
                    </a:lnTo>
                    <a:lnTo>
                      <a:pt x="5379"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4" name="Freeform: Shape 4263">
                <a:extLst>
                  <a:ext uri="{FF2B5EF4-FFF2-40B4-BE49-F238E27FC236}">
                    <a16:creationId xmlns:a16="http://schemas.microsoft.com/office/drawing/2014/main" id="{00DF3773-304B-7B48-6005-0575AFC3EB0A}"/>
                  </a:ext>
                </a:extLst>
              </p:cNvPr>
              <p:cNvSpPr/>
              <p:nvPr/>
            </p:nvSpPr>
            <p:spPr>
              <a:xfrm>
                <a:off x="825776" y="3657008"/>
                <a:ext cx="361" cy="544"/>
              </a:xfrm>
              <a:custGeom>
                <a:avLst/>
                <a:gdLst>
                  <a:gd name="connsiteX0" fmla="*/ 3074 w 3457"/>
                  <a:gd name="connsiteY0" fmla="*/ 0 h 5214"/>
                  <a:gd name="connsiteX1" fmla="*/ 3458 w 3457"/>
                  <a:gd name="connsiteY1" fmla="*/ 5214 h 5214"/>
                  <a:gd name="connsiteX2" fmla="*/ 521 w 3457"/>
                  <a:gd name="connsiteY2" fmla="*/ 3595 h 5214"/>
                  <a:gd name="connsiteX3" fmla="*/ 0 w 3457"/>
                  <a:gd name="connsiteY3" fmla="*/ 1290 h 5214"/>
                  <a:gd name="connsiteX4" fmla="*/ 3101 w 3457"/>
                  <a:gd name="connsiteY4" fmla="*/ 0 h 5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5214">
                    <a:moveTo>
                      <a:pt x="3074" y="0"/>
                    </a:moveTo>
                    <a:lnTo>
                      <a:pt x="3458" y="5214"/>
                    </a:lnTo>
                    <a:lnTo>
                      <a:pt x="521" y="3595"/>
                    </a:lnTo>
                    <a:lnTo>
                      <a:pt x="0" y="1290"/>
                    </a:lnTo>
                    <a:lnTo>
                      <a:pt x="3101"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5" name="Freeform: Shape 4264">
                <a:extLst>
                  <a:ext uri="{FF2B5EF4-FFF2-40B4-BE49-F238E27FC236}">
                    <a16:creationId xmlns:a16="http://schemas.microsoft.com/office/drawing/2014/main" id="{37A40850-E5EF-1DB6-9852-83CFF106037E}"/>
                  </a:ext>
                </a:extLst>
              </p:cNvPr>
              <p:cNvSpPr/>
              <p:nvPr/>
            </p:nvSpPr>
            <p:spPr>
              <a:xfrm>
                <a:off x="953265" y="3636554"/>
                <a:ext cx="366" cy="581"/>
              </a:xfrm>
              <a:custGeom>
                <a:avLst/>
                <a:gdLst>
                  <a:gd name="connsiteX0" fmla="*/ 3513 w 3512"/>
                  <a:gd name="connsiteY0" fmla="*/ 2772 h 5571"/>
                  <a:gd name="connsiteX1" fmla="*/ 2250 w 3512"/>
                  <a:gd name="connsiteY1" fmla="*/ 5571 h 5571"/>
                  <a:gd name="connsiteX2" fmla="*/ 0 w 3512"/>
                  <a:gd name="connsiteY2" fmla="*/ 4281 h 5571"/>
                  <a:gd name="connsiteX3" fmla="*/ 55 w 3512"/>
                  <a:gd name="connsiteY3" fmla="*/ 1839 h 5571"/>
                  <a:gd name="connsiteX4" fmla="*/ 2497 w 3512"/>
                  <a:gd name="connsiteY4" fmla="*/ 0 h 5571"/>
                  <a:gd name="connsiteX5" fmla="*/ 3513 w 3512"/>
                  <a:gd name="connsiteY5" fmla="*/ 2772 h 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 h="5571">
                    <a:moveTo>
                      <a:pt x="3513" y="2772"/>
                    </a:moveTo>
                    <a:lnTo>
                      <a:pt x="2250" y="5571"/>
                    </a:lnTo>
                    <a:lnTo>
                      <a:pt x="0" y="4281"/>
                    </a:lnTo>
                    <a:lnTo>
                      <a:pt x="55" y="1839"/>
                    </a:lnTo>
                    <a:lnTo>
                      <a:pt x="2497" y="0"/>
                    </a:lnTo>
                    <a:lnTo>
                      <a:pt x="3513"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6" name="Freeform: Shape 4265">
                <a:extLst>
                  <a:ext uri="{FF2B5EF4-FFF2-40B4-BE49-F238E27FC236}">
                    <a16:creationId xmlns:a16="http://schemas.microsoft.com/office/drawing/2014/main" id="{0263481C-13BB-5E19-8A6A-58F40ACAB40E}"/>
                  </a:ext>
                </a:extLst>
              </p:cNvPr>
              <p:cNvSpPr/>
              <p:nvPr/>
            </p:nvSpPr>
            <p:spPr>
              <a:xfrm>
                <a:off x="844585" y="3651802"/>
                <a:ext cx="389" cy="498"/>
              </a:xfrm>
              <a:custGeom>
                <a:avLst/>
                <a:gdLst>
                  <a:gd name="connsiteX0" fmla="*/ 3732 w 3732"/>
                  <a:gd name="connsiteY0" fmla="*/ 2251 h 4775"/>
                  <a:gd name="connsiteX1" fmla="*/ 2388 w 3732"/>
                  <a:gd name="connsiteY1" fmla="*/ 4775 h 4775"/>
                  <a:gd name="connsiteX2" fmla="*/ 0 w 3732"/>
                  <a:gd name="connsiteY2" fmla="*/ 3485 h 4775"/>
                  <a:gd name="connsiteX3" fmla="*/ 659 w 3732"/>
                  <a:gd name="connsiteY3" fmla="*/ 741 h 4775"/>
                  <a:gd name="connsiteX4" fmla="*/ 3129 w 3732"/>
                  <a:gd name="connsiteY4" fmla="*/ 0 h 4775"/>
                  <a:gd name="connsiteX5" fmla="*/ 3732 w 3732"/>
                  <a:gd name="connsiteY5" fmla="*/ 2251 h 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2" h="4775">
                    <a:moveTo>
                      <a:pt x="3732" y="2251"/>
                    </a:moveTo>
                    <a:lnTo>
                      <a:pt x="2388" y="4775"/>
                    </a:lnTo>
                    <a:lnTo>
                      <a:pt x="0" y="3485"/>
                    </a:lnTo>
                    <a:lnTo>
                      <a:pt x="659" y="741"/>
                    </a:lnTo>
                    <a:lnTo>
                      <a:pt x="3129" y="0"/>
                    </a:lnTo>
                    <a:lnTo>
                      <a:pt x="3732" y="22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7" name="Freeform: Shape 4266">
                <a:extLst>
                  <a:ext uri="{FF2B5EF4-FFF2-40B4-BE49-F238E27FC236}">
                    <a16:creationId xmlns:a16="http://schemas.microsoft.com/office/drawing/2014/main" id="{837B7282-1638-319B-F259-7DA2571DE90D}"/>
                  </a:ext>
                </a:extLst>
              </p:cNvPr>
              <p:cNvSpPr/>
              <p:nvPr/>
            </p:nvSpPr>
            <p:spPr>
              <a:xfrm>
                <a:off x="858129" y="3646240"/>
                <a:ext cx="326" cy="604"/>
              </a:xfrm>
              <a:custGeom>
                <a:avLst/>
                <a:gdLst>
                  <a:gd name="connsiteX0" fmla="*/ 3128 w 3128"/>
                  <a:gd name="connsiteY0" fmla="*/ 796 h 5790"/>
                  <a:gd name="connsiteX1" fmla="*/ 2525 w 3128"/>
                  <a:gd name="connsiteY1" fmla="*/ 5790 h 5790"/>
                  <a:gd name="connsiteX2" fmla="*/ 961 w 3128"/>
                  <a:gd name="connsiteY2" fmla="*/ 4994 h 5790"/>
                  <a:gd name="connsiteX3" fmla="*/ 0 w 3128"/>
                  <a:gd name="connsiteY3" fmla="*/ 1838 h 5790"/>
                  <a:gd name="connsiteX4" fmla="*/ 1207 w 3128"/>
                  <a:gd name="connsiteY4" fmla="*/ 0 h 5790"/>
                  <a:gd name="connsiteX5" fmla="*/ 3101 w 3128"/>
                  <a:gd name="connsiteY5" fmla="*/ 823 h 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5790">
                    <a:moveTo>
                      <a:pt x="3128" y="796"/>
                    </a:moveTo>
                    <a:lnTo>
                      <a:pt x="2525" y="5790"/>
                    </a:lnTo>
                    <a:lnTo>
                      <a:pt x="961" y="4994"/>
                    </a:lnTo>
                    <a:lnTo>
                      <a:pt x="0" y="1838"/>
                    </a:lnTo>
                    <a:lnTo>
                      <a:pt x="1207" y="0"/>
                    </a:lnTo>
                    <a:lnTo>
                      <a:pt x="3101" y="8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8" name="Freeform: Shape 4267">
                <a:extLst>
                  <a:ext uri="{FF2B5EF4-FFF2-40B4-BE49-F238E27FC236}">
                    <a16:creationId xmlns:a16="http://schemas.microsoft.com/office/drawing/2014/main" id="{876B5BD6-C16B-203C-2A0B-E494FB14DF3E}"/>
                  </a:ext>
                </a:extLst>
              </p:cNvPr>
              <p:cNvSpPr/>
              <p:nvPr/>
            </p:nvSpPr>
            <p:spPr>
              <a:xfrm>
                <a:off x="820716" y="3658159"/>
                <a:ext cx="335" cy="561"/>
              </a:xfrm>
              <a:custGeom>
                <a:avLst/>
                <a:gdLst>
                  <a:gd name="connsiteX0" fmla="*/ 3211 w 3210"/>
                  <a:gd name="connsiteY0" fmla="*/ 4007 h 5378"/>
                  <a:gd name="connsiteX1" fmla="*/ 1098 w 3210"/>
                  <a:gd name="connsiteY1" fmla="*/ 5379 h 5378"/>
                  <a:gd name="connsiteX2" fmla="*/ 0 w 3210"/>
                  <a:gd name="connsiteY2" fmla="*/ 2964 h 5378"/>
                  <a:gd name="connsiteX3" fmla="*/ 878 w 3210"/>
                  <a:gd name="connsiteY3" fmla="*/ 0 h 5378"/>
                  <a:gd name="connsiteX4" fmla="*/ 3211 w 3210"/>
                  <a:gd name="connsiteY4" fmla="*/ 1647 h 5378"/>
                  <a:gd name="connsiteX5" fmla="*/ 3211 w 3210"/>
                  <a:gd name="connsiteY5" fmla="*/ 4007 h 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0" h="5378">
                    <a:moveTo>
                      <a:pt x="3211" y="4007"/>
                    </a:moveTo>
                    <a:lnTo>
                      <a:pt x="1098" y="5379"/>
                    </a:lnTo>
                    <a:lnTo>
                      <a:pt x="0" y="2964"/>
                    </a:lnTo>
                    <a:lnTo>
                      <a:pt x="878" y="0"/>
                    </a:lnTo>
                    <a:lnTo>
                      <a:pt x="3211" y="1647"/>
                    </a:lnTo>
                    <a:lnTo>
                      <a:pt x="3211" y="40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9" name="Freeform: Shape 4268">
                <a:extLst>
                  <a:ext uri="{FF2B5EF4-FFF2-40B4-BE49-F238E27FC236}">
                    <a16:creationId xmlns:a16="http://schemas.microsoft.com/office/drawing/2014/main" id="{182018F3-0EE8-D386-82C4-330AC2648CE6}"/>
                  </a:ext>
                </a:extLst>
              </p:cNvPr>
              <p:cNvSpPr/>
              <p:nvPr/>
            </p:nvSpPr>
            <p:spPr>
              <a:xfrm>
                <a:off x="878094" y="3636626"/>
                <a:ext cx="375" cy="555"/>
              </a:xfrm>
              <a:custGeom>
                <a:avLst/>
                <a:gdLst>
                  <a:gd name="connsiteX0" fmla="*/ 3595 w 3595"/>
                  <a:gd name="connsiteY0" fmla="*/ 384 h 5324"/>
                  <a:gd name="connsiteX1" fmla="*/ 3046 w 3595"/>
                  <a:gd name="connsiteY1" fmla="*/ 5324 h 5324"/>
                  <a:gd name="connsiteX2" fmla="*/ 0 w 3595"/>
                  <a:gd name="connsiteY2" fmla="*/ 4089 h 5324"/>
                  <a:gd name="connsiteX3" fmla="*/ 1454 w 3595"/>
                  <a:gd name="connsiteY3" fmla="*/ 0 h 5324"/>
                  <a:gd name="connsiteX4" fmla="*/ 3568 w 3595"/>
                  <a:gd name="connsiteY4" fmla="*/ 384 h 5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5324">
                    <a:moveTo>
                      <a:pt x="3595" y="384"/>
                    </a:moveTo>
                    <a:lnTo>
                      <a:pt x="3046" y="5324"/>
                    </a:lnTo>
                    <a:lnTo>
                      <a:pt x="0" y="4089"/>
                    </a:lnTo>
                    <a:lnTo>
                      <a:pt x="1454" y="0"/>
                    </a:lnTo>
                    <a:lnTo>
                      <a:pt x="3568"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0" name="Freeform: Shape 4269">
                <a:extLst>
                  <a:ext uri="{FF2B5EF4-FFF2-40B4-BE49-F238E27FC236}">
                    <a16:creationId xmlns:a16="http://schemas.microsoft.com/office/drawing/2014/main" id="{715CA261-AF52-8002-0B12-E74777B91DF9}"/>
                  </a:ext>
                </a:extLst>
              </p:cNvPr>
              <p:cNvSpPr/>
              <p:nvPr/>
            </p:nvSpPr>
            <p:spPr>
              <a:xfrm>
                <a:off x="827840" y="3656733"/>
                <a:ext cx="481" cy="389"/>
              </a:xfrm>
              <a:custGeom>
                <a:avLst/>
                <a:gdLst>
                  <a:gd name="connsiteX0" fmla="*/ 4610 w 4610"/>
                  <a:gd name="connsiteY0" fmla="*/ 55 h 3732"/>
                  <a:gd name="connsiteX1" fmla="*/ 3183 w 4610"/>
                  <a:gd name="connsiteY1" fmla="*/ 3733 h 3732"/>
                  <a:gd name="connsiteX2" fmla="*/ 0 w 4610"/>
                  <a:gd name="connsiteY2" fmla="*/ 2086 h 3732"/>
                  <a:gd name="connsiteX3" fmla="*/ 494 w 4610"/>
                  <a:gd name="connsiteY3" fmla="*/ 0 h 3732"/>
                  <a:gd name="connsiteX4" fmla="*/ 4610 w 4610"/>
                  <a:gd name="connsiteY4" fmla="*/ 55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3732">
                    <a:moveTo>
                      <a:pt x="4610" y="55"/>
                    </a:moveTo>
                    <a:lnTo>
                      <a:pt x="3183" y="3733"/>
                    </a:lnTo>
                    <a:lnTo>
                      <a:pt x="0" y="2086"/>
                    </a:lnTo>
                    <a:lnTo>
                      <a:pt x="494" y="0"/>
                    </a:lnTo>
                    <a:lnTo>
                      <a:pt x="4610" y="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1" name="Freeform: Shape 4270">
                <a:extLst>
                  <a:ext uri="{FF2B5EF4-FFF2-40B4-BE49-F238E27FC236}">
                    <a16:creationId xmlns:a16="http://schemas.microsoft.com/office/drawing/2014/main" id="{5CCB1EC9-9CCD-996D-5E95-73471104C3E1}"/>
                  </a:ext>
                </a:extLst>
              </p:cNvPr>
              <p:cNvSpPr/>
              <p:nvPr/>
            </p:nvSpPr>
            <p:spPr>
              <a:xfrm>
                <a:off x="911360" y="3608331"/>
                <a:ext cx="418" cy="564"/>
              </a:xfrm>
              <a:custGeom>
                <a:avLst/>
                <a:gdLst>
                  <a:gd name="connsiteX0" fmla="*/ 3952 w 4006"/>
                  <a:gd name="connsiteY0" fmla="*/ 4391 h 5406"/>
                  <a:gd name="connsiteX1" fmla="*/ 1427 w 4006"/>
                  <a:gd name="connsiteY1" fmla="*/ 5406 h 5406"/>
                  <a:gd name="connsiteX2" fmla="*/ 0 w 4006"/>
                  <a:gd name="connsiteY2" fmla="*/ 2744 h 5406"/>
                  <a:gd name="connsiteX3" fmla="*/ 961 w 4006"/>
                  <a:gd name="connsiteY3" fmla="*/ 0 h 5406"/>
                  <a:gd name="connsiteX4" fmla="*/ 4007 w 4006"/>
                  <a:gd name="connsiteY4" fmla="*/ 1784 h 5406"/>
                  <a:gd name="connsiteX5" fmla="*/ 3924 w 4006"/>
                  <a:gd name="connsiteY5" fmla="*/ 4391 h 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6" h="5406">
                    <a:moveTo>
                      <a:pt x="3952" y="4391"/>
                    </a:moveTo>
                    <a:lnTo>
                      <a:pt x="1427" y="5406"/>
                    </a:lnTo>
                    <a:lnTo>
                      <a:pt x="0" y="2744"/>
                    </a:lnTo>
                    <a:lnTo>
                      <a:pt x="961" y="0"/>
                    </a:lnTo>
                    <a:lnTo>
                      <a:pt x="4007" y="1784"/>
                    </a:lnTo>
                    <a:lnTo>
                      <a:pt x="3924" y="43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2" name="Freeform: Shape 4271">
                <a:extLst>
                  <a:ext uri="{FF2B5EF4-FFF2-40B4-BE49-F238E27FC236}">
                    <a16:creationId xmlns:a16="http://schemas.microsoft.com/office/drawing/2014/main" id="{9F5E5B87-4D1F-2BAF-B4AC-168CF7A99390}"/>
                  </a:ext>
                </a:extLst>
              </p:cNvPr>
              <p:cNvSpPr/>
              <p:nvPr/>
            </p:nvSpPr>
            <p:spPr>
              <a:xfrm>
                <a:off x="882883" y="3632890"/>
                <a:ext cx="507" cy="409"/>
              </a:xfrm>
              <a:custGeom>
                <a:avLst/>
                <a:gdLst>
                  <a:gd name="connsiteX0" fmla="*/ 4830 w 4857"/>
                  <a:gd name="connsiteY0" fmla="*/ 110 h 3924"/>
                  <a:gd name="connsiteX1" fmla="*/ 4610 w 4857"/>
                  <a:gd name="connsiteY1" fmla="*/ 3924 h 3924"/>
                  <a:gd name="connsiteX2" fmla="*/ 0 w 4857"/>
                  <a:gd name="connsiteY2" fmla="*/ 1866 h 3924"/>
                  <a:gd name="connsiteX3" fmla="*/ 1070 w 4857"/>
                  <a:gd name="connsiteY3" fmla="*/ 0 h 3924"/>
                  <a:gd name="connsiteX4" fmla="*/ 4857 w 4857"/>
                  <a:gd name="connsiteY4" fmla="*/ 137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 h="3924">
                    <a:moveTo>
                      <a:pt x="4830" y="110"/>
                    </a:moveTo>
                    <a:lnTo>
                      <a:pt x="4610" y="3924"/>
                    </a:lnTo>
                    <a:lnTo>
                      <a:pt x="0" y="1866"/>
                    </a:lnTo>
                    <a:lnTo>
                      <a:pt x="1070" y="0"/>
                    </a:lnTo>
                    <a:lnTo>
                      <a:pt x="4857" y="1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3" name="Freeform: Shape 4272">
                <a:extLst>
                  <a:ext uri="{FF2B5EF4-FFF2-40B4-BE49-F238E27FC236}">
                    <a16:creationId xmlns:a16="http://schemas.microsoft.com/office/drawing/2014/main" id="{7A6AC415-D650-6B8E-B087-73BB7D7C67AB}"/>
                  </a:ext>
                </a:extLst>
              </p:cNvPr>
              <p:cNvSpPr/>
              <p:nvPr/>
            </p:nvSpPr>
            <p:spPr>
              <a:xfrm>
                <a:off x="875750" y="3642459"/>
                <a:ext cx="395" cy="484"/>
              </a:xfrm>
              <a:custGeom>
                <a:avLst/>
                <a:gdLst>
                  <a:gd name="connsiteX0" fmla="*/ 3787 w 3787"/>
                  <a:gd name="connsiteY0" fmla="*/ 2223 h 4638"/>
                  <a:gd name="connsiteX1" fmla="*/ 3376 w 3787"/>
                  <a:gd name="connsiteY1" fmla="*/ 4638 h 4638"/>
                  <a:gd name="connsiteX2" fmla="*/ 0 w 3787"/>
                  <a:gd name="connsiteY2" fmla="*/ 4556 h 4638"/>
                  <a:gd name="connsiteX3" fmla="*/ 521 w 3787"/>
                  <a:gd name="connsiteY3" fmla="*/ 0 h 4638"/>
                  <a:gd name="connsiteX4" fmla="*/ 3787 w 3787"/>
                  <a:gd name="connsiteY4" fmla="*/ 2223 h 4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4638">
                    <a:moveTo>
                      <a:pt x="3787" y="2223"/>
                    </a:moveTo>
                    <a:lnTo>
                      <a:pt x="3376" y="4638"/>
                    </a:lnTo>
                    <a:lnTo>
                      <a:pt x="0" y="4556"/>
                    </a:lnTo>
                    <a:lnTo>
                      <a:pt x="521" y="0"/>
                    </a:lnTo>
                    <a:lnTo>
                      <a:pt x="3787"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4" name="Freeform: Shape 4273">
                <a:extLst>
                  <a:ext uri="{FF2B5EF4-FFF2-40B4-BE49-F238E27FC236}">
                    <a16:creationId xmlns:a16="http://schemas.microsoft.com/office/drawing/2014/main" id="{548B4EA2-CDA4-2710-49EC-55DEC02A74BB}"/>
                  </a:ext>
                </a:extLst>
              </p:cNvPr>
              <p:cNvSpPr/>
              <p:nvPr/>
            </p:nvSpPr>
            <p:spPr>
              <a:xfrm>
                <a:off x="954676" y="3626928"/>
                <a:ext cx="363" cy="561"/>
              </a:xfrm>
              <a:custGeom>
                <a:avLst/>
                <a:gdLst>
                  <a:gd name="connsiteX0" fmla="*/ 3485 w 3485"/>
                  <a:gd name="connsiteY0" fmla="*/ 4775 h 5378"/>
                  <a:gd name="connsiteX1" fmla="*/ 1235 w 3485"/>
                  <a:gd name="connsiteY1" fmla="*/ 5379 h 5378"/>
                  <a:gd name="connsiteX2" fmla="*/ 0 w 3485"/>
                  <a:gd name="connsiteY2" fmla="*/ 247 h 5378"/>
                  <a:gd name="connsiteX3" fmla="*/ 2854 w 3485"/>
                  <a:gd name="connsiteY3" fmla="*/ 0 h 5378"/>
                  <a:gd name="connsiteX4" fmla="*/ 3485 w 3485"/>
                  <a:gd name="connsiteY4" fmla="*/ 4775 h 5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5378">
                    <a:moveTo>
                      <a:pt x="3485" y="4775"/>
                    </a:moveTo>
                    <a:lnTo>
                      <a:pt x="1235" y="5379"/>
                    </a:lnTo>
                    <a:lnTo>
                      <a:pt x="0" y="247"/>
                    </a:lnTo>
                    <a:lnTo>
                      <a:pt x="2854" y="0"/>
                    </a:lnTo>
                    <a:lnTo>
                      <a:pt x="3485" y="47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5" name="Freeform: Shape 4274">
                <a:extLst>
                  <a:ext uri="{FF2B5EF4-FFF2-40B4-BE49-F238E27FC236}">
                    <a16:creationId xmlns:a16="http://schemas.microsoft.com/office/drawing/2014/main" id="{F3F1A458-B977-B47B-ED51-660F5396860A}"/>
                  </a:ext>
                </a:extLst>
              </p:cNvPr>
              <p:cNvSpPr/>
              <p:nvPr/>
            </p:nvSpPr>
            <p:spPr>
              <a:xfrm>
                <a:off x="922177" y="3613149"/>
                <a:ext cx="363" cy="670"/>
              </a:xfrm>
              <a:custGeom>
                <a:avLst/>
                <a:gdLst>
                  <a:gd name="connsiteX0" fmla="*/ 3458 w 3485"/>
                  <a:gd name="connsiteY0" fmla="*/ 4281 h 6421"/>
                  <a:gd name="connsiteX1" fmla="*/ 1866 w 3485"/>
                  <a:gd name="connsiteY1" fmla="*/ 6422 h 6421"/>
                  <a:gd name="connsiteX2" fmla="*/ 521 w 3485"/>
                  <a:gd name="connsiteY2" fmla="*/ 5351 h 6421"/>
                  <a:gd name="connsiteX3" fmla="*/ 0 w 3485"/>
                  <a:gd name="connsiteY3" fmla="*/ 1619 h 6421"/>
                  <a:gd name="connsiteX4" fmla="*/ 1345 w 3485"/>
                  <a:gd name="connsiteY4" fmla="*/ 0 h 6421"/>
                  <a:gd name="connsiteX5" fmla="*/ 3485 w 3485"/>
                  <a:gd name="connsiteY5" fmla="*/ 1619 h 6421"/>
                  <a:gd name="connsiteX6" fmla="*/ 3485 w 3485"/>
                  <a:gd name="connsiteY6" fmla="*/ 4281 h 6421"/>
                  <a:gd name="connsiteX7" fmla="*/ 3485 w 3485"/>
                  <a:gd name="connsiteY7" fmla="*/ 4281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5" h="6421">
                    <a:moveTo>
                      <a:pt x="3458" y="4281"/>
                    </a:moveTo>
                    <a:lnTo>
                      <a:pt x="1866" y="6422"/>
                    </a:lnTo>
                    <a:lnTo>
                      <a:pt x="521" y="5351"/>
                    </a:lnTo>
                    <a:lnTo>
                      <a:pt x="0" y="1619"/>
                    </a:lnTo>
                    <a:lnTo>
                      <a:pt x="1345" y="0"/>
                    </a:lnTo>
                    <a:lnTo>
                      <a:pt x="3485" y="1619"/>
                    </a:lnTo>
                    <a:lnTo>
                      <a:pt x="3485" y="4281"/>
                    </a:lnTo>
                    <a:lnTo>
                      <a:pt x="3485"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6" name="Freeform: Shape 4275">
                <a:extLst>
                  <a:ext uri="{FF2B5EF4-FFF2-40B4-BE49-F238E27FC236}">
                    <a16:creationId xmlns:a16="http://schemas.microsoft.com/office/drawing/2014/main" id="{7F347B10-1534-EA44-A155-293DC3351361}"/>
                  </a:ext>
                </a:extLst>
              </p:cNvPr>
              <p:cNvSpPr/>
              <p:nvPr/>
            </p:nvSpPr>
            <p:spPr>
              <a:xfrm>
                <a:off x="899158" y="3609748"/>
                <a:ext cx="369" cy="592"/>
              </a:xfrm>
              <a:custGeom>
                <a:avLst/>
                <a:gdLst>
                  <a:gd name="connsiteX0" fmla="*/ 3513 w 3540"/>
                  <a:gd name="connsiteY0" fmla="*/ 1674 h 5680"/>
                  <a:gd name="connsiteX1" fmla="*/ 3046 w 3540"/>
                  <a:gd name="connsiteY1" fmla="*/ 5681 h 5680"/>
                  <a:gd name="connsiteX2" fmla="*/ 659 w 3540"/>
                  <a:gd name="connsiteY2" fmla="*/ 5351 h 5680"/>
                  <a:gd name="connsiteX3" fmla="*/ 0 w 3540"/>
                  <a:gd name="connsiteY3" fmla="*/ 1921 h 5680"/>
                  <a:gd name="connsiteX4" fmla="*/ 1756 w 3540"/>
                  <a:gd name="connsiteY4" fmla="*/ 0 h 5680"/>
                  <a:gd name="connsiteX5" fmla="*/ 3540 w 3540"/>
                  <a:gd name="connsiteY5" fmla="*/ 1701 h 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0" h="5680">
                    <a:moveTo>
                      <a:pt x="3513" y="1674"/>
                    </a:moveTo>
                    <a:lnTo>
                      <a:pt x="3046" y="5681"/>
                    </a:lnTo>
                    <a:lnTo>
                      <a:pt x="659" y="5351"/>
                    </a:lnTo>
                    <a:lnTo>
                      <a:pt x="0" y="1921"/>
                    </a:lnTo>
                    <a:lnTo>
                      <a:pt x="1756" y="0"/>
                    </a:lnTo>
                    <a:lnTo>
                      <a:pt x="3540"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7" name="Freeform: Shape 4276">
                <a:extLst>
                  <a:ext uri="{FF2B5EF4-FFF2-40B4-BE49-F238E27FC236}">
                    <a16:creationId xmlns:a16="http://schemas.microsoft.com/office/drawing/2014/main" id="{B6D74814-7A1E-0994-AE6A-22E234CCD106}"/>
                  </a:ext>
                </a:extLst>
              </p:cNvPr>
              <p:cNvSpPr/>
              <p:nvPr/>
            </p:nvSpPr>
            <p:spPr>
              <a:xfrm>
                <a:off x="906254" y="3614858"/>
                <a:ext cx="309" cy="678"/>
              </a:xfrm>
              <a:custGeom>
                <a:avLst/>
                <a:gdLst>
                  <a:gd name="connsiteX0" fmla="*/ 2772 w 2963"/>
                  <a:gd name="connsiteY0" fmla="*/ 1482 h 6503"/>
                  <a:gd name="connsiteX1" fmla="*/ 2964 w 2963"/>
                  <a:gd name="connsiteY1" fmla="*/ 6504 h 6503"/>
                  <a:gd name="connsiteX2" fmla="*/ 878 w 2963"/>
                  <a:gd name="connsiteY2" fmla="*/ 6202 h 6503"/>
                  <a:gd name="connsiteX3" fmla="*/ 0 w 2963"/>
                  <a:gd name="connsiteY3" fmla="*/ 1976 h 6503"/>
                  <a:gd name="connsiteX4" fmla="*/ 796 w 2963"/>
                  <a:gd name="connsiteY4" fmla="*/ 0 h 6503"/>
                  <a:gd name="connsiteX5" fmla="*/ 2772 w 2963"/>
                  <a:gd name="connsiteY5" fmla="*/ 1482 h 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3" h="6503">
                    <a:moveTo>
                      <a:pt x="2772" y="1482"/>
                    </a:moveTo>
                    <a:lnTo>
                      <a:pt x="2964" y="6504"/>
                    </a:lnTo>
                    <a:lnTo>
                      <a:pt x="878" y="6202"/>
                    </a:lnTo>
                    <a:lnTo>
                      <a:pt x="0" y="1976"/>
                    </a:lnTo>
                    <a:lnTo>
                      <a:pt x="796" y="0"/>
                    </a:lnTo>
                    <a:lnTo>
                      <a:pt x="2772"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8" name="Freeform: Shape 4277">
                <a:extLst>
                  <a:ext uri="{FF2B5EF4-FFF2-40B4-BE49-F238E27FC236}">
                    <a16:creationId xmlns:a16="http://schemas.microsoft.com/office/drawing/2014/main" id="{428FC324-BADD-FA91-D5D9-9E19EFD2F649}"/>
                  </a:ext>
                </a:extLst>
              </p:cNvPr>
              <p:cNvSpPr/>
              <p:nvPr/>
            </p:nvSpPr>
            <p:spPr>
              <a:xfrm>
                <a:off x="843308" y="3653101"/>
                <a:ext cx="458" cy="363"/>
              </a:xfrm>
              <a:custGeom>
                <a:avLst/>
                <a:gdLst>
                  <a:gd name="connsiteX0" fmla="*/ 4391 w 4390"/>
                  <a:gd name="connsiteY0" fmla="*/ 905 h 3485"/>
                  <a:gd name="connsiteX1" fmla="*/ 3540 w 4390"/>
                  <a:gd name="connsiteY1" fmla="*/ 3485 h 3485"/>
                  <a:gd name="connsiteX2" fmla="*/ 0 w 4390"/>
                  <a:gd name="connsiteY2" fmla="*/ 3403 h 3485"/>
                  <a:gd name="connsiteX3" fmla="*/ 467 w 4390"/>
                  <a:gd name="connsiteY3" fmla="*/ 0 h 3485"/>
                  <a:gd name="connsiteX4" fmla="*/ 4391 w 4390"/>
                  <a:gd name="connsiteY4" fmla="*/ 905 h 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0" h="3485">
                    <a:moveTo>
                      <a:pt x="4391" y="905"/>
                    </a:moveTo>
                    <a:lnTo>
                      <a:pt x="3540" y="3485"/>
                    </a:lnTo>
                    <a:lnTo>
                      <a:pt x="0" y="3403"/>
                    </a:lnTo>
                    <a:lnTo>
                      <a:pt x="467" y="0"/>
                    </a:lnTo>
                    <a:lnTo>
                      <a:pt x="4391"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9" name="Freeform: Shape 4278">
                <a:extLst>
                  <a:ext uri="{FF2B5EF4-FFF2-40B4-BE49-F238E27FC236}">
                    <a16:creationId xmlns:a16="http://schemas.microsoft.com/office/drawing/2014/main" id="{B75A4E1B-C46D-D92D-94D0-CF1E83F4EDB9}"/>
                  </a:ext>
                </a:extLst>
              </p:cNvPr>
              <p:cNvSpPr/>
              <p:nvPr/>
            </p:nvSpPr>
            <p:spPr>
              <a:xfrm>
                <a:off x="855525" y="3646747"/>
                <a:ext cx="366" cy="455"/>
              </a:xfrm>
              <a:custGeom>
                <a:avLst/>
                <a:gdLst>
                  <a:gd name="connsiteX0" fmla="*/ 3513 w 3512"/>
                  <a:gd name="connsiteY0" fmla="*/ 4062 h 4363"/>
                  <a:gd name="connsiteX1" fmla="*/ 768 w 3512"/>
                  <a:gd name="connsiteY1" fmla="*/ 4363 h 4363"/>
                  <a:gd name="connsiteX2" fmla="*/ 0 w 3512"/>
                  <a:gd name="connsiteY2" fmla="*/ 2442 h 4363"/>
                  <a:gd name="connsiteX3" fmla="*/ 192 w 3512"/>
                  <a:gd name="connsiteY3" fmla="*/ 0 h 4363"/>
                  <a:gd name="connsiteX4" fmla="*/ 2964 w 3512"/>
                  <a:gd name="connsiteY4" fmla="*/ 604 h 4363"/>
                  <a:gd name="connsiteX5" fmla="*/ 3513 w 3512"/>
                  <a:gd name="connsiteY5" fmla="*/ 4062 h 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 h="4363">
                    <a:moveTo>
                      <a:pt x="3513" y="4062"/>
                    </a:moveTo>
                    <a:lnTo>
                      <a:pt x="768" y="4363"/>
                    </a:lnTo>
                    <a:lnTo>
                      <a:pt x="0" y="2442"/>
                    </a:lnTo>
                    <a:lnTo>
                      <a:pt x="192" y="0"/>
                    </a:lnTo>
                    <a:lnTo>
                      <a:pt x="2964" y="604"/>
                    </a:lnTo>
                    <a:lnTo>
                      <a:pt x="3513" y="40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0" name="Freeform: Shape 4279">
                <a:extLst>
                  <a:ext uri="{FF2B5EF4-FFF2-40B4-BE49-F238E27FC236}">
                    <a16:creationId xmlns:a16="http://schemas.microsoft.com/office/drawing/2014/main" id="{5234C5B2-CF50-0F95-8346-A4484EFB3B6A}"/>
                  </a:ext>
                </a:extLst>
              </p:cNvPr>
              <p:cNvSpPr/>
              <p:nvPr/>
            </p:nvSpPr>
            <p:spPr>
              <a:xfrm>
                <a:off x="868044" y="3620960"/>
                <a:ext cx="584" cy="318"/>
              </a:xfrm>
              <a:custGeom>
                <a:avLst/>
                <a:gdLst>
                  <a:gd name="connsiteX0" fmla="*/ 5187 w 5598"/>
                  <a:gd name="connsiteY0" fmla="*/ 2882 h 3046"/>
                  <a:gd name="connsiteX1" fmla="*/ 1372 w 5598"/>
                  <a:gd name="connsiteY1" fmla="*/ 3046 h 3046"/>
                  <a:gd name="connsiteX2" fmla="*/ 0 w 5598"/>
                  <a:gd name="connsiteY2" fmla="*/ 1509 h 3046"/>
                  <a:gd name="connsiteX3" fmla="*/ 412 w 5598"/>
                  <a:gd name="connsiteY3" fmla="*/ 439 h 3046"/>
                  <a:gd name="connsiteX4" fmla="*/ 5598 w 5598"/>
                  <a:gd name="connsiteY4" fmla="*/ 0 h 3046"/>
                  <a:gd name="connsiteX5" fmla="*/ 5187 w 5598"/>
                  <a:gd name="connsiteY5" fmla="*/ 2882 h 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8" h="3046">
                    <a:moveTo>
                      <a:pt x="5187" y="2882"/>
                    </a:moveTo>
                    <a:lnTo>
                      <a:pt x="1372" y="3046"/>
                    </a:lnTo>
                    <a:lnTo>
                      <a:pt x="0" y="1509"/>
                    </a:lnTo>
                    <a:lnTo>
                      <a:pt x="412" y="439"/>
                    </a:lnTo>
                    <a:lnTo>
                      <a:pt x="5598" y="0"/>
                    </a:lnTo>
                    <a:lnTo>
                      <a:pt x="5187" y="28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1" name="Freeform: Shape 4280">
                <a:extLst>
                  <a:ext uri="{FF2B5EF4-FFF2-40B4-BE49-F238E27FC236}">
                    <a16:creationId xmlns:a16="http://schemas.microsoft.com/office/drawing/2014/main" id="{E5954048-831D-0D9A-AD5A-8B0976017A79}"/>
                  </a:ext>
                </a:extLst>
              </p:cNvPr>
              <p:cNvSpPr/>
              <p:nvPr/>
            </p:nvSpPr>
            <p:spPr>
              <a:xfrm>
                <a:off x="987799" y="3671529"/>
                <a:ext cx="180" cy="132"/>
              </a:xfrm>
              <a:custGeom>
                <a:avLst/>
                <a:gdLst>
                  <a:gd name="connsiteX0" fmla="*/ 1701 w 1728"/>
                  <a:gd name="connsiteY0" fmla="*/ 1070 h 1262"/>
                  <a:gd name="connsiteX1" fmla="*/ 878 w 1728"/>
                  <a:gd name="connsiteY1" fmla="*/ 1262 h 1262"/>
                  <a:gd name="connsiteX2" fmla="*/ 0 w 1728"/>
                  <a:gd name="connsiteY2" fmla="*/ 0 h 1262"/>
                  <a:gd name="connsiteX3" fmla="*/ 1647 w 1728"/>
                  <a:gd name="connsiteY3" fmla="*/ 0 h 1262"/>
                  <a:gd name="connsiteX4" fmla="*/ 1729 w 1728"/>
                  <a:gd name="connsiteY4" fmla="*/ 1070 h 1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8" h="1262">
                    <a:moveTo>
                      <a:pt x="1701" y="1070"/>
                    </a:moveTo>
                    <a:lnTo>
                      <a:pt x="878" y="1262"/>
                    </a:lnTo>
                    <a:lnTo>
                      <a:pt x="0" y="0"/>
                    </a:lnTo>
                    <a:lnTo>
                      <a:pt x="1647" y="0"/>
                    </a:lnTo>
                    <a:lnTo>
                      <a:pt x="1729" y="10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2" name="Freeform: Shape 4281">
                <a:extLst>
                  <a:ext uri="{FF2B5EF4-FFF2-40B4-BE49-F238E27FC236}">
                    <a16:creationId xmlns:a16="http://schemas.microsoft.com/office/drawing/2014/main" id="{5D9E0D8C-E690-266C-D61B-F17DE1E81704}"/>
                  </a:ext>
                </a:extLst>
              </p:cNvPr>
              <p:cNvSpPr/>
              <p:nvPr/>
            </p:nvSpPr>
            <p:spPr>
              <a:xfrm>
                <a:off x="1442912" y="3892965"/>
                <a:ext cx="23806" cy="22086"/>
              </a:xfrm>
              <a:custGeom>
                <a:avLst/>
                <a:gdLst>
                  <a:gd name="connsiteX0" fmla="*/ 177666 w 228243"/>
                  <a:gd name="connsiteY0" fmla="*/ 211750 h 211750"/>
                  <a:gd name="connsiteX1" fmla="*/ 174235 w 228243"/>
                  <a:gd name="connsiteY1" fmla="*/ 209363 h 211750"/>
                  <a:gd name="connsiteX2" fmla="*/ 165042 w 228243"/>
                  <a:gd name="connsiteY2" fmla="*/ 207935 h 211750"/>
                  <a:gd name="connsiteX3" fmla="*/ 148000 w 228243"/>
                  <a:gd name="connsiteY3" fmla="*/ 209280 h 211750"/>
                  <a:gd name="connsiteX4" fmla="*/ 130408 w 228243"/>
                  <a:gd name="connsiteY4" fmla="*/ 202749 h 211750"/>
                  <a:gd name="connsiteX5" fmla="*/ 120282 w 228243"/>
                  <a:gd name="connsiteY5" fmla="*/ 204697 h 211750"/>
                  <a:gd name="connsiteX6" fmla="*/ 112187 w 228243"/>
                  <a:gd name="connsiteY6" fmla="*/ 198852 h 211750"/>
                  <a:gd name="connsiteX7" fmla="*/ 108784 w 228243"/>
                  <a:gd name="connsiteY7" fmla="*/ 191250 h 211750"/>
                  <a:gd name="connsiteX8" fmla="*/ 80792 w 228243"/>
                  <a:gd name="connsiteY8" fmla="*/ 183758 h 211750"/>
                  <a:gd name="connsiteX9" fmla="*/ 71708 w 228243"/>
                  <a:gd name="connsiteY9" fmla="*/ 169049 h 211750"/>
                  <a:gd name="connsiteX10" fmla="*/ 71105 w 228243"/>
                  <a:gd name="connsiteY10" fmla="*/ 152171 h 211750"/>
                  <a:gd name="connsiteX11" fmla="*/ 60210 w 228243"/>
                  <a:gd name="connsiteY11" fmla="*/ 150250 h 211750"/>
                  <a:gd name="connsiteX12" fmla="*/ 56587 w 228243"/>
                  <a:gd name="connsiteY12" fmla="*/ 139081 h 211750"/>
                  <a:gd name="connsiteX13" fmla="*/ 43249 w 228243"/>
                  <a:gd name="connsiteY13" fmla="*/ 133702 h 211750"/>
                  <a:gd name="connsiteX14" fmla="*/ 26811 w 228243"/>
                  <a:gd name="connsiteY14" fmla="*/ 120886 h 211750"/>
                  <a:gd name="connsiteX15" fmla="*/ 19923 w 228243"/>
                  <a:gd name="connsiteY15" fmla="*/ 102801 h 211750"/>
                  <a:gd name="connsiteX16" fmla="*/ 1290 w 228243"/>
                  <a:gd name="connsiteY16" fmla="*/ 74672 h 211750"/>
                  <a:gd name="connsiteX17" fmla="*/ 0 w 228243"/>
                  <a:gd name="connsiteY17" fmla="*/ 67016 h 211750"/>
                  <a:gd name="connsiteX18" fmla="*/ 12980 w 228243"/>
                  <a:gd name="connsiteY18" fmla="*/ 68113 h 211750"/>
                  <a:gd name="connsiteX19" fmla="*/ 19896 w 228243"/>
                  <a:gd name="connsiteY19" fmla="*/ 72641 h 211750"/>
                  <a:gd name="connsiteX20" fmla="*/ 28183 w 228243"/>
                  <a:gd name="connsiteY20" fmla="*/ 70556 h 211750"/>
                  <a:gd name="connsiteX21" fmla="*/ 40807 w 228243"/>
                  <a:gd name="connsiteY21" fmla="*/ 74947 h 211750"/>
                  <a:gd name="connsiteX22" fmla="*/ 51181 w 228243"/>
                  <a:gd name="connsiteY22" fmla="*/ 71846 h 211750"/>
                  <a:gd name="connsiteX23" fmla="*/ 67948 w 228243"/>
                  <a:gd name="connsiteY23" fmla="*/ 53843 h 211750"/>
                  <a:gd name="connsiteX24" fmla="*/ 75907 w 228243"/>
                  <a:gd name="connsiteY24" fmla="*/ 41356 h 211750"/>
                  <a:gd name="connsiteX25" fmla="*/ 102884 w 228243"/>
                  <a:gd name="connsiteY25" fmla="*/ 27333 h 211750"/>
                  <a:gd name="connsiteX26" fmla="*/ 105601 w 228243"/>
                  <a:gd name="connsiteY26" fmla="*/ 13584 h 211750"/>
                  <a:gd name="connsiteX27" fmla="*/ 108536 w 228243"/>
                  <a:gd name="connsiteY27" fmla="*/ 9687 h 211750"/>
                  <a:gd name="connsiteX28" fmla="*/ 125661 w 228243"/>
                  <a:gd name="connsiteY28" fmla="*/ 1427 h 211750"/>
                  <a:gd name="connsiteX29" fmla="*/ 151430 w 228243"/>
                  <a:gd name="connsiteY29" fmla="*/ 0 h 211750"/>
                  <a:gd name="connsiteX30" fmla="*/ 153159 w 228243"/>
                  <a:gd name="connsiteY30" fmla="*/ 11334 h 211750"/>
                  <a:gd name="connsiteX31" fmla="*/ 175250 w 228243"/>
                  <a:gd name="connsiteY31" fmla="*/ 12239 h 211750"/>
                  <a:gd name="connsiteX32" fmla="*/ 190564 w 228243"/>
                  <a:gd name="connsiteY32" fmla="*/ 18991 h 211750"/>
                  <a:gd name="connsiteX33" fmla="*/ 197040 w 228243"/>
                  <a:gd name="connsiteY33" fmla="*/ 24479 h 211750"/>
                  <a:gd name="connsiteX34" fmla="*/ 213287 w 228243"/>
                  <a:gd name="connsiteY34" fmla="*/ 27553 h 211750"/>
                  <a:gd name="connsiteX35" fmla="*/ 220120 w 228243"/>
                  <a:gd name="connsiteY35" fmla="*/ 32685 h 211750"/>
                  <a:gd name="connsiteX36" fmla="*/ 225691 w 228243"/>
                  <a:gd name="connsiteY36" fmla="*/ 34551 h 211750"/>
                  <a:gd name="connsiteX37" fmla="*/ 223523 w 228243"/>
                  <a:gd name="connsiteY37" fmla="*/ 40616 h 211750"/>
                  <a:gd name="connsiteX38" fmla="*/ 227804 w 228243"/>
                  <a:gd name="connsiteY38" fmla="*/ 52910 h 211750"/>
                  <a:gd name="connsiteX39" fmla="*/ 226350 w 228243"/>
                  <a:gd name="connsiteY39" fmla="*/ 69595 h 211750"/>
                  <a:gd name="connsiteX40" fmla="*/ 228243 w 228243"/>
                  <a:gd name="connsiteY40" fmla="*/ 84936 h 211750"/>
                  <a:gd name="connsiteX41" fmla="*/ 224675 w 228243"/>
                  <a:gd name="connsiteY41" fmla="*/ 89903 h 211750"/>
                  <a:gd name="connsiteX42" fmla="*/ 224895 w 228243"/>
                  <a:gd name="connsiteY42" fmla="*/ 95804 h 211750"/>
                  <a:gd name="connsiteX43" fmla="*/ 220175 w 228243"/>
                  <a:gd name="connsiteY43" fmla="*/ 98877 h 211750"/>
                  <a:gd name="connsiteX44" fmla="*/ 219324 w 228243"/>
                  <a:gd name="connsiteY44" fmla="*/ 101758 h 211750"/>
                  <a:gd name="connsiteX45" fmla="*/ 223083 w 228243"/>
                  <a:gd name="connsiteY45" fmla="*/ 107439 h 211750"/>
                  <a:gd name="connsiteX46" fmla="*/ 221766 w 228243"/>
                  <a:gd name="connsiteY46" fmla="*/ 119926 h 211750"/>
                  <a:gd name="connsiteX47" fmla="*/ 223166 w 228243"/>
                  <a:gd name="connsiteY47" fmla="*/ 124042 h 211750"/>
                  <a:gd name="connsiteX48" fmla="*/ 226596 w 228243"/>
                  <a:gd name="connsiteY48" fmla="*/ 126814 h 211750"/>
                  <a:gd name="connsiteX49" fmla="*/ 227968 w 228243"/>
                  <a:gd name="connsiteY49" fmla="*/ 132275 h 211750"/>
                  <a:gd name="connsiteX50" fmla="*/ 221575 w 228243"/>
                  <a:gd name="connsiteY50" fmla="*/ 146847 h 211750"/>
                  <a:gd name="connsiteX51" fmla="*/ 212628 w 228243"/>
                  <a:gd name="connsiteY51" fmla="*/ 155547 h 211750"/>
                  <a:gd name="connsiteX52" fmla="*/ 212792 w 228243"/>
                  <a:gd name="connsiteY52" fmla="*/ 164027 h 211750"/>
                  <a:gd name="connsiteX53" fmla="*/ 209637 w 228243"/>
                  <a:gd name="connsiteY53" fmla="*/ 170915 h 211750"/>
                  <a:gd name="connsiteX54" fmla="*/ 209911 w 228243"/>
                  <a:gd name="connsiteY54" fmla="*/ 177062 h 211750"/>
                  <a:gd name="connsiteX55" fmla="*/ 177693 w 228243"/>
                  <a:gd name="connsiteY55" fmla="*/ 211750 h 21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8243" h="211750">
                    <a:moveTo>
                      <a:pt x="177666" y="211750"/>
                    </a:moveTo>
                    <a:lnTo>
                      <a:pt x="174235" y="209363"/>
                    </a:lnTo>
                    <a:lnTo>
                      <a:pt x="165042" y="207935"/>
                    </a:lnTo>
                    <a:lnTo>
                      <a:pt x="148000" y="209280"/>
                    </a:lnTo>
                    <a:lnTo>
                      <a:pt x="130408" y="202749"/>
                    </a:lnTo>
                    <a:lnTo>
                      <a:pt x="120282" y="204697"/>
                    </a:lnTo>
                    <a:lnTo>
                      <a:pt x="112187" y="198852"/>
                    </a:lnTo>
                    <a:lnTo>
                      <a:pt x="108784" y="191250"/>
                    </a:lnTo>
                    <a:lnTo>
                      <a:pt x="80792" y="183758"/>
                    </a:lnTo>
                    <a:lnTo>
                      <a:pt x="71708" y="169049"/>
                    </a:lnTo>
                    <a:lnTo>
                      <a:pt x="71105" y="152171"/>
                    </a:lnTo>
                    <a:lnTo>
                      <a:pt x="60210" y="150250"/>
                    </a:lnTo>
                    <a:lnTo>
                      <a:pt x="56587" y="139081"/>
                    </a:lnTo>
                    <a:lnTo>
                      <a:pt x="43249" y="133702"/>
                    </a:lnTo>
                    <a:lnTo>
                      <a:pt x="26811" y="120886"/>
                    </a:lnTo>
                    <a:lnTo>
                      <a:pt x="19923" y="102801"/>
                    </a:lnTo>
                    <a:lnTo>
                      <a:pt x="1290" y="74672"/>
                    </a:lnTo>
                    <a:lnTo>
                      <a:pt x="0" y="67016"/>
                    </a:lnTo>
                    <a:lnTo>
                      <a:pt x="12980" y="68113"/>
                    </a:lnTo>
                    <a:lnTo>
                      <a:pt x="19896" y="72641"/>
                    </a:lnTo>
                    <a:lnTo>
                      <a:pt x="28183" y="70556"/>
                    </a:lnTo>
                    <a:lnTo>
                      <a:pt x="40807" y="74947"/>
                    </a:lnTo>
                    <a:lnTo>
                      <a:pt x="51181" y="71846"/>
                    </a:lnTo>
                    <a:lnTo>
                      <a:pt x="67948" y="53843"/>
                    </a:lnTo>
                    <a:lnTo>
                      <a:pt x="75907" y="41356"/>
                    </a:lnTo>
                    <a:lnTo>
                      <a:pt x="102884" y="27333"/>
                    </a:lnTo>
                    <a:lnTo>
                      <a:pt x="105601" y="13584"/>
                    </a:lnTo>
                    <a:lnTo>
                      <a:pt x="108536" y="9687"/>
                    </a:lnTo>
                    <a:lnTo>
                      <a:pt x="125661" y="1427"/>
                    </a:lnTo>
                    <a:lnTo>
                      <a:pt x="151430" y="0"/>
                    </a:lnTo>
                    <a:lnTo>
                      <a:pt x="153159" y="11334"/>
                    </a:lnTo>
                    <a:lnTo>
                      <a:pt x="175250" y="12239"/>
                    </a:lnTo>
                    <a:lnTo>
                      <a:pt x="190564" y="18991"/>
                    </a:lnTo>
                    <a:lnTo>
                      <a:pt x="197040" y="24479"/>
                    </a:lnTo>
                    <a:lnTo>
                      <a:pt x="213287" y="27553"/>
                    </a:lnTo>
                    <a:lnTo>
                      <a:pt x="220120" y="32685"/>
                    </a:lnTo>
                    <a:lnTo>
                      <a:pt x="225691" y="34551"/>
                    </a:lnTo>
                    <a:lnTo>
                      <a:pt x="223523" y="40616"/>
                    </a:lnTo>
                    <a:lnTo>
                      <a:pt x="227804" y="52910"/>
                    </a:lnTo>
                    <a:lnTo>
                      <a:pt x="226350" y="69595"/>
                    </a:lnTo>
                    <a:lnTo>
                      <a:pt x="228243" y="84936"/>
                    </a:lnTo>
                    <a:lnTo>
                      <a:pt x="224675" y="89903"/>
                    </a:lnTo>
                    <a:lnTo>
                      <a:pt x="224895" y="95804"/>
                    </a:lnTo>
                    <a:lnTo>
                      <a:pt x="220175" y="98877"/>
                    </a:lnTo>
                    <a:lnTo>
                      <a:pt x="219324" y="101758"/>
                    </a:lnTo>
                    <a:lnTo>
                      <a:pt x="223083" y="107439"/>
                    </a:lnTo>
                    <a:lnTo>
                      <a:pt x="221766" y="119926"/>
                    </a:lnTo>
                    <a:lnTo>
                      <a:pt x="223166" y="124042"/>
                    </a:lnTo>
                    <a:lnTo>
                      <a:pt x="226596" y="126814"/>
                    </a:lnTo>
                    <a:lnTo>
                      <a:pt x="227968" y="132275"/>
                    </a:lnTo>
                    <a:lnTo>
                      <a:pt x="221575" y="146847"/>
                    </a:lnTo>
                    <a:lnTo>
                      <a:pt x="212628" y="155547"/>
                    </a:lnTo>
                    <a:lnTo>
                      <a:pt x="212792" y="164027"/>
                    </a:lnTo>
                    <a:lnTo>
                      <a:pt x="209637" y="170915"/>
                    </a:lnTo>
                    <a:lnTo>
                      <a:pt x="209911" y="177062"/>
                    </a:lnTo>
                    <a:lnTo>
                      <a:pt x="177693" y="2117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3" name="Freeform: Shape 4282">
                <a:extLst>
                  <a:ext uri="{FF2B5EF4-FFF2-40B4-BE49-F238E27FC236}">
                    <a16:creationId xmlns:a16="http://schemas.microsoft.com/office/drawing/2014/main" id="{06CF2835-A1CF-38E1-62D4-3632059521B5}"/>
                  </a:ext>
                </a:extLst>
              </p:cNvPr>
              <p:cNvSpPr/>
              <p:nvPr/>
            </p:nvSpPr>
            <p:spPr>
              <a:xfrm>
                <a:off x="1140389" y="3806871"/>
                <a:ext cx="41412" cy="35384"/>
              </a:xfrm>
              <a:custGeom>
                <a:avLst/>
                <a:gdLst>
                  <a:gd name="connsiteX0" fmla="*/ 106205 w 397045"/>
                  <a:gd name="connsiteY0" fmla="*/ 14792 h 339250"/>
                  <a:gd name="connsiteX1" fmla="*/ 109415 w 397045"/>
                  <a:gd name="connsiteY1" fmla="*/ 19265 h 339250"/>
                  <a:gd name="connsiteX2" fmla="*/ 129778 w 397045"/>
                  <a:gd name="connsiteY2" fmla="*/ 21213 h 339250"/>
                  <a:gd name="connsiteX3" fmla="*/ 143390 w 397045"/>
                  <a:gd name="connsiteY3" fmla="*/ 28623 h 339250"/>
                  <a:gd name="connsiteX4" fmla="*/ 149125 w 397045"/>
                  <a:gd name="connsiteY4" fmla="*/ 36664 h 339250"/>
                  <a:gd name="connsiteX5" fmla="*/ 148851 w 397045"/>
                  <a:gd name="connsiteY5" fmla="*/ 42427 h 339250"/>
                  <a:gd name="connsiteX6" fmla="*/ 150470 w 397045"/>
                  <a:gd name="connsiteY6" fmla="*/ 45885 h 339250"/>
                  <a:gd name="connsiteX7" fmla="*/ 157523 w 397045"/>
                  <a:gd name="connsiteY7" fmla="*/ 50083 h 339250"/>
                  <a:gd name="connsiteX8" fmla="*/ 208347 w 397045"/>
                  <a:gd name="connsiteY8" fmla="*/ 46077 h 339250"/>
                  <a:gd name="connsiteX9" fmla="*/ 222755 w 397045"/>
                  <a:gd name="connsiteY9" fmla="*/ 56532 h 339250"/>
                  <a:gd name="connsiteX10" fmla="*/ 244490 w 397045"/>
                  <a:gd name="connsiteY10" fmla="*/ 62241 h 339250"/>
                  <a:gd name="connsiteX11" fmla="*/ 251707 w 397045"/>
                  <a:gd name="connsiteY11" fmla="*/ 61006 h 339250"/>
                  <a:gd name="connsiteX12" fmla="*/ 268612 w 397045"/>
                  <a:gd name="connsiteY12" fmla="*/ 51456 h 339250"/>
                  <a:gd name="connsiteX13" fmla="*/ 277778 w 397045"/>
                  <a:gd name="connsiteY13" fmla="*/ 49644 h 339250"/>
                  <a:gd name="connsiteX14" fmla="*/ 275939 w 397045"/>
                  <a:gd name="connsiteY14" fmla="*/ 47915 h 339250"/>
                  <a:gd name="connsiteX15" fmla="*/ 269243 w 397045"/>
                  <a:gd name="connsiteY15" fmla="*/ 48053 h 339250"/>
                  <a:gd name="connsiteX16" fmla="*/ 269847 w 397045"/>
                  <a:gd name="connsiteY16" fmla="*/ 45418 h 339250"/>
                  <a:gd name="connsiteX17" fmla="*/ 290100 w 397045"/>
                  <a:gd name="connsiteY17" fmla="*/ 45336 h 339250"/>
                  <a:gd name="connsiteX18" fmla="*/ 312795 w 397045"/>
                  <a:gd name="connsiteY18" fmla="*/ 42262 h 339250"/>
                  <a:gd name="connsiteX19" fmla="*/ 331264 w 397045"/>
                  <a:gd name="connsiteY19" fmla="*/ 43717 h 339250"/>
                  <a:gd name="connsiteX20" fmla="*/ 331182 w 397045"/>
                  <a:gd name="connsiteY20" fmla="*/ 45034 h 339250"/>
                  <a:gd name="connsiteX21" fmla="*/ 324733 w 397045"/>
                  <a:gd name="connsiteY21" fmla="*/ 47696 h 339250"/>
                  <a:gd name="connsiteX22" fmla="*/ 314606 w 397045"/>
                  <a:gd name="connsiteY22" fmla="*/ 47833 h 339250"/>
                  <a:gd name="connsiteX23" fmla="*/ 311203 w 397045"/>
                  <a:gd name="connsiteY23" fmla="*/ 49452 h 339250"/>
                  <a:gd name="connsiteX24" fmla="*/ 314551 w 397045"/>
                  <a:gd name="connsiteY24" fmla="*/ 57191 h 339250"/>
                  <a:gd name="connsiteX25" fmla="*/ 319299 w 397045"/>
                  <a:gd name="connsiteY25" fmla="*/ 61225 h 339250"/>
                  <a:gd name="connsiteX26" fmla="*/ 323169 w 397045"/>
                  <a:gd name="connsiteY26" fmla="*/ 68251 h 339250"/>
                  <a:gd name="connsiteX27" fmla="*/ 325529 w 397045"/>
                  <a:gd name="connsiteY27" fmla="*/ 68196 h 339250"/>
                  <a:gd name="connsiteX28" fmla="*/ 327614 w 397045"/>
                  <a:gd name="connsiteY28" fmla="*/ 64820 h 339250"/>
                  <a:gd name="connsiteX29" fmla="*/ 338537 w 397045"/>
                  <a:gd name="connsiteY29" fmla="*/ 69870 h 339250"/>
                  <a:gd name="connsiteX30" fmla="*/ 348087 w 397045"/>
                  <a:gd name="connsiteY30" fmla="*/ 70117 h 339250"/>
                  <a:gd name="connsiteX31" fmla="*/ 368477 w 397045"/>
                  <a:gd name="connsiteY31" fmla="*/ 83948 h 339250"/>
                  <a:gd name="connsiteX32" fmla="*/ 372127 w 397045"/>
                  <a:gd name="connsiteY32" fmla="*/ 90727 h 339250"/>
                  <a:gd name="connsiteX33" fmla="*/ 369986 w 397045"/>
                  <a:gd name="connsiteY33" fmla="*/ 96983 h 339250"/>
                  <a:gd name="connsiteX34" fmla="*/ 373856 w 397045"/>
                  <a:gd name="connsiteY34" fmla="*/ 106698 h 339250"/>
                  <a:gd name="connsiteX35" fmla="*/ 378055 w 397045"/>
                  <a:gd name="connsiteY35" fmla="*/ 107796 h 339250"/>
                  <a:gd name="connsiteX36" fmla="*/ 385876 w 397045"/>
                  <a:gd name="connsiteY36" fmla="*/ 106095 h 339250"/>
                  <a:gd name="connsiteX37" fmla="*/ 392709 w 397045"/>
                  <a:gd name="connsiteY37" fmla="*/ 108372 h 339250"/>
                  <a:gd name="connsiteX38" fmla="*/ 397045 w 397045"/>
                  <a:gd name="connsiteY38" fmla="*/ 114108 h 339250"/>
                  <a:gd name="connsiteX39" fmla="*/ 396935 w 397045"/>
                  <a:gd name="connsiteY39" fmla="*/ 116797 h 339250"/>
                  <a:gd name="connsiteX40" fmla="*/ 393670 w 397045"/>
                  <a:gd name="connsiteY40" fmla="*/ 118746 h 339250"/>
                  <a:gd name="connsiteX41" fmla="*/ 391612 w 397045"/>
                  <a:gd name="connsiteY41" fmla="*/ 122862 h 339250"/>
                  <a:gd name="connsiteX42" fmla="*/ 382089 w 397045"/>
                  <a:gd name="connsiteY42" fmla="*/ 128653 h 339250"/>
                  <a:gd name="connsiteX43" fmla="*/ 377231 w 397045"/>
                  <a:gd name="connsiteY43" fmla="*/ 129778 h 339250"/>
                  <a:gd name="connsiteX44" fmla="*/ 372182 w 397045"/>
                  <a:gd name="connsiteY44" fmla="*/ 137846 h 339250"/>
                  <a:gd name="connsiteX45" fmla="*/ 374926 w 397045"/>
                  <a:gd name="connsiteY45" fmla="*/ 148082 h 339250"/>
                  <a:gd name="connsiteX46" fmla="*/ 376655 w 397045"/>
                  <a:gd name="connsiteY46" fmla="*/ 149345 h 339250"/>
                  <a:gd name="connsiteX47" fmla="*/ 382143 w 397045"/>
                  <a:gd name="connsiteY47" fmla="*/ 148741 h 339250"/>
                  <a:gd name="connsiteX48" fmla="*/ 383817 w 397045"/>
                  <a:gd name="connsiteY48" fmla="*/ 150525 h 339250"/>
                  <a:gd name="connsiteX49" fmla="*/ 383104 w 397045"/>
                  <a:gd name="connsiteY49" fmla="*/ 152610 h 339250"/>
                  <a:gd name="connsiteX50" fmla="*/ 371852 w 397045"/>
                  <a:gd name="connsiteY50" fmla="*/ 160020 h 339250"/>
                  <a:gd name="connsiteX51" fmla="*/ 367050 w 397045"/>
                  <a:gd name="connsiteY51" fmla="*/ 159362 h 339250"/>
                  <a:gd name="connsiteX52" fmla="*/ 358954 w 397045"/>
                  <a:gd name="connsiteY52" fmla="*/ 162682 h 339250"/>
                  <a:gd name="connsiteX53" fmla="*/ 357308 w 397045"/>
                  <a:gd name="connsiteY53" fmla="*/ 166304 h 339250"/>
                  <a:gd name="connsiteX54" fmla="*/ 359448 w 397045"/>
                  <a:gd name="connsiteY54" fmla="*/ 176897 h 339250"/>
                  <a:gd name="connsiteX55" fmla="*/ 352286 w 397045"/>
                  <a:gd name="connsiteY55" fmla="*/ 184499 h 339250"/>
                  <a:gd name="connsiteX56" fmla="*/ 371084 w 397045"/>
                  <a:gd name="connsiteY56" fmla="*/ 207222 h 339250"/>
                  <a:gd name="connsiteX57" fmla="*/ 374048 w 397045"/>
                  <a:gd name="connsiteY57" fmla="*/ 215345 h 339250"/>
                  <a:gd name="connsiteX58" fmla="*/ 363757 w 397045"/>
                  <a:gd name="connsiteY58" fmla="*/ 225746 h 339250"/>
                  <a:gd name="connsiteX59" fmla="*/ 354618 w 397045"/>
                  <a:gd name="connsiteY59" fmla="*/ 227640 h 339250"/>
                  <a:gd name="connsiteX60" fmla="*/ 345919 w 397045"/>
                  <a:gd name="connsiteY60" fmla="*/ 234363 h 339250"/>
                  <a:gd name="connsiteX61" fmla="*/ 336753 w 397045"/>
                  <a:gd name="connsiteY61" fmla="*/ 238013 h 339250"/>
                  <a:gd name="connsiteX62" fmla="*/ 319601 w 397045"/>
                  <a:gd name="connsiteY62" fmla="*/ 238891 h 339250"/>
                  <a:gd name="connsiteX63" fmla="*/ 313179 w 397045"/>
                  <a:gd name="connsiteY63" fmla="*/ 242294 h 339250"/>
                  <a:gd name="connsiteX64" fmla="*/ 311258 w 397045"/>
                  <a:gd name="connsiteY64" fmla="*/ 250143 h 339250"/>
                  <a:gd name="connsiteX65" fmla="*/ 306758 w 397045"/>
                  <a:gd name="connsiteY65" fmla="*/ 252311 h 339250"/>
                  <a:gd name="connsiteX66" fmla="*/ 295012 w 397045"/>
                  <a:gd name="connsiteY66" fmla="*/ 244901 h 339250"/>
                  <a:gd name="connsiteX67" fmla="*/ 275939 w 397045"/>
                  <a:gd name="connsiteY67" fmla="*/ 245011 h 339250"/>
                  <a:gd name="connsiteX68" fmla="*/ 269518 w 397045"/>
                  <a:gd name="connsiteY68" fmla="*/ 239440 h 339250"/>
                  <a:gd name="connsiteX69" fmla="*/ 253985 w 397045"/>
                  <a:gd name="connsiteY69" fmla="*/ 236668 h 339250"/>
                  <a:gd name="connsiteX70" fmla="*/ 257031 w 397045"/>
                  <a:gd name="connsiteY70" fmla="*/ 243611 h 339250"/>
                  <a:gd name="connsiteX71" fmla="*/ 268584 w 397045"/>
                  <a:gd name="connsiteY71" fmla="*/ 255302 h 339250"/>
                  <a:gd name="connsiteX72" fmla="*/ 268996 w 397045"/>
                  <a:gd name="connsiteY72" fmla="*/ 266773 h 339250"/>
                  <a:gd name="connsiteX73" fmla="*/ 274210 w 397045"/>
                  <a:gd name="connsiteY73" fmla="*/ 277888 h 339250"/>
                  <a:gd name="connsiteX74" fmla="*/ 274842 w 397045"/>
                  <a:gd name="connsiteY74" fmla="*/ 286038 h 339250"/>
                  <a:gd name="connsiteX75" fmla="*/ 291774 w 397045"/>
                  <a:gd name="connsiteY75" fmla="*/ 289523 h 339250"/>
                  <a:gd name="connsiteX76" fmla="*/ 292926 w 397045"/>
                  <a:gd name="connsiteY76" fmla="*/ 291692 h 339250"/>
                  <a:gd name="connsiteX77" fmla="*/ 291774 w 397045"/>
                  <a:gd name="connsiteY77" fmla="*/ 295918 h 339250"/>
                  <a:gd name="connsiteX78" fmla="*/ 275473 w 397045"/>
                  <a:gd name="connsiteY78" fmla="*/ 302779 h 339250"/>
                  <a:gd name="connsiteX79" fmla="*/ 272015 w 397045"/>
                  <a:gd name="connsiteY79" fmla="*/ 311670 h 339250"/>
                  <a:gd name="connsiteX80" fmla="*/ 266718 w 397045"/>
                  <a:gd name="connsiteY80" fmla="*/ 317213 h 339250"/>
                  <a:gd name="connsiteX81" fmla="*/ 261614 w 397045"/>
                  <a:gd name="connsiteY81" fmla="*/ 317351 h 339250"/>
                  <a:gd name="connsiteX82" fmla="*/ 254232 w 397045"/>
                  <a:gd name="connsiteY82" fmla="*/ 322592 h 339250"/>
                  <a:gd name="connsiteX83" fmla="*/ 243200 w 397045"/>
                  <a:gd name="connsiteY83" fmla="*/ 327093 h 339250"/>
                  <a:gd name="connsiteX84" fmla="*/ 231070 w 397045"/>
                  <a:gd name="connsiteY84" fmla="*/ 339250 h 339250"/>
                  <a:gd name="connsiteX85" fmla="*/ 229478 w 397045"/>
                  <a:gd name="connsiteY85" fmla="*/ 338207 h 339250"/>
                  <a:gd name="connsiteX86" fmla="*/ 229314 w 397045"/>
                  <a:gd name="connsiteY86" fmla="*/ 333268 h 339250"/>
                  <a:gd name="connsiteX87" fmla="*/ 226816 w 397045"/>
                  <a:gd name="connsiteY87" fmla="*/ 331401 h 339250"/>
                  <a:gd name="connsiteX88" fmla="*/ 222398 w 397045"/>
                  <a:gd name="connsiteY88" fmla="*/ 331868 h 339250"/>
                  <a:gd name="connsiteX89" fmla="*/ 212628 w 397045"/>
                  <a:gd name="connsiteY89" fmla="*/ 337357 h 339250"/>
                  <a:gd name="connsiteX90" fmla="*/ 207853 w 397045"/>
                  <a:gd name="connsiteY90" fmla="*/ 337357 h 339250"/>
                  <a:gd name="connsiteX91" fmla="*/ 190537 w 397045"/>
                  <a:gd name="connsiteY91" fmla="*/ 324184 h 339250"/>
                  <a:gd name="connsiteX92" fmla="*/ 181014 w 397045"/>
                  <a:gd name="connsiteY92" fmla="*/ 295122 h 339250"/>
                  <a:gd name="connsiteX93" fmla="*/ 180932 w 397045"/>
                  <a:gd name="connsiteY93" fmla="*/ 290347 h 339250"/>
                  <a:gd name="connsiteX94" fmla="*/ 168171 w 397045"/>
                  <a:gd name="connsiteY94" fmla="*/ 277696 h 339250"/>
                  <a:gd name="connsiteX95" fmla="*/ 161996 w 397045"/>
                  <a:gd name="connsiteY95" fmla="*/ 276378 h 339250"/>
                  <a:gd name="connsiteX96" fmla="*/ 177364 w 397045"/>
                  <a:gd name="connsiteY96" fmla="*/ 260160 h 339250"/>
                  <a:gd name="connsiteX97" fmla="*/ 172561 w 397045"/>
                  <a:gd name="connsiteY97" fmla="*/ 251350 h 339250"/>
                  <a:gd name="connsiteX98" fmla="*/ 168226 w 397045"/>
                  <a:gd name="connsiteY98" fmla="*/ 248441 h 339250"/>
                  <a:gd name="connsiteX99" fmla="*/ 163341 w 397045"/>
                  <a:gd name="connsiteY99" fmla="*/ 233512 h 339250"/>
                  <a:gd name="connsiteX100" fmla="*/ 161228 w 397045"/>
                  <a:gd name="connsiteY100" fmla="*/ 226432 h 339250"/>
                  <a:gd name="connsiteX101" fmla="*/ 163066 w 397045"/>
                  <a:gd name="connsiteY101" fmla="*/ 210460 h 339250"/>
                  <a:gd name="connsiteX102" fmla="*/ 162106 w 397045"/>
                  <a:gd name="connsiteY102" fmla="*/ 204725 h 339250"/>
                  <a:gd name="connsiteX103" fmla="*/ 167896 w 397045"/>
                  <a:gd name="connsiteY103" fmla="*/ 198193 h 339250"/>
                  <a:gd name="connsiteX104" fmla="*/ 168418 w 397045"/>
                  <a:gd name="connsiteY104" fmla="*/ 190811 h 339250"/>
                  <a:gd name="connsiteX105" fmla="*/ 173632 w 397045"/>
                  <a:gd name="connsiteY105" fmla="*/ 183621 h 339250"/>
                  <a:gd name="connsiteX106" fmla="*/ 172095 w 397045"/>
                  <a:gd name="connsiteY106" fmla="*/ 177638 h 339250"/>
                  <a:gd name="connsiteX107" fmla="*/ 163094 w 397045"/>
                  <a:gd name="connsiteY107" fmla="*/ 174675 h 339250"/>
                  <a:gd name="connsiteX108" fmla="*/ 148247 w 397045"/>
                  <a:gd name="connsiteY108" fmla="*/ 178187 h 339250"/>
                  <a:gd name="connsiteX109" fmla="*/ 137599 w 397045"/>
                  <a:gd name="connsiteY109" fmla="*/ 179203 h 339250"/>
                  <a:gd name="connsiteX110" fmla="*/ 126677 w 397045"/>
                  <a:gd name="connsiteY110" fmla="*/ 177419 h 339250"/>
                  <a:gd name="connsiteX111" fmla="*/ 121161 w 397045"/>
                  <a:gd name="connsiteY111" fmla="*/ 180493 h 339250"/>
                  <a:gd name="connsiteX112" fmla="*/ 115370 w 397045"/>
                  <a:gd name="connsiteY112" fmla="*/ 179614 h 339250"/>
                  <a:gd name="connsiteX113" fmla="*/ 95913 w 397045"/>
                  <a:gd name="connsiteY113" fmla="*/ 154394 h 339250"/>
                  <a:gd name="connsiteX114" fmla="*/ 89025 w 397045"/>
                  <a:gd name="connsiteY114" fmla="*/ 155355 h 339250"/>
                  <a:gd name="connsiteX115" fmla="*/ 76703 w 397045"/>
                  <a:gd name="connsiteY115" fmla="*/ 151431 h 339250"/>
                  <a:gd name="connsiteX116" fmla="*/ 68580 w 397045"/>
                  <a:gd name="connsiteY116" fmla="*/ 154257 h 339250"/>
                  <a:gd name="connsiteX117" fmla="*/ 38777 w 397045"/>
                  <a:gd name="connsiteY117" fmla="*/ 152720 h 339250"/>
                  <a:gd name="connsiteX118" fmla="*/ 33892 w 397045"/>
                  <a:gd name="connsiteY118" fmla="*/ 143170 h 339250"/>
                  <a:gd name="connsiteX119" fmla="*/ 27635 w 397045"/>
                  <a:gd name="connsiteY119" fmla="*/ 141880 h 339250"/>
                  <a:gd name="connsiteX120" fmla="*/ 26016 w 397045"/>
                  <a:gd name="connsiteY120" fmla="*/ 140042 h 339250"/>
                  <a:gd name="connsiteX121" fmla="*/ 25769 w 397045"/>
                  <a:gd name="connsiteY121" fmla="*/ 126155 h 339250"/>
                  <a:gd name="connsiteX122" fmla="*/ 29007 w 397045"/>
                  <a:gd name="connsiteY122" fmla="*/ 122451 h 339250"/>
                  <a:gd name="connsiteX123" fmla="*/ 29062 w 397045"/>
                  <a:gd name="connsiteY123" fmla="*/ 119130 h 339250"/>
                  <a:gd name="connsiteX124" fmla="*/ 27580 w 397045"/>
                  <a:gd name="connsiteY124" fmla="*/ 113092 h 339250"/>
                  <a:gd name="connsiteX125" fmla="*/ 20445 w 397045"/>
                  <a:gd name="connsiteY125" fmla="*/ 104969 h 339250"/>
                  <a:gd name="connsiteX126" fmla="*/ 17015 w 397045"/>
                  <a:gd name="connsiteY126" fmla="*/ 91989 h 339250"/>
                  <a:gd name="connsiteX127" fmla="*/ 11883 w 397045"/>
                  <a:gd name="connsiteY127" fmla="*/ 91028 h 339250"/>
                  <a:gd name="connsiteX128" fmla="*/ 9852 w 397045"/>
                  <a:gd name="connsiteY128" fmla="*/ 86390 h 339250"/>
                  <a:gd name="connsiteX129" fmla="*/ 4171 w 397045"/>
                  <a:gd name="connsiteY129" fmla="*/ 89190 h 339250"/>
                  <a:gd name="connsiteX130" fmla="*/ 0 w 397045"/>
                  <a:gd name="connsiteY130" fmla="*/ 88833 h 339250"/>
                  <a:gd name="connsiteX131" fmla="*/ 7959 w 397045"/>
                  <a:gd name="connsiteY131" fmla="*/ 76703 h 339250"/>
                  <a:gd name="connsiteX132" fmla="*/ 10868 w 397045"/>
                  <a:gd name="connsiteY132" fmla="*/ 68415 h 339250"/>
                  <a:gd name="connsiteX133" fmla="*/ 13694 w 397045"/>
                  <a:gd name="connsiteY133" fmla="*/ 51511 h 339250"/>
                  <a:gd name="connsiteX134" fmla="*/ 25220 w 397045"/>
                  <a:gd name="connsiteY134" fmla="*/ 32630 h 339250"/>
                  <a:gd name="connsiteX135" fmla="*/ 33069 w 397045"/>
                  <a:gd name="connsiteY135" fmla="*/ 29282 h 339250"/>
                  <a:gd name="connsiteX136" fmla="*/ 40945 w 397045"/>
                  <a:gd name="connsiteY136" fmla="*/ 15505 h 339250"/>
                  <a:gd name="connsiteX137" fmla="*/ 59606 w 397045"/>
                  <a:gd name="connsiteY137" fmla="*/ 9358 h 339250"/>
                  <a:gd name="connsiteX138" fmla="*/ 41714 w 397045"/>
                  <a:gd name="connsiteY138" fmla="*/ 19759 h 339250"/>
                  <a:gd name="connsiteX139" fmla="*/ 43250 w 397045"/>
                  <a:gd name="connsiteY139" fmla="*/ 26565 h 339250"/>
                  <a:gd name="connsiteX140" fmla="*/ 49178 w 397045"/>
                  <a:gd name="connsiteY140" fmla="*/ 33947 h 339250"/>
                  <a:gd name="connsiteX141" fmla="*/ 50934 w 397045"/>
                  <a:gd name="connsiteY141" fmla="*/ 46241 h 339250"/>
                  <a:gd name="connsiteX142" fmla="*/ 49480 w 397045"/>
                  <a:gd name="connsiteY142" fmla="*/ 51675 h 339250"/>
                  <a:gd name="connsiteX143" fmla="*/ 40588 w 397045"/>
                  <a:gd name="connsiteY143" fmla="*/ 62268 h 339250"/>
                  <a:gd name="connsiteX144" fmla="*/ 37405 w 397045"/>
                  <a:gd name="connsiteY144" fmla="*/ 71160 h 339250"/>
                  <a:gd name="connsiteX145" fmla="*/ 50166 w 397045"/>
                  <a:gd name="connsiteY145" fmla="*/ 91879 h 339250"/>
                  <a:gd name="connsiteX146" fmla="*/ 59442 w 397045"/>
                  <a:gd name="connsiteY146" fmla="*/ 90946 h 339250"/>
                  <a:gd name="connsiteX147" fmla="*/ 64683 w 397045"/>
                  <a:gd name="connsiteY147" fmla="*/ 86885 h 339250"/>
                  <a:gd name="connsiteX148" fmla="*/ 67428 w 397045"/>
                  <a:gd name="connsiteY148" fmla="*/ 75413 h 339250"/>
                  <a:gd name="connsiteX149" fmla="*/ 65973 w 397045"/>
                  <a:gd name="connsiteY149" fmla="*/ 68168 h 339250"/>
                  <a:gd name="connsiteX150" fmla="*/ 54529 w 397045"/>
                  <a:gd name="connsiteY150" fmla="*/ 48904 h 339250"/>
                  <a:gd name="connsiteX151" fmla="*/ 54365 w 397045"/>
                  <a:gd name="connsiteY151" fmla="*/ 40616 h 339250"/>
                  <a:gd name="connsiteX152" fmla="*/ 57603 w 397045"/>
                  <a:gd name="connsiteY152" fmla="*/ 36115 h 339250"/>
                  <a:gd name="connsiteX153" fmla="*/ 72834 w 397045"/>
                  <a:gd name="connsiteY153" fmla="*/ 29556 h 339250"/>
                  <a:gd name="connsiteX154" fmla="*/ 91028 w 397045"/>
                  <a:gd name="connsiteY154" fmla="*/ 23985 h 339250"/>
                  <a:gd name="connsiteX155" fmla="*/ 97752 w 397045"/>
                  <a:gd name="connsiteY155" fmla="*/ 20225 h 339250"/>
                  <a:gd name="connsiteX156" fmla="*/ 104668 w 397045"/>
                  <a:gd name="connsiteY156" fmla="*/ 20006 h 339250"/>
                  <a:gd name="connsiteX157" fmla="*/ 103405 w 397045"/>
                  <a:gd name="connsiteY157" fmla="*/ 15341 h 339250"/>
                  <a:gd name="connsiteX158" fmla="*/ 94157 w 397045"/>
                  <a:gd name="connsiteY158" fmla="*/ 15505 h 339250"/>
                  <a:gd name="connsiteX159" fmla="*/ 92044 w 397045"/>
                  <a:gd name="connsiteY159" fmla="*/ 13694 h 339250"/>
                  <a:gd name="connsiteX160" fmla="*/ 91687 w 397045"/>
                  <a:gd name="connsiteY160" fmla="*/ 4940 h 339250"/>
                  <a:gd name="connsiteX161" fmla="*/ 93553 w 397045"/>
                  <a:gd name="connsiteY161" fmla="*/ 2031 h 339250"/>
                  <a:gd name="connsiteX162" fmla="*/ 97779 w 397045"/>
                  <a:gd name="connsiteY162" fmla="*/ 0 h 339250"/>
                  <a:gd name="connsiteX163" fmla="*/ 102225 w 397045"/>
                  <a:gd name="connsiteY163" fmla="*/ 2909 h 339250"/>
                  <a:gd name="connsiteX164" fmla="*/ 106287 w 397045"/>
                  <a:gd name="connsiteY164" fmla="*/ 14709 h 33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397045" h="339250">
                    <a:moveTo>
                      <a:pt x="106205" y="14792"/>
                    </a:moveTo>
                    <a:lnTo>
                      <a:pt x="109415" y="19265"/>
                    </a:lnTo>
                    <a:lnTo>
                      <a:pt x="129778" y="21213"/>
                    </a:lnTo>
                    <a:lnTo>
                      <a:pt x="143390" y="28623"/>
                    </a:lnTo>
                    <a:lnTo>
                      <a:pt x="149125" y="36664"/>
                    </a:lnTo>
                    <a:lnTo>
                      <a:pt x="148851" y="42427"/>
                    </a:lnTo>
                    <a:lnTo>
                      <a:pt x="150470" y="45885"/>
                    </a:lnTo>
                    <a:lnTo>
                      <a:pt x="157523" y="50083"/>
                    </a:lnTo>
                    <a:lnTo>
                      <a:pt x="208347" y="46077"/>
                    </a:lnTo>
                    <a:lnTo>
                      <a:pt x="222755" y="56532"/>
                    </a:lnTo>
                    <a:lnTo>
                      <a:pt x="244490" y="62241"/>
                    </a:lnTo>
                    <a:lnTo>
                      <a:pt x="251707" y="61006"/>
                    </a:lnTo>
                    <a:lnTo>
                      <a:pt x="268612" y="51456"/>
                    </a:lnTo>
                    <a:lnTo>
                      <a:pt x="277778" y="49644"/>
                    </a:lnTo>
                    <a:lnTo>
                      <a:pt x="275939" y="47915"/>
                    </a:lnTo>
                    <a:lnTo>
                      <a:pt x="269243" y="48053"/>
                    </a:lnTo>
                    <a:lnTo>
                      <a:pt x="269847" y="45418"/>
                    </a:lnTo>
                    <a:lnTo>
                      <a:pt x="290100" y="45336"/>
                    </a:lnTo>
                    <a:lnTo>
                      <a:pt x="312795" y="42262"/>
                    </a:lnTo>
                    <a:lnTo>
                      <a:pt x="331264" y="43717"/>
                    </a:lnTo>
                    <a:lnTo>
                      <a:pt x="331182" y="45034"/>
                    </a:lnTo>
                    <a:lnTo>
                      <a:pt x="324733" y="47696"/>
                    </a:lnTo>
                    <a:lnTo>
                      <a:pt x="314606" y="47833"/>
                    </a:lnTo>
                    <a:lnTo>
                      <a:pt x="311203" y="49452"/>
                    </a:lnTo>
                    <a:lnTo>
                      <a:pt x="314551" y="57191"/>
                    </a:lnTo>
                    <a:lnTo>
                      <a:pt x="319299" y="61225"/>
                    </a:lnTo>
                    <a:lnTo>
                      <a:pt x="323169" y="68251"/>
                    </a:lnTo>
                    <a:lnTo>
                      <a:pt x="325529" y="68196"/>
                    </a:lnTo>
                    <a:lnTo>
                      <a:pt x="327614" y="64820"/>
                    </a:lnTo>
                    <a:lnTo>
                      <a:pt x="338537" y="69870"/>
                    </a:lnTo>
                    <a:lnTo>
                      <a:pt x="348087" y="70117"/>
                    </a:lnTo>
                    <a:lnTo>
                      <a:pt x="368477" y="83948"/>
                    </a:lnTo>
                    <a:lnTo>
                      <a:pt x="372127" y="90727"/>
                    </a:lnTo>
                    <a:lnTo>
                      <a:pt x="369986" y="96983"/>
                    </a:lnTo>
                    <a:lnTo>
                      <a:pt x="373856" y="106698"/>
                    </a:lnTo>
                    <a:lnTo>
                      <a:pt x="378055" y="107796"/>
                    </a:lnTo>
                    <a:lnTo>
                      <a:pt x="385876" y="106095"/>
                    </a:lnTo>
                    <a:lnTo>
                      <a:pt x="392709" y="108372"/>
                    </a:lnTo>
                    <a:lnTo>
                      <a:pt x="397045" y="114108"/>
                    </a:lnTo>
                    <a:lnTo>
                      <a:pt x="396935" y="116797"/>
                    </a:lnTo>
                    <a:lnTo>
                      <a:pt x="393670" y="118746"/>
                    </a:lnTo>
                    <a:lnTo>
                      <a:pt x="391612" y="122862"/>
                    </a:lnTo>
                    <a:lnTo>
                      <a:pt x="382089" y="128653"/>
                    </a:lnTo>
                    <a:lnTo>
                      <a:pt x="377231" y="129778"/>
                    </a:lnTo>
                    <a:lnTo>
                      <a:pt x="372182" y="137846"/>
                    </a:lnTo>
                    <a:lnTo>
                      <a:pt x="374926" y="148082"/>
                    </a:lnTo>
                    <a:lnTo>
                      <a:pt x="376655" y="149345"/>
                    </a:lnTo>
                    <a:lnTo>
                      <a:pt x="382143" y="148741"/>
                    </a:lnTo>
                    <a:lnTo>
                      <a:pt x="383817" y="150525"/>
                    </a:lnTo>
                    <a:lnTo>
                      <a:pt x="383104" y="152610"/>
                    </a:lnTo>
                    <a:lnTo>
                      <a:pt x="371852" y="160020"/>
                    </a:lnTo>
                    <a:lnTo>
                      <a:pt x="367050" y="159362"/>
                    </a:lnTo>
                    <a:lnTo>
                      <a:pt x="358954" y="162682"/>
                    </a:lnTo>
                    <a:lnTo>
                      <a:pt x="357308" y="166304"/>
                    </a:lnTo>
                    <a:lnTo>
                      <a:pt x="359448" y="176897"/>
                    </a:lnTo>
                    <a:lnTo>
                      <a:pt x="352286" y="184499"/>
                    </a:lnTo>
                    <a:lnTo>
                      <a:pt x="371084" y="207222"/>
                    </a:lnTo>
                    <a:lnTo>
                      <a:pt x="374048" y="215345"/>
                    </a:lnTo>
                    <a:lnTo>
                      <a:pt x="363757" y="225746"/>
                    </a:lnTo>
                    <a:lnTo>
                      <a:pt x="354618" y="227640"/>
                    </a:lnTo>
                    <a:lnTo>
                      <a:pt x="345919" y="234363"/>
                    </a:lnTo>
                    <a:lnTo>
                      <a:pt x="336753" y="238013"/>
                    </a:lnTo>
                    <a:lnTo>
                      <a:pt x="319601" y="238891"/>
                    </a:lnTo>
                    <a:lnTo>
                      <a:pt x="313179" y="242294"/>
                    </a:lnTo>
                    <a:lnTo>
                      <a:pt x="311258" y="250143"/>
                    </a:lnTo>
                    <a:lnTo>
                      <a:pt x="306758" y="252311"/>
                    </a:lnTo>
                    <a:lnTo>
                      <a:pt x="295012" y="244901"/>
                    </a:lnTo>
                    <a:lnTo>
                      <a:pt x="275939" y="245011"/>
                    </a:lnTo>
                    <a:lnTo>
                      <a:pt x="269518" y="239440"/>
                    </a:lnTo>
                    <a:lnTo>
                      <a:pt x="253985" y="236668"/>
                    </a:lnTo>
                    <a:lnTo>
                      <a:pt x="257031" y="243611"/>
                    </a:lnTo>
                    <a:lnTo>
                      <a:pt x="268584" y="255302"/>
                    </a:lnTo>
                    <a:lnTo>
                      <a:pt x="268996" y="266773"/>
                    </a:lnTo>
                    <a:lnTo>
                      <a:pt x="274210" y="277888"/>
                    </a:lnTo>
                    <a:lnTo>
                      <a:pt x="274842" y="286038"/>
                    </a:lnTo>
                    <a:lnTo>
                      <a:pt x="291774" y="289523"/>
                    </a:lnTo>
                    <a:lnTo>
                      <a:pt x="292926" y="291692"/>
                    </a:lnTo>
                    <a:lnTo>
                      <a:pt x="291774" y="295918"/>
                    </a:lnTo>
                    <a:lnTo>
                      <a:pt x="275473" y="302779"/>
                    </a:lnTo>
                    <a:lnTo>
                      <a:pt x="272015" y="311670"/>
                    </a:lnTo>
                    <a:lnTo>
                      <a:pt x="266718" y="317213"/>
                    </a:lnTo>
                    <a:lnTo>
                      <a:pt x="261614" y="317351"/>
                    </a:lnTo>
                    <a:lnTo>
                      <a:pt x="254232" y="322592"/>
                    </a:lnTo>
                    <a:lnTo>
                      <a:pt x="243200" y="327093"/>
                    </a:lnTo>
                    <a:lnTo>
                      <a:pt x="231070" y="339250"/>
                    </a:lnTo>
                    <a:lnTo>
                      <a:pt x="229478" y="338207"/>
                    </a:lnTo>
                    <a:lnTo>
                      <a:pt x="229314" y="333268"/>
                    </a:lnTo>
                    <a:lnTo>
                      <a:pt x="226816" y="331401"/>
                    </a:lnTo>
                    <a:lnTo>
                      <a:pt x="222398" y="331868"/>
                    </a:lnTo>
                    <a:lnTo>
                      <a:pt x="212628" y="337357"/>
                    </a:lnTo>
                    <a:lnTo>
                      <a:pt x="207853" y="337357"/>
                    </a:lnTo>
                    <a:lnTo>
                      <a:pt x="190537" y="324184"/>
                    </a:lnTo>
                    <a:lnTo>
                      <a:pt x="181014" y="295122"/>
                    </a:lnTo>
                    <a:lnTo>
                      <a:pt x="180932" y="290347"/>
                    </a:lnTo>
                    <a:lnTo>
                      <a:pt x="168171" y="277696"/>
                    </a:lnTo>
                    <a:lnTo>
                      <a:pt x="161996" y="276378"/>
                    </a:lnTo>
                    <a:lnTo>
                      <a:pt x="177364" y="260160"/>
                    </a:lnTo>
                    <a:lnTo>
                      <a:pt x="172561" y="251350"/>
                    </a:lnTo>
                    <a:lnTo>
                      <a:pt x="168226" y="248441"/>
                    </a:lnTo>
                    <a:lnTo>
                      <a:pt x="163341" y="233512"/>
                    </a:lnTo>
                    <a:lnTo>
                      <a:pt x="161228" y="226432"/>
                    </a:lnTo>
                    <a:lnTo>
                      <a:pt x="163066" y="210460"/>
                    </a:lnTo>
                    <a:lnTo>
                      <a:pt x="162106" y="204725"/>
                    </a:lnTo>
                    <a:lnTo>
                      <a:pt x="167896" y="198193"/>
                    </a:lnTo>
                    <a:lnTo>
                      <a:pt x="168418" y="190811"/>
                    </a:lnTo>
                    <a:lnTo>
                      <a:pt x="173632" y="183621"/>
                    </a:lnTo>
                    <a:lnTo>
                      <a:pt x="172095" y="177638"/>
                    </a:lnTo>
                    <a:lnTo>
                      <a:pt x="163094" y="174675"/>
                    </a:lnTo>
                    <a:lnTo>
                      <a:pt x="148247" y="178187"/>
                    </a:lnTo>
                    <a:lnTo>
                      <a:pt x="137599" y="179203"/>
                    </a:lnTo>
                    <a:lnTo>
                      <a:pt x="126677" y="177419"/>
                    </a:lnTo>
                    <a:lnTo>
                      <a:pt x="121161" y="180493"/>
                    </a:lnTo>
                    <a:lnTo>
                      <a:pt x="115370" y="179614"/>
                    </a:lnTo>
                    <a:lnTo>
                      <a:pt x="95913" y="154394"/>
                    </a:lnTo>
                    <a:lnTo>
                      <a:pt x="89025" y="155355"/>
                    </a:lnTo>
                    <a:lnTo>
                      <a:pt x="76703" y="151431"/>
                    </a:lnTo>
                    <a:lnTo>
                      <a:pt x="68580" y="154257"/>
                    </a:lnTo>
                    <a:lnTo>
                      <a:pt x="38777" y="152720"/>
                    </a:lnTo>
                    <a:lnTo>
                      <a:pt x="33892" y="143170"/>
                    </a:lnTo>
                    <a:lnTo>
                      <a:pt x="27635" y="141880"/>
                    </a:lnTo>
                    <a:lnTo>
                      <a:pt x="26016" y="140042"/>
                    </a:lnTo>
                    <a:lnTo>
                      <a:pt x="25769" y="126155"/>
                    </a:lnTo>
                    <a:lnTo>
                      <a:pt x="29007" y="122451"/>
                    </a:lnTo>
                    <a:lnTo>
                      <a:pt x="29062" y="119130"/>
                    </a:lnTo>
                    <a:lnTo>
                      <a:pt x="27580" y="113092"/>
                    </a:lnTo>
                    <a:lnTo>
                      <a:pt x="20445" y="104969"/>
                    </a:lnTo>
                    <a:lnTo>
                      <a:pt x="17015" y="91989"/>
                    </a:lnTo>
                    <a:lnTo>
                      <a:pt x="11883" y="91028"/>
                    </a:lnTo>
                    <a:lnTo>
                      <a:pt x="9852" y="86390"/>
                    </a:lnTo>
                    <a:lnTo>
                      <a:pt x="4171" y="89190"/>
                    </a:lnTo>
                    <a:lnTo>
                      <a:pt x="0" y="88833"/>
                    </a:lnTo>
                    <a:lnTo>
                      <a:pt x="7959" y="76703"/>
                    </a:lnTo>
                    <a:lnTo>
                      <a:pt x="10868" y="68415"/>
                    </a:lnTo>
                    <a:lnTo>
                      <a:pt x="13694" y="51511"/>
                    </a:lnTo>
                    <a:lnTo>
                      <a:pt x="25220" y="32630"/>
                    </a:lnTo>
                    <a:lnTo>
                      <a:pt x="33069" y="29282"/>
                    </a:lnTo>
                    <a:lnTo>
                      <a:pt x="40945" y="15505"/>
                    </a:lnTo>
                    <a:lnTo>
                      <a:pt x="59606" y="9358"/>
                    </a:lnTo>
                    <a:lnTo>
                      <a:pt x="41714" y="19759"/>
                    </a:lnTo>
                    <a:lnTo>
                      <a:pt x="43250" y="26565"/>
                    </a:lnTo>
                    <a:lnTo>
                      <a:pt x="49178" y="33947"/>
                    </a:lnTo>
                    <a:lnTo>
                      <a:pt x="50934" y="46241"/>
                    </a:lnTo>
                    <a:lnTo>
                      <a:pt x="49480" y="51675"/>
                    </a:lnTo>
                    <a:lnTo>
                      <a:pt x="40588" y="62268"/>
                    </a:lnTo>
                    <a:lnTo>
                      <a:pt x="37405" y="71160"/>
                    </a:lnTo>
                    <a:lnTo>
                      <a:pt x="50166" y="91879"/>
                    </a:lnTo>
                    <a:lnTo>
                      <a:pt x="59442" y="90946"/>
                    </a:lnTo>
                    <a:lnTo>
                      <a:pt x="64683" y="86885"/>
                    </a:lnTo>
                    <a:lnTo>
                      <a:pt x="67428" y="75413"/>
                    </a:lnTo>
                    <a:lnTo>
                      <a:pt x="65973" y="68168"/>
                    </a:lnTo>
                    <a:lnTo>
                      <a:pt x="54529" y="48904"/>
                    </a:lnTo>
                    <a:lnTo>
                      <a:pt x="54365" y="40616"/>
                    </a:lnTo>
                    <a:lnTo>
                      <a:pt x="57603" y="36115"/>
                    </a:lnTo>
                    <a:lnTo>
                      <a:pt x="72834" y="29556"/>
                    </a:lnTo>
                    <a:lnTo>
                      <a:pt x="91028" y="23985"/>
                    </a:lnTo>
                    <a:lnTo>
                      <a:pt x="97752" y="20225"/>
                    </a:lnTo>
                    <a:lnTo>
                      <a:pt x="104668" y="20006"/>
                    </a:lnTo>
                    <a:lnTo>
                      <a:pt x="103405" y="15341"/>
                    </a:lnTo>
                    <a:lnTo>
                      <a:pt x="94157" y="15505"/>
                    </a:lnTo>
                    <a:lnTo>
                      <a:pt x="92044" y="13694"/>
                    </a:lnTo>
                    <a:lnTo>
                      <a:pt x="91687" y="4940"/>
                    </a:lnTo>
                    <a:lnTo>
                      <a:pt x="93553" y="2031"/>
                    </a:lnTo>
                    <a:lnTo>
                      <a:pt x="97779" y="0"/>
                    </a:lnTo>
                    <a:lnTo>
                      <a:pt x="102225" y="2909"/>
                    </a:lnTo>
                    <a:lnTo>
                      <a:pt x="106287" y="147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4" name="Freeform: Shape 4283">
                <a:extLst>
                  <a:ext uri="{FF2B5EF4-FFF2-40B4-BE49-F238E27FC236}">
                    <a16:creationId xmlns:a16="http://schemas.microsoft.com/office/drawing/2014/main" id="{DC024636-411A-260D-0EBD-B79ACAB926FE}"/>
                  </a:ext>
                </a:extLst>
              </p:cNvPr>
              <p:cNvSpPr/>
              <p:nvPr/>
            </p:nvSpPr>
            <p:spPr>
              <a:xfrm>
                <a:off x="1168678" y="3809966"/>
                <a:ext cx="1065" cy="930"/>
              </a:xfrm>
              <a:custGeom>
                <a:avLst/>
                <a:gdLst>
                  <a:gd name="connsiteX0" fmla="*/ 6586 w 10208"/>
                  <a:gd name="connsiteY0" fmla="*/ 8562 h 8918"/>
                  <a:gd name="connsiteX1" fmla="*/ 3348 w 10208"/>
                  <a:gd name="connsiteY1" fmla="*/ 8919 h 8918"/>
                  <a:gd name="connsiteX2" fmla="*/ 659 w 10208"/>
                  <a:gd name="connsiteY2" fmla="*/ 8096 h 8918"/>
                  <a:gd name="connsiteX3" fmla="*/ 0 w 10208"/>
                  <a:gd name="connsiteY3" fmla="*/ 6888 h 8918"/>
                  <a:gd name="connsiteX4" fmla="*/ 2607 w 10208"/>
                  <a:gd name="connsiteY4" fmla="*/ 5763 h 8918"/>
                  <a:gd name="connsiteX5" fmla="*/ 4446 w 10208"/>
                  <a:gd name="connsiteY5" fmla="*/ 1921 h 8918"/>
                  <a:gd name="connsiteX6" fmla="*/ 7163 w 10208"/>
                  <a:gd name="connsiteY6" fmla="*/ 0 h 8918"/>
                  <a:gd name="connsiteX7" fmla="*/ 10209 w 10208"/>
                  <a:gd name="connsiteY7" fmla="*/ 5214 h 8918"/>
                  <a:gd name="connsiteX8" fmla="*/ 7190 w 10208"/>
                  <a:gd name="connsiteY8" fmla="*/ 7053 h 8918"/>
                  <a:gd name="connsiteX9" fmla="*/ 6586 w 10208"/>
                  <a:gd name="connsiteY9" fmla="*/ 8590 h 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08" h="8918">
                    <a:moveTo>
                      <a:pt x="6586" y="8562"/>
                    </a:moveTo>
                    <a:lnTo>
                      <a:pt x="3348" y="8919"/>
                    </a:lnTo>
                    <a:lnTo>
                      <a:pt x="659" y="8096"/>
                    </a:lnTo>
                    <a:lnTo>
                      <a:pt x="0" y="6888"/>
                    </a:lnTo>
                    <a:lnTo>
                      <a:pt x="2607" y="5763"/>
                    </a:lnTo>
                    <a:lnTo>
                      <a:pt x="4446" y="1921"/>
                    </a:lnTo>
                    <a:lnTo>
                      <a:pt x="7163" y="0"/>
                    </a:lnTo>
                    <a:lnTo>
                      <a:pt x="10209" y="5214"/>
                    </a:lnTo>
                    <a:lnTo>
                      <a:pt x="7190" y="7053"/>
                    </a:lnTo>
                    <a:lnTo>
                      <a:pt x="6586" y="85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5" name="Freeform: Shape 4284">
                <a:extLst>
                  <a:ext uri="{FF2B5EF4-FFF2-40B4-BE49-F238E27FC236}">
                    <a16:creationId xmlns:a16="http://schemas.microsoft.com/office/drawing/2014/main" id="{9C3DC21B-086C-EF05-E251-7E753AD0EA14}"/>
                  </a:ext>
                </a:extLst>
              </p:cNvPr>
              <p:cNvSpPr/>
              <p:nvPr/>
            </p:nvSpPr>
            <p:spPr>
              <a:xfrm>
                <a:off x="1167813" y="3810237"/>
                <a:ext cx="730" cy="467"/>
              </a:xfrm>
              <a:custGeom>
                <a:avLst/>
                <a:gdLst>
                  <a:gd name="connsiteX0" fmla="*/ 6998 w 6997"/>
                  <a:gd name="connsiteY0" fmla="*/ 3129 h 4473"/>
                  <a:gd name="connsiteX1" fmla="*/ 5873 w 6997"/>
                  <a:gd name="connsiteY1" fmla="*/ 4473 h 4473"/>
                  <a:gd name="connsiteX2" fmla="*/ 0 w 6997"/>
                  <a:gd name="connsiteY2" fmla="*/ 3293 h 4473"/>
                  <a:gd name="connsiteX3" fmla="*/ 741 w 6997"/>
                  <a:gd name="connsiteY3" fmla="*/ 1235 h 4473"/>
                  <a:gd name="connsiteX4" fmla="*/ 5681 w 6997"/>
                  <a:gd name="connsiteY4" fmla="*/ 0 h 4473"/>
                  <a:gd name="connsiteX5" fmla="*/ 6998 w 6997"/>
                  <a:gd name="connsiteY5" fmla="*/ 3129 h 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7" h="4473">
                    <a:moveTo>
                      <a:pt x="6998" y="3129"/>
                    </a:moveTo>
                    <a:lnTo>
                      <a:pt x="5873" y="4473"/>
                    </a:lnTo>
                    <a:lnTo>
                      <a:pt x="0" y="3293"/>
                    </a:lnTo>
                    <a:lnTo>
                      <a:pt x="741" y="1235"/>
                    </a:lnTo>
                    <a:lnTo>
                      <a:pt x="5681" y="0"/>
                    </a:lnTo>
                    <a:lnTo>
                      <a:pt x="6998" y="31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6" name="Freeform: Shape 4285">
                <a:extLst>
                  <a:ext uri="{FF2B5EF4-FFF2-40B4-BE49-F238E27FC236}">
                    <a16:creationId xmlns:a16="http://schemas.microsoft.com/office/drawing/2014/main" id="{4E3E2625-F241-017B-AA3A-9AD5F4E3287F}"/>
                  </a:ext>
                </a:extLst>
              </p:cNvPr>
              <p:cNvSpPr/>
              <p:nvPr/>
            </p:nvSpPr>
            <p:spPr>
              <a:xfrm>
                <a:off x="1164791" y="3810538"/>
                <a:ext cx="592" cy="321"/>
              </a:xfrm>
              <a:custGeom>
                <a:avLst/>
                <a:gdLst>
                  <a:gd name="connsiteX0" fmla="*/ 5653 w 5680"/>
                  <a:gd name="connsiteY0" fmla="*/ 2662 h 3073"/>
                  <a:gd name="connsiteX1" fmla="*/ 2497 w 5680"/>
                  <a:gd name="connsiteY1" fmla="*/ 3074 h 3073"/>
                  <a:gd name="connsiteX2" fmla="*/ 0 w 5680"/>
                  <a:gd name="connsiteY2" fmla="*/ 1482 h 3073"/>
                  <a:gd name="connsiteX3" fmla="*/ 2580 w 5680"/>
                  <a:gd name="connsiteY3" fmla="*/ 0 h 3073"/>
                  <a:gd name="connsiteX4" fmla="*/ 5214 w 5680"/>
                  <a:gd name="connsiteY4" fmla="*/ 960 h 3073"/>
                  <a:gd name="connsiteX5" fmla="*/ 5681 w 5680"/>
                  <a:gd name="connsiteY5" fmla="*/ 2662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80" h="3073">
                    <a:moveTo>
                      <a:pt x="5653" y="2662"/>
                    </a:moveTo>
                    <a:lnTo>
                      <a:pt x="2497" y="3074"/>
                    </a:lnTo>
                    <a:lnTo>
                      <a:pt x="0" y="1482"/>
                    </a:lnTo>
                    <a:lnTo>
                      <a:pt x="2580" y="0"/>
                    </a:lnTo>
                    <a:lnTo>
                      <a:pt x="5214" y="960"/>
                    </a:lnTo>
                    <a:lnTo>
                      <a:pt x="5681"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7" name="Freeform: Shape 4286">
                <a:extLst>
                  <a:ext uri="{FF2B5EF4-FFF2-40B4-BE49-F238E27FC236}">
                    <a16:creationId xmlns:a16="http://schemas.microsoft.com/office/drawing/2014/main" id="{EF6FFCAA-7BCD-E00C-462E-12B98F0C6746}"/>
                  </a:ext>
                </a:extLst>
              </p:cNvPr>
              <p:cNvSpPr/>
              <p:nvPr/>
            </p:nvSpPr>
            <p:spPr>
              <a:xfrm>
                <a:off x="1170063" y="3795539"/>
                <a:ext cx="306" cy="509"/>
              </a:xfrm>
              <a:custGeom>
                <a:avLst/>
                <a:gdLst>
                  <a:gd name="connsiteX0" fmla="*/ 2936 w 2936"/>
                  <a:gd name="connsiteY0" fmla="*/ 3046 h 4884"/>
                  <a:gd name="connsiteX1" fmla="*/ 2086 w 2936"/>
                  <a:gd name="connsiteY1" fmla="*/ 4885 h 4884"/>
                  <a:gd name="connsiteX2" fmla="*/ 0 w 2936"/>
                  <a:gd name="connsiteY2" fmla="*/ 1400 h 4884"/>
                  <a:gd name="connsiteX3" fmla="*/ 2086 w 2936"/>
                  <a:gd name="connsiteY3" fmla="*/ 0 h 4884"/>
                  <a:gd name="connsiteX4" fmla="*/ 2936 w 2936"/>
                  <a:gd name="connsiteY4" fmla="*/ 3046 h 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6" h="4884">
                    <a:moveTo>
                      <a:pt x="2936" y="3046"/>
                    </a:moveTo>
                    <a:lnTo>
                      <a:pt x="2086" y="4885"/>
                    </a:lnTo>
                    <a:lnTo>
                      <a:pt x="0" y="1400"/>
                    </a:lnTo>
                    <a:lnTo>
                      <a:pt x="2086" y="0"/>
                    </a:lnTo>
                    <a:lnTo>
                      <a:pt x="2936"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8" name="Freeform: Shape 4287">
                <a:extLst>
                  <a:ext uri="{FF2B5EF4-FFF2-40B4-BE49-F238E27FC236}">
                    <a16:creationId xmlns:a16="http://schemas.microsoft.com/office/drawing/2014/main" id="{5A67D20E-B9B5-4A55-CC20-792F13CDE01A}"/>
                  </a:ext>
                </a:extLst>
              </p:cNvPr>
              <p:cNvSpPr/>
              <p:nvPr/>
            </p:nvSpPr>
            <p:spPr>
              <a:xfrm>
                <a:off x="1162289" y="3807807"/>
                <a:ext cx="386" cy="386"/>
              </a:xfrm>
              <a:custGeom>
                <a:avLst/>
                <a:gdLst>
                  <a:gd name="connsiteX0" fmla="*/ 3705 w 3704"/>
                  <a:gd name="connsiteY0" fmla="*/ 2415 h 3704"/>
                  <a:gd name="connsiteX1" fmla="*/ 1674 w 3704"/>
                  <a:gd name="connsiteY1" fmla="*/ 3705 h 3704"/>
                  <a:gd name="connsiteX2" fmla="*/ 0 w 3704"/>
                  <a:gd name="connsiteY2" fmla="*/ 2031 h 3704"/>
                  <a:gd name="connsiteX3" fmla="*/ 3183 w 3704"/>
                  <a:gd name="connsiteY3" fmla="*/ 0 h 3704"/>
                  <a:gd name="connsiteX4" fmla="*/ 3705 w 3704"/>
                  <a:gd name="connsiteY4" fmla="*/ 2415 h 3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 h="3704">
                    <a:moveTo>
                      <a:pt x="3705" y="2415"/>
                    </a:moveTo>
                    <a:lnTo>
                      <a:pt x="1674" y="3705"/>
                    </a:lnTo>
                    <a:lnTo>
                      <a:pt x="0" y="2031"/>
                    </a:lnTo>
                    <a:lnTo>
                      <a:pt x="3183" y="0"/>
                    </a:lnTo>
                    <a:lnTo>
                      <a:pt x="3705"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9" name="Freeform: Shape 4288">
                <a:extLst>
                  <a:ext uri="{FF2B5EF4-FFF2-40B4-BE49-F238E27FC236}">
                    <a16:creationId xmlns:a16="http://schemas.microsoft.com/office/drawing/2014/main" id="{B56FFC09-FBA5-BB1D-6F8D-550C5F595729}"/>
                  </a:ext>
                </a:extLst>
              </p:cNvPr>
              <p:cNvSpPr/>
              <p:nvPr/>
            </p:nvSpPr>
            <p:spPr>
              <a:xfrm>
                <a:off x="1168998" y="3811036"/>
                <a:ext cx="386" cy="343"/>
              </a:xfrm>
              <a:custGeom>
                <a:avLst/>
                <a:gdLst>
                  <a:gd name="connsiteX0" fmla="*/ 3705 w 3704"/>
                  <a:gd name="connsiteY0" fmla="*/ 823 h 3293"/>
                  <a:gd name="connsiteX1" fmla="*/ 3650 w 3704"/>
                  <a:gd name="connsiteY1" fmla="*/ 3293 h 3293"/>
                  <a:gd name="connsiteX2" fmla="*/ 0 w 3704"/>
                  <a:gd name="connsiteY2" fmla="*/ 1427 h 3293"/>
                  <a:gd name="connsiteX3" fmla="*/ 302 w 3704"/>
                  <a:gd name="connsiteY3" fmla="*/ 0 h 3293"/>
                  <a:gd name="connsiteX4" fmla="*/ 3705 w 3704"/>
                  <a:gd name="connsiteY4" fmla="*/ 823 h 3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 h="3293">
                    <a:moveTo>
                      <a:pt x="3705" y="823"/>
                    </a:moveTo>
                    <a:lnTo>
                      <a:pt x="3650" y="3293"/>
                    </a:lnTo>
                    <a:lnTo>
                      <a:pt x="0" y="1427"/>
                    </a:lnTo>
                    <a:lnTo>
                      <a:pt x="302" y="0"/>
                    </a:lnTo>
                    <a:lnTo>
                      <a:pt x="3705" y="8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0" name="Freeform: Shape 4289">
                <a:extLst>
                  <a:ext uri="{FF2B5EF4-FFF2-40B4-BE49-F238E27FC236}">
                    <a16:creationId xmlns:a16="http://schemas.microsoft.com/office/drawing/2014/main" id="{B697ACDB-A314-CA0E-CCE8-EBD5A7BCEF24}"/>
                  </a:ext>
                </a:extLst>
              </p:cNvPr>
              <p:cNvSpPr/>
              <p:nvPr/>
            </p:nvSpPr>
            <p:spPr>
              <a:xfrm>
                <a:off x="1160251" y="3807584"/>
                <a:ext cx="386" cy="321"/>
              </a:xfrm>
              <a:custGeom>
                <a:avLst/>
                <a:gdLst>
                  <a:gd name="connsiteX0" fmla="*/ 3458 w 3704"/>
                  <a:gd name="connsiteY0" fmla="*/ 2689 h 3073"/>
                  <a:gd name="connsiteX1" fmla="*/ 439 w 3704"/>
                  <a:gd name="connsiteY1" fmla="*/ 3074 h 3073"/>
                  <a:gd name="connsiteX2" fmla="*/ 0 w 3704"/>
                  <a:gd name="connsiteY2" fmla="*/ 2113 h 3073"/>
                  <a:gd name="connsiteX3" fmla="*/ 1345 w 3704"/>
                  <a:gd name="connsiteY3" fmla="*/ 0 h 3073"/>
                  <a:gd name="connsiteX4" fmla="*/ 3705 w 3704"/>
                  <a:gd name="connsiteY4" fmla="*/ 1564 h 3073"/>
                  <a:gd name="connsiteX5" fmla="*/ 3430 w 3704"/>
                  <a:gd name="connsiteY5" fmla="*/ 2717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4" h="3073">
                    <a:moveTo>
                      <a:pt x="3458" y="2689"/>
                    </a:moveTo>
                    <a:lnTo>
                      <a:pt x="439" y="3074"/>
                    </a:lnTo>
                    <a:lnTo>
                      <a:pt x="0" y="2113"/>
                    </a:lnTo>
                    <a:lnTo>
                      <a:pt x="1345" y="0"/>
                    </a:lnTo>
                    <a:lnTo>
                      <a:pt x="3705" y="1564"/>
                    </a:lnTo>
                    <a:lnTo>
                      <a:pt x="3430"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1" name="Freeform: Shape 4290">
                <a:extLst>
                  <a:ext uri="{FF2B5EF4-FFF2-40B4-BE49-F238E27FC236}">
                    <a16:creationId xmlns:a16="http://schemas.microsoft.com/office/drawing/2014/main" id="{F0C6C4C0-7FBA-0D5F-15B1-59CAA56D2446}"/>
                  </a:ext>
                </a:extLst>
              </p:cNvPr>
              <p:cNvSpPr/>
              <p:nvPr/>
            </p:nvSpPr>
            <p:spPr>
              <a:xfrm>
                <a:off x="1167041" y="3807650"/>
                <a:ext cx="315" cy="352"/>
              </a:xfrm>
              <a:custGeom>
                <a:avLst/>
                <a:gdLst>
                  <a:gd name="connsiteX0" fmla="*/ 2882 w 3018"/>
                  <a:gd name="connsiteY0" fmla="*/ 878 h 3375"/>
                  <a:gd name="connsiteX1" fmla="*/ 3019 w 3018"/>
                  <a:gd name="connsiteY1" fmla="*/ 3376 h 3375"/>
                  <a:gd name="connsiteX2" fmla="*/ 165 w 3018"/>
                  <a:gd name="connsiteY2" fmla="*/ 2854 h 3375"/>
                  <a:gd name="connsiteX3" fmla="*/ 0 w 3018"/>
                  <a:gd name="connsiteY3" fmla="*/ 1894 h 3375"/>
                  <a:gd name="connsiteX4" fmla="*/ 1070 w 3018"/>
                  <a:gd name="connsiteY4" fmla="*/ 0 h 3375"/>
                  <a:gd name="connsiteX5" fmla="*/ 2882 w 3018"/>
                  <a:gd name="connsiteY5" fmla="*/ 878 h 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 h="3375">
                    <a:moveTo>
                      <a:pt x="2882" y="878"/>
                    </a:moveTo>
                    <a:lnTo>
                      <a:pt x="3019" y="3376"/>
                    </a:lnTo>
                    <a:lnTo>
                      <a:pt x="165" y="2854"/>
                    </a:lnTo>
                    <a:lnTo>
                      <a:pt x="0" y="1894"/>
                    </a:lnTo>
                    <a:lnTo>
                      <a:pt x="1070" y="0"/>
                    </a:lnTo>
                    <a:lnTo>
                      <a:pt x="2882" y="8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2" name="Freeform: Shape 4291">
                <a:extLst>
                  <a:ext uri="{FF2B5EF4-FFF2-40B4-BE49-F238E27FC236}">
                    <a16:creationId xmlns:a16="http://schemas.microsoft.com/office/drawing/2014/main" id="{30071B60-8325-CEDC-1E32-FDA6DD0694D4}"/>
                  </a:ext>
                </a:extLst>
              </p:cNvPr>
              <p:cNvSpPr/>
              <p:nvPr/>
            </p:nvSpPr>
            <p:spPr>
              <a:xfrm>
                <a:off x="1167178" y="3786712"/>
                <a:ext cx="369" cy="200"/>
              </a:xfrm>
              <a:custGeom>
                <a:avLst/>
                <a:gdLst>
                  <a:gd name="connsiteX0" fmla="*/ 3540 w 3539"/>
                  <a:gd name="connsiteY0" fmla="*/ 659 h 1920"/>
                  <a:gd name="connsiteX1" fmla="*/ 3128 w 3539"/>
                  <a:gd name="connsiteY1" fmla="*/ 1921 h 1920"/>
                  <a:gd name="connsiteX2" fmla="*/ 0 w 3539"/>
                  <a:gd name="connsiteY2" fmla="*/ 1921 h 1920"/>
                  <a:gd name="connsiteX3" fmla="*/ 1015 w 3539"/>
                  <a:gd name="connsiteY3" fmla="*/ 0 h 1920"/>
                  <a:gd name="connsiteX4" fmla="*/ 3540 w 3539"/>
                  <a:gd name="connsiteY4" fmla="*/ 659 h 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9" h="1920">
                    <a:moveTo>
                      <a:pt x="3540" y="659"/>
                    </a:moveTo>
                    <a:lnTo>
                      <a:pt x="3128" y="1921"/>
                    </a:lnTo>
                    <a:lnTo>
                      <a:pt x="0" y="1921"/>
                    </a:lnTo>
                    <a:cubicBezTo>
                      <a:pt x="0" y="1921"/>
                      <a:pt x="1015" y="0"/>
                      <a:pt x="1015" y="0"/>
                    </a:cubicBezTo>
                    <a:lnTo>
                      <a:pt x="3540" y="6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3" name="Freeform: Shape 4292">
                <a:extLst>
                  <a:ext uri="{FF2B5EF4-FFF2-40B4-BE49-F238E27FC236}">
                    <a16:creationId xmlns:a16="http://schemas.microsoft.com/office/drawing/2014/main" id="{AFC1E9A4-0D10-524F-C340-7D41D6339832}"/>
                  </a:ext>
                </a:extLst>
              </p:cNvPr>
              <p:cNvSpPr/>
              <p:nvPr/>
            </p:nvSpPr>
            <p:spPr>
              <a:xfrm>
                <a:off x="1166869" y="3786867"/>
                <a:ext cx="318" cy="212"/>
              </a:xfrm>
              <a:custGeom>
                <a:avLst/>
                <a:gdLst>
                  <a:gd name="connsiteX0" fmla="*/ 3046 w 3046"/>
                  <a:gd name="connsiteY0" fmla="*/ 1235 h 2030"/>
                  <a:gd name="connsiteX1" fmla="*/ 1400 w 3046"/>
                  <a:gd name="connsiteY1" fmla="*/ 2031 h 2030"/>
                  <a:gd name="connsiteX2" fmla="*/ 0 w 3046"/>
                  <a:gd name="connsiteY2" fmla="*/ 1811 h 2030"/>
                  <a:gd name="connsiteX3" fmla="*/ 2854 w 3046"/>
                  <a:gd name="connsiteY3" fmla="*/ 0 h 2030"/>
                  <a:gd name="connsiteX4" fmla="*/ 3046 w 3046"/>
                  <a:gd name="connsiteY4" fmla="*/ 1208 h 2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6" h="2030">
                    <a:moveTo>
                      <a:pt x="3046" y="1235"/>
                    </a:moveTo>
                    <a:lnTo>
                      <a:pt x="1400" y="2031"/>
                    </a:lnTo>
                    <a:lnTo>
                      <a:pt x="0" y="1811"/>
                    </a:lnTo>
                    <a:lnTo>
                      <a:pt x="2854" y="0"/>
                    </a:lnTo>
                    <a:lnTo>
                      <a:pt x="3046" y="12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4" name="Freeform: Shape 4293">
                <a:extLst>
                  <a:ext uri="{FF2B5EF4-FFF2-40B4-BE49-F238E27FC236}">
                    <a16:creationId xmlns:a16="http://schemas.microsoft.com/office/drawing/2014/main" id="{D8630CE9-3D8F-144E-01C0-8527DC9DB396}"/>
                  </a:ext>
                </a:extLst>
              </p:cNvPr>
              <p:cNvSpPr/>
              <p:nvPr/>
            </p:nvSpPr>
            <p:spPr>
              <a:xfrm>
                <a:off x="1166259" y="3788993"/>
                <a:ext cx="730" cy="363"/>
              </a:xfrm>
              <a:custGeom>
                <a:avLst/>
                <a:gdLst>
                  <a:gd name="connsiteX0" fmla="*/ 6998 w 6998"/>
                  <a:gd name="connsiteY0" fmla="*/ 2278 h 3485"/>
                  <a:gd name="connsiteX1" fmla="*/ 0 w 6998"/>
                  <a:gd name="connsiteY1" fmla="*/ 3485 h 3485"/>
                  <a:gd name="connsiteX2" fmla="*/ 878 w 6998"/>
                  <a:gd name="connsiteY2" fmla="*/ 412 h 3485"/>
                  <a:gd name="connsiteX3" fmla="*/ 5022 w 6998"/>
                  <a:gd name="connsiteY3" fmla="*/ 0 h 3485"/>
                  <a:gd name="connsiteX4" fmla="*/ 6998 w 6998"/>
                  <a:gd name="connsiteY4" fmla="*/ 2278 h 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8" h="3485">
                    <a:moveTo>
                      <a:pt x="6998" y="2278"/>
                    </a:moveTo>
                    <a:lnTo>
                      <a:pt x="0" y="3485"/>
                    </a:lnTo>
                    <a:lnTo>
                      <a:pt x="878" y="412"/>
                    </a:lnTo>
                    <a:lnTo>
                      <a:pt x="5022" y="0"/>
                    </a:lnTo>
                    <a:lnTo>
                      <a:pt x="6998" y="22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5" name="Freeform: Shape 4294">
                <a:extLst>
                  <a:ext uri="{FF2B5EF4-FFF2-40B4-BE49-F238E27FC236}">
                    <a16:creationId xmlns:a16="http://schemas.microsoft.com/office/drawing/2014/main" id="{38E2AE54-B1DA-6701-17A9-3177B8673D2A}"/>
                  </a:ext>
                </a:extLst>
              </p:cNvPr>
              <p:cNvSpPr/>
              <p:nvPr/>
            </p:nvSpPr>
            <p:spPr>
              <a:xfrm>
                <a:off x="1166004" y="3787130"/>
                <a:ext cx="441" cy="226"/>
              </a:xfrm>
              <a:custGeom>
                <a:avLst/>
                <a:gdLst>
                  <a:gd name="connsiteX0" fmla="*/ 4199 w 4226"/>
                  <a:gd name="connsiteY0" fmla="*/ 27 h 2168"/>
                  <a:gd name="connsiteX1" fmla="*/ 3897 w 4226"/>
                  <a:gd name="connsiteY1" fmla="*/ 2168 h 2168"/>
                  <a:gd name="connsiteX2" fmla="*/ 659 w 4226"/>
                  <a:gd name="connsiteY2" fmla="*/ 1948 h 2168"/>
                  <a:gd name="connsiteX3" fmla="*/ 0 w 4226"/>
                  <a:gd name="connsiteY3" fmla="*/ 137 h 2168"/>
                  <a:gd name="connsiteX4" fmla="*/ 4226 w 4226"/>
                  <a:gd name="connsiteY4" fmla="*/ 0 h 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 h="2168">
                    <a:moveTo>
                      <a:pt x="4199" y="27"/>
                    </a:moveTo>
                    <a:lnTo>
                      <a:pt x="3897" y="2168"/>
                    </a:lnTo>
                    <a:lnTo>
                      <a:pt x="659" y="1948"/>
                    </a:lnTo>
                    <a:lnTo>
                      <a:pt x="0" y="137"/>
                    </a:lnTo>
                    <a:lnTo>
                      <a:pt x="422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6" name="Freeform: Shape 4295">
                <a:extLst>
                  <a:ext uri="{FF2B5EF4-FFF2-40B4-BE49-F238E27FC236}">
                    <a16:creationId xmlns:a16="http://schemas.microsoft.com/office/drawing/2014/main" id="{F98D15F0-0644-8A89-BDE5-9A4435CDA37E}"/>
                  </a:ext>
                </a:extLst>
              </p:cNvPr>
              <p:cNvSpPr/>
              <p:nvPr/>
            </p:nvSpPr>
            <p:spPr>
              <a:xfrm>
                <a:off x="1166720" y="3787090"/>
                <a:ext cx="177" cy="220"/>
              </a:xfrm>
              <a:custGeom>
                <a:avLst/>
                <a:gdLst>
                  <a:gd name="connsiteX0" fmla="*/ 1701 w 1701"/>
                  <a:gd name="connsiteY0" fmla="*/ 1345 h 2113"/>
                  <a:gd name="connsiteX1" fmla="*/ 933 w 1701"/>
                  <a:gd name="connsiteY1" fmla="*/ 2113 h 2113"/>
                  <a:gd name="connsiteX2" fmla="*/ 0 w 1701"/>
                  <a:gd name="connsiteY2" fmla="*/ 1125 h 2113"/>
                  <a:gd name="connsiteX3" fmla="*/ 906 w 1701"/>
                  <a:gd name="connsiteY3" fmla="*/ 0 h 2113"/>
                  <a:gd name="connsiteX4" fmla="*/ 1701 w 1701"/>
                  <a:gd name="connsiteY4" fmla="*/ 1345 h 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 h="2113">
                    <a:moveTo>
                      <a:pt x="1701" y="1345"/>
                    </a:moveTo>
                    <a:lnTo>
                      <a:pt x="933" y="2113"/>
                    </a:lnTo>
                    <a:lnTo>
                      <a:pt x="0" y="1125"/>
                    </a:lnTo>
                    <a:lnTo>
                      <a:pt x="906" y="0"/>
                    </a:lnTo>
                    <a:lnTo>
                      <a:pt x="1701" y="13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8" name="Freeform: Shape 4297">
                <a:extLst>
                  <a:ext uri="{FF2B5EF4-FFF2-40B4-BE49-F238E27FC236}">
                    <a16:creationId xmlns:a16="http://schemas.microsoft.com/office/drawing/2014/main" id="{8F5A3D67-7BDE-3B1D-4856-760CC365B673}"/>
                  </a:ext>
                </a:extLst>
              </p:cNvPr>
              <p:cNvSpPr/>
              <p:nvPr/>
            </p:nvSpPr>
            <p:spPr>
              <a:xfrm>
                <a:off x="1523418" y="3462856"/>
                <a:ext cx="53440" cy="71361"/>
              </a:xfrm>
              <a:custGeom>
                <a:avLst/>
                <a:gdLst>
                  <a:gd name="connsiteX0" fmla="*/ 491257 w 512360"/>
                  <a:gd name="connsiteY0" fmla="*/ 91495 h 684180"/>
                  <a:gd name="connsiteX1" fmla="*/ 448940 w 512360"/>
                  <a:gd name="connsiteY1" fmla="*/ 115453 h 684180"/>
                  <a:gd name="connsiteX2" fmla="*/ 312356 w 512360"/>
                  <a:gd name="connsiteY2" fmla="*/ 190592 h 684180"/>
                  <a:gd name="connsiteX3" fmla="*/ 266170 w 512360"/>
                  <a:gd name="connsiteY3" fmla="*/ 237739 h 684180"/>
                  <a:gd name="connsiteX4" fmla="*/ 257964 w 512360"/>
                  <a:gd name="connsiteY4" fmla="*/ 263617 h 684180"/>
                  <a:gd name="connsiteX5" fmla="*/ 251460 w 512360"/>
                  <a:gd name="connsiteY5" fmla="*/ 269655 h 684180"/>
                  <a:gd name="connsiteX6" fmla="*/ 245752 w 512360"/>
                  <a:gd name="connsiteY6" fmla="*/ 275006 h 684180"/>
                  <a:gd name="connsiteX7" fmla="*/ 241334 w 512360"/>
                  <a:gd name="connsiteY7" fmla="*/ 284913 h 684180"/>
                  <a:gd name="connsiteX8" fmla="*/ 225472 w 512360"/>
                  <a:gd name="connsiteY8" fmla="*/ 280193 h 684180"/>
                  <a:gd name="connsiteX9" fmla="*/ 219736 w 512360"/>
                  <a:gd name="connsiteY9" fmla="*/ 300144 h 684180"/>
                  <a:gd name="connsiteX10" fmla="*/ 209830 w 512360"/>
                  <a:gd name="connsiteY10" fmla="*/ 303931 h 684180"/>
                  <a:gd name="connsiteX11" fmla="*/ 207387 w 512360"/>
                  <a:gd name="connsiteY11" fmla="*/ 318887 h 684180"/>
                  <a:gd name="connsiteX12" fmla="*/ 198578 w 512360"/>
                  <a:gd name="connsiteY12" fmla="*/ 339881 h 684180"/>
                  <a:gd name="connsiteX13" fmla="*/ 194296 w 512360"/>
                  <a:gd name="connsiteY13" fmla="*/ 348032 h 684180"/>
                  <a:gd name="connsiteX14" fmla="*/ 183155 w 512360"/>
                  <a:gd name="connsiteY14" fmla="*/ 346934 h 684180"/>
                  <a:gd name="connsiteX15" fmla="*/ 183594 w 512360"/>
                  <a:gd name="connsiteY15" fmla="*/ 373938 h 684180"/>
                  <a:gd name="connsiteX16" fmla="*/ 177419 w 512360"/>
                  <a:gd name="connsiteY16" fmla="*/ 378356 h 684180"/>
                  <a:gd name="connsiteX17" fmla="*/ 174565 w 512360"/>
                  <a:gd name="connsiteY17" fmla="*/ 391310 h 684180"/>
                  <a:gd name="connsiteX18" fmla="*/ 167787 w 512360"/>
                  <a:gd name="connsiteY18" fmla="*/ 400695 h 684180"/>
                  <a:gd name="connsiteX19" fmla="*/ 162710 w 512360"/>
                  <a:gd name="connsiteY19" fmla="*/ 415432 h 684180"/>
                  <a:gd name="connsiteX20" fmla="*/ 147397 w 512360"/>
                  <a:gd name="connsiteY20" fmla="*/ 433105 h 684180"/>
                  <a:gd name="connsiteX21" fmla="*/ 137270 w 512360"/>
                  <a:gd name="connsiteY21" fmla="*/ 466476 h 684180"/>
                  <a:gd name="connsiteX22" fmla="*/ 127473 w 512360"/>
                  <a:gd name="connsiteY22" fmla="*/ 484725 h 684180"/>
                  <a:gd name="connsiteX23" fmla="*/ 116743 w 512360"/>
                  <a:gd name="connsiteY23" fmla="*/ 520868 h 684180"/>
                  <a:gd name="connsiteX24" fmla="*/ 115453 w 512360"/>
                  <a:gd name="connsiteY24" fmla="*/ 559041 h 684180"/>
                  <a:gd name="connsiteX25" fmla="*/ 124839 w 512360"/>
                  <a:gd name="connsiteY25" fmla="*/ 595128 h 684180"/>
                  <a:gd name="connsiteX26" fmla="*/ 139905 w 512360"/>
                  <a:gd name="connsiteY26" fmla="*/ 629460 h 684180"/>
                  <a:gd name="connsiteX27" fmla="*/ 171903 w 512360"/>
                  <a:gd name="connsiteY27" fmla="*/ 665739 h 684180"/>
                  <a:gd name="connsiteX28" fmla="*/ 173468 w 512360"/>
                  <a:gd name="connsiteY28" fmla="*/ 673423 h 684180"/>
                  <a:gd name="connsiteX29" fmla="*/ 171190 w 512360"/>
                  <a:gd name="connsiteY29" fmla="*/ 679543 h 684180"/>
                  <a:gd name="connsiteX30" fmla="*/ 147891 w 512360"/>
                  <a:gd name="connsiteY30" fmla="*/ 684181 h 684180"/>
                  <a:gd name="connsiteX31" fmla="*/ 141771 w 512360"/>
                  <a:gd name="connsiteY31" fmla="*/ 673368 h 684180"/>
                  <a:gd name="connsiteX32" fmla="*/ 130876 w 512360"/>
                  <a:gd name="connsiteY32" fmla="*/ 681107 h 684180"/>
                  <a:gd name="connsiteX33" fmla="*/ 115920 w 512360"/>
                  <a:gd name="connsiteY33" fmla="*/ 675207 h 684180"/>
                  <a:gd name="connsiteX34" fmla="*/ 106068 w 512360"/>
                  <a:gd name="connsiteY34" fmla="*/ 681931 h 684180"/>
                  <a:gd name="connsiteX35" fmla="*/ 95173 w 512360"/>
                  <a:gd name="connsiteY35" fmla="*/ 674000 h 684180"/>
                  <a:gd name="connsiteX36" fmla="*/ 90480 w 512360"/>
                  <a:gd name="connsiteY36" fmla="*/ 675317 h 684180"/>
                  <a:gd name="connsiteX37" fmla="*/ 85924 w 512360"/>
                  <a:gd name="connsiteY37" fmla="*/ 668840 h 684180"/>
                  <a:gd name="connsiteX38" fmla="*/ 74700 w 512360"/>
                  <a:gd name="connsiteY38" fmla="*/ 667550 h 684180"/>
                  <a:gd name="connsiteX39" fmla="*/ 67099 w 512360"/>
                  <a:gd name="connsiteY39" fmla="*/ 660662 h 684180"/>
                  <a:gd name="connsiteX40" fmla="*/ 65095 w 512360"/>
                  <a:gd name="connsiteY40" fmla="*/ 648834 h 684180"/>
                  <a:gd name="connsiteX41" fmla="*/ 65699 w 512360"/>
                  <a:gd name="connsiteY41" fmla="*/ 633796 h 684180"/>
                  <a:gd name="connsiteX42" fmla="*/ 53102 w 512360"/>
                  <a:gd name="connsiteY42" fmla="*/ 608658 h 684180"/>
                  <a:gd name="connsiteX43" fmla="*/ 46379 w 512360"/>
                  <a:gd name="connsiteY43" fmla="*/ 613515 h 684180"/>
                  <a:gd name="connsiteX44" fmla="*/ 47449 w 512360"/>
                  <a:gd name="connsiteY44" fmla="*/ 632122 h 684180"/>
                  <a:gd name="connsiteX45" fmla="*/ 42894 w 512360"/>
                  <a:gd name="connsiteY45" fmla="*/ 642468 h 684180"/>
                  <a:gd name="connsiteX46" fmla="*/ 29145 w 512360"/>
                  <a:gd name="connsiteY46" fmla="*/ 623614 h 684180"/>
                  <a:gd name="connsiteX47" fmla="*/ 35127 w 512360"/>
                  <a:gd name="connsiteY47" fmla="*/ 608630 h 684180"/>
                  <a:gd name="connsiteX48" fmla="*/ 31368 w 512360"/>
                  <a:gd name="connsiteY48" fmla="*/ 595019 h 684180"/>
                  <a:gd name="connsiteX49" fmla="*/ 12349 w 512360"/>
                  <a:gd name="connsiteY49" fmla="*/ 601221 h 684180"/>
                  <a:gd name="connsiteX50" fmla="*/ 5270 w 512360"/>
                  <a:gd name="connsiteY50" fmla="*/ 595238 h 684180"/>
                  <a:gd name="connsiteX51" fmla="*/ 1318 w 512360"/>
                  <a:gd name="connsiteY51" fmla="*/ 584590 h 684180"/>
                  <a:gd name="connsiteX52" fmla="*/ 0 w 512360"/>
                  <a:gd name="connsiteY52" fmla="*/ 566917 h 684180"/>
                  <a:gd name="connsiteX53" fmla="*/ 3760 w 512360"/>
                  <a:gd name="connsiteY53" fmla="*/ 549820 h 684180"/>
                  <a:gd name="connsiteX54" fmla="*/ 10676 w 512360"/>
                  <a:gd name="connsiteY54" fmla="*/ 542081 h 684180"/>
                  <a:gd name="connsiteX55" fmla="*/ 24287 w 512360"/>
                  <a:gd name="connsiteY55" fmla="*/ 538816 h 684180"/>
                  <a:gd name="connsiteX56" fmla="*/ 34469 w 512360"/>
                  <a:gd name="connsiteY56" fmla="*/ 512635 h 684180"/>
                  <a:gd name="connsiteX57" fmla="*/ 35374 w 512360"/>
                  <a:gd name="connsiteY57" fmla="*/ 498913 h 684180"/>
                  <a:gd name="connsiteX58" fmla="*/ 31587 w 512360"/>
                  <a:gd name="connsiteY58" fmla="*/ 483573 h 684180"/>
                  <a:gd name="connsiteX59" fmla="*/ 32410 w 512360"/>
                  <a:gd name="connsiteY59" fmla="*/ 475751 h 684180"/>
                  <a:gd name="connsiteX60" fmla="*/ 45528 w 512360"/>
                  <a:gd name="connsiteY60" fmla="*/ 464966 h 684180"/>
                  <a:gd name="connsiteX61" fmla="*/ 55106 w 512360"/>
                  <a:gd name="connsiteY61" fmla="*/ 436508 h 684180"/>
                  <a:gd name="connsiteX62" fmla="*/ 78542 w 512360"/>
                  <a:gd name="connsiteY62" fmla="*/ 424461 h 684180"/>
                  <a:gd name="connsiteX63" fmla="*/ 79091 w 512360"/>
                  <a:gd name="connsiteY63" fmla="*/ 413072 h 684180"/>
                  <a:gd name="connsiteX64" fmla="*/ 84086 w 512360"/>
                  <a:gd name="connsiteY64" fmla="*/ 396085 h 684180"/>
                  <a:gd name="connsiteX65" fmla="*/ 74892 w 512360"/>
                  <a:gd name="connsiteY65" fmla="*/ 387138 h 684180"/>
                  <a:gd name="connsiteX66" fmla="*/ 72587 w 512360"/>
                  <a:gd name="connsiteY66" fmla="*/ 375969 h 684180"/>
                  <a:gd name="connsiteX67" fmla="*/ 101402 w 512360"/>
                  <a:gd name="connsiteY67" fmla="*/ 339854 h 684180"/>
                  <a:gd name="connsiteX68" fmla="*/ 113066 w 512360"/>
                  <a:gd name="connsiteY68" fmla="*/ 335326 h 684180"/>
                  <a:gd name="connsiteX69" fmla="*/ 115014 w 512360"/>
                  <a:gd name="connsiteY69" fmla="*/ 316829 h 684180"/>
                  <a:gd name="connsiteX70" fmla="*/ 123576 w 512360"/>
                  <a:gd name="connsiteY70" fmla="*/ 301434 h 684180"/>
                  <a:gd name="connsiteX71" fmla="*/ 123329 w 512360"/>
                  <a:gd name="connsiteY71" fmla="*/ 285627 h 684180"/>
                  <a:gd name="connsiteX72" fmla="*/ 141991 w 512360"/>
                  <a:gd name="connsiteY72" fmla="*/ 275034 h 684180"/>
                  <a:gd name="connsiteX73" fmla="*/ 143747 w 512360"/>
                  <a:gd name="connsiteY73" fmla="*/ 274018 h 684180"/>
                  <a:gd name="connsiteX74" fmla="*/ 142622 w 512360"/>
                  <a:gd name="connsiteY74" fmla="*/ 269710 h 684180"/>
                  <a:gd name="connsiteX75" fmla="*/ 140536 w 512360"/>
                  <a:gd name="connsiteY75" fmla="*/ 261806 h 684180"/>
                  <a:gd name="connsiteX76" fmla="*/ 141853 w 512360"/>
                  <a:gd name="connsiteY76" fmla="*/ 246877 h 684180"/>
                  <a:gd name="connsiteX77" fmla="*/ 131891 w 512360"/>
                  <a:gd name="connsiteY77" fmla="*/ 240455 h 684180"/>
                  <a:gd name="connsiteX78" fmla="*/ 130135 w 512360"/>
                  <a:gd name="connsiteY78" fmla="*/ 233512 h 684180"/>
                  <a:gd name="connsiteX79" fmla="*/ 131013 w 512360"/>
                  <a:gd name="connsiteY79" fmla="*/ 227557 h 684180"/>
                  <a:gd name="connsiteX80" fmla="*/ 139301 w 512360"/>
                  <a:gd name="connsiteY80" fmla="*/ 224786 h 684180"/>
                  <a:gd name="connsiteX81" fmla="*/ 148220 w 512360"/>
                  <a:gd name="connsiteY81" fmla="*/ 230905 h 684180"/>
                  <a:gd name="connsiteX82" fmla="*/ 155026 w 512360"/>
                  <a:gd name="connsiteY82" fmla="*/ 220697 h 684180"/>
                  <a:gd name="connsiteX83" fmla="*/ 160075 w 512360"/>
                  <a:gd name="connsiteY83" fmla="*/ 204752 h 684180"/>
                  <a:gd name="connsiteX84" fmla="*/ 178984 w 512360"/>
                  <a:gd name="connsiteY84" fmla="*/ 202804 h 684180"/>
                  <a:gd name="connsiteX85" fmla="*/ 182990 w 512360"/>
                  <a:gd name="connsiteY85" fmla="*/ 185899 h 684180"/>
                  <a:gd name="connsiteX86" fmla="*/ 196217 w 512360"/>
                  <a:gd name="connsiteY86" fmla="*/ 165371 h 684180"/>
                  <a:gd name="connsiteX87" fmla="*/ 219736 w 512360"/>
                  <a:gd name="connsiteY87" fmla="*/ 142457 h 684180"/>
                  <a:gd name="connsiteX88" fmla="*/ 252256 w 512360"/>
                  <a:gd name="connsiteY88" fmla="*/ 127610 h 684180"/>
                  <a:gd name="connsiteX89" fmla="*/ 256043 w 512360"/>
                  <a:gd name="connsiteY89" fmla="*/ 109552 h 684180"/>
                  <a:gd name="connsiteX90" fmla="*/ 264002 w 512360"/>
                  <a:gd name="connsiteY90" fmla="*/ 111858 h 684180"/>
                  <a:gd name="connsiteX91" fmla="*/ 269710 w 512360"/>
                  <a:gd name="connsiteY91" fmla="*/ 122999 h 684180"/>
                  <a:gd name="connsiteX92" fmla="*/ 279644 w 512360"/>
                  <a:gd name="connsiteY92" fmla="*/ 115123 h 684180"/>
                  <a:gd name="connsiteX93" fmla="*/ 281812 w 512360"/>
                  <a:gd name="connsiteY93" fmla="*/ 99316 h 684180"/>
                  <a:gd name="connsiteX94" fmla="*/ 287054 w 512360"/>
                  <a:gd name="connsiteY94" fmla="*/ 92154 h 684180"/>
                  <a:gd name="connsiteX95" fmla="*/ 302888 w 512360"/>
                  <a:gd name="connsiteY95" fmla="*/ 90287 h 684180"/>
                  <a:gd name="connsiteX96" fmla="*/ 325309 w 512360"/>
                  <a:gd name="connsiteY96" fmla="*/ 100222 h 684180"/>
                  <a:gd name="connsiteX97" fmla="*/ 371661 w 512360"/>
                  <a:gd name="connsiteY97" fmla="*/ 85814 h 684180"/>
                  <a:gd name="connsiteX98" fmla="*/ 409477 w 512360"/>
                  <a:gd name="connsiteY98" fmla="*/ 57850 h 684180"/>
                  <a:gd name="connsiteX99" fmla="*/ 420701 w 512360"/>
                  <a:gd name="connsiteY99" fmla="*/ 56752 h 684180"/>
                  <a:gd name="connsiteX100" fmla="*/ 427233 w 512360"/>
                  <a:gd name="connsiteY100" fmla="*/ 34331 h 684180"/>
                  <a:gd name="connsiteX101" fmla="*/ 448967 w 512360"/>
                  <a:gd name="connsiteY101" fmla="*/ 18250 h 684180"/>
                  <a:gd name="connsiteX102" fmla="*/ 473391 w 512360"/>
                  <a:gd name="connsiteY102" fmla="*/ 0 h 684180"/>
                  <a:gd name="connsiteX103" fmla="*/ 491284 w 512360"/>
                  <a:gd name="connsiteY103" fmla="*/ 5845 h 684180"/>
                  <a:gd name="connsiteX104" fmla="*/ 502509 w 512360"/>
                  <a:gd name="connsiteY104" fmla="*/ 9495 h 684180"/>
                  <a:gd name="connsiteX105" fmla="*/ 512361 w 512360"/>
                  <a:gd name="connsiteY105" fmla="*/ 35292 h 684180"/>
                  <a:gd name="connsiteX106" fmla="*/ 506488 w 512360"/>
                  <a:gd name="connsiteY106" fmla="*/ 63585 h 684180"/>
                  <a:gd name="connsiteX107" fmla="*/ 491284 w 512360"/>
                  <a:gd name="connsiteY107" fmla="*/ 91550 h 68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12360" h="684180">
                    <a:moveTo>
                      <a:pt x="491257" y="91495"/>
                    </a:moveTo>
                    <a:lnTo>
                      <a:pt x="448940" y="115453"/>
                    </a:lnTo>
                    <a:lnTo>
                      <a:pt x="312356" y="190592"/>
                    </a:lnTo>
                    <a:lnTo>
                      <a:pt x="266170" y="237739"/>
                    </a:lnTo>
                    <a:lnTo>
                      <a:pt x="257964" y="263617"/>
                    </a:lnTo>
                    <a:lnTo>
                      <a:pt x="251460" y="269655"/>
                    </a:lnTo>
                    <a:lnTo>
                      <a:pt x="245752" y="275006"/>
                    </a:lnTo>
                    <a:lnTo>
                      <a:pt x="241334" y="284913"/>
                    </a:lnTo>
                    <a:lnTo>
                      <a:pt x="225472" y="280193"/>
                    </a:lnTo>
                    <a:lnTo>
                      <a:pt x="219736" y="300144"/>
                    </a:lnTo>
                    <a:lnTo>
                      <a:pt x="209830" y="303931"/>
                    </a:lnTo>
                    <a:lnTo>
                      <a:pt x="207387" y="318887"/>
                    </a:lnTo>
                    <a:lnTo>
                      <a:pt x="198578" y="339881"/>
                    </a:lnTo>
                    <a:lnTo>
                      <a:pt x="194296" y="348032"/>
                    </a:lnTo>
                    <a:lnTo>
                      <a:pt x="183155" y="346934"/>
                    </a:lnTo>
                    <a:lnTo>
                      <a:pt x="183594" y="373938"/>
                    </a:lnTo>
                    <a:lnTo>
                      <a:pt x="177419" y="378356"/>
                    </a:lnTo>
                    <a:lnTo>
                      <a:pt x="174565" y="391310"/>
                    </a:lnTo>
                    <a:lnTo>
                      <a:pt x="167787" y="400695"/>
                    </a:lnTo>
                    <a:lnTo>
                      <a:pt x="162710" y="415432"/>
                    </a:lnTo>
                    <a:lnTo>
                      <a:pt x="147397" y="433105"/>
                    </a:lnTo>
                    <a:lnTo>
                      <a:pt x="137270" y="466476"/>
                    </a:lnTo>
                    <a:lnTo>
                      <a:pt x="127473" y="484725"/>
                    </a:lnTo>
                    <a:lnTo>
                      <a:pt x="116743" y="520868"/>
                    </a:lnTo>
                    <a:lnTo>
                      <a:pt x="115453" y="559041"/>
                    </a:lnTo>
                    <a:lnTo>
                      <a:pt x="124839" y="595128"/>
                    </a:lnTo>
                    <a:lnTo>
                      <a:pt x="139905" y="629460"/>
                    </a:lnTo>
                    <a:lnTo>
                      <a:pt x="171903" y="665739"/>
                    </a:lnTo>
                    <a:lnTo>
                      <a:pt x="173468" y="673423"/>
                    </a:lnTo>
                    <a:lnTo>
                      <a:pt x="171190" y="679543"/>
                    </a:lnTo>
                    <a:lnTo>
                      <a:pt x="147891" y="684181"/>
                    </a:lnTo>
                    <a:lnTo>
                      <a:pt x="141771" y="673368"/>
                    </a:lnTo>
                    <a:lnTo>
                      <a:pt x="130876" y="681107"/>
                    </a:lnTo>
                    <a:lnTo>
                      <a:pt x="115920" y="675207"/>
                    </a:lnTo>
                    <a:lnTo>
                      <a:pt x="106068" y="681931"/>
                    </a:lnTo>
                    <a:lnTo>
                      <a:pt x="95173" y="674000"/>
                    </a:lnTo>
                    <a:lnTo>
                      <a:pt x="90480" y="675317"/>
                    </a:lnTo>
                    <a:lnTo>
                      <a:pt x="85924" y="668840"/>
                    </a:lnTo>
                    <a:lnTo>
                      <a:pt x="74700" y="667550"/>
                    </a:lnTo>
                    <a:lnTo>
                      <a:pt x="67099" y="660662"/>
                    </a:lnTo>
                    <a:lnTo>
                      <a:pt x="65095" y="648834"/>
                    </a:lnTo>
                    <a:lnTo>
                      <a:pt x="65699" y="633796"/>
                    </a:lnTo>
                    <a:lnTo>
                      <a:pt x="53102" y="608658"/>
                    </a:lnTo>
                    <a:lnTo>
                      <a:pt x="46379" y="613515"/>
                    </a:lnTo>
                    <a:lnTo>
                      <a:pt x="47449" y="632122"/>
                    </a:lnTo>
                    <a:lnTo>
                      <a:pt x="42894" y="642468"/>
                    </a:lnTo>
                    <a:lnTo>
                      <a:pt x="29145" y="623614"/>
                    </a:lnTo>
                    <a:lnTo>
                      <a:pt x="35127" y="608630"/>
                    </a:lnTo>
                    <a:lnTo>
                      <a:pt x="31368" y="595019"/>
                    </a:lnTo>
                    <a:lnTo>
                      <a:pt x="12349" y="601221"/>
                    </a:lnTo>
                    <a:lnTo>
                      <a:pt x="5270" y="595238"/>
                    </a:lnTo>
                    <a:lnTo>
                      <a:pt x="1318" y="584590"/>
                    </a:lnTo>
                    <a:lnTo>
                      <a:pt x="0" y="566917"/>
                    </a:lnTo>
                    <a:lnTo>
                      <a:pt x="3760" y="549820"/>
                    </a:lnTo>
                    <a:lnTo>
                      <a:pt x="10676" y="542081"/>
                    </a:lnTo>
                    <a:lnTo>
                      <a:pt x="24287" y="538816"/>
                    </a:lnTo>
                    <a:lnTo>
                      <a:pt x="34469" y="512635"/>
                    </a:lnTo>
                    <a:lnTo>
                      <a:pt x="35374" y="498913"/>
                    </a:lnTo>
                    <a:lnTo>
                      <a:pt x="31587" y="483573"/>
                    </a:lnTo>
                    <a:lnTo>
                      <a:pt x="32410" y="475751"/>
                    </a:lnTo>
                    <a:lnTo>
                      <a:pt x="45528" y="464966"/>
                    </a:lnTo>
                    <a:lnTo>
                      <a:pt x="55106" y="436508"/>
                    </a:lnTo>
                    <a:lnTo>
                      <a:pt x="78542" y="424461"/>
                    </a:lnTo>
                    <a:lnTo>
                      <a:pt x="79091" y="413072"/>
                    </a:lnTo>
                    <a:lnTo>
                      <a:pt x="84086" y="396085"/>
                    </a:lnTo>
                    <a:lnTo>
                      <a:pt x="74892" y="387138"/>
                    </a:lnTo>
                    <a:lnTo>
                      <a:pt x="72587" y="375969"/>
                    </a:lnTo>
                    <a:lnTo>
                      <a:pt x="101402" y="339854"/>
                    </a:lnTo>
                    <a:lnTo>
                      <a:pt x="113066" y="335326"/>
                    </a:lnTo>
                    <a:lnTo>
                      <a:pt x="115014" y="316829"/>
                    </a:lnTo>
                    <a:lnTo>
                      <a:pt x="123576" y="301434"/>
                    </a:lnTo>
                    <a:lnTo>
                      <a:pt x="123329" y="285627"/>
                    </a:lnTo>
                    <a:lnTo>
                      <a:pt x="141991" y="275034"/>
                    </a:lnTo>
                    <a:lnTo>
                      <a:pt x="143747" y="274018"/>
                    </a:lnTo>
                    <a:lnTo>
                      <a:pt x="142622" y="269710"/>
                    </a:lnTo>
                    <a:lnTo>
                      <a:pt x="140536" y="261806"/>
                    </a:lnTo>
                    <a:lnTo>
                      <a:pt x="141853" y="246877"/>
                    </a:lnTo>
                    <a:lnTo>
                      <a:pt x="131891" y="240455"/>
                    </a:lnTo>
                    <a:lnTo>
                      <a:pt x="130135" y="233512"/>
                    </a:lnTo>
                    <a:lnTo>
                      <a:pt x="131013" y="227557"/>
                    </a:lnTo>
                    <a:lnTo>
                      <a:pt x="139301" y="224786"/>
                    </a:lnTo>
                    <a:lnTo>
                      <a:pt x="148220" y="230905"/>
                    </a:lnTo>
                    <a:lnTo>
                      <a:pt x="155026" y="220697"/>
                    </a:lnTo>
                    <a:lnTo>
                      <a:pt x="160075" y="204752"/>
                    </a:lnTo>
                    <a:lnTo>
                      <a:pt x="178984" y="202804"/>
                    </a:lnTo>
                    <a:lnTo>
                      <a:pt x="182990" y="185899"/>
                    </a:lnTo>
                    <a:lnTo>
                      <a:pt x="196217" y="165371"/>
                    </a:lnTo>
                    <a:lnTo>
                      <a:pt x="219736" y="142457"/>
                    </a:lnTo>
                    <a:lnTo>
                      <a:pt x="252256" y="127610"/>
                    </a:lnTo>
                    <a:lnTo>
                      <a:pt x="256043" y="109552"/>
                    </a:lnTo>
                    <a:lnTo>
                      <a:pt x="264002" y="111858"/>
                    </a:lnTo>
                    <a:lnTo>
                      <a:pt x="269710" y="122999"/>
                    </a:lnTo>
                    <a:lnTo>
                      <a:pt x="279644" y="115123"/>
                    </a:lnTo>
                    <a:lnTo>
                      <a:pt x="281812" y="99316"/>
                    </a:lnTo>
                    <a:lnTo>
                      <a:pt x="287054" y="92154"/>
                    </a:lnTo>
                    <a:lnTo>
                      <a:pt x="302888" y="90287"/>
                    </a:lnTo>
                    <a:lnTo>
                      <a:pt x="325309" y="100222"/>
                    </a:lnTo>
                    <a:lnTo>
                      <a:pt x="371661" y="85814"/>
                    </a:lnTo>
                    <a:lnTo>
                      <a:pt x="409477" y="57850"/>
                    </a:lnTo>
                    <a:lnTo>
                      <a:pt x="420701" y="56752"/>
                    </a:lnTo>
                    <a:lnTo>
                      <a:pt x="427233" y="34331"/>
                    </a:lnTo>
                    <a:lnTo>
                      <a:pt x="448967" y="18250"/>
                    </a:lnTo>
                    <a:lnTo>
                      <a:pt x="473391" y="0"/>
                    </a:lnTo>
                    <a:lnTo>
                      <a:pt x="491284" y="5845"/>
                    </a:lnTo>
                    <a:lnTo>
                      <a:pt x="502509" y="9495"/>
                    </a:lnTo>
                    <a:lnTo>
                      <a:pt x="512361" y="35292"/>
                    </a:lnTo>
                    <a:lnTo>
                      <a:pt x="506488" y="63585"/>
                    </a:lnTo>
                    <a:lnTo>
                      <a:pt x="491284" y="915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0" name="Freeform: Shape 4299">
                <a:extLst>
                  <a:ext uri="{FF2B5EF4-FFF2-40B4-BE49-F238E27FC236}">
                    <a16:creationId xmlns:a16="http://schemas.microsoft.com/office/drawing/2014/main" id="{22E2E5CC-BCF6-C8BB-7521-935FD8E151D4}"/>
                  </a:ext>
                </a:extLst>
              </p:cNvPr>
              <p:cNvSpPr/>
              <p:nvPr/>
            </p:nvSpPr>
            <p:spPr>
              <a:xfrm>
                <a:off x="1647672" y="3392752"/>
                <a:ext cx="24705" cy="43842"/>
              </a:xfrm>
              <a:custGeom>
                <a:avLst/>
                <a:gdLst>
                  <a:gd name="connsiteX0" fmla="*/ 72010 w 236860"/>
                  <a:gd name="connsiteY0" fmla="*/ 215373 h 420344"/>
                  <a:gd name="connsiteX1" fmla="*/ 72120 w 236860"/>
                  <a:gd name="connsiteY1" fmla="*/ 221108 h 420344"/>
                  <a:gd name="connsiteX2" fmla="*/ 76758 w 236860"/>
                  <a:gd name="connsiteY2" fmla="*/ 226926 h 420344"/>
                  <a:gd name="connsiteX3" fmla="*/ 87927 w 236860"/>
                  <a:gd name="connsiteY3" fmla="*/ 210076 h 420344"/>
                  <a:gd name="connsiteX4" fmla="*/ 96819 w 236860"/>
                  <a:gd name="connsiteY4" fmla="*/ 219022 h 420344"/>
                  <a:gd name="connsiteX5" fmla="*/ 115453 w 236860"/>
                  <a:gd name="connsiteY5" fmla="*/ 203846 h 420344"/>
                  <a:gd name="connsiteX6" fmla="*/ 153269 w 236860"/>
                  <a:gd name="connsiteY6" fmla="*/ 198495 h 420344"/>
                  <a:gd name="connsiteX7" fmla="*/ 170860 w 236860"/>
                  <a:gd name="connsiteY7" fmla="*/ 204917 h 420344"/>
                  <a:gd name="connsiteX8" fmla="*/ 176651 w 236860"/>
                  <a:gd name="connsiteY8" fmla="*/ 215290 h 420344"/>
                  <a:gd name="connsiteX9" fmla="*/ 172095 w 236860"/>
                  <a:gd name="connsiteY9" fmla="*/ 246959 h 420344"/>
                  <a:gd name="connsiteX10" fmla="*/ 167951 w 236860"/>
                  <a:gd name="connsiteY10" fmla="*/ 252091 h 420344"/>
                  <a:gd name="connsiteX11" fmla="*/ 167841 w 236860"/>
                  <a:gd name="connsiteY11" fmla="*/ 257744 h 420344"/>
                  <a:gd name="connsiteX12" fmla="*/ 170778 w 236860"/>
                  <a:gd name="connsiteY12" fmla="*/ 265236 h 420344"/>
                  <a:gd name="connsiteX13" fmla="*/ 180547 w 236860"/>
                  <a:gd name="connsiteY13" fmla="*/ 253683 h 420344"/>
                  <a:gd name="connsiteX14" fmla="*/ 184884 w 236860"/>
                  <a:gd name="connsiteY14" fmla="*/ 226212 h 420344"/>
                  <a:gd name="connsiteX15" fmla="*/ 185706 w 236860"/>
                  <a:gd name="connsiteY15" fmla="*/ 240840 h 420344"/>
                  <a:gd name="connsiteX16" fmla="*/ 189028 w 236860"/>
                  <a:gd name="connsiteY16" fmla="*/ 244050 h 420344"/>
                  <a:gd name="connsiteX17" fmla="*/ 191497 w 236860"/>
                  <a:gd name="connsiteY17" fmla="*/ 236668 h 420344"/>
                  <a:gd name="connsiteX18" fmla="*/ 192759 w 236860"/>
                  <a:gd name="connsiteY18" fmla="*/ 218391 h 420344"/>
                  <a:gd name="connsiteX19" fmla="*/ 210268 w 236860"/>
                  <a:gd name="connsiteY19" fmla="*/ 217760 h 420344"/>
                  <a:gd name="connsiteX20" fmla="*/ 236861 w 236860"/>
                  <a:gd name="connsiteY20" fmla="*/ 257031 h 420344"/>
                  <a:gd name="connsiteX21" fmla="*/ 231482 w 236860"/>
                  <a:gd name="connsiteY21" fmla="*/ 298936 h 420344"/>
                  <a:gd name="connsiteX22" fmla="*/ 229424 w 236860"/>
                  <a:gd name="connsiteY22" fmla="*/ 339799 h 420344"/>
                  <a:gd name="connsiteX23" fmla="*/ 219434 w 236860"/>
                  <a:gd name="connsiteY23" fmla="*/ 344190 h 420344"/>
                  <a:gd name="connsiteX24" fmla="*/ 219297 w 236860"/>
                  <a:gd name="connsiteY24" fmla="*/ 349706 h 420344"/>
                  <a:gd name="connsiteX25" fmla="*/ 232085 w 236860"/>
                  <a:gd name="connsiteY25" fmla="*/ 373389 h 420344"/>
                  <a:gd name="connsiteX26" fmla="*/ 234775 w 236860"/>
                  <a:gd name="connsiteY26" fmla="*/ 393148 h 420344"/>
                  <a:gd name="connsiteX27" fmla="*/ 220175 w 236860"/>
                  <a:gd name="connsiteY27" fmla="*/ 414444 h 420344"/>
                  <a:gd name="connsiteX28" fmla="*/ 173165 w 236860"/>
                  <a:gd name="connsiteY28" fmla="*/ 420344 h 420344"/>
                  <a:gd name="connsiteX29" fmla="*/ 151485 w 236860"/>
                  <a:gd name="connsiteY29" fmla="*/ 403165 h 420344"/>
                  <a:gd name="connsiteX30" fmla="*/ 142539 w 236860"/>
                  <a:gd name="connsiteY30" fmla="*/ 387660 h 420344"/>
                  <a:gd name="connsiteX31" fmla="*/ 111555 w 236860"/>
                  <a:gd name="connsiteY31" fmla="*/ 386836 h 420344"/>
                  <a:gd name="connsiteX32" fmla="*/ 104832 w 236860"/>
                  <a:gd name="connsiteY32" fmla="*/ 373197 h 420344"/>
                  <a:gd name="connsiteX33" fmla="*/ 91961 w 236860"/>
                  <a:gd name="connsiteY33" fmla="*/ 382116 h 420344"/>
                  <a:gd name="connsiteX34" fmla="*/ 84277 w 236860"/>
                  <a:gd name="connsiteY34" fmla="*/ 376710 h 420344"/>
                  <a:gd name="connsiteX35" fmla="*/ 71379 w 236860"/>
                  <a:gd name="connsiteY35" fmla="*/ 347812 h 420344"/>
                  <a:gd name="connsiteX36" fmla="*/ 68498 w 236860"/>
                  <a:gd name="connsiteY36" fmla="*/ 313042 h 420344"/>
                  <a:gd name="connsiteX37" fmla="*/ 55737 w 236860"/>
                  <a:gd name="connsiteY37" fmla="*/ 316308 h 420344"/>
                  <a:gd name="connsiteX38" fmla="*/ 52334 w 236860"/>
                  <a:gd name="connsiteY38" fmla="*/ 291993 h 420344"/>
                  <a:gd name="connsiteX39" fmla="*/ 43360 w 236860"/>
                  <a:gd name="connsiteY39" fmla="*/ 311917 h 420344"/>
                  <a:gd name="connsiteX40" fmla="*/ 40478 w 236860"/>
                  <a:gd name="connsiteY40" fmla="*/ 310709 h 420344"/>
                  <a:gd name="connsiteX41" fmla="*/ 40204 w 236860"/>
                  <a:gd name="connsiteY41" fmla="*/ 305523 h 420344"/>
                  <a:gd name="connsiteX42" fmla="*/ 43278 w 236860"/>
                  <a:gd name="connsiteY42" fmla="*/ 292295 h 420344"/>
                  <a:gd name="connsiteX43" fmla="*/ 73740 w 236860"/>
                  <a:gd name="connsiteY43" fmla="*/ 255604 h 420344"/>
                  <a:gd name="connsiteX44" fmla="*/ 67757 w 236860"/>
                  <a:gd name="connsiteY44" fmla="*/ 228298 h 420344"/>
                  <a:gd name="connsiteX45" fmla="*/ 10757 w 236860"/>
                  <a:gd name="connsiteY45" fmla="*/ 201651 h 420344"/>
                  <a:gd name="connsiteX46" fmla="*/ 7464 w 236860"/>
                  <a:gd name="connsiteY46" fmla="*/ 179559 h 420344"/>
                  <a:gd name="connsiteX47" fmla="*/ 521 w 236860"/>
                  <a:gd name="connsiteY47" fmla="*/ 178654 h 420344"/>
                  <a:gd name="connsiteX48" fmla="*/ 0 w 236860"/>
                  <a:gd name="connsiteY48" fmla="*/ 175251 h 420344"/>
                  <a:gd name="connsiteX49" fmla="*/ 439 w 236860"/>
                  <a:gd name="connsiteY49" fmla="*/ 172424 h 420344"/>
                  <a:gd name="connsiteX50" fmla="*/ 6614 w 236860"/>
                  <a:gd name="connsiteY50" fmla="*/ 165948 h 420344"/>
                  <a:gd name="connsiteX51" fmla="*/ 5873 w 236860"/>
                  <a:gd name="connsiteY51" fmla="*/ 151705 h 420344"/>
                  <a:gd name="connsiteX52" fmla="*/ 24836 w 236860"/>
                  <a:gd name="connsiteY52" fmla="*/ 136803 h 420344"/>
                  <a:gd name="connsiteX53" fmla="*/ 30901 w 236860"/>
                  <a:gd name="connsiteY53" fmla="*/ 106753 h 420344"/>
                  <a:gd name="connsiteX54" fmla="*/ 30681 w 236860"/>
                  <a:gd name="connsiteY54" fmla="*/ 101018 h 420344"/>
                  <a:gd name="connsiteX55" fmla="*/ 23985 w 236860"/>
                  <a:gd name="connsiteY55" fmla="*/ 92483 h 420344"/>
                  <a:gd name="connsiteX56" fmla="*/ 23903 w 236860"/>
                  <a:gd name="connsiteY56" fmla="*/ 86144 h 420344"/>
                  <a:gd name="connsiteX57" fmla="*/ 36170 w 236860"/>
                  <a:gd name="connsiteY57" fmla="*/ 59606 h 420344"/>
                  <a:gd name="connsiteX58" fmla="*/ 85211 w 236860"/>
                  <a:gd name="connsiteY58" fmla="*/ 26510 h 420344"/>
                  <a:gd name="connsiteX59" fmla="*/ 96654 w 236860"/>
                  <a:gd name="connsiteY59" fmla="*/ 137 h 420344"/>
                  <a:gd name="connsiteX60" fmla="*/ 113477 w 236860"/>
                  <a:gd name="connsiteY60" fmla="*/ 0 h 420344"/>
                  <a:gd name="connsiteX61" fmla="*/ 142127 w 236860"/>
                  <a:gd name="connsiteY61" fmla="*/ 63970 h 420344"/>
                  <a:gd name="connsiteX62" fmla="*/ 170778 w 236860"/>
                  <a:gd name="connsiteY62" fmla="*/ 86006 h 420344"/>
                  <a:gd name="connsiteX63" fmla="*/ 173824 w 236860"/>
                  <a:gd name="connsiteY63" fmla="*/ 101594 h 420344"/>
                  <a:gd name="connsiteX64" fmla="*/ 173549 w 236860"/>
                  <a:gd name="connsiteY64" fmla="*/ 107357 h 420344"/>
                  <a:gd name="connsiteX65" fmla="*/ 152885 w 236860"/>
                  <a:gd name="connsiteY65" fmla="*/ 123740 h 420344"/>
                  <a:gd name="connsiteX66" fmla="*/ 151952 w 236860"/>
                  <a:gd name="connsiteY66" fmla="*/ 144652 h 420344"/>
                  <a:gd name="connsiteX67" fmla="*/ 158072 w 236860"/>
                  <a:gd name="connsiteY67" fmla="*/ 175772 h 420344"/>
                  <a:gd name="connsiteX68" fmla="*/ 155135 w 236860"/>
                  <a:gd name="connsiteY68" fmla="*/ 184938 h 420344"/>
                  <a:gd name="connsiteX69" fmla="*/ 76648 w 236860"/>
                  <a:gd name="connsiteY69" fmla="*/ 202145 h 420344"/>
                  <a:gd name="connsiteX70" fmla="*/ 71955 w 236860"/>
                  <a:gd name="connsiteY70" fmla="*/ 215345 h 420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36860" h="420344">
                    <a:moveTo>
                      <a:pt x="72010" y="215373"/>
                    </a:moveTo>
                    <a:lnTo>
                      <a:pt x="72120" y="221108"/>
                    </a:lnTo>
                    <a:lnTo>
                      <a:pt x="76758" y="226926"/>
                    </a:lnTo>
                    <a:lnTo>
                      <a:pt x="87927" y="210076"/>
                    </a:lnTo>
                    <a:lnTo>
                      <a:pt x="96819" y="219022"/>
                    </a:lnTo>
                    <a:lnTo>
                      <a:pt x="115453" y="203846"/>
                    </a:lnTo>
                    <a:lnTo>
                      <a:pt x="153269" y="198495"/>
                    </a:lnTo>
                    <a:lnTo>
                      <a:pt x="170860" y="204917"/>
                    </a:lnTo>
                    <a:lnTo>
                      <a:pt x="176651" y="215290"/>
                    </a:lnTo>
                    <a:lnTo>
                      <a:pt x="172095" y="246959"/>
                    </a:lnTo>
                    <a:lnTo>
                      <a:pt x="167951" y="252091"/>
                    </a:lnTo>
                    <a:lnTo>
                      <a:pt x="167841" y="257744"/>
                    </a:lnTo>
                    <a:lnTo>
                      <a:pt x="170778" y="265236"/>
                    </a:lnTo>
                    <a:lnTo>
                      <a:pt x="180547" y="253683"/>
                    </a:lnTo>
                    <a:lnTo>
                      <a:pt x="184884" y="226212"/>
                    </a:lnTo>
                    <a:lnTo>
                      <a:pt x="185706" y="240840"/>
                    </a:lnTo>
                    <a:lnTo>
                      <a:pt x="189028" y="244050"/>
                    </a:lnTo>
                    <a:lnTo>
                      <a:pt x="191497" y="236668"/>
                    </a:lnTo>
                    <a:lnTo>
                      <a:pt x="192759" y="218391"/>
                    </a:lnTo>
                    <a:lnTo>
                      <a:pt x="210268" y="217760"/>
                    </a:lnTo>
                    <a:lnTo>
                      <a:pt x="236861" y="257031"/>
                    </a:lnTo>
                    <a:lnTo>
                      <a:pt x="231482" y="298936"/>
                    </a:lnTo>
                    <a:lnTo>
                      <a:pt x="229424" y="339799"/>
                    </a:lnTo>
                    <a:lnTo>
                      <a:pt x="219434" y="344190"/>
                    </a:lnTo>
                    <a:lnTo>
                      <a:pt x="219297" y="349706"/>
                    </a:lnTo>
                    <a:lnTo>
                      <a:pt x="232085" y="373389"/>
                    </a:lnTo>
                    <a:lnTo>
                      <a:pt x="234775" y="393148"/>
                    </a:lnTo>
                    <a:lnTo>
                      <a:pt x="220175" y="414444"/>
                    </a:lnTo>
                    <a:lnTo>
                      <a:pt x="173165" y="420344"/>
                    </a:lnTo>
                    <a:lnTo>
                      <a:pt x="151485" y="403165"/>
                    </a:lnTo>
                    <a:lnTo>
                      <a:pt x="142539" y="387660"/>
                    </a:lnTo>
                    <a:lnTo>
                      <a:pt x="111555" y="386836"/>
                    </a:lnTo>
                    <a:lnTo>
                      <a:pt x="104832" y="373197"/>
                    </a:lnTo>
                    <a:lnTo>
                      <a:pt x="91961" y="382116"/>
                    </a:lnTo>
                    <a:lnTo>
                      <a:pt x="84277" y="376710"/>
                    </a:lnTo>
                    <a:lnTo>
                      <a:pt x="71379" y="347812"/>
                    </a:lnTo>
                    <a:lnTo>
                      <a:pt x="68498" y="313042"/>
                    </a:lnTo>
                    <a:lnTo>
                      <a:pt x="55737" y="316308"/>
                    </a:lnTo>
                    <a:lnTo>
                      <a:pt x="52334" y="291993"/>
                    </a:lnTo>
                    <a:lnTo>
                      <a:pt x="43360" y="311917"/>
                    </a:lnTo>
                    <a:lnTo>
                      <a:pt x="40478" y="310709"/>
                    </a:lnTo>
                    <a:lnTo>
                      <a:pt x="40204" y="305523"/>
                    </a:lnTo>
                    <a:lnTo>
                      <a:pt x="43278" y="292295"/>
                    </a:lnTo>
                    <a:lnTo>
                      <a:pt x="73740" y="255604"/>
                    </a:lnTo>
                    <a:lnTo>
                      <a:pt x="67757" y="228298"/>
                    </a:lnTo>
                    <a:lnTo>
                      <a:pt x="10757" y="201651"/>
                    </a:lnTo>
                    <a:lnTo>
                      <a:pt x="7464" y="179559"/>
                    </a:lnTo>
                    <a:lnTo>
                      <a:pt x="521" y="178654"/>
                    </a:lnTo>
                    <a:lnTo>
                      <a:pt x="0" y="175251"/>
                    </a:lnTo>
                    <a:lnTo>
                      <a:pt x="439" y="172424"/>
                    </a:lnTo>
                    <a:lnTo>
                      <a:pt x="6614" y="165948"/>
                    </a:lnTo>
                    <a:lnTo>
                      <a:pt x="5873" y="151705"/>
                    </a:lnTo>
                    <a:lnTo>
                      <a:pt x="24836" y="136803"/>
                    </a:lnTo>
                    <a:lnTo>
                      <a:pt x="30901" y="106753"/>
                    </a:lnTo>
                    <a:lnTo>
                      <a:pt x="30681" y="101018"/>
                    </a:lnTo>
                    <a:lnTo>
                      <a:pt x="23985" y="92483"/>
                    </a:lnTo>
                    <a:lnTo>
                      <a:pt x="23903" y="86144"/>
                    </a:lnTo>
                    <a:lnTo>
                      <a:pt x="36170" y="59606"/>
                    </a:lnTo>
                    <a:lnTo>
                      <a:pt x="85211" y="26510"/>
                    </a:lnTo>
                    <a:lnTo>
                      <a:pt x="96654" y="137"/>
                    </a:lnTo>
                    <a:lnTo>
                      <a:pt x="113477" y="0"/>
                    </a:lnTo>
                    <a:lnTo>
                      <a:pt x="142127" y="63970"/>
                    </a:lnTo>
                    <a:lnTo>
                      <a:pt x="170778" y="86006"/>
                    </a:lnTo>
                    <a:lnTo>
                      <a:pt x="173824" y="101594"/>
                    </a:lnTo>
                    <a:lnTo>
                      <a:pt x="173549" y="107357"/>
                    </a:lnTo>
                    <a:lnTo>
                      <a:pt x="152885" y="123740"/>
                    </a:lnTo>
                    <a:lnTo>
                      <a:pt x="151952" y="144652"/>
                    </a:lnTo>
                    <a:lnTo>
                      <a:pt x="158072" y="175772"/>
                    </a:lnTo>
                    <a:lnTo>
                      <a:pt x="155135" y="184938"/>
                    </a:lnTo>
                    <a:lnTo>
                      <a:pt x="76648" y="202145"/>
                    </a:lnTo>
                    <a:lnTo>
                      <a:pt x="71955" y="2153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2" name="Freeform: Shape 4301">
                <a:extLst>
                  <a:ext uri="{FF2B5EF4-FFF2-40B4-BE49-F238E27FC236}">
                    <a16:creationId xmlns:a16="http://schemas.microsoft.com/office/drawing/2014/main" id="{5643C21A-FBA4-625B-D8FA-7F14062477F8}"/>
                  </a:ext>
                </a:extLst>
              </p:cNvPr>
              <p:cNvSpPr/>
              <p:nvPr/>
            </p:nvSpPr>
            <p:spPr>
              <a:xfrm>
                <a:off x="1670837" y="3426465"/>
                <a:ext cx="17789" cy="22922"/>
              </a:xfrm>
              <a:custGeom>
                <a:avLst/>
                <a:gdLst>
                  <a:gd name="connsiteX0" fmla="*/ 103103 w 170558"/>
                  <a:gd name="connsiteY0" fmla="*/ 25138 h 219763"/>
                  <a:gd name="connsiteX1" fmla="*/ 98493 w 170558"/>
                  <a:gd name="connsiteY1" fmla="*/ 33755 h 219763"/>
                  <a:gd name="connsiteX2" fmla="*/ 92895 w 170558"/>
                  <a:gd name="connsiteY2" fmla="*/ 74178 h 219763"/>
                  <a:gd name="connsiteX3" fmla="*/ 88394 w 170558"/>
                  <a:gd name="connsiteY3" fmla="*/ 86967 h 219763"/>
                  <a:gd name="connsiteX4" fmla="*/ 88751 w 170558"/>
                  <a:gd name="connsiteY4" fmla="*/ 92044 h 219763"/>
                  <a:gd name="connsiteX5" fmla="*/ 91248 w 170558"/>
                  <a:gd name="connsiteY5" fmla="*/ 89986 h 219763"/>
                  <a:gd name="connsiteX6" fmla="*/ 100798 w 170558"/>
                  <a:gd name="connsiteY6" fmla="*/ 60320 h 219763"/>
                  <a:gd name="connsiteX7" fmla="*/ 112132 w 170558"/>
                  <a:gd name="connsiteY7" fmla="*/ 50742 h 219763"/>
                  <a:gd name="connsiteX8" fmla="*/ 112791 w 170558"/>
                  <a:gd name="connsiteY8" fmla="*/ 44430 h 219763"/>
                  <a:gd name="connsiteX9" fmla="*/ 110733 w 170558"/>
                  <a:gd name="connsiteY9" fmla="*/ 40259 h 219763"/>
                  <a:gd name="connsiteX10" fmla="*/ 112215 w 170558"/>
                  <a:gd name="connsiteY10" fmla="*/ 28815 h 219763"/>
                  <a:gd name="connsiteX11" fmla="*/ 115563 w 170558"/>
                  <a:gd name="connsiteY11" fmla="*/ 45199 h 219763"/>
                  <a:gd name="connsiteX12" fmla="*/ 118966 w 170558"/>
                  <a:gd name="connsiteY12" fmla="*/ 39683 h 219763"/>
                  <a:gd name="connsiteX13" fmla="*/ 121271 w 170558"/>
                  <a:gd name="connsiteY13" fmla="*/ 47037 h 219763"/>
                  <a:gd name="connsiteX14" fmla="*/ 130766 w 170558"/>
                  <a:gd name="connsiteY14" fmla="*/ 46077 h 219763"/>
                  <a:gd name="connsiteX15" fmla="*/ 133098 w 170558"/>
                  <a:gd name="connsiteY15" fmla="*/ 62927 h 219763"/>
                  <a:gd name="connsiteX16" fmla="*/ 139548 w 170558"/>
                  <a:gd name="connsiteY16" fmla="*/ 62323 h 219763"/>
                  <a:gd name="connsiteX17" fmla="*/ 149811 w 170558"/>
                  <a:gd name="connsiteY17" fmla="*/ 95721 h 219763"/>
                  <a:gd name="connsiteX18" fmla="*/ 155711 w 170558"/>
                  <a:gd name="connsiteY18" fmla="*/ 87955 h 219763"/>
                  <a:gd name="connsiteX19" fmla="*/ 165729 w 170558"/>
                  <a:gd name="connsiteY19" fmla="*/ 96215 h 219763"/>
                  <a:gd name="connsiteX20" fmla="*/ 168802 w 170558"/>
                  <a:gd name="connsiteY20" fmla="*/ 107329 h 219763"/>
                  <a:gd name="connsiteX21" fmla="*/ 170559 w 170558"/>
                  <a:gd name="connsiteY21" fmla="*/ 129668 h 219763"/>
                  <a:gd name="connsiteX22" fmla="*/ 168363 w 170558"/>
                  <a:gd name="connsiteY22" fmla="*/ 142731 h 219763"/>
                  <a:gd name="connsiteX23" fmla="*/ 155382 w 170558"/>
                  <a:gd name="connsiteY23" fmla="*/ 166853 h 219763"/>
                  <a:gd name="connsiteX24" fmla="*/ 102500 w 170558"/>
                  <a:gd name="connsiteY24" fmla="*/ 180986 h 219763"/>
                  <a:gd name="connsiteX25" fmla="*/ 97780 w 170558"/>
                  <a:gd name="connsiteY25" fmla="*/ 192238 h 219763"/>
                  <a:gd name="connsiteX26" fmla="*/ 92730 w 170558"/>
                  <a:gd name="connsiteY26" fmla="*/ 181343 h 219763"/>
                  <a:gd name="connsiteX27" fmla="*/ 56094 w 170558"/>
                  <a:gd name="connsiteY27" fmla="*/ 184828 h 219763"/>
                  <a:gd name="connsiteX28" fmla="*/ 16247 w 170558"/>
                  <a:gd name="connsiteY28" fmla="*/ 217678 h 219763"/>
                  <a:gd name="connsiteX29" fmla="*/ 3348 w 170558"/>
                  <a:gd name="connsiteY29" fmla="*/ 219763 h 219763"/>
                  <a:gd name="connsiteX30" fmla="*/ 137 w 170558"/>
                  <a:gd name="connsiteY30" fmla="*/ 212738 h 219763"/>
                  <a:gd name="connsiteX31" fmla="*/ 0 w 170558"/>
                  <a:gd name="connsiteY31" fmla="*/ 203984 h 219763"/>
                  <a:gd name="connsiteX32" fmla="*/ 4693 w 170558"/>
                  <a:gd name="connsiteY32" fmla="*/ 187106 h 219763"/>
                  <a:gd name="connsiteX33" fmla="*/ 16658 w 170558"/>
                  <a:gd name="connsiteY33" fmla="*/ 163450 h 219763"/>
                  <a:gd name="connsiteX34" fmla="*/ 26674 w 170558"/>
                  <a:gd name="connsiteY34" fmla="*/ 111830 h 219763"/>
                  <a:gd name="connsiteX35" fmla="*/ 34551 w 170558"/>
                  <a:gd name="connsiteY35" fmla="*/ 96929 h 219763"/>
                  <a:gd name="connsiteX36" fmla="*/ 40122 w 170558"/>
                  <a:gd name="connsiteY36" fmla="*/ 98850 h 219763"/>
                  <a:gd name="connsiteX37" fmla="*/ 40616 w 170558"/>
                  <a:gd name="connsiteY37" fmla="*/ 77856 h 219763"/>
                  <a:gd name="connsiteX38" fmla="*/ 53102 w 170558"/>
                  <a:gd name="connsiteY38" fmla="*/ 33755 h 219763"/>
                  <a:gd name="connsiteX39" fmla="*/ 61610 w 170558"/>
                  <a:gd name="connsiteY39" fmla="*/ 29254 h 219763"/>
                  <a:gd name="connsiteX40" fmla="*/ 61966 w 170558"/>
                  <a:gd name="connsiteY40" fmla="*/ 15395 h 219763"/>
                  <a:gd name="connsiteX41" fmla="*/ 67318 w 170558"/>
                  <a:gd name="connsiteY41" fmla="*/ 11169 h 219763"/>
                  <a:gd name="connsiteX42" fmla="*/ 72999 w 170558"/>
                  <a:gd name="connsiteY42" fmla="*/ 28760 h 219763"/>
                  <a:gd name="connsiteX43" fmla="*/ 79393 w 170558"/>
                  <a:gd name="connsiteY43" fmla="*/ 31422 h 219763"/>
                  <a:gd name="connsiteX44" fmla="*/ 79475 w 170558"/>
                  <a:gd name="connsiteY44" fmla="*/ 8809 h 219763"/>
                  <a:gd name="connsiteX45" fmla="*/ 84552 w 170558"/>
                  <a:gd name="connsiteY45" fmla="*/ 0 h 219763"/>
                  <a:gd name="connsiteX46" fmla="*/ 97450 w 170558"/>
                  <a:gd name="connsiteY46" fmla="*/ 7382 h 219763"/>
                  <a:gd name="connsiteX47" fmla="*/ 103213 w 170558"/>
                  <a:gd name="connsiteY47" fmla="*/ 19786 h 219763"/>
                  <a:gd name="connsiteX48" fmla="*/ 103213 w 170558"/>
                  <a:gd name="connsiteY48" fmla="*/ 25110 h 219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0558" h="219763">
                    <a:moveTo>
                      <a:pt x="103103" y="25138"/>
                    </a:moveTo>
                    <a:lnTo>
                      <a:pt x="98493" y="33755"/>
                    </a:lnTo>
                    <a:lnTo>
                      <a:pt x="92895" y="74178"/>
                    </a:lnTo>
                    <a:lnTo>
                      <a:pt x="88394" y="86967"/>
                    </a:lnTo>
                    <a:lnTo>
                      <a:pt x="88751" y="92044"/>
                    </a:lnTo>
                    <a:lnTo>
                      <a:pt x="91248" y="89986"/>
                    </a:lnTo>
                    <a:lnTo>
                      <a:pt x="100798" y="60320"/>
                    </a:lnTo>
                    <a:lnTo>
                      <a:pt x="112132" y="50742"/>
                    </a:lnTo>
                    <a:lnTo>
                      <a:pt x="112791" y="44430"/>
                    </a:lnTo>
                    <a:lnTo>
                      <a:pt x="110733" y="40259"/>
                    </a:lnTo>
                    <a:lnTo>
                      <a:pt x="112215" y="28815"/>
                    </a:lnTo>
                    <a:lnTo>
                      <a:pt x="115563" y="45199"/>
                    </a:lnTo>
                    <a:lnTo>
                      <a:pt x="118966" y="39683"/>
                    </a:lnTo>
                    <a:lnTo>
                      <a:pt x="121271" y="47037"/>
                    </a:lnTo>
                    <a:lnTo>
                      <a:pt x="130766" y="46077"/>
                    </a:lnTo>
                    <a:lnTo>
                      <a:pt x="133098" y="62927"/>
                    </a:lnTo>
                    <a:lnTo>
                      <a:pt x="139548" y="62323"/>
                    </a:lnTo>
                    <a:lnTo>
                      <a:pt x="149811" y="95721"/>
                    </a:lnTo>
                    <a:lnTo>
                      <a:pt x="155711" y="87955"/>
                    </a:lnTo>
                    <a:lnTo>
                      <a:pt x="165729" y="96215"/>
                    </a:lnTo>
                    <a:lnTo>
                      <a:pt x="168802" y="107329"/>
                    </a:lnTo>
                    <a:lnTo>
                      <a:pt x="170559" y="129668"/>
                    </a:lnTo>
                    <a:lnTo>
                      <a:pt x="168363" y="142731"/>
                    </a:lnTo>
                    <a:lnTo>
                      <a:pt x="155382" y="166853"/>
                    </a:lnTo>
                    <a:lnTo>
                      <a:pt x="102500" y="180986"/>
                    </a:lnTo>
                    <a:lnTo>
                      <a:pt x="97780" y="192238"/>
                    </a:lnTo>
                    <a:lnTo>
                      <a:pt x="92730" y="181343"/>
                    </a:lnTo>
                    <a:lnTo>
                      <a:pt x="56094" y="184828"/>
                    </a:lnTo>
                    <a:lnTo>
                      <a:pt x="16247" y="217678"/>
                    </a:lnTo>
                    <a:lnTo>
                      <a:pt x="3348" y="219763"/>
                    </a:lnTo>
                    <a:lnTo>
                      <a:pt x="137" y="212738"/>
                    </a:lnTo>
                    <a:lnTo>
                      <a:pt x="0" y="203984"/>
                    </a:lnTo>
                    <a:lnTo>
                      <a:pt x="4693" y="187106"/>
                    </a:lnTo>
                    <a:lnTo>
                      <a:pt x="16658" y="163450"/>
                    </a:lnTo>
                    <a:lnTo>
                      <a:pt x="26674" y="111830"/>
                    </a:lnTo>
                    <a:lnTo>
                      <a:pt x="34551" y="96929"/>
                    </a:lnTo>
                    <a:lnTo>
                      <a:pt x="40122" y="98850"/>
                    </a:lnTo>
                    <a:lnTo>
                      <a:pt x="40616" y="77856"/>
                    </a:lnTo>
                    <a:lnTo>
                      <a:pt x="53102" y="33755"/>
                    </a:lnTo>
                    <a:lnTo>
                      <a:pt x="61610" y="29254"/>
                    </a:lnTo>
                    <a:lnTo>
                      <a:pt x="61966" y="15395"/>
                    </a:lnTo>
                    <a:lnTo>
                      <a:pt x="67318" y="11169"/>
                    </a:lnTo>
                    <a:lnTo>
                      <a:pt x="72999" y="28760"/>
                    </a:lnTo>
                    <a:lnTo>
                      <a:pt x="79393" y="31422"/>
                    </a:lnTo>
                    <a:lnTo>
                      <a:pt x="79475" y="8809"/>
                    </a:lnTo>
                    <a:lnTo>
                      <a:pt x="84552" y="0"/>
                    </a:lnTo>
                    <a:lnTo>
                      <a:pt x="97450" y="7382"/>
                    </a:lnTo>
                    <a:lnTo>
                      <a:pt x="103213" y="19786"/>
                    </a:lnTo>
                    <a:lnTo>
                      <a:pt x="103213" y="251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3" name="Freeform: Shape 4302">
                <a:extLst>
                  <a:ext uri="{FF2B5EF4-FFF2-40B4-BE49-F238E27FC236}">
                    <a16:creationId xmlns:a16="http://schemas.microsoft.com/office/drawing/2014/main" id="{8E33CEB2-CD26-79D4-099D-927D9F31A725}"/>
                  </a:ext>
                </a:extLst>
              </p:cNvPr>
              <p:cNvSpPr/>
              <p:nvPr/>
            </p:nvSpPr>
            <p:spPr>
              <a:xfrm>
                <a:off x="1509038" y="3398949"/>
                <a:ext cx="14423" cy="16161"/>
              </a:xfrm>
              <a:custGeom>
                <a:avLst/>
                <a:gdLst>
                  <a:gd name="connsiteX0" fmla="*/ 65973 w 138285"/>
                  <a:gd name="connsiteY0" fmla="*/ 29035 h 154943"/>
                  <a:gd name="connsiteX1" fmla="*/ 96078 w 138285"/>
                  <a:gd name="connsiteY1" fmla="*/ 0 h 154943"/>
                  <a:gd name="connsiteX2" fmla="*/ 106863 w 138285"/>
                  <a:gd name="connsiteY2" fmla="*/ 7849 h 154943"/>
                  <a:gd name="connsiteX3" fmla="*/ 117977 w 138285"/>
                  <a:gd name="connsiteY3" fmla="*/ 247 h 154943"/>
                  <a:gd name="connsiteX4" fmla="*/ 119295 w 138285"/>
                  <a:gd name="connsiteY4" fmla="*/ 12212 h 154943"/>
                  <a:gd name="connsiteX5" fmla="*/ 113587 w 138285"/>
                  <a:gd name="connsiteY5" fmla="*/ 25165 h 154943"/>
                  <a:gd name="connsiteX6" fmla="*/ 113807 w 138285"/>
                  <a:gd name="connsiteY6" fmla="*/ 31559 h 154943"/>
                  <a:gd name="connsiteX7" fmla="*/ 131205 w 138285"/>
                  <a:gd name="connsiteY7" fmla="*/ 27004 h 154943"/>
                  <a:gd name="connsiteX8" fmla="*/ 138286 w 138285"/>
                  <a:gd name="connsiteY8" fmla="*/ 38859 h 154943"/>
                  <a:gd name="connsiteX9" fmla="*/ 138286 w 138285"/>
                  <a:gd name="connsiteY9" fmla="*/ 45199 h 154943"/>
                  <a:gd name="connsiteX10" fmla="*/ 119240 w 138285"/>
                  <a:gd name="connsiteY10" fmla="*/ 72175 h 154943"/>
                  <a:gd name="connsiteX11" fmla="*/ 88339 w 138285"/>
                  <a:gd name="connsiteY11" fmla="*/ 82055 h 154943"/>
                  <a:gd name="connsiteX12" fmla="*/ 86007 w 138285"/>
                  <a:gd name="connsiteY12" fmla="*/ 98932 h 154943"/>
                  <a:gd name="connsiteX13" fmla="*/ 82027 w 138285"/>
                  <a:gd name="connsiteY13" fmla="*/ 104475 h 154943"/>
                  <a:gd name="connsiteX14" fmla="*/ 59222 w 138285"/>
                  <a:gd name="connsiteY14" fmla="*/ 101594 h 154943"/>
                  <a:gd name="connsiteX15" fmla="*/ 54913 w 138285"/>
                  <a:gd name="connsiteY15" fmla="*/ 110870 h 154943"/>
                  <a:gd name="connsiteX16" fmla="*/ 55051 w 138285"/>
                  <a:gd name="connsiteY16" fmla="*/ 116935 h 154943"/>
                  <a:gd name="connsiteX17" fmla="*/ 60787 w 138285"/>
                  <a:gd name="connsiteY17" fmla="*/ 120777 h 154943"/>
                  <a:gd name="connsiteX18" fmla="*/ 61583 w 138285"/>
                  <a:gd name="connsiteY18" fmla="*/ 135541 h 154943"/>
                  <a:gd name="connsiteX19" fmla="*/ 49974 w 138285"/>
                  <a:gd name="connsiteY19" fmla="*/ 136584 h 154943"/>
                  <a:gd name="connsiteX20" fmla="*/ 45089 w 138285"/>
                  <a:gd name="connsiteY20" fmla="*/ 150113 h 154943"/>
                  <a:gd name="connsiteX21" fmla="*/ 27773 w 138285"/>
                  <a:gd name="connsiteY21" fmla="*/ 154943 h 154943"/>
                  <a:gd name="connsiteX22" fmla="*/ 27032 w 138285"/>
                  <a:gd name="connsiteY22" fmla="*/ 148576 h 154943"/>
                  <a:gd name="connsiteX23" fmla="*/ 29831 w 138285"/>
                  <a:gd name="connsiteY23" fmla="*/ 136282 h 154943"/>
                  <a:gd name="connsiteX24" fmla="*/ 29501 w 138285"/>
                  <a:gd name="connsiteY24" fmla="*/ 130711 h 154943"/>
                  <a:gd name="connsiteX25" fmla="*/ 9605 w 138285"/>
                  <a:gd name="connsiteY25" fmla="*/ 136419 h 154943"/>
                  <a:gd name="connsiteX26" fmla="*/ 357 w 138285"/>
                  <a:gd name="connsiteY26" fmla="*/ 118526 h 154943"/>
                  <a:gd name="connsiteX27" fmla="*/ 0 w 138285"/>
                  <a:gd name="connsiteY27" fmla="*/ 115315 h 154943"/>
                  <a:gd name="connsiteX28" fmla="*/ 467 w 138285"/>
                  <a:gd name="connsiteY28" fmla="*/ 112489 h 154943"/>
                  <a:gd name="connsiteX29" fmla="*/ 10786 w 138285"/>
                  <a:gd name="connsiteY29" fmla="*/ 102609 h 154943"/>
                  <a:gd name="connsiteX30" fmla="*/ 16823 w 138285"/>
                  <a:gd name="connsiteY30" fmla="*/ 111912 h 154943"/>
                  <a:gd name="connsiteX31" fmla="*/ 33344 w 138285"/>
                  <a:gd name="connsiteY31" fmla="*/ 113587 h 154943"/>
                  <a:gd name="connsiteX32" fmla="*/ 34469 w 138285"/>
                  <a:gd name="connsiteY32" fmla="*/ 109250 h 154943"/>
                  <a:gd name="connsiteX33" fmla="*/ 32328 w 138285"/>
                  <a:gd name="connsiteY33" fmla="*/ 99097 h 154943"/>
                  <a:gd name="connsiteX34" fmla="*/ 34112 w 138285"/>
                  <a:gd name="connsiteY34" fmla="*/ 93910 h 154943"/>
                  <a:gd name="connsiteX35" fmla="*/ 31724 w 138285"/>
                  <a:gd name="connsiteY35" fmla="*/ 84305 h 154943"/>
                  <a:gd name="connsiteX36" fmla="*/ 32767 w 138285"/>
                  <a:gd name="connsiteY36" fmla="*/ 75221 h 154943"/>
                  <a:gd name="connsiteX37" fmla="*/ 67044 w 138285"/>
                  <a:gd name="connsiteY37" fmla="*/ 75880 h 154943"/>
                  <a:gd name="connsiteX38" fmla="*/ 75386 w 138285"/>
                  <a:gd name="connsiteY38" fmla="*/ 52883 h 154943"/>
                  <a:gd name="connsiteX39" fmla="*/ 75222 w 138285"/>
                  <a:gd name="connsiteY39" fmla="*/ 46681 h 154943"/>
                  <a:gd name="connsiteX40" fmla="*/ 66385 w 138285"/>
                  <a:gd name="connsiteY40" fmla="*/ 38283 h 154943"/>
                  <a:gd name="connsiteX41" fmla="*/ 66000 w 138285"/>
                  <a:gd name="connsiteY41" fmla="*/ 29062 h 154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8285" h="154943">
                    <a:moveTo>
                      <a:pt x="65973" y="29035"/>
                    </a:moveTo>
                    <a:lnTo>
                      <a:pt x="96078" y="0"/>
                    </a:lnTo>
                    <a:lnTo>
                      <a:pt x="106863" y="7849"/>
                    </a:lnTo>
                    <a:lnTo>
                      <a:pt x="117977" y="247"/>
                    </a:lnTo>
                    <a:lnTo>
                      <a:pt x="119295" y="12212"/>
                    </a:lnTo>
                    <a:lnTo>
                      <a:pt x="113587" y="25165"/>
                    </a:lnTo>
                    <a:lnTo>
                      <a:pt x="113807" y="31559"/>
                    </a:lnTo>
                    <a:lnTo>
                      <a:pt x="131205" y="27004"/>
                    </a:lnTo>
                    <a:lnTo>
                      <a:pt x="138286" y="38859"/>
                    </a:lnTo>
                    <a:lnTo>
                      <a:pt x="138286" y="45199"/>
                    </a:lnTo>
                    <a:cubicBezTo>
                      <a:pt x="138286" y="45199"/>
                      <a:pt x="119240" y="72175"/>
                      <a:pt x="119240" y="72175"/>
                    </a:cubicBezTo>
                    <a:lnTo>
                      <a:pt x="88339" y="82055"/>
                    </a:lnTo>
                    <a:lnTo>
                      <a:pt x="86007" y="98932"/>
                    </a:lnTo>
                    <a:lnTo>
                      <a:pt x="82027" y="104475"/>
                    </a:lnTo>
                    <a:lnTo>
                      <a:pt x="59222" y="101594"/>
                    </a:lnTo>
                    <a:lnTo>
                      <a:pt x="54913" y="110870"/>
                    </a:lnTo>
                    <a:lnTo>
                      <a:pt x="55051" y="116935"/>
                    </a:lnTo>
                    <a:lnTo>
                      <a:pt x="60787" y="120777"/>
                    </a:lnTo>
                    <a:lnTo>
                      <a:pt x="61583" y="135541"/>
                    </a:lnTo>
                    <a:lnTo>
                      <a:pt x="49974" y="136584"/>
                    </a:lnTo>
                    <a:lnTo>
                      <a:pt x="45089" y="150113"/>
                    </a:lnTo>
                    <a:lnTo>
                      <a:pt x="27773" y="154943"/>
                    </a:lnTo>
                    <a:lnTo>
                      <a:pt x="27032" y="148576"/>
                    </a:lnTo>
                    <a:lnTo>
                      <a:pt x="29831" y="136282"/>
                    </a:lnTo>
                    <a:lnTo>
                      <a:pt x="29501" y="130711"/>
                    </a:lnTo>
                    <a:lnTo>
                      <a:pt x="9605" y="136419"/>
                    </a:lnTo>
                    <a:lnTo>
                      <a:pt x="357" y="118526"/>
                    </a:lnTo>
                    <a:lnTo>
                      <a:pt x="0" y="115315"/>
                    </a:lnTo>
                    <a:lnTo>
                      <a:pt x="467" y="112489"/>
                    </a:lnTo>
                    <a:lnTo>
                      <a:pt x="10786" y="102609"/>
                    </a:lnTo>
                    <a:lnTo>
                      <a:pt x="16823" y="111912"/>
                    </a:lnTo>
                    <a:lnTo>
                      <a:pt x="33344" y="113587"/>
                    </a:lnTo>
                    <a:lnTo>
                      <a:pt x="34469" y="109250"/>
                    </a:lnTo>
                    <a:lnTo>
                      <a:pt x="32328" y="99097"/>
                    </a:lnTo>
                    <a:lnTo>
                      <a:pt x="34112" y="93910"/>
                    </a:lnTo>
                    <a:lnTo>
                      <a:pt x="31724" y="84305"/>
                    </a:lnTo>
                    <a:lnTo>
                      <a:pt x="32767" y="75221"/>
                    </a:lnTo>
                    <a:lnTo>
                      <a:pt x="67044" y="75880"/>
                    </a:lnTo>
                    <a:lnTo>
                      <a:pt x="75386" y="52883"/>
                    </a:lnTo>
                    <a:lnTo>
                      <a:pt x="75222" y="46681"/>
                    </a:lnTo>
                    <a:lnTo>
                      <a:pt x="66385" y="38283"/>
                    </a:lnTo>
                    <a:lnTo>
                      <a:pt x="66000" y="290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6" name="Freeform: Shape 4305">
                <a:extLst>
                  <a:ext uri="{FF2B5EF4-FFF2-40B4-BE49-F238E27FC236}">
                    <a16:creationId xmlns:a16="http://schemas.microsoft.com/office/drawing/2014/main" id="{2D6DE744-1366-2988-3636-307BCF7206F3}"/>
                  </a:ext>
                </a:extLst>
              </p:cNvPr>
              <p:cNvSpPr/>
              <p:nvPr/>
            </p:nvSpPr>
            <p:spPr>
              <a:xfrm>
                <a:off x="1531298" y="3395105"/>
                <a:ext cx="14910" cy="10187"/>
              </a:xfrm>
              <a:custGeom>
                <a:avLst/>
                <a:gdLst>
                  <a:gd name="connsiteX0" fmla="*/ 123357 w 142950"/>
                  <a:gd name="connsiteY0" fmla="*/ 35154 h 97669"/>
                  <a:gd name="connsiteX1" fmla="*/ 122533 w 142950"/>
                  <a:gd name="connsiteY1" fmla="*/ 48656 h 97669"/>
                  <a:gd name="connsiteX2" fmla="*/ 139987 w 142950"/>
                  <a:gd name="connsiteY2" fmla="*/ 48574 h 97669"/>
                  <a:gd name="connsiteX3" fmla="*/ 142951 w 142950"/>
                  <a:gd name="connsiteY3" fmla="*/ 56752 h 97669"/>
                  <a:gd name="connsiteX4" fmla="*/ 142786 w 142950"/>
                  <a:gd name="connsiteY4" fmla="*/ 63064 h 97669"/>
                  <a:gd name="connsiteX5" fmla="*/ 127775 w 142950"/>
                  <a:gd name="connsiteY5" fmla="*/ 75304 h 97669"/>
                  <a:gd name="connsiteX6" fmla="*/ 109635 w 142950"/>
                  <a:gd name="connsiteY6" fmla="*/ 58975 h 97669"/>
                  <a:gd name="connsiteX7" fmla="*/ 105464 w 142950"/>
                  <a:gd name="connsiteY7" fmla="*/ 75221 h 97669"/>
                  <a:gd name="connsiteX8" fmla="*/ 90096 w 142950"/>
                  <a:gd name="connsiteY8" fmla="*/ 85595 h 97669"/>
                  <a:gd name="connsiteX9" fmla="*/ 56999 w 142950"/>
                  <a:gd name="connsiteY9" fmla="*/ 97670 h 97669"/>
                  <a:gd name="connsiteX10" fmla="*/ 46297 w 142950"/>
                  <a:gd name="connsiteY10" fmla="*/ 93114 h 97669"/>
                  <a:gd name="connsiteX11" fmla="*/ 48382 w 142950"/>
                  <a:gd name="connsiteY11" fmla="*/ 75331 h 97669"/>
                  <a:gd name="connsiteX12" fmla="*/ 46983 w 142950"/>
                  <a:gd name="connsiteY12" fmla="*/ 70885 h 97669"/>
                  <a:gd name="connsiteX13" fmla="*/ 24535 w 142950"/>
                  <a:gd name="connsiteY13" fmla="*/ 77801 h 97669"/>
                  <a:gd name="connsiteX14" fmla="*/ 7273 w 142950"/>
                  <a:gd name="connsiteY14" fmla="*/ 66577 h 97669"/>
                  <a:gd name="connsiteX15" fmla="*/ 823 w 142950"/>
                  <a:gd name="connsiteY15" fmla="*/ 63421 h 97669"/>
                  <a:gd name="connsiteX16" fmla="*/ 0 w 142950"/>
                  <a:gd name="connsiteY16" fmla="*/ 59057 h 97669"/>
                  <a:gd name="connsiteX17" fmla="*/ 1674 w 142950"/>
                  <a:gd name="connsiteY17" fmla="*/ 53541 h 97669"/>
                  <a:gd name="connsiteX18" fmla="*/ 7273 w 142950"/>
                  <a:gd name="connsiteY18" fmla="*/ 50385 h 97669"/>
                  <a:gd name="connsiteX19" fmla="*/ 31313 w 142950"/>
                  <a:gd name="connsiteY19" fmla="*/ 48492 h 97669"/>
                  <a:gd name="connsiteX20" fmla="*/ 57274 w 142950"/>
                  <a:gd name="connsiteY20" fmla="*/ 70281 h 97669"/>
                  <a:gd name="connsiteX21" fmla="*/ 62433 w 142950"/>
                  <a:gd name="connsiteY21" fmla="*/ 68031 h 97669"/>
                  <a:gd name="connsiteX22" fmla="*/ 62433 w 142950"/>
                  <a:gd name="connsiteY22" fmla="*/ 61472 h 97669"/>
                  <a:gd name="connsiteX23" fmla="*/ 37350 w 142950"/>
                  <a:gd name="connsiteY23" fmla="*/ 35978 h 97669"/>
                  <a:gd name="connsiteX24" fmla="*/ 14737 w 142950"/>
                  <a:gd name="connsiteY24" fmla="*/ 24369 h 97669"/>
                  <a:gd name="connsiteX25" fmla="*/ 14627 w 142950"/>
                  <a:gd name="connsiteY25" fmla="*/ 17756 h 97669"/>
                  <a:gd name="connsiteX26" fmla="*/ 20418 w 142950"/>
                  <a:gd name="connsiteY26" fmla="*/ 5571 h 97669"/>
                  <a:gd name="connsiteX27" fmla="*/ 41960 w 142950"/>
                  <a:gd name="connsiteY27" fmla="*/ 23875 h 97669"/>
                  <a:gd name="connsiteX28" fmla="*/ 62735 w 142950"/>
                  <a:gd name="connsiteY28" fmla="*/ 22476 h 97669"/>
                  <a:gd name="connsiteX29" fmla="*/ 90041 w 142950"/>
                  <a:gd name="connsiteY29" fmla="*/ 52416 h 97669"/>
                  <a:gd name="connsiteX30" fmla="*/ 94212 w 142950"/>
                  <a:gd name="connsiteY30" fmla="*/ 52416 h 97669"/>
                  <a:gd name="connsiteX31" fmla="*/ 95255 w 142950"/>
                  <a:gd name="connsiteY31" fmla="*/ 45665 h 97669"/>
                  <a:gd name="connsiteX32" fmla="*/ 90041 w 142950"/>
                  <a:gd name="connsiteY32" fmla="*/ 37652 h 97669"/>
                  <a:gd name="connsiteX33" fmla="*/ 73987 w 142950"/>
                  <a:gd name="connsiteY33" fmla="*/ 17262 h 97669"/>
                  <a:gd name="connsiteX34" fmla="*/ 74041 w 142950"/>
                  <a:gd name="connsiteY34" fmla="*/ 10538 h 97669"/>
                  <a:gd name="connsiteX35" fmla="*/ 78130 w 142950"/>
                  <a:gd name="connsiteY35" fmla="*/ 8151 h 97669"/>
                  <a:gd name="connsiteX36" fmla="*/ 119268 w 142950"/>
                  <a:gd name="connsiteY36" fmla="*/ 37268 h 97669"/>
                  <a:gd name="connsiteX37" fmla="*/ 119432 w 142950"/>
                  <a:gd name="connsiteY37" fmla="*/ 30462 h 97669"/>
                  <a:gd name="connsiteX38" fmla="*/ 116469 w 142950"/>
                  <a:gd name="connsiteY38" fmla="*/ 23162 h 97669"/>
                  <a:gd name="connsiteX39" fmla="*/ 116660 w 142950"/>
                  <a:gd name="connsiteY39" fmla="*/ 16603 h 97669"/>
                  <a:gd name="connsiteX40" fmla="*/ 129422 w 142950"/>
                  <a:gd name="connsiteY40" fmla="*/ 13639 h 97669"/>
                  <a:gd name="connsiteX41" fmla="*/ 128598 w 142950"/>
                  <a:gd name="connsiteY41" fmla="*/ 1564 h 97669"/>
                  <a:gd name="connsiteX42" fmla="*/ 129778 w 142950"/>
                  <a:gd name="connsiteY42" fmla="*/ 0 h 97669"/>
                  <a:gd name="connsiteX43" fmla="*/ 138066 w 142950"/>
                  <a:gd name="connsiteY43" fmla="*/ 10785 h 97669"/>
                  <a:gd name="connsiteX44" fmla="*/ 133620 w 142950"/>
                  <a:gd name="connsiteY44" fmla="*/ 34578 h 97669"/>
                  <a:gd name="connsiteX45" fmla="*/ 123329 w 142950"/>
                  <a:gd name="connsiteY45" fmla="*/ 35100 h 97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950" h="97669">
                    <a:moveTo>
                      <a:pt x="123357" y="35154"/>
                    </a:moveTo>
                    <a:lnTo>
                      <a:pt x="122533" y="48656"/>
                    </a:lnTo>
                    <a:lnTo>
                      <a:pt x="139987" y="48574"/>
                    </a:lnTo>
                    <a:lnTo>
                      <a:pt x="142951" y="56752"/>
                    </a:lnTo>
                    <a:lnTo>
                      <a:pt x="142786" y="63064"/>
                    </a:lnTo>
                    <a:lnTo>
                      <a:pt x="127775" y="75304"/>
                    </a:lnTo>
                    <a:lnTo>
                      <a:pt x="109635" y="58975"/>
                    </a:lnTo>
                    <a:lnTo>
                      <a:pt x="105464" y="75221"/>
                    </a:lnTo>
                    <a:lnTo>
                      <a:pt x="90096" y="85595"/>
                    </a:lnTo>
                    <a:lnTo>
                      <a:pt x="56999" y="97670"/>
                    </a:lnTo>
                    <a:lnTo>
                      <a:pt x="46297" y="93114"/>
                    </a:lnTo>
                    <a:lnTo>
                      <a:pt x="48382" y="75331"/>
                    </a:lnTo>
                    <a:lnTo>
                      <a:pt x="46983" y="70885"/>
                    </a:lnTo>
                    <a:lnTo>
                      <a:pt x="24535" y="77801"/>
                    </a:lnTo>
                    <a:lnTo>
                      <a:pt x="7273" y="66577"/>
                    </a:lnTo>
                    <a:lnTo>
                      <a:pt x="823" y="63421"/>
                    </a:lnTo>
                    <a:lnTo>
                      <a:pt x="0" y="59057"/>
                    </a:lnTo>
                    <a:lnTo>
                      <a:pt x="1674" y="53541"/>
                    </a:lnTo>
                    <a:lnTo>
                      <a:pt x="7273" y="50385"/>
                    </a:lnTo>
                    <a:lnTo>
                      <a:pt x="31313" y="48492"/>
                    </a:lnTo>
                    <a:lnTo>
                      <a:pt x="57274" y="70281"/>
                    </a:lnTo>
                    <a:lnTo>
                      <a:pt x="62433" y="68031"/>
                    </a:lnTo>
                    <a:lnTo>
                      <a:pt x="62433" y="61472"/>
                    </a:lnTo>
                    <a:cubicBezTo>
                      <a:pt x="62433" y="61472"/>
                      <a:pt x="37350" y="35978"/>
                      <a:pt x="37350" y="35978"/>
                    </a:cubicBezTo>
                    <a:lnTo>
                      <a:pt x="14737" y="24369"/>
                    </a:lnTo>
                    <a:lnTo>
                      <a:pt x="14627" y="17756"/>
                    </a:lnTo>
                    <a:lnTo>
                      <a:pt x="20418" y="5571"/>
                    </a:lnTo>
                    <a:lnTo>
                      <a:pt x="41960" y="23875"/>
                    </a:lnTo>
                    <a:lnTo>
                      <a:pt x="62735" y="22476"/>
                    </a:lnTo>
                    <a:lnTo>
                      <a:pt x="90041" y="52416"/>
                    </a:lnTo>
                    <a:lnTo>
                      <a:pt x="94212" y="52416"/>
                    </a:lnTo>
                    <a:cubicBezTo>
                      <a:pt x="94212" y="52416"/>
                      <a:pt x="95255" y="45665"/>
                      <a:pt x="95255" y="45665"/>
                    </a:cubicBezTo>
                    <a:lnTo>
                      <a:pt x="90041" y="37652"/>
                    </a:lnTo>
                    <a:lnTo>
                      <a:pt x="73987" y="17262"/>
                    </a:lnTo>
                    <a:lnTo>
                      <a:pt x="74041" y="10538"/>
                    </a:lnTo>
                    <a:lnTo>
                      <a:pt x="78130" y="8151"/>
                    </a:lnTo>
                    <a:lnTo>
                      <a:pt x="119268" y="37268"/>
                    </a:lnTo>
                    <a:lnTo>
                      <a:pt x="119432" y="30462"/>
                    </a:lnTo>
                    <a:lnTo>
                      <a:pt x="116469" y="23162"/>
                    </a:lnTo>
                    <a:lnTo>
                      <a:pt x="116660" y="16603"/>
                    </a:lnTo>
                    <a:lnTo>
                      <a:pt x="129422" y="13639"/>
                    </a:lnTo>
                    <a:lnTo>
                      <a:pt x="128598" y="1564"/>
                    </a:lnTo>
                    <a:lnTo>
                      <a:pt x="129778" y="0"/>
                    </a:lnTo>
                    <a:lnTo>
                      <a:pt x="138066" y="10785"/>
                    </a:lnTo>
                    <a:lnTo>
                      <a:pt x="133620" y="34578"/>
                    </a:lnTo>
                    <a:lnTo>
                      <a:pt x="123329" y="351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7" name="Freeform: Shape 4306">
                <a:extLst>
                  <a:ext uri="{FF2B5EF4-FFF2-40B4-BE49-F238E27FC236}">
                    <a16:creationId xmlns:a16="http://schemas.microsoft.com/office/drawing/2014/main" id="{B4B69610-0FA2-42F2-C339-579C38005655}"/>
                  </a:ext>
                </a:extLst>
              </p:cNvPr>
              <p:cNvSpPr/>
              <p:nvPr/>
            </p:nvSpPr>
            <p:spPr>
              <a:xfrm>
                <a:off x="1513308" y="3543869"/>
                <a:ext cx="6323" cy="6975"/>
              </a:xfrm>
              <a:custGeom>
                <a:avLst/>
                <a:gdLst>
                  <a:gd name="connsiteX0" fmla="*/ 6778 w 60621"/>
                  <a:gd name="connsiteY0" fmla="*/ 11663 h 66878"/>
                  <a:gd name="connsiteX1" fmla="*/ 17453 w 60621"/>
                  <a:gd name="connsiteY1" fmla="*/ 1647 h 66878"/>
                  <a:gd name="connsiteX2" fmla="*/ 30379 w 60621"/>
                  <a:gd name="connsiteY2" fmla="*/ 0 h 66878"/>
                  <a:gd name="connsiteX3" fmla="*/ 51153 w 60621"/>
                  <a:gd name="connsiteY3" fmla="*/ 15341 h 66878"/>
                  <a:gd name="connsiteX4" fmla="*/ 57987 w 60621"/>
                  <a:gd name="connsiteY4" fmla="*/ 23162 h 66878"/>
                  <a:gd name="connsiteX5" fmla="*/ 60621 w 60621"/>
                  <a:gd name="connsiteY5" fmla="*/ 30270 h 66878"/>
                  <a:gd name="connsiteX6" fmla="*/ 59990 w 60621"/>
                  <a:gd name="connsiteY6" fmla="*/ 35401 h 66878"/>
                  <a:gd name="connsiteX7" fmla="*/ 57740 w 60621"/>
                  <a:gd name="connsiteY7" fmla="*/ 39216 h 66878"/>
                  <a:gd name="connsiteX8" fmla="*/ 57438 w 60621"/>
                  <a:gd name="connsiteY8" fmla="*/ 33014 h 66878"/>
                  <a:gd name="connsiteX9" fmla="*/ 55187 w 60621"/>
                  <a:gd name="connsiteY9" fmla="*/ 32300 h 66878"/>
                  <a:gd name="connsiteX10" fmla="*/ 37569 w 60621"/>
                  <a:gd name="connsiteY10" fmla="*/ 56999 h 66878"/>
                  <a:gd name="connsiteX11" fmla="*/ 17398 w 60621"/>
                  <a:gd name="connsiteY11" fmla="*/ 63970 h 66878"/>
                  <a:gd name="connsiteX12" fmla="*/ 17398 w 60621"/>
                  <a:gd name="connsiteY12" fmla="*/ 66879 h 66878"/>
                  <a:gd name="connsiteX13" fmla="*/ 10181 w 60621"/>
                  <a:gd name="connsiteY13" fmla="*/ 63860 h 66878"/>
                  <a:gd name="connsiteX14" fmla="*/ 219 w 60621"/>
                  <a:gd name="connsiteY14" fmla="*/ 51620 h 66878"/>
                  <a:gd name="connsiteX15" fmla="*/ 0 w 60621"/>
                  <a:gd name="connsiteY15" fmla="*/ 36225 h 66878"/>
                  <a:gd name="connsiteX16" fmla="*/ 2332 w 60621"/>
                  <a:gd name="connsiteY16" fmla="*/ 20884 h 66878"/>
                  <a:gd name="connsiteX17" fmla="*/ 6696 w 60621"/>
                  <a:gd name="connsiteY17" fmla="*/ 11663 h 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621" h="66878">
                    <a:moveTo>
                      <a:pt x="6778" y="11663"/>
                    </a:moveTo>
                    <a:lnTo>
                      <a:pt x="17453" y="1647"/>
                    </a:lnTo>
                    <a:lnTo>
                      <a:pt x="30379" y="0"/>
                    </a:lnTo>
                    <a:lnTo>
                      <a:pt x="51153" y="15341"/>
                    </a:lnTo>
                    <a:lnTo>
                      <a:pt x="57987" y="23162"/>
                    </a:lnTo>
                    <a:lnTo>
                      <a:pt x="60621" y="30270"/>
                    </a:lnTo>
                    <a:lnTo>
                      <a:pt x="59990" y="35401"/>
                    </a:lnTo>
                    <a:lnTo>
                      <a:pt x="57740" y="39216"/>
                    </a:lnTo>
                    <a:lnTo>
                      <a:pt x="57438" y="33014"/>
                    </a:lnTo>
                    <a:lnTo>
                      <a:pt x="55187" y="32300"/>
                    </a:lnTo>
                    <a:lnTo>
                      <a:pt x="37569" y="56999"/>
                    </a:lnTo>
                    <a:lnTo>
                      <a:pt x="17398" y="63970"/>
                    </a:lnTo>
                    <a:lnTo>
                      <a:pt x="17398" y="66879"/>
                    </a:lnTo>
                    <a:lnTo>
                      <a:pt x="10181" y="63860"/>
                    </a:lnTo>
                    <a:lnTo>
                      <a:pt x="219" y="51620"/>
                    </a:lnTo>
                    <a:lnTo>
                      <a:pt x="0" y="36225"/>
                    </a:lnTo>
                    <a:lnTo>
                      <a:pt x="2332" y="20884"/>
                    </a:lnTo>
                    <a:lnTo>
                      <a:pt x="6696" y="116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8" name="Freeform: Shape 4307">
                <a:extLst>
                  <a:ext uri="{FF2B5EF4-FFF2-40B4-BE49-F238E27FC236}">
                    <a16:creationId xmlns:a16="http://schemas.microsoft.com/office/drawing/2014/main" id="{6FF62761-51EA-FF90-F608-87D1E3CBD176}"/>
                  </a:ext>
                </a:extLst>
              </p:cNvPr>
              <p:cNvSpPr/>
              <p:nvPr/>
            </p:nvSpPr>
            <p:spPr>
              <a:xfrm>
                <a:off x="1557391" y="3393871"/>
                <a:ext cx="8581" cy="10751"/>
              </a:xfrm>
              <a:custGeom>
                <a:avLst/>
                <a:gdLst>
                  <a:gd name="connsiteX0" fmla="*/ 79612 w 82273"/>
                  <a:gd name="connsiteY0" fmla="*/ 44101 h 103075"/>
                  <a:gd name="connsiteX1" fmla="*/ 81313 w 82273"/>
                  <a:gd name="connsiteY1" fmla="*/ 56587 h 103075"/>
                  <a:gd name="connsiteX2" fmla="*/ 70364 w 82273"/>
                  <a:gd name="connsiteY2" fmla="*/ 77225 h 103075"/>
                  <a:gd name="connsiteX3" fmla="*/ 53788 w 82273"/>
                  <a:gd name="connsiteY3" fmla="*/ 90864 h 103075"/>
                  <a:gd name="connsiteX4" fmla="*/ 45610 w 82273"/>
                  <a:gd name="connsiteY4" fmla="*/ 91522 h 103075"/>
                  <a:gd name="connsiteX5" fmla="*/ 31532 w 82273"/>
                  <a:gd name="connsiteY5" fmla="*/ 97532 h 103075"/>
                  <a:gd name="connsiteX6" fmla="*/ 25028 w 82273"/>
                  <a:gd name="connsiteY6" fmla="*/ 97807 h 103075"/>
                  <a:gd name="connsiteX7" fmla="*/ 16905 w 82273"/>
                  <a:gd name="connsiteY7" fmla="*/ 103076 h 103075"/>
                  <a:gd name="connsiteX8" fmla="*/ 13173 w 82273"/>
                  <a:gd name="connsiteY8" fmla="*/ 102582 h 103075"/>
                  <a:gd name="connsiteX9" fmla="*/ 13173 w 82273"/>
                  <a:gd name="connsiteY9" fmla="*/ 98603 h 103075"/>
                  <a:gd name="connsiteX10" fmla="*/ 5434 w 82273"/>
                  <a:gd name="connsiteY10" fmla="*/ 84963 h 103075"/>
                  <a:gd name="connsiteX11" fmla="*/ 1125 w 82273"/>
                  <a:gd name="connsiteY11" fmla="*/ 81286 h 103075"/>
                  <a:gd name="connsiteX12" fmla="*/ 0 w 82273"/>
                  <a:gd name="connsiteY12" fmla="*/ 75715 h 103075"/>
                  <a:gd name="connsiteX13" fmla="*/ 1838 w 82273"/>
                  <a:gd name="connsiteY13" fmla="*/ 68278 h 103075"/>
                  <a:gd name="connsiteX14" fmla="*/ 15094 w 82273"/>
                  <a:gd name="connsiteY14" fmla="*/ 53596 h 103075"/>
                  <a:gd name="connsiteX15" fmla="*/ 17289 w 82273"/>
                  <a:gd name="connsiteY15" fmla="*/ 48547 h 103075"/>
                  <a:gd name="connsiteX16" fmla="*/ 23327 w 82273"/>
                  <a:gd name="connsiteY16" fmla="*/ 44430 h 103075"/>
                  <a:gd name="connsiteX17" fmla="*/ 40561 w 82273"/>
                  <a:gd name="connsiteY17" fmla="*/ 44732 h 103075"/>
                  <a:gd name="connsiteX18" fmla="*/ 45473 w 82273"/>
                  <a:gd name="connsiteY18" fmla="*/ 40890 h 103075"/>
                  <a:gd name="connsiteX19" fmla="*/ 47064 w 82273"/>
                  <a:gd name="connsiteY19" fmla="*/ 34962 h 103075"/>
                  <a:gd name="connsiteX20" fmla="*/ 45144 w 82273"/>
                  <a:gd name="connsiteY20" fmla="*/ 23628 h 103075"/>
                  <a:gd name="connsiteX21" fmla="*/ 48163 w 82273"/>
                  <a:gd name="connsiteY21" fmla="*/ 9084 h 103075"/>
                  <a:gd name="connsiteX22" fmla="*/ 52004 w 82273"/>
                  <a:gd name="connsiteY22" fmla="*/ 4062 h 103075"/>
                  <a:gd name="connsiteX23" fmla="*/ 58508 w 82273"/>
                  <a:gd name="connsiteY23" fmla="*/ 0 h 103075"/>
                  <a:gd name="connsiteX24" fmla="*/ 71187 w 82273"/>
                  <a:gd name="connsiteY24" fmla="*/ 3677 h 103075"/>
                  <a:gd name="connsiteX25" fmla="*/ 77938 w 82273"/>
                  <a:gd name="connsiteY25" fmla="*/ 12706 h 103075"/>
                  <a:gd name="connsiteX26" fmla="*/ 80682 w 82273"/>
                  <a:gd name="connsiteY26" fmla="*/ 26373 h 103075"/>
                  <a:gd name="connsiteX27" fmla="*/ 82274 w 82273"/>
                  <a:gd name="connsiteY27" fmla="*/ 28980 h 103075"/>
                  <a:gd name="connsiteX28" fmla="*/ 79667 w 82273"/>
                  <a:gd name="connsiteY28" fmla="*/ 44073 h 10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2273" h="103075">
                    <a:moveTo>
                      <a:pt x="79612" y="44101"/>
                    </a:moveTo>
                    <a:lnTo>
                      <a:pt x="81313" y="56587"/>
                    </a:lnTo>
                    <a:lnTo>
                      <a:pt x="70364" y="77225"/>
                    </a:lnTo>
                    <a:lnTo>
                      <a:pt x="53788" y="90864"/>
                    </a:lnTo>
                    <a:lnTo>
                      <a:pt x="45610" y="91522"/>
                    </a:lnTo>
                    <a:lnTo>
                      <a:pt x="31532" y="97532"/>
                    </a:lnTo>
                    <a:lnTo>
                      <a:pt x="25028" y="97807"/>
                    </a:lnTo>
                    <a:lnTo>
                      <a:pt x="16905" y="103076"/>
                    </a:lnTo>
                    <a:lnTo>
                      <a:pt x="13173" y="102582"/>
                    </a:lnTo>
                    <a:lnTo>
                      <a:pt x="13173" y="98603"/>
                    </a:lnTo>
                    <a:cubicBezTo>
                      <a:pt x="13173" y="98603"/>
                      <a:pt x="5434" y="84963"/>
                      <a:pt x="5434" y="84963"/>
                    </a:cubicBezTo>
                    <a:lnTo>
                      <a:pt x="1125" y="81286"/>
                    </a:lnTo>
                    <a:lnTo>
                      <a:pt x="0" y="75715"/>
                    </a:lnTo>
                    <a:lnTo>
                      <a:pt x="1838" y="68278"/>
                    </a:lnTo>
                    <a:lnTo>
                      <a:pt x="15094" y="53596"/>
                    </a:lnTo>
                    <a:lnTo>
                      <a:pt x="17289" y="48547"/>
                    </a:lnTo>
                    <a:lnTo>
                      <a:pt x="23327" y="44430"/>
                    </a:lnTo>
                    <a:lnTo>
                      <a:pt x="40561" y="44732"/>
                    </a:lnTo>
                    <a:lnTo>
                      <a:pt x="45473" y="40890"/>
                    </a:lnTo>
                    <a:lnTo>
                      <a:pt x="47064" y="34962"/>
                    </a:lnTo>
                    <a:lnTo>
                      <a:pt x="45144" y="23628"/>
                    </a:lnTo>
                    <a:lnTo>
                      <a:pt x="48163" y="9084"/>
                    </a:lnTo>
                    <a:lnTo>
                      <a:pt x="52004" y="4062"/>
                    </a:lnTo>
                    <a:lnTo>
                      <a:pt x="58508" y="0"/>
                    </a:lnTo>
                    <a:lnTo>
                      <a:pt x="71187" y="3677"/>
                    </a:lnTo>
                    <a:lnTo>
                      <a:pt x="77938" y="12706"/>
                    </a:lnTo>
                    <a:lnTo>
                      <a:pt x="80682" y="26373"/>
                    </a:lnTo>
                    <a:lnTo>
                      <a:pt x="82274" y="28980"/>
                    </a:lnTo>
                    <a:lnTo>
                      <a:pt x="79667" y="440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9" name="Freeform: Shape 4308">
                <a:extLst>
                  <a:ext uri="{FF2B5EF4-FFF2-40B4-BE49-F238E27FC236}">
                    <a16:creationId xmlns:a16="http://schemas.microsoft.com/office/drawing/2014/main" id="{4A227D6E-BE55-430D-D895-8840C7A9860E}"/>
                  </a:ext>
                </a:extLst>
              </p:cNvPr>
              <p:cNvSpPr/>
              <p:nvPr/>
            </p:nvSpPr>
            <p:spPr>
              <a:xfrm>
                <a:off x="1545054" y="3535408"/>
                <a:ext cx="6017" cy="6807"/>
              </a:xfrm>
              <a:custGeom>
                <a:avLst/>
                <a:gdLst>
                  <a:gd name="connsiteX0" fmla="*/ 3320 w 57685"/>
                  <a:gd name="connsiteY0" fmla="*/ 10950 h 65259"/>
                  <a:gd name="connsiteX1" fmla="*/ 7849 w 57685"/>
                  <a:gd name="connsiteY1" fmla="*/ 2113 h 65259"/>
                  <a:gd name="connsiteX2" fmla="*/ 13584 w 57685"/>
                  <a:gd name="connsiteY2" fmla="*/ 0 h 65259"/>
                  <a:gd name="connsiteX3" fmla="*/ 30983 w 57685"/>
                  <a:gd name="connsiteY3" fmla="*/ 21021 h 65259"/>
                  <a:gd name="connsiteX4" fmla="*/ 54557 w 57685"/>
                  <a:gd name="connsiteY4" fmla="*/ 44787 h 65259"/>
                  <a:gd name="connsiteX5" fmla="*/ 57685 w 57685"/>
                  <a:gd name="connsiteY5" fmla="*/ 55462 h 65259"/>
                  <a:gd name="connsiteX6" fmla="*/ 55627 w 57685"/>
                  <a:gd name="connsiteY6" fmla="*/ 62762 h 65259"/>
                  <a:gd name="connsiteX7" fmla="*/ 48546 w 57685"/>
                  <a:gd name="connsiteY7" fmla="*/ 65259 h 65259"/>
                  <a:gd name="connsiteX8" fmla="*/ 30983 w 57685"/>
                  <a:gd name="connsiteY8" fmla="*/ 63201 h 65259"/>
                  <a:gd name="connsiteX9" fmla="*/ 30983 w 57685"/>
                  <a:gd name="connsiteY9" fmla="*/ 52992 h 65259"/>
                  <a:gd name="connsiteX10" fmla="*/ 24891 w 57685"/>
                  <a:gd name="connsiteY10" fmla="*/ 48272 h 65259"/>
                  <a:gd name="connsiteX11" fmla="*/ 14600 w 57685"/>
                  <a:gd name="connsiteY11" fmla="*/ 49754 h 65259"/>
                  <a:gd name="connsiteX12" fmla="*/ 3183 w 57685"/>
                  <a:gd name="connsiteY12" fmla="*/ 35401 h 65259"/>
                  <a:gd name="connsiteX13" fmla="*/ 0 w 57685"/>
                  <a:gd name="connsiteY13" fmla="*/ 21817 h 65259"/>
                  <a:gd name="connsiteX14" fmla="*/ 5406 w 57685"/>
                  <a:gd name="connsiteY14" fmla="*/ 20061 h 65259"/>
                  <a:gd name="connsiteX15" fmla="*/ 5708 w 57685"/>
                  <a:gd name="connsiteY15" fmla="*/ 17344 h 65259"/>
                  <a:gd name="connsiteX16" fmla="*/ 3320 w 57685"/>
                  <a:gd name="connsiteY16" fmla="*/ 10950 h 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685" h="65259">
                    <a:moveTo>
                      <a:pt x="3320" y="10950"/>
                    </a:moveTo>
                    <a:lnTo>
                      <a:pt x="7849" y="2113"/>
                    </a:lnTo>
                    <a:lnTo>
                      <a:pt x="13584" y="0"/>
                    </a:lnTo>
                    <a:lnTo>
                      <a:pt x="30983" y="21021"/>
                    </a:lnTo>
                    <a:lnTo>
                      <a:pt x="54557" y="44787"/>
                    </a:lnTo>
                    <a:lnTo>
                      <a:pt x="57685" y="55462"/>
                    </a:lnTo>
                    <a:lnTo>
                      <a:pt x="55627" y="62762"/>
                    </a:lnTo>
                    <a:lnTo>
                      <a:pt x="48546" y="65259"/>
                    </a:lnTo>
                    <a:lnTo>
                      <a:pt x="30983" y="63201"/>
                    </a:lnTo>
                    <a:lnTo>
                      <a:pt x="30983" y="52992"/>
                    </a:lnTo>
                    <a:lnTo>
                      <a:pt x="24891" y="48272"/>
                    </a:lnTo>
                    <a:lnTo>
                      <a:pt x="14600" y="49754"/>
                    </a:lnTo>
                    <a:lnTo>
                      <a:pt x="3183" y="35401"/>
                    </a:lnTo>
                    <a:lnTo>
                      <a:pt x="0" y="21817"/>
                    </a:lnTo>
                    <a:lnTo>
                      <a:pt x="5406" y="20061"/>
                    </a:lnTo>
                    <a:lnTo>
                      <a:pt x="5708" y="17344"/>
                    </a:lnTo>
                    <a:lnTo>
                      <a:pt x="3320" y="109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0" name="Freeform: Shape 4309">
                <a:extLst>
                  <a:ext uri="{FF2B5EF4-FFF2-40B4-BE49-F238E27FC236}">
                    <a16:creationId xmlns:a16="http://schemas.microsoft.com/office/drawing/2014/main" id="{615C36F5-2B90-054B-A5B2-49FFBED1131B}"/>
                  </a:ext>
                </a:extLst>
              </p:cNvPr>
              <p:cNvSpPr/>
              <p:nvPr/>
            </p:nvSpPr>
            <p:spPr>
              <a:xfrm>
                <a:off x="1547599" y="3400383"/>
                <a:ext cx="8610" cy="9569"/>
              </a:xfrm>
              <a:custGeom>
                <a:avLst/>
                <a:gdLst>
                  <a:gd name="connsiteX0" fmla="*/ 27 w 82548"/>
                  <a:gd name="connsiteY0" fmla="*/ 54529 h 91741"/>
                  <a:gd name="connsiteX1" fmla="*/ 3183 w 82548"/>
                  <a:gd name="connsiteY1" fmla="*/ 30215 h 91741"/>
                  <a:gd name="connsiteX2" fmla="*/ 14408 w 82548"/>
                  <a:gd name="connsiteY2" fmla="*/ 9248 h 91741"/>
                  <a:gd name="connsiteX3" fmla="*/ 31092 w 82548"/>
                  <a:gd name="connsiteY3" fmla="*/ 14984 h 91741"/>
                  <a:gd name="connsiteX4" fmla="*/ 76318 w 82548"/>
                  <a:gd name="connsiteY4" fmla="*/ 0 h 91741"/>
                  <a:gd name="connsiteX5" fmla="*/ 80682 w 82548"/>
                  <a:gd name="connsiteY5" fmla="*/ 6394 h 91741"/>
                  <a:gd name="connsiteX6" fmla="*/ 82548 w 82548"/>
                  <a:gd name="connsiteY6" fmla="*/ 21159 h 91741"/>
                  <a:gd name="connsiteX7" fmla="*/ 76758 w 82548"/>
                  <a:gd name="connsiteY7" fmla="*/ 49946 h 91741"/>
                  <a:gd name="connsiteX8" fmla="*/ 67043 w 82548"/>
                  <a:gd name="connsiteY8" fmla="*/ 56066 h 91741"/>
                  <a:gd name="connsiteX9" fmla="*/ 63997 w 82548"/>
                  <a:gd name="connsiteY9" fmla="*/ 71160 h 91741"/>
                  <a:gd name="connsiteX10" fmla="*/ 51757 w 82548"/>
                  <a:gd name="connsiteY10" fmla="*/ 91742 h 91741"/>
                  <a:gd name="connsiteX11" fmla="*/ 27552 w 82548"/>
                  <a:gd name="connsiteY11" fmla="*/ 74508 h 91741"/>
                  <a:gd name="connsiteX12" fmla="*/ 14380 w 82548"/>
                  <a:gd name="connsiteY12" fmla="*/ 82494 h 91741"/>
                  <a:gd name="connsiteX13" fmla="*/ 7245 w 82548"/>
                  <a:gd name="connsiteY13" fmla="*/ 83070 h 91741"/>
                  <a:gd name="connsiteX14" fmla="*/ 1564 w 82548"/>
                  <a:gd name="connsiteY14" fmla="*/ 70474 h 91741"/>
                  <a:gd name="connsiteX15" fmla="*/ 0 w 82548"/>
                  <a:gd name="connsiteY15" fmla="*/ 54474 h 9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548" h="91741">
                    <a:moveTo>
                      <a:pt x="27" y="54529"/>
                    </a:moveTo>
                    <a:lnTo>
                      <a:pt x="3183" y="30215"/>
                    </a:lnTo>
                    <a:lnTo>
                      <a:pt x="14408" y="9248"/>
                    </a:lnTo>
                    <a:lnTo>
                      <a:pt x="31092" y="14984"/>
                    </a:lnTo>
                    <a:lnTo>
                      <a:pt x="76318" y="0"/>
                    </a:lnTo>
                    <a:lnTo>
                      <a:pt x="80682" y="6394"/>
                    </a:lnTo>
                    <a:lnTo>
                      <a:pt x="82548" y="21159"/>
                    </a:lnTo>
                    <a:lnTo>
                      <a:pt x="76758" y="49946"/>
                    </a:lnTo>
                    <a:lnTo>
                      <a:pt x="67043" y="56066"/>
                    </a:lnTo>
                    <a:lnTo>
                      <a:pt x="63997" y="71160"/>
                    </a:lnTo>
                    <a:lnTo>
                      <a:pt x="51757" y="91742"/>
                    </a:lnTo>
                    <a:lnTo>
                      <a:pt x="27552" y="74508"/>
                    </a:lnTo>
                    <a:lnTo>
                      <a:pt x="14380" y="82494"/>
                    </a:lnTo>
                    <a:lnTo>
                      <a:pt x="7245" y="83070"/>
                    </a:lnTo>
                    <a:lnTo>
                      <a:pt x="1564" y="70474"/>
                    </a:lnTo>
                    <a:lnTo>
                      <a:pt x="0" y="544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1" name="Freeform: Shape 4310">
                <a:extLst>
                  <a:ext uri="{FF2B5EF4-FFF2-40B4-BE49-F238E27FC236}">
                    <a16:creationId xmlns:a16="http://schemas.microsoft.com/office/drawing/2014/main" id="{58F7EACE-07E9-A5A3-34A2-DD6C4B30E6A8}"/>
                  </a:ext>
                </a:extLst>
              </p:cNvPr>
              <p:cNvSpPr/>
              <p:nvPr/>
            </p:nvSpPr>
            <p:spPr>
              <a:xfrm>
                <a:off x="1504478" y="3400707"/>
                <a:ext cx="9864" cy="7173"/>
              </a:xfrm>
              <a:custGeom>
                <a:avLst/>
                <a:gdLst>
                  <a:gd name="connsiteX0" fmla="*/ 0 w 94568"/>
                  <a:gd name="connsiteY0" fmla="*/ 46653 h 68772"/>
                  <a:gd name="connsiteX1" fmla="*/ 466 w 94568"/>
                  <a:gd name="connsiteY1" fmla="*/ 43223 h 68772"/>
                  <a:gd name="connsiteX2" fmla="*/ 66000 w 94568"/>
                  <a:gd name="connsiteY2" fmla="*/ 0 h 68772"/>
                  <a:gd name="connsiteX3" fmla="*/ 91742 w 94568"/>
                  <a:gd name="connsiteY3" fmla="*/ 9770 h 68772"/>
                  <a:gd name="connsiteX4" fmla="*/ 94568 w 94568"/>
                  <a:gd name="connsiteY4" fmla="*/ 21159 h 68772"/>
                  <a:gd name="connsiteX5" fmla="*/ 94322 w 94568"/>
                  <a:gd name="connsiteY5" fmla="*/ 27196 h 68772"/>
                  <a:gd name="connsiteX6" fmla="*/ 82988 w 94568"/>
                  <a:gd name="connsiteY6" fmla="*/ 33535 h 68772"/>
                  <a:gd name="connsiteX7" fmla="*/ 67400 w 94568"/>
                  <a:gd name="connsiteY7" fmla="*/ 16795 h 68772"/>
                  <a:gd name="connsiteX8" fmla="*/ 59222 w 94568"/>
                  <a:gd name="connsiteY8" fmla="*/ 29364 h 68772"/>
                  <a:gd name="connsiteX9" fmla="*/ 56121 w 94568"/>
                  <a:gd name="connsiteY9" fmla="*/ 44787 h 68772"/>
                  <a:gd name="connsiteX10" fmla="*/ 26071 w 94568"/>
                  <a:gd name="connsiteY10" fmla="*/ 68772 h 68772"/>
                  <a:gd name="connsiteX11" fmla="*/ 19210 w 94568"/>
                  <a:gd name="connsiteY11" fmla="*/ 56258 h 68772"/>
                  <a:gd name="connsiteX12" fmla="*/ 5242 w 94568"/>
                  <a:gd name="connsiteY12" fmla="*/ 58371 h 68772"/>
                  <a:gd name="connsiteX13" fmla="*/ 27 w 94568"/>
                  <a:gd name="connsiteY13" fmla="*/ 46681 h 6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568" h="68772">
                    <a:moveTo>
                      <a:pt x="0" y="46653"/>
                    </a:moveTo>
                    <a:lnTo>
                      <a:pt x="466" y="43223"/>
                    </a:lnTo>
                    <a:lnTo>
                      <a:pt x="66000" y="0"/>
                    </a:lnTo>
                    <a:lnTo>
                      <a:pt x="91742" y="9770"/>
                    </a:lnTo>
                    <a:lnTo>
                      <a:pt x="94568" y="21159"/>
                    </a:lnTo>
                    <a:lnTo>
                      <a:pt x="94322" y="27196"/>
                    </a:lnTo>
                    <a:lnTo>
                      <a:pt x="82988" y="33535"/>
                    </a:lnTo>
                    <a:lnTo>
                      <a:pt x="67400" y="16795"/>
                    </a:lnTo>
                    <a:lnTo>
                      <a:pt x="59222" y="29364"/>
                    </a:lnTo>
                    <a:lnTo>
                      <a:pt x="56121" y="44787"/>
                    </a:lnTo>
                    <a:lnTo>
                      <a:pt x="26071" y="68772"/>
                    </a:lnTo>
                    <a:lnTo>
                      <a:pt x="19210" y="56258"/>
                    </a:lnTo>
                    <a:lnTo>
                      <a:pt x="5242" y="58371"/>
                    </a:lnTo>
                    <a:lnTo>
                      <a:pt x="27" y="466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3" name="Freeform: Shape 4312">
                <a:extLst>
                  <a:ext uri="{FF2B5EF4-FFF2-40B4-BE49-F238E27FC236}">
                    <a16:creationId xmlns:a16="http://schemas.microsoft.com/office/drawing/2014/main" id="{2C164E61-A0D9-3688-D130-369F7BF46EA3}"/>
                  </a:ext>
                </a:extLst>
              </p:cNvPr>
              <p:cNvSpPr/>
              <p:nvPr/>
            </p:nvSpPr>
            <p:spPr>
              <a:xfrm>
                <a:off x="1645368" y="3415078"/>
                <a:ext cx="7683" cy="6767"/>
              </a:xfrm>
              <a:custGeom>
                <a:avLst/>
                <a:gdLst>
                  <a:gd name="connsiteX0" fmla="*/ 54502 w 73657"/>
                  <a:gd name="connsiteY0" fmla="*/ 59167 h 64875"/>
                  <a:gd name="connsiteX1" fmla="*/ 33371 w 73657"/>
                  <a:gd name="connsiteY1" fmla="*/ 64875 h 64875"/>
                  <a:gd name="connsiteX2" fmla="*/ 29639 w 73657"/>
                  <a:gd name="connsiteY2" fmla="*/ 63174 h 64875"/>
                  <a:gd name="connsiteX3" fmla="*/ 25221 w 73657"/>
                  <a:gd name="connsiteY3" fmla="*/ 61143 h 64875"/>
                  <a:gd name="connsiteX4" fmla="*/ 25824 w 73657"/>
                  <a:gd name="connsiteY4" fmla="*/ 53541 h 64875"/>
                  <a:gd name="connsiteX5" fmla="*/ 29666 w 73657"/>
                  <a:gd name="connsiteY5" fmla="*/ 53541 h 64875"/>
                  <a:gd name="connsiteX6" fmla="*/ 31313 w 73657"/>
                  <a:gd name="connsiteY6" fmla="*/ 53514 h 64875"/>
                  <a:gd name="connsiteX7" fmla="*/ 31422 w 73657"/>
                  <a:gd name="connsiteY7" fmla="*/ 47614 h 64875"/>
                  <a:gd name="connsiteX8" fmla="*/ 29666 w 73657"/>
                  <a:gd name="connsiteY8" fmla="*/ 45555 h 64875"/>
                  <a:gd name="connsiteX9" fmla="*/ 26757 w 73657"/>
                  <a:gd name="connsiteY9" fmla="*/ 42152 h 64875"/>
                  <a:gd name="connsiteX10" fmla="*/ 8453 w 73657"/>
                  <a:gd name="connsiteY10" fmla="*/ 39573 h 64875"/>
                  <a:gd name="connsiteX11" fmla="*/ 1867 w 73657"/>
                  <a:gd name="connsiteY11" fmla="*/ 38640 h 64875"/>
                  <a:gd name="connsiteX12" fmla="*/ 604 w 73657"/>
                  <a:gd name="connsiteY12" fmla="*/ 30791 h 64875"/>
                  <a:gd name="connsiteX13" fmla="*/ 3266 w 73657"/>
                  <a:gd name="connsiteY13" fmla="*/ 27141 h 64875"/>
                  <a:gd name="connsiteX14" fmla="*/ 0 w 73657"/>
                  <a:gd name="connsiteY14" fmla="*/ 7025 h 64875"/>
                  <a:gd name="connsiteX15" fmla="*/ 1098 w 73657"/>
                  <a:gd name="connsiteY15" fmla="*/ 0 h 64875"/>
                  <a:gd name="connsiteX16" fmla="*/ 8453 w 73657"/>
                  <a:gd name="connsiteY16" fmla="*/ 933 h 64875"/>
                  <a:gd name="connsiteX17" fmla="*/ 29666 w 73657"/>
                  <a:gd name="connsiteY17" fmla="*/ 3595 h 64875"/>
                  <a:gd name="connsiteX18" fmla="*/ 33399 w 73657"/>
                  <a:gd name="connsiteY18" fmla="*/ 4062 h 64875"/>
                  <a:gd name="connsiteX19" fmla="*/ 61637 w 73657"/>
                  <a:gd name="connsiteY19" fmla="*/ 11718 h 64875"/>
                  <a:gd name="connsiteX20" fmla="*/ 73657 w 73657"/>
                  <a:gd name="connsiteY20" fmla="*/ 25467 h 64875"/>
                  <a:gd name="connsiteX21" fmla="*/ 73657 w 73657"/>
                  <a:gd name="connsiteY21" fmla="*/ 31340 h 64875"/>
                  <a:gd name="connsiteX22" fmla="*/ 54530 w 73657"/>
                  <a:gd name="connsiteY22" fmla="*/ 59140 h 6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3657" h="64875">
                    <a:moveTo>
                      <a:pt x="54502" y="59167"/>
                    </a:moveTo>
                    <a:lnTo>
                      <a:pt x="33371" y="64875"/>
                    </a:lnTo>
                    <a:lnTo>
                      <a:pt x="29639" y="63174"/>
                    </a:lnTo>
                    <a:lnTo>
                      <a:pt x="25221" y="61143"/>
                    </a:lnTo>
                    <a:lnTo>
                      <a:pt x="25824" y="53541"/>
                    </a:lnTo>
                    <a:lnTo>
                      <a:pt x="29666" y="53541"/>
                    </a:lnTo>
                    <a:cubicBezTo>
                      <a:pt x="29666" y="53541"/>
                      <a:pt x="31313" y="53514"/>
                      <a:pt x="31313" y="53514"/>
                    </a:cubicBezTo>
                    <a:lnTo>
                      <a:pt x="31422" y="47614"/>
                    </a:lnTo>
                    <a:lnTo>
                      <a:pt x="29666" y="45555"/>
                    </a:lnTo>
                    <a:lnTo>
                      <a:pt x="26757" y="42152"/>
                    </a:lnTo>
                    <a:lnTo>
                      <a:pt x="8453" y="39573"/>
                    </a:lnTo>
                    <a:lnTo>
                      <a:pt x="1867" y="38640"/>
                    </a:lnTo>
                    <a:lnTo>
                      <a:pt x="604" y="30791"/>
                    </a:lnTo>
                    <a:lnTo>
                      <a:pt x="3266" y="27141"/>
                    </a:lnTo>
                    <a:lnTo>
                      <a:pt x="0" y="7025"/>
                    </a:lnTo>
                    <a:lnTo>
                      <a:pt x="1098" y="0"/>
                    </a:lnTo>
                    <a:lnTo>
                      <a:pt x="8453" y="933"/>
                    </a:lnTo>
                    <a:lnTo>
                      <a:pt x="29666" y="3595"/>
                    </a:lnTo>
                    <a:lnTo>
                      <a:pt x="33399" y="4062"/>
                    </a:lnTo>
                    <a:lnTo>
                      <a:pt x="61637" y="11718"/>
                    </a:lnTo>
                    <a:lnTo>
                      <a:pt x="73657" y="25467"/>
                    </a:lnTo>
                    <a:lnTo>
                      <a:pt x="73657" y="31340"/>
                    </a:lnTo>
                    <a:cubicBezTo>
                      <a:pt x="73657" y="31340"/>
                      <a:pt x="54530" y="59140"/>
                      <a:pt x="54530" y="59140"/>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4" name="Freeform: Shape 4313">
                <a:extLst>
                  <a:ext uri="{FF2B5EF4-FFF2-40B4-BE49-F238E27FC236}">
                    <a16:creationId xmlns:a16="http://schemas.microsoft.com/office/drawing/2014/main" id="{5E4E0959-3DCC-C93D-D88B-A985ECED62E8}"/>
                  </a:ext>
                </a:extLst>
              </p:cNvPr>
              <p:cNvSpPr/>
              <p:nvPr/>
            </p:nvSpPr>
            <p:spPr>
              <a:xfrm>
                <a:off x="1707681" y="3493349"/>
                <a:ext cx="5727" cy="5278"/>
              </a:xfrm>
              <a:custGeom>
                <a:avLst/>
                <a:gdLst>
                  <a:gd name="connsiteX0" fmla="*/ 46873 w 54913"/>
                  <a:gd name="connsiteY0" fmla="*/ 37871 h 50604"/>
                  <a:gd name="connsiteX1" fmla="*/ 35841 w 54913"/>
                  <a:gd name="connsiteY1" fmla="*/ 50605 h 50604"/>
                  <a:gd name="connsiteX2" fmla="*/ 18689 w 54913"/>
                  <a:gd name="connsiteY2" fmla="*/ 45116 h 50604"/>
                  <a:gd name="connsiteX3" fmla="*/ 412 w 54913"/>
                  <a:gd name="connsiteY3" fmla="*/ 27717 h 50604"/>
                  <a:gd name="connsiteX4" fmla="*/ 0 w 54913"/>
                  <a:gd name="connsiteY4" fmla="*/ 25796 h 50604"/>
                  <a:gd name="connsiteX5" fmla="*/ 1619 w 54913"/>
                  <a:gd name="connsiteY5" fmla="*/ 21049 h 50604"/>
                  <a:gd name="connsiteX6" fmla="*/ 10319 w 54913"/>
                  <a:gd name="connsiteY6" fmla="*/ 20472 h 50604"/>
                  <a:gd name="connsiteX7" fmla="*/ 12240 w 54913"/>
                  <a:gd name="connsiteY7" fmla="*/ 18853 h 50604"/>
                  <a:gd name="connsiteX8" fmla="*/ 12459 w 54913"/>
                  <a:gd name="connsiteY8" fmla="*/ 3842 h 50604"/>
                  <a:gd name="connsiteX9" fmla="*/ 14902 w 54913"/>
                  <a:gd name="connsiteY9" fmla="*/ 0 h 50604"/>
                  <a:gd name="connsiteX10" fmla="*/ 46928 w 54913"/>
                  <a:gd name="connsiteY10" fmla="*/ 5324 h 50604"/>
                  <a:gd name="connsiteX11" fmla="*/ 53047 w 54913"/>
                  <a:gd name="connsiteY11" fmla="*/ 10730 h 50604"/>
                  <a:gd name="connsiteX12" fmla="*/ 54913 w 54913"/>
                  <a:gd name="connsiteY12" fmla="*/ 19567 h 50604"/>
                  <a:gd name="connsiteX13" fmla="*/ 46873 w 54913"/>
                  <a:gd name="connsiteY13" fmla="*/ 37899 h 5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913" h="50604">
                    <a:moveTo>
                      <a:pt x="46873" y="37871"/>
                    </a:moveTo>
                    <a:lnTo>
                      <a:pt x="35841" y="50605"/>
                    </a:lnTo>
                    <a:lnTo>
                      <a:pt x="18689" y="45116"/>
                    </a:lnTo>
                    <a:lnTo>
                      <a:pt x="412" y="27717"/>
                    </a:lnTo>
                    <a:lnTo>
                      <a:pt x="0" y="25796"/>
                    </a:lnTo>
                    <a:lnTo>
                      <a:pt x="1619" y="21049"/>
                    </a:lnTo>
                    <a:lnTo>
                      <a:pt x="10319" y="20472"/>
                    </a:lnTo>
                    <a:lnTo>
                      <a:pt x="12240" y="18853"/>
                    </a:lnTo>
                    <a:lnTo>
                      <a:pt x="12459" y="3842"/>
                    </a:lnTo>
                    <a:lnTo>
                      <a:pt x="14902" y="0"/>
                    </a:lnTo>
                    <a:lnTo>
                      <a:pt x="46928" y="5324"/>
                    </a:lnTo>
                    <a:lnTo>
                      <a:pt x="53047" y="10730"/>
                    </a:lnTo>
                    <a:lnTo>
                      <a:pt x="54913" y="19567"/>
                    </a:lnTo>
                    <a:lnTo>
                      <a:pt x="46873" y="378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5" name="Freeform: Shape 4314">
                <a:extLst>
                  <a:ext uri="{FF2B5EF4-FFF2-40B4-BE49-F238E27FC236}">
                    <a16:creationId xmlns:a16="http://schemas.microsoft.com/office/drawing/2014/main" id="{044508D2-2858-FD62-4B87-683ABCADE3C6}"/>
                  </a:ext>
                </a:extLst>
              </p:cNvPr>
              <p:cNvSpPr/>
              <p:nvPr/>
            </p:nvSpPr>
            <p:spPr>
              <a:xfrm>
                <a:off x="1579926" y="3505365"/>
                <a:ext cx="5063" cy="4938"/>
              </a:xfrm>
              <a:custGeom>
                <a:avLst/>
                <a:gdLst>
                  <a:gd name="connsiteX0" fmla="*/ 20061 w 48546"/>
                  <a:gd name="connsiteY0" fmla="*/ 41494 h 47339"/>
                  <a:gd name="connsiteX1" fmla="*/ 1976 w 48546"/>
                  <a:gd name="connsiteY1" fmla="*/ 47339 h 47339"/>
                  <a:gd name="connsiteX2" fmla="*/ 0 w 48546"/>
                  <a:gd name="connsiteY2" fmla="*/ 41713 h 47339"/>
                  <a:gd name="connsiteX3" fmla="*/ 2634 w 48546"/>
                  <a:gd name="connsiteY3" fmla="*/ 8343 h 47339"/>
                  <a:gd name="connsiteX4" fmla="*/ 20088 w 48546"/>
                  <a:gd name="connsiteY4" fmla="*/ 0 h 47339"/>
                  <a:gd name="connsiteX5" fmla="*/ 38558 w 48546"/>
                  <a:gd name="connsiteY5" fmla="*/ 4116 h 47339"/>
                  <a:gd name="connsiteX6" fmla="*/ 48546 w 48546"/>
                  <a:gd name="connsiteY6" fmla="*/ 26235 h 47339"/>
                  <a:gd name="connsiteX7" fmla="*/ 48327 w 48546"/>
                  <a:gd name="connsiteY7" fmla="*/ 29584 h 47339"/>
                  <a:gd name="connsiteX8" fmla="*/ 20088 w 48546"/>
                  <a:gd name="connsiteY8" fmla="*/ 41494 h 4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46" h="47339">
                    <a:moveTo>
                      <a:pt x="20061" y="41494"/>
                    </a:moveTo>
                    <a:lnTo>
                      <a:pt x="1976" y="47339"/>
                    </a:lnTo>
                    <a:lnTo>
                      <a:pt x="0" y="41713"/>
                    </a:lnTo>
                    <a:lnTo>
                      <a:pt x="2634" y="8343"/>
                    </a:lnTo>
                    <a:lnTo>
                      <a:pt x="20088" y="0"/>
                    </a:lnTo>
                    <a:lnTo>
                      <a:pt x="38558" y="4116"/>
                    </a:lnTo>
                    <a:lnTo>
                      <a:pt x="48546" y="26235"/>
                    </a:lnTo>
                    <a:lnTo>
                      <a:pt x="48327" y="29584"/>
                    </a:lnTo>
                    <a:lnTo>
                      <a:pt x="20088" y="414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6" name="Freeform: Shape 4315">
                <a:extLst>
                  <a:ext uri="{FF2B5EF4-FFF2-40B4-BE49-F238E27FC236}">
                    <a16:creationId xmlns:a16="http://schemas.microsoft.com/office/drawing/2014/main" id="{726CDA1E-69C2-977E-2A8A-1388F5909534}"/>
                  </a:ext>
                </a:extLst>
              </p:cNvPr>
              <p:cNvSpPr/>
              <p:nvPr/>
            </p:nvSpPr>
            <p:spPr>
              <a:xfrm>
                <a:off x="1540581" y="3407857"/>
                <a:ext cx="6205" cy="6809"/>
              </a:xfrm>
              <a:custGeom>
                <a:avLst/>
                <a:gdLst>
                  <a:gd name="connsiteX0" fmla="*/ 29172 w 59496"/>
                  <a:gd name="connsiteY0" fmla="*/ 54200 h 65286"/>
                  <a:gd name="connsiteX1" fmla="*/ 24534 w 59496"/>
                  <a:gd name="connsiteY1" fmla="*/ 65287 h 65286"/>
                  <a:gd name="connsiteX2" fmla="*/ 7492 w 59496"/>
                  <a:gd name="connsiteY2" fmla="*/ 53349 h 65286"/>
                  <a:gd name="connsiteX3" fmla="*/ 4281 w 59496"/>
                  <a:gd name="connsiteY3" fmla="*/ 20637 h 65286"/>
                  <a:gd name="connsiteX4" fmla="*/ 0 w 59496"/>
                  <a:gd name="connsiteY4" fmla="*/ 5516 h 65286"/>
                  <a:gd name="connsiteX5" fmla="*/ 1070 w 59496"/>
                  <a:gd name="connsiteY5" fmla="*/ 1894 h 65286"/>
                  <a:gd name="connsiteX6" fmla="*/ 35346 w 59496"/>
                  <a:gd name="connsiteY6" fmla="*/ 0 h 65286"/>
                  <a:gd name="connsiteX7" fmla="*/ 53953 w 59496"/>
                  <a:gd name="connsiteY7" fmla="*/ 9056 h 65286"/>
                  <a:gd name="connsiteX8" fmla="*/ 59496 w 59496"/>
                  <a:gd name="connsiteY8" fmla="*/ 19539 h 65286"/>
                  <a:gd name="connsiteX9" fmla="*/ 59359 w 59496"/>
                  <a:gd name="connsiteY9" fmla="*/ 25687 h 65286"/>
                  <a:gd name="connsiteX10" fmla="*/ 33754 w 59496"/>
                  <a:gd name="connsiteY10" fmla="*/ 33426 h 65286"/>
                  <a:gd name="connsiteX11" fmla="*/ 33288 w 59496"/>
                  <a:gd name="connsiteY11" fmla="*/ 41960 h 65286"/>
                  <a:gd name="connsiteX12" fmla="*/ 37487 w 59496"/>
                  <a:gd name="connsiteY12" fmla="*/ 44512 h 65286"/>
                  <a:gd name="connsiteX13" fmla="*/ 37981 w 59496"/>
                  <a:gd name="connsiteY13" fmla="*/ 51840 h 65286"/>
                  <a:gd name="connsiteX14" fmla="*/ 29172 w 59496"/>
                  <a:gd name="connsiteY14" fmla="*/ 54200 h 6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496" h="65286">
                    <a:moveTo>
                      <a:pt x="29172" y="54200"/>
                    </a:moveTo>
                    <a:lnTo>
                      <a:pt x="24534" y="65287"/>
                    </a:lnTo>
                    <a:lnTo>
                      <a:pt x="7492" y="53349"/>
                    </a:lnTo>
                    <a:lnTo>
                      <a:pt x="4281" y="20637"/>
                    </a:lnTo>
                    <a:lnTo>
                      <a:pt x="0" y="5516"/>
                    </a:lnTo>
                    <a:lnTo>
                      <a:pt x="1070" y="1894"/>
                    </a:lnTo>
                    <a:lnTo>
                      <a:pt x="35346" y="0"/>
                    </a:lnTo>
                    <a:lnTo>
                      <a:pt x="53953" y="9056"/>
                    </a:lnTo>
                    <a:lnTo>
                      <a:pt x="59496" y="19539"/>
                    </a:lnTo>
                    <a:lnTo>
                      <a:pt x="59359" y="25687"/>
                    </a:lnTo>
                    <a:lnTo>
                      <a:pt x="33754" y="33426"/>
                    </a:lnTo>
                    <a:lnTo>
                      <a:pt x="33288" y="41960"/>
                    </a:lnTo>
                    <a:lnTo>
                      <a:pt x="37487" y="44512"/>
                    </a:lnTo>
                    <a:lnTo>
                      <a:pt x="37981" y="51840"/>
                    </a:lnTo>
                    <a:lnTo>
                      <a:pt x="29172" y="542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3" name="Freeform: Shape 4322">
                <a:extLst>
                  <a:ext uri="{FF2B5EF4-FFF2-40B4-BE49-F238E27FC236}">
                    <a16:creationId xmlns:a16="http://schemas.microsoft.com/office/drawing/2014/main" id="{916ADE2E-5149-5E2C-42C6-A003A697FABC}"/>
                  </a:ext>
                </a:extLst>
              </p:cNvPr>
              <p:cNvSpPr/>
              <p:nvPr/>
            </p:nvSpPr>
            <p:spPr>
              <a:xfrm>
                <a:off x="1525797" y="3409222"/>
                <a:ext cx="4969" cy="4683"/>
              </a:xfrm>
              <a:custGeom>
                <a:avLst/>
                <a:gdLst>
                  <a:gd name="connsiteX0" fmla="*/ 16768 w 47641"/>
                  <a:gd name="connsiteY0" fmla="*/ 4062 h 44896"/>
                  <a:gd name="connsiteX1" fmla="*/ 21927 w 47641"/>
                  <a:gd name="connsiteY1" fmla="*/ 412 h 44896"/>
                  <a:gd name="connsiteX2" fmla="*/ 24781 w 47641"/>
                  <a:gd name="connsiteY2" fmla="*/ 3074 h 44896"/>
                  <a:gd name="connsiteX3" fmla="*/ 29200 w 47641"/>
                  <a:gd name="connsiteY3" fmla="*/ 0 h 44896"/>
                  <a:gd name="connsiteX4" fmla="*/ 33645 w 47641"/>
                  <a:gd name="connsiteY4" fmla="*/ 4062 h 44896"/>
                  <a:gd name="connsiteX5" fmla="*/ 34276 w 47641"/>
                  <a:gd name="connsiteY5" fmla="*/ 11993 h 44896"/>
                  <a:gd name="connsiteX6" fmla="*/ 47339 w 47641"/>
                  <a:gd name="connsiteY6" fmla="*/ 25385 h 44896"/>
                  <a:gd name="connsiteX7" fmla="*/ 47641 w 47641"/>
                  <a:gd name="connsiteY7" fmla="*/ 30764 h 44896"/>
                  <a:gd name="connsiteX8" fmla="*/ 43881 w 47641"/>
                  <a:gd name="connsiteY8" fmla="*/ 35950 h 44896"/>
                  <a:gd name="connsiteX9" fmla="*/ 40973 w 47641"/>
                  <a:gd name="connsiteY9" fmla="*/ 31669 h 44896"/>
                  <a:gd name="connsiteX10" fmla="*/ 37240 w 47641"/>
                  <a:gd name="connsiteY10" fmla="*/ 35539 h 44896"/>
                  <a:gd name="connsiteX11" fmla="*/ 36966 w 47641"/>
                  <a:gd name="connsiteY11" fmla="*/ 43085 h 44896"/>
                  <a:gd name="connsiteX12" fmla="*/ 32465 w 47641"/>
                  <a:gd name="connsiteY12" fmla="*/ 44897 h 44896"/>
                  <a:gd name="connsiteX13" fmla="*/ 29419 w 47641"/>
                  <a:gd name="connsiteY13" fmla="*/ 41933 h 44896"/>
                  <a:gd name="connsiteX14" fmla="*/ 21296 w 47641"/>
                  <a:gd name="connsiteY14" fmla="*/ 42564 h 44896"/>
                  <a:gd name="connsiteX15" fmla="*/ 11801 w 47641"/>
                  <a:gd name="connsiteY15" fmla="*/ 41192 h 44896"/>
                  <a:gd name="connsiteX16" fmla="*/ 3046 w 47641"/>
                  <a:gd name="connsiteY16" fmla="*/ 35374 h 44896"/>
                  <a:gd name="connsiteX17" fmla="*/ 0 w 47641"/>
                  <a:gd name="connsiteY17" fmla="*/ 27059 h 44896"/>
                  <a:gd name="connsiteX18" fmla="*/ 1290 w 47641"/>
                  <a:gd name="connsiteY18" fmla="*/ 22393 h 44896"/>
                  <a:gd name="connsiteX19" fmla="*/ 10374 w 47641"/>
                  <a:gd name="connsiteY19" fmla="*/ 22613 h 44896"/>
                  <a:gd name="connsiteX20" fmla="*/ 12761 w 47641"/>
                  <a:gd name="connsiteY20" fmla="*/ 16987 h 44896"/>
                  <a:gd name="connsiteX21" fmla="*/ 17564 w 47641"/>
                  <a:gd name="connsiteY21" fmla="*/ 15258 h 44896"/>
                  <a:gd name="connsiteX22" fmla="*/ 16823 w 47641"/>
                  <a:gd name="connsiteY22" fmla="*/ 4089 h 4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641" h="44896">
                    <a:moveTo>
                      <a:pt x="16768" y="4062"/>
                    </a:moveTo>
                    <a:lnTo>
                      <a:pt x="21927" y="412"/>
                    </a:lnTo>
                    <a:lnTo>
                      <a:pt x="24781" y="3074"/>
                    </a:lnTo>
                    <a:lnTo>
                      <a:pt x="29200" y="0"/>
                    </a:lnTo>
                    <a:lnTo>
                      <a:pt x="33645" y="4062"/>
                    </a:lnTo>
                    <a:lnTo>
                      <a:pt x="34276" y="11993"/>
                    </a:lnTo>
                    <a:lnTo>
                      <a:pt x="47339" y="25385"/>
                    </a:lnTo>
                    <a:lnTo>
                      <a:pt x="47641" y="30764"/>
                    </a:lnTo>
                    <a:lnTo>
                      <a:pt x="43881" y="35950"/>
                    </a:lnTo>
                    <a:lnTo>
                      <a:pt x="40973" y="31669"/>
                    </a:lnTo>
                    <a:lnTo>
                      <a:pt x="37240" y="35539"/>
                    </a:lnTo>
                    <a:lnTo>
                      <a:pt x="36966" y="43085"/>
                    </a:lnTo>
                    <a:lnTo>
                      <a:pt x="32465" y="44897"/>
                    </a:lnTo>
                    <a:lnTo>
                      <a:pt x="29419" y="41933"/>
                    </a:lnTo>
                    <a:lnTo>
                      <a:pt x="21296" y="42564"/>
                    </a:lnTo>
                    <a:lnTo>
                      <a:pt x="11801" y="41192"/>
                    </a:lnTo>
                    <a:lnTo>
                      <a:pt x="3046" y="35374"/>
                    </a:lnTo>
                    <a:lnTo>
                      <a:pt x="0" y="27059"/>
                    </a:lnTo>
                    <a:lnTo>
                      <a:pt x="1290" y="22393"/>
                    </a:lnTo>
                    <a:lnTo>
                      <a:pt x="10374" y="22613"/>
                    </a:lnTo>
                    <a:lnTo>
                      <a:pt x="12761" y="16987"/>
                    </a:lnTo>
                    <a:lnTo>
                      <a:pt x="17564" y="15258"/>
                    </a:lnTo>
                    <a:lnTo>
                      <a:pt x="16823" y="40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4" name="Freeform: Shape 4323">
                <a:extLst>
                  <a:ext uri="{FF2B5EF4-FFF2-40B4-BE49-F238E27FC236}">
                    <a16:creationId xmlns:a16="http://schemas.microsoft.com/office/drawing/2014/main" id="{2618E0A4-EE3A-AE79-A4E5-64D6206C0E1C}"/>
                  </a:ext>
                </a:extLst>
              </p:cNvPr>
              <p:cNvSpPr/>
              <p:nvPr/>
            </p:nvSpPr>
            <p:spPr>
              <a:xfrm>
                <a:off x="1537166" y="3409170"/>
                <a:ext cx="3612" cy="6254"/>
              </a:xfrm>
              <a:custGeom>
                <a:avLst/>
                <a:gdLst>
                  <a:gd name="connsiteX0" fmla="*/ 2031 w 34633"/>
                  <a:gd name="connsiteY0" fmla="*/ 165 h 59962"/>
                  <a:gd name="connsiteX1" fmla="*/ 5928 w 34633"/>
                  <a:gd name="connsiteY1" fmla="*/ 0 h 59962"/>
                  <a:gd name="connsiteX2" fmla="*/ 18085 w 34633"/>
                  <a:gd name="connsiteY2" fmla="*/ 14353 h 59962"/>
                  <a:gd name="connsiteX3" fmla="*/ 23985 w 34633"/>
                  <a:gd name="connsiteY3" fmla="*/ 7355 h 59962"/>
                  <a:gd name="connsiteX4" fmla="*/ 33920 w 34633"/>
                  <a:gd name="connsiteY4" fmla="*/ 12651 h 59962"/>
                  <a:gd name="connsiteX5" fmla="*/ 34633 w 34633"/>
                  <a:gd name="connsiteY5" fmla="*/ 16630 h 59962"/>
                  <a:gd name="connsiteX6" fmla="*/ 33151 w 34633"/>
                  <a:gd name="connsiteY6" fmla="*/ 30187 h 59962"/>
                  <a:gd name="connsiteX7" fmla="*/ 33892 w 34633"/>
                  <a:gd name="connsiteY7" fmla="*/ 36966 h 59962"/>
                  <a:gd name="connsiteX8" fmla="*/ 30627 w 34633"/>
                  <a:gd name="connsiteY8" fmla="*/ 56697 h 59962"/>
                  <a:gd name="connsiteX9" fmla="*/ 22229 w 34633"/>
                  <a:gd name="connsiteY9" fmla="*/ 59963 h 59962"/>
                  <a:gd name="connsiteX10" fmla="*/ 522 w 34633"/>
                  <a:gd name="connsiteY10" fmla="*/ 54365 h 59962"/>
                  <a:gd name="connsiteX11" fmla="*/ 0 w 34633"/>
                  <a:gd name="connsiteY11" fmla="*/ 51264 h 59962"/>
                  <a:gd name="connsiteX12" fmla="*/ 3046 w 34633"/>
                  <a:gd name="connsiteY12" fmla="*/ 36417 h 59962"/>
                  <a:gd name="connsiteX13" fmla="*/ 741 w 34633"/>
                  <a:gd name="connsiteY13" fmla="*/ 20582 h 59962"/>
                  <a:gd name="connsiteX14" fmla="*/ 2305 w 34633"/>
                  <a:gd name="connsiteY14" fmla="*/ 9084 h 59962"/>
                  <a:gd name="connsiteX15" fmla="*/ 2031 w 34633"/>
                  <a:gd name="connsiteY15" fmla="*/ 165 h 5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633" h="59962">
                    <a:moveTo>
                      <a:pt x="2031" y="165"/>
                    </a:moveTo>
                    <a:lnTo>
                      <a:pt x="5928" y="0"/>
                    </a:lnTo>
                    <a:lnTo>
                      <a:pt x="18085" y="14353"/>
                    </a:lnTo>
                    <a:lnTo>
                      <a:pt x="23985" y="7355"/>
                    </a:lnTo>
                    <a:lnTo>
                      <a:pt x="33920" y="12651"/>
                    </a:lnTo>
                    <a:lnTo>
                      <a:pt x="34633" y="16630"/>
                    </a:lnTo>
                    <a:lnTo>
                      <a:pt x="33151" y="30187"/>
                    </a:lnTo>
                    <a:lnTo>
                      <a:pt x="33892" y="36966"/>
                    </a:lnTo>
                    <a:lnTo>
                      <a:pt x="30627" y="56697"/>
                    </a:lnTo>
                    <a:lnTo>
                      <a:pt x="22229" y="59963"/>
                    </a:lnTo>
                    <a:lnTo>
                      <a:pt x="522" y="54365"/>
                    </a:lnTo>
                    <a:lnTo>
                      <a:pt x="0" y="51264"/>
                    </a:lnTo>
                    <a:lnTo>
                      <a:pt x="3046" y="36417"/>
                    </a:lnTo>
                    <a:lnTo>
                      <a:pt x="741" y="20582"/>
                    </a:lnTo>
                    <a:lnTo>
                      <a:pt x="2305" y="9084"/>
                    </a:lnTo>
                    <a:lnTo>
                      <a:pt x="2031" y="1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5" name="Freeform: Shape 4324">
                <a:extLst>
                  <a:ext uri="{FF2B5EF4-FFF2-40B4-BE49-F238E27FC236}">
                    <a16:creationId xmlns:a16="http://schemas.microsoft.com/office/drawing/2014/main" id="{8A203AE4-1C01-9439-31AB-F0BC99D63288}"/>
                  </a:ext>
                </a:extLst>
              </p:cNvPr>
              <p:cNvSpPr/>
              <p:nvPr/>
            </p:nvSpPr>
            <p:spPr>
              <a:xfrm>
                <a:off x="1658526" y="3459493"/>
                <a:ext cx="3174" cy="5066"/>
              </a:xfrm>
              <a:custGeom>
                <a:avLst/>
                <a:gdLst>
                  <a:gd name="connsiteX0" fmla="*/ 21708 w 30434"/>
                  <a:gd name="connsiteY0" fmla="*/ 26620 h 48574"/>
                  <a:gd name="connsiteX1" fmla="*/ 21433 w 30434"/>
                  <a:gd name="connsiteY1" fmla="*/ 32932 h 48574"/>
                  <a:gd name="connsiteX2" fmla="*/ 16109 w 30434"/>
                  <a:gd name="connsiteY2" fmla="*/ 32053 h 48574"/>
                  <a:gd name="connsiteX3" fmla="*/ 13200 w 30434"/>
                  <a:gd name="connsiteY3" fmla="*/ 36417 h 48574"/>
                  <a:gd name="connsiteX4" fmla="*/ 12377 w 30434"/>
                  <a:gd name="connsiteY4" fmla="*/ 44320 h 48574"/>
                  <a:gd name="connsiteX5" fmla="*/ 8617 w 30434"/>
                  <a:gd name="connsiteY5" fmla="*/ 48574 h 48574"/>
                  <a:gd name="connsiteX6" fmla="*/ 7053 w 30434"/>
                  <a:gd name="connsiteY6" fmla="*/ 30572 h 48574"/>
                  <a:gd name="connsiteX7" fmla="*/ 1839 w 30434"/>
                  <a:gd name="connsiteY7" fmla="*/ 32685 h 48574"/>
                  <a:gd name="connsiteX8" fmla="*/ 0 w 30434"/>
                  <a:gd name="connsiteY8" fmla="*/ 27800 h 48574"/>
                  <a:gd name="connsiteX9" fmla="*/ 3349 w 30434"/>
                  <a:gd name="connsiteY9" fmla="*/ 21488 h 48574"/>
                  <a:gd name="connsiteX10" fmla="*/ 11334 w 30434"/>
                  <a:gd name="connsiteY10" fmla="*/ 18853 h 48574"/>
                  <a:gd name="connsiteX11" fmla="*/ 18771 w 30434"/>
                  <a:gd name="connsiteY11" fmla="*/ 13337 h 48574"/>
                  <a:gd name="connsiteX12" fmla="*/ 23464 w 30434"/>
                  <a:gd name="connsiteY12" fmla="*/ 7876 h 48574"/>
                  <a:gd name="connsiteX13" fmla="*/ 23876 w 30434"/>
                  <a:gd name="connsiteY13" fmla="*/ 1592 h 48574"/>
                  <a:gd name="connsiteX14" fmla="*/ 26702 w 30434"/>
                  <a:gd name="connsiteY14" fmla="*/ 0 h 48574"/>
                  <a:gd name="connsiteX15" fmla="*/ 30435 w 30434"/>
                  <a:gd name="connsiteY15" fmla="*/ 12487 h 48574"/>
                  <a:gd name="connsiteX16" fmla="*/ 26784 w 30434"/>
                  <a:gd name="connsiteY16" fmla="*/ 21762 h 48574"/>
                  <a:gd name="connsiteX17" fmla="*/ 21708 w 30434"/>
                  <a:gd name="connsiteY17" fmla="*/ 26592 h 48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34" h="48574">
                    <a:moveTo>
                      <a:pt x="21708" y="26620"/>
                    </a:moveTo>
                    <a:lnTo>
                      <a:pt x="21433" y="32932"/>
                    </a:lnTo>
                    <a:lnTo>
                      <a:pt x="16109" y="32053"/>
                    </a:lnTo>
                    <a:lnTo>
                      <a:pt x="13200" y="36417"/>
                    </a:lnTo>
                    <a:lnTo>
                      <a:pt x="12377" y="44320"/>
                    </a:lnTo>
                    <a:lnTo>
                      <a:pt x="8617" y="48574"/>
                    </a:lnTo>
                    <a:lnTo>
                      <a:pt x="7053" y="30572"/>
                    </a:lnTo>
                    <a:lnTo>
                      <a:pt x="1839" y="32685"/>
                    </a:lnTo>
                    <a:lnTo>
                      <a:pt x="0" y="27800"/>
                    </a:lnTo>
                    <a:lnTo>
                      <a:pt x="3349" y="21488"/>
                    </a:lnTo>
                    <a:lnTo>
                      <a:pt x="11334" y="18853"/>
                    </a:lnTo>
                    <a:lnTo>
                      <a:pt x="18771" y="13337"/>
                    </a:lnTo>
                    <a:lnTo>
                      <a:pt x="23464" y="7876"/>
                    </a:lnTo>
                    <a:lnTo>
                      <a:pt x="23876" y="1592"/>
                    </a:lnTo>
                    <a:lnTo>
                      <a:pt x="26702" y="0"/>
                    </a:lnTo>
                    <a:lnTo>
                      <a:pt x="30435" y="12487"/>
                    </a:lnTo>
                    <a:lnTo>
                      <a:pt x="26784" y="21762"/>
                    </a:lnTo>
                    <a:lnTo>
                      <a:pt x="21708" y="26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6" name="Freeform: Shape 4325">
                <a:extLst>
                  <a:ext uri="{FF2B5EF4-FFF2-40B4-BE49-F238E27FC236}">
                    <a16:creationId xmlns:a16="http://schemas.microsoft.com/office/drawing/2014/main" id="{55EB298E-1785-0124-354A-99FC188841A1}"/>
                  </a:ext>
                </a:extLst>
              </p:cNvPr>
              <p:cNvSpPr/>
              <p:nvPr/>
            </p:nvSpPr>
            <p:spPr>
              <a:xfrm>
                <a:off x="1606580" y="3509452"/>
                <a:ext cx="2734" cy="4007"/>
              </a:xfrm>
              <a:custGeom>
                <a:avLst/>
                <a:gdLst>
                  <a:gd name="connsiteX0" fmla="*/ 1208 w 26208"/>
                  <a:gd name="connsiteY0" fmla="*/ 21104 h 38420"/>
                  <a:gd name="connsiteX1" fmla="*/ 11087 w 26208"/>
                  <a:gd name="connsiteY1" fmla="*/ 7327 h 38420"/>
                  <a:gd name="connsiteX2" fmla="*/ 16795 w 26208"/>
                  <a:gd name="connsiteY2" fmla="*/ 0 h 38420"/>
                  <a:gd name="connsiteX3" fmla="*/ 21982 w 26208"/>
                  <a:gd name="connsiteY3" fmla="*/ 7904 h 38420"/>
                  <a:gd name="connsiteX4" fmla="*/ 25412 w 26208"/>
                  <a:gd name="connsiteY4" fmla="*/ 16740 h 38420"/>
                  <a:gd name="connsiteX5" fmla="*/ 26208 w 26208"/>
                  <a:gd name="connsiteY5" fmla="*/ 33892 h 38420"/>
                  <a:gd name="connsiteX6" fmla="*/ 22640 w 26208"/>
                  <a:gd name="connsiteY6" fmla="*/ 38420 h 38420"/>
                  <a:gd name="connsiteX7" fmla="*/ 11060 w 26208"/>
                  <a:gd name="connsiteY7" fmla="*/ 36087 h 38420"/>
                  <a:gd name="connsiteX8" fmla="*/ 1619 w 26208"/>
                  <a:gd name="connsiteY8" fmla="*/ 30077 h 38420"/>
                  <a:gd name="connsiteX9" fmla="*/ 0 w 26208"/>
                  <a:gd name="connsiteY9" fmla="*/ 25549 h 38420"/>
                  <a:gd name="connsiteX10" fmla="*/ 1181 w 26208"/>
                  <a:gd name="connsiteY10" fmla="*/ 21131 h 3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208" h="38420">
                    <a:moveTo>
                      <a:pt x="1208" y="21104"/>
                    </a:moveTo>
                    <a:lnTo>
                      <a:pt x="11087" y="7327"/>
                    </a:lnTo>
                    <a:lnTo>
                      <a:pt x="16795" y="0"/>
                    </a:lnTo>
                    <a:lnTo>
                      <a:pt x="21982" y="7904"/>
                    </a:lnTo>
                    <a:lnTo>
                      <a:pt x="25412" y="16740"/>
                    </a:lnTo>
                    <a:lnTo>
                      <a:pt x="26208" y="33892"/>
                    </a:lnTo>
                    <a:lnTo>
                      <a:pt x="22640" y="38420"/>
                    </a:lnTo>
                    <a:lnTo>
                      <a:pt x="11060" y="36087"/>
                    </a:lnTo>
                    <a:lnTo>
                      <a:pt x="1619" y="30077"/>
                    </a:lnTo>
                    <a:lnTo>
                      <a:pt x="0" y="25549"/>
                    </a:lnTo>
                    <a:lnTo>
                      <a:pt x="1181" y="211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7" name="Freeform: Shape 4326">
                <a:extLst>
                  <a:ext uri="{FF2B5EF4-FFF2-40B4-BE49-F238E27FC236}">
                    <a16:creationId xmlns:a16="http://schemas.microsoft.com/office/drawing/2014/main" id="{A0B5FF5C-3D77-5547-A04F-69BB7FDD75E2}"/>
                  </a:ext>
                </a:extLst>
              </p:cNvPr>
              <p:cNvSpPr/>
              <p:nvPr/>
            </p:nvSpPr>
            <p:spPr>
              <a:xfrm>
                <a:off x="1615677" y="3481785"/>
                <a:ext cx="2238" cy="5573"/>
              </a:xfrm>
              <a:custGeom>
                <a:avLst/>
                <a:gdLst>
                  <a:gd name="connsiteX0" fmla="*/ 16438 w 21460"/>
                  <a:gd name="connsiteY0" fmla="*/ 6504 h 53431"/>
                  <a:gd name="connsiteX1" fmla="*/ 21461 w 21460"/>
                  <a:gd name="connsiteY1" fmla="*/ 19320 h 53431"/>
                  <a:gd name="connsiteX2" fmla="*/ 21186 w 21460"/>
                  <a:gd name="connsiteY2" fmla="*/ 23820 h 53431"/>
                  <a:gd name="connsiteX3" fmla="*/ 18799 w 21460"/>
                  <a:gd name="connsiteY3" fmla="*/ 21186 h 53431"/>
                  <a:gd name="connsiteX4" fmla="*/ 15725 w 21460"/>
                  <a:gd name="connsiteY4" fmla="*/ 24342 h 53431"/>
                  <a:gd name="connsiteX5" fmla="*/ 16658 w 21460"/>
                  <a:gd name="connsiteY5" fmla="*/ 36362 h 53431"/>
                  <a:gd name="connsiteX6" fmla="*/ 15999 w 21460"/>
                  <a:gd name="connsiteY6" fmla="*/ 38036 h 53431"/>
                  <a:gd name="connsiteX7" fmla="*/ 16383 w 21460"/>
                  <a:gd name="connsiteY7" fmla="*/ 53432 h 53431"/>
                  <a:gd name="connsiteX8" fmla="*/ 12652 w 21460"/>
                  <a:gd name="connsiteY8" fmla="*/ 47723 h 53431"/>
                  <a:gd name="connsiteX9" fmla="*/ 15341 w 21460"/>
                  <a:gd name="connsiteY9" fmla="*/ 37130 h 53431"/>
                  <a:gd name="connsiteX10" fmla="*/ 14627 w 21460"/>
                  <a:gd name="connsiteY10" fmla="*/ 30901 h 53431"/>
                  <a:gd name="connsiteX11" fmla="*/ 12569 w 21460"/>
                  <a:gd name="connsiteY11" fmla="*/ 34221 h 53431"/>
                  <a:gd name="connsiteX12" fmla="*/ 12871 w 21460"/>
                  <a:gd name="connsiteY12" fmla="*/ 43003 h 53431"/>
                  <a:gd name="connsiteX13" fmla="*/ 10236 w 21460"/>
                  <a:gd name="connsiteY13" fmla="*/ 37569 h 53431"/>
                  <a:gd name="connsiteX14" fmla="*/ 10840 w 21460"/>
                  <a:gd name="connsiteY14" fmla="*/ 34331 h 53431"/>
                  <a:gd name="connsiteX15" fmla="*/ 8700 w 21460"/>
                  <a:gd name="connsiteY15" fmla="*/ 25961 h 53431"/>
                  <a:gd name="connsiteX16" fmla="*/ 5571 w 21460"/>
                  <a:gd name="connsiteY16" fmla="*/ 30160 h 53431"/>
                  <a:gd name="connsiteX17" fmla="*/ 0 w 21460"/>
                  <a:gd name="connsiteY17" fmla="*/ 22888 h 53431"/>
                  <a:gd name="connsiteX18" fmla="*/ 1016 w 21460"/>
                  <a:gd name="connsiteY18" fmla="*/ 16850 h 53431"/>
                  <a:gd name="connsiteX19" fmla="*/ 4610 w 21460"/>
                  <a:gd name="connsiteY19" fmla="*/ 8507 h 53431"/>
                  <a:gd name="connsiteX20" fmla="*/ 4610 w 21460"/>
                  <a:gd name="connsiteY20" fmla="*/ 17426 h 53431"/>
                  <a:gd name="connsiteX21" fmla="*/ 10977 w 21460"/>
                  <a:gd name="connsiteY21" fmla="*/ 18826 h 53431"/>
                  <a:gd name="connsiteX22" fmla="*/ 12020 w 21460"/>
                  <a:gd name="connsiteY22" fmla="*/ 1756 h 53431"/>
                  <a:gd name="connsiteX23" fmla="*/ 16631 w 21460"/>
                  <a:gd name="connsiteY23" fmla="*/ 0 h 53431"/>
                  <a:gd name="connsiteX24" fmla="*/ 16521 w 21460"/>
                  <a:gd name="connsiteY24" fmla="*/ 6504 h 5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460" h="53431">
                    <a:moveTo>
                      <a:pt x="16438" y="6504"/>
                    </a:moveTo>
                    <a:lnTo>
                      <a:pt x="21461" y="19320"/>
                    </a:lnTo>
                    <a:lnTo>
                      <a:pt x="21186" y="23820"/>
                    </a:lnTo>
                    <a:lnTo>
                      <a:pt x="18799" y="21186"/>
                    </a:lnTo>
                    <a:lnTo>
                      <a:pt x="15725" y="24342"/>
                    </a:lnTo>
                    <a:lnTo>
                      <a:pt x="16658" y="36362"/>
                    </a:lnTo>
                    <a:lnTo>
                      <a:pt x="15999" y="38036"/>
                    </a:lnTo>
                    <a:lnTo>
                      <a:pt x="16383" y="53432"/>
                    </a:lnTo>
                    <a:lnTo>
                      <a:pt x="12652" y="47723"/>
                    </a:lnTo>
                    <a:lnTo>
                      <a:pt x="15341" y="37130"/>
                    </a:lnTo>
                    <a:lnTo>
                      <a:pt x="14627" y="30901"/>
                    </a:lnTo>
                    <a:lnTo>
                      <a:pt x="12569" y="34221"/>
                    </a:lnTo>
                    <a:lnTo>
                      <a:pt x="12871" y="43003"/>
                    </a:lnTo>
                    <a:lnTo>
                      <a:pt x="10236" y="37569"/>
                    </a:lnTo>
                    <a:lnTo>
                      <a:pt x="10840" y="34331"/>
                    </a:lnTo>
                    <a:lnTo>
                      <a:pt x="8700" y="25961"/>
                    </a:lnTo>
                    <a:lnTo>
                      <a:pt x="5571" y="30160"/>
                    </a:lnTo>
                    <a:lnTo>
                      <a:pt x="0" y="22888"/>
                    </a:lnTo>
                    <a:lnTo>
                      <a:pt x="1016" y="16850"/>
                    </a:lnTo>
                    <a:lnTo>
                      <a:pt x="4610" y="8507"/>
                    </a:lnTo>
                    <a:lnTo>
                      <a:pt x="4610" y="17426"/>
                    </a:lnTo>
                    <a:cubicBezTo>
                      <a:pt x="4610" y="17426"/>
                      <a:pt x="10977" y="18826"/>
                      <a:pt x="10977" y="18826"/>
                    </a:cubicBezTo>
                    <a:lnTo>
                      <a:pt x="12020" y="1756"/>
                    </a:lnTo>
                    <a:lnTo>
                      <a:pt x="16631" y="0"/>
                    </a:lnTo>
                    <a:lnTo>
                      <a:pt x="16521" y="65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8" name="Freeform: Shape 4327">
                <a:extLst>
                  <a:ext uri="{FF2B5EF4-FFF2-40B4-BE49-F238E27FC236}">
                    <a16:creationId xmlns:a16="http://schemas.microsoft.com/office/drawing/2014/main" id="{17AFB24F-2124-9AAB-6510-B6BB0241E8D3}"/>
                  </a:ext>
                </a:extLst>
              </p:cNvPr>
              <p:cNvSpPr/>
              <p:nvPr/>
            </p:nvSpPr>
            <p:spPr>
              <a:xfrm>
                <a:off x="1549749" y="3395420"/>
                <a:ext cx="4557" cy="4411"/>
              </a:xfrm>
              <a:custGeom>
                <a:avLst/>
                <a:gdLst>
                  <a:gd name="connsiteX0" fmla="*/ 29528 w 43689"/>
                  <a:gd name="connsiteY0" fmla="*/ 39353 h 42289"/>
                  <a:gd name="connsiteX1" fmla="*/ 20033 w 43689"/>
                  <a:gd name="connsiteY1" fmla="*/ 42290 h 42289"/>
                  <a:gd name="connsiteX2" fmla="*/ 9413 w 43689"/>
                  <a:gd name="connsiteY2" fmla="*/ 39381 h 42289"/>
                  <a:gd name="connsiteX3" fmla="*/ 5653 w 43689"/>
                  <a:gd name="connsiteY3" fmla="*/ 33535 h 42289"/>
                  <a:gd name="connsiteX4" fmla="*/ 521 w 43689"/>
                  <a:gd name="connsiteY4" fmla="*/ 30791 h 42289"/>
                  <a:gd name="connsiteX5" fmla="*/ 0 w 43689"/>
                  <a:gd name="connsiteY5" fmla="*/ 27553 h 42289"/>
                  <a:gd name="connsiteX6" fmla="*/ 466 w 43689"/>
                  <a:gd name="connsiteY6" fmla="*/ 24068 h 42289"/>
                  <a:gd name="connsiteX7" fmla="*/ 11361 w 43689"/>
                  <a:gd name="connsiteY7" fmla="*/ 12487 h 42289"/>
                  <a:gd name="connsiteX8" fmla="*/ 30846 w 43689"/>
                  <a:gd name="connsiteY8" fmla="*/ 0 h 42289"/>
                  <a:gd name="connsiteX9" fmla="*/ 42563 w 43689"/>
                  <a:gd name="connsiteY9" fmla="*/ 1674 h 42289"/>
                  <a:gd name="connsiteX10" fmla="*/ 43689 w 43689"/>
                  <a:gd name="connsiteY10" fmla="*/ 18085 h 42289"/>
                  <a:gd name="connsiteX11" fmla="*/ 32657 w 43689"/>
                  <a:gd name="connsiteY11" fmla="*/ 36252 h 42289"/>
                  <a:gd name="connsiteX12" fmla="*/ 29528 w 43689"/>
                  <a:gd name="connsiteY12" fmla="*/ 39381 h 4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689" h="42289">
                    <a:moveTo>
                      <a:pt x="29528" y="39353"/>
                    </a:moveTo>
                    <a:lnTo>
                      <a:pt x="20033" y="42290"/>
                    </a:lnTo>
                    <a:lnTo>
                      <a:pt x="9413" y="39381"/>
                    </a:lnTo>
                    <a:lnTo>
                      <a:pt x="5653" y="33535"/>
                    </a:lnTo>
                    <a:lnTo>
                      <a:pt x="521" y="30791"/>
                    </a:lnTo>
                    <a:lnTo>
                      <a:pt x="0" y="27553"/>
                    </a:lnTo>
                    <a:lnTo>
                      <a:pt x="466" y="24068"/>
                    </a:lnTo>
                    <a:lnTo>
                      <a:pt x="11361" y="12487"/>
                    </a:lnTo>
                    <a:lnTo>
                      <a:pt x="30846" y="0"/>
                    </a:lnTo>
                    <a:lnTo>
                      <a:pt x="42563" y="1674"/>
                    </a:lnTo>
                    <a:lnTo>
                      <a:pt x="43689" y="18085"/>
                    </a:lnTo>
                    <a:lnTo>
                      <a:pt x="32657" y="36252"/>
                    </a:lnTo>
                    <a:lnTo>
                      <a:pt x="29528" y="393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0" name="Freeform: Shape 4329">
                <a:extLst>
                  <a:ext uri="{FF2B5EF4-FFF2-40B4-BE49-F238E27FC236}">
                    <a16:creationId xmlns:a16="http://schemas.microsoft.com/office/drawing/2014/main" id="{AC8F1A94-A7DE-04DF-D19C-2AF8228DDCEB}"/>
                  </a:ext>
                </a:extLst>
              </p:cNvPr>
              <p:cNvSpPr/>
              <p:nvPr/>
            </p:nvSpPr>
            <p:spPr>
              <a:xfrm>
                <a:off x="1641718" y="3393496"/>
                <a:ext cx="4857" cy="3460"/>
              </a:xfrm>
              <a:custGeom>
                <a:avLst/>
                <a:gdLst>
                  <a:gd name="connsiteX0" fmla="*/ 0 w 46570"/>
                  <a:gd name="connsiteY0" fmla="*/ 19704 h 33178"/>
                  <a:gd name="connsiteX1" fmla="*/ 2360 w 46570"/>
                  <a:gd name="connsiteY1" fmla="*/ 8151 h 33178"/>
                  <a:gd name="connsiteX2" fmla="*/ 3979 w 46570"/>
                  <a:gd name="connsiteY2" fmla="*/ 5763 h 33178"/>
                  <a:gd name="connsiteX3" fmla="*/ 29666 w 46570"/>
                  <a:gd name="connsiteY3" fmla="*/ 0 h 33178"/>
                  <a:gd name="connsiteX4" fmla="*/ 44760 w 46570"/>
                  <a:gd name="connsiteY4" fmla="*/ 6284 h 33178"/>
                  <a:gd name="connsiteX5" fmla="*/ 46571 w 46570"/>
                  <a:gd name="connsiteY5" fmla="*/ 16740 h 33178"/>
                  <a:gd name="connsiteX6" fmla="*/ 35457 w 46570"/>
                  <a:gd name="connsiteY6" fmla="*/ 33179 h 33178"/>
                  <a:gd name="connsiteX7" fmla="*/ 4007 w 46570"/>
                  <a:gd name="connsiteY7" fmla="*/ 26949 h 33178"/>
                  <a:gd name="connsiteX8" fmla="*/ 27 w 46570"/>
                  <a:gd name="connsiteY8" fmla="*/ 19677 h 3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570" h="33178">
                    <a:moveTo>
                      <a:pt x="0" y="19704"/>
                    </a:moveTo>
                    <a:lnTo>
                      <a:pt x="2360" y="8151"/>
                    </a:lnTo>
                    <a:lnTo>
                      <a:pt x="3979" y="5763"/>
                    </a:lnTo>
                    <a:lnTo>
                      <a:pt x="29666" y="0"/>
                    </a:lnTo>
                    <a:lnTo>
                      <a:pt x="44760" y="6284"/>
                    </a:lnTo>
                    <a:lnTo>
                      <a:pt x="46571" y="16740"/>
                    </a:lnTo>
                    <a:lnTo>
                      <a:pt x="35457" y="33179"/>
                    </a:lnTo>
                    <a:lnTo>
                      <a:pt x="4007" y="26949"/>
                    </a:lnTo>
                    <a:lnTo>
                      <a:pt x="27" y="196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3" name="Freeform: Shape 4332">
                <a:extLst>
                  <a:ext uri="{FF2B5EF4-FFF2-40B4-BE49-F238E27FC236}">
                    <a16:creationId xmlns:a16="http://schemas.microsoft.com/office/drawing/2014/main" id="{88CC6D85-6652-E03C-571B-DAE6E9BD5C04}"/>
                  </a:ext>
                </a:extLst>
              </p:cNvPr>
              <p:cNvSpPr/>
              <p:nvPr/>
            </p:nvSpPr>
            <p:spPr>
              <a:xfrm>
                <a:off x="1530665" y="3405607"/>
                <a:ext cx="3546" cy="4302"/>
              </a:xfrm>
              <a:custGeom>
                <a:avLst/>
                <a:gdLst>
                  <a:gd name="connsiteX0" fmla="*/ 0 w 34002"/>
                  <a:gd name="connsiteY0" fmla="*/ 5543 h 41246"/>
                  <a:gd name="connsiteX1" fmla="*/ 9358 w 34002"/>
                  <a:gd name="connsiteY1" fmla="*/ 0 h 41246"/>
                  <a:gd name="connsiteX2" fmla="*/ 13393 w 34002"/>
                  <a:gd name="connsiteY2" fmla="*/ 9687 h 41246"/>
                  <a:gd name="connsiteX3" fmla="*/ 13393 w 34002"/>
                  <a:gd name="connsiteY3" fmla="*/ 960 h 41246"/>
                  <a:gd name="connsiteX4" fmla="*/ 19347 w 34002"/>
                  <a:gd name="connsiteY4" fmla="*/ 21625 h 41246"/>
                  <a:gd name="connsiteX5" fmla="*/ 28239 w 34002"/>
                  <a:gd name="connsiteY5" fmla="*/ 9825 h 41246"/>
                  <a:gd name="connsiteX6" fmla="*/ 33947 w 34002"/>
                  <a:gd name="connsiteY6" fmla="*/ 16823 h 41246"/>
                  <a:gd name="connsiteX7" fmla="*/ 34002 w 34002"/>
                  <a:gd name="connsiteY7" fmla="*/ 22970 h 41246"/>
                  <a:gd name="connsiteX8" fmla="*/ 25687 w 34002"/>
                  <a:gd name="connsiteY8" fmla="*/ 41247 h 41246"/>
                  <a:gd name="connsiteX9" fmla="*/ 18799 w 34002"/>
                  <a:gd name="connsiteY9" fmla="*/ 37158 h 41246"/>
                  <a:gd name="connsiteX10" fmla="*/ 16933 w 34002"/>
                  <a:gd name="connsiteY10" fmla="*/ 25714 h 41246"/>
                  <a:gd name="connsiteX11" fmla="*/ 13420 w 34002"/>
                  <a:gd name="connsiteY11" fmla="*/ 30818 h 41246"/>
                  <a:gd name="connsiteX12" fmla="*/ 1372 w 34002"/>
                  <a:gd name="connsiteY12" fmla="*/ 23903 h 41246"/>
                  <a:gd name="connsiteX13" fmla="*/ 27 w 34002"/>
                  <a:gd name="connsiteY13" fmla="*/ 5598 h 4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002" h="41246">
                    <a:moveTo>
                      <a:pt x="0" y="5543"/>
                    </a:moveTo>
                    <a:lnTo>
                      <a:pt x="9358" y="0"/>
                    </a:lnTo>
                    <a:lnTo>
                      <a:pt x="13393" y="9687"/>
                    </a:lnTo>
                    <a:lnTo>
                      <a:pt x="13393" y="960"/>
                    </a:lnTo>
                    <a:lnTo>
                      <a:pt x="19347" y="21625"/>
                    </a:lnTo>
                    <a:lnTo>
                      <a:pt x="28239" y="9825"/>
                    </a:lnTo>
                    <a:lnTo>
                      <a:pt x="33947" y="16823"/>
                    </a:lnTo>
                    <a:lnTo>
                      <a:pt x="34002" y="22970"/>
                    </a:lnTo>
                    <a:lnTo>
                      <a:pt x="25687" y="41247"/>
                    </a:lnTo>
                    <a:lnTo>
                      <a:pt x="18799" y="37158"/>
                    </a:lnTo>
                    <a:lnTo>
                      <a:pt x="16933" y="25714"/>
                    </a:lnTo>
                    <a:lnTo>
                      <a:pt x="13420" y="30818"/>
                    </a:lnTo>
                    <a:lnTo>
                      <a:pt x="1372" y="23903"/>
                    </a:lnTo>
                    <a:lnTo>
                      <a:pt x="27" y="55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8" name="Freeform: Shape 4337">
                <a:extLst>
                  <a:ext uri="{FF2B5EF4-FFF2-40B4-BE49-F238E27FC236}">
                    <a16:creationId xmlns:a16="http://schemas.microsoft.com/office/drawing/2014/main" id="{21E350BB-B1C9-B87E-AD23-F86BBA77E461}"/>
                  </a:ext>
                </a:extLst>
              </p:cNvPr>
              <p:cNvSpPr/>
              <p:nvPr/>
            </p:nvSpPr>
            <p:spPr>
              <a:xfrm>
                <a:off x="1592606" y="3509172"/>
                <a:ext cx="1932" cy="2805"/>
              </a:xfrm>
              <a:custGeom>
                <a:avLst/>
                <a:gdLst>
                  <a:gd name="connsiteX0" fmla="*/ 17234 w 18524"/>
                  <a:gd name="connsiteY0" fmla="*/ 13228 h 26894"/>
                  <a:gd name="connsiteX1" fmla="*/ 18030 w 18524"/>
                  <a:gd name="connsiteY1" fmla="*/ 16768 h 26894"/>
                  <a:gd name="connsiteX2" fmla="*/ 14984 w 18524"/>
                  <a:gd name="connsiteY2" fmla="*/ 26894 h 26894"/>
                  <a:gd name="connsiteX3" fmla="*/ 3018 w 18524"/>
                  <a:gd name="connsiteY3" fmla="*/ 17509 h 26894"/>
                  <a:gd name="connsiteX4" fmla="*/ 0 w 18524"/>
                  <a:gd name="connsiteY4" fmla="*/ 12789 h 26894"/>
                  <a:gd name="connsiteX5" fmla="*/ 2360 w 18524"/>
                  <a:gd name="connsiteY5" fmla="*/ 5077 h 26894"/>
                  <a:gd name="connsiteX6" fmla="*/ 7602 w 18524"/>
                  <a:gd name="connsiteY6" fmla="*/ 0 h 26894"/>
                  <a:gd name="connsiteX7" fmla="*/ 13667 w 18524"/>
                  <a:gd name="connsiteY7" fmla="*/ 384 h 26894"/>
                  <a:gd name="connsiteX8" fmla="*/ 18057 w 18524"/>
                  <a:gd name="connsiteY8" fmla="*/ 2113 h 26894"/>
                  <a:gd name="connsiteX9" fmla="*/ 18524 w 18524"/>
                  <a:gd name="connsiteY9" fmla="*/ 6037 h 26894"/>
                  <a:gd name="connsiteX10" fmla="*/ 17207 w 18524"/>
                  <a:gd name="connsiteY10" fmla="*/ 13255 h 26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24" h="26894">
                    <a:moveTo>
                      <a:pt x="17234" y="13228"/>
                    </a:moveTo>
                    <a:lnTo>
                      <a:pt x="18030" y="16768"/>
                    </a:lnTo>
                    <a:lnTo>
                      <a:pt x="14984" y="26894"/>
                    </a:lnTo>
                    <a:lnTo>
                      <a:pt x="3018" y="17509"/>
                    </a:lnTo>
                    <a:lnTo>
                      <a:pt x="0" y="12789"/>
                    </a:lnTo>
                    <a:lnTo>
                      <a:pt x="2360" y="5077"/>
                    </a:lnTo>
                    <a:lnTo>
                      <a:pt x="7602" y="0"/>
                    </a:lnTo>
                    <a:lnTo>
                      <a:pt x="13667" y="384"/>
                    </a:lnTo>
                    <a:lnTo>
                      <a:pt x="18057" y="2113"/>
                    </a:lnTo>
                    <a:lnTo>
                      <a:pt x="18524" y="6037"/>
                    </a:lnTo>
                    <a:lnTo>
                      <a:pt x="17207" y="132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9" name="Freeform: Shape 4338">
                <a:extLst>
                  <a:ext uri="{FF2B5EF4-FFF2-40B4-BE49-F238E27FC236}">
                    <a16:creationId xmlns:a16="http://schemas.microsoft.com/office/drawing/2014/main" id="{522B7C59-A981-D33F-8D3D-0848C20E34C4}"/>
                  </a:ext>
                </a:extLst>
              </p:cNvPr>
              <p:cNvSpPr/>
              <p:nvPr/>
            </p:nvSpPr>
            <p:spPr>
              <a:xfrm>
                <a:off x="1692699" y="3445645"/>
                <a:ext cx="3263" cy="2296"/>
              </a:xfrm>
              <a:custGeom>
                <a:avLst/>
                <a:gdLst>
                  <a:gd name="connsiteX0" fmla="*/ 0 w 31284"/>
                  <a:gd name="connsiteY0" fmla="*/ 8672 h 22009"/>
                  <a:gd name="connsiteX1" fmla="*/ 4007 w 31284"/>
                  <a:gd name="connsiteY1" fmla="*/ 1592 h 22009"/>
                  <a:gd name="connsiteX2" fmla="*/ 18030 w 31284"/>
                  <a:gd name="connsiteY2" fmla="*/ 4775 h 22009"/>
                  <a:gd name="connsiteX3" fmla="*/ 23546 w 31284"/>
                  <a:gd name="connsiteY3" fmla="*/ 0 h 22009"/>
                  <a:gd name="connsiteX4" fmla="*/ 28294 w 31284"/>
                  <a:gd name="connsiteY4" fmla="*/ 1454 h 22009"/>
                  <a:gd name="connsiteX5" fmla="*/ 31285 w 31284"/>
                  <a:gd name="connsiteY5" fmla="*/ 7986 h 22009"/>
                  <a:gd name="connsiteX6" fmla="*/ 30434 w 31284"/>
                  <a:gd name="connsiteY6" fmla="*/ 14380 h 22009"/>
                  <a:gd name="connsiteX7" fmla="*/ 24836 w 31284"/>
                  <a:gd name="connsiteY7" fmla="*/ 22009 h 22009"/>
                  <a:gd name="connsiteX8" fmla="*/ 24205 w 31284"/>
                  <a:gd name="connsiteY8" fmla="*/ 15670 h 22009"/>
                  <a:gd name="connsiteX9" fmla="*/ 18990 w 31284"/>
                  <a:gd name="connsiteY9" fmla="*/ 16658 h 22009"/>
                  <a:gd name="connsiteX10" fmla="*/ 933 w 31284"/>
                  <a:gd name="connsiteY10" fmla="*/ 12816 h 22009"/>
                  <a:gd name="connsiteX11" fmla="*/ 82 w 31284"/>
                  <a:gd name="connsiteY11" fmla="*/ 8672 h 2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84" h="22009">
                    <a:moveTo>
                      <a:pt x="0" y="8672"/>
                    </a:moveTo>
                    <a:lnTo>
                      <a:pt x="4007" y="1592"/>
                    </a:lnTo>
                    <a:lnTo>
                      <a:pt x="18030" y="4775"/>
                    </a:lnTo>
                    <a:lnTo>
                      <a:pt x="23546" y="0"/>
                    </a:lnTo>
                    <a:lnTo>
                      <a:pt x="28294" y="1454"/>
                    </a:lnTo>
                    <a:lnTo>
                      <a:pt x="31285" y="7986"/>
                    </a:lnTo>
                    <a:lnTo>
                      <a:pt x="30434" y="14380"/>
                    </a:lnTo>
                    <a:lnTo>
                      <a:pt x="24836" y="22009"/>
                    </a:lnTo>
                    <a:lnTo>
                      <a:pt x="24205" y="15670"/>
                    </a:lnTo>
                    <a:lnTo>
                      <a:pt x="18990" y="16658"/>
                    </a:lnTo>
                    <a:lnTo>
                      <a:pt x="933" y="12816"/>
                    </a:lnTo>
                    <a:lnTo>
                      <a:pt x="82" y="86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1" name="Freeform: Shape 4340">
                <a:extLst>
                  <a:ext uri="{FF2B5EF4-FFF2-40B4-BE49-F238E27FC236}">
                    <a16:creationId xmlns:a16="http://schemas.microsoft.com/office/drawing/2014/main" id="{C66CF90D-87EF-7337-0EA9-DBFE003E2745}"/>
                  </a:ext>
                </a:extLst>
              </p:cNvPr>
              <p:cNvSpPr/>
              <p:nvPr/>
            </p:nvSpPr>
            <p:spPr>
              <a:xfrm>
                <a:off x="1520476" y="3414409"/>
                <a:ext cx="2493" cy="3383"/>
              </a:xfrm>
              <a:custGeom>
                <a:avLst/>
                <a:gdLst>
                  <a:gd name="connsiteX0" fmla="*/ 21296 w 23902"/>
                  <a:gd name="connsiteY0" fmla="*/ 20253 h 32437"/>
                  <a:gd name="connsiteX1" fmla="*/ 23903 w 23902"/>
                  <a:gd name="connsiteY1" fmla="*/ 27553 h 32437"/>
                  <a:gd name="connsiteX2" fmla="*/ 23134 w 23902"/>
                  <a:gd name="connsiteY2" fmla="*/ 32438 h 32437"/>
                  <a:gd name="connsiteX3" fmla="*/ 521 w 23902"/>
                  <a:gd name="connsiteY3" fmla="*/ 28074 h 32437"/>
                  <a:gd name="connsiteX4" fmla="*/ 0 w 23902"/>
                  <a:gd name="connsiteY4" fmla="*/ 24671 h 32437"/>
                  <a:gd name="connsiteX5" fmla="*/ 4857 w 23902"/>
                  <a:gd name="connsiteY5" fmla="*/ 9358 h 32437"/>
                  <a:gd name="connsiteX6" fmla="*/ 11279 w 23902"/>
                  <a:gd name="connsiteY6" fmla="*/ 5104 h 32437"/>
                  <a:gd name="connsiteX7" fmla="*/ 13117 w 23902"/>
                  <a:gd name="connsiteY7" fmla="*/ 0 h 32437"/>
                  <a:gd name="connsiteX8" fmla="*/ 22009 w 23902"/>
                  <a:gd name="connsiteY8" fmla="*/ 9358 h 32437"/>
                  <a:gd name="connsiteX9" fmla="*/ 21296 w 23902"/>
                  <a:gd name="connsiteY9" fmla="*/ 20225 h 3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02" h="32437">
                    <a:moveTo>
                      <a:pt x="21296" y="20253"/>
                    </a:moveTo>
                    <a:lnTo>
                      <a:pt x="23903" y="27553"/>
                    </a:lnTo>
                    <a:lnTo>
                      <a:pt x="23134" y="32438"/>
                    </a:lnTo>
                    <a:lnTo>
                      <a:pt x="521" y="28074"/>
                    </a:lnTo>
                    <a:lnTo>
                      <a:pt x="0" y="24671"/>
                    </a:lnTo>
                    <a:lnTo>
                      <a:pt x="4857" y="9358"/>
                    </a:lnTo>
                    <a:lnTo>
                      <a:pt x="11279" y="5104"/>
                    </a:lnTo>
                    <a:lnTo>
                      <a:pt x="13117" y="0"/>
                    </a:lnTo>
                    <a:lnTo>
                      <a:pt x="22009" y="9358"/>
                    </a:lnTo>
                    <a:lnTo>
                      <a:pt x="21296" y="202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2" name="Freeform: Shape 4341">
                <a:extLst>
                  <a:ext uri="{FF2B5EF4-FFF2-40B4-BE49-F238E27FC236}">
                    <a16:creationId xmlns:a16="http://schemas.microsoft.com/office/drawing/2014/main" id="{5B266CFF-BE9D-5098-2F47-ABE7C4C73B95}"/>
                  </a:ext>
                </a:extLst>
              </p:cNvPr>
              <p:cNvSpPr/>
              <p:nvPr/>
            </p:nvSpPr>
            <p:spPr>
              <a:xfrm>
                <a:off x="1546343" y="3414706"/>
                <a:ext cx="2774" cy="2994"/>
              </a:xfrm>
              <a:custGeom>
                <a:avLst/>
                <a:gdLst>
                  <a:gd name="connsiteX0" fmla="*/ 0 w 26592"/>
                  <a:gd name="connsiteY0" fmla="*/ 13337 h 28705"/>
                  <a:gd name="connsiteX1" fmla="*/ 1647 w 26592"/>
                  <a:gd name="connsiteY1" fmla="*/ 6641 h 28705"/>
                  <a:gd name="connsiteX2" fmla="*/ 14325 w 26592"/>
                  <a:gd name="connsiteY2" fmla="*/ 0 h 28705"/>
                  <a:gd name="connsiteX3" fmla="*/ 23409 w 26592"/>
                  <a:gd name="connsiteY3" fmla="*/ 2936 h 28705"/>
                  <a:gd name="connsiteX4" fmla="*/ 26181 w 26592"/>
                  <a:gd name="connsiteY4" fmla="*/ 6641 h 28705"/>
                  <a:gd name="connsiteX5" fmla="*/ 26592 w 26592"/>
                  <a:gd name="connsiteY5" fmla="*/ 18085 h 28705"/>
                  <a:gd name="connsiteX6" fmla="*/ 11553 w 26592"/>
                  <a:gd name="connsiteY6" fmla="*/ 28705 h 28705"/>
                  <a:gd name="connsiteX7" fmla="*/ 466 w 26592"/>
                  <a:gd name="connsiteY7" fmla="*/ 15999 h 28705"/>
                  <a:gd name="connsiteX8" fmla="*/ 27 w 26592"/>
                  <a:gd name="connsiteY8" fmla="*/ 13337 h 28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92" h="28705">
                    <a:moveTo>
                      <a:pt x="0" y="13337"/>
                    </a:moveTo>
                    <a:lnTo>
                      <a:pt x="1647" y="6641"/>
                    </a:lnTo>
                    <a:lnTo>
                      <a:pt x="14325" y="0"/>
                    </a:lnTo>
                    <a:lnTo>
                      <a:pt x="23409" y="2936"/>
                    </a:lnTo>
                    <a:lnTo>
                      <a:pt x="26181" y="6641"/>
                    </a:lnTo>
                    <a:lnTo>
                      <a:pt x="26592" y="18085"/>
                    </a:lnTo>
                    <a:lnTo>
                      <a:pt x="11553" y="28705"/>
                    </a:lnTo>
                    <a:lnTo>
                      <a:pt x="466" y="15999"/>
                    </a:lnTo>
                    <a:lnTo>
                      <a:pt x="27" y="133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4" name="Freeform: Shape 4343">
                <a:extLst>
                  <a:ext uri="{FF2B5EF4-FFF2-40B4-BE49-F238E27FC236}">
                    <a16:creationId xmlns:a16="http://schemas.microsoft.com/office/drawing/2014/main" id="{ED926965-A531-3782-F25C-AA450040FCF4}"/>
                  </a:ext>
                </a:extLst>
              </p:cNvPr>
              <p:cNvSpPr/>
              <p:nvPr/>
            </p:nvSpPr>
            <p:spPr>
              <a:xfrm>
                <a:off x="1517771" y="3412233"/>
                <a:ext cx="2112" cy="3171"/>
              </a:xfrm>
              <a:custGeom>
                <a:avLst/>
                <a:gdLst>
                  <a:gd name="connsiteX0" fmla="*/ 12075 w 20253"/>
                  <a:gd name="connsiteY0" fmla="*/ 30407 h 30406"/>
                  <a:gd name="connsiteX1" fmla="*/ 7822 w 20253"/>
                  <a:gd name="connsiteY1" fmla="*/ 30407 h 30406"/>
                  <a:gd name="connsiteX2" fmla="*/ 357 w 20253"/>
                  <a:gd name="connsiteY2" fmla="*/ 15478 h 30406"/>
                  <a:gd name="connsiteX3" fmla="*/ 0 w 20253"/>
                  <a:gd name="connsiteY3" fmla="*/ 12267 h 30406"/>
                  <a:gd name="connsiteX4" fmla="*/ 467 w 20253"/>
                  <a:gd name="connsiteY4" fmla="*/ 9495 h 30406"/>
                  <a:gd name="connsiteX5" fmla="*/ 10977 w 20253"/>
                  <a:gd name="connsiteY5" fmla="*/ 0 h 30406"/>
                  <a:gd name="connsiteX6" fmla="*/ 20253 w 20253"/>
                  <a:gd name="connsiteY6" fmla="*/ 6147 h 30406"/>
                  <a:gd name="connsiteX7" fmla="*/ 18881 w 20253"/>
                  <a:gd name="connsiteY7" fmla="*/ 15478 h 30406"/>
                  <a:gd name="connsiteX8" fmla="*/ 13502 w 20253"/>
                  <a:gd name="connsiteY8" fmla="*/ 18250 h 30406"/>
                  <a:gd name="connsiteX9" fmla="*/ 12048 w 20253"/>
                  <a:gd name="connsiteY9" fmla="*/ 30379 h 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53" h="30406">
                    <a:moveTo>
                      <a:pt x="12075" y="30407"/>
                    </a:moveTo>
                    <a:lnTo>
                      <a:pt x="7822" y="30407"/>
                    </a:lnTo>
                    <a:lnTo>
                      <a:pt x="357" y="15478"/>
                    </a:lnTo>
                    <a:lnTo>
                      <a:pt x="0" y="12267"/>
                    </a:lnTo>
                    <a:lnTo>
                      <a:pt x="467" y="9495"/>
                    </a:lnTo>
                    <a:lnTo>
                      <a:pt x="10977" y="0"/>
                    </a:lnTo>
                    <a:lnTo>
                      <a:pt x="20253" y="6147"/>
                    </a:lnTo>
                    <a:lnTo>
                      <a:pt x="18881" y="15478"/>
                    </a:lnTo>
                    <a:lnTo>
                      <a:pt x="13502" y="18250"/>
                    </a:lnTo>
                    <a:lnTo>
                      <a:pt x="12048" y="303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7" name="Freeform: Shape 4346">
                <a:extLst>
                  <a:ext uri="{FF2B5EF4-FFF2-40B4-BE49-F238E27FC236}">
                    <a16:creationId xmlns:a16="http://schemas.microsoft.com/office/drawing/2014/main" id="{D31DA0F8-2B13-A5B5-F91E-1E1222A08F17}"/>
                  </a:ext>
                </a:extLst>
              </p:cNvPr>
              <p:cNvSpPr/>
              <p:nvPr/>
            </p:nvSpPr>
            <p:spPr>
              <a:xfrm>
                <a:off x="1540535" y="3393336"/>
                <a:ext cx="2479" cy="2227"/>
              </a:xfrm>
              <a:custGeom>
                <a:avLst/>
                <a:gdLst>
                  <a:gd name="connsiteX0" fmla="*/ 0 w 23766"/>
                  <a:gd name="connsiteY0" fmla="*/ 12706 h 21350"/>
                  <a:gd name="connsiteX1" fmla="*/ 1345 w 23766"/>
                  <a:gd name="connsiteY1" fmla="*/ 7519 h 21350"/>
                  <a:gd name="connsiteX2" fmla="*/ 18140 w 23766"/>
                  <a:gd name="connsiteY2" fmla="*/ 0 h 21350"/>
                  <a:gd name="connsiteX3" fmla="*/ 23574 w 23766"/>
                  <a:gd name="connsiteY3" fmla="*/ 2882 h 21350"/>
                  <a:gd name="connsiteX4" fmla="*/ 23766 w 23766"/>
                  <a:gd name="connsiteY4" fmla="*/ 9523 h 21350"/>
                  <a:gd name="connsiteX5" fmla="*/ 19979 w 23766"/>
                  <a:gd name="connsiteY5" fmla="*/ 21351 h 21350"/>
                  <a:gd name="connsiteX6" fmla="*/ 1345 w 23766"/>
                  <a:gd name="connsiteY6" fmla="*/ 18304 h 21350"/>
                  <a:gd name="connsiteX7" fmla="*/ 0 w 23766"/>
                  <a:gd name="connsiteY7" fmla="*/ 12706 h 2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66" h="21350">
                    <a:moveTo>
                      <a:pt x="0" y="12706"/>
                    </a:moveTo>
                    <a:lnTo>
                      <a:pt x="1345" y="7519"/>
                    </a:lnTo>
                    <a:lnTo>
                      <a:pt x="18140" y="0"/>
                    </a:lnTo>
                    <a:lnTo>
                      <a:pt x="23574" y="2882"/>
                    </a:lnTo>
                    <a:lnTo>
                      <a:pt x="23766" y="9523"/>
                    </a:lnTo>
                    <a:lnTo>
                      <a:pt x="19979" y="21351"/>
                    </a:lnTo>
                    <a:lnTo>
                      <a:pt x="1345" y="18304"/>
                    </a:lnTo>
                    <a:lnTo>
                      <a:pt x="0" y="127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9" name="Freeform: Shape 4348">
                <a:extLst>
                  <a:ext uri="{FF2B5EF4-FFF2-40B4-BE49-F238E27FC236}">
                    <a16:creationId xmlns:a16="http://schemas.microsoft.com/office/drawing/2014/main" id="{A818B138-22B8-9493-DDCC-E4F282A4BC21}"/>
                  </a:ext>
                </a:extLst>
              </p:cNvPr>
              <p:cNvSpPr/>
              <p:nvPr/>
            </p:nvSpPr>
            <p:spPr>
              <a:xfrm>
                <a:off x="1520095" y="3393914"/>
                <a:ext cx="1689" cy="3166"/>
              </a:xfrm>
              <a:custGeom>
                <a:avLst/>
                <a:gdLst>
                  <a:gd name="connsiteX0" fmla="*/ 2470 w 16191"/>
                  <a:gd name="connsiteY0" fmla="*/ 26867 h 30351"/>
                  <a:gd name="connsiteX1" fmla="*/ 631 w 16191"/>
                  <a:gd name="connsiteY1" fmla="*/ 30352 h 30351"/>
                  <a:gd name="connsiteX2" fmla="*/ 0 w 16191"/>
                  <a:gd name="connsiteY2" fmla="*/ 18469 h 30351"/>
                  <a:gd name="connsiteX3" fmla="*/ 1180 w 16191"/>
                  <a:gd name="connsiteY3" fmla="*/ 2936 h 30351"/>
                  <a:gd name="connsiteX4" fmla="*/ 9358 w 16191"/>
                  <a:gd name="connsiteY4" fmla="*/ 0 h 30351"/>
                  <a:gd name="connsiteX5" fmla="*/ 16191 w 16191"/>
                  <a:gd name="connsiteY5" fmla="*/ 7574 h 30351"/>
                  <a:gd name="connsiteX6" fmla="*/ 16027 w 16191"/>
                  <a:gd name="connsiteY6" fmla="*/ 15889 h 30351"/>
                  <a:gd name="connsiteX7" fmla="*/ 12020 w 16191"/>
                  <a:gd name="connsiteY7" fmla="*/ 17975 h 30351"/>
                  <a:gd name="connsiteX8" fmla="*/ 11663 w 16191"/>
                  <a:gd name="connsiteY8" fmla="*/ 23930 h 30351"/>
                  <a:gd name="connsiteX9" fmla="*/ 2442 w 16191"/>
                  <a:gd name="connsiteY9" fmla="*/ 26894 h 3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1" h="30351">
                    <a:moveTo>
                      <a:pt x="2470" y="26867"/>
                    </a:moveTo>
                    <a:lnTo>
                      <a:pt x="631" y="30352"/>
                    </a:lnTo>
                    <a:lnTo>
                      <a:pt x="0" y="18469"/>
                    </a:lnTo>
                    <a:lnTo>
                      <a:pt x="1180" y="2936"/>
                    </a:lnTo>
                    <a:lnTo>
                      <a:pt x="9358" y="0"/>
                    </a:lnTo>
                    <a:lnTo>
                      <a:pt x="16191" y="7574"/>
                    </a:lnTo>
                    <a:lnTo>
                      <a:pt x="16027" y="15889"/>
                    </a:lnTo>
                    <a:lnTo>
                      <a:pt x="12020" y="17975"/>
                    </a:lnTo>
                    <a:lnTo>
                      <a:pt x="11663" y="23930"/>
                    </a:lnTo>
                    <a:lnTo>
                      <a:pt x="2442" y="26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0" name="Freeform: Shape 4349">
                <a:extLst>
                  <a:ext uri="{FF2B5EF4-FFF2-40B4-BE49-F238E27FC236}">
                    <a16:creationId xmlns:a16="http://schemas.microsoft.com/office/drawing/2014/main" id="{BF0A2DD3-AF0A-522E-C384-F2E365CA0019}"/>
                  </a:ext>
                </a:extLst>
              </p:cNvPr>
              <p:cNvSpPr/>
              <p:nvPr/>
            </p:nvSpPr>
            <p:spPr>
              <a:xfrm>
                <a:off x="1690979" y="3443244"/>
                <a:ext cx="1772" cy="2215"/>
              </a:xfrm>
              <a:custGeom>
                <a:avLst/>
                <a:gdLst>
                  <a:gd name="connsiteX0" fmla="*/ 16932 w 16987"/>
                  <a:gd name="connsiteY0" fmla="*/ 10373 h 21240"/>
                  <a:gd name="connsiteX1" fmla="*/ 6312 w 16987"/>
                  <a:gd name="connsiteY1" fmla="*/ 21241 h 21240"/>
                  <a:gd name="connsiteX2" fmla="*/ 0 w 16987"/>
                  <a:gd name="connsiteY2" fmla="*/ 19375 h 21240"/>
                  <a:gd name="connsiteX3" fmla="*/ 0 w 16987"/>
                  <a:gd name="connsiteY3" fmla="*/ 13996 h 21240"/>
                  <a:gd name="connsiteX4" fmla="*/ 8507 w 16987"/>
                  <a:gd name="connsiteY4" fmla="*/ 10373 h 21240"/>
                  <a:gd name="connsiteX5" fmla="*/ 13090 w 16987"/>
                  <a:gd name="connsiteY5" fmla="*/ 0 h 21240"/>
                  <a:gd name="connsiteX6" fmla="*/ 16987 w 16987"/>
                  <a:gd name="connsiteY6" fmla="*/ 5269 h 21240"/>
                  <a:gd name="connsiteX7" fmla="*/ 16932 w 16987"/>
                  <a:gd name="connsiteY7" fmla="*/ 10346 h 2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87" h="21240">
                    <a:moveTo>
                      <a:pt x="16932" y="10373"/>
                    </a:moveTo>
                    <a:lnTo>
                      <a:pt x="6312" y="21241"/>
                    </a:lnTo>
                    <a:lnTo>
                      <a:pt x="0" y="19375"/>
                    </a:lnTo>
                    <a:lnTo>
                      <a:pt x="0" y="13996"/>
                    </a:lnTo>
                    <a:lnTo>
                      <a:pt x="8507" y="10373"/>
                    </a:lnTo>
                    <a:lnTo>
                      <a:pt x="13090" y="0"/>
                    </a:lnTo>
                    <a:lnTo>
                      <a:pt x="16987" y="5269"/>
                    </a:lnTo>
                    <a:lnTo>
                      <a:pt x="16932" y="103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2" name="Freeform: Shape 4351">
                <a:extLst>
                  <a:ext uri="{FF2B5EF4-FFF2-40B4-BE49-F238E27FC236}">
                    <a16:creationId xmlns:a16="http://schemas.microsoft.com/office/drawing/2014/main" id="{93DFDB2D-0FFF-857F-034C-19309F23BB8D}"/>
                  </a:ext>
                </a:extLst>
              </p:cNvPr>
              <p:cNvSpPr/>
              <p:nvPr/>
            </p:nvSpPr>
            <p:spPr>
              <a:xfrm>
                <a:off x="1659579" y="3466446"/>
                <a:ext cx="1368" cy="2321"/>
              </a:xfrm>
              <a:custGeom>
                <a:avLst/>
                <a:gdLst>
                  <a:gd name="connsiteX0" fmla="*/ 27 w 13117"/>
                  <a:gd name="connsiteY0" fmla="*/ 11416 h 22256"/>
                  <a:gd name="connsiteX1" fmla="*/ 1674 w 13117"/>
                  <a:gd name="connsiteY1" fmla="*/ 906 h 22256"/>
                  <a:gd name="connsiteX2" fmla="*/ 4445 w 13117"/>
                  <a:gd name="connsiteY2" fmla="*/ 0 h 22256"/>
                  <a:gd name="connsiteX3" fmla="*/ 5049 w 13117"/>
                  <a:gd name="connsiteY3" fmla="*/ 10456 h 22256"/>
                  <a:gd name="connsiteX4" fmla="*/ 8260 w 13117"/>
                  <a:gd name="connsiteY4" fmla="*/ 3787 h 22256"/>
                  <a:gd name="connsiteX5" fmla="*/ 12322 w 13117"/>
                  <a:gd name="connsiteY5" fmla="*/ 4171 h 22256"/>
                  <a:gd name="connsiteX6" fmla="*/ 13118 w 13117"/>
                  <a:gd name="connsiteY6" fmla="*/ 12596 h 22256"/>
                  <a:gd name="connsiteX7" fmla="*/ 10044 w 13117"/>
                  <a:gd name="connsiteY7" fmla="*/ 21406 h 22256"/>
                  <a:gd name="connsiteX8" fmla="*/ 8479 w 13117"/>
                  <a:gd name="connsiteY8" fmla="*/ 14792 h 22256"/>
                  <a:gd name="connsiteX9" fmla="*/ 5708 w 13117"/>
                  <a:gd name="connsiteY9" fmla="*/ 15615 h 22256"/>
                  <a:gd name="connsiteX10" fmla="*/ 6311 w 13117"/>
                  <a:gd name="connsiteY10" fmla="*/ 20033 h 22256"/>
                  <a:gd name="connsiteX11" fmla="*/ 3952 w 13117"/>
                  <a:gd name="connsiteY11" fmla="*/ 22256 h 22256"/>
                  <a:gd name="connsiteX12" fmla="*/ 3869 w 13117"/>
                  <a:gd name="connsiteY12" fmla="*/ 13612 h 22256"/>
                  <a:gd name="connsiteX13" fmla="*/ 796 w 13117"/>
                  <a:gd name="connsiteY13" fmla="*/ 17042 h 22256"/>
                  <a:gd name="connsiteX14" fmla="*/ 0 w 13117"/>
                  <a:gd name="connsiteY14" fmla="*/ 11389 h 22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17" h="22256">
                    <a:moveTo>
                      <a:pt x="27" y="11416"/>
                    </a:moveTo>
                    <a:lnTo>
                      <a:pt x="1674" y="906"/>
                    </a:lnTo>
                    <a:lnTo>
                      <a:pt x="4445" y="0"/>
                    </a:lnTo>
                    <a:lnTo>
                      <a:pt x="5049" y="10456"/>
                    </a:lnTo>
                    <a:lnTo>
                      <a:pt x="8260" y="3787"/>
                    </a:lnTo>
                    <a:lnTo>
                      <a:pt x="12322" y="4171"/>
                    </a:lnTo>
                    <a:lnTo>
                      <a:pt x="13118" y="12596"/>
                    </a:lnTo>
                    <a:lnTo>
                      <a:pt x="10044" y="21406"/>
                    </a:lnTo>
                    <a:lnTo>
                      <a:pt x="8479" y="14792"/>
                    </a:lnTo>
                    <a:lnTo>
                      <a:pt x="5708" y="15615"/>
                    </a:lnTo>
                    <a:lnTo>
                      <a:pt x="6311" y="20033"/>
                    </a:lnTo>
                    <a:lnTo>
                      <a:pt x="3952" y="22256"/>
                    </a:lnTo>
                    <a:lnTo>
                      <a:pt x="3869" y="13612"/>
                    </a:lnTo>
                    <a:lnTo>
                      <a:pt x="796" y="17042"/>
                    </a:lnTo>
                    <a:lnTo>
                      <a:pt x="0" y="113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3" name="Freeform: Shape 4352">
                <a:extLst>
                  <a:ext uri="{FF2B5EF4-FFF2-40B4-BE49-F238E27FC236}">
                    <a16:creationId xmlns:a16="http://schemas.microsoft.com/office/drawing/2014/main" id="{C52D2EF7-A4F9-6C8A-CDE3-0EFEA0D65A5F}"/>
                  </a:ext>
                </a:extLst>
              </p:cNvPr>
              <p:cNvSpPr/>
              <p:nvPr/>
            </p:nvSpPr>
            <p:spPr>
              <a:xfrm>
                <a:off x="1626562" y="3492997"/>
                <a:ext cx="1311" cy="2075"/>
              </a:xfrm>
              <a:custGeom>
                <a:avLst/>
                <a:gdLst>
                  <a:gd name="connsiteX0" fmla="*/ 10319 w 12569"/>
                  <a:gd name="connsiteY0" fmla="*/ 576 h 19896"/>
                  <a:gd name="connsiteX1" fmla="*/ 12569 w 12569"/>
                  <a:gd name="connsiteY1" fmla="*/ 7025 h 19896"/>
                  <a:gd name="connsiteX2" fmla="*/ 9111 w 12569"/>
                  <a:gd name="connsiteY2" fmla="*/ 14545 h 19896"/>
                  <a:gd name="connsiteX3" fmla="*/ 9056 w 12569"/>
                  <a:gd name="connsiteY3" fmla="*/ 19896 h 19896"/>
                  <a:gd name="connsiteX4" fmla="*/ 4610 w 12569"/>
                  <a:gd name="connsiteY4" fmla="*/ 18771 h 19896"/>
                  <a:gd name="connsiteX5" fmla="*/ 4501 w 12569"/>
                  <a:gd name="connsiteY5" fmla="*/ 11773 h 19896"/>
                  <a:gd name="connsiteX6" fmla="*/ 961 w 12569"/>
                  <a:gd name="connsiteY6" fmla="*/ 11279 h 19896"/>
                  <a:gd name="connsiteX7" fmla="*/ 0 w 12569"/>
                  <a:gd name="connsiteY7" fmla="*/ 6449 h 19896"/>
                  <a:gd name="connsiteX8" fmla="*/ 4281 w 12569"/>
                  <a:gd name="connsiteY8" fmla="*/ 0 h 19896"/>
                  <a:gd name="connsiteX9" fmla="*/ 10346 w 12569"/>
                  <a:gd name="connsiteY9" fmla="*/ 604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69" h="19896">
                    <a:moveTo>
                      <a:pt x="10319" y="576"/>
                    </a:moveTo>
                    <a:lnTo>
                      <a:pt x="12569" y="7025"/>
                    </a:lnTo>
                    <a:lnTo>
                      <a:pt x="9111" y="14545"/>
                    </a:lnTo>
                    <a:lnTo>
                      <a:pt x="9056" y="19896"/>
                    </a:lnTo>
                    <a:lnTo>
                      <a:pt x="4610" y="18771"/>
                    </a:lnTo>
                    <a:lnTo>
                      <a:pt x="4501" y="11773"/>
                    </a:lnTo>
                    <a:lnTo>
                      <a:pt x="961" y="11279"/>
                    </a:lnTo>
                    <a:lnTo>
                      <a:pt x="0" y="6449"/>
                    </a:lnTo>
                    <a:lnTo>
                      <a:pt x="4281" y="0"/>
                    </a:lnTo>
                    <a:lnTo>
                      <a:pt x="10346" y="6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4" name="Freeform: Shape 4353">
                <a:extLst>
                  <a:ext uri="{FF2B5EF4-FFF2-40B4-BE49-F238E27FC236}">
                    <a16:creationId xmlns:a16="http://schemas.microsoft.com/office/drawing/2014/main" id="{616E4F87-926F-1305-74D8-D25E798F1F76}"/>
                  </a:ext>
                </a:extLst>
              </p:cNvPr>
              <p:cNvSpPr/>
              <p:nvPr/>
            </p:nvSpPr>
            <p:spPr>
              <a:xfrm>
                <a:off x="1541454" y="3404843"/>
                <a:ext cx="2044" cy="1978"/>
              </a:xfrm>
              <a:custGeom>
                <a:avLst/>
                <a:gdLst>
                  <a:gd name="connsiteX0" fmla="*/ 19320 w 19594"/>
                  <a:gd name="connsiteY0" fmla="*/ 6998 h 18963"/>
                  <a:gd name="connsiteX1" fmla="*/ 15368 w 19594"/>
                  <a:gd name="connsiteY1" fmla="*/ 17124 h 18963"/>
                  <a:gd name="connsiteX2" fmla="*/ 6943 w 19594"/>
                  <a:gd name="connsiteY2" fmla="*/ 16795 h 18963"/>
                  <a:gd name="connsiteX3" fmla="*/ 5763 w 19594"/>
                  <a:gd name="connsiteY3" fmla="*/ 18963 h 18963"/>
                  <a:gd name="connsiteX4" fmla="*/ 467 w 19594"/>
                  <a:gd name="connsiteY4" fmla="*/ 14380 h 18963"/>
                  <a:gd name="connsiteX5" fmla="*/ 0 w 19594"/>
                  <a:gd name="connsiteY5" fmla="*/ 10730 h 18963"/>
                  <a:gd name="connsiteX6" fmla="*/ 2113 w 19594"/>
                  <a:gd name="connsiteY6" fmla="*/ 2305 h 18963"/>
                  <a:gd name="connsiteX7" fmla="*/ 19595 w 19594"/>
                  <a:gd name="connsiteY7" fmla="*/ 0 h 18963"/>
                  <a:gd name="connsiteX8" fmla="*/ 19292 w 19594"/>
                  <a:gd name="connsiteY8" fmla="*/ 6971 h 1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94" h="18963">
                    <a:moveTo>
                      <a:pt x="19320" y="6998"/>
                    </a:moveTo>
                    <a:lnTo>
                      <a:pt x="15368" y="17124"/>
                    </a:lnTo>
                    <a:lnTo>
                      <a:pt x="6943" y="16795"/>
                    </a:lnTo>
                    <a:lnTo>
                      <a:pt x="5763" y="18963"/>
                    </a:lnTo>
                    <a:lnTo>
                      <a:pt x="467" y="14380"/>
                    </a:lnTo>
                    <a:lnTo>
                      <a:pt x="0" y="10730"/>
                    </a:lnTo>
                    <a:lnTo>
                      <a:pt x="2113" y="2305"/>
                    </a:lnTo>
                    <a:lnTo>
                      <a:pt x="19595" y="0"/>
                    </a:lnTo>
                    <a:lnTo>
                      <a:pt x="19292" y="69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5" name="Freeform: Shape 4354">
                <a:extLst>
                  <a:ext uri="{FF2B5EF4-FFF2-40B4-BE49-F238E27FC236}">
                    <a16:creationId xmlns:a16="http://schemas.microsoft.com/office/drawing/2014/main" id="{04237CD7-2376-D2B4-0064-0A738D5E42CB}"/>
                  </a:ext>
                </a:extLst>
              </p:cNvPr>
              <p:cNvSpPr/>
              <p:nvPr/>
            </p:nvSpPr>
            <p:spPr>
              <a:xfrm>
                <a:off x="1661362" y="3471249"/>
                <a:ext cx="913" cy="2962"/>
              </a:xfrm>
              <a:custGeom>
                <a:avLst/>
                <a:gdLst>
                  <a:gd name="connsiteX0" fmla="*/ 6120 w 8754"/>
                  <a:gd name="connsiteY0" fmla="*/ 11389 h 28403"/>
                  <a:gd name="connsiteX1" fmla="*/ 8754 w 8754"/>
                  <a:gd name="connsiteY1" fmla="*/ 20280 h 28403"/>
                  <a:gd name="connsiteX2" fmla="*/ 7738 w 8754"/>
                  <a:gd name="connsiteY2" fmla="*/ 25248 h 28403"/>
                  <a:gd name="connsiteX3" fmla="*/ 5269 w 8754"/>
                  <a:gd name="connsiteY3" fmla="*/ 16768 h 28403"/>
                  <a:gd name="connsiteX4" fmla="*/ 3128 w 8754"/>
                  <a:gd name="connsiteY4" fmla="*/ 19539 h 28403"/>
                  <a:gd name="connsiteX5" fmla="*/ 3348 w 8754"/>
                  <a:gd name="connsiteY5" fmla="*/ 28019 h 28403"/>
                  <a:gd name="connsiteX6" fmla="*/ 1455 w 8754"/>
                  <a:gd name="connsiteY6" fmla="*/ 28403 h 28403"/>
                  <a:gd name="connsiteX7" fmla="*/ 1811 w 8754"/>
                  <a:gd name="connsiteY7" fmla="*/ 18442 h 28403"/>
                  <a:gd name="connsiteX8" fmla="*/ 0 w 8754"/>
                  <a:gd name="connsiteY8" fmla="*/ 12404 h 28403"/>
                  <a:gd name="connsiteX9" fmla="*/ 274 w 8754"/>
                  <a:gd name="connsiteY9" fmla="*/ 10017 h 28403"/>
                  <a:gd name="connsiteX10" fmla="*/ 4363 w 8754"/>
                  <a:gd name="connsiteY10" fmla="*/ 11636 h 28403"/>
                  <a:gd name="connsiteX11" fmla="*/ 5131 w 8754"/>
                  <a:gd name="connsiteY11" fmla="*/ 0 h 28403"/>
                  <a:gd name="connsiteX12" fmla="*/ 7602 w 8754"/>
                  <a:gd name="connsiteY12" fmla="*/ 110 h 28403"/>
                  <a:gd name="connsiteX13" fmla="*/ 7986 w 8754"/>
                  <a:gd name="connsiteY13" fmla="*/ 5983 h 28403"/>
                  <a:gd name="connsiteX14" fmla="*/ 6147 w 8754"/>
                  <a:gd name="connsiteY14" fmla="*/ 11416 h 28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54" h="28403">
                    <a:moveTo>
                      <a:pt x="6120" y="11389"/>
                    </a:moveTo>
                    <a:lnTo>
                      <a:pt x="8754" y="20280"/>
                    </a:lnTo>
                    <a:lnTo>
                      <a:pt x="7738" y="25248"/>
                    </a:lnTo>
                    <a:lnTo>
                      <a:pt x="5269" y="16768"/>
                    </a:lnTo>
                    <a:lnTo>
                      <a:pt x="3128" y="19539"/>
                    </a:lnTo>
                    <a:lnTo>
                      <a:pt x="3348" y="28019"/>
                    </a:lnTo>
                    <a:lnTo>
                      <a:pt x="1455" y="28403"/>
                    </a:lnTo>
                    <a:lnTo>
                      <a:pt x="1811" y="18442"/>
                    </a:lnTo>
                    <a:lnTo>
                      <a:pt x="0" y="12404"/>
                    </a:lnTo>
                    <a:lnTo>
                      <a:pt x="274" y="10017"/>
                    </a:lnTo>
                    <a:lnTo>
                      <a:pt x="4363" y="11636"/>
                    </a:lnTo>
                    <a:lnTo>
                      <a:pt x="5131" y="0"/>
                    </a:lnTo>
                    <a:lnTo>
                      <a:pt x="7602" y="110"/>
                    </a:lnTo>
                    <a:lnTo>
                      <a:pt x="7986" y="5983"/>
                    </a:lnTo>
                    <a:lnTo>
                      <a:pt x="6147" y="114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6" name="Freeform: Shape 4355">
                <a:extLst>
                  <a:ext uri="{FF2B5EF4-FFF2-40B4-BE49-F238E27FC236}">
                    <a16:creationId xmlns:a16="http://schemas.microsoft.com/office/drawing/2014/main" id="{A742B3DB-DF8B-72F3-F59E-3177435093DA}"/>
                  </a:ext>
                </a:extLst>
              </p:cNvPr>
              <p:cNvSpPr/>
              <p:nvPr/>
            </p:nvSpPr>
            <p:spPr>
              <a:xfrm>
                <a:off x="1639051" y="3458531"/>
                <a:ext cx="1548" cy="1869"/>
              </a:xfrm>
              <a:custGeom>
                <a:avLst/>
                <a:gdLst>
                  <a:gd name="connsiteX0" fmla="*/ 13886 w 14846"/>
                  <a:gd name="connsiteY0" fmla="*/ 14298 h 17920"/>
                  <a:gd name="connsiteX1" fmla="*/ 10812 w 14846"/>
                  <a:gd name="connsiteY1" fmla="*/ 17920 h 17920"/>
                  <a:gd name="connsiteX2" fmla="*/ 6229 w 14846"/>
                  <a:gd name="connsiteY2" fmla="*/ 17673 h 17920"/>
                  <a:gd name="connsiteX3" fmla="*/ 1152 w 14846"/>
                  <a:gd name="connsiteY3" fmla="*/ 13282 h 17920"/>
                  <a:gd name="connsiteX4" fmla="*/ 0 w 14846"/>
                  <a:gd name="connsiteY4" fmla="*/ 12294 h 17920"/>
                  <a:gd name="connsiteX5" fmla="*/ 1152 w 14846"/>
                  <a:gd name="connsiteY5" fmla="*/ 7547 h 17920"/>
                  <a:gd name="connsiteX6" fmla="*/ 1976 w 14846"/>
                  <a:gd name="connsiteY6" fmla="*/ 4116 h 17920"/>
                  <a:gd name="connsiteX7" fmla="*/ 6065 w 14846"/>
                  <a:gd name="connsiteY7" fmla="*/ 357 h 17920"/>
                  <a:gd name="connsiteX8" fmla="*/ 11718 w 14846"/>
                  <a:gd name="connsiteY8" fmla="*/ 0 h 17920"/>
                  <a:gd name="connsiteX9" fmla="*/ 12020 w 14846"/>
                  <a:gd name="connsiteY9" fmla="*/ 4556 h 17920"/>
                  <a:gd name="connsiteX10" fmla="*/ 14846 w 14846"/>
                  <a:gd name="connsiteY10" fmla="*/ 8288 h 17920"/>
                  <a:gd name="connsiteX11" fmla="*/ 13886 w 14846"/>
                  <a:gd name="connsiteY11" fmla="*/ 14270 h 1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46" h="17920">
                    <a:moveTo>
                      <a:pt x="13886" y="14298"/>
                    </a:moveTo>
                    <a:lnTo>
                      <a:pt x="10812" y="17920"/>
                    </a:lnTo>
                    <a:lnTo>
                      <a:pt x="6229" y="17673"/>
                    </a:lnTo>
                    <a:lnTo>
                      <a:pt x="1152" y="13282"/>
                    </a:lnTo>
                    <a:lnTo>
                      <a:pt x="0" y="12294"/>
                    </a:lnTo>
                    <a:lnTo>
                      <a:pt x="1152" y="7547"/>
                    </a:lnTo>
                    <a:lnTo>
                      <a:pt x="1976" y="4116"/>
                    </a:lnTo>
                    <a:lnTo>
                      <a:pt x="6065" y="357"/>
                    </a:lnTo>
                    <a:lnTo>
                      <a:pt x="11718" y="0"/>
                    </a:lnTo>
                    <a:lnTo>
                      <a:pt x="12020" y="4556"/>
                    </a:lnTo>
                    <a:lnTo>
                      <a:pt x="14846" y="8288"/>
                    </a:lnTo>
                    <a:lnTo>
                      <a:pt x="13886" y="142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7" name="Freeform: Shape 4356">
                <a:extLst>
                  <a:ext uri="{FF2B5EF4-FFF2-40B4-BE49-F238E27FC236}">
                    <a16:creationId xmlns:a16="http://schemas.microsoft.com/office/drawing/2014/main" id="{A510FF5D-B2B3-F10B-1A66-5315894397D0}"/>
                  </a:ext>
                </a:extLst>
              </p:cNvPr>
              <p:cNvSpPr/>
              <p:nvPr/>
            </p:nvSpPr>
            <p:spPr>
              <a:xfrm>
                <a:off x="1474315" y="3578515"/>
                <a:ext cx="1053" cy="1357"/>
              </a:xfrm>
              <a:custGeom>
                <a:avLst/>
                <a:gdLst>
                  <a:gd name="connsiteX0" fmla="*/ 7793 w 10098"/>
                  <a:gd name="connsiteY0" fmla="*/ 6998 h 13007"/>
                  <a:gd name="connsiteX1" fmla="*/ 10099 w 10098"/>
                  <a:gd name="connsiteY1" fmla="*/ 9715 h 13007"/>
                  <a:gd name="connsiteX2" fmla="*/ 8589 w 10098"/>
                  <a:gd name="connsiteY2" fmla="*/ 13008 h 13007"/>
                  <a:gd name="connsiteX3" fmla="*/ 1455 w 10098"/>
                  <a:gd name="connsiteY3" fmla="*/ 7657 h 13007"/>
                  <a:gd name="connsiteX4" fmla="*/ 0 w 10098"/>
                  <a:gd name="connsiteY4" fmla="*/ 3787 h 13007"/>
                  <a:gd name="connsiteX5" fmla="*/ 8589 w 10098"/>
                  <a:gd name="connsiteY5" fmla="*/ 0 h 13007"/>
                  <a:gd name="connsiteX6" fmla="*/ 10071 w 10098"/>
                  <a:gd name="connsiteY6" fmla="*/ 4226 h 13007"/>
                  <a:gd name="connsiteX7" fmla="*/ 7793 w 10098"/>
                  <a:gd name="connsiteY7" fmla="*/ 699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98" h="13007">
                    <a:moveTo>
                      <a:pt x="7793" y="6998"/>
                    </a:moveTo>
                    <a:lnTo>
                      <a:pt x="10099" y="9715"/>
                    </a:lnTo>
                    <a:lnTo>
                      <a:pt x="8589" y="13008"/>
                    </a:lnTo>
                    <a:lnTo>
                      <a:pt x="1455" y="7657"/>
                    </a:lnTo>
                    <a:lnTo>
                      <a:pt x="0" y="3787"/>
                    </a:lnTo>
                    <a:lnTo>
                      <a:pt x="8589" y="0"/>
                    </a:lnTo>
                    <a:lnTo>
                      <a:pt x="10071" y="4226"/>
                    </a:lnTo>
                    <a:lnTo>
                      <a:pt x="7793" y="69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8" name="Freeform: Shape 4357">
                <a:extLst>
                  <a:ext uri="{FF2B5EF4-FFF2-40B4-BE49-F238E27FC236}">
                    <a16:creationId xmlns:a16="http://schemas.microsoft.com/office/drawing/2014/main" id="{832EC223-4E86-0A63-A66E-B42DA2290911}"/>
                  </a:ext>
                </a:extLst>
              </p:cNvPr>
              <p:cNvSpPr/>
              <p:nvPr/>
            </p:nvSpPr>
            <p:spPr>
              <a:xfrm>
                <a:off x="1694712" y="3457678"/>
                <a:ext cx="1262" cy="2078"/>
              </a:xfrm>
              <a:custGeom>
                <a:avLst/>
                <a:gdLst>
                  <a:gd name="connsiteX0" fmla="*/ 0 w 12102"/>
                  <a:gd name="connsiteY0" fmla="*/ 8425 h 19923"/>
                  <a:gd name="connsiteX1" fmla="*/ 1838 w 12102"/>
                  <a:gd name="connsiteY1" fmla="*/ 2442 h 19923"/>
                  <a:gd name="connsiteX2" fmla="*/ 7025 w 12102"/>
                  <a:gd name="connsiteY2" fmla="*/ 6257 h 19923"/>
                  <a:gd name="connsiteX3" fmla="*/ 9138 w 12102"/>
                  <a:gd name="connsiteY3" fmla="*/ 0 h 19923"/>
                  <a:gd name="connsiteX4" fmla="*/ 12102 w 12102"/>
                  <a:gd name="connsiteY4" fmla="*/ 7245 h 19923"/>
                  <a:gd name="connsiteX5" fmla="*/ 11279 w 12102"/>
                  <a:gd name="connsiteY5" fmla="*/ 12788 h 19923"/>
                  <a:gd name="connsiteX6" fmla="*/ 1097 w 12102"/>
                  <a:gd name="connsiteY6" fmla="*/ 19924 h 19923"/>
                  <a:gd name="connsiteX7" fmla="*/ 0 w 12102"/>
                  <a:gd name="connsiteY7" fmla="*/ 8425 h 19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02" h="19923">
                    <a:moveTo>
                      <a:pt x="0" y="8425"/>
                    </a:moveTo>
                    <a:lnTo>
                      <a:pt x="1838" y="2442"/>
                    </a:lnTo>
                    <a:lnTo>
                      <a:pt x="7025" y="6257"/>
                    </a:lnTo>
                    <a:lnTo>
                      <a:pt x="9138" y="0"/>
                    </a:lnTo>
                    <a:lnTo>
                      <a:pt x="12102" y="7245"/>
                    </a:lnTo>
                    <a:lnTo>
                      <a:pt x="11279" y="12788"/>
                    </a:lnTo>
                    <a:lnTo>
                      <a:pt x="1097" y="19924"/>
                    </a:lnTo>
                    <a:lnTo>
                      <a:pt x="0" y="84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9" name="Freeform: Shape 4358">
                <a:extLst>
                  <a:ext uri="{FF2B5EF4-FFF2-40B4-BE49-F238E27FC236}">
                    <a16:creationId xmlns:a16="http://schemas.microsoft.com/office/drawing/2014/main" id="{8A10325D-A56B-9EA7-C7E8-DFCC7C6D0FB8}"/>
                  </a:ext>
                </a:extLst>
              </p:cNvPr>
              <p:cNvSpPr/>
              <p:nvPr/>
            </p:nvSpPr>
            <p:spPr>
              <a:xfrm>
                <a:off x="1645685" y="3420700"/>
                <a:ext cx="1826" cy="1603"/>
              </a:xfrm>
              <a:custGeom>
                <a:avLst/>
                <a:gdLst>
                  <a:gd name="connsiteX0" fmla="*/ 17481 w 17508"/>
                  <a:gd name="connsiteY0" fmla="*/ 10758 h 15368"/>
                  <a:gd name="connsiteX1" fmla="*/ 11032 w 17508"/>
                  <a:gd name="connsiteY1" fmla="*/ 15368 h 15368"/>
                  <a:gd name="connsiteX2" fmla="*/ 466 w 17508"/>
                  <a:gd name="connsiteY2" fmla="*/ 7492 h 15368"/>
                  <a:gd name="connsiteX3" fmla="*/ 0 w 17508"/>
                  <a:gd name="connsiteY3" fmla="*/ 4857 h 15368"/>
                  <a:gd name="connsiteX4" fmla="*/ 1152 w 17508"/>
                  <a:gd name="connsiteY4" fmla="*/ 0 h 15368"/>
                  <a:gd name="connsiteX5" fmla="*/ 13996 w 17508"/>
                  <a:gd name="connsiteY5" fmla="*/ 1509 h 15368"/>
                  <a:gd name="connsiteX6" fmla="*/ 17508 w 17508"/>
                  <a:gd name="connsiteY6" fmla="*/ 4885 h 15368"/>
                  <a:gd name="connsiteX7" fmla="*/ 17508 w 17508"/>
                  <a:gd name="connsiteY7" fmla="*/ 10785 h 1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08" h="15368">
                    <a:moveTo>
                      <a:pt x="17481" y="10758"/>
                    </a:moveTo>
                    <a:lnTo>
                      <a:pt x="11032" y="15368"/>
                    </a:lnTo>
                    <a:lnTo>
                      <a:pt x="466" y="7492"/>
                    </a:lnTo>
                    <a:lnTo>
                      <a:pt x="0" y="4857"/>
                    </a:lnTo>
                    <a:lnTo>
                      <a:pt x="1152" y="0"/>
                    </a:lnTo>
                    <a:lnTo>
                      <a:pt x="13996" y="1509"/>
                    </a:lnTo>
                    <a:lnTo>
                      <a:pt x="17508" y="4885"/>
                    </a:lnTo>
                    <a:lnTo>
                      <a:pt x="17508" y="107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0" name="Freeform: Shape 4359">
                <a:extLst>
                  <a:ext uri="{FF2B5EF4-FFF2-40B4-BE49-F238E27FC236}">
                    <a16:creationId xmlns:a16="http://schemas.microsoft.com/office/drawing/2014/main" id="{DA455299-D631-3C11-7E60-5E398829E058}"/>
                  </a:ext>
                </a:extLst>
              </p:cNvPr>
              <p:cNvSpPr/>
              <p:nvPr/>
            </p:nvSpPr>
            <p:spPr>
              <a:xfrm>
                <a:off x="1528602" y="3404508"/>
                <a:ext cx="942" cy="3363"/>
              </a:xfrm>
              <a:custGeom>
                <a:avLst/>
                <a:gdLst>
                  <a:gd name="connsiteX0" fmla="*/ 0 w 9028"/>
                  <a:gd name="connsiteY0" fmla="*/ 2827 h 32245"/>
                  <a:gd name="connsiteX1" fmla="*/ 576 w 9028"/>
                  <a:gd name="connsiteY1" fmla="*/ 0 h 32245"/>
                  <a:gd name="connsiteX2" fmla="*/ 5489 w 9028"/>
                  <a:gd name="connsiteY2" fmla="*/ 2909 h 32245"/>
                  <a:gd name="connsiteX3" fmla="*/ 6888 w 9028"/>
                  <a:gd name="connsiteY3" fmla="*/ 16850 h 32245"/>
                  <a:gd name="connsiteX4" fmla="*/ 9029 w 9028"/>
                  <a:gd name="connsiteY4" fmla="*/ 23134 h 32245"/>
                  <a:gd name="connsiteX5" fmla="*/ 7712 w 9028"/>
                  <a:gd name="connsiteY5" fmla="*/ 32245 h 32245"/>
                  <a:gd name="connsiteX6" fmla="*/ 3293 w 9028"/>
                  <a:gd name="connsiteY6" fmla="*/ 29172 h 32245"/>
                  <a:gd name="connsiteX7" fmla="*/ 192 w 9028"/>
                  <a:gd name="connsiteY7" fmla="*/ 23299 h 32245"/>
                  <a:gd name="connsiteX8" fmla="*/ 1070 w 9028"/>
                  <a:gd name="connsiteY8" fmla="*/ 8590 h 32245"/>
                  <a:gd name="connsiteX9" fmla="*/ 27 w 9028"/>
                  <a:gd name="connsiteY9" fmla="*/ 2854 h 3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8" h="32245">
                    <a:moveTo>
                      <a:pt x="0" y="2827"/>
                    </a:moveTo>
                    <a:lnTo>
                      <a:pt x="576" y="0"/>
                    </a:lnTo>
                    <a:lnTo>
                      <a:pt x="5489" y="2909"/>
                    </a:lnTo>
                    <a:lnTo>
                      <a:pt x="6888" y="16850"/>
                    </a:lnTo>
                    <a:lnTo>
                      <a:pt x="9029" y="23134"/>
                    </a:lnTo>
                    <a:lnTo>
                      <a:pt x="7712" y="32245"/>
                    </a:lnTo>
                    <a:lnTo>
                      <a:pt x="3293" y="29172"/>
                    </a:lnTo>
                    <a:lnTo>
                      <a:pt x="192" y="23299"/>
                    </a:lnTo>
                    <a:lnTo>
                      <a:pt x="1070" y="8590"/>
                    </a:lnTo>
                    <a:lnTo>
                      <a:pt x="27"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1" name="Freeform: Shape 4360">
                <a:extLst>
                  <a:ext uri="{FF2B5EF4-FFF2-40B4-BE49-F238E27FC236}">
                    <a16:creationId xmlns:a16="http://schemas.microsoft.com/office/drawing/2014/main" id="{7A5B9DD2-0B6F-56A2-1246-F694203DA3FD}"/>
                  </a:ext>
                </a:extLst>
              </p:cNvPr>
              <p:cNvSpPr/>
              <p:nvPr/>
            </p:nvSpPr>
            <p:spPr>
              <a:xfrm>
                <a:off x="1534424" y="3410287"/>
                <a:ext cx="1288" cy="2198"/>
              </a:xfrm>
              <a:custGeom>
                <a:avLst/>
                <a:gdLst>
                  <a:gd name="connsiteX0" fmla="*/ 11746 w 12349"/>
                  <a:gd name="connsiteY0" fmla="*/ 12953 h 21076"/>
                  <a:gd name="connsiteX1" fmla="*/ 1290 w 12349"/>
                  <a:gd name="connsiteY1" fmla="*/ 21076 h 21076"/>
                  <a:gd name="connsiteX2" fmla="*/ 0 w 12349"/>
                  <a:gd name="connsiteY2" fmla="*/ 17426 h 21076"/>
                  <a:gd name="connsiteX3" fmla="*/ 988 w 12349"/>
                  <a:gd name="connsiteY3" fmla="*/ 5790 h 21076"/>
                  <a:gd name="connsiteX4" fmla="*/ 8013 w 12349"/>
                  <a:gd name="connsiteY4" fmla="*/ 0 h 21076"/>
                  <a:gd name="connsiteX5" fmla="*/ 12349 w 12349"/>
                  <a:gd name="connsiteY5" fmla="*/ 3732 h 21076"/>
                  <a:gd name="connsiteX6" fmla="*/ 11746 w 12349"/>
                  <a:gd name="connsiteY6" fmla="*/ 12953 h 2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49" h="21076">
                    <a:moveTo>
                      <a:pt x="11746" y="12953"/>
                    </a:moveTo>
                    <a:lnTo>
                      <a:pt x="1290" y="21076"/>
                    </a:lnTo>
                    <a:lnTo>
                      <a:pt x="0" y="17426"/>
                    </a:lnTo>
                    <a:lnTo>
                      <a:pt x="988" y="5790"/>
                    </a:lnTo>
                    <a:lnTo>
                      <a:pt x="8013" y="0"/>
                    </a:lnTo>
                    <a:lnTo>
                      <a:pt x="12349" y="3732"/>
                    </a:lnTo>
                    <a:lnTo>
                      <a:pt x="11746" y="129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3" name="Freeform: Shape 4362">
                <a:extLst>
                  <a:ext uri="{FF2B5EF4-FFF2-40B4-BE49-F238E27FC236}">
                    <a16:creationId xmlns:a16="http://schemas.microsoft.com/office/drawing/2014/main" id="{2302545F-04C7-43CF-AFD9-DB9F5B7D4D56}"/>
                  </a:ext>
                </a:extLst>
              </p:cNvPr>
              <p:cNvSpPr/>
              <p:nvPr/>
            </p:nvSpPr>
            <p:spPr>
              <a:xfrm>
                <a:off x="1618310" y="3497974"/>
                <a:ext cx="1088" cy="1199"/>
              </a:xfrm>
              <a:custGeom>
                <a:avLst/>
                <a:gdLst>
                  <a:gd name="connsiteX0" fmla="*/ 0 w 10428"/>
                  <a:gd name="connsiteY0" fmla="*/ 6751 h 11498"/>
                  <a:gd name="connsiteX1" fmla="*/ 1757 w 10428"/>
                  <a:gd name="connsiteY1" fmla="*/ 3156 h 11498"/>
                  <a:gd name="connsiteX2" fmla="*/ 5818 w 10428"/>
                  <a:gd name="connsiteY2" fmla="*/ 0 h 11498"/>
                  <a:gd name="connsiteX3" fmla="*/ 10428 w 10428"/>
                  <a:gd name="connsiteY3" fmla="*/ 3074 h 11498"/>
                  <a:gd name="connsiteX4" fmla="*/ 8260 w 10428"/>
                  <a:gd name="connsiteY4" fmla="*/ 11499 h 11498"/>
                  <a:gd name="connsiteX5" fmla="*/ 1812 w 10428"/>
                  <a:gd name="connsiteY5" fmla="*/ 9633 h 11498"/>
                  <a:gd name="connsiteX6" fmla="*/ 0 w 10428"/>
                  <a:gd name="connsiteY6" fmla="*/ 6779 h 1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8" h="11498">
                    <a:moveTo>
                      <a:pt x="0" y="6751"/>
                    </a:moveTo>
                    <a:lnTo>
                      <a:pt x="1757" y="3156"/>
                    </a:lnTo>
                    <a:lnTo>
                      <a:pt x="5818" y="0"/>
                    </a:lnTo>
                    <a:lnTo>
                      <a:pt x="10428" y="3074"/>
                    </a:lnTo>
                    <a:lnTo>
                      <a:pt x="8260" y="11499"/>
                    </a:lnTo>
                    <a:lnTo>
                      <a:pt x="1812" y="9633"/>
                    </a:lnTo>
                    <a:lnTo>
                      <a:pt x="0" y="67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4" name="Freeform: Shape 4363">
                <a:extLst>
                  <a:ext uri="{FF2B5EF4-FFF2-40B4-BE49-F238E27FC236}">
                    <a16:creationId xmlns:a16="http://schemas.microsoft.com/office/drawing/2014/main" id="{ABCBD581-7629-B5BA-9A03-61771708DC84}"/>
                  </a:ext>
                </a:extLst>
              </p:cNvPr>
              <p:cNvSpPr/>
              <p:nvPr/>
            </p:nvSpPr>
            <p:spPr>
              <a:xfrm>
                <a:off x="1531401" y="3410985"/>
                <a:ext cx="979" cy="2098"/>
              </a:xfrm>
              <a:custGeom>
                <a:avLst/>
                <a:gdLst>
                  <a:gd name="connsiteX0" fmla="*/ 6339 w 9385"/>
                  <a:gd name="connsiteY0" fmla="*/ 16603 h 20115"/>
                  <a:gd name="connsiteX1" fmla="*/ 2031 w 9385"/>
                  <a:gd name="connsiteY1" fmla="*/ 20116 h 20115"/>
                  <a:gd name="connsiteX2" fmla="*/ 0 w 9385"/>
                  <a:gd name="connsiteY2" fmla="*/ 4720 h 20115"/>
                  <a:gd name="connsiteX3" fmla="*/ 6367 w 9385"/>
                  <a:gd name="connsiteY3" fmla="*/ 0 h 20115"/>
                  <a:gd name="connsiteX4" fmla="*/ 9385 w 9385"/>
                  <a:gd name="connsiteY4" fmla="*/ 5406 h 20115"/>
                  <a:gd name="connsiteX5" fmla="*/ 8370 w 9385"/>
                  <a:gd name="connsiteY5" fmla="*/ 14078 h 20115"/>
                  <a:gd name="connsiteX6" fmla="*/ 6394 w 9385"/>
                  <a:gd name="connsiteY6" fmla="*/ 16575 h 2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5" h="20115">
                    <a:moveTo>
                      <a:pt x="6339" y="16603"/>
                    </a:moveTo>
                    <a:lnTo>
                      <a:pt x="2031" y="20116"/>
                    </a:lnTo>
                    <a:lnTo>
                      <a:pt x="0" y="4720"/>
                    </a:lnTo>
                    <a:lnTo>
                      <a:pt x="6367" y="0"/>
                    </a:lnTo>
                    <a:lnTo>
                      <a:pt x="9385" y="5406"/>
                    </a:lnTo>
                    <a:lnTo>
                      <a:pt x="8370" y="14078"/>
                    </a:lnTo>
                    <a:lnTo>
                      <a:pt x="6394" y="165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5" name="Freeform: Shape 4364">
                <a:extLst>
                  <a:ext uri="{FF2B5EF4-FFF2-40B4-BE49-F238E27FC236}">
                    <a16:creationId xmlns:a16="http://schemas.microsoft.com/office/drawing/2014/main" id="{1E25346B-79F9-DDD6-095F-4F13C7F23297}"/>
                  </a:ext>
                </a:extLst>
              </p:cNvPr>
              <p:cNvSpPr/>
              <p:nvPr/>
            </p:nvSpPr>
            <p:spPr>
              <a:xfrm>
                <a:off x="1597175" y="3504749"/>
                <a:ext cx="1102" cy="1088"/>
              </a:xfrm>
              <a:custGeom>
                <a:avLst/>
                <a:gdLst>
                  <a:gd name="connsiteX0" fmla="*/ 8727 w 10565"/>
                  <a:gd name="connsiteY0" fmla="*/ 10154 h 10428"/>
                  <a:gd name="connsiteX1" fmla="*/ 82 w 10565"/>
                  <a:gd name="connsiteY1" fmla="*/ 10428 h 10428"/>
                  <a:gd name="connsiteX2" fmla="*/ 0 w 10565"/>
                  <a:gd name="connsiteY2" fmla="*/ 7876 h 10428"/>
                  <a:gd name="connsiteX3" fmla="*/ 549 w 10565"/>
                  <a:gd name="connsiteY3" fmla="*/ 1619 h 10428"/>
                  <a:gd name="connsiteX4" fmla="*/ 10154 w 10565"/>
                  <a:gd name="connsiteY4" fmla="*/ 0 h 10428"/>
                  <a:gd name="connsiteX5" fmla="*/ 10565 w 10565"/>
                  <a:gd name="connsiteY5" fmla="*/ 3183 h 10428"/>
                  <a:gd name="connsiteX6" fmla="*/ 8727 w 10565"/>
                  <a:gd name="connsiteY6" fmla="*/ 10126 h 1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5" h="10428">
                    <a:moveTo>
                      <a:pt x="8727" y="10154"/>
                    </a:moveTo>
                    <a:lnTo>
                      <a:pt x="82" y="10428"/>
                    </a:lnTo>
                    <a:lnTo>
                      <a:pt x="0" y="7876"/>
                    </a:lnTo>
                    <a:lnTo>
                      <a:pt x="549" y="1619"/>
                    </a:lnTo>
                    <a:lnTo>
                      <a:pt x="10154" y="0"/>
                    </a:lnTo>
                    <a:lnTo>
                      <a:pt x="10565" y="3183"/>
                    </a:lnTo>
                    <a:lnTo>
                      <a:pt x="8727" y="101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6" name="Freeform: Shape 4365">
                <a:extLst>
                  <a:ext uri="{FF2B5EF4-FFF2-40B4-BE49-F238E27FC236}">
                    <a16:creationId xmlns:a16="http://schemas.microsoft.com/office/drawing/2014/main" id="{A0484D27-4700-F409-6912-E0F5A671E7DF}"/>
                  </a:ext>
                </a:extLst>
              </p:cNvPr>
              <p:cNvSpPr/>
              <p:nvPr/>
            </p:nvSpPr>
            <p:spPr>
              <a:xfrm>
                <a:off x="1549697" y="3391476"/>
                <a:ext cx="1466" cy="1506"/>
              </a:xfrm>
              <a:custGeom>
                <a:avLst/>
                <a:gdLst>
                  <a:gd name="connsiteX0" fmla="*/ 0 w 14051"/>
                  <a:gd name="connsiteY0" fmla="*/ 3238 h 14435"/>
                  <a:gd name="connsiteX1" fmla="*/ 549 w 14051"/>
                  <a:gd name="connsiteY1" fmla="*/ 0 h 14435"/>
                  <a:gd name="connsiteX2" fmla="*/ 5434 w 14051"/>
                  <a:gd name="connsiteY2" fmla="*/ 412 h 14435"/>
                  <a:gd name="connsiteX3" fmla="*/ 14051 w 14051"/>
                  <a:gd name="connsiteY3" fmla="*/ 4199 h 14435"/>
                  <a:gd name="connsiteX4" fmla="*/ 14051 w 14051"/>
                  <a:gd name="connsiteY4" fmla="*/ 11663 h 14435"/>
                  <a:gd name="connsiteX5" fmla="*/ 10676 w 14051"/>
                  <a:gd name="connsiteY5" fmla="*/ 14435 h 14435"/>
                  <a:gd name="connsiteX6" fmla="*/ 823 w 14051"/>
                  <a:gd name="connsiteY6" fmla="*/ 8315 h 14435"/>
                  <a:gd name="connsiteX7" fmla="*/ 27 w 14051"/>
                  <a:gd name="connsiteY7" fmla="*/ 3266 h 1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51" h="14435">
                    <a:moveTo>
                      <a:pt x="0" y="3238"/>
                    </a:moveTo>
                    <a:lnTo>
                      <a:pt x="549" y="0"/>
                    </a:lnTo>
                    <a:lnTo>
                      <a:pt x="5434" y="412"/>
                    </a:lnTo>
                    <a:lnTo>
                      <a:pt x="14051" y="4199"/>
                    </a:lnTo>
                    <a:lnTo>
                      <a:pt x="14051" y="11663"/>
                    </a:lnTo>
                    <a:cubicBezTo>
                      <a:pt x="14051" y="11663"/>
                      <a:pt x="10676" y="14435"/>
                      <a:pt x="10676" y="14435"/>
                    </a:cubicBezTo>
                    <a:lnTo>
                      <a:pt x="823" y="8315"/>
                    </a:lnTo>
                    <a:lnTo>
                      <a:pt x="27"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7" name="Freeform: Shape 4366">
                <a:extLst>
                  <a:ext uri="{FF2B5EF4-FFF2-40B4-BE49-F238E27FC236}">
                    <a16:creationId xmlns:a16="http://schemas.microsoft.com/office/drawing/2014/main" id="{F69C6281-D532-B825-24AC-C6836CD2A831}"/>
                  </a:ext>
                </a:extLst>
              </p:cNvPr>
              <p:cNvSpPr/>
              <p:nvPr/>
            </p:nvSpPr>
            <p:spPr>
              <a:xfrm>
                <a:off x="1599052" y="3508282"/>
                <a:ext cx="1405" cy="816"/>
              </a:xfrm>
              <a:custGeom>
                <a:avLst/>
                <a:gdLst>
                  <a:gd name="connsiteX0" fmla="*/ 0 w 13474"/>
                  <a:gd name="connsiteY0" fmla="*/ 2003 h 7821"/>
                  <a:gd name="connsiteX1" fmla="*/ 1290 w 13474"/>
                  <a:gd name="connsiteY1" fmla="*/ 0 h 7821"/>
                  <a:gd name="connsiteX2" fmla="*/ 13474 w 13474"/>
                  <a:gd name="connsiteY2" fmla="*/ 3183 h 7821"/>
                  <a:gd name="connsiteX3" fmla="*/ 12678 w 13474"/>
                  <a:gd name="connsiteY3" fmla="*/ 7821 h 7821"/>
                  <a:gd name="connsiteX4" fmla="*/ 1290 w 13474"/>
                  <a:gd name="connsiteY4" fmla="*/ 5571 h 7821"/>
                  <a:gd name="connsiteX5" fmla="*/ 0 w 13474"/>
                  <a:gd name="connsiteY5" fmla="*/ 2003 h 7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74" h="7821">
                    <a:moveTo>
                      <a:pt x="0" y="2003"/>
                    </a:moveTo>
                    <a:lnTo>
                      <a:pt x="1290" y="0"/>
                    </a:lnTo>
                    <a:lnTo>
                      <a:pt x="13474" y="3183"/>
                    </a:lnTo>
                    <a:lnTo>
                      <a:pt x="12678" y="7821"/>
                    </a:lnTo>
                    <a:lnTo>
                      <a:pt x="1290" y="5571"/>
                    </a:lnTo>
                    <a:lnTo>
                      <a:pt x="0" y="20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8" name="Freeform: Shape 4367">
                <a:extLst>
                  <a:ext uri="{FF2B5EF4-FFF2-40B4-BE49-F238E27FC236}">
                    <a16:creationId xmlns:a16="http://schemas.microsoft.com/office/drawing/2014/main" id="{E9B5649E-82FF-2EFD-98B2-9F0D3DB79B21}"/>
                  </a:ext>
                </a:extLst>
              </p:cNvPr>
              <p:cNvSpPr/>
              <p:nvPr/>
            </p:nvSpPr>
            <p:spPr>
              <a:xfrm>
                <a:off x="1662370" y="3471587"/>
                <a:ext cx="816" cy="1672"/>
              </a:xfrm>
              <a:custGeom>
                <a:avLst/>
                <a:gdLst>
                  <a:gd name="connsiteX0" fmla="*/ 0 w 7820"/>
                  <a:gd name="connsiteY0" fmla="*/ 7218 h 16026"/>
                  <a:gd name="connsiteX1" fmla="*/ 2222 w 7820"/>
                  <a:gd name="connsiteY1" fmla="*/ 0 h 16026"/>
                  <a:gd name="connsiteX2" fmla="*/ 2607 w 7820"/>
                  <a:gd name="connsiteY2" fmla="*/ 5050 h 16026"/>
                  <a:gd name="connsiteX3" fmla="*/ 6723 w 7820"/>
                  <a:gd name="connsiteY3" fmla="*/ 1015 h 16026"/>
                  <a:gd name="connsiteX4" fmla="*/ 7821 w 7820"/>
                  <a:gd name="connsiteY4" fmla="*/ 9303 h 16026"/>
                  <a:gd name="connsiteX5" fmla="*/ 5955 w 7820"/>
                  <a:gd name="connsiteY5" fmla="*/ 9440 h 16026"/>
                  <a:gd name="connsiteX6" fmla="*/ 4912 w 7820"/>
                  <a:gd name="connsiteY6" fmla="*/ 16027 h 16026"/>
                  <a:gd name="connsiteX7" fmla="*/ 604 w 7820"/>
                  <a:gd name="connsiteY7" fmla="*/ 11801 h 16026"/>
                  <a:gd name="connsiteX8" fmla="*/ 0 w 7820"/>
                  <a:gd name="connsiteY8" fmla="*/ 7245 h 1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20" h="16026">
                    <a:moveTo>
                      <a:pt x="0" y="7218"/>
                    </a:moveTo>
                    <a:lnTo>
                      <a:pt x="2222" y="0"/>
                    </a:lnTo>
                    <a:lnTo>
                      <a:pt x="2607" y="5050"/>
                    </a:lnTo>
                    <a:lnTo>
                      <a:pt x="6723" y="1015"/>
                    </a:lnTo>
                    <a:lnTo>
                      <a:pt x="7821" y="9303"/>
                    </a:lnTo>
                    <a:lnTo>
                      <a:pt x="5955" y="9440"/>
                    </a:lnTo>
                    <a:lnTo>
                      <a:pt x="4912" y="16027"/>
                    </a:lnTo>
                    <a:lnTo>
                      <a:pt x="604" y="11801"/>
                    </a:lnTo>
                    <a:lnTo>
                      <a:pt x="0" y="72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9" name="Freeform: Shape 4368">
                <a:extLst>
                  <a:ext uri="{FF2B5EF4-FFF2-40B4-BE49-F238E27FC236}">
                    <a16:creationId xmlns:a16="http://schemas.microsoft.com/office/drawing/2014/main" id="{7548B244-7A7F-5678-99CD-C9C31C415CA5}"/>
                  </a:ext>
                </a:extLst>
              </p:cNvPr>
              <p:cNvSpPr/>
              <p:nvPr/>
            </p:nvSpPr>
            <p:spPr>
              <a:xfrm>
                <a:off x="1620591" y="3498046"/>
                <a:ext cx="1113" cy="1053"/>
              </a:xfrm>
              <a:custGeom>
                <a:avLst/>
                <a:gdLst>
                  <a:gd name="connsiteX0" fmla="*/ 0 w 10675"/>
                  <a:gd name="connsiteY0" fmla="*/ 4528 h 10098"/>
                  <a:gd name="connsiteX1" fmla="*/ 2058 w 10675"/>
                  <a:gd name="connsiteY1" fmla="*/ 0 h 10098"/>
                  <a:gd name="connsiteX2" fmla="*/ 8782 w 10675"/>
                  <a:gd name="connsiteY2" fmla="*/ 906 h 10098"/>
                  <a:gd name="connsiteX3" fmla="*/ 10675 w 10675"/>
                  <a:gd name="connsiteY3" fmla="*/ 7300 h 10098"/>
                  <a:gd name="connsiteX4" fmla="*/ 8150 w 10675"/>
                  <a:gd name="connsiteY4" fmla="*/ 10099 h 10098"/>
                  <a:gd name="connsiteX5" fmla="*/ 2305 w 10675"/>
                  <a:gd name="connsiteY5" fmla="*/ 10099 h 10098"/>
                  <a:gd name="connsiteX6" fmla="*/ 0 w 10675"/>
                  <a:gd name="connsiteY6" fmla="*/ 4556 h 10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5" h="10098">
                    <a:moveTo>
                      <a:pt x="0" y="4528"/>
                    </a:moveTo>
                    <a:lnTo>
                      <a:pt x="2058" y="0"/>
                    </a:lnTo>
                    <a:lnTo>
                      <a:pt x="8782" y="906"/>
                    </a:lnTo>
                    <a:lnTo>
                      <a:pt x="10675" y="7300"/>
                    </a:lnTo>
                    <a:lnTo>
                      <a:pt x="8150" y="10099"/>
                    </a:lnTo>
                    <a:lnTo>
                      <a:pt x="2305" y="10099"/>
                    </a:lnTo>
                    <a:cubicBezTo>
                      <a:pt x="2305" y="10099"/>
                      <a:pt x="0" y="4556"/>
                      <a:pt x="0" y="4556"/>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1" name="Freeform: Shape 4370">
                <a:extLst>
                  <a:ext uri="{FF2B5EF4-FFF2-40B4-BE49-F238E27FC236}">
                    <a16:creationId xmlns:a16="http://schemas.microsoft.com/office/drawing/2014/main" id="{F3FE9061-928D-F445-D5BE-2B4085156515}"/>
                  </a:ext>
                </a:extLst>
              </p:cNvPr>
              <p:cNvSpPr/>
              <p:nvPr/>
            </p:nvSpPr>
            <p:spPr>
              <a:xfrm>
                <a:off x="1655014" y="3465613"/>
                <a:ext cx="607" cy="2069"/>
              </a:xfrm>
              <a:custGeom>
                <a:avLst/>
                <a:gdLst>
                  <a:gd name="connsiteX0" fmla="*/ 0 w 5818"/>
                  <a:gd name="connsiteY0" fmla="*/ 17481 h 19841"/>
                  <a:gd name="connsiteX1" fmla="*/ 1482 w 5818"/>
                  <a:gd name="connsiteY1" fmla="*/ 10017 h 19841"/>
                  <a:gd name="connsiteX2" fmla="*/ 2031 w 5818"/>
                  <a:gd name="connsiteY2" fmla="*/ 0 h 19841"/>
                  <a:gd name="connsiteX3" fmla="*/ 4638 w 5818"/>
                  <a:gd name="connsiteY3" fmla="*/ 274 h 19841"/>
                  <a:gd name="connsiteX4" fmla="*/ 5818 w 5818"/>
                  <a:gd name="connsiteY4" fmla="*/ 8837 h 19841"/>
                  <a:gd name="connsiteX5" fmla="*/ 3897 w 5818"/>
                  <a:gd name="connsiteY5" fmla="*/ 19841 h 19841"/>
                  <a:gd name="connsiteX6" fmla="*/ 27 w 5818"/>
                  <a:gd name="connsiteY6" fmla="*/ 17481 h 1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8" h="19841">
                    <a:moveTo>
                      <a:pt x="0" y="17481"/>
                    </a:moveTo>
                    <a:lnTo>
                      <a:pt x="1482" y="10017"/>
                    </a:lnTo>
                    <a:lnTo>
                      <a:pt x="2031" y="0"/>
                    </a:lnTo>
                    <a:lnTo>
                      <a:pt x="4638" y="274"/>
                    </a:lnTo>
                    <a:lnTo>
                      <a:pt x="5818" y="8837"/>
                    </a:lnTo>
                    <a:lnTo>
                      <a:pt x="3897" y="19841"/>
                    </a:lnTo>
                    <a:lnTo>
                      <a:pt x="27" y="174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2" name="Freeform: Shape 4371">
                <a:extLst>
                  <a:ext uri="{FF2B5EF4-FFF2-40B4-BE49-F238E27FC236}">
                    <a16:creationId xmlns:a16="http://schemas.microsoft.com/office/drawing/2014/main" id="{06415D41-D22D-CAF6-B529-BB14853119D7}"/>
                  </a:ext>
                </a:extLst>
              </p:cNvPr>
              <p:cNvSpPr/>
              <p:nvPr/>
            </p:nvSpPr>
            <p:spPr>
              <a:xfrm>
                <a:off x="1495502" y="3566232"/>
                <a:ext cx="764" cy="939"/>
              </a:xfrm>
              <a:custGeom>
                <a:avLst/>
                <a:gdLst>
                  <a:gd name="connsiteX0" fmla="*/ 0 w 7327"/>
                  <a:gd name="connsiteY0" fmla="*/ 2552 h 9001"/>
                  <a:gd name="connsiteX1" fmla="*/ 2607 w 7327"/>
                  <a:gd name="connsiteY1" fmla="*/ 0 h 9001"/>
                  <a:gd name="connsiteX2" fmla="*/ 6559 w 7327"/>
                  <a:gd name="connsiteY2" fmla="*/ 3485 h 9001"/>
                  <a:gd name="connsiteX3" fmla="*/ 7327 w 7327"/>
                  <a:gd name="connsiteY3" fmla="*/ 9001 h 9001"/>
                  <a:gd name="connsiteX4" fmla="*/ 2031 w 7327"/>
                  <a:gd name="connsiteY4" fmla="*/ 6477 h 9001"/>
                  <a:gd name="connsiteX5" fmla="*/ 0 w 7327"/>
                  <a:gd name="connsiteY5" fmla="*/ 2552 h 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27" h="9001">
                    <a:moveTo>
                      <a:pt x="0" y="2552"/>
                    </a:moveTo>
                    <a:lnTo>
                      <a:pt x="2607" y="0"/>
                    </a:lnTo>
                    <a:lnTo>
                      <a:pt x="6559" y="3485"/>
                    </a:lnTo>
                    <a:lnTo>
                      <a:pt x="7327" y="9001"/>
                    </a:lnTo>
                    <a:lnTo>
                      <a:pt x="2031" y="6477"/>
                    </a:lnTo>
                    <a:lnTo>
                      <a:pt x="0"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3" name="Freeform: Shape 4372">
                <a:extLst>
                  <a:ext uri="{FF2B5EF4-FFF2-40B4-BE49-F238E27FC236}">
                    <a16:creationId xmlns:a16="http://schemas.microsoft.com/office/drawing/2014/main" id="{7A33DD49-F63C-4249-E9A0-9D352F6F59F1}"/>
                  </a:ext>
                </a:extLst>
              </p:cNvPr>
              <p:cNvSpPr/>
              <p:nvPr/>
            </p:nvSpPr>
            <p:spPr>
              <a:xfrm>
                <a:off x="1569367" y="3530316"/>
                <a:ext cx="555" cy="1540"/>
              </a:xfrm>
              <a:custGeom>
                <a:avLst/>
                <a:gdLst>
                  <a:gd name="connsiteX0" fmla="*/ 0 w 5324"/>
                  <a:gd name="connsiteY0" fmla="*/ 12926 h 14764"/>
                  <a:gd name="connsiteX1" fmla="*/ 3650 w 5324"/>
                  <a:gd name="connsiteY1" fmla="*/ 0 h 14764"/>
                  <a:gd name="connsiteX2" fmla="*/ 5324 w 5324"/>
                  <a:gd name="connsiteY2" fmla="*/ 1921 h 14764"/>
                  <a:gd name="connsiteX3" fmla="*/ 1564 w 5324"/>
                  <a:gd name="connsiteY3" fmla="*/ 14764 h 14764"/>
                  <a:gd name="connsiteX4" fmla="*/ 0 w 5324"/>
                  <a:gd name="connsiteY4" fmla="*/ 12926 h 1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 h="14764">
                    <a:moveTo>
                      <a:pt x="0" y="12926"/>
                    </a:moveTo>
                    <a:lnTo>
                      <a:pt x="3650" y="0"/>
                    </a:lnTo>
                    <a:lnTo>
                      <a:pt x="5324" y="1921"/>
                    </a:lnTo>
                    <a:lnTo>
                      <a:pt x="1564" y="14764"/>
                    </a:lnTo>
                    <a:lnTo>
                      <a:pt x="0" y="129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4" name="Freeform: Shape 4373">
                <a:extLst>
                  <a:ext uri="{FF2B5EF4-FFF2-40B4-BE49-F238E27FC236}">
                    <a16:creationId xmlns:a16="http://schemas.microsoft.com/office/drawing/2014/main" id="{5E91E8F0-0FE1-FFF1-13CF-1272AB2E18CF}"/>
                  </a:ext>
                </a:extLst>
              </p:cNvPr>
              <p:cNvSpPr/>
              <p:nvPr/>
            </p:nvSpPr>
            <p:spPr>
              <a:xfrm>
                <a:off x="1658887" y="3465856"/>
                <a:ext cx="604" cy="1772"/>
              </a:xfrm>
              <a:custGeom>
                <a:avLst/>
                <a:gdLst>
                  <a:gd name="connsiteX0" fmla="*/ 5050 w 5790"/>
                  <a:gd name="connsiteY0" fmla="*/ 14380 h 16987"/>
                  <a:gd name="connsiteX1" fmla="*/ 768 w 5790"/>
                  <a:gd name="connsiteY1" fmla="*/ 16987 h 16987"/>
                  <a:gd name="connsiteX2" fmla="*/ 0 w 5790"/>
                  <a:gd name="connsiteY2" fmla="*/ 11142 h 16987"/>
                  <a:gd name="connsiteX3" fmla="*/ 1647 w 5790"/>
                  <a:gd name="connsiteY3" fmla="*/ 0 h 16987"/>
                  <a:gd name="connsiteX4" fmla="*/ 5791 w 5790"/>
                  <a:gd name="connsiteY4" fmla="*/ 7821 h 16987"/>
                  <a:gd name="connsiteX5" fmla="*/ 5077 w 5790"/>
                  <a:gd name="connsiteY5" fmla="*/ 14353 h 1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0" h="16987">
                    <a:moveTo>
                      <a:pt x="5050" y="14380"/>
                    </a:moveTo>
                    <a:lnTo>
                      <a:pt x="768" y="16987"/>
                    </a:lnTo>
                    <a:lnTo>
                      <a:pt x="0" y="11142"/>
                    </a:lnTo>
                    <a:lnTo>
                      <a:pt x="1647" y="0"/>
                    </a:lnTo>
                    <a:lnTo>
                      <a:pt x="5791" y="7821"/>
                    </a:lnTo>
                    <a:lnTo>
                      <a:pt x="5077" y="143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5" name="Freeform: Shape 4374">
                <a:extLst>
                  <a:ext uri="{FF2B5EF4-FFF2-40B4-BE49-F238E27FC236}">
                    <a16:creationId xmlns:a16="http://schemas.microsoft.com/office/drawing/2014/main" id="{4EE5B1A6-DD93-BC7B-39CC-4DF8B8896B39}"/>
                  </a:ext>
                </a:extLst>
              </p:cNvPr>
              <p:cNvSpPr/>
              <p:nvPr/>
            </p:nvSpPr>
            <p:spPr>
              <a:xfrm>
                <a:off x="1657000" y="3466706"/>
                <a:ext cx="681" cy="1551"/>
              </a:xfrm>
              <a:custGeom>
                <a:avLst/>
                <a:gdLst>
                  <a:gd name="connsiteX0" fmla="*/ 0 w 6531"/>
                  <a:gd name="connsiteY0" fmla="*/ 9248 h 14874"/>
                  <a:gd name="connsiteX1" fmla="*/ 3649 w 6531"/>
                  <a:gd name="connsiteY1" fmla="*/ 0 h 14874"/>
                  <a:gd name="connsiteX2" fmla="*/ 6531 w 6531"/>
                  <a:gd name="connsiteY2" fmla="*/ 5379 h 14874"/>
                  <a:gd name="connsiteX3" fmla="*/ 5763 w 6531"/>
                  <a:gd name="connsiteY3" fmla="*/ 10264 h 14874"/>
                  <a:gd name="connsiteX4" fmla="*/ 2058 w 6531"/>
                  <a:gd name="connsiteY4" fmla="*/ 9687 h 14874"/>
                  <a:gd name="connsiteX5" fmla="*/ 2058 w 6531"/>
                  <a:gd name="connsiteY5" fmla="*/ 14874 h 14874"/>
                  <a:gd name="connsiteX6" fmla="*/ 27 w 6531"/>
                  <a:gd name="connsiteY6" fmla="*/ 9248 h 14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14874">
                    <a:moveTo>
                      <a:pt x="0" y="9248"/>
                    </a:moveTo>
                    <a:lnTo>
                      <a:pt x="3649" y="0"/>
                    </a:lnTo>
                    <a:lnTo>
                      <a:pt x="6531" y="5379"/>
                    </a:lnTo>
                    <a:lnTo>
                      <a:pt x="5763" y="10264"/>
                    </a:lnTo>
                    <a:lnTo>
                      <a:pt x="2058" y="9687"/>
                    </a:lnTo>
                    <a:lnTo>
                      <a:pt x="2058" y="14874"/>
                    </a:lnTo>
                    <a:lnTo>
                      <a:pt x="27" y="92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7" name="Freeform: Shape 4376">
                <a:extLst>
                  <a:ext uri="{FF2B5EF4-FFF2-40B4-BE49-F238E27FC236}">
                    <a16:creationId xmlns:a16="http://schemas.microsoft.com/office/drawing/2014/main" id="{DC704DF6-8EE8-D63F-E5EA-BC253DF25EA3}"/>
                  </a:ext>
                </a:extLst>
              </p:cNvPr>
              <p:cNvSpPr/>
              <p:nvPr/>
            </p:nvSpPr>
            <p:spPr>
              <a:xfrm>
                <a:off x="1516789" y="3414609"/>
                <a:ext cx="907" cy="1523"/>
              </a:xfrm>
              <a:custGeom>
                <a:avLst/>
                <a:gdLst>
                  <a:gd name="connsiteX0" fmla="*/ 8617 w 8699"/>
                  <a:gd name="connsiteY0" fmla="*/ 12240 h 14599"/>
                  <a:gd name="connsiteX1" fmla="*/ 1976 w 8699"/>
                  <a:gd name="connsiteY1" fmla="*/ 14600 h 14599"/>
                  <a:gd name="connsiteX2" fmla="*/ 0 w 8699"/>
                  <a:gd name="connsiteY2" fmla="*/ 6998 h 14599"/>
                  <a:gd name="connsiteX3" fmla="*/ 2031 w 8699"/>
                  <a:gd name="connsiteY3" fmla="*/ 0 h 14599"/>
                  <a:gd name="connsiteX4" fmla="*/ 8699 w 8699"/>
                  <a:gd name="connsiteY4" fmla="*/ 5626 h 14599"/>
                  <a:gd name="connsiteX5" fmla="*/ 8617 w 8699"/>
                  <a:gd name="connsiteY5" fmla="*/ 12267 h 1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99" h="14599">
                    <a:moveTo>
                      <a:pt x="8617" y="12240"/>
                    </a:moveTo>
                    <a:lnTo>
                      <a:pt x="1976" y="14600"/>
                    </a:lnTo>
                    <a:lnTo>
                      <a:pt x="0" y="6998"/>
                    </a:lnTo>
                    <a:lnTo>
                      <a:pt x="2031" y="0"/>
                    </a:lnTo>
                    <a:lnTo>
                      <a:pt x="8699" y="5626"/>
                    </a:lnTo>
                    <a:lnTo>
                      <a:pt x="8617" y="122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9" name="Freeform: Shape 4378">
                <a:extLst>
                  <a:ext uri="{FF2B5EF4-FFF2-40B4-BE49-F238E27FC236}">
                    <a16:creationId xmlns:a16="http://schemas.microsoft.com/office/drawing/2014/main" id="{197A0BFA-F830-B3A1-FFDF-58ECB3C8C5B4}"/>
                  </a:ext>
                </a:extLst>
              </p:cNvPr>
              <p:cNvSpPr/>
              <p:nvPr/>
            </p:nvSpPr>
            <p:spPr>
              <a:xfrm>
                <a:off x="1545238" y="3416595"/>
                <a:ext cx="804" cy="1646"/>
              </a:xfrm>
              <a:custGeom>
                <a:avLst/>
                <a:gdLst>
                  <a:gd name="connsiteX0" fmla="*/ 0 w 7710"/>
                  <a:gd name="connsiteY0" fmla="*/ 4501 h 15779"/>
                  <a:gd name="connsiteX1" fmla="*/ 1043 w 7710"/>
                  <a:gd name="connsiteY1" fmla="*/ 0 h 15779"/>
                  <a:gd name="connsiteX2" fmla="*/ 7711 w 7710"/>
                  <a:gd name="connsiteY2" fmla="*/ 9660 h 15779"/>
                  <a:gd name="connsiteX3" fmla="*/ 7382 w 7710"/>
                  <a:gd name="connsiteY3" fmla="*/ 15780 h 15779"/>
                  <a:gd name="connsiteX4" fmla="*/ 2332 w 7710"/>
                  <a:gd name="connsiteY4" fmla="*/ 13475 h 15779"/>
                  <a:gd name="connsiteX5" fmla="*/ 0 w 7710"/>
                  <a:gd name="connsiteY5" fmla="*/ 4501 h 1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0" h="15779">
                    <a:moveTo>
                      <a:pt x="0" y="4501"/>
                    </a:moveTo>
                    <a:lnTo>
                      <a:pt x="1043" y="0"/>
                    </a:lnTo>
                    <a:lnTo>
                      <a:pt x="7711" y="9660"/>
                    </a:lnTo>
                    <a:lnTo>
                      <a:pt x="7382" y="15780"/>
                    </a:lnTo>
                    <a:lnTo>
                      <a:pt x="2332" y="13475"/>
                    </a:lnTo>
                    <a:lnTo>
                      <a:pt x="0" y="45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0" name="Freeform: Shape 4379">
                <a:extLst>
                  <a:ext uri="{FF2B5EF4-FFF2-40B4-BE49-F238E27FC236}">
                    <a16:creationId xmlns:a16="http://schemas.microsoft.com/office/drawing/2014/main" id="{14BAD6B8-BBE0-9397-D2A7-68F04DBFA524}"/>
                  </a:ext>
                </a:extLst>
              </p:cNvPr>
              <p:cNvSpPr/>
              <p:nvPr/>
            </p:nvSpPr>
            <p:spPr>
              <a:xfrm>
                <a:off x="1530780" y="3548311"/>
                <a:ext cx="1045" cy="607"/>
              </a:xfrm>
              <a:custGeom>
                <a:avLst/>
                <a:gdLst>
                  <a:gd name="connsiteX0" fmla="*/ 0 w 10016"/>
                  <a:gd name="connsiteY0" fmla="*/ 4418 h 5818"/>
                  <a:gd name="connsiteX1" fmla="*/ 521 w 10016"/>
                  <a:gd name="connsiteY1" fmla="*/ 2662 h 5818"/>
                  <a:gd name="connsiteX2" fmla="*/ 9907 w 10016"/>
                  <a:gd name="connsiteY2" fmla="*/ 0 h 5818"/>
                  <a:gd name="connsiteX3" fmla="*/ 10016 w 10016"/>
                  <a:gd name="connsiteY3" fmla="*/ 3156 h 5818"/>
                  <a:gd name="connsiteX4" fmla="*/ 631 w 10016"/>
                  <a:gd name="connsiteY4" fmla="*/ 5818 h 5818"/>
                  <a:gd name="connsiteX5" fmla="*/ 27 w 10016"/>
                  <a:gd name="connsiteY5" fmla="*/ 4391 h 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6" h="5818">
                    <a:moveTo>
                      <a:pt x="0" y="4418"/>
                    </a:moveTo>
                    <a:lnTo>
                      <a:pt x="521" y="2662"/>
                    </a:lnTo>
                    <a:lnTo>
                      <a:pt x="9907" y="0"/>
                    </a:lnTo>
                    <a:lnTo>
                      <a:pt x="10016" y="3156"/>
                    </a:lnTo>
                    <a:lnTo>
                      <a:pt x="631" y="5818"/>
                    </a:lnTo>
                    <a:lnTo>
                      <a:pt x="27" y="43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1" name="Freeform: Shape 4380">
                <a:extLst>
                  <a:ext uri="{FF2B5EF4-FFF2-40B4-BE49-F238E27FC236}">
                    <a16:creationId xmlns:a16="http://schemas.microsoft.com/office/drawing/2014/main" id="{3044FB7E-1628-9B6A-1226-4700059D23BF}"/>
                  </a:ext>
                </a:extLst>
              </p:cNvPr>
              <p:cNvSpPr/>
              <p:nvPr/>
            </p:nvSpPr>
            <p:spPr>
              <a:xfrm>
                <a:off x="1624561" y="3493898"/>
                <a:ext cx="796" cy="1059"/>
              </a:xfrm>
              <a:custGeom>
                <a:avLst/>
                <a:gdLst>
                  <a:gd name="connsiteX0" fmla="*/ 0 w 7629"/>
                  <a:gd name="connsiteY0" fmla="*/ 5544 h 10153"/>
                  <a:gd name="connsiteX1" fmla="*/ 494 w 7629"/>
                  <a:gd name="connsiteY1" fmla="*/ 3129 h 10153"/>
                  <a:gd name="connsiteX2" fmla="*/ 7629 w 7629"/>
                  <a:gd name="connsiteY2" fmla="*/ 0 h 10153"/>
                  <a:gd name="connsiteX3" fmla="*/ 7300 w 7629"/>
                  <a:gd name="connsiteY3" fmla="*/ 10154 h 10153"/>
                  <a:gd name="connsiteX4" fmla="*/ 2168 w 7629"/>
                  <a:gd name="connsiteY4" fmla="*/ 8946 h 10153"/>
                  <a:gd name="connsiteX5" fmla="*/ 0 w 7629"/>
                  <a:gd name="connsiteY5" fmla="*/ 5571 h 10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9" h="10153">
                    <a:moveTo>
                      <a:pt x="0" y="5544"/>
                    </a:moveTo>
                    <a:lnTo>
                      <a:pt x="494" y="3129"/>
                    </a:lnTo>
                    <a:lnTo>
                      <a:pt x="7629" y="0"/>
                    </a:lnTo>
                    <a:lnTo>
                      <a:pt x="7300" y="10154"/>
                    </a:lnTo>
                    <a:lnTo>
                      <a:pt x="2168" y="8946"/>
                    </a:lnTo>
                    <a:lnTo>
                      <a:pt x="0" y="55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2" name="Freeform: Shape 4381">
                <a:extLst>
                  <a:ext uri="{FF2B5EF4-FFF2-40B4-BE49-F238E27FC236}">
                    <a16:creationId xmlns:a16="http://schemas.microsoft.com/office/drawing/2014/main" id="{1CAAA7C9-48EE-646F-9ACC-F6DFA5BA1BBD}"/>
                  </a:ext>
                </a:extLst>
              </p:cNvPr>
              <p:cNvSpPr/>
              <p:nvPr/>
            </p:nvSpPr>
            <p:spPr>
              <a:xfrm>
                <a:off x="1672139" y="3421155"/>
                <a:ext cx="544" cy="2258"/>
              </a:xfrm>
              <a:custGeom>
                <a:avLst/>
                <a:gdLst>
                  <a:gd name="connsiteX0" fmla="*/ 0 w 5214"/>
                  <a:gd name="connsiteY0" fmla="*/ 18716 h 21652"/>
                  <a:gd name="connsiteX1" fmla="*/ 3403 w 5214"/>
                  <a:gd name="connsiteY1" fmla="*/ 0 h 21652"/>
                  <a:gd name="connsiteX2" fmla="*/ 5215 w 5214"/>
                  <a:gd name="connsiteY2" fmla="*/ 3375 h 21652"/>
                  <a:gd name="connsiteX3" fmla="*/ 1126 w 5214"/>
                  <a:gd name="connsiteY3" fmla="*/ 21652 h 21652"/>
                  <a:gd name="connsiteX4" fmla="*/ 0 w 5214"/>
                  <a:gd name="connsiteY4" fmla="*/ 18716 h 21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4" h="21652">
                    <a:moveTo>
                      <a:pt x="0" y="18716"/>
                    </a:moveTo>
                    <a:lnTo>
                      <a:pt x="3403" y="0"/>
                    </a:lnTo>
                    <a:lnTo>
                      <a:pt x="5215" y="3375"/>
                    </a:lnTo>
                    <a:lnTo>
                      <a:pt x="1126" y="21652"/>
                    </a:lnTo>
                    <a:lnTo>
                      <a:pt x="0" y="187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4" name="Freeform: Shape 4383">
                <a:extLst>
                  <a:ext uri="{FF2B5EF4-FFF2-40B4-BE49-F238E27FC236}">
                    <a16:creationId xmlns:a16="http://schemas.microsoft.com/office/drawing/2014/main" id="{28AF0A1C-1FB7-7FCA-E58A-A3F5602519D3}"/>
                  </a:ext>
                </a:extLst>
              </p:cNvPr>
              <p:cNvSpPr/>
              <p:nvPr/>
            </p:nvSpPr>
            <p:spPr>
              <a:xfrm>
                <a:off x="1664165" y="3465779"/>
                <a:ext cx="358" cy="2476"/>
              </a:xfrm>
              <a:custGeom>
                <a:avLst/>
                <a:gdLst>
                  <a:gd name="connsiteX0" fmla="*/ 2277 w 3430"/>
                  <a:gd name="connsiteY0" fmla="*/ 10044 h 23738"/>
                  <a:gd name="connsiteX1" fmla="*/ 2881 w 3430"/>
                  <a:gd name="connsiteY1" fmla="*/ 21845 h 23738"/>
                  <a:gd name="connsiteX2" fmla="*/ 1784 w 3430"/>
                  <a:gd name="connsiteY2" fmla="*/ 23738 h 23738"/>
                  <a:gd name="connsiteX3" fmla="*/ 164 w 3430"/>
                  <a:gd name="connsiteY3" fmla="*/ 12761 h 23738"/>
                  <a:gd name="connsiteX4" fmla="*/ 0 w 3430"/>
                  <a:gd name="connsiteY4" fmla="*/ 3156 h 23738"/>
                  <a:gd name="connsiteX5" fmla="*/ 3430 w 3430"/>
                  <a:gd name="connsiteY5" fmla="*/ 0 h 23738"/>
                  <a:gd name="connsiteX6" fmla="*/ 2277 w 3430"/>
                  <a:gd name="connsiteY6" fmla="*/ 10072 h 2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0" h="23738">
                    <a:moveTo>
                      <a:pt x="2277" y="10044"/>
                    </a:moveTo>
                    <a:lnTo>
                      <a:pt x="2881" y="21845"/>
                    </a:lnTo>
                    <a:lnTo>
                      <a:pt x="1784" y="23738"/>
                    </a:lnTo>
                    <a:lnTo>
                      <a:pt x="164" y="12761"/>
                    </a:lnTo>
                    <a:lnTo>
                      <a:pt x="0" y="3156"/>
                    </a:lnTo>
                    <a:lnTo>
                      <a:pt x="3430" y="0"/>
                    </a:lnTo>
                    <a:lnTo>
                      <a:pt x="2277" y="100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7" name="Freeform: Shape 4386">
                <a:extLst>
                  <a:ext uri="{FF2B5EF4-FFF2-40B4-BE49-F238E27FC236}">
                    <a16:creationId xmlns:a16="http://schemas.microsoft.com/office/drawing/2014/main" id="{6F6AE7C3-F984-4546-8FA8-E97E30A8A7AC}"/>
                  </a:ext>
                </a:extLst>
              </p:cNvPr>
              <p:cNvSpPr/>
              <p:nvPr/>
            </p:nvSpPr>
            <p:spPr>
              <a:xfrm>
                <a:off x="1689914" y="3458517"/>
                <a:ext cx="581" cy="1571"/>
              </a:xfrm>
              <a:custGeom>
                <a:avLst/>
                <a:gdLst>
                  <a:gd name="connsiteX0" fmla="*/ 4693 w 5571"/>
                  <a:gd name="connsiteY0" fmla="*/ 12240 h 15066"/>
                  <a:gd name="connsiteX1" fmla="*/ 2086 w 5571"/>
                  <a:gd name="connsiteY1" fmla="*/ 15066 h 15066"/>
                  <a:gd name="connsiteX2" fmla="*/ 0 w 5571"/>
                  <a:gd name="connsiteY2" fmla="*/ 6861 h 15066"/>
                  <a:gd name="connsiteX3" fmla="*/ 356 w 5571"/>
                  <a:gd name="connsiteY3" fmla="*/ 2635 h 15066"/>
                  <a:gd name="connsiteX4" fmla="*/ 5571 w 5571"/>
                  <a:gd name="connsiteY4" fmla="*/ 0 h 15066"/>
                  <a:gd name="connsiteX5" fmla="*/ 4720 w 5571"/>
                  <a:gd name="connsiteY5" fmla="*/ 12240 h 1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1" h="15066">
                    <a:moveTo>
                      <a:pt x="4693" y="12240"/>
                    </a:moveTo>
                    <a:lnTo>
                      <a:pt x="2086" y="15066"/>
                    </a:lnTo>
                    <a:lnTo>
                      <a:pt x="0" y="6861"/>
                    </a:lnTo>
                    <a:lnTo>
                      <a:pt x="356" y="2635"/>
                    </a:lnTo>
                    <a:lnTo>
                      <a:pt x="5571" y="0"/>
                    </a:lnTo>
                    <a:lnTo>
                      <a:pt x="4720" y="122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8" name="Freeform: Shape 4387">
                <a:extLst>
                  <a:ext uri="{FF2B5EF4-FFF2-40B4-BE49-F238E27FC236}">
                    <a16:creationId xmlns:a16="http://schemas.microsoft.com/office/drawing/2014/main" id="{D2FBBAF2-218F-E3F3-2CE4-84CF18C14D6E}"/>
                  </a:ext>
                </a:extLst>
              </p:cNvPr>
              <p:cNvSpPr/>
              <p:nvPr/>
            </p:nvSpPr>
            <p:spPr>
              <a:xfrm>
                <a:off x="1608684" y="3492647"/>
                <a:ext cx="675" cy="1119"/>
              </a:xfrm>
              <a:custGeom>
                <a:avLst/>
                <a:gdLst>
                  <a:gd name="connsiteX0" fmla="*/ 27 w 6476"/>
                  <a:gd name="connsiteY0" fmla="*/ 7410 h 10730"/>
                  <a:gd name="connsiteX1" fmla="*/ 2662 w 6476"/>
                  <a:gd name="connsiteY1" fmla="*/ 0 h 10730"/>
                  <a:gd name="connsiteX2" fmla="*/ 6476 w 6476"/>
                  <a:gd name="connsiteY2" fmla="*/ 1564 h 10730"/>
                  <a:gd name="connsiteX3" fmla="*/ 5873 w 6476"/>
                  <a:gd name="connsiteY3" fmla="*/ 10730 h 10730"/>
                  <a:gd name="connsiteX4" fmla="*/ 466 w 6476"/>
                  <a:gd name="connsiteY4" fmla="*/ 9715 h 10730"/>
                  <a:gd name="connsiteX5" fmla="*/ 0 w 6476"/>
                  <a:gd name="connsiteY5" fmla="*/ 7437 h 10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6" h="10730">
                    <a:moveTo>
                      <a:pt x="27" y="7410"/>
                    </a:moveTo>
                    <a:lnTo>
                      <a:pt x="2662" y="0"/>
                    </a:lnTo>
                    <a:lnTo>
                      <a:pt x="6476" y="1564"/>
                    </a:lnTo>
                    <a:lnTo>
                      <a:pt x="5873" y="10730"/>
                    </a:lnTo>
                    <a:lnTo>
                      <a:pt x="466" y="9715"/>
                    </a:lnTo>
                    <a:lnTo>
                      <a:pt x="0"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9" name="Freeform: Shape 4388">
                <a:extLst>
                  <a:ext uri="{FF2B5EF4-FFF2-40B4-BE49-F238E27FC236}">
                    <a16:creationId xmlns:a16="http://schemas.microsoft.com/office/drawing/2014/main" id="{A4CF31E1-C16D-1406-7DB1-376486878064}"/>
                  </a:ext>
                </a:extLst>
              </p:cNvPr>
              <p:cNvSpPr/>
              <p:nvPr/>
            </p:nvSpPr>
            <p:spPr>
              <a:xfrm>
                <a:off x="1668098" y="3438275"/>
                <a:ext cx="504" cy="1986"/>
              </a:xfrm>
              <a:custGeom>
                <a:avLst/>
                <a:gdLst>
                  <a:gd name="connsiteX0" fmla="*/ 2305 w 4829"/>
                  <a:gd name="connsiteY0" fmla="*/ 11800 h 19045"/>
                  <a:gd name="connsiteX1" fmla="*/ 2031 w 4829"/>
                  <a:gd name="connsiteY1" fmla="*/ 19045 h 19045"/>
                  <a:gd name="connsiteX2" fmla="*/ 0 w 4829"/>
                  <a:gd name="connsiteY2" fmla="*/ 11169 h 19045"/>
                  <a:gd name="connsiteX3" fmla="*/ 2772 w 4829"/>
                  <a:gd name="connsiteY3" fmla="*/ 0 h 19045"/>
                  <a:gd name="connsiteX4" fmla="*/ 4830 w 4829"/>
                  <a:gd name="connsiteY4" fmla="*/ 3732 h 19045"/>
                  <a:gd name="connsiteX5" fmla="*/ 2305 w 4829"/>
                  <a:gd name="connsiteY5" fmla="*/ 11800 h 1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9" h="19045">
                    <a:moveTo>
                      <a:pt x="2305" y="11800"/>
                    </a:moveTo>
                    <a:lnTo>
                      <a:pt x="2031" y="19045"/>
                    </a:lnTo>
                    <a:lnTo>
                      <a:pt x="0" y="11169"/>
                    </a:lnTo>
                    <a:lnTo>
                      <a:pt x="2772" y="0"/>
                    </a:lnTo>
                    <a:lnTo>
                      <a:pt x="4830" y="3732"/>
                    </a:lnTo>
                    <a:lnTo>
                      <a:pt x="2305" y="118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0" name="Freeform: Shape 4389">
                <a:extLst>
                  <a:ext uri="{FF2B5EF4-FFF2-40B4-BE49-F238E27FC236}">
                    <a16:creationId xmlns:a16="http://schemas.microsoft.com/office/drawing/2014/main" id="{F6672575-9ADC-2FB1-1694-9A98CA0C9F1C}"/>
                  </a:ext>
                </a:extLst>
              </p:cNvPr>
              <p:cNvSpPr/>
              <p:nvPr/>
            </p:nvSpPr>
            <p:spPr>
              <a:xfrm>
                <a:off x="1514293" y="3685884"/>
                <a:ext cx="444" cy="635"/>
              </a:xfrm>
              <a:custGeom>
                <a:avLst/>
                <a:gdLst>
                  <a:gd name="connsiteX0" fmla="*/ 27 w 4253"/>
                  <a:gd name="connsiteY0" fmla="*/ 714 h 6092"/>
                  <a:gd name="connsiteX1" fmla="*/ 714 w 4253"/>
                  <a:gd name="connsiteY1" fmla="*/ 0 h 6092"/>
                  <a:gd name="connsiteX2" fmla="*/ 4254 w 4253"/>
                  <a:gd name="connsiteY2" fmla="*/ 3842 h 6092"/>
                  <a:gd name="connsiteX3" fmla="*/ 2827 w 4253"/>
                  <a:gd name="connsiteY3" fmla="*/ 6092 h 6092"/>
                  <a:gd name="connsiteX4" fmla="*/ 1729 w 4253"/>
                  <a:gd name="connsiteY4" fmla="*/ 5296 h 6092"/>
                  <a:gd name="connsiteX5" fmla="*/ 0 w 4253"/>
                  <a:gd name="connsiteY5" fmla="*/ 741 h 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3" h="6092">
                    <a:moveTo>
                      <a:pt x="27" y="714"/>
                    </a:moveTo>
                    <a:lnTo>
                      <a:pt x="714" y="0"/>
                    </a:lnTo>
                    <a:lnTo>
                      <a:pt x="4254" y="3842"/>
                    </a:lnTo>
                    <a:lnTo>
                      <a:pt x="2827" y="6092"/>
                    </a:lnTo>
                    <a:lnTo>
                      <a:pt x="1729" y="5296"/>
                    </a:lnTo>
                    <a:lnTo>
                      <a:pt x="0" y="7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1" name="Freeform: Shape 4390">
                <a:extLst>
                  <a:ext uri="{FF2B5EF4-FFF2-40B4-BE49-F238E27FC236}">
                    <a16:creationId xmlns:a16="http://schemas.microsoft.com/office/drawing/2014/main" id="{18E80E63-8E7D-0842-B5AD-526FF427D113}"/>
                  </a:ext>
                </a:extLst>
              </p:cNvPr>
              <p:cNvSpPr/>
              <p:nvPr/>
            </p:nvSpPr>
            <p:spPr>
              <a:xfrm>
                <a:off x="1692382" y="3456179"/>
                <a:ext cx="730" cy="1171"/>
              </a:xfrm>
              <a:custGeom>
                <a:avLst/>
                <a:gdLst>
                  <a:gd name="connsiteX0" fmla="*/ 6778 w 6998"/>
                  <a:gd name="connsiteY0" fmla="*/ 5516 h 11224"/>
                  <a:gd name="connsiteX1" fmla="*/ 4281 w 6998"/>
                  <a:gd name="connsiteY1" fmla="*/ 11224 h 11224"/>
                  <a:gd name="connsiteX2" fmla="*/ 796 w 6998"/>
                  <a:gd name="connsiteY2" fmla="*/ 10620 h 11224"/>
                  <a:gd name="connsiteX3" fmla="*/ 0 w 6998"/>
                  <a:gd name="connsiteY3" fmla="*/ 6916 h 11224"/>
                  <a:gd name="connsiteX4" fmla="*/ 3705 w 6998"/>
                  <a:gd name="connsiteY4" fmla="*/ 357 h 11224"/>
                  <a:gd name="connsiteX5" fmla="*/ 6998 w 6998"/>
                  <a:gd name="connsiteY5" fmla="*/ 0 h 11224"/>
                  <a:gd name="connsiteX6" fmla="*/ 6778 w 6998"/>
                  <a:gd name="connsiteY6" fmla="*/ 5543 h 1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8" h="11224">
                    <a:moveTo>
                      <a:pt x="6778" y="5516"/>
                    </a:moveTo>
                    <a:lnTo>
                      <a:pt x="4281" y="11224"/>
                    </a:lnTo>
                    <a:lnTo>
                      <a:pt x="796" y="10620"/>
                    </a:lnTo>
                    <a:lnTo>
                      <a:pt x="0" y="6916"/>
                    </a:lnTo>
                    <a:lnTo>
                      <a:pt x="3705" y="357"/>
                    </a:lnTo>
                    <a:lnTo>
                      <a:pt x="6998" y="0"/>
                    </a:lnTo>
                    <a:lnTo>
                      <a:pt x="6778" y="55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2" name="Freeform: Shape 4391">
                <a:extLst>
                  <a:ext uri="{FF2B5EF4-FFF2-40B4-BE49-F238E27FC236}">
                    <a16:creationId xmlns:a16="http://schemas.microsoft.com/office/drawing/2014/main" id="{5A62F68F-BAC1-5DB5-9112-4D3EAAA91E36}"/>
                  </a:ext>
                </a:extLst>
              </p:cNvPr>
              <p:cNvSpPr/>
              <p:nvPr/>
            </p:nvSpPr>
            <p:spPr>
              <a:xfrm>
                <a:off x="1546909" y="3546047"/>
                <a:ext cx="384" cy="1291"/>
              </a:xfrm>
              <a:custGeom>
                <a:avLst/>
                <a:gdLst>
                  <a:gd name="connsiteX0" fmla="*/ 0 w 3677"/>
                  <a:gd name="connsiteY0" fmla="*/ 0 h 12376"/>
                  <a:gd name="connsiteX1" fmla="*/ 3430 w 3677"/>
                  <a:gd name="connsiteY1" fmla="*/ 1290 h 12376"/>
                  <a:gd name="connsiteX2" fmla="*/ 3678 w 3677"/>
                  <a:gd name="connsiteY2" fmla="*/ 12377 h 12376"/>
                  <a:gd name="connsiteX3" fmla="*/ 1948 w 3677"/>
                  <a:gd name="connsiteY3" fmla="*/ 9578 h 12376"/>
                  <a:gd name="connsiteX4" fmla="*/ 0 w 3677"/>
                  <a:gd name="connsiteY4" fmla="*/ 0 h 12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7" h="12376">
                    <a:moveTo>
                      <a:pt x="0" y="0"/>
                    </a:moveTo>
                    <a:lnTo>
                      <a:pt x="3430" y="1290"/>
                    </a:lnTo>
                    <a:lnTo>
                      <a:pt x="3678" y="12377"/>
                    </a:lnTo>
                    <a:lnTo>
                      <a:pt x="1948" y="9578"/>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3" name="Freeform: Shape 4392">
                <a:extLst>
                  <a:ext uri="{FF2B5EF4-FFF2-40B4-BE49-F238E27FC236}">
                    <a16:creationId xmlns:a16="http://schemas.microsoft.com/office/drawing/2014/main" id="{B610BAB8-1C83-4E4D-8870-D7F9778B0E94}"/>
                  </a:ext>
                </a:extLst>
              </p:cNvPr>
              <p:cNvSpPr/>
              <p:nvPr/>
            </p:nvSpPr>
            <p:spPr>
              <a:xfrm>
                <a:off x="1660172" y="3463552"/>
                <a:ext cx="827" cy="933"/>
              </a:xfrm>
              <a:custGeom>
                <a:avLst/>
                <a:gdLst>
                  <a:gd name="connsiteX0" fmla="*/ 0 w 7931"/>
                  <a:gd name="connsiteY0" fmla="*/ 5736 h 8946"/>
                  <a:gd name="connsiteX1" fmla="*/ 3156 w 7931"/>
                  <a:gd name="connsiteY1" fmla="*/ 0 h 8946"/>
                  <a:gd name="connsiteX2" fmla="*/ 7602 w 7931"/>
                  <a:gd name="connsiteY2" fmla="*/ 1839 h 8946"/>
                  <a:gd name="connsiteX3" fmla="*/ 7931 w 7931"/>
                  <a:gd name="connsiteY3" fmla="*/ 6888 h 8946"/>
                  <a:gd name="connsiteX4" fmla="*/ 659 w 7931"/>
                  <a:gd name="connsiteY4" fmla="*/ 8946 h 8946"/>
                  <a:gd name="connsiteX5" fmla="*/ 0 w 7931"/>
                  <a:gd name="connsiteY5" fmla="*/ 5736 h 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1" h="8946">
                    <a:moveTo>
                      <a:pt x="0" y="5736"/>
                    </a:moveTo>
                    <a:lnTo>
                      <a:pt x="3156" y="0"/>
                    </a:lnTo>
                    <a:lnTo>
                      <a:pt x="7602" y="1839"/>
                    </a:lnTo>
                    <a:lnTo>
                      <a:pt x="7931" y="6888"/>
                    </a:lnTo>
                    <a:lnTo>
                      <a:pt x="659" y="8946"/>
                    </a:lnTo>
                    <a:lnTo>
                      <a:pt x="0" y="57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4" name="Freeform: Shape 4393">
                <a:extLst>
                  <a:ext uri="{FF2B5EF4-FFF2-40B4-BE49-F238E27FC236}">
                    <a16:creationId xmlns:a16="http://schemas.microsoft.com/office/drawing/2014/main" id="{497807CD-7711-476F-57BC-502C02A1E721}"/>
                  </a:ext>
                </a:extLst>
              </p:cNvPr>
              <p:cNvSpPr/>
              <p:nvPr/>
            </p:nvSpPr>
            <p:spPr>
              <a:xfrm>
                <a:off x="1625469" y="3493131"/>
                <a:ext cx="561" cy="1148"/>
              </a:xfrm>
              <a:custGeom>
                <a:avLst/>
                <a:gdLst>
                  <a:gd name="connsiteX0" fmla="*/ 27 w 5379"/>
                  <a:gd name="connsiteY0" fmla="*/ 8260 h 11004"/>
                  <a:gd name="connsiteX1" fmla="*/ 851 w 5379"/>
                  <a:gd name="connsiteY1" fmla="*/ 2744 h 11004"/>
                  <a:gd name="connsiteX2" fmla="*/ 3540 w 5379"/>
                  <a:gd name="connsiteY2" fmla="*/ 0 h 11004"/>
                  <a:gd name="connsiteX3" fmla="*/ 5379 w 5379"/>
                  <a:gd name="connsiteY3" fmla="*/ 11005 h 11004"/>
                  <a:gd name="connsiteX4" fmla="*/ 604 w 5379"/>
                  <a:gd name="connsiteY4" fmla="*/ 10895 h 11004"/>
                  <a:gd name="connsiteX5" fmla="*/ 0 w 5379"/>
                  <a:gd name="connsiteY5" fmla="*/ 8233 h 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79" h="11004">
                    <a:moveTo>
                      <a:pt x="27" y="8260"/>
                    </a:moveTo>
                    <a:lnTo>
                      <a:pt x="851" y="2744"/>
                    </a:lnTo>
                    <a:lnTo>
                      <a:pt x="3540" y="0"/>
                    </a:lnTo>
                    <a:lnTo>
                      <a:pt x="5379" y="11005"/>
                    </a:lnTo>
                    <a:lnTo>
                      <a:pt x="604" y="10895"/>
                    </a:lnTo>
                    <a:lnTo>
                      <a:pt x="0" y="82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6" name="Freeform: Shape 4395">
                <a:extLst>
                  <a:ext uri="{FF2B5EF4-FFF2-40B4-BE49-F238E27FC236}">
                    <a16:creationId xmlns:a16="http://schemas.microsoft.com/office/drawing/2014/main" id="{AB785F31-E0FD-0D87-7247-00405D7C4EAD}"/>
                  </a:ext>
                </a:extLst>
              </p:cNvPr>
              <p:cNvSpPr/>
              <p:nvPr/>
            </p:nvSpPr>
            <p:spPr>
              <a:xfrm>
                <a:off x="1627387" y="3490492"/>
                <a:ext cx="681" cy="925"/>
              </a:xfrm>
              <a:custGeom>
                <a:avLst/>
                <a:gdLst>
                  <a:gd name="connsiteX0" fmla="*/ 0 w 6531"/>
                  <a:gd name="connsiteY0" fmla="*/ 2580 h 8864"/>
                  <a:gd name="connsiteX1" fmla="*/ 6065 w 6531"/>
                  <a:gd name="connsiteY1" fmla="*/ 0 h 8864"/>
                  <a:gd name="connsiteX2" fmla="*/ 6531 w 6531"/>
                  <a:gd name="connsiteY2" fmla="*/ 4693 h 8864"/>
                  <a:gd name="connsiteX3" fmla="*/ 3732 w 6531"/>
                  <a:gd name="connsiteY3" fmla="*/ 8864 h 8864"/>
                  <a:gd name="connsiteX4" fmla="*/ 1400 w 6531"/>
                  <a:gd name="connsiteY4" fmla="*/ 7657 h 8864"/>
                  <a:gd name="connsiteX5" fmla="*/ 466 w 6531"/>
                  <a:gd name="connsiteY5" fmla="*/ 4693 h 8864"/>
                  <a:gd name="connsiteX6" fmla="*/ 0 w 6531"/>
                  <a:gd name="connsiteY6" fmla="*/ 2580 h 8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8864">
                    <a:moveTo>
                      <a:pt x="0" y="2580"/>
                    </a:moveTo>
                    <a:lnTo>
                      <a:pt x="6065" y="0"/>
                    </a:lnTo>
                    <a:lnTo>
                      <a:pt x="6531" y="4693"/>
                    </a:lnTo>
                    <a:lnTo>
                      <a:pt x="3732" y="8864"/>
                    </a:lnTo>
                    <a:lnTo>
                      <a:pt x="1400" y="7657"/>
                    </a:lnTo>
                    <a:lnTo>
                      <a:pt x="466" y="4693"/>
                    </a:lnTo>
                    <a:lnTo>
                      <a:pt x="0" y="25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7" name="Freeform: Shape 4396">
                <a:extLst>
                  <a:ext uri="{FF2B5EF4-FFF2-40B4-BE49-F238E27FC236}">
                    <a16:creationId xmlns:a16="http://schemas.microsoft.com/office/drawing/2014/main" id="{69F76371-1512-40C7-7B3D-9B71C1C7D803}"/>
                  </a:ext>
                </a:extLst>
              </p:cNvPr>
              <p:cNvSpPr/>
              <p:nvPr/>
            </p:nvSpPr>
            <p:spPr>
              <a:xfrm>
                <a:off x="1658145" y="3466397"/>
                <a:ext cx="570" cy="1262"/>
              </a:xfrm>
              <a:custGeom>
                <a:avLst/>
                <a:gdLst>
                  <a:gd name="connsiteX0" fmla="*/ 27 w 5461"/>
                  <a:gd name="connsiteY0" fmla="*/ 2360 h 12102"/>
                  <a:gd name="connsiteX1" fmla="*/ 3458 w 5461"/>
                  <a:gd name="connsiteY1" fmla="*/ 0 h 12102"/>
                  <a:gd name="connsiteX2" fmla="*/ 5461 w 5461"/>
                  <a:gd name="connsiteY2" fmla="*/ 12102 h 12102"/>
                  <a:gd name="connsiteX3" fmla="*/ 1455 w 5461"/>
                  <a:gd name="connsiteY3" fmla="*/ 12102 h 12102"/>
                  <a:gd name="connsiteX4" fmla="*/ 0 w 5461"/>
                  <a:gd name="connsiteY4" fmla="*/ 2388 h 1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1" h="12102">
                    <a:moveTo>
                      <a:pt x="27" y="2360"/>
                    </a:moveTo>
                    <a:lnTo>
                      <a:pt x="3458" y="0"/>
                    </a:lnTo>
                    <a:lnTo>
                      <a:pt x="5461" y="12102"/>
                    </a:lnTo>
                    <a:lnTo>
                      <a:pt x="1455" y="12102"/>
                    </a:lnTo>
                    <a:cubicBezTo>
                      <a:pt x="1455" y="12102"/>
                      <a:pt x="0" y="2388"/>
                      <a:pt x="0" y="2388"/>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8" name="Freeform: Shape 4397">
                <a:extLst>
                  <a:ext uri="{FF2B5EF4-FFF2-40B4-BE49-F238E27FC236}">
                    <a16:creationId xmlns:a16="http://schemas.microsoft.com/office/drawing/2014/main" id="{6B24267F-FB48-CB46-3C24-0329A89BFAE3}"/>
                  </a:ext>
                </a:extLst>
              </p:cNvPr>
              <p:cNvSpPr/>
              <p:nvPr/>
            </p:nvSpPr>
            <p:spPr>
              <a:xfrm>
                <a:off x="1623663" y="3499151"/>
                <a:ext cx="604" cy="990"/>
              </a:xfrm>
              <a:custGeom>
                <a:avLst/>
                <a:gdLst>
                  <a:gd name="connsiteX0" fmla="*/ 0 w 5790"/>
                  <a:gd name="connsiteY0" fmla="*/ 6504 h 9495"/>
                  <a:gd name="connsiteX1" fmla="*/ 4748 w 5790"/>
                  <a:gd name="connsiteY1" fmla="*/ 0 h 9495"/>
                  <a:gd name="connsiteX2" fmla="*/ 5790 w 5790"/>
                  <a:gd name="connsiteY2" fmla="*/ 8645 h 9495"/>
                  <a:gd name="connsiteX3" fmla="*/ 823 w 5790"/>
                  <a:gd name="connsiteY3" fmla="*/ 9495 h 9495"/>
                  <a:gd name="connsiteX4" fmla="*/ 0 w 5790"/>
                  <a:gd name="connsiteY4" fmla="*/ 6477 h 9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 h="9495">
                    <a:moveTo>
                      <a:pt x="0" y="6504"/>
                    </a:moveTo>
                    <a:lnTo>
                      <a:pt x="4748" y="0"/>
                    </a:lnTo>
                    <a:lnTo>
                      <a:pt x="5790" y="8645"/>
                    </a:lnTo>
                    <a:lnTo>
                      <a:pt x="823" y="9495"/>
                    </a:lnTo>
                    <a:lnTo>
                      <a:pt x="0" y="64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0" name="Freeform: Shape 4399">
                <a:extLst>
                  <a:ext uri="{FF2B5EF4-FFF2-40B4-BE49-F238E27FC236}">
                    <a16:creationId xmlns:a16="http://schemas.microsoft.com/office/drawing/2014/main" id="{060186F6-72AF-8472-FCE1-3B53572527DC}"/>
                  </a:ext>
                </a:extLst>
              </p:cNvPr>
              <p:cNvSpPr/>
              <p:nvPr/>
            </p:nvSpPr>
            <p:spPr>
              <a:xfrm>
                <a:off x="1712489" y="3469869"/>
                <a:ext cx="518" cy="1320"/>
              </a:xfrm>
              <a:custGeom>
                <a:avLst/>
                <a:gdLst>
                  <a:gd name="connsiteX0" fmla="*/ 0 w 4967"/>
                  <a:gd name="connsiteY0" fmla="*/ 0 h 12651"/>
                  <a:gd name="connsiteX1" fmla="*/ 2086 w 4967"/>
                  <a:gd name="connsiteY1" fmla="*/ 0 h 12651"/>
                  <a:gd name="connsiteX2" fmla="*/ 4967 w 4967"/>
                  <a:gd name="connsiteY2" fmla="*/ 6751 h 12651"/>
                  <a:gd name="connsiteX3" fmla="*/ 4967 w 4967"/>
                  <a:gd name="connsiteY3" fmla="*/ 12651 h 12651"/>
                  <a:gd name="connsiteX4" fmla="*/ 1867 w 4967"/>
                  <a:gd name="connsiteY4" fmla="*/ 12404 h 12651"/>
                  <a:gd name="connsiteX5" fmla="*/ 27 w 4967"/>
                  <a:gd name="connsiteY5" fmla="*/ 27 h 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 h="12651">
                    <a:moveTo>
                      <a:pt x="0" y="0"/>
                    </a:moveTo>
                    <a:lnTo>
                      <a:pt x="2086" y="0"/>
                    </a:lnTo>
                    <a:lnTo>
                      <a:pt x="4967" y="6751"/>
                    </a:lnTo>
                    <a:lnTo>
                      <a:pt x="4967" y="12651"/>
                    </a:lnTo>
                    <a:cubicBezTo>
                      <a:pt x="4967" y="12651"/>
                      <a:pt x="1867" y="12404"/>
                      <a:pt x="1867" y="12404"/>
                    </a:cubicBezTo>
                    <a:lnTo>
                      <a:pt x="27"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2" name="Freeform: Shape 4401">
                <a:extLst>
                  <a:ext uri="{FF2B5EF4-FFF2-40B4-BE49-F238E27FC236}">
                    <a16:creationId xmlns:a16="http://schemas.microsoft.com/office/drawing/2014/main" id="{1A38DE88-CA3D-45C9-777A-D4C00E98EBA7}"/>
                  </a:ext>
                </a:extLst>
              </p:cNvPr>
              <p:cNvSpPr/>
              <p:nvPr/>
            </p:nvSpPr>
            <p:spPr>
              <a:xfrm>
                <a:off x="1616112" y="3476284"/>
                <a:ext cx="613" cy="1068"/>
              </a:xfrm>
              <a:custGeom>
                <a:avLst/>
                <a:gdLst>
                  <a:gd name="connsiteX0" fmla="*/ 0 w 5873"/>
                  <a:gd name="connsiteY0" fmla="*/ 4501 h 10236"/>
                  <a:gd name="connsiteX1" fmla="*/ 604 w 5873"/>
                  <a:gd name="connsiteY1" fmla="*/ 0 h 10236"/>
                  <a:gd name="connsiteX2" fmla="*/ 5873 w 5873"/>
                  <a:gd name="connsiteY2" fmla="*/ 961 h 10236"/>
                  <a:gd name="connsiteX3" fmla="*/ 5873 w 5873"/>
                  <a:gd name="connsiteY3" fmla="*/ 10236 h 10236"/>
                  <a:gd name="connsiteX4" fmla="*/ 27 w 5873"/>
                  <a:gd name="connsiteY4" fmla="*/ 4501 h 10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3" h="10236">
                    <a:moveTo>
                      <a:pt x="0" y="4501"/>
                    </a:moveTo>
                    <a:lnTo>
                      <a:pt x="604" y="0"/>
                    </a:lnTo>
                    <a:lnTo>
                      <a:pt x="5873" y="961"/>
                    </a:lnTo>
                    <a:lnTo>
                      <a:pt x="5873" y="10236"/>
                    </a:lnTo>
                    <a:lnTo>
                      <a:pt x="27" y="45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3" name="Freeform: Shape 4402">
                <a:extLst>
                  <a:ext uri="{FF2B5EF4-FFF2-40B4-BE49-F238E27FC236}">
                    <a16:creationId xmlns:a16="http://schemas.microsoft.com/office/drawing/2014/main" id="{91CAA218-8A22-5723-6286-900DE9CDFA02}"/>
                  </a:ext>
                </a:extLst>
              </p:cNvPr>
              <p:cNvSpPr/>
              <p:nvPr/>
            </p:nvSpPr>
            <p:spPr>
              <a:xfrm>
                <a:off x="1619627" y="3476169"/>
                <a:ext cx="833" cy="781"/>
              </a:xfrm>
              <a:custGeom>
                <a:avLst/>
                <a:gdLst>
                  <a:gd name="connsiteX0" fmla="*/ 0 w 7985"/>
                  <a:gd name="connsiteY0" fmla="*/ 2031 h 7491"/>
                  <a:gd name="connsiteX1" fmla="*/ 604 w 7985"/>
                  <a:gd name="connsiteY1" fmla="*/ 0 h 7491"/>
                  <a:gd name="connsiteX2" fmla="*/ 7986 w 7985"/>
                  <a:gd name="connsiteY2" fmla="*/ 1537 h 7491"/>
                  <a:gd name="connsiteX3" fmla="*/ 7712 w 7985"/>
                  <a:gd name="connsiteY3" fmla="*/ 7492 h 7491"/>
                  <a:gd name="connsiteX4" fmla="*/ 1784 w 7985"/>
                  <a:gd name="connsiteY4" fmla="*/ 7300 h 7491"/>
                  <a:gd name="connsiteX5" fmla="*/ 0 w 7985"/>
                  <a:gd name="connsiteY5" fmla="*/ 2031 h 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5" h="7491">
                    <a:moveTo>
                      <a:pt x="0" y="2031"/>
                    </a:moveTo>
                    <a:lnTo>
                      <a:pt x="604" y="0"/>
                    </a:lnTo>
                    <a:lnTo>
                      <a:pt x="7986" y="1537"/>
                    </a:lnTo>
                    <a:lnTo>
                      <a:pt x="7712" y="7492"/>
                    </a:lnTo>
                    <a:lnTo>
                      <a:pt x="1784" y="7300"/>
                    </a:lnTo>
                    <a:lnTo>
                      <a:pt x="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5" name="Freeform: Shape 4404">
                <a:extLst>
                  <a:ext uri="{FF2B5EF4-FFF2-40B4-BE49-F238E27FC236}">
                    <a16:creationId xmlns:a16="http://schemas.microsoft.com/office/drawing/2014/main" id="{542BFE9A-5472-8793-AAE7-1500EBF1F8CF}"/>
                  </a:ext>
                </a:extLst>
              </p:cNvPr>
              <p:cNvSpPr/>
              <p:nvPr/>
            </p:nvSpPr>
            <p:spPr>
              <a:xfrm>
                <a:off x="1571665" y="3549634"/>
                <a:ext cx="518" cy="836"/>
              </a:xfrm>
              <a:custGeom>
                <a:avLst/>
                <a:gdLst>
                  <a:gd name="connsiteX0" fmla="*/ 0 w 4967"/>
                  <a:gd name="connsiteY0" fmla="*/ 2442 h 8013"/>
                  <a:gd name="connsiteX1" fmla="*/ 1317 w 4967"/>
                  <a:gd name="connsiteY1" fmla="*/ 0 h 8013"/>
                  <a:gd name="connsiteX2" fmla="*/ 4967 w 4967"/>
                  <a:gd name="connsiteY2" fmla="*/ 3156 h 8013"/>
                  <a:gd name="connsiteX3" fmla="*/ 2992 w 4967"/>
                  <a:gd name="connsiteY3" fmla="*/ 8013 h 8013"/>
                  <a:gd name="connsiteX4" fmla="*/ 0 w 4967"/>
                  <a:gd name="connsiteY4" fmla="*/ 2442 h 8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 h="8013">
                    <a:moveTo>
                      <a:pt x="0" y="2442"/>
                    </a:moveTo>
                    <a:lnTo>
                      <a:pt x="1317" y="0"/>
                    </a:lnTo>
                    <a:lnTo>
                      <a:pt x="4967" y="3156"/>
                    </a:lnTo>
                    <a:lnTo>
                      <a:pt x="2992" y="8013"/>
                    </a:lnTo>
                    <a:lnTo>
                      <a:pt x="0" y="24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0" name="Freeform: Shape 4409">
                <a:extLst>
                  <a:ext uri="{FF2B5EF4-FFF2-40B4-BE49-F238E27FC236}">
                    <a16:creationId xmlns:a16="http://schemas.microsoft.com/office/drawing/2014/main" id="{EAB4BC58-8A1E-320C-610C-245B9B4097D5}"/>
                  </a:ext>
                </a:extLst>
              </p:cNvPr>
              <p:cNvSpPr/>
              <p:nvPr/>
            </p:nvSpPr>
            <p:spPr>
              <a:xfrm>
                <a:off x="1617649" y="3454931"/>
                <a:ext cx="487" cy="1443"/>
              </a:xfrm>
              <a:custGeom>
                <a:avLst/>
                <a:gdLst>
                  <a:gd name="connsiteX0" fmla="*/ 0 w 4665"/>
                  <a:gd name="connsiteY0" fmla="*/ 5598 h 13831"/>
                  <a:gd name="connsiteX1" fmla="*/ 1619 w 4665"/>
                  <a:gd name="connsiteY1" fmla="*/ 0 h 13831"/>
                  <a:gd name="connsiteX2" fmla="*/ 4665 w 4665"/>
                  <a:gd name="connsiteY2" fmla="*/ 5434 h 13831"/>
                  <a:gd name="connsiteX3" fmla="*/ 3649 w 4665"/>
                  <a:gd name="connsiteY3" fmla="*/ 13831 h 13831"/>
                  <a:gd name="connsiteX4" fmla="*/ 27 w 4665"/>
                  <a:gd name="connsiteY4" fmla="*/ 5598 h 1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5" h="13831">
                    <a:moveTo>
                      <a:pt x="0" y="5598"/>
                    </a:moveTo>
                    <a:lnTo>
                      <a:pt x="1619" y="0"/>
                    </a:lnTo>
                    <a:lnTo>
                      <a:pt x="4665" y="5434"/>
                    </a:lnTo>
                    <a:lnTo>
                      <a:pt x="3649" y="13831"/>
                    </a:lnTo>
                    <a:lnTo>
                      <a:pt x="27" y="55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1" name="Freeform: Shape 4410">
                <a:extLst>
                  <a:ext uri="{FF2B5EF4-FFF2-40B4-BE49-F238E27FC236}">
                    <a16:creationId xmlns:a16="http://schemas.microsoft.com/office/drawing/2014/main" id="{0FAD5F4E-08CC-C81F-955C-6007EAAFEF3F}"/>
                  </a:ext>
                </a:extLst>
              </p:cNvPr>
              <p:cNvSpPr/>
              <p:nvPr/>
            </p:nvSpPr>
            <p:spPr>
              <a:xfrm>
                <a:off x="1450537" y="3612571"/>
                <a:ext cx="475" cy="635"/>
              </a:xfrm>
              <a:custGeom>
                <a:avLst/>
                <a:gdLst>
                  <a:gd name="connsiteX0" fmla="*/ 0 w 4555"/>
                  <a:gd name="connsiteY0" fmla="*/ 4803 h 6092"/>
                  <a:gd name="connsiteX1" fmla="*/ 2305 w 4555"/>
                  <a:gd name="connsiteY1" fmla="*/ 0 h 6092"/>
                  <a:gd name="connsiteX2" fmla="*/ 4555 w 4555"/>
                  <a:gd name="connsiteY2" fmla="*/ 4254 h 6092"/>
                  <a:gd name="connsiteX3" fmla="*/ 2662 w 4555"/>
                  <a:gd name="connsiteY3" fmla="*/ 6092 h 6092"/>
                  <a:gd name="connsiteX4" fmla="*/ 0 w 4555"/>
                  <a:gd name="connsiteY4" fmla="*/ 4830 h 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6092">
                    <a:moveTo>
                      <a:pt x="0" y="4803"/>
                    </a:moveTo>
                    <a:lnTo>
                      <a:pt x="2305" y="0"/>
                    </a:lnTo>
                    <a:lnTo>
                      <a:pt x="4555" y="4254"/>
                    </a:lnTo>
                    <a:lnTo>
                      <a:pt x="2662" y="6092"/>
                    </a:lnTo>
                    <a:lnTo>
                      <a:pt x="0" y="48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2" name="Freeform: Shape 4411">
                <a:extLst>
                  <a:ext uri="{FF2B5EF4-FFF2-40B4-BE49-F238E27FC236}">
                    <a16:creationId xmlns:a16="http://schemas.microsoft.com/office/drawing/2014/main" id="{561C1E17-B716-F8A0-799D-39559312270B}"/>
                  </a:ext>
                </a:extLst>
              </p:cNvPr>
              <p:cNvSpPr/>
              <p:nvPr/>
            </p:nvSpPr>
            <p:spPr>
              <a:xfrm>
                <a:off x="1529257" y="3531352"/>
                <a:ext cx="670" cy="670"/>
              </a:xfrm>
              <a:custGeom>
                <a:avLst/>
                <a:gdLst>
                  <a:gd name="connsiteX0" fmla="*/ 6202 w 6421"/>
                  <a:gd name="connsiteY0" fmla="*/ 6285 h 6421"/>
                  <a:gd name="connsiteX1" fmla="*/ 1317 w 6421"/>
                  <a:gd name="connsiteY1" fmla="*/ 6422 h 6421"/>
                  <a:gd name="connsiteX2" fmla="*/ 0 w 6421"/>
                  <a:gd name="connsiteY2" fmla="*/ 2854 h 6421"/>
                  <a:gd name="connsiteX3" fmla="*/ 4418 w 6421"/>
                  <a:gd name="connsiteY3" fmla="*/ 0 h 6421"/>
                  <a:gd name="connsiteX4" fmla="*/ 6422 w 6421"/>
                  <a:gd name="connsiteY4" fmla="*/ 823 h 6421"/>
                  <a:gd name="connsiteX5" fmla="*/ 6175 w 6421"/>
                  <a:gd name="connsiteY5" fmla="*/ 6285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1" h="6421">
                    <a:moveTo>
                      <a:pt x="6202" y="6285"/>
                    </a:moveTo>
                    <a:lnTo>
                      <a:pt x="1317" y="6422"/>
                    </a:lnTo>
                    <a:lnTo>
                      <a:pt x="0" y="2854"/>
                    </a:lnTo>
                    <a:lnTo>
                      <a:pt x="4418" y="0"/>
                    </a:lnTo>
                    <a:lnTo>
                      <a:pt x="6422" y="823"/>
                    </a:lnTo>
                    <a:lnTo>
                      <a:pt x="6175" y="62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3" name="Freeform: Shape 4412">
                <a:extLst>
                  <a:ext uri="{FF2B5EF4-FFF2-40B4-BE49-F238E27FC236}">
                    <a16:creationId xmlns:a16="http://schemas.microsoft.com/office/drawing/2014/main" id="{1C9B311B-3090-5910-3F7A-6589E2553614}"/>
                  </a:ext>
                </a:extLst>
              </p:cNvPr>
              <p:cNvSpPr/>
              <p:nvPr/>
            </p:nvSpPr>
            <p:spPr>
              <a:xfrm>
                <a:off x="1647326" y="3453416"/>
                <a:ext cx="532" cy="1288"/>
              </a:xfrm>
              <a:custGeom>
                <a:avLst/>
                <a:gdLst>
                  <a:gd name="connsiteX0" fmla="*/ 0 w 5104"/>
                  <a:gd name="connsiteY0" fmla="*/ 5242 h 12349"/>
                  <a:gd name="connsiteX1" fmla="*/ 1701 w 5104"/>
                  <a:gd name="connsiteY1" fmla="*/ 0 h 12349"/>
                  <a:gd name="connsiteX2" fmla="*/ 5104 w 5104"/>
                  <a:gd name="connsiteY2" fmla="*/ 3897 h 12349"/>
                  <a:gd name="connsiteX3" fmla="*/ 3211 w 5104"/>
                  <a:gd name="connsiteY3" fmla="*/ 12349 h 12349"/>
                  <a:gd name="connsiteX4" fmla="*/ 27 w 5104"/>
                  <a:gd name="connsiteY4" fmla="*/ 5242 h 12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4" h="12349">
                    <a:moveTo>
                      <a:pt x="0" y="5242"/>
                    </a:moveTo>
                    <a:lnTo>
                      <a:pt x="1701" y="0"/>
                    </a:lnTo>
                    <a:lnTo>
                      <a:pt x="5104" y="3897"/>
                    </a:lnTo>
                    <a:lnTo>
                      <a:pt x="3211" y="12349"/>
                    </a:lnTo>
                    <a:lnTo>
                      <a:pt x="27" y="52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4" name="Freeform: Shape 4413">
                <a:extLst>
                  <a:ext uri="{FF2B5EF4-FFF2-40B4-BE49-F238E27FC236}">
                    <a16:creationId xmlns:a16="http://schemas.microsoft.com/office/drawing/2014/main" id="{17CBF4B9-2C60-C374-EF3B-20B6B81F0F75}"/>
                  </a:ext>
                </a:extLst>
              </p:cNvPr>
              <p:cNvSpPr/>
              <p:nvPr/>
            </p:nvSpPr>
            <p:spPr>
              <a:xfrm>
                <a:off x="1535534" y="3548589"/>
                <a:ext cx="464" cy="870"/>
              </a:xfrm>
              <a:custGeom>
                <a:avLst/>
                <a:gdLst>
                  <a:gd name="connsiteX0" fmla="*/ 0 w 4446"/>
                  <a:gd name="connsiteY0" fmla="*/ 3348 h 8342"/>
                  <a:gd name="connsiteX1" fmla="*/ 1290 w 4446"/>
                  <a:gd name="connsiteY1" fmla="*/ 0 h 8342"/>
                  <a:gd name="connsiteX2" fmla="*/ 4446 w 4446"/>
                  <a:gd name="connsiteY2" fmla="*/ 2689 h 8342"/>
                  <a:gd name="connsiteX3" fmla="*/ 3760 w 4446"/>
                  <a:gd name="connsiteY3" fmla="*/ 8343 h 8342"/>
                  <a:gd name="connsiteX4" fmla="*/ 0 w 4446"/>
                  <a:gd name="connsiteY4" fmla="*/ 3348 h 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6" h="8342">
                    <a:moveTo>
                      <a:pt x="0" y="3348"/>
                    </a:moveTo>
                    <a:lnTo>
                      <a:pt x="1290" y="0"/>
                    </a:lnTo>
                    <a:lnTo>
                      <a:pt x="4446" y="2689"/>
                    </a:lnTo>
                    <a:lnTo>
                      <a:pt x="3760" y="8343"/>
                    </a:lnTo>
                    <a:lnTo>
                      <a:pt x="0"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5" name="Freeform: Shape 4414">
                <a:extLst>
                  <a:ext uri="{FF2B5EF4-FFF2-40B4-BE49-F238E27FC236}">
                    <a16:creationId xmlns:a16="http://schemas.microsoft.com/office/drawing/2014/main" id="{782F590A-79B4-7CF1-5933-165ABCF35921}"/>
                  </a:ext>
                </a:extLst>
              </p:cNvPr>
              <p:cNvSpPr/>
              <p:nvPr/>
            </p:nvSpPr>
            <p:spPr>
              <a:xfrm>
                <a:off x="1448013" y="3612299"/>
                <a:ext cx="429" cy="675"/>
              </a:xfrm>
              <a:custGeom>
                <a:avLst/>
                <a:gdLst>
                  <a:gd name="connsiteX0" fmla="*/ 0 w 4116"/>
                  <a:gd name="connsiteY0" fmla="*/ 2086 h 6476"/>
                  <a:gd name="connsiteX1" fmla="*/ 1592 w 4116"/>
                  <a:gd name="connsiteY1" fmla="*/ 0 h 6476"/>
                  <a:gd name="connsiteX2" fmla="*/ 4116 w 4116"/>
                  <a:gd name="connsiteY2" fmla="*/ 4693 h 6476"/>
                  <a:gd name="connsiteX3" fmla="*/ 1043 w 4116"/>
                  <a:gd name="connsiteY3" fmla="*/ 6477 h 6476"/>
                  <a:gd name="connsiteX4" fmla="*/ 0 w 4116"/>
                  <a:gd name="connsiteY4" fmla="*/ 2113 h 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6476">
                    <a:moveTo>
                      <a:pt x="0" y="2086"/>
                    </a:moveTo>
                    <a:lnTo>
                      <a:pt x="1592" y="0"/>
                    </a:lnTo>
                    <a:lnTo>
                      <a:pt x="4116" y="4693"/>
                    </a:lnTo>
                    <a:lnTo>
                      <a:pt x="1043" y="6477"/>
                    </a:lnTo>
                    <a:lnTo>
                      <a:pt x="0"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6" name="Freeform: Shape 4415">
                <a:extLst>
                  <a:ext uri="{FF2B5EF4-FFF2-40B4-BE49-F238E27FC236}">
                    <a16:creationId xmlns:a16="http://schemas.microsoft.com/office/drawing/2014/main" id="{96E77022-8110-4BA2-520E-ECCDDB664DA3}"/>
                  </a:ext>
                </a:extLst>
              </p:cNvPr>
              <p:cNvSpPr/>
              <p:nvPr/>
            </p:nvSpPr>
            <p:spPr>
              <a:xfrm>
                <a:off x="1534429" y="3408303"/>
                <a:ext cx="635" cy="1345"/>
              </a:xfrm>
              <a:custGeom>
                <a:avLst/>
                <a:gdLst>
                  <a:gd name="connsiteX0" fmla="*/ 0 w 6092"/>
                  <a:gd name="connsiteY0" fmla="*/ 7355 h 12898"/>
                  <a:gd name="connsiteX1" fmla="*/ 4884 w 6092"/>
                  <a:gd name="connsiteY1" fmla="*/ 0 h 12898"/>
                  <a:gd name="connsiteX2" fmla="*/ 6092 w 6092"/>
                  <a:gd name="connsiteY2" fmla="*/ 11444 h 12898"/>
                  <a:gd name="connsiteX3" fmla="*/ 494 w 6092"/>
                  <a:gd name="connsiteY3" fmla="*/ 12898 h 12898"/>
                  <a:gd name="connsiteX4" fmla="*/ 0 w 6092"/>
                  <a:gd name="connsiteY4" fmla="*/ 7327 h 1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 h="12898">
                    <a:moveTo>
                      <a:pt x="0" y="7355"/>
                    </a:moveTo>
                    <a:lnTo>
                      <a:pt x="4884" y="0"/>
                    </a:lnTo>
                    <a:lnTo>
                      <a:pt x="6092" y="11444"/>
                    </a:lnTo>
                    <a:lnTo>
                      <a:pt x="494" y="12898"/>
                    </a:lnTo>
                    <a:lnTo>
                      <a:pt x="0" y="73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0" name="Freeform: Shape 4419">
                <a:extLst>
                  <a:ext uri="{FF2B5EF4-FFF2-40B4-BE49-F238E27FC236}">
                    <a16:creationId xmlns:a16="http://schemas.microsoft.com/office/drawing/2014/main" id="{418A193A-123D-4E17-6A68-781A9C18DC9A}"/>
                  </a:ext>
                </a:extLst>
              </p:cNvPr>
              <p:cNvSpPr/>
              <p:nvPr/>
            </p:nvSpPr>
            <p:spPr>
              <a:xfrm>
                <a:off x="1475589" y="3578197"/>
                <a:ext cx="501" cy="673"/>
              </a:xfrm>
              <a:custGeom>
                <a:avLst/>
                <a:gdLst>
                  <a:gd name="connsiteX0" fmla="*/ 0 w 4802"/>
                  <a:gd name="connsiteY0" fmla="*/ 3815 h 6449"/>
                  <a:gd name="connsiteX1" fmla="*/ 2854 w 4802"/>
                  <a:gd name="connsiteY1" fmla="*/ 0 h 6449"/>
                  <a:gd name="connsiteX2" fmla="*/ 4803 w 4802"/>
                  <a:gd name="connsiteY2" fmla="*/ 5516 h 6449"/>
                  <a:gd name="connsiteX3" fmla="*/ 1509 w 4802"/>
                  <a:gd name="connsiteY3" fmla="*/ 6449 h 6449"/>
                  <a:gd name="connsiteX4" fmla="*/ 0 w 4802"/>
                  <a:gd name="connsiteY4" fmla="*/ 3815 h 6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2" h="6449">
                    <a:moveTo>
                      <a:pt x="0" y="3815"/>
                    </a:moveTo>
                    <a:lnTo>
                      <a:pt x="2854" y="0"/>
                    </a:lnTo>
                    <a:lnTo>
                      <a:pt x="4803" y="5516"/>
                    </a:lnTo>
                    <a:lnTo>
                      <a:pt x="1509" y="6449"/>
                    </a:lnTo>
                    <a:lnTo>
                      <a:pt x="0" y="38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2" name="Freeform: Shape 4421">
                <a:extLst>
                  <a:ext uri="{FF2B5EF4-FFF2-40B4-BE49-F238E27FC236}">
                    <a16:creationId xmlns:a16="http://schemas.microsoft.com/office/drawing/2014/main" id="{2C1ADC74-11FD-65B8-FAD5-9FBAE9AFECAC}"/>
                  </a:ext>
                </a:extLst>
              </p:cNvPr>
              <p:cNvSpPr/>
              <p:nvPr/>
            </p:nvSpPr>
            <p:spPr>
              <a:xfrm>
                <a:off x="1532787" y="3548077"/>
                <a:ext cx="509" cy="744"/>
              </a:xfrm>
              <a:custGeom>
                <a:avLst/>
                <a:gdLst>
                  <a:gd name="connsiteX0" fmla="*/ 0 w 4884"/>
                  <a:gd name="connsiteY0" fmla="*/ 4555 h 7135"/>
                  <a:gd name="connsiteX1" fmla="*/ 1893 w 4884"/>
                  <a:gd name="connsiteY1" fmla="*/ 0 h 7135"/>
                  <a:gd name="connsiteX2" fmla="*/ 4884 w 4884"/>
                  <a:gd name="connsiteY2" fmla="*/ 2388 h 7135"/>
                  <a:gd name="connsiteX3" fmla="*/ 3787 w 4884"/>
                  <a:gd name="connsiteY3" fmla="*/ 7135 h 7135"/>
                  <a:gd name="connsiteX4" fmla="*/ 0 w 4884"/>
                  <a:gd name="connsiteY4" fmla="*/ 4555 h 7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4" h="7135">
                    <a:moveTo>
                      <a:pt x="0" y="4555"/>
                    </a:moveTo>
                    <a:lnTo>
                      <a:pt x="1893" y="0"/>
                    </a:lnTo>
                    <a:lnTo>
                      <a:pt x="4884" y="2388"/>
                    </a:lnTo>
                    <a:lnTo>
                      <a:pt x="3787" y="7135"/>
                    </a:lnTo>
                    <a:lnTo>
                      <a:pt x="0" y="45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3" name="Freeform: Shape 4422">
                <a:extLst>
                  <a:ext uri="{FF2B5EF4-FFF2-40B4-BE49-F238E27FC236}">
                    <a16:creationId xmlns:a16="http://schemas.microsoft.com/office/drawing/2014/main" id="{3C493DB1-DC6A-336D-8451-8E52D866B995}"/>
                  </a:ext>
                </a:extLst>
              </p:cNvPr>
              <p:cNvSpPr/>
              <p:nvPr/>
            </p:nvSpPr>
            <p:spPr>
              <a:xfrm>
                <a:off x="1711708" y="3491471"/>
                <a:ext cx="389" cy="1308"/>
              </a:xfrm>
              <a:custGeom>
                <a:avLst/>
                <a:gdLst>
                  <a:gd name="connsiteX0" fmla="*/ 0 w 3732"/>
                  <a:gd name="connsiteY0" fmla="*/ 3732 h 12541"/>
                  <a:gd name="connsiteX1" fmla="*/ 3046 w 3732"/>
                  <a:gd name="connsiteY1" fmla="*/ 0 h 12541"/>
                  <a:gd name="connsiteX2" fmla="*/ 3733 w 3732"/>
                  <a:gd name="connsiteY2" fmla="*/ 8425 h 12541"/>
                  <a:gd name="connsiteX3" fmla="*/ 1757 w 3732"/>
                  <a:gd name="connsiteY3" fmla="*/ 12541 h 12541"/>
                  <a:gd name="connsiteX4" fmla="*/ 0 w 3732"/>
                  <a:gd name="connsiteY4" fmla="*/ 3732 h 12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12541">
                    <a:moveTo>
                      <a:pt x="0" y="3732"/>
                    </a:moveTo>
                    <a:lnTo>
                      <a:pt x="3046" y="0"/>
                    </a:lnTo>
                    <a:lnTo>
                      <a:pt x="3733" y="8425"/>
                    </a:lnTo>
                    <a:lnTo>
                      <a:pt x="1757" y="12541"/>
                    </a:lnTo>
                    <a:lnTo>
                      <a:pt x="0" y="373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4" name="Freeform: Shape 4423">
                <a:extLst>
                  <a:ext uri="{FF2B5EF4-FFF2-40B4-BE49-F238E27FC236}">
                    <a16:creationId xmlns:a16="http://schemas.microsoft.com/office/drawing/2014/main" id="{EFB61941-BCB9-218C-E76D-72FC5173A857}"/>
                  </a:ext>
                </a:extLst>
              </p:cNvPr>
              <p:cNvSpPr/>
              <p:nvPr/>
            </p:nvSpPr>
            <p:spPr>
              <a:xfrm>
                <a:off x="1606990" y="3507658"/>
                <a:ext cx="481" cy="950"/>
              </a:xfrm>
              <a:custGeom>
                <a:avLst/>
                <a:gdLst>
                  <a:gd name="connsiteX0" fmla="*/ 0 w 4610"/>
                  <a:gd name="connsiteY0" fmla="*/ 4391 h 9111"/>
                  <a:gd name="connsiteX1" fmla="*/ 4198 w 4610"/>
                  <a:gd name="connsiteY1" fmla="*/ 0 h 9111"/>
                  <a:gd name="connsiteX2" fmla="*/ 4610 w 4610"/>
                  <a:gd name="connsiteY2" fmla="*/ 6614 h 9111"/>
                  <a:gd name="connsiteX3" fmla="*/ 1317 w 4610"/>
                  <a:gd name="connsiteY3" fmla="*/ 9111 h 9111"/>
                  <a:gd name="connsiteX4" fmla="*/ 27 w 4610"/>
                  <a:gd name="connsiteY4" fmla="*/ 4418 h 9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9111">
                    <a:moveTo>
                      <a:pt x="0" y="4391"/>
                    </a:moveTo>
                    <a:lnTo>
                      <a:pt x="4198" y="0"/>
                    </a:lnTo>
                    <a:lnTo>
                      <a:pt x="4610" y="6614"/>
                    </a:lnTo>
                    <a:lnTo>
                      <a:pt x="1317" y="9111"/>
                    </a:lnTo>
                    <a:lnTo>
                      <a:pt x="27" y="44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5" name="Freeform: Shape 4424">
                <a:extLst>
                  <a:ext uri="{FF2B5EF4-FFF2-40B4-BE49-F238E27FC236}">
                    <a16:creationId xmlns:a16="http://schemas.microsoft.com/office/drawing/2014/main" id="{F2C87F81-5124-5908-5B66-C11C56C34056}"/>
                  </a:ext>
                </a:extLst>
              </p:cNvPr>
              <p:cNvSpPr/>
              <p:nvPr/>
            </p:nvSpPr>
            <p:spPr>
              <a:xfrm>
                <a:off x="1650093" y="3425958"/>
                <a:ext cx="738" cy="973"/>
              </a:xfrm>
              <a:custGeom>
                <a:avLst/>
                <a:gdLst>
                  <a:gd name="connsiteX0" fmla="*/ 7026 w 7080"/>
                  <a:gd name="connsiteY0" fmla="*/ 7327 h 9330"/>
                  <a:gd name="connsiteX1" fmla="*/ 1674 w 7080"/>
                  <a:gd name="connsiteY1" fmla="*/ 9331 h 9330"/>
                  <a:gd name="connsiteX2" fmla="*/ 0 w 7080"/>
                  <a:gd name="connsiteY2" fmla="*/ 2827 h 9330"/>
                  <a:gd name="connsiteX3" fmla="*/ 549 w 7080"/>
                  <a:gd name="connsiteY3" fmla="*/ 110 h 9330"/>
                  <a:gd name="connsiteX4" fmla="*/ 7081 w 7080"/>
                  <a:gd name="connsiteY4" fmla="*/ 0 h 9330"/>
                  <a:gd name="connsiteX5" fmla="*/ 7026 w 7080"/>
                  <a:gd name="connsiteY5" fmla="*/ 7300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80" h="9330">
                    <a:moveTo>
                      <a:pt x="7026" y="7327"/>
                    </a:moveTo>
                    <a:lnTo>
                      <a:pt x="1674" y="9331"/>
                    </a:lnTo>
                    <a:lnTo>
                      <a:pt x="0" y="2827"/>
                    </a:lnTo>
                    <a:lnTo>
                      <a:pt x="549" y="110"/>
                    </a:lnTo>
                    <a:lnTo>
                      <a:pt x="7081" y="0"/>
                    </a:lnTo>
                    <a:lnTo>
                      <a:pt x="7026" y="73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8" name="Freeform: Shape 4427">
                <a:extLst>
                  <a:ext uri="{FF2B5EF4-FFF2-40B4-BE49-F238E27FC236}">
                    <a16:creationId xmlns:a16="http://schemas.microsoft.com/office/drawing/2014/main" id="{51612D16-9ED6-66EB-44B8-92B83E1869FA}"/>
                  </a:ext>
                </a:extLst>
              </p:cNvPr>
              <p:cNvSpPr/>
              <p:nvPr/>
            </p:nvSpPr>
            <p:spPr>
              <a:xfrm>
                <a:off x="1519408" y="3416077"/>
                <a:ext cx="469" cy="1580"/>
              </a:xfrm>
              <a:custGeom>
                <a:avLst/>
                <a:gdLst>
                  <a:gd name="connsiteX0" fmla="*/ 0 w 4500"/>
                  <a:gd name="connsiteY0" fmla="*/ 7437 h 15148"/>
                  <a:gd name="connsiteX1" fmla="*/ 1701 w 4500"/>
                  <a:gd name="connsiteY1" fmla="*/ 0 h 15148"/>
                  <a:gd name="connsiteX2" fmla="*/ 4500 w 4500"/>
                  <a:gd name="connsiteY2" fmla="*/ 1070 h 15148"/>
                  <a:gd name="connsiteX3" fmla="*/ 3649 w 4500"/>
                  <a:gd name="connsiteY3" fmla="*/ 15149 h 15148"/>
                  <a:gd name="connsiteX4" fmla="*/ 27 w 4500"/>
                  <a:gd name="connsiteY4" fmla="*/ 7437 h 15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0" h="15148">
                    <a:moveTo>
                      <a:pt x="0" y="7437"/>
                    </a:moveTo>
                    <a:lnTo>
                      <a:pt x="1701" y="0"/>
                    </a:lnTo>
                    <a:lnTo>
                      <a:pt x="4500" y="1070"/>
                    </a:lnTo>
                    <a:lnTo>
                      <a:pt x="3649" y="15149"/>
                    </a:lnTo>
                    <a:lnTo>
                      <a:pt x="27"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9" name="Freeform: Shape 4428">
                <a:extLst>
                  <a:ext uri="{FF2B5EF4-FFF2-40B4-BE49-F238E27FC236}">
                    <a16:creationId xmlns:a16="http://schemas.microsoft.com/office/drawing/2014/main" id="{6F7D845E-5111-412C-F25E-BE99C980BECF}"/>
                  </a:ext>
                </a:extLst>
              </p:cNvPr>
              <p:cNvSpPr/>
              <p:nvPr/>
            </p:nvSpPr>
            <p:spPr>
              <a:xfrm>
                <a:off x="1617789" y="3475743"/>
                <a:ext cx="475" cy="1108"/>
              </a:xfrm>
              <a:custGeom>
                <a:avLst/>
                <a:gdLst>
                  <a:gd name="connsiteX0" fmla="*/ 0 w 4555"/>
                  <a:gd name="connsiteY0" fmla="*/ 6614 h 10620"/>
                  <a:gd name="connsiteX1" fmla="*/ 3622 w 4555"/>
                  <a:gd name="connsiteY1" fmla="*/ 0 h 10620"/>
                  <a:gd name="connsiteX2" fmla="*/ 4555 w 4555"/>
                  <a:gd name="connsiteY2" fmla="*/ 9605 h 10620"/>
                  <a:gd name="connsiteX3" fmla="*/ 604 w 4555"/>
                  <a:gd name="connsiteY3" fmla="*/ 10620 h 10620"/>
                  <a:gd name="connsiteX4" fmla="*/ 0 w 4555"/>
                  <a:gd name="connsiteY4" fmla="*/ 6586 h 1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10620">
                    <a:moveTo>
                      <a:pt x="0" y="6614"/>
                    </a:moveTo>
                    <a:lnTo>
                      <a:pt x="3622" y="0"/>
                    </a:lnTo>
                    <a:lnTo>
                      <a:pt x="4555" y="9605"/>
                    </a:lnTo>
                    <a:lnTo>
                      <a:pt x="604" y="10620"/>
                    </a:lnTo>
                    <a:lnTo>
                      <a:pt x="0" y="65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0" name="Freeform: Shape 4429">
                <a:extLst>
                  <a:ext uri="{FF2B5EF4-FFF2-40B4-BE49-F238E27FC236}">
                    <a16:creationId xmlns:a16="http://schemas.microsoft.com/office/drawing/2014/main" id="{F496CA63-E300-EFAF-ABBC-B109C0A4CFD2}"/>
                  </a:ext>
                </a:extLst>
              </p:cNvPr>
              <p:cNvSpPr/>
              <p:nvPr/>
            </p:nvSpPr>
            <p:spPr>
              <a:xfrm>
                <a:off x="1627862" y="3492954"/>
                <a:ext cx="455" cy="1030"/>
              </a:xfrm>
              <a:custGeom>
                <a:avLst/>
                <a:gdLst>
                  <a:gd name="connsiteX0" fmla="*/ 110 w 4363"/>
                  <a:gd name="connsiteY0" fmla="*/ 7437 h 9879"/>
                  <a:gd name="connsiteX1" fmla="*/ 2305 w 4363"/>
                  <a:gd name="connsiteY1" fmla="*/ 0 h 9879"/>
                  <a:gd name="connsiteX2" fmla="*/ 3650 w 4363"/>
                  <a:gd name="connsiteY2" fmla="*/ 0 h 9879"/>
                  <a:gd name="connsiteX3" fmla="*/ 4364 w 4363"/>
                  <a:gd name="connsiteY3" fmla="*/ 2305 h 9879"/>
                  <a:gd name="connsiteX4" fmla="*/ 3375 w 4363"/>
                  <a:gd name="connsiteY4" fmla="*/ 9879 h 9879"/>
                  <a:gd name="connsiteX5" fmla="*/ 0 w 4363"/>
                  <a:gd name="connsiteY5" fmla="*/ 7876 h 9879"/>
                  <a:gd name="connsiteX6" fmla="*/ 110 w 4363"/>
                  <a:gd name="connsiteY6" fmla="*/ 7437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3" h="9879">
                    <a:moveTo>
                      <a:pt x="110" y="7437"/>
                    </a:moveTo>
                    <a:lnTo>
                      <a:pt x="2305" y="0"/>
                    </a:lnTo>
                    <a:lnTo>
                      <a:pt x="3650" y="0"/>
                    </a:lnTo>
                    <a:lnTo>
                      <a:pt x="4364" y="2305"/>
                    </a:lnTo>
                    <a:lnTo>
                      <a:pt x="3375" y="9879"/>
                    </a:lnTo>
                    <a:lnTo>
                      <a:pt x="0" y="7876"/>
                    </a:lnTo>
                    <a:lnTo>
                      <a:pt x="110"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1" name="Freeform: Shape 4430">
                <a:extLst>
                  <a:ext uri="{FF2B5EF4-FFF2-40B4-BE49-F238E27FC236}">
                    <a16:creationId xmlns:a16="http://schemas.microsoft.com/office/drawing/2014/main" id="{649257DC-3546-9B61-98D3-489F71DC26B0}"/>
                  </a:ext>
                </a:extLst>
              </p:cNvPr>
              <p:cNvSpPr/>
              <p:nvPr/>
            </p:nvSpPr>
            <p:spPr>
              <a:xfrm>
                <a:off x="1547087" y="3494373"/>
                <a:ext cx="386" cy="1214"/>
              </a:xfrm>
              <a:custGeom>
                <a:avLst/>
                <a:gdLst>
                  <a:gd name="connsiteX0" fmla="*/ 0 w 3704"/>
                  <a:gd name="connsiteY0" fmla="*/ 4693 h 11635"/>
                  <a:gd name="connsiteX1" fmla="*/ 2936 w 3704"/>
                  <a:gd name="connsiteY1" fmla="*/ 0 h 11635"/>
                  <a:gd name="connsiteX2" fmla="*/ 3704 w 3704"/>
                  <a:gd name="connsiteY2" fmla="*/ 9962 h 11635"/>
                  <a:gd name="connsiteX3" fmla="*/ 1180 w 3704"/>
                  <a:gd name="connsiteY3" fmla="*/ 11636 h 11635"/>
                  <a:gd name="connsiteX4" fmla="*/ 0 w 3704"/>
                  <a:gd name="connsiteY4" fmla="*/ 4720 h 11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 h="11635">
                    <a:moveTo>
                      <a:pt x="0" y="4693"/>
                    </a:moveTo>
                    <a:lnTo>
                      <a:pt x="2936" y="0"/>
                    </a:lnTo>
                    <a:lnTo>
                      <a:pt x="3704" y="9962"/>
                    </a:lnTo>
                    <a:lnTo>
                      <a:pt x="1180" y="11636"/>
                    </a:lnTo>
                    <a:lnTo>
                      <a:pt x="0" y="47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4" name="Freeform: Shape 4433">
                <a:extLst>
                  <a:ext uri="{FF2B5EF4-FFF2-40B4-BE49-F238E27FC236}">
                    <a16:creationId xmlns:a16="http://schemas.microsoft.com/office/drawing/2014/main" id="{7FB40F0E-45FB-1001-16CB-3D9D9D72A0FB}"/>
                  </a:ext>
                </a:extLst>
              </p:cNvPr>
              <p:cNvSpPr/>
              <p:nvPr/>
            </p:nvSpPr>
            <p:spPr>
              <a:xfrm>
                <a:off x="1648353" y="3425649"/>
                <a:ext cx="515" cy="1294"/>
              </a:xfrm>
              <a:custGeom>
                <a:avLst/>
                <a:gdLst>
                  <a:gd name="connsiteX0" fmla="*/ 27 w 4939"/>
                  <a:gd name="connsiteY0" fmla="*/ 6257 h 12404"/>
                  <a:gd name="connsiteX1" fmla="*/ 714 w 4939"/>
                  <a:gd name="connsiteY1" fmla="*/ 1564 h 12404"/>
                  <a:gd name="connsiteX2" fmla="*/ 4171 w 4939"/>
                  <a:gd name="connsiteY2" fmla="*/ 0 h 12404"/>
                  <a:gd name="connsiteX3" fmla="*/ 4939 w 4939"/>
                  <a:gd name="connsiteY3" fmla="*/ 6120 h 12404"/>
                  <a:gd name="connsiteX4" fmla="*/ 3101 w 4939"/>
                  <a:gd name="connsiteY4" fmla="*/ 12404 h 12404"/>
                  <a:gd name="connsiteX5" fmla="*/ 0 w 4939"/>
                  <a:gd name="connsiteY5" fmla="*/ 6257 h 1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9" h="12404">
                    <a:moveTo>
                      <a:pt x="27" y="6257"/>
                    </a:moveTo>
                    <a:lnTo>
                      <a:pt x="714" y="1564"/>
                    </a:lnTo>
                    <a:lnTo>
                      <a:pt x="4171" y="0"/>
                    </a:lnTo>
                    <a:lnTo>
                      <a:pt x="4939" y="6120"/>
                    </a:lnTo>
                    <a:lnTo>
                      <a:pt x="3101" y="12404"/>
                    </a:lnTo>
                    <a:lnTo>
                      <a:pt x="0" y="62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5" name="Freeform: Shape 4434">
                <a:extLst>
                  <a:ext uri="{FF2B5EF4-FFF2-40B4-BE49-F238E27FC236}">
                    <a16:creationId xmlns:a16="http://schemas.microsoft.com/office/drawing/2014/main" id="{306AAC7C-9957-19DB-2729-C665B2ED701C}"/>
                  </a:ext>
                </a:extLst>
              </p:cNvPr>
              <p:cNvSpPr/>
              <p:nvPr/>
            </p:nvSpPr>
            <p:spPr>
              <a:xfrm>
                <a:off x="1525802" y="3409588"/>
                <a:ext cx="570" cy="1274"/>
              </a:xfrm>
              <a:custGeom>
                <a:avLst/>
                <a:gdLst>
                  <a:gd name="connsiteX0" fmla="*/ 0 w 5461"/>
                  <a:gd name="connsiteY0" fmla="*/ 6092 h 12212"/>
                  <a:gd name="connsiteX1" fmla="*/ 796 w 5461"/>
                  <a:gd name="connsiteY1" fmla="*/ 0 h 12212"/>
                  <a:gd name="connsiteX2" fmla="*/ 5461 w 5461"/>
                  <a:gd name="connsiteY2" fmla="*/ 1921 h 12212"/>
                  <a:gd name="connsiteX3" fmla="*/ 4720 w 5461"/>
                  <a:gd name="connsiteY3" fmla="*/ 12212 h 12212"/>
                  <a:gd name="connsiteX4" fmla="*/ 0 w 5461"/>
                  <a:gd name="connsiteY4" fmla="*/ 6092 h 12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1" h="12212">
                    <a:moveTo>
                      <a:pt x="0" y="6092"/>
                    </a:moveTo>
                    <a:lnTo>
                      <a:pt x="796" y="0"/>
                    </a:lnTo>
                    <a:lnTo>
                      <a:pt x="5461" y="1921"/>
                    </a:lnTo>
                    <a:lnTo>
                      <a:pt x="4720" y="12212"/>
                    </a:lnTo>
                    <a:lnTo>
                      <a:pt x="0" y="60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6" name="Freeform: Shape 4435">
                <a:extLst>
                  <a:ext uri="{FF2B5EF4-FFF2-40B4-BE49-F238E27FC236}">
                    <a16:creationId xmlns:a16="http://schemas.microsoft.com/office/drawing/2014/main" id="{EA642685-A768-53DC-3902-785561EF42AA}"/>
                  </a:ext>
                </a:extLst>
              </p:cNvPr>
              <p:cNvSpPr/>
              <p:nvPr/>
            </p:nvSpPr>
            <p:spPr>
              <a:xfrm>
                <a:off x="1696392" y="3462473"/>
                <a:ext cx="458" cy="1168"/>
              </a:xfrm>
              <a:custGeom>
                <a:avLst/>
                <a:gdLst>
                  <a:gd name="connsiteX0" fmla="*/ 0 w 4391"/>
                  <a:gd name="connsiteY0" fmla="*/ 11197 h 11196"/>
                  <a:gd name="connsiteX1" fmla="*/ 933 w 4391"/>
                  <a:gd name="connsiteY1" fmla="*/ 1015 h 11196"/>
                  <a:gd name="connsiteX2" fmla="*/ 3458 w 4391"/>
                  <a:gd name="connsiteY2" fmla="*/ 0 h 11196"/>
                  <a:gd name="connsiteX3" fmla="*/ 4391 w 4391"/>
                  <a:gd name="connsiteY3" fmla="*/ 7711 h 11196"/>
                  <a:gd name="connsiteX4" fmla="*/ 0 w 4391"/>
                  <a:gd name="connsiteY4" fmla="*/ 11197 h 11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 h="11196">
                    <a:moveTo>
                      <a:pt x="0" y="11197"/>
                    </a:moveTo>
                    <a:lnTo>
                      <a:pt x="933" y="1015"/>
                    </a:lnTo>
                    <a:lnTo>
                      <a:pt x="3458" y="0"/>
                    </a:lnTo>
                    <a:lnTo>
                      <a:pt x="4391" y="7711"/>
                    </a:lnTo>
                    <a:lnTo>
                      <a:pt x="0" y="111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8" name="Freeform: Shape 4437">
                <a:extLst>
                  <a:ext uri="{FF2B5EF4-FFF2-40B4-BE49-F238E27FC236}">
                    <a16:creationId xmlns:a16="http://schemas.microsoft.com/office/drawing/2014/main" id="{2036B064-91FF-FC52-7542-64391E2A1886}"/>
                  </a:ext>
                </a:extLst>
              </p:cNvPr>
              <p:cNvSpPr/>
              <p:nvPr/>
            </p:nvSpPr>
            <p:spPr>
              <a:xfrm>
                <a:off x="1652655" y="3444921"/>
                <a:ext cx="429" cy="1371"/>
              </a:xfrm>
              <a:custGeom>
                <a:avLst/>
                <a:gdLst>
                  <a:gd name="connsiteX0" fmla="*/ 4116 w 4116"/>
                  <a:gd name="connsiteY0" fmla="*/ 13145 h 13145"/>
                  <a:gd name="connsiteX1" fmla="*/ 1400 w 4116"/>
                  <a:gd name="connsiteY1" fmla="*/ 13145 h 13145"/>
                  <a:gd name="connsiteX2" fmla="*/ 0 w 4116"/>
                  <a:gd name="connsiteY2" fmla="*/ 7986 h 13145"/>
                  <a:gd name="connsiteX3" fmla="*/ 4116 w 4116"/>
                  <a:gd name="connsiteY3" fmla="*/ 0 h 13145"/>
                  <a:gd name="connsiteX4" fmla="*/ 4116 w 4116"/>
                  <a:gd name="connsiteY4" fmla="*/ 13145 h 1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13145">
                    <a:moveTo>
                      <a:pt x="4116" y="13145"/>
                    </a:moveTo>
                    <a:lnTo>
                      <a:pt x="1400" y="13145"/>
                    </a:lnTo>
                    <a:cubicBezTo>
                      <a:pt x="1400" y="13145"/>
                      <a:pt x="0" y="7986"/>
                      <a:pt x="0" y="7986"/>
                    </a:cubicBezTo>
                    <a:lnTo>
                      <a:pt x="4116" y="0"/>
                    </a:lnTo>
                    <a:lnTo>
                      <a:pt x="4116" y="131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9" name="Freeform: Shape 4438">
                <a:extLst>
                  <a:ext uri="{FF2B5EF4-FFF2-40B4-BE49-F238E27FC236}">
                    <a16:creationId xmlns:a16="http://schemas.microsoft.com/office/drawing/2014/main" id="{F279A93A-148F-FF63-2084-28AA1573D83E}"/>
                  </a:ext>
                </a:extLst>
              </p:cNvPr>
              <p:cNvSpPr/>
              <p:nvPr/>
            </p:nvSpPr>
            <p:spPr>
              <a:xfrm>
                <a:off x="1628517" y="3489542"/>
                <a:ext cx="409" cy="1116"/>
              </a:xfrm>
              <a:custGeom>
                <a:avLst/>
                <a:gdLst>
                  <a:gd name="connsiteX0" fmla="*/ 3073 w 3924"/>
                  <a:gd name="connsiteY0" fmla="*/ 10483 h 10702"/>
                  <a:gd name="connsiteX1" fmla="*/ 1262 w 3924"/>
                  <a:gd name="connsiteY1" fmla="*/ 10703 h 10702"/>
                  <a:gd name="connsiteX2" fmla="*/ 0 w 3924"/>
                  <a:gd name="connsiteY2" fmla="*/ 4912 h 10702"/>
                  <a:gd name="connsiteX3" fmla="*/ 2305 w 3924"/>
                  <a:gd name="connsiteY3" fmla="*/ 0 h 10702"/>
                  <a:gd name="connsiteX4" fmla="*/ 3924 w 3924"/>
                  <a:gd name="connsiteY4" fmla="*/ 3101 h 10702"/>
                  <a:gd name="connsiteX5" fmla="*/ 3073 w 3924"/>
                  <a:gd name="connsiteY5" fmla="*/ 10483 h 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4" h="10702">
                    <a:moveTo>
                      <a:pt x="3073" y="10483"/>
                    </a:moveTo>
                    <a:lnTo>
                      <a:pt x="1262" y="10703"/>
                    </a:lnTo>
                    <a:lnTo>
                      <a:pt x="0" y="4912"/>
                    </a:lnTo>
                    <a:lnTo>
                      <a:pt x="2305" y="0"/>
                    </a:lnTo>
                    <a:lnTo>
                      <a:pt x="3924" y="3101"/>
                    </a:lnTo>
                    <a:lnTo>
                      <a:pt x="3073" y="104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0" name="Freeform: Shape 4439">
                <a:extLst>
                  <a:ext uri="{FF2B5EF4-FFF2-40B4-BE49-F238E27FC236}">
                    <a16:creationId xmlns:a16="http://schemas.microsoft.com/office/drawing/2014/main" id="{E4039D09-4B94-8E49-77B3-E7D0E3CD1DB0}"/>
                  </a:ext>
                </a:extLst>
              </p:cNvPr>
              <p:cNvSpPr/>
              <p:nvPr/>
            </p:nvSpPr>
            <p:spPr>
              <a:xfrm>
                <a:off x="1665490" y="3464923"/>
                <a:ext cx="415" cy="1248"/>
              </a:xfrm>
              <a:custGeom>
                <a:avLst/>
                <a:gdLst>
                  <a:gd name="connsiteX0" fmla="*/ 0 w 3979"/>
                  <a:gd name="connsiteY0" fmla="*/ 7684 h 11965"/>
                  <a:gd name="connsiteX1" fmla="*/ 0 w 3979"/>
                  <a:gd name="connsiteY1" fmla="*/ 0 h 11965"/>
                  <a:gd name="connsiteX2" fmla="*/ 3979 w 3979"/>
                  <a:gd name="connsiteY2" fmla="*/ 2662 h 11965"/>
                  <a:gd name="connsiteX3" fmla="*/ 2689 w 3979"/>
                  <a:gd name="connsiteY3" fmla="*/ 11965 h 11965"/>
                  <a:gd name="connsiteX4" fmla="*/ 0 w 3979"/>
                  <a:gd name="connsiteY4" fmla="*/ 7712 h 11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11965">
                    <a:moveTo>
                      <a:pt x="0" y="7684"/>
                    </a:moveTo>
                    <a:lnTo>
                      <a:pt x="0" y="0"/>
                    </a:lnTo>
                    <a:lnTo>
                      <a:pt x="3979" y="2662"/>
                    </a:lnTo>
                    <a:lnTo>
                      <a:pt x="2689" y="11965"/>
                    </a:lnTo>
                    <a:lnTo>
                      <a:pt x="0" y="77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1" name="Freeform: Shape 4440">
                <a:extLst>
                  <a:ext uri="{FF2B5EF4-FFF2-40B4-BE49-F238E27FC236}">
                    <a16:creationId xmlns:a16="http://schemas.microsoft.com/office/drawing/2014/main" id="{7113599B-EE60-792D-4131-701B3F27C4D1}"/>
                  </a:ext>
                </a:extLst>
              </p:cNvPr>
              <p:cNvSpPr/>
              <p:nvPr/>
            </p:nvSpPr>
            <p:spPr>
              <a:xfrm>
                <a:off x="1549614" y="3412871"/>
                <a:ext cx="518" cy="1334"/>
              </a:xfrm>
              <a:custGeom>
                <a:avLst/>
                <a:gdLst>
                  <a:gd name="connsiteX0" fmla="*/ 0 w 4967"/>
                  <a:gd name="connsiteY0" fmla="*/ 5269 h 12788"/>
                  <a:gd name="connsiteX1" fmla="*/ 549 w 4967"/>
                  <a:gd name="connsiteY1" fmla="*/ 1537 h 12788"/>
                  <a:gd name="connsiteX2" fmla="*/ 4226 w 4967"/>
                  <a:gd name="connsiteY2" fmla="*/ 0 h 12788"/>
                  <a:gd name="connsiteX3" fmla="*/ 4967 w 4967"/>
                  <a:gd name="connsiteY3" fmla="*/ 12788 h 12788"/>
                  <a:gd name="connsiteX4" fmla="*/ 494 w 4967"/>
                  <a:gd name="connsiteY4" fmla="*/ 8233 h 12788"/>
                  <a:gd name="connsiteX5" fmla="*/ 0 w 4967"/>
                  <a:gd name="connsiteY5" fmla="*/ 5296 h 1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 h="12788">
                    <a:moveTo>
                      <a:pt x="0" y="5269"/>
                    </a:moveTo>
                    <a:lnTo>
                      <a:pt x="549" y="1537"/>
                    </a:lnTo>
                    <a:lnTo>
                      <a:pt x="4226" y="0"/>
                    </a:lnTo>
                    <a:lnTo>
                      <a:pt x="4967" y="12788"/>
                    </a:lnTo>
                    <a:lnTo>
                      <a:pt x="494" y="8233"/>
                    </a:lnTo>
                    <a:lnTo>
                      <a:pt x="0" y="52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2" name="Freeform: Shape 4441">
                <a:extLst>
                  <a:ext uri="{FF2B5EF4-FFF2-40B4-BE49-F238E27FC236}">
                    <a16:creationId xmlns:a16="http://schemas.microsoft.com/office/drawing/2014/main" id="{094A8776-9737-2B7B-7F1C-9389F9F2E3C2}"/>
                  </a:ext>
                </a:extLst>
              </p:cNvPr>
              <p:cNvSpPr/>
              <p:nvPr/>
            </p:nvSpPr>
            <p:spPr>
              <a:xfrm>
                <a:off x="1650984" y="3423368"/>
                <a:ext cx="421" cy="1523"/>
              </a:xfrm>
              <a:custGeom>
                <a:avLst/>
                <a:gdLst>
                  <a:gd name="connsiteX0" fmla="*/ 0 w 4034"/>
                  <a:gd name="connsiteY0" fmla="*/ 4720 h 14599"/>
                  <a:gd name="connsiteX1" fmla="*/ 3759 w 4034"/>
                  <a:gd name="connsiteY1" fmla="*/ 0 h 14599"/>
                  <a:gd name="connsiteX2" fmla="*/ 4034 w 4034"/>
                  <a:gd name="connsiteY2" fmla="*/ 11526 h 14599"/>
                  <a:gd name="connsiteX3" fmla="*/ 1152 w 4034"/>
                  <a:gd name="connsiteY3" fmla="*/ 14600 h 14599"/>
                  <a:gd name="connsiteX4" fmla="*/ 0 w 4034"/>
                  <a:gd name="connsiteY4" fmla="*/ 4693 h 14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 h="14599">
                    <a:moveTo>
                      <a:pt x="0" y="4720"/>
                    </a:moveTo>
                    <a:lnTo>
                      <a:pt x="3759" y="0"/>
                    </a:lnTo>
                    <a:lnTo>
                      <a:pt x="4034" y="11526"/>
                    </a:lnTo>
                    <a:lnTo>
                      <a:pt x="1152" y="14600"/>
                    </a:lnTo>
                    <a:lnTo>
                      <a:pt x="0"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3" name="Freeform: Shape 4442">
                <a:extLst>
                  <a:ext uri="{FF2B5EF4-FFF2-40B4-BE49-F238E27FC236}">
                    <a16:creationId xmlns:a16="http://schemas.microsoft.com/office/drawing/2014/main" id="{35955FBC-CFF3-1C62-C463-18036141862D}"/>
                  </a:ext>
                </a:extLst>
              </p:cNvPr>
              <p:cNvSpPr/>
              <p:nvPr/>
            </p:nvSpPr>
            <p:spPr>
              <a:xfrm>
                <a:off x="1627596" y="3497548"/>
                <a:ext cx="592" cy="721"/>
              </a:xfrm>
              <a:custGeom>
                <a:avLst/>
                <a:gdLst>
                  <a:gd name="connsiteX0" fmla="*/ 5516 w 5680"/>
                  <a:gd name="connsiteY0" fmla="*/ 5214 h 6915"/>
                  <a:gd name="connsiteX1" fmla="*/ 604 w 5680"/>
                  <a:gd name="connsiteY1" fmla="*/ 6916 h 6915"/>
                  <a:gd name="connsiteX2" fmla="*/ 0 w 5680"/>
                  <a:gd name="connsiteY2" fmla="*/ 4748 h 6915"/>
                  <a:gd name="connsiteX3" fmla="*/ 356 w 5680"/>
                  <a:gd name="connsiteY3" fmla="*/ 0 h 6915"/>
                  <a:gd name="connsiteX4" fmla="*/ 5680 w 5680"/>
                  <a:gd name="connsiteY4" fmla="*/ 1811 h 6915"/>
                  <a:gd name="connsiteX5" fmla="*/ 5544 w 5680"/>
                  <a:gd name="connsiteY5" fmla="*/ 5242 h 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80" h="6915">
                    <a:moveTo>
                      <a:pt x="5516" y="5214"/>
                    </a:moveTo>
                    <a:lnTo>
                      <a:pt x="604" y="6916"/>
                    </a:lnTo>
                    <a:lnTo>
                      <a:pt x="0" y="4748"/>
                    </a:lnTo>
                    <a:lnTo>
                      <a:pt x="356" y="0"/>
                    </a:lnTo>
                    <a:lnTo>
                      <a:pt x="5680" y="1811"/>
                    </a:lnTo>
                    <a:lnTo>
                      <a:pt x="5544" y="52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4" name="Freeform: Shape 4443">
                <a:extLst>
                  <a:ext uri="{FF2B5EF4-FFF2-40B4-BE49-F238E27FC236}">
                    <a16:creationId xmlns:a16="http://schemas.microsoft.com/office/drawing/2014/main" id="{6D20DA18-4052-CED5-B0E9-CD226187B76B}"/>
                  </a:ext>
                </a:extLst>
              </p:cNvPr>
              <p:cNvSpPr/>
              <p:nvPr/>
            </p:nvSpPr>
            <p:spPr>
              <a:xfrm>
                <a:off x="1539919" y="3534280"/>
                <a:ext cx="452" cy="770"/>
              </a:xfrm>
              <a:custGeom>
                <a:avLst/>
                <a:gdLst>
                  <a:gd name="connsiteX0" fmla="*/ 27 w 4336"/>
                  <a:gd name="connsiteY0" fmla="*/ 3074 h 7382"/>
                  <a:gd name="connsiteX1" fmla="*/ 4336 w 4336"/>
                  <a:gd name="connsiteY1" fmla="*/ 0 h 7382"/>
                  <a:gd name="connsiteX2" fmla="*/ 4034 w 4336"/>
                  <a:gd name="connsiteY2" fmla="*/ 7382 h 7382"/>
                  <a:gd name="connsiteX3" fmla="*/ 1262 w 4336"/>
                  <a:gd name="connsiteY3" fmla="*/ 7135 h 7382"/>
                  <a:gd name="connsiteX4" fmla="*/ 0 w 4336"/>
                  <a:gd name="connsiteY4" fmla="*/ 3074 h 7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7382">
                    <a:moveTo>
                      <a:pt x="27" y="3074"/>
                    </a:moveTo>
                    <a:lnTo>
                      <a:pt x="4336" y="0"/>
                    </a:lnTo>
                    <a:lnTo>
                      <a:pt x="4034" y="7382"/>
                    </a:lnTo>
                    <a:lnTo>
                      <a:pt x="1262" y="7135"/>
                    </a:lnTo>
                    <a:lnTo>
                      <a:pt x="0"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5" name="Freeform: Shape 4444">
                <a:extLst>
                  <a:ext uri="{FF2B5EF4-FFF2-40B4-BE49-F238E27FC236}">
                    <a16:creationId xmlns:a16="http://schemas.microsoft.com/office/drawing/2014/main" id="{EE1414FC-E7A4-F894-1AA0-93BFCA5FB36A}"/>
                  </a:ext>
                </a:extLst>
              </p:cNvPr>
              <p:cNvSpPr/>
              <p:nvPr/>
            </p:nvSpPr>
            <p:spPr>
              <a:xfrm>
                <a:off x="1664703" y="3465235"/>
                <a:ext cx="361" cy="1380"/>
              </a:xfrm>
              <a:custGeom>
                <a:avLst/>
                <a:gdLst>
                  <a:gd name="connsiteX0" fmla="*/ 3430 w 3457"/>
                  <a:gd name="connsiteY0" fmla="*/ 11416 h 13227"/>
                  <a:gd name="connsiteX1" fmla="*/ 1509 w 3457"/>
                  <a:gd name="connsiteY1" fmla="*/ 13227 h 13227"/>
                  <a:gd name="connsiteX2" fmla="*/ 0 w 3457"/>
                  <a:gd name="connsiteY2" fmla="*/ 6504 h 13227"/>
                  <a:gd name="connsiteX3" fmla="*/ 2086 w 3457"/>
                  <a:gd name="connsiteY3" fmla="*/ 0 h 13227"/>
                  <a:gd name="connsiteX4" fmla="*/ 3458 w 3457"/>
                  <a:gd name="connsiteY4" fmla="*/ 2388 h 13227"/>
                  <a:gd name="connsiteX5" fmla="*/ 3458 w 3457"/>
                  <a:gd name="connsiteY5" fmla="*/ 11416 h 13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7" h="13227">
                    <a:moveTo>
                      <a:pt x="3430" y="11416"/>
                    </a:moveTo>
                    <a:lnTo>
                      <a:pt x="1509" y="13227"/>
                    </a:lnTo>
                    <a:lnTo>
                      <a:pt x="0" y="6504"/>
                    </a:lnTo>
                    <a:lnTo>
                      <a:pt x="2086" y="0"/>
                    </a:lnTo>
                    <a:lnTo>
                      <a:pt x="3458" y="2388"/>
                    </a:lnTo>
                    <a:lnTo>
                      <a:pt x="3458" y="114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6" name="Freeform: Shape 4445">
                <a:extLst>
                  <a:ext uri="{FF2B5EF4-FFF2-40B4-BE49-F238E27FC236}">
                    <a16:creationId xmlns:a16="http://schemas.microsoft.com/office/drawing/2014/main" id="{5970DF42-EF2D-E04A-8AAE-603FA6179616}"/>
                  </a:ext>
                </a:extLst>
              </p:cNvPr>
              <p:cNvSpPr/>
              <p:nvPr/>
            </p:nvSpPr>
            <p:spPr>
              <a:xfrm>
                <a:off x="1544688" y="3536785"/>
                <a:ext cx="323" cy="1042"/>
              </a:xfrm>
              <a:custGeom>
                <a:avLst/>
                <a:gdLst>
                  <a:gd name="connsiteX0" fmla="*/ 0 w 3101"/>
                  <a:gd name="connsiteY0" fmla="*/ 4281 h 9989"/>
                  <a:gd name="connsiteX1" fmla="*/ 2937 w 3101"/>
                  <a:gd name="connsiteY1" fmla="*/ 0 h 9989"/>
                  <a:gd name="connsiteX2" fmla="*/ 3101 w 3101"/>
                  <a:gd name="connsiteY2" fmla="*/ 8644 h 9989"/>
                  <a:gd name="connsiteX3" fmla="*/ 604 w 3101"/>
                  <a:gd name="connsiteY3" fmla="*/ 9989 h 9989"/>
                  <a:gd name="connsiteX4" fmla="*/ 0 w 3101"/>
                  <a:gd name="connsiteY4" fmla="*/ 4281 h 9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1" h="9989">
                    <a:moveTo>
                      <a:pt x="0" y="4281"/>
                    </a:moveTo>
                    <a:lnTo>
                      <a:pt x="2937" y="0"/>
                    </a:lnTo>
                    <a:lnTo>
                      <a:pt x="3101" y="8644"/>
                    </a:lnTo>
                    <a:lnTo>
                      <a:pt x="604" y="9989"/>
                    </a:lnTo>
                    <a:lnTo>
                      <a:pt x="0"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7" name="Freeform: Shape 4446">
                <a:extLst>
                  <a:ext uri="{FF2B5EF4-FFF2-40B4-BE49-F238E27FC236}">
                    <a16:creationId xmlns:a16="http://schemas.microsoft.com/office/drawing/2014/main" id="{2F1748EB-E154-2BBB-A39F-0BD1CDE4E744}"/>
                  </a:ext>
                </a:extLst>
              </p:cNvPr>
              <p:cNvSpPr/>
              <p:nvPr/>
            </p:nvSpPr>
            <p:spPr>
              <a:xfrm>
                <a:off x="1588591" y="3513651"/>
                <a:ext cx="469" cy="819"/>
              </a:xfrm>
              <a:custGeom>
                <a:avLst/>
                <a:gdLst>
                  <a:gd name="connsiteX0" fmla="*/ 27 w 4500"/>
                  <a:gd name="connsiteY0" fmla="*/ 7492 h 7848"/>
                  <a:gd name="connsiteX1" fmla="*/ 1180 w 4500"/>
                  <a:gd name="connsiteY1" fmla="*/ 439 h 7848"/>
                  <a:gd name="connsiteX2" fmla="*/ 3073 w 4500"/>
                  <a:gd name="connsiteY2" fmla="*/ 0 h 7848"/>
                  <a:gd name="connsiteX3" fmla="*/ 4500 w 4500"/>
                  <a:gd name="connsiteY3" fmla="*/ 3458 h 7848"/>
                  <a:gd name="connsiteX4" fmla="*/ 2744 w 4500"/>
                  <a:gd name="connsiteY4" fmla="*/ 7849 h 7848"/>
                  <a:gd name="connsiteX5" fmla="*/ 0 w 4500"/>
                  <a:gd name="connsiteY5" fmla="*/ 7464 h 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 h="7848">
                    <a:moveTo>
                      <a:pt x="27" y="7492"/>
                    </a:moveTo>
                    <a:lnTo>
                      <a:pt x="1180" y="439"/>
                    </a:lnTo>
                    <a:lnTo>
                      <a:pt x="3073" y="0"/>
                    </a:lnTo>
                    <a:lnTo>
                      <a:pt x="4500" y="3458"/>
                    </a:lnTo>
                    <a:lnTo>
                      <a:pt x="2744" y="7849"/>
                    </a:lnTo>
                    <a:lnTo>
                      <a:pt x="0" y="74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8" name="Freeform: Shape 4447">
                <a:extLst>
                  <a:ext uri="{FF2B5EF4-FFF2-40B4-BE49-F238E27FC236}">
                    <a16:creationId xmlns:a16="http://schemas.microsoft.com/office/drawing/2014/main" id="{26A4B601-B1B9-67CB-5E9F-9975A39A4C9C}"/>
                  </a:ext>
                </a:extLst>
              </p:cNvPr>
              <p:cNvSpPr/>
              <p:nvPr/>
            </p:nvSpPr>
            <p:spPr>
              <a:xfrm>
                <a:off x="1672025" y="3425391"/>
                <a:ext cx="466" cy="1340"/>
              </a:xfrm>
              <a:custGeom>
                <a:avLst/>
                <a:gdLst>
                  <a:gd name="connsiteX0" fmla="*/ 0 w 4472"/>
                  <a:gd name="connsiteY0" fmla="*/ 12843 h 12843"/>
                  <a:gd name="connsiteX1" fmla="*/ 1180 w 4472"/>
                  <a:gd name="connsiteY1" fmla="*/ 3403 h 12843"/>
                  <a:gd name="connsiteX2" fmla="*/ 4226 w 4472"/>
                  <a:gd name="connsiteY2" fmla="*/ 0 h 12843"/>
                  <a:gd name="connsiteX3" fmla="*/ 4473 w 4472"/>
                  <a:gd name="connsiteY3" fmla="*/ 11471 h 12843"/>
                  <a:gd name="connsiteX4" fmla="*/ 27 w 4472"/>
                  <a:gd name="connsiteY4" fmla="*/ 12843 h 12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2" h="12843">
                    <a:moveTo>
                      <a:pt x="0" y="12843"/>
                    </a:moveTo>
                    <a:lnTo>
                      <a:pt x="1180" y="3403"/>
                    </a:lnTo>
                    <a:lnTo>
                      <a:pt x="4226" y="0"/>
                    </a:lnTo>
                    <a:lnTo>
                      <a:pt x="4473" y="11471"/>
                    </a:lnTo>
                    <a:lnTo>
                      <a:pt x="27" y="128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9" name="Freeform: Shape 4448">
                <a:extLst>
                  <a:ext uri="{FF2B5EF4-FFF2-40B4-BE49-F238E27FC236}">
                    <a16:creationId xmlns:a16="http://schemas.microsoft.com/office/drawing/2014/main" id="{57A544D8-858E-791A-985C-7C3E950D6CC9}"/>
                  </a:ext>
                </a:extLst>
              </p:cNvPr>
              <p:cNvSpPr/>
              <p:nvPr/>
            </p:nvSpPr>
            <p:spPr>
              <a:xfrm>
                <a:off x="1512404" y="3686785"/>
                <a:ext cx="243" cy="664"/>
              </a:xfrm>
              <a:custGeom>
                <a:avLst/>
                <a:gdLst>
                  <a:gd name="connsiteX0" fmla="*/ 0 w 2332"/>
                  <a:gd name="connsiteY0" fmla="*/ 0 h 6366"/>
                  <a:gd name="connsiteX1" fmla="*/ 2278 w 2332"/>
                  <a:gd name="connsiteY1" fmla="*/ 823 h 6366"/>
                  <a:gd name="connsiteX2" fmla="*/ 2333 w 2332"/>
                  <a:gd name="connsiteY2" fmla="*/ 4857 h 6366"/>
                  <a:gd name="connsiteX3" fmla="*/ 851 w 2332"/>
                  <a:gd name="connsiteY3" fmla="*/ 6367 h 6366"/>
                  <a:gd name="connsiteX4" fmla="*/ 0 w 2332"/>
                  <a:gd name="connsiteY4" fmla="*/ 0 h 6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 h="6366">
                    <a:moveTo>
                      <a:pt x="0" y="0"/>
                    </a:moveTo>
                    <a:lnTo>
                      <a:pt x="2278" y="823"/>
                    </a:lnTo>
                    <a:lnTo>
                      <a:pt x="2333" y="4857"/>
                    </a:lnTo>
                    <a:lnTo>
                      <a:pt x="851" y="6367"/>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0" name="Freeform: Shape 4449">
                <a:extLst>
                  <a:ext uri="{FF2B5EF4-FFF2-40B4-BE49-F238E27FC236}">
                    <a16:creationId xmlns:a16="http://schemas.microsoft.com/office/drawing/2014/main" id="{9E904FD5-04AE-64AB-5D0A-8857457C9CFE}"/>
                  </a:ext>
                </a:extLst>
              </p:cNvPr>
              <p:cNvSpPr/>
              <p:nvPr/>
            </p:nvSpPr>
            <p:spPr>
              <a:xfrm>
                <a:off x="1545269" y="3404754"/>
                <a:ext cx="472" cy="1477"/>
              </a:xfrm>
              <a:custGeom>
                <a:avLst/>
                <a:gdLst>
                  <a:gd name="connsiteX0" fmla="*/ 0 w 4528"/>
                  <a:gd name="connsiteY0" fmla="*/ 9770 h 14160"/>
                  <a:gd name="connsiteX1" fmla="*/ 412 w 4528"/>
                  <a:gd name="connsiteY1" fmla="*/ 6614 h 14160"/>
                  <a:gd name="connsiteX2" fmla="*/ 4226 w 4528"/>
                  <a:gd name="connsiteY2" fmla="*/ 0 h 14160"/>
                  <a:gd name="connsiteX3" fmla="*/ 4528 w 4528"/>
                  <a:gd name="connsiteY3" fmla="*/ 14161 h 14160"/>
                  <a:gd name="connsiteX4" fmla="*/ 549 w 4528"/>
                  <a:gd name="connsiteY4" fmla="*/ 13255 h 14160"/>
                  <a:gd name="connsiteX5" fmla="*/ 0 w 4528"/>
                  <a:gd name="connsiteY5" fmla="*/ 9742 h 1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8" h="14160">
                    <a:moveTo>
                      <a:pt x="0" y="9770"/>
                    </a:moveTo>
                    <a:lnTo>
                      <a:pt x="412" y="6614"/>
                    </a:lnTo>
                    <a:lnTo>
                      <a:pt x="4226" y="0"/>
                    </a:lnTo>
                    <a:lnTo>
                      <a:pt x="4528" y="14161"/>
                    </a:lnTo>
                    <a:lnTo>
                      <a:pt x="549" y="13255"/>
                    </a:lnTo>
                    <a:lnTo>
                      <a:pt x="0" y="97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2" name="Freeform: Shape 4451">
                <a:extLst>
                  <a:ext uri="{FF2B5EF4-FFF2-40B4-BE49-F238E27FC236}">
                    <a16:creationId xmlns:a16="http://schemas.microsoft.com/office/drawing/2014/main" id="{3CFA2F0E-F053-EB0A-6C5C-CD57E237E5DB}"/>
                  </a:ext>
                </a:extLst>
              </p:cNvPr>
              <p:cNvSpPr/>
              <p:nvPr/>
            </p:nvSpPr>
            <p:spPr>
              <a:xfrm>
                <a:off x="1637479" y="3461262"/>
                <a:ext cx="621" cy="810"/>
              </a:xfrm>
              <a:custGeom>
                <a:avLst/>
                <a:gdLst>
                  <a:gd name="connsiteX0" fmla="*/ 27 w 5954"/>
                  <a:gd name="connsiteY0" fmla="*/ 0 h 7766"/>
                  <a:gd name="connsiteX1" fmla="*/ 5955 w 5954"/>
                  <a:gd name="connsiteY1" fmla="*/ 1262 h 7766"/>
                  <a:gd name="connsiteX2" fmla="*/ 5955 w 5954"/>
                  <a:gd name="connsiteY2" fmla="*/ 6641 h 7766"/>
                  <a:gd name="connsiteX3" fmla="*/ 576 w 5954"/>
                  <a:gd name="connsiteY3" fmla="*/ 7766 h 7766"/>
                  <a:gd name="connsiteX4" fmla="*/ 0 w 5954"/>
                  <a:gd name="connsiteY4" fmla="*/ 0 h 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4" h="7766">
                    <a:moveTo>
                      <a:pt x="27" y="0"/>
                    </a:moveTo>
                    <a:lnTo>
                      <a:pt x="5955" y="1262"/>
                    </a:lnTo>
                    <a:lnTo>
                      <a:pt x="5955" y="6641"/>
                    </a:lnTo>
                    <a:lnTo>
                      <a:pt x="576" y="7766"/>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3" name="Freeform: Shape 4452">
                <a:extLst>
                  <a:ext uri="{FF2B5EF4-FFF2-40B4-BE49-F238E27FC236}">
                    <a16:creationId xmlns:a16="http://schemas.microsoft.com/office/drawing/2014/main" id="{8605CA29-02FD-19D8-D8A9-2D0E7AF27B91}"/>
                  </a:ext>
                </a:extLst>
              </p:cNvPr>
              <p:cNvSpPr/>
              <p:nvPr/>
            </p:nvSpPr>
            <p:spPr>
              <a:xfrm>
                <a:off x="1530720" y="3410009"/>
                <a:ext cx="561" cy="1179"/>
              </a:xfrm>
              <a:custGeom>
                <a:avLst/>
                <a:gdLst>
                  <a:gd name="connsiteX0" fmla="*/ 0 w 5379"/>
                  <a:gd name="connsiteY0" fmla="*/ 4610 h 11306"/>
                  <a:gd name="connsiteX1" fmla="*/ 4611 w 5379"/>
                  <a:gd name="connsiteY1" fmla="*/ 0 h 11306"/>
                  <a:gd name="connsiteX2" fmla="*/ 5379 w 5379"/>
                  <a:gd name="connsiteY2" fmla="*/ 10181 h 11306"/>
                  <a:gd name="connsiteX3" fmla="*/ 659 w 5379"/>
                  <a:gd name="connsiteY3" fmla="*/ 11306 h 11306"/>
                  <a:gd name="connsiteX4" fmla="*/ 0 w 5379"/>
                  <a:gd name="connsiteY4" fmla="*/ 4610 h 11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9" h="11306">
                    <a:moveTo>
                      <a:pt x="0" y="4610"/>
                    </a:moveTo>
                    <a:lnTo>
                      <a:pt x="4611" y="0"/>
                    </a:lnTo>
                    <a:lnTo>
                      <a:pt x="5379" y="10181"/>
                    </a:lnTo>
                    <a:lnTo>
                      <a:pt x="659" y="11306"/>
                    </a:lnTo>
                    <a:lnTo>
                      <a:pt x="0" y="46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5" name="Freeform: Shape 4454">
                <a:extLst>
                  <a:ext uri="{FF2B5EF4-FFF2-40B4-BE49-F238E27FC236}">
                    <a16:creationId xmlns:a16="http://schemas.microsoft.com/office/drawing/2014/main" id="{22D676B3-F24B-6515-8487-5D57C329FCAF}"/>
                  </a:ext>
                </a:extLst>
              </p:cNvPr>
              <p:cNvSpPr/>
              <p:nvPr/>
            </p:nvSpPr>
            <p:spPr>
              <a:xfrm>
                <a:off x="1630824" y="3497837"/>
                <a:ext cx="406" cy="985"/>
              </a:xfrm>
              <a:custGeom>
                <a:avLst/>
                <a:gdLst>
                  <a:gd name="connsiteX0" fmla="*/ 27 w 3896"/>
                  <a:gd name="connsiteY0" fmla="*/ 9029 h 9440"/>
                  <a:gd name="connsiteX1" fmla="*/ 850 w 3896"/>
                  <a:gd name="connsiteY1" fmla="*/ 1674 h 9440"/>
                  <a:gd name="connsiteX2" fmla="*/ 2991 w 3896"/>
                  <a:gd name="connsiteY2" fmla="*/ 0 h 9440"/>
                  <a:gd name="connsiteX3" fmla="*/ 3897 w 3896"/>
                  <a:gd name="connsiteY3" fmla="*/ 9440 h 9440"/>
                  <a:gd name="connsiteX4" fmla="*/ 0 w 3896"/>
                  <a:gd name="connsiteY4" fmla="*/ 9001 h 9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6" h="9440">
                    <a:moveTo>
                      <a:pt x="27" y="9029"/>
                    </a:moveTo>
                    <a:lnTo>
                      <a:pt x="850" y="1674"/>
                    </a:lnTo>
                    <a:lnTo>
                      <a:pt x="2991" y="0"/>
                    </a:lnTo>
                    <a:lnTo>
                      <a:pt x="3897" y="9440"/>
                    </a:lnTo>
                    <a:lnTo>
                      <a:pt x="0" y="90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6" name="Freeform: Shape 4455">
                <a:extLst>
                  <a:ext uri="{FF2B5EF4-FFF2-40B4-BE49-F238E27FC236}">
                    <a16:creationId xmlns:a16="http://schemas.microsoft.com/office/drawing/2014/main" id="{D08DBC74-838B-BCFF-5767-0AE735C2876A}"/>
                  </a:ext>
                </a:extLst>
              </p:cNvPr>
              <p:cNvSpPr/>
              <p:nvPr/>
            </p:nvSpPr>
            <p:spPr>
              <a:xfrm>
                <a:off x="1596471" y="3505582"/>
                <a:ext cx="286" cy="1320"/>
              </a:xfrm>
              <a:custGeom>
                <a:avLst/>
                <a:gdLst>
                  <a:gd name="connsiteX0" fmla="*/ 0 w 2744"/>
                  <a:gd name="connsiteY0" fmla="*/ 2772 h 12651"/>
                  <a:gd name="connsiteX1" fmla="*/ 2744 w 2744"/>
                  <a:gd name="connsiteY1" fmla="*/ 0 h 12651"/>
                  <a:gd name="connsiteX2" fmla="*/ 2525 w 2744"/>
                  <a:gd name="connsiteY2" fmla="*/ 12651 h 12651"/>
                  <a:gd name="connsiteX3" fmla="*/ 356 w 2744"/>
                  <a:gd name="connsiteY3" fmla="*/ 10044 h 12651"/>
                  <a:gd name="connsiteX4" fmla="*/ 0 w 2744"/>
                  <a:gd name="connsiteY4" fmla="*/ 2772 h 12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4" h="12651">
                    <a:moveTo>
                      <a:pt x="0" y="2772"/>
                    </a:moveTo>
                    <a:lnTo>
                      <a:pt x="2744" y="0"/>
                    </a:lnTo>
                    <a:lnTo>
                      <a:pt x="2525" y="12651"/>
                    </a:lnTo>
                    <a:lnTo>
                      <a:pt x="356" y="10044"/>
                    </a:lnTo>
                    <a:lnTo>
                      <a:pt x="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7" name="Freeform: Shape 4456">
                <a:extLst>
                  <a:ext uri="{FF2B5EF4-FFF2-40B4-BE49-F238E27FC236}">
                    <a16:creationId xmlns:a16="http://schemas.microsoft.com/office/drawing/2014/main" id="{9CE6DF7C-C290-9711-6A56-07DA64B1992E}"/>
                  </a:ext>
                </a:extLst>
              </p:cNvPr>
              <p:cNvSpPr/>
              <p:nvPr/>
            </p:nvSpPr>
            <p:spPr>
              <a:xfrm>
                <a:off x="1547977" y="3393462"/>
                <a:ext cx="613" cy="1131"/>
              </a:xfrm>
              <a:custGeom>
                <a:avLst/>
                <a:gdLst>
                  <a:gd name="connsiteX0" fmla="*/ 27 w 5873"/>
                  <a:gd name="connsiteY0" fmla="*/ 3924 h 10839"/>
                  <a:gd name="connsiteX1" fmla="*/ 686 w 5873"/>
                  <a:gd name="connsiteY1" fmla="*/ 0 h 10839"/>
                  <a:gd name="connsiteX2" fmla="*/ 5873 w 5873"/>
                  <a:gd name="connsiteY2" fmla="*/ 2525 h 10839"/>
                  <a:gd name="connsiteX3" fmla="*/ 5598 w 5873"/>
                  <a:gd name="connsiteY3" fmla="*/ 10840 h 10839"/>
                  <a:gd name="connsiteX4" fmla="*/ 604 w 5873"/>
                  <a:gd name="connsiteY4" fmla="*/ 8370 h 10839"/>
                  <a:gd name="connsiteX5" fmla="*/ 0 w 5873"/>
                  <a:gd name="connsiteY5" fmla="*/ 3897 h 10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3" h="10839">
                    <a:moveTo>
                      <a:pt x="27" y="3924"/>
                    </a:moveTo>
                    <a:lnTo>
                      <a:pt x="686" y="0"/>
                    </a:lnTo>
                    <a:lnTo>
                      <a:pt x="5873" y="2525"/>
                    </a:lnTo>
                    <a:lnTo>
                      <a:pt x="5598" y="10840"/>
                    </a:lnTo>
                    <a:lnTo>
                      <a:pt x="604" y="8370"/>
                    </a:lnTo>
                    <a:lnTo>
                      <a:pt x="0" y="38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8" name="Freeform: Shape 4457">
                <a:extLst>
                  <a:ext uri="{FF2B5EF4-FFF2-40B4-BE49-F238E27FC236}">
                    <a16:creationId xmlns:a16="http://schemas.microsoft.com/office/drawing/2014/main" id="{82AC1196-8FEB-6C8B-7B2A-45A7A90F6A6F}"/>
                  </a:ext>
                </a:extLst>
              </p:cNvPr>
              <p:cNvSpPr/>
              <p:nvPr/>
            </p:nvSpPr>
            <p:spPr>
              <a:xfrm>
                <a:off x="1511439" y="3693869"/>
                <a:ext cx="518" cy="286"/>
              </a:xfrm>
              <a:custGeom>
                <a:avLst/>
                <a:gdLst>
                  <a:gd name="connsiteX0" fmla="*/ 0 w 4967"/>
                  <a:gd name="connsiteY0" fmla="*/ 2141 h 2744"/>
                  <a:gd name="connsiteX1" fmla="*/ 906 w 4967"/>
                  <a:gd name="connsiteY1" fmla="*/ 0 h 2744"/>
                  <a:gd name="connsiteX2" fmla="*/ 4967 w 4967"/>
                  <a:gd name="connsiteY2" fmla="*/ 604 h 2744"/>
                  <a:gd name="connsiteX3" fmla="*/ 4748 w 4967"/>
                  <a:gd name="connsiteY3" fmla="*/ 2744 h 2744"/>
                  <a:gd name="connsiteX4" fmla="*/ 0 w 4967"/>
                  <a:gd name="connsiteY4" fmla="*/ 2141 h 2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 h="2744">
                    <a:moveTo>
                      <a:pt x="0" y="2141"/>
                    </a:moveTo>
                    <a:lnTo>
                      <a:pt x="906" y="0"/>
                    </a:lnTo>
                    <a:lnTo>
                      <a:pt x="4967" y="604"/>
                    </a:lnTo>
                    <a:lnTo>
                      <a:pt x="4748" y="2744"/>
                    </a:lnTo>
                    <a:lnTo>
                      <a:pt x="0"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0" name="Freeform: Shape 4459">
                <a:extLst>
                  <a:ext uri="{FF2B5EF4-FFF2-40B4-BE49-F238E27FC236}">
                    <a16:creationId xmlns:a16="http://schemas.microsoft.com/office/drawing/2014/main" id="{410E9CA5-1C20-1A4E-FA6C-04CD1EDB287E}"/>
                  </a:ext>
                </a:extLst>
              </p:cNvPr>
              <p:cNvSpPr/>
              <p:nvPr/>
            </p:nvSpPr>
            <p:spPr>
              <a:xfrm>
                <a:off x="1598703" y="3504678"/>
                <a:ext cx="512" cy="701"/>
              </a:xfrm>
              <a:custGeom>
                <a:avLst/>
                <a:gdLst>
                  <a:gd name="connsiteX0" fmla="*/ 0 w 4912"/>
                  <a:gd name="connsiteY0" fmla="*/ 3183 h 6723"/>
                  <a:gd name="connsiteX1" fmla="*/ 1757 w 4912"/>
                  <a:gd name="connsiteY1" fmla="*/ 0 h 6723"/>
                  <a:gd name="connsiteX2" fmla="*/ 4336 w 4912"/>
                  <a:gd name="connsiteY2" fmla="*/ 576 h 6723"/>
                  <a:gd name="connsiteX3" fmla="*/ 4912 w 4912"/>
                  <a:gd name="connsiteY3" fmla="*/ 6037 h 6723"/>
                  <a:gd name="connsiteX4" fmla="*/ 823 w 4912"/>
                  <a:gd name="connsiteY4" fmla="*/ 6724 h 6723"/>
                  <a:gd name="connsiteX5" fmla="*/ 27 w 4912"/>
                  <a:gd name="connsiteY5" fmla="*/ 3211 h 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12" h="6723">
                    <a:moveTo>
                      <a:pt x="0" y="3183"/>
                    </a:moveTo>
                    <a:lnTo>
                      <a:pt x="1757" y="0"/>
                    </a:lnTo>
                    <a:lnTo>
                      <a:pt x="4336" y="576"/>
                    </a:lnTo>
                    <a:lnTo>
                      <a:pt x="4912" y="6037"/>
                    </a:lnTo>
                    <a:lnTo>
                      <a:pt x="823" y="6724"/>
                    </a:lnTo>
                    <a:lnTo>
                      <a:pt x="27"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1" name="Freeform: Shape 4460">
                <a:extLst>
                  <a:ext uri="{FF2B5EF4-FFF2-40B4-BE49-F238E27FC236}">
                    <a16:creationId xmlns:a16="http://schemas.microsoft.com/office/drawing/2014/main" id="{8948E898-C5B3-CB41-DE28-45E1BA854CC2}"/>
                  </a:ext>
                </a:extLst>
              </p:cNvPr>
              <p:cNvSpPr/>
              <p:nvPr/>
            </p:nvSpPr>
            <p:spPr>
              <a:xfrm>
                <a:off x="1626511" y="3495304"/>
                <a:ext cx="404" cy="930"/>
              </a:xfrm>
              <a:custGeom>
                <a:avLst/>
                <a:gdLst>
                  <a:gd name="connsiteX0" fmla="*/ 3814 w 3869"/>
                  <a:gd name="connsiteY0" fmla="*/ 7766 h 8918"/>
                  <a:gd name="connsiteX1" fmla="*/ 1070 w 3869"/>
                  <a:gd name="connsiteY1" fmla="*/ 8919 h 8918"/>
                  <a:gd name="connsiteX2" fmla="*/ 0 w 3869"/>
                  <a:gd name="connsiteY2" fmla="*/ 0 h 8918"/>
                  <a:gd name="connsiteX3" fmla="*/ 3869 w 3869"/>
                  <a:gd name="connsiteY3" fmla="*/ 988 h 8918"/>
                  <a:gd name="connsiteX4" fmla="*/ 3814 w 3869"/>
                  <a:gd name="connsiteY4" fmla="*/ 7739 h 8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8918">
                    <a:moveTo>
                      <a:pt x="3814" y="7766"/>
                    </a:moveTo>
                    <a:lnTo>
                      <a:pt x="1070" y="8919"/>
                    </a:lnTo>
                    <a:lnTo>
                      <a:pt x="0" y="0"/>
                    </a:lnTo>
                    <a:lnTo>
                      <a:pt x="3869" y="988"/>
                    </a:lnTo>
                    <a:lnTo>
                      <a:pt x="3814" y="77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2" name="Freeform: Shape 4461">
                <a:extLst>
                  <a:ext uri="{FF2B5EF4-FFF2-40B4-BE49-F238E27FC236}">
                    <a16:creationId xmlns:a16="http://schemas.microsoft.com/office/drawing/2014/main" id="{F0614FEC-B3CF-B90B-BD88-329C571F74A8}"/>
                  </a:ext>
                </a:extLst>
              </p:cNvPr>
              <p:cNvSpPr/>
              <p:nvPr/>
            </p:nvSpPr>
            <p:spPr>
              <a:xfrm>
                <a:off x="1618553" y="3475952"/>
                <a:ext cx="756" cy="550"/>
              </a:xfrm>
              <a:custGeom>
                <a:avLst/>
                <a:gdLst>
                  <a:gd name="connsiteX0" fmla="*/ 0 w 7244"/>
                  <a:gd name="connsiteY0" fmla="*/ 0 h 5269"/>
                  <a:gd name="connsiteX1" fmla="*/ 7053 w 7244"/>
                  <a:gd name="connsiteY1" fmla="*/ 549 h 5269"/>
                  <a:gd name="connsiteX2" fmla="*/ 7245 w 7244"/>
                  <a:gd name="connsiteY2" fmla="*/ 5159 h 5269"/>
                  <a:gd name="connsiteX3" fmla="*/ 741 w 7244"/>
                  <a:gd name="connsiteY3" fmla="*/ 5269 h 5269"/>
                  <a:gd name="connsiteX4" fmla="*/ 0 w 7244"/>
                  <a:gd name="connsiteY4" fmla="*/ 0 h 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4" h="5269">
                    <a:moveTo>
                      <a:pt x="0" y="0"/>
                    </a:moveTo>
                    <a:lnTo>
                      <a:pt x="7053" y="549"/>
                    </a:lnTo>
                    <a:lnTo>
                      <a:pt x="7245" y="5159"/>
                    </a:lnTo>
                    <a:lnTo>
                      <a:pt x="741" y="5269"/>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3" name="Freeform: Shape 4462">
                <a:extLst>
                  <a:ext uri="{FF2B5EF4-FFF2-40B4-BE49-F238E27FC236}">
                    <a16:creationId xmlns:a16="http://schemas.microsoft.com/office/drawing/2014/main" id="{2C21EEC4-488E-D262-32E6-C97F2BACC0B7}"/>
                  </a:ext>
                </a:extLst>
              </p:cNvPr>
              <p:cNvSpPr/>
              <p:nvPr/>
            </p:nvSpPr>
            <p:spPr>
              <a:xfrm>
                <a:off x="1691231" y="3457054"/>
                <a:ext cx="366" cy="1254"/>
              </a:xfrm>
              <a:custGeom>
                <a:avLst/>
                <a:gdLst>
                  <a:gd name="connsiteX0" fmla="*/ 0 w 3512"/>
                  <a:gd name="connsiteY0" fmla="*/ 5598 h 12020"/>
                  <a:gd name="connsiteX1" fmla="*/ 1126 w 3512"/>
                  <a:gd name="connsiteY1" fmla="*/ 0 h 12020"/>
                  <a:gd name="connsiteX2" fmla="*/ 3266 w 3512"/>
                  <a:gd name="connsiteY2" fmla="*/ 796 h 12020"/>
                  <a:gd name="connsiteX3" fmla="*/ 3513 w 3512"/>
                  <a:gd name="connsiteY3" fmla="*/ 10620 h 12020"/>
                  <a:gd name="connsiteX4" fmla="*/ 988 w 3512"/>
                  <a:gd name="connsiteY4" fmla="*/ 12020 h 12020"/>
                  <a:gd name="connsiteX5" fmla="*/ 0 w 3512"/>
                  <a:gd name="connsiteY5" fmla="*/ 5626 h 1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 h="12020">
                    <a:moveTo>
                      <a:pt x="0" y="5598"/>
                    </a:moveTo>
                    <a:lnTo>
                      <a:pt x="1126" y="0"/>
                    </a:lnTo>
                    <a:lnTo>
                      <a:pt x="3266" y="796"/>
                    </a:lnTo>
                    <a:lnTo>
                      <a:pt x="3513" y="10620"/>
                    </a:lnTo>
                    <a:lnTo>
                      <a:pt x="988" y="12020"/>
                    </a:lnTo>
                    <a:lnTo>
                      <a:pt x="0" y="56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4" name="Freeform: Shape 4463">
                <a:extLst>
                  <a:ext uri="{FF2B5EF4-FFF2-40B4-BE49-F238E27FC236}">
                    <a16:creationId xmlns:a16="http://schemas.microsoft.com/office/drawing/2014/main" id="{28FC7183-FB43-0511-846D-75FA6A449017}"/>
                  </a:ext>
                </a:extLst>
              </p:cNvPr>
              <p:cNvSpPr/>
              <p:nvPr/>
            </p:nvSpPr>
            <p:spPr>
              <a:xfrm>
                <a:off x="1515552" y="3412448"/>
                <a:ext cx="455" cy="1285"/>
              </a:xfrm>
              <a:custGeom>
                <a:avLst/>
                <a:gdLst>
                  <a:gd name="connsiteX0" fmla="*/ 0 w 4363"/>
                  <a:gd name="connsiteY0" fmla="*/ 5928 h 12321"/>
                  <a:gd name="connsiteX1" fmla="*/ 1071 w 4363"/>
                  <a:gd name="connsiteY1" fmla="*/ 0 h 12321"/>
                  <a:gd name="connsiteX2" fmla="*/ 3403 w 4363"/>
                  <a:gd name="connsiteY2" fmla="*/ 192 h 12321"/>
                  <a:gd name="connsiteX3" fmla="*/ 4364 w 4363"/>
                  <a:gd name="connsiteY3" fmla="*/ 5489 h 12321"/>
                  <a:gd name="connsiteX4" fmla="*/ 3403 w 4363"/>
                  <a:gd name="connsiteY4" fmla="*/ 12322 h 12321"/>
                  <a:gd name="connsiteX5" fmla="*/ 988 w 4363"/>
                  <a:gd name="connsiteY5" fmla="*/ 12130 h 12321"/>
                  <a:gd name="connsiteX6" fmla="*/ 0 w 4363"/>
                  <a:gd name="connsiteY6" fmla="*/ 5900 h 12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3" h="12321">
                    <a:moveTo>
                      <a:pt x="0" y="5928"/>
                    </a:moveTo>
                    <a:lnTo>
                      <a:pt x="1071" y="0"/>
                    </a:lnTo>
                    <a:lnTo>
                      <a:pt x="3403" y="192"/>
                    </a:lnTo>
                    <a:lnTo>
                      <a:pt x="4364" y="5489"/>
                    </a:lnTo>
                    <a:lnTo>
                      <a:pt x="3403" y="12322"/>
                    </a:lnTo>
                    <a:lnTo>
                      <a:pt x="988" y="12130"/>
                    </a:lnTo>
                    <a:lnTo>
                      <a:pt x="0" y="59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5" name="Freeform: Shape 4464">
                <a:extLst>
                  <a:ext uri="{FF2B5EF4-FFF2-40B4-BE49-F238E27FC236}">
                    <a16:creationId xmlns:a16="http://schemas.microsoft.com/office/drawing/2014/main" id="{501DDCC9-CFD1-40C1-826A-2D098CC7685D}"/>
                  </a:ext>
                </a:extLst>
              </p:cNvPr>
              <p:cNvSpPr/>
              <p:nvPr/>
            </p:nvSpPr>
            <p:spPr>
              <a:xfrm>
                <a:off x="1627959" y="3489287"/>
                <a:ext cx="444" cy="850"/>
              </a:xfrm>
              <a:custGeom>
                <a:avLst/>
                <a:gdLst>
                  <a:gd name="connsiteX0" fmla="*/ 4034 w 4253"/>
                  <a:gd name="connsiteY0" fmla="*/ 6147 h 8150"/>
                  <a:gd name="connsiteX1" fmla="*/ 521 w 4253"/>
                  <a:gd name="connsiteY1" fmla="*/ 8150 h 8150"/>
                  <a:gd name="connsiteX2" fmla="*/ 0 w 4253"/>
                  <a:gd name="connsiteY2" fmla="*/ 5077 h 8150"/>
                  <a:gd name="connsiteX3" fmla="*/ 768 w 4253"/>
                  <a:gd name="connsiteY3" fmla="*/ 274 h 8150"/>
                  <a:gd name="connsiteX4" fmla="*/ 4253 w 4253"/>
                  <a:gd name="connsiteY4" fmla="*/ 0 h 8150"/>
                  <a:gd name="connsiteX5" fmla="*/ 4007 w 4253"/>
                  <a:gd name="connsiteY5" fmla="*/ 6147 h 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3" h="8150">
                    <a:moveTo>
                      <a:pt x="4034" y="6147"/>
                    </a:moveTo>
                    <a:lnTo>
                      <a:pt x="521" y="8150"/>
                    </a:lnTo>
                    <a:lnTo>
                      <a:pt x="0" y="5077"/>
                    </a:lnTo>
                    <a:lnTo>
                      <a:pt x="768" y="274"/>
                    </a:lnTo>
                    <a:lnTo>
                      <a:pt x="4253" y="0"/>
                    </a:lnTo>
                    <a:lnTo>
                      <a:pt x="4007" y="61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6" name="Freeform: Shape 4465">
                <a:extLst>
                  <a:ext uri="{FF2B5EF4-FFF2-40B4-BE49-F238E27FC236}">
                    <a16:creationId xmlns:a16="http://schemas.microsoft.com/office/drawing/2014/main" id="{68EAE6F0-C5A2-8F10-6A31-C8554379AF08}"/>
                  </a:ext>
                </a:extLst>
              </p:cNvPr>
              <p:cNvSpPr/>
              <p:nvPr/>
            </p:nvSpPr>
            <p:spPr>
              <a:xfrm>
                <a:off x="1545790" y="3545174"/>
                <a:ext cx="406" cy="690"/>
              </a:xfrm>
              <a:custGeom>
                <a:avLst/>
                <a:gdLst>
                  <a:gd name="connsiteX0" fmla="*/ 0 w 3896"/>
                  <a:gd name="connsiteY0" fmla="*/ 2936 h 6613"/>
                  <a:gd name="connsiteX1" fmla="*/ 411 w 3896"/>
                  <a:gd name="connsiteY1" fmla="*/ 0 h 6613"/>
                  <a:gd name="connsiteX2" fmla="*/ 2964 w 3896"/>
                  <a:gd name="connsiteY2" fmla="*/ 192 h 6613"/>
                  <a:gd name="connsiteX3" fmla="*/ 3897 w 3896"/>
                  <a:gd name="connsiteY3" fmla="*/ 3156 h 6613"/>
                  <a:gd name="connsiteX4" fmla="*/ 3238 w 3896"/>
                  <a:gd name="connsiteY4" fmla="*/ 6614 h 6613"/>
                  <a:gd name="connsiteX5" fmla="*/ 1070 w 3896"/>
                  <a:gd name="connsiteY5" fmla="*/ 6312 h 6613"/>
                  <a:gd name="connsiteX6" fmla="*/ 27 w 3896"/>
                  <a:gd name="connsiteY6" fmla="*/ 2936 h 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6" h="6613">
                    <a:moveTo>
                      <a:pt x="0" y="2936"/>
                    </a:moveTo>
                    <a:lnTo>
                      <a:pt x="411" y="0"/>
                    </a:lnTo>
                    <a:lnTo>
                      <a:pt x="2964" y="192"/>
                    </a:lnTo>
                    <a:lnTo>
                      <a:pt x="3897" y="3156"/>
                    </a:lnTo>
                    <a:lnTo>
                      <a:pt x="3238" y="6614"/>
                    </a:lnTo>
                    <a:lnTo>
                      <a:pt x="1070" y="6312"/>
                    </a:lnTo>
                    <a:lnTo>
                      <a:pt x="27" y="29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7" name="Freeform: Shape 4466">
                <a:extLst>
                  <a:ext uri="{FF2B5EF4-FFF2-40B4-BE49-F238E27FC236}">
                    <a16:creationId xmlns:a16="http://schemas.microsoft.com/office/drawing/2014/main" id="{3927D79C-4B15-E649-DAC7-F3E5B8C06E12}"/>
                  </a:ext>
                </a:extLst>
              </p:cNvPr>
              <p:cNvSpPr/>
              <p:nvPr/>
            </p:nvSpPr>
            <p:spPr>
              <a:xfrm>
                <a:off x="1706029" y="3495976"/>
                <a:ext cx="555" cy="653"/>
              </a:xfrm>
              <a:custGeom>
                <a:avLst/>
                <a:gdLst>
                  <a:gd name="connsiteX0" fmla="*/ 0 w 5323"/>
                  <a:gd name="connsiteY0" fmla="*/ 0 h 6256"/>
                  <a:gd name="connsiteX1" fmla="*/ 5324 w 5323"/>
                  <a:gd name="connsiteY1" fmla="*/ 466 h 6256"/>
                  <a:gd name="connsiteX2" fmla="*/ 5269 w 5323"/>
                  <a:gd name="connsiteY2" fmla="*/ 6257 h 6256"/>
                  <a:gd name="connsiteX3" fmla="*/ 878 w 5323"/>
                  <a:gd name="connsiteY3" fmla="*/ 4967 h 6256"/>
                  <a:gd name="connsiteX4" fmla="*/ 27 w 5323"/>
                  <a:gd name="connsiteY4" fmla="*/ 0 h 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3" h="6256">
                    <a:moveTo>
                      <a:pt x="0" y="0"/>
                    </a:moveTo>
                    <a:lnTo>
                      <a:pt x="5324" y="466"/>
                    </a:lnTo>
                    <a:lnTo>
                      <a:pt x="5269" y="6257"/>
                    </a:lnTo>
                    <a:lnTo>
                      <a:pt x="878" y="4967"/>
                    </a:lnTo>
                    <a:lnTo>
                      <a:pt x="2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8" name="Freeform: Shape 4467">
                <a:extLst>
                  <a:ext uri="{FF2B5EF4-FFF2-40B4-BE49-F238E27FC236}">
                    <a16:creationId xmlns:a16="http://schemas.microsoft.com/office/drawing/2014/main" id="{2B49CD08-8040-8240-96F2-232BF2802CD2}"/>
                  </a:ext>
                </a:extLst>
              </p:cNvPr>
              <p:cNvSpPr/>
              <p:nvPr/>
            </p:nvSpPr>
            <p:spPr>
              <a:xfrm>
                <a:off x="1549053" y="3417291"/>
                <a:ext cx="478" cy="1088"/>
              </a:xfrm>
              <a:custGeom>
                <a:avLst/>
                <a:gdLst>
                  <a:gd name="connsiteX0" fmla="*/ 4309 w 4583"/>
                  <a:gd name="connsiteY0" fmla="*/ 9742 h 10428"/>
                  <a:gd name="connsiteX1" fmla="*/ 330 w 4583"/>
                  <a:gd name="connsiteY1" fmla="*/ 10428 h 10428"/>
                  <a:gd name="connsiteX2" fmla="*/ 0 w 4583"/>
                  <a:gd name="connsiteY2" fmla="*/ 6312 h 10428"/>
                  <a:gd name="connsiteX3" fmla="*/ 768 w 4583"/>
                  <a:gd name="connsiteY3" fmla="*/ 0 h 10428"/>
                  <a:gd name="connsiteX4" fmla="*/ 4583 w 4583"/>
                  <a:gd name="connsiteY4" fmla="*/ 1043 h 10428"/>
                  <a:gd name="connsiteX5" fmla="*/ 4281 w 4583"/>
                  <a:gd name="connsiteY5" fmla="*/ 9770 h 1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3" h="10428">
                    <a:moveTo>
                      <a:pt x="4309" y="9742"/>
                    </a:moveTo>
                    <a:lnTo>
                      <a:pt x="330" y="10428"/>
                    </a:lnTo>
                    <a:lnTo>
                      <a:pt x="0" y="6312"/>
                    </a:lnTo>
                    <a:lnTo>
                      <a:pt x="768" y="0"/>
                    </a:lnTo>
                    <a:lnTo>
                      <a:pt x="4583" y="1043"/>
                    </a:lnTo>
                    <a:lnTo>
                      <a:pt x="4281" y="97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9" name="Freeform: Shape 4468">
                <a:extLst>
                  <a:ext uri="{FF2B5EF4-FFF2-40B4-BE49-F238E27FC236}">
                    <a16:creationId xmlns:a16="http://schemas.microsoft.com/office/drawing/2014/main" id="{126CE5E3-9C3D-73AF-24B8-09B86A3F926A}"/>
                  </a:ext>
                </a:extLst>
              </p:cNvPr>
              <p:cNvSpPr/>
              <p:nvPr/>
            </p:nvSpPr>
            <p:spPr>
              <a:xfrm>
                <a:off x="1626814" y="3490197"/>
                <a:ext cx="363" cy="956"/>
              </a:xfrm>
              <a:custGeom>
                <a:avLst/>
                <a:gdLst>
                  <a:gd name="connsiteX0" fmla="*/ 3211 w 3484"/>
                  <a:gd name="connsiteY0" fmla="*/ 7135 h 9165"/>
                  <a:gd name="connsiteX1" fmla="*/ 2936 w 3484"/>
                  <a:gd name="connsiteY1" fmla="*/ 9166 h 9165"/>
                  <a:gd name="connsiteX2" fmla="*/ 274 w 3484"/>
                  <a:gd name="connsiteY2" fmla="*/ 8150 h 9165"/>
                  <a:gd name="connsiteX3" fmla="*/ 0 w 3484"/>
                  <a:gd name="connsiteY3" fmla="*/ 7135 h 9165"/>
                  <a:gd name="connsiteX4" fmla="*/ 549 w 3484"/>
                  <a:gd name="connsiteY4" fmla="*/ 0 h 9165"/>
                  <a:gd name="connsiteX5" fmla="*/ 3485 w 3484"/>
                  <a:gd name="connsiteY5" fmla="*/ 0 h 9165"/>
                  <a:gd name="connsiteX6" fmla="*/ 3211 w 3484"/>
                  <a:gd name="connsiteY6" fmla="*/ 7135 h 9165"/>
                  <a:gd name="connsiteX7" fmla="*/ 3211 w 3484"/>
                  <a:gd name="connsiteY7" fmla="*/ 7135 h 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4" h="9165">
                    <a:moveTo>
                      <a:pt x="3211" y="7135"/>
                    </a:moveTo>
                    <a:lnTo>
                      <a:pt x="2936" y="9166"/>
                    </a:lnTo>
                    <a:lnTo>
                      <a:pt x="274" y="8150"/>
                    </a:lnTo>
                    <a:lnTo>
                      <a:pt x="0" y="7135"/>
                    </a:lnTo>
                    <a:lnTo>
                      <a:pt x="549" y="0"/>
                    </a:lnTo>
                    <a:lnTo>
                      <a:pt x="3485" y="0"/>
                    </a:lnTo>
                    <a:lnTo>
                      <a:pt x="3211" y="7135"/>
                    </a:lnTo>
                    <a:lnTo>
                      <a:pt x="3211" y="71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0" name="Freeform: Shape 4469">
                <a:extLst>
                  <a:ext uri="{FF2B5EF4-FFF2-40B4-BE49-F238E27FC236}">
                    <a16:creationId xmlns:a16="http://schemas.microsoft.com/office/drawing/2014/main" id="{9FDAB19F-5ECA-EBA3-E200-898EFED643E3}"/>
                  </a:ext>
                </a:extLst>
              </p:cNvPr>
              <p:cNvSpPr/>
              <p:nvPr/>
            </p:nvSpPr>
            <p:spPr>
              <a:xfrm>
                <a:off x="1611549" y="3504626"/>
                <a:ext cx="384" cy="833"/>
              </a:xfrm>
              <a:custGeom>
                <a:avLst/>
                <a:gdLst>
                  <a:gd name="connsiteX0" fmla="*/ 0 w 3677"/>
                  <a:gd name="connsiteY0" fmla="*/ 4199 h 7986"/>
                  <a:gd name="connsiteX1" fmla="*/ 494 w 3677"/>
                  <a:gd name="connsiteY1" fmla="*/ 0 h 7986"/>
                  <a:gd name="connsiteX2" fmla="*/ 3513 w 3677"/>
                  <a:gd name="connsiteY2" fmla="*/ 521 h 7986"/>
                  <a:gd name="connsiteX3" fmla="*/ 3678 w 3677"/>
                  <a:gd name="connsiteY3" fmla="*/ 7986 h 7986"/>
                  <a:gd name="connsiteX4" fmla="*/ 823 w 3677"/>
                  <a:gd name="connsiteY4" fmla="*/ 7711 h 7986"/>
                  <a:gd name="connsiteX5" fmla="*/ 27 w 3677"/>
                  <a:gd name="connsiteY5" fmla="*/ 4199 h 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7" h="7986">
                    <a:moveTo>
                      <a:pt x="0" y="4199"/>
                    </a:moveTo>
                    <a:lnTo>
                      <a:pt x="494" y="0"/>
                    </a:lnTo>
                    <a:lnTo>
                      <a:pt x="3513" y="521"/>
                    </a:lnTo>
                    <a:lnTo>
                      <a:pt x="3678" y="7986"/>
                    </a:lnTo>
                    <a:lnTo>
                      <a:pt x="823" y="7711"/>
                    </a:lnTo>
                    <a:lnTo>
                      <a:pt x="27" y="41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1" name="Freeform: Shape 4470">
                <a:extLst>
                  <a:ext uri="{FF2B5EF4-FFF2-40B4-BE49-F238E27FC236}">
                    <a16:creationId xmlns:a16="http://schemas.microsoft.com/office/drawing/2014/main" id="{EFDDF110-ED21-383B-0242-802FB38C63A1}"/>
                  </a:ext>
                </a:extLst>
              </p:cNvPr>
              <p:cNvSpPr/>
              <p:nvPr/>
            </p:nvSpPr>
            <p:spPr>
              <a:xfrm>
                <a:off x="1628188" y="3497579"/>
                <a:ext cx="203" cy="667"/>
              </a:xfrm>
              <a:custGeom>
                <a:avLst/>
                <a:gdLst>
                  <a:gd name="connsiteX0" fmla="*/ 0 w 1949"/>
                  <a:gd name="connsiteY0" fmla="*/ 3403 h 6394"/>
                  <a:gd name="connsiteX1" fmla="*/ 631 w 1949"/>
                  <a:gd name="connsiteY1" fmla="*/ 0 h 6394"/>
                  <a:gd name="connsiteX2" fmla="*/ 1949 w 1949"/>
                  <a:gd name="connsiteY2" fmla="*/ 3183 h 6394"/>
                  <a:gd name="connsiteX3" fmla="*/ 1345 w 1949"/>
                  <a:gd name="connsiteY3" fmla="*/ 6394 h 6394"/>
                  <a:gd name="connsiteX4" fmla="*/ 0 w 1949"/>
                  <a:gd name="connsiteY4" fmla="*/ 3376 h 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9" h="6394">
                    <a:moveTo>
                      <a:pt x="0" y="3403"/>
                    </a:moveTo>
                    <a:lnTo>
                      <a:pt x="631" y="0"/>
                    </a:lnTo>
                    <a:lnTo>
                      <a:pt x="1949" y="3183"/>
                    </a:lnTo>
                    <a:lnTo>
                      <a:pt x="1345" y="6394"/>
                    </a:lnTo>
                    <a:lnTo>
                      <a:pt x="0" y="33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3" name="Freeform: Shape 4472">
                <a:extLst>
                  <a:ext uri="{FF2B5EF4-FFF2-40B4-BE49-F238E27FC236}">
                    <a16:creationId xmlns:a16="http://schemas.microsoft.com/office/drawing/2014/main" id="{0C9D6369-54BE-D157-04E2-FB10D2B0E8D0}"/>
                  </a:ext>
                </a:extLst>
              </p:cNvPr>
              <p:cNvSpPr/>
              <p:nvPr/>
            </p:nvSpPr>
            <p:spPr>
              <a:xfrm>
                <a:off x="1454038" y="3847700"/>
                <a:ext cx="6077" cy="5410"/>
              </a:xfrm>
              <a:custGeom>
                <a:avLst/>
                <a:gdLst>
                  <a:gd name="connsiteX0" fmla="*/ 48437 w 58261"/>
                  <a:gd name="connsiteY0" fmla="*/ 39902 h 51867"/>
                  <a:gd name="connsiteX1" fmla="*/ 44732 w 58261"/>
                  <a:gd name="connsiteY1" fmla="*/ 37432 h 51867"/>
                  <a:gd name="connsiteX2" fmla="*/ 36938 w 58261"/>
                  <a:gd name="connsiteY2" fmla="*/ 40286 h 51867"/>
                  <a:gd name="connsiteX3" fmla="*/ 31697 w 58261"/>
                  <a:gd name="connsiteY3" fmla="*/ 37926 h 51867"/>
                  <a:gd name="connsiteX4" fmla="*/ 29666 w 58261"/>
                  <a:gd name="connsiteY4" fmla="*/ 48629 h 51867"/>
                  <a:gd name="connsiteX5" fmla="*/ 26922 w 58261"/>
                  <a:gd name="connsiteY5" fmla="*/ 50001 h 51867"/>
                  <a:gd name="connsiteX6" fmla="*/ 24232 w 58261"/>
                  <a:gd name="connsiteY6" fmla="*/ 51346 h 51867"/>
                  <a:gd name="connsiteX7" fmla="*/ 14160 w 58261"/>
                  <a:gd name="connsiteY7" fmla="*/ 51867 h 51867"/>
                  <a:gd name="connsiteX8" fmla="*/ 13365 w 58261"/>
                  <a:gd name="connsiteY8" fmla="*/ 50028 h 51867"/>
                  <a:gd name="connsiteX9" fmla="*/ 12102 w 58261"/>
                  <a:gd name="connsiteY9" fmla="*/ 47120 h 51867"/>
                  <a:gd name="connsiteX10" fmla="*/ 7355 w 58261"/>
                  <a:gd name="connsiteY10" fmla="*/ 45391 h 51867"/>
                  <a:gd name="connsiteX11" fmla="*/ 5050 w 58261"/>
                  <a:gd name="connsiteY11" fmla="*/ 46049 h 51867"/>
                  <a:gd name="connsiteX12" fmla="*/ 4254 w 58261"/>
                  <a:gd name="connsiteY12" fmla="*/ 49644 h 51867"/>
                  <a:gd name="connsiteX13" fmla="*/ 906 w 58261"/>
                  <a:gd name="connsiteY13" fmla="*/ 46735 h 51867"/>
                  <a:gd name="connsiteX14" fmla="*/ 0 w 58261"/>
                  <a:gd name="connsiteY14" fmla="*/ 40039 h 51867"/>
                  <a:gd name="connsiteX15" fmla="*/ 6943 w 58261"/>
                  <a:gd name="connsiteY15" fmla="*/ 32987 h 51867"/>
                  <a:gd name="connsiteX16" fmla="*/ 8590 w 58261"/>
                  <a:gd name="connsiteY16" fmla="*/ 20692 h 51867"/>
                  <a:gd name="connsiteX17" fmla="*/ 13393 w 58261"/>
                  <a:gd name="connsiteY17" fmla="*/ 14188 h 51867"/>
                  <a:gd name="connsiteX18" fmla="*/ 18359 w 58261"/>
                  <a:gd name="connsiteY18" fmla="*/ 10922 h 51867"/>
                  <a:gd name="connsiteX19" fmla="*/ 20390 w 58261"/>
                  <a:gd name="connsiteY19" fmla="*/ 9687 h 51867"/>
                  <a:gd name="connsiteX20" fmla="*/ 26977 w 58261"/>
                  <a:gd name="connsiteY20" fmla="*/ 8370 h 51867"/>
                  <a:gd name="connsiteX21" fmla="*/ 29968 w 58261"/>
                  <a:gd name="connsiteY21" fmla="*/ 10922 h 51867"/>
                  <a:gd name="connsiteX22" fmla="*/ 30077 w 58261"/>
                  <a:gd name="connsiteY22" fmla="*/ 11005 h 51867"/>
                  <a:gd name="connsiteX23" fmla="*/ 32548 w 58261"/>
                  <a:gd name="connsiteY23" fmla="*/ 10950 h 51867"/>
                  <a:gd name="connsiteX24" fmla="*/ 43497 w 58261"/>
                  <a:gd name="connsiteY24" fmla="*/ 741 h 51867"/>
                  <a:gd name="connsiteX25" fmla="*/ 46433 w 58261"/>
                  <a:gd name="connsiteY25" fmla="*/ 0 h 51867"/>
                  <a:gd name="connsiteX26" fmla="*/ 46378 w 58261"/>
                  <a:gd name="connsiteY26" fmla="*/ 1839 h 51867"/>
                  <a:gd name="connsiteX27" fmla="*/ 52581 w 58261"/>
                  <a:gd name="connsiteY27" fmla="*/ 10922 h 51867"/>
                  <a:gd name="connsiteX28" fmla="*/ 56505 w 58261"/>
                  <a:gd name="connsiteY28" fmla="*/ 17097 h 51867"/>
                  <a:gd name="connsiteX29" fmla="*/ 58261 w 58261"/>
                  <a:gd name="connsiteY29" fmla="*/ 31038 h 51867"/>
                  <a:gd name="connsiteX30" fmla="*/ 56093 w 58261"/>
                  <a:gd name="connsiteY30" fmla="*/ 37844 h 51867"/>
                  <a:gd name="connsiteX31" fmla="*/ 48492 w 58261"/>
                  <a:gd name="connsiteY31" fmla="*/ 39875 h 51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261" h="51867">
                    <a:moveTo>
                      <a:pt x="48437" y="39902"/>
                    </a:moveTo>
                    <a:lnTo>
                      <a:pt x="44732" y="37432"/>
                    </a:lnTo>
                    <a:lnTo>
                      <a:pt x="36938" y="40286"/>
                    </a:lnTo>
                    <a:lnTo>
                      <a:pt x="31697" y="37926"/>
                    </a:lnTo>
                    <a:lnTo>
                      <a:pt x="29666" y="48629"/>
                    </a:lnTo>
                    <a:lnTo>
                      <a:pt x="26922" y="50001"/>
                    </a:lnTo>
                    <a:lnTo>
                      <a:pt x="24232" y="51346"/>
                    </a:lnTo>
                    <a:lnTo>
                      <a:pt x="14160" y="51867"/>
                    </a:lnTo>
                    <a:lnTo>
                      <a:pt x="13365" y="50028"/>
                    </a:lnTo>
                    <a:lnTo>
                      <a:pt x="12102" y="47120"/>
                    </a:lnTo>
                    <a:lnTo>
                      <a:pt x="7355" y="45391"/>
                    </a:lnTo>
                    <a:lnTo>
                      <a:pt x="5050" y="46049"/>
                    </a:lnTo>
                    <a:lnTo>
                      <a:pt x="4254" y="49644"/>
                    </a:lnTo>
                    <a:lnTo>
                      <a:pt x="906" y="46735"/>
                    </a:lnTo>
                    <a:lnTo>
                      <a:pt x="0" y="40039"/>
                    </a:lnTo>
                    <a:lnTo>
                      <a:pt x="6943" y="32987"/>
                    </a:lnTo>
                    <a:lnTo>
                      <a:pt x="8590" y="20692"/>
                    </a:lnTo>
                    <a:lnTo>
                      <a:pt x="13393" y="14188"/>
                    </a:lnTo>
                    <a:lnTo>
                      <a:pt x="18359" y="10922"/>
                    </a:lnTo>
                    <a:lnTo>
                      <a:pt x="20390" y="9687"/>
                    </a:lnTo>
                    <a:lnTo>
                      <a:pt x="26977" y="8370"/>
                    </a:lnTo>
                    <a:lnTo>
                      <a:pt x="29968" y="10922"/>
                    </a:lnTo>
                    <a:lnTo>
                      <a:pt x="30077" y="11005"/>
                    </a:lnTo>
                    <a:lnTo>
                      <a:pt x="32548" y="10950"/>
                    </a:lnTo>
                    <a:lnTo>
                      <a:pt x="43497" y="741"/>
                    </a:lnTo>
                    <a:lnTo>
                      <a:pt x="46433" y="0"/>
                    </a:lnTo>
                    <a:lnTo>
                      <a:pt x="46378" y="1839"/>
                    </a:lnTo>
                    <a:lnTo>
                      <a:pt x="52581" y="10922"/>
                    </a:lnTo>
                    <a:lnTo>
                      <a:pt x="56505" y="17097"/>
                    </a:lnTo>
                    <a:lnTo>
                      <a:pt x="58261" y="31038"/>
                    </a:lnTo>
                    <a:lnTo>
                      <a:pt x="56093" y="37844"/>
                    </a:lnTo>
                    <a:lnTo>
                      <a:pt x="48492" y="398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4" name="Freeform: Shape 4473">
                <a:extLst>
                  <a:ext uri="{FF2B5EF4-FFF2-40B4-BE49-F238E27FC236}">
                    <a16:creationId xmlns:a16="http://schemas.microsoft.com/office/drawing/2014/main" id="{4ED2D5E0-3A94-C2BA-9F6F-52EF99276621}"/>
                  </a:ext>
                </a:extLst>
              </p:cNvPr>
              <p:cNvSpPr/>
              <p:nvPr/>
            </p:nvSpPr>
            <p:spPr>
              <a:xfrm>
                <a:off x="1471679" y="3740213"/>
                <a:ext cx="64454" cy="53236"/>
              </a:xfrm>
              <a:custGeom>
                <a:avLst/>
                <a:gdLst>
                  <a:gd name="connsiteX0" fmla="*/ 296027 w 617960"/>
                  <a:gd name="connsiteY0" fmla="*/ 100469 h 510411"/>
                  <a:gd name="connsiteX1" fmla="*/ 323745 w 617960"/>
                  <a:gd name="connsiteY1" fmla="*/ 103268 h 510411"/>
                  <a:gd name="connsiteX2" fmla="*/ 344711 w 617960"/>
                  <a:gd name="connsiteY2" fmla="*/ 105354 h 510411"/>
                  <a:gd name="connsiteX3" fmla="*/ 350172 w 617960"/>
                  <a:gd name="connsiteY3" fmla="*/ 104174 h 510411"/>
                  <a:gd name="connsiteX4" fmla="*/ 368971 w 617960"/>
                  <a:gd name="connsiteY4" fmla="*/ 106643 h 510411"/>
                  <a:gd name="connsiteX5" fmla="*/ 377560 w 617960"/>
                  <a:gd name="connsiteY5" fmla="*/ 108565 h 510411"/>
                  <a:gd name="connsiteX6" fmla="*/ 384476 w 617960"/>
                  <a:gd name="connsiteY6" fmla="*/ 123301 h 510411"/>
                  <a:gd name="connsiteX7" fmla="*/ 405470 w 617960"/>
                  <a:gd name="connsiteY7" fmla="*/ 123301 h 510411"/>
                  <a:gd name="connsiteX8" fmla="*/ 410985 w 617960"/>
                  <a:gd name="connsiteY8" fmla="*/ 133977 h 510411"/>
                  <a:gd name="connsiteX9" fmla="*/ 411590 w 617960"/>
                  <a:gd name="connsiteY9" fmla="*/ 138175 h 510411"/>
                  <a:gd name="connsiteX10" fmla="*/ 417846 w 617960"/>
                  <a:gd name="connsiteY10" fmla="*/ 146106 h 510411"/>
                  <a:gd name="connsiteX11" fmla="*/ 416447 w 617960"/>
                  <a:gd name="connsiteY11" fmla="*/ 149866 h 510411"/>
                  <a:gd name="connsiteX12" fmla="*/ 418862 w 617960"/>
                  <a:gd name="connsiteY12" fmla="*/ 153681 h 510411"/>
                  <a:gd name="connsiteX13" fmla="*/ 429812 w 617960"/>
                  <a:gd name="connsiteY13" fmla="*/ 157440 h 510411"/>
                  <a:gd name="connsiteX14" fmla="*/ 429509 w 617960"/>
                  <a:gd name="connsiteY14" fmla="*/ 162188 h 510411"/>
                  <a:gd name="connsiteX15" fmla="*/ 432473 w 617960"/>
                  <a:gd name="connsiteY15" fmla="*/ 166908 h 510411"/>
                  <a:gd name="connsiteX16" fmla="*/ 435273 w 617960"/>
                  <a:gd name="connsiteY16" fmla="*/ 169433 h 510411"/>
                  <a:gd name="connsiteX17" fmla="*/ 438785 w 617960"/>
                  <a:gd name="connsiteY17" fmla="*/ 169131 h 510411"/>
                  <a:gd name="connsiteX18" fmla="*/ 442820 w 617960"/>
                  <a:gd name="connsiteY18" fmla="*/ 175498 h 510411"/>
                  <a:gd name="connsiteX19" fmla="*/ 453549 w 617960"/>
                  <a:gd name="connsiteY19" fmla="*/ 182908 h 510411"/>
                  <a:gd name="connsiteX20" fmla="*/ 451876 w 617960"/>
                  <a:gd name="connsiteY20" fmla="*/ 186475 h 510411"/>
                  <a:gd name="connsiteX21" fmla="*/ 457803 w 617960"/>
                  <a:gd name="connsiteY21" fmla="*/ 195284 h 510411"/>
                  <a:gd name="connsiteX22" fmla="*/ 458270 w 617960"/>
                  <a:gd name="connsiteY22" fmla="*/ 198962 h 510411"/>
                  <a:gd name="connsiteX23" fmla="*/ 455965 w 617960"/>
                  <a:gd name="connsiteY23" fmla="*/ 204450 h 510411"/>
                  <a:gd name="connsiteX24" fmla="*/ 452754 w 617960"/>
                  <a:gd name="connsiteY24" fmla="*/ 201651 h 510411"/>
                  <a:gd name="connsiteX25" fmla="*/ 451738 w 617960"/>
                  <a:gd name="connsiteY25" fmla="*/ 205658 h 510411"/>
                  <a:gd name="connsiteX26" fmla="*/ 454812 w 617960"/>
                  <a:gd name="connsiteY26" fmla="*/ 208594 h 510411"/>
                  <a:gd name="connsiteX27" fmla="*/ 459285 w 617960"/>
                  <a:gd name="connsiteY27" fmla="*/ 220779 h 510411"/>
                  <a:gd name="connsiteX28" fmla="*/ 466146 w 617960"/>
                  <a:gd name="connsiteY28" fmla="*/ 227283 h 510411"/>
                  <a:gd name="connsiteX29" fmla="*/ 468342 w 617960"/>
                  <a:gd name="connsiteY29" fmla="*/ 236147 h 510411"/>
                  <a:gd name="connsiteX30" fmla="*/ 475504 w 617960"/>
                  <a:gd name="connsiteY30" fmla="*/ 248140 h 510411"/>
                  <a:gd name="connsiteX31" fmla="*/ 480471 w 617960"/>
                  <a:gd name="connsiteY31" fmla="*/ 255192 h 510411"/>
                  <a:gd name="connsiteX32" fmla="*/ 484039 w 617960"/>
                  <a:gd name="connsiteY32" fmla="*/ 256564 h 510411"/>
                  <a:gd name="connsiteX33" fmla="*/ 489911 w 617960"/>
                  <a:gd name="connsiteY33" fmla="*/ 255686 h 510411"/>
                  <a:gd name="connsiteX34" fmla="*/ 490076 w 617960"/>
                  <a:gd name="connsiteY34" fmla="*/ 255823 h 510411"/>
                  <a:gd name="connsiteX35" fmla="*/ 490323 w 617960"/>
                  <a:gd name="connsiteY35" fmla="*/ 255823 h 510411"/>
                  <a:gd name="connsiteX36" fmla="*/ 491421 w 617960"/>
                  <a:gd name="connsiteY36" fmla="*/ 254945 h 510411"/>
                  <a:gd name="connsiteX37" fmla="*/ 491503 w 617960"/>
                  <a:gd name="connsiteY37" fmla="*/ 254561 h 510411"/>
                  <a:gd name="connsiteX38" fmla="*/ 491393 w 617960"/>
                  <a:gd name="connsiteY38" fmla="*/ 254342 h 510411"/>
                  <a:gd name="connsiteX39" fmla="*/ 491641 w 617960"/>
                  <a:gd name="connsiteY39" fmla="*/ 253957 h 510411"/>
                  <a:gd name="connsiteX40" fmla="*/ 491915 w 617960"/>
                  <a:gd name="connsiteY40" fmla="*/ 253711 h 510411"/>
                  <a:gd name="connsiteX41" fmla="*/ 492409 w 617960"/>
                  <a:gd name="connsiteY41" fmla="*/ 253546 h 510411"/>
                  <a:gd name="connsiteX42" fmla="*/ 492958 w 617960"/>
                  <a:gd name="connsiteY42" fmla="*/ 252915 h 510411"/>
                  <a:gd name="connsiteX43" fmla="*/ 493068 w 617960"/>
                  <a:gd name="connsiteY43" fmla="*/ 252475 h 510411"/>
                  <a:gd name="connsiteX44" fmla="*/ 492930 w 617960"/>
                  <a:gd name="connsiteY44" fmla="*/ 252174 h 510411"/>
                  <a:gd name="connsiteX45" fmla="*/ 492985 w 617960"/>
                  <a:gd name="connsiteY45" fmla="*/ 252036 h 510411"/>
                  <a:gd name="connsiteX46" fmla="*/ 493233 w 617960"/>
                  <a:gd name="connsiteY46" fmla="*/ 252036 h 510411"/>
                  <a:gd name="connsiteX47" fmla="*/ 493369 w 617960"/>
                  <a:gd name="connsiteY47" fmla="*/ 252338 h 510411"/>
                  <a:gd name="connsiteX48" fmla="*/ 493699 w 617960"/>
                  <a:gd name="connsiteY48" fmla="*/ 252338 h 510411"/>
                  <a:gd name="connsiteX49" fmla="*/ 493864 w 617960"/>
                  <a:gd name="connsiteY49" fmla="*/ 252448 h 510411"/>
                  <a:gd name="connsiteX50" fmla="*/ 493974 w 617960"/>
                  <a:gd name="connsiteY50" fmla="*/ 252091 h 510411"/>
                  <a:gd name="connsiteX51" fmla="*/ 494248 w 617960"/>
                  <a:gd name="connsiteY51" fmla="*/ 252091 h 510411"/>
                  <a:gd name="connsiteX52" fmla="*/ 494577 w 617960"/>
                  <a:gd name="connsiteY52" fmla="*/ 252585 h 510411"/>
                  <a:gd name="connsiteX53" fmla="*/ 494577 w 617960"/>
                  <a:gd name="connsiteY53" fmla="*/ 252942 h 510411"/>
                  <a:gd name="connsiteX54" fmla="*/ 494495 w 617960"/>
                  <a:gd name="connsiteY54" fmla="*/ 253244 h 510411"/>
                  <a:gd name="connsiteX55" fmla="*/ 494577 w 617960"/>
                  <a:gd name="connsiteY55" fmla="*/ 253408 h 510411"/>
                  <a:gd name="connsiteX56" fmla="*/ 494632 w 617960"/>
                  <a:gd name="connsiteY56" fmla="*/ 253491 h 510411"/>
                  <a:gd name="connsiteX57" fmla="*/ 494686 w 617960"/>
                  <a:gd name="connsiteY57" fmla="*/ 253656 h 510411"/>
                  <a:gd name="connsiteX58" fmla="*/ 494686 w 617960"/>
                  <a:gd name="connsiteY58" fmla="*/ 253848 h 510411"/>
                  <a:gd name="connsiteX59" fmla="*/ 494686 w 617960"/>
                  <a:gd name="connsiteY59" fmla="*/ 254012 h 510411"/>
                  <a:gd name="connsiteX60" fmla="*/ 494605 w 617960"/>
                  <a:gd name="connsiteY60" fmla="*/ 254177 h 510411"/>
                  <a:gd name="connsiteX61" fmla="*/ 494358 w 617960"/>
                  <a:gd name="connsiteY61" fmla="*/ 254561 h 510411"/>
                  <a:gd name="connsiteX62" fmla="*/ 494358 w 617960"/>
                  <a:gd name="connsiteY62" fmla="*/ 255000 h 510411"/>
                  <a:gd name="connsiteX63" fmla="*/ 494083 w 617960"/>
                  <a:gd name="connsiteY63" fmla="*/ 255083 h 510411"/>
                  <a:gd name="connsiteX64" fmla="*/ 494028 w 617960"/>
                  <a:gd name="connsiteY64" fmla="*/ 254918 h 510411"/>
                  <a:gd name="connsiteX65" fmla="*/ 493891 w 617960"/>
                  <a:gd name="connsiteY65" fmla="*/ 254918 h 510411"/>
                  <a:gd name="connsiteX66" fmla="*/ 493726 w 617960"/>
                  <a:gd name="connsiteY66" fmla="*/ 254973 h 510411"/>
                  <a:gd name="connsiteX67" fmla="*/ 493644 w 617960"/>
                  <a:gd name="connsiteY67" fmla="*/ 255028 h 510411"/>
                  <a:gd name="connsiteX68" fmla="*/ 493479 w 617960"/>
                  <a:gd name="connsiteY68" fmla="*/ 255302 h 510411"/>
                  <a:gd name="connsiteX69" fmla="*/ 493397 w 617960"/>
                  <a:gd name="connsiteY69" fmla="*/ 255576 h 510411"/>
                  <a:gd name="connsiteX70" fmla="*/ 493479 w 617960"/>
                  <a:gd name="connsiteY70" fmla="*/ 255906 h 510411"/>
                  <a:gd name="connsiteX71" fmla="*/ 493288 w 617960"/>
                  <a:gd name="connsiteY71" fmla="*/ 256290 h 510411"/>
                  <a:gd name="connsiteX72" fmla="*/ 492985 w 617960"/>
                  <a:gd name="connsiteY72" fmla="*/ 256427 h 510411"/>
                  <a:gd name="connsiteX73" fmla="*/ 492821 w 617960"/>
                  <a:gd name="connsiteY73" fmla="*/ 256784 h 510411"/>
                  <a:gd name="connsiteX74" fmla="*/ 492766 w 617960"/>
                  <a:gd name="connsiteY74" fmla="*/ 256866 h 510411"/>
                  <a:gd name="connsiteX75" fmla="*/ 492601 w 617960"/>
                  <a:gd name="connsiteY75" fmla="*/ 256921 h 510411"/>
                  <a:gd name="connsiteX76" fmla="*/ 492409 w 617960"/>
                  <a:gd name="connsiteY76" fmla="*/ 257113 h 510411"/>
                  <a:gd name="connsiteX77" fmla="*/ 492327 w 617960"/>
                  <a:gd name="connsiteY77" fmla="*/ 257388 h 510411"/>
                  <a:gd name="connsiteX78" fmla="*/ 492162 w 617960"/>
                  <a:gd name="connsiteY78" fmla="*/ 257305 h 510411"/>
                  <a:gd name="connsiteX79" fmla="*/ 492052 w 617960"/>
                  <a:gd name="connsiteY79" fmla="*/ 257305 h 510411"/>
                  <a:gd name="connsiteX80" fmla="*/ 491833 w 617960"/>
                  <a:gd name="connsiteY80" fmla="*/ 257415 h 510411"/>
                  <a:gd name="connsiteX81" fmla="*/ 491668 w 617960"/>
                  <a:gd name="connsiteY81" fmla="*/ 257662 h 510411"/>
                  <a:gd name="connsiteX82" fmla="*/ 491174 w 617960"/>
                  <a:gd name="connsiteY82" fmla="*/ 257991 h 510411"/>
                  <a:gd name="connsiteX83" fmla="*/ 490762 w 617960"/>
                  <a:gd name="connsiteY83" fmla="*/ 258431 h 510411"/>
                  <a:gd name="connsiteX84" fmla="*/ 490652 w 617960"/>
                  <a:gd name="connsiteY84" fmla="*/ 258623 h 510411"/>
                  <a:gd name="connsiteX85" fmla="*/ 490543 w 617960"/>
                  <a:gd name="connsiteY85" fmla="*/ 258979 h 510411"/>
                  <a:gd name="connsiteX86" fmla="*/ 490323 w 617960"/>
                  <a:gd name="connsiteY86" fmla="*/ 259885 h 510411"/>
                  <a:gd name="connsiteX87" fmla="*/ 490323 w 617960"/>
                  <a:gd name="connsiteY87" fmla="*/ 259995 h 510411"/>
                  <a:gd name="connsiteX88" fmla="*/ 490323 w 617960"/>
                  <a:gd name="connsiteY88" fmla="*/ 260187 h 510411"/>
                  <a:gd name="connsiteX89" fmla="*/ 490241 w 617960"/>
                  <a:gd name="connsiteY89" fmla="*/ 260324 h 510411"/>
                  <a:gd name="connsiteX90" fmla="*/ 490159 w 617960"/>
                  <a:gd name="connsiteY90" fmla="*/ 260955 h 510411"/>
                  <a:gd name="connsiteX91" fmla="*/ 490076 w 617960"/>
                  <a:gd name="connsiteY91" fmla="*/ 261120 h 510411"/>
                  <a:gd name="connsiteX92" fmla="*/ 489966 w 617960"/>
                  <a:gd name="connsiteY92" fmla="*/ 261120 h 510411"/>
                  <a:gd name="connsiteX93" fmla="*/ 489911 w 617960"/>
                  <a:gd name="connsiteY93" fmla="*/ 260873 h 510411"/>
                  <a:gd name="connsiteX94" fmla="*/ 489802 w 617960"/>
                  <a:gd name="connsiteY94" fmla="*/ 260873 h 510411"/>
                  <a:gd name="connsiteX95" fmla="*/ 489720 w 617960"/>
                  <a:gd name="connsiteY95" fmla="*/ 261010 h 510411"/>
                  <a:gd name="connsiteX96" fmla="*/ 489720 w 617960"/>
                  <a:gd name="connsiteY96" fmla="*/ 261175 h 510411"/>
                  <a:gd name="connsiteX97" fmla="*/ 489720 w 617960"/>
                  <a:gd name="connsiteY97" fmla="*/ 262575 h 510411"/>
                  <a:gd name="connsiteX98" fmla="*/ 489884 w 617960"/>
                  <a:gd name="connsiteY98" fmla="*/ 262959 h 510411"/>
                  <a:gd name="connsiteX99" fmla="*/ 490076 w 617960"/>
                  <a:gd name="connsiteY99" fmla="*/ 263041 h 510411"/>
                  <a:gd name="connsiteX100" fmla="*/ 490461 w 617960"/>
                  <a:gd name="connsiteY100" fmla="*/ 262959 h 510411"/>
                  <a:gd name="connsiteX101" fmla="*/ 491696 w 617960"/>
                  <a:gd name="connsiteY101" fmla="*/ 263096 h 510411"/>
                  <a:gd name="connsiteX102" fmla="*/ 492162 w 617960"/>
                  <a:gd name="connsiteY102" fmla="*/ 262684 h 510411"/>
                  <a:gd name="connsiteX103" fmla="*/ 492464 w 617960"/>
                  <a:gd name="connsiteY103" fmla="*/ 262190 h 510411"/>
                  <a:gd name="connsiteX104" fmla="*/ 492821 w 617960"/>
                  <a:gd name="connsiteY104" fmla="*/ 261971 h 510411"/>
                  <a:gd name="connsiteX105" fmla="*/ 493233 w 617960"/>
                  <a:gd name="connsiteY105" fmla="*/ 261861 h 510411"/>
                  <a:gd name="connsiteX106" fmla="*/ 493726 w 617960"/>
                  <a:gd name="connsiteY106" fmla="*/ 262053 h 510411"/>
                  <a:gd name="connsiteX107" fmla="*/ 494275 w 617960"/>
                  <a:gd name="connsiteY107" fmla="*/ 261943 h 510411"/>
                  <a:gd name="connsiteX108" fmla="*/ 494577 w 617960"/>
                  <a:gd name="connsiteY108" fmla="*/ 262218 h 510411"/>
                  <a:gd name="connsiteX109" fmla="*/ 495071 w 617960"/>
                  <a:gd name="connsiteY109" fmla="*/ 262218 h 510411"/>
                  <a:gd name="connsiteX110" fmla="*/ 495291 w 617960"/>
                  <a:gd name="connsiteY110" fmla="*/ 262437 h 510411"/>
                  <a:gd name="connsiteX111" fmla="*/ 495620 w 617960"/>
                  <a:gd name="connsiteY111" fmla="*/ 262437 h 510411"/>
                  <a:gd name="connsiteX112" fmla="*/ 495785 w 617960"/>
                  <a:gd name="connsiteY112" fmla="*/ 262712 h 510411"/>
                  <a:gd name="connsiteX113" fmla="*/ 497129 w 617960"/>
                  <a:gd name="connsiteY113" fmla="*/ 264441 h 510411"/>
                  <a:gd name="connsiteX114" fmla="*/ 497349 w 617960"/>
                  <a:gd name="connsiteY114" fmla="*/ 264495 h 510411"/>
                  <a:gd name="connsiteX115" fmla="*/ 497953 w 617960"/>
                  <a:gd name="connsiteY115" fmla="*/ 264495 h 510411"/>
                  <a:gd name="connsiteX116" fmla="*/ 498419 w 617960"/>
                  <a:gd name="connsiteY116" fmla="*/ 264331 h 510411"/>
                  <a:gd name="connsiteX117" fmla="*/ 500175 w 617960"/>
                  <a:gd name="connsiteY117" fmla="*/ 270423 h 510411"/>
                  <a:gd name="connsiteX118" fmla="*/ 527536 w 617960"/>
                  <a:gd name="connsiteY118" fmla="*/ 305331 h 510411"/>
                  <a:gd name="connsiteX119" fmla="*/ 599052 w 617960"/>
                  <a:gd name="connsiteY119" fmla="*/ 315622 h 510411"/>
                  <a:gd name="connsiteX120" fmla="*/ 604843 w 617960"/>
                  <a:gd name="connsiteY120" fmla="*/ 313563 h 510411"/>
                  <a:gd name="connsiteX121" fmla="*/ 617961 w 617960"/>
                  <a:gd name="connsiteY121" fmla="*/ 336588 h 510411"/>
                  <a:gd name="connsiteX122" fmla="*/ 615079 w 617960"/>
                  <a:gd name="connsiteY122" fmla="*/ 345919 h 510411"/>
                  <a:gd name="connsiteX123" fmla="*/ 603471 w 617960"/>
                  <a:gd name="connsiteY123" fmla="*/ 383626 h 510411"/>
                  <a:gd name="connsiteX124" fmla="*/ 599080 w 617960"/>
                  <a:gd name="connsiteY124" fmla="*/ 397759 h 510411"/>
                  <a:gd name="connsiteX125" fmla="*/ 581050 w 617960"/>
                  <a:gd name="connsiteY125" fmla="*/ 404400 h 510411"/>
                  <a:gd name="connsiteX126" fmla="*/ 558711 w 617960"/>
                  <a:gd name="connsiteY126" fmla="*/ 412605 h 510411"/>
                  <a:gd name="connsiteX127" fmla="*/ 534013 w 617960"/>
                  <a:gd name="connsiteY127" fmla="*/ 421661 h 510411"/>
                  <a:gd name="connsiteX128" fmla="*/ 510439 w 617960"/>
                  <a:gd name="connsiteY128" fmla="*/ 430279 h 510411"/>
                  <a:gd name="connsiteX129" fmla="*/ 474626 w 617960"/>
                  <a:gd name="connsiteY129" fmla="*/ 436837 h 510411"/>
                  <a:gd name="connsiteX130" fmla="*/ 424625 w 617960"/>
                  <a:gd name="connsiteY130" fmla="*/ 442765 h 510411"/>
                  <a:gd name="connsiteX131" fmla="*/ 398142 w 617960"/>
                  <a:gd name="connsiteY131" fmla="*/ 456486 h 510411"/>
                  <a:gd name="connsiteX132" fmla="*/ 387275 w 617960"/>
                  <a:gd name="connsiteY132" fmla="*/ 470400 h 510411"/>
                  <a:gd name="connsiteX133" fmla="*/ 381649 w 617960"/>
                  <a:gd name="connsiteY133" fmla="*/ 477618 h 510411"/>
                  <a:gd name="connsiteX134" fmla="*/ 377011 w 617960"/>
                  <a:gd name="connsiteY134" fmla="*/ 488266 h 510411"/>
                  <a:gd name="connsiteX135" fmla="*/ 369053 w 617960"/>
                  <a:gd name="connsiteY135" fmla="*/ 493534 h 510411"/>
                  <a:gd name="connsiteX136" fmla="*/ 363290 w 617960"/>
                  <a:gd name="connsiteY136" fmla="*/ 493151 h 510411"/>
                  <a:gd name="connsiteX137" fmla="*/ 355496 w 617960"/>
                  <a:gd name="connsiteY137" fmla="*/ 483737 h 510411"/>
                  <a:gd name="connsiteX138" fmla="*/ 339140 w 617960"/>
                  <a:gd name="connsiteY138" fmla="*/ 484588 h 510411"/>
                  <a:gd name="connsiteX139" fmla="*/ 323827 w 617960"/>
                  <a:gd name="connsiteY139" fmla="*/ 482365 h 510411"/>
                  <a:gd name="connsiteX140" fmla="*/ 314798 w 617960"/>
                  <a:gd name="connsiteY140" fmla="*/ 481021 h 510411"/>
                  <a:gd name="connsiteX141" fmla="*/ 306867 w 617960"/>
                  <a:gd name="connsiteY141" fmla="*/ 478825 h 510411"/>
                  <a:gd name="connsiteX142" fmla="*/ 292844 w 617960"/>
                  <a:gd name="connsiteY142" fmla="*/ 478935 h 510411"/>
                  <a:gd name="connsiteX143" fmla="*/ 286669 w 617960"/>
                  <a:gd name="connsiteY143" fmla="*/ 478990 h 510411"/>
                  <a:gd name="connsiteX144" fmla="*/ 277640 w 617960"/>
                  <a:gd name="connsiteY144" fmla="*/ 480526 h 510411"/>
                  <a:gd name="connsiteX145" fmla="*/ 274649 w 617960"/>
                  <a:gd name="connsiteY145" fmla="*/ 481048 h 510411"/>
                  <a:gd name="connsiteX146" fmla="*/ 273825 w 617960"/>
                  <a:gd name="connsiteY146" fmla="*/ 481899 h 510411"/>
                  <a:gd name="connsiteX147" fmla="*/ 270340 w 617960"/>
                  <a:gd name="connsiteY147" fmla="*/ 481679 h 510411"/>
                  <a:gd name="connsiteX148" fmla="*/ 269270 w 617960"/>
                  <a:gd name="connsiteY148" fmla="*/ 481048 h 510411"/>
                  <a:gd name="connsiteX149" fmla="*/ 257524 w 617960"/>
                  <a:gd name="connsiteY149" fmla="*/ 475230 h 510411"/>
                  <a:gd name="connsiteX150" fmla="*/ 253353 w 617960"/>
                  <a:gd name="connsiteY150" fmla="*/ 477261 h 510411"/>
                  <a:gd name="connsiteX151" fmla="*/ 253490 w 617960"/>
                  <a:gd name="connsiteY151" fmla="*/ 481048 h 510411"/>
                  <a:gd name="connsiteX152" fmla="*/ 254753 w 617960"/>
                  <a:gd name="connsiteY152" fmla="*/ 482887 h 510411"/>
                  <a:gd name="connsiteX153" fmla="*/ 250417 w 617960"/>
                  <a:gd name="connsiteY153" fmla="*/ 487497 h 510411"/>
                  <a:gd name="connsiteX154" fmla="*/ 252420 w 617960"/>
                  <a:gd name="connsiteY154" fmla="*/ 490790 h 510411"/>
                  <a:gd name="connsiteX155" fmla="*/ 250636 w 617960"/>
                  <a:gd name="connsiteY155" fmla="*/ 495373 h 510411"/>
                  <a:gd name="connsiteX156" fmla="*/ 252887 w 617960"/>
                  <a:gd name="connsiteY156" fmla="*/ 498447 h 510411"/>
                  <a:gd name="connsiteX157" fmla="*/ 252283 w 617960"/>
                  <a:gd name="connsiteY157" fmla="*/ 502316 h 510411"/>
                  <a:gd name="connsiteX158" fmla="*/ 250307 w 617960"/>
                  <a:gd name="connsiteY158" fmla="*/ 502838 h 510411"/>
                  <a:gd name="connsiteX159" fmla="*/ 248770 w 617960"/>
                  <a:gd name="connsiteY159" fmla="*/ 506323 h 510411"/>
                  <a:gd name="connsiteX160" fmla="*/ 244846 w 617960"/>
                  <a:gd name="connsiteY160" fmla="*/ 507778 h 510411"/>
                  <a:gd name="connsiteX161" fmla="*/ 243638 w 617960"/>
                  <a:gd name="connsiteY161" fmla="*/ 510412 h 510411"/>
                  <a:gd name="connsiteX162" fmla="*/ 238754 w 617960"/>
                  <a:gd name="connsiteY162" fmla="*/ 510412 h 510411"/>
                  <a:gd name="connsiteX163" fmla="*/ 237052 w 617960"/>
                  <a:gd name="connsiteY163" fmla="*/ 501274 h 510411"/>
                  <a:gd name="connsiteX164" fmla="*/ 232497 w 617960"/>
                  <a:gd name="connsiteY164" fmla="*/ 495566 h 510411"/>
                  <a:gd name="connsiteX165" fmla="*/ 231701 w 617960"/>
                  <a:gd name="connsiteY165" fmla="*/ 491806 h 510411"/>
                  <a:gd name="connsiteX166" fmla="*/ 230027 w 617960"/>
                  <a:gd name="connsiteY166" fmla="*/ 490434 h 510411"/>
                  <a:gd name="connsiteX167" fmla="*/ 227172 w 617960"/>
                  <a:gd name="connsiteY167" fmla="*/ 488046 h 510411"/>
                  <a:gd name="connsiteX168" fmla="*/ 225389 w 617960"/>
                  <a:gd name="connsiteY168" fmla="*/ 481021 h 510411"/>
                  <a:gd name="connsiteX169" fmla="*/ 224428 w 617960"/>
                  <a:gd name="connsiteY169" fmla="*/ 477810 h 510411"/>
                  <a:gd name="connsiteX170" fmla="*/ 204834 w 617960"/>
                  <a:gd name="connsiteY170" fmla="*/ 459258 h 510411"/>
                  <a:gd name="connsiteX171" fmla="*/ 198824 w 617960"/>
                  <a:gd name="connsiteY171" fmla="*/ 445345 h 510411"/>
                  <a:gd name="connsiteX172" fmla="*/ 193665 w 617960"/>
                  <a:gd name="connsiteY172" fmla="*/ 440323 h 510411"/>
                  <a:gd name="connsiteX173" fmla="*/ 191140 w 617960"/>
                  <a:gd name="connsiteY173" fmla="*/ 428275 h 510411"/>
                  <a:gd name="connsiteX174" fmla="*/ 188094 w 617960"/>
                  <a:gd name="connsiteY174" fmla="*/ 421661 h 510411"/>
                  <a:gd name="connsiteX175" fmla="*/ 182825 w 617960"/>
                  <a:gd name="connsiteY175" fmla="*/ 412605 h 510411"/>
                  <a:gd name="connsiteX176" fmla="*/ 179532 w 617960"/>
                  <a:gd name="connsiteY176" fmla="*/ 406952 h 510411"/>
                  <a:gd name="connsiteX177" fmla="*/ 176760 w 617960"/>
                  <a:gd name="connsiteY177" fmla="*/ 404400 h 510411"/>
                  <a:gd name="connsiteX178" fmla="*/ 169982 w 617960"/>
                  <a:gd name="connsiteY178" fmla="*/ 398170 h 510411"/>
                  <a:gd name="connsiteX179" fmla="*/ 149591 w 617960"/>
                  <a:gd name="connsiteY179" fmla="*/ 386507 h 510411"/>
                  <a:gd name="connsiteX180" fmla="*/ 147588 w 617960"/>
                  <a:gd name="connsiteY180" fmla="*/ 383598 h 510411"/>
                  <a:gd name="connsiteX181" fmla="*/ 132659 w 617960"/>
                  <a:gd name="connsiteY181" fmla="*/ 360189 h 510411"/>
                  <a:gd name="connsiteX182" fmla="*/ 132385 w 617960"/>
                  <a:gd name="connsiteY182" fmla="*/ 351709 h 510411"/>
                  <a:gd name="connsiteX183" fmla="*/ 130217 w 617960"/>
                  <a:gd name="connsiteY183" fmla="*/ 345891 h 510411"/>
                  <a:gd name="connsiteX184" fmla="*/ 127060 w 617960"/>
                  <a:gd name="connsiteY184" fmla="*/ 337439 h 510411"/>
                  <a:gd name="connsiteX185" fmla="*/ 130107 w 617960"/>
                  <a:gd name="connsiteY185" fmla="*/ 325858 h 510411"/>
                  <a:gd name="connsiteX186" fmla="*/ 129641 w 617960"/>
                  <a:gd name="connsiteY186" fmla="*/ 317927 h 510411"/>
                  <a:gd name="connsiteX187" fmla="*/ 111830 w 617960"/>
                  <a:gd name="connsiteY187" fmla="*/ 280138 h 510411"/>
                  <a:gd name="connsiteX188" fmla="*/ 92345 w 617960"/>
                  <a:gd name="connsiteY188" fmla="*/ 265127 h 510411"/>
                  <a:gd name="connsiteX189" fmla="*/ 82603 w 617960"/>
                  <a:gd name="connsiteY189" fmla="*/ 260324 h 510411"/>
                  <a:gd name="connsiteX190" fmla="*/ 75522 w 617960"/>
                  <a:gd name="connsiteY190" fmla="*/ 247069 h 510411"/>
                  <a:gd name="connsiteX191" fmla="*/ 76813 w 617960"/>
                  <a:gd name="connsiteY191" fmla="*/ 240648 h 510411"/>
                  <a:gd name="connsiteX192" fmla="*/ 75193 w 617960"/>
                  <a:gd name="connsiteY192" fmla="*/ 233210 h 510411"/>
                  <a:gd name="connsiteX193" fmla="*/ 71488 w 617960"/>
                  <a:gd name="connsiteY193" fmla="*/ 228628 h 510411"/>
                  <a:gd name="connsiteX194" fmla="*/ 67016 w 617960"/>
                  <a:gd name="connsiteY194" fmla="*/ 226514 h 510411"/>
                  <a:gd name="connsiteX195" fmla="*/ 68470 w 617960"/>
                  <a:gd name="connsiteY195" fmla="*/ 222453 h 510411"/>
                  <a:gd name="connsiteX196" fmla="*/ 61170 w 617960"/>
                  <a:gd name="connsiteY196" fmla="*/ 214330 h 510411"/>
                  <a:gd name="connsiteX197" fmla="*/ 59386 w 617960"/>
                  <a:gd name="connsiteY197" fmla="*/ 206975 h 510411"/>
                  <a:gd name="connsiteX198" fmla="*/ 54227 w 617960"/>
                  <a:gd name="connsiteY198" fmla="*/ 201871 h 510411"/>
                  <a:gd name="connsiteX199" fmla="*/ 45418 w 617960"/>
                  <a:gd name="connsiteY199" fmla="*/ 185295 h 510411"/>
                  <a:gd name="connsiteX200" fmla="*/ 16740 w 617960"/>
                  <a:gd name="connsiteY200" fmla="*/ 141633 h 510411"/>
                  <a:gd name="connsiteX201" fmla="*/ 10648 w 617960"/>
                  <a:gd name="connsiteY201" fmla="*/ 137983 h 510411"/>
                  <a:gd name="connsiteX202" fmla="*/ 0 w 617960"/>
                  <a:gd name="connsiteY202" fmla="*/ 137462 h 510411"/>
                  <a:gd name="connsiteX203" fmla="*/ 4281 w 617960"/>
                  <a:gd name="connsiteY203" fmla="*/ 123329 h 510411"/>
                  <a:gd name="connsiteX204" fmla="*/ 9138 w 617960"/>
                  <a:gd name="connsiteY204" fmla="*/ 95721 h 510411"/>
                  <a:gd name="connsiteX205" fmla="*/ 40478 w 617960"/>
                  <a:gd name="connsiteY205" fmla="*/ 101265 h 510411"/>
                  <a:gd name="connsiteX206" fmla="*/ 45885 w 617960"/>
                  <a:gd name="connsiteY206" fmla="*/ 98136 h 510411"/>
                  <a:gd name="connsiteX207" fmla="*/ 54392 w 617960"/>
                  <a:gd name="connsiteY207" fmla="*/ 90809 h 510411"/>
                  <a:gd name="connsiteX208" fmla="*/ 62048 w 617960"/>
                  <a:gd name="connsiteY208" fmla="*/ 78844 h 510411"/>
                  <a:gd name="connsiteX209" fmla="*/ 83234 w 617960"/>
                  <a:gd name="connsiteY209" fmla="*/ 73877 h 510411"/>
                  <a:gd name="connsiteX210" fmla="*/ 89107 w 617960"/>
                  <a:gd name="connsiteY210" fmla="*/ 62762 h 510411"/>
                  <a:gd name="connsiteX211" fmla="*/ 97752 w 617960"/>
                  <a:gd name="connsiteY211" fmla="*/ 57164 h 510411"/>
                  <a:gd name="connsiteX212" fmla="*/ 83838 w 617960"/>
                  <a:gd name="connsiteY212" fmla="*/ 39655 h 510411"/>
                  <a:gd name="connsiteX213" fmla="*/ 70089 w 617960"/>
                  <a:gd name="connsiteY213" fmla="*/ 22668 h 510411"/>
                  <a:gd name="connsiteX214" fmla="*/ 126677 w 617960"/>
                  <a:gd name="connsiteY214" fmla="*/ 5681 h 510411"/>
                  <a:gd name="connsiteX215" fmla="*/ 133949 w 617960"/>
                  <a:gd name="connsiteY215" fmla="*/ 0 h 510411"/>
                  <a:gd name="connsiteX216" fmla="*/ 169817 w 617960"/>
                  <a:gd name="connsiteY216" fmla="*/ 7437 h 510411"/>
                  <a:gd name="connsiteX217" fmla="*/ 223221 w 617960"/>
                  <a:gd name="connsiteY217" fmla="*/ 39683 h 510411"/>
                  <a:gd name="connsiteX218" fmla="*/ 229999 w 617960"/>
                  <a:gd name="connsiteY218" fmla="*/ 45418 h 510411"/>
                  <a:gd name="connsiteX219" fmla="*/ 277613 w 617960"/>
                  <a:gd name="connsiteY219" fmla="*/ 85348 h 510411"/>
                  <a:gd name="connsiteX220" fmla="*/ 292816 w 617960"/>
                  <a:gd name="connsiteY220" fmla="*/ 97972 h 510411"/>
                  <a:gd name="connsiteX221" fmla="*/ 296027 w 617960"/>
                  <a:gd name="connsiteY221" fmla="*/ 100661 h 51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617960" h="510411">
                    <a:moveTo>
                      <a:pt x="296027" y="100469"/>
                    </a:moveTo>
                    <a:lnTo>
                      <a:pt x="323745" y="103268"/>
                    </a:lnTo>
                    <a:lnTo>
                      <a:pt x="344711" y="105354"/>
                    </a:lnTo>
                    <a:lnTo>
                      <a:pt x="350172" y="104174"/>
                    </a:lnTo>
                    <a:lnTo>
                      <a:pt x="368971" y="106643"/>
                    </a:lnTo>
                    <a:lnTo>
                      <a:pt x="377560" y="108565"/>
                    </a:lnTo>
                    <a:lnTo>
                      <a:pt x="384476" y="123301"/>
                    </a:lnTo>
                    <a:lnTo>
                      <a:pt x="405470" y="123301"/>
                    </a:lnTo>
                    <a:lnTo>
                      <a:pt x="410985" y="133977"/>
                    </a:lnTo>
                    <a:lnTo>
                      <a:pt x="411590" y="138175"/>
                    </a:lnTo>
                    <a:lnTo>
                      <a:pt x="417846" y="146106"/>
                    </a:lnTo>
                    <a:lnTo>
                      <a:pt x="416447" y="149866"/>
                    </a:lnTo>
                    <a:lnTo>
                      <a:pt x="418862" y="153681"/>
                    </a:lnTo>
                    <a:lnTo>
                      <a:pt x="429812" y="157440"/>
                    </a:lnTo>
                    <a:lnTo>
                      <a:pt x="429509" y="162188"/>
                    </a:lnTo>
                    <a:lnTo>
                      <a:pt x="432473" y="166908"/>
                    </a:lnTo>
                    <a:lnTo>
                      <a:pt x="435273" y="169433"/>
                    </a:lnTo>
                    <a:lnTo>
                      <a:pt x="438785" y="169131"/>
                    </a:lnTo>
                    <a:lnTo>
                      <a:pt x="442820" y="175498"/>
                    </a:lnTo>
                    <a:lnTo>
                      <a:pt x="453549" y="182908"/>
                    </a:lnTo>
                    <a:lnTo>
                      <a:pt x="451876" y="186475"/>
                    </a:lnTo>
                    <a:lnTo>
                      <a:pt x="457803" y="195284"/>
                    </a:lnTo>
                    <a:lnTo>
                      <a:pt x="458270" y="198962"/>
                    </a:lnTo>
                    <a:lnTo>
                      <a:pt x="455965" y="204450"/>
                    </a:lnTo>
                    <a:lnTo>
                      <a:pt x="452754" y="201651"/>
                    </a:lnTo>
                    <a:lnTo>
                      <a:pt x="451738" y="205658"/>
                    </a:lnTo>
                    <a:lnTo>
                      <a:pt x="454812" y="208594"/>
                    </a:lnTo>
                    <a:lnTo>
                      <a:pt x="459285" y="220779"/>
                    </a:lnTo>
                    <a:lnTo>
                      <a:pt x="466146" y="227283"/>
                    </a:lnTo>
                    <a:lnTo>
                      <a:pt x="468342" y="236147"/>
                    </a:lnTo>
                    <a:lnTo>
                      <a:pt x="475504" y="248140"/>
                    </a:lnTo>
                    <a:lnTo>
                      <a:pt x="480471" y="255192"/>
                    </a:lnTo>
                    <a:lnTo>
                      <a:pt x="484039" y="256564"/>
                    </a:lnTo>
                    <a:lnTo>
                      <a:pt x="489911" y="255686"/>
                    </a:lnTo>
                    <a:lnTo>
                      <a:pt x="490076" y="255823"/>
                    </a:lnTo>
                    <a:lnTo>
                      <a:pt x="490323" y="255823"/>
                    </a:lnTo>
                    <a:cubicBezTo>
                      <a:pt x="490323" y="255823"/>
                      <a:pt x="491421" y="254945"/>
                      <a:pt x="491421" y="254945"/>
                    </a:cubicBezTo>
                    <a:lnTo>
                      <a:pt x="491503" y="254561"/>
                    </a:lnTo>
                    <a:lnTo>
                      <a:pt x="491393" y="254342"/>
                    </a:lnTo>
                    <a:lnTo>
                      <a:pt x="491641" y="253957"/>
                    </a:lnTo>
                    <a:lnTo>
                      <a:pt x="491915" y="253711"/>
                    </a:lnTo>
                    <a:lnTo>
                      <a:pt x="492409" y="253546"/>
                    </a:lnTo>
                    <a:lnTo>
                      <a:pt x="492958" y="252915"/>
                    </a:lnTo>
                    <a:lnTo>
                      <a:pt x="493068" y="252475"/>
                    </a:lnTo>
                    <a:lnTo>
                      <a:pt x="492930" y="252174"/>
                    </a:lnTo>
                    <a:lnTo>
                      <a:pt x="492985" y="252036"/>
                    </a:lnTo>
                    <a:lnTo>
                      <a:pt x="493233" y="252036"/>
                    </a:lnTo>
                    <a:cubicBezTo>
                      <a:pt x="493233" y="252036"/>
                      <a:pt x="493369" y="252338"/>
                      <a:pt x="493369" y="252338"/>
                    </a:cubicBezTo>
                    <a:lnTo>
                      <a:pt x="493699" y="252338"/>
                    </a:lnTo>
                    <a:lnTo>
                      <a:pt x="493864" y="252448"/>
                    </a:lnTo>
                    <a:lnTo>
                      <a:pt x="493974" y="252091"/>
                    </a:lnTo>
                    <a:lnTo>
                      <a:pt x="494248" y="252091"/>
                    </a:lnTo>
                    <a:lnTo>
                      <a:pt x="494577" y="252585"/>
                    </a:lnTo>
                    <a:lnTo>
                      <a:pt x="494577" y="252942"/>
                    </a:lnTo>
                    <a:lnTo>
                      <a:pt x="494495" y="253244"/>
                    </a:lnTo>
                    <a:lnTo>
                      <a:pt x="494577" y="253408"/>
                    </a:lnTo>
                    <a:lnTo>
                      <a:pt x="494632" y="253491"/>
                    </a:lnTo>
                    <a:lnTo>
                      <a:pt x="494686" y="253656"/>
                    </a:lnTo>
                    <a:lnTo>
                      <a:pt x="494686" y="253848"/>
                    </a:lnTo>
                    <a:cubicBezTo>
                      <a:pt x="494686" y="253848"/>
                      <a:pt x="494686" y="254012"/>
                      <a:pt x="494686" y="254012"/>
                    </a:cubicBezTo>
                    <a:lnTo>
                      <a:pt x="494605" y="254177"/>
                    </a:lnTo>
                    <a:lnTo>
                      <a:pt x="494358" y="254561"/>
                    </a:lnTo>
                    <a:lnTo>
                      <a:pt x="494358" y="255000"/>
                    </a:lnTo>
                    <a:cubicBezTo>
                      <a:pt x="494358" y="255000"/>
                      <a:pt x="494083" y="255083"/>
                      <a:pt x="494083" y="255083"/>
                    </a:cubicBezTo>
                    <a:lnTo>
                      <a:pt x="494028" y="254918"/>
                    </a:lnTo>
                    <a:lnTo>
                      <a:pt x="493891" y="254918"/>
                    </a:lnTo>
                    <a:cubicBezTo>
                      <a:pt x="493891" y="254918"/>
                      <a:pt x="493726" y="254973"/>
                      <a:pt x="493726" y="254973"/>
                    </a:cubicBezTo>
                    <a:lnTo>
                      <a:pt x="493644" y="255028"/>
                    </a:lnTo>
                    <a:lnTo>
                      <a:pt x="493479" y="255302"/>
                    </a:lnTo>
                    <a:lnTo>
                      <a:pt x="493397" y="255576"/>
                    </a:lnTo>
                    <a:lnTo>
                      <a:pt x="493479" y="255906"/>
                    </a:lnTo>
                    <a:lnTo>
                      <a:pt x="493288" y="256290"/>
                    </a:lnTo>
                    <a:lnTo>
                      <a:pt x="492985" y="256427"/>
                    </a:lnTo>
                    <a:lnTo>
                      <a:pt x="492821" y="256784"/>
                    </a:lnTo>
                    <a:lnTo>
                      <a:pt x="492766" y="256866"/>
                    </a:lnTo>
                    <a:lnTo>
                      <a:pt x="492601" y="256921"/>
                    </a:lnTo>
                    <a:lnTo>
                      <a:pt x="492409" y="257113"/>
                    </a:lnTo>
                    <a:lnTo>
                      <a:pt x="492327" y="257388"/>
                    </a:lnTo>
                    <a:lnTo>
                      <a:pt x="492162" y="257305"/>
                    </a:lnTo>
                    <a:lnTo>
                      <a:pt x="492052" y="257305"/>
                    </a:lnTo>
                    <a:lnTo>
                      <a:pt x="491833" y="257415"/>
                    </a:lnTo>
                    <a:lnTo>
                      <a:pt x="491668" y="257662"/>
                    </a:lnTo>
                    <a:lnTo>
                      <a:pt x="491174" y="257991"/>
                    </a:lnTo>
                    <a:lnTo>
                      <a:pt x="490762" y="258431"/>
                    </a:lnTo>
                    <a:lnTo>
                      <a:pt x="490652" y="258623"/>
                    </a:lnTo>
                    <a:lnTo>
                      <a:pt x="490543" y="258979"/>
                    </a:lnTo>
                    <a:lnTo>
                      <a:pt x="490323" y="259885"/>
                    </a:lnTo>
                    <a:lnTo>
                      <a:pt x="490323" y="259995"/>
                    </a:lnTo>
                    <a:cubicBezTo>
                      <a:pt x="490323" y="259995"/>
                      <a:pt x="490323" y="260187"/>
                      <a:pt x="490323" y="260187"/>
                    </a:cubicBezTo>
                    <a:lnTo>
                      <a:pt x="490241" y="260324"/>
                    </a:lnTo>
                    <a:lnTo>
                      <a:pt x="490159" y="260955"/>
                    </a:lnTo>
                    <a:lnTo>
                      <a:pt x="490076" y="261120"/>
                    </a:lnTo>
                    <a:lnTo>
                      <a:pt x="489966" y="261120"/>
                    </a:lnTo>
                    <a:cubicBezTo>
                      <a:pt x="489966" y="261120"/>
                      <a:pt x="489911" y="260873"/>
                      <a:pt x="489911" y="260873"/>
                    </a:cubicBezTo>
                    <a:lnTo>
                      <a:pt x="489802" y="260873"/>
                    </a:lnTo>
                    <a:cubicBezTo>
                      <a:pt x="489802" y="260873"/>
                      <a:pt x="489720" y="261010"/>
                      <a:pt x="489720" y="261010"/>
                    </a:cubicBezTo>
                    <a:lnTo>
                      <a:pt x="489720" y="261175"/>
                    </a:lnTo>
                    <a:cubicBezTo>
                      <a:pt x="489720" y="261175"/>
                      <a:pt x="489720" y="262575"/>
                      <a:pt x="489720" y="262575"/>
                    </a:cubicBezTo>
                    <a:lnTo>
                      <a:pt x="489884" y="262959"/>
                    </a:lnTo>
                    <a:lnTo>
                      <a:pt x="490076" y="263041"/>
                    </a:lnTo>
                    <a:lnTo>
                      <a:pt x="490461" y="262959"/>
                    </a:lnTo>
                    <a:lnTo>
                      <a:pt x="491696" y="263096"/>
                    </a:lnTo>
                    <a:lnTo>
                      <a:pt x="492162" y="262684"/>
                    </a:lnTo>
                    <a:lnTo>
                      <a:pt x="492464" y="262190"/>
                    </a:lnTo>
                    <a:lnTo>
                      <a:pt x="492821" y="261971"/>
                    </a:lnTo>
                    <a:lnTo>
                      <a:pt x="493233" y="261861"/>
                    </a:lnTo>
                    <a:lnTo>
                      <a:pt x="493726" y="262053"/>
                    </a:lnTo>
                    <a:lnTo>
                      <a:pt x="494275" y="261943"/>
                    </a:lnTo>
                    <a:lnTo>
                      <a:pt x="494577" y="262218"/>
                    </a:lnTo>
                    <a:lnTo>
                      <a:pt x="495071" y="262218"/>
                    </a:lnTo>
                    <a:cubicBezTo>
                      <a:pt x="495071" y="262218"/>
                      <a:pt x="495291" y="262437"/>
                      <a:pt x="495291" y="262437"/>
                    </a:cubicBezTo>
                    <a:lnTo>
                      <a:pt x="495620" y="262437"/>
                    </a:lnTo>
                    <a:cubicBezTo>
                      <a:pt x="495620" y="262437"/>
                      <a:pt x="495785" y="262712"/>
                      <a:pt x="495785" y="262712"/>
                    </a:cubicBezTo>
                    <a:lnTo>
                      <a:pt x="497129" y="264441"/>
                    </a:lnTo>
                    <a:lnTo>
                      <a:pt x="497349" y="264495"/>
                    </a:lnTo>
                    <a:lnTo>
                      <a:pt x="497953" y="264495"/>
                    </a:lnTo>
                    <a:cubicBezTo>
                      <a:pt x="497953" y="264495"/>
                      <a:pt x="498419" y="264331"/>
                      <a:pt x="498419" y="264331"/>
                    </a:cubicBezTo>
                    <a:lnTo>
                      <a:pt x="500175" y="270423"/>
                    </a:lnTo>
                    <a:lnTo>
                      <a:pt x="527536" y="305331"/>
                    </a:lnTo>
                    <a:lnTo>
                      <a:pt x="599052" y="315622"/>
                    </a:lnTo>
                    <a:lnTo>
                      <a:pt x="604843" y="313563"/>
                    </a:lnTo>
                    <a:lnTo>
                      <a:pt x="617961" y="336588"/>
                    </a:lnTo>
                    <a:lnTo>
                      <a:pt x="615079" y="345919"/>
                    </a:lnTo>
                    <a:lnTo>
                      <a:pt x="603471" y="383626"/>
                    </a:lnTo>
                    <a:lnTo>
                      <a:pt x="599080" y="397759"/>
                    </a:lnTo>
                    <a:lnTo>
                      <a:pt x="581050" y="404400"/>
                    </a:lnTo>
                    <a:lnTo>
                      <a:pt x="558711" y="412605"/>
                    </a:lnTo>
                    <a:lnTo>
                      <a:pt x="534013" y="421661"/>
                    </a:lnTo>
                    <a:lnTo>
                      <a:pt x="510439" y="430279"/>
                    </a:lnTo>
                    <a:lnTo>
                      <a:pt x="474626" y="436837"/>
                    </a:lnTo>
                    <a:lnTo>
                      <a:pt x="424625" y="442765"/>
                    </a:lnTo>
                    <a:lnTo>
                      <a:pt x="398142" y="456486"/>
                    </a:lnTo>
                    <a:lnTo>
                      <a:pt x="387275" y="470400"/>
                    </a:lnTo>
                    <a:lnTo>
                      <a:pt x="381649" y="477618"/>
                    </a:lnTo>
                    <a:lnTo>
                      <a:pt x="377011" y="488266"/>
                    </a:lnTo>
                    <a:lnTo>
                      <a:pt x="369053" y="493534"/>
                    </a:lnTo>
                    <a:lnTo>
                      <a:pt x="363290" y="493151"/>
                    </a:lnTo>
                    <a:lnTo>
                      <a:pt x="355496" y="483737"/>
                    </a:lnTo>
                    <a:lnTo>
                      <a:pt x="339140" y="484588"/>
                    </a:lnTo>
                    <a:lnTo>
                      <a:pt x="323827" y="482365"/>
                    </a:lnTo>
                    <a:lnTo>
                      <a:pt x="314798" y="481021"/>
                    </a:lnTo>
                    <a:lnTo>
                      <a:pt x="306867" y="478825"/>
                    </a:lnTo>
                    <a:lnTo>
                      <a:pt x="292844" y="478935"/>
                    </a:lnTo>
                    <a:lnTo>
                      <a:pt x="286669" y="478990"/>
                    </a:lnTo>
                    <a:lnTo>
                      <a:pt x="277640" y="480526"/>
                    </a:lnTo>
                    <a:lnTo>
                      <a:pt x="274649" y="481048"/>
                    </a:lnTo>
                    <a:lnTo>
                      <a:pt x="273825" y="481899"/>
                    </a:lnTo>
                    <a:lnTo>
                      <a:pt x="270340" y="481679"/>
                    </a:lnTo>
                    <a:lnTo>
                      <a:pt x="269270" y="481048"/>
                    </a:lnTo>
                    <a:lnTo>
                      <a:pt x="257524" y="475230"/>
                    </a:lnTo>
                    <a:lnTo>
                      <a:pt x="253353" y="477261"/>
                    </a:lnTo>
                    <a:lnTo>
                      <a:pt x="253490" y="481048"/>
                    </a:lnTo>
                    <a:lnTo>
                      <a:pt x="254753" y="482887"/>
                    </a:lnTo>
                    <a:lnTo>
                      <a:pt x="250417" y="487497"/>
                    </a:lnTo>
                    <a:lnTo>
                      <a:pt x="252420" y="490790"/>
                    </a:lnTo>
                    <a:lnTo>
                      <a:pt x="250636" y="495373"/>
                    </a:lnTo>
                    <a:lnTo>
                      <a:pt x="252887" y="498447"/>
                    </a:lnTo>
                    <a:lnTo>
                      <a:pt x="252283" y="502316"/>
                    </a:lnTo>
                    <a:lnTo>
                      <a:pt x="250307" y="502838"/>
                    </a:lnTo>
                    <a:lnTo>
                      <a:pt x="248770" y="506323"/>
                    </a:lnTo>
                    <a:lnTo>
                      <a:pt x="244846" y="507778"/>
                    </a:lnTo>
                    <a:lnTo>
                      <a:pt x="243638" y="510412"/>
                    </a:lnTo>
                    <a:lnTo>
                      <a:pt x="238754" y="510412"/>
                    </a:lnTo>
                    <a:cubicBezTo>
                      <a:pt x="238754" y="510412"/>
                      <a:pt x="237052" y="501274"/>
                      <a:pt x="237052" y="501274"/>
                    </a:cubicBezTo>
                    <a:lnTo>
                      <a:pt x="232497" y="495566"/>
                    </a:lnTo>
                    <a:lnTo>
                      <a:pt x="231701" y="491806"/>
                    </a:lnTo>
                    <a:lnTo>
                      <a:pt x="230027" y="490434"/>
                    </a:lnTo>
                    <a:lnTo>
                      <a:pt x="227172" y="488046"/>
                    </a:lnTo>
                    <a:lnTo>
                      <a:pt x="225389" y="481021"/>
                    </a:lnTo>
                    <a:lnTo>
                      <a:pt x="224428" y="477810"/>
                    </a:lnTo>
                    <a:lnTo>
                      <a:pt x="204834" y="459258"/>
                    </a:lnTo>
                    <a:lnTo>
                      <a:pt x="198824" y="445345"/>
                    </a:lnTo>
                    <a:lnTo>
                      <a:pt x="193665" y="440323"/>
                    </a:lnTo>
                    <a:lnTo>
                      <a:pt x="191140" y="428275"/>
                    </a:lnTo>
                    <a:lnTo>
                      <a:pt x="188094" y="421661"/>
                    </a:lnTo>
                    <a:lnTo>
                      <a:pt x="182825" y="412605"/>
                    </a:lnTo>
                    <a:lnTo>
                      <a:pt x="179532" y="406952"/>
                    </a:lnTo>
                    <a:lnTo>
                      <a:pt x="176760" y="404400"/>
                    </a:lnTo>
                    <a:lnTo>
                      <a:pt x="169982" y="398170"/>
                    </a:lnTo>
                    <a:lnTo>
                      <a:pt x="149591" y="386507"/>
                    </a:lnTo>
                    <a:lnTo>
                      <a:pt x="147588" y="383598"/>
                    </a:lnTo>
                    <a:lnTo>
                      <a:pt x="132659" y="360189"/>
                    </a:lnTo>
                    <a:lnTo>
                      <a:pt x="132385" y="351709"/>
                    </a:lnTo>
                    <a:lnTo>
                      <a:pt x="130217" y="345891"/>
                    </a:lnTo>
                    <a:lnTo>
                      <a:pt x="127060" y="337439"/>
                    </a:lnTo>
                    <a:lnTo>
                      <a:pt x="130107" y="325858"/>
                    </a:lnTo>
                    <a:lnTo>
                      <a:pt x="129641" y="317927"/>
                    </a:lnTo>
                    <a:lnTo>
                      <a:pt x="111830" y="280138"/>
                    </a:lnTo>
                    <a:lnTo>
                      <a:pt x="92345" y="265127"/>
                    </a:lnTo>
                    <a:lnTo>
                      <a:pt x="82603" y="260324"/>
                    </a:lnTo>
                    <a:lnTo>
                      <a:pt x="75522" y="247069"/>
                    </a:lnTo>
                    <a:lnTo>
                      <a:pt x="76813" y="240648"/>
                    </a:lnTo>
                    <a:lnTo>
                      <a:pt x="75193" y="233210"/>
                    </a:lnTo>
                    <a:lnTo>
                      <a:pt x="71488" y="228628"/>
                    </a:lnTo>
                    <a:lnTo>
                      <a:pt x="67016" y="226514"/>
                    </a:lnTo>
                    <a:lnTo>
                      <a:pt x="68470" y="222453"/>
                    </a:lnTo>
                    <a:lnTo>
                      <a:pt x="61170" y="214330"/>
                    </a:lnTo>
                    <a:lnTo>
                      <a:pt x="59386" y="206975"/>
                    </a:lnTo>
                    <a:lnTo>
                      <a:pt x="54227" y="201871"/>
                    </a:lnTo>
                    <a:lnTo>
                      <a:pt x="45418" y="185295"/>
                    </a:lnTo>
                    <a:lnTo>
                      <a:pt x="16740" y="141633"/>
                    </a:lnTo>
                    <a:lnTo>
                      <a:pt x="10648" y="137983"/>
                    </a:lnTo>
                    <a:lnTo>
                      <a:pt x="0" y="137462"/>
                    </a:lnTo>
                    <a:lnTo>
                      <a:pt x="4281" y="123329"/>
                    </a:lnTo>
                    <a:lnTo>
                      <a:pt x="9138" y="95721"/>
                    </a:lnTo>
                    <a:lnTo>
                      <a:pt x="40478" y="101265"/>
                    </a:lnTo>
                    <a:lnTo>
                      <a:pt x="45885" y="98136"/>
                    </a:lnTo>
                    <a:lnTo>
                      <a:pt x="54392" y="90809"/>
                    </a:lnTo>
                    <a:lnTo>
                      <a:pt x="62048" y="78844"/>
                    </a:lnTo>
                    <a:lnTo>
                      <a:pt x="83234" y="73877"/>
                    </a:lnTo>
                    <a:lnTo>
                      <a:pt x="89107" y="62762"/>
                    </a:lnTo>
                    <a:lnTo>
                      <a:pt x="97752" y="57164"/>
                    </a:lnTo>
                    <a:lnTo>
                      <a:pt x="83838" y="39655"/>
                    </a:lnTo>
                    <a:lnTo>
                      <a:pt x="70089" y="22668"/>
                    </a:lnTo>
                    <a:lnTo>
                      <a:pt x="126677" y="5681"/>
                    </a:lnTo>
                    <a:lnTo>
                      <a:pt x="133949" y="0"/>
                    </a:lnTo>
                    <a:lnTo>
                      <a:pt x="169817" y="7437"/>
                    </a:lnTo>
                    <a:lnTo>
                      <a:pt x="223221" y="39683"/>
                    </a:lnTo>
                    <a:lnTo>
                      <a:pt x="229999" y="45418"/>
                    </a:lnTo>
                    <a:lnTo>
                      <a:pt x="277613" y="85348"/>
                    </a:lnTo>
                    <a:lnTo>
                      <a:pt x="292816" y="97972"/>
                    </a:lnTo>
                    <a:lnTo>
                      <a:pt x="296027" y="1006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5" name="Freeform: Shape 4474">
                <a:extLst>
                  <a:ext uri="{FF2B5EF4-FFF2-40B4-BE49-F238E27FC236}">
                    <a16:creationId xmlns:a16="http://schemas.microsoft.com/office/drawing/2014/main" id="{12701F67-9DAB-8D14-9786-F1DCE54AF189}"/>
                  </a:ext>
                </a:extLst>
              </p:cNvPr>
              <p:cNvSpPr/>
              <p:nvPr/>
            </p:nvSpPr>
            <p:spPr>
              <a:xfrm>
                <a:off x="1493553" y="3791730"/>
                <a:ext cx="1225" cy="1065"/>
              </a:xfrm>
              <a:custGeom>
                <a:avLst/>
                <a:gdLst>
                  <a:gd name="connsiteX0" fmla="*/ 3595 w 11745"/>
                  <a:gd name="connsiteY0" fmla="*/ 5516 h 10209"/>
                  <a:gd name="connsiteX1" fmla="*/ 5681 w 11745"/>
                  <a:gd name="connsiteY1" fmla="*/ 5873 h 10209"/>
                  <a:gd name="connsiteX2" fmla="*/ 6230 w 11745"/>
                  <a:gd name="connsiteY2" fmla="*/ 4418 h 10209"/>
                  <a:gd name="connsiteX3" fmla="*/ 8919 w 11745"/>
                  <a:gd name="connsiteY3" fmla="*/ 3678 h 10209"/>
                  <a:gd name="connsiteX4" fmla="*/ 9879 w 11745"/>
                  <a:gd name="connsiteY4" fmla="*/ 5544 h 10209"/>
                  <a:gd name="connsiteX5" fmla="*/ 11746 w 11745"/>
                  <a:gd name="connsiteY5" fmla="*/ 6779 h 10209"/>
                  <a:gd name="connsiteX6" fmla="*/ 11746 w 11745"/>
                  <a:gd name="connsiteY6" fmla="*/ 10209 h 10209"/>
                  <a:gd name="connsiteX7" fmla="*/ 9468 w 11745"/>
                  <a:gd name="connsiteY7" fmla="*/ 9001 h 10209"/>
                  <a:gd name="connsiteX8" fmla="*/ 9358 w 11745"/>
                  <a:gd name="connsiteY8" fmla="*/ 7465 h 10209"/>
                  <a:gd name="connsiteX9" fmla="*/ 5049 w 11745"/>
                  <a:gd name="connsiteY9" fmla="*/ 7767 h 10209"/>
                  <a:gd name="connsiteX10" fmla="*/ 0 w 11745"/>
                  <a:gd name="connsiteY10" fmla="*/ 3815 h 10209"/>
                  <a:gd name="connsiteX11" fmla="*/ 2003 w 11745"/>
                  <a:gd name="connsiteY11" fmla="*/ 659 h 10209"/>
                  <a:gd name="connsiteX12" fmla="*/ 3869 w 11745"/>
                  <a:gd name="connsiteY12" fmla="*/ 0 h 10209"/>
                  <a:gd name="connsiteX13" fmla="*/ 5159 w 11745"/>
                  <a:gd name="connsiteY13" fmla="*/ 2058 h 10209"/>
                  <a:gd name="connsiteX14" fmla="*/ 3568 w 11745"/>
                  <a:gd name="connsiteY14" fmla="*/ 5516 h 1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45" h="10209">
                    <a:moveTo>
                      <a:pt x="3595" y="5516"/>
                    </a:moveTo>
                    <a:lnTo>
                      <a:pt x="5681" y="5873"/>
                    </a:lnTo>
                    <a:lnTo>
                      <a:pt x="6230" y="4418"/>
                    </a:lnTo>
                    <a:lnTo>
                      <a:pt x="8919" y="3678"/>
                    </a:lnTo>
                    <a:lnTo>
                      <a:pt x="9879" y="5544"/>
                    </a:lnTo>
                    <a:lnTo>
                      <a:pt x="11746" y="6779"/>
                    </a:lnTo>
                    <a:lnTo>
                      <a:pt x="11746" y="10209"/>
                    </a:lnTo>
                    <a:lnTo>
                      <a:pt x="9468" y="9001"/>
                    </a:lnTo>
                    <a:lnTo>
                      <a:pt x="9358" y="7465"/>
                    </a:lnTo>
                    <a:lnTo>
                      <a:pt x="5049" y="7767"/>
                    </a:lnTo>
                    <a:lnTo>
                      <a:pt x="0" y="3815"/>
                    </a:lnTo>
                    <a:lnTo>
                      <a:pt x="2003" y="659"/>
                    </a:lnTo>
                    <a:lnTo>
                      <a:pt x="3869" y="0"/>
                    </a:lnTo>
                    <a:lnTo>
                      <a:pt x="5159" y="2058"/>
                    </a:lnTo>
                    <a:lnTo>
                      <a:pt x="3568" y="55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6" name="Freeform: Shape 4475">
                <a:extLst>
                  <a:ext uri="{FF2B5EF4-FFF2-40B4-BE49-F238E27FC236}">
                    <a16:creationId xmlns:a16="http://schemas.microsoft.com/office/drawing/2014/main" id="{05718D40-C8BB-A811-2DE5-C65665E04380}"/>
                  </a:ext>
                </a:extLst>
              </p:cNvPr>
              <p:cNvSpPr/>
              <p:nvPr/>
            </p:nvSpPr>
            <p:spPr>
              <a:xfrm>
                <a:off x="1493063" y="3791552"/>
                <a:ext cx="426" cy="369"/>
              </a:xfrm>
              <a:custGeom>
                <a:avLst/>
                <a:gdLst>
                  <a:gd name="connsiteX0" fmla="*/ 4089 w 4088"/>
                  <a:gd name="connsiteY0" fmla="*/ 2141 h 3540"/>
                  <a:gd name="connsiteX1" fmla="*/ 1619 w 4088"/>
                  <a:gd name="connsiteY1" fmla="*/ 3540 h 3540"/>
                  <a:gd name="connsiteX2" fmla="*/ 0 w 4088"/>
                  <a:gd name="connsiteY2" fmla="*/ 2003 h 3540"/>
                  <a:gd name="connsiteX3" fmla="*/ 1646 w 4088"/>
                  <a:gd name="connsiteY3" fmla="*/ 0 h 3540"/>
                  <a:gd name="connsiteX4" fmla="*/ 4089 w 4088"/>
                  <a:gd name="connsiteY4" fmla="*/ 2141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3540">
                    <a:moveTo>
                      <a:pt x="4089" y="2141"/>
                    </a:moveTo>
                    <a:lnTo>
                      <a:pt x="1619" y="3540"/>
                    </a:lnTo>
                    <a:lnTo>
                      <a:pt x="0" y="2003"/>
                    </a:lnTo>
                    <a:lnTo>
                      <a:pt x="1646" y="0"/>
                    </a:lnTo>
                    <a:lnTo>
                      <a:pt x="4089"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7" name="Freeform: Shape 4476">
                <a:extLst>
                  <a:ext uri="{FF2B5EF4-FFF2-40B4-BE49-F238E27FC236}">
                    <a16:creationId xmlns:a16="http://schemas.microsoft.com/office/drawing/2014/main" id="{AE60496A-17A5-55DF-D720-77C9E167E3D2}"/>
                  </a:ext>
                </a:extLst>
              </p:cNvPr>
              <p:cNvSpPr/>
              <p:nvPr/>
            </p:nvSpPr>
            <p:spPr>
              <a:xfrm>
                <a:off x="1477194" y="3762823"/>
                <a:ext cx="341" cy="461"/>
              </a:xfrm>
              <a:custGeom>
                <a:avLst/>
                <a:gdLst>
                  <a:gd name="connsiteX0" fmla="*/ 3266 w 3266"/>
                  <a:gd name="connsiteY0" fmla="*/ 906 h 4418"/>
                  <a:gd name="connsiteX1" fmla="*/ 2663 w 3266"/>
                  <a:gd name="connsiteY1" fmla="*/ 4418 h 4418"/>
                  <a:gd name="connsiteX2" fmla="*/ 0 w 3266"/>
                  <a:gd name="connsiteY2" fmla="*/ 1729 h 4418"/>
                  <a:gd name="connsiteX3" fmla="*/ 1290 w 3266"/>
                  <a:gd name="connsiteY3" fmla="*/ 0 h 4418"/>
                  <a:gd name="connsiteX4" fmla="*/ 3266 w 3266"/>
                  <a:gd name="connsiteY4" fmla="*/ 878 h 4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 h="4418">
                    <a:moveTo>
                      <a:pt x="3266" y="906"/>
                    </a:moveTo>
                    <a:lnTo>
                      <a:pt x="2663" y="4418"/>
                    </a:lnTo>
                    <a:lnTo>
                      <a:pt x="0" y="1729"/>
                    </a:lnTo>
                    <a:lnTo>
                      <a:pt x="1290" y="0"/>
                    </a:lnTo>
                    <a:lnTo>
                      <a:pt x="3266" y="8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8" name="Freeform: Shape 4477">
                <a:extLst>
                  <a:ext uri="{FF2B5EF4-FFF2-40B4-BE49-F238E27FC236}">
                    <a16:creationId xmlns:a16="http://schemas.microsoft.com/office/drawing/2014/main" id="{EAD18D3B-0006-71AC-7128-B05CD5108E48}"/>
                  </a:ext>
                </a:extLst>
              </p:cNvPr>
              <p:cNvSpPr/>
              <p:nvPr/>
            </p:nvSpPr>
            <p:spPr>
              <a:xfrm>
                <a:off x="1471710" y="3755009"/>
                <a:ext cx="346" cy="392"/>
              </a:xfrm>
              <a:custGeom>
                <a:avLst/>
                <a:gdLst>
                  <a:gd name="connsiteX0" fmla="*/ 3266 w 3320"/>
                  <a:gd name="connsiteY0" fmla="*/ 2634 h 3759"/>
                  <a:gd name="connsiteX1" fmla="*/ 878 w 3320"/>
                  <a:gd name="connsiteY1" fmla="*/ 3760 h 3759"/>
                  <a:gd name="connsiteX2" fmla="*/ 0 w 3320"/>
                  <a:gd name="connsiteY2" fmla="*/ 2140 h 3759"/>
                  <a:gd name="connsiteX3" fmla="*/ 1207 w 3320"/>
                  <a:gd name="connsiteY3" fmla="*/ 0 h 3759"/>
                  <a:gd name="connsiteX4" fmla="*/ 3320 w 3320"/>
                  <a:gd name="connsiteY4" fmla="*/ 1070 h 3759"/>
                  <a:gd name="connsiteX5" fmla="*/ 3266 w 3320"/>
                  <a:gd name="connsiteY5" fmla="*/ 2634 h 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0" h="3759">
                    <a:moveTo>
                      <a:pt x="3266" y="2634"/>
                    </a:moveTo>
                    <a:lnTo>
                      <a:pt x="878" y="3760"/>
                    </a:lnTo>
                    <a:lnTo>
                      <a:pt x="0" y="2140"/>
                    </a:lnTo>
                    <a:lnTo>
                      <a:pt x="1207" y="0"/>
                    </a:lnTo>
                    <a:lnTo>
                      <a:pt x="3320" y="1070"/>
                    </a:lnTo>
                    <a:lnTo>
                      <a:pt x="3266"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9" name="Freeform: Shape 4478">
                <a:extLst>
                  <a:ext uri="{FF2B5EF4-FFF2-40B4-BE49-F238E27FC236}">
                    <a16:creationId xmlns:a16="http://schemas.microsoft.com/office/drawing/2014/main" id="{C9F65890-3D64-95B6-68AC-23FD79DFD802}"/>
                  </a:ext>
                </a:extLst>
              </p:cNvPr>
              <p:cNvSpPr/>
              <p:nvPr/>
            </p:nvSpPr>
            <p:spPr>
              <a:xfrm>
                <a:off x="1471203" y="3754954"/>
                <a:ext cx="389" cy="341"/>
              </a:xfrm>
              <a:custGeom>
                <a:avLst/>
                <a:gdLst>
                  <a:gd name="connsiteX0" fmla="*/ 3733 w 3732"/>
                  <a:gd name="connsiteY0" fmla="*/ 3074 h 3265"/>
                  <a:gd name="connsiteX1" fmla="*/ 1317 w 3732"/>
                  <a:gd name="connsiteY1" fmla="*/ 3266 h 3265"/>
                  <a:gd name="connsiteX2" fmla="*/ 0 w 3732"/>
                  <a:gd name="connsiteY2" fmla="*/ 1372 h 3265"/>
                  <a:gd name="connsiteX3" fmla="*/ 3430 w 3732"/>
                  <a:gd name="connsiteY3" fmla="*/ 0 h 3265"/>
                  <a:gd name="connsiteX4" fmla="*/ 3733 w 3732"/>
                  <a:gd name="connsiteY4" fmla="*/ 3074 h 3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3265">
                    <a:moveTo>
                      <a:pt x="3733" y="3074"/>
                    </a:moveTo>
                    <a:lnTo>
                      <a:pt x="1317" y="3266"/>
                    </a:lnTo>
                    <a:lnTo>
                      <a:pt x="0" y="1372"/>
                    </a:lnTo>
                    <a:lnTo>
                      <a:pt x="3430" y="0"/>
                    </a:lnTo>
                    <a:lnTo>
                      <a:pt x="3733"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4" name="Freeform: Shape 4503">
                <a:extLst>
                  <a:ext uri="{FF2B5EF4-FFF2-40B4-BE49-F238E27FC236}">
                    <a16:creationId xmlns:a16="http://schemas.microsoft.com/office/drawing/2014/main" id="{A989EFAE-B7A4-9E23-6A54-4990E9749549}"/>
                  </a:ext>
                </a:extLst>
              </p:cNvPr>
              <p:cNvSpPr/>
              <p:nvPr/>
            </p:nvSpPr>
            <p:spPr>
              <a:xfrm>
                <a:off x="1432367" y="3774782"/>
                <a:ext cx="51347" cy="43069"/>
              </a:xfrm>
              <a:custGeom>
                <a:avLst/>
                <a:gdLst>
                  <a:gd name="connsiteX0" fmla="*/ 333816 w 492299"/>
                  <a:gd name="connsiteY0" fmla="*/ 4418 h 412934"/>
                  <a:gd name="connsiteX1" fmla="*/ 346248 w 492299"/>
                  <a:gd name="connsiteY1" fmla="*/ 12980 h 412934"/>
                  <a:gd name="connsiteX2" fmla="*/ 357582 w 492299"/>
                  <a:gd name="connsiteY2" fmla="*/ 11389 h 412934"/>
                  <a:gd name="connsiteX3" fmla="*/ 360409 w 492299"/>
                  <a:gd name="connsiteY3" fmla="*/ 4391 h 412934"/>
                  <a:gd name="connsiteX4" fmla="*/ 422759 w 492299"/>
                  <a:gd name="connsiteY4" fmla="*/ 4308 h 412934"/>
                  <a:gd name="connsiteX5" fmla="*/ 442655 w 492299"/>
                  <a:gd name="connsiteY5" fmla="*/ 4308 h 412934"/>
                  <a:gd name="connsiteX6" fmla="*/ 443588 w 492299"/>
                  <a:gd name="connsiteY6" fmla="*/ 14298 h 412934"/>
                  <a:gd name="connsiteX7" fmla="*/ 443890 w 492299"/>
                  <a:gd name="connsiteY7" fmla="*/ 17152 h 412934"/>
                  <a:gd name="connsiteX8" fmla="*/ 450010 w 492299"/>
                  <a:gd name="connsiteY8" fmla="*/ 28211 h 412934"/>
                  <a:gd name="connsiteX9" fmla="*/ 449351 w 492299"/>
                  <a:gd name="connsiteY9" fmla="*/ 34633 h 412934"/>
                  <a:gd name="connsiteX10" fmla="*/ 453029 w 492299"/>
                  <a:gd name="connsiteY10" fmla="*/ 50742 h 412934"/>
                  <a:gd name="connsiteX11" fmla="*/ 452919 w 492299"/>
                  <a:gd name="connsiteY11" fmla="*/ 52032 h 412934"/>
                  <a:gd name="connsiteX12" fmla="*/ 451766 w 492299"/>
                  <a:gd name="connsiteY12" fmla="*/ 66165 h 412934"/>
                  <a:gd name="connsiteX13" fmla="*/ 452782 w 492299"/>
                  <a:gd name="connsiteY13" fmla="*/ 72806 h 412934"/>
                  <a:gd name="connsiteX14" fmla="*/ 454044 w 492299"/>
                  <a:gd name="connsiteY14" fmla="*/ 81012 h 412934"/>
                  <a:gd name="connsiteX15" fmla="*/ 455444 w 492299"/>
                  <a:gd name="connsiteY15" fmla="*/ 90068 h 412934"/>
                  <a:gd name="connsiteX16" fmla="*/ 455992 w 492299"/>
                  <a:gd name="connsiteY16" fmla="*/ 93498 h 412934"/>
                  <a:gd name="connsiteX17" fmla="*/ 459780 w 492299"/>
                  <a:gd name="connsiteY17" fmla="*/ 105024 h 412934"/>
                  <a:gd name="connsiteX18" fmla="*/ 462002 w 492299"/>
                  <a:gd name="connsiteY18" fmla="*/ 107110 h 412934"/>
                  <a:gd name="connsiteX19" fmla="*/ 466942 w 492299"/>
                  <a:gd name="connsiteY19" fmla="*/ 107549 h 412934"/>
                  <a:gd name="connsiteX20" fmla="*/ 473693 w 492299"/>
                  <a:gd name="connsiteY20" fmla="*/ 112406 h 412934"/>
                  <a:gd name="connsiteX21" fmla="*/ 478194 w 492299"/>
                  <a:gd name="connsiteY21" fmla="*/ 116688 h 412934"/>
                  <a:gd name="connsiteX22" fmla="*/ 479181 w 492299"/>
                  <a:gd name="connsiteY22" fmla="*/ 121188 h 412934"/>
                  <a:gd name="connsiteX23" fmla="*/ 486152 w 492299"/>
                  <a:gd name="connsiteY23" fmla="*/ 122643 h 412934"/>
                  <a:gd name="connsiteX24" fmla="*/ 492299 w 492299"/>
                  <a:gd name="connsiteY24" fmla="*/ 129558 h 412934"/>
                  <a:gd name="connsiteX25" fmla="*/ 482749 w 492299"/>
                  <a:gd name="connsiteY25" fmla="*/ 143143 h 412934"/>
                  <a:gd name="connsiteX26" fmla="*/ 469796 w 492299"/>
                  <a:gd name="connsiteY26" fmla="*/ 145859 h 412934"/>
                  <a:gd name="connsiteX27" fmla="*/ 467930 w 492299"/>
                  <a:gd name="connsiteY27" fmla="*/ 148631 h 412934"/>
                  <a:gd name="connsiteX28" fmla="*/ 463210 w 492299"/>
                  <a:gd name="connsiteY28" fmla="*/ 149427 h 412934"/>
                  <a:gd name="connsiteX29" fmla="*/ 457804 w 492299"/>
                  <a:gd name="connsiteY29" fmla="*/ 158428 h 412934"/>
                  <a:gd name="connsiteX30" fmla="*/ 446772 w 492299"/>
                  <a:gd name="connsiteY30" fmla="*/ 158648 h 412934"/>
                  <a:gd name="connsiteX31" fmla="*/ 445839 w 492299"/>
                  <a:gd name="connsiteY31" fmla="*/ 167045 h 412934"/>
                  <a:gd name="connsiteX32" fmla="*/ 443287 w 492299"/>
                  <a:gd name="connsiteY32" fmla="*/ 172205 h 412934"/>
                  <a:gd name="connsiteX33" fmla="*/ 444466 w 492299"/>
                  <a:gd name="connsiteY33" fmla="*/ 182413 h 412934"/>
                  <a:gd name="connsiteX34" fmla="*/ 440926 w 492299"/>
                  <a:gd name="connsiteY34" fmla="*/ 191634 h 412934"/>
                  <a:gd name="connsiteX35" fmla="*/ 433297 w 492299"/>
                  <a:gd name="connsiteY35" fmla="*/ 213177 h 412934"/>
                  <a:gd name="connsiteX36" fmla="*/ 429976 w 492299"/>
                  <a:gd name="connsiteY36" fmla="*/ 217431 h 412934"/>
                  <a:gd name="connsiteX37" fmla="*/ 431321 w 492299"/>
                  <a:gd name="connsiteY37" fmla="*/ 232387 h 412934"/>
                  <a:gd name="connsiteX38" fmla="*/ 432172 w 492299"/>
                  <a:gd name="connsiteY38" fmla="*/ 241663 h 412934"/>
                  <a:gd name="connsiteX39" fmla="*/ 433214 w 492299"/>
                  <a:gd name="connsiteY39" fmla="*/ 244325 h 412934"/>
                  <a:gd name="connsiteX40" fmla="*/ 430498 w 492299"/>
                  <a:gd name="connsiteY40" fmla="*/ 258595 h 412934"/>
                  <a:gd name="connsiteX41" fmla="*/ 423829 w 492299"/>
                  <a:gd name="connsiteY41" fmla="*/ 275335 h 412934"/>
                  <a:gd name="connsiteX42" fmla="*/ 421332 w 492299"/>
                  <a:gd name="connsiteY42" fmla="*/ 289825 h 412934"/>
                  <a:gd name="connsiteX43" fmla="*/ 419823 w 492299"/>
                  <a:gd name="connsiteY43" fmla="*/ 291472 h 412934"/>
                  <a:gd name="connsiteX44" fmla="*/ 414855 w 492299"/>
                  <a:gd name="connsiteY44" fmla="*/ 291417 h 412934"/>
                  <a:gd name="connsiteX45" fmla="*/ 406622 w 492299"/>
                  <a:gd name="connsiteY45" fmla="*/ 294545 h 412934"/>
                  <a:gd name="connsiteX46" fmla="*/ 395645 w 492299"/>
                  <a:gd name="connsiteY46" fmla="*/ 313426 h 412934"/>
                  <a:gd name="connsiteX47" fmla="*/ 390129 w 492299"/>
                  <a:gd name="connsiteY47" fmla="*/ 319299 h 412934"/>
                  <a:gd name="connsiteX48" fmla="*/ 384943 w 492299"/>
                  <a:gd name="connsiteY48" fmla="*/ 347264 h 412934"/>
                  <a:gd name="connsiteX49" fmla="*/ 381210 w 492299"/>
                  <a:gd name="connsiteY49" fmla="*/ 349761 h 412934"/>
                  <a:gd name="connsiteX50" fmla="*/ 374734 w 492299"/>
                  <a:gd name="connsiteY50" fmla="*/ 346632 h 412934"/>
                  <a:gd name="connsiteX51" fmla="*/ 369794 w 492299"/>
                  <a:gd name="connsiteY51" fmla="*/ 351984 h 412934"/>
                  <a:gd name="connsiteX52" fmla="*/ 367489 w 492299"/>
                  <a:gd name="connsiteY52" fmla="*/ 354509 h 412934"/>
                  <a:gd name="connsiteX53" fmla="*/ 367818 w 492299"/>
                  <a:gd name="connsiteY53" fmla="*/ 367269 h 412934"/>
                  <a:gd name="connsiteX54" fmla="*/ 364772 w 492299"/>
                  <a:gd name="connsiteY54" fmla="*/ 371990 h 412934"/>
                  <a:gd name="connsiteX55" fmla="*/ 361204 w 492299"/>
                  <a:gd name="connsiteY55" fmla="*/ 387385 h 412934"/>
                  <a:gd name="connsiteX56" fmla="*/ 356073 w 492299"/>
                  <a:gd name="connsiteY56" fmla="*/ 387165 h 412934"/>
                  <a:gd name="connsiteX57" fmla="*/ 355002 w 492299"/>
                  <a:gd name="connsiteY57" fmla="*/ 385436 h 412934"/>
                  <a:gd name="connsiteX58" fmla="*/ 357527 w 492299"/>
                  <a:gd name="connsiteY58" fmla="*/ 374734 h 412934"/>
                  <a:gd name="connsiteX59" fmla="*/ 356841 w 492299"/>
                  <a:gd name="connsiteY59" fmla="*/ 368559 h 412934"/>
                  <a:gd name="connsiteX60" fmla="*/ 355606 w 492299"/>
                  <a:gd name="connsiteY60" fmla="*/ 367242 h 412934"/>
                  <a:gd name="connsiteX61" fmla="*/ 343010 w 492299"/>
                  <a:gd name="connsiteY61" fmla="*/ 353411 h 412934"/>
                  <a:gd name="connsiteX62" fmla="*/ 339991 w 492299"/>
                  <a:gd name="connsiteY62" fmla="*/ 351956 h 412934"/>
                  <a:gd name="connsiteX63" fmla="*/ 335600 w 492299"/>
                  <a:gd name="connsiteY63" fmla="*/ 349816 h 412934"/>
                  <a:gd name="connsiteX64" fmla="*/ 332691 w 492299"/>
                  <a:gd name="connsiteY64" fmla="*/ 324266 h 412934"/>
                  <a:gd name="connsiteX65" fmla="*/ 336204 w 492299"/>
                  <a:gd name="connsiteY65" fmla="*/ 306483 h 412934"/>
                  <a:gd name="connsiteX66" fmla="*/ 323443 w 492299"/>
                  <a:gd name="connsiteY66" fmla="*/ 305632 h 412934"/>
                  <a:gd name="connsiteX67" fmla="*/ 321138 w 492299"/>
                  <a:gd name="connsiteY67" fmla="*/ 306373 h 412934"/>
                  <a:gd name="connsiteX68" fmla="*/ 320177 w 492299"/>
                  <a:gd name="connsiteY68" fmla="*/ 313728 h 412934"/>
                  <a:gd name="connsiteX69" fmla="*/ 304452 w 492299"/>
                  <a:gd name="connsiteY69" fmla="*/ 314908 h 412934"/>
                  <a:gd name="connsiteX70" fmla="*/ 309968 w 492299"/>
                  <a:gd name="connsiteY70" fmla="*/ 322153 h 412934"/>
                  <a:gd name="connsiteX71" fmla="*/ 312081 w 492299"/>
                  <a:gd name="connsiteY71" fmla="*/ 341308 h 412934"/>
                  <a:gd name="connsiteX72" fmla="*/ 300363 w 492299"/>
                  <a:gd name="connsiteY72" fmla="*/ 351956 h 412934"/>
                  <a:gd name="connsiteX73" fmla="*/ 298662 w 492299"/>
                  <a:gd name="connsiteY73" fmla="*/ 353493 h 412934"/>
                  <a:gd name="connsiteX74" fmla="*/ 292789 w 492299"/>
                  <a:gd name="connsiteY74" fmla="*/ 363208 h 412934"/>
                  <a:gd name="connsiteX75" fmla="*/ 289249 w 492299"/>
                  <a:gd name="connsiteY75" fmla="*/ 367242 h 412934"/>
                  <a:gd name="connsiteX76" fmla="*/ 279177 w 492299"/>
                  <a:gd name="connsiteY76" fmla="*/ 378631 h 412934"/>
                  <a:gd name="connsiteX77" fmla="*/ 264221 w 492299"/>
                  <a:gd name="connsiteY77" fmla="*/ 380195 h 412934"/>
                  <a:gd name="connsiteX78" fmla="*/ 244188 w 492299"/>
                  <a:gd name="connsiteY78" fmla="*/ 367269 h 412934"/>
                  <a:gd name="connsiteX79" fmla="*/ 239248 w 492299"/>
                  <a:gd name="connsiteY79" fmla="*/ 364086 h 412934"/>
                  <a:gd name="connsiteX80" fmla="*/ 232881 w 492299"/>
                  <a:gd name="connsiteY80" fmla="*/ 367269 h 412934"/>
                  <a:gd name="connsiteX81" fmla="*/ 227201 w 492299"/>
                  <a:gd name="connsiteY81" fmla="*/ 370096 h 412934"/>
                  <a:gd name="connsiteX82" fmla="*/ 225883 w 492299"/>
                  <a:gd name="connsiteY82" fmla="*/ 379564 h 412934"/>
                  <a:gd name="connsiteX83" fmla="*/ 213918 w 492299"/>
                  <a:gd name="connsiteY83" fmla="*/ 380030 h 412934"/>
                  <a:gd name="connsiteX84" fmla="*/ 210104 w 492299"/>
                  <a:gd name="connsiteY84" fmla="*/ 383159 h 412934"/>
                  <a:gd name="connsiteX85" fmla="*/ 210104 w 492299"/>
                  <a:gd name="connsiteY85" fmla="*/ 380387 h 412934"/>
                  <a:gd name="connsiteX86" fmla="*/ 210049 w 492299"/>
                  <a:gd name="connsiteY86" fmla="*/ 368916 h 412934"/>
                  <a:gd name="connsiteX87" fmla="*/ 175937 w 492299"/>
                  <a:gd name="connsiteY87" fmla="*/ 368148 h 412934"/>
                  <a:gd name="connsiteX88" fmla="*/ 175937 w 492299"/>
                  <a:gd name="connsiteY88" fmla="*/ 378411 h 412934"/>
                  <a:gd name="connsiteX89" fmla="*/ 178653 w 492299"/>
                  <a:gd name="connsiteY89" fmla="*/ 384092 h 412934"/>
                  <a:gd name="connsiteX90" fmla="*/ 156480 w 492299"/>
                  <a:gd name="connsiteY90" fmla="*/ 383708 h 412934"/>
                  <a:gd name="connsiteX91" fmla="*/ 144048 w 492299"/>
                  <a:gd name="connsiteY91" fmla="*/ 387413 h 412934"/>
                  <a:gd name="connsiteX92" fmla="*/ 138532 w 492299"/>
                  <a:gd name="connsiteY92" fmla="*/ 386727 h 412934"/>
                  <a:gd name="connsiteX93" fmla="*/ 131919 w 492299"/>
                  <a:gd name="connsiteY93" fmla="*/ 383159 h 412934"/>
                  <a:gd name="connsiteX94" fmla="*/ 128488 w 492299"/>
                  <a:gd name="connsiteY94" fmla="*/ 375063 h 412934"/>
                  <a:gd name="connsiteX95" fmla="*/ 121325 w 492299"/>
                  <a:gd name="connsiteY95" fmla="*/ 367269 h 412934"/>
                  <a:gd name="connsiteX96" fmla="*/ 117511 w 492299"/>
                  <a:gd name="connsiteY96" fmla="*/ 360217 h 412934"/>
                  <a:gd name="connsiteX97" fmla="*/ 106259 w 492299"/>
                  <a:gd name="connsiteY97" fmla="*/ 361671 h 412934"/>
                  <a:gd name="connsiteX98" fmla="*/ 99069 w 492299"/>
                  <a:gd name="connsiteY98" fmla="*/ 362577 h 412934"/>
                  <a:gd name="connsiteX99" fmla="*/ 96023 w 492299"/>
                  <a:gd name="connsiteY99" fmla="*/ 364086 h 412934"/>
                  <a:gd name="connsiteX100" fmla="*/ 94541 w 492299"/>
                  <a:gd name="connsiteY100" fmla="*/ 367269 h 412934"/>
                  <a:gd name="connsiteX101" fmla="*/ 92373 w 492299"/>
                  <a:gd name="connsiteY101" fmla="*/ 373005 h 412934"/>
                  <a:gd name="connsiteX102" fmla="*/ 85567 w 492299"/>
                  <a:gd name="connsiteY102" fmla="*/ 379756 h 412934"/>
                  <a:gd name="connsiteX103" fmla="*/ 85402 w 492299"/>
                  <a:gd name="connsiteY103" fmla="*/ 387111 h 412934"/>
                  <a:gd name="connsiteX104" fmla="*/ 81231 w 492299"/>
                  <a:gd name="connsiteY104" fmla="*/ 391062 h 412934"/>
                  <a:gd name="connsiteX105" fmla="*/ 80298 w 492299"/>
                  <a:gd name="connsiteY105" fmla="*/ 402588 h 412934"/>
                  <a:gd name="connsiteX106" fmla="*/ 80078 w 492299"/>
                  <a:gd name="connsiteY106" fmla="*/ 405360 h 412934"/>
                  <a:gd name="connsiteX107" fmla="*/ 70254 w 492299"/>
                  <a:gd name="connsiteY107" fmla="*/ 412934 h 412934"/>
                  <a:gd name="connsiteX108" fmla="*/ 68607 w 492299"/>
                  <a:gd name="connsiteY108" fmla="*/ 411453 h 412934"/>
                  <a:gd name="connsiteX109" fmla="*/ 50852 w 492299"/>
                  <a:gd name="connsiteY109" fmla="*/ 410135 h 412934"/>
                  <a:gd name="connsiteX110" fmla="*/ 49617 w 492299"/>
                  <a:gd name="connsiteY110" fmla="*/ 408159 h 412934"/>
                  <a:gd name="connsiteX111" fmla="*/ 50550 w 492299"/>
                  <a:gd name="connsiteY111" fmla="*/ 403769 h 412934"/>
                  <a:gd name="connsiteX112" fmla="*/ 48135 w 492299"/>
                  <a:gd name="connsiteY112" fmla="*/ 402616 h 412934"/>
                  <a:gd name="connsiteX113" fmla="*/ 48025 w 492299"/>
                  <a:gd name="connsiteY113" fmla="*/ 400064 h 412934"/>
                  <a:gd name="connsiteX114" fmla="*/ 48739 w 492299"/>
                  <a:gd name="connsiteY114" fmla="*/ 397511 h 412934"/>
                  <a:gd name="connsiteX115" fmla="*/ 52965 w 492299"/>
                  <a:gd name="connsiteY115" fmla="*/ 394383 h 412934"/>
                  <a:gd name="connsiteX116" fmla="*/ 53075 w 492299"/>
                  <a:gd name="connsiteY116" fmla="*/ 391117 h 412934"/>
                  <a:gd name="connsiteX117" fmla="*/ 54666 w 492299"/>
                  <a:gd name="connsiteY117" fmla="*/ 381293 h 412934"/>
                  <a:gd name="connsiteX118" fmla="*/ 53514 w 492299"/>
                  <a:gd name="connsiteY118" fmla="*/ 374679 h 412934"/>
                  <a:gd name="connsiteX119" fmla="*/ 48959 w 492299"/>
                  <a:gd name="connsiteY119" fmla="*/ 367297 h 412934"/>
                  <a:gd name="connsiteX120" fmla="*/ 43991 w 492299"/>
                  <a:gd name="connsiteY120" fmla="*/ 359256 h 412934"/>
                  <a:gd name="connsiteX121" fmla="*/ 41960 w 492299"/>
                  <a:gd name="connsiteY121" fmla="*/ 357472 h 412934"/>
                  <a:gd name="connsiteX122" fmla="*/ 35731 w 492299"/>
                  <a:gd name="connsiteY122" fmla="*/ 352011 h 412934"/>
                  <a:gd name="connsiteX123" fmla="*/ 34551 w 492299"/>
                  <a:gd name="connsiteY123" fmla="*/ 350968 h 412934"/>
                  <a:gd name="connsiteX124" fmla="*/ 30626 w 492299"/>
                  <a:gd name="connsiteY124" fmla="*/ 344601 h 412934"/>
                  <a:gd name="connsiteX125" fmla="*/ 32932 w 492299"/>
                  <a:gd name="connsiteY125" fmla="*/ 332636 h 412934"/>
                  <a:gd name="connsiteX126" fmla="*/ 22256 w 492299"/>
                  <a:gd name="connsiteY126" fmla="*/ 323855 h 412934"/>
                  <a:gd name="connsiteX127" fmla="*/ 23079 w 492299"/>
                  <a:gd name="connsiteY127" fmla="*/ 312438 h 412934"/>
                  <a:gd name="connsiteX128" fmla="*/ 18798 w 492299"/>
                  <a:gd name="connsiteY128" fmla="*/ 308953 h 412934"/>
                  <a:gd name="connsiteX129" fmla="*/ 16466 w 492299"/>
                  <a:gd name="connsiteY129" fmla="*/ 299568 h 412934"/>
                  <a:gd name="connsiteX130" fmla="*/ 17207 w 492299"/>
                  <a:gd name="connsiteY130" fmla="*/ 293887 h 412934"/>
                  <a:gd name="connsiteX131" fmla="*/ 10593 w 492299"/>
                  <a:gd name="connsiteY131" fmla="*/ 290649 h 412934"/>
                  <a:gd name="connsiteX132" fmla="*/ 3623 w 492299"/>
                  <a:gd name="connsiteY132" fmla="*/ 293338 h 412934"/>
                  <a:gd name="connsiteX133" fmla="*/ 0 w 492299"/>
                  <a:gd name="connsiteY133" fmla="*/ 288069 h 412934"/>
                  <a:gd name="connsiteX134" fmla="*/ 3540 w 492299"/>
                  <a:gd name="connsiteY134" fmla="*/ 280083 h 412934"/>
                  <a:gd name="connsiteX135" fmla="*/ 10593 w 492299"/>
                  <a:gd name="connsiteY135" fmla="*/ 273963 h 412934"/>
                  <a:gd name="connsiteX136" fmla="*/ 12678 w 492299"/>
                  <a:gd name="connsiteY136" fmla="*/ 272152 h 412934"/>
                  <a:gd name="connsiteX137" fmla="*/ 10593 w 492299"/>
                  <a:gd name="connsiteY137" fmla="*/ 266554 h 412934"/>
                  <a:gd name="connsiteX138" fmla="*/ 7602 w 492299"/>
                  <a:gd name="connsiteY138" fmla="*/ 258595 h 412934"/>
                  <a:gd name="connsiteX139" fmla="*/ 10593 w 492299"/>
                  <a:gd name="connsiteY139" fmla="*/ 254973 h 412934"/>
                  <a:gd name="connsiteX140" fmla="*/ 11279 w 492299"/>
                  <a:gd name="connsiteY140" fmla="*/ 254149 h 412934"/>
                  <a:gd name="connsiteX141" fmla="*/ 20884 w 492299"/>
                  <a:gd name="connsiteY141" fmla="*/ 247838 h 412934"/>
                  <a:gd name="connsiteX142" fmla="*/ 20884 w 492299"/>
                  <a:gd name="connsiteY142" fmla="*/ 245779 h 412934"/>
                  <a:gd name="connsiteX143" fmla="*/ 17920 w 492299"/>
                  <a:gd name="connsiteY143" fmla="*/ 243639 h 412934"/>
                  <a:gd name="connsiteX144" fmla="*/ 16603 w 492299"/>
                  <a:gd name="connsiteY144" fmla="*/ 235351 h 412934"/>
                  <a:gd name="connsiteX145" fmla="*/ 25083 w 492299"/>
                  <a:gd name="connsiteY145" fmla="*/ 231043 h 412934"/>
                  <a:gd name="connsiteX146" fmla="*/ 24918 w 492299"/>
                  <a:gd name="connsiteY146" fmla="*/ 226542 h 412934"/>
                  <a:gd name="connsiteX147" fmla="*/ 33755 w 492299"/>
                  <a:gd name="connsiteY147" fmla="*/ 215043 h 412934"/>
                  <a:gd name="connsiteX148" fmla="*/ 32712 w 492299"/>
                  <a:gd name="connsiteY148" fmla="*/ 204670 h 412934"/>
                  <a:gd name="connsiteX149" fmla="*/ 38365 w 492299"/>
                  <a:gd name="connsiteY149" fmla="*/ 200142 h 412934"/>
                  <a:gd name="connsiteX150" fmla="*/ 41878 w 492299"/>
                  <a:gd name="connsiteY150" fmla="*/ 200004 h 412934"/>
                  <a:gd name="connsiteX151" fmla="*/ 63448 w 492299"/>
                  <a:gd name="connsiteY151" fmla="*/ 199071 h 412934"/>
                  <a:gd name="connsiteX152" fmla="*/ 63613 w 492299"/>
                  <a:gd name="connsiteY152" fmla="*/ 90150 h 412934"/>
                  <a:gd name="connsiteX153" fmla="*/ 63613 w 492299"/>
                  <a:gd name="connsiteY153" fmla="*/ 81094 h 412934"/>
                  <a:gd name="connsiteX154" fmla="*/ 63613 w 492299"/>
                  <a:gd name="connsiteY154" fmla="*/ 72889 h 412934"/>
                  <a:gd name="connsiteX155" fmla="*/ 63613 w 492299"/>
                  <a:gd name="connsiteY155" fmla="*/ 67620 h 412934"/>
                  <a:gd name="connsiteX156" fmla="*/ 93004 w 492299"/>
                  <a:gd name="connsiteY156" fmla="*/ 67620 h 412934"/>
                  <a:gd name="connsiteX157" fmla="*/ 93004 w 492299"/>
                  <a:gd name="connsiteY157" fmla="*/ 4528 h 412934"/>
                  <a:gd name="connsiteX158" fmla="*/ 275006 w 492299"/>
                  <a:gd name="connsiteY158" fmla="*/ 4528 h 412934"/>
                  <a:gd name="connsiteX159" fmla="*/ 281949 w 492299"/>
                  <a:gd name="connsiteY159" fmla="*/ 0 h 412934"/>
                  <a:gd name="connsiteX160" fmla="*/ 284364 w 492299"/>
                  <a:gd name="connsiteY160" fmla="*/ 4418 h 412934"/>
                  <a:gd name="connsiteX161" fmla="*/ 333679 w 492299"/>
                  <a:gd name="connsiteY161" fmla="*/ 4501 h 4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492299" h="412934">
                    <a:moveTo>
                      <a:pt x="333816" y="4418"/>
                    </a:moveTo>
                    <a:lnTo>
                      <a:pt x="346248" y="12980"/>
                    </a:lnTo>
                    <a:lnTo>
                      <a:pt x="357582" y="11389"/>
                    </a:lnTo>
                    <a:lnTo>
                      <a:pt x="360409" y="4391"/>
                    </a:lnTo>
                    <a:lnTo>
                      <a:pt x="422759" y="4308"/>
                    </a:lnTo>
                    <a:lnTo>
                      <a:pt x="442655" y="4308"/>
                    </a:lnTo>
                    <a:cubicBezTo>
                      <a:pt x="442655" y="4308"/>
                      <a:pt x="443588" y="14298"/>
                      <a:pt x="443588" y="14298"/>
                    </a:cubicBezTo>
                    <a:lnTo>
                      <a:pt x="443890" y="17152"/>
                    </a:lnTo>
                    <a:lnTo>
                      <a:pt x="450010" y="28211"/>
                    </a:lnTo>
                    <a:lnTo>
                      <a:pt x="449351" y="34633"/>
                    </a:lnTo>
                    <a:lnTo>
                      <a:pt x="453029" y="50742"/>
                    </a:lnTo>
                    <a:lnTo>
                      <a:pt x="452919" y="52032"/>
                    </a:lnTo>
                    <a:lnTo>
                      <a:pt x="451766" y="66165"/>
                    </a:lnTo>
                    <a:lnTo>
                      <a:pt x="452782" y="72806"/>
                    </a:lnTo>
                    <a:lnTo>
                      <a:pt x="454044" y="81012"/>
                    </a:lnTo>
                    <a:lnTo>
                      <a:pt x="455444" y="90068"/>
                    </a:lnTo>
                    <a:lnTo>
                      <a:pt x="455992" y="93498"/>
                    </a:lnTo>
                    <a:lnTo>
                      <a:pt x="459780" y="105024"/>
                    </a:lnTo>
                    <a:lnTo>
                      <a:pt x="462002" y="107110"/>
                    </a:lnTo>
                    <a:lnTo>
                      <a:pt x="466942" y="107549"/>
                    </a:lnTo>
                    <a:lnTo>
                      <a:pt x="473693" y="112406"/>
                    </a:lnTo>
                    <a:lnTo>
                      <a:pt x="478194" y="116688"/>
                    </a:lnTo>
                    <a:lnTo>
                      <a:pt x="479181" y="121188"/>
                    </a:lnTo>
                    <a:lnTo>
                      <a:pt x="486152" y="122643"/>
                    </a:lnTo>
                    <a:lnTo>
                      <a:pt x="492299" y="129558"/>
                    </a:lnTo>
                    <a:lnTo>
                      <a:pt x="482749" y="143143"/>
                    </a:lnTo>
                    <a:lnTo>
                      <a:pt x="469796" y="145859"/>
                    </a:lnTo>
                    <a:lnTo>
                      <a:pt x="467930" y="148631"/>
                    </a:lnTo>
                    <a:lnTo>
                      <a:pt x="463210" y="149427"/>
                    </a:lnTo>
                    <a:lnTo>
                      <a:pt x="457804" y="158428"/>
                    </a:lnTo>
                    <a:lnTo>
                      <a:pt x="446772" y="158648"/>
                    </a:lnTo>
                    <a:lnTo>
                      <a:pt x="445839" y="167045"/>
                    </a:lnTo>
                    <a:lnTo>
                      <a:pt x="443287" y="172205"/>
                    </a:lnTo>
                    <a:lnTo>
                      <a:pt x="444466" y="182413"/>
                    </a:lnTo>
                    <a:lnTo>
                      <a:pt x="440926" y="191634"/>
                    </a:lnTo>
                    <a:lnTo>
                      <a:pt x="433297" y="213177"/>
                    </a:lnTo>
                    <a:lnTo>
                      <a:pt x="429976" y="217431"/>
                    </a:lnTo>
                    <a:lnTo>
                      <a:pt x="431321" y="232387"/>
                    </a:lnTo>
                    <a:lnTo>
                      <a:pt x="432172" y="241663"/>
                    </a:lnTo>
                    <a:lnTo>
                      <a:pt x="433214" y="244325"/>
                    </a:lnTo>
                    <a:lnTo>
                      <a:pt x="430498" y="258595"/>
                    </a:lnTo>
                    <a:lnTo>
                      <a:pt x="423829" y="275335"/>
                    </a:lnTo>
                    <a:lnTo>
                      <a:pt x="421332" y="289825"/>
                    </a:lnTo>
                    <a:lnTo>
                      <a:pt x="419823" y="291472"/>
                    </a:lnTo>
                    <a:lnTo>
                      <a:pt x="414855" y="291417"/>
                    </a:lnTo>
                    <a:lnTo>
                      <a:pt x="406622" y="294545"/>
                    </a:lnTo>
                    <a:lnTo>
                      <a:pt x="395645" y="313426"/>
                    </a:lnTo>
                    <a:lnTo>
                      <a:pt x="390129" y="319299"/>
                    </a:lnTo>
                    <a:lnTo>
                      <a:pt x="384943" y="347264"/>
                    </a:lnTo>
                    <a:lnTo>
                      <a:pt x="381210" y="349761"/>
                    </a:lnTo>
                    <a:lnTo>
                      <a:pt x="374734" y="346632"/>
                    </a:lnTo>
                    <a:lnTo>
                      <a:pt x="369794" y="351984"/>
                    </a:lnTo>
                    <a:lnTo>
                      <a:pt x="367489" y="354509"/>
                    </a:lnTo>
                    <a:lnTo>
                      <a:pt x="367818" y="367269"/>
                    </a:lnTo>
                    <a:lnTo>
                      <a:pt x="364772" y="371990"/>
                    </a:lnTo>
                    <a:lnTo>
                      <a:pt x="361204" y="387385"/>
                    </a:lnTo>
                    <a:lnTo>
                      <a:pt x="356073" y="387165"/>
                    </a:lnTo>
                    <a:lnTo>
                      <a:pt x="355002" y="385436"/>
                    </a:lnTo>
                    <a:lnTo>
                      <a:pt x="357527" y="374734"/>
                    </a:lnTo>
                    <a:lnTo>
                      <a:pt x="356841" y="368559"/>
                    </a:lnTo>
                    <a:lnTo>
                      <a:pt x="355606" y="367242"/>
                    </a:lnTo>
                    <a:lnTo>
                      <a:pt x="343010" y="353411"/>
                    </a:lnTo>
                    <a:lnTo>
                      <a:pt x="339991" y="351956"/>
                    </a:lnTo>
                    <a:lnTo>
                      <a:pt x="335600" y="349816"/>
                    </a:lnTo>
                    <a:lnTo>
                      <a:pt x="332691" y="324266"/>
                    </a:lnTo>
                    <a:lnTo>
                      <a:pt x="336204" y="306483"/>
                    </a:lnTo>
                    <a:lnTo>
                      <a:pt x="323443" y="305632"/>
                    </a:lnTo>
                    <a:lnTo>
                      <a:pt x="321138" y="306373"/>
                    </a:lnTo>
                    <a:lnTo>
                      <a:pt x="320177" y="313728"/>
                    </a:lnTo>
                    <a:lnTo>
                      <a:pt x="304452" y="314908"/>
                    </a:lnTo>
                    <a:lnTo>
                      <a:pt x="309968" y="322153"/>
                    </a:lnTo>
                    <a:lnTo>
                      <a:pt x="312081" y="341308"/>
                    </a:lnTo>
                    <a:lnTo>
                      <a:pt x="300363" y="351956"/>
                    </a:lnTo>
                    <a:lnTo>
                      <a:pt x="298662" y="353493"/>
                    </a:lnTo>
                    <a:lnTo>
                      <a:pt x="292789" y="363208"/>
                    </a:lnTo>
                    <a:lnTo>
                      <a:pt x="289249" y="367242"/>
                    </a:lnTo>
                    <a:lnTo>
                      <a:pt x="279177" y="378631"/>
                    </a:lnTo>
                    <a:lnTo>
                      <a:pt x="264221" y="380195"/>
                    </a:lnTo>
                    <a:lnTo>
                      <a:pt x="244188" y="367269"/>
                    </a:lnTo>
                    <a:lnTo>
                      <a:pt x="239248" y="364086"/>
                    </a:lnTo>
                    <a:lnTo>
                      <a:pt x="232881" y="367269"/>
                    </a:lnTo>
                    <a:lnTo>
                      <a:pt x="227201" y="370096"/>
                    </a:lnTo>
                    <a:lnTo>
                      <a:pt x="225883" y="379564"/>
                    </a:lnTo>
                    <a:lnTo>
                      <a:pt x="213918" y="380030"/>
                    </a:lnTo>
                    <a:lnTo>
                      <a:pt x="210104" y="383159"/>
                    </a:lnTo>
                    <a:lnTo>
                      <a:pt x="210104" y="380387"/>
                    </a:lnTo>
                    <a:cubicBezTo>
                      <a:pt x="210104" y="380387"/>
                      <a:pt x="210049" y="368916"/>
                      <a:pt x="210049" y="368916"/>
                    </a:cubicBezTo>
                    <a:lnTo>
                      <a:pt x="175937" y="368148"/>
                    </a:lnTo>
                    <a:lnTo>
                      <a:pt x="175937" y="378411"/>
                    </a:lnTo>
                    <a:cubicBezTo>
                      <a:pt x="175937" y="378411"/>
                      <a:pt x="178653" y="384092"/>
                      <a:pt x="178653" y="384092"/>
                    </a:cubicBezTo>
                    <a:lnTo>
                      <a:pt x="156480" y="383708"/>
                    </a:lnTo>
                    <a:lnTo>
                      <a:pt x="144048" y="387413"/>
                    </a:lnTo>
                    <a:lnTo>
                      <a:pt x="138532" y="386727"/>
                    </a:lnTo>
                    <a:lnTo>
                      <a:pt x="131919" y="383159"/>
                    </a:lnTo>
                    <a:lnTo>
                      <a:pt x="128488" y="375063"/>
                    </a:lnTo>
                    <a:lnTo>
                      <a:pt x="121325" y="367269"/>
                    </a:lnTo>
                    <a:lnTo>
                      <a:pt x="117511" y="360217"/>
                    </a:lnTo>
                    <a:lnTo>
                      <a:pt x="106259" y="361671"/>
                    </a:lnTo>
                    <a:lnTo>
                      <a:pt x="99069" y="362577"/>
                    </a:lnTo>
                    <a:lnTo>
                      <a:pt x="96023" y="364086"/>
                    </a:lnTo>
                    <a:lnTo>
                      <a:pt x="94541" y="367269"/>
                    </a:lnTo>
                    <a:lnTo>
                      <a:pt x="92373" y="373005"/>
                    </a:lnTo>
                    <a:lnTo>
                      <a:pt x="85567" y="379756"/>
                    </a:lnTo>
                    <a:lnTo>
                      <a:pt x="85402" y="387111"/>
                    </a:lnTo>
                    <a:lnTo>
                      <a:pt x="81231" y="391062"/>
                    </a:lnTo>
                    <a:lnTo>
                      <a:pt x="80298" y="402588"/>
                    </a:lnTo>
                    <a:lnTo>
                      <a:pt x="80078" y="405360"/>
                    </a:lnTo>
                    <a:lnTo>
                      <a:pt x="70254" y="412934"/>
                    </a:lnTo>
                    <a:lnTo>
                      <a:pt x="68607" y="411453"/>
                    </a:lnTo>
                    <a:lnTo>
                      <a:pt x="50852" y="410135"/>
                    </a:lnTo>
                    <a:lnTo>
                      <a:pt x="49617" y="408159"/>
                    </a:lnTo>
                    <a:lnTo>
                      <a:pt x="50550" y="403769"/>
                    </a:lnTo>
                    <a:lnTo>
                      <a:pt x="48135" y="402616"/>
                    </a:lnTo>
                    <a:lnTo>
                      <a:pt x="48025" y="400064"/>
                    </a:lnTo>
                    <a:lnTo>
                      <a:pt x="48739" y="397511"/>
                    </a:lnTo>
                    <a:lnTo>
                      <a:pt x="52965" y="394383"/>
                    </a:lnTo>
                    <a:lnTo>
                      <a:pt x="53075" y="391117"/>
                    </a:lnTo>
                    <a:lnTo>
                      <a:pt x="54666" y="381293"/>
                    </a:lnTo>
                    <a:lnTo>
                      <a:pt x="53514" y="374679"/>
                    </a:lnTo>
                    <a:lnTo>
                      <a:pt x="48959" y="367297"/>
                    </a:lnTo>
                    <a:lnTo>
                      <a:pt x="43991" y="359256"/>
                    </a:lnTo>
                    <a:lnTo>
                      <a:pt x="41960" y="357472"/>
                    </a:lnTo>
                    <a:lnTo>
                      <a:pt x="35731" y="352011"/>
                    </a:lnTo>
                    <a:lnTo>
                      <a:pt x="34551" y="350968"/>
                    </a:lnTo>
                    <a:lnTo>
                      <a:pt x="30626" y="344601"/>
                    </a:lnTo>
                    <a:lnTo>
                      <a:pt x="32932" y="332636"/>
                    </a:lnTo>
                    <a:lnTo>
                      <a:pt x="22256" y="323855"/>
                    </a:lnTo>
                    <a:lnTo>
                      <a:pt x="23079" y="312438"/>
                    </a:lnTo>
                    <a:lnTo>
                      <a:pt x="18798" y="308953"/>
                    </a:lnTo>
                    <a:lnTo>
                      <a:pt x="16466" y="299568"/>
                    </a:lnTo>
                    <a:lnTo>
                      <a:pt x="17207" y="293887"/>
                    </a:lnTo>
                    <a:lnTo>
                      <a:pt x="10593" y="290649"/>
                    </a:lnTo>
                    <a:lnTo>
                      <a:pt x="3623" y="293338"/>
                    </a:lnTo>
                    <a:lnTo>
                      <a:pt x="0" y="288069"/>
                    </a:lnTo>
                    <a:lnTo>
                      <a:pt x="3540" y="280083"/>
                    </a:lnTo>
                    <a:lnTo>
                      <a:pt x="10593" y="273963"/>
                    </a:lnTo>
                    <a:lnTo>
                      <a:pt x="12678" y="272152"/>
                    </a:lnTo>
                    <a:lnTo>
                      <a:pt x="10593" y="266554"/>
                    </a:lnTo>
                    <a:lnTo>
                      <a:pt x="7602" y="258595"/>
                    </a:lnTo>
                    <a:lnTo>
                      <a:pt x="10593" y="254973"/>
                    </a:lnTo>
                    <a:lnTo>
                      <a:pt x="11279" y="254149"/>
                    </a:lnTo>
                    <a:lnTo>
                      <a:pt x="20884" y="247838"/>
                    </a:lnTo>
                    <a:lnTo>
                      <a:pt x="20884" y="245779"/>
                    </a:lnTo>
                    <a:cubicBezTo>
                      <a:pt x="20884" y="245779"/>
                      <a:pt x="17920" y="243639"/>
                      <a:pt x="17920" y="243639"/>
                    </a:cubicBezTo>
                    <a:lnTo>
                      <a:pt x="16603" y="235351"/>
                    </a:lnTo>
                    <a:lnTo>
                      <a:pt x="25083" y="231043"/>
                    </a:lnTo>
                    <a:lnTo>
                      <a:pt x="24918" y="226542"/>
                    </a:lnTo>
                    <a:lnTo>
                      <a:pt x="33755" y="215043"/>
                    </a:lnTo>
                    <a:lnTo>
                      <a:pt x="32712" y="204670"/>
                    </a:lnTo>
                    <a:lnTo>
                      <a:pt x="38365" y="200142"/>
                    </a:lnTo>
                    <a:lnTo>
                      <a:pt x="41878" y="200004"/>
                    </a:lnTo>
                    <a:lnTo>
                      <a:pt x="63448" y="199071"/>
                    </a:lnTo>
                    <a:lnTo>
                      <a:pt x="63613" y="90150"/>
                    </a:lnTo>
                    <a:lnTo>
                      <a:pt x="63613" y="81094"/>
                    </a:lnTo>
                    <a:cubicBezTo>
                      <a:pt x="63613" y="81094"/>
                      <a:pt x="63613" y="72889"/>
                      <a:pt x="63613" y="72889"/>
                    </a:cubicBezTo>
                    <a:lnTo>
                      <a:pt x="63613" y="67620"/>
                    </a:lnTo>
                    <a:lnTo>
                      <a:pt x="93004" y="67620"/>
                    </a:lnTo>
                    <a:lnTo>
                      <a:pt x="93004" y="4528"/>
                    </a:lnTo>
                    <a:lnTo>
                      <a:pt x="275006" y="4528"/>
                    </a:lnTo>
                    <a:cubicBezTo>
                      <a:pt x="275006" y="4528"/>
                      <a:pt x="281949" y="0"/>
                      <a:pt x="281949" y="0"/>
                    </a:cubicBezTo>
                    <a:lnTo>
                      <a:pt x="284364" y="4418"/>
                    </a:lnTo>
                    <a:lnTo>
                      <a:pt x="333679" y="45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5" name="Freeform: Shape 4504">
                <a:extLst>
                  <a:ext uri="{FF2B5EF4-FFF2-40B4-BE49-F238E27FC236}">
                    <a16:creationId xmlns:a16="http://schemas.microsoft.com/office/drawing/2014/main" id="{23D06359-7EB0-9E3E-0632-88F3FC5926A6}"/>
                  </a:ext>
                </a:extLst>
              </p:cNvPr>
              <p:cNvSpPr/>
              <p:nvPr/>
            </p:nvSpPr>
            <p:spPr>
              <a:xfrm>
                <a:off x="1479373" y="3777859"/>
                <a:ext cx="501" cy="572"/>
              </a:xfrm>
              <a:custGeom>
                <a:avLst/>
                <a:gdLst>
                  <a:gd name="connsiteX0" fmla="*/ 1729 w 4802"/>
                  <a:gd name="connsiteY0" fmla="*/ 27 h 5488"/>
                  <a:gd name="connsiteX1" fmla="*/ 4803 w 4802"/>
                  <a:gd name="connsiteY1" fmla="*/ 4391 h 5488"/>
                  <a:gd name="connsiteX2" fmla="*/ 3760 w 4802"/>
                  <a:gd name="connsiteY2" fmla="*/ 5489 h 5488"/>
                  <a:gd name="connsiteX3" fmla="*/ 2168 w 4802"/>
                  <a:gd name="connsiteY3" fmla="*/ 2744 h 5488"/>
                  <a:gd name="connsiteX4" fmla="*/ 988 w 4802"/>
                  <a:gd name="connsiteY4" fmla="*/ 2991 h 5488"/>
                  <a:gd name="connsiteX5" fmla="*/ 0 w 4802"/>
                  <a:gd name="connsiteY5" fmla="*/ 1235 h 5488"/>
                  <a:gd name="connsiteX6" fmla="*/ 1756 w 4802"/>
                  <a:gd name="connsiteY6" fmla="*/ 0 h 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2" h="5488">
                    <a:moveTo>
                      <a:pt x="1729" y="27"/>
                    </a:moveTo>
                    <a:lnTo>
                      <a:pt x="4803" y="4391"/>
                    </a:lnTo>
                    <a:lnTo>
                      <a:pt x="3760" y="5489"/>
                    </a:lnTo>
                    <a:lnTo>
                      <a:pt x="2168" y="2744"/>
                    </a:lnTo>
                    <a:lnTo>
                      <a:pt x="988" y="2991"/>
                    </a:lnTo>
                    <a:lnTo>
                      <a:pt x="0" y="1235"/>
                    </a:lnTo>
                    <a:lnTo>
                      <a:pt x="175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6" name="Freeform: Shape 4505">
                <a:extLst>
                  <a:ext uri="{FF2B5EF4-FFF2-40B4-BE49-F238E27FC236}">
                    <a16:creationId xmlns:a16="http://schemas.microsoft.com/office/drawing/2014/main" id="{44E4A7E0-C953-DF00-106D-B5555E705DD7}"/>
                  </a:ext>
                </a:extLst>
              </p:cNvPr>
              <p:cNvSpPr/>
              <p:nvPr/>
            </p:nvSpPr>
            <p:spPr>
              <a:xfrm>
                <a:off x="1683311" y="3839948"/>
                <a:ext cx="1133" cy="644"/>
              </a:xfrm>
              <a:custGeom>
                <a:avLst/>
                <a:gdLst>
                  <a:gd name="connsiteX0" fmla="*/ 8891 w 10867"/>
                  <a:gd name="connsiteY0" fmla="*/ 1290 h 6174"/>
                  <a:gd name="connsiteX1" fmla="*/ 10867 w 10867"/>
                  <a:gd name="connsiteY1" fmla="*/ 1784 h 6174"/>
                  <a:gd name="connsiteX2" fmla="*/ 10867 w 10867"/>
                  <a:gd name="connsiteY2" fmla="*/ 2854 h 6174"/>
                  <a:gd name="connsiteX3" fmla="*/ 9330 w 10867"/>
                  <a:gd name="connsiteY3" fmla="*/ 4830 h 6174"/>
                  <a:gd name="connsiteX4" fmla="*/ 6806 w 10867"/>
                  <a:gd name="connsiteY4" fmla="*/ 5132 h 6174"/>
                  <a:gd name="connsiteX5" fmla="*/ 6257 w 10867"/>
                  <a:gd name="connsiteY5" fmla="*/ 6092 h 6174"/>
                  <a:gd name="connsiteX6" fmla="*/ 5077 w 10867"/>
                  <a:gd name="connsiteY6" fmla="*/ 6175 h 6174"/>
                  <a:gd name="connsiteX7" fmla="*/ 3485 w 10867"/>
                  <a:gd name="connsiteY7" fmla="*/ 4857 h 6174"/>
                  <a:gd name="connsiteX8" fmla="*/ 2086 w 10867"/>
                  <a:gd name="connsiteY8" fmla="*/ 5461 h 6174"/>
                  <a:gd name="connsiteX9" fmla="*/ 741 w 10867"/>
                  <a:gd name="connsiteY9" fmla="*/ 5214 h 6174"/>
                  <a:gd name="connsiteX10" fmla="*/ 0 w 10867"/>
                  <a:gd name="connsiteY10" fmla="*/ 4089 h 6174"/>
                  <a:gd name="connsiteX11" fmla="*/ 961 w 10867"/>
                  <a:gd name="connsiteY11" fmla="*/ 2689 h 6174"/>
                  <a:gd name="connsiteX12" fmla="*/ 1317 w 10867"/>
                  <a:gd name="connsiteY12" fmla="*/ 1262 h 6174"/>
                  <a:gd name="connsiteX13" fmla="*/ 2634 w 10867"/>
                  <a:gd name="connsiteY13" fmla="*/ 521 h 6174"/>
                  <a:gd name="connsiteX14" fmla="*/ 3348 w 10867"/>
                  <a:gd name="connsiteY14" fmla="*/ 988 h 6174"/>
                  <a:gd name="connsiteX15" fmla="*/ 5324 w 10867"/>
                  <a:gd name="connsiteY15" fmla="*/ 0 h 6174"/>
                  <a:gd name="connsiteX16" fmla="*/ 6285 w 10867"/>
                  <a:gd name="connsiteY16" fmla="*/ 384 h 6174"/>
                  <a:gd name="connsiteX17" fmla="*/ 7739 w 10867"/>
                  <a:gd name="connsiteY17" fmla="*/ 1866 h 6174"/>
                  <a:gd name="connsiteX18" fmla="*/ 8837 w 10867"/>
                  <a:gd name="connsiteY18" fmla="*/ 1317 h 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67" h="6174">
                    <a:moveTo>
                      <a:pt x="8891" y="1290"/>
                    </a:moveTo>
                    <a:lnTo>
                      <a:pt x="10867" y="1784"/>
                    </a:lnTo>
                    <a:lnTo>
                      <a:pt x="10867" y="2854"/>
                    </a:lnTo>
                    <a:cubicBezTo>
                      <a:pt x="10867" y="2854"/>
                      <a:pt x="9330" y="4830"/>
                      <a:pt x="9330" y="4830"/>
                    </a:cubicBezTo>
                    <a:lnTo>
                      <a:pt x="6806" y="5132"/>
                    </a:lnTo>
                    <a:lnTo>
                      <a:pt x="6257" y="6092"/>
                    </a:lnTo>
                    <a:lnTo>
                      <a:pt x="5077" y="6175"/>
                    </a:lnTo>
                    <a:lnTo>
                      <a:pt x="3485" y="4857"/>
                    </a:lnTo>
                    <a:lnTo>
                      <a:pt x="2086" y="5461"/>
                    </a:lnTo>
                    <a:lnTo>
                      <a:pt x="741" y="5214"/>
                    </a:lnTo>
                    <a:lnTo>
                      <a:pt x="0" y="4089"/>
                    </a:lnTo>
                    <a:lnTo>
                      <a:pt x="961" y="2689"/>
                    </a:lnTo>
                    <a:lnTo>
                      <a:pt x="1317" y="1262"/>
                    </a:lnTo>
                    <a:lnTo>
                      <a:pt x="2634" y="521"/>
                    </a:lnTo>
                    <a:lnTo>
                      <a:pt x="3348" y="988"/>
                    </a:lnTo>
                    <a:lnTo>
                      <a:pt x="5324" y="0"/>
                    </a:lnTo>
                    <a:lnTo>
                      <a:pt x="6285" y="384"/>
                    </a:lnTo>
                    <a:lnTo>
                      <a:pt x="7739" y="1866"/>
                    </a:lnTo>
                    <a:lnTo>
                      <a:pt x="8837" y="13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7" name="Freeform: Shape 4506">
                <a:extLst>
                  <a:ext uri="{FF2B5EF4-FFF2-40B4-BE49-F238E27FC236}">
                    <a16:creationId xmlns:a16="http://schemas.microsoft.com/office/drawing/2014/main" id="{019A2CBB-61B9-7B0C-3517-912DB005CD8A}"/>
                  </a:ext>
                </a:extLst>
              </p:cNvPr>
              <p:cNvSpPr/>
              <p:nvPr/>
            </p:nvSpPr>
            <p:spPr>
              <a:xfrm>
                <a:off x="1398369" y="3415244"/>
                <a:ext cx="41438" cy="52947"/>
              </a:xfrm>
              <a:custGeom>
                <a:avLst/>
                <a:gdLst>
                  <a:gd name="connsiteX0" fmla="*/ 169268 w 397292"/>
                  <a:gd name="connsiteY0" fmla="*/ 4116 h 507640"/>
                  <a:gd name="connsiteX1" fmla="*/ 178023 w 397292"/>
                  <a:gd name="connsiteY1" fmla="*/ 29035 h 507640"/>
                  <a:gd name="connsiteX2" fmla="*/ 186475 w 397292"/>
                  <a:gd name="connsiteY2" fmla="*/ 18771 h 507640"/>
                  <a:gd name="connsiteX3" fmla="*/ 201130 w 397292"/>
                  <a:gd name="connsiteY3" fmla="*/ 29885 h 507640"/>
                  <a:gd name="connsiteX4" fmla="*/ 211393 w 397292"/>
                  <a:gd name="connsiteY4" fmla="*/ 50632 h 507640"/>
                  <a:gd name="connsiteX5" fmla="*/ 212189 w 397292"/>
                  <a:gd name="connsiteY5" fmla="*/ 59963 h 507640"/>
                  <a:gd name="connsiteX6" fmla="*/ 206892 w 397292"/>
                  <a:gd name="connsiteY6" fmla="*/ 77609 h 507640"/>
                  <a:gd name="connsiteX7" fmla="*/ 207798 w 397292"/>
                  <a:gd name="connsiteY7" fmla="*/ 105107 h 507640"/>
                  <a:gd name="connsiteX8" fmla="*/ 212189 w 397292"/>
                  <a:gd name="connsiteY8" fmla="*/ 98465 h 507640"/>
                  <a:gd name="connsiteX9" fmla="*/ 216470 w 397292"/>
                  <a:gd name="connsiteY9" fmla="*/ 77334 h 507640"/>
                  <a:gd name="connsiteX10" fmla="*/ 223358 w 397292"/>
                  <a:gd name="connsiteY10" fmla="*/ 74233 h 507640"/>
                  <a:gd name="connsiteX11" fmla="*/ 234885 w 397292"/>
                  <a:gd name="connsiteY11" fmla="*/ 89986 h 507640"/>
                  <a:gd name="connsiteX12" fmla="*/ 237821 w 397292"/>
                  <a:gd name="connsiteY12" fmla="*/ 106753 h 507640"/>
                  <a:gd name="connsiteX13" fmla="*/ 236421 w 397292"/>
                  <a:gd name="connsiteY13" fmla="*/ 131040 h 507640"/>
                  <a:gd name="connsiteX14" fmla="*/ 241882 w 397292"/>
                  <a:gd name="connsiteY14" fmla="*/ 144872 h 507640"/>
                  <a:gd name="connsiteX15" fmla="*/ 262135 w 397292"/>
                  <a:gd name="connsiteY15" fmla="*/ 146738 h 507640"/>
                  <a:gd name="connsiteX16" fmla="*/ 272975 w 397292"/>
                  <a:gd name="connsiteY16" fmla="*/ 169872 h 507640"/>
                  <a:gd name="connsiteX17" fmla="*/ 277531 w 397292"/>
                  <a:gd name="connsiteY17" fmla="*/ 153598 h 507640"/>
                  <a:gd name="connsiteX18" fmla="*/ 289743 w 397292"/>
                  <a:gd name="connsiteY18" fmla="*/ 157550 h 507640"/>
                  <a:gd name="connsiteX19" fmla="*/ 290155 w 397292"/>
                  <a:gd name="connsiteY19" fmla="*/ 164136 h 507640"/>
                  <a:gd name="connsiteX20" fmla="*/ 286148 w 397292"/>
                  <a:gd name="connsiteY20" fmla="*/ 170641 h 507640"/>
                  <a:gd name="connsiteX21" fmla="*/ 286230 w 397292"/>
                  <a:gd name="connsiteY21" fmla="*/ 176019 h 507640"/>
                  <a:gd name="connsiteX22" fmla="*/ 317131 w 397292"/>
                  <a:gd name="connsiteY22" fmla="*/ 203298 h 507640"/>
                  <a:gd name="connsiteX23" fmla="*/ 317131 w 397292"/>
                  <a:gd name="connsiteY23" fmla="*/ 209911 h 507640"/>
                  <a:gd name="connsiteX24" fmla="*/ 313481 w 397292"/>
                  <a:gd name="connsiteY24" fmla="*/ 218968 h 507640"/>
                  <a:gd name="connsiteX25" fmla="*/ 314167 w 397292"/>
                  <a:gd name="connsiteY25" fmla="*/ 229533 h 507640"/>
                  <a:gd name="connsiteX26" fmla="*/ 317131 w 397292"/>
                  <a:gd name="connsiteY26" fmla="*/ 230686 h 507640"/>
                  <a:gd name="connsiteX27" fmla="*/ 332060 w 397292"/>
                  <a:gd name="connsiteY27" fmla="*/ 240373 h 507640"/>
                  <a:gd name="connsiteX28" fmla="*/ 336945 w 397292"/>
                  <a:gd name="connsiteY28" fmla="*/ 262712 h 507640"/>
                  <a:gd name="connsiteX29" fmla="*/ 333350 w 397292"/>
                  <a:gd name="connsiteY29" fmla="*/ 287355 h 507640"/>
                  <a:gd name="connsiteX30" fmla="*/ 356402 w 397292"/>
                  <a:gd name="connsiteY30" fmla="*/ 283760 h 507640"/>
                  <a:gd name="connsiteX31" fmla="*/ 363619 w 397292"/>
                  <a:gd name="connsiteY31" fmla="*/ 290978 h 507640"/>
                  <a:gd name="connsiteX32" fmla="*/ 365403 w 397292"/>
                  <a:gd name="connsiteY32" fmla="*/ 295533 h 507640"/>
                  <a:gd name="connsiteX33" fmla="*/ 366007 w 397292"/>
                  <a:gd name="connsiteY33" fmla="*/ 312136 h 507640"/>
                  <a:gd name="connsiteX34" fmla="*/ 376682 w 397292"/>
                  <a:gd name="connsiteY34" fmla="*/ 333350 h 507640"/>
                  <a:gd name="connsiteX35" fmla="*/ 395014 w 397292"/>
                  <a:gd name="connsiteY35" fmla="*/ 342763 h 507640"/>
                  <a:gd name="connsiteX36" fmla="*/ 397292 w 397292"/>
                  <a:gd name="connsiteY36" fmla="*/ 363866 h 507640"/>
                  <a:gd name="connsiteX37" fmla="*/ 393121 w 397292"/>
                  <a:gd name="connsiteY37" fmla="*/ 377259 h 507640"/>
                  <a:gd name="connsiteX38" fmla="*/ 382994 w 397292"/>
                  <a:gd name="connsiteY38" fmla="*/ 382418 h 507640"/>
                  <a:gd name="connsiteX39" fmla="*/ 350995 w 397292"/>
                  <a:gd name="connsiteY39" fmla="*/ 420646 h 507640"/>
                  <a:gd name="connsiteX40" fmla="*/ 348801 w 397292"/>
                  <a:gd name="connsiteY40" fmla="*/ 417819 h 507640"/>
                  <a:gd name="connsiteX41" fmla="*/ 352368 w 397292"/>
                  <a:gd name="connsiteY41" fmla="*/ 390568 h 507640"/>
                  <a:gd name="connsiteX42" fmla="*/ 347456 w 397292"/>
                  <a:gd name="connsiteY42" fmla="*/ 375585 h 507640"/>
                  <a:gd name="connsiteX43" fmla="*/ 317104 w 397292"/>
                  <a:gd name="connsiteY43" fmla="*/ 389855 h 507640"/>
                  <a:gd name="connsiteX44" fmla="*/ 298168 w 397292"/>
                  <a:gd name="connsiteY44" fmla="*/ 391200 h 507640"/>
                  <a:gd name="connsiteX45" fmla="*/ 299183 w 397292"/>
                  <a:gd name="connsiteY45" fmla="*/ 379948 h 507640"/>
                  <a:gd name="connsiteX46" fmla="*/ 305056 w 397292"/>
                  <a:gd name="connsiteY46" fmla="*/ 371798 h 507640"/>
                  <a:gd name="connsiteX47" fmla="*/ 315347 w 397292"/>
                  <a:gd name="connsiteY47" fmla="*/ 332993 h 507640"/>
                  <a:gd name="connsiteX48" fmla="*/ 301159 w 397292"/>
                  <a:gd name="connsiteY48" fmla="*/ 306483 h 507640"/>
                  <a:gd name="connsiteX49" fmla="*/ 301242 w 397292"/>
                  <a:gd name="connsiteY49" fmla="*/ 301598 h 507640"/>
                  <a:gd name="connsiteX50" fmla="*/ 309694 w 397292"/>
                  <a:gd name="connsiteY50" fmla="*/ 291911 h 507640"/>
                  <a:gd name="connsiteX51" fmla="*/ 309557 w 397292"/>
                  <a:gd name="connsiteY51" fmla="*/ 286807 h 507640"/>
                  <a:gd name="connsiteX52" fmla="*/ 293557 w 397292"/>
                  <a:gd name="connsiteY52" fmla="*/ 285572 h 507640"/>
                  <a:gd name="connsiteX53" fmla="*/ 287986 w 397292"/>
                  <a:gd name="connsiteY53" fmla="*/ 257470 h 507640"/>
                  <a:gd name="connsiteX54" fmla="*/ 282388 w 397292"/>
                  <a:gd name="connsiteY54" fmla="*/ 251954 h 507640"/>
                  <a:gd name="connsiteX55" fmla="*/ 282388 w 397292"/>
                  <a:gd name="connsiteY55" fmla="*/ 246740 h 507640"/>
                  <a:gd name="connsiteX56" fmla="*/ 299403 w 397292"/>
                  <a:gd name="connsiteY56" fmla="*/ 232003 h 507640"/>
                  <a:gd name="connsiteX57" fmla="*/ 299211 w 397292"/>
                  <a:gd name="connsiteY57" fmla="*/ 224593 h 507640"/>
                  <a:gd name="connsiteX58" fmla="*/ 293119 w 397292"/>
                  <a:gd name="connsiteY58" fmla="*/ 219022 h 507640"/>
                  <a:gd name="connsiteX59" fmla="*/ 268612 w 397292"/>
                  <a:gd name="connsiteY59" fmla="*/ 232305 h 507640"/>
                  <a:gd name="connsiteX60" fmla="*/ 263233 w 397292"/>
                  <a:gd name="connsiteY60" fmla="*/ 248771 h 507640"/>
                  <a:gd name="connsiteX61" fmla="*/ 244297 w 397292"/>
                  <a:gd name="connsiteY61" fmla="*/ 252201 h 507640"/>
                  <a:gd name="connsiteX62" fmla="*/ 242212 w 397292"/>
                  <a:gd name="connsiteY62" fmla="*/ 271384 h 507640"/>
                  <a:gd name="connsiteX63" fmla="*/ 244984 w 397292"/>
                  <a:gd name="connsiteY63" fmla="*/ 291911 h 507640"/>
                  <a:gd name="connsiteX64" fmla="*/ 243831 w 397292"/>
                  <a:gd name="connsiteY64" fmla="*/ 304096 h 507640"/>
                  <a:gd name="connsiteX65" fmla="*/ 227173 w 397292"/>
                  <a:gd name="connsiteY65" fmla="*/ 321659 h 507640"/>
                  <a:gd name="connsiteX66" fmla="*/ 225471 w 397292"/>
                  <a:gd name="connsiteY66" fmla="*/ 330441 h 507640"/>
                  <a:gd name="connsiteX67" fmla="*/ 226130 w 397292"/>
                  <a:gd name="connsiteY67" fmla="*/ 356018 h 507640"/>
                  <a:gd name="connsiteX68" fmla="*/ 220971 w 397292"/>
                  <a:gd name="connsiteY68" fmla="*/ 381622 h 507640"/>
                  <a:gd name="connsiteX69" fmla="*/ 204285 w 397292"/>
                  <a:gd name="connsiteY69" fmla="*/ 395316 h 507640"/>
                  <a:gd name="connsiteX70" fmla="*/ 191168 w 397292"/>
                  <a:gd name="connsiteY70" fmla="*/ 448116 h 507640"/>
                  <a:gd name="connsiteX71" fmla="*/ 187188 w 397292"/>
                  <a:gd name="connsiteY71" fmla="*/ 472541 h 507640"/>
                  <a:gd name="connsiteX72" fmla="*/ 188259 w 397292"/>
                  <a:gd name="connsiteY72" fmla="*/ 487223 h 507640"/>
                  <a:gd name="connsiteX73" fmla="*/ 186805 w 397292"/>
                  <a:gd name="connsiteY73" fmla="*/ 498008 h 507640"/>
                  <a:gd name="connsiteX74" fmla="*/ 176294 w 397292"/>
                  <a:gd name="connsiteY74" fmla="*/ 507640 h 507640"/>
                  <a:gd name="connsiteX75" fmla="*/ 165426 w 397292"/>
                  <a:gd name="connsiteY75" fmla="*/ 506790 h 507640"/>
                  <a:gd name="connsiteX76" fmla="*/ 160734 w 397292"/>
                  <a:gd name="connsiteY76" fmla="*/ 486317 h 507640"/>
                  <a:gd name="connsiteX77" fmla="*/ 142539 w 397292"/>
                  <a:gd name="connsiteY77" fmla="*/ 472650 h 507640"/>
                  <a:gd name="connsiteX78" fmla="*/ 142265 w 397292"/>
                  <a:gd name="connsiteY78" fmla="*/ 468589 h 507640"/>
                  <a:gd name="connsiteX79" fmla="*/ 144624 w 397292"/>
                  <a:gd name="connsiteY79" fmla="*/ 459642 h 507640"/>
                  <a:gd name="connsiteX80" fmla="*/ 144295 w 397292"/>
                  <a:gd name="connsiteY80" fmla="*/ 455499 h 507640"/>
                  <a:gd name="connsiteX81" fmla="*/ 130354 w 397292"/>
                  <a:gd name="connsiteY81" fmla="*/ 453660 h 507640"/>
                  <a:gd name="connsiteX82" fmla="*/ 122807 w 397292"/>
                  <a:gd name="connsiteY82" fmla="*/ 437194 h 507640"/>
                  <a:gd name="connsiteX83" fmla="*/ 106122 w 397292"/>
                  <a:gd name="connsiteY83" fmla="*/ 428604 h 507640"/>
                  <a:gd name="connsiteX84" fmla="*/ 95776 w 397292"/>
                  <a:gd name="connsiteY84" fmla="*/ 403275 h 507640"/>
                  <a:gd name="connsiteX85" fmla="*/ 94267 w 397292"/>
                  <a:gd name="connsiteY85" fmla="*/ 382857 h 507640"/>
                  <a:gd name="connsiteX86" fmla="*/ 105024 w 397292"/>
                  <a:gd name="connsiteY86" fmla="*/ 373334 h 507640"/>
                  <a:gd name="connsiteX87" fmla="*/ 119733 w 397292"/>
                  <a:gd name="connsiteY87" fmla="*/ 377808 h 507640"/>
                  <a:gd name="connsiteX88" fmla="*/ 121215 w 397292"/>
                  <a:gd name="connsiteY88" fmla="*/ 374158 h 507640"/>
                  <a:gd name="connsiteX89" fmla="*/ 118608 w 397292"/>
                  <a:gd name="connsiteY89" fmla="*/ 366007 h 507640"/>
                  <a:gd name="connsiteX90" fmla="*/ 119597 w 397292"/>
                  <a:gd name="connsiteY90" fmla="*/ 361314 h 507640"/>
                  <a:gd name="connsiteX91" fmla="*/ 148000 w 397292"/>
                  <a:gd name="connsiteY91" fmla="*/ 344848 h 507640"/>
                  <a:gd name="connsiteX92" fmla="*/ 148000 w 397292"/>
                  <a:gd name="connsiteY92" fmla="*/ 339854 h 507640"/>
                  <a:gd name="connsiteX93" fmla="*/ 138587 w 397292"/>
                  <a:gd name="connsiteY93" fmla="*/ 337329 h 507640"/>
                  <a:gd name="connsiteX94" fmla="*/ 91220 w 397292"/>
                  <a:gd name="connsiteY94" fmla="*/ 353027 h 507640"/>
                  <a:gd name="connsiteX95" fmla="*/ 85320 w 397292"/>
                  <a:gd name="connsiteY95" fmla="*/ 339964 h 507640"/>
                  <a:gd name="connsiteX96" fmla="*/ 82960 w 397292"/>
                  <a:gd name="connsiteY96" fmla="*/ 319244 h 507640"/>
                  <a:gd name="connsiteX97" fmla="*/ 87872 w 397292"/>
                  <a:gd name="connsiteY97" fmla="*/ 306950 h 507640"/>
                  <a:gd name="connsiteX98" fmla="*/ 99426 w 397292"/>
                  <a:gd name="connsiteY98" fmla="*/ 310215 h 507640"/>
                  <a:gd name="connsiteX99" fmla="*/ 118087 w 397292"/>
                  <a:gd name="connsiteY99" fmla="*/ 301132 h 507640"/>
                  <a:gd name="connsiteX100" fmla="*/ 149454 w 397292"/>
                  <a:gd name="connsiteY100" fmla="*/ 269078 h 507640"/>
                  <a:gd name="connsiteX101" fmla="*/ 171546 w 397292"/>
                  <a:gd name="connsiteY101" fmla="*/ 266032 h 507640"/>
                  <a:gd name="connsiteX102" fmla="*/ 172177 w 397292"/>
                  <a:gd name="connsiteY102" fmla="*/ 261669 h 507640"/>
                  <a:gd name="connsiteX103" fmla="*/ 167292 w 397292"/>
                  <a:gd name="connsiteY103" fmla="*/ 250966 h 507640"/>
                  <a:gd name="connsiteX104" fmla="*/ 172561 w 397292"/>
                  <a:gd name="connsiteY104" fmla="*/ 226926 h 507640"/>
                  <a:gd name="connsiteX105" fmla="*/ 172232 w 397292"/>
                  <a:gd name="connsiteY105" fmla="*/ 222261 h 507640"/>
                  <a:gd name="connsiteX106" fmla="*/ 168171 w 397292"/>
                  <a:gd name="connsiteY106" fmla="*/ 221328 h 507640"/>
                  <a:gd name="connsiteX107" fmla="*/ 161666 w 397292"/>
                  <a:gd name="connsiteY107" fmla="*/ 237766 h 507640"/>
                  <a:gd name="connsiteX108" fmla="*/ 145750 w 397292"/>
                  <a:gd name="connsiteY108" fmla="*/ 251899 h 507640"/>
                  <a:gd name="connsiteX109" fmla="*/ 133346 w 397292"/>
                  <a:gd name="connsiteY109" fmla="*/ 243858 h 507640"/>
                  <a:gd name="connsiteX110" fmla="*/ 132605 w 397292"/>
                  <a:gd name="connsiteY110" fmla="*/ 234390 h 507640"/>
                  <a:gd name="connsiteX111" fmla="*/ 136364 w 397292"/>
                  <a:gd name="connsiteY111" fmla="*/ 223084 h 507640"/>
                  <a:gd name="connsiteX112" fmla="*/ 135294 w 397292"/>
                  <a:gd name="connsiteY112" fmla="*/ 217101 h 507640"/>
                  <a:gd name="connsiteX113" fmla="*/ 124811 w 397292"/>
                  <a:gd name="connsiteY113" fmla="*/ 230768 h 507640"/>
                  <a:gd name="connsiteX114" fmla="*/ 115617 w 397292"/>
                  <a:gd name="connsiteY114" fmla="*/ 229972 h 507640"/>
                  <a:gd name="connsiteX115" fmla="*/ 114904 w 397292"/>
                  <a:gd name="connsiteY115" fmla="*/ 240346 h 507640"/>
                  <a:gd name="connsiteX116" fmla="*/ 110705 w 397292"/>
                  <a:gd name="connsiteY116" fmla="*/ 247206 h 507640"/>
                  <a:gd name="connsiteX117" fmla="*/ 113010 w 397292"/>
                  <a:gd name="connsiteY117" fmla="*/ 261943 h 507640"/>
                  <a:gd name="connsiteX118" fmla="*/ 105793 w 397292"/>
                  <a:gd name="connsiteY118" fmla="*/ 264029 h 507640"/>
                  <a:gd name="connsiteX119" fmla="*/ 101895 w 397292"/>
                  <a:gd name="connsiteY119" fmla="*/ 278190 h 507640"/>
                  <a:gd name="connsiteX120" fmla="*/ 87680 w 397292"/>
                  <a:gd name="connsiteY120" fmla="*/ 290456 h 507640"/>
                  <a:gd name="connsiteX121" fmla="*/ 65534 w 397292"/>
                  <a:gd name="connsiteY121" fmla="*/ 288536 h 507640"/>
                  <a:gd name="connsiteX122" fmla="*/ 59881 w 397292"/>
                  <a:gd name="connsiteY122" fmla="*/ 269984 h 507640"/>
                  <a:gd name="connsiteX123" fmla="*/ 49781 w 397292"/>
                  <a:gd name="connsiteY123" fmla="*/ 255137 h 507640"/>
                  <a:gd name="connsiteX124" fmla="*/ 46297 w 397292"/>
                  <a:gd name="connsiteY124" fmla="*/ 239660 h 507640"/>
                  <a:gd name="connsiteX125" fmla="*/ 30709 w 397292"/>
                  <a:gd name="connsiteY125" fmla="*/ 218556 h 507640"/>
                  <a:gd name="connsiteX126" fmla="*/ 27910 w 397292"/>
                  <a:gd name="connsiteY126" fmla="*/ 209198 h 507640"/>
                  <a:gd name="connsiteX127" fmla="*/ 27306 w 397292"/>
                  <a:gd name="connsiteY127" fmla="*/ 194927 h 507640"/>
                  <a:gd name="connsiteX128" fmla="*/ 24205 w 397292"/>
                  <a:gd name="connsiteY128" fmla="*/ 188286 h 507640"/>
                  <a:gd name="connsiteX129" fmla="*/ 24369 w 397292"/>
                  <a:gd name="connsiteY129" fmla="*/ 183017 h 507640"/>
                  <a:gd name="connsiteX130" fmla="*/ 32629 w 397292"/>
                  <a:gd name="connsiteY130" fmla="*/ 179258 h 507640"/>
                  <a:gd name="connsiteX131" fmla="*/ 32959 w 397292"/>
                  <a:gd name="connsiteY131" fmla="*/ 174483 h 507640"/>
                  <a:gd name="connsiteX132" fmla="*/ 30077 w 397292"/>
                  <a:gd name="connsiteY132" fmla="*/ 160294 h 507640"/>
                  <a:gd name="connsiteX133" fmla="*/ 32191 w 397292"/>
                  <a:gd name="connsiteY133" fmla="*/ 144432 h 507640"/>
                  <a:gd name="connsiteX134" fmla="*/ 31669 w 397292"/>
                  <a:gd name="connsiteY134" fmla="*/ 140014 h 507640"/>
                  <a:gd name="connsiteX135" fmla="*/ 13584 w 397292"/>
                  <a:gd name="connsiteY135" fmla="*/ 152254 h 507640"/>
                  <a:gd name="connsiteX136" fmla="*/ 3842 w 397292"/>
                  <a:gd name="connsiteY136" fmla="*/ 120475 h 507640"/>
                  <a:gd name="connsiteX137" fmla="*/ 3129 w 397292"/>
                  <a:gd name="connsiteY137" fmla="*/ 97779 h 507640"/>
                  <a:gd name="connsiteX138" fmla="*/ 0 w 397292"/>
                  <a:gd name="connsiteY138" fmla="*/ 84360 h 507640"/>
                  <a:gd name="connsiteX139" fmla="*/ 2662 w 397292"/>
                  <a:gd name="connsiteY139" fmla="*/ 71928 h 507640"/>
                  <a:gd name="connsiteX140" fmla="*/ 878 w 397292"/>
                  <a:gd name="connsiteY140" fmla="*/ 61527 h 507640"/>
                  <a:gd name="connsiteX141" fmla="*/ 1317 w 397292"/>
                  <a:gd name="connsiteY141" fmla="*/ 50083 h 507640"/>
                  <a:gd name="connsiteX142" fmla="*/ 14380 w 397292"/>
                  <a:gd name="connsiteY142" fmla="*/ 69568 h 507640"/>
                  <a:gd name="connsiteX143" fmla="*/ 15423 w 397292"/>
                  <a:gd name="connsiteY143" fmla="*/ 64958 h 507640"/>
                  <a:gd name="connsiteX144" fmla="*/ 14051 w 397292"/>
                  <a:gd name="connsiteY144" fmla="*/ 51016 h 507640"/>
                  <a:gd name="connsiteX145" fmla="*/ 17426 w 397292"/>
                  <a:gd name="connsiteY145" fmla="*/ 38475 h 507640"/>
                  <a:gd name="connsiteX146" fmla="*/ 20966 w 397292"/>
                  <a:gd name="connsiteY146" fmla="*/ 45336 h 507640"/>
                  <a:gd name="connsiteX147" fmla="*/ 24863 w 397292"/>
                  <a:gd name="connsiteY147" fmla="*/ 35566 h 507640"/>
                  <a:gd name="connsiteX148" fmla="*/ 30407 w 397292"/>
                  <a:gd name="connsiteY148" fmla="*/ 37762 h 507640"/>
                  <a:gd name="connsiteX149" fmla="*/ 38832 w 397292"/>
                  <a:gd name="connsiteY149" fmla="*/ 61225 h 507640"/>
                  <a:gd name="connsiteX150" fmla="*/ 44019 w 397292"/>
                  <a:gd name="connsiteY150" fmla="*/ 63887 h 507640"/>
                  <a:gd name="connsiteX151" fmla="*/ 45692 w 397292"/>
                  <a:gd name="connsiteY151" fmla="*/ 59990 h 507640"/>
                  <a:gd name="connsiteX152" fmla="*/ 42811 w 397292"/>
                  <a:gd name="connsiteY152" fmla="*/ 49397 h 507640"/>
                  <a:gd name="connsiteX153" fmla="*/ 43689 w 397292"/>
                  <a:gd name="connsiteY153" fmla="*/ 42070 h 507640"/>
                  <a:gd name="connsiteX154" fmla="*/ 55133 w 397292"/>
                  <a:gd name="connsiteY154" fmla="*/ 49013 h 507640"/>
                  <a:gd name="connsiteX155" fmla="*/ 88806 w 397292"/>
                  <a:gd name="connsiteY155" fmla="*/ 32520 h 507640"/>
                  <a:gd name="connsiteX156" fmla="*/ 92400 w 397292"/>
                  <a:gd name="connsiteY156" fmla="*/ 46434 h 507640"/>
                  <a:gd name="connsiteX157" fmla="*/ 86912 w 397292"/>
                  <a:gd name="connsiteY157" fmla="*/ 60018 h 507640"/>
                  <a:gd name="connsiteX158" fmla="*/ 68635 w 397292"/>
                  <a:gd name="connsiteY158" fmla="*/ 61061 h 507640"/>
                  <a:gd name="connsiteX159" fmla="*/ 61143 w 397292"/>
                  <a:gd name="connsiteY159" fmla="*/ 72093 h 507640"/>
                  <a:gd name="connsiteX160" fmla="*/ 61253 w 397292"/>
                  <a:gd name="connsiteY160" fmla="*/ 77856 h 507640"/>
                  <a:gd name="connsiteX161" fmla="*/ 76209 w 397292"/>
                  <a:gd name="connsiteY161" fmla="*/ 79749 h 507640"/>
                  <a:gd name="connsiteX162" fmla="*/ 76593 w 397292"/>
                  <a:gd name="connsiteY162" fmla="*/ 95227 h 507640"/>
                  <a:gd name="connsiteX163" fmla="*/ 84387 w 397292"/>
                  <a:gd name="connsiteY163" fmla="*/ 98109 h 507640"/>
                  <a:gd name="connsiteX164" fmla="*/ 96517 w 397292"/>
                  <a:gd name="connsiteY164" fmla="*/ 125963 h 507640"/>
                  <a:gd name="connsiteX165" fmla="*/ 98438 w 397292"/>
                  <a:gd name="connsiteY165" fmla="*/ 116660 h 507640"/>
                  <a:gd name="connsiteX166" fmla="*/ 93800 w 397292"/>
                  <a:gd name="connsiteY166" fmla="*/ 94870 h 507640"/>
                  <a:gd name="connsiteX167" fmla="*/ 94596 w 397292"/>
                  <a:gd name="connsiteY167" fmla="*/ 80682 h 507640"/>
                  <a:gd name="connsiteX168" fmla="*/ 109552 w 397292"/>
                  <a:gd name="connsiteY168" fmla="*/ 46928 h 507640"/>
                  <a:gd name="connsiteX169" fmla="*/ 117593 w 397292"/>
                  <a:gd name="connsiteY169" fmla="*/ 47202 h 507640"/>
                  <a:gd name="connsiteX170" fmla="*/ 130025 w 397292"/>
                  <a:gd name="connsiteY170" fmla="*/ 73273 h 507640"/>
                  <a:gd name="connsiteX171" fmla="*/ 138642 w 397292"/>
                  <a:gd name="connsiteY171" fmla="*/ 116029 h 507640"/>
                  <a:gd name="connsiteX172" fmla="*/ 144460 w 397292"/>
                  <a:gd name="connsiteY172" fmla="*/ 131589 h 507640"/>
                  <a:gd name="connsiteX173" fmla="*/ 144707 w 397292"/>
                  <a:gd name="connsiteY173" fmla="*/ 150113 h 507640"/>
                  <a:gd name="connsiteX174" fmla="*/ 150250 w 397292"/>
                  <a:gd name="connsiteY174" fmla="*/ 149043 h 507640"/>
                  <a:gd name="connsiteX175" fmla="*/ 163121 w 397292"/>
                  <a:gd name="connsiteY175" fmla="*/ 178105 h 507640"/>
                  <a:gd name="connsiteX176" fmla="*/ 163121 w 397292"/>
                  <a:gd name="connsiteY176" fmla="*/ 162188 h 507640"/>
                  <a:gd name="connsiteX177" fmla="*/ 153324 w 397292"/>
                  <a:gd name="connsiteY177" fmla="*/ 122752 h 507640"/>
                  <a:gd name="connsiteX178" fmla="*/ 144707 w 397292"/>
                  <a:gd name="connsiteY178" fmla="*/ 50577 h 507640"/>
                  <a:gd name="connsiteX179" fmla="*/ 145585 w 397292"/>
                  <a:gd name="connsiteY179" fmla="*/ 34523 h 507640"/>
                  <a:gd name="connsiteX180" fmla="*/ 153571 w 397292"/>
                  <a:gd name="connsiteY180" fmla="*/ 30325 h 507640"/>
                  <a:gd name="connsiteX181" fmla="*/ 153708 w 397292"/>
                  <a:gd name="connsiteY181" fmla="*/ 16740 h 507640"/>
                  <a:gd name="connsiteX182" fmla="*/ 156150 w 397292"/>
                  <a:gd name="connsiteY182" fmla="*/ 6724 h 507640"/>
                  <a:gd name="connsiteX183" fmla="*/ 163670 w 397292"/>
                  <a:gd name="connsiteY183" fmla="*/ 0 h 507640"/>
                  <a:gd name="connsiteX184" fmla="*/ 169213 w 397292"/>
                  <a:gd name="connsiteY184" fmla="*/ 4446 h 50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397292" h="507640">
                    <a:moveTo>
                      <a:pt x="169268" y="4116"/>
                    </a:moveTo>
                    <a:lnTo>
                      <a:pt x="178023" y="29035"/>
                    </a:lnTo>
                    <a:lnTo>
                      <a:pt x="186475" y="18771"/>
                    </a:lnTo>
                    <a:lnTo>
                      <a:pt x="201130" y="29885"/>
                    </a:lnTo>
                    <a:lnTo>
                      <a:pt x="211393" y="50632"/>
                    </a:lnTo>
                    <a:lnTo>
                      <a:pt x="212189" y="59963"/>
                    </a:lnTo>
                    <a:lnTo>
                      <a:pt x="206892" y="77609"/>
                    </a:lnTo>
                    <a:lnTo>
                      <a:pt x="207798" y="105107"/>
                    </a:lnTo>
                    <a:lnTo>
                      <a:pt x="212189" y="98465"/>
                    </a:lnTo>
                    <a:lnTo>
                      <a:pt x="216470" y="77334"/>
                    </a:lnTo>
                    <a:lnTo>
                      <a:pt x="223358" y="74233"/>
                    </a:lnTo>
                    <a:lnTo>
                      <a:pt x="234885" y="89986"/>
                    </a:lnTo>
                    <a:lnTo>
                      <a:pt x="237821" y="106753"/>
                    </a:lnTo>
                    <a:lnTo>
                      <a:pt x="236421" y="131040"/>
                    </a:lnTo>
                    <a:lnTo>
                      <a:pt x="241882" y="144872"/>
                    </a:lnTo>
                    <a:lnTo>
                      <a:pt x="262135" y="146738"/>
                    </a:lnTo>
                    <a:lnTo>
                      <a:pt x="272975" y="169872"/>
                    </a:lnTo>
                    <a:lnTo>
                      <a:pt x="277531" y="153598"/>
                    </a:lnTo>
                    <a:lnTo>
                      <a:pt x="289743" y="157550"/>
                    </a:lnTo>
                    <a:lnTo>
                      <a:pt x="290155" y="164136"/>
                    </a:lnTo>
                    <a:lnTo>
                      <a:pt x="286148" y="170641"/>
                    </a:lnTo>
                    <a:lnTo>
                      <a:pt x="286230" y="176019"/>
                    </a:lnTo>
                    <a:lnTo>
                      <a:pt x="317131" y="203298"/>
                    </a:lnTo>
                    <a:lnTo>
                      <a:pt x="317131" y="209911"/>
                    </a:lnTo>
                    <a:lnTo>
                      <a:pt x="313481" y="218968"/>
                    </a:lnTo>
                    <a:lnTo>
                      <a:pt x="314167" y="229533"/>
                    </a:lnTo>
                    <a:lnTo>
                      <a:pt x="317131" y="230686"/>
                    </a:lnTo>
                    <a:lnTo>
                      <a:pt x="332060" y="240373"/>
                    </a:lnTo>
                    <a:lnTo>
                      <a:pt x="336945" y="262712"/>
                    </a:lnTo>
                    <a:lnTo>
                      <a:pt x="333350" y="287355"/>
                    </a:lnTo>
                    <a:lnTo>
                      <a:pt x="356402" y="283760"/>
                    </a:lnTo>
                    <a:lnTo>
                      <a:pt x="363619" y="290978"/>
                    </a:lnTo>
                    <a:lnTo>
                      <a:pt x="365403" y="295533"/>
                    </a:lnTo>
                    <a:lnTo>
                      <a:pt x="366007" y="312136"/>
                    </a:lnTo>
                    <a:lnTo>
                      <a:pt x="376682" y="333350"/>
                    </a:lnTo>
                    <a:lnTo>
                      <a:pt x="395014" y="342763"/>
                    </a:lnTo>
                    <a:lnTo>
                      <a:pt x="397292" y="363866"/>
                    </a:lnTo>
                    <a:lnTo>
                      <a:pt x="393121" y="377259"/>
                    </a:lnTo>
                    <a:lnTo>
                      <a:pt x="382994" y="382418"/>
                    </a:lnTo>
                    <a:lnTo>
                      <a:pt x="350995" y="420646"/>
                    </a:lnTo>
                    <a:lnTo>
                      <a:pt x="348801" y="417819"/>
                    </a:lnTo>
                    <a:lnTo>
                      <a:pt x="352368" y="390568"/>
                    </a:lnTo>
                    <a:lnTo>
                      <a:pt x="347456" y="375585"/>
                    </a:lnTo>
                    <a:lnTo>
                      <a:pt x="317104" y="389855"/>
                    </a:lnTo>
                    <a:lnTo>
                      <a:pt x="298168" y="391200"/>
                    </a:lnTo>
                    <a:lnTo>
                      <a:pt x="299183" y="379948"/>
                    </a:lnTo>
                    <a:lnTo>
                      <a:pt x="305056" y="371798"/>
                    </a:lnTo>
                    <a:lnTo>
                      <a:pt x="315347" y="332993"/>
                    </a:lnTo>
                    <a:lnTo>
                      <a:pt x="301159" y="306483"/>
                    </a:lnTo>
                    <a:lnTo>
                      <a:pt x="301242" y="301598"/>
                    </a:lnTo>
                    <a:lnTo>
                      <a:pt x="309694" y="291911"/>
                    </a:lnTo>
                    <a:lnTo>
                      <a:pt x="309557" y="286807"/>
                    </a:lnTo>
                    <a:lnTo>
                      <a:pt x="293557" y="285572"/>
                    </a:lnTo>
                    <a:lnTo>
                      <a:pt x="287986" y="257470"/>
                    </a:lnTo>
                    <a:lnTo>
                      <a:pt x="282388" y="251954"/>
                    </a:lnTo>
                    <a:lnTo>
                      <a:pt x="282388" y="246740"/>
                    </a:lnTo>
                    <a:lnTo>
                      <a:pt x="299403" y="232003"/>
                    </a:lnTo>
                    <a:lnTo>
                      <a:pt x="299211" y="224593"/>
                    </a:lnTo>
                    <a:lnTo>
                      <a:pt x="293119" y="219022"/>
                    </a:lnTo>
                    <a:lnTo>
                      <a:pt x="268612" y="232305"/>
                    </a:lnTo>
                    <a:lnTo>
                      <a:pt x="263233" y="248771"/>
                    </a:lnTo>
                    <a:lnTo>
                      <a:pt x="244297" y="252201"/>
                    </a:lnTo>
                    <a:lnTo>
                      <a:pt x="242212" y="271384"/>
                    </a:lnTo>
                    <a:lnTo>
                      <a:pt x="244984" y="291911"/>
                    </a:lnTo>
                    <a:lnTo>
                      <a:pt x="243831" y="304096"/>
                    </a:lnTo>
                    <a:lnTo>
                      <a:pt x="227173" y="321659"/>
                    </a:lnTo>
                    <a:lnTo>
                      <a:pt x="225471" y="330441"/>
                    </a:lnTo>
                    <a:lnTo>
                      <a:pt x="226130" y="356018"/>
                    </a:lnTo>
                    <a:lnTo>
                      <a:pt x="220971" y="381622"/>
                    </a:lnTo>
                    <a:lnTo>
                      <a:pt x="204285" y="395316"/>
                    </a:lnTo>
                    <a:lnTo>
                      <a:pt x="191168" y="448116"/>
                    </a:lnTo>
                    <a:lnTo>
                      <a:pt x="187188" y="472541"/>
                    </a:lnTo>
                    <a:lnTo>
                      <a:pt x="188259" y="487223"/>
                    </a:lnTo>
                    <a:lnTo>
                      <a:pt x="186805" y="498008"/>
                    </a:lnTo>
                    <a:lnTo>
                      <a:pt x="176294" y="507640"/>
                    </a:lnTo>
                    <a:lnTo>
                      <a:pt x="165426" y="506790"/>
                    </a:lnTo>
                    <a:lnTo>
                      <a:pt x="160734" y="486317"/>
                    </a:lnTo>
                    <a:lnTo>
                      <a:pt x="142539" y="472650"/>
                    </a:lnTo>
                    <a:lnTo>
                      <a:pt x="142265" y="468589"/>
                    </a:lnTo>
                    <a:lnTo>
                      <a:pt x="144624" y="459642"/>
                    </a:lnTo>
                    <a:lnTo>
                      <a:pt x="144295" y="455499"/>
                    </a:lnTo>
                    <a:lnTo>
                      <a:pt x="130354" y="453660"/>
                    </a:lnTo>
                    <a:lnTo>
                      <a:pt x="122807" y="437194"/>
                    </a:lnTo>
                    <a:lnTo>
                      <a:pt x="106122" y="428604"/>
                    </a:lnTo>
                    <a:lnTo>
                      <a:pt x="95776" y="403275"/>
                    </a:lnTo>
                    <a:lnTo>
                      <a:pt x="94267" y="382857"/>
                    </a:lnTo>
                    <a:lnTo>
                      <a:pt x="105024" y="373334"/>
                    </a:lnTo>
                    <a:lnTo>
                      <a:pt x="119733" y="377808"/>
                    </a:lnTo>
                    <a:lnTo>
                      <a:pt x="121215" y="374158"/>
                    </a:lnTo>
                    <a:lnTo>
                      <a:pt x="118608" y="366007"/>
                    </a:lnTo>
                    <a:lnTo>
                      <a:pt x="119597" y="361314"/>
                    </a:lnTo>
                    <a:lnTo>
                      <a:pt x="148000" y="344848"/>
                    </a:lnTo>
                    <a:lnTo>
                      <a:pt x="148000" y="339854"/>
                    </a:lnTo>
                    <a:cubicBezTo>
                      <a:pt x="148000" y="339854"/>
                      <a:pt x="138587" y="337329"/>
                      <a:pt x="138587" y="337329"/>
                    </a:cubicBezTo>
                    <a:lnTo>
                      <a:pt x="91220" y="353027"/>
                    </a:lnTo>
                    <a:lnTo>
                      <a:pt x="85320" y="339964"/>
                    </a:lnTo>
                    <a:lnTo>
                      <a:pt x="82960" y="319244"/>
                    </a:lnTo>
                    <a:lnTo>
                      <a:pt x="87872" y="306950"/>
                    </a:lnTo>
                    <a:lnTo>
                      <a:pt x="99426" y="310215"/>
                    </a:lnTo>
                    <a:lnTo>
                      <a:pt x="118087" y="301132"/>
                    </a:lnTo>
                    <a:lnTo>
                      <a:pt x="149454" y="269078"/>
                    </a:lnTo>
                    <a:lnTo>
                      <a:pt x="171546" y="266032"/>
                    </a:lnTo>
                    <a:lnTo>
                      <a:pt x="172177" y="261669"/>
                    </a:lnTo>
                    <a:lnTo>
                      <a:pt x="167292" y="250966"/>
                    </a:lnTo>
                    <a:lnTo>
                      <a:pt x="172561" y="226926"/>
                    </a:lnTo>
                    <a:lnTo>
                      <a:pt x="172232" y="222261"/>
                    </a:lnTo>
                    <a:lnTo>
                      <a:pt x="168171" y="221328"/>
                    </a:lnTo>
                    <a:lnTo>
                      <a:pt x="161666" y="237766"/>
                    </a:lnTo>
                    <a:lnTo>
                      <a:pt x="145750" y="251899"/>
                    </a:lnTo>
                    <a:lnTo>
                      <a:pt x="133346" y="243858"/>
                    </a:lnTo>
                    <a:lnTo>
                      <a:pt x="132605" y="234390"/>
                    </a:lnTo>
                    <a:lnTo>
                      <a:pt x="136364" y="223084"/>
                    </a:lnTo>
                    <a:lnTo>
                      <a:pt x="135294" y="217101"/>
                    </a:lnTo>
                    <a:lnTo>
                      <a:pt x="124811" y="230768"/>
                    </a:lnTo>
                    <a:lnTo>
                      <a:pt x="115617" y="229972"/>
                    </a:lnTo>
                    <a:lnTo>
                      <a:pt x="114904" y="240346"/>
                    </a:lnTo>
                    <a:lnTo>
                      <a:pt x="110705" y="247206"/>
                    </a:lnTo>
                    <a:lnTo>
                      <a:pt x="113010" y="261943"/>
                    </a:lnTo>
                    <a:lnTo>
                      <a:pt x="105793" y="264029"/>
                    </a:lnTo>
                    <a:lnTo>
                      <a:pt x="101895" y="278190"/>
                    </a:lnTo>
                    <a:lnTo>
                      <a:pt x="87680" y="290456"/>
                    </a:lnTo>
                    <a:lnTo>
                      <a:pt x="65534" y="288536"/>
                    </a:lnTo>
                    <a:lnTo>
                      <a:pt x="59881" y="269984"/>
                    </a:lnTo>
                    <a:lnTo>
                      <a:pt x="49781" y="255137"/>
                    </a:lnTo>
                    <a:lnTo>
                      <a:pt x="46297" y="239660"/>
                    </a:lnTo>
                    <a:lnTo>
                      <a:pt x="30709" y="218556"/>
                    </a:lnTo>
                    <a:lnTo>
                      <a:pt x="27910" y="209198"/>
                    </a:lnTo>
                    <a:lnTo>
                      <a:pt x="27306" y="194927"/>
                    </a:lnTo>
                    <a:lnTo>
                      <a:pt x="24205" y="188286"/>
                    </a:lnTo>
                    <a:lnTo>
                      <a:pt x="24369" y="183017"/>
                    </a:lnTo>
                    <a:lnTo>
                      <a:pt x="32629" y="179258"/>
                    </a:lnTo>
                    <a:lnTo>
                      <a:pt x="32959" y="174483"/>
                    </a:lnTo>
                    <a:lnTo>
                      <a:pt x="30077" y="160294"/>
                    </a:lnTo>
                    <a:lnTo>
                      <a:pt x="32191" y="144432"/>
                    </a:lnTo>
                    <a:lnTo>
                      <a:pt x="31669" y="140014"/>
                    </a:lnTo>
                    <a:lnTo>
                      <a:pt x="13584" y="152254"/>
                    </a:lnTo>
                    <a:lnTo>
                      <a:pt x="3842" y="120475"/>
                    </a:lnTo>
                    <a:lnTo>
                      <a:pt x="3129" y="97779"/>
                    </a:lnTo>
                    <a:lnTo>
                      <a:pt x="0" y="84360"/>
                    </a:lnTo>
                    <a:lnTo>
                      <a:pt x="2662" y="71928"/>
                    </a:lnTo>
                    <a:lnTo>
                      <a:pt x="878" y="61527"/>
                    </a:lnTo>
                    <a:lnTo>
                      <a:pt x="1317" y="50083"/>
                    </a:lnTo>
                    <a:lnTo>
                      <a:pt x="14380" y="69568"/>
                    </a:lnTo>
                    <a:lnTo>
                      <a:pt x="15423" y="64958"/>
                    </a:lnTo>
                    <a:lnTo>
                      <a:pt x="14051" y="51016"/>
                    </a:lnTo>
                    <a:lnTo>
                      <a:pt x="17426" y="38475"/>
                    </a:lnTo>
                    <a:lnTo>
                      <a:pt x="20966" y="45336"/>
                    </a:lnTo>
                    <a:lnTo>
                      <a:pt x="24863" y="35566"/>
                    </a:lnTo>
                    <a:lnTo>
                      <a:pt x="30407" y="37762"/>
                    </a:lnTo>
                    <a:lnTo>
                      <a:pt x="38832" y="61225"/>
                    </a:lnTo>
                    <a:lnTo>
                      <a:pt x="44019" y="63887"/>
                    </a:lnTo>
                    <a:lnTo>
                      <a:pt x="45692" y="59990"/>
                    </a:lnTo>
                    <a:lnTo>
                      <a:pt x="42811" y="49397"/>
                    </a:lnTo>
                    <a:lnTo>
                      <a:pt x="43689" y="42070"/>
                    </a:lnTo>
                    <a:lnTo>
                      <a:pt x="55133" y="49013"/>
                    </a:lnTo>
                    <a:lnTo>
                      <a:pt x="88806" y="32520"/>
                    </a:lnTo>
                    <a:lnTo>
                      <a:pt x="92400" y="46434"/>
                    </a:lnTo>
                    <a:lnTo>
                      <a:pt x="86912" y="60018"/>
                    </a:lnTo>
                    <a:lnTo>
                      <a:pt x="68635" y="61061"/>
                    </a:lnTo>
                    <a:lnTo>
                      <a:pt x="61143" y="72093"/>
                    </a:lnTo>
                    <a:lnTo>
                      <a:pt x="61253" y="77856"/>
                    </a:lnTo>
                    <a:lnTo>
                      <a:pt x="76209" y="79749"/>
                    </a:lnTo>
                    <a:lnTo>
                      <a:pt x="76593" y="95227"/>
                    </a:lnTo>
                    <a:lnTo>
                      <a:pt x="84387" y="98109"/>
                    </a:lnTo>
                    <a:lnTo>
                      <a:pt x="96517" y="125963"/>
                    </a:lnTo>
                    <a:lnTo>
                      <a:pt x="98438" y="116660"/>
                    </a:lnTo>
                    <a:lnTo>
                      <a:pt x="93800" y="94870"/>
                    </a:lnTo>
                    <a:lnTo>
                      <a:pt x="94596" y="80682"/>
                    </a:lnTo>
                    <a:lnTo>
                      <a:pt x="109552" y="46928"/>
                    </a:lnTo>
                    <a:lnTo>
                      <a:pt x="117593" y="47202"/>
                    </a:lnTo>
                    <a:lnTo>
                      <a:pt x="130025" y="73273"/>
                    </a:lnTo>
                    <a:lnTo>
                      <a:pt x="138642" y="116029"/>
                    </a:lnTo>
                    <a:lnTo>
                      <a:pt x="144460" y="131589"/>
                    </a:lnTo>
                    <a:lnTo>
                      <a:pt x="144707" y="150113"/>
                    </a:lnTo>
                    <a:lnTo>
                      <a:pt x="150250" y="149043"/>
                    </a:lnTo>
                    <a:lnTo>
                      <a:pt x="163121" y="178105"/>
                    </a:lnTo>
                    <a:lnTo>
                      <a:pt x="163121" y="162188"/>
                    </a:lnTo>
                    <a:cubicBezTo>
                      <a:pt x="163121" y="162188"/>
                      <a:pt x="153324" y="122752"/>
                      <a:pt x="153324" y="122752"/>
                    </a:cubicBezTo>
                    <a:lnTo>
                      <a:pt x="144707" y="50577"/>
                    </a:lnTo>
                    <a:lnTo>
                      <a:pt x="145585" y="34523"/>
                    </a:lnTo>
                    <a:lnTo>
                      <a:pt x="153571" y="30325"/>
                    </a:lnTo>
                    <a:lnTo>
                      <a:pt x="153708" y="16740"/>
                    </a:lnTo>
                    <a:lnTo>
                      <a:pt x="156150" y="6724"/>
                    </a:lnTo>
                    <a:lnTo>
                      <a:pt x="163670" y="0"/>
                    </a:lnTo>
                    <a:lnTo>
                      <a:pt x="169213" y="44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8" name="Freeform: Shape 4507">
                <a:extLst>
                  <a:ext uri="{FF2B5EF4-FFF2-40B4-BE49-F238E27FC236}">
                    <a16:creationId xmlns:a16="http://schemas.microsoft.com/office/drawing/2014/main" id="{195051E9-3746-7EFA-0B8F-931ABD5A0BD9}"/>
                  </a:ext>
                </a:extLst>
              </p:cNvPr>
              <p:cNvSpPr/>
              <p:nvPr/>
            </p:nvSpPr>
            <p:spPr>
              <a:xfrm>
                <a:off x="1420832" y="3406798"/>
                <a:ext cx="27753" cy="22432"/>
              </a:xfrm>
              <a:custGeom>
                <a:avLst/>
                <a:gdLst>
                  <a:gd name="connsiteX0" fmla="*/ 67510 w 266087"/>
                  <a:gd name="connsiteY0" fmla="*/ 22448 h 215070"/>
                  <a:gd name="connsiteX1" fmla="*/ 83921 w 266087"/>
                  <a:gd name="connsiteY1" fmla="*/ 54804 h 215070"/>
                  <a:gd name="connsiteX2" fmla="*/ 109168 w 266087"/>
                  <a:gd name="connsiteY2" fmla="*/ 48355 h 215070"/>
                  <a:gd name="connsiteX3" fmla="*/ 109607 w 266087"/>
                  <a:gd name="connsiteY3" fmla="*/ 65644 h 215070"/>
                  <a:gd name="connsiteX4" fmla="*/ 125140 w 266087"/>
                  <a:gd name="connsiteY4" fmla="*/ 87351 h 215070"/>
                  <a:gd name="connsiteX5" fmla="*/ 127335 w 266087"/>
                  <a:gd name="connsiteY5" fmla="*/ 81890 h 215070"/>
                  <a:gd name="connsiteX6" fmla="*/ 128982 w 266087"/>
                  <a:gd name="connsiteY6" fmla="*/ 47449 h 215070"/>
                  <a:gd name="connsiteX7" fmla="*/ 127006 w 266087"/>
                  <a:gd name="connsiteY7" fmla="*/ 23821 h 215070"/>
                  <a:gd name="connsiteX8" fmla="*/ 132193 w 266087"/>
                  <a:gd name="connsiteY8" fmla="*/ 19924 h 215070"/>
                  <a:gd name="connsiteX9" fmla="*/ 136391 w 266087"/>
                  <a:gd name="connsiteY9" fmla="*/ 29062 h 215070"/>
                  <a:gd name="connsiteX10" fmla="*/ 141359 w 266087"/>
                  <a:gd name="connsiteY10" fmla="*/ 6230 h 215070"/>
                  <a:gd name="connsiteX11" fmla="*/ 150415 w 266087"/>
                  <a:gd name="connsiteY11" fmla="*/ 16658 h 215070"/>
                  <a:gd name="connsiteX12" fmla="*/ 151266 w 266087"/>
                  <a:gd name="connsiteY12" fmla="*/ 43772 h 215070"/>
                  <a:gd name="connsiteX13" fmla="*/ 146299 w 266087"/>
                  <a:gd name="connsiteY13" fmla="*/ 59496 h 215070"/>
                  <a:gd name="connsiteX14" fmla="*/ 148192 w 266087"/>
                  <a:gd name="connsiteY14" fmla="*/ 67674 h 215070"/>
                  <a:gd name="connsiteX15" fmla="*/ 157139 w 266087"/>
                  <a:gd name="connsiteY15" fmla="*/ 59579 h 215070"/>
                  <a:gd name="connsiteX16" fmla="*/ 162764 w 266087"/>
                  <a:gd name="connsiteY16" fmla="*/ 66522 h 215070"/>
                  <a:gd name="connsiteX17" fmla="*/ 170558 w 266087"/>
                  <a:gd name="connsiteY17" fmla="*/ 41247 h 215070"/>
                  <a:gd name="connsiteX18" fmla="*/ 179423 w 266087"/>
                  <a:gd name="connsiteY18" fmla="*/ 45226 h 215070"/>
                  <a:gd name="connsiteX19" fmla="*/ 179587 w 266087"/>
                  <a:gd name="connsiteY19" fmla="*/ 21735 h 215070"/>
                  <a:gd name="connsiteX20" fmla="*/ 181041 w 266087"/>
                  <a:gd name="connsiteY20" fmla="*/ 17426 h 215070"/>
                  <a:gd name="connsiteX21" fmla="*/ 187847 w 266087"/>
                  <a:gd name="connsiteY21" fmla="*/ 31148 h 215070"/>
                  <a:gd name="connsiteX22" fmla="*/ 188890 w 266087"/>
                  <a:gd name="connsiteY22" fmla="*/ 44403 h 215070"/>
                  <a:gd name="connsiteX23" fmla="*/ 198001 w 266087"/>
                  <a:gd name="connsiteY23" fmla="*/ 34990 h 215070"/>
                  <a:gd name="connsiteX24" fmla="*/ 202886 w 266087"/>
                  <a:gd name="connsiteY24" fmla="*/ 47531 h 215070"/>
                  <a:gd name="connsiteX25" fmla="*/ 229506 w 266087"/>
                  <a:gd name="connsiteY25" fmla="*/ 62625 h 215070"/>
                  <a:gd name="connsiteX26" fmla="*/ 256263 w 266087"/>
                  <a:gd name="connsiteY26" fmla="*/ 64134 h 215070"/>
                  <a:gd name="connsiteX27" fmla="*/ 266087 w 266087"/>
                  <a:gd name="connsiteY27" fmla="*/ 83482 h 215070"/>
                  <a:gd name="connsiteX28" fmla="*/ 262273 w 266087"/>
                  <a:gd name="connsiteY28" fmla="*/ 111583 h 215070"/>
                  <a:gd name="connsiteX29" fmla="*/ 228161 w 266087"/>
                  <a:gd name="connsiteY29" fmla="*/ 151705 h 215070"/>
                  <a:gd name="connsiteX30" fmla="*/ 226707 w 266087"/>
                  <a:gd name="connsiteY30" fmla="*/ 156864 h 215070"/>
                  <a:gd name="connsiteX31" fmla="*/ 227996 w 266087"/>
                  <a:gd name="connsiteY31" fmla="*/ 171464 h 215070"/>
                  <a:gd name="connsiteX32" fmla="*/ 226295 w 266087"/>
                  <a:gd name="connsiteY32" fmla="*/ 177446 h 215070"/>
                  <a:gd name="connsiteX33" fmla="*/ 208155 w 266087"/>
                  <a:gd name="connsiteY33" fmla="*/ 198550 h 215070"/>
                  <a:gd name="connsiteX34" fmla="*/ 194845 w 266087"/>
                  <a:gd name="connsiteY34" fmla="*/ 194598 h 215070"/>
                  <a:gd name="connsiteX35" fmla="*/ 175525 w 266087"/>
                  <a:gd name="connsiteY35" fmla="*/ 215071 h 215070"/>
                  <a:gd name="connsiteX36" fmla="*/ 143142 w 266087"/>
                  <a:gd name="connsiteY36" fmla="*/ 207277 h 215070"/>
                  <a:gd name="connsiteX37" fmla="*/ 133153 w 266087"/>
                  <a:gd name="connsiteY37" fmla="*/ 190399 h 215070"/>
                  <a:gd name="connsiteX38" fmla="*/ 101814 w 266087"/>
                  <a:gd name="connsiteY38" fmla="*/ 194790 h 215070"/>
                  <a:gd name="connsiteX39" fmla="*/ 84195 w 266087"/>
                  <a:gd name="connsiteY39" fmla="*/ 196245 h 215070"/>
                  <a:gd name="connsiteX40" fmla="*/ 58701 w 266087"/>
                  <a:gd name="connsiteY40" fmla="*/ 177803 h 215070"/>
                  <a:gd name="connsiteX41" fmla="*/ 50962 w 266087"/>
                  <a:gd name="connsiteY41" fmla="*/ 162902 h 215070"/>
                  <a:gd name="connsiteX42" fmla="*/ 51044 w 266087"/>
                  <a:gd name="connsiteY42" fmla="*/ 157276 h 215070"/>
                  <a:gd name="connsiteX43" fmla="*/ 56176 w 266087"/>
                  <a:gd name="connsiteY43" fmla="*/ 152034 h 215070"/>
                  <a:gd name="connsiteX44" fmla="*/ 78597 w 266087"/>
                  <a:gd name="connsiteY44" fmla="*/ 161502 h 215070"/>
                  <a:gd name="connsiteX45" fmla="*/ 78542 w 266087"/>
                  <a:gd name="connsiteY45" fmla="*/ 147232 h 215070"/>
                  <a:gd name="connsiteX46" fmla="*/ 101814 w 266087"/>
                  <a:gd name="connsiteY46" fmla="*/ 136474 h 215070"/>
                  <a:gd name="connsiteX47" fmla="*/ 103268 w 266087"/>
                  <a:gd name="connsiteY47" fmla="*/ 128982 h 215070"/>
                  <a:gd name="connsiteX48" fmla="*/ 101814 w 266087"/>
                  <a:gd name="connsiteY48" fmla="*/ 126073 h 215070"/>
                  <a:gd name="connsiteX49" fmla="*/ 21817 w 266087"/>
                  <a:gd name="connsiteY49" fmla="*/ 136858 h 215070"/>
                  <a:gd name="connsiteX50" fmla="*/ 7053 w 266087"/>
                  <a:gd name="connsiteY50" fmla="*/ 112297 h 215070"/>
                  <a:gd name="connsiteX51" fmla="*/ 7135 w 266087"/>
                  <a:gd name="connsiteY51" fmla="*/ 106424 h 215070"/>
                  <a:gd name="connsiteX52" fmla="*/ 16411 w 266087"/>
                  <a:gd name="connsiteY52" fmla="*/ 97368 h 215070"/>
                  <a:gd name="connsiteX53" fmla="*/ 17207 w 266087"/>
                  <a:gd name="connsiteY53" fmla="*/ 89217 h 215070"/>
                  <a:gd name="connsiteX54" fmla="*/ 2772 w 266087"/>
                  <a:gd name="connsiteY54" fmla="*/ 81039 h 215070"/>
                  <a:gd name="connsiteX55" fmla="*/ 0 w 266087"/>
                  <a:gd name="connsiteY55" fmla="*/ 67921 h 215070"/>
                  <a:gd name="connsiteX56" fmla="*/ 521 w 266087"/>
                  <a:gd name="connsiteY56" fmla="*/ 64765 h 215070"/>
                  <a:gd name="connsiteX57" fmla="*/ 21323 w 266087"/>
                  <a:gd name="connsiteY57" fmla="*/ 57191 h 215070"/>
                  <a:gd name="connsiteX58" fmla="*/ 36060 w 266087"/>
                  <a:gd name="connsiteY58" fmla="*/ 73026 h 215070"/>
                  <a:gd name="connsiteX59" fmla="*/ 37295 w 266087"/>
                  <a:gd name="connsiteY59" fmla="*/ 63284 h 215070"/>
                  <a:gd name="connsiteX60" fmla="*/ 31587 w 266087"/>
                  <a:gd name="connsiteY60" fmla="*/ 51510 h 215070"/>
                  <a:gd name="connsiteX61" fmla="*/ 30270 w 266087"/>
                  <a:gd name="connsiteY61" fmla="*/ 37954 h 215070"/>
                  <a:gd name="connsiteX62" fmla="*/ 47751 w 266087"/>
                  <a:gd name="connsiteY62" fmla="*/ 50083 h 215070"/>
                  <a:gd name="connsiteX63" fmla="*/ 50660 w 266087"/>
                  <a:gd name="connsiteY63" fmla="*/ 27306 h 215070"/>
                  <a:gd name="connsiteX64" fmla="*/ 44952 w 266087"/>
                  <a:gd name="connsiteY64" fmla="*/ 16274 h 215070"/>
                  <a:gd name="connsiteX65" fmla="*/ 45034 w 266087"/>
                  <a:gd name="connsiteY65" fmla="*/ 10099 h 215070"/>
                  <a:gd name="connsiteX66" fmla="*/ 56203 w 266087"/>
                  <a:gd name="connsiteY66" fmla="*/ 0 h 215070"/>
                  <a:gd name="connsiteX67" fmla="*/ 59606 w 266087"/>
                  <a:gd name="connsiteY67" fmla="*/ 18936 h 215070"/>
                  <a:gd name="connsiteX68" fmla="*/ 67565 w 266087"/>
                  <a:gd name="connsiteY68" fmla="*/ 22394 h 21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66087" h="215070">
                    <a:moveTo>
                      <a:pt x="67510" y="22448"/>
                    </a:moveTo>
                    <a:lnTo>
                      <a:pt x="83921" y="54804"/>
                    </a:lnTo>
                    <a:lnTo>
                      <a:pt x="109168" y="48355"/>
                    </a:lnTo>
                    <a:lnTo>
                      <a:pt x="109607" y="65644"/>
                    </a:lnTo>
                    <a:lnTo>
                      <a:pt x="125140" y="87351"/>
                    </a:lnTo>
                    <a:lnTo>
                      <a:pt x="127335" y="81890"/>
                    </a:lnTo>
                    <a:lnTo>
                      <a:pt x="128982" y="47449"/>
                    </a:lnTo>
                    <a:lnTo>
                      <a:pt x="127006" y="23821"/>
                    </a:lnTo>
                    <a:lnTo>
                      <a:pt x="132193" y="19924"/>
                    </a:lnTo>
                    <a:lnTo>
                      <a:pt x="136391" y="29062"/>
                    </a:lnTo>
                    <a:lnTo>
                      <a:pt x="141359" y="6230"/>
                    </a:lnTo>
                    <a:lnTo>
                      <a:pt x="150415" y="16658"/>
                    </a:lnTo>
                    <a:lnTo>
                      <a:pt x="151266" y="43772"/>
                    </a:lnTo>
                    <a:lnTo>
                      <a:pt x="146299" y="59496"/>
                    </a:lnTo>
                    <a:lnTo>
                      <a:pt x="148192" y="67674"/>
                    </a:lnTo>
                    <a:lnTo>
                      <a:pt x="157139" y="59579"/>
                    </a:lnTo>
                    <a:lnTo>
                      <a:pt x="162764" y="66522"/>
                    </a:lnTo>
                    <a:lnTo>
                      <a:pt x="170558" y="41247"/>
                    </a:lnTo>
                    <a:lnTo>
                      <a:pt x="179423" y="45226"/>
                    </a:lnTo>
                    <a:lnTo>
                      <a:pt x="179587" y="21735"/>
                    </a:lnTo>
                    <a:lnTo>
                      <a:pt x="181041" y="17426"/>
                    </a:lnTo>
                    <a:lnTo>
                      <a:pt x="187847" y="31148"/>
                    </a:lnTo>
                    <a:lnTo>
                      <a:pt x="188890" y="44403"/>
                    </a:lnTo>
                    <a:lnTo>
                      <a:pt x="198001" y="34990"/>
                    </a:lnTo>
                    <a:lnTo>
                      <a:pt x="202886" y="47531"/>
                    </a:lnTo>
                    <a:lnTo>
                      <a:pt x="229506" y="62625"/>
                    </a:lnTo>
                    <a:lnTo>
                      <a:pt x="256263" y="64134"/>
                    </a:lnTo>
                    <a:lnTo>
                      <a:pt x="266087" y="83482"/>
                    </a:lnTo>
                    <a:lnTo>
                      <a:pt x="262273" y="111583"/>
                    </a:lnTo>
                    <a:lnTo>
                      <a:pt x="228161" y="151705"/>
                    </a:lnTo>
                    <a:lnTo>
                      <a:pt x="226707" y="156864"/>
                    </a:lnTo>
                    <a:lnTo>
                      <a:pt x="227996" y="171464"/>
                    </a:lnTo>
                    <a:lnTo>
                      <a:pt x="226295" y="177446"/>
                    </a:lnTo>
                    <a:lnTo>
                      <a:pt x="208155" y="198550"/>
                    </a:lnTo>
                    <a:lnTo>
                      <a:pt x="194845" y="194598"/>
                    </a:lnTo>
                    <a:lnTo>
                      <a:pt x="175525" y="215071"/>
                    </a:lnTo>
                    <a:lnTo>
                      <a:pt x="143142" y="207277"/>
                    </a:lnTo>
                    <a:lnTo>
                      <a:pt x="133153" y="190399"/>
                    </a:lnTo>
                    <a:lnTo>
                      <a:pt x="101814" y="194790"/>
                    </a:lnTo>
                    <a:lnTo>
                      <a:pt x="84195" y="196245"/>
                    </a:lnTo>
                    <a:lnTo>
                      <a:pt x="58701" y="177803"/>
                    </a:lnTo>
                    <a:lnTo>
                      <a:pt x="50962" y="162902"/>
                    </a:lnTo>
                    <a:lnTo>
                      <a:pt x="51044" y="157276"/>
                    </a:lnTo>
                    <a:lnTo>
                      <a:pt x="56176" y="152034"/>
                    </a:lnTo>
                    <a:lnTo>
                      <a:pt x="78597" y="161502"/>
                    </a:lnTo>
                    <a:lnTo>
                      <a:pt x="78542" y="147232"/>
                    </a:lnTo>
                    <a:lnTo>
                      <a:pt x="101814" y="136474"/>
                    </a:lnTo>
                    <a:lnTo>
                      <a:pt x="103268" y="128982"/>
                    </a:lnTo>
                    <a:lnTo>
                      <a:pt x="101814" y="126073"/>
                    </a:lnTo>
                    <a:lnTo>
                      <a:pt x="21817" y="136858"/>
                    </a:lnTo>
                    <a:lnTo>
                      <a:pt x="7053" y="112297"/>
                    </a:lnTo>
                    <a:lnTo>
                      <a:pt x="7135" y="106424"/>
                    </a:lnTo>
                    <a:lnTo>
                      <a:pt x="16411" y="97368"/>
                    </a:lnTo>
                    <a:lnTo>
                      <a:pt x="17207" y="89217"/>
                    </a:lnTo>
                    <a:lnTo>
                      <a:pt x="2772" y="81039"/>
                    </a:lnTo>
                    <a:lnTo>
                      <a:pt x="0" y="67921"/>
                    </a:lnTo>
                    <a:lnTo>
                      <a:pt x="521" y="64765"/>
                    </a:lnTo>
                    <a:lnTo>
                      <a:pt x="21323" y="57191"/>
                    </a:lnTo>
                    <a:lnTo>
                      <a:pt x="36060" y="73026"/>
                    </a:lnTo>
                    <a:lnTo>
                      <a:pt x="37295" y="63284"/>
                    </a:lnTo>
                    <a:lnTo>
                      <a:pt x="31587" y="51510"/>
                    </a:lnTo>
                    <a:lnTo>
                      <a:pt x="30270" y="37954"/>
                    </a:lnTo>
                    <a:lnTo>
                      <a:pt x="47751" y="50083"/>
                    </a:lnTo>
                    <a:lnTo>
                      <a:pt x="50660" y="27306"/>
                    </a:lnTo>
                    <a:lnTo>
                      <a:pt x="44952" y="16274"/>
                    </a:lnTo>
                    <a:lnTo>
                      <a:pt x="45034" y="10099"/>
                    </a:lnTo>
                    <a:lnTo>
                      <a:pt x="56203" y="0"/>
                    </a:lnTo>
                    <a:lnTo>
                      <a:pt x="59606" y="18936"/>
                    </a:lnTo>
                    <a:lnTo>
                      <a:pt x="67565" y="223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9" name="Freeform: Shape 4508">
                <a:extLst>
                  <a:ext uri="{FF2B5EF4-FFF2-40B4-BE49-F238E27FC236}">
                    <a16:creationId xmlns:a16="http://schemas.microsoft.com/office/drawing/2014/main" id="{6A3293BA-7DE9-D5D1-22DB-887CAC971722}"/>
                  </a:ext>
                </a:extLst>
              </p:cNvPr>
              <p:cNvSpPr/>
              <p:nvPr/>
            </p:nvSpPr>
            <p:spPr>
              <a:xfrm>
                <a:off x="1397630" y="3434808"/>
                <a:ext cx="5020" cy="10525"/>
              </a:xfrm>
              <a:custGeom>
                <a:avLst/>
                <a:gdLst>
                  <a:gd name="connsiteX0" fmla="*/ 28486 w 48134"/>
                  <a:gd name="connsiteY0" fmla="*/ 56972 h 100907"/>
                  <a:gd name="connsiteX1" fmla="*/ 34221 w 48134"/>
                  <a:gd name="connsiteY1" fmla="*/ 66028 h 100907"/>
                  <a:gd name="connsiteX2" fmla="*/ 39710 w 48134"/>
                  <a:gd name="connsiteY2" fmla="*/ 66796 h 100907"/>
                  <a:gd name="connsiteX3" fmla="*/ 39765 w 48134"/>
                  <a:gd name="connsiteY3" fmla="*/ 73053 h 100907"/>
                  <a:gd name="connsiteX4" fmla="*/ 46324 w 48134"/>
                  <a:gd name="connsiteY4" fmla="*/ 89684 h 100907"/>
                  <a:gd name="connsiteX5" fmla="*/ 48135 w 48134"/>
                  <a:gd name="connsiteY5" fmla="*/ 98411 h 100907"/>
                  <a:gd name="connsiteX6" fmla="*/ 46955 w 48134"/>
                  <a:gd name="connsiteY6" fmla="*/ 100908 h 100907"/>
                  <a:gd name="connsiteX7" fmla="*/ 39381 w 48134"/>
                  <a:gd name="connsiteY7" fmla="*/ 96791 h 100907"/>
                  <a:gd name="connsiteX8" fmla="*/ 37624 w 48134"/>
                  <a:gd name="connsiteY8" fmla="*/ 86418 h 100907"/>
                  <a:gd name="connsiteX9" fmla="*/ 34029 w 48134"/>
                  <a:gd name="connsiteY9" fmla="*/ 82521 h 100907"/>
                  <a:gd name="connsiteX10" fmla="*/ 31312 w 48134"/>
                  <a:gd name="connsiteY10" fmla="*/ 74453 h 100907"/>
                  <a:gd name="connsiteX11" fmla="*/ 23409 w 48134"/>
                  <a:gd name="connsiteY11" fmla="*/ 65259 h 100907"/>
                  <a:gd name="connsiteX12" fmla="*/ 19128 w 48134"/>
                  <a:gd name="connsiteY12" fmla="*/ 67757 h 100907"/>
                  <a:gd name="connsiteX13" fmla="*/ 15478 w 48134"/>
                  <a:gd name="connsiteY13" fmla="*/ 62570 h 100907"/>
                  <a:gd name="connsiteX14" fmla="*/ 12267 w 48134"/>
                  <a:gd name="connsiteY14" fmla="*/ 46516 h 100907"/>
                  <a:gd name="connsiteX15" fmla="*/ 7025 w 48134"/>
                  <a:gd name="connsiteY15" fmla="*/ 34057 h 100907"/>
                  <a:gd name="connsiteX16" fmla="*/ 0 w 48134"/>
                  <a:gd name="connsiteY16" fmla="*/ 14435 h 100907"/>
                  <a:gd name="connsiteX17" fmla="*/ 1097 w 48134"/>
                  <a:gd name="connsiteY17" fmla="*/ 9852 h 100907"/>
                  <a:gd name="connsiteX18" fmla="*/ 439 w 48134"/>
                  <a:gd name="connsiteY18" fmla="*/ 0 h 100907"/>
                  <a:gd name="connsiteX19" fmla="*/ 6888 w 48134"/>
                  <a:gd name="connsiteY19" fmla="*/ 1098 h 100907"/>
                  <a:gd name="connsiteX20" fmla="*/ 12953 w 48134"/>
                  <a:gd name="connsiteY20" fmla="*/ 6971 h 100907"/>
                  <a:gd name="connsiteX21" fmla="*/ 12843 w 48134"/>
                  <a:gd name="connsiteY21" fmla="*/ 17042 h 100907"/>
                  <a:gd name="connsiteX22" fmla="*/ 17756 w 48134"/>
                  <a:gd name="connsiteY22" fmla="*/ 18771 h 100907"/>
                  <a:gd name="connsiteX23" fmla="*/ 18551 w 48134"/>
                  <a:gd name="connsiteY23" fmla="*/ 24644 h 100907"/>
                  <a:gd name="connsiteX24" fmla="*/ 16603 w 48134"/>
                  <a:gd name="connsiteY24" fmla="*/ 31477 h 100907"/>
                  <a:gd name="connsiteX25" fmla="*/ 19676 w 48134"/>
                  <a:gd name="connsiteY25" fmla="*/ 36142 h 100907"/>
                  <a:gd name="connsiteX26" fmla="*/ 23107 w 48134"/>
                  <a:gd name="connsiteY26" fmla="*/ 48025 h 100907"/>
                  <a:gd name="connsiteX27" fmla="*/ 22531 w 48134"/>
                  <a:gd name="connsiteY27" fmla="*/ 51648 h 100907"/>
                  <a:gd name="connsiteX28" fmla="*/ 27827 w 48134"/>
                  <a:gd name="connsiteY28" fmla="*/ 51895 h 100907"/>
                  <a:gd name="connsiteX29" fmla="*/ 28431 w 48134"/>
                  <a:gd name="connsiteY29" fmla="*/ 56999 h 10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134" h="100907">
                    <a:moveTo>
                      <a:pt x="28486" y="56972"/>
                    </a:moveTo>
                    <a:lnTo>
                      <a:pt x="34221" y="66028"/>
                    </a:lnTo>
                    <a:lnTo>
                      <a:pt x="39710" y="66796"/>
                    </a:lnTo>
                    <a:lnTo>
                      <a:pt x="39765" y="73053"/>
                    </a:lnTo>
                    <a:lnTo>
                      <a:pt x="46324" y="89684"/>
                    </a:lnTo>
                    <a:lnTo>
                      <a:pt x="48135" y="98411"/>
                    </a:lnTo>
                    <a:lnTo>
                      <a:pt x="46955" y="100908"/>
                    </a:lnTo>
                    <a:lnTo>
                      <a:pt x="39381" y="96791"/>
                    </a:lnTo>
                    <a:lnTo>
                      <a:pt x="37624" y="86418"/>
                    </a:lnTo>
                    <a:lnTo>
                      <a:pt x="34029" y="82521"/>
                    </a:lnTo>
                    <a:lnTo>
                      <a:pt x="31312" y="74453"/>
                    </a:lnTo>
                    <a:lnTo>
                      <a:pt x="23409" y="65259"/>
                    </a:lnTo>
                    <a:lnTo>
                      <a:pt x="19128" y="67757"/>
                    </a:lnTo>
                    <a:lnTo>
                      <a:pt x="15478" y="62570"/>
                    </a:lnTo>
                    <a:lnTo>
                      <a:pt x="12267" y="46516"/>
                    </a:lnTo>
                    <a:lnTo>
                      <a:pt x="7025" y="34057"/>
                    </a:lnTo>
                    <a:lnTo>
                      <a:pt x="0" y="14435"/>
                    </a:lnTo>
                    <a:lnTo>
                      <a:pt x="1097" y="9852"/>
                    </a:lnTo>
                    <a:lnTo>
                      <a:pt x="439" y="0"/>
                    </a:lnTo>
                    <a:lnTo>
                      <a:pt x="6888" y="1098"/>
                    </a:lnTo>
                    <a:lnTo>
                      <a:pt x="12953" y="6971"/>
                    </a:lnTo>
                    <a:lnTo>
                      <a:pt x="12843" y="17042"/>
                    </a:lnTo>
                    <a:lnTo>
                      <a:pt x="17756" y="18771"/>
                    </a:lnTo>
                    <a:lnTo>
                      <a:pt x="18551" y="24644"/>
                    </a:lnTo>
                    <a:lnTo>
                      <a:pt x="16603" y="31477"/>
                    </a:lnTo>
                    <a:lnTo>
                      <a:pt x="19676" y="36142"/>
                    </a:lnTo>
                    <a:lnTo>
                      <a:pt x="23107" y="48025"/>
                    </a:lnTo>
                    <a:lnTo>
                      <a:pt x="22531" y="51648"/>
                    </a:lnTo>
                    <a:lnTo>
                      <a:pt x="27827" y="51895"/>
                    </a:lnTo>
                    <a:lnTo>
                      <a:pt x="28431" y="569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0" name="Freeform: Shape 4509">
                <a:extLst>
                  <a:ext uri="{FF2B5EF4-FFF2-40B4-BE49-F238E27FC236}">
                    <a16:creationId xmlns:a16="http://schemas.microsoft.com/office/drawing/2014/main" id="{BEF413C1-1F21-04E8-7A6A-78640F69206D}"/>
                  </a:ext>
                </a:extLst>
              </p:cNvPr>
              <p:cNvSpPr/>
              <p:nvPr/>
            </p:nvSpPr>
            <p:spPr>
              <a:xfrm>
                <a:off x="1463083" y="3411744"/>
                <a:ext cx="4271" cy="3449"/>
              </a:xfrm>
              <a:custGeom>
                <a:avLst/>
                <a:gdLst>
                  <a:gd name="connsiteX0" fmla="*/ 14654 w 40944"/>
                  <a:gd name="connsiteY0" fmla="*/ 29693 h 33068"/>
                  <a:gd name="connsiteX1" fmla="*/ 1317 w 40944"/>
                  <a:gd name="connsiteY1" fmla="*/ 33069 h 33068"/>
                  <a:gd name="connsiteX2" fmla="*/ 0 w 40944"/>
                  <a:gd name="connsiteY2" fmla="*/ 28650 h 33068"/>
                  <a:gd name="connsiteX3" fmla="*/ 604 w 40944"/>
                  <a:gd name="connsiteY3" fmla="*/ 24891 h 33068"/>
                  <a:gd name="connsiteX4" fmla="*/ 8589 w 40944"/>
                  <a:gd name="connsiteY4" fmla="*/ 21817 h 33068"/>
                  <a:gd name="connsiteX5" fmla="*/ 26674 w 40944"/>
                  <a:gd name="connsiteY5" fmla="*/ 9550 h 33068"/>
                  <a:gd name="connsiteX6" fmla="*/ 36718 w 40944"/>
                  <a:gd name="connsiteY6" fmla="*/ 0 h 33068"/>
                  <a:gd name="connsiteX7" fmla="*/ 40945 w 40944"/>
                  <a:gd name="connsiteY7" fmla="*/ 2031 h 33068"/>
                  <a:gd name="connsiteX8" fmla="*/ 39956 w 40944"/>
                  <a:gd name="connsiteY8" fmla="*/ 9495 h 33068"/>
                  <a:gd name="connsiteX9" fmla="*/ 19621 w 40944"/>
                  <a:gd name="connsiteY9" fmla="*/ 24479 h 33068"/>
                  <a:gd name="connsiteX10" fmla="*/ 14682 w 40944"/>
                  <a:gd name="connsiteY10" fmla="*/ 29638 h 33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944" h="33068">
                    <a:moveTo>
                      <a:pt x="14654" y="29693"/>
                    </a:moveTo>
                    <a:lnTo>
                      <a:pt x="1317" y="33069"/>
                    </a:lnTo>
                    <a:lnTo>
                      <a:pt x="0" y="28650"/>
                    </a:lnTo>
                    <a:lnTo>
                      <a:pt x="604" y="24891"/>
                    </a:lnTo>
                    <a:lnTo>
                      <a:pt x="8589" y="21817"/>
                    </a:lnTo>
                    <a:lnTo>
                      <a:pt x="26674" y="9550"/>
                    </a:lnTo>
                    <a:lnTo>
                      <a:pt x="36718" y="0"/>
                    </a:lnTo>
                    <a:lnTo>
                      <a:pt x="40945" y="2031"/>
                    </a:lnTo>
                    <a:lnTo>
                      <a:pt x="39956" y="9495"/>
                    </a:lnTo>
                    <a:lnTo>
                      <a:pt x="19621" y="24479"/>
                    </a:lnTo>
                    <a:lnTo>
                      <a:pt x="14682" y="296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1" name="Freeform: Shape 4510">
                <a:extLst>
                  <a:ext uri="{FF2B5EF4-FFF2-40B4-BE49-F238E27FC236}">
                    <a16:creationId xmlns:a16="http://schemas.microsoft.com/office/drawing/2014/main" id="{151497F5-38B2-C339-6B3E-2658E5A92FB8}"/>
                  </a:ext>
                </a:extLst>
              </p:cNvPr>
              <p:cNvSpPr/>
              <p:nvPr/>
            </p:nvSpPr>
            <p:spPr>
              <a:xfrm>
                <a:off x="1451367" y="3433735"/>
                <a:ext cx="2748" cy="2204"/>
              </a:xfrm>
              <a:custGeom>
                <a:avLst/>
                <a:gdLst>
                  <a:gd name="connsiteX0" fmla="*/ 26291 w 26345"/>
                  <a:gd name="connsiteY0" fmla="*/ 1482 h 21131"/>
                  <a:gd name="connsiteX1" fmla="*/ 26346 w 26345"/>
                  <a:gd name="connsiteY1" fmla="*/ 8233 h 21131"/>
                  <a:gd name="connsiteX2" fmla="*/ 23135 w 26345"/>
                  <a:gd name="connsiteY2" fmla="*/ 7876 h 21131"/>
                  <a:gd name="connsiteX3" fmla="*/ 16933 w 26345"/>
                  <a:gd name="connsiteY3" fmla="*/ 12349 h 21131"/>
                  <a:gd name="connsiteX4" fmla="*/ 10648 w 26345"/>
                  <a:gd name="connsiteY4" fmla="*/ 12130 h 21131"/>
                  <a:gd name="connsiteX5" fmla="*/ 1949 w 26345"/>
                  <a:gd name="connsiteY5" fmla="*/ 21131 h 21131"/>
                  <a:gd name="connsiteX6" fmla="*/ 0 w 26345"/>
                  <a:gd name="connsiteY6" fmla="*/ 16301 h 21131"/>
                  <a:gd name="connsiteX7" fmla="*/ 3239 w 26345"/>
                  <a:gd name="connsiteY7" fmla="*/ 7245 h 21131"/>
                  <a:gd name="connsiteX8" fmla="*/ 11472 w 26345"/>
                  <a:gd name="connsiteY8" fmla="*/ 5296 h 21131"/>
                  <a:gd name="connsiteX9" fmla="*/ 13118 w 26345"/>
                  <a:gd name="connsiteY9" fmla="*/ 0 h 21131"/>
                  <a:gd name="connsiteX10" fmla="*/ 26291 w 26345"/>
                  <a:gd name="connsiteY10" fmla="*/ 1482 h 21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45" h="21131">
                    <a:moveTo>
                      <a:pt x="26291" y="1482"/>
                    </a:moveTo>
                    <a:lnTo>
                      <a:pt x="26346" y="8233"/>
                    </a:lnTo>
                    <a:lnTo>
                      <a:pt x="23135" y="7876"/>
                    </a:lnTo>
                    <a:lnTo>
                      <a:pt x="16933" y="12349"/>
                    </a:lnTo>
                    <a:lnTo>
                      <a:pt x="10648" y="12130"/>
                    </a:lnTo>
                    <a:lnTo>
                      <a:pt x="1949" y="21131"/>
                    </a:lnTo>
                    <a:lnTo>
                      <a:pt x="0" y="16301"/>
                    </a:lnTo>
                    <a:lnTo>
                      <a:pt x="3239" y="7245"/>
                    </a:lnTo>
                    <a:lnTo>
                      <a:pt x="11472" y="5296"/>
                    </a:lnTo>
                    <a:lnTo>
                      <a:pt x="13118" y="0"/>
                    </a:lnTo>
                    <a:lnTo>
                      <a:pt x="26291"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2" name="Freeform: Shape 4511">
                <a:extLst>
                  <a:ext uri="{FF2B5EF4-FFF2-40B4-BE49-F238E27FC236}">
                    <a16:creationId xmlns:a16="http://schemas.microsoft.com/office/drawing/2014/main" id="{57B80F87-DA3C-2F7C-0998-E918B8CBC8B6}"/>
                  </a:ext>
                </a:extLst>
              </p:cNvPr>
              <p:cNvSpPr/>
              <p:nvPr/>
            </p:nvSpPr>
            <p:spPr>
              <a:xfrm>
                <a:off x="1450360" y="3412422"/>
                <a:ext cx="2098" cy="3086"/>
              </a:xfrm>
              <a:custGeom>
                <a:avLst/>
                <a:gdLst>
                  <a:gd name="connsiteX0" fmla="*/ 20116 w 20115"/>
                  <a:gd name="connsiteY0" fmla="*/ 20912 h 29583"/>
                  <a:gd name="connsiteX1" fmla="*/ 9962 w 20115"/>
                  <a:gd name="connsiteY1" fmla="*/ 29584 h 29583"/>
                  <a:gd name="connsiteX2" fmla="*/ 3239 w 20115"/>
                  <a:gd name="connsiteY2" fmla="*/ 22092 h 29583"/>
                  <a:gd name="connsiteX3" fmla="*/ 0 w 20115"/>
                  <a:gd name="connsiteY3" fmla="*/ 6065 h 29583"/>
                  <a:gd name="connsiteX4" fmla="*/ 4035 w 20115"/>
                  <a:gd name="connsiteY4" fmla="*/ 0 h 29583"/>
                  <a:gd name="connsiteX5" fmla="*/ 9715 w 20115"/>
                  <a:gd name="connsiteY5" fmla="*/ 3458 h 29583"/>
                  <a:gd name="connsiteX6" fmla="*/ 19265 w 20115"/>
                  <a:gd name="connsiteY6" fmla="*/ 15231 h 29583"/>
                  <a:gd name="connsiteX7" fmla="*/ 20088 w 20115"/>
                  <a:gd name="connsiteY7" fmla="*/ 20939 h 2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15" h="29583">
                    <a:moveTo>
                      <a:pt x="20116" y="20912"/>
                    </a:moveTo>
                    <a:lnTo>
                      <a:pt x="9962" y="29584"/>
                    </a:lnTo>
                    <a:lnTo>
                      <a:pt x="3239" y="22092"/>
                    </a:lnTo>
                    <a:lnTo>
                      <a:pt x="0" y="6065"/>
                    </a:lnTo>
                    <a:lnTo>
                      <a:pt x="4035" y="0"/>
                    </a:lnTo>
                    <a:lnTo>
                      <a:pt x="9715" y="3458"/>
                    </a:lnTo>
                    <a:lnTo>
                      <a:pt x="19265" y="15231"/>
                    </a:lnTo>
                    <a:lnTo>
                      <a:pt x="20088" y="209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3" name="Freeform: Shape 4512">
                <a:extLst>
                  <a:ext uri="{FF2B5EF4-FFF2-40B4-BE49-F238E27FC236}">
                    <a16:creationId xmlns:a16="http://schemas.microsoft.com/office/drawing/2014/main" id="{4B524441-D0FB-3A6D-3CD1-E70F99C8ABA3}"/>
                  </a:ext>
                </a:extLst>
              </p:cNvPr>
              <p:cNvSpPr/>
              <p:nvPr/>
            </p:nvSpPr>
            <p:spPr>
              <a:xfrm>
                <a:off x="1446370" y="3436008"/>
                <a:ext cx="1652" cy="2825"/>
              </a:xfrm>
              <a:custGeom>
                <a:avLst/>
                <a:gdLst>
                  <a:gd name="connsiteX0" fmla="*/ 14188 w 15834"/>
                  <a:gd name="connsiteY0" fmla="*/ 25796 h 27086"/>
                  <a:gd name="connsiteX1" fmla="*/ 9413 w 15834"/>
                  <a:gd name="connsiteY1" fmla="*/ 27086 h 27086"/>
                  <a:gd name="connsiteX2" fmla="*/ 7519 w 15834"/>
                  <a:gd name="connsiteY2" fmla="*/ 22256 h 27086"/>
                  <a:gd name="connsiteX3" fmla="*/ 2058 w 15834"/>
                  <a:gd name="connsiteY3" fmla="*/ 17426 h 27086"/>
                  <a:gd name="connsiteX4" fmla="*/ 0 w 15834"/>
                  <a:gd name="connsiteY4" fmla="*/ 5516 h 27086"/>
                  <a:gd name="connsiteX5" fmla="*/ 3074 w 15834"/>
                  <a:gd name="connsiteY5" fmla="*/ 0 h 27086"/>
                  <a:gd name="connsiteX6" fmla="*/ 6339 w 15834"/>
                  <a:gd name="connsiteY6" fmla="*/ 1976 h 27086"/>
                  <a:gd name="connsiteX7" fmla="*/ 10483 w 15834"/>
                  <a:gd name="connsiteY7" fmla="*/ 13118 h 27086"/>
                  <a:gd name="connsiteX8" fmla="*/ 15835 w 15834"/>
                  <a:gd name="connsiteY8" fmla="*/ 18387 h 27086"/>
                  <a:gd name="connsiteX9" fmla="*/ 14215 w 15834"/>
                  <a:gd name="connsiteY9" fmla="*/ 25824 h 2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34" h="27086">
                    <a:moveTo>
                      <a:pt x="14188" y="25796"/>
                    </a:moveTo>
                    <a:lnTo>
                      <a:pt x="9413" y="27086"/>
                    </a:lnTo>
                    <a:lnTo>
                      <a:pt x="7519" y="22256"/>
                    </a:lnTo>
                    <a:lnTo>
                      <a:pt x="2058" y="17426"/>
                    </a:lnTo>
                    <a:lnTo>
                      <a:pt x="0" y="5516"/>
                    </a:lnTo>
                    <a:lnTo>
                      <a:pt x="3074" y="0"/>
                    </a:lnTo>
                    <a:lnTo>
                      <a:pt x="6339" y="1976"/>
                    </a:lnTo>
                    <a:lnTo>
                      <a:pt x="10483" y="13118"/>
                    </a:lnTo>
                    <a:lnTo>
                      <a:pt x="15835" y="18387"/>
                    </a:lnTo>
                    <a:lnTo>
                      <a:pt x="14215" y="258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4" name="Freeform: Shape 4513">
                <a:extLst>
                  <a:ext uri="{FF2B5EF4-FFF2-40B4-BE49-F238E27FC236}">
                    <a16:creationId xmlns:a16="http://schemas.microsoft.com/office/drawing/2014/main" id="{2DE37DD8-C56C-F241-95B7-C669D390EEF5}"/>
                  </a:ext>
                </a:extLst>
              </p:cNvPr>
              <p:cNvSpPr/>
              <p:nvPr/>
            </p:nvSpPr>
            <p:spPr>
              <a:xfrm>
                <a:off x="1420904" y="3409420"/>
                <a:ext cx="1554" cy="2513"/>
              </a:xfrm>
              <a:custGeom>
                <a:avLst/>
                <a:gdLst>
                  <a:gd name="connsiteX0" fmla="*/ 14901 w 14901"/>
                  <a:gd name="connsiteY0" fmla="*/ 20445 h 24094"/>
                  <a:gd name="connsiteX1" fmla="*/ 8535 w 14901"/>
                  <a:gd name="connsiteY1" fmla="*/ 24095 h 24094"/>
                  <a:gd name="connsiteX2" fmla="*/ 7822 w 14901"/>
                  <a:gd name="connsiteY2" fmla="*/ 18963 h 24094"/>
                  <a:gd name="connsiteX3" fmla="*/ 521 w 14901"/>
                  <a:gd name="connsiteY3" fmla="*/ 15889 h 24094"/>
                  <a:gd name="connsiteX4" fmla="*/ 0 w 14901"/>
                  <a:gd name="connsiteY4" fmla="*/ 12679 h 24094"/>
                  <a:gd name="connsiteX5" fmla="*/ 2058 w 14901"/>
                  <a:gd name="connsiteY5" fmla="*/ 2278 h 24094"/>
                  <a:gd name="connsiteX6" fmla="*/ 6833 w 14901"/>
                  <a:gd name="connsiteY6" fmla="*/ 0 h 24094"/>
                  <a:gd name="connsiteX7" fmla="*/ 12926 w 14901"/>
                  <a:gd name="connsiteY7" fmla="*/ 4281 h 24094"/>
                  <a:gd name="connsiteX8" fmla="*/ 14874 w 14901"/>
                  <a:gd name="connsiteY8" fmla="*/ 20445 h 2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1" h="24094">
                    <a:moveTo>
                      <a:pt x="14901" y="20445"/>
                    </a:moveTo>
                    <a:lnTo>
                      <a:pt x="8535" y="24095"/>
                    </a:lnTo>
                    <a:lnTo>
                      <a:pt x="7822" y="18963"/>
                    </a:lnTo>
                    <a:lnTo>
                      <a:pt x="521" y="15889"/>
                    </a:lnTo>
                    <a:lnTo>
                      <a:pt x="0" y="12679"/>
                    </a:lnTo>
                    <a:lnTo>
                      <a:pt x="2058" y="2278"/>
                    </a:lnTo>
                    <a:lnTo>
                      <a:pt x="6833" y="0"/>
                    </a:lnTo>
                    <a:lnTo>
                      <a:pt x="12926" y="4281"/>
                    </a:lnTo>
                    <a:lnTo>
                      <a:pt x="14874" y="204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5" name="Freeform: Shape 4514">
                <a:extLst>
                  <a:ext uri="{FF2B5EF4-FFF2-40B4-BE49-F238E27FC236}">
                    <a16:creationId xmlns:a16="http://schemas.microsoft.com/office/drawing/2014/main" id="{E06B2010-E40A-E0D6-F00B-0CE3D9D24C0A}"/>
                  </a:ext>
                </a:extLst>
              </p:cNvPr>
              <p:cNvSpPr/>
              <p:nvPr/>
            </p:nvSpPr>
            <p:spPr>
              <a:xfrm>
                <a:off x="1428606" y="3402020"/>
                <a:ext cx="945" cy="3071"/>
              </a:xfrm>
              <a:custGeom>
                <a:avLst/>
                <a:gdLst>
                  <a:gd name="connsiteX0" fmla="*/ 3650 w 9056"/>
                  <a:gd name="connsiteY0" fmla="*/ 3513 h 29446"/>
                  <a:gd name="connsiteX1" fmla="*/ 4144 w 9056"/>
                  <a:gd name="connsiteY1" fmla="*/ 13529 h 29446"/>
                  <a:gd name="connsiteX2" fmla="*/ 8014 w 9056"/>
                  <a:gd name="connsiteY2" fmla="*/ 6888 h 29446"/>
                  <a:gd name="connsiteX3" fmla="*/ 9056 w 9056"/>
                  <a:gd name="connsiteY3" fmla="*/ 19402 h 29446"/>
                  <a:gd name="connsiteX4" fmla="*/ 4501 w 9056"/>
                  <a:gd name="connsiteY4" fmla="*/ 19402 h 29446"/>
                  <a:gd name="connsiteX5" fmla="*/ 3650 w 9056"/>
                  <a:gd name="connsiteY5" fmla="*/ 29446 h 29446"/>
                  <a:gd name="connsiteX6" fmla="*/ 0 w 9056"/>
                  <a:gd name="connsiteY6" fmla="*/ 22092 h 29446"/>
                  <a:gd name="connsiteX7" fmla="*/ 961 w 9056"/>
                  <a:gd name="connsiteY7" fmla="*/ 17152 h 29446"/>
                  <a:gd name="connsiteX8" fmla="*/ 165 w 9056"/>
                  <a:gd name="connsiteY8" fmla="*/ 6065 h 29446"/>
                  <a:gd name="connsiteX9" fmla="*/ 1043 w 9056"/>
                  <a:gd name="connsiteY9" fmla="*/ 0 h 29446"/>
                  <a:gd name="connsiteX10" fmla="*/ 3678 w 9056"/>
                  <a:gd name="connsiteY10" fmla="*/ 3540 h 2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56" h="29446">
                    <a:moveTo>
                      <a:pt x="3650" y="3513"/>
                    </a:moveTo>
                    <a:lnTo>
                      <a:pt x="4144" y="13529"/>
                    </a:lnTo>
                    <a:lnTo>
                      <a:pt x="8014" y="6888"/>
                    </a:lnTo>
                    <a:lnTo>
                      <a:pt x="9056" y="19402"/>
                    </a:lnTo>
                    <a:lnTo>
                      <a:pt x="4501" y="19402"/>
                    </a:lnTo>
                    <a:cubicBezTo>
                      <a:pt x="4501" y="19402"/>
                      <a:pt x="3650" y="29446"/>
                      <a:pt x="3650" y="29446"/>
                    </a:cubicBezTo>
                    <a:lnTo>
                      <a:pt x="0" y="22092"/>
                    </a:lnTo>
                    <a:lnTo>
                      <a:pt x="961" y="17152"/>
                    </a:lnTo>
                    <a:lnTo>
                      <a:pt x="165" y="6065"/>
                    </a:lnTo>
                    <a:lnTo>
                      <a:pt x="1043" y="0"/>
                    </a:lnTo>
                    <a:lnTo>
                      <a:pt x="3678"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6" name="Freeform: Shape 4515">
                <a:extLst>
                  <a:ext uri="{FF2B5EF4-FFF2-40B4-BE49-F238E27FC236}">
                    <a16:creationId xmlns:a16="http://schemas.microsoft.com/office/drawing/2014/main" id="{D56FF96F-A6A8-CE5D-C214-BCE8C3661FA0}"/>
                  </a:ext>
                </a:extLst>
              </p:cNvPr>
              <p:cNvSpPr/>
              <p:nvPr/>
            </p:nvSpPr>
            <p:spPr>
              <a:xfrm>
                <a:off x="1425592" y="3426004"/>
                <a:ext cx="913" cy="1820"/>
              </a:xfrm>
              <a:custGeom>
                <a:avLst/>
                <a:gdLst>
                  <a:gd name="connsiteX0" fmla="*/ 8397 w 8754"/>
                  <a:gd name="connsiteY0" fmla="*/ 13035 h 17453"/>
                  <a:gd name="connsiteX1" fmla="*/ 2772 w 8754"/>
                  <a:gd name="connsiteY1" fmla="*/ 17454 h 17453"/>
                  <a:gd name="connsiteX2" fmla="*/ 0 w 8754"/>
                  <a:gd name="connsiteY2" fmla="*/ 5571 h 17453"/>
                  <a:gd name="connsiteX3" fmla="*/ 1235 w 8754"/>
                  <a:gd name="connsiteY3" fmla="*/ 0 h 17453"/>
                  <a:gd name="connsiteX4" fmla="*/ 2744 w 8754"/>
                  <a:gd name="connsiteY4" fmla="*/ 3595 h 17453"/>
                  <a:gd name="connsiteX5" fmla="*/ 8754 w 8754"/>
                  <a:gd name="connsiteY5" fmla="*/ 8068 h 17453"/>
                  <a:gd name="connsiteX6" fmla="*/ 8397 w 8754"/>
                  <a:gd name="connsiteY6" fmla="*/ 13035 h 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54" h="17453">
                    <a:moveTo>
                      <a:pt x="8397" y="13035"/>
                    </a:moveTo>
                    <a:lnTo>
                      <a:pt x="2772" y="17454"/>
                    </a:lnTo>
                    <a:lnTo>
                      <a:pt x="0" y="5571"/>
                    </a:lnTo>
                    <a:lnTo>
                      <a:pt x="1235" y="0"/>
                    </a:lnTo>
                    <a:lnTo>
                      <a:pt x="2744" y="3595"/>
                    </a:lnTo>
                    <a:lnTo>
                      <a:pt x="8754" y="8068"/>
                    </a:lnTo>
                    <a:lnTo>
                      <a:pt x="8397" y="130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7" name="Freeform: Shape 4516">
                <a:extLst>
                  <a:ext uri="{FF2B5EF4-FFF2-40B4-BE49-F238E27FC236}">
                    <a16:creationId xmlns:a16="http://schemas.microsoft.com/office/drawing/2014/main" id="{3C48EDEE-F61D-8F75-299C-5D804524FF17}"/>
                  </a:ext>
                </a:extLst>
              </p:cNvPr>
              <p:cNvSpPr/>
              <p:nvPr/>
            </p:nvSpPr>
            <p:spPr>
              <a:xfrm>
                <a:off x="1454453" y="3434525"/>
                <a:ext cx="1016" cy="1059"/>
              </a:xfrm>
              <a:custGeom>
                <a:avLst/>
                <a:gdLst>
                  <a:gd name="connsiteX0" fmla="*/ 9715 w 9742"/>
                  <a:gd name="connsiteY0" fmla="*/ 2662 h 10153"/>
                  <a:gd name="connsiteX1" fmla="*/ 9715 w 9742"/>
                  <a:gd name="connsiteY1" fmla="*/ 10154 h 10153"/>
                  <a:gd name="connsiteX2" fmla="*/ 851 w 9742"/>
                  <a:gd name="connsiteY2" fmla="*/ 6284 h 10153"/>
                  <a:gd name="connsiteX3" fmla="*/ 0 w 9742"/>
                  <a:gd name="connsiteY3" fmla="*/ 2744 h 10153"/>
                  <a:gd name="connsiteX4" fmla="*/ 604 w 9742"/>
                  <a:gd name="connsiteY4" fmla="*/ 0 h 10153"/>
                  <a:gd name="connsiteX5" fmla="*/ 9742 w 9742"/>
                  <a:gd name="connsiteY5" fmla="*/ 2662 h 10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42" h="10153">
                    <a:moveTo>
                      <a:pt x="9715" y="2662"/>
                    </a:moveTo>
                    <a:lnTo>
                      <a:pt x="9715" y="10154"/>
                    </a:lnTo>
                    <a:cubicBezTo>
                      <a:pt x="9715" y="10154"/>
                      <a:pt x="851" y="6284"/>
                      <a:pt x="851" y="6284"/>
                    </a:cubicBezTo>
                    <a:lnTo>
                      <a:pt x="0" y="2744"/>
                    </a:lnTo>
                    <a:lnTo>
                      <a:pt x="604" y="0"/>
                    </a:lnTo>
                    <a:lnTo>
                      <a:pt x="9742"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8" name="Freeform: Shape 4517">
                <a:extLst>
                  <a:ext uri="{FF2B5EF4-FFF2-40B4-BE49-F238E27FC236}">
                    <a16:creationId xmlns:a16="http://schemas.microsoft.com/office/drawing/2014/main" id="{9AE52F7F-C976-C36B-A507-0AAED9AC85B9}"/>
                  </a:ext>
                </a:extLst>
              </p:cNvPr>
              <p:cNvSpPr/>
              <p:nvPr/>
            </p:nvSpPr>
            <p:spPr>
              <a:xfrm>
                <a:off x="1426554" y="3428211"/>
                <a:ext cx="549" cy="1093"/>
              </a:xfrm>
              <a:custGeom>
                <a:avLst/>
                <a:gdLst>
                  <a:gd name="connsiteX0" fmla="*/ 5269 w 5268"/>
                  <a:gd name="connsiteY0" fmla="*/ 8946 h 10483"/>
                  <a:gd name="connsiteX1" fmla="*/ 439 w 5268"/>
                  <a:gd name="connsiteY1" fmla="*/ 10483 h 10483"/>
                  <a:gd name="connsiteX2" fmla="*/ 0 w 5268"/>
                  <a:gd name="connsiteY2" fmla="*/ 1125 h 10483"/>
                  <a:gd name="connsiteX3" fmla="*/ 4995 w 5268"/>
                  <a:gd name="connsiteY3" fmla="*/ 0 h 10483"/>
                  <a:gd name="connsiteX4" fmla="*/ 5269 w 5268"/>
                  <a:gd name="connsiteY4" fmla="*/ 8946 h 10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8" h="10483">
                    <a:moveTo>
                      <a:pt x="5269" y="8946"/>
                    </a:moveTo>
                    <a:lnTo>
                      <a:pt x="439" y="10483"/>
                    </a:lnTo>
                    <a:lnTo>
                      <a:pt x="0" y="1125"/>
                    </a:lnTo>
                    <a:lnTo>
                      <a:pt x="4995" y="0"/>
                    </a:lnTo>
                    <a:lnTo>
                      <a:pt x="5269" y="89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9" name="Freeform: Shape 4518">
                <a:extLst>
                  <a:ext uri="{FF2B5EF4-FFF2-40B4-BE49-F238E27FC236}">
                    <a16:creationId xmlns:a16="http://schemas.microsoft.com/office/drawing/2014/main" id="{55DF8915-E2C3-F948-6C06-E5E983E00951}"/>
                  </a:ext>
                </a:extLst>
              </p:cNvPr>
              <p:cNvSpPr/>
              <p:nvPr/>
            </p:nvSpPr>
            <p:spPr>
              <a:xfrm>
                <a:off x="1457728" y="3432530"/>
                <a:ext cx="358" cy="1617"/>
              </a:xfrm>
              <a:custGeom>
                <a:avLst/>
                <a:gdLst>
                  <a:gd name="connsiteX0" fmla="*/ 3430 w 3430"/>
                  <a:gd name="connsiteY0" fmla="*/ 12596 h 15505"/>
                  <a:gd name="connsiteX1" fmla="*/ 1482 w 3430"/>
                  <a:gd name="connsiteY1" fmla="*/ 15505 h 15505"/>
                  <a:gd name="connsiteX2" fmla="*/ 0 w 3430"/>
                  <a:gd name="connsiteY2" fmla="*/ 6888 h 15505"/>
                  <a:gd name="connsiteX3" fmla="*/ 686 w 3430"/>
                  <a:gd name="connsiteY3" fmla="*/ 0 h 15505"/>
                  <a:gd name="connsiteX4" fmla="*/ 3156 w 3430"/>
                  <a:gd name="connsiteY4" fmla="*/ 2470 h 15505"/>
                  <a:gd name="connsiteX5" fmla="*/ 3430 w 3430"/>
                  <a:gd name="connsiteY5" fmla="*/ 12624 h 1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30" h="15505">
                    <a:moveTo>
                      <a:pt x="3430" y="12596"/>
                    </a:moveTo>
                    <a:lnTo>
                      <a:pt x="1482" y="15505"/>
                    </a:lnTo>
                    <a:lnTo>
                      <a:pt x="0" y="6888"/>
                    </a:lnTo>
                    <a:lnTo>
                      <a:pt x="686" y="0"/>
                    </a:lnTo>
                    <a:lnTo>
                      <a:pt x="3156" y="2470"/>
                    </a:lnTo>
                    <a:lnTo>
                      <a:pt x="3430" y="126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0" name="Freeform: Shape 4519">
                <a:extLst>
                  <a:ext uri="{FF2B5EF4-FFF2-40B4-BE49-F238E27FC236}">
                    <a16:creationId xmlns:a16="http://schemas.microsoft.com/office/drawing/2014/main" id="{A3704594-21F4-A814-2C06-353A11E29A78}"/>
                  </a:ext>
                </a:extLst>
              </p:cNvPr>
              <p:cNvSpPr/>
              <p:nvPr/>
            </p:nvSpPr>
            <p:spPr>
              <a:xfrm>
                <a:off x="1409480" y="3415181"/>
                <a:ext cx="509" cy="1248"/>
              </a:xfrm>
              <a:custGeom>
                <a:avLst/>
                <a:gdLst>
                  <a:gd name="connsiteX0" fmla="*/ 4885 w 4884"/>
                  <a:gd name="connsiteY0" fmla="*/ 8343 h 11965"/>
                  <a:gd name="connsiteX1" fmla="*/ 301 w 4884"/>
                  <a:gd name="connsiteY1" fmla="*/ 11965 h 11965"/>
                  <a:gd name="connsiteX2" fmla="*/ 0 w 4884"/>
                  <a:gd name="connsiteY2" fmla="*/ 2333 h 11965"/>
                  <a:gd name="connsiteX3" fmla="*/ 3952 w 4884"/>
                  <a:gd name="connsiteY3" fmla="*/ 0 h 11965"/>
                  <a:gd name="connsiteX4" fmla="*/ 4885 w 4884"/>
                  <a:gd name="connsiteY4" fmla="*/ 8343 h 11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4" h="11965">
                    <a:moveTo>
                      <a:pt x="4885" y="8343"/>
                    </a:moveTo>
                    <a:lnTo>
                      <a:pt x="301" y="11965"/>
                    </a:lnTo>
                    <a:lnTo>
                      <a:pt x="0" y="2333"/>
                    </a:lnTo>
                    <a:lnTo>
                      <a:pt x="3952" y="0"/>
                    </a:lnTo>
                    <a:lnTo>
                      <a:pt x="4885" y="83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1" name="Freeform: Shape 4520">
                <a:extLst>
                  <a:ext uri="{FF2B5EF4-FFF2-40B4-BE49-F238E27FC236}">
                    <a16:creationId xmlns:a16="http://schemas.microsoft.com/office/drawing/2014/main" id="{89790915-2315-B011-A882-6D8E93322125}"/>
                  </a:ext>
                </a:extLst>
              </p:cNvPr>
              <p:cNvSpPr/>
              <p:nvPr/>
            </p:nvSpPr>
            <p:spPr>
              <a:xfrm>
                <a:off x="1429989" y="3403323"/>
                <a:ext cx="495" cy="1271"/>
              </a:xfrm>
              <a:custGeom>
                <a:avLst/>
                <a:gdLst>
                  <a:gd name="connsiteX0" fmla="*/ 4610 w 4747"/>
                  <a:gd name="connsiteY0" fmla="*/ 8425 h 12184"/>
                  <a:gd name="connsiteX1" fmla="*/ 1372 w 4747"/>
                  <a:gd name="connsiteY1" fmla="*/ 12185 h 12184"/>
                  <a:gd name="connsiteX2" fmla="*/ 0 w 4747"/>
                  <a:gd name="connsiteY2" fmla="*/ 5626 h 12184"/>
                  <a:gd name="connsiteX3" fmla="*/ 714 w 4747"/>
                  <a:gd name="connsiteY3" fmla="*/ 439 h 12184"/>
                  <a:gd name="connsiteX4" fmla="*/ 4748 w 4747"/>
                  <a:gd name="connsiteY4" fmla="*/ 0 h 12184"/>
                  <a:gd name="connsiteX5" fmla="*/ 4610 w 4747"/>
                  <a:gd name="connsiteY5" fmla="*/ 8425 h 12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7" h="12184">
                    <a:moveTo>
                      <a:pt x="4610" y="8425"/>
                    </a:moveTo>
                    <a:lnTo>
                      <a:pt x="1372" y="12185"/>
                    </a:lnTo>
                    <a:lnTo>
                      <a:pt x="0" y="5626"/>
                    </a:lnTo>
                    <a:lnTo>
                      <a:pt x="714" y="439"/>
                    </a:lnTo>
                    <a:lnTo>
                      <a:pt x="4748" y="0"/>
                    </a:lnTo>
                    <a:lnTo>
                      <a:pt x="4610" y="84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2" name="Freeform: Shape 4521">
                <a:extLst>
                  <a:ext uri="{FF2B5EF4-FFF2-40B4-BE49-F238E27FC236}">
                    <a16:creationId xmlns:a16="http://schemas.microsoft.com/office/drawing/2014/main" id="{E6047E86-4143-E2F2-BFB0-72AD78495502}"/>
                  </a:ext>
                </a:extLst>
              </p:cNvPr>
              <p:cNvSpPr/>
              <p:nvPr/>
            </p:nvSpPr>
            <p:spPr>
              <a:xfrm>
                <a:off x="1324580" y="3813621"/>
                <a:ext cx="9274" cy="9546"/>
              </a:xfrm>
              <a:custGeom>
                <a:avLst/>
                <a:gdLst>
                  <a:gd name="connsiteX0" fmla="*/ 88915 w 88915"/>
                  <a:gd name="connsiteY0" fmla="*/ 45089 h 91522"/>
                  <a:gd name="connsiteX1" fmla="*/ 88010 w 88915"/>
                  <a:gd name="connsiteY1" fmla="*/ 53349 h 91522"/>
                  <a:gd name="connsiteX2" fmla="*/ 80189 w 88915"/>
                  <a:gd name="connsiteY2" fmla="*/ 57657 h 91522"/>
                  <a:gd name="connsiteX3" fmla="*/ 78981 w 88915"/>
                  <a:gd name="connsiteY3" fmla="*/ 66000 h 91522"/>
                  <a:gd name="connsiteX4" fmla="*/ 58756 w 88915"/>
                  <a:gd name="connsiteY4" fmla="*/ 83317 h 91522"/>
                  <a:gd name="connsiteX5" fmla="*/ 56011 w 88915"/>
                  <a:gd name="connsiteY5" fmla="*/ 89958 h 91522"/>
                  <a:gd name="connsiteX6" fmla="*/ 53130 w 88915"/>
                  <a:gd name="connsiteY6" fmla="*/ 91522 h 91522"/>
                  <a:gd name="connsiteX7" fmla="*/ 40671 w 88915"/>
                  <a:gd name="connsiteY7" fmla="*/ 84167 h 91522"/>
                  <a:gd name="connsiteX8" fmla="*/ 14161 w 88915"/>
                  <a:gd name="connsiteY8" fmla="*/ 73080 h 91522"/>
                  <a:gd name="connsiteX9" fmla="*/ 19896 w 88915"/>
                  <a:gd name="connsiteY9" fmla="*/ 69101 h 91522"/>
                  <a:gd name="connsiteX10" fmla="*/ 12267 w 88915"/>
                  <a:gd name="connsiteY10" fmla="*/ 63860 h 91522"/>
                  <a:gd name="connsiteX11" fmla="*/ 12267 w 88915"/>
                  <a:gd name="connsiteY11" fmla="*/ 59469 h 91522"/>
                  <a:gd name="connsiteX12" fmla="*/ 9687 w 88915"/>
                  <a:gd name="connsiteY12" fmla="*/ 54145 h 91522"/>
                  <a:gd name="connsiteX13" fmla="*/ 4556 w 88915"/>
                  <a:gd name="connsiteY13" fmla="*/ 53047 h 91522"/>
                  <a:gd name="connsiteX14" fmla="*/ 1784 w 88915"/>
                  <a:gd name="connsiteY14" fmla="*/ 48738 h 91522"/>
                  <a:gd name="connsiteX15" fmla="*/ 1564 w 88915"/>
                  <a:gd name="connsiteY15" fmla="*/ 45994 h 91522"/>
                  <a:gd name="connsiteX16" fmla="*/ 5845 w 88915"/>
                  <a:gd name="connsiteY16" fmla="*/ 44018 h 91522"/>
                  <a:gd name="connsiteX17" fmla="*/ 2689 w 88915"/>
                  <a:gd name="connsiteY17" fmla="*/ 40478 h 91522"/>
                  <a:gd name="connsiteX18" fmla="*/ 3019 w 88915"/>
                  <a:gd name="connsiteY18" fmla="*/ 33618 h 91522"/>
                  <a:gd name="connsiteX19" fmla="*/ 0 w 88915"/>
                  <a:gd name="connsiteY19" fmla="*/ 28623 h 91522"/>
                  <a:gd name="connsiteX20" fmla="*/ 8315 w 88915"/>
                  <a:gd name="connsiteY20" fmla="*/ 27059 h 91522"/>
                  <a:gd name="connsiteX21" fmla="*/ 11115 w 88915"/>
                  <a:gd name="connsiteY21" fmla="*/ 21954 h 91522"/>
                  <a:gd name="connsiteX22" fmla="*/ 18003 w 88915"/>
                  <a:gd name="connsiteY22" fmla="*/ 17124 h 91522"/>
                  <a:gd name="connsiteX23" fmla="*/ 23107 w 88915"/>
                  <a:gd name="connsiteY23" fmla="*/ 7272 h 91522"/>
                  <a:gd name="connsiteX24" fmla="*/ 24754 w 88915"/>
                  <a:gd name="connsiteY24" fmla="*/ 4171 h 91522"/>
                  <a:gd name="connsiteX25" fmla="*/ 29392 w 88915"/>
                  <a:gd name="connsiteY25" fmla="*/ 2744 h 91522"/>
                  <a:gd name="connsiteX26" fmla="*/ 35648 w 88915"/>
                  <a:gd name="connsiteY26" fmla="*/ 3430 h 91522"/>
                  <a:gd name="connsiteX27" fmla="*/ 43415 w 88915"/>
                  <a:gd name="connsiteY27" fmla="*/ 110 h 91522"/>
                  <a:gd name="connsiteX28" fmla="*/ 58893 w 88915"/>
                  <a:gd name="connsiteY28" fmla="*/ 0 h 91522"/>
                  <a:gd name="connsiteX29" fmla="*/ 62049 w 88915"/>
                  <a:gd name="connsiteY29" fmla="*/ 713 h 91522"/>
                  <a:gd name="connsiteX30" fmla="*/ 67455 w 88915"/>
                  <a:gd name="connsiteY30" fmla="*/ 7272 h 91522"/>
                  <a:gd name="connsiteX31" fmla="*/ 72944 w 88915"/>
                  <a:gd name="connsiteY31" fmla="*/ 17289 h 91522"/>
                  <a:gd name="connsiteX32" fmla="*/ 77033 w 88915"/>
                  <a:gd name="connsiteY32" fmla="*/ 20362 h 91522"/>
                  <a:gd name="connsiteX33" fmla="*/ 75907 w 88915"/>
                  <a:gd name="connsiteY33" fmla="*/ 26620 h 91522"/>
                  <a:gd name="connsiteX34" fmla="*/ 79420 w 88915"/>
                  <a:gd name="connsiteY34" fmla="*/ 28760 h 91522"/>
                  <a:gd name="connsiteX35" fmla="*/ 80079 w 88915"/>
                  <a:gd name="connsiteY35" fmla="*/ 34743 h 91522"/>
                  <a:gd name="connsiteX36" fmla="*/ 82851 w 88915"/>
                  <a:gd name="connsiteY36" fmla="*/ 39408 h 91522"/>
                  <a:gd name="connsiteX37" fmla="*/ 78597 w 88915"/>
                  <a:gd name="connsiteY37" fmla="*/ 44485 h 91522"/>
                  <a:gd name="connsiteX38" fmla="*/ 77938 w 88915"/>
                  <a:gd name="connsiteY38" fmla="*/ 49013 h 91522"/>
                  <a:gd name="connsiteX39" fmla="*/ 80984 w 88915"/>
                  <a:gd name="connsiteY39" fmla="*/ 49919 h 91522"/>
                  <a:gd name="connsiteX40" fmla="*/ 85897 w 88915"/>
                  <a:gd name="connsiteY40" fmla="*/ 45308 h 91522"/>
                  <a:gd name="connsiteX41" fmla="*/ 88888 w 88915"/>
                  <a:gd name="connsiteY41" fmla="*/ 45034 h 9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8915" h="91522">
                    <a:moveTo>
                      <a:pt x="88915" y="45089"/>
                    </a:moveTo>
                    <a:lnTo>
                      <a:pt x="88010" y="53349"/>
                    </a:lnTo>
                    <a:lnTo>
                      <a:pt x="80189" y="57657"/>
                    </a:lnTo>
                    <a:lnTo>
                      <a:pt x="78981" y="66000"/>
                    </a:lnTo>
                    <a:lnTo>
                      <a:pt x="58756" y="83317"/>
                    </a:lnTo>
                    <a:lnTo>
                      <a:pt x="56011" y="89958"/>
                    </a:lnTo>
                    <a:lnTo>
                      <a:pt x="53130" y="91522"/>
                    </a:lnTo>
                    <a:lnTo>
                      <a:pt x="40671" y="84167"/>
                    </a:lnTo>
                    <a:lnTo>
                      <a:pt x="14161" y="73080"/>
                    </a:lnTo>
                    <a:lnTo>
                      <a:pt x="19896" y="69101"/>
                    </a:lnTo>
                    <a:lnTo>
                      <a:pt x="12267" y="63860"/>
                    </a:lnTo>
                    <a:lnTo>
                      <a:pt x="12267" y="59469"/>
                    </a:lnTo>
                    <a:cubicBezTo>
                      <a:pt x="12267" y="59469"/>
                      <a:pt x="9687" y="54145"/>
                      <a:pt x="9687" y="54145"/>
                    </a:cubicBezTo>
                    <a:lnTo>
                      <a:pt x="4556" y="53047"/>
                    </a:lnTo>
                    <a:lnTo>
                      <a:pt x="1784" y="48738"/>
                    </a:lnTo>
                    <a:lnTo>
                      <a:pt x="1564" y="45994"/>
                    </a:lnTo>
                    <a:lnTo>
                      <a:pt x="5845" y="44018"/>
                    </a:lnTo>
                    <a:lnTo>
                      <a:pt x="2689" y="40478"/>
                    </a:lnTo>
                    <a:lnTo>
                      <a:pt x="3019" y="33618"/>
                    </a:lnTo>
                    <a:lnTo>
                      <a:pt x="0" y="28623"/>
                    </a:lnTo>
                    <a:lnTo>
                      <a:pt x="8315" y="27059"/>
                    </a:lnTo>
                    <a:lnTo>
                      <a:pt x="11115" y="21954"/>
                    </a:lnTo>
                    <a:lnTo>
                      <a:pt x="18003" y="17124"/>
                    </a:lnTo>
                    <a:lnTo>
                      <a:pt x="23107" y="7272"/>
                    </a:lnTo>
                    <a:lnTo>
                      <a:pt x="24754" y="4171"/>
                    </a:lnTo>
                    <a:lnTo>
                      <a:pt x="29392" y="2744"/>
                    </a:lnTo>
                    <a:lnTo>
                      <a:pt x="35648" y="3430"/>
                    </a:lnTo>
                    <a:lnTo>
                      <a:pt x="43415" y="110"/>
                    </a:lnTo>
                    <a:lnTo>
                      <a:pt x="58893" y="0"/>
                    </a:lnTo>
                    <a:lnTo>
                      <a:pt x="62049" y="713"/>
                    </a:lnTo>
                    <a:lnTo>
                      <a:pt x="67455" y="7272"/>
                    </a:lnTo>
                    <a:lnTo>
                      <a:pt x="72944" y="17289"/>
                    </a:lnTo>
                    <a:lnTo>
                      <a:pt x="77033" y="20362"/>
                    </a:lnTo>
                    <a:lnTo>
                      <a:pt x="75907" y="26620"/>
                    </a:lnTo>
                    <a:lnTo>
                      <a:pt x="79420" y="28760"/>
                    </a:lnTo>
                    <a:lnTo>
                      <a:pt x="80079" y="34743"/>
                    </a:lnTo>
                    <a:lnTo>
                      <a:pt x="82851" y="39408"/>
                    </a:lnTo>
                    <a:lnTo>
                      <a:pt x="78597" y="44485"/>
                    </a:lnTo>
                    <a:lnTo>
                      <a:pt x="77938" y="49013"/>
                    </a:lnTo>
                    <a:lnTo>
                      <a:pt x="80984" y="49919"/>
                    </a:lnTo>
                    <a:lnTo>
                      <a:pt x="85897" y="45308"/>
                    </a:lnTo>
                    <a:lnTo>
                      <a:pt x="88888" y="450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3" name="Freeform: Shape 4522">
                <a:extLst>
                  <a:ext uri="{FF2B5EF4-FFF2-40B4-BE49-F238E27FC236}">
                    <a16:creationId xmlns:a16="http://schemas.microsoft.com/office/drawing/2014/main" id="{E85800A3-45B8-D15E-7540-28B53E499148}"/>
                  </a:ext>
                </a:extLst>
              </p:cNvPr>
              <p:cNvSpPr/>
              <p:nvPr/>
            </p:nvSpPr>
            <p:spPr>
              <a:xfrm>
                <a:off x="1311711" y="3792568"/>
                <a:ext cx="18777" cy="13745"/>
              </a:xfrm>
              <a:custGeom>
                <a:avLst/>
                <a:gdLst>
                  <a:gd name="connsiteX0" fmla="*/ 154724 w 180025"/>
                  <a:gd name="connsiteY0" fmla="*/ 58481 h 131781"/>
                  <a:gd name="connsiteX1" fmla="*/ 156974 w 180025"/>
                  <a:gd name="connsiteY1" fmla="*/ 61939 h 131781"/>
                  <a:gd name="connsiteX2" fmla="*/ 155931 w 180025"/>
                  <a:gd name="connsiteY2" fmla="*/ 68333 h 131781"/>
                  <a:gd name="connsiteX3" fmla="*/ 161200 w 180025"/>
                  <a:gd name="connsiteY3" fmla="*/ 73849 h 131781"/>
                  <a:gd name="connsiteX4" fmla="*/ 161667 w 180025"/>
                  <a:gd name="connsiteY4" fmla="*/ 81121 h 131781"/>
                  <a:gd name="connsiteX5" fmla="*/ 163505 w 180025"/>
                  <a:gd name="connsiteY5" fmla="*/ 84579 h 131781"/>
                  <a:gd name="connsiteX6" fmla="*/ 160404 w 180025"/>
                  <a:gd name="connsiteY6" fmla="*/ 91879 h 131781"/>
                  <a:gd name="connsiteX7" fmla="*/ 166661 w 180025"/>
                  <a:gd name="connsiteY7" fmla="*/ 101347 h 131781"/>
                  <a:gd name="connsiteX8" fmla="*/ 171656 w 180025"/>
                  <a:gd name="connsiteY8" fmla="*/ 99810 h 131781"/>
                  <a:gd name="connsiteX9" fmla="*/ 175333 w 180025"/>
                  <a:gd name="connsiteY9" fmla="*/ 103954 h 131781"/>
                  <a:gd name="connsiteX10" fmla="*/ 178983 w 180025"/>
                  <a:gd name="connsiteY10" fmla="*/ 111199 h 131781"/>
                  <a:gd name="connsiteX11" fmla="*/ 179861 w 180025"/>
                  <a:gd name="connsiteY11" fmla="*/ 118691 h 131781"/>
                  <a:gd name="connsiteX12" fmla="*/ 178654 w 180025"/>
                  <a:gd name="connsiteY12" fmla="*/ 122039 h 131781"/>
                  <a:gd name="connsiteX13" fmla="*/ 180026 w 180025"/>
                  <a:gd name="connsiteY13" fmla="*/ 126567 h 131781"/>
                  <a:gd name="connsiteX14" fmla="*/ 180026 w 180025"/>
                  <a:gd name="connsiteY14" fmla="*/ 129449 h 131781"/>
                  <a:gd name="connsiteX15" fmla="*/ 160102 w 180025"/>
                  <a:gd name="connsiteY15" fmla="*/ 129613 h 131781"/>
                  <a:gd name="connsiteX16" fmla="*/ 151348 w 180025"/>
                  <a:gd name="connsiteY16" fmla="*/ 131781 h 131781"/>
                  <a:gd name="connsiteX17" fmla="*/ 135925 w 180025"/>
                  <a:gd name="connsiteY17" fmla="*/ 126155 h 131781"/>
                  <a:gd name="connsiteX18" fmla="*/ 131699 w 180025"/>
                  <a:gd name="connsiteY18" fmla="*/ 127143 h 131781"/>
                  <a:gd name="connsiteX19" fmla="*/ 128351 w 180025"/>
                  <a:gd name="connsiteY19" fmla="*/ 122890 h 131781"/>
                  <a:gd name="connsiteX20" fmla="*/ 111556 w 180025"/>
                  <a:gd name="connsiteY20" fmla="*/ 121518 h 131781"/>
                  <a:gd name="connsiteX21" fmla="*/ 69211 w 180025"/>
                  <a:gd name="connsiteY21" fmla="*/ 121463 h 131781"/>
                  <a:gd name="connsiteX22" fmla="*/ 59249 w 180025"/>
                  <a:gd name="connsiteY22" fmla="*/ 126567 h 131781"/>
                  <a:gd name="connsiteX23" fmla="*/ 54886 w 180025"/>
                  <a:gd name="connsiteY23" fmla="*/ 128680 h 131781"/>
                  <a:gd name="connsiteX24" fmla="*/ 53239 w 180025"/>
                  <a:gd name="connsiteY24" fmla="*/ 129119 h 131781"/>
                  <a:gd name="connsiteX25" fmla="*/ 39765 w 180025"/>
                  <a:gd name="connsiteY25" fmla="*/ 127994 h 131781"/>
                  <a:gd name="connsiteX26" fmla="*/ 32355 w 180025"/>
                  <a:gd name="connsiteY26" fmla="*/ 131040 h 131781"/>
                  <a:gd name="connsiteX27" fmla="*/ 23354 w 180025"/>
                  <a:gd name="connsiteY27" fmla="*/ 131671 h 131781"/>
                  <a:gd name="connsiteX28" fmla="*/ 21213 w 180025"/>
                  <a:gd name="connsiteY28" fmla="*/ 126540 h 131781"/>
                  <a:gd name="connsiteX29" fmla="*/ 22201 w 180025"/>
                  <a:gd name="connsiteY29" fmla="*/ 109827 h 131781"/>
                  <a:gd name="connsiteX30" fmla="*/ 24644 w 180025"/>
                  <a:gd name="connsiteY30" fmla="*/ 106835 h 131781"/>
                  <a:gd name="connsiteX31" fmla="*/ 34441 w 180025"/>
                  <a:gd name="connsiteY31" fmla="*/ 106698 h 131781"/>
                  <a:gd name="connsiteX32" fmla="*/ 49150 w 180025"/>
                  <a:gd name="connsiteY32" fmla="*/ 106479 h 131781"/>
                  <a:gd name="connsiteX33" fmla="*/ 50934 w 180025"/>
                  <a:gd name="connsiteY33" fmla="*/ 101155 h 131781"/>
                  <a:gd name="connsiteX34" fmla="*/ 64491 w 180025"/>
                  <a:gd name="connsiteY34" fmla="*/ 100496 h 131781"/>
                  <a:gd name="connsiteX35" fmla="*/ 67674 w 180025"/>
                  <a:gd name="connsiteY35" fmla="*/ 95529 h 131781"/>
                  <a:gd name="connsiteX36" fmla="*/ 70666 w 180025"/>
                  <a:gd name="connsiteY36" fmla="*/ 94130 h 131781"/>
                  <a:gd name="connsiteX37" fmla="*/ 74974 w 180025"/>
                  <a:gd name="connsiteY37" fmla="*/ 97313 h 131781"/>
                  <a:gd name="connsiteX38" fmla="*/ 93635 w 180025"/>
                  <a:gd name="connsiteY38" fmla="*/ 104640 h 131781"/>
                  <a:gd name="connsiteX39" fmla="*/ 107165 w 180025"/>
                  <a:gd name="connsiteY39" fmla="*/ 101374 h 131781"/>
                  <a:gd name="connsiteX40" fmla="*/ 108290 w 180025"/>
                  <a:gd name="connsiteY40" fmla="*/ 98905 h 131781"/>
                  <a:gd name="connsiteX41" fmla="*/ 104366 w 180025"/>
                  <a:gd name="connsiteY41" fmla="*/ 94843 h 131781"/>
                  <a:gd name="connsiteX42" fmla="*/ 92894 w 180025"/>
                  <a:gd name="connsiteY42" fmla="*/ 97862 h 131781"/>
                  <a:gd name="connsiteX43" fmla="*/ 87077 w 180025"/>
                  <a:gd name="connsiteY43" fmla="*/ 92565 h 131781"/>
                  <a:gd name="connsiteX44" fmla="*/ 80819 w 180025"/>
                  <a:gd name="connsiteY44" fmla="*/ 92236 h 131781"/>
                  <a:gd name="connsiteX45" fmla="*/ 77691 w 180025"/>
                  <a:gd name="connsiteY45" fmla="*/ 88257 h 131781"/>
                  <a:gd name="connsiteX46" fmla="*/ 73382 w 180025"/>
                  <a:gd name="connsiteY46" fmla="*/ 87186 h 131781"/>
                  <a:gd name="connsiteX47" fmla="*/ 62927 w 180025"/>
                  <a:gd name="connsiteY47" fmla="*/ 88586 h 131781"/>
                  <a:gd name="connsiteX48" fmla="*/ 58399 w 180025"/>
                  <a:gd name="connsiteY48" fmla="*/ 93965 h 131781"/>
                  <a:gd name="connsiteX49" fmla="*/ 34496 w 180025"/>
                  <a:gd name="connsiteY49" fmla="*/ 93855 h 131781"/>
                  <a:gd name="connsiteX50" fmla="*/ 28129 w 180025"/>
                  <a:gd name="connsiteY50" fmla="*/ 93855 h 131781"/>
                  <a:gd name="connsiteX51" fmla="*/ 25330 w 180025"/>
                  <a:gd name="connsiteY51" fmla="*/ 88366 h 131781"/>
                  <a:gd name="connsiteX52" fmla="*/ 22394 w 180025"/>
                  <a:gd name="connsiteY52" fmla="*/ 86939 h 131781"/>
                  <a:gd name="connsiteX53" fmla="*/ 22668 w 180025"/>
                  <a:gd name="connsiteY53" fmla="*/ 83921 h 131781"/>
                  <a:gd name="connsiteX54" fmla="*/ 23299 w 180025"/>
                  <a:gd name="connsiteY54" fmla="*/ 79777 h 131781"/>
                  <a:gd name="connsiteX55" fmla="*/ 8891 w 180025"/>
                  <a:gd name="connsiteY55" fmla="*/ 61527 h 131781"/>
                  <a:gd name="connsiteX56" fmla="*/ 4281 w 180025"/>
                  <a:gd name="connsiteY56" fmla="*/ 59332 h 131781"/>
                  <a:gd name="connsiteX57" fmla="*/ 1537 w 180025"/>
                  <a:gd name="connsiteY57" fmla="*/ 60841 h 131781"/>
                  <a:gd name="connsiteX58" fmla="*/ 0 w 180025"/>
                  <a:gd name="connsiteY58" fmla="*/ 59057 h 131781"/>
                  <a:gd name="connsiteX59" fmla="*/ 11005 w 180025"/>
                  <a:gd name="connsiteY59" fmla="*/ 53459 h 131781"/>
                  <a:gd name="connsiteX60" fmla="*/ 21049 w 180025"/>
                  <a:gd name="connsiteY60" fmla="*/ 39902 h 131781"/>
                  <a:gd name="connsiteX61" fmla="*/ 27937 w 180025"/>
                  <a:gd name="connsiteY61" fmla="*/ 28047 h 131781"/>
                  <a:gd name="connsiteX62" fmla="*/ 29227 w 180025"/>
                  <a:gd name="connsiteY62" fmla="*/ 18826 h 131781"/>
                  <a:gd name="connsiteX63" fmla="*/ 29474 w 180025"/>
                  <a:gd name="connsiteY63" fmla="*/ 18743 h 131781"/>
                  <a:gd name="connsiteX64" fmla="*/ 30654 w 180025"/>
                  <a:gd name="connsiteY64" fmla="*/ 18551 h 131781"/>
                  <a:gd name="connsiteX65" fmla="*/ 31834 w 180025"/>
                  <a:gd name="connsiteY65" fmla="*/ 17399 h 131781"/>
                  <a:gd name="connsiteX66" fmla="*/ 31999 w 180025"/>
                  <a:gd name="connsiteY66" fmla="*/ 13859 h 131781"/>
                  <a:gd name="connsiteX67" fmla="*/ 35895 w 180025"/>
                  <a:gd name="connsiteY67" fmla="*/ 5653 h 131781"/>
                  <a:gd name="connsiteX68" fmla="*/ 39490 w 180025"/>
                  <a:gd name="connsiteY68" fmla="*/ 4007 h 131781"/>
                  <a:gd name="connsiteX69" fmla="*/ 52993 w 180025"/>
                  <a:gd name="connsiteY69" fmla="*/ 5818 h 131781"/>
                  <a:gd name="connsiteX70" fmla="*/ 59688 w 180025"/>
                  <a:gd name="connsiteY70" fmla="*/ 3074 h 131781"/>
                  <a:gd name="connsiteX71" fmla="*/ 67839 w 180025"/>
                  <a:gd name="connsiteY71" fmla="*/ 3074 h 131781"/>
                  <a:gd name="connsiteX72" fmla="*/ 73822 w 180025"/>
                  <a:gd name="connsiteY72" fmla="*/ 0 h 131781"/>
                  <a:gd name="connsiteX73" fmla="*/ 92318 w 180025"/>
                  <a:gd name="connsiteY73" fmla="*/ 1262 h 131781"/>
                  <a:gd name="connsiteX74" fmla="*/ 102637 w 180025"/>
                  <a:gd name="connsiteY74" fmla="*/ 9660 h 131781"/>
                  <a:gd name="connsiteX75" fmla="*/ 107769 w 180025"/>
                  <a:gd name="connsiteY75" fmla="*/ 16603 h 131781"/>
                  <a:gd name="connsiteX76" fmla="*/ 120667 w 180025"/>
                  <a:gd name="connsiteY76" fmla="*/ 18579 h 131781"/>
                  <a:gd name="connsiteX77" fmla="*/ 126183 w 180025"/>
                  <a:gd name="connsiteY77" fmla="*/ 31861 h 131781"/>
                  <a:gd name="connsiteX78" fmla="*/ 130409 w 180025"/>
                  <a:gd name="connsiteY78" fmla="*/ 35923 h 131781"/>
                  <a:gd name="connsiteX79" fmla="*/ 133675 w 180025"/>
                  <a:gd name="connsiteY79" fmla="*/ 36554 h 131781"/>
                  <a:gd name="connsiteX80" fmla="*/ 134059 w 180025"/>
                  <a:gd name="connsiteY80" fmla="*/ 39902 h 131781"/>
                  <a:gd name="connsiteX81" fmla="*/ 139328 w 180025"/>
                  <a:gd name="connsiteY81" fmla="*/ 46681 h 131781"/>
                  <a:gd name="connsiteX82" fmla="*/ 146353 w 180025"/>
                  <a:gd name="connsiteY82" fmla="*/ 50303 h 131781"/>
                  <a:gd name="connsiteX83" fmla="*/ 149372 w 180025"/>
                  <a:gd name="connsiteY83" fmla="*/ 54667 h 131781"/>
                  <a:gd name="connsiteX84" fmla="*/ 154833 w 180025"/>
                  <a:gd name="connsiteY84" fmla="*/ 58371 h 13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80025" h="131781">
                    <a:moveTo>
                      <a:pt x="154724" y="58481"/>
                    </a:moveTo>
                    <a:lnTo>
                      <a:pt x="156974" y="61939"/>
                    </a:lnTo>
                    <a:lnTo>
                      <a:pt x="155931" y="68333"/>
                    </a:lnTo>
                    <a:lnTo>
                      <a:pt x="161200" y="73849"/>
                    </a:lnTo>
                    <a:lnTo>
                      <a:pt x="161667" y="81121"/>
                    </a:lnTo>
                    <a:lnTo>
                      <a:pt x="163505" y="84579"/>
                    </a:lnTo>
                    <a:lnTo>
                      <a:pt x="160404" y="91879"/>
                    </a:lnTo>
                    <a:lnTo>
                      <a:pt x="166661" y="101347"/>
                    </a:lnTo>
                    <a:lnTo>
                      <a:pt x="171656" y="99810"/>
                    </a:lnTo>
                    <a:lnTo>
                      <a:pt x="175333" y="103954"/>
                    </a:lnTo>
                    <a:lnTo>
                      <a:pt x="178983" y="111199"/>
                    </a:lnTo>
                    <a:lnTo>
                      <a:pt x="179861" y="118691"/>
                    </a:lnTo>
                    <a:lnTo>
                      <a:pt x="178654" y="122039"/>
                    </a:lnTo>
                    <a:lnTo>
                      <a:pt x="180026" y="126567"/>
                    </a:lnTo>
                    <a:lnTo>
                      <a:pt x="180026" y="129449"/>
                    </a:lnTo>
                    <a:cubicBezTo>
                      <a:pt x="180026" y="129449"/>
                      <a:pt x="160102" y="129613"/>
                      <a:pt x="160102" y="129613"/>
                    </a:cubicBezTo>
                    <a:lnTo>
                      <a:pt x="151348" y="131781"/>
                    </a:lnTo>
                    <a:lnTo>
                      <a:pt x="135925" y="126155"/>
                    </a:lnTo>
                    <a:lnTo>
                      <a:pt x="131699" y="127143"/>
                    </a:lnTo>
                    <a:lnTo>
                      <a:pt x="128351" y="122890"/>
                    </a:lnTo>
                    <a:lnTo>
                      <a:pt x="111556" y="121518"/>
                    </a:lnTo>
                    <a:lnTo>
                      <a:pt x="69211" y="121463"/>
                    </a:lnTo>
                    <a:lnTo>
                      <a:pt x="59249" y="126567"/>
                    </a:lnTo>
                    <a:lnTo>
                      <a:pt x="54886" y="128680"/>
                    </a:lnTo>
                    <a:lnTo>
                      <a:pt x="53239" y="129119"/>
                    </a:lnTo>
                    <a:lnTo>
                      <a:pt x="39765" y="127994"/>
                    </a:lnTo>
                    <a:lnTo>
                      <a:pt x="32355" y="131040"/>
                    </a:lnTo>
                    <a:lnTo>
                      <a:pt x="23354" y="131671"/>
                    </a:lnTo>
                    <a:lnTo>
                      <a:pt x="21213" y="126540"/>
                    </a:lnTo>
                    <a:lnTo>
                      <a:pt x="22201" y="109827"/>
                    </a:lnTo>
                    <a:lnTo>
                      <a:pt x="24644" y="106835"/>
                    </a:lnTo>
                    <a:lnTo>
                      <a:pt x="34441" y="106698"/>
                    </a:lnTo>
                    <a:lnTo>
                      <a:pt x="49150" y="106479"/>
                    </a:lnTo>
                    <a:lnTo>
                      <a:pt x="50934" y="101155"/>
                    </a:lnTo>
                    <a:lnTo>
                      <a:pt x="64491" y="100496"/>
                    </a:lnTo>
                    <a:lnTo>
                      <a:pt x="67674" y="95529"/>
                    </a:lnTo>
                    <a:lnTo>
                      <a:pt x="70666" y="94130"/>
                    </a:lnTo>
                    <a:lnTo>
                      <a:pt x="74974" y="97313"/>
                    </a:lnTo>
                    <a:lnTo>
                      <a:pt x="93635" y="104640"/>
                    </a:lnTo>
                    <a:lnTo>
                      <a:pt x="107165" y="101374"/>
                    </a:lnTo>
                    <a:lnTo>
                      <a:pt x="108290" y="98905"/>
                    </a:lnTo>
                    <a:lnTo>
                      <a:pt x="104366" y="94843"/>
                    </a:lnTo>
                    <a:lnTo>
                      <a:pt x="92894" y="97862"/>
                    </a:lnTo>
                    <a:lnTo>
                      <a:pt x="87077" y="92565"/>
                    </a:lnTo>
                    <a:lnTo>
                      <a:pt x="80819" y="92236"/>
                    </a:lnTo>
                    <a:lnTo>
                      <a:pt x="77691" y="88257"/>
                    </a:lnTo>
                    <a:lnTo>
                      <a:pt x="73382" y="87186"/>
                    </a:lnTo>
                    <a:lnTo>
                      <a:pt x="62927" y="88586"/>
                    </a:lnTo>
                    <a:lnTo>
                      <a:pt x="58399" y="93965"/>
                    </a:lnTo>
                    <a:lnTo>
                      <a:pt x="34496" y="93855"/>
                    </a:lnTo>
                    <a:lnTo>
                      <a:pt x="28129" y="93855"/>
                    </a:lnTo>
                    <a:lnTo>
                      <a:pt x="25330" y="88366"/>
                    </a:lnTo>
                    <a:lnTo>
                      <a:pt x="22394" y="86939"/>
                    </a:lnTo>
                    <a:lnTo>
                      <a:pt x="22668" y="83921"/>
                    </a:lnTo>
                    <a:lnTo>
                      <a:pt x="23299" y="79777"/>
                    </a:lnTo>
                    <a:lnTo>
                      <a:pt x="8891" y="61527"/>
                    </a:lnTo>
                    <a:lnTo>
                      <a:pt x="4281" y="59332"/>
                    </a:lnTo>
                    <a:lnTo>
                      <a:pt x="1537" y="60841"/>
                    </a:lnTo>
                    <a:lnTo>
                      <a:pt x="0" y="59057"/>
                    </a:lnTo>
                    <a:lnTo>
                      <a:pt x="11005" y="53459"/>
                    </a:lnTo>
                    <a:lnTo>
                      <a:pt x="21049" y="39902"/>
                    </a:lnTo>
                    <a:lnTo>
                      <a:pt x="27937" y="28047"/>
                    </a:lnTo>
                    <a:lnTo>
                      <a:pt x="29227" y="18826"/>
                    </a:lnTo>
                    <a:lnTo>
                      <a:pt x="29474" y="18743"/>
                    </a:lnTo>
                    <a:lnTo>
                      <a:pt x="30654" y="18551"/>
                    </a:lnTo>
                    <a:lnTo>
                      <a:pt x="31834" y="17399"/>
                    </a:lnTo>
                    <a:lnTo>
                      <a:pt x="31999" y="13859"/>
                    </a:lnTo>
                    <a:lnTo>
                      <a:pt x="35895" y="5653"/>
                    </a:lnTo>
                    <a:lnTo>
                      <a:pt x="39490" y="4007"/>
                    </a:lnTo>
                    <a:lnTo>
                      <a:pt x="52993" y="5818"/>
                    </a:lnTo>
                    <a:lnTo>
                      <a:pt x="59688" y="3074"/>
                    </a:lnTo>
                    <a:lnTo>
                      <a:pt x="67839" y="3074"/>
                    </a:lnTo>
                    <a:cubicBezTo>
                      <a:pt x="67839" y="3074"/>
                      <a:pt x="73822" y="0"/>
                      <a:pt x="73822" y="0"/>
                    </a:cubicBezTo>
                    <a:lnTo>
                      <a:pt x="92318" y="1262"/>
                    </a:lnTo>
                    <a:lnTo>
                      <a:pt x="102637" y="9660"/>
                    </a:lnTo>
                    <a:lnTo>
                      <a:pt x="107769" y="16603"/>
                    </a:lnTo>
                    <a:lnTo>
                      <a:pt x="120667" y="18579"/>
                    </a:lnTo>
                    <a:lnTo>
                      <a:pt x="126183" y="31861"/>
                    </a:lnTo>
                    <a:lnTo>
                      <a:pt x="130409" y="35923"/>
                    </a:lnTo>
                    <a:lnTo>
                      <a:pt x="133675" y="36554"/>
                    </a:lnTo>
                    <a:lnTo>
                      <a:pt x="134059" y="39902"/>
                    </a:lnTo>
                    <a:lnTo>
                      <a:pt x="139328" y="46681"/>
                    </a:lnTo>
                    <a:lnTo>
                      <a:pt x="146353" y="50303"/>
                    </a:lnTo>
                    <a:lnTo>
                      <a:pt x="149372" y="54667"/>
                    </a:lnTo>
                    <a:lnTo>
                      <a:pt x="154833" y="583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4" name="Freeform: Shape 4523">
                <a:extLst>
                  <a:ext uri="{FF2B5EF4-FFF2-40B4-BE49-F238E27FC236}">
                    <a16:creationId xmlns:a16="http://schemas.microsoft.com/office/drawing/2014/main" id="{2860CD74-FB2B-E7E9-A7B9-749FDD2E2845}"/>
                  </a:ext>
                </a:extLst>
              </p:cNvPr>
              <p:cNvSpPr/>
              <p:nvPr/>
            </p:nvSpPr>
            <p:spPr>
              <a:xfrm>
                <a:off x="1491157" y="3807461"/>
                <a:ext cx="31494" cy="42082"/>
              </a:xfrm>
              <a:custGeom>
                <a:avLst/>
                <a:gdLst>
                  <a:gd name="connsiteX0" fmla="*/ 296604 w 301955"/>
                  <a:gd name="connsiteY0" fmla="*/ 20472 h 403466"/>
                  <a:gd name="connsiteX1" fmla="*/ 299074 w 301955"/>
                  <a:gd name="connsiteY1" fmla="*/ 25659 h 403466"/>
                  <a:gd name="connsiteX2" fmla="*/ 297756 w 301955"/>
                  <a:gd name="connsiteY2" fmla="*/ 31751 h 403466"/>
                  <a:gd name="connsiteX3" fmla="*/ 298745 w 301955"/>
                  <a:gd name="connsiteY3" fmla="*/ 41466 h 403466"/>
                  <a:gd name="connsiteX4" fmla="*/ 291363 w 301955"/>
                  <a:gd name="connsiteY4" fmla="*/ 50605 h 403466"/>
                  <a:gd name="connsiteX5" fmla="*/ 288892 w 301955"/>
                  <a:gd name="connsiteY5" fmla="*/ 74343 h 403466"/>
                  <a:gd name="connsiteX6" fmla="*/ 283075 w 301955"/>
                  <a:gd name="connsiteY6" fmla="*/ 86939 h 403466"/>
                  <a:gd name="connsiteX7" fmla="*/ 277421 w 301955"/>
                  <a:gd name="connsiteY7" fmla="*/ 93141 h 403466"/>
                  <a:gd name="connsiteX8" fmla="*/ 268310 w 301955"/>
                  <a:gd name="connsiteY8" fmla="*/ 112653 h 403466"/>
                  <a:gd name="connsiteX9" fmla="*/ 259803 w 301955"/>
                  <a:gd name="connsiteY9" fmla="*/ 120886 h 403466"/>
                  <a:gd name="connsiteX10" fmla="*/ 259172 w 301955"/>
                  <a:gd name="connsiteY10" fmla="*/ 126594 h 403466"/>
                  <a:gd name="connsiteX11" fmla="*/ 255604 w 301955"/>
                  <a:gd name="connsiteY11" fmla="*/ 134223 h 403466"/>
                  <a:gd name="connsiteX12" fmla="*/ 241636 w 301955"/>
                  <a:gd name="connsiteY12" fmla="*/ 155931 h 403466"/>
                  <a:gd name="connsiteX13" fmla="*/ 236806 w 301955"/>
                  <a:gd name="connsiteY13" fmla="*/ 171738 h 403466"/>
                  <a:gd name="connsiteX14" fmla="*/ 231948 w 301955"/>
                  <a:gd name="connsiteY14" fmla="*/ 181563 h 403466"/>
                  <a:gd name="connsiteX15" fmla="*/ 204368 w 301955"/>
                  <a:gd name="connsiteY15" fmla="*/ 223358 h 403466"/>
                  <a:gd name="connsiteX16" fmla="*/ 200416 w 301955"/>
                  <a:gd name="connsiteY16" fmla="*/ 227639 h 403466"/>
                  <a:gd name="connsiteX17" fmla="*/ 182194 w 301955"/>
                  <a:gd name="connsiteY17" fmla="*/ 247508 h 403466"/>
                  <a:gd name="connsiteX18" fmla="*/ 147808 w 301955"/>
                  <a:gd name="connsiteY18" fmla="*/ 282608 h 403466"/>
                  <a:gd name="connsiteX19" fmla="*/ 136996 w 301955"/>
                  <a:gd name="connsiteY19" fmla="*/ 289084 h 403466"/>
                  <a:gd name="connsiteX20" fmla="*/ 107686 w 301955"/>
                  <a:gd name="connsiteY20" fmla="*/ 306620 h 403466"/>
                  <a:gd name="connsiteX21" fmla="*/ 106040 w 301955"/>
                  <a:gd name="connsiteY21" fmla="*/ 308020 h 403466"/>
                  <a:gd name="connsiteX22" fmla="*/ 90837 w 301955"/>
                  <a:gd name="connsiteY22" fmla="*/ 320781 h 403466"/>
                  <a:gd name="connsiteX23" fmla="*/ 75084 w 301955"/>
                  <a:gd name="connsiteY23" fmla="*/ 334036 h 403466"/>
                  <a:gd name="connsiteX24" fmla="*/ 69706 w 301955"/>
                  <a:gd name="connsiteY24" fmla="*/ 339662 h 403466"/>
                  <a:gd name="connsiteX25" fmla="*/ 46681 w 301955"/>
                  <a:gd name="connsiteY25" fmla="*/ 363756 h 403466"/>
                  <a:gd name="connsiteX26" fmla="*/ 45912 w 301955"/>
                  <a:gd name="connsiteY26" fmla="*/ 364580 h 403466"/>
                  <a:gd name="connsiteX27" fmla="*/ 41604 w 301955"/>
                  <a:gd name="connsiteY27" fmla="*/ 370014 h 403466"/>
                  <a:gd name="connsiteX28" fmla="*/ 27553 w 301955"/>
                  <a:gd name="connsiteY28" fmla="*/ 387687 h 403466"/>
                  <a:gd name="connsiteX29" fmla="*/ 27251 w 301955"/>
                  <a:gd name="connsiteY29" fmla="*/ 388812 h 403466"/>
                  <a:gd name="connsiteX30" fmla="*/ 24452 w 301955"/>
                  <a:gd name="connsiteY30" fmla="*/ 391364 h 403466"/>
                  <a:gd name="connsiteX31" fmla="*/ 20967 w 301955"/>
                  <a:gd name="connsiteY31" fmla="*/ 396770 h 403466"/>
                  <a:gd name="connsiteX32" fmla="*/ 16686 w 301955"/>
                  <a:gd name="connsiteY32" fmla="*/ 403467 h 403466"/>
                  <a:gd name="connsiteX33" fmla="*/ 12267 w 301955"/>
                  <a:gd name="connsiteY33" fmla="*/ 396770 h 403466"/>
                  <a:gd name="connsiteX34" fmla="*/ 6230 w 301955"/>
                  <a:gd name="connsiteY34" fmla="*/ 387687 h 403466"/>
                  <a:gd name="connsiteX35" fmla="*/ 0 w 301955"/>
                  <a:gd name="connsiteY35" fmla="*/ 377752 h 403466"/>
                  <a:gd name="connsiteX36" fmla="*/ 0 w 301955"/>
                  <a:gd name="connsiteY36" fmla="*/ 272810 h 403466"/>
                  <a:gd name="connsiteX37" fmla="*/ 10346 w 301955"/>
                  <a:gd name="connsiteY37" fmla="*/ 261175 h 403466"/>
                  <a:gd name="connsiteX38" fmla="*/ 26894 w 301955"/>
                  <a:gd name="connsiteY38" fmla="*/ 237519 h 403466"/>
                  <a:gd name="connsiteX39" fmla="*/ 32383 w 301955"/>
                  <a:gd name="connsiteY39" fmla="*/ 231948 h 403466"/>
                  <a:gd name="connsiteX40" fmla="*/ 43278 w 301955"/>
                  <a:gd name="connsiteY40" fmla="*/ 230878 h 403466"/>
                  <a:gd name="connsiteX41" fmla="*/ 47312 w 301955"/>
                  <a:gd name="connsiteY41" fmla="*/ 230466 h 403466"/>
                  <a:gd name="connsiteX42" fmla="*/ 55188 w 301955"/>
                  <a:gd name="connsiteY42" fmla="*/ 228051 h 403466"/>
                  <a:gd name="connsiteX43" fmla="*/ 63723 w 301955"/>
                  <a:gd name="connsiteY43" fmla="*/ 217760 h 403466"/>
                  <a:gd name="connsiteX44" fmla="*/ 78185 w 301955"/>
                  <a:gd name="connsiteY44" fmla="*/ 211448 h 403466"/>
                  <a:gd name="connsiteX45" fmla="*/ 89464 w 301955"/>
                  <a:gd name="connsiteY45" fmla="*/ 208731 h 403466"/>
                  <a:gd name="connsiteX46" fmla="*/ 90919 w 301955"/>
                  <a:gd name="connsiteY46" fmla="*/ 208731 h 403466"/>
                  <a:gd name="connsiteX47" fmla="*/ 106122 w 301955"/>
                  <a:gd name="connsiteY47" fmla="*/ 209033 h 403466"/>
                  <a:gd name="connsiteX48" fmla="*/ 117758 w 301955"/>
                  <a:gd name="connsiteY48" fmla="*/ 209253 h 403466"/>
                  <a:gd name="connsiteX49" fmla="*/ 137078 w 301955"/>
                  <a:gd name="connsiteY49" fmla="*/ 189384 h 403466"/>
                  <a:gd name="connsiteX50" fmla="*/ 182277 w 301955"/>
                  <a:gd name="connsiteY50" fmla="*/ 142868 h 403466"/>
                  <a:gd name="connsiteX51" fmla="*/ 200499 w 301955"/>
                  <a:gd name="connsiteY51" fmla="*/ 123603 h 403466"/>
                  <a:gd name="connsiteX52" fmla="*/ 204340 w 301955"/>
                  <a:gd name="connsiteY52" fmla="*/ 119541 h 403466"/>
                  <a:gd name="connsiteX53" fmla="*/ 203188 w 301955"/>
                  <a:gd name="connsiteY53" fmla="*/ 118773 h 403466"/>
                  <a:gd name="connsiteX54" fmla="*/ 200499 w 301955"/>
                  <a:gd name="connsiteY54" fmla="*/ 118773 h 403466"/>
                  <a:gd name="connsiteX55" fmla="*/ 182277 w 301955"/>
                  <a:gd name="connsiteY55" fmla="*/ 118691 h 403466"/>
                  <a:gd name="connsiteX56" fmla="*/ 175306 w 301955"/>
                  <a:gd name="connsiteY56" fmla="*/ 118252 h 403466"/>
                  <a:gd name="connsiteX57" fmla="*/ 139630 w 301955"/>
                  <a:gd name="connsiteY57" fmla="*/ 106232 h 403466"/>
                  <a:gd name="connsiteX58" fmla="*/ 137078 w 301955"/>
                  <a:gd name="connsiteY58" fmla="*/ 105381 h 403466"/>
                  <a:gd name="connsiteX59" fmla="*/ 91358 w 301955"/>
                  <a:gd name="connsiteY59" fmla="*/ 89985 h 403466"/>
                  <a:gd name="connsiteX60" fmla="*/ 90288 w 301955"/>
                  <a:gd name="connsiteY60" fmla="*/ 89299 h 403466"/>
                  <a:gd name="connsiteX61" fmla="*/ 69403 w 301955"/>
                  <a:gd name="connsiteY61" fmla="*/ 71900 h 403466"/>
                  <a:gd name="connsiteX62" fmla="*/ 66028 w 301955"/>
                  <a:gd name="connsiteY62" fmla="*/ 64299 h 403466"/>
                  <a:gd name="connsiteX63" fmla="*/ 56286 w 301955"/>
                  <a:gd name="connsiteY63" fmla="*/ 53953 h 403466"/>
                  <a:gd name="connsiteX64" fmla="*/ 54941 w 301955"/>
                  <a:gd name="connsiteY64" fmla="*/ 52114 h 403466"/>
                  <a:gd name="connsiteX65" fmla="*/ 50276 w 301955"/>
                  <a:gd name="connsiteY65" fmla="*/ 41905 h 403466"/>
                  <a:gd name="connsiteX66" fmla="*/ 58070 w 301955"/>
                  <a:gd name="connsiteY66" fmla="*/ 29309 h 403466"/>
                  <a:gd name="connsiteX67" fmla="*/ 58893 w 301955"/>
                  <a:gd name="connsiteY67" fmla="*/ 27937 h 403466"/>
                  <a:gd name="connsiteX68" fmla="*/ 62927 w 301955"/>
                  <a:gd name="connsiteY68" fmla="*/ 21460 h 403466"/>
                  <a:gd name="connsiteX69" fmla="*/ 64025 w 301955"/>
                  <a:gd name="connsiteY69" fmla="*/ 19649 h 403466"/>
                  <a:gd name="connsiteX70" fmla="*/ 64931 w 301955"/>
                  <a:gd name="connsiteY70" fmla="*/ 18167 h 403466"/>
                  <a:gd name="connsiteX71" fmla="*/ 66659 w 301955"/>
                  <a:gd name="connsiteY71" fmla="*/ 15368 h 403466"/>
                  <a:gd name="connsiteX72" fmla="*/ 72724 w 301955"/>
                  <a:gd name="connsiteY72" fmla="*/ 18798 h 403466"/>
                  <a:gd name="connsiteX73" fmla="*/ 78405 w 301955"/>
                  <a:gd name="connsiteY73" fmla="*/ 29474 h 403466"/>
                  <a:gd name="connsiteX74" fmla="*/ 85046 w 301955"/>
                  <a:gd name="connsiteY74" fmla="*/ 36883 h 403466"/>
                  <a:gd name="connsiteX75" fmla="*/ 90946 w 301955"/>
                  <a:gd name="connsiteY75" fmla="*/ 41439 h 403466"/>
                  <a:gd name="connsiteX76" fmla="*/ 96517 w 301955"/>
                  <a:gd name="connsiteY76" fmla="*/ 45720 h 403466"/>
                  <a:gd name="connsiteX77" fmla="*/ 101786 w 301955"/>
                  <a:gd name="connsiteY77" fmla="*/ 47449 h 403466"/>
                  <a:gd name="connsiteX78" fmla="*/ 106122 w 301955"/>
                  <a:gd name="connsiteY78" fmla="*/ 47174 h 403466"/>
                  <a:gd name="connsiteX79" fmla="*/ 116359 w 301955"/>
                  <a:gd name="connsiteY79" fmla="*/ 46516 h 403466"/>
                  <a:gd name="connsiteX80" fmla="*/ 137078 w 301955"/>
                  <a:gd name="connsiteY80" fmla="*/ 35895 h 403466"/>
                  <a:gd name="connsiteX81" fmla="*/ 141386 w 301955"/>
                  <a:gd name="connsiteY81" fmla="*/ 33700 h 403466"/>
                  <a:gd name="connsiteX82" fmla="*/ 154038 w 301955"/>
                  <a:gd name="connsiteY82" fmla="*/ 36060 h 403466"/>
                  <a:gd name="connsiteX83" fmla="*/ 158511 w 301955"/>
                  <a:gd name="connsiteY83" fmla="*/ 38475 h 403466"/>
                  <a:gd name="connsiteX84" fmla="*/ 162627 w 301955"/>
                  <a:gd name="connsiteY84" fmla="*/ 38008 h 403466"/>
                  <a:gd name="connsiteX85" fmla="*/ 182277 w 301955"/>
                  <a:gd name="connsiteY85" fmla="*/ 26812 h 403466"/>
                  <a:gd name="connsiteX86" fmla="*/ 189411 w 301955"/>
                  <a:gd name="connsiteY86" fmla="*/ 23985 h 403466"/>
                  <a:gd name="connsiteX87" fmla="*/ 196876 w 301955"/>
                  <a:gd name="connsiteY87" fmla="*/ 25988 h 403466"/>
                  <a:gd name="connsiteX88" fmla="*/ 200499 w 301955"/>
                  <a:gd name="connsiteY88" fmla="*/ 25742 h 403466"/>
                  <a:gd name="connsiteX89" fmla="*/ 209445 w 301955"/>
                  <a:gd name="connsiteY89" fmla="*/ 25138 h 403466"/>
                  <a:gd name="connsiteX90" fmla="*/ 222535 w 301955"/>
                  <a:gd name="connsiteY90" fmla="*/ 19786 h 403466"/>
                  <a:gd name="connsiteX91" fmla="*/ 234116 w 301955"/>
                  <a:gd name="connsiteY91" fmla="*/ 21790 h 403466"/>
                  <a:gd name="connsiteX92" fmla="*/ 247755 w 301955"/>
                  <a:gd name="connsiteY92" fmla="*/ 18853 h 403466"/>
                  <a:gd name="connsiteX93" fmla="*/ 253189 w 301955"/>
                  <a:gd name="connsiteY93" fmla="*/ 15478 h 403466"/>
                  <a:gd name="connsiteX94" fmla="*/ 272701 w 301955"/>
                  <a:gd name="connsiteY94" fmla="*/ 11471 h 403466"/>
                  <a:gd name="connsiteX95" fmla="*/ 278410 w 301955"/>
                  <a:gd name="connsiteY95" fmla="*/ 8013 h 403466"/>
                  <a:gd name="connsiteX96" fmla="*/ 282059 w 301955"/>
                  <a:gd name="connsiteY96" fmla="*/ 2140 h 403466"/>
                  <a:gd name="connsiteX97" fmla="*/ 287548 w 301955"/>
                  <a:gd name="connsiteY97" fmla="*/ 0 h 403466"/>
                  <a:gd name="connsiteX98" fmla="*/ 301434 w 301955"/>
                  <a:gd name="connsiteY98" fmla="*/ 3897 h 403466"/>
                  <a:gd name="connsiteX99" fmla="*/ 301955 w 301955"/>
                  <a:gd name="connsiteY99" fmla="*/ 7849 h 403466"/>
                  <a:gd name="connsiteX100" fmla="*/ 296714 w 301955"/>
                  <a:gd name="connsiteY100" fmla="*/ 20472 h 40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01955" h="403466">
                    <a:moveTo>
                      <a:pt x="296604" y="20472"/>
                    </a:moveTo>
                    <a:lnTo>
                      <a:pt x="299074" y="25659"/>
                    </a:lnTo>
                    <a:lnTo>
                      <a:pt x="297756" y="31751"/>
                    </a:lnTo>
                    <a:lnTo>
                      <a:pt x="298745" y="41466"/>
                    </a:lnTo>
                    <a:lnTo>
                      <a:pt x="291363" y="50605"/>
                    </a:lnTo>
                    <a:lnTo>
                      <a:pt x="288892" y="74343"/>
                    </a:lnTo>
                    <a:lnTo>
                      <a:pt x="283075" y="86939"/>
                    </a:lnTo>
                    <a:lnTo>
                      <a:pt x="277421" y="93141"/>
                    </a:lnTo>
                    <a:lnTo>
                      <a:pt x="268310" y="112653"/>
                    </a:lnTo>
                    <a:lnTo>
                      <a:pt x="259803" y="120886"/>
                    </a:lnTo>
                    <a:lnTo>
                      <a:pt x="259172" y="126594"/>
                    </a:lnTo>
                    <a:lnTo>
                      <a:pt x="255604" y="134223"/>
                    </a:lnTo>
                    <a:lnTo>
                      <a:pt x="241636" y="155931"/>
                    </a:lnTo>
                    <a:lnTo>
                      <a:pt x="236806" y="171738"/>
                    </a:lnTo>
                    <a:lnTo>
                      <a:pt x="231948" y="181563"/>
                    </a:lnTo>
                    <a:lnTo>
                      <a:pt x="204368" y="223358"/>
                    </a:lnTo>
                    <a:lnTo>
                      <a:pt x="200416" y="227639"/>
                    </a:lnTo>
                    <a:lnTo>
                      <a:pt x="182194" y="247508"/>
                    </a:lnTo>
                    <a:lnTo>
                      <a:pt x="147808" y="282608"/>
                    </a:lnTo>
                    <a:lnTo>
                      <a:pt x="136996" y="289084"/>
                    </a:lnTo>
                    <a:lnTo>
                      <a:pt x="107686" y="306620"/>
                    </a:lnTo>
                    <a:lnTo>
                      <a:pt x="106040" y="308020"/>
                    </a:lnTo>
                    <a:lnTo>
                      <a:pt x="90837" y="320781"/>
                    </a:lnTo>
                    <a:lnTo>
                      <a:pt x="75084" y="334036"/>
                    </a:lnTo>
                    <a:lnTo>
                      <a:pt x="69706" y="339662"/>
                    </a:lnTo>
                    <a:lnTo>
                      <a:pt x="46681" y="363756"/>
                    </a:lnTo>
                    <a:lnTo>
                      <a:pt x="45912" y="364580"/>
                    </a:lnTo>
                    <a:lnTo>
                      <a:pt x="41604" y="370014"/>
                    </a:lnTo>
                    <a:lnTo>
                      <a:pt x="27553" y="387687"/>
                    </a:lnTo>
                    <a:lnTo>
                      <a:pt x="27251" y="388812"/>
                    </a:lnTo>
                    <a:lnTo>
                      <a:pt x="24452" y="391364"/>
                    </a:lnTo>
                    <a:lnTo>
                      <a:pt x="20967" y="396770"/>
                    </a:lnTo>
                    <a:lnTo>
                      <a:pt x="16686" y="403467"/>
                    </a:lnTo>
                    <a:lnTo>
                      <a:pt x="12267" y="396770"/>
                    </a:lnTo>
                    <a:lnTo>
                      <a:pt x="6230" y="387687"/>
                    </a:lnTo>
                    <a:lnTo>
                      <a:pt x="0" y="377752"/>
                    </a:lnTo>
                    <a:lnTo>
                      <a:pt x="0" y="272810"/>
                    </a:lnTo>
                    <a:cubicBezTo>
                      <a:pt x="0" y="272810"/>
                      <a:pt x="10346" y="261175"/>
                      <a:pt x="10346" y="261175"/>
                    </a:cubicBezTo>
                    <a:lnTo>
                      <a:pt x="26894" y="237519"/>
                    </a:lnTo>
                    <a:lnTo>
                      <a:pt x="32383" y="231948"/>
                    </a:lnTo>
                    <a:lnTo>
                      <a:pt x="43278" y="230878"/>
                    </a:lnTo>
                    <a:lnTo>
                      <a:pt x="47312" y="230466"/>
                    </a:lnTo>
                    <a:lnTo>
                      <a:pt x="55188" y="228051"/>
                    </a:lnTo>
                    <a:lnTo>
                      <a:pt x="63723" y="217760"/>
                    </a:lnTo>
                    <a:lnTo>
                      <a:pt x="78185" y="211448"/>
                    </a:lnTo>
                    <a:lnTo>
                      <a:pt x="89464" y="208731"/>
                    </a:lnTo>
                    <a:lnTo>
                      <a:pt x="90919" y="208731"/>
                    </a:lnTo>
                    <a:cubicBezTo>
                      <a:pt x="90919" y="208731"/>
                      <a:pt x="106122" y="209033"/>
                      <a:pt x="106122" y="209033"/>
                    </a:cubicBezTo>
                    <a:lnTo>
                      <a:pt x="117758" y="209253"/>
                    </a:lnTo>
                    <a:lnTo>
                      <a:pt x="137078" y="189384"/>
                    </a:lnTo>
                    <a:lnTo>
                      <a:pt x="182277" y="142868"/>
                    </a:lnTo>
                    <a:lnTo>
                      <a:pt x="200499" y="123603"/>
                    </a:lnTo>
                    <a:lnTo>
                      <a:pt x="204340" y="119541"/>
                    </a:lnTo>
                    <a:lnTo>
                      <a:pt x="203188" y="118773"/>
                    </a:lnTo>
                    <a:lnTo>
                      <a:pt x="200499" y="118773"/>
                    </a:lnTo>
                    <a:lnTo>
                      <a:pt x="182277" y="118691"/>
                    </a:lnTo>
                    <a:lnTo>
                      <a:pt x="175306" y="118252"/>
                    </a:lnTo>
                    <a:lnTo>
                      <a:pt x="139630" y="106232"/>
                    </a:lnTo>
                    <a:lnTo>
                      <a:pt x="137078" y="105381"/>
                    </a:lnTo>
                    <a:lnTo>
                      <a:pt x="91358" y="89985"/>
                    </a:lnTo>
                    <a:lnTo>
                      <a:pt x="90288" y="89299"/>
                    </a:lnTo>
                    <a:lnTo>
                      <a:pt x="69403" y="71900"/>
                    </a:lnTo>
                    <a:lnTo>
                      <a:pt x="66028" y="64299"/>
                    </a:lnTo>
                    <a:lnTo>
                      <a:pt x="56286" y="53953"/>
                    </a:lnTo>
                    <a:lnTo>
                      <a:pt x="54941" y="52114"/>
                    </a:lnTo>
                    <a:lnTo>
                      <a:pt x="50276" y="41905"/>
                    </a:lnTo>
                    <a:lnTo>
                      <a:pt x="58070" y="29309"/>
                    </a:lnTo>
                    <a:lnTo>
                      <a:pt x="58893" y="27937"/>
                    </a:lnTo>
                    <a:lnTo>
                      <a:pt x="62927" y="21460"/>
                    </a:lnTo>
                    <a:lnTo>
                      <a:pt x="64025" y="19649"/>
                    </a:lnTo>
                    <a:lnTo>
                      <a:pt x="64931" y="18167"/>
                    </a:lnTo>
                    <a:lnTo>
                      <a:pt x="66659" y="15368"/>
                    </a:lnTo>
                    <a:lnTo>
                      <a:pt x="72724" y="18798"/>
                    </a:lnTo>
                    <a:lnTo>
                      <a:pt x="78405" y="29474"/>
                    </a:lnTo>
                    <a:lnTo>
                      <a:pt x="85046" y="36883"/>
                    </a:lnTo>
                    <a:lnTo>
                      <a:pt x="90946" y="41439"/>
                    </a:lnTo>
                    <a:lnTo>
                      <a:pt x="96517" y="45720"/>
                    </a:lnTo>
                    <a:lnTo>
                      <a:pt x="101786" y="47449"/>
                    </a:lnTo>
                    <a:lnTo>
                      <a:pt x="106122" y="47174"/>
                    </a:lnTo>
                    <a:lnTo>
                      <a:pt x="116359" y="46516"/>
                    </a:lnTo>
                    <a:lnTo>
                      <a:pt x="137078" y="35895"/>
                    </a:lnTo>
                    <a:lnTo>
                      <a:pt x="141386" y="33700"/>
                    </a:lnTo>
                    <a:lnTo>
                      <a:pt x="154038" y="36060"/>
                    </a:lnTo>
                    <a:lnTo>
                      <a:pt x="158511" y="38475"/>
                    </a:lnTo>
                    <a:lnTo>
                      <a:pt x="162627" y="38008"/>
                    </a:lnTo>
                    <a:lnTo>
                      <a:pt x="182277" y="26812"/>
                    </a:lnTo>
                    <a:lnTo>
                      <a:pt x="189411" y="23985"/>
                    </a:lnTo>
                    <a:lnTo>
                      <a:pt x="196876" y="25988"/>
                    </a:lnTo>
                    <a:lnTo>
                      <a:pt x="200499" y="25742"/>
                    </a:lnTo>
                    <a:lnTo>
                      <a:pt x="209445" y="25138"/>
                    </a:lnTo>
                    <a:lnTo>
                      <a:pt x="222535" y="19786"/>
                    </a:lnTo>
                    <a:lnTo>
                      <a:pt x="234116" y="21790"/>
                    </a:lnTo>
                    <a:lnTo>
                      <a:pt x="247755" y="18853"/>
                    </a:lnTo>
                    <a:lnTo>
                      <a:pt x="253189" y="15478"/>
                    </a:lnTo>
                    <a:lnTo>
                      <a:pt x="272701" y="11471"/>
                    </a:lnTo>
                    <a:lnTo>
                      <a:pt x="278410" y="8013"/>
                    </a:lnTo>
                    <a:lnTo>
                      <a:pt x="282059" y="2140"/>
                    </a:lnTo>
                    <a:lnTo>
                      <a:pt x="287548" y="0"/>
                    </a:lnTo>
                    <a:lnTo>
                      <a:pt x="301434" y="3897"/>
                    </a:lnTo>
                    <a:lnTo>
                      <a:pt x="301955" y="7849"/>
                    </a:lnTo>
                    <a:lnTo>
                      <a:pt x="296714" y="204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5" name="Freeform: Shape 4524">
                <a:extLst>
                  <a:ext uri="{FF2B5EF4-FFF2-40B4-BE49-F238E27FC236}">
                    <a16:creationId xmlns:a16="http://schemas.microsoft.com/office/drawing/2014/main" id="{9ACB8599-39FC-275F-BE09-7A7371562AF4}"/>
                  </a:ext>
                </a:extLst>
              </p:cNvPr>
              <p:cNvSpPr/>
              <p:nvPr/>
            </p:nvSpPr>
            <p:spPr>
              <a:xfrm>
                <a:off x="1522445" y="3811972"/>
                <a:ext cx="667" cy="504"/>
              </a:xfrm>
              <a:custGeom>
                <a:avLst/>
                <a:gdLst>
                  <a:gd name="connsiteX0" fmla="*/ 275 w 6394"/>
                  <a:gd name="connsiteY0" fmla="*/ 0 h 4829"/>
                  <a:gd name="connsiteX1" fmla="*/ 3238 w 6394"/>
                  <a:gd name="connsiteY1" fmla="*/ 1564 h 4829"/>
                  <a:gd name="connsiteX2" fmla="*/ 5653 w 6394"/>
                  <a:gd name="connsiteY2" fmla="*/ 1564 h 4829"/>
                  <a:gd name="connsiteX3" fmla="*/ 6394 w 6394"/>
                  <a:gd name="connsiteY3" fmla="*/ 2634 h 4829"/>
                  <a:gd name="connsiteX4" fmla="*/ 5187 w 6394"/>
                  <a:gd name="connsiteY4" fmla="*/ 4830 h 4829"/>
                  <a:gd name="connsiteX5" fmla="*/ 2278 w 6394"/>
                  <a:gd name="connsiteY5" fmla="*/ 4528 h 4829"/>
                  <a:gd name="connsiteX6" fmla="*/ 0 w 6394"/>
                  <a:gd name="connsiteY6" fmla="*/ 1015 h 4829"/>
                  <a:gd name="connsiteX7" fmla="*/ 275 w 6394"/>
                  <a:gd name="connsiteY7" fmla="*/ 0 h 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94" h="4829">
                    <a:moveTo>
                      <a:pt x="275" y="0"/>
                    </a:moveTo>
                    <a:lnTo>
                      <a:pt x="3238" y="1564"/>
                    </a:lnTo>
                    <a:lnTo>
                      <a:pt x="5653" y="1564"/>
                    </a:lnTo>
                    <a:cubicBezTo>
                      <a:pt x="5653" y="1564"/>
                      <a:pt x="6394" y="2634"/>
                      <a:pt x="6394" y="2634"/>
                    </a:cubicBezTo>
                    <a:lnTo>
                      <a:pt x="5187" y="4830"/>
                    </a:lnTo>
                    <a:lnTo>
                      <a:pt x="2278" y="4528"/>
                    </a:lnTo>
                    <a:lnTo>
                      <a:pt x="0" y="1015"/>
                    </a:lnTo>
                    <a:lnTo>
                      <a:pt x="275"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6" name="Freeform: Shape 4525">
                <a:extLst>
                  <a:ext uri="{FF2B5EF4-FFF2-40B4-BE49-F238E27FC236}">
                    <a16:creationId xmlns:a16="http://schemas.microsoft.com/office/drawing/2014/main" id="{DDEA4D6F-E3B5-E215-80A6-1549280EF943}"/>
                  </a:ext>
                </a:extLst>
              </p:cNvPr>
              <p:cNvSpPr/>
              <p:nvPr/>
            </p:nvSpPr>
            <p:spPr>
              <a:xfrm>
                <a:off x="1187412" y="3826032"/>
                <a:ext cx="12354" cy="12769"/>
              </a:xfrm>
              <a:custGeom>
                <a:avLst/>
                <a:gdLst>
                  <a:gd name="connsiteX0" fmla="*/ 118032 w 118443"/>
                  <a:gd name="connsiteY0" fmla="*/ 11608 h 122423"/>
                  <a:gd name="connsiteX1" fmla="*/ 105957 w 118443"/>
                  <a:gd name="connsiteY1" fmla="*/ 27525 h 122423"/>
                  <a:gd name="connsiteX2" fmla="*/ 104283 w 118443"/>
                  <a:gd name="connsiteY2" fmla="*/ 33398 h 122423"/>
                  <a:gd name="connsiteX3" fmla="*/ 105326 w 118443"/>
                  <a:gd name="connsiteY3" fmla="*/ 46269 h 122423"/>
                  <a:gd name="connsiteX4" fmla="*/ 108427 w 118443"/>
                  <a:gd name="connsiteY4" fmla="*/ 57960 h 122423"/>
                  <a:gd name="connsiteX5" fmla="*/ 118444 w 118443"/>
                  <a:gd name="connsiteY5" fmla="*/ 71571 h 122423"/>
                  <a:gd name="connsiteX6" fmla="*/ 116743 w 118443"/>
                  <a:gd name="connsiteY6" fmla="*/ 77965 h 122423"/>
                  <a:gd name="connsiteX7" fmla="*/ 112900 w 118443"/>
                  <a:gd name="connsiteY7" fmla="*/ 82686 h 122423"/>
                  <a:gd name="connsiteX8" fmla="*/ 111913 w 118443"/>
                  <a:gd name="connsiteY8" fmla="*/ 94678 h 122423"/>
                  <a:gd name="connsiteX9" fmla="*/ 106945 w 118443"/>
                  <a:gd name="connsiteY9" fmla="*/ 103460 h 122423"/>
                  <a:gd name="connsiteX10" fmla="*/ 100880 w 118443"/>
                  <a:gd name="connsiteY10" fmla="*/ 108290 h 122423"/>
                  <a:gd name="connsiteX11" fmla="*/ 97999 w 118443"/>
                  <a:gd name="connsiteY11" fmla="*/ 107549 h 122423"/>
                  <a:gd name="connsiteX12" fmla="*/ 96983 w 118443"/>
                  <a:gd name="connsiteY12" fmla="*/ 104338 h 122423"/>
                  <a:gd name="connsiteX13" fmla="*/ 92730 w 118443"/>
                  <a:gd name="connsiteY13" fmla="*/ 104448 h 122423"/>
                  <a:gd name="connsiteX14" fmla="*/ 88312 w 118443"/>
                  <a:gd name="connsiteY14" fmla="*/ 101072 h 122423"/>
                  <a:gd name="connsiteX15" fmla="*/ 79365 w 118443"/>
                  <a:gd name="connsiteY15" fmla="*/ 102966 h 122423"/>
                  <a:gd name="connsiteX16" fmla="*/ 77197 w 118443"/>
                  <a:gd name="connsiteY16" fmla="*/ 105189 h 122423"/>
                  <a:gd name="connsiteX17" fmla="*/ 67016 w 118443"/>
                  <a:gd name="connsiteY17" fmla="*/ 105628 h 122423"/>
                  <a:gd name="connsiteX18" fmla="*/ 60731 w 118443"/>
                  <a:gd name="connsiteY18" fmla="*/ 102554 h 122423"/>
                  <a:gd name="connsiteX19" fmla="*/ 55929 w 118443"/>
                  <a:gd name="connsiteY19" fmla="*/ 109690 h 122423"/>
                  <a:gd name="connsiteX20" fmla="*/ 61362 w 118443"/>
                  <a:gd name="connsiteY20" fmla="*/ 116221 h 122423"/>
                  <a:gd name="connsiteX21" fmla="*/ 61362 w 118443"/>
                  <a:gd name="connsiteY21" fmla="*/ 121380 h 122423"/>
                  <a:gd name="connsiteX22" fmla="*/ 58399 w 118443"/>
                  <a:gd name="connsiteY22" fmla="*/ 122423 h 122423"/>
                  <a:gd name="connsiteX23" fmla="*/ 45308 w 118443"/>
                  <a:gd name="connsiteY23" fmla="*/ 119377 h 122423"/>
                  <a:gd name="connsiteX24" fmla="*/ 38695 w 118443"/>
                  <a:gd name="connsiteY24" fmla="*/ 116276 h 122423"/>
                  <a:gd name="connsiteX25" fmla="*/ 29035 w 118443"/>
                  <a:gd name="connsiteY25" fmla="*/ 98685 h 122423"/>
                  <a:gd name="connsiteX26" fmla="*/ 24314 w 118443"/>
                  <a:gd name="connsiteY26" fmla="*/ 93114 h 122423"/>
                  <a:gd name="connsiteX27" fmla="*/ 21021 w 118443"/>
                  <a:gd name="connsiteY27" fmla="*/ 77718 h 122423"/>
                  <a:gd name="connsiteX28" fmla="*/ 10730 w 118443"/>
                  <a:gd name="connsiteY28" fmla="*/ 76785 h 122423"/>
                  <a:gd name="connsiteX29" fmla="*/ 10730 w 118443"/>
                  <a:gd name="connsiteY29" fmla="*/ 72449 h 122423"/>
                  <a:gd name="connsiteX30" fmla="*/ 5763 w 118443"/>
                  <a:gd name="connsiteY30" fmla="*/ 68223 h 122423"/>
                  <a:gd name="connsiteX31" fmla="*/ 82 w 118443"/>
                  <a:gd name="connsiteY31" fmla="*/ 58947 h 122423"/>
                  <a:gd name="connsiteX32" fmla="*/ 0 w 118443"/>
                  <a:gd name="connsiteY32" fmla="*/ 52910 h 122423"/>
                  <a:gd name="connsiteX33" fmla="*/ 2251 w 118443"/>
                  <a:gd name="connsiteY33" fmla="*/ 46296 h 122423"/>
                  <a:gd name="connsiteX34" fmla="*/ 5187 w 118443"/>
                  <a:gd name="connsiteY34" fmla="*/ 40012 h 122423"/>
                  <a:gd name="connsiteX35" fmla="*/ 3293 w 118443"/>
                  <a:gd name="connsiteY35" fmla="*/ 35237 h 122423"/>
                  <a:gd name="connsiteX36" fmla="*/ 4857 w 118443"/>
                  <a:gd name="connsiteY36" fmla="*/ 32465 h 122423"/>
                  <a:gd name="connsiteX37" fmla="*/ 10867 w 118443"/>
                  <a:gd name="connsiteY37" fmla="*/ 29281 h 122423"/>
                  <a:gd name="connsiteX38" fmla="*/ 18743 w 118443"/>
                  <a:gd name="connsiteY38" fmla="*/ 29227 h 122423"/>
                  <a:gd name="connsiteX39" fmla="*/ 21241 w 118443"/>
                  <a:gd name="connsiteY39" fmla="*/ 25247 h 122423"/>
                  <a:gd name="connsiteX40" fmla="*/ 23985 w 118443"/>
                  <a:gd name="connsiteY40" fmla="*/ 24150 h 122423"/>
                  <a:gd name="connsiteX41" fmla="*/ 21213 w 118443"/>
                  <a:gd name="connsiteY41" fmla="*/ 19292 h 122423"/>
                  <a:gd name="connsiteX42" fmla="*/ 25440 w 118443"/>
                  <a:gd name="connsiteY42" fmla="*/ 10511 h 122423"/>
                  <a:gd name="connsiteX43" fmla="*/ 26071 w 118443"/>
                  <a:gd name="connsiteY43" fmla="*/ 4665 h 122423"/>
                  <a:gd name="connsiteX44" fmla="*/ 31779 w 118443"/>
                  <a:gd name="connsiteY44" fmla="*/ 0 h 122423"/>
                  <a:gd name="connsiteX45" fmla="*/ 59249 w 118443"/>
                  <a:gd name="connsiteY45" fmla="*/ 5351 h 122423"/>
                  <a:gd name="connsiteX46" fmla="*/ 64710 w 118443"/>
                  <a:gd name="connsiteY46" fmla="*/ 521 h 122423"/>
                  <a:gd name="connsiteX47" fmla="*/ 73492 w 118443"/>
                  <a:gd name="connsiteY47" fmla="*/ 110 h 122423"/>
                  <a:gd name="connsiteX48" fmla="*/ 82878 w 118443"/>
                  <a:gd name="connsiteY48" fmla="*/ 2497 h 122423"/>
                  <a:gd name="connsiteX49" fmla="*/ 86583 w 118443"/>
                  <a:gd name="connsiteY49" fmla="*/ 494 h 122423"/>
                  <a:gd name="connsiteX50" fmla="*/ 94596 w 118443"/>
                  <a:gd name="connsiteY50" fmla="*/ 192 h 122423"/>
                  <a:gd name="connsiteX51" fmla="*/ 116248 w 118443"/>
                  <a:gd name="connsiteY51" fmla="*/ 4610 h 122423"/>
                  <a:gd name="connsiteX52" fmla="*/ 118060 w 118443"/>
                  <a:gd name="connsiteY52" fmla="*/ 6806 h 122423"/>
                  <a:gd name="connsiteX53" fmla="*/ 118060 w 118443"/>
                  <a:gd name="connsiteY53" fmla="*/ 11608 h 12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18443" h="122423">
                    <a:moveTo>
                      <a:pt x="118032" y="11608"/>
                    </a:moveTo>
                    <a:lnTo>
                      <a:pt x="105957" y="27525"/>
                    </a:lnTo>
                    <a:lnTo>
                      <a:pt x="104283" y="33398"/>
                    </a:lnTo>
                    <a:lnTo>
                      <a:pt x="105326" y="46269"/>
                    </a:lnTo>
                    <a:lnTo>
                      <a:pt x="108427" y="57960"/>
                    </a:lnTo>
                    <a:lnTo>
                      <a:pt x="118444" y="71571"/>
                    </a:lnTo>
                    <a:lnTo>
                      <a:pt x="116743" y="77965"/>
                    </a:lnTo>
                    <a:lnTo>
                      <a:pt x="112900" y="82686"/>
                    </a:lnTo>
                    <a:lnTo>
                      <a:pt x="111913" y="94678"/>
                    </a:lnTo>
                    <a:lnTo>
                      <a:pt x="106945" y="103460"/>
                    </a:lnTo>
                    <a:lnTo>
                      <a:pt x="100880" y="108290"/>
                    </a:lnTo>
                    <a:lnTo>
                      <a:pt x="97999" y="107549"/>
                    </a:lnTo>
                    <a:lnTo>
                      <a:pt x="96983" y="104338"/>
                    </a:lnTo>
                    <a:lnTo>
                      <a:pt x="92730" y="104448"/>
                    </a:lnTo>
                    <a:lnTo>
                      <a:pt x="88312" y="101072"/>
                    </a:lnTo>
                    <a:lnTo>
                      <a:pt x="79365" y="102966"/>
                    </a:lnTo>
                    <a:lnTo>
                      <a:pt x="77197" y="105189"/>
                    </a:lnTo>
                    <a:lnTo>
                      <a:pt x="67016" y="105628"/>
                    </a:lnTo>
                    <a:lnTo>
                      <a:pt x="60731" y="102554"/>
                    </a:lnTo>
                    <a:lnTo>
                      <a:pt x="55929" y="109690"/>
                    </a:lnTo>
                    <a:lnTo>
                      <a:pt x="61362" y="116221"/>
                    </a:lnTo>
                    <a:lnTo>
                      <a:pt x="61362" y="121380"/>
                    </a:lnTo>
                    <a:cubicBezTo>
                      <a:pt x="61362" y="121380"/>
                      <a:pt x="58399" y="122423"/>
                      <a:pt x="58399" y="122423"/>
                    </a:cubicBezTo>
                    <a:lnTo>
                      <a:pt x="45308" y="119377"/>
                    </a:lnTo>
                    <a:lnTo>
                      <a:pt x="38695" y="116276"/>
                    </a:lnTo>
                    <a:lnTo>
                      <a:pt x="29035" y="98685"/>
                    </a:lnTo>
                    <a:lnTo>
                      <a:pt x="24314" y="93114"/>
                    </a:lnTo>
                    <a:lnTo>
                      <a:pt x="21021" y="77718"/>
                    </a:lnTo>
                    <a:lnTo>
                      <a:pt x="10730" y="76785"/>
                    </a:lnTo>
                    <a:lnTo>
                      <a:pt x="10730" y="72449"/>
                    </a:lnTo>
                    <a:cubicBezTo>
                      <a:pt x="10730" y="72449"/>
                      <a:pt x="5763" y="68223"/>
                      <a:pt x="5763" y="68223"/>
                    </a:cubicBezTo>
                    <a:lnTo>
                      <a:pt x="82" y="58947"/>
                    </a:lnTo>
                    <a:lnTo>
                      <a:pt x="0" y="52910"/>
                    </a:lnTo>
                    <a:lnTo>
                      <a:pt x="2251" y="46296"/>
                    </a:lnTo>
                    <a:lnTo>
                      <a:pt x="5187" y="40012"/>
                    </a:lnTo>
                    <a:lnTo>
                      <a:pt x="3293" y="35237"/>
                    </a:lnTo>
                    <a:lnTo>
                      <a:pt x="4857" y="32465"/>
                    </a:lnTo>
                    <a:lnTo>
                      <a:pt x="10867" y="29281"/>
                    </a:lnTo>
                    <a:lnTo>
                      <a:pt x="18743" y="29227"/>
                    </a:lnTo>
                    <a:lnTo>
                      <a:pt x="21241" y="25247"/>
                    </a:lnTo>
                    <a:lnTo>
                      <a:pt x="23985" y="24150"/>
                    </a:lnTo>
                    <a:lnTo>
                      <a:pt x="21213" y="19292"/>
                    </a:lnTo>
                    <a:lnTo>
                      <a:pt x="25440" y="10511"/>
                    </a:lnTo>
                    <a:lnTo>
                      <a:pt x="26071" y="4665"/>
                    </a:lnTo>
                    <a:lnTo>
                      <a:pt x="31779" y="0"/>
                    </a:lnTo>
                    <a:lnTo>
                      <a:pt x="59249" y="5351"/>
                    </a:lnTo>
                    <a:lnTo>
                      <a:pt x="64710" y="521"/>
                    </a:lnTo>
                    <a:lnTo>
                      <a:pt x="73492" y="110"/>
                    </a:lnTo>
                    <a:lnTo>
                      <a:pt x="82878" y="2497"/>
                    </a:lnTo>
                    <a:lnTo>
                      <a:pt x="86583" y="494"/>
                    </a:lnTo>
                    <a:lnTo>
                      <a:pt x="94596" y="192"/>
                    </a:lnTo>
                    <a:lnTo>
                      <a:pt x="116248" y="4610"/>
                    </a:lnTo>
                    <a:lnTo>
                      <a:pt x="118060" y="6806"/>
                    </a:lnTo>
                    <a:lnTo>
                      <a:pt x="118060" y="116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7" name="Freeform: Shape 4526">
                <a:extLst>
                  <a:ext uri="{FF2B5EF4-FFF2-40B4-BE49-F238E27FC236}">
                    <a16:creationId xmlns:a16="http://schemas.microsoft.com/office/drawing/2014/main" id="{5EB1DE5A-C78C-5E57-60C0-5B7D7E08CD17}"/>
                  </a:ext>
                </a:extLst>
              </p:cNvPr>
              <p:cNvSpPr/>
              <p:nvPr/>
            </p:nvSpPr>
            <p:spPr>
              <a:xfrm>
                <a:off x="1409586" y="3548134"/>
                <a:ext cx="2931" cy="4299"/>
              </a:xfrm>
              <a:custGeom>
                <a:avLst/>
                <a:gdLst>
                  <a:gd name="connsiteX0" fmla="*/ 25906 w 28101"/>
                  <a:gd name="connsiteY0" fmla="*/ 8837 h 41219"/>
                  <a:gd name="connsiteX1" fmla="*/ 27855 w 28101"/>
                  <a:gd name="connsiteY1" fmla="*/ 14600 h 41219"/>
                  <a:gd name="connsiteX2" fmla="*/ 25797 w 28101"/>
                  <a:gd name="connsiteY2" fmla="*/ 19430 h 41219"/>
                  <a:gd name="connsiteX3" fmla="*/ 28102 w 28101"/>
                  <a:gd name="connsiteY3" fmla="*/ 24150 h 41219"/>
                  <a:gd name="connsiteX4" fmla="*/ 27937 w 28101"/>
                  <a:gd name="connsiteY4" fmla="*/ 26730 h 41219"/>
                  <a:gd name="connsiteX5" fmla="*/ 15341 w 28101"/>
                  <a:gd name="connsiteY5" fmla="*/ 36362 h 41219"/>
                  <a:gd name="connsiteX6" fmla="*/ 15752 w 28101"/>
                  <a:gd name="connsiteY6" fmla="*/ 38859 h 41219"/>
                  <a:gd name="connsiteX7" fmla="*/ 13694 w 28101"/>
                  <a:gd name="connsiteY7" fmla="*/ 41137 h 41219"/>
                  <a:gd name="connsiteX8" fmla="*/ 9550 w 28101"/>
                  <a:gd name="connsiteY8" fmla="*/ 41219 h 41219"/>
                  <a:gd name="connsiteX9" fmla="*/ 8453 w 28101"/>
                  <a:gd name="connsiteY9" fmla="*/ 36362 h 41219"/>
                  <a:gd name="connsiteX10" fmla="*/ 13035 w 28101"/>
                  <a:gd name="connsiteY10" fmla="*/ 33014 h 41219"/>
                  <a:gd name="connsiteX11" fmla="*/ 10895 w 28101"/>
                  <a:gd name="connsiteY11" fmla="*/ 27608 h 41219"/>
                  <a:gd name="connsiteX12" fmla="*/ 2443 w 28101"/>
                  <a:gd name="connsiteY12" fmla="*/ 33014 h 41219"/>
                  <a:gd name="connsiteX13" fmla="*/ 0 w 28101"/>
                  <a:gd name="connsiteY13" fmla="*/ 27553 h 41219"/>
                  <a:gd name="connsiteX14" fmla="*/ 2525 w 28101"/>
                  <a:gd name="connsiteY14" fmla="*/ 17371 h 41219"/>
                  <a:gd name="connsiteX15" fmla="*/ 10648 w 28101"/>
                  <a:gd name="connsiteY15" fmla="*/ 13063 h 41219"/>
                  <a:gd name="connsiteX16" fmla="*/ 15204 w 28101"/>
                  <a:gd name="connsiteY16" fmla="*/ 18551 h 41219"/>
                  <a:gd name="connsiteX17" fmla="*/ 16521 w 28101"/>
                  <a:gd name="connsiteY17" fmla="*/ 16576 h 41219"/>
                  <a:gd name="connsiteX18" fmla="*/ 13667 w 28101"/>
                  <a:gd name="connsiteY18" fmla="*/ 10126 h 41219"/>
                  <a:gd name="connsiteX19" fmla="*/ 13667 w 28101"/>
                  <a:gd name="connsiteY19" fmla="*/ 6010 h 41219"/>
                  <a:gd name="connsiteX20" fmla="*/ 18991 w 28101"/>
                  <a:gd name="connsiteY20" fmla="*/ 8837 h 41219"/>
                  <a:gd name="connsiteX21" fmla="*/ 17920 w 28101"/>
                  <a:gd name="connsiteY21" fmla="*/ 1949 h 41219"/>
                  <a:gd name="connsiteX22" fmla="*/ 21323 w 28101"/>
                  <a:gd name="connsiteY22" fmla="*/ 0 h 41219"/>
                  <a:gd name="connsiteX23" fmla="*/ 25330 w 28101"/>
                  <a:gd name="connsiteY23" fmla="*/ 3979 h 41219"/>
                  <a:gd name="connsiteX24" fmla="*/ 25906 w 28101"/>
                  <a:gd name="connsiteY24" fmla="*/ 8864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101" h="41219">
                    <a:moveTo>
                      <a:pt x="25906" y="8837"/>
                    </a:moveTo>
                    <a:lnTo>
                      <a:pt x="27855" y="14600"/>
                    </a:lnTo>
                    <a:lnTo>
                      <a:pt x="25797" y="19430"/>
                    </a:lnTo>
                    <a:lnTo>
                      <a:pt x="28102" y="24150"/>
                    </a:lnTo>
                    <a:lnTo>
                      <a:pt x="27937" y="26730"/>
                    </a:lnTo>
                    <a:lnTo>
                      <a:pt x="15341" y="36362"/>
                    </a:lnTo>
                    <a:lnTo>
                      <a:pt x="15752" y="38859"/>
                    </a:lnTo>
                    <a:lnTo>
                      <a:pt x="13694" y="41137"/>
                    </a:lnTo>
                    <a:lnTo>
                      <a:pt x="9550" y="41219"/>
                    </a:lnTo>
                    <a:lnTo>
                      <a:pt x="8453" y="36362"/>
                    </a:lnTo>
                    <a:lnTo>
                      <a:pt x="13035" y="33014"/>
                    </a:lnTo>
                    <a:lnTo>
                      <a:pt x="10895" y="27608"/>
                    </a:lnTo>
                    <a:lnTo>
                      <a:pt x="2443" y="33014"/>
                    </a:lnTo>
                    <a:lnTo>
                      <a:pt x="0" y="27553"/>
                    </a:lnTo>
                    <a:lnTo>
                      <a:pt x="2525" y="17371"/>
                    </a:lnTo>
                    <a:lnTo>
                      <a:pt x="10648" y="13063"/>
                    </a:lnTo>
                    <a:lnTo>
                      <a:pt x="15204" y="18551"/>
                    </a:lnTo>
                    <a:lnTo>
                      <a:pt x="16521" y="16576"/>
                    </a:lnTo>
                    <a:lnTo>
                      <a:pt x="13667" y="10126"/>
                    </a:lnTo>
                    <a:lnTo>
                      <a:pt x="13667" y="6010"/>
                    </a:lnTo>
                    <a:lnTo>
                      <a:pt x="18991" y="8837"/>
                    </a:lnTo>
                    <a:lnTo>
                      <a:pt x="17920" y="1949"/>
                    </a:lnTo>
                    <a:lnTo>
                      <a:pt x="21323" y="0"/>
                    </a:lnTo>
                    <a:lnTo>
                      <a:pt x="25330" y="3979"/>
                    </a:lnTo>
                    <a:lnTo>
                      <a:pt x="25906" y="88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8" name="Freeform: Shape 4527">
                <a:extLst>
                  <a:ext uri="{FF2B5EF4-FFF2-40B4-BE49-F238E27FC236}">
                    <a16:creationId xmlns:a16="http://schemas.microsoft.com/office/drawing/2014/main" id="{5285696A-C48B-BE3B-1696-F7B8FDEB4F2C}"/>
                  </a:ext>
                </a:extLst>
              </p:cNvPr>
              <p:cNvSpPr/>
              <p:nvPr/>
            </p:nvSpPr>
            <p:spPr>
              <a:xfrm>
                <a:off x="1433478" y="3531587"/>
                <a:ext cx="3773" cy="3200"/>
              </a:xfrm>
              <a:custGeom>
                <a:avLst/>
                <a:gdLst>
                  <a:gd name="connsiteX0" fmla="*/ 36170 w 36170"/>
                  <a:gd name="connsiteY0" fmla="*/ 3787 h 30681"/>
                  <a:gd name="connsiteX1" fmla="*/ 26538 w 36170"/>
                  <a:gd name="connsiteY1" fmla="*/ 20253 h 30681"/>
                  <a:gd name="connsiteX2" fmla="*/ 26538 w 36170"/>
                  <a:gd name="connsiteY2" fmla="*/ 23244 h 30681"/>
                  <a:gd name="connsiteX3" fmla="*/ 16823 w 36170"/>
                  <a:gd name="connsiteY3" fmla="*/ 30681 h 30681"/>
                  <a:gd name="connsiteX4" fmla="*/ 549 w 36170"/>
                  <a:gd name="connsiteY4" fmla="*/ 30681 h 30681"/>
                  <a:gd name="connsiteX5" fmla="*/ 0 w 36170"/>
                  <a:gd name="connsiteY5" fmla="*/ 28952 h 30681"/>
                  <a:gd name="connsiteX6" fmla="*/ 3239 w 36170"/>
                  <a:gd name="connsiteY6" fmla="*/ 22750 h 30681"/>
                  <a:gd name="connsiteX7" fmla="*/ 1812 w 36170"/>
                  <a:gd name="connsiteY7" fmla="*/ 19512 h 30681"/>
                  <a:gd name="connsiteX8" fmla="*/ 5928 w 36170"/>
                  <a:gd name="connsiteY8" fmla="*/ 13859 h 30681"/>
                  <a:gd name="connsiteX9" fmla="*/ 14463 w 36170"/>
                  <a:gd name="connsiteY9" fmla="*/ 19210 h 30681"/>
                  <a:gd name="connsiteX10" fmla="*/ 16795 w 36170"/>
                  <a:gd name="connsiteY10" fmla="*/ 10401 h 30681"/>
                  <a:gd name="connsiteX11" fmla="*/ 22558 w 36170"/>
                  <a:gd name="connsiteY11" fmla="*/ 15999 h 30681"/>
                  <a:gd name="connsiteX12" fmla="*/ 26510 w 36170"/>
                  <a:gd name="connsiteY12" fmla="*/ 12212 h 30681"/>
                  <a:gd name="connsiteX13" fmla="*/ 26510 w 36170"/>
                  <a:gd name="connsiteY13" fmla="*/ 3842 h 30681"/>
                  <a:gd name="connsiteX14" fmla="*/ 31093 w 36170"/>
                  <a:gd name="connsiteY14" fmla="*/ 6202 h 30681"/>
                  <a:gd name="connsiteX15" fmla="*/ 33755 w 36170"/>
                  <a:gd name="connsiteY15" fmla="*/ 0 h 30681"/>
                  <a:gd name="connsiteX16" fmla="*/ 36143 w 36170"/>
                  <a:gd name="connsiteY16" fmla="*/ 3815 h 3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170" h="30681">
                    <a:moveTo>
                      <a:pt x="36170" y="3787"/>
                    </a:moveTo>
                    <a:lnTo>
                      <a:pt x="26538" y="20253"/>
                    </a:lnTo>
                    <a:lnTo>
                      <a:pt x="26538" y="23244"/>
                    </a:lnTo>
                    <a:lnTo>
                      <a:pt x="16823" y="30681"/>
                    </a:lnTo>
                    <a:lnTo>
                      <a:pt x="549" y="30681"/>
                    </a:lnTo>
                    <a:cubicBezTo>
                      <a:pt x="549" y="30681"/>
                      <a:pt x="0" y="28952"/>
                      <a:pt x="0" y="28952"/>
                    </a:cubicBezTo>
                    <a:lnTo>
                      <a:pt x="3239" y="22750"/>
                    </a:lnTo>
                    <a:lnTo>
                      <a:pt x="1812" y="19512"/>
                    </a:lnTo>
                    <a:lnTo>
                      <a:pt x="5928" y="13859"/>
                    </a:lnTo>
                    <a:lnTo>
                      <a:pt x="14463" y="19210"/>
                    </a:lnTo>
                    <a:lnTo>
                      <a:pt x="16795" y="10401"/>
                    </a:lnTo>
                    <a:lnTo>
                      <a:pt x="22558" y="15999"/>
                    </a:lnTo>
                    <a:lnTo>
                      <a:pt x="26510" y="12212"/>
                    </a:lnTo>
                    <a:lnTo>
                      <a:pt x="26510" y="3842"/>
                    </a:lnTo>
                    <a:lnTo>
                      <a:pt x="31093" y="6202"/>
                    </a:lnTo>
                    <a:lnTo>
                      <a:pt x="33755" y="0"/>
                    </a:lnTo>
                    <a:lnTo>
                      <a:pt x="36143" y="38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9" name="Freeform: Shape 4528">
                <a:extLst>
                  <a:ext uri="{FF2B5EF4-FFF2-40B4-BE49-F238E27FC236}">
                    <a16:creationId xmlns:a16="http://schemas.microsoft.com/office/drawing/2014/main" id="{02A66D9F-E912-FE97-266A-4DA1486674DE}"/>
                  </a:ext>
                </a:extLst>
              </p:cNvPr>
              <p:cNvSpPr/>
              <p:nvPr/>
            </p:nvSpPr>
            <p:spPr>
              <a:xfrm>
                <a:off x="1404800" y="3555390"/>
                <a:ext cx="1706" cy="2482"/>
              </a:xfrm>
              <a:custGeom>
                <a:avLst/>
                <a:gdLst>
                  <a:gd name="connsiteX0" fmla="*/ 5105 w 16355"/>
                  <a:gd name="connsiteY0" fmla="*/ 20418 h 23793"/>
                  <a:gd name="connsiteX1" fmla="*/ 137 w 16355"/>
                  <a:gd name="connsiteY1" fmla="*/ 23793 h 23793"/>
                  <a:gd name="connsiteX2" fmla="*/ 0 w 16355"/>
                  <a:gd name="connsiteY2" fmla="*/ 20033 h 23793"/>
                  <a:gd name="connsiteX3" fmla="*/ 6559 w 16355"/>
                  <a:gd name="connsiteY3" fmla="*/ 5598 h 23793"/>
                  <a:gd name="connsiteX4" fmla="*/ 16356 w 16355"/>
                  <a:gd name="connsiteY4" fmla="*/ 0 h 23793"/>
                  <a:gd name="connsiteX5" fmla="*/ 15752 w 16355"/>
                  <a:gd name="connsiteY5" fmla="*/ 8150 h 23793"/>
                  <a:gd name="connsiteX6" fmla="*/ 8041 w 16355"/>
                  <a:gd name="connsiteY6" fmla="*/ 16109 h 23793"/>
                  <a:gd name="connsiteX7" fmla="*/ 5077 w 16355"/>
                  <a:gd name="connsiteY7" fmla="*/ 20390 h 23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55" h="23793">
                    <a:moveTo>
                      <a:pt x="5105" y="20418"/>
                    </a:moveTo>
                    <a:lnTo>
                      <a:pt x="137" y="23793"/>
                    </a:lnTo>
                    <a:lnTo>
                      <a:pt x="0" y="20033"/>
                    </a:lnTo>
                    <a:lnTo>
                      <a:pt x="6559" y="5598"/>
                    </a:lnTo>
                    <a:lnTo>
                      <a:pt x="16356" y="0"/>
                    </a:lnTo>
                    <a:lnTo>
                      <a:pt x="15752" y="8150"/>
                    </a:lnTo>
                    <a:lnTo>
                      <a:pt x="8041" y="16109"/>
                    </a:lnTo>
                    <a:lnTo>
                      <a:pt x="5077" y="203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0" name="Freeform: Shape 4529">
                <a:extLst>
                  <a:ext uri="{FF2B5EF4-FFF2-40B4-BE49-F238E27FC236}">
                    <a16:creationId xmlns:a16="http://schemas.microsoft.com/office/drawing/2014/main" id="{B03CE829-EC7E-43D2-4261-8C600F80453B}"/>
                  </a:ext>
                </a:extLst>
              </p:cNvPr>
              <p:cNvSpPr/>
              <p:nvPr/>
            </p:nvSpPr>
            <p:spPr>
              <a:xfrm>
                <a:off x="1425232" y="3536885"/>
                <a:ext cx="1543" cy="2115"/>
              </a:xfrm>
              <a:custGeom>
                <a:avLst/>
                <a:gdLst>
                  <a:gd name="connsiteX0" fmla="*/ 7382 w 14791"/>
                  <a:gd name="connsiteY0" fmla="*/ 2717 h 20280"/>
                  <a:gd name="connsiteX1" fmla="*/ 7547 w 14791"/>
                  <a:gd name="connsiteY1" fmla="*/ 10675 h 20280"/>
                  <a:gd name="connsiteX2" fmla="*/ 9550 w 14791"/>
                  <a:gd name="connsiteY2" fmla="*/ 6477 h 20280"/>
                  <a:gd name="connsiteX3" fmla="*/ 11169 w 14791"/>
                  <a:gd name="connsiteY3" fmla="*/ 10209 h 20280"/>
                  <a:gd name="connsiteX4" fmla="*/ 14791 w 14791"/>
                  <a:gd name="connsiteY4" fmla="*/ 14243 h 20280"/>
                  <a:gd name="connsiteX5" fmla="*/ 14517 w 14791"/>
                  <a:gd name="connsiteY5" fmla="*/ 18497 h 20280"/>
                  <a:gd name="connsiteX6" fmla="*/ 11114 w 14791"/>
                  <a:gd name="connsiteY6" fmla="*/ 20280 h 20280"/>
                  <a:gd name="connsiteX7" fmla="*/ 7107 w 14791"/>
                  <a:gd name="connsiteY7" fmla="*/ 19485 h 20280"/>
                  <a:gd name="connsiteX8" fmla="*/ 5296 w 14791"/>
                  <a:gd name="connsiteY8" fmla="*/ 16054 h 20280"/>
                  <a:gd name="connsiteX9" fmla="*/ 4803 w 14791"/>
                  <a:gd name="connsiteY9" fmla="*/ 10566 h 20280"/>
                  <a:gd name="connsiteX10" fmla="*/ 0 w 14791"/>
                  <a:gd name="connsiteY10" fmla="*/ 4446 h 20280"/>
                  <a:gd name="connsiteX11" fmla="*/ 2332 w 14791"/>
                  <a:gd name="connsiteY11" fmla="*/ 0 h 20280"/>
                  <a:gd name="connsiteX12" fmla="*/ 7355 w 14791"/>
                  <a:gd name="connsiteY12" fmla="*/ 2744 h 2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91" h="20280">
                    <a:moveTo>
                      <a:pt x="7382" y="2717"/>
                    </a:moveTo>
                    <a:lnTo>
                      <a:pt x="7547" y="10675"/>
                    </a:lnTo>
                    <a:lnTo>
                      <a:pt x="9550" y="6477"/>
                    </a:lnTo>
                    <a:lnTo>
                      <a:pt x="11169" y="10209"/>
                    </a:lnTo>
                    <a:lnTo>
                      <a:pt x="14791" y="14243"/>
                    </a:lnTo>
                    <a:lnTo>
                      <a:pt x="14517" y="18497"/>
                    </a:lnTo>
                    <a:lnTo>
                      <a:pt x="11114" y="20280"/>
                    </a:lnTo>
                    <a:lnTo>
                      <a:pt x="7107" y="19485"/>
                    </a:lnTo>
                    <a:lnTo>
                      <a:pt x="5296" y="16054"/>
                    </a:lnTo>
                    <a:lnTo>
                      <a:pt x="4803" y="10566"/>
                    </a:lnTo>
                    <a:lnTo>
                      <a:pt x="0" y="4446"/>
                    </a:lnTo>
                    <a:lnTo>
                      <a:pt x="2332" y="0"/>
                    </a:lnTo>
                    <a:lnTo>
                      <a:pt x="7355"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1" name="Freeform: Shape 4530">
                <a:extLst>
                  <a:ext uri="{FF2B5EF4-FFF2-40B4-BE49-F238E27FC236}">
                    <a16:creationId xmlns:a16="http://schemas.microsoft.com/office/drawing/2014/main" id="{9BB67504-9C03-F684-55B3-74A7617F5BC8}"/>
                  </a:ext>
                </a:extLst>
              </p:cNvPr>
              <p:cNvSpPr/>
              <p:nvPr/>
            </p:nvSpPr>
            <p:spPr>
              <a:xfrm>
                <a:off x="1438785" y="3530050"/>
                <a:ext cx="707" cy="990"/>
              </a:xfrm>
              <a:custGeom>
                <a:avLst/>
                <a:gdLst>
                  <a:gd name="connsiteX0" fmla="*/ 3375 w 6778"/>
                  <a:gd name="connsiteY0" fmla="*/ 0 h 9495"/>
                  <a:gd name="connsiteX1" fmla="*/ 3458 w 6778"/>
                  <a:gd name="connsiteY1" fmla="*/ 4885 h 9495"/>
                  <a:gd name="connsiteX2" fmla="*/ 5818 w 6778"/>
                  <a:gd name="connsiteY2" fmla="*/ 3952 h 9495"/>
                  <a:gd name="connsiteX3" fmla="*/ 6778 w 6778"/>
                  <a:gd name="connsiteY3" fmla="*/ 8727 h 9495"/>
                  <a:gd name="connsiteX4" fmla="*/ 1674 w 6778"/>
                  <a:gd name="connsiteY4" fmla="*/ 9495 h 9495"/>
                  <a:gd name="connsiteX5" fmla="*/ 0 w 6778"/>
                  <a:gd name="connsiteY5" fmla="*/ 192 h 9495"/>
                  <a:gd name="connsiteX6" fmla="*/ 3348 w 6778"/>
                  <a:gd name="connsiteY6" fmla="*/ 0 h 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8" h="9495">
                    <a:moveTo>
                      <a:pt x="3375" y="0"/>
                    </a:moveTo>
                    <a:lnTo>
                      <a:pt x="3458" y="4885"/>
                    </a:lnTo>
                    <a:lnTo>
                      <a:pt x="5818" y="3952"/>
                    </a:lnTo>
                    <a:lnTo>
                      <a:pt x="6778" y="8727"/>
                    </a:lnTo>
                    <a:lnTo>
                      <a:pt x="1674" y="9495"/>
                    </a:lnTo>
                    <a:lnTo>
                      <a:pt x="0" y="192"/>
                    </a:lnTo>
                    <a:lnTo>
                      <a:pt x="334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2" name="Freeform: Shape 4531">
                <a:extLst>
                  <a:ext uri="{FF2B5EF4-FFF2-40B4-BE49-F238E27FC236}">
                    <a16:creationId xmlns:a16="http://schemas.microsoft.com/office/drawing/2014/main" id="{8EDD5F8C-E672-7DAA-1E3F-A5EA9CD9DE3D}"/>
                  </a:ext>
                </a:extLst>
              </p:cNvPr>
              <p:cNvSpPr/>
              <p:nvPr/>
            </p:nvSpPr>
            <p:spPr>
              <a:xfrm>
                <a:off x="1440923" y="3529131"/>
                <a:ext cx="578" cy="910"/>
              </a:xfrm>
              <a:custGeom>
                <a:avLst/>
                <a:gdLst>
                  <a:gd name="connsiteX0" fmla="*/ 5544 w 5543"/>
                  <a:gd name="connsiteY0" fmla="*/ 2634 h 8726"/>
                  <a:gd name="connsiteX1" fmla="*/ 4309 w 5543"/>
                  <a:gd name="connsiteY1" fmla="*/ 8727 h 8726"/>
                  <a:gd name="connsiteX2" fmla="*/ 0 w 5543"/>
                  <a:gd name="connsiteY2" fmla="*/ 4336 h 8726"/>
                  <a:gd name="connsiteX3" fmla="*/ 2113 w 5543"/>
                  <a:gd name="connsiteY3" fmla="*/ 0 h 8726"/>
                  <a:gd name="connsiteX4" fmla="*/ 5516 w 5543"/>
                  <a:gd name="connsiteY4" fmla="*/ 2662 h 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3" h="8726">
                    <a:moveTo>
                      <a:pt x="5544" y="2634"/>
                    </a:moveTo>
                    <a:lnTo>
                      <a:pt x="4309" y="8727"/>
                    </a:lnTo>
                    <a:lnTo>
                      <a:pt x="0" y="4336"/>
                    </a:lnTo>
                    <a:lnTo>
                      <a:pt x="2113" y="0"/>
                    </a:lnTo>
                    <a:lnTo>
                      <a:pt x="5516"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3" name="Freeform: Shape 4532">
                <a:extLst>
                  <a:ext uri="{FF2B5EF4-FFF2-40B4-BE49-F238E27FC236}">
                    <a16:creationId xmlns:a16="http://schemas.microsoft.com/office/drawing/2014/main" id="{7603DE0F-D8BA-9675-EC95-847A2627CD8D}"/>
                  </a:ext>
                </a:extLst>
              </p:cNvPr>
              <p:cNvSpPr/>
              <p:nvPr/>
            </p:nvSpPr>
            <p:spPr>
              <a:xfrm>
                <a:off x="1424716" y="3537872"/>
                <a:ext cx="607" cy="801"/>
              </a:xfrm>
              <a:custGeom>
                <a:avLst/>
                <a:gdLst>
                  <a:gd name="connsiteX0" fmla="*/ 5818 w 5817"/>
                  <a:gd name="connsiteY0" fmla="*/ 3568 h 7684"/>
                  <a:gd name="connsiteX1" fmla="*/ 5214 w 5817"/>
                  <a:gd name="connsiteY1" fmla="*/ 7684 h 7684"/>
                  <a:gd name="connsiteX2" fmla="*/ 0 w 5817"/>
                  <a:gd name="connsiteY2" fmla="*/ 3129 h 7684"/>
                  <a:gd name="connsiteX3" fmla="*/ 1290 w 5817"/>
                  <a:gd name="connsiteY3" fmla="*/ 0 h 7684"/>
                  <a:gd name="connsiteX4" fmla="*/ 5790 w 5817"/>
                  <a:gd name="connsiteY4" fmla="*/ 3595 h 7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7" h="7684">
                    <a:moveTo>
                      <a:pt x="5818" y="3568"/>
                    </a:moveTo>
                    <a:lnTo>
                      <a:pt x="5214" y="7684"/>
                    </a:lnTo>
                    <a:lnTo>
                      <a:pt x="0" y="3129"/>
                    </a:lnTo>
                    <a:lnTo>
                      <a:pt x="1290" y="0"/>
                    </a:lnTo>
                    <a:lnTo>
                      <a:pt x="5790" y="35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4" name="Freeform: Shape 4533">
                <a:extLst>
                  <a:ext uri="{FF2B5EF4-FFF2-40B4-BE49-F238E27FC236}">
                    <a16:creationId xmlns:a16="http://schemas.microsoft.com/office/drawing/2014/main" id="{BED03415-4A5D-D29D-E09A-A4519FB6A2FF}"/>
                  </a:ext>
                </a:extLst>
              </p:cNvPr>
              <p:cNvSpPr/>
              <p:nvPr/>
            </p:nvSpPr>
            <p:spPr>
              <a:xfrm>
                <a:off x="1427275" y="3536478"/>
                <a:ext cx="358" cy="1285"/>
              </a:xfrm>
              <a:custGeom>
                <a:avLst/>
                <a:gdLst>
                  <a:gd name="connsiteX0" fmla="*/ 3430 w 3430"/>
                  <a:gd name="connsiteY0" fmla="*/ 7245 h 12321"/>
                  <a:gd name="connsiteX1" fmla="*/ 1235 w 3430"/>
                  <a:gd name="connsiteY1" fmla="*/ 12322 h 12321"/>
                  <a:gd name="connsiteX2" fmla="*/ 0 w 3430"/>
                  <a:gd name="connsiteY2" fmla="*/ 2442 h 12321"/>
                  <a:gd name="connsiteX3" fmla="*/ 961 w 3430"/>
                  <a:gd name="connsiteY3" fmla="*/ 0 h 12321"/>
                  <a:gd name="connsiteX4" fmla="*/ 3430 w 3430"/>
                  <a:gd name="connsiteY4" fmla="*/ 7245 h 1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12321">
                    <a:moveTo>
                      <a:pt x="3430" y="7245"/>
                    </a:moveTo>
                    <a:lnTo>
                      <a:pt x="1235" y="12322"/>
                    </a:lnTo>
                    <a:lnTo>
                      <a:pt x="0" y="2442"/>
                    </a:lnTo>
                    <a:lnTo>
                      <a:pt x="961" y="0"/>
                    </a:lnTo>
                    <a:lnTo>
                      <a:pt x="3430" y="72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5" name="Freeform: Shape 4534">
                <a:extLst>
                  <a:ext uri="{FF2B5EF4-FFF2-40B4-BE49-F238E27FC236}">
                    <a16:creationId xmlns:a16="http://schemas.microsoft.com/office/drawing/2014/main" id="{54740DA0-A58D-B72B-3D3A-E40AD8888AAB}"/>
                  </a:ext>
                </a:extLst>
              </p:cNvPr>
              <p:cNvSpPr/>
              <p:nvPr/>
            </p:nvSpPr>
            <p:spPr>
              <a:xfrm>
                <a:off x="1432851" y="3533381"/>
                <a:ext cx="544" cy="844"/>
              </a:xfrm>
              <a:custGeom>
                <a:avLst/>
                <a:gdLst>
                  <a:gd name="connsiteX0" fmla="*/ 5187 w 5214"/>
                  <a:gd name="connsiteY0" fmla="*/ 5928 h 8095"/>
                  <a:gd name="connsiteX1" fmla="*/ 796 w 5214"/>
                  <a:gd name="connsiteY1" fmla="*/ 8096 h 8095"/>
                  <a:gd name="connsiteX2" fmla="*/ 0 w 5214"/>
                  <a:gd name="connsiteY2" fmla="*/ 5983 h 8095"/>
                  <a:gd name="connsiteX3" fmla="*/ 3046 w 5214"/>
                  <a:gd name="connsiteY3" fmla="*/ 0 h 8095"/>
                  <a:gd name="connsiteX4" fmla="*/ 5215 w 5214"/>
                  <a:gd name="connsiteY4" fmla="*/ 5928 h 8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4" h="8095">
                    <a:moveTo>
                      <a:pt x="5187" y="5928"/>
                    </a:moveTo>
                    <a:lnTo>
                      <a:pt x="796" y="8096"/>
                    </a:lnTo>
                    <a:lnTo>
                      <a:pt x="0" y="5983"/>
                    </a:lnTo>
                    <a:lnTo>
                      <a:pt x="3046" y="0"/>
                    </a:lnTo>
                    <a:lnTo>
                      <a:pt x="5215" y="59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6" name="Freeform: Shape 4535">
                <a:extLst>
                  <a:ext uri="{FF2B5EF4-FFF2-40B4-BE49-F238E27FC236}">
                    <a16:creationId xmlns:a16="http://schemas.microsoft.com/office/drawing/2014/main" id="{424C2C25-66F4-D39B-D8F7-49A721FFBF12}"/>
                  </a:ext>
                </a:extLst>
              </p:cNvPr>
              <p:cNvSpPr/>
              <p:nvPr/>
            </p:nvSpPr>
            <p:spPr>
              <a:xfrm>
                <a:off x="1444403" y="3532677"/>
                <a:ext cx="498" cy="922"/>
              </a:xfrm>
              <a:custGeom>
                <a:avLst/>
                <a:gdLst>
                  <a:gd name="connsiteX0" fmla="*/ 4775 w 4775"/>
                  <a:gd name="connsiteY0" fmla="*/ 5269 h 8836"/>
                  <a:gd name="connsiteX1" fmla="*/ 1317 w 4775"/>
                  <a:gd name="connsiteY1" fmla="*/ 8837 h 8836"/>
                  <a:gd name="connsiteX2" fmla="*/ 0 w 4775"/>
                  <a:gd name="connsiteY2" fmla="*/ 5214 h 8836"/>
                  <a:gd name="connsiteX3" fmla="*/ 3814 w 4775"/>
                  <a:gd name="connsiteY3" fmla="*/ 0 h 8836"/>
                  <a:gd name="connsiteX4" fmla="*/ 4775 w 4775"/>
                  <a:gd name="connsiteY4" fmla="*/ 5269 h 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 h="8836">
                    <a:moveTo>
                      <a:pt x="4775" y="5269"/>
                    </a:moveTo>
                    <a:lnTo>
                      <a:pt x="1317" y="8837"/>
                    </a:lnTo>
                    <a:lnTo>
                      <a:pt x="0" y="5214"/>
                    </a:lnTo>
                    <a:lnTo>
                      <a:pt x="3814" y="0"/>
                    </a:lnTo>
                    <a:lnTo>
                      <a:pt x="4775" y="52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7" name="Freeform: Shape 4536">
                <a:extLst>
                  <a:ext uri="{FF2B5EF4-FFF2-40B4-BE49-F238E27FC236}">
                    <a16:creationId xmlns:a16="http://schemas.microsoft.com/office/drawing/2014/main" id="{063906C8-2EDA-FE31-682F-C51FC4745C92}"/>
                  </a:ext>
                </a:extLst>
              </p:cNvPr>
              <p:cNvSpPr/>
              <p:nvPr/>
            </p:nvSpPr>
            <p:spPr>
              <a:xfrm>
                <a:off x="1445328" y="3529572"/>
                <a:ext cx="529" cy="853"/>
              </a:xfrm>
              <a:custGeom>
                <a:avLst/>
                <a:gdLst>
                  <a:gd name="connsiteX0" fmla="*/ 4089 w 5076"/>
                  <a:gd name="connsiteY0" fmla="*/ 5900 h 8177"/>
                  <a:gd name="connsiteX1" fmla="*/ 741 w 5076"/>
                  <a:gd name="connsiteY1" fmla="*/ 8178 h 8177"/>
                  <a:gd name="connsiteX2" fmla="*/ 0 w 5076"/>
                  <a:gd name="connsiteY2" fmla="*/ 6065 h 8177"/>
                  <a:gd name="connsiteX3" fmla="*/ 3183 w 5076"/>
                  <a:gd name="connsiteY3" fmla="*/ 0 h 8177"/>
                  <a:gd name="connsiteX4" fmla="*/ 5077 w 5076"/>
                  <a:gd name="connsiteY4" fmla="*/ 1756 h 8177"/>
                  <a:gd name="connsiteX5" fmla="*/ 4089 w 5076"/>
                  <a:gd name="connsiteY5" fmla="*/ 5928 h 8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6" h="8177">
                    <a:moveTo>
                      <a:pt x="4089" y="5900"/>
                    </a:moveTo>
                    <a:lnTo>
                      <a:pt x="741" y="8178"/>
                    </a:lnTo>
                    <a:lnTo>
                      <a:pt x="0" y="6065"/>
                    </a:lnTo>
                    <a:lnTo>
                      <a:pt x="3183" y="0"/>
                    </a:lnTo>
                    <a:lnTo>
                      <a:pt x="5077" y="1756"/>
                    </a:lnTo>
                    <a:lnTo>
                      <a:pt x="4089" y="59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8" name="Freeform: Shape 4537">
                <a:extLst>
                  <a:ext uri="{FF2B5EF4-FFF2-40B4-BE49-F238E27FC236}">
                    <a16:creationId xmlns:a16="http://schemas.microsoft.com/office/drawing/2014/main" id="{76EB2A30-EE0E-41F9-FAF0-5DAB2A78429C}"/>
                  </a:ext>
                </a:extLst>
              </p:cNvPr>
              <p:cNvSpPr/>
              <p:nvPr/>
            </p:nvSpPr>
            <p:spPr>
              <a:xfrm>
                <a:off x="1416438" y="3548162"/>
                <a:ext cx="335" cy="902"/>
              </a:xfrm>
              <a:custGeom>
                <a:avLst/>
                <a:gdLst>
                  <a:gd name="connsiteX0" fmla="*/ 3184 w 3211"/>
                  <a:gd name="connsiteY0" fmla="*/ 6449 h 8644"/>
                  <a:gd name="connsiteX1" fmla="*/ 1208 w 3211"/>
                  <a:gd name="connsiteY1" fmla="*/ 8644 h 8644"/>
                  <a:gd name="connsiteX2" fmla="*/ 0 w 3211"/>
                  <a:gd name="connsiteY2" fmla="*/ 4309 h 8644"/>
                  <a:gd name="connsiteX3" fmla="*/ 549 w 3211"/>
                  <a:gd name="connsiteY3" fmla="*/ 0 h 8644"/>
                  <a:gd name="connsiteX4" fmla="*/ 2608 w 3211"/>
                  <a:gd name="connsiteY4" fmla="*/ 192 h 8644"/>
                  <a:gd name="connsiteX5" fmla="*/ 3211 w 3211"/>
                  <a:gd name="connsiteY5" fmla="*/ 6477 h 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1" h="8644">
                    <a:moveTo>
                      <a:pt x="3184" y="6449"/>
                    </a:moveTo>
                    <a:lnTo>
                      <a:pt x="1208" y="8644"/>
                    </a:lnTo>
                    <a:lnTo>
                      <a:pt x="0" y="4309"/>
                    </a:lnTo>
                    <a:lnTo>
                      <a:pt x="549" y="0"/>
                    </a:lnTo>
                    <a:lnTo>
                      <a:pt x="2608" y="192"/>
                    </a:lnTo>
                    <a:lnTo>
                      <a:pt x="3211" y="64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9" name="Freeform: Shape 4538">
                <a:extLst>
                  <a:ext uri="{FF2B5EF4-FFF2-40B4-BE49-F238E27FC236}">
                    <a16:creationId xmlns:a16="http://schemas.microsoft.com/office/drawing/2014/main" id="{3F91F2C2-8787-B3E4-C5B4-33D258D5E091}"/>
                  </a:ext>
                </a:extLst>
              </p:cNvPr>
              <p:cNvSpPr/>
              <p:nvPr/>
            </p:nvSpPr>
            <p:spPr>
              <a:xfrm>
                <a:off x="1440350" y="3615158"/>
                <a:ext cx="424" cy="695"/>
              </a:xfrm>
              <a:custGeom>
                <a:avLst/>
                <a:gdLst>
                  <a:gd name="connsiteX0" fmla="*/ 4062 w 4061"/>
                  <a:gd name="connsiteY0" fmla="*/ 5461 h 6668"/>
                  <a:gd name="connsiteX1" fmla="*/ 1482 w 4061"/>
                  <a:gd name="connsiteY1" fmla="*/ 6669 h 6668"/>
                  <a:gd name="connsiteX2" fmla="*/ 0 w 4061"/>
                  <a:gd name="connsiteY2" fmla="*/ 4089 h 6668"/>
                  <a:gd name="connsiteX3" fmla="*/ 2003 w 4061"/>
                  <a:gd name="connsiteY3" fmla="*/ 0 h 6668"/>
                  <a:gd name="connsiteX4" fmla="*/ 4034 w 4061"/>
                  <a:gd name="connsiteY4" fmla="*/ 5461 h 6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6668">
                    <a:moveTo>
                      <a:pt x="4062" y="5461"/>
                    </a:moveTo>
                    <a:lnTo>
                      <a:pt x="1482" y="6669"/>
                    </a:lnTo>
                    <a:lnTo>
                      <a:pt x="0" y="4089"/>
                    </a:lnTo>
                    <a:lnTo>
                      <a:pt x="2003" y="0"/>
                    </a:lnTo>
                    <a:lnTo>
                      <a:pt x="4034" y="54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0" name="Freeform: Shape 4539">
                <a:extLst>
                  <a:ext uri="{FF2B5EF4-FFF2-40B4-BE49-F238E27FC236}">
                    <a16:creationId xmlns:a16="http://schemas.microsoft.com/office/drawing/2014/main" id="{C0F88AEB-AE77-6755-19D7-F498D72B803E}"/>
                  </a:ext>
                </a:extLst>
              </p:cNvPr>
              <p:cNvSpPr/>
              <p:nvPr/>
            </p:nvSpPr>
            <p:spPr>
              <a:xfrm>
                <a:off x="1438799" y="3623908"/>
                <a:ext cx="372" cy="564"/>
              </a:xfrm>
              <a:custGeom>
                <a:avLst/>
                <a:gdLst>
                  <a:gd name="connsiteX0" fmla="*/ 2992 w 3567"/>
                  <a:gd name="connsiteY0" fmla="*/ 3650 h 5406"/>
                  <a:gd name="connsiteX1" fmla="*/ 659 w 3567"/>
                  <a:gd name="connsiteY1" fmla="*/ 5406 h 5406"/>
                  <a:gd name="connsiteX2" fmla="*/ 0 w 3567"/>
                  <a:gd name="connsiteY2" fmla="*/ 3485 h 5406"/>
                  <a:gd name="connsiteX3" fmla="*/ 604 w 3567"/>
                  <a:gd name="connsiteY3" fmla="*/ 219 h 5406"/>
                  <a:gd name="connsiteX4" fmla="*/ 3568 w 3567"/>
                  <a:gd name="connsiteY4" fmla="*/ 0 h 5406"/>
                  <a:gd name="connsiteX5" fmla="*/ 3019 w 3567"/>
                  <a:gd name="connsiteY5" fmla="*/ 3677 h 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5406">
                    <a:moveTo>
                      <a:pt x="2992" y="3650"/>
                    </a:moveTo>
                    <a:lnTo>
                      <a:pt x="659" y="5406"/>
                    </a:lnTo>
                    <a:lnTo>
                      <a:pt x="0" y="3485"/>
                    </a:lnTo>
                    <a:lnTo>
                      <a:pt x="604" y="219"/>
                    </a:lnTo>
                    <a:lnTo>
                      <a:pt x="3568" y="0"/>
                    </a:lnTo>
                    <a:lnTo>
                      <a:pt x="3019" y="36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1" name="Freeform: Shape 4540">
                <a:extLst>
                  <a:ext uri="{FF2B5EF4-FFF2-40B4-BE49-F238E27FC236}">
                    <a16:creationId xmlns:a16="http://schemas.microsoft.com/office/drawing/2014/main" id="{A97996AF-0311-1DB4-CA4A-B61C32BE78B2}"/>
                  </a:ext>
                </a:extLst>
              </p:cNvPr>
              <p:cNvSpPr/>
              <p:nvPr/>
            </p:nvSpPr>
            <p:spPr>
              <a:xfrm>
                <a:off x="1427785" y="3716433"/>
                <a:ext cx="1451" cy="1574"/>
              </a:xfrm>
              <a:custGeom>
                <a:avLst/>
                <a:gdLst>
                  <a:gd name="connsiteX0" fmla="*/ 8480 w 13913"/>
                  <a:gd name="connsiteY0" fmla="*/ 5351 h 15093"/>
                  <a:gd name="connsiteX1" fmla="*/ 8480 w 13913"/>
                  <a:gd name="connsiteY1" fmla="*/ 7849 h 15093"/>
                  <a:gd name="connsiteX2" fmla="*/ 9825 w 13913"/>
                  <a:gd name="connsiteY2" fmla="*/ 7053 h 15093"/>
                  <a:gd name="connsiteX3" fmla="*/ 13914 w 13913"/>
                  <a:gd name="connsiteY3" fmla="*/ 13392 h 15093"/>
                  <a:gd name="connsiteX4" fmla="*/ 13337 w 13913"/>
                  <a:gd name="connsiteY4" fmla="*/ 15094 h 15093"/>
                  <a:gd name="connsiteX5" fmla="*/ 10675 w 13913"/>
                  <a:gd name="connsiteY5" fmla="*/ 14901 h 15093"/>
                  <a:gd name="connsiteX6" fmla="*/ 7848 w 13913"/>
                  <a:gd name="connsiteY6" fmla="*/ 13118 h 15093"/>
                  <a:gd name="connsiteX7" fmla="*/ 6614 w 13913"/>
                  <a:gd name="connsiteY7" fmla="*/ 14106 h 15093"/>
                  <a:gd name="connsiteX8" fmla="*/ 2992 w 13913"/>
                  <a:gd name="connsiteY8" fmla="*/ 11444 h 15093"/>
                  <a:gd name="connsiteX9" fmla="*/ 0 w 13913"/>
                  <a:gd name="connsiteY9" fmla="*/ 10456 h 15093"/>
                  <a:gd name="connsiteX10" fmla="*/ 1811 w 13913"/>
                  <a:gd name="connsiteY10" fmla="*/ 5214 h 15093"/>
                  <a:gd name="connsiteX11" fmla="*/ 4391 w 13913"/>
                  <a:gd name="connsiteY11" fmla="*/ 5845 h 15093"/>
                  <a:gd name="connsiteX12" fmla="*/ 5708 w 13913"/>
                  <a:gd name="connsiteY12" fmla="*/ 4775 h 15093"/>
                  <a:gd name="connsiteX13" fmla="*/ 5818 w 13913"/>
                  <a:gd name="connsiteY13" fmla="*/ 0 h 15093"/>
                  <a:gd name="connsiteX14" fmla="*/ 7108 w 13913"/>
                  <a:gd name="connsiteY14" fmla="*/ 192 h 15093"/>
                  <a:gd name="connsiteX15" fmla="*/ 8453 w 13913"/>
                  <a:gd name="connsiteY15" fmla="*/ 5351 h 1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913" h="15093">
                    <a:moveTo>
                      <a:pt x="8480" y="5351"/>
                    </a:moveTo>
                    <a:lnTo>
                      <a:pt x="8480" y="7849"/>
                    </a:lnTo>
                    <a:cubicBezTo>
                      <a:pt x="8480" y="7849"/>
                      <a:pt x="9825" y="7053"/>
                      <a:pt x="9825" y="7053"/>
                    </a:cubicBezTo>
                    <a:lnTo>
                      <a:pt x="13914" y="13392"/>
                    </a:lnTo>
                    <a:lnTo>
                      <a:pt x="13337" y="15094"/>
                    </a:lnTo>
                    <a:lnTo>
                      <a:pt x="10675" y="14901"/>
                    </a:lnTo>
                    <a:lnTo>
                      <a:pt x="7848" y="13118"/>
                    </a:lnTo>
                    <a:lnTo>
                      <a:pt x="6614" y="14106"/>
                    </a:lnTo>
                    <a:lnTo>
                      <a:pt x="2992" y="11444"/>
                    </a:lnTo>
                    <a:lnTo>
                      <a:pt x="0" y="10456"/>
                    </a:lnTo>
                    <a:lnTo>
                      <a:pt x="1811" y="5214"/>
                    </a:lnTo>
                    <a:lnTo>
                      <a:pt x="4391" y="5845"/>
                    </a:lnTo>
                    <a:lnTo>
                      <a:pt x="5708" y="4775"/>
                    </a:lnTo>
                    <a:lnTo>
                      <a:pt x="5818" y="0"/>
                    </a:lnTo>
                    <a:lnTo>
                      <a:pt x="7108" y="192"/>
                    </a:lnTo>
                    <a:lnTo>
                      <a:pt x="8453" y="53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2" name="Freeform: Shape 4541">
                <a:extLst>
                  <a:ext uri="{FF2B5EF4-FFF2-40B4-BE49-F238E27FC236}">
                    <a16:creationId xmlns:a16="http://schemas.microsoft.com/office/drawing/2014/main" id="{BB1B1B0A-6D53-E409-E18D-3BAE8D98D69E}"/>
                  </a:ext>
                </a:extLst>
              </p:cNvPr>
              <p:cNvSpPr/>
              <p:nvPr/>
            </p:nvSpPr>
            <p:spPr>
              <a:xfrm>
                <a:off x="1442251" y="3710399"/>
                <a:ext cx="1119" cy="773"/>
              </a:xfrm>
              <a:custGeom>
                <a:avLst/>
                <a:gdLst>
                  <a:gd name="connsiteX0" fmla="*/ 3348 w 10729"/>
                  <a:gd name="connsiteY0" fmla="*/ 0 h 7409"/>
                  <a:gd name="connsiteX1" fmla="*/ 7162 w 10729"/>
                  <a:gd name="connsiteY1" fmla="*/ 1235 h 7409"/>
                  <a:gd name="connsiteX2" fmla="*/ 10126 w 10729"/>
                  <a:gd name="connsiteY2" fmla="*/ 110 h 7409"/>
                  <a:gd name="connsiteX3" fmla="*/ 10730 w 10729"/>
                  <a:gd name="connsiteY3" fmla="*/ 1070 h 7409"/>
                  <a:gd name="connsiteX4" fmla="*/ 8507 w 10729"/>
                  <a:gd name="connsiteY4" fmla="*/ 7053 h 7409"/>
                  <a:gd name="connsiteX5" fmla="*/ 5296 w 10729"/>
                  <a:gd name="connsiteY5" fmla="*/ 3787 h 7409"/>
                  <a:gd name="connsiteX6" fmla="*/ 3375 w 10729"/>
                  <a:gd name="connsiteY6" fmla="*/ 7410 h 7409"/>
                  <a:gd name="connsiteX7" fmla="*/ 0 w 10729"/>
                  <a:gd name="connsiteY7" fmla="*/ 3211 h 7409"/>
                  <a:gd name="connsiteX8" fmla="*/ 549 w 10729"/>
                  <a:gd name="connsiteY8" fmla="*/ 631 h 7409"/>
                  <a:gd name="connsiteX9" fmla="*/ 3403 w 10729"/>
                  <a:gd name="connsiteY9" fmla="*/ 0 h 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9" h="7409">
                    <a:moveTo>
                      <a:pt x="3348" y="0"/>
                    </a:moveTo>
                    <a:lnTo>
                      <a:pt x="7162" y="1235"/>
                    </a:lnTo>
                    <a:lnTo>
                      <a:pt x="10126" y="110"/>
                    </a:lnTo>
                    <a:lnTo>
                      <a:pt x="10730" y="1070"/>
                    </a:lnTo>
                    <a:lnTo>
                      <a:pt x="8507" y="7053"/>
                    </a:lnTo>
                    <a:lnTo>
                      <a:pt x="5296" y="3787"/>
                    </a:lnTo>
                    <a:lnTo>
                      <a:pt x="3375" y="7410"/>
                    </a:lnTo>
                    <a:lnTo>
                      <a:pt x="0" y="3211"/>
                    </a:lnTo>
                    <a:lnTo>
                      <a:pt x="549" y="631"/>
                    </a:lnTo>
                    <a:lnTo>
                      <a:pt x="3403"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3" name="Freeform: Shape 4542">
                <a:extLst>
                  <a:ext uri="{FF2B5EF4-FFF2-40B4-BE49-F238E27FC236}">
                    <a16:creationId xmlns:a16="http://schemas.microsoft.com/office/drawing/2014/main" id="{FF216FAB-BB2C-8975-5B49-E2CC994F3720}"/>
                  </a:ext>
                </a:extLst>
              </p:cNvPr>
              <p:cNvSpPr/>
              <p:nvPr/>
            </p:nvSpPr>
            <p:spPr>
              <a:xfrm>
                <a:off x="1440330" y="3714415"/>
                <a:ext cx="807" cy="942"/>
              </a:xfrm>
              <a:custGeom>
                <a:avLst/>
                <a:gdLst>
                  <a:gd name="connsiteX0" fmla="*/ 7738 w 7738"/>
                  <a:gd name="connsiteY0" fmla="*/ 7218 h 9028"/>
                  <a:gd name="connsiteX1" fmla="*/ 5818 w 7738"/>
                  <a:gd name="connsiteY1" fmla="*/ 9029 h 9028"/>
                  <a:gd name="connsiteX2" fmla="*/ 3073 w 7738"/>
                  <a:gd name="connsiteY2" fmla="*/ 7108 h 9028"/>
                  <a:gd name="connsiteX3" fmla="*/ 3787 w 7738"/>
                  <a:gd name="connsiteY3" fmla="*/ 5818 h 9028"/>
                  <a:gd name="connsiteX4" fmla="*/ 0 w 7738"/>
                  <a:gd name="connsiteY4" fmla="*/ 3897 h 9028"/>
                  <a:gd name="connsiteX5" fmla="*/ 1729 w 7738"/>
                  <a:gd name="connsiteY5" fmla="*/ 0 h 9028"/>
                  <a:gd name="connsiteX6" fmla="*/ 4418 w 7738"/>
                  <a:gd name="connsiteY6" fmla="*/ 1949 h 9028"/>
                  <a:gd name="connsiteX7" fmla="*/ 4281 w 7738"/>
                  <a:gd name="connsiteY7" fmla="*/ 4144 h 9028"/>
                  <a:gd name="connsiteX8" fmla="*/ 7738 w 7738"/>
                  <a:gd name="connsiteY8" fmla="*/ 7218 h 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38" h="9028">
                    <a:moveTo>
                      <a:pt x="7738" y="7218"/>
                    </a:moveTo>
                    <a:lnTo>
                      <a:pt x="5818" y="9029"/>
                    </a:lnTo>
                    <a:lnTo>
                      <a:pt x="3073" y="7108"/>
                    </a:lnTo>
                    <a:lnTo>
                      <a:pt x="3787" y="5818"/>
                    </a:lnTo>
                    <a:lnTo>
                      <a:pt x="0" y="3897"/>
                    </a:lnTo>
                    <a:lnTo>
                      <a:pt x="1729" y="0"/>
                    </a:lnTo>
                    <a:lnTo>
                      <a:pt x="4418" y="1949"/>
                    </a:lnTo>
                    <a:lnTo>
                      <a:pt x="4281" y="4144"/>
                    </a:lnTo>
                    <a:lnTo>
                      <a:pt x="7738" y="72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4" name="Freeform: Shape 4543">
                <a:extLst>
                  <a:ext uri="{FF2B5EF4-FFF2-40B4-BE49-F238E27FC236}">
                    <a16:creationId xmlns:a16="http://schemas.microsoft.com/office/drawing/2014/main" id="{2B19E677-E989-578F-D889-F6FF95075636}"/>
                  </a:ext>
                </a:extLst>
              </p:cNvPr>
              <p:cNvSpPr/>
              <p:nvPr/>
            </p:nvSpPr>
            <p:spPr>
              <a:xfrm>
                <a:off x="1440625" y="3707165"/>
                <a:ext cx="744" cy="947"/>
              </a:xfrm>
              <a:custGeom>
                <a:avLst/>
                <a:gdLst>
                  <a:gd name="connsiteX0" fmla="*/ 7135 w 7135"/>
                  <a:gd name="connsiteY0" fmla="*/ 6559 h 9083"/>
                  <a:gd name="connsiteX1" fmla="*/ 2772 w 7135"/>
                  <a:gd name="connsiteY1" fmla="*/ 9083 h 9083"/>
                  <a:gd name="connsiteX2" fmla="*/ 2772 w 7135"/>
                  <a:gd name="connsiteY2" fmla="*/ 7711 h 9083"/>
                  <a:gd name="connsiteX3" fmla="*/ 357 w 7135"/>
                  <a:gd name="connsiteY3" fmla="*/ 6422 h 9083"/>
                  <a:gd name="connsiteX4" fmla="*/ 0 w 7135"/>
                  <a:gd name="connsiteY4" fmla="*/ 4391 h 9083"/>
                  <a:gd name="connsiteX5" fmla="*/ 1400 w 7135"/>
                  <a:gd name="connsiteY5" fmla="*/ 1317 h 9083"/>
                  <a:gd name="connsiteX6" fmla="*/ 3870 w 7135"/>
                  <a:gd name="connsiteY6" fmla="*/ 0 h 9083"/>
                  <a:gd name="connsiteX7" fmla="*/ 7135 w 7135"/>
                  <a:gd name="connsiteY7" fmla="*/ 3129 h 9083"/>
                  <a:gd name="connsiteX8" fmla="*/ 7135 w 7135"/>
                  <a:gd name="connsiteY8" fmla="*/ 6531 h 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5" h="9083">
                    <a:moveTo>
                      <a:pt x="7135" y="6559"/>
                    </a:moveTo>
                    <a:lnTo>
                      <a:pt x="2772" y="9083"/>
                    </a:lnTo>
                    <a:lnTo>
                      <a:pt x="2772" y="7711"/>
                    </a:lnTo>
                    <a:cubicBezTo>
                      <a:pt x="2772" y="7711"/>
                      <a:pt x="357" y="6422"/>
                      <a:pt x="357" y="6422"/>
                    </a:cubicBezTo>
                    <a:lnTo>
                      <a:pt x="0" y="4391"/>
                    </a:lnTo>
                    <a:lnTo>
                      <a:pt x="1400" y="1317"/>
                    </a:lnTo>
                    <a:lnTo>
                      <a:pt x="3870" y="0"/>
                    </a:lnTo>
                    <a:lnTo>
                      <a:pt x="7135" y="3129"/>
                    </a:lnTo>
                    <a:lnTo>
                      <a:pt x="7135" y="65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5" name="Freeform: Shape 4544">
                <a:extLst>
                  <a:ext uri="{FF2B5EF4-FFF2-40B4-BE49-F238E27FC236}">
                    <a16:creationId xmlns:a16="http://schemas.microsoft.com/office/drawing/2014/main" id="{184577E4-8042-89F7-397F-8FF1653B99FF}"/>
                  </a:ext>
                </a:extLst>
              </p:cNvPr>
              <p:cNvSpPr/>
              <p:nvPr/>
            </p:nvSpPr>
            <p:spPr>
              <a:xfrm>
                <a:off x="1428452" y="3714948"/>
                <a:ext cx="601" cy="965"/>
              </a:xfrm>
              <a:custGeom>
                <a:avLst/>
                <a:gdLst>
                  <a:gd name="connsiteX0" fmla="*/ 5763 w 5762"/>
                  <a:gd name="connsiteY0" fmla="*/ 8041 h 9248"/>
                  <a:gd name="connsiteX1" fmla="*/ 1729 w 5762"/>
                  <a:gd name="connsiteY1" fmla="*/ 9248 h 9248"/>
                  <a:gd name="connsiteX2" fmla="*/ 82 w 5762"/>
                  <a:gd name="connsiteY2" fmla="*/ 8260 h 9248"/>
                  <a:gd name="connsiteX3" fmla="*/ 0 w 5762"/>
                  <a:gd name="connsiteY3" fmla="*/ 6257 h 9248"/>
                  <a:gd name="connsiteX4" fmla="*/ 1262 w 5762"/>
                  <a:gd name="connsiteY4" fmla="*/ 2470 h 9248"/>
                  <a:gd name="connsiteX5" fmla="*/ 2689 w 5762"/>
                  <a:gd name="connsiteY5" fmla="*/ 522 h 9248"/>
                  <a:gd name="connsiteX6" fmla="*/ 4720 w 5762"/>
                  <a:gd name="connsiteY6" fmla="*/ 0 h 9248"/>
                  <a:gd name="connsiteX7" fmla="*/ 5735 w 5762"/>
                  <a:gd name="connsiteY7" fmla="*/ 8041 h 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62" h="9248">
                    <a:moveTo>
                      <a:pt x="5763" y="8041"/>
                    </a:moveTo>
                    <a:lnTo>
                      <a:pt x="1729" y="9248"/>
                    </a:lnTo>
                    <a:lnTo>
                      <a:pt x="82" y="8260"/>
                    </a:lnTo>
                    <a:lnTo>
                      <a:pt x="0" y="6257"/>
                    </a:lnTo>
                    <a:lnTo>
                      <a:pt x="1262" y="2470"/>
                    </a:lnTo>
                    <a:lnTo>
                      <a:pt x="2689" y="522"/>
                    </a:lnTo>
                    <a:lnTo>
                      <a:pt x="4720" y="0"/>
                    </a:lnTo>
                    <a:lnTo>
                      <a:pt x="5735" y="80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6" name="Freeform: Shape 4545">
                <a:extLst>
                  <a:ext uri="{FF2B5EF4-FFF2-40B4-BE49-F238E27FC236}">
                    <a16:creationId xmlns:a16="http://schemas.microsoft.com/office/drawing/2014/main" id="{DF3504AF-EA49-83AE-8805-14A4DBA7169E}"/>
                  </a:ext>
                </a:extLst>
              </p:cNvPr>
              <p:cNvSpPr/>
              <p:nvPr/>
            </p:nvSpPr>
            <p:spPr>
              <a:xfrm>
                <a:off x="1438690" y="3713236"/>
                <a:ext cx="449" cy="844"/>
              </a:xfrm>
              <a:custGeom>
                <a:avLst/>
                <a:gdLst>
                  <a:gd name="connsiteX0" fmla="*/ 4253 w 4308"/>
                  <a:gd name="connsiteY0" fmla="*/ 6833 h 8095"/>
                  <a:gd name="connsiteX1" fmla="*/ 2881 w 4308"/>
                  <a:gd name="connsiteY1" fmla="*/ 8096 h 8095"/>
                  <a:gd name="connsiteX2" fmla="*/ 795 w 4308"/>
                  <a:gd name="connsiteY2" fmla="*/ 5928 h 8095"/>
                  <a:gd name="connsiteX3" fmla="*/ 1481 w 4308"/>
                  <a:gd name="connsiteY3" fmla="*/ 3623 h 8095"/>
                  <a:gd name="connsiteX4" fmla="*/ 0 w 4308"/>
                  <a:gd name="connsiteY4" fmla="*/ 2744 h 8095"/>
                  <a:gd name="connsiteX5" fmla="*/ 1729 w 4308"/>
                  <a:gd name="connsiteY5" fmla="*/ 0 h 8095"/>
                  <a:gd name="connsiteX6" fmla="*/ 2689 w 4308"/>
                  <a:gd name="connsiteY6" fmla="*/ 3458 h 8095"/>
                  <a:gd name="connsiteX7" fmla="*/ 4308 w 4308"/>
                  <a:gd name="connsiteY7" fmla="*/ 4089 h 8095"/>
                  <a:gd name="connsiteX8" fmla="*/ 4253 w 4308"/>
                  <a:gd name="connsiteY8" fmla="*/ 6833 h 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8" h="8095">
                    <a:moveTo>
                      <a:pt x="4253" y="6833"/>
                    </a:moveTo>
                    <a:lnTo>
                      <a:pt x="2881" y="8096"/>
                    </a:lnTo>
                    <a:lnTo>
                      <a:pt x="795" y="5928"/>
                    </a:lnTo>
                    <a:lnTo>
                      <a:pt x="1481" y="3623"/>
                    </a:lnTo>
                    <a:lnTo>
                      <a:pt x="0" y="2744"/>
                    </a:lnTo>
                    <a:lnTo>
                      <a:pt x="1729" y="0"/>
                    </a:lnTo>
                    <a:lnTo>
                      <a:pt x="2689" y="3458"/>
                    </a:lnTo>
                    <a:lnTo>
                      <a:pt x="4308" y="4089"/>
                    </a:lnTo>
                    <a:lnTo>
                      <a:pt x="4253" y="68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7" name="Freeform: Shape 4546">
                <a:extLst>
                  <a:ext uri="{FF2B5EF4-FFF2-40B4-BE49-F238E27FC236}">
                    <a16:creationId xmlns:a16="http://schemas.microsoft.com/office/drawing/2014/main" id="{0838B03F-DFA4-7AA3-F9EB-FF5925CCB83F}"/>
                  </a:ext>
                </a:extLst>
              </p:cNvPr>
              <p:cNvSpPr/>
              <p:nvPr/>
            </p:nvSpPr>
            <p:spPr>
              <a:xfrm>
                <a:off x="1428658" y="3716456"/>
                <a:ext cx="472" cy="610"/>
              </a:xfrm>
              <a:custGeom>
                <a:avLst/>
                <a:gdLst>
                  <a:gd name="connsiteX0" fmla="*/ 4528 w 4527"/>
                  <a:gd name="connsiteY0" fmla="*/ 5708 h 5845"/>
                  <a:gd name="connsiteX1" fmla="*/ 2141 w 4527"/>
                  <a:gd name="connsiteY1" fmla="*/ 5845 h 5845"/>
                  <a:gd name="connsiteX2" fmla="*/ 0 w 4527"/>
                  <a:gd name="connsiteY2" fmla="*/ 0 h 5845"/>
                  <a:gd name="connsiteX3" fmla="*/ 2525 w 4527"/>
                  <a:gd name="connsiteY3" fmla="*/ 659 h 5845"/>
                  <a:gd name="connsiteX4" fmla="*/ 2058 w 4527"/>
                  <a:gd name="connsiteY4" fmla="*/ 1976 h 5845"/>
                  <a:gd name="connsiteX5" fmla="*/ 4528 w 4527"/>
                  <a:gd name="connsiteY5" fmla="*/ 5708 h 5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7" h="5845">
                    <a:moveTo>
                      <a:pt x="4528" y="5708"/>
                    </a:moveTo>
                    <a:lnTo>
                      <a:pt x="2141" y="5845"/>
                    </a:lnTo>
                    <a:lnTo>
                      <a:pt x="0" y="0"/>
                    </a:lnTo>
                    <a:lnTo>
                      <a:pt x="2525" y="659"/>
                    </a:lnTo>
                    <a:lnTo>
                      <a:pt x="2058" y="1976"/>
                    </a:lnTo>
                    <a:lnTo>
                      <a:pt x="4528" y="57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8" name="Freeform: Shape 4547">
                <a:extLst>
                  <a:ext uri="{FF2B5EF4-FFF2-40B4-BE49-F238E27FC236}">
                    <a16:creationId xmlns:a16="http://schemas.microsoft.com/office/drawing/2014/main" id="{F56DF4D4-0912-1F90-F336-15A90BBE2E85}"/>
                  </a:ext>
                </a:extLst>
              </p:cNvPr>
              <p:cNvSpPr/>
              <p:nvPr/>
            </p:nvSpPr>
            <p:spPr>
              <a:xfrm>
                <a:off x="1441950" y="3712040"/>
                <a:ext cx="372" cy="561"/>
              </a:xfrm>
              <a:custGeom>
                <a:avLst/>
                <a:gdLst>
                  <a:gd name="connsiteX0" fmla="*/ 3568 w 3567"/>
                  <a:gd name="connsiteY0" fmla="*/ 1674 h 5378"/>
                  <a:gd name="connsiteX1" fmla="*/ 659 w 3567"/>
                  <a:gd name="connsiteY1" fmla="*/ 5379 h 5378"/>
                  <a:gd name="connsiteX2" fmla="*/ 0 w 3567"/>
                  <a:gd name="connsiteY2" fmla="*/ 3183 h 5378"/>
                  <a:gd name="connsiteX3" fmla="*/ 1455 w 3567"/>
                  <a:gd name="connsiteY3" fmla="*/ 0 h 5378"/>
                  <a:gd name="connsiteX4" fmla="*/ 3568 w 3567"/>
                  <a:gd name="connsiteY4" fmla="*/ 1701 h 5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5378">
                    <a:moveTo>
                      <a:pt x="3568" y="1674"/>
                    </a:moveTo>
                    <a:lnTo>
                      <a:pt x="659" y="5379"/>
                    </a:lnTo>
                    <a:lnTo>
                      <a:pt x="0" y="3183"/>
                    </a:lnTo>
                    <a:lnTo>
                      <a:pt x="1455" y="0"/>
                    </a:lnTo>
                    <a:lnTo>
                      <a:pt x="3568"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9" name="Freeform: Shape 4548">
                <a:extLst>
                  <a:ext uri="{FF2B5EF4-FFF2-40B4-BE49-F238E27FC236}">
                    <a16:creationId xmlns:a16="http://schemas.microsoft.com/office/drawing/2014/main" id="{DDA6F412-78B5-DC4E-C8DB-9632597F8AA6}"/>
                  </a:ext>
                </a:extLst>
              </p:cNvPr>
              <p:cNvSpPr/>
              <p:nvPr/>
            </p:nvSpPr>
            <p:spPr>
              <a:xfrm>
                <a:off x="1439022" y="3712746"/>
                <a:ext cx="404" cy="444"/>
              </a:xfrm>
              <a:custGeom>
                <a:avLst/>
                <a:gdLst>
                  <a:gd name="connsiteX0" fmla="*/ 3842 w 3869"/>
                  <a:gd name="connsiteY0" fmla="*/ 1564 h 4253"/>
                  <a:gd name="connsiteX1" fmla="*/ 3183 w 3869"/>
                  <a:gd name="connsiteY1" fmla="*/ 4253 h 4253"/>
                  <a:gd name="connsiteX2" fmla="*/ 0 w 3869"/>
                  <a:gd name="connsiteY2" fmla="*/ 3705 h 4253"/>
                  <a:gd name="connsiteX3" fmla="*/ 2470 w 3869"/>
                  <a:gd name="connsiteY3" fmla="*/ 0 h 4253"/>
                  <a:gd name="connsiteX4" fmla="*/ 3869 w 3869"/>
                  <a:gd name="connsiteY4" fmla="*/ 1564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4253">
                    <a:moveTo>
                      <a:pt x="3842" y="1564"/>
                    </a:moveTo>
                    <a:lnTo>
                      <a:pt x="3183" y="4253"/>
                    </a:lnTo>
                    <a:lnTo>
                      <a:pt x="0" y="3705"/>
                    </a:lnTo>
                    <a:lnTo>
                      <a:pt x="2470" y="0"/>
                    </a:lnTo>
                    <a:lnTo>
                      <a:pt x="3869"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0" name="Freeform: Shape 4549">
                <a:extLst>
                  <a:ext uri="{FF2B5EF4-FFF2-40B4-BE49-F238E27FC236}">
                    <a16:creationId xmlns:a16="http://schemas.microsoft.com/office/drawing/2014/main" id="{4309A6E2-9AE4-A534-7C12-E2ED90962205}"/>
                  </a:ext>
                </a:extLst>
              </p:cNvPr>
              <p:cNvSpPr/>
              <p:nvPr/>
            </p:nvSpPr>
            <p:spPr>
              <a:xfrm>
                <a:off x="1429368" y="3715712"/>
                <a:ext cx="300" cy="518"/>
              </a:xfrm>
              <a:custGeom>
                <a:avLst/>
                <a:gdLst>
                  <a:gd name="connsiteX0" fmla="*/ 2854 w 2881"/>
                  <a:gd name="connsiteY0" fmla="*/ 2141 h 4967"/>
                  <a:gd name="connsiteX1" fmla="*/ 1097 w 2881"/>
                  <a:gd name="connsiteY1" fmla="*/ 4967 h 4967"/>
                  <a:gd name="connsiteX2" fmla="*/ 0 w 2881"/>
                  <a:gd name="connsiteY2" fmla="*/ 2086 h 4967"/>
                  <a:gd name="connsiteX3" fmla="*/ 1015 w 2881"/>
                  <a:gd name="connsiteY3" fmla="*/ 0 h 4967"/>
                  <a:gd name="connsiteX4" fmla="*/ 2882 w 2881"/>
                  <a:gd name="connsiteY4" fmla="*/ 192 h 4967"/>
                  <a:gd name="connsiteX5" fmla="*/ 2827 w 2881"/>
                  <a:gd name="connsiteY5" fmla="*/ 2141 h 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 h="4967">
                    <a:moveTo>
                      <a:pt x="2854" y="2141"/>
                    </a:moveTo>
                    <a:lnTo>
                      <a:pt x="1097" y="4967"/>
                    </a:lnTo>
                    <a:lnTo>
                      <a:pt x="0" y="2086"/>
                    </a:lnTo>
                    <a:lnTo>
                      <a:pt x="1015" y="0"/>
                    </a:lnTo>
                    <a:lnTo>
                      <a:pt x="2882" y="192"/>
                    </a:lnTo>
                    <a:lnTo>
                      <a:pt x="2827"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1" name="Freeform: Shape 4550">
                <a:extLst>
                  <a:ext uri="{FF2B5EF4-FFF2-40B4-BE49-F238E27FC236}">
                    <a16:creationId xmlns:a16="http://schemas.microsoft.com/office/drawing/2014/main" id="{22E13066-FDC0-8DC5-0A3C-4B0BD6BD6BA0}"/>
                  </a:ext>
                </a:extLst>
              </p:cNvPr>
              <p:cNvSpPr/>
              <p:nvPr/>
            </p:nvSpPr>
            <p:spPr>
              <a:xfrm>
                <a:off x="1369614" y="3715271"/>
                <a:ext cx="750" cy="567"/>
              </a:xfrm>
              <a:custGeom>
                <a:avLst/>
                <a:gdLst>
                  <a:gd name="connsiteX0" fmla="*/ 2003 w 7190"/>
                  <a:gd name="connsiteY0" fmla="*/ 0 h 5433"/>
                  <a:gd name="connsiteX1" fmla="*/ 4226 w 7190"/>
                  <a:gd name="connsiteY1" fmla="*/ 2799 h 5433"/>
                  <a:gd name="connsiteX2" fmla="*/ 5982 w 7190"/>
                  <a:gd name="connsiteY2" fmla="*/ 1235 h 5433"/>
                  <a:gd name="connsiteX3" fmla="*/ 7190 w 7190"/>
                  <a:gd name="connsiteY3" fmla="*/ 4309 h 5433"/>
                  <a:gd name="connsiteX4" fmla="*/ 4528 w 7190"/>
                  <a:gd name="connsiteY4" fmla="*/ 5434 h 5433"/>
                  <a:gd name="connsiteX5" fmla="*/ 2799 w 7190"/>
                  <a:gd name="connsiteY5" fmla="*/ 2964 h 5433"/>
                  <a:gd name="connsiteX6" fmla="*/ 219 w 7190"/>
                  <a:gd name="connsiteY6" fmla="*/ 5022 h 5433"/>
                  <a:gd name="connsiteX7" fmla="*/ 0 w 7190"/>
                  <a:gd name="connsiteY7" fmla="*/ 2937 h 5433"/>
                  <a:gd name="connsiteX8" fmla="*/ 1976 w 7190"/>
                  <a:gd name="connsiteY8" fmla="*/ 0 h 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0" h="5433">
                    <a:moveTo>
                      <a:pt x="2003" y="0"/>
                    </a:moveTo>
                    <a:lnTo>
                      <a:pt x="4226" y="2799"/>
                    </a:lnTo>
                    <a:lnTo>
                      <a:pt x="5982" y="1235"/>
                    </a:lnTo>
                    <a:lnTo>
                      <a:pt x="7190" y="4309"/>
                    </a:lnTo>
                    <a:lnTo>
                      <a:pt x="4528" y="5434"/>
                    </a:lnTo>
                    <a:lnTo>
                      <a:pt x="2799" y="2964"/>
                    </a:lnTo>
                    <a:lnTo>
                      <a:pt x="219" y="5022"/>
                    </a:lnTo>
                    <a:lnTo>
                      <a:pt x="0" y="2937"/>
                    </a:lnTo>
                    <a:lnTo>
                      <a:pt x="197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2" name="Freeform: Shape 4551">
                <a:extLst>
                  <a:ext uri="{FF2B5EF4-FFF2-40B4-BE49-F238E27FC236}">
                    <a16:creationId xmlns:a16="http://schemas.microsoft.com/office/drawing/2014/main" id="{0B2C7E8B-9642-D0FB-D5C3-83D134E03F44}"/>
                  </a:ext>
                </a:extLst>
              </p:cNvPr>
              <p:cNvSpPr/>
              <p:nvPr/>
            </p:nvSpPr>
            <p:spPr>
              <a:xfrm>
                <a:off x="1440791" y="3579024"/>
                <a:ext cx="896" cy="1065"/>
              </a:xfrm>
              <a:custGeom>
                <a:avLst/>
                <a:gdLst>
                  <a:gd name="connsiteX0" fmla="*/ 8563 w 8590"/>
                  <a:gd name="connsiteY0" fmla="*/ 7355 h 10208"/>
                  <a:gd name="connsiteX1" fmla="*/ 6037 w 8590"/>
                  <a:gd name="connsiteY1" fmla="*/ 10209 h 10208"/>
                  <a:gd name="connsiteX2" fmla="*/ 0 w 8590"/>
                  <a:gd name="connsiteY2" fmla="*/ 6092 h 10208"/>
                  <a:gd name="connsiteX3" fmla="*/ 0 w 8590"/>
                  <a:gd name="connsiteY3" fmla="*/ 3019 h 10208"/>
                  <a:gd name="connsiteX4" fmla="*/ 7986 w 8590"/>
                  <a:gd name="connsiteY4" fmla="*/ 0 h 10208"/>
                  <a:gd name="connsiteX5" fmla="*/ 8590 w 8590"/>
                  <a:gd name="connsiteY5" fmla="*/ 7327 h 1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0" h="10208">
                    <a:moveTo>
                      <a:pt x="8563" y="7355"/>
                    </a:moveTo>
                    <a:lnTo>
                      <a:pt x="6037" y="10209"/>
                    </a:lnTo>
                    <a:lnTo>
                      <a:pt x="0" y="6092"/>
                    </a:lnTo>
                    <a:lnTo>
                      <a:pt x="0" y="3019"/>
                    </a:lnTo>
                    <a:lnTo>
                      <a:pt x="7986" y="0"/>
                    </a:lnTo>
                    <a:lnTo>
                      <a:pt x="8590" y="73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3" name="Freeform: Shape 4552">
                <a:extLst>
                  <a:ext uri="{FF2B5EF4-FFF2-40B4-BE49-F238E27FC236}">
                    <a16:creationId xmlns:a16="http://schemas.microsoft.com/office/drawing/2014/main" id="{0BAEECE8-F767-12DB-E151-F8887B4B285B}"/>
                  </a:ext>
                </a:extLst>
              </p:cNvPr>
              <p:cNvSpPr/>
              <p:nvPr/>
            </p:nvSpPr>
            <p:spPr>
              <a:xfrm>
                <a:off x="1403558" y="3717174"/>
                <a:ext cx="9575" cy="6177"/>
              </a:xfrm>
              <a:custGeom>
                <a:avLst/>
                <a:gdLst>
                  <a:gd name="connsiteX0" fmla="*/ 91166 w 91797"/>
                  <a:gd name="connsiteY0" fmla="*/ 4967 h 59221"/>
                  <a:gd name="connsiteX1" fmla="*/ 82851 w 91797"/>
                  <a:gd name="connsiteY1" fmla="*/ 17619 h 59221"/>
                  <a:gd name="connsiteX2" fmla="*/ 78076 w 91797"/>
                  <a:gd name="connsiteY2" fmla="*/ 29940 h 59221"/>
                  <a:gd name="connsiteX3" fmla="*/ 77938 w 91797"/>
                  <a:gd name="connsiteY3" fmla="*/ 34304 h 59221"/>
                  <a:gd name="connsiteX4" fmla="*/ 81918 w 91797"/>
                  <a:gd name="connsiteY4" fmla="*/ 37844 h 59221"/>
                  <a:gd name="connsiteX5" fmla="*/ 81286 w 91797"/>
                  <a:gd name="connsiteY5" fmla="*/ 40835 h 59221"/>
                  <a:gd name="connsiteX6" fmla="*/ 84031 w 91797"/>
                  <a:gd name="connsiteY6" fmla="*/ 45693 h 59221"/>
                  <a:gd name="connsiteX7" fmla="*/ 78954 w 91797"/>
                  <a:gd name="connsiteY7" fmla="*/ 52773 h 59221"/>
                  <a:gd name="connsiteX8" fmla="*/ 78707 w 91797"/>
                  <a:gd name="connsiteY8" fmla="*/ 59222 h 59221"/>
                  <a:gd name="connsiteX9" fmla="*/ 75304 w 91797"/>
                  <a:gd name="connsiteY9" fmla="*/ 58426 h 59221"/>
                  <a:gd name="connsiteX10" fmla="*/ 61390 w 91797"/>
                  <a:gd name="connsiteY10" fmla="*/ 55133 h 59221"/>
                  <a:gd name="connsiteX11" fmla="*/ 55792 w 91797"/>
                  <a:gd name="connsiteY11" fmla="*/ 47449 h 59221"/>
                  <a:gd name="connsiteX12" fmla="*/ 46928 w 91797"/>
                  <a:gd name="connsiteY12" fmla="*/ 43607 h 59221"/>
                  <a:gd name="connsiteX13" fmla="*/ 36609 w 91797"/>
                  <a:gd name="connsiteY13" fmla="*/ 40533 h 59221"/>
                  <a:gd name="connsiteX14" fmla="*/ 13393 w 91797"/>
                  <a:gd name="connsiteY14" fmla="*/ 26181 h 59221"/>
                  <a:gd name="connsiteX15" fmla="*/ 6943 w 91797"/>
                  <a:gd name="connsiteY15" fmla="*/ 26181 h 59221"/>
                  <a:gd name="connsiteX16" fmla="*/ 1537 w 91797"/>
                  <a:gd name="connsiteY16" fmla="*/ 22037 h 59221"/>
                  <a:gd name="connsiteX17" fmla="*/ 0 w 91797"/>
                  <a:gd name="connsiteY17" fmla="*/ 18057 h 59221"/>
                  <a:gd name="connsiteX18" fmla="*/ 2004 w 91797"/>
                  <a:gd name="connsiteY18" fmla="*/ 9934 h 59221"/>
                  <a:gd name="connsiteX19" fmla="*/ 9111 w 91797"/>
                  <a:gd name="connsiteY19" fmla="*/ 4693 h 59221"/>
                  <a:gd name="connsiteX20" fmla="*/ 12789 w 91797"/>
                  <a:gd name="connsiteY20" fmla="*/ 8809 h 59221"/>
                  <a:gd name="connsiteX21" fmla="*/ 15753 w 91797"/>
                  <a:gd name="connsiteY21" fmla="*/ 8919 h 59221"/>
                  <a:gd name="connsiteX22" fmla="*/ 19265 w 91797"/>
                  <a:gd name="connsiteY22" fmla="*/ 4034 h 59221"/>
                  <a:gd name="connsiteX23" fmla="*/ 25330 w 91797"/>
                  <a:gd name="connsiteY23" fmla="*/ 2607 h 59221"/>
                  <a:gd name="connsiteX24" fmla="*/ 37844 w 91797"/>
                  <a:gd name="connsiteY24" fmla="*/ 11115 h 59221"/>
                  <a:gd name="connsiteX25" fmla="*/ 51236 w 91797"/>
                  <a:gd name="connsiteY25" fmla="*/ 9687 h 59221"/>
                  <a:gd name="connsiteX26" fmla="*/ 56944 w 91797"/>
                  <a:gd name="connsiteY26" fmla="*/ 9687 h 59221"/>
                  <a:gd name="connsiteX27" fmla="*/ 68196 w 91797"/>
                  <a:gd name="connsiteY27" fmla="*/ 4611 h 59221"/>
                  <a:gd name="connsiteX28" fmla="*/ 78295 w 91797"/>
                  <a:gd name="connsiteY28" fmla="*/ 5516 h 59221"/>
                  <a:gd name="connsiteX29" fmla="*/ 91797 w 91797"/>
                  <a:gd name="connsiteY29" fmla="*/ 0 h 59221"/>
                  <a:gd name="connsiteX30" fmla="*/ 91166 w 91797"/>
                  <a:gd name="connsiteY30" fmla="*/ 4967 h 59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797" h="59221">
                    <a:moveTo>
                      <a:pt x="91166" y="4967"/>
                    </a:moveTo>
                    <a:lnTo>
                      <a:pt x="82851" y="17619"/>
                    </a:lnTo>
                    <a:lnTo>
                      <a:pt x="78076" y="29940"/>
                    </a:lnTo>
                    <a:lnTo>
                      <a:pt x="77938" y="34304"/>
                    </a:lnTo>
                    <a:lnTo>
                      <a:pt x="81918" y="37844"/>
                    </a:lnTo>
                    <a:lnTo>
                      <a:pt x="81286" y="40835"/>
                    </a:lnTo>
                    <a:lnTo>
                      <a:pt x="84031" y="45693"/>
                    </a:lnTo>
                    <a:lnTo>
                      <a:pt x="78954" y="52773"/>
                    </a:lnTo>
                    <a:lnTo>
                      <a:pt x="78707" y="59222"/>
                    </a:lnTo>
                    <a:lnTo>
                      <a:pt x="75304" y="58426"/>
                    </a:lnTo>
                    <a:lnTo>
                      <a:pt x="61390" y="55133"/>
                    </a:lnTo>
                    <a:lnTo>
                      <a:pt x="55792" y="47449"/>
                    </a:lnTo>
                    <a:lnTo>
                      <a:pt x="46928" y="43607"/>
                    </a:lnTo>
                    <a:lnTo>
                      <a:pt x="36609" y="40533"/>
                    </a:lnTo>
                    <a:lnTo>
                      <a:pt x="13393" y="26181"/>
                    </a:lnTo>
                    <a:lnTo>
                      <a:pt x="6943" y="26181"/>
                    </a:lnTo>
                    <a:cubicBezTo>
                      <a:pt x="6943" y="26181"/>
                      <a:pt x="1537" y="22037"/>
                      <a:pt x="1537" y="22037"/>
                    </a:cubicBezTo>
                    <a:lnTo>
                      <a:pt x="0" y="18057"/>
                    </a:lnTo>
                    <a:lnTo>
                      <a:pt x="2004" y="9934"/>
                    </a:lnTo>
                    <a:lnTo>
                      <a:pt x="9111" y="4693"/>
                    </a:lnTo>
                    <a:lnTo>
                      <a:pt x="12789" y="8809"/>
                    </a:lnTo>
                    <a:lnTo>
                      <a:pt x="15753" y="8919"/>
                    </a:lnTo>
                    <a:lnTo>
                      <a:pt x="19265" y="4034"/>
                    </a:lnTo>
                    <a:lnTo>
                      <a:pt x="25330" y="2607"/>
                    </a:lnTo>
                    <a:lnTo>
                      <a:pt x="37844" y="11115"/>
                    </a:lnTo>
                    <a:lnTo>
                      <a:pt x="51236" y="9687"/>
                    </a:lnTo>
                    <a:lnTo>
                      <a:pt x="56944" y="9687"/>
                    </a:lnTo>
                    <a:cubicBezTo>
                      <a:pt x="56944" y="9687"/>
                      <a:pt x="68196" y="4611"/>
                      <a:pt x="68196" y="4611"/>
                    </a:cubicBezTo>
                    <a:lnTo>
                      <a:pt x="78295" y="5516"/>
                    </a:lnTo>
                    <a:lnTo>
                      <a:pt x="91797" y="0"/>
                    </a:lnTo>
                    <a:lnTo>
                      <a:pt x="91166" y="49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4" name="Freeform: Shape 4553">
                <a:extLst>
                  <a:ext uri="{FF2B5EF4-FFF2-40B4-BE49-F238E27FC236}">
                    <a16:creationId xmlns:a16="http://schemas.microsoft.com/office/drawing/2014/main" id="{9194DAB8-57AF-525A-A2F7-8C14B6F1D51B}"/>
                  </a:ext>
                </a:extLst>
              </p:cNvPr>
              <p:cNvSpPr/>
              <p:nvPr/>
            </p:nvSpPr>
            <p:spPr>
              <a:xfrm>
                <a:off x="1410748" y="3715884"/>
                <a:ext cx="578" cy="655"/>
              </a:xfrm>
              <a:custGeom>
                <a:avLst/>
                <a:gdLst>
                  <a:gd name="connsiteX0" fmla="*/ 3266 w 5543"/>
                  <a:gd name="connsiteY0" fmla="*/ 0 h 6284"/>
                  <a:gd name="connsiteX1" fmla="*/ 3266 w 5543"/>
                  <a:gd name="connsiteY1" fmla="*/ 2854 h 6284"/>
                  <a:gd name="connsiteX2" fmla="*/ 5544 w 5543"/>
                  <a:gd name="connsiteY2" fmla="*/ 2854 h 6284"/>
                  <a:gd name="connsiteX3" fmla="*/ 4940 w 5543"/>
                  <a:gd name="connsiteY3" fmla="*/ 6285 h 6284"/>
                  <a:gd name="connsiteX4" fmla="*/ 0 w 5543"/>
                  <a:gd name="connsiteY4" fmla="*/ 1729 h 6284"/>
                  <a:gd name="connsiteX5" fmla="*/ 1070 w 5543"/>
                  <a:gd name="connsiteY5" fmla="*/ 27 h 6284"/>
                  <a:gd name="connsiteX6" fmla="*/ 3266 w 5543"/>
                  <a:gd name="connsiteY6" fmla="*/ 27 h 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3" h="6284">
                    <a:moveTo>
                      <a:pt x="3266" y="0"/>
                    </a:moveTo>
                    <a:lnTo>
                      <a:pt x="3266" y="2854"/>
                    </a:lnTo>
                    <a:cubicBezTo>
                      <a:pt x="3266" y="2854"/>
                      <a:pt x="5544" y="2854"/>
                      <a:pt x="5544" y="2854"/>
                    </a:cubicBezTo>
                    <a:lnTo>
                      <a:pt x="4940" y="6285"/>
                    </a:lnTo>
                    <a:lnTo>
                      <a:pt x="0" y="1729"/>
                    </a:lnTo>
                    <a:lnTo>
                      <a:pt x="1070" y="27"/>
                    </a:lnTo>
                    <a:lnTo>
                      <a:pt x="3266"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5" name="Freeform: Shape 4554">
                <a:extLst>
                  <a:ext uri="{FF2B5EF4-FFF2-40B4-BE49-F238E27FC236}">
                    <a16:creationId xmlns:a16="http://schemas.microsoft.com/office/drawing/2014/main" id="{54E4E0AB-6D7C-14C7-1328-0D52FC609D18}"/>
                  </a:ext>
                </a:extLst>
              </p:cNvPr>
              <p:cNvSpPr/>
              <p:nvPr/>
            </p:nvSpPr>
            <p:spPr>
              <a:xfrm>
                <a:off x="1438012" y="3573984"/>
                <a:ext cx="378" cy="673"/>
              </a:xfrm>
              <a:custGeom>
                <a:avLst/>
                <a:gdLst>
                  <a:gd name="connsiteX0" fmla="*/ 3513 w 3622"/>
                  <a:gd name="connsiteY0" fmla="*/ 2141 h 6449"/>
                  <a:gd name="connsiteX1" fmla="*/ 3623 w 3622"/>
                  <a:gd name="connsiteY1" fmla="*/ 6449 h 6449"/>
                  <a:gd name="connsiteX2" fmla="*/ 686 w 3622"/>
                  <a:gd name="connsiteY2" fmla="*/ 6120 h 6449"/>
                  <a:gd name="connsiteX3" fmla="*/ 0 w 3622"/>
                  <a:gd name="connsiteY3" fmla="*/ 3156 h 6449"/>
                  <a:gd name="connsiteX4" fmla="*/ 851 w 3622"/>
                  <a:gd name="connsiteY4" fmla="*/ 0 h 6449"/>
                  <a:gd name="connsiteX5" fmla="*/ 3513 w 3622"/>
                  <a:gd name="connsiteY5" fmla="*/ 2113 h 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2" h="6449">
                    <a:moveTo>
                      <a:pt x="3513" y="2141"/>
                    </a:moveTo>
                    <a:lnTo>
                      <a:pt x="3623" y="6449"/>
                    </a:lnTo>
                    <a:lnTo>
                      <a:pt x="686" y="6120"/>
                    </a:lnTo>
                    <a:lnTo>
                      <a:pt x="0" y="3156"/>
                    </a:lnTo>
                    <a:lnTo>
                      <a:pt x="851" y="0"/>
                    </a:lnTo>
                    <a:lnTo>
                      <a:pt x="3513"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6" name="Freeform: Shape 4555">
                <a:extLst>
                  <a:ext uri="{FF2B5EF4-FFF2-40B4-BE49-F238E27FC236}">
                    <a16:creationId xmlns:a16="http://schemas.microsoft.com/office/drawing/2014/main" id="{C7034AEC-A197-F872-2DEB-B4E0953AE3EB}"/>
                  </a:ext>
                </a:extLst>
              </p:cNvPr>
              <p:cNvSpPr/>
              <p:nvPr/>
            </p:nvSpPr>
            <p:spPr>
              <a:xfrm>
                <a:off x="1439180" y="3574227"/>
                <a:ext cx="363" cy="587"/>
              </a:xfrm>
              <a:custGeom>
                <a:avLst/>
                <a:gdLst>
                  <a:gd name="connsiteX0" fmla="*/ 2168 w 3485"/>
                  <a:gd name="connsiteY0" fmla="*/ 27 h 5625"/>
                  <a:gd name="connsiteX1" fmla="*/ 3485 w 3485"/>
                  <a:gd name="connsiteY1" fmla="*/ 5626 h 5625"/>
                  <a:gd name="connsiteX2" fmla="*/ 1180 w 3485"/>
                  <a:gd name="connsiteY2" fmla="*/ 5379 h 5625"/>
                  <a:gd name="connsiteX3" fmla="*/ 0 w 3485"/>
                  <a:gd name="connsiteY3" fmla="*/ 2525 h 5625"/>
                  <a:gd name="connsiteX4" fmla="*/ 2168 w 3485"/>
                  <a:gd name="connsiteY4" fmla="*/ 0 h 5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5625">
                    <a:moveTo>
                      <a:pt x="2168" y="27"/>
                    </a:moveTo>
                    <a:lnTo>
                      <a:pt x="3485" y="5626"/>
                    </a:lnTo>
                    <a:lnTo>
                      <a:pt x="1180" y="5379"/>
                    </a:lnTo>
                    <a:lnTo>
                      <a:pt x="0" y="2525"/>
                    </a:lnTo>
                    <a:lnTo>
                      <a:pt x="216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7" name="Freeform: Shape 4556">
                <a:extLst>
                  <a:ext uri="{FF2B5EF4-FFF2-40B4-BE49-F238E27FC236}">
                    <a16:creationId xmlns:a16="http://schemas.microsoft.com/office/drawing/2014/main" id="{DBA431D1-667F-C0E7-F497-E6800955E026}"/>
                  </a:ext>
                </a:extLst>
              </p:cNvPr>
              <p:cNvSpPr/>
              <p:nvPr/>
            </p:nvSpPr>
            <p:spPr>
              <a:xfrm>
                <a:off x="1678722" y="3770752"/>
                <a:ext cx="22329" cy="47271"/>
              </a:xfrm>
              <a:custGeom>
                <a:avLst/>
                <a:gdLst>
                  <a:gd name="connsiteX0" fmla="*/ 101265 w 214082"/>
                  <a:gd name="connsiteY0" fmla="*/ 7986 h 453220"/>
                  <a:gd name="connsiteX1" fmla="*/ 110074 w 214082"/>
                  <a:gd name="connsiteY1" fmla="*/ 12926 h 453220"/>
                  <a:gd name="connsiteX2" fmla="*/ 117126 w 214082"/>
                  <a:gd name="connsiteY2" fmla="*/ 11910 h 453220"/>
                  <a:gd name="connsiteX3" fmla="*/ 123027 w 214082"/>
                  <a:gd name="connsiteY3" fmla="*/ 14984 h 453220"/>
                  <a:gd name="connsiteX4" fmla="*/ 129696 w 214082"/>
                  <a:gd name="connsiteY4" fmla="*/ 13776 h 453220"/>
                  <a:gd name="connsiteX5" fmla="*/ 134992 w 214082"/>
                  <a:gd name="connsiteY5" fmla="*/ 16493 h 453220"/>
                  <a:gd name="connsiteX6" fmla="*/ 134992 w 214082"/>
                  <a:gd name="connsiteY6" fmla="*/ 22201 h 453220"/>
                  <a:gd name="connsiteX7" fmla="*/ 131589 w 214082"/>
                  <a:gd name="connsiteY7" fmla="*/ 25302 h 453220"/>
                  <a:gd name="connsiteX8" fmla="*/ 130491 w 214082"/>
                  <a:gd name="connsiteY8" fmla="*/ 29062 h 453220"/>
                  <a:gd name="connsiteX9" fmla="*/ 135239 w 214082"/>
                  <a:gd name="connsiteY9" fmla="*/ 41603 h 453220"/>
                  <a:gd name="connsiteX10" fmla="*/ 142758 w 214082"/>
                  <a:gd name="connsiteY10" fmla="*/ 45308 h 453220"/>
                  <a:gd name="connsiteX11" fmla="*/ 154065 w 214082"/>
                  <a:gd name="connsiteY11" fmla="*/ 54996 h 453220"/>
                  <a:gd name="connsiteX12" fmla="*/ 166744 w 214082"/>
                  <a:gd name="connsiteY12" fmla="*/ 54309 h 453220"/>
                  <a:gd name="connsiteX13" fmla="*/ 173056 w 214082"/>
                  <a:gd name="connsiteY13" fmla="*/ 57383 h 453220"/>
                  <a:gd name="connsiteX14" fmla="*/ 171738 w 214082"/>
                  <a:gd name="connsiteY14" fmla="*/ 59139 h 453220"/>
                  <a:gd name="connsiteX15" fmla="*/ 166826 w 214082"/>
                  <a:gd name="connsiteY15" fmla="*/ 59414 h 453220"/>
                  <a:gd name="connsiteX16" fmla="*/ 159362 w 214082"/>
                  <a:gd name="connsiteY16" fmla="*/ 64957 h 453220"/>
                  <a:gd name="connsiteX17" fmla="*/ 157386 w 214082"/>
                  <a:gd name="connsiteY17" fmla="*/ 71407 h 453220"/>
                  <a:gd name="connsiteX18" fmla="*/ 148302 w 214082"/>
                  <a:gd name="connsiteY18" fmla="*/ 76209 h 453220"/>
                  <a:gd name="connsiteX19" fmla="*/ 140097 w 214082"/>
                  <a:gd name="connsiteY19" fmla="*/ 76319 h 453220"/>
                  <a:gd name="connsiteX20" fmla="*/ 140371 w 214082"/>
                  <a:gd name="connsiteY20" fmla="*/ 78295 h 453220"/>
                  <a:gd name="connsiteX21" fmla="*/ 144899 w 214082"/>
                  <a:gd name="connsiteY21" fmla="*/ 79667 h 453220"/>
                  <a:gd name="connsiteX22" fmla="*/ 145201 w 214082"/>
                  <a:gd name="connsiteY22" fmla="*/ 81807 h 453220"/>
                  <a:gd name="connsiteX23" fmla="*/ 136282 w 214082"/>
                  <a:gd name="connsiteY23" fmla="*/ 81698 h 453220"/>
                  <a:gd name="connsiteX24" fmla="*/ 131561 w 214082"/>
                  <a:gd name="connsiteY24" fmla="*/ 88586 h 453220"/>
                  <a:gd name="connsiteX25" fmla="*/ 130025 w 214082"/>
                  <a:gd name="connsiteY25" fmla="*/ 96627 h 453220"/>
                  <a:gd name="connsiteX26" fmla="*/ 118636 w 214082"/>
                  <a:gd name="connsiteY26" fmla="*/ 106342 h 453220"/>
                  <a:gd name="connsiteX27" fmla="*/ 112709 w 214082"/>
                  <a:gd name="connsiteY27" fmla="*/ 109113 h 453220"/>
                  <a:gd name="connsiteX28" fmla="*/ 108866 w 214082"/>
                  <a:gd name="connsiteY28" fmla="*/ 117676 h 453220"/>
                  <a:gd name="connsiteX29" fmla="*/ 107796 w 214082"/>
                  <a:gd name="connsiteY29" fmla="*/ 127363 h 453220"/>
                  <a:gd name="connsiteX30" fmla="*/ 102966 w 214082"/>
                  <a:gd name="connsiteY30" fmla="*/ 138889 h 453220"/>
                  <a:gd name="connsiteX31" fmla="*/ 113696 w 214082"/>
                  <a:gd name="connsiteY31" fmla="*/ 156205 h 453220"/>
                  <a:gd name="connsiteX32" fmla="*/ 126731 w 214082"/>
                  <a:gd name="connsiteY32" fmla="*/ 167182 h 453220"/>
                  <a:gd name="connsiteX33" fmla="*/ 127775 w 214082"/>
                  <a:gd name="connsiteY33" fmla="*/ 176266 h 453220"/>
                  <a:gd name="connsiteX34" fmla="*/ 133373 w 214082"/>
                  <a:gd name="connsiteY34" fmla="*/ 185542 h 453220"/>
                  <a:gd name="connsiteX35" fmla="*/ 145228 w 214082"/>
                  <a:gd name="connsiteY35" fmla="*/ 195970 h 453220"/>
                  <a:gd name="connsiteX36" fmla="*/ 152473 w 214082"/>
                  <a:gd name="connsiteY36" fmla="*/ 205411 h 453220"/>
                  <a:gd name="connsiteX37" fmla="*/ 166551 w 214082"/>
                  <a:gd name="connsiteY37" fmla="*/ 216443 h 453220"/>
                  <a:gd name="connsiteX38" fmla="*/ 168061 w 214082"/>
                  <a:gd name="connsiteY38" fmla="*/ 220230 h 453220"/>
                  <a:gd name="connsiteX39" fmla="*/ 173138 w 214082"/>
                  <a:gd name="connsiteY39" fmla="*/ 220724 h 453220"/>
                  <a:gd name="connsiteX40" fmla="*/ 177200 w 214082"/>
                  <a:gd name="connsiteY40" fmla="*/ 225252 h 453220"/>
                  <a:gd name="connsiteX41" fmla="*/ 180795 w 214082"/>
                  <a:gd name="connsiteY41" fmla="*/ 225609 h 453220"/>
                  <a:gd name="connsiteX42" fmla="*/ 180191 w 214082"/>
                  <a:gd name="connsiteY42" fmla="*/ 229917 h 453220"/>
                  <a:gd name="connsiteX43" fmla="*/ 189357 w 214082"/>
                  <a:gd name="connsiteY43" fmla="*/ 242870 h 453220"/>
                  <a:gd name="connsiteX44" fmla="*/ 197699 w 214082"/>
                  <a:gd name="connsiteY44" fmla="*/ 250499 h 453220"/>
                  <a:gd name="connsiteX45" fmla="*/ 209856 w 214082"/>
                  <a:gd name="connsiteY45" fmla="*/ 293804 h 453220"/>
                  <a:gd name="connsiteX46" fmla="*/ 208979 w 214082"/>
                  <a:gd name="connsiteY46" fmla="*/ 309172 h 453220"/>
                  <a:gd name="connsiteX47" fmla="*/ 214083 w 214082"/>
                  <a:gd name="connsiteY47" fmla="*/ 323360 h 453220"/>
                  <a:gd name="connsiteX48" fmla="*/ 208210 w 214082"/>
                  <a:gd name="connsiteY48" fmla="*/ 332307 h 453220"/>
                  <a:gd name="connsiteX49" fmla="*/ 210378 w 214082"/>
                  <a:gd name="connsiteY49" fmla="*/ 338317 h 453220"/>
                  <a:gd name="connsiteX50" fmla="*/ 207579 w 214082"/>
                  <a:gd name="connsiteY50" fmla="*/ 340512 h 453220"/>
                  <a:gd name="connsiteX51" fmla="*/ 209472 w 214082"/>
                  <a:gd name="connsiteY51" fmla="*/ 352670 h 453220"/>
                  <a:gd name="connsiteX52" fmla="*/ 206234 w 214082"/>
                  <a:gd name="connsiteY52" fmla="*/ 355139 h 453220"/>
                  <a:gd name="connsiteX53" fmla="*/ 207222 w 214082"/>
                  <a:gd name="connsiteY53" fmla="*/ 360409 h 453220"/>
                  <a:gd name="connsiteX54" fmla="*/ 202913 w 214082"/>
                  <a:gd name="connsiteY54" fmla="*/ 364744 h 453220"/>
                  <a:gd name="connsiteX55" fmla="*/ 201185 w 214082"/>
                  <a:gd name="connsiteY55" fmla="*/ 370288 h 453220"/>
                  <a:gd name="connsiteX56" fmla="*/ 188122 w 214082"/>
                  <a:gd name="connsiteY56" fmla="*/ 376957 h 453220"/>
                  <a:gd name="connsiteX57" fmla="*/ 181316 w 214082"/>
                  <a:gd name="connsiteY57" fmla="*/ 382528 h 453220"/>
                  <a:gd name="connsiteX58" fmla="*/ 175745 w 214082"/>
                  <a:gd name="connsiteY58" fmla="*/ 384009 h 453220"/>
                  <a:gd name="connsiteX59" fmla="*/ 170037 w 214082"/>
                  <a:gd name="connsiteY59" fmla="*/ 390349 h 453220"/>
                  <a:gd name="connsiteX60" fmla="*/ 147341 w 214082"/>
                  <a:gd name="connsiteY60" fmla="*/ 400091 h 453220"/>
                  <a:gd name="connsiteX61" fmla="*/ 143061 w 214082"/>
                  <a:gd name="connsiteY61" fmla="*/ 397237 h 453220"/>
                  <a:gd name="connsiteX62" fmla="*/ 137517 w 214082"/>
                  <a:gd name="connsiteY62" fmla="*/ 399323 h 453220"/>
                  <a:gd name="connsiteX63" fmla="*/ 136117 w 214082"/>
                  <a:gd name="connsiteY63" fmla="*/ 407254 h 453220"/>
                  <a:gd name="connsiteX64" fmla="*/ 132412 w 214082"/>
                  <a:gd name="connsiteY64" fmla="*/ 415322 h 453220"/>
                  <a:gd name="connsiteX65" fmla="*/ 129696 w 214082"/>
                  <a:gd name="connsiteY65" fmla="*/ 417435 h 453220"/>
                  <a:gd name="connsiteX66" fmla="*/ 128378 w 214082"/>
                  <a:gd name="connsiteY66" fmla="*/ 423637 h 453220"/>
                  <a:gd name="connsiteX67" fmla="*/ 121956 w 214082"/>
                  <a:gd name="connsiteY67" fmla="*/ 424351 h 453220"/>
                  <a:gd name="connsiteX68" fmla="*/ 116523 w 214082"/>
                  <a:gd name="connsiteY68" fmla="*/ 431019 h 453220"/>
                  <a:gd name="connsiteX69" fmla="*/ 99481 w 214082"/>
                  <a:gd name="connsiteY69" fmla="*/ 438566 h 453220"/>
                  <a:gd name="connsiteX70" fmla="*/ 85897 w 214082"/>
                  <a:gd name="connsiteY70" fmla="*/ 451739 h 453220"/>
                  <a:gd name="connsiteX71" fmla="*/ 80161 w 214082"/>
                  <a:gd name="connsiteY71" fmla="*/ 453221 h 453220"/>
                  <a:gd name="connsiteX72" fmla="*/ 76978 w 214082"/>
                  <a:gd name="connsiteY72" fmla="*/ 451848 h 453220"/>
                  <a:gd name="connsiteX73" fmla="*/ 79091 w 214082"/>
                  <a:gd name="connsiteY73" fmla="*/ 448171 h 453220"/>
                  <a:gd name="connsiteX74" fmla="*/ 78103 w 214082"/>
                  <a:gd name="connsiteY74" fmla="*/ 443945 h 453220"/>
                  <a:gd name="connsiteX75" fmla="*/ 79777 w 214082"/>
                  <a:gd name="connsiteY75" fmla="*/ 422265 h 453220"/>
                  <a:gd name="connsiteX76" fmla="*/ 81177 w 214082"/>
                  <a:gd name="connsiteY76" fmla="*/ 416776 h 453220"/>
                  <a:gd name="connsiteX77" fmla="*/ 85622 w 214082"/>
                  <a:gd name="connsiteY77" fmla="*/ 410876 h 453220"/>
                  <a:gd name="connsiteX78" fmla="*/ 77829 w 214082"/>
                  <a:gd name="connsiteY78" fmla="*/ 405360 h 453220"/>
                  <a:gd name="connsiteX79" fmla="*/ 72532 w 214082"/>
                  <a:gd name="connsiteY79" fmla="*/ 405552 h 453220"/>
                  <a:gd name="connsiteX80" fmla="*/ 67592 w 214082"/>
                  <a:gd name="connsiteY80" fmla="*/ 398280 h 453220"/>
                  <a:gd name="connsiteX81" fmla="*/ 72834 w 214082"/>
                  <a:gd name="connsiteY81" fmla="*/ 395234 h 453220"/>
                  <a:gd name="connsiteX82" fmla="*/ 80545 w 214082"/>
                  <a:gd name="connsiteY82" fmla="*/ 394630 h 453220"/>
                  <a:gd name="connsiteX83" fmla="*/ 86253 w 214082"/>
                  <a:gd name="connsiteY83" fmla="*/ 389388 h 453220"/>
                  <a:gd name="connsiteX84" fmla="*/ 86390 w 214082"/>
                  <a:gd name="connsiteY84" fmla="*/ 383378 h 453220"/>
                  <a:gd name="connsiteX85" fmla="*/ 93663 w 214082"/>
                  <a:gd name="connsiteY85" fmla="*/ 384723 h 453220"/>
                  <a:gd name="connsiteX86" fmla="*/ 96984 w 214082"/>
                  <a:gd name="connsiteY86" fmla="*/ 382308 h 453220"/>
                  <a:gd name="connsiteX87" fmla="*/ 106259 w 214082"/>
                  <a:gd name="connsiteY87" fmla="*/ 380552 h 453220"/>
                  <a:gd name="connsiteX88" fmla="*/ 110184 w 214082"/>
                  <a:gd name="connsiteY88" fmla="*/ 385272 h 453220"/>
                  <a:gd name="connsiteX89" fmla="*/ 112571 w 214082"/>
                  <a:gd name="connsiteY89" fmla="*/ 384339 h 453220"/>
                  <a:gd name="connsiteX90" fmla="*/ 118225 w 214082"/>
                  <a:gd name="connsiteY90" fmla="*/ 386232 h 453220"/>
                  <a:gd name="connsiteX91" fmla="*/ 118911 w 214082"/>
                  <a:gd name="connsiteY91" fmla="*/ 380222 h 453220"/>
                  <a:gd name="connsiteX92" fmla="*/ 110102 w 214082"/>
                  <a:gd name="connsiteY92" fmla="*/ 372785 h 453220"/>
                  <a:gd name="connsiteX93" fmla="*/ 108894 w 214082"/>
                  <a:gd name="connsiteY93" fmla="*/ 361945 h 453220"/>
                  <a:gd name="connsiteX94" fmla="*/ 114877 w 214082"/>
                  <a:gd name="connsiteY94" fmla="*/ 358295 h 453220"/>
                  <a:gd name="connsiteX95" fmla="*/ 125881 w 214082"/>
                  <a:gd name="connsiteY95" fmla="*/ 360217 h 453220"/>
                  <a:gd name="connsiteX96" fmla="*/ 126622 w 214082"/>
                  <a:gd name="connsiteY96" fmla="*/ 352038 h 453220"/>
                  <a:gd name="connsiteX97" fmla="*/ 134306 w 214082"/>
                  <a:gd name="connsiteY97" fmla="*/ 351654 h 453220"/>
                  <a:gd name="connsiteX98" fmla="*/ 136776 w 214082"/>
                  <a:gd name="connsiteY98" fmla="*/ 349212 h 453220"/>
                  <a:gd name="connsiteX99" fmla="*/ 142649 w 214082"/>
                  <a:gd name="connsiteY99" fmla="*/ 348059 h 453220"/>
                  <a:gd name="connsiteX100" fmla="*/ 148961 w 214082"/>
                  <a:gd name="connsiteY100" fmla="*/ 342131 h 453220"/>
                  <a:gd name="connsiteX101" fmla="*/ 152226 w 214082"/>
                  <a:gd name="connsiteY101" fmla="*/ 341281 h 453220"/>
                  <a:gd name="connsiteX102" fmla="*/ 155547 w 214082"/>
                  <a:gd name="connsiteY102" fmla="*/ 343065 h 453220"/>
                  <a:gd name="connsiteX103" fmla="*/ 158538 w 214082"/>
                  <a:gd name="connsiteY103" fmla="*/ 340430 h 453220"/>
                  <a:gd name="connsiteX104" fmla="*/ 160020 w 214082"/>
                  <a:gd name="connsiteY104" fmla="*/ 333185 h 453220"/>
                  <a:gd name="connsiteX105" fmla="*/ 157551 w 214082"/>
                  <a:gd name="connsiteY105" fmla="*/ 320808 h 453220"/>
                  <a:gd name="connsiteX106" fmla="*/ 161337 w 214082"/>
                  <a:gd name="connsiteY106" fmla="*/ 307114 h 453220"/>
                  <a:gd name="connsiteX107" fmla="*/ 153352 w 214082"/>
                  <a:gd name="connsiteY107" fmla="*/ 286532 h 453220"/>
                  <a:gd name="connsiteX108" fmla="*/ 159224 w 214082"/>
                  <a:gd name="connsiteY108" fmla="*/ 269819 h 453220"/>
                  <a:gd name="connsiteX109" fmla="*/ 157687 w 214082"/>
                  <a:gd name="connsiteY109" fmla="*/ 260818 h 453220"/>
                  <a:gd name="connsiteX110" fmla="*/ 162161 w 214082"/>
                  <a:gd name="connsiteY110" fmla="*/ 250499 h 453220"/>
                  <a:gd name="connsiteX111" fmla="*/ 154422 w 214082"/>
                  <a:gd name="connsiteY111" fmla="*/ 244325 h 453220"/>
                  <a:gd name="connsiteX112" fmla="*/ 150004 w 214082"/>
                  <a:gd name="connsiteY112" fmla="*/ 236668 h 453220"/>
                  <a:gd name="connsiteX113" fmla="*/ 155163 w 214082"/>
                  <a:gd name="connsiteY113" fmla="*/ 231180 h 453220"/>
                  <a:gd name="connsiteX114" fmla="*/ 155492 w 214082"/>
                  <a:gd name="connsiteY114" fmla="*/ 226597 h 453220"/>
                  <a:gd name="connsiteX115" fmla="*/ 148549 w 214082"/>
                  <a:gd name="connsiteY115" fmla="*/ 224346 h 453220"/>
                  <a:gd name="connsiteX116" fmla="*/ 138752 w 214082"/>
                  <a:gd name="connsiteY116" fmla="*/ 214385 h 453220"/>
                  <a:gd name="connsiteX117" fmla="*/ 133428 w 214082"/>
                  <a:gd name="connsiteY117" fmla="*/ 214906 h 453220"/>
                  <a:gd name="connsiteX118" fmla="*/ 130299 w 214082"/>
                  <a:gd name="connsiteY118" fmla="*/ 209280 h 453220"/>
                  <a:gd name="connsiteX119" fmla="*/ 128762 w 214082"/>
                  <a:gd name="connsiteY119" fmla="*/ 200471 h 453220"/>
                  <a:gd name="connsiteX120" fmla="*/ 122149 w 214082"/>
                  <a:gd name="connsiteY120" fmla="*/ 191799 h 453220"/>
                  <a:gd name="connsiteX121" fmla="*/ 106616 w 214082"/>
                  <a:gd name="connsiteY121" fmla="*/ 178187 h 453220"/>
                  <a:gd name="connsiteX122" fmla="*/ 98657 w 214082"/>
                  <a:gd name="connsiteY122" fmla="*/ 163889 h 453220"/>
                  <a:gd name="connsiteX123" fmla="*/ 89958 w 214082"/>
                  <a:gd name="connsiteY123" fmla="*/ 158209 h 453220"/>
                  <a:gd name="connsiteX124" fmla="*/ 87735 w 214082"/>
                  <a:gd name="connsiteY124" fmla="*/ 154120 h 453220"/>
                  <a:gd name="connsiteX125" fmla="*/ 87653 w 214082"/>
                  <a:gd name="connsiteY125" fmla="*/ 147369 h 453220"/>
                  <a:gd name="connsiteX126" fmla="*/ 75606 w 214082"/>
                  <a:gd name="connsiteY126" fmla="*/ 142621 h 453220"/>
                  <a:gd name="connsiteX127" fmla="*/ 53267 w 214082"/>
                  <a:gd name="connsiteY127" fmla="*/ 127857 h 453220"/>
                  <a:gd name="connsiteX128" fmla="*/ 57329 w 214082"/>
                  <a:gd name="connsiteY128" fmla="*/ 122094 h 453220"/>
                  <a:gd name="connsiteX129" fmla="*/ 56944 w 214082"/>
                  <a:gd name="connsiteY129" fmla="*/ 116385 h 453220"/>
                  <a:gd name="connsiteX130" fmla="*/ 72751 w 214082"/>
                  <a:gd name="connsiteY130" fmla="*/ 117072 h 453220"/>
                  <a:gd name="connsiteX131" fmla="*/ 77526 w 214082"/>
                  <a:gd name="connsiteY131" fmla="*/ 112846 h 453220"/>
                  <a:gd name="connsiteX132" fmla="*/ 82027 w 214082"/>
                  <a:gd name="connsiteY132" fmla="*/ 104173 h 453220"/>
                  <a:gd name="connsiteX133" fmla="*/ 76676 w 214082"/>
                  <a:gd name="connsiteY133" fmla="*/ 99481 h 453220"/>
                  <a:gd name="connsiteX134" fmla="*/ 75606 w 214082"/>
                  <a:gd name="connsiteY134" fmla="*/ 94486 h 453220"/>
                  <a:gd name="connsiteX135" fmla="*/ 69513 w 214082"/>
                  <a:gd name="connsiteY135" fmla="*/ 92098 h 453220"/>
                  <a:gd name="connsiteX136" fmla="*/ 70611 w 214082"/>
                  <a:gd name="connsiteY136" fmla="*/ 86994 h 453220"/>
                  <a:gd name="connsiteX137" fmla="*/ 69019 w 214082"/>
                  <a:gd name="connsiteY137" fmla="*/ 83426 h 453220"/>
                  <a:gd name="connsiteX138" fmla="*/ 58756 w 214082"/>
                  <a:gd name="connsiteY138" fmla="*/ 76648 h 453220"/>
                  <a:gd name="connsiteX139" fmla="*/ 46735 w 214082"/>
                  <a:gd name="connsiteY139" fmla="*/ 81176 h 453220"/>
                  <a:gd name="connsiteX140" fmla="*/ 34111 w 214082"/>
                  <a:gd name="connsiteY140" fmla="*/ 80023 h 453220"/>
                  <a:gd name="connsiteX141" fmla="*/ 29364 w 214082"/>
                  <a:gd name="connsiteY141" fmla="*/ 77773 h 453220"/>
                  <a:gd name="connsiteX142" fmla="*/ 20884 w 214082"/>
                  <a:gd name="connsiteY142" fmla="*/ 66467 h 453220"/>
                  <a:gd name="connsiteX143" fmla="*/ 24150 w 214082"/>
                  <a:gd name="connsiteY143" fmla="*/ 57712 h 453220"/>
                  <a:gd name="connsiteX144" fmla="*/ 23381 w 214082"/>
                  <a:gd name="connsiteY144" fmla="*/ 51565 h 453220"/>
                  <a:gd name="connsiteX145" fmla="*/ 13721 w 214082"/>
                  <a:gd name="connsiteY145" fmla="*/ 46049 h 453220"/>
                  <a:gd name="connsiteX146" fmla="*/ 0 w 214082"/>
                  <a:gd name="connsiteY146" fmla="*/ 30297 h 453220"/>
                  <a:gd name="connsiteX147" fmla="*/ 3403 w 214082"/>
                  <a:gd name="connsiteY147" fmla="*/ 28403 h 453220"/>
                  <a:gd name="connsiteX148" fmla="*/ 10621 w 214082"/>
                  <a:gd name="connsiteY148" fmla="*/ 19183 h 453220"/>
                  <a:gd name="connsiteX149" fmla="*/ 26098 w 214082"/>
                  <a:gd name="connsiteY149" fmla="*/ 27745 h 453220"/>
                  <a:gd name="connsiteX150" fmla="*/ 35237 w 214082"/>
                  <a:gd name="connsiteY150" fmla="*/ 18497 h 453220"/>
                  <a:gd name="connsiteX151" fmla="*/ 40423 w 214082"/>
                  <a:gd name="connsiteY151" fmla="*/ 22750 h 453220"/>
                  <a:gd name="connsiteX152" fmla="*/ 45253 w 214082"/>
                  <a:gd name="connsiteY152" fmla="*/ 19238 h 453220"/>
                  <a:gd name="connsiteX153" fmla="*/ 53926 w 214082"/>
                  <a:gd name="connsiteY153" fmla="*/ 25796 h 453220"/>
                  <a:gd name="connsiteX154" fmla="*/ 58426 w 214082"/>
                  <a:gd name="connsiteY154" fmla="*/ 17893 h 453220"/>
                  <a:gd name="connsiteX155" fmla="*/ 61554 w 214082"/>
                  <a:gd name="connsiteY155" fmla="*/ 17344 h 453220"/>
                  <a:gd name="connsiteX156" fmla="*/ 66110 w 214082"/>
                  <a:gd name="connsiteY156" fmla="*/ 20143 h 453220"/>
                  <a:gd name="connsiteX157" fmla="*/ 76044 w 214082"/>
                  <a:gd name="connsiteY157" fmla="*/ 15862 h 453220"/>
                  <a:gd name="connsiteX158" fmla="*/ 78954 w 214082"/>
                  <a:gd name="connsiteY158" fmla="*/ 12843 h 453220"/>
                  <a:gd name="connsiteX159" fmla="*/ 80847 w 214082"/>
                  <a:gd name="connsiteY159" fmla="*/ 6147 h 453220"/>
                  <a:gd name="connsiteX160" fmla="*/ 93086 w 214082"/>
                  <a:gd name="connsiteY160" fmla="*/ 0 h 453220"/>
                  <a:gd name="connsiteX161" fmla="*/ 101128 w 214082"/>
                  <a:gd name="connsiteY161" fmla="*/ 7986 h 45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214082" h="453220">
                    <a:moveTo>
                      <a:pt x="101265" y="7986"/>
                    </a:moveTo>
                    <a:lnTo>
                      <a:pt x="110074" y="12926"/>
                    </a:lnTo>
                    <a:lnTo>
                      <a:pt x="117126" y="11910"/>
                    </a:lnTo>
                    <a:lnTo>
                      <a:pt x="123027" y="14984"/>
                    </a:lnTo>
                    <a:lnTo>
                      <a:pt x="129696" y="13776"/>
                    </a:lnTo>
                    <a:lnTo>
                      <a:pt x="134992" y="16493"/>
                    </a:lnTo>
                    <a:lnTo>
                      <a:pt x="134992" y="22201"/>
                    </a:lnTo>
                    <a:lnTo>
                      <a:pt x="131589" y="25302"/>
                    </a:lnTo>
                    <a:lnTo>
                      <a:pt x="130491" y="29062"/>
                    </a:lnTo>
                    <a:lnTo>
                      <a:pt x="135239" y="41603"/>
                    </a:lnTo>
                    <a:lnTo>
                      <a:pt x="142758" y="45308"/>
                    </a:lnTo>
                    <a:lnTo>
                      <a:pt x="154065" y="54996"/>
                    </a:lnTo>
                    <a:lnTo>
                      <a:pt x="166744" y="54309"/>
                    </a:lnTo>
                    <a:lnTo>
                      <a:pt x="173056" y="57383"/>
                    </a:lnTo>
                    <a:lnTo>
                      <a:pt x="171738" y="59139"/>
                    </a:lnTo>
                    <a:lnTo>
                      <a:pt x="166826" y="59414"/>
                    </a:lnTo>
                    <a:lnTo>
                      <a:pt x="159362" y="64957"/>
                    </a:lnTo>
                    <a:lnTo>
                      <a:pt x="157386" y="71407"/>
                    </a:lnTo>
                    <a:lnTo>
                      <a:pt x="148302" y="76209"/>
                    </a:lnTo>
                    <a:lnTo>
                      <a:pt x="140097" y="76319"/>
                    </a:lnTo>
                    <a:lnTo>
                      <a:pt x="140371" y="78295"/>
                    </a:lnTo>
                    <a:lnTo>
                      <a:pt x="144899" y="79667"/>
                    </a:lnTo>
                    <a:lnTo>
                      <a:pt x="145201" y="81807"/>
                    </a:lnTo>
                    <a:lnTo>
                      <a:pt x="136282" y="81698"/>
                    </a:lnTo>
                    <a:lnTo>
                      <a:pt x="131561" y="88586"/>
                    </a:lnTo>
                    <a:lnTo>
                      <a:pt x="130025" y="96627"/>
                    </a:lnTo>
                    <a:lnTo>
                      <a:pt x="118636" y="106342"/>
                    </a:lnTo>
                    <a:lnTo>
                      <a:pt x="112709" y="109113"/>
                    </a:lnTo>
                    <a:lnTo>
                      <a:pt x="108866" y="117676"/>
                    </a:lnTo>
                    <a:lnTo>
                      <a:pt x="107796" y="127363"/>
                    </a:lnTo>
                    <a:lnTo>
                      <a:pt x="102966" y="138889"/>
                    </a:lnTo>
                    <a:lnTo>
                      <a:pt x="113696" y="156205"/>
                    </a:lnTo>
                    <a:lnTo>
                      <a:pt x="126731" y="167182"/>
                    </a:lnTo>
                    <a:lnTo>
                      <a:pt x="127775" y="176266"/>
                    </a:lnTo>
                    <a:lnTo>
                      <a:pt x="133373" y="185542"/>
                    </a:lnTo>
                    <a:lnTo>
                      <a:pt x="145228" y="195970"/>
                    </a:lnTo>
                    <a:lnTo>
                      <a:pt x="152473" y="205411"/>
                    </a:lnTo>
                    <a:lnTo>
                      <a:pt x="166551" y="216443"/>
                    </a:lnTo>
                    <a:lnTo>
                      <a:pt x="168061" y="220230"/>
                    </a:lnTo>
                    <a:lnTo>
                      <a:pt x="173138" y="220724"/>
                    </a:lnTo>
                    <a:lnTo>
                      <a:pt x="177200" y="225252"/>
                    </a:lnTo>
                    <a:lnTo>
                      <a:pt x="180795" y="225609"/>
                    </a:lnTo>
                    <a:lnTo>
                      <a:pt x="180191" y="229917"/>
                    </a:lnTo>
                    <a:lnTo>
                      <a:pt x="189357" y="242870"/>
                    </a:lnTo>
                    <a:lnTo>
                      <a:pt x="197699" y="250499"/>
                    </a:lnTo>
                    <a:lnTo>
                      <a:pt x="209856" y="293804"/>
                    </a:lnTo>
                    <a:lnTo>
                      <a:pt x="208979" y="309172"/>
                    </a:lnTo>
                    <a:lnTo>
                      <a:pt x="214083" y="323360"/>
                    </a:lnTo>
                    <a:lnTo>
                      <a:pt x="208210" y="332307"/>
                    </a:lnTo>
                    <a:lnTo>
                      <a:pt x="210378" y="338317"/>
                    </a:lnTo>
                    <a:lnTo>
                      <a:pt x="207579" y="340512"/>
                    </a:lnTo>
                    <a:lnTo>
                      <a:pt x="209472" y="352670"/>
                    </a:lnTo>
                    <a:lnTo>
                      <a:pt x="206234" y="355139"/>
                    </a:lnTo>
                    <a:lnTo>
                      <a:pt x="207222" y="360409"/>
                    </a:lnTo>
                    <a:lnTo>
                      <a:pt x="202913" y="364744"/>
                    </a:lnTo>
                    <a:lnTo>
                      <a:pt x="201185" y="370288"/>
                    </a:lnTo>
                    <a:lnTo>
                      <a:pt x="188122" y="376957"/>
                    </a:lnTo>
                    <a:lnTo>
                      <a:pt x="181316" y="382528"/>
                    </a:lnTo>
                    <a:lnTo>
                      <a:pt x="175745" y="384009"/>
                    </a:lnTo>
                    <a:lnTo>
                      <a:pt x="170037" y="390349"/>
                    </a:lnTo>
                    <a:lnTo>
                      <a:pt x="147341" y="400091"/>
                    </a:lnTo>
                    <a:lnTo>
                      <a:pt x="143061" y="397237"/>
                    </a:lnTo>
                    <a:lnTo>
                      <a:pt x="137517" y="399323"/>
                    </a:lnTo>
                    <a:lnTo>
                      <a:pt x="136117" y="407254"/>
                    </a:lnTo>
                    <a:lnTo>
                      <a:pt x="132412" y="415322"/>
                    </a:lnTo>
                    <a:lnTo>
                      <a:pt x="129696" y="417435"/>
                    </a:lnTo>
                    <a:lnTo>
                      <a:pt x="128378" y="423637"/>
                    </a:lnTo>
                    <a:lnTo>
                      <a:pt x="121956" y="424351"/>
                    </a:lnTo>
                    <a:lnTo>
                      <a:pt x="116523" y="431019"/>
                    </a:lnTo>
                    <a:lnTo>
                      <a:pt x="99481" y="438566"/>
                    </a:lnTo>
                    <a:lnTo>
                      <a:pt x="85897" y="451739"/>
                    </a:lnTo>
                    <a:lnTo>
                      <a:pt x="80161" y="453221"/>
                    </a:lnTo>
                    <a:lnTo>
                      <a:pt x="76978" y="451848"/>
                    </a:lnTo>
                    <a:lnTo>
                      <a:pt x="79091" y="448171"/>
                    </a:lnTo>
                    <a:lnTo>
                      <a:pt x="78103" y="443945"/>
                    </a:lnTo>
                    <a:lnTo>
                      <a:pt x="79777" y="422265"/>
                    </a:lnTo>
                    <a:lnTo>
                      <a:pt x="81177" y="416776"/>
                    </a:lnTo>
                    <a:lnTo>
                      <a:pt x="85622" y="410876"/>
                    </a:lnTo>
                    <a:lnTo>
                      <a:pt x="77829" y="405360"/>
                    </a:lnTo>
                    <a:lnTo>
                      <a:pt x="72532" y="405552"/>
                    </a:lnTo>
                    <a:lnTo>
                      <a:pt x="67592" y="398280"/>
                    </a:lnTo>
                    <a:lnTo>
                      <a:pt x="72834" y="395234"/>
                    </a:lnTo>
                    <a:lnTo>
                      <a:pt x="80545" y="394630"/>
                    </a:lnTo>
                    <a:lnTo>
                      <a:pt x="86253" y="389388"/>
                    </a:lnTo>
                    <a:lnTo>
                      <a:pt x="86390" y="383378"/>
                    </a:lnTo>
                    <a:lnTo>
                      <a:pt x="93663" y="384723"/>
                    </a:lnTo>
                    <a:lnTo>
                      <a:pt x="96984" y="382308"/>
                    </a:lnTo>
                    <a:lnTo>
                      <a:pt x="106259" y="380552"/>
                    </a:lnTo>
                    <a:lnTo>
                      <a:pt x="110184" y="385272"/>
                    </a:lnTo>
                    <a:lnTo>
                      <a:pt x="112571" y="384339"/>
                    </a:lnTo>
                    <a:lnTo>
                      <a:pt x="118225" y="386232"/>
                    </a:lnTo>
                    <a:lnTo>
                      <a:pt x="118911" y="380222"/>
                    </a:lnTo>
                    <a:lnTo>
                      <a:pt x="110102" y="372785"/>
                    </a:lnTo>
                    <a:lnTo>
                      <a:pt x="108894" y="361945"/>
                    </a:lnTo>
                    <a:lnTo>
                      <a:pt x="114877" y="358295"/>
                    </a:lnTo>
                    <a:lnTo>
                      <a:pt x="125881" y="360217"/>
                    </a:lnTo>
                    <a:lnTo>
                      <a:pt x="126622" y="352038"/>
                    </a:lnTo>
                    <a:lnTo>
                      <a:pt x="134306" y="351654"/>
                    </a:lnTo>
                    <a:lnTo>
                      <a:pt x="136776" y="349212"/>
                    </a:lnTo>
                    <a:lnTo>
                      <a:pt x="142649" y="348059"/>
                    </a:lnTo>
                    <a:lnTo>
                      <a:pt x="148961" y="342131"/>
                    </a:lnTo>
                    <a:lnTo>
                      <a:pt x="152226" y="341281"/>
                    </a:lnTo>
                    <a:lnTo>
                      <a:pt x="155547" y="343065"/>
                    </a:lnTo>
                    <a:lnTo>
                      <a:pt x="158538" y="340430"/>
                    </a:lnTo>
                    <a:lnTo>
                      <a:pt x="160020" y="333185"/>
                    </a:lnTo>
                    <a:lnTo>
                      <a:pt x="157551" y="320808"/>
                    </a:lnTo>
                    <a:lnTo>
                      <a:pt x="161337" y="307114"/>
                    </a:lnTo>
                    <a:lnTo>
                      <a:pt x="153352" y="286532"/>
                    </a:lnTo>
                    <a:lnTo>
                      <a:pt x="159224" y="269819"/>
                    </a:lnTo>
                    <a:lnTo>
                      <a:pt x="157687" y="260818"/>
                    </a:lnTo>
                    <a:lnTo>
                      <a:pt x="162161" y="250499"/>
                    </a:lnTo>
                    <a:lnTo>
                      <a:pt x="154422" y="244325"/>
                    </a:lnTo>
                    <a:lnTo>
                      <a:pt x="150004" y="236668"/>
                    </a:lnTo>
                    <a:lnTo>
                      <a:pt x="155163" y="231180"/>
                    </a:lnTo>
                    <a:lnTo>
                      <a:pt x="155492" y="226597"/>
                    </a:lnTo>
                    <a:lnTo>
                      <a:pt x="148549" y="224346"/>
                    </a:lnTo>
                    <a:lnTo>
                      <a:pt x="138752" y="214385"/>
                    </a:lnTo>
                    <a:lnTo>
                      <a:pt x="133428" y="214906"/>
                    </a:lnTo>
                    <a:lnTo>
                      <a:pt x="130299" y="209280"/>
                    </a:lnTo>
                    <a:lnTo>
                      <a:pt x="128762" y="200471"/>
                    </a:lnTo>
                    <a:lnTo>
                      <a:pt x="122149" y="191799"/>
                    </a:lnTo>
                    <a:lnTo>
                      <a:pt x="106616" y="178187"/>
                    </a:lnTo>
                    <a:lnTo>
                      <a:pt x="98657" y="163889"/>
                    </a:lnTo>
                    <a:lnTo>
                      <a:pt x="89958" y="158209"/>
                    </a:lnTo>
                    <a:lnTo>
                      <a:pt x="87735" y="154120"/>
                    </a:lnTo>
                    <a:lnTo>
                      <a:pt x="87653" y="147369"/>
                    </a:lnTo>
                    <a:lnTo>
                      <a:pt x="75606" y="142621"/>
                    </a:lnTo>
                    <a:lnTo>
                      <a:pt x="53267" y="127857"/>
                    </a:lnTo>
                    <a:lnTo>
                      <a:pt x="57329" y="122094"/>
                    </a:lnTo>
                    <a:lnTo>
                      <a:pt x="56944" y="116385"/>
                    </a:lnTo>
                    <a:lnTo>
                      <a:pt x="72751" y="117072"/>
                    </a:lnTo>
                    <a:lnTo>
                      <a:pt x="77526" y="112846"/>
                    </a:lnTo>
                    <a:lnTo>
                      <a:pt x="82027" y="104173"/>
                    </a:lnTo>
                    <a:lnTo>
                      <a:pt x="76676" y="99481"/>
                    </a:lnTo>
                    <a:lnTo>
                      <a:pt x="75606" y="94486"/>
                    </a:lnTo>
                    <a:lnTo>
                      <a:pt x="69513" y="92098"/>
                    </a:lnTo>
                    <a:lnTo>
                      <a:pt x="70611" y="86994"/>
                    </a:lnTo>
                    <a:lnTo>
                      <a:pt x="69019" y="83426"/>
                    </a:lnTo>
                    <a:lnTo>
                      <a:pt x="58756" y="76648"/>
                    </a:lnTo>
                    <a:lnTo>
                      <a:pt x="46735" y="81176"/>
                    </a:lnTo>
                    <a:lnTo>
                      <a:pt x="34111" y="80023"/>
                    </a:lnTo>
                    <a:lnTo>
                      <a:pt x="29364" y="77773"/>
                    </a:lnTo>
                    <a:lnTo>
                      <a:pt x="20884" y="66467"/>
                    </a:lnTo>
                    <a:lnTo>
                      <a:pt x="24150" y="57712"/>
                    </a:lnTo>
                    <a:lnTo>
                      <a:pt x="23381" y="51565"/>
                    </a:lnTo>
                    <a:lnTo>
                      <a:pt x="13721" y="46049"/>
                    </a:lnTo>
                    <a:lnTo>
                      <a:pt x="0" y="30297"/>
                    </a:lnTo>
                    <a:lnTo>
                      <a:pt x="3403" y="28403"/>
                    </a:lnTo>
                    <a:lnTo>
                      <a:pt x="10621" y="19183"/>
                    </a:lnTo>
                    <a:lnTo>
                      <a:pt x="26098" y="27745"/>
                    </a:lnTo>
                    <a:lnTo>
                      <a:pt x="35237" y="18497"/>
                    </a:lnTo>
                    <a:lnTo>
                      <a:pt x="40423" y="22750"/>
                    </a:lnTo>
                    <a:lnTo>
                      <a:pt x="45253" y="19238"/>
                    </a:lnTo>
                    <a:lnTo>
                      <a:pt x="53926" y="25796"/>
                    </a:lnTo>
                    <a:lnTo>
                      <a:pt x="58426" y="17893"/>
                    </a:lnTo>
                    <a:lnTo>
                      <a:pt x="61554" y="17344"/>
                    </a:lnTo>
                    <a:lnTo>
                      <a:pt x="66110" y="20143"/>
                    </a:lnTo>
                    <a:lnTo>
                      <a:pt x="76044" y="15862"/>
                    </a:lnTo>
                    <a:lnTo>
                      <a:pt x="78954" y="12843"/>
                    </a:lnTo>
                    <a:lnTo>
                      <a:pt x="80847" y="6147"/>
                    </a:lnTo>
                    <a:lnTo>
                      <a:pt x="93086" y="0"/>
                    </a:lnTo>
                    <a:lnTo>
                      <a:pt x="101128" y="79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8" name="Freeform: Shape 4557">
                <a:extLst>
                  <a:ext uri="{FF2B5EF4-FFF2-40B4-BE49-F238E27FC236}">
                    <a16:creationId xmlns:a16="http://schemas.microsoft.com/office/drawing/2014/main" id="{549229D3-C6F2-5C64-8881-9AF6805B3470}"/>
                  </a:ext>
                </a:extLst>
              </p:cNvPr>
              <p:cNvSpPr/>
              <p:nvPr/>
            </p:nvSpPr>
            <p:spPr>
              <a:xfrm>
                <a:off x="1683900" y="3812195"/>
                <a:ext cx="784" cy="1136"/>
              </a:xfrm>
              <a:custGeom>
                <a:avLst/>
                <a:gdLst>
                  <a:gd name="connsiteX0" fmla="*/ 7437 w 7519"/>
                  <a:gd name="connsiteY0" fmla="*/ 2497 h 10895"/>
                  <a:gd name="connsiteX1" fmla="*/ 7519 w 7519"/>
                  <a:gd name="connsiteY1" fmla="*/ 6312 h 10895"/>
                  <a:gd name="connsiteX2" fmla="*/ 5489 w 7519"/>
                  <a:gd name="connsiteY2" fmla="*/ 10895 h 10895"/>
                  <a:gd name="connsiteX3" fmla="*/ 4500 w 7519"/>
                  <a:gd name="connsiteY3" fmla="*/ 10758 h 10895"/>
                  <a:gd name="connsiteX4" fmla="*/ 3897 w 7519"/>
                  <a:gd name="connsiteY4" fmla="*/ 7684 h 10895"/>
                  <a:gd name="connsiteX5" fmla="*/ 2470 w 7519"/>
                  <a:gd name="connsiteY5" fmla="*/ 5077 h 10895"/>
                  <a:gd name="connsiteX6" fmla="*/ 741 w 7519"/>
                  <a:gd name="connsiteY6" fmla="*/ 4473 h 10895"/>
                  <a:gd name="connsiteX7" fmla="*/ 0 w 7519"/>
                  <a:gd name="connsiteY7" fmla="*/ 2717 h 10895"/>
                  <a:gd name="connsiteX8" fmla="*/ 2634 w 7519"/>
                  <a:gd name="connsiteY8" fmla="*/ 2827 h 10895"/>
                  <a:gd name="connsiteX9" fmla="*/ 4912 w 7519"/>
                  <a:gd name="connsiteY9" fmla="*/ 0 h 10895"/>
                  <a:gd name="connsiteX10" fmla="*/ 7437 w 7519"/>
                  <a:gd name="connsiteY10" fmla="*/ 2470 h 10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19" h="10895">
                    <a:moveTo>
                      <a:pt x="7437" y="2497"/>
                    </a:moveTo>
                    <a:lnTo>
                      <a:pt x="7519" y="6312"/>
                    </a:lnTo>
                    <a:lnTo>
                      <a:pt x="5489" y="10895"/>
                    </a:lnTo>
                    <a:lnTo>
                      <a:pt x="4500" y="10758"/>
                    </a:lnTo>
                    <a:lnTo>
                      <a:pt x="3897" y="7684"/>
                    </a:lnTo>
                    <a:lnTo>
                      <a:pt x="2470" y="5077"/>
                    </a:lnTo>
                    <a:lnTo>
                      <a:pt x="741" y="4473"/>
                    </a:lnTo>
                    <a:lnTo>
                      <a:pt x="0" y="2717"/>
                    </a:lnTo>
                    <a:lnTo>
                      <a:pt x="2634" y="2827"/>
                    </a:lnTo>
                    <a:lnTo>
                      <a:pt x="4912" y="0"/>
                    </a:lnTo>
                    <a:lnTo>
                      <a:pt x="7437" y="24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9" name="Freeform: Shape 4558">
                <a:extLst>
                  <a:ext uri="{FF2B5EF4-FFF2-40B4-BE49-F238E27FC236}">
                    <a16:creationId xmlns:a16="http://schemas.microsoft.com/office/drawing/2014/main" id="{2C15025E-EF7B-8410-1E9C-6A9299F3DCAC}"/>
                  </a:ext>
                </a:extLst>
              </p:cNvPr>
              <p:cNvSpPr/>
              <p:nvPr/>
            </p:nvSpPr>
            <p:spPr>
              <a:xfrm>
                <a:off x="1694574" y="3778657"/>
                <a:ext cx="716" cy="366"/>
              </a:xfrm>
              <a:custGeom>
                <a:avLst/>
                <a:gdLst>
                  <a:gd name="connsiteX0" fmla="*/ 5982 w 6860"/>
                  <a:gd name="connsiteY0" fmla="*/ 2388 h 3512"/>
                  <a:gd name="connsiteX1" fmla="*/ 1345 w 6860"/>
                  <a:gd name="connsiteY1" fmla="*/ 3512 h 3512"/>
                  <a:gd name="connsiteX2" fmla="*/ 0 w 6860"/>
                  <a:gd name="connsiteY2" fmla="*/ 2442 h 3512"/>
                  <a:gd name="connsiteX3" fmla="*/ 494 w 6860"/>
                  <a:gd name="connsiteY3" fmla="*/ 714 h 3512"/>
                  <a:gd name="connsiteX4" fmla="*/ 6861 w 6860"/>
                  <a:gd name="connsiteY4" fmla="*/ 0 h 3512"/>
                  <a:gd name="connsiteX5" fmla="*/ 6010 w 6860"/>
                  <a:gd name="connsiteY5" fmla="*/ 2388 h 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0" h="3512">
                    <a:moveTo>
                      <a:pt x="5982" y="2388"/>
                    </a:moveTo>
                    <a:lnTo>
                      <a:pt x="1345" y="3512"/>
                    </a:lnTo>
                    <a:lnTo>
                      <a:pt x="0" y="2442"/>
                    </a:lnTo>
                    <a:lnTo>
                      <a:pt x="494" y="714"/>
                    </a:lnTo>
                    <a:lnTo>
                      <a:pt x="6861" y="0"/>
                    </a:lnTo>
                    <a:lnTo>
                      <a:pt x="6010"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0" name="Freeform: Shape 4559">
                <a:extLst>
                  <a:ext uri="{FF2B5EF4-FFF2-40B4-BE49-F238E27FC236}">
                    <a16:creationId xmlns:a16="http://schemas.microsoft.com/office/drawing/2014/main" id="{AAFFAC85-DC25-794D-F3ED-4DF70BF2552B}"/>
                  </a:ext>
                </a:extLst>
              </p:cNvPr>
              <p:cNvSpPr/>
              <p:nvPr/>
            </p:nvSpPr>
            <p:spPr>
              <a:xfrm>
                <a:off x="1692522" y="3817599"/>
                <a:ext cx="381" cy="306"/>
              </a:xfrm>
              <a:custGeom>
                <a:avLst/>
                <a:gdLst>
                  <a:gd name="connsiteX0" fmla="*/ 3294 w 3650"/>
                  <a:gd name="connsiteY0" fmla="*/ 2882 h 2936"/>
                  <a:gd name="connsiteX1" fmla="*/ 385 w 3650"/>
                  <a:gd name="connsiteY1" fmla="*/ 2937 h 2936"/>
                  <a:gd name="connsiteX2" fmla="*/ 0 w 3650"/>
                  <a:gd name="connsiteY2" fmla="*/ 1345 h 2936"/>
                  <a:gd name="connsiteX3" fmla="*/ 1509 w 3650"/>
                  <a:gd name="connsiteY3" fmla="*/ 0 h 2936"/>
                  <a:gd name="connsiteX4" fmla="*/ 3650 w 3650"/>
                  <a:gd name="connsiteY4" fmla="*/ 1866 h 2936"/>
                  <a:gd name="connsiteX5" fmla="*/ 3266 w 3650"/>
                  <a:gd name="connsiteY5" fmla="*/ 2854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0" h="2936">
                    <a:moveTo>
                      <a:pt x="3294" y="2882"/>
                    </a:moveTo>
                    <a:lnTo>
                      <a:pt x="385" y="2937"/>
                    </a:lnTo>
                    <a:lnTo>
                      <a:pt x="0" y="1345"/>
                    </a:lnTo>
                    <a:lnTo>
                      <a:pt x="1509" y="0"/>
                    </a:lnTo>
                    <a:lnTo>
                      <a:pt x="3650" y="1866"/>
                    </a:lnTo>
                    <a:lnTo>
                      <a:pt x="3266"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1" name="Freeform: Shape 4560">
                <a:extLst>
                  <a:ext uri="{FF2B5EF4-FFF2-40B4-BE49-F238E27FC236}">
                    <a16:creationId xmlns:a16="http://schemas.microsoft.com/office/drawing/2014/main" id="{F14BBD61-BBAA-E1CD-1D6E-B65EB755A7E6}"/>
                  </a:ext>
                </a:extLst>
              </p:cNvPr>
              <p:cNvSpPr/>
              <p:nvPr/>
            </p:nvSpPr>
            <p:spPr>
              <a:xfrm>
                <a:off x="1700782" y="3805031"/>
                <a:ext cx="338" cy="329"/>
              </a:xfrm>
              <a:custGeom>
                <a:avLst/>
                <a:gdLst>
                  <a:gd name="connsiteX0" fmla="*/ 3238 w 3238"/>
                  <a:gd name="connsiteY0" fmla="*/ 988 h 3155"/>
                  <a:gd name="connsiteX1" fmla="*/ 2854 w 3238"/>
                  <a:gd name="connsiteY1" fmla="*/ 3156 h 3155"/>
                  <a:gd name="connsiteX2" fmla="*/ 411 w 3238"/>
                  <a:gd name="connsiteY2" fmla="*/ 2881 h 3155"/>
                  <a:gd name="connsiteX3" fmla="*/ 0 w 3238"/>
                  <a:gd name="connsiteY3" fmla="*/ 1701 h 3155"/>
                  <a:gd name="connsiteX4" fmla="*/ 988 w 3238"/>
                  <a:gd name="connsiteY4" fmla="*/ 0 h 3155"/>
                  <a:gd name="connsiteX5" fmla="*/ 3211 w 3238"/>
                  <a:gd name="connsiteY5" fmla="*/ 960 h 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8" h="3155">
                    <a:moveTo>
                      <a:pt x="3238" y="988"/>
                    </a:moveTo>
                    <a:lnTo>
                      <a:pt x="2854" y="3156"/>
                    </a:lnTo>
                    <a:lnTo>
                      <a:pt x="411" y="2881"/>
                    </a:lnTo>
                    <a:lnTo>
                      <a:pt x="0" y="1701"/>
                    </a:lnTo>
                    <a:lnTo>
                      <a:pt x="988" y="0"/>
                    </a:lnTo>
                    <a:lnTo>
                      <a:pt x="3211" y="9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4" name="Freeform: Shape 4583">
                <a:extLst>
                  <a:ext uri="{FF2B5EF4-FFF2-40B4-BE49-F238E27FC236}">
                    <a16:creationId xmlns:a16="http://schemas.microsoft.com/office/drawing/2014/main" id="{98E1DC6D-7C96-791E-2975-75E6D573FA11}"/>
                  </a:ext>
                </a:extLst>
              </p:cNvPr>
              <p:cNvSpPr/>
              <p:nvPr/>
            </p:nvSpPr>
            <p:spPr>
              <a:xfrm>
                <a:off x="1604442" y="3726028"/>
                <a:ext cx="7345" cy="9700"/>
              </a:xfrm>
              <a:custGeom>
                <a:avLst/>
                <a:gdLst>
                  <a:gd name="connsiteX0" fmla="*/ 30050 w 70419"/>
                  <a:gd name="connsiteY0" fmla="*/ 92977 h 93004"/>
                  <a:gd name="connsiteX1" fmla="*/ 24370 w 70419"/>
                  <a:gd name="connsiteY1" fmla="*/ 87022 h 93004"/>
                  <a:gd name="connsiteX2" fmla="*/ 23134 w 70419"/>
                  <a:gd name="connsiteY2" fmla="*/ 82438 h 93004"/>
                  <a:gd name="connsiteX3" fmla="*/ 24644 w 70419"/>
                  <a:gd name="connsiteY3" fmla="*/ 79722 h 93004"/>
                  <a:gd name="connsiteX4" fmla="*/ 24095 w 70419"/>
                  <a:gd name="connsiteY4" fmla="*/ 73190 h 93004"/>
                  <a:gd name="connsiteX5" fmla="*/ 21735 w 70419"/>
                  <a:gd name="connsiteY5" fmla="*/ 69074 h 93004"/>
                  <a:gd name="connsiteX6" fmla="*/ 29255 w 70419"/>
                  <a:gd name="connsiteY6" fmla="*/ 64765 h 93004"/>
                  <a:gd name="connsiteX7" fmla="*/ 31066 w 70419"/>
                  <a:gd name="connsiteY7" fmla="*/ 58646 h 93004"/>
                  <a:gd name="connsiteX8" fmla="*/ 22366 w 70419"/>
                  <a:gd name="connsiteY8" fmla="*/ 52608 h 93004"/>
                  <a:gd name="connsiteX9" fmla="*/ 10703 w 70419"/>
                  <a:gd name="connsiteY9" fmla="*/ 48327 h 93004"/>
                  <a:gd name="connsiteX10" fmla="*/ 7574 w 70419"/>
                  <a:gd name="connsiteY10" fmla="*/ 36252 h 93004"/>
                  <a:gd name="connsiteX11" fmla="*/ 2689 w 70419"/>
                  <a:gd name="connsiteY11" fmla="*/ 26071 h 93004"/>
                  <a:gd name="connsiteX12" fmla="*/ 5571 w 70419"/>
                  <a:gd name="connsiteY12" fmla="*/ 18030 h 93004"/>
                  <a:gd name="connsiteX13" fmla="*/ 0 w 70419"/>
                  <a:gd name="connsiteY13" fmla="*/ 17536 h 93004"/>
                  <a:gd name="connsiteX14" fmla="*/ 23629 w 70419"/>
                  <a:gd name="connsiteY14" fmla="*/ 2031 h 93004"/>
                  <a:gd name="connsiteX15" fmla="*/ 41439 w 70419"/>
                  <a:gd name="connsiteY15" fmla="*/ 0 h 93004"/>
                  <a:gd name="connsiteX16" fmla="*/ 48245 w 70419"/>
                  <a:gd name="connsiteY16" fmla="*/ 4693 h 93004"/>
                  <a:gd name="connsiteX17" fmla="*/ 52169 w 70419"/>
                  <a:gd name="connsiteY17" fmla="*/ 10950 h 93004"/>
                  <a:gd name="connsiteX18" fmla="*/ 58618 w 70419"/>
                  <a:gd name="connsiteY18" fmla="*/ 14490 h 93004"/>
                  <a:gd name="connsiteX19" fmla="*/ 61829 w 70419"/>
                  <a:gd name="connsiteY19" fmla="*/ 19594 h 93004"/>
                  <a:gd name="connsiteX20" fmla="*/ 67483 w 70419"/>
                  <a:gd name="connsiteY20" fmla="*/ 15889 h 93004"/>
                  <a:gd name="connsiteX21" fmla="*/ 70419 w 70419"/>
                  <a:gd name="connsiteY21" fmla="*/ 18771 h 93004"/>
                  <a:gd name="connsiteX22" fmla="*/ 65918 w 70419"/>
                  <a:gd name="connsiteY22" fmla="*/ 40314 h 93004"/>
                  <a:gd name="connsiteX23" fmla="*/ 62240 w 70419"/>
                  <a:gd name="connsiteY23" fmla="*/ 46763 h 93004"/>
                  <a:gd name="connsiteX24" fmla="*/ 57603 w 70419"/>
                  <a:gd name="connsiteY24" fmla="*/ 48601 h 93004"/>
                  <a:gd name="connsiteX25" fmla="*/ 52471 w 70419"/>
                  <a:gd name="connsiteY25" fmla="*/ 55188 h 93004"/>
                  <a:gd name="connsiteX26" fmla="*/ 47559 w 70419"/>
                  <a:gd name="connsiteY26" fmla="*/ 55188 h 93004"/>
                  <a:gd name="connsiteX27" fmla="*/ 47943 w 70419"/>
                  <a:gd name="connsiteY27" fmla="*/ 61527 h 93004"/>
                  <a:gd name="connsiteX28" fmla="*/ 43388 w 70419"/>
                  <a:gd name="connsiteY28" fmla="*/ 70254 h 93004"/>
                  <a:gd name="connsiteX29" fmla="*/ 29336 w 70419"/>
                  <a:gd name="connsiteY29" fmla="*/ 71269 h 93004"/>
                  <a:gd name="connsiteX30" fmla="*/ 33535 w 70419"/>
                  <a:gd name="connsiteY30" fmla="*/ 83372 h 93004"/>
                  <a:gd name="connsiteX31" fmla="*/ 29255 w 70419"/>
                  <a:gd name="connsiteY31" fmla="*/ 86253 h 93004"/>
                  <a:gd name="connsiteX32" fmla="*/ 30077 w 70419"/>
                  <a:gd name="connsiteY32" fmla="*/ 93004 h 9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0419" h="93004">
                    <a:moveTo>
                      <a:pt x="30050" y="92977"/>
                    </a:moveTo>
                    <a:lnTo>
                      <a:pt x="24370" y="87022"/>
                    </a:lnTo>
                    <a:lnTo>
                      <a:pt x="23134" y="82438"/>
                    </a:lnTo>
                    <a:lnTo>
                      <a:pt x="24644" y="79722"/>
                    </a:lnTo>
                    <a:lnTo>
                      <a:pt x="24095" y="73190"/>
                    </a:lnTo>
                    <a:lnTo>
                      <a:pt x="21735" y="69074"/>
                    </a:lnTo>
                    <a:lnTo>
                      <a:pt x="29255" y="64765"/>
                    </a:lnTo>
                    <a:lnTo>
                      <a:pt x="31066" y="58646"/>
                    </a:lnTo>
                    <a:lnTo>
                      <a:pt x="22366" y="52608"/>
                    </a:lnTo>
                    <a:lnTo>
                      <a:pt x="10703" y="48327"/>
                    </a:lnTo>
                    <a:lnTo>
                      <a:pt x="7574" y="36252"/>
                    </a:lnTo>
                    <a:lnTo>
                      <a:pt x="2689" y="26071"/>
                    </a:lnTo>
                    <a:lnTo>
                      <a:pt x="5571" y="18030"/>
                    </a:lnTo>
                    <a:lnTo>
                      <a:pt x="0" y="17536"/>
                    </a:lnTo>
                    <a:lnTo>
                      <a:pt x="23629" y="2031"/>
                    </a:lnTo>
                    <a:lnTo>
                      <a:pt x="41439" y="0"/>
                    </a:lnTo>
                    <a:lnTo>
                      <a:pt x="48245" y="4693"/>
                    </a:lnTo>
                    <a:lnTo>
                      <a:pt x="52169" y="10950"/>
                    </a:lnTo>
                    <a:lnTo>
                      <a:pt x="58618" y="14490"/>
                    </a:lnTo>
                    <a:lnTo>
                      <a:pt x="61829" y="19594"/>
                    </a:lnTo>
                    <a:lnTo>
                      <a:pt x="67483" y="15889"/>
                    </a:lnTo>
                    <a:lnTo>
                      <a:pt x="70419" y="18771"/>
                    </a:lnTo>
                    <a:lnTo>
                      <a:pt x="65918" y="40314"/>
                    </a:lnTo>
                    <a:lnTo>
                      <a:pt x="62240" y="46763"/>
                    </a:lnTo>
                    <a:lnTo>
                      <a:pt x="57603" y="48601"/>
                    </a:lnTo>
                    <a:lnTo>
                      <a:pt x="52471" y="55188"/>
                    </a:lnTo>
                    <a:lnTo>
                      <a:pt x="47559" y="55188"/>
                    </a:lnTo>
                    <a:cubicBezTo>
                      <a:pt x="47559" y="55188"/>
                      <a:pt x="47943" y="61527"/>
                      <a:pt x="47943" y="61527"/>
                    </a:cubicBezTo>
                    <a:lnTo>
                      <a:pt x="43388" y="70254"/>
                    </a:lnTo>
                    <a:lnTo>
                      <a:pt x="29336" y="71269"/>
                    </a:lnTo>
                    <a:lnTo>
                      <a:pt x="33535" y="83372"/>
                    </a:lnTo>
                    <a:lnTo>
                      <a:pt x="29255" y="86253"/>
                    </a:lnTo>
                    <a:lnTo>
                      <a:pt x="30077" y="930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5" name="Freeform: Shape 4584">
                <a:extLst>
                  <a:ext uri="{FF2B5EF4-FFF2-40B4-BE49-F238E27FC236}">
                    <a16:creationId xmlns:a16="http://schemas.microsoft.com/office/drawing/2014/main" id="{48B810A5-14A0-A789-B855-79DF336AB271}"/>
                  </a:ext>
                </a:extLst>
              </p:cNvPr>
              <p:cNvSpPr/>
              <p:nvPr/>
            </p:nvSpPr>
            <p:spPr>
              <a:xfrm>
                <a:off x="1646301" y="3749945"/>
                <a:ext cx="17798" cy="8922"/>
              </a:xfrm>
              <a:custGeom>
                <a:avLst/>
                <a:gdLst>
                  <a:gd name="connsiteX0" fmla="*/ 169845 w 170640"/>
                  <a:gd name="connsiteY0" fmla="*/ 40780 h 85539"/>
                  <a:gd name="connsiteX1" fmla="*/ 170641 w 170640"/>
                  <a:gd name="connsiteY1" fmla="*/ 50605 h 85539"/>
                  <a:gd name="connsiteX2" fmla="*/ 161337 w 170640"/>
                  <a:gd name="connsiteY2" fmla="*/ 56231 h 85539"/>
                  <a:gd name="connsiteX3" fmla="*/ 159745 w 170640"/>
                  <a:gd name="connsiteY3" fmla="*/ 53047 h 85539"/>
                  <a:gd name="connsiteX4" fmla="*/ 137627 w 170640"/>
                  <a:gd name="connsiteY4" fmla="*/ 40314 h 85539"/>
                  <a:gd name="connsiteX5" fmla="*/ 130189 w 170640"/>
                  <a:gd name="connsiteY5" fmla="*/ 40643 h 85539"/>
                  <a:gd name="connsiteX6" fmla="*/ 124866 w 170640"/>
                  <a:gd name="connsiteY6" fmla="*/ 38118 h 85539"/>
                  <a:gd name="connsiteX7" fmla="*/ 113312 w 170640"/>
                  <a:gd name="connsiteY7" fmla="*/ 42619 h 85539"/>
                  <a:gd name="connsiteX8" fmla="*/ 108372 w 170640"/>
                  <a:gd name="connsiteY8" fmla="*/ 49919 h 85539"/>
                  <a:gd name="connsiteX9" fmla="*/ 96764 w 170640"/>
                  <a:gd name="connsiteY9" fmla="*/ 56395 h 85539"/>
                  <a:gd name="connsiteX10" fmla="*/ 87324 w 170640"/>
                  <a:gd name="connsiteY10" fmla="*/ 60704 h 85539"/>
                  <a:gd name="connsiteX11" fmla="*/ 79146 w 170640"/>
                  <a:gd name="connsiteY11" fmla="*/ 62103 h 85539"/>
                  <a:gd name="connsiteX12" fmla="*/ 69019 w 170640"/>
                  <a:gd name="connsiteY12" fmla="*/ 72504 h 85539"/>
                  <a:gd name="connsiteX13" fmla="*/ 64409 w 170640"/>
                  <a:gd name="connsiteY13" fmla="*/ 80243 h 85539"/>
                  <a:gd name="connsiteX14" fmla="*/ 45583 w 170640"/>
                  <a:gd name="connsiteY14" fmla="*/ 84525 h 85539"/>
                  <a:gd name="connsiteX15" fmla="*/ 31258 w 170640"/>
                  <a:gd name="connsiteY15" fmla="*/ 82466 h 85539"/>
                  <a:gd name="connsiteX16" fmla="*/ 24397 w 170640"/>
                  <a:gd name="connsiteY16" fmla="*/ 84003 h 85539"/>
                  <a:gd name="connsiteX17" fmla="*/ 20665 w 170640"/>
                  <a:gd name="connsiteY17" fmla="*/ 84662 h 85539"/>
                  <a:gd name="connsiteX18" fmla="*/ 15752 w 170640"/>
                  <a:gd name="connsiteY18" fmla="*/ 85540 h 85539"/>
                  <a:gd name="connsiteX19" fmla="*/ 13530 w 170640"/>
                  <a:gd name="connsiteY19" fmla="*/ 76785 h 85539"/>
                  <a:gd name="connsiteX20" fmla="*/ 15231 w 170640"/>
                  <a:gd name="connsiteY20" fmla="*/ 69733 h 85539"/>
                  <a:gd name="connsiteX21" fmla="*/ 12569 w 170640"/>
                  <a:gd name="connsiteY21" fmla="*/ 65479 h 85539"/>
                  <a:gd name="connsiteX22" fmla="*/ 1126 w 170640"/>
                  <a:gd name="connsiteY22" fmla="*/ 63229 h 85539"/>
                  <a:gd name="connsiteX23" fmla="*/ 0 w 170640"/>
                  <a:gd name="connsiteY23" fmla="*/ 59935 h 85539"/>
                  <a:gd name="connsiteX24" fmla="*/ 2031 w 170640"/>
                  <a:gd name="connsiteY24" fmla="*/ 55737 h 85539"/>
                  <a:gd name="connsiteX25" fmla="*/ 11691 w 170640"/>
                  <a:gd name="connsiteY25" fmla="*/ 56368 h 85539"/>
                  <a:gd name="connsiteX26" fmla="*/ 19485 w 170640"/>
                  <a:gd name="connsiteY26" fmla="*/ 52965 h 85539"/>
                  <a:gd name="connsiteX27" fmla="*/ 20665 w 170640"/>
                  <a:gd name="connsiteY27" fmla="*/ 53075 h 85539"/>
                  <a:gd name="connsiteX28" fmla="*/ 25138 w 170640"/>
                  <a:gd name="connsiteY28" fmla="*/ 53541 h 85539"/>
                  <a:gd name="connsiteX29" fmla="*/ 31176 w 170640"/>
                  <a:gd name="connsiteY29" fmla="*/ 50358 h 85539"/>
                  <a:gd name="connsiteX30" fmla="*/ 35045 w 170640"/>
                  <a:gd name="connsiteY30" fmla="*/ 42674 h 85539"/>
                  <a:gd name="connsiteX31" fmla="*/ 47724 w 170640"/>
                  <a:gd name="connsiteY31" fmla="*/ 35182 h 85539"/>
                  <a:gd name="connsiteX32" fmla="*/ 51044 w 170640"/>
                  <a:gd name="connsiteY32" fmla="*/ 27031 h 85539"/>
                  <a:gd name="connsiteX33" fmla="*/ 67510 w 170640"/>
                  <a:gd name="connsiteY33" fmla="*/ 22366 h 85539"/>
                  <a:gd name="connsiteX34" fmla="*/ 73685 w 170640"/>
                  <a:gd name="connsiteY34" fmla="*/ 15450 h 85539"/>
                  <a:gd name="connsiteX35" fmla="*/ 85211 w 170640"/>
                  <a:gd name="connsiteY35" fmla="*/ 6971 h 85539"/>
                  <a:gd name="connsiteX36" fmla="*/ 91165 w 170640"/>
                  <a:gd name="connsiteY36" fmla="*/ 5077 h 85539"/>
                  <a:gd name="connsiteX37" fmla="*/ 96133 w 170640"/>
                  <a:gd name="connsiteY37" fmla="*/ 8343 h 85539"/>
                  <a:gd name="connsiteX38" fmla="*/ 108537 w 170640"/>
                  <a:gd name="connsiteY38" fmla="*/ 10922 h 85539"/>
                  <a:gd name="connsiteX39" fmla="*/ 120612 w 170640"/>
                  <a:gd name="connsiteY39" fmla="*/ 6696 h 85539"/>
                  <a:gd name="connsiteX40" fmla="*/ 131836 w 170640"/>
                  <a:gd name="connsiteY40" fmla="*/ 0 h 85539"/>
                  <a:gd name="connsiteX41" fmla="*/ 139768 w 170640"/>
                  <a:gd name="connsiteY41" fmla="*/ 6422 h 85539"/>
                  <a:gd name="connsiteX42" fmla="*/ 135212 w 170640"/>
                  <a:gd name="connsiteY42" fmla="*/ 11746 h 85539"/>
                  <a:gd name="connsiteX43" fmla="*/ 135651 w 170640"/>
                  <a:gd name="connsiteY43" fmla="*/ 15807 h 85539"/>
                  <a:gd name="connsiteX44" fmla="*/ 143966 w 170640"/>
                  <a:gd name="connsiteY44" fmla="*/ 13612 h 85539"/>
                  <a:gd name="connsiteX45" fmla="*/ 147506 w 170640"/>
                  <a:gd name="connsiteY45" fmla="*/ 20445 h 85539"/>
                  <a:gd name="connsiteX46" fmla="*/ 141030 w 170640"/>
                  <a:gd name="connsiteY46" fmla="*/ 29940 h 85539"/>
                  <a:gd name="connsiteX47" fmla="*/ 140783 w 170640"/>
                  <a:gd name="connsiteY47" fmla="*/ 34743 h 85539"/>
                  <a:gd name="connsiteX48" fmla="*/ 149454 w 170640"/>
                  <a:gd name="connsiteY48" fmla="*/ 33151 h 85539"/>
                  <a:gd name="connsiteX49" fmla="*/ 154915 w 170640"/>
                  <a:gd name="connsiteY49" fmla="*/ 35648 h 85539"/>
                  <a:gd name="connsiteX50" fmla="*/ 163615 w 170640"/>
                  <a:gd name="connsiteY50" fmla="*/ 36444 h 85539"/>
                  <a:gd name="connsiteX51" fmla="*/ 169872 w 170640"/>
                  <a:gd name="connsiteY51" fmla="*/ 40780 h 8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70640" h="85539">
                    <a:moveTo>
                      <a:pt x="169845" y="40780"/>
                    </a:moveTo>
                    <a:lnTo>
                      <a:pt x="170641" y="50605"/>
                    </a:lnTo>
                    <a:lnTo>
                      <a:pt x="161337" y="56231"/>
                    </a:lnTo>
                    <a:lnTo>
                      <a:pt x="159745" y="53047"/>
                    </a:lnTo>
                    <a:lnTo>
                      <a:pt x="137627" y="40314"/>
                    </a:lnTo>
                    <a:lnTo>
                      <a:pt x="130189" y="40643"/>
                    </a:lnTo>
                    <a:lnTo>
                      <a:pt x="124866" y="38118"/>
                    </a:lnTo>
                    <a:lnTo>
                      <a:pt x="113312" y="42619"/>
                    </a:lnTo>
                    <a:lnTo>
                      <a:pt x="108372" y="49919"/>
                    </a:lnTo>
                    <a:lnTo>
                      <a:pt x="96764" y="56395"/>
                    </a:lnTo>
                    <a:lnTo>
                      <a:pt x="87324" y="60704"/>
                    </a:lnTo>
                    <a:lnTo>
                      <a:pt x="79146" y="62103"/>
                    </a:lnTo>
                    <a:lnTo>
                      <a:pt x="69019" y="72504"/>
                    </a:lnTo>
                    <a:lnTo>
                      <a:pt x="64409" y="80243"/>
                    </a:lnTo>
                    <a:lnTo>
                      <a:pt x="45583" y="84525"/>
                    </a:lnTo>
                    <a:lnTo>
                      <a:pt x="31258" y="82466"/>
                    </a:lnTo>
                    <a:lnTo>
                      <a:pt x="24397" y="84003"/>
                    </a:lnTo>
                    <a:lnTo>
                      <a:pt x="20665" y="84662"/>
                    </a:lnTo>
                    <a:lnTo>
                      <a:pt x="15752" y="85540"/>
                    </a:lnTo>
                    <a:lnTo>
                      <a:pt x="13530" y="76785"/>
                    </a:lnTo>
                    <a:lnTo>
                      <a:pt x="15231" y="69733"/>
                    </a:lnTo>
                    <a:lnTo>
                      <a:pt x="12569" y="65479"/>
                    </a:lnTo>
                    <a:lnTo>
                      <a:pt x="1126" y="63229"/>
                    </a:lnTo>
                    <a:lnTo>
                      <a:pt x="0" y="59935"/>
                    </a:lnTo>
                    <a:lnTo>
                      <a:pt x="2031" y="55737"/>
                    </a:lnTo>
                    <a:lnTo>
                      <a:pt x="11691" y="56368"/>
                    </a:lnTo>
                    <a:lnTo>
                      <a:pt x="19485" y="52965"/>
                    </a:lnTo>
                    <a:lnTo>
                      <a:pt x="20665" y="53075"/>
                    </a:lnTo>
                    <a:lnTo>
                      <a:pt x="25138" y="53541"/>
                    </a:lnTo>
                    <a:lnTo>
                      <a:pt x="31176" y="50358"/>
                    </a:lnTo>
                    <a:lnTo>
                      <a:pt x="35045" y="42674"/>
                    </a:lnTo>
                    <a:lnTo>
                      <a:pt x="47724" y="35182"/>
                    </a:lnTo>
                    <a:lnTo>
                      <a:pt x="51044" y="27031"/>
                    </a:lnTo>
                    <a:lnTo>
                      <a:pt x="67510" y="22366"/>
                    </a:lnTo>
                    <a:lnTo>
                      <a:pt x="73685" y="15450"/>
                    </a:lnTo>
                    <a:lnTo>
                      <a:pt x="85211" y="6971"/>
                    </a:lnTo>
                    <a:lnTo>
                      <a:pt x="91165" y="5077"/>
                    </a:lnTo>
                    <a:lnTo>
                      <a:pt x="96133" y="8343"/>
                    </a:lnTo>
                    <a:lnTo>
                      <a:pt x="108537" y="10922"/>
                    </a:lnTo>
                    <a:lnTo>
                      <a:pt x="120612" y="6696"/>
                    </a:lnTo>
                    <a:lnTo>
                      <a:pt x="131836" y="0"/>
                    </a:lnTo>
                    <a:lnTo>
                      <a:pt x="139768" y="6422"/>
                    </a:lnTo>
                    <a:lnTo>
                      <a:pt x="135212" y="11746"/>
                    </a:lnTo>
                    <a:lnTo>
                      <a:pt x="135651" y="15807"/>
                    </a:lnTo>
                    <a:lnTo>
                      <a:pt x="143966" y="13612"/>
                    </a:lnTo>
                    <a:lnTo>
                      <a:pt x="147506" y="20445"/>
                    </a:lnTo>
                    <a:lnTo>
                      <a:pt x="141030" y="29940"/>
                    </a:lnTo>
                    <a:lnTo>
                      <a:pt x="140783" y="34743"/>
                    </a:lnTo>
                    <a:lnTo>
                      <a:pt x="149454" y="33151"/>
                    </a:lnTo>
                    <a:lnTo>
                      <a:pt x="154915" y="35648"/>
                    </a:lnTo>
                    <a:lnTo>
                      <a:pt x="163615" y="36444"/>
                    </a:lnTo>
                    <a:lnTo>
                      <a:pt x="169872" y="407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6" name="Freeform: Shape 4585">
                <a:extLst>
                  <a:ext uri="{FF2B5EF4-FFF2-40B4-BE49-F238E27FC236}">
                    <a16:creationId xmlns:a16="http://schemas.microsoft.com/office/drawing/2014/main" id="{F64E8E70-03EA-336F-5CB6-6098BC14E252}"/>
                  </a:ext>
                </a:extLst>
              </p:cNvPr>
              <p:cNvSpPr/>
              <p:nvPr/>
            </p:nvSpPr>
            <p:spPr>
              <a:xfrm>
                <a:off x="1608183" y="3736424"/>
                <a:ext cx="1251" cy="2430"/>
              </a:xfrm>
              <a:custGeom>
                <a:avLst/>
                <a:gdLst>
                  <a:gd name="connsiteX0" fmla="*/ 10950 w 11992"/>
                  <a:gd name="connsiteY0" fmla="*/ 20363 h 23299"/>
                  <a:gd name="connsiteX1" fmla="*/ 3156 w 11992"/>
                  <a:gd name="connsiteY1" fmla="*/ 23299 h 23299"/>
                  <a:gd name="connsiteX2" fmla="*/ 4034 w 11992"/>
                  <a:gd name="connsiteY2" fmla="*/ 16548 h 23299"/>
                  <a:gd name="connsiteX3" fmla="*/ 0 w 11992"/>
                  <a:gd name="connsiteY3" fmla="*/ 0 h 23299"/>
                  <a:gd name="connsiteX4" fmla="*/ 7026 w 11992"/>
                  <a:gd name="connsiteY4" fmla="*/ 851 h 23299"/>
                  <a:gd name="connsiteX5" fmla="*/ 6696 w 11992"/>
                  <a:gd name="connsiteY5" fmla="*/ 7904 h 23299"/>
                  <a:gd name="connsiteX6" fmla="*/ 11992 w 11992"/>
                  <a:gd name="connsiteY6" fmla="*/ 17509 h 23299"/>
                  <a:gd name="connsiteX7" fmla="*/ 10922 w 11992"/>
                  <a:gd name="connsiteY7" fmla="*/ 20335 h 2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92" h="23299">
                    <a:moveTo>
                      <a:pt x="10950" y="20363"/>
                    </a:moveTo>
                    <a:lnTo>
                      <a:pt x="3156" y="23299"/>
                    </a:lnTo>
                    <a:lnTo>
                      <a:pt x="4034" y="16548"/>
                    </a:lnTo>
                    <a:lnTo>
                      <a:pt x="0" y="0"/>
                    </a:lnTo>
                    <a:lnTo>
                      <a:pt x="7026" y="851"/>
                    </a:lnTo>
                    <a:lnTo>
                      <a:pt x="6696" y="7904"/>
                    </a:lnTo>
                    <a:lnTo>
                      <a:pt x="11992" y="17509"/>
                    </a:lnTo>
                    <a:lnTo>
                      <a:pt x="10922" y="203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7" name="Freeform: Shape 4586">
                <a:extLst>
                  <a:ext uri="{FF2B5EF4-FFF2-40B4-BE49-F238E27FC236}">
                    <a16:creationId xmlns:a16="http://schemas.microsoft.com/office/drawing/2014/main" id="{87399A65-62B4-262B-B57E-6DB8E588CDAC}"/>
                  </a:ext>
                </a:extLst>
              </p:cNvPr>
              <p:cNvSpPr/>
              <p:nvPr/>
            </p:nvSpPr>
            <p:spPr>
              <a:xfrm>
                <a:off x="1607393" y="3742804"/>
                <a:ext cx="1637" cy="1686"/>
              </a:xfrm>
              <a:custGeom>
                <a:avLst/>
                <a:gdLst>
                  <a:gd name="connsiteX0" fmla="*/ 15697 w 15697"/>
                  <a:gd name="connsiteY0" fmla="*/ 12624 h 16163"/>
                  <a:gd name="connsiteX1" fmla="*/ 11306 w 15697"/>
                  <a:gd name="connsiteY1" fmla="*/ 16164 h 16163"/>
                  <a:gd name="connsiteX2" fmla="*/ 5516 w 15697"/>
                  <a:gd name="connsiteY2" fmla="*/ 14325 h 16163"/>
                  <a:gd name="connsiteX3" fmla="*/ 0 w 15697"/>
                  <a:gd name="connsiteY3" fmla="*/ 5461 h 16163"/>
                  <a:gd name="connsiteX4" fmla="*/ 6065 w 15697"/>
                  <a:gd name="connsiteY4" fmla="*/ 0 h 16163"/>
                  <a:gd name="connsiteX5" fmla="*/ 15697 w 15697"/>
                  <a:gd name="connsiteY5" fmla="*/ 12624 h 1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97" h="16163">
                    <a:moveTo>
                      <a:pt x="15697" y="12624"/>
                    </a:moveTo>
                    <a:lnTo>
                      <a:pt x="11306" y="16164"/>
                    </a:lnTo>
                    <a:lnTo>
                      <a:pt x="5516" y="14325"/>
                    </a:lnTo>
                    <a:lnTo>
                      <a:pt x="0" y="5461"/>
                    </a:lnTo>
                    <a:lnTo>
                      <a:pt x="6065" y="0"/>
                    </a:lnTo>
                    <a:lnTo>
                      <a:pt x="15697" y="126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8" name="Freeform: Shape 4587">
                <a:extLst>
                  <a:ext uri="{FF2B5EF4-FFF2-40B4-BE49-F238E27FC236}">
                    <a16:creationId xmlns:a16="http://schemas.microsoft.com/office/drawing/2014/main" id="{B2C46632-C6EB-183E-D378-FA82CDC1A2F3}"/>
                  </a:ext>
                </a:extLst>
              </p:cNvPr>
              <p:cNvSpPr/>
              <p:nvPr/>
            </p:nvSpPr>
            <p:spPr>
              <a:xfrm>
                <a:off x="1606076" y="3739879"/>
                <a:ext cx="950" cy="1096"/>
              </a:xfrm>
              <a:custGeom>
                <a:avLst/>
                <a:gdLst>
                  <a:gd name="connsiteX0" fmla="*/ 6038 w 9111"/>
                  <a:gd name="connsiteY0" fmla="*/ 4610 h 10510"/>
                  <a:gd name="connsiteX1" fmla="*/ 9111 w 9111"/>
                  <a:gd name="connsiteY1" fmla="*/ 10511 h 10510"/>
                  <a:gd name="connsiteX2" fmla="*/ 0 w 9111"/>
                  <a:gd name="connsiteY2" fmla="*/ 2799 h 10510"/>
                  <a:gd name="connsiteX3" fmla="*/ 412 w 9111"/>
                  <a:gd name="connsiteY3" fmla="*/ 0 h 10510"/>
                  <a:gd name="connsiteX4" fmla="*/ 6011 w 9111"/>
                  <a:gd name="connsiteY4" fmla="*/ 4583 h 10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1" h="10510">
                    <a:moveTo>
                      <a:pt x="6038" y="4610"/>
                    </a:moveTo>
                    <a:lnTo>
                      <a:pt x="9111" y="10511"/>
                    </a:lnTo>
                    <a:lnTo>
                      <a:pt x="0" y="2799"/>
                    </a:lnTo>
                    <a:lnTo>
                      <a:pt x="412" y="0"/>
                    </a:lnTo>
                    <a:lnTo>
                      <a:pt x="6011" y="45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9" name="Freeform: Shape 4588">
                <a:extLst>
                  <a:ext uri="{FF2B5EF4-FFF2-40B4-BE49-F238E27FC236}">
                    <a16:creationId xmlns:a16="http://schemas.microsoft.com/office/drawing/2014/main" id="{344E227B-933F-000F-BD64-6731B0BBC654}"/>
                  </a:ext>
                </a:extLst>
              </p:cNvPr>
              <p:cNvSpPr/>
              <p:nvPr/>
            </p:nvSpPr>
            <p:spPr>
              <a:xfrm>
                <a:off x="1610659" y="3744799"/>
                <a:ext cx="904" cy="1039"/>
              </a:xfrm>
              <a:custGeom>
                <a:avLst/>
                <a:gdLst>
                  <a:gd name="connsiteX0" fmla="*/ 7328 w 8672"/>
                  <a:gd name="connsiteY0" fmla="*/ 6943 h 9961"/>
                  <a:gd name="connsiteX1" fmla="*/ 7794 w 8672"/>
                  <a:gd name="connsiteY1" fmla="*/ 9962 h 9961"/>
                  <a:gd name="connsiteX2" fmla="*/ 0 w 8672"/>
                  <a:gd name="connsiteY2" fmla="*/ 0 h 9961"/>
                  <a:gd name="connsiteX3" fmla="*/ 1181 w 8672"/>
                  <a:gd name="connsiteY3" fmla="*/ 55 h 9961"/>
                  <a:gd name="connsiteX4" fmla="*/ 3623 w 8672"/>
                  <a:gd name="connsiteY4" fmla="*/ 2580 h 9961"/>
                  <a:gd name="connsiteX5" fmla="*/ 6724 w 8672"/>
                  <a:gd name="connsiteY5" fmla="*/ 2580 h 9961"/>
                  <a:gd name="connsiteX6" fmla="*/ 8508 w 8672"/>
                  <a:gd name="connsiteY6" fmla="*/ 4144 h 9961"/>
                  <a:gd name="connsiteX7" fmla="*/ 8672 w 8672"/>
                  <a:gd name="connsiteY7" fmla="*/ 5489 h 9961"/>
                  <a:gd name="connsiteX8" fmla="*/ 7328 w 8672"/>
                  <a:gd name="connsiteY8" fmla="*/ 6971 h 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2" h="9961">
                    <a:moveTo>
                      <a:pt x="7328" y="6943"/>
                    </a:moveTo>
                    <a:lnTo>
                      <a:pt x="7794" y="9962"/>
                    </a:lnTo>
                    <a:lnTo>
                      <a:pt x="0" y="0"/>
                    </a:lnTo>
                    <a:lnTo>
                      <a:pt x="1181" y="55"/>
                    </a:lnTo>
                    <a:lnTo>
                      <a:pt x="3623" y="2580"/>
                    </a:lnTo>
                    <a:lnTo>
                      <a:pt x="6724" y="2580"/>
                    </a:lnTo>
                    <a:lnTo>
                      <a:pt x="8508" y="4144"/>
                    </a:lnTo>
                    <a:lnTo>
                      <a:pt x="8672" y="5489"/>
                    </a:lnTo>
                    <a:lnTo>
                      <a:pt x="7328" y="69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0" name="Freeform: Shape 4589">
                <a:extLst>
                  <a:ext uri="{FF2B5EF4-FFF2-40B4-BE49-F238E27FC236}">
                    <a16:creationId xmlns:a16="http://schemas.microsoft.com/office/drawing/2014/main" id="{282F07DD-39D8-8C14-FE49-381CC6C56A2E}"/>
                  </a:ext>
                </a:extLst>
              </p:cNvPr>
              <p:cNvSpPr/>
              <p:nvPr/>
            </p:nvSpPr>
            <p:spPr>
              <a:xfrm>
                <a:off x="1469958" y="3771441"/>
                <a:ext cx="8581" cy="3798"/>
              </a:xfrm>
              <a:custGeom>
                <a:avLst/>
                <a:gdLst>
                  <a:gd name="connsiteX0" fmla="*/ 82247 w 82273"/>
                  <a:gd name="connsiteY0" fmla="*/ 36307 h 36416"/>
                  <a:gd name="connsiteX1" fmla="*/ 62350 w 82273"/>
                  <a:gd name="connsiteY1" fmla="*/ 36307 h 36416"/>
                  <a:gd name="connsiteX2" fmla="*/ 0 w 82273"/>
                  <a:gd name="connsiteY2" fmla="*/ 36417 h 36416"/>
                  <a:gd name="connsiteX3" fmla="*/ 2963 w 82273"/>
                  <a:gd name="connsiteY3" fmla="*/ 29940 h 36416"/>
                  <a:gd name="connsiteX4" fmla="*/ 17810 w 82273"/>
                  <a:gd name="connsiteY4" fmla="*/ 26483 h 36416"/>
                  <a:gd name="connsiteX5" fmla="*/ 25549 w 82273"/>
                  <a:gd name="connsiteY5" fmla="*/ 9825 h 36416"/>
                  <a:gd name="connsiteX6" fmla="*/ 33563 w 82273"/>
                  <a:gd name="connsiteY6" fmla="*/ 10813 h 36416"/>
                  <a:gd name="connsiteX7" fmla="*/ 45199 w 82273"/>
                  <a:gd name="connsiteY7" fmla="*/ 0 h 36416"/>
                  <a:gd name="connsiteX8" fmla="*/ 46982 w 82273"/>
                  <a:gd name="connsiteY8" fmla="*/ 6449 h 36416"/>
                  <a:gd name="connsiteX9" fmla="*/ 52773 w 82273"/>
                  <a:gd name="connsiteY9" fmla="*/ 13063 h 36416"/>
                  <a:gd name="connsiteX10" fmla="*/ 62378 w 82273"/>
                  <a:gd name="connsiteY10" fmla="*/ 16164 h 36416"/>
                  <a:gd name="connsiteX11" fmla="*/ 70061 w 82273"/>
                  <a:gd name="connsiteY11" fmla="*/ 25412 h 36416"/>
                  <a:gd name="connsiteX12" fmla="*/ 81203 w 82273"/>
                  <a:gd name="connsiteY12" fmla="*/ 33206 h 36416"/>
                  <a:gd name="connsiteX13" fmla="*/ 82274 w 82273"/>
                  <a:gd name="connsiteY13" fmla="*/ 36307 h 3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273" h="36416">
                    <a:moveTo>
                      <a:pt x="82247" y="36307"/>
                    </a:moveTo>
                    <a:lnTo>
                      <a:pt x="62350" y="36307"/>
                    </a:lnTo>
                    <a:cubicBezTo>
                      <a:pt x="62350" y="36307"/>
                      <a:pt x="0" y="36417"/>
                      <a:pt x="0" y="36417"/>
                    </a:cubicBezTo>
                    <a:lnTo>
                      <a:pt x="2963" y="29940"/>
                    </a:lnTo>
                    <a:lnTo>
                      <a:pt x="17810" y="26483"/>
                    </a:lnTo>
                    <a:lnTo>
                      <a:pt x="25549" y="9825"/>
                    </a:lnTo>
                    <a:lnTo>
                      <a:pt x="33563" y="10813"/>
                    </a:lnTo>
                    <a:lnTo>
                      <a:pt x="45199" y="0"/>
                    </a:lnTo>
                    <a:lnTo>
                      <a:pt x="46982" y="6449"/>
                    </a:lnTo>
                    <a:lnTo>
                      <a:pt x="52773" y="13063"/>
                    </a:lnTo>
                    <a:lnTo>
                      <a:pt x="62378" y="16164"/>
                    </a:lnTo>
                    <a:lnTo>
                      <a:pt x="70061" y="25412"/>
                    </a:lnTo>
                    <a:lnTo>
                      <a:pt x="81203" y="33206"/>
                    </a:lnTo>
                    <a:lnTo>
                      <a:pt x="82274" y="363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1" name="Freeform: Shape 4590">
                <a:extLst>
                  <a:ext uri="{FF2B5EF4-FFF2-40B4-BE49-F238E27FC236}">
                    <a16:creationId xmlns:a16="http://schemas.microsoft.com/office/drawing/2014/main" id="{C85C2718-BF1A-1441-669B-41E4B3345232}"/>
                  </a:ext>
                </a:extLst>
              </p:cNvPr>
              <p:cNvSpPr/>
              <p:nvPr/>
            </p:nvSpPr>
            <p:spPr>
              <a:xfrm>
                <a:off x="1470851" y="3829083"/>
                <a:ext cx="3469" cy="1182"/>
              </a:xfrm>
              <a:custGeom>
                <a:avLst/>
                <a:gdLst>
                  <a:gd name="connsiteX0" fmla="*/ 33261 w 33261"/>
                  <a:gd name="connsiteY0" fmla="*/ 11334 h 11333"/>
                  <a:gd name="connsiteX1" fmla="*/ 0 w 33261"/>
                  <a:gd name="connsiteY1" fmla="*/ 11334 h 11333"/>
                  <a:gd name="connsiteX2" fmla="*/ 4254 w 33261"/>
                  <a:gd name="connsiteY2" fmla="*/ 7767 h 11333"/>
                  <a:gd name="connsiteX3" fmla="*/ 27306 w 33261"/>
                  <a:gd name="connsiteY3" fmla="*/ 0 h 11333"/>
                  <a:gd name="connsiteX4" fmla="*/ 28129 w 33261"/>
                  <a:gd name="connsiteY4" fmla="*/ 2552 h 11333"/>
                  <a:gd name="connsiteX5" fmla="*/ 31752 w 33261"/>
                  <a:gd name="connsiteY5" fmla="*/ 3074 h 11333"/>
                  <a:gd name="connsiteX6" fmla="*/ 31066 w 33261"/>
                  <a:gd name="connsiteY6" fmla="*/ 6998 h 11333"/>
                  <a:gd name="connsiteX7" fmla="*/ 33261 w 33261"/>
                  <a:gd name="connsiteY7" fmla="*/ 11334 h 1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61" h="11333">
                    <a:moveTo>
                      <a:pt x="33261" y="11334"/>
                    </a:moveTo>
                    <a:lnTo>
                      <a:pt x="0" y="11334"/>
                    </a:lnTo>
                    <a:lnTo>
                      <a:pt x="4254" y="7767"/>
                    </a:lnTo>
                    <a:lnTo>
                      <a:pt x="27306" y="0"/>
                    </a:lnTo>
                    <a:lnTo>
                      <a:pt x="28129" y="2552"/>
                    </a:lnTo>
                    <a:lnTo>
                      <a:pt x="31752" y="3074"/>
                    </a:lnTo>
                    <a:lnTo>
                      <a:pt x="31066" y="6998"/>
                    </a:lnTo>
                    <a:lnTo>
                      <a:pt x="33261" y="113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2" name="Freeform: Shape 4591">
                <a:extLst>
                  <a:ext uri="{FF2B5EF4-FFF2-40B4-BE49-F238E27FC236}">
                    <a16:creationId xmlns:a16="http://schemas.microsoft.com/office/drawing/2014/main" id="{A399C923-AAC5-E804-97B9-07B4343B90E4}"/>
                  </a:ext>
                </a:extLst>
              </p:cNvPr>
              <p:cNvSpPr/>
              <p:nvPr/>
            </p:nvSpPr>
            <p:spPr>
              <a:xfrm>
                <a:off x="1587989" y="3721969"/>
                <a:ext cx="20612" cy="17701"/>
              </a:xfrm>
              <a:custGeom>
                <a:avLst/>
                <a:gdLst>
                  <a:gd name="connsiteX0" fmla="*/ 157687 w 197616"/>
                  <a:gd name="connsiteY0" fmla="*/ 56450 h 169707"/>
                  <a:gd name="connsiteX1" fmla="*/ 163258 w 197616"/>
                  <a:gd name="connsiteY1" fmla="*/ 56944 h 169707"/>
                  <a:gd name="connsiteX2" fmla="*/ 160377 w 197616"/>
                  <a:gd name="connsiteY2" fmla="*/ 64985 h 169707"/>
                  <a:gd name="connsiteX3" fmla="*/ 165262 w 197616"/>
                  <a:gd name="connsiteY3" fmla="*/ 75166 h 169707"/>
                  <a:gd name="connsiteX4" fmla="*/ 168390 w 197616"/>
                  <a:gd name="connsiteY4" fmla="*/ 87241 h 169707"/>
                  <a:gd name="connsiteX5" fmla="*/ 180054 w 197616"/>
                  <a:gd name="connsiteY5" fmla="*/ 91522 h 169707"/>
                  <a:gd name="connsiteX6" fmla="*/ 188753 w 197616"/>
                  <a:gd name="connsiteY6" fmla="*/ 97560 h 169707"/>
                  <a:gd name="connsiteX7" fmla="*/ 186942 w 197616"/>
                  <a:gd name="connsiteY7" fmla="*/ 103680 h 169707"/>
                  <a:gd name="connsiteX8" fmla="*/ 179423 w 197616"/>
                  <a:gd name="connsiteY8" fmla="*/ 107988 h 169707"/>
                  <a:gd name="connsiteX9" fmla="*/ 181782 w 197616"/>
                  <a:gd name="connsiteY9" fmla="*/ 112104 h 169707"/>
                  <a:gd name="connsiteX10" fmla="*/ 182331 w 197616"/>
                  <a:gd name="connsiteY10" fmla="*/ 118636 h 169707"/>
                  <a:gd name="connsiteX11" fmla="*/ 180822 w 197616"/>
                  <a:gd name="connsiteY11" fmla="*/ 121353 h 169707"/>
                  <a:gd name="connsiteX12" fmla="*/ 182057 w 197616"/>
                  <a:gd name="connsiteY12" fmla="*/ 125936 h 169707"/>
                  <a:gd name="connsiteX13" fmla="*/ 187737 w 197616"/>
                  <a:gd name="connsiteY13" fmla="*/ 131891 h 169707"/>
                  <a:gd name="connsiteX14" fmla="*/ 193583 w 197616"/>
                  <a:gd name="connsiteY14" fmla="*/ 138615 h 169707"/>
                  <a:gd name="connsiteX15" fmla="*/ 197617 w 197616"/>
                  <a:gd name="connsiteY15" fmla="*/ 155163 h 169707"/>
                  <a:gd name="connsiteX16" fmla="*/ 196739 w 197616"/>
                  <a:gd name="connsiteY16" fmla="*/ 161914 h 169707"/>
                  <a:gd name="connsiteX17" fmla="*/ 188122 w 197616"/>
                  <a:gd name="connsiteY17" fmla="*/ 167841 h 169707"/>
                  <a:gd name="connsiteX18" fmla="*/ 183731 w 197616"/>
                  <a:gd name="connsiteY18" fmla="*/ 164438 h 169707"/>
                  <a:gd name="connsiteX19" fmla="*/ 181508 w 197616"/>
                  <a:gd name="connsiteY19" fmla="*/ 156343 h 169707"/>
                  <a:gd name="connsiteX20" fmla="*/ 171628 w 197616"/>
                  <a:gd name="connsiteY20" fmla="*/ 161996 h 169707"/>
                  <a:gd name="connsiteX21" fmla="*/ 170256 w 197616"/>
                  <a:gd name="connsiteY21" fmla="*/ 161365 h 169707"/>
                  <a:gd name="connsiteX22" fmla="*/ 170559 w 197616"/>
                  <a:gd name="connsiteY22" fmla="*/ 155437 h 169707"/>
                  <a:gd name="connsiteX23" fmla="*/ 160158 w 197616"/>
                  <a:gd name="connsiteY23" fmla="*/ 157468 h 169707"/>
                  <a:gd name="connsiteX24" fmla="*/ 152857 w 197616"/>
                  <a:gd name="connsiteY24" fmla="*/ 147314 h 169707"/>
                  <a:gd name="connsiteX25" fmla="*/ 139904 w 197616"/>
                  <a:gd name="connsiteY25" fmla="*/ 150744 h 169707"/>
                  <a:gd name="connsiteX26" fmla="*/ 132989 w 197616"/>
                  <a:gd name="connsiteY26" fmla="*/ 147780 h 169707"/>
                  <a:gd name="connsiteX27" fmla="*/ 124811 w 197616"/>
                  <a:gd name="connsiteY27" fmla="*/ 140673 h 169707"/>
                  <a:gd name="connsiteX28" fmla="*/ 116852 w 197616"/>
                  <a:gd name="connsiteY28" fmla="*/ 139575 h 169707"/>
                  <a:gd name="connsiteX29" fmla="*/ 98109 w 197616"/>
                  <a:gd name="connsiteY29" fmla="*/ 149839 h 169707"/>
                  <a:gd name="connsiteX30" fmla="*/ 98712 w 197616"/>
                  <a:gd name="connsiteY30" fmla="*/ 157330 h 169707"/>
                  <a:gd name="connsiteX31" fmla="*/ 93910 w 197616"/>
                  <a:gd name="connsiteY31" fmla="*/ 164219 h 169707"/>
                  <a:gd name="connsiteX32" fmla="*/ 86555 w 197616"/>
                  <a:gd name="connsiteY32" fmla="*/ 169707 h 169707"/>
                  <a:gd name="connsiteX33" fmla="*/ 81478 w 197616"/>
                  <a:gd name="connsiteY33" fmla="*/ 168774 h 169707"/>
                  <a:gd name="connsiteX34" fmla="*/ 73273 w 197616"/>
                  <a:gd name="connsiteY34" fmla="*/ 163972 h 169707"/>
                  <a:gd name="connsiteX35" fmla="*/ 63064 w 197616"/>
                  <a:gd name="connsiteY35" fmla="*/ 162106 h 169707"/>
                  <a:gd name="connsiteX36" fmla="*/ 61747 w 197616"/>
                  <a:gd name="connsiteY36" fmla="*/ 152281 h 169707"/>
                  <a:gd name="connsiteX37" fmla="*/ 52993 w 197616"/>
                  <a:gd name="connsiteY37" fmla="*/ 152583 h 169707"/>
                  <a:gd name="connsiteX38" fmla="*/ 32053 w 197616"/>
                  <a:gd name="connsiteY38" fmla="*/ 141194 h 169707"/>
                  <a:gd name="connsiteX39" fmla="*/ 29940 w 197616"/>
                  <a:gd name="connsiteY39" fmla="*/ 131562 h 169707"/>
                  <a:gd name="connsiteX40" fmla="*/ 29584 w 197616"/>
                  <a:gd name="connsiteY40" fmla="*/ 113833 h 169707"/>
                  <a:gd name="connsiteX41" fmla="*/ 25275 w 197616"/>
                  <a:gd name="connsiteY41" fmla="*/ 94294 h 169707"/>
                  <a:gd name="connsiteX42" fmla="*/ 35072 w 197616"/>
                  <a:gd name="connsiteY42" fmla="*/ 82356 h 169707"/>
                  <a:gd name="connsiteX43" fmla="*/ 41796 w 197616"/>
                  <a:gd name="connsiteY43" fmla="*/ 78103 h 169707"/>
                  <a:gd name="connsiteX44" fmla="*/ 44650 w 197616"/>
                  <a:gd name="connsiteY44" fmla="*/ 70391 h 169707"/>
                  <a:gd name="connsiteX45" fmla="*/ 34606 w 197616"/>
                  <a:gd name="connsiteY45" fmla="*/ 65150 h 169707"/>
                  <a:gd name="connsiteX46" fmla="*/ 34551 w 197616"/>
                  <a:gd name="connsiteY46" fmla="*/ 55901 h 169707"/>
                  <a:gd name="connsiteX47" fmla="*/ 20720 w 197616"/>
                  <a:gd name="connsiteY47" fmla="*/ 51538 h 169707"/>
                  <a:gd name="connsiteX48" fmla="*/ 14737 w 197616"/>
                  <a:gd name="connsiteY48" fmla="*/ 44074 h 169707"/>
                  <a:gd name="connsiteX49" fmla="*/ 3238 w 197616"/>
                  <a:gd name="connsiteY49" fmla="*/ 44293 h 169707"/>
                  <a:gd name="connsiteX50" fmla="*/ 0 w 197616"/>
                  <a:gd name="connsiteY50" fmla="*/ 42070 h 169707"/>
                  <a:gd name="connsiteX51" fmla="*/ 385 w 197616"/>
                  <a:gd name="connsiteY51" fmla="*/ 30105 h 169707"/>
                  <a:gd name="connsiteX52" fmla="*/ 10374 w 197616"/>
                  <a:gd name="connsiteY52" fmla="*/ 22119 h 169707"/>
                  <a:gd name="connsiteX53" fmla="*/ 16548 w 197616"/>
                  <a:gd name="connsiteY53" fmla="*/ 12734 h 169707"/>
                  <a:gd name="connsiteX54" fmla="*/ 35731 w 197616"/>
                  <a:gd name="connsiteY54" fmla="*/ 11142 h 169707"/>
                  <a:gd name="connsiteX55" fmla="*/ 31614 w 197616"/>
                  <a:gd name="connsiteY55" fmla="*/ 5132 h 169707"/>
                  <a:gd name="connsiteX56" fmla="*/ 37487 w 197616"/>
                  <a:gd name="connsiteY56" fmla="*/ 4583 h 169707"/>
                  <a:gd name="connsiteX57" fmla="*/ 44705 w 197616"/>
                  <a:gd name="connsiteY57" fmla="*/ 7382 h 169707"/>
                  <a:gd name="connsiteX58" fmla="*/ 58810 w 197616"/>
                  <a:gd name="connsiteY58" fmla="*/ 439 h 169707"/>
                  <a:gd name="connsiteX59" fmla="*/ 66494 w 197616"/>
                  <a:gd name="connsiteY59" fmla="*/ 0 h 169707"/>
                  <a:gd name="connsiteX60" fmla="*/ 68965 w 197616"/>
                  <a:gd name="connsiteY60" fmla="*/ 3074 h 169707"/>
                  <a:gd name="connsiteX61" fmla="*/ 75276 w 197616"/>
                  <a:gd name="connsiteY61" fmla="*/ 1153 h 169707"/>
                  <a:gd name="connsiteX62" fmla="*/ 82960 w 197616"/>
                  <a:gd name="connsiteY62" fmla="*/ 3897 h 169707"/>
                  <a:gd name="connsiteX63" fmla="*/ 85211 w 197616"/>
                  <a:gd name="connsiteY63" fmla="*/ 11252 h 169707"/>
                  <a:gd name="connsiteX64" fmla="*/ 91550 w 197616"/>
                  <a:gd name="connsiteY64" fmla="*/ 10593 h 169707"/>
                  <a:gd name="connsiteX65" fmla="*/ 96544 w 197616"/>
                  <a:gd name="connsiteY65" fmla="*/ 13557 h 169707"/>
                  <a:gd name="connsiteX66" fmla="*/ 99755 w 197616"/>
                  <a:gd name="connsiteY66" fmla="*/ 17481 h 169707"/>
                  <a:gd name="connsiteX67" fmla="*/ 101566 w 197616"/>
                  <a:gd name="connsiteY67" fmla="*/ 24040 h 169707"/>
                  <a:gd name="connsiteX68" fmla="*/ 101786 w 197616"/>
                  <a:gd name="connsiteY68" fmla="*/ 30325 h 169707"/>
                  <a:gd name="connsiteX69" fmla="*/ 99728 w 197616"/>
                  <a:gd name="connsiteY69" fmla="*/ 34853 h 169707"/>
                  <a:gd name="connsiteX70" fmla="*/ 104338 w 197616"/>
                  <a:gd name="connsiteY70" fmla="*/ 38475 h 169707"/>
                  <a:gd name="connsiteX71" fmla="*/ 106122 w 197616"/>
                  <a:gd name="connsiteY71" fmla="*/ 43854 h 169707"/>
                  <a:gd name="connsiteX72" fmla="*/ 111775 w 197616"/>
                  <a:gd name="connsiteY72" fmla="*/ 44156 h 169707"/>
                  <a:gd name="connsiteX73" fmla="*/ 117346 w 197616"/>
                  <a:gd name="connsiteY73" fmla="*/ 41631 h 169707"/>
                  <a:gd name="connsiteX74" fmla="*/ 118471 w 197616"/>
                  <a:gd name="connsiteY74" fmla="*/ 45912 h 169707"/>
                  <a:gd name="connsiteX75" fmla="*/ 123301 w 197616"/>
                  <a:gd name="connsiteY75" fmla="*/ 50056 h 169707"/>
                  <a:gd name="connsiteX76" fmla="*/ 135953 w 197616"/>
                  <a:gd name="connsiteY76" fmla="*/ 55215 h 169707"/>
                  <a:gd name="connsiteX77" fmla="*/ 149757 w 197616"/>
                  <a:gd name="connsiteY77" fmla="*/ 57877 h 169707"/>
                  <a:gd name="connsiteX78" fmla="*/ 157687 w 197616"/>
                  <a:gd name="connsiteY78" fmla="*/ 56587 h 16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7616" h="169707">
                    <a:moveTo>
                      <a:pt x="157687" y="56450"/>
                    </a:moveTo>
                    <a:lnTo>
                      <a:pt x="163258" y="56944"/>
                    </a:lnTo>
                    <a:lnTo>
                      <a:pt x="160377" y="64985"/>
                    </a:lnTo>
                    <a:lnTo>
                      <a:pt x="165262" y="75166"/>
                    </a:lnTo>
                    <a:lnTo>
                      <a:pt x="168390" y="87241"/>
                    </a:lnTo>
                    <a:lnTo>
                      <a:pt x="180054" y="91522"/>
                    </a:lnTo>
                    <a:lnTo>
                      <a:pt x="188753" y="97560"/>
                    </a:lnTo>
                    <a:lnTo>
                      <a:pt x="186942" y="103680"/>
                    </a:lnTo>
                    <a:lnTo>
                      <a:pt x="179423" y="107988"/>
                    </a:lnTo>
                    <a:lnTo>
                      <a:pt x="181782" y="112104"/>
                    </a:lnTo>
                    <a:lnTo>
                      <a:pt x="182331" y="118636"/>
                    </a:lnTo>
                    <a:lnTo>
                      <a:pt x="180822" y="121353"/>
                    </a:lnTo>
                    <a:lnTo>
                      <a:pt x="182057" y="125936"/>
                    </a:lnTo>
                    <a:lnTo>
                      <a:pt x="187737" y="131891"/>
                    </a:lnTo>
                    <a:lnTo>
                      <a:pt x="193583" y="138615"/>
                    </a:lnTo>
                    <a:lnTo>
                      <a:pt x="197617" y="155163"/>
                    </a:lnTo>
                    <a:lnTo>
                      <a:pt x="196739" y="161914"/>
                    </a:lnTo>
                    <a:lnTo>
                      <a:pt x="188122" y="167841"/>
                    </a:lnTo>
                    <a:lnTo>
                      <a:pt x="183731" y="164438"/>
                    </a:lnTo>
                    <a:lnTo>
                      <a:pt x="181508" y="156343"/>
                    </a:lnTo>
                    <a:lnTo>
                      <a:pt x="171628" y="161996"/>
                    </a:lnTo>
                    <a:lnTo>
                      <a:pt x="170256" y="161365"/>
                    </a:lnTo>
                    <a:lnTo>
                      <a:pt x="170559" y="155437"/>
                    </a:lnTo>
                    <a:lnTo>
                      <a:pt x="160158" y="157468"/>
                    </a:lnTo>
                    <a:lnTo>
                      <a:pt x="152857" y="147314"/>
                    </a:lnTo>
                    <a:lnTo>
                      <a:pt x="139904" y="150744"/>
                    </a:lnTo>
                    <a:lnTo>
                      <a:pt x="132989" y="147780"/>
                    </a:lnTo>
                    <a:lnTo>
                      <a:pt x="124811" y="140673"/>
                    </a:lnTo>
                    <a:lnTo>
                      <a:pt x="116852" y="139575"/>
                    </a:lnTo>
                    <a:lnTo>
                      <a:pt x="98109" y="149839"/>
                    </a:lnTo>
                    <a:lnTo>
                      <a:pt x="98712" y="157330"/>
                    </a:lnTo>
                    <a:lnTo>
                      <a:pt x="93910" y="164219"/>
                    </a:lnTo>
                    <a:lnTo>
                      <a:pt x="86555" y="169707"/>
                    </a:lnTo>
                    <a:lnTo>
                      <a:pt x="81478" y="168774"/>
                    </a:lnTo>
                    <a:lnTo>
                      <a:pt x="73273" y="163972"/>
                    </a:lnTo>
                    <a:lnTo>
                      <a:pt x="63064" y="162106"/>
                    </a:lnTo>
                    <a:lnTo>
                      <a:pt x="61747" y="152281"/>
                    </a:lnTo>
                    <a:lnTo>
                      <a:pt x="52993" y="152583"/>
                    </a:lnTo>
                    <a:lnTo>
                      <a:pt x="32053" y="141194"/>
                    </a:lnTo>
                    <a:lnTo>
                      <a:pt x="29940" y="131562"/>
                    </a:lnTo>
                    <a:lnTo>
                      <a:pt x="29584" y="113833"/>
                    </a:lnTo>
                    <a:lnTo>
                      <a:pt x="25275" y="94294"/>
                    </a:lnTo>
                    <a:lnTo>
                      <a:pt x="35072" y="82356"/>
                    </a:lnTo>
                    <a:lnTo>
                      <a:pt x="41796" y="78103"/>
                    </a:lnTo>
                    <a:lnTo>
                      <a:pt x="44650" y="70391"/>
                    </a:lnTo>
                    <a:lnTo>
                      <a:pt x="34606" y="65150"/>
                    </a:lnTo>
                    <a:lnTo>
                      <a:pt x="34551" y="55901"/>
                    </a:lnTo>
                    <a:lnTo>
                      <a:pt x="20720" y="51538"/>
                    </a:lnTo>
                    <a:lnTo>
                      <a:pt x="14737" y="44074"/>
                    </a:lnTo>
                    <a:lnTo>
                      <a:pt x="3238" y="44293"/>
                    </a:lnTo>
                    <a:lnTo>
                      <a:pt x="0" y="42070"/>
                    </a:lnTo>
                    <a:lnTo>
                      <a:pt x="385" y="30105"/>
                    </a:lnTo>
                    <a:lnTo>
                      <a:pt x="10374" y="22119"/>
                    </a:lnTo>
                    <a:lnTo>
                      <a:pt x="16548" y="12734"/>
                    </a:lnTo>
                    <a:lnTo>
                      <a:pt x="35731" y="11142"/>
                    </a:lnTo>
                    <a:lnTo>
                      <a:pt x="31614" y="5132"/>
                    </a:lnTo>
                    <a:lnTo>
                      <a:pt x="37487" y="4583"/>
                    </a:lnTo>
                    <a:lnTo>
                      <a:pt x="44705" y="7382"/>
                    </a:lnTo>
                    <a:lnTo>
                      <a:pt x="58810" y="439"/>
                    </a:lnTo>
                    <a:lnTo>
                      <a:pt x="66494" y="0"/>
                    </a:lnTo>
                    <a:lnTo>
                      <a:pt x="68965" y="3074"/>
                    </a:lnTo>
                    <a:lnTo>
                      <a:pt x="75276" y="1153"/>
                    </a:lnTo>
                    <a:lnTo>
                      <a:pt x="82960" y="3897"/>
                    </a:lnTo>
                    <a:lnTo>
                      <a:pt x="85211" y="11252"/>
                    </a:lnTo>
                    <a:lnTo>
                      <a:pt x="91550" y="10593"/>
                    </a:lnTo>
                    <a:lnTo>
                      <a:pt x="96544" y="13557"/>
                    </a:lnTo>
                    <a:lnTo>
                      <a:pt x="99755" y="17481"/>
                    </a:lnTo>
                    <a:lnTo>
                      <a:pt x="101566" y="24040"/>
                    </a:lnTo>
                    <a:lnTo>
                      <a:pt x="101786" y="30325"/>
                    </a:lnTo>
                    <a:lnTo>
                      <a:pt x="99728" y="34853"/>
                    </a:lnTo>
                    <a:lnTo>
                      <a:pt x="104338" y="38475"/>
                    </a:lnTo>
                    <a:lnTo>
                      <a:pt x="106122" y="43854"/>
                    </a:lnTo>
                    <a:lnTo>
                      <a:pt x="111775" y="44156"/>
                    </a:lnTo>
                    <a:lnTo>
                      <a:pt x="117346" y="41631"/>
                    </a:lnTo>
                    <a:lnTo>
                      <a:pt x="118471" y="45912"/>
                    </a:lnTo>
                    <a:lnTo>
                      <a:pt x="123301" y="50056"/>
                    </a:lnTo>
                    <a:lnTo>
                      <a:pt x="135953" y="55215"/>
                    </a:lnTo>
                    <a:lnTo>
                      <a:pt x="149757" y="57877"/>
                    </a:lnTo>
                    <a:lnTo>
                      <a:pt x="157687" y="565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7" name="Freeform: Shape 4596">
                <a:extLst>
                  <a:ext uri="{FF2B5EF4-FFF2-40B4-BE49-F238E27FC236}">
                    <a16:creationId xmlns:a16="http://schemas.microsoft.com/office/drawing/2014/main" id="{5D467F87-7525-BEAD-2C3F-21D9752F58A0}"/>
                  </a:ext>
                </a:extLst>
              </p:cNvPr>
              <p:cNvSpPr/>
              <p:nvPr/>
            </p:nvSpPr>
            <p:spPr>
              <a:xfrm>
                <a:off x="1135040" y="3786872"/>
                <a:ext cx="424" cy="286"/>
              </a:xfrm>
              <a:custGeom>
                <a:avLst/>
                <a:gdLst>
                  <a:gd name="connsiteX0" fmla="*/ 0 w 4061"/>
                  <a:gd name="connsiteY0" fmla="*/ 0 h 2744"/>
                  <a:gd name="connsiteX1" fmla="*/ 3485 w 4061"/>
                  <a:gd name="connsiteY1" fmla="*/ 137 h 2744"/>
                  <a:gd name="connsiteX2" fmla="*/ 4062 w 4061"/>
                  <a:gd name="connsiteY2" fmla="*/ 2744 h 2744"/>
                  <a:gd name="connsiteX3" fmla="*/ 1592 w 4061"/>
                  <a:gd name="connsiteY3" fmla="*/ 2470 h 2744"/>
                  <a:gd name="connsiteX4" fmla="*/ 0 w 4061"/>
                  <a:gd name="connsiteY4" fmla="*/ 0 h 2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2744">
                    <a:moveTo>
                      <a:pt x="0" y="0"/>
                    </a:moveTo>
                    <a:lnTo>
                      <a:pt x="3485" y="137"/>
                    </a:lnTo>
                    <a:lnTo>
                      <a:pt x="4062" y="2744"/>
                    </a:lnTo>
                    <a:lnTo>
                      <a:pt x="1592" y="2470"/>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8" name="Freeform: Shape 4597">
                <a:extLst>
                  <a:ext uri="{FF2B5EF4-FFF2-40B4-BE49-F238E27FC236}">
                    <a16:creationId xmlns:a16="http://schemas.microsoft.com/office/drawing/2014/main" id="{BD42423E-8FEF-F72F-E88D-1EC28388E7D7}"/>
                  </a:ext>
                </a:extLst>
              </p:cNvPr>
              <p:cNvSpPr/>
              <p:nvPr/>
            </p:nvSpPr>
            <p:spPr>
              <a:xfrm>
                <a:off x="1450718" y="3813177"/>
                <a:ext cx="3566" cy="2487"/>
              </a:xfrm>
              <a:custGeom>
                <a:avLst/>
                <a:gdLst>
                  <a:gd name="connsiteX0" fmla="*/ 34195 w 34194"/>
                  <a:gd name="connsiteY0" fmla="*/ 14984 h 23847"/>
                  <a:gd name="connsiteX1" fmla="*/ 27910 w 34194"/>
                  <a:gd name="connsiteY1" fmla="*/ 22915 h 23847"/>
                  <a:gd name="connsiteX2" fmla="*/ 26867 w 34194"/>
                  <a:gd name="connsiteY2" fmla="*/ 23711 h 23847"/>
                  <a:gd name="connsiteX3" fmla="*/ 8260 w 34194"/>
                  <a:gd name="connsiteY3" fmla="*/ 23848 h 23847"/>
                  <a:gd name="connsiteX4" fmla="*/ 6147 w 34194"/>
                  <a:gd name="connsiteY4" fmla="*/ 22915 h 23847"/>
                  <a:gd name="connsiteX5" fmla="*/ 2744 w 34194"/>
                  <a:gd name="connsiteY5" fmla="*/ 15944 h 23847"/>
                  <a:gd name="connsiteX6" fmla="*/ 0 w 34194"/>
                  <a:gd name="connsiteY6" fmla="*/ 10264 h 23847"/>
                  <a:gd name="connsiteX7" fmla="*/ 0 w 34194"/>
                  <a:gd name="connsiteY7" fmla="*/ 0 h 23847"/>
                  <a:gd name="connsiteX8" fmla="*/ 34140 w 34194"/>
                  <a:gd name="connsiteY8" fmla="*/ 768 h 23847"/>
                  <a:gd name="connsiteX9" fmla="*/ 34140 w 34194"/>
                  <a:gd name="connsiteY9" fmla="*/ 12239 h 23847"/>
                  <a:gd name="connsiteX10" fmla="*/ 34195 w 34194"/>
                  <a:gd name="connsiteY10" fmla="*/ 15011 h 2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94" h="23847">
                    <a:moveTo>
                      <a:pt x="34195" y="14984"/>
                    </a:moveTo>
                    <a:lnTo>
                      <a:pt x="27910" y="22915"/>
                    </a:lnTo>
                    <a:lnTo>
                      <a:pt x="26867" y="23711"/>
                    </a:lnTo>
                    <a:lnTo>
                      <a:pt x="8260" y="23848"/>
                    </a:lnTo>
                    <a:lnTo>
                      <a:pt x="6147" y="22915"/>
                    </a:lnTo>
                    <a:lnTo>
                      <a:pt x="2744" y="15944"/>
                    </a:lnTo>
                    <a:lnTo>
                      <a:pt x="0" y="10264"/>
                    </a:lnTo>
                    <a:lnTo>
                      <a:pt x="0" y="0"/>
                    </a:lnTo>
                    <a:cubicBezTo>
                      <a:pt x="0" y="0"/>
                      <a:pt x="34140" y="768"/>
                      <a:pt x="34140" y="768"/>
                    </a:cubicBezTo>
                    <a:lnTo>
                      <a:pt x="34140" y="12239"/>
                    </a:lnTo>
                    <a:cubicBezTo>
                      <a:pt x="34140" y="12239"/>
                      <a:pt x="34195" y="15011"/>
                      <a:pt x="34195" y="15011"/>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9" name="Freeform: Shape 4598">
                <a:extLst>
                  <a:ext uri="{FF2B5EF4-FFF2-40B4-BE49-F238E27FC236}">
                    <a16:creationId xmlns:a16="http://schemas.microsoft.com/office/drawing/2014/main" id="{6F80E3EA-63CD-F9D8-6F8F-906A24FEEA04}"/>
                  </a:ext>
                </a:extLst>
              </p:cNvPr>
              <p:cNvSpPr/>
              <p:nvPr/>
            </p:nvSpPr>
            <p:spPr>
              <a:xfrm>
                <a:off x="1467182" y="3775243"/>
                <a:ext cx="2774" cy="896"/>
              </a:xfrm>
              <a:custGeom>
                <a:avLst/>
                <a:gdLst>
                  <a:gd name="connsiteX0" fmla="*/ 27 w 26592"/>
                  <a:gd name="connsiteY0" fmla="*/ 0 h 8589"/>
                  <a:gd name="connsiteX1" fmla="*/ 14627 w 26592"/>
                  <a:gd name="connsiteY1" fmla="*/ 0 h 8589"/>
                  <a:gd name="connsiteX2" fmla="*/ 16713 w 26592"/>
                  <a:gd name="connsiteY2" fmla="*/ 0 h 8589"/>
                  <a:gd name="connsiteX3" fmla="*/ 26593 w 26592"/>
                  <a:gd name="connsiteY3" fmla="*/ 0 h 8589"/>
                  <a:gd name="connsiteX4" fmla="*/ 23766 w 26592"/>
                  <a:gd name="connsiteY4" fmla="*/ 6998 h 8589"/>
                  <a:gd name="connsiteX5" fmla="*/ 12432 w 26592"/>
                  <a:gd name="connsiteY5" fmla="*/ 8590 h 8589"/>
                  <a:gd name="connsiteX6" fmla="*/ 0 w 26592"/>
                  <a:gd name="connsiteY6" fmla="*/ 27 h 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2" h="8589">
                    <a:moveTo>
                      <a:pt x="27" y="0"/>
                    </a:moveTo>
                    <a:lnTo>
                      <a:pt x="14627" y="0"/>
                    </a:lnTo>
                    <a:cubicBezTo>
                      <a:pt x="14627" y="0"/>
                      <a:pt x="16713" y="0"/>
                      <a:pt x="16713" y="0"/>
                    </a:cubicBezTo>
                    <a:lnTo>
                      <a:pt x="26593" y="0"/>
                    </a:lnTo>
                    <a:lnTo>
                      <a:pt x="23766" y="6998"/>
                    </a:lnTo>
                    <a:lnTo>
                      <a:pt x="12432" y="8590"/>
                    </a:lnTo>
                    <a:lnTo>
                      <a:pt x="0"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0" name="Freeform: Shape 4599">
                <a:extLst>
                  <a:ext uri="{FF2B5EF4-FFF2-40B4-BE49-F238E27FC236}">
                    <a16:creationId xmlns:a16="http://schemas.microsoft.com/office/drawing/2014/main" id="{8B154E29-A654-67F9-9D17-83E09028B52C}"/>
                  </a:ext>
                </a:extLst>
              </p:cNvPr>
              <p:cNvSpPr/>
              <p:nvPr/>
            </p:nvSpPr>
            <p:spPr>
              <a:xfrm>
                <a:off x="1496292" y="3785072"/>
                <a:ext cx="32012" cy="20386"/>
              </a:xfrm>
              <a:custGeom>
                <a:avLst/>
                <a:gdLst>
                  <a:gd name="connsiteX0" fmla="*/ 274375 w 306921"/>
                  <a:gd name="connsiteY0" fmla="*/ 0 h 195449"/>
                  <a:gd name="connsiteX1" fmla="*/ 306922 w 306921"/>
                  <a:gd name="connsiteY1" fmla="*/ 72477 h 195449"/>
                  <a:gd name="connsiteX2" fmla="*/ 289056 w 306921"/>
                  <a:gd name="connsiteY2" fmla="*/ 79201 h 195449"/>
                  <a:gd name="connsiteX3" fmla="*/ 283403 w 306921"/>
                  <a:gd name="connsiteY3" fmla="*/ 84058 h 195449"/>
                  <a:gd name="connsiteX4" fmla="*/ 279260 w 306921"/>
                  <a:gd name="connsiteY4" fmla="*/ 93224 h 195449"/>
                  <a:gd name="connsiteX5" fmla="*/ 280302 w 306921"/>
                  <a:gd name="connsiteY5" fmla="*/ 102829 h 195449"/>
                  <a:gd name="connsiteX6" fmla="*/ 277119 w 306921"/>
                  <a:gd name="connsiteY6" fmla="*/ 105738 h 195449"/>
                  <a:gd name="connsiteX7" fmla="*/ 252585 w 306921"/>
                  <a:gd name="connsiteY7" fmla="*/ 116852 h 195449"/>
                  <a:gd name="connsiteX8" fmla="*/ 202721 w 306921"/>
                  <a:gd name="connsiteY8" fmla="*/ 131562 h 195449"/>
                  <a:gd name="connsiteX9" fmla="*/ 188835 w 306921"/>
                  <a:gd name="connsiteY9" fmla="*/ 138615 h 195449"/>
                  <a:gd name="connsiteX10" fmla="*/ 184636 w 306921"/>
                  <a:gd name="connsiteY10" fmla="*/ 144735 h 195449"/>
                  <a:gd name="connsiteX11" fmla="*/ 176375 w 306921"/>
                  <a:gd name="connsiteY11" fmla="*/ 151870 h 195449"/>
                  <a:gd name="connsiteX12" fmla="*/ 163889 w 306921"/>
                  <a:gd name="connsiteY12" fmla="*/ 153900 h 195449"/>
                  <a:gd name="connsiteX13" fmla="*/ 155711 w 306921"/>
                  <a:gd name="connsiteY13" fmla="*/ 152665 h 195449"/>
                  <a:gd name="connsiteX14" fmla="*/ 138971 w 306921"/>
                  <a:gd name="connsiteY14" fmla="*/ 163670 h 195449"/>
                  <a:gd name="connsiteX15" fmla="*/ 119926 w 306921"/>
                  <a:gd name="connsiteY15" fmla="*/ 170119 h 195449"/>
                  <a:gd name="connsiteX16" fmla="*/ 99261 w 306921"/>
                  <a:gd name="connsiteY16" fmla="*/ 171217 h 195449"/>
                  <a:gd name="connsiteX17" fmla="*/ 87790 w 306921"/>
                  <a:gd name="connsiteY17" fmla="*/ 173934 h 195449"/>
                  <a:gd name="connsiteX18" fmla="*/ 79721 w 306921"/>
                  <a:gd name="connsiteY18" fmla="*/ 181783 h 195449"/>
                  <a:gd name="connsiteX19" fmla="*/ 72970 w 306921"/>
                  <a:gd name="connsiteY19" fmla="*/ 184417 h 195449"/>
                  <a:gd name="connsiteX20" fmla="*/ 69403 w 306921"/>
                  <a:gd name="connsiteY20" fmla="*/ 190729 h 195449"/>
                  <a:gd name="connsiteX21" fmla="*/ 66796 w 306921"/>
                  <a:gd name="connsiteY21" fmla="*/ 189494 h 195449"/>
                  <a:gd name="connsiteX22" fmla="*/ 64024 w 306921"/>
                  <a:gd name="connsiteY22" fmla="*/ 191689 h 195449"/>
                  <a:gd name="connsiteX23" fmla="*/ 56862 w 306921"/>
                  <a:gd name="connsiteY23" fmla="*/ 189713 h 195449"/>
                  <a:gd name="connsiteX24" fmla="*/ 49726 w 306921"/>
                  <a:gd name="connsiteY24" fmla="*/ 193995 h 195449"/>
                  <a:gd name="connsiteX25" fmla="*/ 41686 w 306921"/>
                  <a:gd name="connsiteY25" fmla="*/ 195229 h 195449"/>
                  <a:gd name="connsiteX26" fmla="*/ 40369 w 306921"/>
                  <a:gd name="connsiteY26" fmla="*/ 195449 h 195449"/>
                  <a:gd name="connsiteX27" fmla="*/ 25330 w 306921"/>
                  <a:gd name="connsiteY27" fmla="*/ 192376 h 195449"/>
                  <a:gd name="connsiteX28" fmla="*/ 23903 w 306921"/>
                  <a:gd name="connsiteY28" fmla="*/ 190811 h 195449"/>
                  <a:gd name="connsiteX29" fmla="*/ 17316 w 306921"/>
                  <a:gd name="connsiteY29" fmla="*/ 176486 h 195449"/>
                  <a:gd name="connsiteX30" fmla="*/ 17728 w 306921"/>
                  <a:gd name="connsiteY30" fmla="*/ 162847 h 195449"/>
                  <a:gd name="connsiteX31" fmla="*/ 12843 w 306921"/>
                  <a:gd name="connsiteY31" fmla="*/ 150854 h 195449"/>
                  <a:gd name="connsiteX32" fmla="*/ 5790 w 306921"/>
                  <a:gd name="connsiteY32" fmla="*/ 121188 h 195449"/>
                  <a:gd name="connsiteX33" fmla="*/ 0 w 306921"/>
                  <a:gd name="connsiteY33" fmla="*/ 116468 h 195449"/>
                  <a:gd name="connsiteX34" fmla="*/ 3293 w 306921"/>
                  <a:gd name="connsiteY34" fmla="*/ 113312 h 195449"/>
                  <a:gd name="connsiteX35" fmla="*/ 1152 w 306921"/>
                  <a:gd name="connsiteY35" fmla="*/ 102445 h 195449"/>
                  <a:gd name="connsiteX36" fmla="*/ 4473 w 306921"/>
                  <a:gd name="connsiteY36" fmla="*/ 91440 h 195449"/>
                  <a:gd name="connsiteX37" fmla="*/ 2772 w 306921"/>
                  <a:gd name="connsiteY37" fmla="*/ 80189 h 195449"/>
                  <a:gd name="connsiteX38" fmla="*/ 7656 w 306921"/>
                  <a:gd name="connsiteY38" fmla="*/ 80189 h 195449"/>
                  <a:gd name="connsiteX39" fmla="*/ 8864 w 306921"/>
                  <a:gd name="connsiteY39" fmla="*/ 77526 h 195449"/>
                  <a:gd name="connsiteX40" fmla="*/ 12788 w 306921"/>
                  <a:gd name="connsiteY40" fmla="*/ 76072 h 195449"/>
                  <a:gd name="connsiteX41" fmla="*/ 14325 w 306921"/>
                  <a:gd name="connsiteY41" fmla="*/ 72587 h 195449"/>
                  <a:gd name="connsiteX42" fmla="*/ 16301 w 306921"/>
                  <a:gd name="connsiteY42" fmla="*/ 72065 h 195449"/>
                  <a:gd name="connsiteX43" fmla="*/ 16905 w 306921"/>
                  <a:gd name="connsiteY43" fmla="*/ 68196 h 195449"/>
                  <a:gd name="connsiteX44" fmla="*/ 14654 w 306921"/>
                  <a:gd name="connsiteY44" fmla="*/ 65122 h 195449"/>
                  <a:gd name="connsiteX45" fmla="*/ 16438 w 306921"/>
                  <a:gd name="connsiteY45" fmla="*/ 60539 h 195449"/>
                  <a:gd name="connsiteX46" fmla="*/ 14435 w 306921"/>
                  <a:gd name="connsiteY46" fmla="*/ 57246 h 195449"/>
                  <a:gd name="connsiteX47" fmla="*/ 18771 w 306921"/>
                  <a:gd name="connsiteY47" fmla="*/ 52636 h 195449"/>
                  <a:gd name="connsiteX48" fmla="*/ 17508 w 306921"/>
                  <a:gd name="connsiteY48" fmla="*/ 50797 h 195449"/>
                  <a:gd name="connsiteX49" fmla="*/ 17371 w 306921"/>
                  <a:gd name="connsiteY49" fmla="*/ 47010 h 195449"/>
                  <a:gd name="connsiteX50" fmla="*/ 21542 w 306921"/>
                  <a:gd name="connsiteY50" fmla="*/ 44979 h 195449"/>
                  <a:gd name="connsiteX51" fmla="*/ 33288 w 306921"/>
                  <a:gd name="connsiteY51" fmla="*/ 50797 h 195449"/>
                  <a:gd name="connsiteX52" fmla="*/ 34358 w 306921"/>
                  <a:gd name="connsiteY52" fmla="*/ 51428 h 195449"/>
                  <a:gd name="connsiteX53" fmla="*/ 37843 w 306921"/>
                  <a:gd name="connsiteY53" fmla="*/ 51648 h 195449"/>
                  <a:gd name="connsiteX54" fmla="*/ 38667 w 306921"/>
                  <a:gd name="connsiteY54" fmla="*/ 50797 h 195449"/>
                  <a:gd name="connsiteX55" fmla="*/ 41658 w 306921"/>
                  <a:gd name="connsiteY55" fmla="*/ 50276 h 195449"/>
                  <a:gd name="connsiteX56" fmla="*/ 50687 w 306921"/>
                  <a:gd name="connsiteY56" fmla="*/ 48739 h 195449"/>
                  <a:gd name="connsiteX57" fmla="*/ 56862 w 306921"/>
                  <a:gd name="connsiteY57" fmla="*/ 48684 h 195449"/>
                  <a:gd name="connsiteX58" fmla="*/ 70885 w 306921"/>
                  <a:gd name="connsiteY58" fmla="*/ 48574 h 195449"/>
                  <a:gd name="connsiteX59" fmla="*/ 78816 w 306921"/>
                  <a:gd name="connsiteY59" fmla="*/ 50770 h 195449"/>
                  <a:gd name="connsiteX60" fmla="*/ 87845 w 306921"/>
                  <a:gd name="connsiteY60" fmla="*/ 52115 h 195449"/>
                  <a:gd name="connsiteX61" fmla="*/ 103158 w 306921"/>
                  <a:gd name="connsiteY61" fmla="*/ 54337 h 195449"/>
                  <a:gd name="connsiteX62" fmla="*/ 119514 w 306921"/>
                  <a:gd name="connsiteY62" fmla="*/ 53487 h 195449"/>
                  <a:gd name="connsiteX63" fmla="*/ 127308 w 306921"/>
                  <a:gd name="connsiteY63" fmla="*/ 62899 h 195449"/>
                  <a:gd name="connsiteX64" fmla="*/ 133071 w 306921"/>
                  <a:gd name="connsiteY64" fmla="*/ 63284 h 195449"/>
                  <a:gd name="connsiteX65" fmla="*/ 141029 w 306921"/>
                  <a:gd name="connsiteY65" fmla="*/ 58014 h 195449"/>
                  <a:gd name="connsiteX66" fmla="*/ 145667 w 306921"/>
                  <a:gd name="connsiteY66" fmla="*/ 47367 h 195449"/>
                  <a:gd name="connsiteX67" fmla="*/ 151293 w 306921"/>
                  <a:gd name="connsiteY67" fmla="*/ 40149 h 195449"/>
                  <a:gd name="connsiteX68" fmla="*/ 162160 w 306921"/>
                  <a:gd name="connsiteY68" fmla="*/ 26236 h 195449"/>
                  <a:gd name="connsiteX69" fmla="*/ 188643 w 306921"/>
                  <a:gd name="connsiteY69" fmla="*/ 12514 h 195449"/>
                  <a:gd name="connsiteX70" fmla="*/ 238644 w 306921"/>
                  <a:gd name="connsiteY70" fmla="*/ 6586 h 195449"/>
                  <a:gd name="connsiteX71" fmla="*/ 274457 w 306921"/>
                  <a:gd name="connsiteY71" fmla="*/ 27 h 19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06921" h="195449">
                    <a:moveTo>
                      <a:pt x="274375" y="0"/>
                    </a:moveTo>
                    <a:lnTo>
                      <a:pt x="306922" y="72477"/>
                    </a:lnTo>
                    <a:lnTo>
                      <a:pt x="289056" y="79201"/>
                    </a:lnTo>
                    <a:lnTo>
                      <a:pt x="283403" y="84058"/>
                    </a:lnTo>
                    <a:lnTo>
                      <a:pt x="279260" y="93224"/>
                    </a:lnTo>
                    <a:lnTo>
                      <a:pt x="280302" y="102829"/>
                    </a:lnTo>
                    <a:lnTo>
                      <a:pt x="277119" y="105738"/>
                    </a:lnTo>
                    <a:lnTo>
                      <a:pt x="252585" y="116852"/>
                    </a:lnTo>
                    <a:lnTo>
                      <a:pt x="202721" y="131562"/>
                    </a:lnTo>
                    <a:lnTo>
                      <a:pt x="188835" y="138615"/>
                    </a:lnTo>
                    <a:lnTo>
                      <a:pt x="184636" y="144735"/>
                    </a:lnTo>
                    <a:lnTo>
                      <a:pt x="176375" y="151870"/>
                    </a:lnTo>
                    <a:lnTo>
                      <a:pt x="163889" y="153900"/>
                    </a:lnTo>
                    <a:lnTo>
                      <a:pt x="155711" y="152665"/>
                    </a:lnTo>
                    <a:lnTo>
                      <a:pt x="138971" y="163670"/>
                    </a:lnTo>
                    <a:lnTo>
                      <a:pt x="119926" y="170119"/>
                    </a:lnTo>
                    <a:lnTo>
                      <a:pt x="99261" y="171217"/>
                    </a:lnTo>
                    <a:lnTo>
                      <a:pt x="87790" y="173934"/>
                    </a:lnTo>
                    <a:lnTo>
                      <a:pt x="79721" y="181783"/>
                    </a:lnTo>
                    <a:lnTo>
                      <a:pt x="72970" y="184417"/>
                    </a:lnTo>
                    <a:lnTo>
                      <a:pt x="69403" y="190729"/>
                    </a:lnTo>
                    <a:lnTo>
                      <a:pt x="66796" y="189494"/>
                    </a:lnTo>
                    <a:lnTo>
                      <a:pt x="64024" y="191689"/>
                    </a:lnTo>
                    <a:lnTo>
                      <a:pt x="56862" y="189713"/>
                    </a:lnTo>
                    <a:lnTo>
                      <a:pt x="49726" y="193995"/>
                    </a:lnTo>
                    <a:lnTo>
                      <a:pt x="41686" y="195229"/>
                    </a:lnTo>
                    <a:lnTo>
                      <a:pt x="40369" y="195449"/>
                    </a:lnTo>
                    <a:lnTo>
                      <a:pt x="25330" y="192376"/>
                    </a:lnTo>
                    <a:lnTo>
                      <a:pt x="23903" y="190811"/>
                    </a:lnTo>
                    <a:lnTo>
                      <a:pt x="17316" y="176486"/>
                    </a:lnTo>
                    <a:lnTo>
                      <a:pt x="17728" y="162847"/>
                    </a:lnTo>
                    <a:lnTo>
                      <a:pt x="12843" y="150854"/>
                    </a:lnTo>
                    <a:lnTo>
                      <a:pt x="5790" y="121188"/>
                    </a:lnTo>
                    <a:lnTo>
                      <a:pt x="0" y="116468"/>
                    </a:lnTo>
                    <a:lnTo>
                      <a:pt x="3293" y="113312"/>
                    </a:lnTo>
                    <a:lnTo>
                      <a:pt x="1152" y="102445"/>
                    </a:lnTo>
                    <a:lnTo>
                      <a:pt x="4473" y="91440"/>
                    </a:lnTo>
                    <a:lnTo>
                      <a:pt x="2772" y="80189"/>
                    </a:lnTo>
                    <a:lnTo>
                      <a:pt x="7656" y="80189"/>
                    </a:lnTo>
                    <a:cubicBezTo>
                      <a:pt x="7656" y="80189"/>
                      <a:pt x="8864" y="77526"/>
                      <a:pt x="8864" y="77526"/>
                    </a:cubicBezTo>
                    <a:lnTo>
                      <a:pt x="12788" y="76072"/>
                    </a:lnTo>
                    <a:lnTo>
                      <a:pt x="14325" y="72587"/>
                    </a:lnTo>
                    <a:lnTo>
                      <a:pt x="16301" y="72065"/>
                    </a:lnTo>
                    <a:lnTo>
                      <a:pt x="16905" y="68196"/>
                    </a:lnTo>
                    <a:lnTo>
                      <a:pt x="14654" y="65122"/>
                    </a:lnTo>
                    <a:lnTo>
                      <a:pt x="16438" y="60539"/>
                    </a:lnTo>
                    <a:lnTo>
                      <a:pt x="14435" y="57246"/>
                    </a:lnTo>
                    <a:lnTo>
                      <a:pt x="18771" y="52636"/>
                    </a:lnTo>
                    <a:lnTo>
                      <a:pt x="17508" y="50797"/>
                    </a:lnTo>
                    <a:lnTo>
                      <a:pt x="17371" y="47010"/>
                    </a:lnTo>
                    <a:lnTo>
                      <a:pt x="21542" y="44979"/>
                    </a:lnTo>
                    <a:lnTo>
                      <a:pt x="33288" y="50797"/>
                    </a:lnTo>
                    <a:lnTo>
                      <a:pt x="34358" y="51428"/>
                    </a:lnTo>
                    <a:lnTo>
                      <a:pt x="37843" y="51648"/>
                    </a:lnTo>
                    <a:lnTo>
                      <a:pt x="38667" y="50797"/>
                    </a:lnTo>
                    <a:lnTo>
                      <a:pt x="41658" y="50276"/>
                    </a:lnTo>
                    <a:lnTo>
                      <a:pt x="50687" y="48739"/>
                    </a:lnTo>
                    <a:lnTo>
                      <a:pt x="56862" y="48684"/>
                    </a:lnTo>
                    <a:lnTo>
                      <a:pt x="70885" y="48574"/>
                    </a:lnTo>
                    <a:lnTo>
                      <a:pt x="78816" y="50770"/>
                    </a:lnTo>
                    <a:lnTo>
                      <a:pt x="87845" y="52115"/>
                    </a:lnTo>
                    <a:lnTo>
                      <a:pt x="103158" y="54337"/>
                    </a:lnTo>
                    <a:lnTo>
                      <a:pt x="119514" y="53487"/>
                    </a:lnTo>
                    <a:lnTo>
                      <a:pt x="127308" y="62899"/>
                    </a:lnTo>
                    <a:lnTo>
                      <a:pt x="133071" y="63284"/>
                    </a:lnTo>
                    <a:lnTo>
                      <a:pt x="141029" y="58014"/>
                    </a:lnTo>
                    <a:lnTo>
                      <a:pt x="145667" y="47367"/>
                    </a:lnTo>
                    <a:lnTo>
                      <a:pt x="151293" y="40149"/>
                    </a:lnTo>
                    <a:lnTo>
                      <a:pt x="162160" y="26236"/>
                    </a:lnTo>
                    <a:lnTo>
                      <a:pt x="188643" y="12514"/>
                    </a:lnTo>
                    <a:lnTo>
                      <a:pt x="238644" y="6586"/>
                    </a:lnTo>
                    <a:lnTo>
                      <a:pt x="274457"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1" name="Freeform: Shape 4600">
                <a:extLst>
                  <a:ext uri="{FF2B5EF4-FFF2-40B4-BE49-F238E27FC236}">
                    <a16:creationId xmlns:a16="http://schemas.microsoft.com/office/drawing/2014/main" id="{F7AC1009-E96C-72FA-0A72-508B48CB4589}"/>
                  </a:ext>
                </a:extLst>
              </p:cNvPr>
              <p:cNvSpPr/>
              <p:nvPr/>
            </p:nvSpPr>
            <p:spPr>
              <a:xfrm>
                <a:off x="1495857" y="3796518"/>
                <a:ext cx="335" cy="558"/>
              </a:xfrm>
              <a:custGeom>
                <a:avLst/>
                <a:gdLst>
                  <a:gd name="connsiteX0" fmla="*/ 3211 w 3210"/>
                  <a:gd name="connsiteY0" fmla="*/ 1015 h 5351"/>
                  <a:gd name="connsiteX1" fmla="*/ 1674 w 3210"/>
                  <a:gd name="connsiteY1" fmla="*/ 5351 h 5351"/>
                  <a:gd name="connsiteX2" fmla="*/ 0 w 3210"/>
                  <a:gd name="connsiteY2" fmla="*/ 3979 h 5351"/>
                  <a:gd name="connsiteX3" fmla="*/ 1784 w 3210"/>
                  <a:gd name="connsiteY3" fmla="*/ 0 h 5351"/>
                  <a:gd name="connsiteX4" fmla="*/ 3211 w 3210"/>
                  <a:gd name="connsiteY4" fmla="*/ 988 h 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 h="5351">
                    <a:moveTo>
                      <a:pt x="3211" y="1015"/>
                    </a:moveTo>
                    <a:lnTo>
                      <a:pt x="1674" y="5351"/>
                    </a:lnTo>
                    <a:lnTo>
                      <a:pt x="0" y="3979"/>
                    </a:lnTo>
                    <a:lnTo>
                      <a:pt x="1784" y="0"/>
                    </a:lnTo>
                    <a:lnTo>
                      <a:pt x="3211"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2" name="Freeform: Shape 4601">
                <a:extLst>
                  <a:ext uri="{FF2B5EF4-FFF2-40B4-BE49-F238E27FC236}">
                    <a16:creationId xmlns:a16="http://schemas.microsoft.com/office/drawing/2014/main" id="{8BB73B79-8758-E0C5-1549-C636228ED71F}"/>
                  </a:ext>
                </a:extLst>
              </p:cNvPr>
              <p:cNvSpPr/>
              <p:nvPr/>
            </p:nvSpPr>
            <p:spPr>
              <a:xfrm>
                <a:off x="1496318" y="3801702"/>
                <a:ext cx="341" cy="446"/>
              </a:xfrm>
              <a:custGeom>
                <a:avLst/>
                <a:gdLst>
                  <a:gd name="connsiteX0" fmla="*/ 3156 w 3265"/>
                  <a:gd name="connsiteY0" fmla="*/ 1866 h 4280"/>
                  <a:gd name="connsiteX1" fmla="*/ 1235 w 3265"/>
                  <a:gd name="connsiteY1" fmla="*/ 4281 h 4280"/>
                  <a:gd name="connsiteX2" fmla="*/ 0 w 3265"/>
                  <a:gd name="connsiteY2" fmla="*/ 3622 h 4280"/>
                  <a:gd name="connsiteX3" fmla="*/ 330 w 3265"/>
                  <a:gd name="connsiteY3" fmla="*/ 1866 h 4280"/>
                  <a:gd name="connsiteX4" fmla="*/ 3266 w 3265"/>
                  <a:gd name="connsiteY4" fmla="*/ 0 h 4280"/>
                  <a:gd name="connsiteX5" fmla="*/ 3184 w 3265"/>
                  <a:gd name="connsiteY5" fmla="*/ 1838 h 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5" h="4280">
                    <a:moveTo>
                      <a:pt x="3156" y="1866"/>
                    </a:moveTo>
                    <a:lnTo>
                      <a:pt x="1235" y="4281"/>
                    </a:lnTo>
                    <a:lnTo>
                      <a:pt x="0" y="3622"/>
                    </a:lnTo>
                    <a:lnTo>
                      <a:pt x="330" y="1866"/>
                    </a:lnTo>
                    <a:lnTo>
                      <a:pt x="3266" y="0"/>
                    </a:lnTo>
                    <a:lnTo>
                      <a:pt x="3184"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3" name="Freeform: Shape 4602">
                <a:extLst>
                  <a:ext uri="{FF2B5EF4-FFF2-40B4-BE49-F238E27FC236}">
                    <a16:creationId xmlns:a16="http://schemas.microsoft.com/office/drawing/2014/main" id="{D4C18169-DC40-786D-84D6-98D8DC45B84D}"/>
                  </a:ext>
                </a:extLst>
              </p:cNvPr>
              <p:cNvSpPr/>
              <p:nvPr/>
            </p:nvSpPr>
            <p:spPr>
              <a:xfrm>
                <a:off x="1496309" y="3800863"/>
                <a:ext cx="318" cy="435"/>
              </a:xfrm>
              <a:custGeom>
                <a:avLst/>
                <a:gdLst>
                  <a:gd name="connsiteX0" fmla="*/ 3046 w 3046"/>
                  <a:gd name="connsiteY0" fmla="*/ 604 h 4171"/>
                  <a:gd name="connsiteX1" fmla="*/ 2882 w 3046"/>
                  <a:gd name="connsiteY1" fmla="*/ 4171 h 4171"/>
                  <a:gd name="connsiteX2" fmla="*/ 906 w 3046"/>
                  <a:gd name="connsiteY2" fmla="*/ 3924 h 4171"/>
                  <a:gd name="connsiteX3" fmla="*/ 0 w 3046"/>
                  <a:gd name="connsiteY3" fmla="*/ 1811 h 4171"/>
                  <a:gd name="connsiteX4" fmla="*/ 2278 w 3046"/>
                  <a:gd name="connsiteY4" fmla="*/ 0 h 4171"/>
                  <a:gd name="connsiteX5" fmla="*/ 3046 w 3046"/>
                  <a:gd name="connsiteY5" fmla="*/ 604 h 4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6" h="4171">
                    <a:moveTo>
                      <a:pt x="3046" y="604"/>
                    </a:moveTo>
                    <a:lnTo>
                      <a:pt x="2882" y="4171"/>
                    </a:lnTo>
                    <a:lnTo>
                      <a:pt x="906" y="3924"/>
                    </a:lnTo>
                    <a:lnTo>
                      <a:pt x="0" y="1811"/>
                    </a:lnTo>
                    <a:lnTo>
                      <a:pt x="2278" y="0"/>
                    </a:lnTo>
                    <a:lnTo>
                      <a:pt x="3046" y="6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4" name="Freeform: Shape 4603">
                <a:extLst>
                  <a:ext uri="{FF2B5EF4-FFF2-40B4-BE49-F238E27FC236}">
                    <a16:creationId xmlns:a16="http://schemas.microsoft.com/office/drawing/2014/main" id="{5F2EB173-2247-4F4B-6A4A-A1DA9CE0A423}"/>
                  </a:ext>
                </a:extLst>
              </p:cNvPr>
              <p:cNvSpPr/>
              <p:nvPr/>
            </p:nvSpPr>
            <p:spPr>
              <a:xfrm>
                <a:off x="1415883" y="3914106"/>
                <a:ext cx="50414" cy="44420"/>
              </a:xfrm>
              <a:custGeom>
                <a:avLst/>
                <a:gdLst>
                  <a:gd name="connsiteX0" fmla="*/ 389580 w 483353"/>
                  <a:gd name="connsiteY0" fmla="*/ 55 h 425887"/>
                  <a:gd name="connsiteX1" fmla="*/ 407172 w 483353"/>
                  <a:gd name="connsiteY1" fmla="*/ 6586 h 425887"/>
                  <a:gd name="connsiteX2" fmla="*/ 424214 w 483353"/>
                  <a:gd name="connsiteY2" fmla="*/ 5242 h 425887"/>
                  <a:gd name="connsiteX3" fmla="*/ 433407 w 483353"/>
                  <a:gd name="connsiteY3" fmla="*/ 6669 h 425887"/>
                  <a:gd name="connsiteX4" fmla="*/ 436838 w 483353"/>
                  <a:gd name="connsiteY4" fmla="*/ 9056 h 425887"/>
                  <a:gd name="connsiteX5" fmla="*/ 443835 w 483353"/>
                  <a:gd name="connsiteY5" fmla="*/ 32657 h 425887"/>
                  <a:gd name="connsiteX6" fmla="*/ 443835 w 483353"/>
                  <a:gd name="connsiteY6" fmla="*/ 41302 h 425887"/>
                  <a:gd name="connsiteX7" fmla="*/ 449955 w 483353"/>
                  <a:gd name="connsiteY7" fmla="*/ 55160 h 425887"/>
                  <a:gd name="connsiteX8" fmla="*/ 453304 w 483353"/>
                  <a:gd name="connsiteY8" fmla="*/ 58701 h 425887"/>
                  <a:gd name="connsiteX9" fmla="*/ 456926 w 483353"/>
                  <a:gd name="connsiteY9" fmla="*/ 71297 h 425887"/>
                  <a:gd name="connsiteX10" fmla="*/ 458325 w 483353"/>
                  <a:gd name="connsiteY10" fmla="*/ 96380 h 425887"/>
                  <a:gd name="connsiteX11" fmla="*/ 455553 w 483353"/>
                  <a:gd name="connsiteY11" fmla="*/ 119048 h 425887"/>
                  <a:gd name="connsiteX12" fmla="*/ 456569 w 483353"/>
                  <a:gd name="connsiteY12" fmla="*/ 123082 h 425887"/>
                  <a:gd name="connsiteX13" fmla="*/ 452837 w 483353"/>
                  <a:gd name="connsiteY13" fmla="*/ 124070 h 425887"/>
                  <a:gd name="connsiteX14" fmla="*/ 440872 w 483353"/>
                  <a:gd name="connsiteY14" fmla="*/ 116111 h 425887"/>
                  <a:gd name="connsiteX15" fmla="*/ 437057 w 483353"/>
                  <a:gd name="connsiteY15" fmla="*/ 116715 h 425887"/>
                  <a:gd name="connsiteX16" fmla="*/ 432199 w 483353"/>
                  <a:gd name="connsiteY16" fmla="*/ 121655 h 425887"/>
                  <a:gd name="connsiteX17" fmla="*/ 422924 w 483353"/>
                  <a:gd name="connsiteY17" fmla="*/ 138477 h 425887"/>
                  <a:gd name="connsiteX18" fmla="*/ 421963 w 483353"/>
                  <a:gd name="connsiteY18" fmla="*/ 149235 h 425887"/>
                  <a:gd name="connsiteX19" fmla="*/ 431788 w 483353"/>
                  <a:gd name="connsiteY19" fmla="*/ 163423 h 425887"/>
                  <a:gd name="connsiteX20" fmla="*/ 443341 w 483353"/>
                  <a:gd name="connsiteY20" fmla="*/ 167896 h 425887"/>
                  <a:gd name="connsiteX21" fmla="*/ 455965 w 483353"/>
                  <a:gd name="connsiteY21" fmla="*/ 167484 h 425887"/>
                  <a:gd name="connsiteX22" fmla="*/ 457557 w 483353"/>
                  <a:gd name="connsiteY22" fmla="*/ 152336 h 425887"/>
                  <a:gd name="connsiteX23" fmla="*/ 461070 w 483353"/>
                  <a:gd name="connsiteY23" fmla="*/ 152034 h 425887"/>
                  <a:gd name="connsiteX24" fmla="*/ 483354 w 483353"/>
                  <a:gd name="connsiteY24" fmla="*/ 152803 h 425887"/>
                  <a:gd name="connsiteX25" fmla="*/ 473529 w 483353"/>
                  <a:gd name="connsiteY25" fmla="*/ 194872 h 425887"/>
                  <a:gd name="connsiteX26" fmla="*/ 468726 w 483353"/>
                  <a:gd name="connsiteY26" fmla="*/ 208018 h 425887"/>
                  <a:gd name="connsiteX27" fmla="*/ 458600 w 483353"/>
                  <a:gd name="connsiteY27" fmla="*/ 218885 h 425887"/>
                  <a:gd name="connsiteX28" fmla="*/ 449736 w 483353"/>
                  <a:gd name="connsiteY28" fmla="*/ 223606 h 425887"/>
                  <a:gd name="connsiteX29" fmla="*/ 437249 w 483353"/>
                  <a:gd name="connsiteY29" fmla="*/ 237739 h 425887"/>
                  <a:gd name="connsiteX30" fmla="*/ 410931 w 483353"/>
                  <a:gd name="connsiteY30" fmla="*/ 284858 h 425887"/>
                  <a:gd name="connsiteX31" fmla="*/ 396688 w 483353"/>
                  <a:gd name="connsiteY31" fmla="*/ 304123 h 425887"/>
                  <a:gd name="connsiteX32" fmla="*/ 381512 w 483353"/>
                  <a:gd name="connsiteY32" fmla="*/ 316088 h 425887"/>
                  <a:gd name="connsiteX33" fmla="*/ 364882 w 483353"/>
                  <a:gd name="connsiteY33" fmla="*/ 336643 h 425887"/>
                  <a:gd name="connsiteX34" fmla="*/ 336698 w 483353"/>
                  <a:gd name="connsiteY34" fmla="*/ 362494 h 425887"/>
                  <a:gd name="connsiteX35" fmla="*/ 313673 w 483353"/>
                  <a:gd name="connsiteY35" fmla="*/ 379426 h 425887"/>
                  <a:gd name="connsiteX36" fmla="*/ 301352 w 483353"/>
                  <a:gd name="connsiteY36" fmla="*/ 385080 h 425887"/>
                  <a:gd name="connsiteX37" fmla="*/ 294216 w 483353"/>
                  <a:gd name="connsiteY37" fmla="*/ 388400 h 425887"/>
                  <a:gd name="connsiteX38" fmla="*/ 276515 w 483353"/>
                  <a:gd name="connsiteY38" fmla="*/ 386891 h 425887"/>
                  <a:gd name="connsiteX39" fmla="*/ 270176 w 483353"/>
                  <a:gd name="connsiteY39" fmla="*/ 391666 h 425887"/>
                  <a:gd name="connsiteX40" fmla="*/ 270616 w 483353"/>
                  <a:gd name="connsiteY40" fmla="*/ 397869 h 425887"/>
                  <a:gd name="connsiteX41" fmla="*/ 254205 w 483353"/>
                  <a:gd name="connsiteY41" fmla="*/ 395453 h 425887"/>
                  <a:gd name="connsiteX42" fmla="*/ 249896 w 483353"/>
                  <a:gd name="connsiteY42" fmla="*/ 396743 h 425887"/>
                  <a:gd name="connsiteX43" fmla="*/ 247618 w 483353"/>
                  <a:gd name="connsiteY43" fmla="*/ 400722 h 425887"/>
                  <a:gd name="connsiteX44" fmla="*/ 245423 w 483353"/>
                  <a:gd name="connsiteY44" fmla="*/ 403823 h 425887"/>
                  <a:gd name="connsiteX45" fmla="*/ 237794 w 483353"/>
                  <a:gd name="connsiteY45" fmla="*/ 402863 h 425887"/>
                  <a:gd name="connsiteX46" fmla="*/ 233705 w 483353"/>
                  <a:gd name="connsiteY46" fmla="*/ 400722 h 425887"/>
                  <a:gd name="connsiteX47" fmla="*/ 210488 w 483353"/>
                  <a:gd name="connsiteY47" fmla="*/ 396029 h 425887"/>
                  <a:gd name="connsiteX48" fmla="*/ 202310 w 483353"/>
                  <a:gd name="connsiteY48" fmla="*/ 400036 h 425887"/>
                  <a:gd name="connsiteX49" fmla="*/ 180191 w 483353"/>
                  <a:gd name="connsiteY49" fmla="*/ 396880 h 425887"/>
                  <a:gd name="connsiteX50" fmla="*/ 166744 w 483353"/>
                  <a:gd name="connsiteY50" fmla="*/ 400750 h 425887"/>
                  <a:gd name="connsiteX51" fmla="*/ 166140 w 483353"/>
                  <a:gd name="connsiteY51" fmla="*/ 403466 h 425887"/>
                  <a:gd name="connsiteX52" fmla="*/ 156755 w 483353"/>
                  <a:gd name="connsiteY52" fmla="*/ 410218 h 425887"/>
                  <a:gd name="connsiteX53" fmla="*/ 148110 w 483353"/>
                  <a:gd name="connsiteY53" fmla="*/ 409723 h 425887"/>
                  <a:gd name="connsiteX54" fmla="*/ 142210 w 483353"/>
                  <a:gd name="connsiteY54" fmla="*/ 411837 h 425887"/>
                  <a:gd name="connsiteX55" fmla="*/ 133702 w 483353"/>
                  <a:gd name="connsiteY55" fmla="*/ 409833 h 425887"/>
                  <a:gd name="connsiteX56" fmla="*/ 128790 w 483353"/>
                  <a:gd name="connsiteY56" fmla="*/ 412907 h 425887"/>
                  <a:gd name="connsiteX57" fmla="*/ 120255 w 483353"/>
                  <a:gd name="connsiteY57" fmla="*/ 413456 h 425887"/>
                  <a:gd name="connsiteX58" fmla="*/ 104119 w 483353"/>
                  <a:gd name="connsiteY58" fmla="*/ 425888 h 425887"/>
                  <a:gd name="connsiteX59" fmla="*/ 93224 w 483353"/>
                  <a:gd name="connsiteY59" fmla="*/ 423775 h 425887"/>
                  <a:gd name="connsiteX60" fmla="*/ 85677 w 483353"/>
                  <a:gd name="connsiteY60" fmla="*/ 418149 h 425887"/>
                  <a:gd name="connsiteX61" fmla="*/ 83372 w 483353"/>
                  <a:gd name="connsiteY61" fmla="*/ 412029 h 425887"/>
                  <a:gd name="connsiteX62" fmla="*/ 75606 w 483353"/>
                  <a:gd name="connsiteY62" fmla="*/ 409230 h 425887"/>
                  <a:gd name="connsiteX63" fmla="*/ 70117 w 483353"/>
                  <a:gd name="connsiteY63" fmla="*/ 409806 h 425887"/>
                  <a:gd name="connsiteX64" fmla="*/ 69623 w 483353"/>
                  <a:gd name="connsiteY64" fmla="*/ 400804 h 425887"/>
                  <a:gd name="connsiteX65" fmla="*/ 68416 w 483353"/>
                  <a:gd name="connsiteY65" fmla="*/ 399844 h 425887"/>
                  <a:gd name="connsiteX66" fmla="*/ 66824 w 483353"/>
                  <a:gd name="connsiteY66" fmla="*/ 399377 h 425887"/>
                  <a:gd name="connsiteX67" fmla="*/ 63613 w 483353"/>
                  <a:gd name="connsiteY67" fmla="*/ 399377 h 425887"/>
                  <a:gd name="connsiteX68" fmla="*/ 59057 w 483353"/>
                  <a:gd name="connsiteY68" fmla="*/ 400804 h 425887"/>
                  <a:gd name="connsiteX69" fmla="*/ 58152 w 483353"/>
                  <a:gd name="connsiteY69" fmla="*/ 402699 h 425887"/>
                  <a:gd name="connsiteX70" fmla="*/ 59112 w 483353"/>
                  <a:gd name="connsiteY70" fmla="*/ 406650 h 425887"/>
                  <a:gd name="connsiteX71" fmla="*/ 58289 w 483353"/>
                  <a:gd name="connsiteY71" fmla="*/ 407912 h 425887"/>
                  <a:gd name="connsiteX72" fmla="*/ 56725 w 483353"/>
                  <a:gd name="connsiteY72" fmla="*/ 406321 h 425887"/>
                  <a:gd name="connsiteX73" fmla="*/ 55216 w 483353"/>
                  <a:gd name="connsiteY73" fmla="*/ 402122 h 425887"/>
                  <a:gd name="connsiteX74" fmla="*/ 55654 w 483353"/>
                  <a:gd name="connsiteY74" fmla="*/ 400777 h 425887"/>
                  <a:gd name="connsiteX75" fmla="*/ 55298 w 483353"/>
                  <a:gd name="connsiteY75" fmla="*/ 396688 h 425887"/>
                  <a:gd name="connsiteX76" fmla="*/ 59277 w 483353"/>
                  <a:gd name="connsiteY76" fmla="*/ 391419 h 425887"/>
                  <a:gd name="connsiteX77" fmla="*/ 58206 w 483353"/>
                  <a:gd name="connsiteY77" fmla="*/ 386260 h 425887"/>
                  <a:gd name="connsiteX78" fmla="*/ 44897 w 483353"/>
                  <a:gd name="connsiteY78" fmla="*/ 365568 h 425887"/>
                  <a:gd name="connsiteX79" fmla="*/ 45857 w 483353"/>
                  <a:gd name="connsiteY79" fmla="*/ 362714 h 425887"/>
                  <a:gd name="connsiteX80" fmla="*/ 42263 w 483353"/>
                  <a:gd name="connsiteY80" fmla="*/ 361753 h 425887"/>
                  <a:gd name="connsiteX81" fmla="*/ 41494 w 483353"/>
                  <a:gd name="connsiteY81" fmla="*/ 356073 h 425887"/>
                  <a:gd name="connsiteX82" fmla="*/ 43909 w 483353"/>
                  <a:gd name="connsiteY82" fmla="*/ 351737 h 425887"/>
                  <a:gd name="connsiteX83" fmla="*/ 50138 w 483353"/>
                  <a:gd name="connsiteY83" fmla="*/ 352560 h 425887"/>
                  <a:gd name="connsiteX84" fmla="*/ 54090 w 483353"/>
                  <a:gd name="connsiteY84" fmla="*/ 346907 h 425887"/>
                  <a:gd name="connsiteX85" fmla="*/ 55216 w 483353"/>
                  <a:gd name="connsiteY85" fmla="*/ 335710 h 425887"/>
                  <a:gd name="connsiteX86" fmla="*/ 52883 w 483353"/>
                  <a:gd name="connsiteY86" fmla="*/ 320946 h 425887"/>
                  <a:gd name="connsiteX87" fmla="*/ 37899 w 483353"/>
                  <a:gd name="connsiteY87" fmla="*/ 296411 h 425887"/>
                  <a:gd name="connsiteX88" fmla="*/ 24561 w 483353"/>
                  <a:gd name="connsiteY88" fmla="*/ 270176 h 425887"/>
                  <a:gd name="connsiteX89" fmla="*/ 15066 w 483353"/>
                  <a:gd name="connsiteY89" fmla="*/ 239001 h 425887"/>
                  <a:gd name="connsiteX90" fmla="*/ 10346 w 483353"/>
                  <a:gd name="connsiteY90" fmla="*/ 227447 h 425887"/>
                  <a:gd name="connsiteX91" fmla="*/ 3485 w 483353"/>
                  <a:gd name="connsiteY91" fmla="*/ 216827 h 425887"/>
                  <a:gd name="connsiteX92" fmla="*/ 0 w 483353"/>
                  <a:gd name="connsiteY92" fmla="*/ 211805 h 425887"/>
                  <a:gd name="connsiteX93" fmla="*/ 8645 w 483353"/>
                  <a:gd name="connsiteY93" fmla="*/ 206014 h 425887"/>
                  <a:gd name="connsiteX94" fmla="*/ 9413 w 483353"/>
                  <a:gd name="connsiteY94" fmla="*/ 200059 h 425887"/>
                  <a:gd name="connsiteX95" fmla="*/ 13420 w 483353"/>
                  <a:gd name="connsiteY95" fmla="*/ 193555 h 425887"/>
                  <a:gd name="connsiteX96" fmla="*/ 18332 w 483353"/>
                  <a:gd name="connsiteY96" fmla="*/ 192210 h 425887"/>
                  <a:gd name="connsiteX97" fmla="*/ 21077 w 483353"/>
                  <a:gd name="connsiteY97" fmla="*/ 194050 h 425887"/>
                  <a:gd name="connsiteX98" fmla="*/ 22092 w 483353"/>
                  <a:gd name="connsiteY98" fmla="*/ 198084 h 425887"/>
                  <a:gd name="connsiteX99" fmla="*/ 27004 w 483353"/>
                  <a:gd name="connsiteY99" fmla="*/ 200526 h 425887"/>
                  <a:gd name="connsiteX100" fmla="*/ 26346 w 483353"/>
                  <a:gd name="connsiteY100" fmla="*/ 207249 h 425887"/>
                  <a:gd name="connsiteX101" fmla="*/ 28760 w 483353"/>
                  <a:gd name="connsiteY101" fmla="*/ 214082 h 425887"/>
                  <a:gd name="connsiteX102" fmla="*/ 43497 w 483353"/>
                  <a:gd name="connsiteY102" fmla="*/ 216854 h 425887"/>
                  <a:gd name="connsiteX103" fmla="*/ 50605 w 483353"/>
                  <a:gd name="connsiteY103" fmla="*/ 220916 h 425887"/>
                  <a:gd name="connsiteX104" fmla="*/ 66906 w 483353"/>
                  <a:gd name="connsiteY104" fmla="*/ 218501 h 425887"/>
                  <a:gd name="connsiteX105" fmla="*/ 78652 w 483353"/>
                  <a:gd name="connsiteY105" fmla="*/ 222782 h 425887"/>
                  <a:gd name="connsiteX106" fmla="*/ 82219 w 483353"/>
                  <a:gd name="connsiteY106" fmla="*/ 220806 h 425887"/>
                  <a:gd name="connsiteX107" fmla="*/ 82219 w 483353"/>
                  <a:gd name="connsiteY107" fmla="*/ 216882 h 425887"/>
                  <a:gd name="connsiteX108" fmla="*/ 87955 w 483353"/>
                  <a:gd name="connsiteY108" fmla="*/ 214247 h 425887"/>
                  <a:gd name="connsiteX109" fmla="*/ 91440 w 483353"/>
                  <a:gd name="connsiteY109" fmla="*/ 208759 h 425887"/>
                  <a:gd name="connsiteX110" fmla="*/ 104146 w 483353"/>
                  <a:gd name="connsiteY110" fmla="*/ 203682 h 425887"/>
                  <a:gd name="connsiteX111" fmla="*/ 104228 w 483353"/>
                  <a:gd name="connsiteY111" fmla="*/ 84003 h 425887"/>
                  <a:gd name="connsiteX112" fmla="*/ 115974 w 483353"/>
                  <a:gd name="connsiteY112" fmla="*/ 94431 h 425887"/>
                  <a:gd name="connsiteX113" fmla="*/ 127500 w 483353"/>
                  <a:gd name="connsiteY113" fmla="*/ 119844 h 425887"/>
                  <a:gd name="connsiteX114" fmla="*/ 128927 w 483353"/>
                  <a:gd name="connsiteY114" fmla="*/ 128982 h 425887"/>
                  <a:gd name="connsiteX115" fmla="*/ 122643 w 483353"/>
                  <a:gd name="connsiteY115" fmla="*/ 140920 h 425887"/>
                  <a:gd name="connsiteX116" fmla="*/ 124042 w 483353"/>
                  <a:gd name="connsiteY116" fmla="*/ 151403 h 425887"/>
                  <a:gd name="connsiteX117" fmla="*/ 153159 w 483353"/>
                  <a:gd name="connsiteY117" fmla="*/ 152363 h 425887"/>
                  <a:gd name="connsiteX118" fmla="*/ 157907 w 483353"/>
                  <a:gd name="connsiteY118" fmla="*/ 147067 h 425887"/>
                  <a:gd name="connsiteX119" fmla="*/ 164411 w 483353"/>
                  <a:gd name="connsiteY119" fmla="*/ 144735 h 425887"/>
                  <a:gd name="connsiteX120" fmla="*/ 170146 w 483353"/>
                  <a:gd name="connsiteY120" fmla="*/ 136913 h 425887"/>
                  <a:gd name="connsiteX121" fmla="*/ 181096 w 483353"/>
                  <a:gd name="connsiteY121" fmla="*/ 129256 h 425887"/>
                  <a:gd name="connsiteX122" fmla="*/ 184307 w 483353"/>
                  <a:gd name="connsiteY122" fmla="*/ 124180 h 425887"/>
                  <a:gd name="connsiteX123" fmla="*/ 188149 w 483353"/>
                  <a:gd name="connsiteY123" fmla="*/ 108811 h 425887"/>
                  <a:gd name="connsiteX124" fmla="*/ 193720 w 483353"/>
                  <a:gd name="connsiteY124" fmla="*/ 102198 h 425887"/>
                  <a:gd name="connsiteX125" fmla="*/ 205877 w 483353"/>
                  <a:gd name="connsiteY125" fmla="*/ 101923 h 425887"/>
                  <a:gd name="connsiteX126" fmla="*/ 219599 w 483353"/>
                  <a:gd name="connsiteY126" fmla="*/ 111995 h 425887"/>
                  <a:gd name="connsiteX127" fmla="*/ 226817 w 483353"/>
                  <a:gd name="connsiteY127" fmla="*/ 112763 h 425887"/>
                  <a:gd name="connsiteX128" fmla="*/ 232223 w 483353"/>
                  <a:gd name="connsiteY128" fmla="*/ 116193 h 425887"/>
                  <a:gd name="connsiteX129" fmla="*/ 240456 w 483353"/>
                  <a:gd name="connsiteY129" fmla="*/ 118197 h 425887"/>
                  <a:gd name="connsiteX130" fmla="*/ 262602 w 483353"/>
                  <a:gd name="connsiteY130" fmla="*/ 115892 h 425887"/>
                  <a:gd name="connsiteX131" fmla="*/ 269600 w 483353"/>
                  <a:gd name="connsiteY131" fmla="*/ 109607 h 425887"/>
                  <a:gd name="connsiteX132" fmla="*/ 277695 w 483353"/>
                  <a:gd name="connsiteY132" fmla="*/ 84469 h 425887"/>
                  <a:gd name="connsiteX133" fmla="*/ 292981 w 483353"/>
                  <a:gd name="connsiteY133" fmla="*/ 79612 h 425887"/>
                  <a:gd name="connsiteX134" fmla="*/ 305193 w 483353"/>
                  <a:gd name="connsiteY134" fmla="*/ 67620 h 425887"/>
                  <a:gd name="connsiteX135" fmla="*/ 311313 w 483353"/>
                  <a:gd name="connsiteY135" fmla="*/ 48958 h 425887"/>
                  <a:gd name="connsiteX136" fmla="*/ 318778 w 483353"/>
                  <a:gd name="connsiteY136" fmla="*/ 41988 h 425887"/>
                  <a:gd name="connsiteX137" fmla="*/ 333295 w 483353"/>
                  <a:gd name="connsiteY137" fmla="*/ 33014 h 425887"/>
                  <a:gd name="connsiteX138" fmla="*/ 347977 w 483353"/>
                  <a:gd name="connsiteY138" fmla="*/ 15642 h 425887"/>
                  <a:gd name="connsiteX139" fmla="*/ 365156 w 483353"/>
                  <a:gd name="connsiteY139" fmla="*/ 10346 h 425887"/>
                  <a:gd name="connsiteX140" fmla="*/ 370782 w 483353"/>
                  <a:gd name="connsiteY140" fmla="*/ 3156 h 425887"/>
                  <a:gd name="connsiteX141" fmla="*/ 379509 w 483353"/>
                  <a:gd name="connsiteY141" fmla="*/ 1948 h 425887"/>
                  <a:gd name="connsiteX142" fmla="*/ 389635 w 483353"/>
                  <a:gd name="connsiteY142" fmla="*/ 0 h 425887"/>
                  <a:gd name="connsiteX143" fmla="*/ 332500 w 483353"/>
                  <a:gd name="connsiteY143" fmla="*/ 221904 h 425887"/>
                  <a:gd name="connsiteX144" fmla="*/ 320726 w 483353"/>
                  <a:gd name="connsiteY144" fmla="*/ 239907 h 425887"/>
                  <a:gd name="connsiteX145" fmla="*/ 311533 w 483353"/>
                  <a:gd name="connsiteY145" fmla="*/ 246136 h 425887"/>
                  <a:gd name="connsiteX146" fmla="*/ 321659 w 483353"/>
                  <a:gd name="connsiteY146" fmla="*/ 263398 h 425887"/>
                  <a:gd name="connsiteX147" fmla="*/ 321961 w 483353"/>
                  <a:gd name="connsiteY147" fmla="*/ 267377 h 425887"/>
                  <a:gd name="connsiteX148" fmla="*/ 331950 w 483353"/>
                  <a:gd name="connsiteY148" fmla="*/ 277778 h 425887"/>
                  <a:gd name="connsiteX149" fmla="*/ 340760 w 483353"/>
                  <a:gd name="connsiteY149" fmla="*/ 280138 h 425887"/>
                  <a:gd name="connsiteX150" fmla="*/ 343339 w 483353"/>
                  <a:gd name="connsiteY150" fmla="*/ 278162 h 425887"/>
                  <a:gd name="connsiteX151" fmla="*/ 346770 w 483353"/>
                  <a:gd name="connsiteY151" fmla="*/ 267953 h 425887"/>
                  <a:gd name="connsiteX152" fmla="*/ 351188 w 483353"/>
                  <a:gd name="connsiteY152" fmla="*/ 263480 h 425887"/>
                  <a:gd name="connsiteX153" fmla="*/ 363455 w 483353"/>
                  <a:gd name="connsiteY153" fmla="*/ 261367 h 425887"/>
                  <a:gd name="connsiteX154" fmla="*/ 372950 w 483353"/>
                  <a:gd name="connsiteY154" fmla="*/ 255494 h 425887"/>
                  <a:gd name="connsiteX155" fmla="*/ 373719 w 483353"/>
                  <a:gd name="connsiteY155" fmla="*/ 247782 h 425887"/>
                  <a:gd name="connsiteX156" fmla="*/ 381787 w 483353"/>
                  <a:gd name="connsiteY156" fmla="*/ 237464 h 425887"/>
                  <a:gd name="connsiteX157" fmla="*/ 378741 w 483353"/>
                  <a:gd name="connsiteY157" fmla="*/ 227941 h 425887"/>
                  <a:gd name="connsiteX158" fmla="*/ 367352 w 483353"/>
                  <a:gd name="connsiteY158" fmla="*/ 218885 h 425887"/>
                  <a:gd name="connsiteX159" fmla="*/ 358213 w 483353"/>
                  <a:gd name="connsiteY159" fmla="*/ 210213 h 425887"/>
                  <a:gd name="connsiteX160" fmla="*/ 344684 w 483353"/>
                  <a:gd name="connsiteY160" fmla="*/ 214247 h 425887"/>
                  <a:gd name="connsiteX161" fmla="*/ 341006 w 483353"/>
                  <a:gd name="connsiteY161" fmla="*/ 218885 h 425887"/>
                  <a:gd name="connsiteX162" fmla="*/ 332445 w 483353"/>
                  <a:gd name="connsiteY162" fmla="*/ 221931 h 42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483353" h="425887">
                    <a:moveTo>
                      <a:pt x="389580" y="55"/>
                    </a:moveTo>
                    <a:lnTo>
                      <a:pt x="407172" y="6586"/>
                    </a:lnTo>
                    <a:lnTo>
                      <a:pt x="424214" y="5242"/>
                    </a:lnTo>
                    <a:lnTo>
                      <a:pt x="433407" y="6669"/>
                    </a:lnTo>
                    <a:lnTo>
                      <a:pt x="436838" y="9056"/>
                    </a:lnTo>
                    <a:lnTo>
                      <a:pt x="443835" y="32657"/>
                    </a:lnTo>
                    <a:lnTo>
                      <a:pt x="443835" y="41302"/>
                    </a:lnTo>
                    <a:cubicBezTo>
                      <a:pt x="443835" y="41302"/>
                      <a:pt x="449955" y="55160"/>
                      <a:pt x="449955" y="55160"/>
                    </a:cubicBezTo>
                    <a:lnTo>
                      <a:pt x="453304" y="58701"/>
                    </a:lnTo>
                    <a:lnTo>
                      <a:pt x="456926" y="71297"/>
                    </a:lnTo>
                    <a:lnTo>
                      <a:pt x="458325" y="96380"/>
                    </a:lnTo>
                    <a:lnTo>
                      <a:pt x="455553" y="119048"/>
                    </a:lnTo>
                    <a:lnTo>
                      <a:pt x="456569" y="123082"/>
                    </a:lnTo>
                    <a:lnTo>
                      <a:pt x="452837" y="124070"/>
                    </a:lnTo>
                    <a:lnTo>
                      <a:pt x="440872" y="116111"/>
                    </a:lnTo>
                    <a:lnTo>
                      <a:pt x="437057" y="116715"/>
                    </a:lnTo>
                    <a:lnTo>
                      <a:pt x="432199" y="121655"/>
                    </a:lnTo>
                    <a:lnTo>
                      <a:pt x="422924" y="138477"/>
                    </a:lnTo>
                    <a:lnTo>
                      <a:pt x="421963" y="149235"/>
                    </a:lnTo>
                    <a:lnTo>
                      <a:pt x="431788" y="163423"/>
                    </a:lnTo>
                    <a:lnTo>
                      <a:pt x="443341" y="167896"/>
                    </a:lnTo>
                    <a:lnTo>
                      <a:pt x="455965" y="167484"/>
                    </a:lnTo>
                    <a:lnTo>
                      <a:pt x="457557" y="152336"/>
                    </a:lnTo>
                    <a:lnTo>
                      <a:pt x="461070" y="152034"/>
                    </a:lnTo>
                    <a:lnTo>
                      <a:pt x="483354" y="152803"/>
                    </a:lnTo>
                    <a:lnTo>
                      <a:pt x="473529" y="194872"/>
                    </a:lnTo>
                    <a:lnTo>
                      <a:pt x="468726" y="208018"/>
                    </a:lnTo>
                    <a:lnTo>
                      <a:pt x="458600" y="218885"/>
                    </a:lnTo>
                    <a:lnTo>
                      <a:pt x="449736" y="223606"/>
                    </a:lnTo>
                    <a:lnTo>
                      <a:pt x="437249" y="237739"/>
                    </a:lnTo>
                    <a:lnTo>
                      <a:pt x="410931" y="284858"/>
                    </a:lnTo>
                    <a:lnTo>
                      <a:pt x="396688" y="304123"/>
                    </a:lnTo>
                    <a:lnTo>
                      <a:pt x="381512" y="316088"/>
                    </a:lnTo>
                    <a:lnTo>
                      <a:pt x="364882" y="336643"/>
                    </a:lnTo>
                    <a:lnTo>
                      <a:pt x="336698" y="362494"/>
                    </a:lnTo>
                    <a:lnTo>
                      <a:pt x="313673" y="379426"/>
                    </a:lnTo>
                    <a:lnTo>
                      <a:pt x="301352" y="385080"/>
                    </a:lnTo>
                    <a:lnTo>
                      <a:pt x="294216" y="388400"/>
                    </a:lnTo>
                    <a:lnTo>
                      <a:pt x="276515" y="386891"/>
                    </a:lnTo>
                    <a:lnTo>
                      <a:pt x="270176" y="391666"/>
                    </a:lnTo>
                    <a:lnTo>
                      <a:pt x="270616" y="397869"/>
                    </a:lnTo>
                    <a:lnTo>
                      <a:pt x="254205" y="395453"/>
                    </a:lnTo>
                    <a:lnTo>
                      <a:pt x="249896" y="396743"/>
                    </a:lnTo>
                    <a:lnTo>
                      <a:pt x="247618" y="400722"/>
                    </a:lnTo>
                    <a:lnTo>
                      <a:pt x="245423" y="403823"/>
                    </a:lnTo>
                    <a:lnTo>
                      <a:pt x="237794" y="402863"/>
                    </a:lnTo>
                    <a:lnTo>
                      <a:pt x="233705" y="400722"/>
                    </a:lnTo>
                    <a:lnTo>
                      <a:pt x="210488" y="396029"/>
                    </a:lnTo>
                    <a:lnTo>
                      <a:pt x="202310" y="400036"/>
                    </a:lnTo>
                    <a:lnTo>
                      <a:pt x="180191" y="396880"/>
                    </a:lnTo>
                    <a:lnTo>
                      <a:pt x="166744" y="400750"/>
                    </a:lnTo>
                    <a:lnTo>
                      <a:pt x="166140" y="403466"/>
                    </a:lnTo>
                    <a:lnTo>
                      <a:pt x="156755" y="410218"/>
                    </a:lnTo>
                    <a:lnTo>
                      <a:pt x="148110" y="409723"/>
                    </a:lnTo>
                    <a:lnTo>
                      <a:pt x="142210" y="411837"/>
                    </a:lnTo>
                    <a:lnTo>
                      <a:pt x="133702" y="409833"/>
                    </a:lnTo>
                    <a:lnTo>
                      <a:pt x="128790" y="412907"/>
                    </a:lnTo>
                    <a:lnTo>
                      <a:pt x="120255" y="413456"/>
                    </a:lnTo>
                    <a:lnTo>
                      <a:pt x="104119" y="425888"/>
                    </a:lnTo>
                    <a:lnTo>
                      <a:pt x="93224" y="423775"/>
                    </a:lnTo>
                    <a:lnTo>
                      <a:pt x="85677" y="418149"/>
                    </a:lnTo>
                    <a:lnTo>
                      <a:pt x="83372" y="412029"/>
                    </a:lnTo>
                    <a:lnTo>
                      <a:pt x="75606" y="409230"/>
                    </a:lnTo>
                    <a:lnTo>
                      <a:pt x="70117" y="409806"/>
                    </a:lnTo>
                    <a:lnTo>
                      <a:pt x="69623" y="400804"/>
                    </a:lnTo>
                    <a:lnTo>
                      <a:pt x="68416" y="399844"/>
                    </a:lnTo>
                    <a:lnTo>
                      <a:pt x="66824" y="399377"/>
                    </a:lnTo>
                    <a:lnTo>
                      <a:pt x="63613" y="399377"/>
                    </a:lnTo>
                    <a:cubicBezTo>
                      <a:pt x="63613" y="399377"/>
                      <a:pt x="59057" y="400804"/>
                      <a:pt x="59057" y="400804"/>
                    </a:cubicBezTo>
                    <a:lnTo>
                      <a:pt x="58152" y="402699"/>
                    </a:lnTo>
                    <a:lnTo>
                      <a:pt x="59112" y="406650"/>
                    </a:lnTo>
                    <a:lnTo>
                      <a:pt x="58289" y="407912"/>
                    </a:lnTo>
                    <a:lnTo>
                      <a:pt x="56725" y="406321"/>
                    </a:lnTo>
                    <a:lnTo>
                      <a:pt x="55216" y="402122"/>
                    </a:lnTo>
                    <a:lnTo>
                      <a:pt x="55654" y="400777"/>
                    </a:lnTo>
                    <a:lnTo>
                      <a:pt x="55298" y="396688"/>
                    </a:lnTo>
                    <a:lnTo>
                      <a:pt x="59277" y="391419"/>
                    </a:lnTo>
                    <a:lnTo>
                      <a:pt x="58206" y="386260"/>
                    </a:lnTo>
                    <a:lnTo>
                      <a:pt x="44897" y="365568"/>
                    </a:lnTo>
                    <a:lnTo>
                      <a:pt x="45857" y="362714"/>
                    </a:lnTo>
                    <a:lnTo>
                      <a:pt x="42263" y="361753"/>
                    </a:lnTo>
                    <a:lnTo>
                      <a:pt x="41494" y="356073"/>
                    </a:lnTo>
                    <a:lnTo>
                      <a:pt x="43909" y="351737"/>
                    </a:lnTo>
                    <a:lnTo>
                      <a:pt x="50138" y="352560"/>
                    </a:lnTo>
                    <a:lnTo>
                      <a:pt x="54090" y="346907"/>
                    </a:lnTo>
                    <a:lnTo>
                      <a:pt x="55216" y="335710"/>
                    </a:lnTo>
                    <a:lnTo>
                      <a:pt x="52883" y="320946"/>
                    </a:lnTo>
                    <a:lnTo>
                      <a:pt x="37899" y="296411"/>
                    </a:lnTo>
                    <a:lnTo>
                      <a:pt x="24561" y="270176"/>
                    </a:lnTo>
                    <a:lnTo>
                      <a:pt x="15066" y="239001"/>
                    </a:lnTo>
                    <a:lnTo>
                      <a:pt x="10346" y="227447"/>
                    </a:lnTo>
                    <a:lnTo>
                      <a:pt x="3485" y="216827"/>
                    </a:lnTo>
                    <a:lnTo>
                      <a:pt x="0" y="211805"/>
                    </a:lnTo>
                    <a:lnTo>
                      <a:pt x="8645" y="206014"/>
                    </a:lnTo>
                    <a:lnTo>
                      <a:pt x="9413" y="200059"/>
                    </a:lnTo>
                    <a:lnTo>
                      <a:pt x="13420" y="193555"/>
                    </a:lnTo>
                    <a:lnTo>
                      <a:pt x="18332" y="192210"/>
                    </a:lnTo>
                    <a:lnTo>
                      <a:pt x="21077" y="194050"/>
                    </a:lnTo>
                    <a:lnTo>
                      <a:pt x="22092" y="198084"/>
                    </a:lnTo>
                    <a:lnTo>
                      <a:pt x="27004" y="200526"/>
                    </a:lnTo>
                    <a:lnTo>
                      <a:pt x="26346" y="207249"/>
                    </a:lnTo>
                    <a:lnTo>
                      <a:pt x="28760" y="214082"/>
                    </a:lnTo>
                    <a:lnTo>
                      <a:pt x="43497" y="216854"/>
                    </a:lnTo>
                    <a:lnTo>
                      <a:pt x="50605" y="220916"/>
                    </a:lnTo>
                    <a:lnTo>
                      <a:pt x="66906" y="218501"/>
                    </a:lnTo>
                    <a:lnTo>
                      <a:pt x="78652" y="222782"/>
                    </a:lnTo>
                    <a:lnTo>
                      <a:pt x="82219" y="220806"/>
                    </a:lnTo>
                    <a:lnTo>
                      <a:pt x="82219" y="216882"/>
                    </a:lnTo>
                    <a:lnTo>
                      <a:pt x="87955" y="214247"/>
                    </a:lnTo>
                    <a:lnTo>
                      <a:pt x="91440" y="208759"/>
                    </a:lnTo>
                    <a:lnTo>
                      <a:pt x="104146" y="203682"/>
                    </a:lnTo>
                    <a:lnTo>
                      <a:pt x="104228" y="84003"/>
                    </a:lnTo>
                    <a:lnTo>
                      <a:pt x="115974" y="94431"/>
                    </a:lnTo>
                    <a:lnTo>
                      <a:pt x="127500" y="119844"/>
                    </a:lnTo>
                    <a:lnTo>
                      <a:pt x="128927" y="128982"/>
                    </a:lnTo>
                    <a:lnTo>
                      <a:pt x="122643" y="140920"/>
                    </a:lnTo>
                    <a:lnTo>
                      <a:pt x="124042" y="151403"/>
                    </a:lnTo>
                    <a:lnTo>
                      <a:pt x="153159" y="152363"/>
                    </a:lnTo>
                    <a:lnTo>
                      <a:pt x="157907" y="147067"/>
                    </a:lnTo>
                    <a:lnTo>
                      <a:pt x="164411" y="144735"/>
                    </a:lnTo>
                    <a:lnTo>
                      <a:pt x="170146" y="136913"/>
                    </a:lnTo>
                    <a:lnTo>
                      <a:pt x="181096" y="129256"/>
                    </a:lnTo>
                    <a:lnTo>
                      <a:pt x="184307" y="124180"/>
                    </a:lnTo>
                    <a:lnTo>
                      <a:pt x="188149" y="108811"/>
                    </a:lnTo>
                    <a:lnTo>
                      <a:pt x="193720" y="102198"/>
                    </a:lnTo>
                    <a:lnTo>
                      <a:pt x="205877" y="101923"/>
                    </a:lnTo>
                    <a:lnTo>
                      <a:pt x="219599" y="111995"/>
                    </a:lnTo>
                    <a:lnTo>
                      <a:pt x="226817" y="112763"/>
                    </a:lnTo>
                    <a:lnTo>
                      <a:pt x="232223" y="116193"/>
                    </a:lnTo>
                    <a:lnTo>
                      <a:pt x="240456" y="118197"/>
                    </a:lnTo>
                    <a:lnTo>
                      <a:pt x="262602" y="115892"/>
                    </a:lnTo>
                    <a:lnTo>
                      <a:pt x="269600" y="109607"/>
                    </a:lnTo>
                    <a:lnTo>
                      <a:pt x="277695" y="84469"/>
                    </a:lnTo>
                    <a:lnTo>
                      <a:pt x="292981" y="79612"/>
                    </a:lnTo>
                    <a:lnTo>
                      <a:pt x="305193" y="67620"/>
                    </a:lnTo>
                    <a:lnTo>
                      <a:pt x="311313" y="48958"/>
                    </a:lnTo>
                    <a:lnTo>
                      <a:pt x="318778" y="41988"/>
                    </a:lnTo>
                    <a:lnTo>
                      <a:pt x="333295" y="33014"/>
                    </a:lnTo>
                    <a:lnTo>
                      <a:pt x="347977" y="15642"/>
                    </a:lnTo>
                    <a:lnTo>
                      <a:pt x="365156" y="10346"/>
                    </a:lnTo>
                    <a:lnTo>
                      <a:pt x="370782" y="3156"/>
                    </a:lnTo>
                    <a:lnTo>
                      <a:pt x="379509" y="1948"/>
                    </a:lnTo>
                    <a:lnTo>
                      <a:pt x="389635" y="0"/>
                    </a:lnTo>
                    <a:moveTo>
                      <a:pt x="332500" y="221904"/>
                    </a:moveTo>
                    <a:lnTo>
                      <a:pt x="320726" y="239907"/>
                    </a:lnTo>
                    <a:lnTo>
                      <a:pt x="311533" y="246136"/>
                    </a:lnTo>
                    <a:lnTo>
                      <a:pt x="321659" y="263398"/>
                    </a:lnTo>
                    <a:lnTo>
                      <a:pt x="321961" y="267377"/>
                    </a:lnTo>
                    <a:lnTo>
                      <a:pt x="331950" y="277778"/>
                    </a:lnTo>
                    <a:lnTo>
                      <a:pt x="340760" y="280138"/>
                    </a:lnTo>
                    <a:lnTo>
                      <a:pt x="343339" y="278162"/>
                    </a:lnTo>
                    <a:lnTo>
                      <a:pt x="346770" y="267953"/>
                    </a:lnTo>
                    <a:lnTo>
                      <a:pt x="351188" y="263480"/>
                    </a:lnTo>
                    <a:lnTo>
                      <a:pt x="363455" y="261367"/>
                    </a:lnTo>
                    <a:lnTo>
                      <a:pt x="372950" y="255494"/>
                    </a:lnTo>
                    <a:lnTo>
                      <a:pt x="373719" y="247782"/>
                    </a:lnTo>
                    <a:lnTo>
                      <a:pt x="381787" y="237464"/>
                    </a:lnTo>
                    <a:lnTo>
                      <a:pt x="378741" y="227941"/>
                    </a:lnTo>
                    <a:lnTo>
                      <a:pt x="367352" y="218885"/>
                    </a:lnTo>
                    <a:lnTo>
                      <a:pt x="358213" y="210213"/>
                    </a:lnTo>
                    <a:lnTo>
                      <a:pt x="344684" y="214247"/>
                    </a:lnTo>
                    <a:lnTo>
                      <a:pt x="341006" y="218885"/>
                    </a:lnTo>
                    <a:lnTo>
                      <a:pt x="332445" y="2219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5" name="Freeform: Shape 4604">
                <a:extLst>
                  <a:ext uri="{FF2B5EF4-FFF2-40B4-BE49-F238E27FC236}">
                    <a16:creationId xmlns:a16="http://schemas.microsoft.com/office/drawing/2014/main" id="{BA9F08B2-D39A-8869-F9C4-E51E7773AE5E}"/>
                  </a:ext>
                </a:extLst>
              </p:cNvPr>
              <p:cNvSpPr/>
              <p:nvPr/>
            </p:nvSpPr>
            <p:spPr>
              <a:xfrm>
                <a:off x="1432880" y="3869674"/>
                <a:ext cx="35811" cy="31119"/>
              </a:xfrm>
              <a:custGeom>
                <a:avLst/>
                <a:gdLst>
                  <a:gd name="connsiteX0" fmla="*/ 322180 w 343338"/>
                  <a:gd name="connsiteY0" fmla="*/ 35978 h 298359"/>
                  <a:gd name="connsiteX1" fmla="*/ 324239 w 343338"/>
                  <a:gd name="connsiteY1" fmla="*/ 42838 h 298359"/>
                  <a:gd name="connsiteX2" fmla="*/ 328575 w 343338"/>
                  <a:gd name="connsiteY2" fmla="*/ 42235 h 298359"/>
                  <a:gd name="connsiteX3" fmla="*/ 330166 w 343338"/>
                  <a:gd name="connsiteY3" fmla="*/ 44924 h 298359"/>
                  <a:gd name="connsiteX4" fmla="*/ 334282 w 343338"/>
                  <a:gd name="connsiteY4" fmla="*/ 50385 h 298359"/>
                  <a:gd name="connsiteX5" fmla="*/ 333460 w 343338"/>
                  <a:gd name="connsiteY5" fmla="*/ 55846 h 298359"/>
                  <a:gd name="connsiteX6" fmla="*/ 339332 w 343338"/>
                  <a:gd name="connsiteY6" fmla="*/ 60429 h 298359"/>
                  <a:gd name="connsiteX7" fmla="*/ 339853 w 343338"/>
                  <a:gd name="connsiteY7" fmla="*/ 64903 h 298359"/>
                  <a:gd name="connsiteX8" fmla="*/ 343339 w 343338"/>
                  <a:gd name="connsiteY8" fmla="*/ 70858 h 298359"/>
                  <a:gd name="connsiteX9" fmla="*/ 338509 w 343338"/>
                  <a:gd name="connsiteY9" fmla="*/ 77087 h 298359"/>
                  <a:gd name="connsiteX10" fmla="*/ 332252 w 343338"/>
                  <a:gd name="connsiteY10" fmla="*/ 80600 h 298359"/>
                  <a:gd name="connsiteX11" fmla="*/ 335133 w 343338"/>
                  <a:gd name="connsiteY11" fmla="*/ 88805 h 298359"/>
                  <a:gd name="connsiteX12" fmla="*/ 330496 w 343338"/>
                  <a:gd name="connsiteY12" fmla="*/ 99206 h 298359"/>
                  <a:gd name="connsiteX13" fmla="*/ 333267 w 343338"/>
                  <a:gd name="connsiteY13" fmla="*/ 106863 h 298359"/>
                  <a:gd name="connsiteX14" fmla="*/ 331703 w 343338"/>
                  <a:gd name="connsiteY14" fmla="*/ 117264 h 298359"/>
                  <a:gd name="connsiteX15" fmla="*/ 334118 w 343338"/>
                  <a:gd name="connsiteY15" fmla="*/ 123438 h 298359"/>
                  <a:gd name="connsiteX16" fmla="*/ 338838 w 343338"/>
                  <a:gd name="connsiteY16" fmla="*/ 124838 h 298359"/>
                  <a:gd name="connsiteX17" fmla="*/ 337549 w 343338"/>
                  <a:gd name="connsiteY17" fmla="*/ 127445 h 298359"/>
                  <a:gd name="connsiteX18" fmla="*/ 323745 w 343338"/>
                  <a:gd name="connsiteY18" fmla="*/ 134169 h 298359"/>
                  <a:gd name="connsiteX19" fmla="*/ 322455 w 343338"/>
                  <a:gd name="connsiteY19" fmla="*/ 137764 h 298359"/>
                  <a:gd name="connsiteX20" fmla="*/ 323937 w 343338"/>
                  <a:gd name="connsiteY20" fmla="*/ 141661 h 298359"/>
                  <a:gd name="connsiteX21" fmla="*/ 323415 w 343338"/>
                  <a:gd name="connsiteY21" fmla="*/ 150387 h 298359"/>
                  <a:gd name="connsiteX22" fmla="*/ 318668 w 343338"/>
                  <a:gd name="connsiteY22" fmla="*/ 159087 h 298359"/>
                  <a:gd name="connsiteX23" fmla="*/ 314771 w 343338"/>
                  <a:gd name="connsiteY23" fmla="*/ 162160 h 298359"/>
                  <a:gd name="connsiteX24" fmla="*/ 317954 w 343338"/>
                  <a:gd name="connsiteY24" fmla="*/ 164493 h 298359"/>
                  <a:gd name="connsiteX25" fmla="*/ 317598 w 343338"/>
                  <a:gd name="connsiteY25" fmla="*/ 167265 h 298359"/>
                  <a:gd name="connsiteX26" fmla="*/ 324129 w 343338"/>
                  <a:gd name="connsiteY26" fmla="*/ 174867 h 298359"/>
                  <a:gd name="connsiteX27" fmla="*/ 327751 w 343338"/>
                  <a:gd name="connsiteY27" fmla="*/ 172781 h 298359"/>
                  <a:gd name="connsiteX28" fmla="*/ 330660 w 343338"/>
                  <a:gd name="connsiteY28" fmla="*/ 174126 h 298359"/>
                  <a:gd name="connsiteX29" fmla="*/ 329617 w 343338"/>
                  <a:gd name="connsiteY29" fmla="*/ 174318 h 298359"/>
                  <a:gd name="connsiteX30" fmla="*/ 326159 w 343338"/>
                  <a:gd name="connsiteY30" fmla="*/ 175525 h 298359"/>
                  <a:gd name="connsiteX31" fmla="*/ 323223 w 343338"/>
                  <a:gd name="connsiteY31" fmla="*/ 176678 h 298359"/>
                  <a:gd name="connsiteX32" fmla="*/ 312164 w 343338"/>
                  <a:gd name="connsiteY32" fmla="*/ 180657 h 298359"/>
                  <a:gd name="connsiteX33" fmla="*/ 309145 w 343338"/>
                  <a:gd name="connsiteY33" fmla="*/ 181974 h 298359"/>
                  <a:gd name="connsiteX34" fmla="*/ 242458 w 343338"/>
                  <a:gd name="connsiteY34" fmla="*/ 204533 h 298359"/>
                  <a:gd name="connsiteX35" fmla="*/ 242239 w 343338"/>
                  <a:gd name="connsiteY35" fmla="*/ 208978 h 298359"/>
                  <a:gd name="connsiteX36" fmla="*/ 246301 w 343338"/>
                  <a:gd name="connsiteY36" fmla="*/ 215564 h 298359"/>
                  <a:gd name="connsiteX37" fmla="*/ 247590 w 343338"/>
                  <a:gd name="connsiteY37" fmla="*/ 223413 h 298359"/>
                  <a:gd name="connsiteX38" fmla="*/ 221821 w 343338"/>
                  <a:gd name="connsiteY38" fmla="*/ 224840 h 298359"/>
                  <a:gd name="connsiteX39" fmla="*/ 204697 w 343338"/>
                  <a:gd name="connsiteY39" fmla="*/ 233100 h 298359"/>
                  <a:gd name="connsiteX40" fmla="*/ 201761 w 343338"/>
                  <a:gd name="connsiteY40" fmla="*/ 236998 h 298359"/>
                  <a:gd name="connsiteX41" fmla="*/ 199044 w 343338"/>
                  <a:gd name="connsiteY41" fmla="*/ 250746 h 298359"/>
                  <a:gd name="connsiteX42" fmla="*/ 172067 w 343338"/>
                  <a:gd name="connsiteY42" fmla="*/ 264770 h 298359"/>
                  <a:gd name="connsiteX43" fmla="*/ 164109 w 343338"/>
                  <a:gd name="connsiteY43" fmla="*/ 277256 h 298359"/>
                  <a:gd name="connsiteX44" fmla="*/ 147341 w 343338"/>
                  <a:gd name="connsiteY44" fmla="*/ 295259 h 298359"/>
                  <a:gd name="connsiteX45" fmla="*/ 136968 w 343338"/>
                  <a:gd name="connsiteY45" fmla="*/ 298360 h 298359"/>
                  <a:gd name="connsiteX46" fmla="*/ 124344 w 343338"/>
                  <a:gd name="connsiteY46" fmla="*/ 293969 h 298359"/>
                  <a:gd name="connsiteX47" fmla="*/ 116056 w 343338"/>
                  <a:gd name="connsiteY47" fmla="*/ 296055 h 298359"/>
                  <a:gd name="connsiteX48" fmla="*/ 109141 w 343338"/>
                  <a:gd name="connsiteY48" fmla="*/ 291527 h 298359"/>
                  <a:gd name="connsiteX49" fmla="*/ 96160 w 343338"/>
                  <a:gd name="connsiteY49" fmla="*/ 290429 h 298359"/>
                  <a:gd name="connsiteX50" fmla="*/ 95941 w 343338"/>
                  <a:gd name="connsiteY50" fmla="*/ 290182 h 298359"/>
                  <a:gd name="connsiteX51" fmla="*/ 86719 w 343338"/>
                  <a:gd name="connsiteY51" fmla="*/ 282827 h 298359"/>
                  <a:gd name="connsiteX52" fmla="*/ 70995 w 343338"/>
                  <a:gd name="connsiteY52" fmla="*/ 280550 h 298359"/>
                  <a:gd name="connsiteX53" fmla="*/ 42070 w 343338"/>
                  <a:gd name="connsiteY53" fmla="*/ 285352 h 298359"/>
                  <a:gd name="connsiteX54" fmla="*/ 34880 w 343338"/>
                  <a:gd name="connsiteY54" fmla="*/ 280879 h 298359"/>
                  <a:gd name="connsiteX55" fmla="*/ 19594 w 343338"/>
                  <a:gd name="connsiteY55" fmla="*/ 265895 h 298359"/>
                  <a:gd name="connsiteX56" fmla="*/ 5049 w 343338"/>
                  <a:gd name="connsiteY56" fmla="*/ 251158 h 298359"/>
                  <a:gd name="connsiteX57" fmla="*/ 0 w 343338"/>
                  <a:gd name="connsiteY57" fmla="*/ 236970 h 298359"/>
                  <a:gd name="connsiteX58" fmla="*/ 192 w 343338"/>
                  <a:gd name="connsiteY58" fmla="*/ 145310 h 298359"/>
                  <a:gd name="connsiteX59" fmla="*/ 19594 w 343338"/>
                  <a:gd name="connsiteY59" fmla="*/ 143993 h 298359"/>
                  <a:gd name="connsiteX60" fmla="*/ 59221 w 343338"/>
                  <a:gd name="connsiteY60" fmla="*/ 143746 h 298359"/>
                  <a:gd name="connsiteX61" fmla="*/ 55874 w 343338"/>
                  <a:gd name="connsiteY61" fmla="*/ 138011 h 298359"/>
                  <a:gd name="connsiteX62" fmla="*/ 59524 w 343338"/>
                  <a:gd name="connsiteY62" fmla="*/ 127555 h 298359"/>
                  <a:gd name="connsiteX63" fmla="*/ 60621 w 343338"/>
                  <a:gd name="connsiteY63" fmla="*/ 123521 h 298359"/>
                  <a:gd name="connsiteX64" fmla="*/ 58454 w 343338"/>
                  <a:gd name="connsiteY64" fmla="*/ 118142 h 298359"/>
                  <a:gd name="connsiteX65" fmla="*/ 58042 w 343338"/>
                  <a:gd name="connsiteY65" fmla="*/ 103680 h 298359"/>
                  <a:gd name="connsiteX66" fmla="*/ 60923 w 343338"/>
                  <a:gd name="connsiteY66" fmla="*/ 95474 h 298359"/>
                  <a:gd name="connsiteX67" fmla="*/ 58838 w 343338"/>
                  <a:gd name="connsiteY67" fmla="*/ 80490 h 298359"/>
                  <a:gd name="connsiteX68" fmla="*/ 61719 w 343338"/>
                  <a:gd name="connsiteY68" fmla="*/ 81204 h 298359"/>
                  <a:gd name="connsiteX69" fmla="*/ 63393 w 343338"/>
                  <a:gd name="connsiteY69" fmla="*/ 84415 h 298359"/>
                  <a:gd name="connsiteX70" fmla="*/ 69650 w 343338"/>
                  <a:gd name="connsiteY70" fmla="*/ 86582 h 298359"/>
                  <a:gd name="connsiteX71" fmla="*/ 70391 w 343338"/>
                  <a:gd name="connsiteY71" fmla="*/ 91275 h 298359"/>
                  <a:gd name="connsiteX72" fmla="*/ 68745 w 343338"/>
                  <a:gd name="connsiteY72" fmla="*/ 95474 h 298359"/>
                  <a:gd name="connsiteX73" fmla="*/ 72148 w 343338"/>
                  <a:gd name="connsiteY73" fmla="*/ 97697 h 298359"/>
                  <a:gd name="connsiteX74" fmla="*/ 85073 w 343338"/>
                  <a:gd name="connsiteY74" fmla="*/ 91852 h 298359"/>
                  <a:gd name="connsiteX75" fmla="*/ 97834 w 343338"/>
                  <a:gd name="connsiteY75" fmla="*/ 90150 h 298359"/>
                  <a:gd name="connsiteX76" fmla="*/ 96764 w 343338"/>
                  <a:gd name="connsiteY76" fmla="*/ 95529 h 298359"/>
                  <a:gd name="connsiteX77" fmla="*/ 98438 w 343338"/>
                  <a:gd name="connsiteY77" fmla="*/ 102445 h 298359"/>
                  <a:gd name="connsiteX78" fmla="*/ 103487 w 343338"/>
                  <a:gd name="connsiteY78" fmla="*/ 106753 h 298359"/>
                  <a:gd name="connsiteX79" fmla="*/ 107302 w 343338"/>
                  <a:gd name="connsiteY79" fmla="*/ 106204 h 298359"/>
                  <a:gd name="connsiteX80" fmla="*/ 118361 w 343338"/>
                  <a:gd name="connsiteY80" fmla="*/ 111830 h 298359"/>
                  <a:gd name="connsiteX81" fmla="*/ 131232 w 343338"/>
                  <a:gd name="connsiteY81" fmla="*/ 111748 h 298359"/>
                  <a:gd name="connsiteX82" fmla="*/ 138065 w 343338"/>
                  <a:gd name="connsiteY82" fmla="*/ 113778 h 298359"/>
                  <a:gd name="connsiteX83" fmla="*/ 143581 w 343338"/>
                  <a:gd name="connsiteY83" fmla="*/ 112900 h 298359"/>
                  <a:gd name="connsiteX84" fmla="*/ 146792 w 343338"/>
                  <a:gd name="connsiteY84" fmla="*/ 109443 h 298359"/>
                  <a:gd name="connsiteX85" fmla="*/ 148768 w 343338"/>
                  <a:gd name="connsiteY85" fmla="*/ 102335 h 298359"/>
                  <a:gd name="connsiteX86" fmla="*/ 152583 w 343338"/>
                  <a:gd name="connsiteY86" fmla="*/ 101512 h 298359"/>
                  <a:gd name="connsiteX87" fmla="*/ 154174 w 343338"/>
                  <a:gd name="connsiteY87" fmla="*/ 106918 h 298359"/>
                  <a:gd name="connsiteX88" fmla="*/ 160157 w 343338"/>
                  <a:gd name="connsiteY88" fmla="*/ 111556 h 298359"/>
                  <a:gd name="connsiteX89" fmla="*/ 162133 w 343338"/>
                  <a:gd name="connsiteY89" fmla="*/ 117813 h 298359"/>
                  <a:gd name="connsiteX90" fmla="*/ 165700 w 343338"/>
                  <a:gd name="connsiteY90" fmla="*/ 121710 h 298359"/>
                  <a:gd name="connsiteX91" fmla="*/ 173110 w 343338"/>
                  <a:gd name="connsiteY91" fmla="*/ 121106 h 298359"/>
                  <a:gd name="connsiteX92" fmla="*/ 175854 w 343338"/>
                  <a:gd name="connsiteY92" fmla="*/ 124289 h 298359"/>
                  <a:gd name="connsiteX93" fmla="*/ 186941 w 343338"/>
                  <a:gd name="connsiteY93" fmla="*/ 127472 h 298359"/>
                  <a:gd name="connsiteX94" fmla="*/ 191168 w 343338"/>
                  <a:gd name="connsiteY94" fmla="*/ 132495 h 298359"/>
                  <a:gd name="connsiteX95" fmla="*/ 190536 w 343338"/>
                  <a:gd name="connsiteY95" fmla="*/ 135760 h 298359"/>
                  <a:gd name="connsiteX96" fmla="*/ 192869 w 343338"/>
                  <a:gd name="connsiteY96" fmla="*/ 139136 h 298359"/>
                  <a:gd name="connsiteX97" fmla="*/ 196245 w 343338"/>
                  <a:gd name="connsiteY97" fmla="*/ 139191 h 298359"/>
                  <a:gd name="connsiteX98" fmla="*/ 199648 w 343338"/>
                  <a:gd name="connsiteY98" fmla="*/ 142539 h 298359"/>
                  <a:gd name="connsiteX99" fmla="*/ 205850 w 343338"/>
                  <a:gd name="connsiteY99" fmla="*/ 155629 h 298359"/>
                  <a:gd name="connsiteX100" fmla="*/ 212052 w 343338"/>
                  <a:gd name="connsiteY100" fmla="*/ 156644 h 298359"/>
                  <a:gd name="connsiteX101" fmla="*/ 223715 w 343338"/>
                  <a:gd name="connsiteY101" fmla="*/ 150607 h 298359"/>
                  <a:gd name="connsiteX102" fmla="*/ 225334 w 343338"/>
                  <a:gd name="connsiteY102" fmla="*/ 151540 h 298359"/>
                  <a:gd name="connsiteX103" fmla="*/ 224510 w 343338"/>
                  <a:gd name="connsiteY103" fmla="*/ 156151 h 298359"/>
                  <a:gd name="connsiteX104" fmla="*/ 227996 w 343338"/>
                  <a:gd name="connsiteY104" fmla="*/ 157550 h 298359"/>
                  <a:gd name="connsiteX105" fmla="*/ 229670 w 343338"/>
                  <a:gd name="connsiteY105" fmla="*/ 155629 h 298359"/>
                  <a:gd name="connsiteX106" fmla="*/ 229725 w 343338"/>
                  <a:gd name="connsiteY106" fmla="*/ 127445 h 298359"/>
                  <a:gd name="connsiteX107" fmla="*/ 228764 w 343338"/>
                  <a:gd name="connsiteY107" fmla="*/ 118993 h 298359"/>
                  <a:gd name="connsiteX108" fmla="*/ 220531 w 343338"/>
                  <a:gd name="connsiteY108" fmla="*/ 121188 h 298359"/>
                  <a:gd name="connsiteX109" fmla="*/ 219735 w 343338"/>
                  <a:gd name="connsiteY109" fmla="*/ 124042 h 298359"/>
                  <a:gd name="connsiteX110" fmla="*/ 221163 w 343338"/>
                  <a:gd name="connsiteY110" fmla="*/ 127445 h 298359"/>
                  <a:gd name="connsiteX111" fmla="*/ 218995 w 343338"/>
                  <a:gd name="connsiteY111" fmla="*/ 127445 h 298359"/>
                  <a:gd name="connsiteX112" fmla="*/ 207222 w 343338"/>
                  <a:gd name="connsiteY112" fmla="*/ 124728 h 298359"/>
                  <a:gd name="connsiteX113" fmla="*/ 198632 w 343338"/>
                  <a:gd name="connsiteY113" fmla="*/ 113861 h 298359"/>
                  <a:gd name="connsiteX114" fmla="*/ 189329 w 343338"/>
                  <a:gd name="connsiteY114" fmla="*/ 107439 h 298359"/>
                  <a:gd name="connsiteX115" fmla="*/ 188231 w 343338"/>
                  <a:gd name="connsiteY115" fmla="*/ 98273 h 298359"/>
                  <a:gd name="connsiteX116" fmla="*/ 193006 w 343338"/>
                  <a:gd name="connsiteY116" fmla="*/ 78734 h 298359"/>
                  <a:gd name="connsiteX117" fmla="*/ 196574 w 343338"/>
                  <a:gd name="connsiteY117" fmla="*/ 73245 h 298359"/>
                  <a:gd name="connsiteX118" fmla="*/ 193994 w 343338"/>
                  <a:gd name="connsiteY118" fmla="*/ 60704 h 298359"/>
                  <a:gd name="connsiteX119" fmla="*/ 196464 w 343338"/>
                  <a:gd name="connsiteY119" fmla="*/ 48053 h 298359"/>
                  <a:gd name="connsiteX120" fmla="*/ 191689 w 343338"/>
                  <a:gd name="connsiteY120" fmla="*/ 34798 h 298359"/>
                  <a:gd name="connsiteX121" fmla="*/ 188616 w 343338"/>
                  <a:gd name="connsiteY121" fmla="*/ 31313 h 298359"/>
                  <a:gd name="connsiteX122" fmla="*/ 201514 w 343338"/>
                  <a:gd name="connsiteY122" fmla="*/ 19786 h 298359"/>
                  <a:gd name="connsiteX123" fmla="*/ 206782 w 343338"/>
                  <a:gd name="connsiteY123" fmla="*/ 8013 h 298359"/>
                  <a:gd name="connsiteX124" fmla="*/ 252859 w 343338"/>
                  <a:gd name="connsiteY124" fmla="*/ 2058 h 298359"/>
                  <a:gd name="connsiteX125" fmla="*/ 258074 w 343338"/>
                  <a:gd name="connsiteY125" fmla="*/ 0 h 298359"/>
                  <a:gd name="connsiteX126" fmla="*/ 266032 w 343338"/>
                  <a:gd name="connsiteY126" fmla="*/ 11828 h 298359"/>
                  <a:gd name="connsiteX127" fmla="*/ 275939 w 343338"/>
                  <a:gd name="connsiteY127" fmla="*/ 12432 h 298359"/>
                  <a:gd name="connsiteX128" fmla="*/ 280878 w 343338"/>
                  <a:gd name="connsiteY128" fmla="*/ 15204 h 298359"/>
                  <a:gd name="connsiteX129" fmla="*/ 283925 w 343338"/>
                  <a:gd name="connsiteY129" fmla="*/ 20610 h 298359"/>
                  <a:gd name="connsiteX130" fmla="*/ 290868 w 343338"/>
                  <a:gd name="connsiteY130" fmla="*/ 21543 h 298359"/>
                  <a:gd name="connsiteX131" fmla="*/ 294161 w 343338"/>
                  <a:gd name="connsiteY131" fmla="*/ 25742 h 298359"/>
                  <a:gd name="connsiteX132" fmla="*/ 301598 w 343338"/>
                  <a:gd name="connsiteY132" fmla="*/ 27855 h 298359"/>
                  <a:gd name="connsiteX133" fmla="*/ 306730 w 343338"/>
                  <a:gd name="connsiteY133" fmla="*/ 27937 h 298359"/>
                  <a:gd name="connsiteX134" fmla="*/ 310407 w 343338"/>
                  <a:gd name="connsiteY134" fmla="*/ 31395 h 298359"/>
                  <a:gd name="connsiteX135" fmla="*/ 322263 w 343338"/>
                  <a:gd name="connsiteY135" fmla="*/ 36005 h 29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43338" h="298359">
                    <a:moveTo>
                      <a:pt x="322180" y="35978"/>
                    </a:moveTo>
                    <a:lnTo>
                      <a:pt x="324239" y="42838"/>
                    </a:lnTo>
                    <a:lnTo>
                      <a:pt x="328575" y="42235"/>
                    </a:lnTo>
                    <a:lnTo>
                      <a:pt x="330166" y="44924"/>
                    </a:lnTo>
                    <a:lnTo>
                      <a:pt x="334282" y="50385"/>
                    </a:lnTo>
                    <a:lnTo>
                      <a:pt x="333460" y="55846"/>
                    </a:lnTo>
                    <a:lnTo>
                      <a:pt x="339332" y="60429"/>
                    </a:lnTo>
                    <a:lnTo>
                      <a:pt x="339853" y="64903"/>
                    </a:lnTo>
                    <a:lnTo>
                      <a:pt x="343339" y="70858"/>
                    </a:lnTo>
                    <a:lnTo>
                      <a:pt x="338509" y="77087"/>
                    </a:lnTo>
                    <a:lnTo>
                      <a:pt x="332252" y="80600"/>
                    </a:lnTo>
                    <a:lnTo>
                      <a:pt x="335133" y="88805"/>
                    </a:lnTo>
                    <a:lnTo>
                      <a:pt x="330496" y="99206"/>
                    </a:lnTo>
                    <a:lnTo>
                      <a:pt x="333267" y="106863"/>
                    </a:lnTo>
                    <a:lnTo>
                      <a:pt x="331703" y="117264"/>
                    </a:lnTo>
                    <a:lnTo>
                      <a:pt x="334118" y="123438"/>
                    </a:lnTo>
                    <a:lnTo>
                      <a:pt x="338838" y="124838"/>
                    </a:lnTo>
                    <a:lnTo>
                      <a:pt x="337549" y="127445"/>
                    </a:lnTo>
                    <a:lnTo>
                      <a:pt x="323745" y="134169"/>
                    </a:lnTo>
                    <a:lnTo>
                      <a:pt x="322455" y="137764"/>
                    </a:lnTo>
                    <a:lnTo>
                      <a:pt x="323937" y="141661"/>
                    </a:lnTo>
                    <a:lnTo>
                      <a:pt x="323415" y="150387"/>
                    </a:lnTo>
                    <a:lnTo>
                      <a:pt x="318668" y="159087"/>
                    </a:lnTo>
                    <a:lnTo>
                      <a:pt x="314771" y="162160"/>
                    </a:lnTo>
                    <a:lnTo>
                      <a:pt x="317954" y="164493"/>
                    </a:lnTo>
                    <a:lnTo>
                      <a:pt x="317598" y="167265"/>
                    </a:lnTo>
                    <a:lnTo>
                      <a:pt x="324129" y="174867"/>
                    </a:lnTo>
                    <a:lnTo>
                      <a:pt x="327751" y="172781"/>
                    </a:lnTo>
                    <a:lnTo>
                      <a:pt x="330660" y="174126"/>
                    </a:lnTo>
                    <a:lnTo>
                      <a:pt x="329617" y="174318"/>
                    </a:lnTo>
                    <a:lnTo>
                      <a:pt x="326159" y="175525"/>
                    </a:lnTo>
                    <a:lnTo>
                      <a:pt x="323223" y="176678"/>
                    </a:lnTo>
                    <a:lnTo>
                      <a:pt x="312164" y="180657"/>
                    </a:lnTo>
                    <a:lnTo>
                      <a:pt x="309145" y="181974"/>
                    </a:lnTo>
                    <a:lnTo>
                      <a:pt x="242458" y="204533"/>
                    </a:lnTo>
                    <a:lnTo>
                      <a:pt x="242239" y="208978"/>
                    </a:lnTo>
                    <a:lnTo>
                      <a:pt x="246301" y="215564"/>
                    </a:lnTo>
                    <a:lnTo>
                      <a:pt x="247590" y="223413"/>
                    </a:lnTo>
                    <a:lnTo>
                      <a:pt x="221821" y="224840"/>
                    </a:lnTo>
                    <a:lnTo>
                      <a:pt x="204697" y="233100"/>
                    </a:lnTo>
                    <a:lnTo>
                      <a:pt x="201761" y="236998"/>
                    </a:lnTo>
                    <a:lnTo>
                      <a:pt x="199044" y="250746"/>
                    </a:lnTo>
                    <a:lnTo>
                      <a:pt x="172067" y="264770"/>
                    </a:lnTo>
                    <a:lnTo>
                      <a:pt x="164109" y="277256"/>
                    </a:lnTo>
                    <a:lnTo>
                      <a:pt x="147341" y="295259"/>
                    </a:lnTo>
                    <a:lnTo>
                      <a:pt x="136968" y="298360"/>
                    </a:lnTo>
                    <a:lnTo>
                      <a:pt x="124344" y="293969"/>
                    </a:lnTo>
                    <a:lnTo>
                      <a:pt x="116056" y="296055"/>
                    </a:lnTo>
                    <a:lnTo>
                      <a:pt x="109141" y="291527"/>
                    </a:lnTo>
                    <a:lnTo>
                      <a:pt x="96160" y="290429"/>
                    </a:lnTo>
                    <a:lnTo>
                      <a:pt x="95941" y="290182"/>
                    </a:lnTo>
                    <a:lnTo>
                      <a:pt x="86719" y="282827"/>
                    </a:lnTo>
                    <a:lnTo>
                      <a:pt x="70995" y="280550"/>
                    </a:lnTo>
                    <a:lnTo>
                      <a:pt x="42070" y="285352"/>
                    </a:lnTo>
                    <a:lnTo>
                      <a:pt x="34880" y="280879"/>
                    </a:lnTo>
                    <a:lnTo>
                      <a:pt x="19594" y="265895"/>
                    </a:lnTo>
                    <a:lnTo>
                      <a:pt x="5049" y="251158"/>
                    </a:lnTo>
                    <a:lnTo>
                      <a:pt x="0" y="236970"/>
                    </a:lnTo>
                    <a:lnTo>
                      <a:pt x="192" y="145310"/>
                    </a:lnTo>
                    <a:lnTo>
                      <a:pt x="19594" y="143993"/>
                    </a:lnTo>
                    <a:lnTo>
                      <a:pt x="59221" y="143746"/>
                    </a:lnTo>
                    <a:lnTo>
                      <a:pt x="55874" y="138011"/>
                    </a:lnTo>
                    <a:lnTo>
                      <a:pt x="59524" y="127555"/>
                    </a:lnTo>
                    <a:lnTo>
                      <a:pt x="60621" y="123521"/>
                    </a:lnTo>
                    <a:lnTo>
                      <a:pt x="58454" y="118142"/>
                    </a:lnTo>
                    <a:lnTo>
                      <a:pt x="58042" y="103680"/>
                    </a:lnTo>
                    <a:lnTo>
                      <a:pt x="60923" y="95474"/>
                    </a:lnTo>
                    <a:lnTo>
                      <a:pt x="58838" y="80490"/>
                    </a:lnTo>
                    <a:lnTo>
                      <a:pt x="61719" y="81204"/>
                    </a:lnTo>
                    <a:lnTo>
                      <a:pt x="63393" y="84415"/>
                    </a:lnTo>
                    <a:lnTo>
                      <a:pt x="69650" y="86582"/>
                    </a:lnTo>
                    <a:lnTo>
                      <a:pt x="70391" y="91275"/>
                    </a:lnTo>
                    <a:lnTo>
                      <a:pt x="68745" y="95474"/>
                    </a:lnTo>
                    <a:lnTo>
                      <a:pt x="72148" y="97697"/>
                    </a:lnTo>
                    <a:lnTo>
                      <a:pt x="85073" y="91852"/>
                    </a:lnTo>
                    <a:lnTo>
                      <a:pt x="97834" y="90150"/>
                    </a:lnTo>
                    <a:lnTo>
                      <a:pt x="96764" y="95529"/>
                    </a:lnTo>
                    <a:lnTo>
                      <a:pt x="98438" y="102445"/>
                    </a:lnTo>
                    <a:lnTo>
                      <a:pt x="103487" y="106753"/>
                    </a:lnTo>
                    <a:lnTo>
                      <a:pt x="107302" y="106204"/>
                    </a:lnTo>
                    <a:lnTo>
                      <a:pt x="118361" y="111830"/>
                    </a:lnTo>
                    <a:lnTo>
                      <a:pt x="131232" y="111748"/>
                    </a:lnTo>
                    <a:lnTo>
                      <a:pt x="138065" y="113778"/>
                    </a:lnTo>
                    <a:lnTo>
                      <a:pt x="143581" y="112900"/>
                    </a:lnTo>
                    <a:lnTo>
                      <a:pt x="146792" y="109443"/>
                    </a:lnTo>
                    <a:lnTo>
                      <a:pt x="148768" y="102335"/>
                    </a:lnTo>
                    <a:lnTo>
                      <a:pt x="152583" y="101512"/>
                    </a:lnTo>
                    <a:lnTo>
                      <a:pt x="154174" y="106918"/>
                    </a:lnTo>
                    <a:lnTo>
                      <a:pt x="160157" y="111556"/>
                    </a:lnTo>
                    <a:lnTo>
                      <a:pt x="162133" y="117813"/>
                    </a:lnTo>
                    <a:lnTo>
                      <a:pt x="165700" y="121710"/>
                    </a:lnTo>
                    <a:lnTo>
                      <a:pt x="173110" y="121106"/>
                    </a:lnTo>
                    <a:lnTo>
                      <a:pt x="175854" y="124289"/>
                    </a:lnTo>
                    <a:lnTo>
                      <a:pt x="186941" y="127472"/>
                    </a:lnTo>
                    <a:lnTo>
                      <a:pt x="191168" y="132495"/>
                    </a:lnTo>
                    <a:lnTo>
                      <a:pt x="190536" y="135760"/>
                    </a:lnTo>
                    <a:lnTo>
                      <a:pt x="192869" y="139136"/>
                    </a:lnTo>
                    <a:lnTo>
                      <a:pt x="196245" y="139191"/>
                    </a:lnTo>
                    <a:lnTo>
                      <a:pt x="199648" y="142539"/>
                    </a:lnTo>
                    <a:lnTo>
                      <a:pt x="205850" y="155629"/>
                    </a:lnTo>
                    <a:lnTo>
                      <a:pt x="212052" y="156644"/>
                    </a:lnTo>
                    <a:lnTo>
                      <a:pt x="223715" y="150607"/>
                    </a:lnTo>
                    <a:lnTo>
                      <a:pt x="225334" y="151540"/>
                    </a:lnTo>
                    <a:lnTo>
                      <a:pt x="224510" y="156151"/>
                    </a:lnTo>
                    <a:lnTo>
                      <a:pt x="227996" y="157550"/>
                    </a:lnTo>
                    <a:lnTo>
                      <a:pt x="229670" y="155629"/>
                    </a:lnTo>
                    <a:lnTo>
                      <a:pt x="229725" y="127445"/>
                    </a:lnTo>
                    <a:lnTo>
                      <a:pt x="228764" y="118993"/>
                    </a:lnTo>
                    <a:lnTo>
                      <a:pt x="220531" y="121188"/>
                    </a:lnTo>
                    <a:lnTo>
                      <a:pt x="219735" y="124042"/>
                    </a:lnTo>
                    <a:lnTo>
                      <a:pt x="221163" y="127445"/>
                    </a:lnTo>
                    <a:lnTo>
                      <a:pt x="218995" y="127445"/>
                    </a:lnTo>
                    <a:lnTo>
                      <a:pt x="207222" y="124728"/>
                    </a:lnTo>
                    <a:lnTo>
                      <a:pt x="198632" y="113861"/>
                    </a:lnTo>
                    <a:lnTo>
                      <a:pt x="189329" y="107439"/>
                    </a:lnTo>
                    <a:lnTo>
                      <a:pt x="188231" y="98273"/>
                    </a:lnTo>
                    <a:lnTo>
                      <a:pt x="193006" y="78734"/>
                    </a:lnTo>
                    <a:lnTo>
                      <a:pt x="196574" y="73245"/>
                    </a:lnTo>
                    <a:lnTo>
                      <a:pt x="193994" y="60704"/>
                    </a:lnTo>
                    <a:lnTo>
                      <a:pt x="196464" y="48053"/>
                    </a:lnTo>
                    <a:lnTo>
                      <a:pt x="191689" y="34798"/>
                    </a:lnTo>
                    <a:lnTo>
                      <a:pt x="188616" y="31313"/>
                    </a:lnTo>
                    <a:lnTo>
                      <a:pt x="201514" y="19786"/>
                    </a:lnTo>
                    <a:lnTo>
                      <a:pt x="206782" y="8013"/>
                    </a:lnTo>
                    <a:lnTo>
                      <a:pt x="252859" y="2058"/>
                    </a:lnTo>
                    <a:lnTo>
                      <a:pt x="258074" y="0"/>
                    </a:lnTo>
                    <a:lnTo>
                      <a:pt x="266032" y="11828"/>
                    </a:lnTo>
                    <a:lnTo>
                      <a:pt x="275939" y="12432"/>
                    </a:lnTo>
                    <a:lnTo>
                      <a:pt x="280878" y="15204"/>
                    </a:lnTo>
                    <a:lnTo>
                      <a:pt x="283925" y="20610"/>
                    </a:lnTo>
                    <a:lnTo>
                      <a:pt x="290868" y="21543"/>
                    </a:lnTo>
                    <a:lnTo>
                      <a:pt x="294161" y="25742"/>
                    </a:lnTo>
                    <a:lnTo>
                      <a:pt x="301598" y="27855"/>
                    </a:lnTo>
                    <a:lnTo>
                      <a:pt x="306730" y="27937"/>
                    </a:lnTo>
                    <a:lnTo>
                      <a:pt x="310407" y="31395"/>
                    </a:lnTo>
                    <a:lnTo>
                      <a:pt x="322263" y="360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17" name="Group 2916">
              <a:extLst>
                <a:ext uri="{FF2B5EF4-FFF2-40B4-BE49-F238E27FC236}">
                  <a16:creationId xmlns:a16="http://schemas.microsoft.com/office/drawing/2014/main" id="{AE24E3D5-3823-3F09-B0C0-E2527BD161AE}"/>
                </a:ext>
              </a:extLst>
            </p:cNvPr>
            <p:cNvGrpSpPr/>
            <p:nvPr/>
          </p:nvGrpSpPr>
          <p:grpSpPr>
            <a:xfrm>
              <a:off x="983021" y="3529162"/>
              <a:ext cx="778626" cy="235435"/>
              <a:chOff x="-9952832" y="1854486"/>
              <a:chExt cx="7465175" cy="2257267"/>
            </a:xfrm>
            <a:solidFill>
              <a:srgbClr val="156168"/>
            </a:solidFill>
          </p:grpSpPr>
          <p:sp>
            <p:nvSpPr>
              <p:cNvPr id="2918" name="Freeform: Shape 2917">
                <a:extLst>
                  <a:ext uri="{FF2B5EF4-FFF2-40B4-BE49-F238E27FC236}">
                    <a16:creationId xmlns:a16="http://schemas.microsoft.com/office/drawing/2014/main" id="{2D8117E9-901E-CC97-82A9-BD4323DC1993}"/>
                  </a:ext>
                </a:extLst>
              </p:cNvPr>
              <p:cNvSpPr/>
              <p:nvPr/>
            </p:nvSpPr>
            <p:spPr>
              <a:xfrm>
                <a:off x="-5503502" y="3243869"/>
                <a:ext cx="100249" cy="128872"/>
              </a:xfrm>
              <a:custGeom>
                <a:avLst/>
                <a:gdLst>
                  <a:gd name="connsiteX0" fmla="*/ 46461 w 100249"/>
                  <a:gd name="connsiteY0" fmla="*/ 128790 h 128872"/>
                  <a:gd name="connsiteX1" fmla="*/ 43525 w 100249"/>
                  <a:gd name="connsiteY1" fmla="*/ 123356 h 128872"/>
                  <a:gd name="connsiteX2" fmla="*/ 45089 w 100249"/>
                  <a:gd name="connsiteY2" fmla="*/ 119569 h 128872"/>
                  <a:gd name="connsiteX3" fmla="*/ 43635 w 100249"/>
                  <a:gd name="connsiteY3" fmla="*/ 101786 h 128872"/>
                  <a:gd name="connsiteX4" fmla="*/ 44457 w 100249"/>
                  <a:gd name="connsiteY4" fmla="*/ 95501 h 128872"/>
                  <a:gd name="connsiteX5" fmla="*/ 47339 w 100249"/>
                  <a:gd name="connsiteY5" fmla="*/ 88174 h 128872"/>
                  <a:gd name="connsiteX6" fmla="*/ 47284 w 100249"/>
                  <a:gd name="connsiteY6" fmla="*/ 80106 h 128872"/>
                  <a:gd name="connsiteX7" fmla="*/ 43580 w 100249"/>
                  <a:gd name="connsiteY7" fmla="*/ 70583 h 128872"/>
                  <a:gd name="connsiteX8" fmla="*/ 42537 w 100249"/>
                  <a:gd name="connsiteY8" fmla="*/ 64655 h 128872"/>
                  <a:gd name="connsiteX9" fmla="*/ 35758 w 100249"/>
                  <a:gd name="connsiteY9" fmla="*/ 58591 h 128872"/>
                  <a:gd name="connsiteX10" fmla="*/ 22339 w 100249"/>
                  <a:gd name="connsiteY10" fmla="*/ 38091 h 128872"/>
                  <a:gd name="connsiteX11" fmla="*/ 20143 w 100249"/>
                  <a:gd name="connsiteY11" fmla="*/ 35758 h 128872"/>
                  <a:gd name="connsiteX12" fmla="*/ 15807 w 100249"/>
                  <a:gd name="connsiteY12" fmla="*/ 22311 h 128872"/>
                  <a:gd name="connsiteX13" fmla="*/ 11444 w 100249"/>
                  <a:gd name="connsiteY13" fmla="*/ 14792 h 128872"/>
                  <a:gd name="connsiteX14" fmla="*/ 5187 w 100249"/>
                  <a:gd name="connsiteY14" fmla="*/ 9303 h 128872"/>
                  <a:gd name="connsiteX15" fmla="*/ 0 w 100249"/>
                  <a:gd name="connsiteY15" fmla="*/ 8672 h 128872"/>
                  <a:gd name="connsiteX16" fmla="*/ 4281 w 100249"/>
                  <a:gd name="connsiteY16" fmla="*/ 6367 h 128872"/>
                  <a:gd name="connsiteX17" fmla="*/ 5379 w 100249"/>
                  <a:gd name="connsiteY17" fmla="*/ 2333 h 128872"/>
                  <a:gd name="connsiteX18" fmla="*/ 17097 w 100249"/>
                  <a:gd name="connsiteY18" fmla="*/ 3238 h 128872"/>
                  <a:gd name="connsiteX19" fmla="*/ 30791 w 100249"/>
                  <a:gd name="connsiteY19" fmla="*/ 0 h 128872"/>
                  <a:gd name="connsiteX20" fmla="*/ 42756 w 100249"/>
                  <a:gd name="connsiteY20" fmla="*/ 8397 h 128872"/>
                  <a:gd name="connsiteX21" fmla="*/ 49452 w 100249"/>
                  <a:gd name="connsiteY21" fmla="*/ 10126 h 128872"/>
                  <a:gd name="connsiteX22" fmla="*/ 53926 w 100249"/>
                  <a:gd name="connsiteY22" fmla="*/ 15286 h 128872"/>
                  <a:gd name="connsiteX23" fmla="*/ 61582 w 100249"/>
                  <a:gd name="connsiteY23" fmla="*/ 13941 h 128872"/>
                  <a:gd name="connsiteX24" fmla="*/ 68251 w 100249"/>
                  <a:gd name="connsiteY24" fmla="*/ 21296 h 128872"/>
                  <a:gd name="connsiteX25" fmla="*/ 74206 w 100249"/>
                  <a:gd name="connsiteY25" fmla="*/ 21817 h 128872"/>
                  <a:gd name="connsiteX26" fmla="*/ 76868 w 100249"/>
                  <a:gd name="connsiteY26" fmla="*/ 29748 h 128872"/>
                  <a:gd name="connsiteX27" fmla="*/ 75002 w 100249"/>
                  <a:gd name="connsiteY27" fmla="*/ 41988 h 128872"/>
                  <a:gd name="connsiteX28" fmla="*/ 81918 w 100249"/>
                  <a:gd name="connsiteY28" fmla="*/ 49534 h 128872"/>
                  <a:gd name="connsiteX29" fmla="*/ 86116 w 100249"/>
                  <a:gd name="connsiteY29" fmla="*/ 49589 h 128872"/>
                  <a:gd name="connsiteX30" fmla="*/ 87570 w 100249"/>
                  <a:gd name="connsiteY30" fmla="*/ 64271 h 128872"/>
                  <a:gd name="connsiteX31" fmla="*/ 97175 w 100249"/>
                  <a:gd name="connsiteY31" fmla="*/ 73218 h 128872"/>
                  <a:gd name="connsiteX32" fmla="*/ 97423 w 100249"/>
                  <a:gd name="connsiteY32" fmla="*/ 83426 h 128872"/>
                  <a:gd name="connsiteX33" fmla="*/ 100249 w 100249"/>
                  <a:gd name="connsiteY33" fmla="*/ 89354 h 128872"/>
                  <a:gd name="connsiteX34" fmla="*/ 95639 w 100249"/>
                  <a:gd name="connsiteY34" fmla="*/ 90479 h 128872"/>
                  <a:gd name="connsiteX35" fmla="*/ 91578 w 100249"/>
                  <a:gd name="connsiteY35" fmla="*/ 88339 h 128872"/>
                  <a:gd name="connsiteX36" fmla="*/ 87680 w 100249"/>
                  <a:gd name="connsiteY36" fmla="*/ 90233 h 128872"/>
                  <a:gd name="connsiteX37" fmla="*/ 82878 w 100249"/>
                  <a:gd name="connsiteY37" fmla="*/ 86637 h 128872"/>
                  <a:gd name="connsiteX38" fmla="*/ 77664 w 100249"/>
                  <a:gd name="connsiteY38" fmla="*/ 87543 h 128872"/>
                  <a:gd name="connsiteX39" fmla="*/ 75413 w 100249"/>
                  <a:gd name="connsiteY39" fmla="*/ 84085 h 128872"/>
                  <a:gd name="connsiteX40" fmla="*/ 69568 w 100249"/>
                  <a:gd name="connsiteY40" fmla="*/ 86418 h 128872"/>
                  <a:gd name="connsiteX41" fmla="*/ 68580 w 100249"/>
                  <a:gd name="connsiteY41" fmla="*/ 93910 h 128872"/>
                  <a:gd name="connsiteX42" fmla="*/ 70501 w 100249"/>
                  <a:gd name="connsiteY42" fmla="*/ 99398 h 128872"/>
                  <a:gd name="connsiteX43" fmla="*/ 69211 w 100249"/>
                  <a:gd name="connsiteY43" fmla="*/ 104393 h 128872"/>
                  <a:gd name="connsiteX44" fmla="*/ 64080 w 100249"/>
                  <a:gd name="connsiteY44" fmla="*/ 107631 h 128872"/>
                  <a:gd name="connsiteX45" fmla="*/ 62186 w 100249"/>
                  <a:gd name="connsiteY45" fmla="*/ 113394 h 128872"/>
                  <a:gd name="connsiteX46" fmla="*/ 56066 w 100249"/>
                  <a:gd name="connsiteY46" fmla="*/ 118828 h 128872"/>
                  <a:gd name="connsiteX47" fmla="*/ 54282 w 100249"/>
                  <a:gd name="connsiteY47" fmla="*/ 126649 h 128872"/>
                  <a:gd name="connsiteX48" fmla="*/ 46488 w 100249"/>
                  <a:gd name="connsiteY48" fmla="*/ 128872 h 12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249" h="128872">
                    <a:moveTo>
                      <a:pt x="46461" y="128790"/>
                    </a:moveTo>
                    <a:lnTo>
                      <a:pt x="43525" y="123356"/>
                    </a:lnTo>
                    <a:lnTo>
                      <a:pt x="45089" y="119569"/>
                    </a:lnTo>
                    <a:lnTo>
                      <a:pt x="43635" y="101786"/>
                    </a:lnTo>
                    <a:lnTo>
                      <a:pt x="44457" y="95501"/>
                    </a:lnTo>
                    <a:lnTo>
                      <a:pt x="47339" y="88174"/>
                    </a:lnTo>
                    <a:lnTo>
                      <a:pt x="47284" y="80106"/>
                    </a:lnTo>
                    <a:lnTo>
                      <a:pt x="43580" y="70583"/>
                    </a:lnTo>
                    <a:lnTo>
                      <a:pt x="42537" y="64655"/>
                    </a:lnTo>
                    <a:lnTo>
                      <a:pt x="35758" y="58591"/>
                    </a:lnTo>
                    <a:lnTo>
                      <a:pt x="22339" y="38091"/>
                    </a:lnTo>
                    <a:lnTo>
                      <a:pt x="20143" y="35758"/>
                    </a:lnTo>
                    <a:lnTo>
                      <a:pt x="15807" y="22311"/>
                    </a:lnTo>
                    <a:lnTo>
                      <a:pt x="11444" y="14792"/>
                    </a:lnTo>
                    <a:lnTo>
                      <a:pt x="5187" y="9303"/>
                    </a:lnTo>
                    <a:lnTo>
                      <a:pt x="0" y="8672"/>
                    </a:lnTo>
                    <a:lnTo>
                      <a:pt x="4281" y="6367"/>
                    </a:lnTo>
                    <a:lnTo>
                      <a:pt x="5379" y="2333"/>
                    </a:lnTo>
                    <a:lnTo>
                      <a:pt x="17097" y="3238"/>
                    </a:lnTo>
                    <a:lnTo>
                      <a:pt x="30791" y="0"/>
                    </a:lnTo>
                    <a:lnTo>
                      <a:pt x="42756" y="8397"/>
                    </a:lnTo>
                    <a:lnTo>
                      <a:pt x="49452" y="10126"/>
                    </a:lnTo>
                    <a:lnTo>
                      <a:pt x="53926" y="15286"/>
                    </a:lnTo>
                    <a:lnTo>
                      <a:pt x="61582" y="13941"/>
                    </a:lnTo>
                    <a:lnTo>
                      <a:pt x="68251" y="21296"/>
                    </a:lnTo>
                    <a:lnTo>
                      <a:pt x="74206" y="21817"/>
                    </a:lnTo>
                    <a:lnTo>
                      <a:pt x="76868" y="29748"/>
                    </a:lnTo>
                    <a:lnTo>
                      <a:pt x="75002" y="41988"/>
                    </a:lnTo>
                    <a:lnTo>
                      <a:pt x="81918" y="49534"/>
                    </a:lnTo>
                    <a:lnTo>
                      <a:pt x="86116" y="49589"/>
                    </a:lnTo>
                    <a:lnTo>
                      <a:pt x="87570" y="64271"/>
                    </a:lnTo>
                    <a:lnTo>
                      <a:pt x="97175" y="73218"/>
                    </a:lnTo>
                    <a:lnTo>
                      <a:pt x="97423" y="83426"/>
                    </a:lnTo>
                    <a:lnTo>
                      <a:pt x="100249" y="89354"/>
                    </a:lnTo>
                    <a:lnTo>
                      <a:pt x="95639" y="90479"/>
                    </a:lnTo>
                    <a:lnTo>
                      <a:pt x="91578" y="88339"/>
                    </a:lnTo>
                    <a:lnTo>
                      <a:pt x="87680" y="90233"/>
                    </a:lnTo>
                    <a:lnTo>
                      <a:pt x="82878" y="86637"/>
                    </a:lnTo>
                    <a:lnTo>
                      <a:pt x="77664" y="87543"/>
                    </a:lnTo>
                    <a:lnTo>
                      <a:pt x="75413" y="84085"/>
                    </a:lnTo>
                    <a:lnTo>
                      <a:pt x="69568" y="86418"/>
                    </a:lnTo>
                    <a:lnTo>
                      <a:pt x="68580" y="93910"/>
                    </a:lnTo>
                    <a:lnTo>
                      <a:pt x="70501" y="99398"/>
                    </a:lnTo>
                    <a:lnTo>
                      <a:pt x="69211" y="104393"/>
                    </a:lnTo>
                    <a:lnTo>
                      <a:pt x="64080" y="107631"/>
                    </a:lnTo>
                    <a:lnTo>
                      <a:pt x="62186" y="113394"/>
                    </a:lnTo>
                    <a:lnTo>
                      <a:pt x="56066" y="118828"/>
                    </a:lnTo>
                    <a:lnTo>
                      <a:pt x="54282" y="126649"/>
                    </a:lnTo>
                    <a:lnTo>
                      <a:pt x="46488" y="12887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2919" name="Graphic 33">
                <a:extLst>
                  <a:ext uri="{FF2B5EF4-FFF2-40B4-BE49-F238E27FC236}">
                    <a16:creationId xmlns:a16="http://schemas.microsoft.com/office/drawing/2014/main" id="{D9A7EE97-921D-5272-3030-C2949FEAB012}"/>
                  </a:ext>
                </a:extLst>
              </p:cNvPr>
              <p:cNvGrpSpPr/>
              <p:nvPr/>
            </p:nvGrpSpPr>
            <p:grpSpPr>
              <a:xfrm>
                <a:off x="-9952832" y="1854486"/>
                <a:ext cx="7465175" cy="2257267"/>
                <a:chOff x="-9952832" y="1854486"/>
                <a:chExt cx="7465175" cy="2257267"/>
              </a:xfrm>
              <a:grpFill/>
            </p:grpSpPr>
            <p:sp>
              <p:nvSpPr>
                <p:cNvPr id="2920" name="Freeform: Shape 2919">
                  <a:extLst>
                    <a:ext uri="{FF2B5EF4-FFF2-40B4-BE49-F238E27FC236}">
                      <a16:creationId xmlns:a16="http://schemas.microsoft.com/office/drawing/2014/main" id="{5A2E9F9A-C9AA-DC07-B44A-141650C9C9D5}"/>
                    </a:ext>
                  </a:extLst>
                </p:cNvPr>
                <p:cNvSpPr/>
                <p:nvPr/>
              </p:nvSpPr>
              <p:spPr>
                <a:xfrm>
                  <a:off x="-2492376" y="3837214"/>
                  <a:ext cx="4720" cy="3402"/>
                </a:xfrm>
                <a:custGeom>
                  <a:avLst/>
                  <a:gdLst>
                    <a:gd name="connsiteX0" fmla="*/ 4720 w 4720"/>
                    <a:gd name="connsiteY0" fmla="*/ 2717 h 3402"/>
                    <a:gd name="connsiteX1" fmla="*/ 1372 w 4720"/>
                    <a:gd name="connsiteY1" fmla="*/ 3403 h 3402"/>
                    <a:gd name="connsiteX2" fmla="*/ 0 w 4720"/>
                    <a:gd name="connsiteY2" fmla="*/ 2497 h 3402"/>
                    <a:gd name="connsiteX3" fmla="*/ 4089 w 4720"/>
                    <a:gd name="connsiteY3" fmla="*/ 0 h 3402"/>
                    <a:gd name="connsiteX4" fmla="*/ 4720 w 4720"/>
                    <a:gd name="connsiteY4" fmla="*/ 2717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0" h="3402">
                      <a:moveTo>
                        <a:pt x="4720" y="2717"/>
                      </a:moveTo>
                      <a:lnTo>
                        <a:pt x="1372" y="3403"/>
                      </a:lnTo>
                      <a:lnTo>
                        <a:pt x="0" y="2497"/>
                      </a:lnTo>
                      <a:lnTo>
                        <a:pt x="4089" y="0"/>
                      </a:lnTo>
                      <a:lnTo>
                        <a:pt x="4720" y="271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21" name="Freeform: Shape 2920">
                  <a:extLst>
                    <a:ext uri="{FF2B5EF4-FFF2-40B4-BE49-F238E27FC236}">
                      <a16:creationId xmlns:a16="http://schemas.microsoft.com/office/drawing/2014/main" id="{4B7679C6-0DEE-456D-8859-3856133DFF68}"/>
                    </a:ext>
                  </a:extLst>
                </p:cNvPr>
                <p:cNvSpPr/>
                <p:nvPr/>
              </p:nvSpPr>
              <p:spPr>
                <a:xfrm>
                  <a:off x="-9952832" y="3202952"/>
                  <a:ext cx="1696909" cy="908801"/>
                </a:xfrm>
                <a:custGeom>
                  <a:avLst/>
                  <a:gdLst>
                    <a:gd name="connsiteX0" fmla="*/ 876446 w 1696909"/>
                    <a:gd name="connsiteY0" fmla="*/ 2799 h 908801"/>
                    <a:gd name="connsiteX1" fmla="*/ 881276 w 1696909"/>
                    <a:gd name="connsiteY1" fmla="*/ 25742 h 908801"/>
                    <a:gd name="connsiteX2" fmla="*/ 884185 w 1696909"/>
                    <a:gd name="connsiteY2" fmla="*/ 28898 h 908801"/>
                    <a:gd name="connsiteX3" fmla="*/ 905179 w 1696909"/>
                    <a:gd name="connsiteY3" fmla="*/ 33069 h 908801"/>
                    <a:gd name="connsiteX4" fmla="*/ 908665 w 1696909"/>
                    <a:gd name="connsiteY4" fmla="*/ 37679 h 908801"/>
                    <a:gd name="connsiteX5" fmla="*/ 915580 w 1696909"/>
                    <a:gd name="connsiteY5" fmla="*/ 37075 h 908801"/>
                    <a:gd name="connsiteX6" fmla="*/ 920904 w 1696909"/>
                    <a:gd name="connsiteY6" fmla="*/ 33178 h 908801"/>
                    <a:gd name="connsiteX7" fmla="*/ 931744 w 1696909"/>
                    <a:gd name="connsiteY7" fmla="*/ 33343 h 908801"/>
                    <a:gd name="connsiteX8" fmla="*/ 941020 w 1696909"/>
                    <a:gd name="connsiteY8" fmla="*/ 37487 h 908801"/>
                    <a:gd name="connsiteX9" fmla="*/ 940471 w 1696909"/>
                    <a:gd name="connsiteY9" fmla="*/ 40643 h 908801"/>
                    <a:gd name="connsiteX10" fmla="*/ 944999 w 1696909"/>
                    <a:gd name="connsiteY10" fmla="*/ 41878 h 908801"/>
                    <a:gd name="connsiteX11" fmla="*/ 949280 w 1696909"/>
                    <a:gd name="connsiteY11" fmla="*/ 50166 h 908801"/>
                    <a:gd name="connsiteX12" fmla="*/ 951146 w 1696909"/>
                    <a:gd name="connsiteY12" fmla="*/ 49891 h 908801"/>
                    <a:gd name="connsiteX13" fmla="*/ 952162 w 1696909"/>
                    <a:gd name="connsiteY13" fmla="*/ 45473 h 908801"/>
                    <a:gd name="connsiteX14" fmla="*/ 957952 w 1696909"/>
                    <a:gd name="connsiteY14" fmla="*/ 45253 h 908801"/>
                    <a:gd name="connsiteX15" fmla="*/ 961190 w 1696909"/>
                    <a:gd name="connsiteY15" fmla="*/ 49837 h 908801"/>
                    <a:gd name="connsiteX16" fmla="*/ 966926 w 1696909"/>
                    <a:gd name="connsiteY16" fmla="*/ 52059 h 908801"/>
                    <a:gd name="connsiteX17" fmla="*/ 974363 w 1696909"/>
                    <a:gd name="connsiteY17" fmla="*/ 57987 h 908801"/>
                    <a:gd name="connsiteX18" fmla="*/ 981334 w 1696909"/>
                    <a:gd name="connsiteY18" fmla="*/ 57191 h 908801"/>
                    <a:gd name="connsiteX19" fmla="*/ 992475 w 1696909"/>
                    <a:gd name="connsiteY19" fmla="*/ 51264 h 908801"/>
                    <a:gd name="connsiteX20" fmla="*/ 995576 w 1696909"/>
                    <a:gd name="connsiteY20" fmla="*/ 54035 h 908801"/>
                    <a:gd name="connsiteX21" fmla="*/ 998129 w 1696909"/>
                    <a:gd name="connsiteY21" fmla="*/ 56313 h 908801"/>
                    <a:gd name="connsiteX22" fmla="*/ 1005401 w 1696909"/>
                    <a:gd name="connsiteY22" fmla="*/ 56313 h 908801"/>
                    <a:gd name="connsiteX23" fmla="*/ 1010066 w 1696909"/>
                    <a:gd name="connsiteY23" fmla="*/ 56313 h 908801"/>
                    <a:gd name="connsiteX24" fmla="*/ 1011685 w 1696909"/>
                    <a:gd name="connsiteY24" fmla="*/ 56313 h 908801"/>
                    <a:gd name="connsiteX25" fmla="*/ 1014293 w 1696909"/>
                    <a:gd name="connsiteY25" fmla="*/ 56313 h 908801"/>
                    <a:gd name="connsiteX26" fmla="*/ 1022416 w 1696909"/>
                    <a:gd name="connsiteY26" fmla="*/ 60896 h 908801"/>
                    <a:gd name="connsiteX27" fmla="*/ 1037180 w 1696909"/>
                    <a:gd name="connsiteY27" fmla="*/ 61500 h 908801"/>
                    <a:gd name="connsiteX28" fmla="*/ 1057598 w 1696909"/>
                    <a:gd name="connsiteY28" fmla="*/ 50495 h 908801"/>
                    <a:gd name="connsiteX29" fmla="*/ 1067258 w 1696909"/>
                    <a:gd name="connsiteY29" fmla="*/ 48272 h 908801"/>
                    <a:gd name="connsiteX30" fmla="*/ 1089569 w 1696909"/>
                    <a:gd name="connsiteY30" fmla="*/ 61664 h 908801"/>
                    <a:gd name="connsiteX31" fmla="*/ 1167589 w 1696909"/>
                    <a:gd name="connsiteY31" fmla="*/ 107851 h 908801"/>
                    <a:gd name="connsiteX32" fmla="*/ 1173462 w 1696909"/>
                    <a:gd name="connsiteY32" fmla="*/ 120200 h 908801"/>
                    <a:gd name="connsiteX33" fmla="*/ 1178841 w 1696909"/>
                    <a:gd name="connsiteY33" fmla="*/ 126540 h 908801"/>
                    <a:gd name="connsiteX34" fmla="*/ 1190669 w 1696909"/>
                    <a:gd name="connsiteY34" fmla="*/ 126100 h 908801"/>
                    <a:gd name="connsiteX35" fmla="*/ 1192425 w 1696909"/>
                    <a:gd name="connsiteY35" fmla="*/ 135870 h 908801"/>
                    <a:gd name="connsiteX36" fmla="*/ 1196294 w 1696909"/>
                    <a:gd name="connsiteY36" fmla="*/ 142923 h 908801"/>
                    <a:gd name="connsiteX37" fmla="*/ 1208452 w 1696909"/>
                    <a:gd name="connsiteY37" fmla="*/ 143829 h 908801"/>
                    <a:gd name="connsiteX38" fmla="*/ 1210894 w 1696909"/>
                    <a:gd name="connsiteY38" fmla="*/ 147479 h 908801"/>
                    <a:gd name="connsiteX39" fmla="*/ 1209412 w 1696909"/>
                    <a:gd name="connsiteY39" fmla="*/ 155794 h 908801"/>
                    <a:gd name="connsiteX40" fmla="*/ 1238886 w 1696909"/>
                    <a:gd name="connsiteY40" fmla="*/ 176897 h 908801"/>
                    <a:gd name="connsiteX41" fmla="*/ 1247229 w 1696909"/>
                    <a:gd name="connsiteY41" fmla="*/ 228216 h 908801"/>
                    <a:gd name="connsiteX42" fmla="*/ 1250110 w 1696909"/>
                    <a:gd name="connsiteY42" fmla="*/ 245615 h 908801"/>
                    <a:gd name="connsiteX43" fmla="*/ 1241603 w 1696909"/>
                    <a:gd name="connsiteY43" fmla="*/ 275006 h 908801"/>
                    <a:gd name="connsiteX44" fmla="*/ 1239298 w 1696909"/>
                    <a:gd name="connsiteY44" fmla="*/ 282910 h 908801"/>
                    <a:gd name="connsiteX45" fmla="*/ 1238337 w 1696909"/>
                    <a:gd name="connsiteY45" fmla="*/ 286230 h 908801"/>
                    <a:gd name="connsiteX46" fmla="*/ 1232162 w 1696909"/>
                    <a:gd name="connsiteY46" fmla="*/ 292981 h 908801"/>
                    <a:gd name="connsiteX47" fmla="*/ 1230241 w 1696909"/>
                    <a:gd name="connsiteY47" fmla="*/ 295094 h 908801"/>
                    <a:gd name="connsiteX48" fmla="*/ 1223161 w 1696909"/>
                    <a:gd name="connsiteY48" fmla="*/ 298964 h 908801"/>
                    <a:gd name="connsiteX49" fmla="*/ 1222173 w 1696909"/>
                    <a:gd name="connsiteY49" fmla="*/ 301598 h 908801"/>
                    <a:gd name="connsiteX50" fmla="*/ 1221213 w 1696909"/>
                    <a:gd name="connsiteY50" fmla="*/ 304150 h 908801"/>
                    <a:gd name="connsiteX51" fmla="*/ 1222969 w 1696909"/>
                    <a:gd name="connsiteY51" fmla="*/ 315183 h 908801"/>
                    <a:gd name="connsiteX52" fmla="*/ 1235099 w 1696909"/>
                    <a:gd name="connsiteY52" fmla="*/ 323223 h 908801"/>
                    <a:gd name="connsiteX53" fmla="*/ 1244155 w 1696909"/>
                    <a:gd name="connsiteY53" fmla="*/ 322455 h 908801"/>
                    <a:gd name="connsiteX54" fmla="*/ 1276592 w 1696909"/>
                    <a:gd name="connsiteY54" fmla="*/ 302888 h 908801"/>
                    <a:gd name="connsiteX55" fmla="*/ 1282163 w 1696909"/>
                    <a:gd name="connsiteY55" fmla="*/ 301598 h 908801"/>
                    <a:gd name="connsiteX56" fmla="*/ 1310265 w 1696909"/>
                    <a:gd name="connsiteY56" fmla="*/ 295122 h 908801"/>
                    <a:gd name="connsiteX57" fmla="*/ 1314546 w 1696909"/>
                    <a:gd name="connsiteY57" fmla="*/ 292981 h 908801"/>
                    <a:gd name="connsiteX58" fmla="*/ 1327993 w 1696909"/>
                    <a:gd name="connsiteY58" fmla="*/ 286230 h 908801"/>
                    <a:gd name="connsiteX59" fmla="*/ 1334497 w 1696909"/>
                    <a:gd name="connsiteY59" fmla="*/ 282910 h 908801"/>
                    <a:gd name="connsiteX60" fmla="*/ 1342401 w 1696909"/>
                    <a:gd name="connsiteY60" fmla="*/ 278848 h 908801"/>
                    <a:gd name="connsiteX61" fmla="*/ 1344706 w 1696909"/>
                    <a:gd name="connsiteY61" fmla="*/ 275006 h 908801"/>
                    <a:gd name="connsiteX62" fmla="*/ 1341193 w 1696909"/>
                    <a:gd name="connsiteY62" fmla="*/ 267185 h 908801"/>
                    <a:gd name="connsiteX63" fmla="*/ 1339108 w 1696909"/>
                    <a:gd name="connsiteY63" fmla="*/ 251817 h 908801"/>
                    <a:gd name="connsiteX64" fmla="*/ 1353378 w 1696909"/>
                    <a:gd name="connsiteY64" fmla="*/ 245505 h 908801"/>
                    <a:gd name="connsiteX65" fmla="*/ 1406507 w 1696909"/>
                    <a:gd name="connsiteY65" fmla="*/ 244791 h 908801"/>
                    <a:gd name="connsiteX66" fmla="*/ 1417457 w 1696909"/>
                    <a:gd name="connsiteY66" fmla="*/ 228243 h 908801"/>
                    <a:gd name="connsiteX67" fmla="*/ 1418665 w 1696909"/>
                    <a:gd name="connsiteY67" fmla="*/ 226377 h 908801"/>
                    <a:gd name="connsiteX68" fmla="*/ 1434335 w 1696909"/>
                    <a:gd name="connsiteY68" fmla="*/ 214165 h 908801"/>
                    <a:gd name="connsiteX69" fmla="*/ 1446766 w 1696909"/>
                    <a:gd name="connsiteY69" fmla="*/ 200416 h 908801"/>
                    <a:gd name="connsiteX70" fmla="*/ 1464797 w 1696909"/>
                    <a:gd name="connsiteY70" fmla="*/ 189247 h 908801"/>
                    <a:gd name="connsiteX71" fmla="*/ 1559502 w 1696909"/>
                    <a:gd name="connsiteY71" fmla="*/ 188972 h 908801"/>
                    <a:gd name="connsiteX72" fmla="*/ 1568421 w 1696909"/>
                    <a:gd name="connsiteY72" fmla="*/ 178023 h 908801"/>
                    <a:gd name="connsiteX73" fmla="*/ 1577862 w 1696909"/>
                    <a:gd name="connsiteY73" fmla="*/ 175608 h 908801"/>
                    <a:gd name="connsiteX74" fmla="*/ 1581951 w 1696909"/>
                    <a:gd name="connsiteY74" fmla="*/ 177309 h 908801"/>
                    <a:gd name="connsiteX75" fmla="*/ 1584009 w 1696909"/>
                    <a:gd name="connsiteY75" fmla="*/ 172918 h 908801"/>
                    <a:gd name="connsiteX76" fmla="*/ 1587659 w 1696909"/>
                    <a:gd name="connsiteY76" fmla="*/ 171848 h 908801"/>
                    <a:gd name="connsiteX77" fmla="*/ 1587714 w 1696909"/>
                    <a:gd name="connsiteY77" fmla="*/ 166195 h 908801"/>
                    <a:gd name="connsiteX78" fmla="*/ 1598910 w 1696909"/>
                    <a:gd name="connsiteY78" fmla="*/ 152144 h 908801"/>
                    <a:gd name="connsiteX79" fmla="*/ 1599487 w 1696909"/>
                    <a:gd name="connsiteY79" fmla="*/ 137928 h 908801"/>
                    <a:gd name="connsiteX80" fmla="*/ 1605195 w 1696909"/>
                    <a:gd name="connsiteY80" fmla="*/ 128570 h 908801"/>
                    <a:gd name="connsiteX81" fmla="*/ 1608406 w 1696909"/>
                    <a:gd name="connsiteY81" fmla="*/ 116852 h 908801"/>
                    <a:gd name="connsiteX82" fmla="*/ 1626298 w 1696909"/>
                    <a:gd name="connsiteY82" fmla="*/ 92318 h 908801"/>
                    <a:gd name="connsiteX83" fmla="*/ 1631293 w 1696909"/>
                    <a:gd name="connsiteY83" fmla="*/ 85704 h 908801"/>
                    <a:gd name="connsiteX84" fmla="*/ 1634202 w 1696909"/>
                    <a:gd name="connsiteY84" fmla="*/ 86665 h 908801"/>
                    <a:gd name="connsiteX85" fmla="*/ 1636095 w 1696909"/>
                    <a:gd name="connsiteY85" fmla="*/ 93059 h 908801"/>
                    <a:gd name="connsiteX86" fmla="*/ 1639636 w 1696909"/>
                    <a:gd name="connsiteY86" fmla="*/ 95694 h 908801"/>
                    <a:gd name="connsiteX87" fmla="*/ 1659614 w 1696909"/>
                    <a:gd name="connsiteY87" fmla="*/ 90013 h 908801"/>
                    <a:gd name="connsiteX88" fmla="*/ 1671030 w 1696909"/>
                    <a:gd name="connsiteY88" fmla="*/ 101347 h 908801"/>
                    <a:gd name="connsiteX89" fmla="*/ 1672128 w 1696909"/>
                    <a:gd name="connsiteY89" fmla="*/ 158346 h 908801"/>
                    <a:gd name="connsiteX90" fmla="*/ 1681980 w 1696909"/>
                    <a:gd name="connsiteY90" fmla="*/ 166304 h 908801"/>
                    <a:gd name="connsiteX91" fmla="*/ 1682419 w 1696909"/>
                    <a:gd name="connsiteY91" fmla="*/ 178709 h 908801"/>
                    <a:gd name="connsiteX92" fmla="*/ 1684889 w 1696909"/>
                    <a:gd name="connsiteY92" fmla="*/ 182167 h 908801"/>
                    <a:gd name="connsiteX93" fmla="*/ 1687551 w 1696909"/>
                    <a:gd name="connsiteY93" fmla="*/ 181371 h 908801"/>
                    <a:gd name="connsiteX94" fmla="*/ 1688128 w 1696909"/>
                    <a:gd name="connsiteY94" fmla="*/ 181755 h 908801"/>
                    <a:gd name="connsiteX95" fmla="*/ 1688402 w 1696909"/>
                    <a:gd name="connsiteY95" fmla="*/ 182112 h 908801"/>
                    <a:gd name="connsiteX96" fmla="*/ 1688676 w 1696909"/>
                    <a:gd name="connsiteY96" fmla="*/ 182386 h 908801"/>
                    <a:gd name="connsiteX97" fmla="*/ 1688896 w 1696909"/>
                    <a:gd name="connsiteY97" fmla="*/ 182386 h 908801"/>
                    <a:gd name="connsiteX98" fmla="*/ 1689527 w 1696909"/>
                    <a:gd name="connsiteY98" fmla="*/ 182386 h 908801"/>
                    <a:gd name="connsiteX99" fmla="*/ 1690789 w 1696909"/>
                    <a:gd name="connsiteY99" fmla="*/ 182935 h 908801"/>
                    <a:gd name="connsiteX100" fmla="*/ 1691311 w 1696909"/>
                    <a:gd name="connsiteY100" fmla="*/ 184252 h 908801"/>
                    <a:gd name="connsiteX101" fmla="*/ 1692107 w 1696909"/>
                    <a:gd name="connsiteY101" fmla="*/ 185350 h 908801"/>
                    <a:gd name="connsiteX102" fmla="*/ 1692354 w 1696909"/>
                    <a:gd name="connsiteY102" fmla="*/ 185981 h 908801"/>
                    <a:gd name="connsiteX103" fmla="*/ 1692354 w 1696909"/>
                    <a:gd name="connsiteY103" fmla="*/ 186530 h 908801"/>
                    <a:gd name="connsiteX104" fmla="*/ 1692271 w 1696909"/>
                    <a:gd name="connsiteY104" fmla="*/ 187051 h 908801"/>
                    <a:gd name="connsiteX105" fmla="*/ 1692655 w 1696909"/>
                    <a:gd name="connsiteY105" fmla="*/ 187738 h 908801"/>
                    <a:gd name="connsiteX106" fmla="*/ 1692957 w 1696909"/>
                    <a:gd name="connsiteY106" fmla="*/ 187957 h 908801"/>
                    <a:gd name="connsiteX107" fmla="*/ 1693204 w 1696909"/>
                    <a:gd name="connsiteY107" fmla="*/ 188286 h 908801"/>
                    <a:gd name="connsiteX108" fmla="*/ 1693918 w 1696909"/>
                    <a:gd name="connsiteY108" fmla="*/ 189988 h 908801"/>
                    <a:gd name="connsiteX109" fmla="*/ 1693918 w 1696909"/>
                    <a:gd name="connsiteY109" fmla="*/ 190619 h 908801"/>
                    <a:gd name="connsiteX110" fmla="*/ 1694220 w 1696909"/>
                    <a:gd name="connsiteY110" fmla="*/ 191003 h 908801"/>
                    <a:gd name="connsiteX111" fmla="*/ 1694357 w 1696909"/>
                    <a:gd name="connsiteY111" fmla="*/ 191195 h 908801"/>
                    <a:gd name="connsiteX112" fmla="*/ 1694439 w 1696909"/>
                    <a:gd name="connsiteY112" fmla="*/ 191250 h 908801"/>
                    <a:gd name="connsiteX113" fmla="*/ 1694522 w 1696909"/>
                    <a:gd name="connsiteY113" fmla="*/ 191497 h 908801"/>
                    <a:gd name="connsiteX114" fmla="*/ 1694632 w 1696909"/>
                    <a:gd name="connsiteY114" fmla="*/ 191689 h 908801"/>
                    <a:gd name="connsiteX115" fmla="*/ 1694824 w 1696909"/>
                    <a:gd name="connsiteY115" fmla="*/ 191854 h 908801"/>
                    <a:gd name="connsiteX116" fmla="*/ 1694961 w 1696909"/>
                    <a:gd name="connsiteY116" fmla="*/ 191936 h 908801"/>
                    <a:gd name="connsiteX117" fmla="*/ 1695125 w 1696909"/>
                    <a:gd name="connsiteY117" fmla="*/ 191936 h 908801"/>
                    <a:gd name="connsiteX118" fmla="*/ 1695263 w 1696909"/>
                    <a:gd name="connsiteY118" fmla="*/ 192046 h 908801"/>
                    <a:gd name="connsiteX119" fmla="*/ 1695098 w 1696909"/>
                    <a:gd name="connsiteY119" fmla="*/ 192265 h 908801"/>
                    <a:gd name="connsiteX120" fmla="*/ 1695098 w 1696909"/>
                    <a:gd name="connsiteY120" fmla="*/ 192375 h 908801"/>
                    <a:gd name="connsiteX121" fmla="*/ 1695235 w 1696909"/>
                    <a:gd name="connsiteY121" fmla="*/ 192458 h 908801"/>
                    <a:gd name="connsiteX122" fmla="*/ 1695427 w 1696909"/>
                    <a:gd name="connsiteY122" fmla="*/ 192567 h 908801"/>
                    <a:gd name="connsiteX123" fmla="*/ 1695510 w 1696909"/>
                    <a:gd name="connsiteY123" fmla="*/ 192705 h 908801"/>
                    <a:gd name="connsiteX124" fmla="*/ 1695756 w 1696909"/>
                    <a:gd name="connsiteY124" fmla="*/ 192814 h 908801"/>
                    <a:gd name="connsiteX125" fmla="*/ 1695894 w 1696909"/>
                    <a:gd name="connsiteY125" fmla="*/ 192732 h 908801"/>
                    <a:gd name="connsiteX126" fmla="*/ 1695949 w 1696909"/>
                    <a:gd name="connsiteY126" fmla="*/ 192869 h 908801"/>
                    <a:gd name="connsiteX127" fmla="*/ 1696086 w 1696909"/>
                    <a:gd name="connsiteY127" fmla="*/ 193006 h 908801"/>
                    <a:gd name="connsiteX128" fmla="*/ 1696086 w 1696909"/>
                    <a:gd name="connsiteY128" fmla="*/ 193226 h 908801"/>
                    <a:gd name="connsiteX129" fmla="*/ 1696086 w 1696909"/>
                    <a:gd name="connsiteY129" fmla="*/ 193363 h 908801"/>
                    <a:gd name="connsiteX130" fmla="*/ 1696031 w 1696909"/>
                    <a:gd name="connsiteY130" fmla="*/ 193500 h 908801"/>
                    <a:gd name="connsiteX131" fmla="*/ 1696031 w 1696909"/>
                    <a:gd name="connsiteY131" fmla="*/ 193637 h 908801"/>
                    <a:gd name="connsiteX132" fmla="*/ 1695949 w 1696909"/>
                    <a:gd name="connsiteY132" fmla="*/ 193912 h 908801"/>
                    <a:gd name="connsiteX133" fmla="*/ 1695949 w 1696909"/>
                    <a:gd name="connsiteY133" fmla="*/ 194324 h 908801"/>
                    <a:gd name="connsiteX134" fmla="*/ 1696031 w 1696909"/>
                    <a:gd name="connsiteY134" fmla="*/ 194488 h 908801"/>
                    <a:gd name="connsiteX135" fmla="*/ 1696031 w 1696909"/>
                    <a:gd name="connsiteY135" fmla="*/ 194626 h 908801"/>
                    <a:gd name="connsiteX136" fmla="*/ 1695921 w 1696909"/>
                    <a:gd name="connsiteY136" fmla="*/ 194763 h 908801"/>
                    <a:gd name="connsiteX137" fmla="*/ 1695811 w 1696909"/>
                    <a:gd name="connsiteY137" fmla="*/ 194763 h 908801"/>
                    <a:gd name="connsiteX138" fmla="*/ 1695619 w 1696909"/>
                    <a:gd name="connsiteY138" fmla="*/ 194763 h 908801"/>
                    <a:gd name="connsiteX139" fmla="*/ 1695455 w 1696909"/>
                    <a:gd name="connsiteY139" fmla="*/ 194845 h 908801"/>
                    <a:gd name="connsiteX140" fmla="*/ 1695318 w 1696909"/>
                    <a:gd name="connsiteY140" fmla="*/ 195010 h 908801"/>
                    <a:gd name="connsiteX141" fmla="*/ 1695263 w 1696909"/>
                    <a:gd name="connsiteY141" fmla="*/ 195120 h 908801"/>
                    <a:gd name="connsiteX142" fmla="*/ 1696552 w 1696909"/>
                    <a:gd name="connsiteY142" fmla="*/ 197013 h 908801"/>
                    <a:gd name="connsiteX143" fmla="*/ 1696744 w 1696909"/>
                    <a:gd name="connsiteY143" fmla="*/ 197013 h 908801"/>
                    <a:gd name="connsiteX144" fmla="*/ 1696909 w 1696909"/>
                    <a:gd name="connsiteY144" fmla="*/ 197095 h 908801"/>
                    <a:gd name="connsiteX145" fmla="*/ 1696717 w 1696909"/>
                    <a:gd name="connsiteY145" fmla="*/ 197315 h 908801"/>
                    <a:gd name="connsiteX146" fmla="*/ 1696552 w 1696909"/>
                    <a:gd name="connsiteY146" fmla="*/ 197370 h 908801"/>
                    <a:gd name="connsiteX147" fmla="*/ 1689994 w 1696909"/>
                    <a:gd name="connsiteY147" fmla="*/ 203627 h 908801"/>
                    <a:gd name="connsiteX148" fmla="*/ 1681267 w 1696909"/>
                    <a:gd name="connsiteY148" fmla="*/ 208210 h 908801"/>
                    <a:gd name="connsiteX149" fmla="*/ 1671470 w 1696909"/>
                    <a:gd name="connsiteY149" fmla="*/ 209884 h 908801"/>
                    <a:gd name="connsiteX150" fmla="*/ 1660849 w 1696909"/>
                    <a:gd name="connsiteY150" fmla="*/ 216827 h 908801"/>
                    <a:gd name="connsiteX151" fmla="*/ 1655635 w 1696909"/>
                    <a:gd name="connsiteY151" fmla="*/ 224429 h 908801"/>
                    <a:gd name="connsiteX152" fmla="*/ 1652067 w 1696909"/>
                    <a:gd name="connsiteY152" fmla="*/ 216196 h 908801"/>
                    <a:gd name="connsiteX153" fmla="*/ 1647402 w 1696909"/>
                    <a:gd name="connsiteY153" fmla="*/ 225910 h 908801"/>
                    <a:gd name="connsiteX154" fmla="*/ 1642627 w 1696909"/>
                    <a:gd name="connsiteY154" fmla="*/ 213808 h 908801"/>
                    <a:gd name="connsiteX155" fmla="*/ 1639828 w 1696909"/>
                    <a:gd name="connsiteY155" fmla="*/ 212985 h 908801"/>
                    <a:gd name="connsiteX156" fmla="*/ 1634092 w 1696909"/>
                    <a:gd name="connsiteY156" fmla="*/ 228518 h 908801"/>
                    <a:gd name="connsiteX157" fmla="*/ 1629564 w 1696909"/>
                    <a:gd name="connsiteY157" fmla="*/ 233100 h 908801"/>
                    <a:gd name="connsiteX158" fmla="*/ 1626436 w 1696909"/>
                    <a:gd name="connsiteY158" fmla="*/ 234418 h 908801"/>
                    <a:gd name="connsiteX159" fmla="*/ 1612934 w 1696909"/>
                    <a:gd name="connsiteY159" fmla="*/ 239961 h 908801"/>
                    <a:gd name="connsiteX160" fmla="*/ 1606649 w 1696909"/>
                    <a:gd name="connsiteY160" fmla="*/ 239907 h 908801"/>
                    <a:gd name="connsiteX161" fmla="*/ 1590897 w 1696909"/>
                    <a:gd name="connsiteY161" fmla="*/ 260598 h 908801"/>
                    <a:gd name="connsiteX162" fmla="*/ 1585546 w 1696909"/>
                    <a:gd name="connsiteY162" fmla="*/ 274100 h 908801"/>
                    <a:gd name="connsiteX163" fmla="*/ 1586479 w 1696909"/>
                    <a:gd name="connsiteY163" fmla="*/ 285956 h 908801"/>
                    <a:gd name="connsiteX164" fmla="*/ 1581127 w 1696909"/>
                    <a:gd name="connsiteY164" fmla="*/ 293228 h 908801"/>
                    <a:gd name="connsiteX165" fmla="*/ 1581127 w 1696909"/>
                    <a:gd name="connsiteY165" fmla="*/ 299897 h 908801"/>
                    <a:gd name="connsiteX166" fmla="*/ 1593641 w 1696909"/>
                    <a:gd name="connsiteY166" fmla="*/ 317158 h 908801"/>
                    <a:gd name="connsiteX167" fmla="*/ 1604399 w 1696909"/>
                    <a:gd name="connsiteY167" fmla="*/ 319519 h 908801"/>
                    <a:gd name="connsiteX168" fmla="*/ 1605359 w 1696909"/>
                    <a:gd name="connsiteY168" fmla="*/ 321879 h 908801"/>
                    <a:gd name="connsiteX169" fmla="*/ 1594629 w 1696909"/>
                    <a:gd name="connsiteY169" fmla="*/ 326517 h 908801"/>
                    <a:gd name="connsiteX170" fmla="*/ 1584174 w 1696909"/>
                    <a:gd name="connsiteY170" fmla="*/ 325556 h 908801"/>
                    <a:gd name="connsiteX171" fmla="*/ 1573745 w 1696909"/>
                    <a:gd name="connsiteY171" fmla="*/ 329316 h 908801"/>
                    <a:gd name="connsiteX172" fmla="*/ 1568119 w 1696909"/>
                    <a:gd name="connsiteY172" fmla="*/ 326270 h 908801"/>
                    <a:gd name="connsiteX173" fmla="*/ 1557471 w 1696909"/>
                    <a:gd name="connsiteY173" fmla="*/ 335655 h 908801"/>
                    <a:gd name="connsiteX174" fmla="*/ 1520478 w 1696909"/>
                    <a:gd name="connsiteY174" fmla="*/ 341912 h 908801"/>
                    <a:gd name="connsiteX175" fmla="*/ 1510489 w 1696909"/>
                    <a:gd name="connsiteY175" fmla="*/ 346413 h 908801"/>
                    <a:gd name="connsiteX176" fmla="*/ 1508980 w 1696909"/>
                    <a:gd name="connsiteY176" fmla="*/ 349486 h 908801"/>
                    <a:gd name="connsiteX177" fmla="*/ 1524430 w 1696909"/>
                    <a:gd name="connsiteY177" fmla="*/ 350584 h 908801"/>
                    <a:gd name="connsiteX178" fmla="*/ 1535874 w 1696909"/>
                    <a:gd name="connsiteY178" fmla="*/ 348361 h 908801"/>
                    <a:gd name="connsiteX179" fmla="*/ 1538591 w 1696909"/>
                    <a:gd name="connsiteY179" fmla="*/ 350557 h 908801"/>
                    <a:gd name="connsiteX180" fmla="*/ 1524677 w 1696909"/>
                    <a:gd name="connsiteY180" fmla="*/ 359146 h 908801"/>
                    <a:gd name="connsiteX181" fmla="*/ 1487574 w 1696909"/>
                    <a:gd name="connsiteY181" fmla="*/ 368367 h 908801"/>
                    <a:gd name="connsiteX182" fmla="*/ 1486367 w 1696909"/>
                    <a:gd name="connsiteY182" fmla="*/ 372237 h 908801"/>
                    <a:gd name="connsiteX183" fmla="*/ 1487794 w 1696909"/>
                    <a:gd name="connsiteY183" fmla="*/ 382006 h 908801"/>
                    <a:gd name="connsiteX184" fmla="*/ 1483924 w 1696909"/>
                    <a:gd name="connsiteY184" fmla="*/ 397704 h 908801"/>
                    <a:gd name="connsiteX185" fmla="*/ 1466278 w 1696909"/>
                    <a:gd name="connsiteY185" fmla="*/ 423061 h 908801"/>
                    <a:gd name="connsiteX186" fmla="*/ 1462958 w 1696909"/>
                    <a:gd name="connsiteY186" fmla="*/ 424186 h 908801"/>
                    <a:gd name="connsiteX187" fmla="*/ 1457414 w 1696909"/>
                    <a:gd name="connsiteY187" fmla="*/ 418945 h 908801"/>
                    <a:gd name="connsiteX188" fmla="*/ 1448715 w 1696909"/>
                    <a:gd name="connsiteY188" fmla="*/ 416145 h 908801"/>
                    <a:gd name="connsiteX189" fmla="*/ 1450114 w 1696909"/>
                    <a:gd name="connsiteY189" fmla="*/ 424488 h 908801"/>
                    <a:gd name="connsiteX190" fmla="*/ 1456262 w 1696909"/>
                    <a:gd name="connsiteY190" fmla="*/ 437578 h 908801"/>
                    <a:gd name="connsiteX191" fmla="*/ 1456728 w 1696909"/>
                    <a:gd name="connsiteY191" fmla="*/ 449543 h 908801"/>
                    <a:gd name="connsiteX192" fmla="*/ 1452502 w 1696909"/>
                    <a:gd name="connsiteY192" fmla="*/ 460328 h 908801"/>
                    <a:gd name="connsiteX193" fmla="*/ 1434664 w 1696909"/>
                    <a:gd name="connsiteY193" fmla="*/ 487250 h 908801"/>
                    <a:gd name="connsiteX194" fmla="*/ 1433512 w 1696909"/>
                    <a:gd name="connsiteY194" fmla="*/ 483134 h 908801"/>
                    <a:gd name="connsiteX195" fmla="*/ 1436942 w 1696909"/>
                    <a:gd name="connsiteY195" fmla="*/ 466174 h 908801"/>
                    <a:gd name="connsiteX196" fmla="*/ 1424373 w 1696909"/>
                    <a:gd name="connsiteY196" fmla="*/ 444192 h 908801"/>
                    <a:gd name="connsiteX197" fmla="*/ 1423303 w 1696909"/>
                    <a:gd name="connsiteY197" fmla="*/ 428028 h 908801"/>
                    <a:gd name="connsiteX198" fmla="*/ 1426459 w 1696909"/>
                    <a:gd name="connsiteY198" fmla="*/ 413675 h 908801"/>
                    <a:gd name="connsiteX199" fmla="*/ 1420229 w 1696909"/>
                    <a:gd name="connsiteY199" fmla="*/ 415734 h 908801"/>
                    <a:gd name="connsiteX200" fmla="*/ 1416524 w 1696909"/>
                    <a:gd name="connsiteY200" fmla="*/ 438511 h 908801"/>
                    <a:gd name="connsiteX201" fmla="*/ 1417869 w 1696909"/>
                    <a:gd name="connsiteY201" fmla="*/ 455553 h 908801"/>
                    <a:gd name="connsiteX202" fmla="*/ 1407935 w 1696909"/>
                    <a:gd name="connsiteY202" fmla="*/ 456981 h 908801"/>
                    <a:gd name="connsiteX203" fmla="*/ 1421135 w 1696909"/>
                    <a:gd name="connsiteY203" fmla="*/ 471416 h 908801"/>
                    <a:gd name="connsiteX204" fmla="*/ 1421931 w 1696909"/>
                    <a:gd name="connsiteY204" fmla="*/ 482365 h 908801"/>
                    <a:gd name="connsiteX205" fmla="*/ 1419735 w 1696909"/>
                    <a:gd name="connsiteY205" fmla="*/ 494907 h 908801"/>
                    <a:gd name="connsiteX206" fmla="*/ 1414988 w 1696909"/>
                    <a:gd name="connsiteY206" fmla="*/ 499929 h 908801"/>
                    <a:gd name="connsiteX207" fmla="*/ 1417759 w 1696909"/>
                    <a:gd name="connsiteY207" fmla="*/ 502948 h 908801"/>
                    <a:gd name="connsiteX208" fmla="*/ 1425800 w 1696909"/>
                    <a:gd name="connsiteY208" fmla="*/ 505774 h 908801"/>
                    <a:gd name="connsiteX209" fmla="*/ 1430465 w 1696909"/>
                    <a:gd name="connsiteY209" fmla="*/ 510769 h 908801"/>
                    <a:gd name="connsiteX210" fmla="*/ 1433594 w 1696909"/>
                    <a:gd name="connsiteY210" fmla="*/ 529759 h 908801"/>
                    <a:gd name="connsiteX211" fmla="*/ 1423934 w 1696909"/>
                    <a:gd name="connsiteY211" fmla="*/ 537800 h 908801"/>
                    <a:gd name="connsiteX212" fmla="*/ 1434829 w 1696909"/>
                    <a:gd name="connsiteY212" fmla="*/ 544249 h 908801"/>
                    <a:gd name="connsiteX213" fmla="*/ 1435295 w 1696909"/>
                    <a:gd name="connsiteY213" fmla="*/ 551165 h 908801"/>
                    <a:gd name="connsiteX214" fmla="*/ 1427309 w 1696909"/>
                    <a:gd name="connsiteY214" fmla="*/ 559453 h 908801"/>
                    <a:gd name="connsiteX215" fmla="*/ 1417567 w 1696909"/>
                    <a:gd name="connsiteY215" fmla="*/ 564804 h 908801"/>
                    <a:gd name="connsiteX216" fmla="*/ 1416524 w 1696909"/>
                    <a:gd name="connsiteY216" fmla="*/ 570402 h 908801"/>
                    <a:gd name="connsiteX217" fmla="*/ 1418336 w 1696909"/>
                    <a:gd name="connsiteY217" fmla="*/ 577099 h 908801"/>
                    <a:gd name="connsiteX218" fmla="*/ 1416552 w 1696909"/>
                    <a:gd name="connsiteY218" fmla="*/ 580886 h 908801"/>
                    <a:gd name="connsiteX219" fmla="*/ 1401787 w 1696909"/>
                    <a:gd name="connsiteY219" fmla="*/ 586154 h 908801"/>
                    <a:gd name="connsiteX220" fmla="*/ 1387133 w 1696909"/>
                    <a:gd name="connsiteY220" fmla="*/ 594470 h 908801"/>
                    <a:gd name="connsiteX221" fmla="*/ 1370859 w 1696909"/>
                    <a:gd name="connsiteY221" fmla="*/ 612500 h 908801"/>
                    <a:gd name="connsiteX222" fmla="*/ 1359498 w 1696909"/>
                    <a:gd name="connsiteY222" fmla="*/ 615107 h 908801"/>
                    <a:gd name="connsiteX223" fmla="*/ 1349426 w 1696909"/>
                    <a:gd name="connsiteY223" fmla="*/ 620046 h 908801"/>
                    <a:gd name="connsiteX224" fmla="*/ 1331973 w 1696909"/>
                    <a:gd name="connsiteY224" fmla="*/ 642385 h 908801"/>
                    <a:gd name="connsiteX225" fmla="*/ 1293772 w 1696909"/>
                    <a:gd name="connsiteY225" fmla="*/ 670789 h 908801"/>
                    <a:gd name="connsiteX226" fmla="*/ 1280078 w 1696909"/>
                    <a:gd name="connsiteY226" fmla="*/ 689176 h 908801"/>
                    <a:gd name="connsiteX227" fmla="*/ 1270335 w 1696909"/>
                    <a:gd name="connsiteY227" fmla="*/ 713655 h 908801"/>
                    <a:gd name="connsiteX228" fmla="*/ 1271433 w 1696909"/>
                    <a:gd name="connsiteY228" fmla="*/ 733990 h 908801"/>
                    <a:gd name="connsiteX229" fmla="*/ 1281258 w 1696909"/>
                    <a:gd name="connsiteY229" fmla="*/ 767882 h 908801"/>
                    <a:gd name="connsiteX230" fmla="*/ 1295007 w 1696909"/>
                    <a:gd name="connsiteY230" fmla="*/ 796889 h 908801"/>
                    <a:gd name="connsiteX231" fmla="*/ 1298081 w 1696909"/>
                    <a:gd name="connsiteY231" fmla="*/ 815331 h 908801"/>
                    <a:gd name="connsiteX232" fmla="*/ 1310869 w 1696909"/>
                    <a:gd name="connsiteY232" fmla="*/ 856880 h 908801"/>
                    <a:gd name="connsiteX233" fmla="*/ 1309030 w 1696909"/>
                    <a:gd name="connsiteY233" fmla="*/ 883883 h 908801"/>
                    <a:gd name="connsiteX234" fmla="*/ 1303569 w 1696909"/>
                    <a:gd name="connsiteY234" fmla="*/ 904081 h 908801"/>
                    <a:gd name="connsiteX235" fmla="*/ 1300797 w 1696909"/>
                    <a:gd name="connsiteY235" fmla="*/ 908802 h 908801"/>
                    <a:gd name="connsiteX236" fmla="*/ 1281422 w 1696909"/>
                    <a:gd name="connsiteY236" fmla="*/ 906003 h 908801"/>
                    <a:gd name="connsiteX237" fmla="*/ 1275111 w 1696909"/>
                    <a:gd name="connsiteY237" fmla="*/ 894915 h 908801"/>
                    <a:gd name="connsiteX238" fmla="*/ 1264820 w 1696909"/>
                    <a:gd name="connsiteY238" fmla="*/ 884899 h 908801"/>
                    <a:gd name="connsiteX239" fmla="*/ 1252470 w 1696909"/>
                    <a:gd name="connsiteY239" fmla="*/ 866018 h 908801"/>
                    <a:gd name="connsiteX240" fmla="*/ 1250028 w 1696909"/>
                    <a:gd name="connsiteY240" fmla="*/ 855974 h 908801"/>
                    <a:gd name="connsiteX241" fmla="*/ 1244374 w 1696909"/>
                    <a:gd name="connsiteY241" fmla="*/ 850348 h 908801"/>
                    <a:gd name="connsiteX242" fmla="*/ 1237569 w 1696909"/>
                    <a:gd name="connsiteY242" fmla="*/ 837011 h 908801"/>
                    <a:gd name="connsiteX243" fmla="*/ 1239105 w 1696909"/>
                    <a:gd name="connsiteY243" fmla="*/ 822219 h 908801"/>
                    <a:gd name="connsiteX244" fmla="*/ 1233452 w 1696909"/>
                    <a:gd name="connsiteY244" fmla="*/ 822768 h 908801"/>
                    <a:gd name="connsiteX245" fmla="*/ 1231915 w 1696909"/>
                    <a:gd name="connsiteY245" fmla="*/ 820764 h 908801"/>
                    <a:gd name="connsiteX246" fmla="*/ 1234056 w 1696909"/>
                    <a:gd name="connsiteY246" fmla="*/ 797465 h 908801"/>
                    <a:gd name="connsiteX247" fmla="*/ 1231394 w 1696909"/>
                    <a:gd name="connsiteY247" fmla="*/ 783003 h 908801"/>
                    <a:gd name="connsiteX248" fmla="*/ 1206530 w 1696909"/>
                    <a:gd name="connsiteY248" fmla="*/ 754654 h 908801"/>
                    <a:gd name="connsiteX249" fmla="*/ 1198847 w 1696909"/>
                    <a:gd name="connsiteY249" fmla="*/ 749001 h 908801"/>
                    <a:gd name="connsiteX250" fmla="*/ 1189516 w 1696909"/>
                    <a:gd name="connsiteY250" fmla="*/ 747986 h 908801"/>
                    <a:gd name="connsiteX251" fmla="*/ 1161195 w 1696909"/>
                    <a:gd name="connsiteY251" fmla="*/ 758195 h 908801"/>
                    <a:gd name="connsiteX252" fmla="*/ 1149504 w 1696909"/>
                    <a:gd name="connsiteY252" fmla="*/ 748837 h 908801"/>
                    <a:gd name="connsiteX253" fmla="*/ 1133752 w 1696909"/>
                    <a:gd name="connsiteY253" fmla="*/ 739753 h 908801"/>
                    <a:gd name="connsiteX254" fmla="*/ 1116051 w 1696909"/>
                    <a:gd name="connsiteY254" fmla="*/ 736322 h 908801"/>
                    <a:gd name="connsiteX255" fmla="*/ 1088389 w 1696909"/>
                    <a:gd name="connsiteY255" fmla="*/ 738765 h 908801"/>
                    <a:gd name="connsiteX256" fmla="*/ 1077549 w 1696909"/>
                    <a:gd name="connsiteY256" fmla="*/ 730066 h 908801"/>
                    <a:gd name="connsiteX257" fmla="*/ 1070084 w 1696909"/>
                    <a:gd name="connsiteY257" fmla="*/ 736048 h 908801"/>
                    <a:gd name="connsiteX258" fmla="*/ 1048294 w 1696909"/>
                    <a:gd name="connsiteY258" fmla="*/ 736871 h 908801"/>
                    <a:gd name="connsiteX259" fmla="*/ 1036165 w 1696909"/>
                    <a:gd name="connsiteY259" fmla="*/ 741070 h 908801"/>
                    <a:gd name="connsiteX260" fmla="*/ 1027328 w 1696909"/>
                    <a:gd name="connsiteY260" fmla="*/ 748535 h 908801"/>
                    <a:gd name="connsiteX261" fmla="*/ 1028096 w 1696909"/>
                    <a:gd name="connsiteY261" fmla="*/ 750209 h 908801"/>
                    <a:gd name="connsiteX262" fmla="*/ 1034491 w 1696909"/>
                    <a:gd name="connsiteY262" fmla="*/ 749605 h 908801"/>
                    <a:gd name="connsiteX263" fmla="*/ 1037839 w 1696909"/>
                    <a:gd name="connsiteY263" fmla="*/ 751608 h 908801"/>
                    <a:gd name="connsiteX264" fmla="*/ 1031444 w 1696909"/>
                    <a:gd name="connsiteY264" fmla="*/ 759539 h 908801"/>
                    <a:gd name="connsiteX265" fmla="*/ 1028837 w 1696909"/>
                    <a:gd name="connsiteY265" fmla="*/ 766565 h 908801"/>
                    <a:gd name="connsiteX266" fmla="*/ 1010862 w 1696909"/>
                    <a:gd name="connsiteY266" fmla="*/ 770434 h 908801"/>
                    <a:gd name="connsiteX267" fmla="*/ 1005346 w 1696909"/>
                    <a:gd name="connsiteY267" fmla="*/ 768925 h 908801"/>
                    <a:gd name="connsiteX268" fmla="*/ 995714 w 1696909"/>
                    <a:gd name="connsiteY268" fmla="*/ 773618 h 908801"/>
                    <a:gd name="connsiteX269" fmla="*/ 984215 w 1696909"/>
                    <a:gd name="connsiteY269" fmla="*/ 774331 h 908801"/>
                    <a:gd name="connsiteX270" fmla="*/ 981663 w 1696909"/>
                    <a:gd name="connsiteY270" fmla="*/ 772684 h 908801"/>
                    <a:gd name="connsiteX271" fmla="*/ 980099 w 1696909"/>
                    <a:gd name="connsiteY271" fmla="*/ 767278 h 908801"/>
                    <a:gd name="connsiteX272" fmla="*/ 963413 w 1696909"/>
                    <a:gd name="connsiteY272" fmla="*/ 755725 h 908801"/>
                    <a:gd name="connsiteX273" fmla="*/ 958391 w 1696909"/>
                    <a:gd name="connsiteY273" fmla="*/ 756960 h 908801"/>
                    <a:gd name="connsiteX274" fmla="*/ 954988 w 1696909"/>
                    <a:gd name="connsiteY274" fmla="*/ 762146 h 908801"/>
                    <a:gd name="connsiteX275" fmla="*/ 950789 w 1696909"/>
                    <a:gd name="connsiteY275" fmla="*/ 763738 h 908801"/>
                    <a:gd name="connsiteX276" fmla="*/ 922578 w 1696909"/>
                    <a:gd name="connsiteY276" fmla="*/ 757097 h 908801"/>
                    <a:gd name="connsiteX277" fmla="*/ 883993 w 1696909"/>
                    <a:gd name="connsiteY277" fmla="*/ 764013 h 908801"/>
                    <a:gd name="connsiteX278" fmla="*/ 876968 w 1696909"/>
                    <a:gd name="connsiteY278" fmla="*/ 758743 h 908801"/>
                    <a:gd name="connsiteX279" fmla="*/ 872961 w 1696909"/>
                    <a:gd name="connsiteY279" fmla="*/ 762640 h 908801"/>
                    <a:gd name="connsiteX280" fmla="*/ 873208 w 1696909"/>
                    <a:gd name="connsiteY280" fmla="*/ 772602 h 908801"/>
                    <a:gd name="connsiteX281" fmla="*/ 862258 w 1696909"/>
                    <a:gd name="connsiteY281" fmla="*/ 785034 h 908801"/>
                    <a:gd name="connsiteX282" fmla="*/ 844914 w 1696909"/>
                    <a:gd name="connsiteY282" fmla="*/ 794721 h 908801"/>
                    <a:gd name="connsiteX283" fmla="*/ 826939 w 1696909"/>
                    <a:gd name="connsiteY283" fmla="*/ 794721 h 908801"/>
                    <a:gd name="connsiteX284" fmla="*/ 828037 w 1696909"/>
                    <a:gd name="connsiteY284" fmla="*/ 802680 h 908801"/>
                    <a:gd name="connsiteX285" fmla="*/ 819886 w 1696909"/>
                    <a:gd name="connsiteY285" fmla="*/ 803832 h 908801"/>
                    <a:gd name="connsiteX286" fmla="*/ 819310 w 1696909"/>
                    <a:gd name="connsiteY286" fmla="*/ 809540 h 908801"/>
                    <a:gd name="connsiteX287" fmla="*/ 817032 w 1696909"/>
                    <a:gd name="connsiteY287" fmla="*/ 813355 h 908801"/>
                    <a:gd name="connsiteX288" fmla="*/ 810556 w 1696909"/>
                    <a:gd name="connsiteY288" fmla="*/ 812065 h 908801"/>
                    <a:gd name="connsiteX289" fmla="*/ 809760 w 1696909"/>
                    <a:gd name="connsiteY289" fmla="*/ 819145 h 908801"/>
                    <a:gd name="connsiteX290" fmla="*/ 803229 w 1696909"/>
                    <a:gd name="connsiteY290" fmla="*/ 822247 h 908801"/>
                    <a:gd name="connsiteX291" fmla="*/ 805424 w 1696909"/>
                    <a:gd name="connsiteY291" fmla="*/ 829546 h 908801"/>
                    <a:gd name="connsiteX292" fmla="*/ 801692 w 1696909"/>
                    <a:gd name="connsiteY292" fmla="*/ 836105 h 908801"/>
                    <a:gd name="connsiteX293" fmla="*/ 797356 w 1696909"/>
                    <a:gd name="connsiteY293" fmla="*/ 839783 h 908801"/>
                    <a:gd name="connsiteX294" fmla="*/ 799496 w 1696909"/>
                    <a:gd name="connsiteY294" fmla="*/ 843762 h 908801"/>
                    <a:gd name="connsiteX295" fmla="*/ 797960 w 1696909"/>
                    <a:gd name="connsiteY295" fmla="*/ 855343 h 908801"/>
                    <a:gd name="connsiteX296" fmla="*/ 804601 w 1696909"/>
                    <a:gd name="connsiteY296" fmla="*/ 876446 h 908801"/>
                    <a:gd name="connsiteX297" fmla="*/ 808882 w 1696909"/>
                    <a:gd name="connsiteY297" fmla="*/ 883581 h 908801"/>
                    <a:gd name="connsiteX298" fmla="*/ 800018 w 1696909"/>
                    <a:gd name="connsiteY298" fmla="*/ 886628 h 908801"/>
                    <a:gd name="connsiteX299" fmla="*/ 792773 w 1696909"/>
                    <a:gd name="connsiteY299" fmla="*/ 881468 h 908801"/>
                    <a:gd name="connsiteX300" fmla="*/ 777789 w 1696909"/>
                    <a:gd name="connsiteY300" fmla="*/ 879932 h 908801"/>
                    <a:gd name="connsiteX301" fmla="*/ 751306 w 1696909"/>
                    <a:gd name="connsiteY301" fmla="*/ 867967 h 908801"/>
                    <a:gd name="connsiteX302" fmla="*/ 747190 w 1696909"/>
                    <a:gd name="connsiteY302" fmla="*/ 856440 h 908801"/>
                    <a:gd name="connsiteX303" fmla="*/ 741592 w 1696909"/>
                    <a:gd name="connsiteY303" fmla="*/ 847961 h 908801"/>
                    <a:gd name="connsiteX304" fmla="*/ 738216 w 1696909"/>
                    <a:gd name="connsiteY304" fmla="*/ 830287 h 908801"/>
                    <a:gd name="connsiteX305" fmla="*/ 729270 w 1696909"/>
                    <a:gd name="connsiteY305" fmla="*/ 822768 h 908801"/>
                    <a:gd name="connsiteX306" fmla="*/ 723068 w 1696909"/>
                    <a:gd name="connsiteY306" fmla="*/ 812641 h 908801"/>
                    <a:gd name="connsiteX307" fmla="*/ 716975 w 1696909"/>
                    <a:gd name="connsiteY307" fmla="*/ 806796 h 908801"/>
                    <a:gd name="connsiteX308" fmla="*/ 701635 w 1696909"/>
                    <a:gd name="connsiteY308" fmla="*/ 775401 h 908801"/>
                    <a:gd name="connsiteX309" fmla="*/ 689340 w 1696909"/>
                    <a:gd name="connsiteY309" fmla="*/ 765357 h 908801"/>
                    <a:gd name="connsiteX310" fmla="*/ 683193 w 1696909"/>
                    <a:gd name="connsiteY310" fmla="*/ 757701 h 908801"/>
                    <a:gd name="connsiteX311" fmla="*/ 658055 w 1696909"/>
                    <a:gd name="connsiteY311" fmla="*/ 753776 h 908801"/>
                    <a:gd name="connsiteX312" fmla="*/ 647846 w 1696909"/>
                    <a:gd name="connsiteY312" fmla="*/ 757646 h 908801"/>
                    <a:gd name="connsiteX313" fmla="*/ 643346 w 1696909"/>
                    <a:gd name="connsiteY313" fmla="*/ 764095 h 908801"/>
                    <a:gd name="connsiteX314" fmla="*/ 638927 w 1696909"/>
                    <a:gd name="connsiteY314" fmla="*/ 776252 h 908801"/>
                    <a:gd name="connsiteX315" fmla="*/ 632561 w 1696909"/>
                    <a:gd name="connsiteY315" fmla="*/ 782454 h 908801"/>
                    <a:gd name="connsiteX316" fmla="*/ 627511 w 1696909"/>
                    <a:gd name="connsiteY316" fmla="*/ 782317 h 908801"/>
                    <a:gd name="connsiteX317" fmla="*/ 606572 w 1696909"/>
                    <a:gd name="connsiteY317" fmla="*/ 771724 h 908801"/>
                    <a:gd name="connsiteX318" fmla="*/ 593701 w 1696909"/>
                    <a:gd name="connsiteY318" fmla="*/ 761872 h 908801"/>
                    <a:gd name="connsiteX319" fmla="*/ 588130 w 1696909"/>
                    <a:gd name="connsiteY319" fmla="*/ 752130 h 908801"/>
                    <a:gd name="connsiteX320" fmla="*/ 586429 w 1696909"/>
                    <a:gd name="connsiteY320" fmla="*/ 741482 h 908801"/>
                    <a:gd name="connsiteX321" fmla="*/ 580145 w 1696909"/>
                    <a:gd name="connsiteY321" fmla="*/ 729270 h 908801"/>
                    <a:gd name="connsiteX322" fmla="*/ 543042 w 1696909"/>
                    <a:gd name="connsiteY322" fmla="*/ 698479 h 908801"/>
                    <a:gd name="connsiteX323" fmla="*/ 536044 w 1696909"/>
                    <a:gd name="connsiteY323" fmla="*/ 689532 h 908801"/>
                    <a:gd name="connsiteX324" fmla="*/ 485905 w 1696909"/>
                    <a:gd name="connsiteY324" fmla="*/ 687995 h 908801"/>
                    <a:gd name="connsiteX325" fmla="*/ 483518 w 1696909"/>
                    <a:gd name="connsiteY325" fmla="*/ 701964 h 908801"/>
                    <a:gd name="connsiteX326" fmla="*/ 482063 w 1696909"/>
                    <a:gd name="connsiteY326" fmla="*/ 703281 h 908801"/>
                    <a:gd name="connsiteX327" fmla="*/ 401079 w 1696909"/>
                    <a:gd name="connsiteY327" fmla="*/ 703281 h 908801"/>
                    <a:gd name="connsiteX328" fmla="*/ 292350 w 1696909"/>
                    <a:gd name="connsiteY328" fmla="*/ 664065 h 908801"/>
                    <a:gd name="connsiteX329" fmla="*/ 290072 w 1696909"/>
                    <a:gd name="connsiteY329" fmla="*/ 661403 h 908801"/>
                    <a:gd name="connsiteX330" fmla="*/ 289963 w 1696909"/>
                    <a:gd name="connsiteY330" fmla="*/ 655695 h 908801"/>
                    <a:gd name="connsiteX331" fmla="*/ 221383 w 1696909"/>
                    <a:gd name="connsiteY331" fmla="*/ 661650 h 908801"/>
                    <a:gd name="connsiteX332" fmla="*/ 218034 w 1696909"/>
                    <a:gd name="connsiteY332" fmla="*/ 654954 h 908801"/>
                    <a:gd name="connsiteX333" fmla="*/ 215537 w 1696909"/>
                    <a:gd name="connsiteY333" fmla="*/ 642797 h 908801"/>
                    <a:gd name="connsiteX334" fmla="*/ 211256 w 1696909"/>
                    <a:gd name="connsiteY334" fmla="*/ 635662 h 908801"/>
                    <a:gd name="connsiteX335" fmla="*/ 193720 w 1696909"/>
                    <a:gd name="connsiteY335" fmla="*/ 620842 h 908801"/>
                    <a:gd name="connsiteX336" fmla="*/ 185021 w 1696909"/>
                    <a:gd name="connsiteY336" fmla="*/ 618537 h 908801"/>
                    <a:gd name="connsiteX337" fmla="*/ 180410 w 1696909"/>
                    <a:gd name="connsiteY337" fmla="*/ 610908 h 908801"/>
                    <a:gd name="connsiteX338" fmla="*/ 163670 w 1696909"/>
                    <a:gd name="connsiteY338" fmla="*/ 606572 h 908801"/>
                    <a:gd name="connsiteX339" fmla="*/ 149674 w 1696909"/>
                    <a:gd name="connsiteY339" fmla="*/ 596144 h 908801"/>
                    <a:gd name="connsiteX340" fmla="*/ 125826 w 1696909"/>
                    <a:gd name="connsiteY340" fmla="*/ 593894 h 908801"/>
                    <a:gd name="connsiteX341" fmla="*/ 120310 w 1696909"/>
                    <a:gd name="connsiteY341" fmla="*/ 590600 h 908801"/>
                    <a:gd name="connsiteX342" fmla="*/ 116770 w 1696909"/>
                    <a:gd name="connsiteY342" fmla="*/ 570128 h 908801"/>
                    <a:gd name="connsiteX343" fmla="*/ 112105 w 1696909"/>
                    <a:gd name="connsiteY343" fmla="*/ 565956 h 908801"/>
                    <a:gd name="connsiteX344" fmla="*/ 109031 w 1696909"/>
                    <a:gd name="connsiteY344" fmla="*/ 558410 h 908801"/>
                    <a:gd name="connsiteX345" fmla="*/ 99426 w 1696909"/>
                    <a:gd name="connsiteY345" fmla="*/ 549683 h 908801"/>
                    <a:gd name="connsiteX346" fmla="*/ 82027 w 1696909"/>
                    <a:gd name="connsiteY346" fmla="*/ 527180 h 908801"/>
                    <a:gd name="connsiteX347" fmla="*/ 79941 w 1696909"/>
                    <a:gd name="connsiteY347" fmla="*/ 518562 h 908801"/>
                    <a:gd name="connsiteX348" fmla="*/ 82713 w 1696909"/>
                    <a:gd name="connsiteY348" fmla="*/ 512498 h 908801"/>
                    <a:gd name="connsiteX349" fmla="*/ 82110 w 1696909"/>
                    <a:gd name="connsiteY349" fmla="*/ 506350 h 908801"/>
                    <a:gd name="connsiteX350" fmla="*/ 70666 w 1696909"/>
                    <a:gd name="connsiteY350" fmla="*/ 498364 h 908801"/>
                    <a:gd name="connsiteX351" fmla="*/ 65589 w 1696909"/>
                    <a:gd name="connsiteY351" fmla="*/ 489967 h 908801"/>
                    <a:gd name="connsiteX352" fmla="*/ 62213 w 1696909"/>
                    <a:gd name="connsiteY352" fmla="*/ 472047 h 908801"/>
                    <a:gd name="connsiteX353" fmla="*/ 50632 w 1696909"/>
                    <a:gd name="connsiteY353" fmla="*/ 463183 h 908801"/>
                    <a:gd name="connsiteX354" fmla="*/ 45638 w 1696909"/>
                    <a:gd name="connsiteY354" fmla="*/ 449927 h 908801"/>
                    <a:gd name="connsiteX355" fmla="*/ 28568 w 1696909"/>
                    <a:gd name="connsiteY355" fmla="*/ 430580 h 908801"/>
                    <a:gd name="connsiteX356" fmla="*/ 25083 w 1696909"/>
                    <a:gd name="connsiteY356" fmla="*/ 415926 h 908801"/>
                    <a:gd name="connsiteX357" fmla="*/ 24013 w 1696909"/>
                    <a:gd name="connsiteY357" fmla="*/ 398499 h 908801"/>
                    <a:gd name="connsiteX358" fmla="*/ 9825 w 1696909"/>
                    <a:gd name="connsiteY358" fmla="*/ 378905 h 908801"/>
                    <a:gd name="connsiteX359" fmla="*/ 8782 w 1696909"/>
                    <a:gd name="connsiteY359" fmla="*/ 374267 h 908801"/>
                    <a:gd name="connsiteX360" fmla="*/ 8891 w 1696909"/>
                    <a:gd name="connsiteY360" fmla="*/ 368010 h 908801"/>
                    <a:gd name="connsiteX361" fmla="*/ 15149 w 1696909"/>
                    <a:gd name="connsiteY361" fmla="*/ 355881 h 908801"/>
                    <a:gd name="connsiteX362" fmla="*/ 16603 w 1696909"/>
                    <a:gd name="connsiteY362" fmla="*/ 332911 h 908801"/>
                    <a:gd name="connsiteX363" fmla="*/ 8123 w 1696909"/>
                    <a:gd name="connsiteY363" fmla="*/ 300857 h 908801"/>
                    <a:gd name="connsiteX364" fmla="*/ 7245 w 1696909"/>
                    <a:gd name="connsiteY364" fmla="*/ 293146 h 908801"/>
                    <a:gd name="connsiteX365" fmla="*/ 5159 w 1696909"/>
                    <a:gd name="connsiteY365" fmla="*/ 275363 h 908801"/>
                    <a:gd name="connsiteX366" fmla="*/ 15121 w 1696909"/>
                    <a:gd name="connsiteY366" fmla="*/ 228380 h 908801"/>
                    <a:gd name="connsiteX367" fmla="*/ 20939 w 1696909"/>
                    <a:gd name="connsiteY367" fmla="*/ 170915 h 908801"/>
                    <a:gd name="connsiteX368" fmla="*/ 21021 w 1696909"/>
                    <a:gd name="connsiteY368" fmla="*/ 146765 h 908801"/>
                    <a:gd name="connsiteX369" fmla="*/ 23409 w 1696909"/>
                    <a:gd name="connsiteY369" fmla="*/ 138258 h 908801"/>
                    <a:gd name="connsiteX370" fmla="*/ 19759 w 1696909"/>
                    <a:gd name="connsiteY370" fmla="*/ 131095 h 908801"/>
                    <a:gd name="connsiteX371" fmla="*/ 20637 w 1696909"/>
                    <a:gd name="connsiteY371" fmla="*/ 121188 h 908801"/>
                    <a:gd name="connsiteX372" fmla="*/ 18524 w 1696909"/>
                    <a:gd name="connsiteY372" fmla="*/ 106671 h 908801"/>
                    <a:gd name="connsiteX373" fmla="*/ 1098 w 1696909"/>
                    <a:gd name="connsiteY373" fmla="*/ 62405 h 908801"/>
                    <a:gd name="connsiteX374" fmla="*/ 0 w 1696909"/>
                    <a:gd name="connsiteY374" fmla="*/ 52361 h 908801"/>
                    <a:gd name="connsiteX375" fmla="*/ 4720 w 1696909"/>
                    <a:gd name="connsiteY375" fmla="*/ 47504 h 908801"/>
                    <a:gd name="connsiteX376" fmla="*/ 21159 w 1696909"/>
                    <a:gd name="connsiteY376" fmla="*/ 53102 h 908801"/>
                    <a:gd name="connsiteX377" fmla="*/ 52361 w 1696909"/>
                    <a:gd name="connsiteY377" fmla="*/ 56944 h 908801"/>
                    <a:gd name="connsiteX378" fmla="*/ 65946 w 1696909"/>
                    <a:gd name="connsiteY378" fmla="*/ 77389 h 908801"/>
                    <a:gd name="connsiteX379" fmla="*/ 68964 w 1696909"/>
                    <a:gd name="connsiteY379" fmla="*/ 59551 h 908801"/>
                    <a:gd name="connsiteX380" fmla="*/ 66961 w 1696909"/>
                    <a:gd name="connsiteY380" fmla="*/ 55380 h 908801"/>
                    <a:gd name="connsiteX381" fmla="*/ 62790 w 1696909"/>
                    <a:gd name="connsiteY381" fmla="*/ 57768 h 908801"/>
                    <a:gd name="connsiteX382" fmla="*/ 58865 w 1696909"/>
                    <a:gd name="connsiteY382" fmla="*/ 52581 h 908801"/>
                    <a:gd name="connsiteX383" fmla="*/ 59057 w 1696909"/>
                    <a:gd name="connsiteY383" fmla="*/ 42866 h 908801"/>
                    <a:gd name="connsiteX384" fmla="*/ 62680 w 1696909"/>
                    <a:gd name="connsiteY384" fmla="*/ 33810 h 908801"/>
                    <a:gd name="connsiteX385" fmla="*/ 55764 w 1696909"/>
                    <a:gd name="connsiteY385" fmla="*/ 16576 h 908801"/>
                    <a:gd name="connsiteX386" fmla="*/ 79283 w 1696909"/>
                    <a:gd name="connsiteY386" fmla="*/ 16576 h 908801"/>
                    <a:gd name="connsiteX387" fmla="*/ 360381 w 1696909"/>
                    <a:gd name="connsiteY387" fmla="*/ 16740 h 908801"/>
                    <a:gd name="connsiteX388" fmla="*/ 432090 w 1696909"/>
                    <a:gd name="connsiteY388" fmla="*/ 16795 h 908801"/>
                    <a:gd name="connsiteX389" fmla="*/ 865112 w 1696909"/>
                    <a:gd name="connsiteY389" fmla="*/ 16658 h 908801"/>
                    <a:gd name="connsiteX390" fmla="*/ 867116 w 1696909"/>
                    <a:gd name="connsiteY390" fmla="*/ 15423 h 908801"/>
                    <a:gd name="connsiteX391" fmla="*/ 868241 w 1696909"/>
                    <a:gd name="connsiteY391" fmla="*/ 0 h 908801"/>
                    <a:gd name="connsiteX392" fmla="*/ 876611 w 1696909"/>
                    <a:gd name="connsiteY392" fmla="*/ 2854 h 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Lst>
                  <a:rect l="l" t="t" r="r" b="b"/>
                  <a:pathLst>
                    <a:path w="1696909" h="908801">
                      <a:moveTo>
                        <a:pt x="876446" y="2799"/>
                      </a:moveTo>
                      <a:lnTo>
                        <a:pt x="881276" y="25742"/>
                      </a:lnTo>
                      <a:lnTo>
                        <a:pt x="884185" y="28898"/>
                      </a:lnTo>
                      <a:lnTo>
                        <a:pt x="905179" y="33069"/>
                      </a:lnTo>
                      <a:lnTo>
                        <a:pt x="908665" y="37679"/>
                      </a:lnTo>
                      <a:lnTo>
                        <a:pt x="915580" y="37075"/>
                      </a:lnTo>
                      <a:lnTo>
                        <a:pt x="920904" y="33178"/>
                      </a:lnTo>
                      <a:lnTo>
                        <a:pt x="931744" y="33343"/>
                      </a:lnTo>
                      <a:lnTo>
                        <a:pt x="941020" y="37487"/>
                      </a:lnTo>
                      <a:lnTo>
                        <a:pt x="940471" y="40643"/>
                      </a:lnTo>
                      <a:lnTo>
                        <a:pt x="944999" y="41878"/>
                      </a:lnTo>
                      <a:lnTo>
                        <a:pt x="949280" y="50166"/>
                      </a:lnTo>
                      <a:lnTo>
                        <a:pt x="951146" y="49891"/>
                      </a:lnTo>
                      <a:lnTo>
                        <a:pt x="952162" y="45473"/>
                      </a:lnTo>
                      <a:lnTo>
                        <a:pt x="957952" y="45253"/>
                      </a:lnTo>
                      <a:lnTo>
                        <a:pt x="961190" y="49837"/>
                      </a:lnTo>
                      <a:lnTo>
                        <a:pt x="966926" y="52059"/>
                      </a:lnTo>
                      <a:lnTo>
                        <a:pt x="974363" y="57987"/>
                      </a:lnTo>
                      <a:lnTo>
                        <a:pt x="981334" y="57191"/>
                      </a:lnTo>
                      <a:lnTo>
                        <a:pt x="992475" y="51264"/>
                      </a:lnTo>
                      <a:lnTo>
                        <a:pt x="995576" y="54035"/>
                      </a:lnTo>
                      <a:lnTo>
                        <a:pt x="998129" y="56313"/>
                      </a:lnTo>
                      <a:lnTo>
                        <a:pt x="1005401" y="56313"/>
                      </a:lnTo>
                      <a:cubicBezTo>
                        <a:pt x="1005401" y="56313"/>
                        <a:pt x="1010066" y="56313"/>
                        <a:pt x="1010066" y="56313"/>
                      </a:cubicBezTo>
                      <a:lnTo>
                        <a:pt x="1011685" y="56313"/>
                      </a:lnTo>
                      <a:cubicBezTo>
                        <a:pt x="1011685" y="56313"/>
                        <a:pt x="1014293" y="56313"/>
                        <a:pt x="1014293" y="56313"/>
                      </a:cubicBezTo>
                      <a:lnTo>
                        <a:pt x="1022416" y="60896"/>
                      </a:lnTo>
                      <a:lnTo>
                        <a:pt x="1037180" y="61500"/>
                      </a:lnTo>
                      <a:lnTo>
                        <a:pt x="1057598" y="50495"/>
                      </a:lnTo>
                      <a:lnTo>
                        <a:pt x="1067258" y="48272"/>
                      </a:lnTo>
                      <a:lnTo>
                        <a:pt x="1089569" y="61664"/>
                      </a:lnTo>
                      <a:lnTo>
                        <a:pt x="1167589" y="107851"/>
                      </a:lnTo>
                      <a:lnTo>
                        <a:pt x="1173462" y="120200"/>
                      </a:lnTo>
                      <a:lnTo>
                        <a:pt x="1178841" y="126540"/>
                      </a:lnTo>
                      <a:lnTo>
                        <a:pt x="1190669" y="126100"/>
                      </a:lnTo>
                      <a:lnTo>
                        <a:pt x="1192425" y="135870"/>
                      </a:lnTo>
                      <a:lnTo>
                        <a:pt x="1196294" y="142923"/>
                      </a:lnTo>
                      <a:lnTo>
                        <a:pt x="1208452" y="143829"/>
                      </a:lnTo>
                      <a:lnTo>
                        <a:pt x="1210894" y="147479"/>
                      </a:lnTo>
                      <a:lnTo>
                        <a:pt x="1209412" y="155794"/>
                      </a:lnTo>
                      <a:lnTo>
                        <a:pt x="1238886" y="176897"/>
                      </a:lnTo>
                      <a:lnTo>
                        <a:pt x="1247229" y="228216"/>
                      </a:lnTo>
                      <a:lnTo>
                        <a:pt x="1250110" y="245615"/>
                      </a:lnTo>
                      <a:lnTo>
                        <a:pt x="1241603" y="275006"/>
                      </a:lnTo>
                      <a:lnTo>
                        <a:pt x="1239298" y="282910"/>
                      </a:lnTo>
                      <a:lnTo>
                        <a:pt x="1238337" y="286230"/>
                      </a:lnTo>
                      <a:lnTo>
                        <a:pt x="1232162" y="292981"/>
                      </a:lnTo>
                      <a:lnTo>
                        <a:pt x="1230241" y="295094"/>
                      </a:lnTo>
                      <a:lnTo>
                        <a:pt x="1223161" y="298964"/>
                      </a:lnTo>
                      <a:lnTo>
                        <a:pt x="1222173" y="301598"/>
                      </a:lnTo>
                      <a:lnTo>
                        <a:pt x="1221213" y="304150"/>
                      </a:lnTo>
                      <a:lnTo>
                        <a:pt x="1222969" y="315183"/>
                      </a:lnTo>
                      <a:lnTo>
                        <a:pt x="1235099" y="323223"/>
                      </a:lnTo>
                      <a:lnTo>
                        <a:pt x="1244155" y="322455"/>
                      </a:lnTo>
                      <a:lnTo>
                        <a:pt x="1276592" y="302888"/>
                      </a:lnTo>
                      <a:lnTo>
                        <a:pt x="1282163" y="301598"/>
                      </a:lnTo>
                      <a:lnTo>
                        <a:pt x="1310265" y="295122"/>
                      </a:lnTo>
                      <a:lnTo>
                        <a:pt x="1314546" y="292981"/>
                      </a:lnTo>
                      <a:lnTo>
                        <a:pt x="1327993" y="286230"/>
                      </a:lnTo>
                      <a:lnTo>
                        <a:pt x="1334497" y="282910"/>
                      </a:lnTo>
                      <a:lnTo>
                        <a:pt x="1342401" y="278848"/>
                      </a:lnTo>
                      <a:lnTo>
                        <a:pt x="1344706" y="275006"/>
                      </a:lnTo>
                      <a:lnTo>
                        <a:pt x="1341193" y="267185"/>
                      </a:lnTo>
                      <a:lnTo>
                        <a:pt x="1339108" y="251817"/>
                      </a:lnTo>
                      <a:lnTo>
                        <a:pt x="1353378" y="245505"/>
                      </a:lnTo>
                      <a:lnTo>
                        <a:pt x="1406507" y="244791"/>
                      </a:lnTo>
                      <a:lnTo>
                        <a:pt x="1417457" y="228243"/>
                      </a:lnTo>
                      <a:lnTo>
                        <a:pt x="1418665" y="226377"/>
                      </a:lnTo>
                      <a:lnTo>
                        <a:pt x="1434335" y="214165"/>
                      </a:lnTo>
                      <a:lnTo>
                        <a:pt x="1446766" y="200416"/>
                      </a:lnTo>
                      <a:lnTo>
                        <a:pt x="1464797" y="189247"/>
                      </a:lnTo>
                      <a:lnTo>
                        <a:pt x="1559502" y="188972"/>
                      </a:lnTo>
                      <a:lnTo>
                        <a:pt x="1568421" y="178023"/>
                      </a:lnTo>
                      <a:lnTo>
                        <a:pt x="1577862" y="175608"/>
                      </a:lnTo>
                      <a:lnTo>
                        <a:pt x="1581951" y="177309"/>
                      </a:lnTo>
                      <a:lnTo>
                        <a:pt x="1584009" y="172918"/>
                      </a:lnTo>
                      <a:lnTo>
                        <a:pt x="1587659" y="171848"/>
                      </a:lnTo>
                      <a:lnTo>
                        <a:pt x="1587714" y="166195"/>
                      </a:lnTo>
                      <a:lnTo>
                        <a:pt x="1598910" y="152144"/>
                      </a:lnTo>
                      <a:lnTo>
                        <a:pt x="1599487" y="137928"/>
                      </a:lnTo>
                      <a:lnTo>
                        <a:pt x="1605195" y="128570"/>
                      </a:lnTo>
                      <a:lnTo>
                        <a:pt x="1608406" y="116852"/>
                      </a:lnTo>
                      <a:lnTo>
                        <a:pt x="1626298" y="92318"/>
                      </a:lnTo>
                      <a:lnTo>
                        <a:pt x="1631293" y="85704"/>
                      </a:lnTo>
                      <a:lnTo>
                        <a:pt x="1634202" y="86665"/>
                      </a:lnTo>
                      <a:lnTo>
                        <a:pt x="1636095" y="93059"/>
                      </a:lnTo>
                      <a:lnTo>
                        <a:pt x="1639636" y="95694"/>
                      </a:lnTo>
                      <a:lnTo>
                        <a:pt x="1659614" y="90013"/>
                      </a:lnTo>
                      <a:lnTo>
                        <a:pt x="1671030" y="101347"/>
                      </a:lnTo>
                      <a:lnTo>
                        <a:pt x="1672128" y="158346"/>
                      </a:lnTo>
                      <a:lnTo>
                        <a:pt x="1681980" y="166304"/>
                      </a:lnTo>
                      <a:lnTo>
                        <a:pt x="1682419" y="178709"/>
                      </a:lnTo>
                      <a:lnTo>
                        <a:pt x="1684889" y="182167"/>
                      </a:lnTo>
                      <a:lnTo>
                        <a:pt x="1687551" y="181371"/>
                      </a:lnTo>
                      <a:lnTo>
                        <a:pt x="1688128" y="181755"/>
                      </a:lnTo>
                      <a:lnTo>
                        <a:pt x="1688402" y="182112"/>
                      </a:lnTo>
                      <a:lnTo>
                        <a:pt x="1688676" y="182386"/>
                      </a:lnTo>
                      <a:lnTo>
                        <a:pt x="1688896" y="182386"/>
                      </a:lnTo>
                      <a:cubicBezTo>
                        <a:pt x="1688896" y="182386"/>
                        <a:pt x="1689527" y="182386"/>
                        <a:pt x="1689527" y="182386"/>
                      </a:cubicBezTo>
                      <a:lnTo>
                        <a:pt x="1690789" y="182935"/>
                      </a:lnTo>
                      <a:lnTo>
                        <a:pt x="1691311" y="184252"/>
                      </a:lnTo>
                      <a:lnTo>
                        <a:pt x="1692107" y="185350"/>
                      </a:lnTo>
                      <a:lnTo>
                        <a:pt x="1692354" y="185981"/>
                      </a:lnTo>
                      <a:lnTo>
                        <a:pt x="1692354" y="186530"/>
                      </a:lnTo>
                      <a:lnTo>
                        <a:pt x="1692271" y="187051"/>
                      </a:lnTo>
                      <a:lnTo>
                        <a:pt x="1692655" y="187738"/>
                      </a:lnTo>
                      <a:lnTo>
                        <a:pt x="1692957" y="187957"/>
                      </a:lnTo>
                      <a:lnTo>
                        <a:pt x="1693204" y="188286"/>
                      </a:lnTo>
                      <a:lnTo>
                        <a:pt x="1693918" y="189988"/>
                      </a:lnTo>
                      <a:lnTo>
                        <a:pt x="1693918" y="190619"/>
                      </a:lnTo>
                      <a:cubicBezTo>
                        <a:pt x="1693918" y="190619"/>
                        <a:pt x="1694220" y="191003"/>
                        <a:pt x="1694220" y="191003"/>
                      </a:cubicBezTo>
                      <a:lnTo>
                        <a:pt x="1694357" y="191195"/>
                      </a:lnTo>
                      <a:lnTo>
                        <a:pt x="1694439" y="191250"/>
                      </a:lnTo>
                      <a:lnTo>
                        <a:pt x="1694522" y="191497"/>
                      </a:lnTo>
                      <a:lnTo>
                        <a:pt x="1694632" y="191689"/>
                      </a:lnTo>
                      <a:lnTo>
                        <a:pt x="1694824" y="191854"/>
                      </a:lnTo>
                      <a:lnTo>
                        <a:pt x="1694961" y="191936"/>
                      </a:lnTo>
                      <a:lnTo>
                        <a:pt x="1695125" y="191936"/>
                      </a:lnTo>
                      <a:cubicBezTo>
                        <a:pt x="1695125" y="191936"/>
                        <a:pt x="1695263" y="192046"/>
                        <a:pt x="1695263" y="192046"/>
                      </a:cubicBezTo>
                      <a:lnTo>
                        <a:pt x="1695098" y="192265"/>
                      </a:lnTo>
                      <a:lnTo>
                        <a:pt x="1695098" y="192375"/>
                      </a:lnTo>
                      <a:cubicBezTo>
                        <a:pt x="1695098" y="192375"/>
                        <a:pt x="1695235" y="192458"/>
                        <a:pt x="1695235" y="192458"/>
                      </a:cubicBezTo>
                      <a:lnTo>
                        <a:pt x="1695427" y="192567"/>
                      </a:lnTo>
                      <a:lnTo>
                        <a:pt x="1695510" y="192705"/>
                      </a:lnTo>
                      <a:lnTo>
                        <a:pt x="1695756" y="192814"/>
                      </a:lnTo>
                      <a:lnTo>
                        <a:pt x="1695894" y="192732"/>
                      </a:lnTo>
                      <a:lnTo>
                        <a:pt x="1695949" y="192869"/>
                      </a:lnTo>
                      <a:lnTo>
                        <a:pt x="1696086" y="193006"/>
                      </a:lnTo>
                      <a:lnTo>
                        <a:pt x="1696086" y="193226"/>
                      </a:lnTo>
                      <a:cubicBezTo>
                        <a:pt x="1696086" y="193226"/>
                        <a:pt x="1696086" y="193363"/>
                        <a:pt x="1696086" y="193363"/>
                      </a:cubicBezTo>
                      <a:lnTo>
                        <a:pt x="1696031" y="193500"/>
                      </a:lnTo>
                      <a:lnTo>
                        <a:pt x="1696031" y="193637"/>
                      </a:lnTo>
                      <a:cubicBezTo>
                        <a:pt x="1696031" y="193637"/>
                        <a:pt x="1695949" y="193912"/>
                        <a:pt x="1695949" y="193912"/>
                      </a:cubicBezTo>
                      <a:lnTo>
                        <a:pt x="1695949" y="194324"/>
                      </a:lnTo>
                      <a:cubicBezTo>
                        <a:pt x="1695949" y="194324"/>
                        <a:pt x="1696031" y="194488"/>
                        <a:pt x="1696031" y="194488"/>
                      </a:cubicBezTo>
                      <a:lnTo>
                        <a:pt x="1696031" y="194626"/>
                      </a:lnTo>
                      <a:cubicBezTo>
                        <a:pt x="1696031" y="194626"/>
                        <a:pt x="1695921" y="194763"/>
                        <a:pt x="1695921" y="194763"/>
                      </a:cubicBezTo>
                      <a:lnTo>
                        <a:pt x="1695811" y="194763"/>
                      </a:lnTo>
                      <a:cubicBezTo>
                        <a:pt x="1695811" y="194763"/>
                        <a:pt x="1695619" y="194763"/>
                        <a:pt x="1695619" y="194763"/>
                      </a:cubicBezTo>
                      <a:lnTo>
                        <a:pt x="1695455" y="194845"/>
                      </a:lnTo>
                      <a:lnTo>
                        <a:pt x="1695318" y="195010"/>
                      </a:lnTo>
                      <a:lnTo>
                        <a:pt x="1695263" y="195120"/>
                      </a:lnTo>
                      <a:lnTo>
                        <a:pt x="1696552" y="197013"/>
                      </a:lnTo>
                      <a:lnTo>
                        <a:pt x="1696744" y="197013"/>
                      </a:lnTo>
                      <a:cubicBezTo>
                        <a:pt x="1696744" y="197013"/>
                        <a:pt x="1696909" y="197095"/>
                        <a:pt x="1696909" y="197095"/>
                      </a:cubicBezTo>
                      <a:lnTo>
                        <a:pt x="1696717" y="197315"/>
                      </a:lnTo>
                      <a:lnTo>
                        <a:pt x="1696552" y="197370"/>
                      </a:lnTo>
                      <a:lnTo>
                        <a:pt x="1689994" y="203627"/>
                      </a:lnTo>
                      <a:lnTo>
                        <a:pt x="1681267" y="208210"/>
                      </a:lnTo>
                      <a:lnTo>
                        <a:pt x="1671470" y="209884"/>
                      </a:lnTo>
                      <a:lnTo>
                        <a:pt x="1660849" y="216827"/>
                      </a:lnTo>
                      <a:lnTo>
                        <a:pt x="1655635" y="224429"/>
                      </a:lnTo>
                      <a:lnTo>
                        <a:pt x="1652067" y="216196"/>
                      </a:lnTo>
                      <a:lnTo>
                        <a:pt x="1647402" y="225910"/>
                      </a:lnTo>
                      <a:lnTo>
                        <a:pt x="1642627" y="213808"/>
                      </a:lnTo>
                      <a:lnTo>
                        <a:pt x="1639828" y="212985"/>
                      </a:lnTo>
                      <a:lnTo>
                        <a:pt x="1634092" y="228518"/>
                      </a:lnTo>
                      <a:lnTo>
                        <a:pt x="1629564" y="233100"/>
                      </a:lnTo>
                      <a:lnTo>
                        <a:pt x="1626436" y="234418"/>
                      </a:lnTo>
                      <a:lnTo>
                        <a:pt x="1612934" y="239961"/>
                      </a:lnTo>
                      <a:lnTo>
                        <a:pt x="1606649" y="239907"/>
                      </a:lnTo>
                      <a:lnTo>
                        <a:pt x="1590897" y="260598"/>
                      </a:lnTo>
                      <a:lnTo>
                        <a:pt x="1585546" y="274100"/>
                      </a:lnTo>
                      <a:lnTo>
                        <a:pt x="1586479" y="285956"/>
                      </a:lnTo>
                      <a:lnTo>
                        <a:pt x="1581127" y="293228"/>
                      </a:lnTo>
                      <a:lnTo>
                        <a:pt x="1581127" y="299897"/>
                      </a:lnTo>
                      <a:cubicBezTo>
                        <a:pt x="1581127" y="299897"/>
                        <a:pt x="1593641" y="317158"/>
                        <a:pt x="1593641" y="317158"/>
                      </a:cubicBezTo>
                      <a:lnTo>
                        <a:pt x="1604399" y="319519"/>
                      </a:lnTo>
                      <a:lnTo>
                        <a:pt x="1605359" y="321879"/>
                      </a:lnTo>
                      <a:lnTo>
                        <a:pt x="1594629" y="326517"/>
                      </a:lnTo>
                      <a:lnTo>
                        <a:pt x="1584174" y="325556"/>
                      </a:lnTo>
                      <a:lnTo>
                        <a:pt x="1573745" y="329316"/>
                      </a:lnTo>
                      <a:lnTo>
                        <a:pt x="1568119" y="326270"/>
                      </a:lnTo>
                      <a:lnTo>
                        <a:pt x="1557471" y="335655"/>
                      </a:lnTo>
                      <a:lnTo>
                        <a:pt x="1520478" y="341912"/>
                      </a:lnTo>
                      <a:lnTo>
                        <a:pt x="1510489" y="346413"/>
                      </a:lnTo>
                      <a:lnTo>
                        <a:pt x="1508980" y="349486"/>
                      </a:lnTo>
                      <a:lnTo>
                        <a:pt x="1524430" y="350584"/>
                      </a:lnTo>
                      <a:lnTo>
                        <a:pt x="1535874" y="348361"/>
                      </a:lnTo>
                      <a:lnTo>
                        <a:pt x="1538591" y="350557"/>
                      </a:lnTo>
                      <a:lnTo>
                        <a:pt x="1524677" y="359146"/>
                      </a:lnTo>
                      <a:lnTo>
                        <a:pt x="1487574" y="368367"/>
                      </a:lnTo>
                      <a:lnTo>
                        <a:pt x="1486367" y="372237"/>
                      </a:lnTo>
                      <a:lnTo>
                        <a:pt x="1487794" y="382006"/>
                      </a:lnTo>
                      <a:lnTo>
                        <a:pt x="1483924" y="397704"/>
                      </a:lnTo>
                      <a:lnTo>
                        <a:pt x="1466278" y="423061"/>
                      </a:lnTo>
                      <a:lnTo>
                        <a:pt x="1462958" y="424186"/>
                      </a:lnTo>
                      <a:lnTo>
                        <a:pt x="1457414" y="418945"/>
                      </a:lnTo>
                      <a:lnTo>
                        <a:pt x="1448715" y="416145"/>
                      </a:lnTo>
                      <a:lnTo>
                        <a:pt x="1450114" y="424488"/>
                      </a:lnTo>
                      <a:lnTo>
                        <a:pt x="1456262" y="437578"/>
                      </a:lnTo>
                      <a:lnTo>
                        <a:pt x="1456728" y="449543"/>
                      </a:lnTo>
                      <a:lnTo>
                        <a:pt x="1452502" y="460328"/>
                      </a:lnTo>
                      <a:lnTo>
                        <a:pt x="1434664" y="487250"/>
                      </a:lnTo>
                      <a:lnTo>
                        <a:pt x="1433512" y="483134"/>
                      </a:lnTo>
                      <a:lnTo>
                        <a:pt x="1436942" y="466174"/>
                      </a:lnTo>
                      <a:lnTo>
                        <a:pt x="1424373" y="444192"/>
                      </a:lnTo>
                      <a:lnTo>
                        <a:pt x="1423303" y="428028"/>
                      </a:lnTo>
                      <a:lnTo>
                        <a:pt x="1426459" y="413675"/>
                      </a:lnTo>
                      <a:lnTo>
                        <a:pt x="1420229" y="415734"/>
                      </a:lnTo>
                      <a:lnTo>
                        <a:pt x="1416524" y="438511"/>
                      </a:lnTo>
                      <a:lnTo>
                        <a:pt x="1417869" y="455553"/>
                      </a:lnTo>
                      <a:lnTo>
                        <a:pt x="1407935" y="456981"/>
                      </a:lnTo>
                      <a:lnTo>
                        <a:pt x="1421135" y="471416"/>
                      </a:lnTo>
                      <a:lnTo>
                        <a:pt x="1421931" y="482365"/>
                      </a:lnTo>
                      <a:lnTo>
                        <a:pt x="1419735" y="494907"/>
                      </a:lnTo>
                      <a:lnTo>
                        <a:pt x="1414988" y="499929"/>
                      </a:lnTo>
                      <a:lnTo>
                        <a:pt x="1417759" y="502948"/>
                      </a:lnTo>
                      <a:lnTo>
                        <a:pt x="1425800" y="505774"/>
                      </a:lnTo>
                      <a:lnTo>
                        <a:pt x="1430465" y="510769"/>
                      </a:lnTo>
                      <a:lnTo>
                        <a:pt x="1433594" y="529759"/>
                      </a:lnTo>
                      <a:lnTo>
                        <a:pt x="1423934" y="537800"/>
                      </a:lnTo>
                      <a:lnTo>
                        <a:pt x="1434829" y="544249"/>
                      </a:lnTo>
                      <a:lnTo>
                        <a:pt x="1435295" y="551165"/>
                      </a:lnTo>
                      <a:lnTo>
                        <a:pt x="1427309" y="559453"/>
                      </a:lnTo>
                      <a:lnTo>
                        <a:pt x="1417567" y="564804"/>
                      </a:lnTo>
                      <a:lnTo>
                        <a:pt x="1416524" y="570402"/>
                      </a:lnTo>
                      <a:lnTo>
                        <a:pt x="1418336" y="577099"/>
                      </a:lnTo>
                      <a:lnTo>
                        <a:pt x="1416552" y="580886"/>
                      </a:lnTo>
                      <a:lnTo>
                        <a:pt x="1401787" y="586154"/>
                      </a:lnTo>
                      <a:lnTo>
                        <a:pt x="1387133" y="594470"/>
                      </a:lnTo>
                      <a:lnTo>
                        <a:pt x="1370859" y="612500"/>
                      </a:lnTo>
                      <a:lnTo>
                        <a:pt x="1359498" y="615107"/>
                      </a:lnTo>
                      <a:lnTo>
                        <a:pt x="1349426" y="620046"/>
                      </a:lnTo>
                      <a:lnTo>
                        <a:pt x="1331973" y="642385"/>
                      </a:lnTo>
                      <a:lnTo>
                        <a:pt x="1293772" y="670789"/>
                      </a:lnTo>
                      <a:lnTo>
                        <a:pt x="1280078" y="689176"/>
                      </a:lnTo>
                      <a:lnTo>
                        <a:pt x="1270335" y="713655"/>
                      </a:lnTo>
                      <a:lnTo>
                        <a:pt x="1271433" y="733990"/>
                      </a:lnTo>
                      <a:lnTo>
                        <a:pt x="1281258" y="767882"/>
                      </a:lnTo>
                      <a:lnTo>
                        <a:pt x="1295007" y="796889"/>
                      </a:lnTo>
                      <a:lnTo>
                        <a:pt x="1298081" y="815331"/>
                      </a:lnTo>
                      <a:lnTo>
                        <a:pt x="1310869" y="856880"/>
                      </a:lnTo>
                      <a:lnTo>
                        <a:pt x="1309030" y="883883"/>
                      </a:lnTo>
                      <a:lnTo>
                        <a:pt x="1303569" y="904081"/>
                      </a:lnTo>
                      <a:lnTo>
                        <a:pt x="1300797" y="908802"/>
                      </a:lnTo>
                      <a:lnTo>
                        <a:pt x="1281422" y="906003"/>
                      </a:lnTo>
                      <a:lnTo>
                        <a:pt x="1275111" y="894915"/>
                      </a:lnTo>
                      <a:lnTo>
                        <a:pt x="1264820" y="884899"/>
                      </a:lnTo>
                      <a:lnTo>
                        <a:pt x="1252470" y="866018"/>
                      </a:lnTo>
                      <a:lnTo>
                        <a:pt x="1250028" y="855974"/>
                      </a:lnTo>
                      <a:lnTo>
                        <a:pt x="1244374" y="850348"/>
                      </a:lnTo>
                      <a:lnTo>
                        <a:pt x="1237569" y="837011"/>
                      </a:lnTo>
                      <a:lnTo>
                        <a:pt x="1239105" y="822219"/>
                      </a:lnTo>
                      <a:lnTo>
                        <a:pt x="1233452" y="822768"/>
                      </a:lnTo>
                      <a:lnTo>
                        <a:pt x="1231915" y="820764"/>
                      </a:lnTo>
                      <a:lnTo>
                        <a:pt x="1234056" y="797465"/>
                      </a:lnTo>
                      <a:lnTo>
                        <a:pt x="1231394" y="783003"/>
                      </a:lnTo>
                      <a:lnTo>
                        <a:pt x="1206530" y="754654"/>
                      </a:lnTo>
                      <a:lnTo>
                        <a:pt x="1198847" y="749001"/>
                      </a:lnTo>
                      <a:lnTo>
                        <a:pt x="1189516" y="747986"/>
                      </a:lnTo>
                      <a:lnTo>
                        <a:pt x="1161195" y="758195"/>
                      </a:lnTo>
                      <a:lnTo>
                        <a:pt x="1149504" y="748837"/>
                      </a:lnTo>
                      <a:lnTo>
                        <a:pt x="1133752" y="739753"/>
                      </a:lnTo>
                      <a:lnTo>
                        <a:pt x="1116051" y="736322"/>
                      </a:lnTo>
                      <a:lnTo>
                        <a:pt x="1088389" y="738765"/>
                      </a:lnTo>
                      <a:lnTo>
                        <a:pt x="1077549" y="730066"/>
                      </a:lnTo>
                      <a:lnTo>
                        <a:pt x="1070084" y="736048"/>
                      </a:lnTo>
                      <a:lnTo>
                        <a:pt x="1048294" y="736871"/>
                      </a:lnTo>
                      <a:lnTo>
                        <a:pt x="1036165" y="741070"/>
                      </a:lnTo>
                      <a:lnTo>
                        <a:pt x="1027328" y="748535"/>
                      </a:lnTo>
                      <a:lnTo>
                        <a:pt x="1028096" y="750209"/>
                      </a:lnTo>
                      <a:lnTo>
                        <a:pt x="1034491" y="749605"/>
                      </a:lnTo>
                      <a:lnTo>
                        <a:pt x="1037839" y="751608"/>
                      </a:lnTo>
                      <a:lnTo>
                        <a:pt x="1031444" y="759539"/>
                      </a:lnTo>
                      <a:lnTo>
                        <a:pt x="1028837" y="766565"/>
                      </a:lnTo>
                      <a:lnTo>
                        <a:pt x="1010862" y="770434"/>
                      </a:lnTo>
                      <a:lnTo>
                        <a:pt x="1005346" y="768925"/>
                      </a:lnTo>
                      <a:lnTo>
                        <a:pt x="995714" y="773618"/>
                      </a:lnTo>
                      <a:lnTo>
                        <a:pt x="984215" y="774331"/>
                      </a:lnTo>
                      <a:lnTo>
                        <a:pt x="981663" y="772684"/>
                      </a:lnTo>
                      <a:lnTo>
                        <a:pt x="980099" y="767278"/>
                      </a:lnTo>
                      <a:lnTo>
                        <a:pt x="963413" y="755725"/>
                      </a:lnTo>
                      <a:lnTo>
                        <a:pt x="958391" y="756960"/>
                      </a:lnTo>
                      <a:lnTo>
                        <a:pt x="954988" y="762146"/>
                      </a:lnTo>
                      <a:lnTo>
                        <a:pt x="950789" y="763738"/>
                      </a:lnTo>
                      <a:lnTo>
                        <a:pt x="922578" y="757097"/>
                      </a:lnTo>
                      <a:lnTo>
                        <a:pt x="883993" y="764013"/>
                      </a:lnTo>
                      <a:lnTo>
                        <a:pt x="876968" y="758743"/>
                      </a:lnTo>
                      <a:lnTo>
                        <a:pt x="872961" y="762640"/>
                      </a:lnTo>
                      <a:lnTo>
                        <a:pt x="873208" y="772602"/>
                      </a:lnTo>
                      <a:lnTo>
                        <a:pt x="862258" y="785034"/>
                      </a:lnTo>
                      <a:lnTo>
                        <a:pt x="844914" y="794721"/>
                      </a:lnTo>
                      <a:lnTo>
                        <a:pt x="826939" y="794721"/>
                      </a:lnTo>
                      <a:lnTo>
                        <a:pt x="828037" y="802680"/>
                      </a:lnTo>
                      <a:lnTo>
                        <a:pt x="819886" y="803832"/>
                      </a:lnTo>
                      <a:lnTo>
                        <a:pt x="819310" y="809540"/>
                      </a:lnTo>
                      <a:lnTo>
                        <a:pt x="817032" y="813355"/>
                      </a:lnTo>
                      <a:lnTo>
                        <a:pt x="810556" y="812065"/>
                      </a:lnTo>
                      <a:lnTo>
                        <a:pt x="809760" y="819145"/>
                      </a:lnTo>
                      <a:lnTo>
                        <a:pt x="803229" y="822247"/>
                      </a:lnTo>
                      <a:lnTo>
                        <a:pt x="805424" y="829546"/>
                      </a:lnTo>
                      <a:lnTo>
                        <a:pt x="801692" y="836105"/>
                      </a:lnTo>
                      <a:lnTo>
                        <a:pt x="797356" y="839783"/>
                      </a:lnTo>
                      <a:lnTo>
                        <a:pt x="799496" y="843762"/>
                      </a:lnTo>
                      <a:lnTo>
                        <a:pt x="797960" y="855343"/>
                      </a:lnTo>
                      <a:lnTo>
                        <a:pt x="804601" y="876446"/>
                      </a:lnTo>
                      <a:lnTo>
                        <a:pt x="808882" y="883581"/>
                      </a:lnTo>
                      <a:lnTo>
                        <a:pt x="800018" y="886628"/>
                      </a:lnTo>
                      <a:lnTo>
                        <a:pt x="792773" y="881468"/>
                      </a:lnTo>
                      <a:lnTo>
                        <a:pt x="777789" y="879932"/>
                      </a:lnTo>
                      <a:lnTo>
                        <a:pt x="751306" y="867967"/>
                      </a:lnTo>
                      <a:lnTo>
                        <a:pt x="747190" y="856440"/>
                      </a:lnTo>
                      <a:lnTo>
                        <a:pt x="741592" y="847961"/>
                      </a:lnTo>
                      <a:lnTo>
                        <a:pt x="738216" y="830287"/>
                      </a:lnTo>
                      <a:lnTo>
                        <a:pt x="729270" y="822768"/>
                      </a:lnTo>
                      <a:lnTo>
                        <a:pt x="723068" y="812641"/>
                      </a:lnTo>
                      <a:lnTo>
                        <a:pt x="716975" y="806796"/>
                      </a:lnTo>
                      <a:lnTo>
                        <a:pt x="701635" y="775401"/>
                      </a:lnTo>
                      <a:lnTo>
                        <a:pt x="689340" y="765357"/>
                      </a:lnTo>
                      <a:lnTo>
                        <a:pt x="683193" y="757701"/>
                      </a:lnTo>
                      <a:lnTo>
                        <a:pt x="658055" y="753776"/>
                      </a:lnTo>
                      <a:lnTo>
                        <a:pt x="647846" y="757646"/>
                      </a:lnTo>
                      <a:lnTo>
                        <a:pt x="643346" y="764095"/>
                      </a:lnTo>
                      <a:lnTo>
                        <a:pt x="638927" y="776252"/>
                      </a:lnTo>
                      <a:lnTo>
                        <a:pt x="632561" y="782454"/>
                      </a:lnTo>
                      <a:lnTo>
                        <a:pt x="627511" y="782317"/>
                      </a:lnTo>
                      <a:lnTo>
                        <a:pt x="606572" y="771724"/>
                      </a:lnTo>
                      <a:lnTo>
                        <a:pt x="593701" y="761872"/>
                      </a:lnTo>
                      <a:lnTo>
                        <a:pt x="588130" y="752130"/>
                      </a:lnTo>
                      <a:lnTo>
                        <a:pt x="586429" y="741482"/>
                      </a:lnTo>
                      <a:lnTo>
                        <a:pt x="580145" y="729270"/>
                      </a:lnTo>
                      <a:lnTo>
                        <a:pt x="543042" y="698479"/>
                      </a:lnTo>
                      <a:lnTo>
                        <a:pt x="536044" y="689532"/>
                      </a:lnTo>
                      <a:lnTo>
                        <a:pt x="485905" y="687995"/>
                      </a:lnTo>
                      <a:lnTo>
                        <a:pt x="483518" y="701964"/>
                      </a:lnTo>
                      <a:lnTo>
                        <a:pt x="482063" y="703281"/>
                      </a:lnTo>
                      <a:lnTo>
                        <a:pt x="401079" y="703281"/>
                      </a:lnTo>
                      <a:cubicBezTo>
                        <a:pt x="401079" y="703281"/>
                        <a:pt x="292350" y="664065"/>
                        <a:pt x="292350" y="664065"/>
                      </a:cubicBezTo>
                      <a:lnTo>
                        <a:pt x="290072" y="661403"/>
                      </a:lnTo>
                      <a:lnTo>
                        <a:pt x="289963" y="655695"/>
                      </a:lnTo>
                      <a:lnTo>
                        <a:pt x="221383" y="661650"/>
                      </a:lnTo>
                      <a:lnTo>
                        <a:pt x="218034" y="654954"/>
                      </a:lnTo>
                      <a:lnTo>
                        <a:pt x="215537" y="642797"/>
                      </a:lnTo>
                      <a:lnTo>
                        <a:pt x="211256" y="635662"/>
                      </a:lnTo>
                      <a:lnTo>
                        <a:pt x="193720" y="620842"/>
                      </a:lnTo>
                      <a:lnTo>
                        <a:pt x="185021" y="618537"/>
                      </a:lnTo>
                      <a:lnTo>
                        <a:pt x="180410" y="610908"/>
                      </a:lnTo>
                      <a:lnTo>
                        <a:pt x="163670" y="606572"/>
                      </a:lnTo>
                      <a:lnTo>
                        <a:pt x="149674" y="596144"/>
                      </a:lnTo>
                      <a:lnTo>
                        <a:pt x="125826" y="593894"/>
                      </a:lnTo>
                      <a:lnTo>
                        <a:pt x="120310" y="590600"/>
                      </a:lnTo>
                      <a:lnTo>
                        <a:pt x="116770" y="570128"/>
                      </a:lnTo>
                      <a:lnTo>
                        <a:pt x="112105" y="565956"/>
                      </a:lnTo>
                      <a:lnTo>
                        <a:pt x="109031" y="558410"/>
                      </a:lnTo>
                      <a:lnTo>
                        <a:pt x="99426" y="549683"/>
                      </a:lnTo>
                      <a:lnTo>
                        <a:pt x="82027" y="527180"/>
                      </a:lnTo>
                      <a:lnTo>
                        <a:pt x="79941" y="518562"/>
                      </a:lnTo>
                      <a:lnTo>
                        <a:pt x="82713" y="512498"/>
                      </a:lnTo>
                      <a:lnTo>
                        <a:pt x="82110" y="506350"/>
                      </a:lnTo>
                      <a:lnTo>
                        <a:pt x="70666" y="498364"/>
                      </a:lnTo>
                      <a:lnTo>
                        <a:pt x="65589" y="489967"/>
                      </a:lnTo>
                      <a:lnTo>
                        <a:pt x="62213" y="472047"/>
                      </a:lnTo>
                      <a:lnTo>
                        <a:pt x="50632" y="463183"/>
                      </a:lnTo>
                      <a:lnTo>
                        <a:pt x="45638" y="449927"/>
                      </a:lnTo>
                      <a:lnTo>
                        <a:pt x="28568" y="430580"/>
                      </a:lnTo>
                      <a:lnTo>
                        <a:pt x="25083" y="415926"/>
                      </a:lnTo>
                      <a:lnTo>
                        <a:pt x="24013" y="398499"/>
                      </a:lnTo>
                      <a:lnTo>
                        <a:pt x="9825" y="378905"/>
                      </a:lnTo>
                      <a:lnTo>
                        <a:pt x="8782" y="374267"/>
                      </a:lnTo>
                      <a:lnTo>
                        <a:pt x="8891" y="368010"/>
                      </a:lnTo>
                      <a:lnTo>
                        <a:pt x="15149" y="355881"/>
                      </a:lnTo>
                      <a:lnTo>
                        <a:pt x="16603" y="332911"/>
                      </a:lnTo>
                      <a:lnTo>
                        <a:pt x="8123" y="300857"/>
                      </a:lnTo>
                      <a:lnTo>
                        <a:pt x="7245" y="293146"/>
                      </a:lnTo>
                      <a:lnTo>
                        <a:pt x="5159" y="275363"/>
                      </a:lnTo>
                      <a:lnTo>
                        <a:pt x="15121" y="228380"/>
                      </a:lnTo>
                      <a:lnTo>
                        <a:pt x="20939" y="170915"/>
                      </a:lnTo>
                      <a:lnTo>
                        <a:pt x="21021" y="146765"/>
                      </a:lnTo>
                      <a:lnTo>
                        <a:pt x="23409" y="138258"/>
                      </a:lnTo>
                      <a:lnTo>
                        <a:pt x="19759" y="131095"/>
                      </a:lnTo>
                      <a:lnTo>
                        <a:pt x="20637" y="121188"/>
                      </a:lnTo>
                      <a:lnTo>
                        <a:pt x="18524" y="106671"/>
                      </a:lnTo>
                      <a:lnTo>
                        <a:pt x="1098" y="62405"/>
                      </a:lnTo>
                      <a:lnTo>
                        <a:pt x="0" y="52361"/>
                      </a:lnTo>
                      <a:lnTo>
                        <a:pt x="4720" y="47504"/>
                      </a:lnTo>
                      <a:lnTo>
                        <a:pt x="21159" y="53102"/>
                      </a:lnTo>
                      <a:lnTo>
                        <a:pt x="52361" y="56944"/>
                      </a:lnTo>
                      <a:lnTo>
                        <a:pt x="65946" y="77389"/>
                      </a:lnTo>
                      <a:lnTo>
                        <a:pt x="68964" y="59551"/>
                      </a:lnTo>
                      <a:lnTo>
                        <a:pt x="66961" y="55380"/>
                      </a:lnTo>
                      <a:lnTo>
                        <a:pt x="62790" y="57768"/>
                      </a:lnTo>
                      <a:lnTo>
                        <a:pt x="58865" y="52581"/>
                      </a:lnTo>
                      <a:lnTo>
                        <a:pt x="59057" y="42866"/>
                      </a:lnTo>
                      <a:lnTo>
                        <a:pt x="62680" y="33810"/>
                      </a:lnTo>
                      <a:lnTo>
                        <a:pt x="55764" y="16576"/>
                      </a:lnTo>
                      <a:lnTo>
                        <a:pt x="79283" y="16576"/>
                      </a:lnTo>
                      <a:cubicBezTo>
                        <a:pt x="79283" y="16576"/>
                        <a:pt x="360381" y="16740"/>
                        <a:pt x="360381" y="16740"/>
                      </a:cubicBezTo>
                      <a:lnTo>
                        <a:pt x="432090" y="16795"/>
                      </a:lnTo>
                      <a:lnTo>
                        <a:pt x="865112" y="16658"/>
                      </a:lnTo>
                      <a:lnTo>
                        <a:pt x="867116" y="15423"/>
                      </a:lnTo>
                      <a:lnTo>
                        <a:pt x="868241" y="0"/>
                      </a:lnTo>
                      <a:lnTo>
                        <a:pt x="876611" y="285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2922" name="Graphic 33">
                  <a:extLst>
                    <a:ext uri="{FF2B5EF4-FFF2-40B4-BE49-F238E27FC236}">
                      <a16:creationId xmlns:a16="http://schemas.microsoft.com/office/drawing/2014/main" id="{8CDCC71D-08E2-7E1B-F8D2-566629599791}"/>
                    </a:ext>
                  </a:extLst>
                </p:cNvPr>
                <p:cNvGrpSpPr/>
                <p:nvPr/>
              </p:nvGrpSpPr>
              <p:grpSpPr>
                <a:xfrm>
                  <a:off x="-6997909" y="1854486"/>
                  <a:ext cx="1892659" cy="1885963"/>
                  <a:chOff x="-6997909" y="1854486"/>
                  <a:chExt cx="1892659" cy="1885963"/>
                </a:xfrm>
                <a:grpFill/>
              </p:grpSpPr>
              <p:sp>
                <p:nvSpPr>
                  <p:cNvPr id="2923" name="Freeform: Shape 2922">
                    <a:extLst>
                      <a:ext uri="{FF2B5EF4-FFF2-40B4-BE49-F238E27FC236}">
                        <a16:creationId xmlns:a16="http://schemas.microsoft.com/office/drawing/2014/main" id="{29B7E697-9D57-0663-FFAE-4AC1735D1D3E}"/>
                      </a:ext>
                    </a:extLst>
                  </p:cNvPr>
                  <p:cNvSpPr/>
                  <p:nvPr/>
                </p:nvSpPr>
                <p:spPr>
                  <a:xfrm>
                    <a:off x="-5906556" y="2207814"/>
                    <a:ext cx="7217" cy="16740"/>
                  </a:xfrm>
                  <a:custGeom>
                    <a:avLst/>
                    <a:gdLst>
                      <a:gd name="connsiteX0" fmla="*/ 1893 w 7217"/>
                      <a:gd name="connsiteY0" fmla="*/ 13474 h 16740"/>
                      <a:gd name="connsiteX1" fmla="*/ 795 w 7217"/>
                      <a:gd name="connsiteY1" fmla="*/ 16740 h 16740"/>
                      <a:gd name="connsiteX2" fmla="*/ 0 w 7217"/>
                      <a:gd name="connsiteY2" fmla="*/ 14133 h 16740"/>
                      <a:gd name="connsiteX3" fmla="*/ 1207 w 7217"/>
                      <a:gd name="connsiteY3" fmla="*/ 9495 h 16740"/>
                      <a:gd name="connsiteX4" fmla="*/ 3924 w 7217"/>
                      <a:gd name="connsiteY4" fmla="*/ 7382 h 16740"/>
                      <a:gd name="connsiteX5" fmla="*/ 3567 w 7217"/>
                      <a:gd name="connsiteY5" fmla="*/ 0 h 16740"/>
                      <a:gd name="connsiteX6" fmla="*/ 5351 w 7217"/>
                      <a:gd name="connsiteY6" fmla="*/ 0 h 16740"/>
                      <a:gd name="connsiteX7" fmla="*/ 7217 w 7217"/>
                      <a:gd name="connsiteY7" fmla="*/ 5598 h 16740"/>
                      <a:gd name="connsiteX8" fmla="*/ 4775 w 7217"/>
                      <a:gd name="connsiteY8" fmla="*/ 6669 h 16740"/>
                      <a:gd name="connsiteX9" fmla="*/ 4555 w 7217"/>
                      <a:gd name="connsiteY9" fmla="*/ 13063 h 16740"/>
                      <a:gd name="connsiteX10" fmla="*/ 1893 w 7217"/>
                      <a:gd name="connsiteY10" fmla="*/ 13474 h 1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17" h="16740">
                        <a:moveTo>
                          <a:pt x="1893" y="13474"/>
                        </a:moveTo>
                        <a:lnTo>
                          <a:pt x="795" y="16740"/>
                        </a:lnTo>
                        <a:lnTo>
                          <a:pt x="0" y="14133"/>
                        </a:lnTo>
                        <a:lnTo>
                          <a:pt x="1207" y="9495"/>
                        </a:lnTo>
                        <a:lnTo>
                          <a:pt x="3924" y="7382"/>
                        </a:lnTo>
                        <a:lnTo>
                          <a:pt x="3567" y="0"/>
                        </a:lnTo>
                        <a:lnTo>
                          <a:pt x="5351" y="0"/>
                        </a:lnTo>
                        <a:lnTo>
                          <a:pt x="7217" y="5598"/>
                        </a:lnTo>
                        <a:lnTo>
                          <a:pt x="4775" y="6669"/>
                        </a:lnTo>
                        <a:lnTo>
                          <a:pt x="4555" y="13063"/>
                        </a:lnTo>
                        <a:lnTo>
                          <a:pt x="1893" y="1347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24" name="Freeform: Shape 2923">
                    <a:extLst>
                      <a:ext uri="{FF2B5EF4-FFF2-40B4-BE49-F238E27FC236}">
                        <a16:creationId xmlns:a16="http://schemas.microsoft.com/office/drawing/2014/main" id="{7F3C900B-4702-C532-EDDD-4A9C18737999}"/>
                      </a:ext>
                    </a:extLst>
                  </p:cNvPr>
                  <p:cNvSpPr/>
                  <p:nvPr/>
                </p:nvSpPr>
                <p:spPr>
                  <a:xfrm>
                    <a:off x="-5874147" y="2154438"/>
                    <a:ext cx="3732" cy="9879"/>
                  </a:xfrm>
                  <a:custGeom>
                    <a:avLst/>
                    <a:gdLst>
                      <a:gd name="connsiteX0" fmla="*/ 3733 w 3732"/>
                      <a:gd name="connsiteY0" fmla="*/ 4775 h 9879"/>
                      <a:gd name="connsiteX1" fmla="*/ 1317 w 3732"/>
                      <a:gd name="connsiteY1" fmla="*/ 9879 h 9879"/>
                      <a:gd name="connsiteX2" fmla="*/ 0 w 3732"/>
                      <a:gd name="connsiteY2" fmla="*/ 8315 h 9879"/>
                      <a:gd name="connsiteX3" fmla="*/ 1482 w 3732"/>
                      <a:gd name="connsiteY3" fmla="*/ 0 h 9879"/>
                      <a:gd name="connsiteX4" fmla="*/ 3733 w 3732"/>
                      <a:gd name="connsiteY4" fmla="*/ 4775 h 9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9879">
                        <a:moveTo>
                          <a:pt x="3733" y="4775"/>
                        </a:moveTo>
                        <a:lnTo>
                          <a:pt x="1317" y="9879"/>
                        </a:lnTo>
                        <a:lnTo>
                          <a:pt x="0" y="8315"/>
                        </a:lnTo>
                        <a:lnTo>
                          <a:pt x="1482" y="0"/>
                        </a:lnTo>
                        <a:lnTo>
                          <a:pt x="3733" y="477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25" name="Freeform: Shape 2924">
                    <a:extLst>
                      <a:ext uri="{FF2B5EF4-FFF2-40B4-BE49-F238E27FC236}">
                        <a16:creationId xmlns:a16="http://schemas.microsoft.com/office/drawing/2014/main" id="{95B7774C-B7B3-C2EB-D1C5-E61B30A55C79}"/>
                      </a:ext>
                    </a:extLst>
                  </p:cNvPr>
                  <p:cNvSpPr/>
                  <p:nvPr/>
                </p:nvSpPr>
                <p:spPr>
                  <a:xfrm>
                    <a:off x="-5877934" y="2170739"/>
                    <a:ext cx="3951" cy="9248"/>
                  </a:xfrm>
                  <a:custGeom>
                    <a:avLst/>
                    <a:gdLst>
                      <a:gd name="connsiteX0" fmla="*/ 3952 w 3951"/>
                      <a:gd name="connsiteY0" fmla="*/ 2607 h 9248"/>
                      <a:gd name="connsiteX1" fmla="*/ 521 w 3951"/>
                      <a:gd name="connsiteY1" fmla="*/ 9248 h 9248"/>
                      <a:gd name="connsiteX2" fmla="*/ 0 w 3951"/>
                      <a:gd name="connsiteY2" fmla="*/ 3129 h 9248"/>
                      <a:gd name="connsiteX3" fmla="*/ 1372 w 3951"/>
                      <a:gd name="connsiteY3" fmla="*/ 0 h 9248"/>
                      <a:gd name="connsiteX4" fmla="*/ 3952 w 3951"/>
                      <a:gd name="connsiteY4" fmla="*/ 2635 h 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9248">
                        <a:moveTo>
                          <a:pt x="3952" y="2607"/>
                        </a:moveTo>
                        <a:lnTo>
                          <a:pt x="521" y="9248"/>
                        </a:lnTo>
                        <a:lnTo>
                          <a:pt x="0" y="3129"/>
                        </a:lnTo>
                        <a:lnTo>
                          <a:pt x="1372" y="0"/>
                        </a:lnTo>
                        <a:lnTo>
                          <a:pt x="3952" y="263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26" name="Freeform: Shape 2925">
                    <a:extLst>
                      <a:ext uri="{FF2B5EF4-FFF2-40B4-BE49-F238E27FC236}">
                        <a16:creationId xmlns:a16="http://schemas.microsoft.com/office/drawing/2014/main" id="{AD8A0388-B466-C2BC-42DA-2E26B010E132}"/>
                      </a:ext>
                    </a:extLst>
                  </p:cNvPr>
                  <p:cNvSpPr/>
                  <p:nvPr/>
                </p:nvSpPr>
                <p:spPr>
                  <a:xfrm>
                    <a:off x="-5858971" y="2148894"/>
                    <a:ext cx="4583" cy="7931"/>
                  </a:xfrm>
                  <a:custGeom>
                    <a:avLst/>
                    <a:gdLst>
                      <a:gd name="connsiteX0" fmla="*/ 4556 w 4583"/>
                      <a:gd name="connsiteY0" fmla="*/ 4885 h 7931"/>
                      <a:gd name="connsiteX1" fmla="*/ 2196 w 4583"/>
                      <a:gd name="connsiteY1" fmla="*/ 7931 h 7931"/>
                      <a:gd name="connsiteX2" fmla="*/ 0 w 4583"/>
                      <a:gd name="connsiteY2" fmla="*/ 4803 h 7931"/>
                      <a:gd name="connsiteX3" fmla="*/ 3979 w 4583"/>
                      <a:gd name="connsiteY3" fmla="*/ 0 h 7931"/>
                      <a:gd name="connsiteX4" fmla="*/ 4583 w 4583"/>
                      <a:gd name="connsiteY4" fmla="*/ 4912 h 7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 h="7931">
                        <a:moveTo>
                          <a:pt x="4556" y="4885"/>
                        </a:moveTo>
                        <a:lnTo>
                          <a:pt x="2196" y="7931"/>
                        </a:lnTo>
                        <a:lnTo>
                          <a:pt x="0" y="4803"/>
                        </a:lnTo>
                        <a:lnTo>
                          <a:pt x="3979" y="0"/>
                        </a:lnTo>
                        <a:lnTo>
                          <a:pt x="4583" y="491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27" name="Freeform: Shape 2926">
                    <a:extLst>
                      <a:ext uri="{FF2B5EF4-FFF2-40B4-BE49-F238E27FC236}">
                        <a16:creationId xmlns:a16="http://schemas.microsoft.com/office/drawing/2014/main" id="{405F7EE3-0DD2-2221-A869-024B50FD97C3}"/>
                      </a:ext>
                    </a:extLst>
                  </p:cNvPr>
                  <p:cNvSpPr/>
                  <p:nvPr/>
                </p:nvSpPr>
                <p:spPr>
                  <a:xfrm>
                    <a:off x="-5879580" y="2158691"/>
                    <a:ext cx="4775" cy="7217"/>
                  </a:xfrm>
                  <a:custGeom>
                    <a:avLst/>
                    <a:gdLst>
                      <a:gd name="connsiteX0" fmla="*/ 4775 w 4775"/>
                      <a:gd name="connsiteY0" fmla="*/ 2991 h 7217"/>
                      <a:gd name="connsiteX1" fmla="*/ 3211 w 4775"/>
                      <a:gd name="connsiteY1" fmla="*/ 7218 h 7217"/>
                      <a:gd name="connsiteX2" fmla="*/ 0 w 4775"/>
                      <a:gd name="connsiteY2" fmla="*/ 4254 h 7217"/>
                      <a:gd name="connsiteX3" fmla="*/ 1729 w 4775"/>
                      <a:gd name="connsiteY3" fmla="*/ 0 h 7217"/>
                      <a:gd name="connsiteX4" fmla="*/ 4775 w 4775"/>
                      <a:gd name="connsiteY4" fmla="*/ 2991 h 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 h="7217">
                        <a:moveTo>
                          <a:pt x="4775" y="2991"/>
                        </a:moveTo>
                        <a:lnTo>
                          <a:pt x="3211" y="7218"/>
                        </a:lnTo>
                        <a:lnTo>
                          <a:pt x="0" y="4254"/>
                        </a:lnTo>
                        <a:lnTo>
                          <a:pt x="1729" y="0"/>
                        </a:lnTo>
                        <a:lnTo>
                          <a:pt x="4775" y="299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28" name="Freeform: Shape 2927">
                    <a:extLst>
                      <a:ext uri="{FF2B5EF4-FFF2-40B4-BE49-F238E27FC236}">
                        <a16:creationId xmlns:a16="http://schemas.microsoft.com/office/drawing/2014/main" id="{1B90EE51-4B57-E9AB-9460-412CA5D5F121}"/>
                      </a:ext>
                    </a:extLst>
                  </p:cNvPr>
                  <p:cNvSpPr/>
                  <p:nvPr/>
                </p:nvSpPr>
                <p:spPr>
                  <a:xfrm>
                    <a:off x="-5867450" y="2158829"/>
                    <a:ext cx="4527" cy="7382"/>
                  </a:xfrm>
                  <a:custGeom>
                    <a:avLst/>
                    <a:gdLst>
                      <a:gd name="connsiteX0" fmla="*/ 4528 w 4527"/>
                      <a:gd name="connsiteY0" fmla="*/ 5873 h 7382"/>
                      <a:gd name="connsiteX1" fmla="*/ 1893 w 4527"/>
                      <a:gd name="connsiteY1" fmla="*/ 7382 h 7382"/>
                      <a:gd name="connsiteX2" fmla="*/ 0 w 4527"/>
                      <a:gd name="connsiteY2" fmla="*/ 4693 h 7382"/>
                      <a:gd name="connsiteX3" fmla="*/ 4336 w 4527"/>
                      <a:gd name="connsiteY3" fmla="*/ 0 h 7382"/>
                      <a:gd name="connsiteX4" fmla="*/ 4528 w 4527"/>
                      <a:gd name="connsiteY4" fmla="*/ 5873 h 7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7" h="7382">
                        <a:moveTo>
                          <a:pt x="4528" y="5873"/>
                        </a:moveTo>
                        <a:lnTo>
                          <a:pt x="1893" y="7382"/>
                        </a:lnTo>
                        <a:lnTo>
                          <a:pt x="0" y="4693"/>
                        </a:lnTo>
                        <a:lnTo>
                          <a:pt x="4336" y="0"/>
                        </a:lnTo>
                        <a:lnTo>
                          <a:pt x="4528" y="587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29" name="Freeform: Shape 2928">
                    <a:extLst>
                      <a:ext uri="{FF2B5EF4-FFF2-40B4-BE49-F238E27FC236}">
                        <a16:creationId xmlns:a16="http://schemas.microsoft.com/office/drawing/2014/main" id="{06B63C90-FD51-9C14-05E9-BD9BCDAEEB18}"/>
                      </a:ext>
                    </a:extLst>
                  </p:cNvPr>
                  <p:cNvSpPr/>
                  <p:nvPr/>
                </p:nvSpPr>
                <p:spPr>
                  <a:xfrm>
                    <a:off x="-5911524" y="2220411"/>
                    <a:ext cx="3402" cy="9467"/>
                  </a:xfrm>
                  <a:custGeom>
                    <a:avLst/>
                    <a:gdLst>
                      <a:gd name="connsiteX0" fmla="*/ 3403 w 3402"/>
                      <a:gd name="connsiteY0" fmla="*/ 1592 h 9467"/>
                      <a:gd name="connsiteX1" fmla="*/ 3073 w 3402"/>
                      <a:gd name="connsiteY1" fmla="*/ 9468 h 9467"/>
                      <a:gd name="connsiteX2" fmla="*/ 0 w 3402"/>
                      <a:gd name="connsiteY2" fmla="*/ 3348 h 9467"/>
                      <a:gd name="connsiteX3" fmla="*/ 1455 w 3402"/>
                      <a:gd name="connsiteY3" fmla="*/ 0 h 9467"/>
                      <a:gd name="connsiteX4" fmla="*/ 3403 w 3402"/>
                      <a:gd name="connsiteY4" fmla="*/ 1619 h 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9467">
                        <a:moveTo>
                          <a:pt x="3403" y="1592"/>
                        </a:moveTo>
                        <a:lnTo>
                          <a:pt x="3073" y="9468"/>
                        </a:lnTo>
                        <a:lnTo>
                          <a:pt x="0" y="3348"/>
                        </a:lnTo>
                        <a:lnTo>
                          <a:pt x="1455" y="0"/>
                        </a:lnTo>
                        <a:lnTo>
                          <a:pt x="3403" y="161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30" name="Freeform: Shape 2929">
                    <a:extLst>
                      <a:ext uri="{FF2B5EF4-FFF2-40B4-BE49-F238E27FC236}">
                        <a16:creationId xmlns:a16="http://schemas.microsoft.com/office/drawing/2014/main" id="{677EF4A3-9BA4-A1AB-3491-6D83D8881EE0}"/>
                      </a:ext>
                    </a:extLst>
                  </p:cNvPr>
                  <p:cNvSpPr/>
                  <p:nvPr/>
                </p:nvSpPr>
                <p:spPr>
                  <a:xfrm>
                    <a:off x="-5910179" y="2233227"/>
                    <a:ext cx="4116" cy="7436"/>
                  </a:xfrm>
                  <a:custGeom>
                    <a:avLst/>
                    <a:gdLst>
                      <a:gd name="connsiteX0" fmla="*/ 4116 w 4116"/>
                      <a:gd name="connsiteY0" fmla="*/ 4501 h 7436"/>
                      <a:gd name="connsiteX1" fmla="*/ 1729 w 4116"/>
                      <a:gd name="connsiteY1" fmla="*/ 7437 h 7436"/>
                      <a:gd name="connsiteX2" fmla="*/ 0 w 4116"/>
                      <a:gd name="connsiteY2" fmla="*/ 4830 h 7436"/>
                      <a:gd name="connsiteX3" fmla="*/ 1400 w 4116"/>
                      <a:gd name="connsiteY3" fmla="*/ 0 h 7436"/>
                      <a:gd name="connsiteX4" fmla="*/ 4062 w 4116"/>
                      <a:gd name="connsiteY4" fmla="*/ 0 h 7436"/>
                      <a:gd name="connsiteX5" fmla="*/ 4116 w 4116"/>
                      <a:gd name="connsiteY5" fmla="*/ 4501 h 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6" h="7436">
                        <a:moveTo>
                          <a:pt x="4116" y="4501"/>
                        </a:moveTo>
                        <a:lnTo>
                          <a:pt x="1729" y="7437"/>
                        </a:lnTo>
                        <a:lnTo>
                          <a:pt x="0" y="4830"/>
                        </a:lnTo>
                        <a:lnTo>
                          <a:pt x="1400" y="0"/>
                        </a:lnTo>
                        <a:lnTo>
                          <a:pt x="4062" y="0"/>
                        </a:lnTo>
                        <a:lnTo>
                          <a:pt x="4116" y="450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31" name="Freeform: Shape 2930">
                    <a:extLst>
                      <a:ext uri="{FF2B5EF4-FFF2-40B4-BE49-F238E27FC236}">
                        <a16:creationId xmlns:a16="http://schemas.microsoft.com/office/drawing/2014/main" id="{C4AFB528-CB24-807F-A76B-7893E5FD983B}"/>
                      </a:ext>
                    </a:extLst>
                  </p:cNvPr>
                  <p:cNvSpPr/>
                  <p:nvPr/>
                </p:nvSpPr>
                <p:spPr>
                  <a:xfrm>
                    <a:off x="-5919784" y="2239319"/>
                    <a:ext cx="4720" cy="6284"/>
                  </a:xfrm>
                  <a:custGeom>
                    <a:avLst/>
                    <a:gdLst>
                      <a:gd name="connsiteX0" fmla="*/ 3842 w 4720"/>
                      <a:gd name="connsiteY0" fmla="*/ 4830 h 6284"/>
                      <a:gd name="connsiteX1" fmla="*/ 1262 w 4720"/>
                      <a:gd name="connsiteY1" fmla="*/ 6285 h 6284"/>
                      <a:gd name="connsiteX2" fmla="*/ 0 w 4720"/>
                      <a:gd name="connsiteY2" fmla="*/ 2936 h 6284"/>
                      <a:gd name="connsiteX3" fmla="*/ 1701 w 4720"/>
                      <a:gd name="connsiteY3" fmla="*/ 0 h 6284"/>
                      <a:gd name="connsiteX4" fmla="*/ 4720 w 4720"/>
                      <a:gd name="connsiteY4" fmla="*/ 1674 h 6284"/>
                      <a:gd name="connsiteX5" fmla="*/ 3869 w 4720"/>
                      <a:gd name="connsiteY5" fmla="*/ 4830 h 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0" h="6284">
                        <a:moveTo>
                          <a:pt x="3842" y="4830"/>
                        </a:moveTo>
                        <a:lnTo>
                          <a:pt x="1262" y="6285"/>
                        </a:lnTo>
                        <a:lnTo>
                          <a:pt x="0" y="2936"/>
                        </a:lnTo>
                        <a:lnTo>
                          <a:pt x="1701" y="0"/>
                        </a:lnTo>
                        <a:lnTo>
                          <a:pt x="4720" y="1674"/>
                        </a:lnTo>
                        <a:lnTo>
                          <a:pt x="3869" y="483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32" name="Freeform: Shape 2931">
                    <a:extLst>
                      <a:ext uri="{FF2B5EF4-FFF2-40B4-BE49-F238E27FC236}">
                        <a16:creationId xmlns:a16="http://schemas.microsoft.com/office/drawing/2014/main" id="{77BD5486-F616-DBA6-6C9F-310F7297695D}"/>
                      </a:ext>
                    </a:extLst>
                  </p:cNvPr>
                  <p:cNvSpPr/>
                  <p:nvPr/>
                </p:nvSpPr>
                <p:spPr>
                  <a:xfrm>
                    <a:off x="-5888499" y="2188028"/>
                    <a:ext cx="4391" cy="6119"/>
                  </a:xfrm>
                  <a:custGeom>
                    <a:avLst/>
                    <a:gdLst>
                      <a:gd name="connsiteX0" fmla="*/ 4391 w 4391"/>
                      <a:gd name="connsiteY0" fmla="*/ 0 h 6119"/>
                      <a:gd name="connsiteX1" fmla="*/ 4391 w 4391"/>
                      <a:gd name="connsiteY1" fmla="*/ 6120 h 6119"/>
                      <a:gd name="connsiteX2" fmla="*/ 494 w 4391"/>
                      <a:gd name="connsiteY2" fmla="*/ 3842 h 6119"/>
                      <a:gd name="connsiteX3" fmla="*/ 0 w 4391"/>
                      <a:gd name="connsiteY3" fmla="*/ 1262 h 6119"/>
                      <a:gd name="connsiteX4" fmla="*/ 4364 w 4391"/>
                      <a:gd name="connsiteY4" fmla="*/ 0 h 6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 h="6119">
                        <a:moveTo>
                          <a:pt x="4391" y="0"/>
                        </a:moveTo>
                        <a:lnTo>
                          <a:pt x="4391" y="6120"/>
                        </a:lnTo>
                        <a:cubicBezTo>
                          <a:pt x="4391" y="6120"/>
                          <a:pt x="494" y="3842"/>
                          <a:pt x="494" y="3842"/>
                        </a:cubicBezTo>
                        <a:lnTo>
                          <a:pt x="0" y="1262"/>
                        </a:lnTo>
                        <a:lnTo>
                          <a:pt x="4364"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33" name="Freeform: Shape 2932">
                    <a:extLst>
                      <a:ext uri="{FF2B5EF4-FFF2-40B4-BE49-F238E27FC236}">
                        <a16:creationId xmlns:a16="http://schemas.microsoft.com/office/drawing/2014/main" id="{CCD51816-694F-DFCD-A0D7-E9A672870D94}"/>
                      </a:ext>
                    </a:extLst>
                  </p:cNvPr>
                  <p:cNvSpPr/>
                  <p:nvPr/>
                </p:nvSpPr>
                <p:spPr>
                  <a:xfrm>
                    <a:off x="-5917260" y="2222524"/>
                    <a:ext cx="4061" cy="6558"/>
                  </a:xfrm>
                  <a:custGeom>
                    <a:avLst/>
                    <a:gdLst>
                      <a:gd name="connsiteX0" fmla="*/ 4062 w 4061"/>
                      <a:gd name="connsiteY0" fmla="*/ 686 h 6558"/>
                      <a:gd name="connsiteX1" fmla="*/ 2827 w 4061"/>
                      <a:gd name="connsiteY1" fmla="*/ 6559 h 6558"/>
                      <a:gd name="connsiteX2" fmla="*/ 0 w 4061"/>
                      <a:gd name="connsiteY2" fmla="*/ 5269 h 6558"/>
                      <a:gd name="connsiteX3" fmla="*/ 933 w 4061"/>
                      <a:gd name="connsiteY3" fmla="*/ 0 h 6558"/>
                      <a:gd name="connsiteX4" fmla="*/ 4034 w 4061"/>
                      <a:gd name="connsiteY4" fmla="*/ 659 h 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6558">
                        <a:moveTo>
                          <a:pt x="4062" y="686"/>
                        </a:moveTo>
                        <a:lnTo>
                          <a:pt x="2827" y="6559"/>
                        </a:lnTo>
                        <a:lnTo>
                          <a:pt x="0" y="5269"/>
                        </a:lnTo>
                        <a:lnTo>
                          <a:pt x="933" y="0"/>
                        </a:lnTo>
                        <a:lnTo>
                          <a:pt x="4034" y="65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34" name="Freeform: Shape 2933">
                    <a:extLst>
                      <a:ext uri="{FF2B5EF4-FFF2-40B4-BE49-F238E27FC236}">
                        <a16:creationId xmlns:a16="http://schemas.microsoft.com/office/drawing/2014/main" id="{E07BCF3A-E6B4-7CB2-61DB-D350B2C2DAF8}"/>
                      </a:ext>
                    </a:extLst>
                  </p:cNvPr>
                  <p:cNvSpPr/>
                  <p:nvPr/>
                </p:nvSpPr>
                <p:spPr>
                  <a:xfrm>
                    <a:off x="-5911579" y="2245247"/>
                    <a:ext cx="3320" cy="6668"/>
                  </a:xfrm>
                  <a:custGeom>
                    <a:avLst/>
                    <a:gdLst>
                      <a:gd name="connsiteX0" fmla="*/ 3293 w 3320"/>
                      <a:gd name="connsiteY0" fmla="*/ 4501 h 6668"/>
                      <a:gd name="connsiteX1" fmla="*/ 0 w 3320"/>
                      <a:gd name="connsiteY1" fmla="*/ 6669 h 6668"/>
                      <a:gd name="connsiteX2" fmla="*/ 0 w 3320"/>
                      <a:gd name="connsiteY2" fmla="*/ 0 h 6668"/>
                      <a:gd name="connsiteX3" fmla="*/ 2854 w 3320"/>
                      <a:gd name="connsiteY3" fmla="*/ 0 h 6668"/>
                      <a:gd name="connsiteX4" fmla="*/ 3320 w 3320"/>
                      <a:gd name="connsiteY4" fmla="*/ 4473 h 6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0" h="6668">
                        <a:moveTo>
                          <a:pt x="3293" y="4501"/>
                        </a:moveTo>
                        <a:lnTo>
                          <a:pt x="0" y="6669"/>
                        </a:lnTo>
                        <a:lnTo>
                          <a:pt x="0" y="0"/>
                        </a:lnTo>
                        <a:lnTo>
                          <a:pt x="2854" y="0"/>
                        </a:lnTo>
                        <a:lnTo>
                          <a:pt x="3320" y="447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35" name="Freeform: Shape 2934">
                    <a:extLst>
                      <a:ext uri="{FF2B5EF4-FFF2-40B4-BE49-F238E27FC236}">
                        <a16:creationId xmlns:a16="http://schemas.microsoft.com/office/drawing/2014/main" id="{9371118B-2322-A32A-2BB5-83902D008A6B}"/>
                      </a:ext>
                    </a:extLst>
                  </p:cNvPr>
                  <p:cNvSpPr/>
                  <p:nvPr/>
                </p:nvSpPr>
                <p:spPr>
                  <a:xfrm>
                    <a:off x="-5885316" y="2179466"/>
                    <a:ext cx="5790" cy="3924"/>
                  </a:xfrm>
                  <a:custGeom>
                    <a:avLst/>
                    <a:gdLst>
                      <a:gd name="connsiteX0" fmla="*/ 5516 w 5790"/>
                      <a:gd name="connsiteY0" fmla="*/ 2827 h 3924"/>
                      <a:gd name="connsiteX1" fmla="*/ 0 w 5790"/>
                      <a:gd name="connsiteY1" fmla="*/ 3924 h 3924"/>
                      <a:gd name="connsiteX2" fmla="*/ 0 w 5790"/>
                      <a:gd name="connsiteY2" fmla="*/ 302 h 3924"/>
                      <a:gd name="connsiteX3" fmla="*/ 5790 w 5790"/>
                      <a:gd name="connsiteY3" fmla="*/ 0 h 3924"/>
                      <a:gd name="connsiteX4" fmla="*/ 5489 w 5790"/>
                      <a:gd name="connsiteY4" fmla="*/ 2827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 h="3924">
                        <a:moveTo>
                          <a:pt x="5516" y="2827"/>
                        </a:moveTo>
                        <a:lnTo>
                          <a:pt x="0" y="3924"/>
                        </a:lnTo>
                        <a:lnTo>
                          <a:pt x="0" y="302"/>
                        </a:lnTo>
                        <a:cubicBezTo>
                          <a:pt x="0" y="302"/>
                          <a:pt x="5790" y="0"/>
                          <a:pt x="5790" y="0"/>
                        </a:cubicBezTo>
                        <a:lnTo>
                          <a:pt x="5489" y="28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36" name="Freeform: Shape 2935">
                    <a:extLst>
                      <a:ext uri="{FF2B5EF4-FFF2-40B4-BE49-F238E27FC236}">
                        <a16:creationId xmlns:a16="http://schemas.microsoft.com/office/drawing/2014/main" id="{0B046694-45E6-7065-E372-514AB1A18F37}"/>
                      </a:ext>
                    </a:extLst>
                  </p:cNvPr>
                  <p:cNvSpPr/>
                  <p:nvPr/>
                </p:nvSpPr>
                <p:spPr>
                  <a:xfrm>
                    <a:off x="-5940229" y="2160530"/>
                    <a:ext cx="5488" cy="4061"/>
                  </a:xfrm>
                  <a:custGeom>
                    <a:avLst/>
                    <a:gdLst>
                      <a:gd name="connsiteX0" fmla="*/ 5489 w 5488"/>
                      <a:gd name="connsiteY0" fmla="*/ 3458 h 4061"/>
                      <a:gd name="connsiteX1" fmla="*/ 604 w 5488"/>
                      <a:gd name="connsiteY1" fmla="*/ 4062 h 4061"/>
                      <a:gd name="connsiteX2" fmla="*/ 0 w 5488"/>
                      <a:gd name="connsiteY2" fmla="*/ 2195 h 4061"/>
                      <a:gd name="connsiteX3" fmla="*/ 686 w 5488"/>
                      <a:gd name="connsiteY3" fmla="*/ 466 h 4061"/>
                      <a:gd name="connsiteX4" fmla="*/ 5489 w 5488"/>
                      <a:gd name="connsiteY4" fmla="*/ 0 h 4061"/>
                      <a:gd name="connsiteX5" fmla="*/ 5489 w 5488"/>
                      <a:gd name="connsiteY5" fmla="*/ 3458 h 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8" h="4061">
                        <a:moveTo>
                          <a:pt x="5489" y="3458"/>
                        </a:moveTo>
                        <a:lnTo>
                          <a:pt x="604" y="4062"/>
                        </a:lnTo>
                        <a:lnTo>
                          <a:pt x="0" y="2195"/>
                        </a:lnTo>
                        <a:lnTo>
                          <a:pt x="686" y="466"/>
                        </a:lnTo>
                        <a:lnTo>
                          <a:pt x="5489" y="0"/>
                        </a:lnTo>
                        <a:lnTo>
                          <a:pt x="5489" y="345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37" name="Freeform: Shape 2936">
                    <a:extLst>
                      <a:ext uri="{FF2B5EF4-FFF2-40B4-BE49-F238E27FC236}">
                        <a16:creationId xmlns:a16="http://schemas.microsoft.com/office/drawing/2014/main" id="{FA0A2F01-F88B-7A70-22CF-A4CF51D6C649}"/>
                      </a:ext>
                    </a:extLst>
                  </p:cNvPr>
                  <p:cNvSpPr/>
                  <p:nvPr/>
                </p:nvSpPr>
                <p:spPr>
                  <a:xfrm>
                    <a:off x="-5922748" y="2209187"/>
                    <a:ext cx="4610" cy="4692"/>
                  </a:xfrm>
                  <a:custGeom>
                    <a:avLst/>
                    <a:gdLst>
                      <a:gd name="connsiteX0" fmla="*/ 4089 w 4610"/>
                      <a:gd name="connsiteY0" fmla="*/ 0 h 4692"/>
                      <a:gd name="connsiteX1" fmla="*/ 4610 w 4610"/>
                      <a:gd name="connsiteY1" fmla="*/ 4693 h 4692"/>
                      <a:gd name="connsiteX2" fmla="*/ 933 w 4610"/>
                      <a:gd name="connsiteY2" fmla="*/ 4528 h 4692"/>
                      <a:gd name="connsiteX3" fmla="*/ 0 w 4610"/>
                      <a:gd name="connsiteY3" fmla="*/ 137 h 4692"/>
                      <a:gd name="connsiteX4" fmla="*/ 4116 w 4610"/>
                      <a:gd name="connsiteY4" fmla="*/ 0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4692">
                        <a:moveTo>
                          <a:pt x="4089" y="0"/>
                        </a:moveTo>
                        <a:lnTo>
                          <a:pt x="4610" y="4693"/>
                        </a:lnTo>
                        <a:lnTo>
                          <a:pt x="933" y="4528"/>
                        </a:lnTo>
                        <a:lnTo>
                          <a:pt x="0" y="137"/>
                        </a:lnTo>
                        <a:lnTo>
                          <a:pt x="4116"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38" name="Freeform: Shape 2937">
                    <a:extLst>
                      <a:ext uri="{FF2B5EF4-FFF2-40B4-BE49-F238E27FC236}">
                        <a16:creationId xmlns:a16="http://schemas.microsoft.com/office/drawing/2014/main" id="{AB91D3BD-061F-B886-5136-D75805050E9E}"/>
                      </a:ext>
                    </a:extLst>
                  </p:cNvPr>
                  <p:cNvSpPr/>
                  <p:nvPr/>
                </p:nvSpPr>
                <p:spPr>
                  <a:xfrm>
                    <a:off x="-5718517" y="3488688"/>
                    <a:ext cx="51071" cy="116056"/>
                  </a:xfrm>
                  <a:custGeom>
                    <a:avLst/>
                    <a:gdLst>
                      <a:gd name="connsiteX0" fmla="*/ 12157 w 51071"/>
                      <a:gd name="connsiteY0" fmla="*/ 0 h 116056"/>
                      <a:gd name="connsiteX1" fmla="*/ 15011 w 51071"/>
                      <a:gd name="connsiteY1" fmla="*/ 6641 h 116056"/>
                      <a:gd name="connsiteX2" fmla="*/ 22201 w 51071"/>
                      <a:gd name="connsiteY2" fmla="*/ 3074 h 116056"/>
                      <a:gd name="connsiteX3" fmla="*/ 27744 w 51071"/>
                      <a:gd name="connsiteY3" fmla="*/ 9276 h 116056"/>
                      <a:gd name="connsiteX4" fmla="*/ 34249 w 51071"/>
                      <a:gd name="connsiteY4" fmla="*/ 16466 h 116056"/>
                      <a:gd name="connsiteX5" fmla="*/ 37295 w 51071"/>
                      <a:gd name="connsiteY5" fmla="*/ 23985 h 116056"/>
                      <a:gd name="connsiteX6" fmla="*/ 37350 w 51071"/>
                      <a:gd name="connsiteY6" fmla="*/ 25796 h 116056"/>
                      <a:gd name="connsiteX7" fmla="*/ 37459 w 51071"/>
                      <a:gd name="connsiteY7" fmla="*/ 30050 h 116056"/>
                      <a:gd name="connsiteX8" fmla="*/ 36526 w 51071"/>
                      <a:gd name="connsiteY8" fmla="*/ 31285 h 116056"/>
                      <a:gd name="connsiteX9" fmla="*/ 35401 w 51071"/>
                      <a:gd name="connsiteY9" fmla="*/ 36143 h 116056"/>
                      <a:gd name="connsiteX10" fmla="*/ 35785 w 51071"/>
                      <a:gd name="connsiteY10" fmla="*/ 38283 h 116056"/>
                      <a:gd name="connsiteX11" fmla="*/ 36115 w 51071"/>
                      <a:gd name="connsiteY11" fmla="*/ 40122 h 116056"/>
                      <a:gd name="connsiteX12" fmla="*/ 36416 w 51071"/>
                      <a:gd name="connsiteY12" fmla="*/ 41686 h 116056"/>
                      <a:gd name="connsiteX13" fmla="*/ 34002 w 51071"/>
                      <a:gd name="connsiteY13" fmla="*/ 43195 h 116056"/>
                      <a:gd name="connsiteX14" fmla="*/ 35867 w 51071"/>
                      <a:gd name="connsiteY14" fmla="*/ 48684 h 116056"/>
                      <a:gd name="connsiteX15" fmla="*/ 34743 w 51071"/>
                      <a:gd name="connsiteY15" fmla="*/ 52087 h 116056"/>
                      <a:gd name="connsiteX16" fmla="*/ 37597 w 51071"/>
                      <a:gd name="connsiteY16" fmla="*/ 60896 h 116056"/>
                      <a:gd name="connsiteX17" fmla="*/ 39628 w 51071"/>
                      <a:gd name="connsiteY17" fmla="*/ 61774 h 116056"/>
                      <a:gd name="connsiteX18" fmla="*/ 41658 w 51071"/>
                      <a:gd name="connsiteY18" fmla="*/ 67180 h 116056"/>
                      <a:gd name="connsiteX19" fmla="*/ 44649 w 51071"/>
                      <a:gd name="connsiteY19" fmla="*/ 67290 h 116056"/>
                      <a:gd name="connsiteX20" fmla="*/ 48848 w 51071"/>
                      <a:gd name="connsiteY20" fmla="*/ 70117 h 116056"/>
                      <a:gd name="connsiteX21" fmla="*/ 51071 w 51071"/>
                      <a:gd name="connsiteY21" fmla="*/ 79365 h 116056"/>
                      <a:gd name="connsiteX22" fmla="*/ 42921 w 51071"/>
                      <a:gd name="connsiteY22" fmla="*/ 89738 h 116056"/>
                      <a:gd name="connsiteX23" fmla="*/ 38036 w 51071"/>
                      <a:gd name="connsiteY23" fmla="*/ 100112 h 116056"/>
                      <a:gd name="connsiteX24" fmla="*/ 33233 w 51071"/>
                      <a:gd name="connsiteY24" fmla="*/ 100908 h 116056"/>
                      <a:gd name="connsiteX25" fmla="*/ 30461 w 51071"/>
                      <a:gd name="connsiteY25" fmla="*/ 103899 h 116056"/>
                      <a:gd name="connsiteX26" fmla="*/ 31504 w 51071"/>
                      <a:gd name="connsiteY26" fmla="*/ 111281 h 116056"/>
                      <a:gd name="connsiteX27" fmla="*/ 28897 w 51071"/>
                      <a:gd name="connsiteY27" fmla="*/ 110376 h 116056"/>
                      <a:gd name="connsiteX28" fmla="*/ 28897 w 51071"/>
                      <a:gd name="connsiteY28" fmla="*/ 113559 h 116056"/>
                      <a:gd name="connsiteX29" fmla="*/ 26702 w 51071"/>
                      <a:gd name="connsiteY29" fmla="*/ 116056 h 116056"/>
                      <a:gd name="connsiteX30" fmla="*/ 20253 w 51071"/>
                      <a:gd name="connsiteY30" fmla="*/ 115014 h 116056"/>
                      <a:gd name="connsiteX31" fmla="*/ 19621 w 51071"/>
                      <a:gd name="connsiteY31" fmla="*/ 108592 h 116056"/>
                      <a:gd name="connsiteX32" fmla="*/ 16301 w 51071"/>
                      <a:gd name="connsiteY32" fmla="*/ 102774 h 116056"/>
                      <a:gd name="connsiteX33" fmla="*/ 2167 w 51071"/>
                      <a:gd name="connsiteY33" fmla="*/ 91138 h 116056"/>
                      <a:gd name="connsiteX34" fmla="*/ 4363 w 51071"/>
                      <a:gd name="connsiteY34" fmla="*/ 86473 h 116056"/>
                      <a:gd name="connsiteX35" fmla="*/ 0 w 51071"/>
                      <a:gd name="connsiteY35" fmla="*/ 78322 h 116056"/>
                      <a:gd name="connsiteX36" fmla="*/ 3649 w 51071"/>
                      <a:gd name="connsiteY36" fmla="*/ 64518 h 116056"/>
                      <a:gd name="connsiteX37" fmla="*/ 5845 w 51071"/>
                      <a:gd name="connsiteY37" fmla="*/ 54035 h 116056"/>
                      <a:gd name="connsiteX38" fmla="*/ 3266 w 51071"/>
                      <a:gd name="connsiteY38" fmla="*/ 50111 h 116056"/>
                      <a:gd name="connsiteX39" fmla="*/ 7025 w 51071"/>
                      <a:gd name="connsiteY39" fmla="*/ 41933 h 116056"/>
                      <a:gd name="connsiteX40" fmla="*/ 7217 w 51071"/>
                      <a:gd name="connsiteY40" fmla="*/ 40204 h 116056"/>
                      <a:gd name="connsiteX41" fmla="*/ 7437 w 51071"/>
                      <a:gd name="connsiteY41" fmla="*/ 38365 h 116056"/>
                      <a:gd name="connsiteX42" fmla="*/ 7986 w 51071"/>
                      <a:gd name="connsiteY42" fmla="*/ 34029 h 116056"/>
                      <a:gd name="connsiteX43" fmla="*/ 5955 w 51071"/>
                      <a:gd name="connsiteY43" fmla="*/ 31587 h 116056"/>
                      <a:gd name="connsiteX44" fmla="*/ 1619 w 51071"/>
                      <a:gd name="connsiteY44" fmla="*/ 31450 h 116056"/>
                      <a:gd name="connsiteX45" fmla="*/ 1729 w 51071"/>
                      <a:gd name="connsiteY45" fmla="*/ 25906 h 116056"/>
                      <a:gd name="connsiteX46" fmla="*/ 1784 w 51071"/>
                      <a:gd name="connsiteY46" fmla="*/ 22037 h 116056"/>
                      <a:gd name="connsiteX47" fmla="*/ 137 w 51071"/>
                      <a:gd name="connsiteY47" fmla="*/ 16576 h 116056"/>
                      <a:gd name="connsiteX48" fmla="*/ 4528 w 51071"/>
                      <a:gd name="connsiteY48" fmla="*/ 9386 h 116056"/>
                      <a:gd name="connsiteX49" fmla="*/ 8809 w 51071"/>
                      <a:gd name="connsiteY49" fmla="*/ 2360 h 116056"/>
                      <a:gd name="connsiteX50" fmla="*/ 12047 w 51071"/>
                      <a:gd name="connsiteY50" fmla="*/ 137 h 116056"/>
                      <a:gd name="connsiteX51" fmla="*/ 12212 w 51071"/>
                      <a:gd name="connsiteY51" fmla="*/ 27 h 116056"/>
                      <a:gd name="connsiteX52" fmla="*/ 12267 w 51071"/>
                      <a:gd name="connsiteY52" fmla="*/ 137 h 116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1071" h="116056">
                        <a:moveTo>
                          <a:pt x="12157" y="0"/>
                        </a:moveTo>
                        <a:lnTo>
                          <a:pt x="15011" y="6641"/>
                        </a:lnTo>
                        <a:lnTo>
                          <a:pt x="22201" y="3074"/>
                        </a:lnTo>
                        <a:lnTo>
                          <a:pt x="27744" y="9276"/>
                        </a:lnTo>
                        <a:lnTo>
                          <a:pt x="34249" y="16466"/>
                        </a:lnTo>
                        <a:lnTo>
                          <a:pt x="37295" y="23985"/>
                        </a:lnTo>
                        <a:lnTo>
                          <a:pt x="37350" y="25796"/>
                        </a:lnTo>
                        <a:lnTo>
                          <a:pt x="37459" y="30050"/>
                        </a:lnTo>
                        <a:lnTo>
                          <a:pt x="36526" y="31285"/>
                        </a:lnTo>
                        <a:lnTo>
                          <a:pt x="35401" y="36143"/>
                        </a:lnTo>
                        <a:lnTo>
                          <a:pt x="35785" y="38283"/>
                        </a:lnTo>
                        <a:lnTo>
                          <a:pt x="36115" y="40122"/>
                        </a:lnTo>
                        <a:lnTo>
                          <a:pt x="36416" y="41686"/>
                        </a:lnTo>
                        <a:lnTo>
                          <a:pt x="34002" y="43195"/>
                        </a:lnTo>
                        <a:lnTo>
                          <a:pt x="35867" y="48684"/>
                        </a:lnTo>
                        <a:lnTo>
                          <a:pt x="34743" y="52087"/>
                        </a:lnTo>
                        <a:lnTo>
                          <a:pt x="37597" y="60896"/>
                        </a:lnTo>
                        <a:lnTo>
                          <a:pt x="39628" y="61774"/>
                        </a:lnTo>
                        <a:lnTo>
                          <a:pt x="41658" y="67180"/>
                        </a:lnTo>
                        <a:lnTo>
                          <a:pt x="44649" y="67290"/>
                        </a:lnTo>
                        <a:lnTo>
                          <a:pt x="48848" y="70117"/>
                        </a:lnTo>
                        <a:lnTo>
                          <a:pt x="51071" y="79365"/>
                        </a:lnTo>
                        <a:lnTo>
                          <a:pt x="42921" y="89738"/>
                        </a:lnTo>
                        <a:lnTo>
                          <a:pt x="38036" y="100112"/>
                        </a:lnTo>
                        <a:lnTo>
                          <a:pt x="33233" y="100908"/>
                        </a:lnTo>
                        <a:lnTo>
                          <a:pt x="30461" y="103899"/>
                        </a:lnTo>
                        <a:lnTo>
                          <a:pt x="31504" y="111281"/>
                        </a:lnTo>
                        <a:lnTo>
                          <a:pt x="28897" y="110376"/>
                        </a:lnTo>
                        <a:lnTo>
                          <a:pt x="28897" y="113559"/>
                        </a:lnTo>
                        <a:cubicBezTo>
                          <a:pt x="28897" y="113559"/>
                          <a:pt x="26702" y="116056"/>
                          <a:pt x="26702" y="116056"/>
                        </a:cubicBezTo>
                        <a:lnTo>
                          <a:pt x="20253" y="115014"/>
                        </a:lnTo>
                        <a:lnTo>
                          <a:pt x="19621" y="108592"/>
                        </a:lnTo>
                        <a:lnTo>
                          <a:pt x="16301" y="102774"/>
                        </a:lnTo>
                        <a:lnTo>
                          <a:pt x="2167" y="91138"/>
                        </a:lnTo>
                        <a:lnTo>
                          <a:pt x="4363" y="86473"/>
                        </a:lnTo>
                        <a:lnTo>
                          <a:pt x="0" y="78322"/>
                        </a:lnTo>
                        <a:lnTo>
                          <a:pt x="3649" y="64518"/>
                        </a:lnTo>
                        <a:lnTo>
                          <a:pt x="5845" y="54035"/>
                        </a:lnTo>
                        <a:lnTo>
                          <a:pt x="3266" y="50111"/>
                        </a:lnTo>
                        <a:lnTo>
                          <a:pt x="7025" y="41933"/>
                        </a:lnTo>
                        <a:lnTo>
                          <a:pt x="7217" y="40204"/>
                        </a:lnTo>
                        <a:lnTo>
                          <a:pt x="7437" y="38365"/>
                        </a:lnTo>
                        <a:lnTo>
                          <a:pt x="7986" y="34029"/>
                        </a:lnTo>
                        <a:lnTo>
                          <a:pt x="5955" y="31587"/>
                        </a:lnTo>
                        <a:lnTo>
                          <a:pt x="1619" y="31450"/>
                        </a:lnTo>
                        <a:lnTo>
                          <a:pt x="1729" y="25906"/>
                        </a:lnTo>
                        <a:lnTo>
                          <a:pt x="1784" y="22037"/>
                        </a:lnTo>
                        <a:lnTo>
                          <a:pt x="137" y="16576"/>
                        </a:lnTo>
                        <a:lnTo>
                          <a:pt x="4528" y="9386"/>
                        </a:lnTo>
                        <a:lnTo>
                          <a:pt x="8809" y="2360"/>
                        </a:lnTo>
                        <a:lnTo>
                          <a:pt x="12047" y="137"/>
                        </a:lnTo>
                        <a:lnTo>
                          <a:pt x="12212" y="27"/>
                        </a:lnTo>
                        <a:lnTo>
                          <a:pt x="12267" y="13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39" name="Freeform: Shape 2938">
                    <a:extLst>
                      <a:ext uri="{FF2B5EF4-FFF2-40B4-BE49-F238E27FC236}">
                        <a16:creationId xmlns:a16="http://schemas.microsoft.com/office/drawing/2014/main" id="{3CD6D409-C89A-7AA0-92CC-0A82A8A7B2DA}"/>
                      </a:ext>
                    </a:extLst>
                  </p:cNvPr>
                  <p:cNvSpPr/>
                  <p:nvPr/>
                </p:nvSpPr>
                <p:spPr>
                  <a:xfrm>
                    <a:off x="-6006422" y="3219637"/>
                    <a:ext cx="224373" cy="114766"/>
                  </a:xfrm>
                  <a:custGeom>
                    <a:avLst/>
                    <a:gdLst>
                      <a:gd name="connsiteX0" fmla="*/ 182962 w 224373"/>
                      <a:gd name="connsiteY0" fmla="*/ 6531 h 114766"/>
                      <a:gd name="connsiteX1" fmla="*/ 198742 w 224373"/>
                      <a:gd name="connsiteY1" fmla="*/ 11828 h 114766"/>
                      <a:gd name="connsiteX2" fmla="*/ 206673 w 224373"/>
                      <a:gd name="connsiteY2" fmla="*/ 8645 h 114766"/>
                      <a:gd name="connsiteX3" fmla="*/ 216196 w 224373"/>
                      <a:gd name="connsiteY3" fmla="*/ 12898 h 114766"/>
                      <a:gd name="connsiteX4" fmla="*/ 217870 w 224373"/>
                      <a:gd name="connsiteY4" fmla="*/ 17042 h 114766"/>
                      <a:gd name="connsiteX5" fmla="*/ 218172 w 224373"/>
                      <a:gd name="connsiteY5" fmla="*/ 20665 h 114766"/>
                      <a:gd name="connsiteX6" fmla="*/ 215235 w 224373"/>
                      <a:gd name="connsiteY6" fmla="*/ 24973 h 114766"/>
                      <a:gd name="connsiteX7" fmla="*/ 218913 w 224373"/>
                      <a:gd name="connsiteY7" fmla="*/ 36746 h 114766"/>
                      <a:gd name="connsiteX8" fmla="*/ 221602 w 224373"/>
                      <a:gd name="connsiteY8" fmla="*/ 39106 h 114766"/>
                      <a:gd name="connsiteX9" fmla="*/ 224374 w 224373"/>
                      <a:gd name="connsiteY9" fmla="*/ 44019 h 114766"/>
                      <a:gd name="connsiteX10" fmla="*/ 220614 w 224373"/>
                      <a:gd name="connsiteY10" fmla="*/ 56889 h 114766"/>
                      <a:gd name="connsiteX11" fmla="*/ 213835 w 224373"/>
                      <a:gd name="connsiteY11" fmla="*/ 57877 h 114766"/>
                      <a:gd name="connsiteX12" fmla="*/ 207881 w 224373"/>
                      <a:gd name="connsiteY12" fmla="*/ 55627 h 114766"/>
                      <a:gd name="connsiteX13" fmla="*/ 202639 w 224373"/>
                      <a:gd name="connsiteY13" fmla="*/ 58975 h 114766"/>
                      <a:gd name="connsiteX14" fmla="*/ 209801 w 224373"/>
                      <a:gd name="connsiteY14" fmla="*/ 61939 h 114766"/>
                      <a:gd name="connsiteX15" fmla="*/ 209225 w 224373"/>
                      <a:gd name="connsiteY15" fmla="*/ 68553 h 114766"/>
                      <a:gd name="connsiteX16" fmla="*/ 202968 w 224373"/>
                      <a:gd name="connsiteY16" fmla="*/ 72614 h 114766"/>
                      <a:gd name="connsiteX17" fmla="*/ 204423 w 224373"/>
                      <a:gd name="connsiteY17" fmla="*/ 83152 h 114766"/>
                      <a:gd name="connsiteX18" fmla="*/ 203106 w 224373"/>
                      <a:gd name="connsiteY18" fmla="*/ 87186 h 114766"/>
                      <a:gd name="connsiteX19" fmla="*/ 199071 w 224373"/>
                      <a:gd name="connsiteY19" fmla="*/ 88119 h 114766"/>
                      <a:gd name="connsiteX20" fmla="*/ 193555 w 224373"/>
                      <a:gd name="connsiteY20" fmla="*/ 93526 h 114766"/>
                      <a:gd name="connsiteX21" fmla="*/ 190098 w 224373"/>
                      <a:gd name="connsiteY21" fmla="*/ 94980 h 114766"/>
                      <a:gd name="connsiteX22" fmla="*/ 190646 w 224373"/>
                      <a:gd name="connsiteY22" fmla="*/ 101951 h 114766"/>
                      <a:gd name="connsiteX23" fmla="*/ 183923 w 224373"/>
                      <a:gd name="connsiteY23" fmla="*/ 100469 h 114766"/>
                      <a:gd name="connsiteX24" fmla="*/ 179889 w 224373"/>
                      <a:gd name="connsiteY24" fmla="*/ 100524 h 114766"/>
                      <a:gd name="connsiteX25" fmla="*/ 175443 w 224373"/>
                      <a:gd name="connsiteY25" fmla="*/ 103707 h 114766"/>
                      <a:gd name="connsiteX26" fmla="*/ 172617 w 224373"/>
                      <a:gd name="connsiteY26" fmla="*/ 102774 h 114766"/>
                      <a:gd name="connsiteX27" fmla="*/ 162710 w 224373"/>
                      <a:gd name="connsiteY27" fmla="*/ 102829 h 114766"/>
                      <a:gd name="connsiteX28" fmla="*/ 157742 w 224373"/>
                      <a:gd name="connsiteY28" fmla="*/ 104668 h 114766"/>
                      <a:gd name="connsiteX29" fmla="*/ 153928 w 224373"/>
                      <a:gd name="connsiteY29" fmla="*/ 109168 h 114766"/>
                      <a:gd name="connsiteX30" fmla="*/ 151211 w 224373"/>
                      <a:gd name="connsiteY30" fmla="*/ 111446 h 114766"/>
                      <a:gd name="connsiteX31" fmla="*/ 148000 w 224373"/>
                      <a:gd name="connsiteY31" fmla="*/ 114767 h 114766"/>
                      <a:gd name="connsiteX32" fmla="*/ 144158 w 224373"/>
                      <a:gd name="connsiteY32" fmla="*/ 111748 h 114766"/>
                      <a:gd name="connsiteX33" fmla="*/ 122945 w 224373"/>
                      <a:gd name="connsiteY33" fmla="*/ 108345 h 114766"/>
                      <a:gd name="connsiteX34" fmla="*/ 116770 w 224373"/>
                      <a:gd name="connsiteY34" fmla="*/ 106506 h 114766"/>
                      <a:gd name="connsiteX35" fmla="*/ 94047 w 224373"/>
                      <a:gd name="connsiteY35" fmla="*/ 103597 h 114766"/>
                      <a:gd name="connsiteX36" fmla="*/ 92867 w 224373"/>
                      <a:gd name="connsiteY36" fmla="*/ 102609 h 114766"/>
                      <a:gd name="connsiteX37" fmla="*/ 86610 w 224373"/>
                      <a:gd name="connsiteY37" fmla="*/ 101649 h 114766"/>
                      <a:gd name="connsiteX38" fmla="*/ 77362 w 224373"/>
                      <a:gd name="connsiteY38" fmla="*/ 91468 h 114766"/>
                      <a:gd name="connsiteX39" fmla="*/ 76758 w 224373"/>
                      <a:gd name="connsiteY39" fmla="*/ 87927 h 114766"/>
                      <a:gd name="connsiteX40" fmla="*/ 79640 w 224373"/>
                      <a:gd name="connsiteY40" fmla="*/ 84881 h 114766"/>
                      <a:gd name="connsiteX41" fmla="*/ 76566 w 224373"/>
                      <a:gd name="connsiteY41" fmla="*/ 84360 h 114766"/>
                      <a:gd name="connsiteX42" fmla="*/ 65946 w 224373"/>
                      <a:gd name="connsiteY42" fmla="*/ 88586 h 114766"/>
                      <a:gd name="connsiteX43" fmla="*/ 61637 w 224373"/>
                      <a:gd name="connsiteY43" fmla="*/ 87296 h 114766"/>
                      <a:gd name="connsiteX44" fmla="*/ 47998 w 224373"/>
                      <a:gd name="connsiteY44" fmla="*/ 89327 h 114766"/>
                      <a:gd name="connsiteX45" fmla="*/ 42976 w 224373"/>
                      <a:gd name="connsiteY45" fmla="*/ 97752 h 114766"/>
                      <a:gd name="connsiteX46" fmla="*/ 33316 w 224373"/>
                      <a:gd name="connsiteY46" fmla="*/ 93718 h 114766"/>
                      <a:gd name="connsiteX47" fmla="*/ 27580 w 224373"/>
                      <a:gd name="connsiteY47" fmla="*/ 94102 h 114766"/>
                      <a:gd name="connsiteX48" fmla="*/ 27663 w 224373"/>
                      <a:gd name="connsiteY48" fmla="*/ 90644 h 114766"/>
                      <a:gd name="connsiteX49" fmla="*/ 25385 w 224373"/>
                      <a:gd name="connsiteY49" fmla="*/ 88559 h 114766"/>
                      <a:gd name="connsiteX50" fmla="*/ 18030 w 224373"/>
                      <a:gd name="connsiteY50" fmla="*/ 94267 h 114766"/>
                      <a:gd name="connsiteX51" fmla="*/ 11169 w 224373"/>
                      <a:gd name="connsiteY51" fmla="*/ 90864 h 114766"/>
                      <a:gd name="connsiteX52" fmla="*/ 9276 w 224373"/>
                      <a:gd name="connsiteY52" fmla="*/ 87241 h 114766"/>
                      <a:gd name="connsiteX53" fmla="*/ 2251 w 224373"/>
                      <a:gd name="connsiteY53" fmla="*/ 85238 h 114766"/>
                      <a:gd name="connsiteX54" fmla="*/ 2662 w 224373"/>
                      <a:gd name="connsiteY54" fmla="*/ 81314 h 114766"/>
                      <a:gd name="connsiteX55" fmla="*/ 0 w 224373"/>
                      <a:gd name="connsiteY55" fmla="*/ 76154 h 114766"/>
                      <a:gd name="connsiteX56" fmla="*/ 3842 w 224373"/>
                      <a:gd name="connsiteY56" fmla="*/ 70419 h 114766"/>
                      <a:gd name="connsiteX57" fmla="*/ 823 w 224373"/>
                      <a:gd name="connsiteY57" fmla="*/ 64381 h 114766"/>
                      <a:gd name="connsiteX58" fmla="*/ 12843 w 224373"/>
                      <a:gd name="connsiteY58" fmla="*/ 64189 h 114766"/>
                      <a:gd name="connsiteX59" fmla="*/ 13776 w 224373"/>
                      <a:gd name="connsiteY59" fmla="*/ 66933 h 114766"/>
                      <a:gd name="connsiteX60" fmla="*/ 17152 w 224373"/>
                      <a:gd name="connsiteY60" fmla="*/ 71681 h 114766"/>
                      <a:gd name="connsiteX61" fmla="*/ 19594 w 224373"/>
                      <a:gd name="connsiteY61" fmla="*/ 71956 h 114766"/>
                      <a:gd name="connsiteX62" fmla="*/ 19018 w 224373"/>
                      <a:gd name="connsiteY62" fmla="*/ 76209 h 114766"/>
                      <a:gd name="connsiteX63" fmla="*/ 26565 w 224373"/>
                      <a:gd name="connsiteY63" fmla="*/ 70666 h 114766"/>
                      <a:gd name="connsiteX64" fmla="*/ 27169 w 224373"/>
                      <a:gd name="connsiteY64" fmla="*/ 63805 h 114766"/>
                      <a:gd name="connsiteX65" fmla="*/ 39875 w 224373"/>
                      <a:gd name="connsiteY65" fmla="*/ 64628 h 114766"/>
                      <a:gd name="connsiteX66" fmla="*/ 42948 w 224373"/>
                      <a:gd name="connsiteY66" fmla="*/ 70748 h 114766"/>
                      <a:gd name="connsiteX67" fmla="*/ 43662 w 224373"/>
                      <a:gd name="connsiteY67" fmla="*/ 70748 h 114766"/>
                      <a:gd name="connsiteX68" fmla="*/ 55572 w 224373"/>
                      <a:gd name="connsiteY68" fmla="*/ 68635 h 114766"/>
                      <a:gd name="connsiteX69" fmla="*/ 55243 w 224373"/>
                      <a:gd name="connsiteY69" fmla="*/ 66467 h 114766"/>
                      <a:gd name="connsiteX70" fmla="*/ 59661 w 224373"/>
                      <a:gd name="connsiteY70" fmla="*/ 65314 h 114766"/>
                      <a:gd name="connsiteX71" fmla="*/ 61774 w 224373"/>
                      <a:gd name="connsiteY71" fmla="*/ 62241 h 114766"/>
                      <a:gd name="connsiteX72" fmla="*/ 74371 w 224373"/>
                      <a:gd name="connsiteY72" fmla="*/ 61088 h 114766"/>
                      <a:gd name="connsiteX73" fmla="*/ 77554 w 224373"/>
                      <a:gd name="connsiteY73" fmla="*/ 60979 h 114766"/>
                      <a:gd name="connsiteX74" fmla="*/ 77938 w 224373"/>
                      <a:gd name="connsiteY74" fmla="*/ 58975 h 114766"/>
                      <a:gd name="connsiteX75" fmla="*/ 78487 w 224373"/>
                      <a:gd name="connsiteY75" fmla="*/ 57273 h 114766"/>
                      <a:gd name="connsiteX76" fmla="*/ 82521 w 224373"/>
                      <a:gd name="connsiteY76" fmla="*/ 57685 h 114766"/>
                      <a:gd name="connsiteX77" fmla="*/ 85897 w 224373"/>
                      <a:gd name="connsiteY77" fmla="*/ 58975 h 114766"/>
                      <a:gd name="connsiteX78" fmla="*/ 87296 w 224373"/>
                      <a:gd name="connsiteY78" fmla="*/ 60594 h 114766"/>
                      <a:gd name="connsiteX79" fmla="*/ 89492 w 224373"/>
                      <a:gd name="connsiteY79" fmla="*/ 60512 h 114766"/>
                      <a:gd name="connsiteX80" fmla="*/ 90178 w 224373"/>
                      <a:gd name="connsiteY80" fmla="*/ 58975 h 114766"/>
                      <a:gd name="connsiteX81" fmla="*/ 93032 w 224373"/>
                      <a:gd name="connsiteY81" fmla="*/ 58344 h 114766"/>
                      <a:gd name="connsiteX82" fmla="*/ 99728 w 224373"/>
                      <a:gd name="connsiteY82" fmla="*/ 66220 h 114766"/>
                      <a:gd name="connsiteX83" fmla="*/ 103351 w 224373"/>
                      <a:gd name="connsiteY83" fmla="*/ 65424 h 114766"/>
                      <a:gd name="connsiteX84" fmla="*/ 104311 w 224373"/>
                      <a:gd name="connsiteY84" fmla="*/ 59002 h 114766"/>
                      <a:gd name="connsiteX85" fmla="*/ 99920 w 224373"/>
                      <a:gd name="connsiteY85" fmla="*/ 56066 h 114766"/>
                      <a:gd name="connsiteX86" fmla="*/ 101512 w 224373"/>
                      <a:gd name="connsiteY86" fmla="*/ 50468 h 114766"/>
                      <a:gd name="connsiteX87" fmla="*/ 98383 w 224373"/>
                      <a:gd name="connsiteY87" fmla="*/ 46077 h 114766"/>
                      <a:gd name="connsiteX88" fmla="*/ 97916 w 224373"/>
                      <a:gd name="connsiteY88" fmla="*/ 44595 h 114766"/>
                      <a:gd name="connsiteX89" fmla="*/ 94733 w 224373"/>
                      <a:gd name="connsiteY89" fmla="*/ 39463 h 114766"/>
                      <a:gd name="connsiteX90" fmla="*/ 100387 w 224373"/>
                      <a:gd name="connsiteY90" fmla="*/ 35319 h 114766"/>
                      <a:gd name="connsiteX91" fmla="*/ 107220 w 224373"/>
                      <a:gd name="connsiteY91" fmla="*/ 31450 h 114766"/>
                      <a:gd name="connsiteX92" fmla="*/ 113587 w 224373"/>
                      <a:gd name="connsiteY92" fmla="*/ 27992 h 114766"/>
                      <a:gd name="connsiteX93" fmla="*/ 114904 w 224373"/>
                      <a:gd name="connsiteY93" fmla="*/ 20143 h 114766"/>
                      <a:gd name="connsiteX94" fmla="*/ 117099 w 224373"/>
                      <a:gd name="connsiteY94" fmla="*/ 18305 h 114766"/>
                      <a:gd name="connsiteX95" fmla="*/ 123384 w 224373"/>
                      <a:gd name="connsiteY95" fmla="*/ 21762 h 114766"/>
                      <a:gd name="connsiteX96" fmla="*/ 125799 w 224373"/>
                      <a:gd name="connsiteY96" fmla="*/ 17399 h 114766"/>
                      <a:gd name="connsiteX97" fmla="*/ 125414 w 224373"/>
                      <a:gd name="connsiteY97" fmla="*/ 12843 h 114766"/>
                      <a:gd name="connsiteX98" fmla="*/ 126704 w 224373"/>
                      <a:gd name="connsiteY98" fmla="*/ 10264 h 114766"/>
                      <a:gd name="connsiteX99" fmla="*/ 134718 w 224373"/>
                      <a:gd name="connsiteY99" fmla="*/ 18195 h 114766"/>
                      <a:gd name="connsiteX100" fmla="*/ 141496 w 224373"/>
                      <a:gd name="connsiteY100" fmla="*/ 19567 h 114766"/>
                      <a:gd name="connsiteX101" fmla="*/ 145750 w 224373"/>
                      <a:gd name="connsiteY101" fmla="*/ 16576 h 114766"/>
                      <a:gd name="connsiteX102" fmla="*/ 151732 w 224373"/>
                      <a:gd name="connsiteY102" fmla="*/ 18606 h 114766"/>
                      <a:gd name="connsiteX103" fmla="*/ 153955 w 224373"/>
                      <a:gd name="connsiteY103" fmla="*/ 12980 h 114766"/>
                      <a:gd name="connsiteX104" fmla="*/ 159059 w 224373"/>
                      <a:gd name="connsiteY104" fmla="*/ 9413 h 114766"/>
                      <a:gd name="connsiteX105" fmla="*/ 161530 w 224373"/>
                      <a:gd name="connsiteY105" fmla="*/ 0 h 114766"/>
                      <a:gd name="connsiteX106" fmla="*/ 176787 w 224373"/>
                      <a:gd name="connsiteY106" fmla="*/ 4199 h 114766"/>
                      <a:gd name="connsiteX107" fmla="*/ 182990 w 224373"/>
                      <a:gd name="connsiteY107" fmla="*/ 6696 h 11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24373" h="114766">
                        <a:moveTo>
                          <a:pt x="182962" y="6531"/>
                        </a:moveTo>
                        <a:lnTo>
                          <a:pt x="198742" y="11828"/>
                        </a:lnTo>
                        <a:lnTo>
                          <a:pt x="206673" y="8645"/>
                        </a:lnTo>
                        <a:lnTo>
                          <a:pt x="216196" y="12898"/>
                        </a:lnTo>
                        <a:lnTo>
                          <a:pt x="217870" y="17042"/>
                        </a:lnTo>
                        <a:lnTo>
                          <a:pt x="218172" y="20665"/>
                        </a:lnTo>
                        <a:lnTo>
                          <a:pt x="215235" y="24973"/>
                        </a:lnTo>
                        <a:lnTo>
                          <a:pt x="218913" y="36746"/>
                        </a:lnTo>
                        <a:lnTo>
                          <a:pt x="221602" y="39106"/>
                        </a:lnTo>
                        <a:lnTo>
                          <a:pt x="224374" y="44019"/>
                        </a:lnTo>
                        <a:lnTo>
                          <a:pt x="220614" y="56889"/>
                        </a:lnTo>
                        <a:lnTo>
                          <a:pt x="213835" y="57877"/>
                        </a:lnTo>
                        <a:lnTo>
                          <a:pt x="207881" y="55627"/>
                        </a:lnTo>
                        <a:lnTo>
                          <a:pt x="202639" y="58975"/>
                        </a:lnTo>
                        <a:lnTo>
                          <a:pt x="209801" y="61939"/>
                        </a:lnTo>
                        <a:lnTo>
                          <a:pt x="209225" y="68553"/>
                        </a:lnTo>
                        <a:lnTo>
                          <a:pt x="202968" y="72614"/>
                        </a:lnTo>
                        <a:lnTo>
                          <a:pt x="204423" y="83152"/>
                        </a:lnTo>
                        <a:lnTo>
                          <a:pt x="203106" y="87186"/>
                        </a:lnTo>
                        <a:lnTo>
                          <a:pt x="199071" y="88119"/>
                        </a:lnTo>
                        <a:lnTo>
                          <a:pt x="193555" y="93526"/>
                        </a:lnTo>
                        <a:lnTo>
                          <a:pt x="190098" y="94980"/>
                        </a:lnTo>
                        <a:lnTo>
                          <a:pt x="190646" y="101951"/>
                        </a:lnTo>
                        <a:lnTo>
                          <a:pt x="183923" y="100469"/>
                        </a:lnTo>
                        <a:lnTo>
                          <a:pt x="179889" y="100524"/>
                        </a:lnTo>
                        <a:lnTo>
                          <a:pt x="175443" y="103707"/>
                        </a:lnTo>
                        <a:lnTo>
                          <a:pt x="172617" y="102774"/>
                        </a:lnTo>
                        <a:lnTo>
                          <a:pt x="162710" y="102829"/>
                        </a:lnTo>
                        <a:lnTo>
                          <a:pt x="157742" y="104668"/>
                        </a:lnTo>
                        <a:lnTo>
                          <a:pt x="153928" y="109168"/>
                        </a:lnTo>
                        <a:lnTo>
                          <a:pt x="151211" y="111446"/>
                        </a:lnTo>
                        <a:lnTo>
                          <a:pt x="148000" y="114767"/>
                        </a:lnTo>
                        <a:lnTo>
                          <a:pt x="144158" y="111748"/>
                        </a:lnTo>
                        <a:lnTo>
                          <a:pt x="122945" y="108345"/>
                        </a:lnTo>
                        <a:lnTo>
                          <a:pt x="116770" y="106506"/>
                        </a:lnTo>
                        <a:lnTo>
                          <a:pt x="94047" y="103597"/>
                        </a:lnTo>
                        <a:lnTo>
                          <a:pt x="92867" y="102609"/>
                        </a:lnTo>
                        <a:lnTo>
                          <a:pt x="86610" y="101649"/>
                        </a:lnTo>
                        <a:lnTo>
                          <a:pt x="77362" y="91468"/>
                        </a:lnTo>
                        <a:lnTo>
                          <a:pt x="76758" y="87927"/>
                        </a:lnTo>
                        <a:lnTo>
                          <a:pt x="79640" y="84881"/>
                        </a:lnTo>
                        <a:lnTo>
                          <a:pt x="76566" y="84360"/>
                        </a:lnTo>
                        <a:lnTo>
                          <a:pt x="65946" y="88586"/>
                        </a:lnTo>
                        <a:lnTo>
                          <a:pt x="61637" y="87296"/>
                        </a:lnTo>
                        <a:lnTo>
                          <a:pt x="47998" y="89327"/>
                        </a:lnTo>
                        <a:lnTo>
                          <a:pt x="42976" y="97752"/>
                        </a:lnTo>
                        <a:lnTo>
                          <a:pt x="33316" y="93718"/>
                        </a:lnTo>
                        <a:lnTo>
                          <a:pt x="27580" y="94102"/>
                        </a:lnTo>
                        <a:lnTo>
                          <a:pt x="27663" y="90644"/>
                        </a:lnTo>
                        <a:lnTo>
                          <a:pt x="25385" y="88559"/>
                        </a:lnTo>
                        <a:lnTo>
                          <a:pt x="18030" y="94267"/>
                        </a:lnTo>
                        <a:lnTo>
                          <a:pt x="11169" y="90864"/>
                        </a:lnTo>
                        <a:lnTo>
                          <a:pt x="9276" y="87241"/>
                        </a:lnTo>
                        <a:lnTo>
                          <a:pt x="2251" y="85238"/>
                        </a:lnTo>
                        <a:lnTo>
                          <a:pt x="2662" y="81314"/>
                        </a:lnTo>
                        <a:lnTo>
                          <a:pt x="0" y="76154"/>
                        </a:lnTo>
                        <a:lnTo>
                          <a:pt x="3842" y="70419"/>
                        </a:lnTo>
                        <a:lnTo>
                          <a:pt x="823" y="64381"/>
                        </a:lnTo>
                        <a:lnTo>
                          <a:pt x="12843" y="64189"/>
                        </a:lnTo>
                        <a:lnTo>
                          <a:pt x="13776" y="66933"/>
                        </a:lnTo>
                        <a:lnTo>
                          <a:pt x="17152" y="71681"/>
                        </a:lnTo>
                        <a:lnTo>
                          <a:pt x="19594" y="71956"/>
                        </a:lnTo>
                        <a:lnTo>
                          <a:pt x="19018" y="76209"/>
                        </a:lnTo>
                        <a:lnTo>
                          <a:pt x="26565" y="70666"/>
                        </a:lnTo>
                        <a:lnTo>
                          <a:pt x="27169" y="63805"/>
                        </a:lnTo>
                        <a:lnTo>
                          <a:pt x="39875" y="64628"/>
                        </a:lnTo>
                        <a:lnTo>
                          <a:pt x="42948" y="70748"/>
                        </a:lnTo>
                        <a:lnTo>
                          <a:pt x="43662" y="70748"/>
                        </a:lnTo>
                        <a:lnTo>
                          <a:pt x="55572" y="68635"/>
                        </a:lnTo>
                        <a:lnTo>
                          <a:pt x="55243" y="66467"/>
                        </a:lnTo>
                        <a:lnTo>
                          <a:pt x="59661" y="65314"/>
                        </a:lnTo>
                        <a:lnTo>
                          <a:pt x="61774" y="62241"/>
                        </a:lnTo>
                        <a:lnTo>
                          <a:pt x="74371" y="61088"/>
                        </a:lnTo>
                        <a:lnTo>
                          <a:pt x="77554" y="60979"/>
                        </a:lnTo>
                        <a:lnTo>
                          <a:pt x="77938" y="58975"/>
                        </a:lnTo>
                        <a:lnTo>
                          <a:pt x="78487" y="57273"/>
                        </a:lnTo>
                        <a:lnTo>
                          <a:pt x="82521" y="57685"/>
                        </a:lnTo>
                        <a:lnTo>
                          <a:pt x="85897" y="58975"/>
                        </a:lnTo>
                        <a:lnTo>
                          <a:pt x="87296" y="60594"/>
                        </a:lnTo>
                        <a:lnTo>
                          <a:pt x="89492" y="60512"/>
                        </a:lnTo>
                        <a:lnTo>
                          <a:pt x="90178" y="58975"/>
                        </a:lnTo>
                        <a:lnTo>
                          <a:pt x="93032" y="58344"/>
                        </a:lnTo>
                        <a:lnTo>
                          <a:pt x="99728" y="66220"/>
                        </a:lnTo>
                        <a:lnTo>
                          <a:pt x="103351" y="65424"/>
                        </a:lnTo>
                        <a:lnTo>
                          <a:pt x="104311" y="59002"/>
                        </a:lnTo>
                        <a:lnTo>
                          <a:pt x="99920" y="56066"/>
                        </a:lnTo>
                        <a:lnTo>
                          <a:pt x="101512" y="50468"/>
                        </a:lnTo>
                        <a:lnTo>
                          <a:pt x="98383" y="46077"/>
                        </a:lnTo>
                        <a:lnTo>
                          <a:pt x="97916" y="44595"/>
                        </a:lnTo>
                        <a:lnTo>
                          <a:pt x="94733" y="39463"/>
                        </a:lnTo>
                        <a:lnTo>
                          <a:pt x="100387" y="35319"/>
                        </a:lnTo>
                        <a:lnTo>
                          <a:pt x="107220" y="31450"/>
                        </a:lnTo>
                        <a:lnTo>
                          <a:pt x="113587" y="27992"/>
                        </a:lnTo>
                        <a:lnTo>
                          <a:pt x="114904" y="20143"/>
                        </a:lnTo>
                        <a:lnTo>
                          <a:pt x="117099" y="18305"/>
                        </a:lnTo>
                        <a:lnTo>
                          <a:pt x="123384" y="21762"/>
                        </a:lnTo>
                        <a:lnTo>
                          <a:pt x="125799" y="17399"/>
                        </a:lnTo>
                        <a:lnTo>
                          <a:pt x="125414" y="12843"/>
                        </a:lnTo>
                        <a:lnTo>
                          <a:pt x="126704" y="10264"/>
                        </a:lnTo>
                        <a:lnTo>
                          <a:pt x="134718" y="18195"/>
                        </a:lnTo>
                        <a:lnTo>
                          <a:pt x="141496" y="19567"/>
                        </a:lnTo>
                        <a:lnTo>
                          <a:pt x="145750" y="16576"/>
                        </a:lnTo>
                        <a:lnTo>
                          <a:pt x="151732" y="18606"/>
                        </a:lnTo>
                        <a:lnTo>
                          <a:pt x="153955" y="12980"/>
                        </a:lnTo>
                        <a:lnTo>
                          <a:pt x="159059" y="9413"/>
                        </a:lnTo>
                        <a:lnTo>
                          <a:pt x="161530" y="0"/>
                        </a:lnTo>
                        <a:lnTo>
                          <a:pt x="176787" y="4199"/>
                        </a:lnTo>
                        <a:lnTo>
                          <a:pt x="182990" y="669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40" name="Freeform: Shape 2939">
                    <a:extLst>
                      <a:ext uri="{FF2B5EF4-FFF2-40B4-BE49-F238E27FC236}">
                        <a16:creationId xmlns:a16="http://schemas.microsoft.com/office/drawing/2014/main" id="{8DF6E162-E1CC-C23D-5924-9746BBB12E13}"/>
                      </a:ext>
                    </a:extLst>
                  </p:cNvPr>
                  <p:cNvSpPr/>
                  <p:nvPr/>
                </p:nvSpPr>
                <p:spPr>
                  <a:xfrm>
                    <a:off x="-6244380" y="3488276"/>
                    <a:ext cx="10126" cy="7931"/>
                  </a:xfrm>
                  <a:custGeom>
                    <a:avLst/>
                    <a:gdLst>
                      <a:gd name="connsiteX0" fmla="*/ 10126 w 10126"/>
                      <a:gd name="connsiteY0" fmla="*/ 2772 h 7931"/>
                      <a:gd name="connsiteX1" fmla="*/ 8343 w 10126"/>
                      <a:gd name="connsiteY1" fmla="*/ 5544 h 7931"/>
                      <a:gd name="connsiteX2" fmla="*/ 768 w 10126"/>
                      <a:gd name="connsiteY2" fmla="*/ 7931 h 7931"/>
                      <a:gd name="connsiteX3" fmla="*/ 0 w 10126"/>
                      <a:gd name="connsiteY3" fmla="*/ 1564 h 7931"/>
                      <a:gd name="connsiteX4" fmla="*/ 1839 w 10126"/>
                      <a:gd name="connsiteY4" fmla="*/ 412 h 7931"/>
                      <a:gd name="connsiteX5" fmla="*/ 2470 w 10126"/>
                      <a:gd name="connsiteY5" fmla="*/ 0 h 7931"/>
                      <a:gd name="connsiteX6" fmla="*/ 3568 w 10126"/>
                      <a:gd name="connsiteY6" fmla="*/ 412 h 7931"/>
                      <a:gd name="connsiteX7" fmla="*/ 10099 w 10126"/>
                      <a:gd name="connsiteY7" fmla="*/ 2772 h 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26" h="7931">
                        <a:moveTo>
                          <a:pt x="10126" y="2772"/>
                        </a:moveTo>
                        <a:lnTo>
                          <a:pt x="8343" y="5544"/>
                        </a:lnTo>
                        <a:lnTo>
                          <a:pt x="768" y="7931"/>
                        </a:lnTo>
                        <a:lnTo>
                          <a:pt x="0" y="1564"/>
                        </a:lnTo>
                        <a:lnTo>
                          <a:pt x="1839" y="412"/>
                        </a:lnTo>
                        <a:lnTo>
                          <a:pt x="2470" y="0"/>
                        </a:lnTo>
                        <a:lnTo>
                          <a:pt x="3568" y="412"/>
                        </a:lnTo>
                        <a:lnTo>
                          <a:pt x="10099" y="277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41" name="Freeform: Shape 2940">
                    <a:extLst>
                      <a:ext uri="{FF2B5EF4-FFF2-40B4-BE49-F238E27FC236}">
                        <a16:creationId xmlns:a16="http://schemas.microsoft.com/office/drawing/2014/main" id="{D6373B36-B9B2-08D3-5368-746F95247871}"/>
                      </a:ext>
                    </a:extLst>
                  </p:cNvPr>
                  <p:cNvSpPr/>
                  <p:nvPr/>
                </p:nvSpPr>
                <p:spPr>
                  <a:xfrm>
                    <a:off x="-5605013" y="2871440"/>
                    <a:ext cx="280248" cy="243501"/>
                  </a:xfrm>
                  <a:custGeom>
                    <a:avLst/>
                    <a:gdLst>
                      <a:gd name="connsiteX0" fmla="*/ 253134 w 280248"/>
                      <a:gd name="connsiteY0" fmla="*/ 204011 h 243501"/>
                      <a:gd name="connsiteX1" fmla="*/ 249621 w 280248"/>
                      <a:gd name="connsiteY1" fmla="*/ 203847 h 243501"/>
                      <a:gd name="connsiteX2" fmla="*/ 228710 w 280248"/>
                      <a:gd name="connsiteY2" fmla="*/ 205768 h 243501"/>
                      <a:gd name="connsiteX3" fmla="*/ 216361 w 280248"/>
                      <a:gd name="connsiteY3" fmla="*/ 225554 h 243501"/>
                      <a:gd name="connsiteX4" fmla="*/ 219379 w 280248"/>
                      <a:gd name="connsiteY4" fmla="*/ 239660 h 243501"/>
                      <a:gd name="connsiteX5" fmla="*/ 215839 w 280248"/>
                      <a:gd name="connsiteY5" fmla="*/ 243502 h 243501"/>
                      <a:gd name="connsiteX6" fmla="*/ 205987 w 280248"/>
                      <a:gd name="connsiteY6" fmla="*/ 233156 h 243501"/>
                      <a:gd name="connsiteX7" fmla="*/ 195449 w 280248"/>
                      <a:gd name="connsiteY7" fmla="*/ 235378 h 243501"/>
                      <a:gd name="connsiteX8" fmla="*/ 191415 w 280248"/>
                      <a:gd name="connsiteY8" fmla="*/ 232250 h 243501"/>
                      <a:gd name="connsiteX9" fmla="*/ 181096 w 280248"/>
                      <a:gd name="connsiteY9" fmla="*/ 238040 h 243501"/>
                      <a:gd name="connsiteX10" fmla="*/ 174510 w 280248"/>
                      <a:gd name="connsiteY10" fmla="*/ 226542 h 243501"/>
                      <a:gd name="connsiteX11" fmla="*/ 166799 w 280248"/>
                      <a:gd name="connsiteY11" fmla="*/ 229807 h 243501"/>
                      <a:gd name="connsiteX12" fmla="*/ 162545 w 280248"/>
                      <a:gd name="connsiteY12" fmla="*/ 234857 h 243501"/>
                      <a:gd name="connsiteX13" fmla="*/ 159608 w 280248"/>
                      <a:gd name="connsiteY13" fmla="*/ 229780 h 243501"/>
                      <a:gd name="connsiteX14" fmla="*/ 152254 w 280248"/>
                      <a:gd name="connsiteY14" fmla="*/ 230247 h 243501"/>
                      <a:gd name="connsiteX15" fmla="*/ 148768 w 280248"/>
                      <a:gd name="connsiteY15" fmla="*/ 225252 h 243501"/>
                      <a:gd name="connsiteX16" fmla="*/ 142320 w 280248"/>
                      <a:gd name="connsiteY16" fmla="*/ 229917 h 243501"/>
                      <a:gd name="connsiteX17" fmla="*/ 137626 w 280248"/>
                      <a:gd name="connsiteY17" fmla="*/ 227914 h 243501"/>
                      <a:gd name="connsiteX18" fmla="*/ 134032 w 280248"/>
                      <a:gd name="connsiteY18" fmla="*/ 233513 h 243501"/>
                      <a:gd name="connsiteX19" fmla="*/ 132440 w 280248"/>
                      <a:gd name="connsiteY19" fmla="*/ 232003 h 243501"/>
                      <a:gd name="connsiteX20" fmla="*/ 132550 w 280248"/>
                      <a:gd name="connsiteY20" fmla="*/ 228298 h 243501"/>
                      <a:gd name="connsiteX21" fmla="*/ 120832 w 280248"/>
                      <a:gd name="connsiteY21" fmla="*/ 227420 h 243501"/>
                      <a:gd name="connsiteX22" fmla="*/ 117209 w 280248"/>
                      <a:gd name="connsiteY22" fmla="*/ 220340 h 243501"/>
                      <a:gd name="connsiteX23" fmla="*/ 108866 w 280248"/>
                      <a:gd name="connsiteY23" fmla="*/ 221438 h 243501"/>
                      <a:gd name="connsiteX24" fmla="*/ 79832 w 280248"/>
                      <a:gd name="connsiteY24" fmla="*/ 213150 h 243501"/>
                      <a:gd name="connsiteX25" fmla="*/ 76730 w 280248"/>
                      <a:gd name="connsiteY25" fmla="*/ 211997 h 243501"/>
                      <a:gd name="connsiteX26" fmla="*/ 65781 w 280248"/>
                      <a:gd name="connsiteY26" fmla="*/ 212985 h 243501"/>
                      <a:gd name="connsiteX27" fmla="*/ 59469 w 280248"/>
                      <a:gd name="connsiteY27" fmla="*/ 210817 h 243501"/>
                      <a:gd name="connsiteX28" fmla="*/ 52635 w 280248"/>
                      <a:gd name="connsiteY28" fmla="*/ 213891 h 243501"/>
                      <a:gd name="connsiteX29" fmla="*/ 35786 w 280248"/>
                      <a:gd name="connsiteY29" fmla="*/ 214989 h 243501"/>
                      <a:gd name="connsiteX30" fmla="*/ 33425 w 280248"/>
                      <a:gd name="connsiteY30" fmla="*/ 217431 h 243501"/>
                      <a:gd name="connsiteX31" fmla="*/ 32712 w 280248"/>
                      <a:gd name="connsiteY31" fmla="*/ 222014 h 243501"/>
                      <a:gd name="connsiteX32" fmla="*/ 24424 w 280248"/>
                      <a:gd name="connsiteY32" fmla="*/ 228765 h 243501"/>
                      <a:gd name="connsiteX33" fmla="*/ 21076 w 280248"/>
                      <a:gd name="connsiteY33" fmla="*/ 228408 h 243501"/>
                      <a:gd name="connsiteX34" fmla="*/ 17207 w 280248"/>
                      <a:gd name="connsiteY34" fmla="*/ 225362 h 243501"/>
                      <a:gd name="connsiteX35" fmla="*/ 13393 w 280248"/>
                      <a:gd name="connsiteY35" fmla="*/ 226734 h 243501"/>
                      <a:gd name="connsiteX36" fmla="*/ 13831 w 280248"/>
                      <a:gd name="connsiteY36" fmla="*/ 231701 h 243501"/>
                      <a:gd name="connsiteX37" fmla="*/ 12898 w 280248"/>
                      <a:gd name="connsiteY37" fmla="*/ 232552 h 243501"/>
                      <a:gd name="connsiteX38" fmla="*/ 10785 w 280248"/>
                      <a:gd name="connsiteY38" fmla="*/ 222425 h 243501"/>
                      <a:gd name="connsiteX39" fmla="*/ 12926 w 280248"/>
                      <a:gd name="connsiteY39" fmla="*/ 218968 h 243501"/>
                      <a:gd name="connsiteX40" fmla="*/ 14160 w 280248"/>
                      <a:gd name="connsiteY40" fmla="*/ 206975 h 243501"/>
                      <a:gd name="connsiteX41" fmla="*/ 0 w 280248"/>
                      <a:gd name="connsiteY41" fmla="*/ 195696 h 243501"/>
                      <a:gd name="connsiteX42" fmla="*/ 8288 w 280248"/>
                      <a:gd name="connsiteY42" fmla="*/ 183292 h 243501"/>
                      <a:gd name="connsiteX43" fmla="*/ 21296 w 280248"/>
                      <a:gd name="connsiteY43" fmla="*/ 175690 h 243501"/>
                      <a:gd name="connsiteX44" fmla="*/ 21707 w 280248"/>
                      <a:gd name="connsiteY44" fmla="*/ 165564 h 243501"/>
                      <a:gd name="connsiteX45" fmla="*/ 20116 w 280248"/>
                      <a:gd name="connsiteY45" fmla="*/ 151074 h 243501"/>
                      <a:gd name="connsiteX46" fmla="*/ 12075 w 280248"/>
                      <a:gd name="connsiteY46" fmla="*/ 126649 h 243501"/>
                      <a:gd name="connsiteX47" fmla="*/ 9907 w 280248"/>
                      <a:gd name="connsiteY47" fmla="*/ 113669 h 243501"/>
                      <a:gd name="connsiteX48" fmla="*/ 29693 w 280248"/>
                      <a:gd name="connsiteY48" fmla="*/ 113422 h 243501"/>
                      <a:gd name="connsiteX49" fmla="*/ 36280 w 280248"/>
                      <a:gd name="connsiteY49" fmla="*/ 116248 h 243501"/>
                      <a:gd name="connsiteX50" fmla="*/ 42564 w 280248"/>
                      <a:gd name="connsiteY50" fmla="*/ 111419 h 243501"/>
                      <a:gd name="connsiteX51" fmla="*/ 47257 w 280248"/>
                      <a:gd name="connsiteY51" fmla="*/ 111748 h 243501"/>
                      <a:gd name="connsiteX52" fmla="*/ 48766 w 280248"/>
                      <a:gd name="connsiteY52" fmla="*/ 104036 h 243501"/>
                      <a:gd name="connsiteX53" fmla="*/ 55847 w 280248"/>
                      <a:gd name="connsiteY53" fmla="*/ 104036 h 243501"/>
                      <a:gd name="connsiteX54" fmla="*/ 60594 w 280248"/>
                      <a:gd name="connsiteY54" fmla="*/ 98877 h 243501"/>
                      <a:gd name="connsiteX55" fmla="*/ 68031 w 280248"/>
                      <a:gd name="connsiteY55" fmla="*/ 96572 h 243501"/>
                      <a:gd name="connsiteX56" fmla="*/ 69815 w 280248"/>
                      <a:gd name="connsiteY56" fmla="*/ 98191 h 243501"/>
                      <a:gd name="connsiteX57" fmla="*/ 70199 w 280248"/>
                      <a:gd name="connsiteY57" fmla="*/ 103543 h 243501"/>
                      <a:gd name="connsiteX58" fmla="*/ 76264 w 280248"/>
                      <a:gd name="connsiteY58" fmla="*/ 102664 h 243501"/>
                      <a:gd name="connsiteX59" fmla="*/ 75989 w 280248"/>
                      <a:gd name="connsiteY59" fmla="*/ 99453 h 243501"/>
                      <a:gd name="connsiteX60" fmla="*/ 70473 w 280248"/>
                      <a:gd name="connsiteY60" fmla="*/ 93581 h 243501"/>
                      <a:gd name="connsiteX61" fmla="*/ 75523 w 280248"/>
                      <a:gd name="connsiteY61" fmla="*/ 82055 h 243501"/>
                      <a:gd name="connsiteX62" fmla="*/ 75660 w 280248"/>
                      <a:gd name="connsiteY62" fmla="*/ 70803 h 243501"/>
                      <a:gd name="connsiteX63" fmla="*/ 79942 w 280248"/>
                      <a:gd name="connsiteY63" fmla="*/ 64217 h 243501"/>
                      <a:gd name="connsiteX64" fmla="*/ 88476 w 280248"/>
                      <a:gd name="connsiteY64" fmla="*/ 61006 h 243501"/>
                      <a:gd name="connsiteX65" fmla="*/ 92209 w 280248"/>
                      <a:gd name="connsiteY65" fmla="*/ 54008 h 243501"/>
                      <a:gd name="connsiteX66" fmla="*/ 102636 w 280248"/>
                      <a:gd name="connsiteY66" fmla="*/ 52471 h 243501"/>
                      <a:gd name="connsiteX67" fmla="*/ 104914 w 280248"/>
                      <a:gd name="connsiteY67" fmla="*/ 47806 h 243501"/>
                      <a:gd name="connsiteX68" fmla="*/ 104585 w 280248"/>
                      <a:gd name="connsiteY68" fmla="*/ 44815 h 243501"/>
                      <a:gd name="connsiteX69" fmla="*/ 98602 w 280248"/>
                      <a:gd name="connsiteY69" fmla="*/ 41631 h 243501"/>
                      <a:gd name="connsiteX70" fmla="*/ 101594 w 280248"/>
                      <a:gd name="connsiteY70" fmla="*/ 25687 h 243501"/>
                      <a:gd name="connsiteX71" fmla="*/ 107055 w 280248"/>
                      <a:gd name="connsiteY71" fmla="*/ 25001 h 243501"/>
                      <a:gd name="connsiteX72" fmla="*/ 115343 w 280248"/>
                      <a:gd name="connsiteY72" fmla="*/ 17262 h 243501"/>
                      <a:gd name="connsiteX73" fmla="*/ 129723 w 280248"/>
                      <a:gd name="connsiteY73" fmla="*/ 19704 h 243501"/>
                      <a:gd name="connsiteX74" fmla="*/ 132357 w 280248"/>
                      <a:gd name="connsiteY74" fmla="*/ 12459 h 243501"/>
                      <a:gd name="connsiteX75" fmla="*/ 146436 w 280248"/>
                      <a:gd name="connsiteY75" fmla="*/ 0 h 243501"/>
                      <a:gd name="connsiteX76" fmla="*/ 150991 w 280248"/>
                      <a:gd name="connsiteY76" fmla="*/ 4940 h 243501"/>
                      <a:gd name="connsiteX77" fmla="*/ 159993 w 280248"/>
                      <a:gd name="connsiteY77" fmla="*/ 4666 h 243501"/>
                      <a:gd name="connsiteX78" fmla="*/ 165069 w 280248"/>
                      <a:gd name="connsiteY78" fmla="*/ 10566 h 243501"/>
                      <a:gd name="connsiteX79" fmla="*/ 173193 w 280248"/>
                      <a:gd name="connsiteY79" fmla="*/ 7904 h 243501"/>
                      <a:gd name="connsiteX80" fmla="*/ 181810 w 280248"/>
                      <a:gd name="connsiteY80" fmla="*/ 10868 h 243501"/>
                      <a:gd name="connsiteX81" fmla="*/ 183566 w 280248"/>
                      <a:gd name="connsiteY81" fmla="*/ 13639 h 243501"/>
                      <a:gd name="connsiteX82" fmla="*/ 183072 w 280248"/>
                      <a:gd name="connsiteY82" fmla="*/ 20198 h 243501"/>
                      <a:gd name="connsiteX83" fmla="*/ 185871 w 280248"/>
                      <a:gd name="connsiteY83" fmla="*/ 23903 h 243501"/>
                      <a:gd name="connsiteX84" fmla="*/ 198138 w 280248"/>
                      <a:gd name="connsiteY84" fmla="*/ 17317 h 243501"/>
                      <a:gd name="connsiteX85" fmla="*/ 207277 w 280248"/>
                      <a:gd name="connsiteY85" fmla="*/ 16823 h 243501"/>
                      <a:gd name="connsiteX86" fmla="*/ 214796 w 280248"/>
                      <a:gd name="connsiteY86" fmla="*/ 19869 h 243501"/>
                      <a:gd name="connsiteX87" fmla="*/ 222068 w 280248"/>
                      <a:gd name="connsiteY87" fmla="*/ 28458 h 243501"/>
                      <a:gd name="connsiteX88" fmla="*/ 227118 w 280248"/>
                      <a:gd name="connsiteY88" fmla="*/ 30764 h 243501"/>
                      <a:gd name="connsiteX89" fmla="*/ 227859 w 280248"/>
                      <a:gd name="connsiteY89" fmla="*/ 38146 h 243501"/>
                      <a:gd name="connsiteX90" fmla="*/ 225938 w 280248"/>
                      <a:gd name="connsiteY90" fmla="*/ 46489 h 243501"/>
                      <a:gd name="connsiteX91" fmla="*/ 229890 w 280248"/>
                      <a:gd name="connsiteY91" fmla="*/ 57987 h 243501"/>
                      <a:gd name="connsiteX92" fmla="*/ 225691 w 280248"/>
                      <a:gd name="connsiteY92" fmla="*/ 65973 h 243501"/>
                      <a:gd name="connsiteX93" fmla="*/ 225225 w 280248"/>
                      <a:gd name="connsiteY93" fmla="*/ 71434 h 243501"/>
                      <a:gd name="connsiteX94" fmla="*/ 232250 w 280248"/>
                      <a:gd name="connsiteY94" fmla="*/ 78762 h 243501"/>
                      <a:gd name="connsiteX95" fmla="*/ 233869 w 280248"/>
                      <a:gd name="connsiteY95" fmla="*/ 86198 h 243501"/>
                      <a:gd name="connsiteX96" fmla="*/ 240895 w 280248"/>
                      <a:gd name="connsiteY96" fmla="*/ 99508 h 243501"/>
                      <a:gd name="connsiteX97" fmla="*/ 253957 w 280248"/>
                      <a:gd name="connsiteY97" fmla="*/ 108702 h 243501"/>
                      <a:gd name="connsiteX98" fmla="*/ 254040 w 280248"/>
                      <a:gd name="connsiteY98" fmla="*/ 120722 h 243501"/>
                      <a:gd name="connsiteX99" fmla="*/ 263508 w 280248"/>
                      <a:gd name="connsiteY99" fmla="*/ 121216 h 243501"/>
                      <a:gd name="connsiteX100" fmla="*/ 272207 w 280248"/>
                      <a:gd name="connsiteY100" fmla="*/ 125771 h 243501"/>
                      <a:gd name="connsiteX101" fmla="*/ 274128 w 280248"/>
                      <a:gd name="connsiteY101" fmla="*/ 133538 h 243501"/>
                      <a:gd name="connsiteX102" fmla="*/ 280248 w 280248"/>
                      <a:gd name="connsiteY102" fmla="*/ 140261 h 243501"/>
                      <a:gd name="connsiteX103" fmla="*/ 272344 w 280248"/>
                      <a:gd name="connsiteY103" fmla="*/ 150689 h 243501"/>
                      <a:gd name="connsiteX104" fmla="*/ 262684 w 280248"/>
                      <a:gd name="connsiteY104" fmla="*/ 156068 h 243501"/>
                      <a:gd name="connsiteX105" fmla="*/ 256098 w 280248"/>
                      <a:gd name="connsiteY105" fmla="*/ 155355 h 243501"/>
                      <a:gd name="connsiteX106" fmla="*/ 248716 w 280248"/>
                      <a:gd name="connsiteY106" fmla="*/ 150552 h 243501"/>
                      <a:gd name="connsiteX107" fmla="*/ 241498 w 280248"/>
                      <a:gd name="connsiteY107" fmla="*/ 153544 h 243501"/>
                      <a:gd name="connsiteX108" fmla="*/ 239275 w 280248"/>
                      <a:gd name="connsiteY108" fmla="*/ 160624 h 243501"/>
                      <a:gd name="connsiteX109" fmla="*/ 246026 w 280248"/>
                      <a:gd name="connsiteY109" fmla="*/ 170531 h 243501"/>
                      <a:gd name="connsiteX110" fmla="*/ 245917 w 280248"/>
                      <a:gd name="connsiteY110" fmla="*/ 178105 h 243501"/>
                      <a:gd name="connsiteX111" fmla="*/ 249155 w 280248"/>
                      <a:gd name="connsiteY111" fmla="*/ 194598 h 243501"/>
                      <a:gd name="connsiteX112" fmla="*/ 253216 w 280248"/>
                      <a:gd name="connsiteY112" fmla="*/ 204039 h 2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280248" h="243501">
                        <a:moveTo>
                          <a:pt x="253134" y="204011"/>
                        </a:moveTo>
                        <a:lnTo>
                          <a:pt x="249621" y="203847"/>
                        </a:lnTo>
                        <a:lnTo>
                          <a:pt x="228710" y="205768"/>
                        </a:lnTo>
                        <a:lnTo>
                          <a:pt x="216361" y="225554"/>
                        </a:lnTo>
                        <a:lnTo>
                          <a:pt x="219379" y="239660"/>
                        </a:lnTo>
                        <a:lnTo>
                          <a:pt x="215839" y="243502"/>
                        </a:lnTo>
                        <a:lnTo>
                          <a:pt x="205987" y="233156"/>
                        </a:lnTo>
                        <a:lnTo>
                          <a:pt x="195449" y="235378"/>
                        </a:lnTo>
                        <a:lnTo>
                          <a:pt x="191415" y="232250"/>
                        </a:lnTo>
                        <a:lnTo>
                          <a:pt x="181096" y="238040"/>
                        </a:lnTo>
                        <a:lnTo>
                          <a:pt x="174510" y="226542"/>
                        </a:lnTo>
                        <a:lnTo>
                          <a:pt x="166799" y="229807"/>
                        </a:lnTo>
                        <a:lnTo>
                          <a:pt x="162545" y="234857"/>
                        </a:lnTo>
                        <a:lnTo>
                          <a:pt x="159608" y="229780"/>
                        </a:lnTo>
                        <a:lnTo>
                          <a:pt x="152254" y="230247"/>
                        </a:lnTo>
                        <a:lnTo>
                          <a:pt x="148768" y="225252"/>
                        </a:lnTo>
                        <a:lnTo>
                          <a:pt x="142320" y="229917"/>
                        </a:lnTo>
                        <a:lnTo>
                          <a:pt x="137626" y="227914"/>
                        </a:lnTo>
                        <a:lnTo>
                          <a:pt x="134032" y="233513"/>
                        </a:lnTo>
                        <a:lnTo>
                          <a:pt x="132440" y="232003"/>
                        </a:lnTo>
                        <a:lnTo>
                          <a:pt x="132550" y="228298"/>
                        </a:lnTo>
                        <a:lnTo>
                          <a:pt x="120832" y="227420"/>
                        </a:lnTo>
                        <a:lnTo>
                          <a:pt x="117209" y="220340"/>
                        </a:lnTo>
                        <a:lnTo>
                          <a:pt x="108866" y="221438"/>
                        </a:lnTo>
                        <a:lnTo>
                          <a:pt x="79832" y="213150"/>
                        </a:lnTo>
                        <a:lnTo>
                          <a:pt x="76730" y="211997"/>
                        </a:lnTo>
                        <a:lnTo>
                          <a:pt x="65781" y="212985"/>
                        </a:lnTo>
                        <a:lnTo>
                          <a:pt x="59469" y="210817"/>
                        </a:lnTo>
                        <a:lnTo>
                          <a:pt x="52635" y="213891"/>
                        </a:lnTo>
                        <a:lnTo>
                          <a:pt x="35786" y="214989"/>
                        </a:lnTo>
                        <a:lnTo>
                          <a:pt x="33425" y="217431"/>
                        </a:lnTo>
                        <a:lnTo>
                          <a:pt x="32712" y="222014"/>
                        </a:lnTo>
                        <a:lnTo>
                          <a:pt x="24424" y="228765"/>
                        </a:lnTo>
                        <a:lnTo>
                          <a:pt x="21076" y="228408"/>
                        </a:lnTo>
                        <a:lnTo>
                          <a:pt x="17207" y="225362"/>
                        </a:lnTo>
                        <a:lnTo>
                          <a:pt x="13393" y="226734"/>
                        </a:lnTo>
                        <a:lnTo>
                          <a:pt x="13831" y="231701"/>
                        </a:lnTo>
                        <a:lnTo>
                          <a:pt x="12898" y="232552"/>
                        </a:lnTo>
                        <a:lnTo>
                          <a:pt x="10785" y="222425"/>
                        </a:lnTo>
                        <a:lnTo>
                          <a:pt x="12926" y="218968"/>
                        </a:lnTo>
                        <a:lnTo>
                          <a:pt x="14160" y="206975"/>
                        </a:lnTo>
                        <a:lnTo>
                          <a:pt x="0" y="195696"/>
                        </a:lnTo>
                        <a:lnTo>
                          <a:pt x="8288" y="183292"/>
                        </a:lnTo>
                        <a:lnTo>
                          <a:pt x="21296" y="175690"/>
                        </a:lnTo>
                        <a:lnTo>
                          <a:pt x="21707" y="165564"/>
                        </a:lnTo>
                        <a:lnTo>
                          <a:pt x="20116" y="151074"/>
                        </a:lnTo>
                        <a:lnTo>
                          <a:pt x="12075" y="126649"/>
                        </a:lnTo>
                        <a:lnTo>
                          <a:pt x="9907" y="113669"/>
                        </a:lnTo>
                        <a:lnTo>
                          <a:pt x="29693" y="113422"/>
                        </a:lnTo>
                        <a:lnTo>
                          <a:pt x="36280" y="116248"/>
                        </a:lnTo>
                        <a:lnTo>
                          <a:pt x="42564" y="111419"/>
                        </a:lnTo>
                        <a:lnTo>
                          <a:pt x="47257" y="111748"/>
                        </a:lnTo>
                        <a:lnTo>
                          <a:pt x="48766" y="104036"/>
                        </a:lnTo>
                        <a:lnTo>
                          <a:pt x="55847" y="104036"/>
                        </a:lnTo>
                        <a:cubicBezTo>
                          <a:pt x="55847" y="104036"/>
                          <a:pt x="60594" y="98877"/>
                          <a:pt x="60594" y="98877"/>
                        </a:cubicBezTo>
                        <a:lnTo>
                          <a:pt x="68031" y="96572"/>
                        </a:lnTo>
                        <a:lnTo>
                          <a:pt x="69815" y="98191"/>
                        </a:lnTo>
                        <a:lnTo>
                          <a:pt x="70199" y="103543"/>
                        </a:lnTo>
                        <a:lnTo>
                          <a:pt x="76264" y="102664"/>
                        </a:lnTo>
                        <a:lnTo>
                          <a:pt x="75989" y="99453"/>
                        </a:lnTo>
                        <a:lnTo>
                          <a:pt x="70473" y="93581"/>
                        </a:lnTo>
                        <a:lnTo>
                          <a:pt x="75523" y="82055"/>
                        </a:lnTo>
                        <a:lnTo>
                          <a:pt x="75660" y="70803"/>
                        </a:lnTo>
                        <a:lnTo>
                          <a:pt x="79942" y="64217"/>
                        </a:lnTo>
                        <a:lnTo>
                          <a:pt x="88476" y="61006"/>
                        </a:lnTo>
                        <a:lnTo>
                          <a:pt x="92209" y="54008"/>
                        </a:lnTo>
                        <a:lnTo>
                          <a:pt x="102636" y="52471"/>
                        </a:lnTo>
                        <a:lnTo>
                          <a:pt x="104914" y="47806"/>
                        </a:lnTo>
                        <a:lnTo>
                          <a:pt x="104585" y="44815"/>
                        </a:lnTo>
                        <a:lnTo>
                          <a:pt x="98602" y="41631"/>
                        </a:lnTo>
                        <a:lnTo>
                          <a:pt x="101594" y="25687"/>
                        </a:lnTo>
                        <a:lnTo>
                          <a:pt x="107055" y="25001"/>
                        </a:lnTo>
                        <a:lnTo>
                          <a:pt x="115343" y="17262"/>
                        </a:lnTo>
                        <a:lnTo>
                          <a:pt x="129723" y="19704"/>
                        </a:lnTo>
                        <a:lnTo>
                          <a:pt x="132357" y="12459"/>
                        </a:lnTo>
                        <a:lnTo>
                          <a:pt x="146436" y="0"/>
                        </a:lnTo>
                        <a:lnTo>
                          <a:pt x="150991" y="4940"/>
                        </a:lnTo>
                        <a:lnTo>
                          <a:pt x="159993" y="4666"/>
                        </a:lnTo>
                        <a:lnTo>
                          <a:pt x="165069" y="10566"/>
                        </a:lnTo>
                        <a:lnTo>
                          <a:pt x="173193" y="7904"/>
                        </a:lnTo>
                        <a:lnTo>
                          <a:pt x="181810" y="10868"/>
                        </a:lnTo>
                        <a:lnTo>
                          <a:pt x="183566" y="13639"/>
                        </a:lnTo>
                        <a:lnTo>
                          <a:pt x="183072" y="20198"/>
                        </a:lnTo>
                        <a:lnTo>
                          <a:pt x="185871" y="23903"/>
                        </a:lnTo>
                        <a:lnTo>
                          <a:pt x="198138" y="17317"/>
                        </a:lnTo>
                        <a:lnTo>
                          <a:pt x="207277" y="16823"/>
                        </a:lnTo>
                        <a:lnTo>
                          <a:pt x="214796" y="19869"/>
                        </a:lnTo>
                        <a:lnTo>
                          <a:pt x="222068" y="28458"/>
                        </a:lnTo>
                        <a:lnTo>
                          <a:pt x="227118" y="30764"/>
                        </a:lnTo>
                        <a:lnTo>
                          <a:pt x="227859" y="38146"/>
                        </a:lnTo>
                        <a:lnTo>
                          <a:pt x="225938" y="46489"/>
                        </a:lnTo>
                        <a:lnTo>
                          <a:pt x="229890" y="57987"/>
                        </a:lnTo>
                        <a:lnTo>
                          <a:pt x="225691" y="65973"/>
                        </a:lnTo>
                        <a:lnTo>
                          <a:pt x="225225" y="71434"/>
                        </a:lnTo>
                        <a:lnTo>
                          <a:pt x="232250" y="78762"/>
                        </a:lnTo>
                        <a:lnTo>
                          <a:pt x="233869" y="86198"/>
                        </a:lnTo>
                        <a:lnTo>
                          <a:pt x="240895" y="99508"/>
                        </a:lnTo>
                        <a:lnTo>
                          <a:pt x="253957" y="108702"/>
                        </a:lnTo>
                        <a:lnTo>
                          <a:pt x="254040" y="120722"/>
                        </a:lnTo>
                        <a:lnTo>
                          <a:pt x="263508" y="121216"/>
                        </a:lnTo>
                        <a:lnTo>
                          <a:pt x="272207" y="125771"/>
                        </a:lnTo>
                        <a:lnTo>
                          <a:pt x="274128" y="133538"/>
                        </a:lnTo>
                        <a:lnTo>
                          <a:pt x="280248" y="140261"/>
                        </a:lnTo>
                        <a:lnTo>
                          <a:pt x="272344" y="150689"/>
                        </a:lnTo>
                        <a:lnTo>
                          <a:pt x="262684" y="156068"/>
                        </a:lnTo>
                        <a:lnTo>
                          <a:pt x="256098" y="155355"/>
                        </a:lnTo>
                        <a:lnTo>
                          <a:pt x="248716" y="150552"/>
                        </a:lnTo>
                        <a:lnTo>
                          <a:pt x="241498" y="153544"/>
                        </a:lnTo>
                        <a:lnTo>
                          <a:pt x="239275" y="160624"/>
                        </a:lnTo>
                        <a:lnTo>
                          <a:pt x="246026" y="170531"/>
                        </a:lnTo>
                        <a:lnTo>
                          <a:pt x="245917" y="178105"/>
                        </a:lnTo>
                        <a:lnTo>
                          <a:pt x="249155" y="194598"/>
                        </a:lnTo>
                        <a:lnTo>
                          <a:pt x="253216" y="20403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42" name="Freeform: Shape 2941">
                    <a:extLst>
                      <a:ext uri="{FF2B5EF4-FFF2-40B4-BE49-F238E27FC236}">
                        <a16:creationId xmlns:a16="http://schemas.microsoft.com/office/drawing/2014/main" id="{2E1089E2-4018-F2F5-9596-EADBDB984E9B}"/>
                      </a:ext>
                    </a:extLst>
                  </p:cNvPr>
                  <p:cNvSpPr/>
                  <p:nvPr/>
                </p:nvSpPr>
                <p:spPr>
                  <a:xfrm>
                    <a:off x="-5930899" y="3125370"/>
                    <a:ext cx="198550" cy="113641"/>
                  </a:xfrm>
                  <a:custGeom>
                    <a:avLst/>
                    <a:gdLst>
                      <a:gd name="connsiteX0" fmla="*/ 74069 w 198550"/>
                      <a:gd name="connsiteY0" fmla="*/ 9303 h 113641"/>
                      <a:gd name="connsiteX1" fmla="*/ 78432 w 198550"/>
                      <a:gd name="connsiteY1" fmla="*/ 11087 h 113641"/>
                      <a:gd name="connsiteX2" fmla="*/ 80106 w 198550"/>
                      <a:gd name="connsiteY2" fmla="*/ 8727 h 113641"/>
                      <a:gd name="connsiteX3" fmla="*/ 84607 w 198550"/>
                      <a:gd name="connsiteY3" fmla="*/ 8343 h 113641"/>
                      <a:gd name="connsiteX4" fmla="*/ 87131 w 198550"/>
                      <a:gd name="connsiteY4" fmla="*/ 2168 h 113641"/>
                      <a:gd name="connsiteX5" fmla="*/ 92428 w 198550"/>
                      <a:gd name="connsiteY5" fmla="*/ 3430 h 113641"/>
                      <a:gd name="connsiteX6" fmla="*/ 96380 w 198550"/>
                      <a:gd name="connsiteY6" fmla="*/ 11910 h 113641"/>
                      <a:gd name="connsiteX7" fmla="*/ 101045 w 198550"/>
                      <a:gd name="connsiteY7" fmla="*/ 12953 h 113641"/>
                      <a:gd name="connsiteX8" fmla="*/ 108784 w 198550"/>
                      <a:gd name="connsiteY8" fmla="*/ 14682 h 113641"/>
                      <a:gd name="connsiteX9" fmla="*/ 116111 w 198550"/>
                      <a:gd name="connsiteY9" fmla="*/ 19896 h 113641"/>
                      <a:gd name="connsiteX10" fmla="*/ 117867 w 198550"/>
                      <a:gd name="connsiteY10" fmla="*/ 18414 h 113641"/>
                      <a:gd name="connsiteX11" fmla="*/ 126238 w 198550"/>
                      <a:gd name="connsiteY11" fmla="*/ 21131 h 113641"/>
                      <a:gd name="connsiteX12" fmla="*/ 126128 w 198550"/>
                      <a:gd name="connsiteY12" fmla="*/ 23930 h 113641"/>
                      <a:gd name="connsiteX13" fmla="*/ 122341 w 198550"/>
                      <a:gd name="connsiteY13" fmla="*/ 28047 h 113641"/>
                      <a:gd name="connsiteX14" fmla="*/ 131781 w 198550"/>
                      <a:gd name="connsiteY14" fmla="*/ 42372 h 113641"/>
                      <a:gd name="connsiteX15" fmla="*/ 135705 w 198550"/>
                      <a:gd name="connsiteY15" fmla="*/ 43607 h 113641"/>
                      <a:gd name="connsiteX16" fmla="*/ 140097 w 198550"/>
                      <a:gd name="connsiteY16" fmla="*/ 39847 h 113641"/>
                      <a:gd name="connsiteX17" fmla="*/ 143966 w 198550"/>
                      <a:gd name="connsiteY17" fmla="*/ 36609 h 113641"/>
                      <a:gd name="connsiteX18" fmla="*/ 140810 w 198550"/>
                      <a:gd name="connsiteY18" fmla="*/ 30270 h 113641"/>
                      <a:gd name="connsiteX19" fmla="*/ 141414 w 198550"/>
                      <a:gd name="connsiteY19" fmla="*/ 28266 h 113641"/>
                      <a:gd name="connsiteX20" fmla="*/ 156727 w 198550"/>
                      <a:gd name="connsiteY20" fmla="*/ 37267 h 113641"/>
                      <a:gd name="connsiteX21" fmla="*/ 165564 w 198550"/>
                      <a:gd name="connsiteY21" fmla="*/ 35841 h 113641"/>
                      <a:gd name="connsiteX22" fmla="*/ 165729 w 198550"/>
                      <a:gd name="connsiteY22" fmla="*/ 39189 h 113641"/>
                      <a:gd name="connsiteX23" fmla="*/ 163286 w 198550"/>
                      <a:gd name="connsiteY23" fmla="*/ 42509 h 113641"/>
                      <a:gd name="connsiteX24" fmla="*/ 168967 w 198550"/>
                      <a:gd name="connsiteY24" fmla="*/ 49397 h 113641"/>
                      <a:gd name="connsiteX25" fmla="*/ 174538 w 198550"/>
                      <a:gd name="connsiteY25" fmla="*/ 45912 h 113641"/>
                      <a:gd name="connsiteX26" fmla="*/ 183127 w 198550"/>
                      <a:gd name="connsiteY26" fmla="*/ 52197 h 113641"/>
                      <a:gd name="connsiteX27" fmla="*/ 190427 w 198550"/>
                      <a:gd name="connsiteY27" fmla="*/ 53020 h 113641"/>
                      <a:gd name="connsiteX28" fmla="*/ 191607 w 198550"/>
                      <a:gd name="connsiteY28" fmla="*/ 60320 h 113641"/>
                      <a:gd name="connsiteX29" fmla="*/ 197096 w 198550"/>
                      <a:gd name="connsiteY29" fmla="*/ 64491 h 113641"/>
                      <a:gd name="connsiteX30" fmla="*/ 198550 w 198550"/>
                      <a:gd name="connsiteY30" fmla="*/ 70913 h 113641"/>
                      <a:gd name="connsiteX31" fmla="*/ 190454 w 198550"/>
                      <a:gd name="connsiteY31" fmla="*/ 71818 h 113641"/>
                      <a:gd name="connsiteX32" fmla="*/ 185377 w 198550"/>
                      <a:gd name="connsiteY32" fmla="*/ 76347 h 113641"/>
                      <a:gd name="connsiteX33" fmla="*/ 183017 w 198550"/>
                      <a:gd name="connsiteY33" fmla="*/ 80051 h 113641"/>
                      <a:gd name="connsiteX34" fmla="*/ 178517 w 198550"/>
                      <a:gd name="connsiteY34" fmla="*/ 82356 h 113641"/>
                      <a:gd name="connsiteX35" fmla="*/ 175525 w 198550"/>
                      <a:gd name="connsiteY35" fmla="*/ 91989 h 113641"/>
                      <a:gd name="connsiteX36" fmla="*/ 163121 w 198550"/>
                      <a:gd name="connsiteY36" fmla="*/ 100716 h 113641"/>
                      <a:gd name="connsiteX37" fmla="*/ 155766 w 198550"/>
                      <a:gd name="connsiteY37" fmla="*/ 102554 h 113641"/>
                      <a:gd name="connsiteX38" fmla="*/ 149153 w 198550"/>
                      <a:gd name="connsiteY38" fmla="*/ 100716 h 113641"/>
                      <a:gd name="connsiteX39" fmla="*/ 142347 w 198550"/>
                      <a:gd name="connsiteY39" fmla="*/ 111281 h 113641"/>
                      <a:gd name="connsiteX40" fmla="*/ 140673 w 198550"/>
                      <a:gd name="connsiteY40" fmla="*/ 107137 h 113641"/>
                      <a:gd name="connsiteX41" fmla="*/ 131150 w 198550"/>
                      <a:gd name="connsiteY41" fmla="*/ 102884 h 113641"/>
                      <a:gd name="connsiteX42" fmla="*/ 123219 w 198550"/>
                      <a:gd name="connsiteY42" fmla="*/ 106067 h 113641"/>
                      <a:gd name="connsiteX43" fmla="*/ 107439 w 198550"/>
                      <a:gd name="connsiteY43" fmla="*/ 100771 h 113641"/>
                      <a:gd name="connsiteX44" fmla="*/ 101238 w 198550"/>
                      <a:gd name="connsiteY44" fmla="*/ 98273 h 113641"/>
                      <a:gd name="connsiteX45" fmla="*/ 85979 w 198550"/>
                      <a:gd name="connsiteY45" fmla="*/ 94075 h 113641"/>
                      <a:gd name="connsiteX46" fmla="*/ 83509 w 198550"/>
                      <a:gd name="connsiteY46" fmla="*/ 103487 h 113641"/>
                      <a:gd name="connsiteX47" fmla="*/ 78405 w 198550"/>
                      <a:gd name="connsiteY47" fmla="*/ 107055 h 113641"/>
                      <a:gd name="connsiteX48" fmla="*/ 76182 w 198550"/>
                      <a:gd name="connsiteY48" fmla="*/ 112681 h 113641"/>
                      <a:gd name="connsiteX49" fmla="*/ 70199 w 198550"/>
                      <a:gd name="connsiteY49" fmla="*/ 110650 h 113641"/>
                      <a:gd name="connsiteX50" fmla="*/ 65946 w 198550"/>
                      <a:gd name="connsiteY50" fmla="*/ 113641 h 113641"/>
                      <a:gd name="connsiteX51" fmla="*/ 59167 w 198550"/>
                      <a:gd name="connsiteY51" fmla="*/ 112269 h 113641"/>
                      <a:gd name="connsiteX52" fmla="*/ 51154 w 198550"/>
                      <a:gd name="connsiteY52" fmla="*/ 104338 h 113641"/>
                      <a:gd name="connsiteX53" fmla="*/ 42674 w 198550"/>
                      <a:gd name="connsiteY53" fmla="*/ 95557 h 113641"/>
                      <a:gd name="connsiteX54" fmla="*/ 38695 w 198550"/>
                      <a:gd name="connsiteY54" fmla="*/ 95008 h 113641"/>
                      <a:gd name="connsiteX55" fmla="*/ 37185 w 198550"/>
                      <a:gd name="connsiteY55" fmla="*/ 91083 h 113641"/>
                      <a:gd name="connsiteX56" fmla="*/ 31477 w 198550"/>
                      <a:gd name="connsiteY56" fmla="*/ 86308 h 113641"/>
                      <a:gd name="connsiteX57" fmla="*/ 25988 w 198550"/>
                      <a:gd name="connsiteY57" fmla="*/ 79585 h 113641"/>
                      <a:gd name="connsiteX58" fmla="*/ 20335 w 198550"/>
                      <a:gd name="connsiteY58" fmla="*/ 77993 h 113641"/>
                      <a:gd name="connsiteX59" fmla="*/ 15670 w 198550"/>
                      <a:gd name="connsiteY59" fmla="*/ 72614 h 113641"/>
                      <a:gd name="connsiteX60" fmla="*/ 15807 w 198550"/>
                      <a:gd name="connsiteY60" fmla="*/ 70666 h 113641"/>
                      <a:gd name="connsiteX61" fmla="*/ 14517 w 198550"/>
                      <a:gd name="connsiteY61" fmla="*/ 69650 h 113641"/>
                      <a:gd name="connsiteX62" fmla="*/ 8864 w 198550"/>
                      <a:gd name="connsiteY62" fmla="*/ 59826 h 113641"/>
                      <a:gd name="connsiteX63" fmla="*/ 13255 w 198550"/>
                      <a:gd name="connsiteY63" fmla="*/ 53130 h 113641"/>
                      <a:gd name="connsiteX64" fmla="*/ 4720 w 198550"/>
                      <a:gd name="connsiteY64" fmla="*/ 46132 h 113641"/>
                      <a:gd name="connsiteX65" fmla="*/ 1757 w 198550"/>
                      <a:gd name="connsiteY65" fmla="*/ 38722 h 113641"/>
                      <a:gd name="connsiteX66" fmla="*/ 0 w 198550"/>
                      <a:gd name="connsiteY66" fmla="*/ 34194 h 113641"/>
                      <a:gd name="connsiteX67" fmla="*/ 6504 w 198550"/>
                      <a:gd name="connsiteY67" fmla="*/ 39271 h 113641"/>
                      <a:gd name="connsiteX68" fmla="*/ 14215 w 198550"/>
                      <a:gd name="connsiteY68" fmla="*/ 30077 h 113641"/>
                      <a:gd name="connsiteX69" fmla="*/ 20994 w 198550"/>
                      <a:gd name="connsiteY69" fmla="*/ 28129 h 113641"/>
                      <a:gd name="connsiteX70" fmla="*/ 24918 w 198550"/>
                      <a:gd name="connsiteY70" fmla="*/ 30215 h 113641"/>
                      <a:gd name="connsiteX71" fmla="*/ 28102 w 198550"/>
                      <a:gd name="connsiteY71" fmla="*/ 25742 h 113641"/>
                      <a:gd name="connsiteX72" fmla="*/ 41192 w 198550"/>
                      <a:gd name="connsiteY72" fmla="*/ 19622 h 113641"/>
                      <a:gd name="connsiteX73" fmla="*/ 45583 w 198550"/>
                      <a:gd name="connsiteY73" fmla="*/ 15149 h 113641"/>
                      <a:gd name="connsiteX74" fmla="*/ 50824 w 198550"/>
                      <a:gd name="connsiteY74" fmla="*/ 15011 h 113641"/>
                      <a:gd name="connsiteX75" fmla="*/ 66522 w 198550"/>
                      <a:gd name="connsiteY75" fmla="*/ 7080 h 113641"/>
                      <a:gd name="connsiteX76" fmla="*/ 64107 w 198550"/>
                      <a:gd name="connsiteY76" fmla="*/ 2580 h 113641"/>
                      <a:gd name="connsiteX77" fmla="*/ 65177 w 198550"/>
                      <a:gd name="connsiteY77" fmla="*/ 0 h 113641"/>
                      <a:gd name="connsiteX78" fmla="*/ 70282 w 198550"/>
                      <a:gd name="connsiteY78" fmla="*/ 549 h 113641"/>
                      <a:gd name="connsiteX79" fmla="*/ 72944 w 198550"/>
                      <a:gd name="connsiteY79" fmla="*/ 3458 h 113641"/>
                      <a:gd name="connsiteX80" fmla="*/ 74014 w 198550"/>
                      <a:gd name="connsiteY80" fmla="*/ 9221 h 113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98550" h="113641">
                        <a:moveTo>
                          <a:pt x="74069" y="9303"/>
                        </a:moveTo>
                        <a:lnTo>
                          <a:pt x="78432" y="11087"/>
                        </a:lnTo>
                        <a:lnTo>
                          <a:pt x="80106" y="8727"/>
                        </a:lnTo>
                        <a:lnTo>
                          <a:pt x="84607" y="8343"/>
                        </a:lnTo>
                        <a:lnTo>
                          <a:pt x="87131" y="2168"/>
                        </a:lnTo>
                        <a:lnTo>
                          <a:pt x="92428" y="3430"/>
                        </a:lnTo>
                        <a:lnTo>
                          <a:pt x="96380" y="11910"/>
                        </a:lnTo>
                        <a:lnTo>
                          <a:pt x="101045" y="12953"/>
                        </a:lnTo>
                        <a:lnTo>
                          <a:pt x="108784" y="14682"/>
                        </a:lnTo>
                        <a:lnTo>
                          <a:pt x="116111" y="19896"/>
                        </a:lnTo>
                        <a:lnTo>
                          <a:pt x="117867" y="18414"/>
                        </a:lnTo>
                        <a:lnTo>
                          <a:pt x="126238" y="21131"/>
                        </a:lnTo>
                        <a:lnTo>
                          <a:pt x="126128" y="23930"/>
                        </a:lnTo>
                        <a:lnTo>
                          <a:pt x="122341" y="28047"/>
                        </a:lnTo>
                        <a:lnTo>
                          <a:pt x="131781" y="42372"/>
                        </a:lnTo>
                        <a:lnTo>
                          <a:pt x="135705" y="43607"/>
                        </a:lnTo>
                        <a:lnTo>
                          <a:pt x="140097" y="39847"/>
                        </a:lnTo>
                        <a:lnTo>
                          <a:pt x="143966" y="36609"/>
                        </a:lnTo>
                        <a:lnTo>
                          <a:pt x="140810" y="30270"/>
                        </a:lnTo>
                        <a:lnTo>
                          <a:pt x="141414" y="28266"/>
                        </a:lnTo>
                        <a:lnTo>
                          <a:pt x="156727" y="37267"/>
                        </a:lnTo>
                        <a:lnTo>
                          <a:pt x="165564" y="35841"/>
                        </a:lnTo>
                        <a:lnTo>
                          <a:pt x="165729" y="39189"/>
                        </a:lnTo>
                        <a:lnTo>
                          <a:pt x="163286" y="42509"/>
                        </a:lnTo>
                        <a:lnTo>
                          <a:pt x="168967" y="49397"/>
                        </a:lnTo>
                        <a:lnTo>
                          <a:pt x="174538" y="45912"/>
                        </a:lnTo>
                        <a:lnTo>
                          <a:pt x="183127" y="52197"/>
                        </a:lnTo>
                        <a:lnTo>
                          <a:pt x="190427" y="53020"/>
                        </a:lnTo>
                        <a:lnTo>
                          <a:pt x="191607" y="60320"/>
                        </a:lnTo>
                        <a:lnTo>
                          <a:pt x="197096" y="64491"/>
                        </a:lnTo>
                        <a:lnTo>
                          <a:pt x="198550" y="70913"/>
                        </a:lnTo>
                        <a:lnTo>
                          <a:pt x="190454" y="71818"/>
                        </a:lnTo>
                        <a:lnTo>
                          <a:pt x="185377" y="76347"/>
                        </a:lnTo>
                        <a:lnTo>
                          <a:pt x="183017" y="80051"/>
                        </a:lnTo>
                        <a:lnTo>
                          <a:pt x="178517" y="82356"/>
                        </a:lnTo>
                        <a:lnTo>
                          <a:pt x="175525" y="91989"/>
                        </a:lnTo>
                        <a:lnTo>
                          <a:pt x="163121" y="100716"/>
                        </a:lnTo>
                        <a:lnTo>
                          <a:pt x="155766" y="102554"/>
                        </a:lnTo>
                        <a:lnTo>
                          <a:pt x="149153" y="100716"/>
                        </a:lnTo>
                        <a:lnTo>
                          <a:pt x="142347" y="111281"/>
                        </a:lnTo>
                        <a:lnTo>
                          <a:pt x="140673" y="107137"/>
                        </a:lnTo>
                        <a:lnTo>
                          <a:pt x="131150" y="102884"/>
                        </a:lnTo>
                        <a:lnTo>
                          <a:pt x="123219" y="106067"/>
                        </a:lnTo>
                        <a:lnTo>
                          <a:pt x="107439" y="100771"/>
                        </a:lnTo>
                        <a:lnTo>
                          <a:pt x="101238" y="98273"/>
                        </a:lnTo>
                        <a:lnTo>
                          <a:pt x="85979" y="94075"/>
                        </a:lnTo>
                        <a:lnTo>
                          <a:pt x="83509" y="103487"/>
                        </a:lnTo>
                        <a:lnTo>
                          <a:pt x="78405" y="107055"/>
                        </a:lnTo>
                        <a:lnTo>
                          <a:pt x="76182" y="112681"/>
                        </a:lnTo>
                        <a:lnTo>
                          <a:pt x="70199" y="110650"/>
                        </a:lnTo>
                        <a:lnTo>
                          <a:pt x="65946" y="113641"/>
                        </a:lnTo>
                        <a:lnTo>
                          <a:pt x="59167" y="112269"/>
                        </a:lnTo>
                        <a:lnTo>
                          <a:pt x="51154" y="104338"/>
                        </a:lnTo>
                        <a:lnTo>
                          <a:pt x="42674" y="95557"/>
                        </a:lnTo>
                        <a:lnTo>
                          <a:pt x="38695" y="95008"/>
                        </a:lnTo>
                        <a:lnTo>
                          <a:pt x="37185" y="91083"/>
                        </a:lnTo>
                        <a:lnTo>
                          <a:pt x="31477" y="86308"/>
                        </a:lnTo>
                        <a:lnTo>
                          <a:pt x="25988" y="79585"/>
                        </a:lnTo>
                        <a:lnTo>
                          <a:pt x="20335" y="77993"/>
                        </a:lnTo>
                        <a:lnTo>
                          <a:pt x="15670" y="72614"/>
                        </a:lnTo>
                        <a:lnTo>
                          <a:pt x="15807" y="70666"/>
                        </a:lnTo>
                        <a:lnTo>
                          <a:pt x="14517" y="69650"/>
                        </a:lnTo>
                        <a:lnTo>
                          <a:pt x="8864" y="59826"/>
                        </a:lnTo>
                        <a:lnTo>
                          <a:pt x="13255" y="53130"/>
                        </a:lnTo>
                        <a:lnTo>
                          <a:pt x="4720" y="46132"/>
                        </a:lnTo>
                        <a:lnTo>
                          <a:pt x="1757" y="38722"/>
                        </a:lnTo>
                        <a:lnTo>
                          <a:pt x="0" y="34194"/>
                        </a:lnTo>
                        <a:lnTo>
                          <a:pt x="6504" y="39271"/>
                        </a:lnTo>
                        <a:lnTo>
                          <a:pt x="14215" y="30077"/>
                        </a:lnTo>
                        <a:lnTo>
                          <a:pt x="20994" y="28129"/>
                        </a:lnTo>
                        <a:lnTo>
                          <a:pt x="24918" y="30215"/>
                        </a:lnTo>
                        <a:lnTo>
                          <a:pt x="28102" y="25742"/>
                        </a:lnTo>
                        <a:lnTo>
                          <a:pt x="41192" y="19622"/>
                        </a:lnTo>
                        <a:lnTo>
                          <a:pt x="45583" y="15149"/>
                        </a:lnTo>
                        <a:lnTo>
                          <a:pt x="50824" y="15011"/>
                        </a:lnTo>
                        <a:lnTo>
                          <a:pt x="66522" y="7080"/>
                        </a:lnTo>
                        <a:lnTo>
                          <a:pt x="64107" y="2580"/>
                        </a:lnTo>
                        <a:lnTo>
                          <a:pt x="65177" y="0"/>
                        </a:lnTo>
                        <a:lnTo>
                          <a:pt x="70282" y="549"/>
                        </a:lnTo>
                        <a:lnTo>
                          <a:pt x="72944" y="3458"/>
                        </a:lnTo>
                        <a:lnTo>
                          <a:pt x="74014" y="922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43" name="Freeform: Shape 2942">
                    <a:extLst>
                      <a:ext uri="{FF2B5EF4-FFF2-40B4-BE49-F238E27FC236}">
                        <a16:creationId xmlns:a16="http://schemas.microsoft.com/office/drawing/2014/main" id="{8E235D5E-7EDA-CD21-2C04-B4678556CFEA}"/>
                      </a:ext>
                    </a:extLst>
                  </p:cNvPr>
                  <p:cNvSpPr/>
                  <p:nvPr/>
                </p:nvSpPr>
                <p:spPr>
                  <a:xfrm>
                    <a:off x="-5823899" y="3381825"/>
                    <a:ext cx="112268" cy="109853"/>
                  </a:xfrm>
                  <a:custGeom>
                    <a:avLst/>
                    <a:gdLst>
                      <a:gd name="connsiteX0" fmla="*/ 41247 w 112268"/>
                      <a:gd name="connsiteY0" fmla="*/ 3540 h 109853"/>
                      <a:gd name="connsiteX1" fmla="*/ 57164 w 112268"/>
                      <a:gd name="connsiteY1" fmla="*/ 5379 h 109853"/>
                      <a:gd name="connsiteX2" fmla="*/ 61582 w 112268"/>
                      <a:gd name="connsiteY2" fmla="*/ 7876 h 109853"/>
                      <a:gd name="connsiteX3" fmla="*/ 67043 w 112268"/>
                      <a:gd name="connsiteY3" fmla="*/ 4803 h 109853"/>
                      <a:gd name="connsiteX4" fmla="*/ 70940 w 112268"/>
                      <a:gd name="connsiteY4" fmla="*/ 6861 h 109853"/>
                      <a:gd name="connsiteX5" fmla="*/ 73986 w 112268"/>
                      <a:gd name="connsiteY5" fmla="*/ 5269 h 109853"/>
                      <a:gd name="connsiteX6" fmla="*/ 82082 w 112268"/>
                      <a:gd name="connsiteY6" fmla="*/ 6668 h 109853"/>
                      <a:gd name="connsiteX7" fmla="*/ 88613 w 112268"/>
                      <a:gd name="connsiteY7" fmla="*/ 9550 h 109853"/>
                      <a:gd name="connsiteX8" fmla="*/ 89958 w 112268"/>
                      <a:gd name="connsiteY8" fmla="*/ 15066 h 109853"/>
                      <a:gd name="connsiteX9" fmla="*/ 91824 w 112268"/>
                      <a:gd name="connsiteY9" fmla="*/ 16356 h 109853"/>
                      <a:gd name="connsiteX10" fmla="*/ 96572 w 112268"/>
                      <a:gd name="connsiteY10" fmla="*/ 16356 h 109853"/>
                      <a:gd name="connsiteX11" fmla="*/ 106259 w 112268"/>
                      <a:gd name="connsiteY11" fmla="*/ 14956 h 109853"/>
                      <a:gd name="connsiteX12" fmla="*/ 100469 w 112268"/>
                      <a:gd name="connsiteY12" fmla="*/ 30599 h 109853"/>
                      <a:gd name="connsiteX13" fmla="*/ 99947 w 112268"/>
                      <a:gd name="connsiteY13" fmla="*/ 36252 h 109853"/>
                      <a:gd name="connsiteX14" fmla="*/ 110540 w 112268"/>
                      <a:gd name="connsiteY14" fmla="*/ 47504 h 109853"/>
                      <a:gd name="connsiteX15" fmla="*/ 112269 w 112268"/>
                      <a:gd name="connsiteY15" fmla="*/ 51812 h 109853"/>
                      <a:gd name="connsiteX16" fmla="*/ 105052 w 112268"/>
                      <a:gd name="connsiteY16" fmla="*/ 54172 h 109853"/>
                      <a:gd name="connsiteX17" fmla="*/ 110211 w 112268"/>
                      <a:gd name="connsiteY17" fmla="*/ 62597 h 109853"/>
                      <a:gd name="connsiteX18" fmla="*/ 110568 w 112268"/>
                      <a:gd name="connsiteY18" fmla="*/ 66412 h 109853"/>
                      <a:gd name="connsiteX19" fmla="*/ 102527 w 112268"/>
                      <a:gd name="connsiteY19" fmla="*/ 70775 h 109853"/>
                      <a:gd name="connsiteX20" fmla="*/ 96353 w 112268"/>
                      <a:gd name="connsiteY20" fmla="*/ 70556 h 109853"/>
                      <a:gd name="connsiteX21" fmla="*/ 95502 w 112268"/>
                      <a:gd name="connsiteY21" fmla="*/ 71406 h 109853"/>
                      <a:gd name="connsiteX22" fmla="*/ 94761 w 112268"/>
                      <a:gd name="connsiteY22" fmla="*/ 73520 h 109853"/>
                      <a:gd name="connsiteX23" fmla="*/ 97807 w 112268"/>
                      <a:gd name="connsiteY23" fmla="*/ 79612 h 109853"/>
                      <a:gd name="connsiteX24" fmla="*/ 96298 w 112268"/>
                      <a:gd name="connsiteY24" fmla="*/ 81066 h 109853"/>
                      <a:gd name="connsiteX25" fmla="*/ 92730 w 112268"/>
                      <a:gd name="connsiteY25" fmla="*/ 78295 h 109853"/>
                      <a:gd name="connsiteX26" fmla="*/ 86967 w 112268"/>
                      <a:gd name="connsiteY26" fmla="*/ 82301 h 109853"/>
                      <a:gd name="connsiteX27" fmla="*/ 85567 w 112268"/>
                      <a:gd name="connsiteY27" fmla="*/ 89985 h 109853"/>
                      <a:gd name="connsiteX28" fmla="*/ 81341 w 112268"/>
                      <a:gd name="connsiteY28" fmla="*/ 92894 h 109853"/>
                      <a:gd name="connsiteX29" fmla="*/ 80326 w 112268"/>
                      <a:gd name="connsiteY29" fmla="*/ 99947 h 109853"/>
                      <a:gd name="connsiteX30" fmla="*/ 83235 w 112268"/>
                      <a:gd name="connsiteY30" fmla="*/ 105765 h 109853"/>
                      <a:gd name="connsiteX31" fmla="*/ 82274 w 112268"/>
                      <a:gd name="connsiteY31" fmla="*/ 106808 h 109853"/>
                      <a:gd name="connsiteX32" fmla="*/ 79447 w 112268"/>
                      <a:gd name="connsiteY32" fmla="*/ 109854 h 109853"/>
                      <a:gd name="connsiteX33" fmla="*/ 73136 w 112268"/>
                      <a:gd name="connsiteY33" fmla="*/ 107137 h 109853"/>
                      <a:gd name="connsiteX34" fmla="*/ 72779 w 112268"/>
                      <a:gd name="connsiteY34" fmla="*/ 106780 h 109853"/>
                      <a:gd name="connsiteX35" fmla="*/ 61637 w 112268"/>
                      <a:gd name="connsiteY35" fmla="*/ 96627 h 109853"/>
                      <a:gd name="connsiteX36" fmla="*/ 56231 w 112268"/>
                      <a:gd name="connsiteY36" fmla="*/ 96489 h 109853"/>
                      <a:gd name="connsiteX37" fmla="*/ 54090 w 112268"/>
                      <a:gd name="connsiteY37" fmla="*/ 95145 h 109853"/>
                      <a:gd name="connsiteX38" fmla="*/ 54227 w 112268"/>
                      <a:gd name="connsiteY38" fmla="*/ 94541 h 109853"/>
                      <a:gd name="connsiteX39" fmla="*/ 56478 w 112268"/>
                      <a:gd name="connsiteY39" fmla="*/ 91083 h 109853"/>
                      <a:gd name="connsiteX40" fmla="*/ 50413 w 112268"/>
                      <a:gd name="connsiteY40" fmla="*/ 84936 h 109853"/>
                      <a:gd name="connsiteX41" fmla="*/ 45720 w 112268"/>
                      <a:gd name="connsiteY41" fmla="*/ 78487 h 109853"/>
                      <a:gd name="connsiteX42" fmla="*/ 45528 w 112268"/>
                      <a:gd name="connsiteY42" fmla="*/ 73492 h 109853"/>
                      <a:gd name="connsiteX43" fmla="*/ 41933 w 112268"/>
                      <a:gd name="connsiteY43" fmla="*/ 71379 h 109853"/>
                      <a:gd name="connsiteX44" fmla="*/ 37624 w 112268"/>
                      <a:gd name="connsiteY44" fmla="*/ 68854 h 109853"/>
                      <a:gd name="connsiteX45" fmla="*/ 23711 w 112268"/>
                      <a:gd name="connsiteY45" fmla="*/ 52553 h 109853"/>
                      <a:gd name="connsiteX46" fmla="*/ 15423 w 112268"/>
                      <a:gd name="connsiteY46" fmla="*/ 44211 h 109853"/>
                      <a:gd name="connsiteX47" fmla="*/ 14024 w 112268"/>
                      <a:gd name="connsiteY47" fmla="*/ 42756 h 109853"/>
                      <a:gd name="connsiteX48" fmla="*/ 12788 w 112268"/>
                      <a:gd name="connsiteY48" fmla="*/ 42921 h 109853"/>
                      <a:gd name="connsiteX49" fmla="*/ 13639 w 112268"/>
                      <a:gd name="connsiteY49" fmla="*/ 37404 h 109853"/>
                      <a:gd name="connsiteX50" fmla="*/ 11608 w 112268"/>
                      <a:gd name="connsiteY50" fmla="*/ 32849 h 109853"/>
                      <a:gd name="connsiteX51" fmla="*/ 11553 w 112268"/>
                      <a:gd name="connsiteY51" fmla="*/ 31148 h 109853"/>
                      <a:gd name="connsiteX52" fmla="*/ 10483 w 112268"/>
                      <a:gd name="connsiteY52" fmla="*/ 29666 h 109853"/>
                      <a:gd name="connsiteX53" fmla="*/ 6092 w 112268"/>
                      <a:gd name="connsiteY53" fmla="*/ 22448 h 109853"/>
                      <a:gd name="connsiteX54" fmla="*/ 1400 w 112268"/>
                      <a:gd name="connsiteY54" fmla="*/ 19923 h 109853"/>
                      <a:gd name="connsiteX55" fmla="*/ 659 w 112268"/>
                      <a:gd name="connsiteY55" fmla="*/ 14984 h 109853"/>
                      <a:gd name="connsiteX56" fmla="*/ 0 w 112268"/>
                      <a:gd name="connsiteY56" fmla="*/ 12953 h 109853"/>
                      <a:gd name="connsiteX57" fmla="*/ 3046 w 112268"/>
                      <a:gd name="connsiteY57" fmla="*/ 933 h 109853"/>
                      <a:gd name="connsiteX58" fmla="*/ 8178 w 112268"/>
                      <a:gd name="connsiteY58" fmla="*/ 2140 h 109853"/>
                      <a:gd name="connsiteX59" fmla="*/ 16493 w 112268"/>
                      <a:gd name="connsiteY59" fmla="*/ 10154 h 109853"/>
                      <a:gd name="connsiteX60" fmla="*/ 24095 w 112268"/>
                      <a:gd name="connsiteY60" fmla="*/ 1070 h 109853"/>
                      <a:gd name="connsiteX61" fmla="*/ 31258 w 112268"/>
                      <a:gd name="connsiteY61" fmla="*/ 2085 h 109853"/>
                      <a:gd name="connsiteX62" fmla="*/ 35511 w 112268"/>
                      <a:gd name="connsiteY62" fmla="*/ 0 h 109853"/>
                      <a:gd name="connsiteX63" fmla="*/ 41302 w 112268"/>
                      <a:gd name="connsiteY63" fmla="*/ 3458 h 10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12268" h="109853">
                        <a:moveTo>
                          <a:pt x="41247" y="3540"/>
                        </a:moveTo>
                        <a:lnTo>
                          <a:pt x="57164" y="5379"/>
                        </a:lnTo>
                        <a:lnTo>
                          <a:pt x="61582" y="7876"/>
                        </a:lnTo>
                        <a:lnTo>
                          <a:pt x="67043" y="4803"/>
                        </a:lnTo>
                        <a:lnTo>
                          <a:pt x="70940" y="6861"/>
                        </a:lnTo>
                        <a:lnTo>
                          <a:pt x="73986" y="5269"/>
                        </a:lnTo>
                        <a:lnTo>
                          <a:pt x="82082" y="6668"/>
                        </a:lnTo>
                        <a:lnTo>
                          <a:pt x="88613" y="9550"/>
                        </a:lnTo>
                        <a:lnTo>
                          <a:pt x="89958" y="15066"/>
                        </a:lnTo>
                        <a:lnTo>
                          <a:pt x="91824" y="16356"/>
                        </a:lnTo>
                        <a:lnTo>
                          <a:pt x="96572" y="16356"/>
                        </a:lnTo>
                        <a:lnTo>
                          <a:pt x="106259" y="14956"/>
                        </a:lnTo>
                        <a:lnTo>
                          <a:pt x="100469" y="30599"/>
                        </a:lnTo>
                        <a:lnTo>
                          <a:pt x="99947" y="36252"/>
                        </a:lnTo>
                        <a:lnTo>
                          <a:pt x="110540" y="47504"/>
                        </a:lnTo>
                        <a:lnTo>
                          <a:pt x="112269" y="51812"/>
                        </a:lnTo>
                        <a:lnTo>
                          <a:pt x="105052" y="54172"/>
                        </a:lnTo>
                        <a:lnTo>
                          <a:pt x="110211" y="62597"/>
                        </a:lnTo>
                        <a:lnTo>
                          <a:pt x="110568" y="66412"/>
                        </a:lnTo>
                        <a:lnTo>
                          <a:pt x="102527" y="70775"/>
                        </a:lnTo>
                        <a:lnTo>
                          <a:pt x="96353" y="70556"/>
                        </a:lnTo>
                        <a:lnTo>
                          <a:pt x="95502" y="71406"/>
                        </a:lnTo>
                        <a:lnTo>
                          <a:pt x="94761" y="73520"/>
                        </a:lnTo>
                        <a:lnTo>
                          <a:pt x="97807" y="79612"/>
                        </a:lnTo>
                        <a:lnTo>
                          <a:pt x="96298" y="81066"/>
                        </a:lnTo>
                        <a:lnTo>
                          <a:pt x="92730" y="78295"/>
                        </a:lnTo>
                        <a:lnTo>
                          <a:pt x="86967" y="82301"/>
                        </a:lnTo>
                        <a:lnTo>
                          <a:pt x="85567" y="89985"/>
                        </a:lnTo>
                        <a:lnTo>
                          <a:pt x="81341" y="92894"/>
                        </a:lnTo>
                        <a:lnTo>
                          <a:pt x="80326" y="99947"/>
                        </a:lnTo>
                        <a:lnTo>
                          <a:pt x="83235" y="105765"/>
                        </a:lnTo>
                        <a:lnTo>
                          <a:pt x="82274" y="106808"/>
                        </a:lnTo>
                        <a:lnTo>
                          <a:pt x="79447" y="109854"/>
                        </a:lnTo>
                        <a:lnTo>
                          <a:pt x="73136" y="107137"/>
                        </a:lnTo>
                        <a:lnTo>
                          <a:pt x="72779" y="106780"/>
                        </a:lnTo>
                        <a:lnTo>
                          <a:pt x="61637" y="96627"/>
                        </a:lnTo>
                        <a:lnTo>
                          <a:pt x="56231" y="96489"/>
                        </a:lnTo>
                        <a:lnTo>
                          <a:pt x="54090" y="95145"/>
                        </a:lnTo>
                        <a:lnTo>
                          <a:pt x="54227" y="94541"/>
                        </a:lnTo>
                        <a:lnTo>
                          <a:pt x="56478" y="91083"/>
                        </a:lnTo>
                        <a:lnTo>
                          <a:pt x="50413" y="84936"/>
                        </a:lnTo>
                        <a:lnTo>
                          <a:pt x="45720" y="78487"/>
                        </a:lnTo>
                        <a:lnTo>
                          <a:pt x="45528" y="73492"/>
                        </a:lnTo>
                        <a:lnTo>
                          <a:pt x="41933" y="71379"/>
                        </a:lnTo>
                        <a:lnTo>
                          <a:pt x="37624" y="68854"/>
                        </a:lnTo>
                        <a:lnTo>
                          <a:pt x="23711" y="52553"/>
                        </a:lnTo>
                        <a:lnTo>
                          <a:pt x="15423" y="44211"/>
                        </a:lnTo>
                        <a:lnTo>
                          <a:pt x="14024" y="42756"/>
                        </a:lnTo>
                        <a:lnTo>
                          <a:pt x="12788" y="42921"/>
                        </a:lnTo>
                        <a:lnTo>
                          <a:pt x="13639" y="37404"/>
                        </a:lnTo>
                        <a:lnTo>
                          <a:pt x="11608" y="32849"/>
                        </a:lnTo>
                        <a:lnTo>
                          <a:pt x="11553" y="31148"/>
                        </a:lnTo>
                        <a:lnTo>
                          <a:pt x="10483" y="29666"/>
                        </a:lnTo>
                        <a:lnTo>
                          <a:pt x="6092" y="22448"/>
                        </a:lnTo>
                        <a:lnTo>
                          <a:pt x="1400" y="19923"/>
                        </a:lnTo>
                        <a:lnTo>
                          <a:pt x="659" y="14984"/>
                        </a:lnTo>
                        <a:lnTo>
                          <a:pt x="0" y="12953"/>
                        </a:lnTo>
                        <a:lnTo>
                          <a:pt x="3046" y="933"/>
                        </a:lnTo>
                        <a:lnTo>
                          <a:pt x="8178" y="2140"/>
                        </a:lnTo>
                        <a:lnTo>
                          <a:pt x="16493" y="10154"/>
                        </a:lnTo>
                        <a:lnTo>
                          <a:pt x="24095" y="1070"/>
                        </a:lnTo>
                        <a:lnTo>
                          <a:pt x="31258" y="2085"/>
                        </a:lnTo>
                        <a:lnTo>
                          <a:pt x="35511" y="0"/>
                        </a:lnTo>
                        <a:lnTo>
                          <a:pt x="41302" y="345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44" name="Freeform: Shape 2943">
                    <a:extLst>
                      <a:ext uri="{FF2B5EF4-FFF2-40B4-BE49-F238E27FC236}">
                        <a16:creationId xmlns:a16="http://schemas.microsoft.com/office/drawing/2014/main" id="{B3F5FE17-AFB0-445B-DA6C-36DAD68D9860}"/>
                      </a:ext>
                    </a:extLst>
                  </p:cNvPr>
                  <p:cNvSpPr/>
                  <p:nvPr/>
                </p:nvSpPr>
                <p:spPr>
                  <a:xfrm>
                    <a:off x="-6211860" y="3104404"/>
                    <a:ext cx="113504" cy="92784"/>
                  </a:xfrm>
                  <a:custGeom>
                    <a:avLst/>
                    <a:gdLst>
                      <a:gd name="connsiteX0" fmla="*/ 65068 w 113504"/>
                      <a:gd name="connsiteY0" fmla="*/ 0 h 92784"/>
                      <a:gd name="connsiteX1" fmla="*/ 68114 w 113504"/>
                      <a:gd name="connsiteY1" fmla="*/ 3238 h 92784"/>
                      <a:gd name="connsiteX2" fmla="*/ 73328 w 113504"/>
                      <a:gd name="connsiteY2" fmla="*/ 1674 h 92784"/>
                      <a:gd name="connsiteX3" fmla="*/ 75139 w 113504"/>
                      <a:gd name="connsiteY3" fmla="*/ 3458 h 92784"/>
                      <a:gd name="connsiteX4" fmla="*/ 75413 w 113504"/>
                      <a:gd name="connsiteY4" fmla="*/ 7272 h 92784"/>
                      <a:gd name="connsiteX5" fmla="*/ 79145 w 113504"/>
                      <a:gd name="connsiteY5" fmla="*/ 11361 h 92784"/>
                      <a:gd name="connsiteX6" fmla="*/ 86857 w 113504"/>
                      <a:gd name="connsiteY6" fmla="*/ 10236 h 92784"/>
                      <a:gd name="connsiteX7" fmla="*/ 88805 w 113504"/>
                      <a:gd name="connsiteY7" fmla="*/ 13283 h 92784"/>
                      <a:gd name="connsiteX8" fmla="*/ 95392 w 113504"/>
                      <a:gd name="connsiteY8" fmla="*/ 16054 h 92784"/>
                      <a:gd name="connsiteX9" fmla="*/ 95639 w 113504"/>
                      <a:gd name="connsiteY9" fmla="*/ 20829 h 92784"/>
                      <a:gd name="connsiteX10" fmla="*/ 94706 w 113504"/>
                      <a:gd name="connsiteY10" fmla="*/ 23217 h 92784"/>
                      <a:gd name="connsiteX11" fmla="*/ 91852 w 113504"/>
                      <a:gd name="connsiteY11" fmla="*/ 29529 h 92784"/>
                      <a:gd name="connsiteX12" fmla="*/ 92401 w 113504"/>
                      <a:gd name="connsiteY12" fmla="*/ 32410 h 92784"/>
                      <a:gd name="connsiteX13" fmla="*/ 92208 w 113504"/>
                      <a:gd name="connsiteY13" fmla="*/ 34962 h 92784"/>
                      <a:gd name="connsiteX14" fmla="*/ 94925 w 113504"/>
                      <a:gd name="connsiteY14" fmla="*/ 34167 h 92784"/>
                      <a:gd name="connsiteX15" fmla="*/ 98410 w 113504"/>
                      <a:gd name="connsiteY15" fmla="*/ 35072 h 92784"/>
                      <a:gd name="connsiteX16" fmla="*/ 102198 w 113504"/>
                      <a:gd name="connsiteY16" fmla="*/ 35072 h 92784"/>
                      <a:gd name="connsiteX17" fmla="*/ 107714 w 113504"/>
                      <a:gd name="connsiteY17" fmla="*/ 40698 h 92784"/>
                      <a:gd name="connsiteX18" fmla="*/ 107137 w 113504"/>
                      <a:gd name="connsiteY18" fmla="*/ 43826 h 92784"/>
                      <a:gd name="connsiteX19" fmla="*/ 107220 w 113504"/>
                      <a:gd name="connsiteY19" fmla="*/ 45885 h 92784"/>
                      <a:gd name="connsiteX20" fmla="*/ 110870 w 113504"/>
                      <a:gd name="connsiteY20" fmla="*/ 47010 h 92784"/>
                      <a:gd name="connsiteX21" fmla="*/ 113504 w 113504"/>
                      <a:gd name="connsiteY21" fmla="*/ 54996 h 92784"/>
                      <a:gd name="connsiteX22" fmla="*/ 112324 w 113504"/>
                      <a:gd name="connsiteY22" fmla="*/ 55435 h 92784"/>
                      <a:gd name="connsiteX23" fmla="*/ 107028 w 113504"/>
                      <a:gd name="connsiteY23" fmla="*/ 59634 h 92784"/>
                      <a:gd name="connsiteX24" fmla="*/ 105628 w 113504"/>
                      <a:gd name="connsiteY24" fmla="*/ 63915 h 92784"/>
                      <a:gd name="connsiteX25" fmla="*/ 102308 w 113504"/>
                      <a:gd name="connsiteY25" fmla="*/ 61500 h 92784"/>
                      <a:gd name="connsiteX26" fmla="*/ 98630 w 113504"/>
                      <a:gd name="connsiteY26" fmla="*/ 65150 h 92784"/>
                      <a:gd name="connsiteX27" fmla="*/ 94130 w 113504"/>
                      <a:gd name="connsiteY27" fmla="*/ 76566 h 92784"/>
                      <a:gd name="connsiteX28" fmla="*/ 98438 w 113504"/>
                      <a:gd name="connsiteY28" fmla="*/ 85183 h 92784"/>
                      <a:gd name="connsiteX29" fmla="*/ 96243 w 113504"/>
                      <a:gd name="connsiteY29" fmla="*/ 90562 h 92784"/>
                      <a:gd name="connsiteX30" fmla="*/ 93773 w 113504"/>
                      <a:gd name="connsiteY30" fmla="*/ 90562 h 92784"/>
                      <a:gd name="connsiteX31" fmla="*/ 86006 w 113504"/>
                      <a:gd name="connsiteY31" fmla="*/ 92785 h 92784"/>
                      <a:gd name="connsiteX32" fmla="*/ 83729 w 113504"/>
                      <a:gd name="connsiteY32" fmla="*/ 87324 h 92784"/>
                      <a:gd name="connsiteX33" fmla="*/ 76703 w 113504"/>
                      <a:gd name="connsiteY33" fmla="*/ 82768 h 92784"/>
                      <a:gd name="connsiteX34" fmla="*/ 71269 w 113504"/>
                      <a:gd name="connsiteY34" fmla="*/ 78926 h 92784"/>
                      <a:gd name="connsiteX35" fmla="*/ 68333 w 113504"/>
                      <a:gd name="connsiteY35" fmla="*/ 78569 h 92784"/>
                      <a:gd name="connsiteX36" fmla="*/ 66549 w 113504"/>
                      <a:gd name="connsiteY36" fmla="*/ 71160 h 92784"/>
                      <a:gd name="connsiteX37" fmla="*/ 67784 w 113504"/>
                      <a:gd name="connsiteY37" fmla="*/ 64052 h 92784"/>
                      <a:gd name="connsiteX38" fmla="*/ 66138 w 113504"/>
                      <a:gd name="connsiteY38" fmla="*/ 63064 h 92784"/>
                      <a:gd name="connsiteX39" fmla="*/ 62213 w 113504"/>
                      <a:gd name="connsiteY39" fmla="*/ 70144 h 92784"/>
                      <a:gd name="connsiteX40" fmla="*/ 55435 w 113504"/>
                      <a:gd name="connsiteY40" fmla="*/ 72559 h 92784"/>
                      <a:gd name="connsiteX41" fmla="*/ 49590 w 113504"/>
                      <a:gd name="connsiteY41" fmla="*/ 71818 h 92784"/>
                      <a:gd name="connsiteX42" fmla="*/ 46873 w 113504"/>
                      <a:gd name="connsiteY42" fmla="*/ 70858 h 92784"/>
                      <a:gd name="connsiteX43" fmla="*/ 48794 w 113504"/>
                      <a:gd name="connsiteY43" fmla="*/ 66247 h 92784"/>
                      <a:gd name="connsiteX44" fmla="*/ 48190 w 113504"/>
                      <a:gd name="connsiteY44" fmla="*/ 59030 h 92784"/>
                      <a:gd name="connsiteX45" fmla="*/ 43552 w 113504"/>
                      <a:gd name="connsiteY45" fmla="*/ 53459 h 92784"/>
                      <a:gd name="connsiteX46" fmla="*/ 34386 w 113504"/>
                      <a:gd name="connsiteY46" fmla="*/ 54913 h 92784"/>
                      <a:gd name="connsiteX47" fmla="*/ 33096 w 113504"/>
                      <a:gd name="connsiteY47" fmla="*/ 51703 h 92784"/>
                      <a:gd name="connsiteX48" fmla="*/ 32575 w 113504"/>
                      <a:gd name="connsiteY48" fmla="*/ 48684 h 92784"/>
                      <a:gd name="connsiteX49" fmla="*/ 31395 w 113504"/>
                      <a:gd name="connsiteY49" fmla="*/ 47367 h 92784"/>
                      <a:gd name="connsiteX50" fmla="*/ 29474 w 113504"/>
                      <a:gd name="connsiteY50" fmla="*/ 47065 h 92784"/>
                      <a:gd name="connsiteX51" fmla="*/ 22449 w 113504"/>
                      <a:gd name="connsiteY51" fmla="*/ 45885 h 92784"/>
                      <a:gd name="connsiteX52" fmla="*/ 20527 w 113504"/>
                      <a:gd name="connsiteY52" fmla="*/ 37048 h 92784"/>
                      <a:gd name="connsiteX53" fmla="*/ 18551 w 113504"/>
                      <a:gd name="connsiteY53" fmla="*/ 35045 h 92784"/>
                      <a:gd name="connsiteX54" fmla="*/ 16246 w 113504"/>
                      <a:gd name="connsiteY54" fmla="*/ 33974 h 92784"/>
                      <a:gd name="connsiteX55" fmla="*/ 13886 w 113504"/>
                      <a:gd name="connsiteY55" fmla="*/ 34249 h 92784"/>
                      <a:gd name="connsiteX56" fmla="*/ 9331 w 113504"/>
                      <a:gd name="connsiteY56" fmla="*/ 37295 h 92784"/>
                      <a:gd name="connsiteX57" fmla="*/ 2991 w 113504"/>
                      <a:gd name="connsiteY57" fmla="*/ 31861 h 92784"/>
                      <a:gd name="connsiteX58" fmla="*/ 1784 w 113504"/>
                      <a:gd name="connsiteY58" fmla="*/ 27745 h 92784"/>
                      <a:gd name="connsiteX59" fmla="*/ 933 w 113504"/>
                      <a:gd name="connsiteY59" fmla="*/ 23656 h 92784"/>
                      <a:gd name="connsiteX60" fmla="*/ 0 w 113504"/>
                      <a:gd name="connsiteY60" fmla="*/ 19484 h 92784"/>
                      <a:gd name="connsiteX61" fmla="*/ 5983 w 113504"/>
                      <a:gd name="connsiteY61" fmla="*/ 16082 h 92784"/>
                      <a:gd name="connsiteX62" fmla="*/ 16603 w 113504"/>
                      <a:gd name="connsiteY62" fmla="*/ 9029 h 92784"/>
                      <a:gd name="connsiteX63" fmla="*/ 24122 w 113504"/>
                      <a:gd name="connsiteY63" fmla="*/ 6312 h 92784"/>
                      <a:gd name="connsiteX64" fmla="*/ 24562 w 113504"/>
                      <a:gd name="connsiteY64" fmla="*/ 10813 h 92784"/>
                      <a:gd name="connsiteX65" fmla="*/ 29529 w 113504"/>
                      <a:gd name="connsiteY65" fmla="*/ 10044 h 92784"/>
                      <a:gd name="connsiteX66" fmla="*/ 35429 w 113504"/>
                      <a:gd name="connsiteY66" fmla="*/ 11169 h 92784"/>
                      <a:gd name="connsiteX67" fmla="*/ 38530 w 113504"/>
                      <a:gd name="connsiteY67" fmla="*/ 13776 h 92784"/>
                      <a:gd name="connsiteX68" fmla="*/ 42097 w 113504"/>
                      <a:gd name="connsiteY68" fmla="*/ 13145 h 92784"/>
                      <a:gd name="connsiteX69" fmla="*/ 49672 w 113504"/>
                      <a:gd name="connsiteY69" fmla="*/ 7355 h 92784"/>
                      <a:gd name="connsiteX70" fmla="*/ 49891 w 113504"/>
                      <a:gd name="connsiteY70" fmla="*/ 7081 h 92784"/>
                      <a:gd name="connsiteX71" fmla="*/ 49891 w 113504"/>
                      <a:gd name="connsiteY71" fmla="*/ 6092 h 92784"/>
                      <a:gd name="connsiteX72" fmla="*/ 50989 w 113504"/>
                      <a:gd name="connsiteY72" fmla="*/ 6038 h 92784"/>
                      <a:gd name="connsiteX73" fmla="*/ 54255 w 113504"/>
                      <a:gd name="connsiteY73" fmla="*/ 6504 h 92784"/>
                      <a:gd name="connsiteX74" fmla="*/ 54804 w 113504"/>
                      <a:gd name="connsiteY74" fmla="*/ 2717 h 92784"/>
                      <a:gd name="connsiteX75" fmla="*/ 57164 w 113504"/>
                      <a:gd name="connsiteY75" fmla="*/ 1619 h 92784"/>
                      <a:gd name="connsiteX76" fmla="*/ 62460 w 113504"/>
                      <a:gd name="connsiteY76" fmla="*/ 3678 h 92784"/>
                      <a:gd name="connsiteX77" fmla="*/ 65122 w 113504"/>
                      <a:gd name="connsiteY77" fmla="*/ 82 h 9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13504" h="92784">
                        <a:moveTo>
                          <a:pt x="65068" y="0"/>
                        </a:moveTo>
                        <a:lnTo>
                          <a:pt x="68114" y="3238"/>
                        </a:lnTo>
                        <a:lnTo>
                          <a:pt x="73328" y="1674"/>
                        </a:lnTo>
                        <a:lnTo>
                          <a:pt x="75139" y="3458"/>
                        </a:lnTo>
                        <a:lnTo>
                          <a:pt x="75413" y="7272"/>
                        </a:lnTo>
                        <a:lnTo>
                          <a:pt x="79145" y="11361"/>
                        </a:lnTo>
                        <a:lnTo>
                          <a:pt x="86857" y="10236"/>
                        </a:lnTo>
                        <a:lnTo>
                          <a:pt x="88805" y="13283"/>
                        </a:lnTo>
                        <a:lnTo>
                          <a:pt x="95392" y="16054"/>
                        </a:lnTo>
                        <a:lnTo>
                          <a:pt x="95639" y="20829"/>
                        </a:lnTo>
                        <a:lnTo>
                          <a:pt x="94706" y="23217"/>
                        </a:lnTo>
                        <a:lnTo>
                          <a:pt x="91852" y="29529"/>
                        </a:lnTo>
                        <a:lnTo>
                          <a:pt x="92401" y="32410"/>
                        </a:lnTo>
                        <a:lnTo>
                          <a:pt x="92208" y="34962"/>
                        </a:lnTo>
                        <a:lnTo>
                          <a:pt x="94925" y="34167"/>
                        </a:lnTo>
                        <a:lnTo>
                          <a:pt x="98410" y="35072"/>
                        </a:lnTo>
                        <a:lnTo>
                          <a:pt x="102198" y="35072"/>
                        </a:lnTo>
                        <a:cubicBezTo>
                          <a:pt x="102198" y="35072"/>
                          <a:pt x="107714" y="40698"/>
                          <a:pt x="107714" y="40698"/>
                        </a:cubicBezTo>
                        <a:lnTo>
                          <a:pt x="107137" y="43826"/>
                        </a:lnTo>
                        <a:lnTo>
                          <a:pt x="107220" y="45885"/>
                        </a:lnTo>
                        <a:lnTo>
                          <a:pt x="110870" y="47010"/>
                        </a:lnTo>
                        <a:lnTo>
                          <a:pt x="113504" y="54996"/>
                        </a:lnTo>
                        <a:lnTo>
                          <a:pt x="112324" y="55435"/>
                        </a:lnTo>
                        <a:lnTo>
                          <a:pt x="107028" y="59634"/>
                        </a:lnTo>
                        <a:lnTo>
                          <a:pt x="105628" y="63915"/>
                        </a:lnTo>
                        <a:lnTo>
                          <a:pt x="102308" y="61500"/>
                        </a:lnTo>
                        <a:lnTo>
                          <a:pt x="98630" y="65150"/>
                        </a:lnTo>
                        <a:lnTo>
                          <a:pt x="94130" y="76566"/>
                        </a:lnTo>
                        <a:lnTo>
                          <a:pt x="98438" y="85183"/>
                        </a:lnTo>
                        <a:lnTo>
                          <a:pt x="96243" y="90562"/>
                        </a:lnTo>
                        <a:lnTo>
                          <a:pt x="93773" y="90562"/>
                        </a:lnTo>
                        <a:cubicBezTo>
                          <a:pt x="93773" y="90562"/>
                          <a:pt x="86006" y="92785"/>
                          <a:pt x="86006" y="92785"/>
                        </a:cubicBezTo>
                        <a:lnTo>
                          <a:pt x="83729" y="87324"/>
                        </a:lnTo>
                        <a:lnTo>
                          <a:pt x="76703" y="82768"/>
                        </a:lnTo>
                        <a:lnTo>
                          <a:pt x="71269" y="78926"/>
                        </a:lnTo>
                        <a:lnTo>
                          <a:pt x="68333" y="78569"/>
                        </a:lnTo>
                        <a:lnTo>
                          <a:pt x="66549" y="71160"/>
                        </a:lnTo>
                        <a:lnTo>
                          <a:pt x="67784" y="64052"/>
                        </a:lnTo>
                        <a:lnTo>
                          <a:pt x="66138" y="63064"/>
                        </a:lnTo>
                        <a:lnTo>
                          <a:pt x="62213" y="70144"/>
                        </a:lnTo>
                        <a:lnTo>
                          <a:pt x="55435" y="72559"/>
                        </a:lnTo>
                        <a:lnTo>
                          <a:pt x="49590" y="71818"/>
                        </a:lnTo>
                        <a:lnTo>
                          <a:pt x="46873" y="70858"/>
                        </a:lnTo>
                        <a:lnTo>
                          <a:pt x="48794" y="66247"/>
                        </a:lnTo>
                        <a:lnTo>
                          <a:pt x="48190" y="59030"/>
                        </a:lnTo>
                        <a:lnTo>
                          <a:pt x="43552" y="53459"/>
                        </a:lnTo>
                        <a:lnTo>
                          <a:pt x="34386" y="54913"/>
                        </a:lnTo>
                        <a:lnTo>
                          <a:pt x="33096" y="51703"/>
                        </a:lnTo>
                        <a:lnTo>
                          <a:pt x="32575" y="48684"/>
                        </a:lnTo>
                        <a:lnTo>
                          <a:pt x="31395" y="47367"/>
                        </a:lnTo>
                        <a:lnTo>
                          <a:pt x="29474" y="47065"/>
                        </a:lnTo>
                        <a:lnTo>
                          <a:pt x="22449" y="45885"/>
                        </a:lnTo>
                        <a:lnTo>
                          <a:pt x="20527" y="37048"/>
                        </a:lnTo>
                        <a:lnTo>
                          <a:pt x="18551" y="35045"/>
                        </a:lnTo>
                        <a:lnTo>
                          <a:pt x="16246" y="33974"/>
                        </a:lnTo>
                        <a:lnTo>
                          <a:pt x="13886" y="34249"/>
                        </a:lnTo>
                        <a:lnTo>
                          <a:pt x="9331" y="37295"/>
                        </a:lnTo>
                        <a:lnTo>
                          <a:pt x="2991" y="31861"/>
                        </a:lnTo>
                        <a:lnTo>
                          <a:pt x="1784" y="27745"/>
                        </a:lnTo>
                        <a:lnTo>
                          <a:pt x="933" y="23656"/>
                        </a:lnTo>
                        <a:lnTo>
                          <a:pt x="0" y="19484"/>
                        </a:lnTo>
                        <a:lnTo>
                          <a:pt x="5983" y="16082"/>
                        </a:lnTo>
                        <a:lnTo>
                          <a:pt x="16603" y="9029"/>
                        </a:lnTo>
                        <a:lnTo>
                          <a:pt x="24122" y="6312"/>
                        </a:lnTo>
                        <a:lnTo>
                          <a:pt x="24562" y="10813"/>
                        </a:lnTo>
                        <a:lnTo>
                          <a:pt x="29529" y="10044"/>
                        </a:lnTo>
                        <a:lnTo>
                          <a:pt x="35429" y="11169"/>
                        </a:lnTo>
                        <a:lnTo>
                          <a:pt x="38530" y="13776"/>
                        </a:lnTo>
                        <a:lnTo>
                          <a:pt x="42097" y="13145"/>
                        </a:lnTo>
                        <a:lnTo>
                          <a:pt x="49672" y="7355"/>
                        </a:lnTo>
                        <a:lnTo>
                          <a:pt x="49891" y="7081"/>
                        </a:lnTo>
                        <a:lnTo>
                          <a:pt x="49891" y="6092"/>
                        </a:lnTo>
                        <a:cubicBezTo>
                          <a:pt x="49891" y="6092"/>
                          <a:pt x="50989" y="6038"/>
                          <a:pt x="50989" y="6038"/>
                        </a:cubicBezTo>
                        <a:lnTo>
                          <a:pt x="54255" y="6504"/>
                        </a:lnTo>
                        <a:lnTo>
                          <a:pt x="54804" y="2717"/>
                        </a:lnTo>
                        <a:lnTo>
                          <a:pt x="57164" y="1619"/>
                        </a:lnTo>
                        <a:lnTo>
                          <a:pt x="62460" y="3678"/>
                        </a:lnTo>
                        <a:lnTo>
                          <a:pt x="65122" y="8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45" name="Freeform: Shape 2944">
                    <a:extLst>
                      <a:ext uri="{FF2B5EF4-FFF2-40B4-BE49-F238E27FC236}">
                        <a16:creationId xmlns:a16="http://schemas.microsoft.com/office/drawing/2014/main" id="{FB13054A-280C-2D26-4010-EBED682969A5}"/>
                      </a:ext>
                    </a:extLst>
                  </p:cNvPr>
                  <p:cNvSpPr/>
                  <p:nvPr/>
                </p:nvSpPr>
                <p:spPr>
                  <a:xfrm>
                    <a:off x="-5629136" y="3424526"/>
                    <a:ext cx="183017" cy="118224"/>
                  </a:xfrm>
                  <a:custGeom>
                    <a:avLst/>
                    <a:gdLst>
                      <a:gd name="connsiteX0" fmla="*/ 14627 w 183017"/>
                      <a:gd name="connsiteY0" fmla="*/ 13941 h 118224"/>
                      <a:gd name="connsiteX1" fmla="*/ 18744 w 183017"/>
                      <a:gd name="connsiteY1" fmla="*/ 16740 h 118224"/>
                      <a:gd name="connsiteX2" fmla="*/ 30846 w 183017"/>
                      <a:gd name="connsiteY2" fmla="*/ 15011 h 118224"/>
                      <a:gd name="connsiteX3" fmla="*/ 37378 w 183017"/>
                      <a:gd name="connsiteY3" fmla="*/ 17399 h 118224"/>
                      <a:gd name="connsiteX4" fmla="*/ 51511 w 183017"/>
                      <a:gd name="connsiteY4" fmla="*/ 21104 h 118224"/>
                      <a:gd name="connsiteX5" fmla="*/ 57740 w 183017"/>
                      <a:gd name="connsiteY5" fmla="*/ 21213 h 118224"/>
                      <a:gd name="connsiteX6" fmla="*/ 62350 w 183017"/>
                      <a:gd name="connsiteY6" fmla="*/ 19018 h 118224"/>
                      <a:gd name="connsiteX7" fmla="*/ 67483 w 183017"/>
                      <a:gd name="connsiteY7" fmla="*/ 20171 h 118224"/>
                      <a:gd name="connsiteX8" fmla="*/ 86363 w 183017"/>
                      <a:gd name="connsiteY8" fmla="*/ 22942 h 118224"/>
                      <a:gd name="connsiteX9" fmla="*/ 93663 w 183017"/>
                      <a:gd name="connsiteY9" fmla="*/ 23464 h 118224"/>
                      <a:gd name="connsiteX10" fmla="*/ 97423 w 183017"/>
                      <a:gd name="connsiteY10" fmla="*/ 21625 h 118224"/>
                      <a:gd name="connsiteX11" fmla="*/ 103982 w 183017"/>
                      <a:gd name="connsiteY11" fmla="*/ 16960 h 118224"/>
                      <a:gd name="connsiteX12" fmla="*/ 110568 w 183017"/>
                      <a:gd name="connsiteY12" fmla="*/ 10264 h 118224"/>
                      <a:gd name="connsiteX13" fmla="*/ 117593 w 183017"/>
                      <a:gd name="connsiteY13" fmla="*/ 7382 h 118224"/>
                      <a:gd name="connsiteX14" fmla="*/ 118280 w 183017"/>
                      <a:gd name="connsiteY14" fmla="*/ 7327 h 118224"/>
                      <a:gd name="connsiteX15" fmla="*/ 134965 w 183017"/>
                      <a:gd name="connsiteY15" fmla="*/ 3238 h 118224"/>
                      <a:gd name="connsiteX16" fmla="*/ 144433 w 183017"/>
                      <a:gd name="connsiteY16" fmla="*/ 3732 h 118224"/>
                      <a:gd name="connsiteX17" fmla="*/ 148055 w 183017"/>
                      <a:gd name="connsiteY17" fmla="*/ 8013 h 118224"/>
                      <a:gd name="connsiteX18" fmla="*/ 156919 w 183017"/>
                      <a:gd name="connsiteY18" fmla="*/ 9441 h 118224"/>
                      <a:gd name="connsiteX19" fmla="*/ 163533 w 183017"/>
                      <a:gd name="connsiteY19" fmla="*/ 9358 h 118224"/>
                      <a:gd name="connsiteX20" fmla="*/ 166250 w 183017"/>
                      <a:gd name="connsiteY20" fmla="*/ 15286 h 118224"/>
                      <a:gd name="connsiteX21" fmla="*/ 172424 w 183017"/>
                      <a:gd name="connsiteY21" fmla="*/ 18469 h 118224"/>
                      <a:gd name="connsiteX22" fmla="*/ 182908 w 183017"/>
                      <a:gd name="connsiteY22" fmla="*/ 19567 h 118224"/>
                      <a:gd name="connsiteX23" fmla="*/ 183017 w 183017"/>
                      <a:gd name="connsiteY23" fmla="*/ 28760 h 118224"/>
                      <a:gd name="connsiteX24" fmla="*/ 180383 w 183017"/>
                      <a:gd name="connsiteY24" fmla="*/ 33343 h 118224"/>
                      <a:gd name="connsiteX25" fmla="*/ 171519 w 183017"/>
                      <a:gd name="connsiteY25" fmla="*/ 33014 h 118224"/>
                      <a:gd name="connsiteX26" fmla="*/ 167622 w 183017"/>
                      <a:gd name="connsiteY26" fmla="*/ 36664 h 118224"/>
                      <a:gd name="connsiteX27" fmla="*/ 164137 w 183017"/>
                      <a:gd name="connsiteY27" fmla="*/ 41960 h 118224"/>
                      <a:gd name="connsiteX28" fmla="*/ 162408 w 183017"/>
                      <a:gd name="connsiteY28" fmla="*/ 55929 h 118224"/>
                      <a:gd name="connsiteX29" fmla="*/ 161859 w 183017"/>
                      <a:gd name="connsiteY29" fmla="*/ 60539 h 118224"/>
                      <a:gd name="connsiteX30" fmla="*/ 157551 w 183017"/>
                      <a:gd name="connsiteY30" fmla="*/ 62652 h 118224"/>
                      <a:gd name="connsiteX31" fmla="*/ 156315 w 183017"/>
                      <a:gd name="connsiteY31" fmla="*/ 64162 h 118224"/>
                      <a:gd name="connsiteX32" fmla="*/ 151705 w 183017"/>
                      <a:gd name="connsiteY32" fmla="*/ 69842 h 118224"/>
                      <a:gd name="connsiteX33" fmla="*/ 156919 w 183017"/>
                      <a:gd name="connsiteY33" fmla="*/ 73410 h 118224"/>
                      <a:gd name="connsiteX34" fmla="*/ 166908 w 183017"/>
                      <a:gd name="connsiteY34" fmla="*/ 89986 h 118224"/>
                      <a:gd name="connsiteX35" fmla="*/ 164850 w 183017"/>
                      <a:gd name="connsiteY35" fmla="*/ 90123 h 118224"/>
                      <a:gd name="connsiteX36" fmla="*/ 152885 w 183017"/>
                      <a:gd name="connsiteY36" fmla="*/ 91522 h 118224"/>
                      <a:gd name="connsiteX37" fmla="*/ 150168 w 183017"/>
                      <a:gd name="connsiteY37" fmla="*/ 89931 h 118224"/>
                      <a:gd name="connsiteX38" fmla="*/ 148000 w 183017"/>
                      <a:gd name="connsiteY38" fmla="*/ 88641 h 118224"/>
                      <a:gd name="connsiteX39" fmla="*/ 144597 w 183017"/>
                      <a:gd name="connsiteY39" fmla="*/ 85732 h 118224"/>
                      <a:gd name="connsiteX40" fmla="*/ 138231 w 183017"/>
                      <a:gd name="connsiteY40" fmla="*/ 85814 h 118224"/>
                      <a:gd name="connsiteX41" fmla="*/ 135953 w 183017"/>
                      <a:gd name="connsiteY41" fmla="*/ 88641 h 118224"/>
                      <a:gd name="connsiteX42" fmla="*/ 134992 w 183017"/>
                      <a:gd name="connsiteY42" fmla="*/ 89300 h 118224"/>
                      <a:gd name="connsiteX43" fmla="*/ 132632 w 183017"/>
                      <a:gd name="connsiteY43" fmla="*/ 89903 h 118224"/>
                      <a:gd name="connsiteX44" fmla="*/ 123576 w 183017"/>
                      <a:gd name="connsiteY44" fmla="*/ 92208 h 118224"/>
                      <a:gd name="connsiteX45" fmla="*/ 122807 w 183017"/>
                      <a:gd name="connsiteY45" fmla="*/ 95694 h 118224"/>
                      <a:gd name="connsiteX46" fmla="*/ 117840 w 183017"/>
                      <a:gd name="connsiteY46" fmla="*/ 97258 h 118224"/>
                      <a:gd name="connsiteX47" fmla="*/ 117593 w 183017"/>
                      <a:gd name="connsiteY47" fmla="*/ 100688 h 118224"/>
                      <a:gd name="connsiteX48" fmla="*/ 109690 w 183017"/>
                      <a:gd name="connsiteY48" fmla="*/ 100825 h 118224"/>
                      <a:gd name="connsiteX49" fmla="*/ 110293 w 183017"/>
                      <a:gd name="connsiteY49" fmla="*/ 102390 h 118224"/>
                      <a:gd name="connsiteX50" fmla="*/ 110952 w 183017"/>
                      <a:gd name="connsiteY50" fmla="*/ 104228 h 118224"/>
                      <a:gd name="connsiteX51" fmla="*/ 112160 w 183017"/>
                      <a:gd name="connsiteY51" fmla="*/ 107467 h 118224"/>
                      <a:gd name="connsiteX52" fmla="*/ 111913 w 183017"/>
                      <a:gd name="connsiteY52" fmla="*/ 111940 h 118224"/>
                      <a:gd name="connsiteX53" fmla="*/ 110266 w 183017"/>
                      <a:gd name="connsiteY53" fmla="*/ 114602 h 118224"/>
                      <a:gd name="connsiteX54" fmla="*/ 105546 w 183017"/>
                      <a:gd name="connsiteY54" fmla="*/ 116029 h 118224"/>
                      <a:gd name="connsiteX55" fmla="*/ 104283 w 183017"/>
                      <a:gd name="connsiteY55" fmla="*/ 116550 h 118224"/>
                      <a:gd name="connsiteX56" fmla="*/ 84222 w 183017"/>
                      <a:gd name="connsiteY56" fmla="*/ 118224 h 118224"/>
                      <a:gd name="connsiteX57" fmla="*/ 82905 w 183017"/>
                      <a:gd name="connsiteY57" fmla="*/ 116441 h 118224"/>
                      <a:gd name="connsiteX58" fmla="*/ 74755 w 183017"/>
                      <a:gd name="connsiteY58" fmla="*/ 113614 h 118224"/>
                      <a:gd name="connsiteX59" fmla="*/ 71269 w 183017"/>
                      <a:gd name="connsiteY59" fmla="*/ 114465 h 118224"/>
                      <a:gd name="connsiteX60" fmla="*/ 63421 w 183017"/>
                      <a:gd name="connsiteY60" fmla="*/ 107028 h 118224"/>
                      <a:gd name="connsiteX61" fmla="*/ 49974 w 183017"/>
                      <a:gd name="connsiteY61" fmla="*/ 108098 h 118224"/>
                      <a:gd name="connsiteX62" fmla="*/ 49068 w 183017"/>
                      <a:gd name="connsiteY62" fmla="*/ 110677 h 118224"/>
                      <a:gd name="connsiteX63" fmla="*/ 37185 w 183017"/>
                      <a:gd name="connsiteY63" fmla="*/ 113833 h 118224"/>
                      <a:gd name="connsiteX64" fmla="*/ 16686 w 183017"/>
                      <a:gd name="connsiteY64" fmla="*/ 115315 h 118224"/>
                      <a:gd name="connsiteX65" fmla="*/ 17893 w 183017"/>
                      <a:gd name="connsiteY65" fmla="*/ 108208 h 118224"/>
                      <a:gd name="connsiteX66" fmla="*/ 18524 w 183017"/>
                      <a:gd name="connsiteY66" fmla="*/ 104201 h 118224"/>
                      <a:gd name="connsiteX67" fmla="*/ 18606 w 183017"/>
                      <a:gd name="connsiteY67" fmla="*/ 102362 h 118224"/>
                      <a:gd name="connsiteX68" fmla="*/ 18744 w 183017"/>
                      <a:gd name="connsiteY68" fmla="*/ 99508 h 118224"/>
                      <a:gd name="connsiteX69" fmla="*/ 15423 w 183017"/>
                      <a:gd name="connsiteY69" fmla="*/ 89876 h 118224"/>
                      <a:gd name="connsiteX70" fmla="*/ 14902 w 183017"/>
                      <a:gd name="connsiteY70" fmla="*/ 88394 h 118224"/>
                      <a:gd name="connsiteX71" fmla="*/ 4419 w 183017"/>
                      <a:gd name="connsiteY71" fmla="*/ 83097 h 118224"/>
                      <a:gd name="connsiteX72" fmla="*/ 2607 w 183017"/>
                      <a:gd name="connsiteY72" fmla="*/ 80545 h 118224"/>
                      <a:gd name="connsiteX73" fmla="*/ 0 w 183017"/>
                      <a:gd name="connsiteY73" fmla="*/ 76895 h 118224"/>
                      <a:gd name="connsiteX74" fmla="*/ 3348 w 183017"/>
                      <a:gd name="connsiteY74" fmla="*/ 73355 h 118224"/>
                      <a:gd name="connsiteX75" fmla="*/ 4940 w 183017"/>
                      <a:gd name="connsiteY75" fmla="*/ 71681 h 118224"/>
                      <a:gd name="connsiteX76" fmla="*/ 3129 w 183017"/>
                      <a:gd name="connsiteY76" fmla="*/ 64079 h 118224"/>
                      <a:gd name="connsiteX77" fmla="*/ 2992 w 183017"/>
                      <a:gd name="connsiteY77" fmla="*/ 63448 h 118224"/>
                      <a:gd name="connsiteX78" fmla="*/ 2415 w 183017"/>
                      <a:gd name="connsiteY78" fmla="*/ 56368 h 118224"/>
                      <a:gd name="connsiteX79" fmla="*/ 4556 w 183017"/>
                      <a:gd name="connsiteY79" fmla="*/ 54639 h 118224"/>
                      <a:gd name="connsiteX80" fmla="*/ 11389 w 183017"/>
                      <a:gd name="connsiteY80" fmla="*/ 53788 h 118224"/>
                      <a:gd name="connsiteX81" fmla="*/ 18991 w 183017"/>
                      <a:gd name="connsiteY81" fmla="*/ 41604 h 118224"/>
                      <a:gd name="connsiteX82" fmla="*/ 11362 w 183017"/>
                      <a:gd name="connsiteY82" fmla="*/ 33755 h 118224"/>
                      <a:gd name="connsiteX83" fmla="*/ 9001 w 183017"/>
                      <a:gd name="connsiteY83" fmla="*/ 33124 h 118224"/>
                      <a:gd name="connsiteX84" fmla="*/ 4665 w 183017"/>
                      <a:gd name="connsiteY84" fmla="*/ 28705 h 118224"/>
                      <a:gd name="connsiteX85" fmla="*/ 330 w 183017"/>
                      <a:gd name="connsiteY85" fmla="*/ 17454 h 118224"/>
                      <a:gd name="connsiteX86" fmla="*/ 1729 w 183017"/>
                      <a:gd name="connsiteY86" fmla="*/ 9468 h 118224"/>
                      <a:gd name="connsiteX87" fmla="*/ 5187 w 183017"/>
                      <a:gd name="connsiteY87" fmla="*/ 6971 h 118224"/>
                      <a:gd name="connsiteX88" fmla="*/ 7464 w 183017"/>
                      <a:gd name="connsiteY88" fmla="*/ 5544 h 118224"/>
                      <a:gd name="connsiteX89" fmla="*/ 9276 w 183017"/>
                      <a:gd name="connsiteY89" fmla="*/ 0 h 118224"/>
                      <a:gd name="connsiteX90" fmla="*/ 17838 w 183017"/>
                      <a:gd name="connsiteY90" fmla="*/ 4830 h 118224"/>
                      <a:gd name="connsiteX91" fmla="*/ 19512 w 183017"/>
                      <a:gd name="connsiteY91" fmla="*/ 7135 h 118224"/>
                      <a:gd name="connsiteX92" fmla="*/ 15752 w 183017"/>
                      <a:gd name="connsiteY92" fmla="*/ 9852 h 118224"/>
                      <a:gd name="connsiteX93" fmla="*/ 14655 w 183017"/>
                      <a:gd name="connsiteY93" fmla="*/ 13913 h 11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83017" h="118224">
                        <a:moveTo>
                          <a:pt x="14627" y="13941"/>
                        </a:moveTo>
                        <a:lnTo>
                          <a:pt x="18744" y="16740"/>
                        </a:lnTo>
                        <a:lnTo>
                          <a:pt x="30846" y="15011"/>
                        </a:lnTo>
                        <a:lnTo>
                          <a:pt x="37378" y="17399"/>
                        </a:lnTo>
                        <a:lnTo>
                          <a:pt x="51511" y="21104"/>
                        </a:lnTo>
                        <a:lnTo>
                          <a:pt x="57740" y="21213"/>
                        </a:lnTo>
                        <a:lnTo>
                          <a:pt x="62350" y="19018"/>
                        </a:lnTo>
                        <a:lnTo>
                          <a:pt x="67483" y="20171"/>
                        </a:lnTo>
                        <a:lnTo>
                          <a:pt x="86363" y="22942"/>
                        </a:lnTo>
                        <a:lnTo>
                          <a:pt x="93663" y="23464"/>
                        </a:lnTo>
                        <a:lnTo>
                          <a:pt x="97423" y="21625"/>
                        </a:lnTo>
                        <a:lnTo>
                          <a:pt x="103982" y="16960"/>
                        </a:lnTo>
                        <a:lnTo>
                          <a:pt x="110568" y="10264"/>
                        </a:lnTo>
                        <a:lnTo>
                          <a:pt x="117593" y="7382"/>
                        </a:lnTo>
                        <a:lnTo>
                          <a:pt x="118280" y="7327"/>
                        </a:lnTo>
                        <a:lnTo>
                          <a:pt x="134965" y="3238"/>
                        </a:lnTo>
                        <a:lnTo>
                          <a:pt x="144433" y="3732"/>
                        </a:lnTo>
                        <a:lnTo>
                          <a:pt x="148055" y="8013"/>
                        </a:lnTo>
                        <a:lnTo>
                          <a:pt x="156919" y="9441"/>
                        </a:lnTo>
                        <a:lnTo>
                          <a:pt x="163533" y="9358"/>
                        </a:lnTo>
                        <a:lnTo>
                          <a:pt x="166250" y="15286"/>
                        </a:lnTo>
                        <a:lnTo>
                          <a:pt x="172424" y="18469"/>
                        </a:lnTo>
                        <a:lnTo>
                          <a:pt x="182908" y="19567"/>
                        </a:lnTo>
                        <a:lnTo>
                          <a:pt x="183017" y="28760"/>
                        </a:lnTo>
                        <a:lnTo>
                          <a:pt x="180383" y="33343"/>
                        </a:lnTo>
                        <a:lnTo>
                          <a:pt x="171519" y="33014"/>
                        </a:lnTo>
                        <a:lnTo>
                          <a:pt x="167622" y="36664"/>
                        </a:lnTo>
                        <a:lnTo>
                          <a:pt x="164137" y="41960"/>
                        </a:lnTo>
                        <a:lnTo>
                          <a:pt x="162408" y="55929"/>
                        </a:lnTo>
                        <a:lnTo>
                          <a:pt x="161859" y="60539"/>
                        </a:lnTo>
                        <a:lnTo>
                          <a:pt x="157551" y="62652"/>
                        </a:lnTo>
                        <a:lnTo>
                          <a:pt x="156315" y="64162"/>
                        </a:lnTo>
                        <a:lnTo>
                          <a:pt x="151705" y="69842"/>
                        </a:lnTo>
                        <a:lnTo>
                          <a:pt x="156919" y="73410"/>
                        </a:lnTo>
                        <a:lnTo>
                          <a:pt x="166908" y="89986"/>
                        </a:lnTo>
                        <a:lnTo>
                          <a:pt x="164850" y="90123"/>
                        </a:lnTo>
                        <a:lnTo>
                          <a:pt x="152885" y="91522"/>
                        </a:lnTo>
                        <a:lnTo>
                          <a:pt x="150168" y="89931"/>
                        </a:lnTo>
                        <a:lnTo>
                          <a:pt x="148000" y="88641"/>
                        </a:lnTo>
                        <a:lnTo>
                          <a:pt x="144597" y="85732"/>
                        </a:lnTo>
                        <a:lnTo>
                          <a:pt x="138231" y="85814"/>
                        </a:lnTo>
                        <a:lnTo>
                          <a:pt x="135953" y="88641"/>
                        </a:lnTo>
                        <a:lnTo>
                          <a:pt x="134992" y="89300"/>
                        </a:lnTo>
                        <a:lnTo>
                          <a:pt x="132632" y="89903"/>
                        </a:lnTo>
                        <a:lnTo>
                          <a:pt x="123576" y="92208"/>
                        </a:lnTo>
                        <a:lnTo>
                          <a:pt x="122807" y="95694"/>
                        </a:lnTo>
                        <a:lnTo>
                          <a:pt x="117840" y="97258"/>
                        </a:lnTo>
                        <a:lnTo>
                          <a:pt x="117593" y="100688"/>
                        </a:lnTo>
                        <a:lnTo>
                          <a:pt x="109690" y="100825"/>
                        </a:lnTo>
                        <a:lnTo>
                          <a:pt x="110293" y="102390"/>
                        </a:lnTo>
                        <a:lnTo>
                          <a:pt x="110952" y="104228"/>
                        </a:lnTo>
                        <a:lnTo>
                          <a:pt x="112160" y="107467"/>
                        </a:lnTo>
                        <a:lnTo>
                          <a:pt x="111913" y="111940"/>
                        </a:lnTo>
                        <a:lnTo>
                          <a:pt x="110266" y="114602"/>
                        </a:lnTo>
                        <a:lnTo>
                          <a:pt x="105546" y="116029"/>
                        </a:lnTo>
                        <a:lnTo>
                          <a:pt x="104283" y="116550"/>
                        </a:lnTo>
                        <a:lnTo>
                          <a:pt x="84222" y="118224"/>
                        </a:lnTo>
                        <a:lnTo>
                          <a:pt x="82905" y="116441"/>
                        </a:lnTo>
                        <a:lnTo>
                          <a:pt x="74755" y="113614"/>
                        </a:lnTo>
                        <a:lnTo>
                          <a:pt x="71269" y="114465"/>
                        </a:lnTo>
                        <a:lnTo>
                          <a:pt x="63421" y="107028"/>
                        </a:lnTo>
                        <a:lnTo>
                          <a:pt x="49974" y="108098"/>
                        </a:lnTo>
                        <a:lnTo>
                          <a:pt x="49068" y="110677"/>
                        </a:lnTo>
                        <a:lnTo>
                          <a:pt x="37185" y="113833"/>
                        </a:lnTo>
                        <a:lnTo>
                          <a:pt x="16686" y="115315"/>
                        </a:lnTo>
                        <a:lnTo>
                          <a:pt x="17893" y="108208"/>
                        </a:lnTo>
                        <a:lnTo>
                          <a:pt x="18524" y="104201"/>
                        </a:lnTo>
                        <a:lnTo>
                          <a:pt x="18606" y="102362"/>
                        </a:lnTo>
                        <a:lnTo>
                          <a:pt x="18744" y="99508"/>
                        </a:lnTo>
                        <a:lnTo>
                          <a:pt x="15423" y="89876"/>
                        </a:lnTo>
                        <a:lnTo>
                          <a:pt x="14902" y="88394"/>
                        </a:lnTo>
                        <a:lnTo>
                          <a:pt x="4419" y="83097"/>
                        </a:lnTo>
                        <a:lnTo>
                          <a:pt x="2607" y="80545"/>
                        </a:lnTo>
                        <a:lnTo>
                          <a:pt x="0" y="76895"/>
                        </a:lnTo>
                        <a:lnTo>
                          <a:pt x="3348" y="73355"/>
                        </a:lnTo>
                        <a:lnTo>
                          <a:pt x="4940" y="71681"/>
                        </a:lnTo>
                        <a:lnTo>
                          <a:pt x="3129" y="64079"/>
                        </a:lnTo>
                        <a:lnTo>
                          <a:pt x="2992" y="63448"/>
                        </a:lnTo>
                        <a:lnTo>
                          <a:pt x="2415" y="56368"/>
                        </a:lnTo>
                        <a:lnTo>
                          <a:pt x="4556" y="54639"/>
                        </a:lnTo>
                        <a:lnTo>
                          <a:pt x="11389" y="53788"/>
                        </a:lnTo>
                        <a:lnTo>
                          <a:pt x="18991" y="41604"/>
                        </a:lnTo>
                        <a:lnTo>
                          <a:pt x="11362" y="33755"/>
                        </a:lnTo>
                        <a:lnTo>
                          <a:pt x="9001" y="33124"/>
                        </a:lnTo>
                        <a:lnTo>
                          <a:pt x="4665" y="28705"/>
                        </a:lnTo>
                        <a:lnTo>
                          <a:pt x="330" y="17454"/>
                        </a:lnTo>
                        <a:lnTo>
                          <a:pt x="1729" y="9468"/>
                        </a:lnTo>
                        <a:lnTo>
                          <a:pt x="5187" y="6971"/>
                        </a:lnTo>
                        <a:lnTo>
                          <a:pt x="7464" y="5544"/>
                        </a:lnTo>
                        <a:lnTo>
                          <a:pt x="9276" y="0"/>
                        </a:lnTo>
                        <a:lnTo>
                          <a:pt x="17838" y="4830"/>
                        </a:lnTo>
                        <a:lnTo>
                          <a:pt x="19512" y="7135"/>
                        </a:lnTo>
                        <a:lnTo>
                          <a:pt x="15752" y="9852"/>
                        </a:lnTo>
                        <a:lnTo>
                          <a:pt x="14655" y="1391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46" name="Freeform: Shape 2945">
                    <a:extLst>
                      <a:ext uri="{FF2B5EF4-FFF2-40B4-BE49-F238E27FC236}">
                        <a16:creationId xmlns:a16="http://schemas.microsoft.com/office/drawing/2014/main" id="{B7E4A05A-181A-CD24-8EBC-8379F97EC1FA}"/>
                      </a:ext>
                    </a:extLst>
                  </p:cNvPr>
                  <p:cNvSpPr/>
                  <p:nvPr/>
                </p:nvSpPr>
                <p:spPr>
                  <a:xfrm>
                    <a:off x="-6111666" y="3272684"/>
                    <a:ext cx="132851" cy="84743"/>
                  </a:xfrm>
                  <a:custGeom>
                    <a:avLst/>
                    <a:gdLst>
                      <a:gd name="connsiteX0" fmla="*/ 79886 w 132851"/>
                      <a:gd name="connsiteY0" fmla="*/ 5077 h 84743"/>
                      <a:gd name="connsiteX1" fmla="*/ 83564 w 132851"/>
                      <a:gd name="connsiteY1" fmla="*/ 5489 h 84743"/>
                      <a:gd name="connsiteX2" fmla="*/ 84909 w 132851"/>
                      <a:gd name="connsiteY2" fmla="*/ 4308 h 84743"/>
                      <a:gd name="connsiteX3" fmla="*/ 85869 w 132851"/>
                      <a:gd name="connsiteY3" fmla="*/ 5845 h 84743"/>
                      <a:gd name="connsiteX4" fmla="*/ 94953 w 132851"/>
                      <a:gd name="connsiteY4" fmla="*/ 6367 h 84743"/>
                      <a:gd name="connsiteX5" fmla="*/ 100304 w 132851"/>
                      <a:gd name="connsiteY5" fmla="*/ 7574 h 84743"/>
                      <a:gd name="connsiteX6" fmla="*/ 104173 w 132851"/>
                      <a:gd name="connsiteY6" fmla="*/ 10895 h 84743"/>
                      <a:gd name="connsiteX7" fmla="*/ 106012 w 132851"/>
                      <a:gd name="connsiteY7" fmla="*/ 11334 h 84743"/>
                      <a:gd name="connsiteX8" fmla="*/ 109031 w 132851"/>
                      <a:gd name="connsiteY8" fmla="*/ 17371 h 84743"/>
                      <a:gd name="connsiteX9" fmla="*/ 105189 w 132851"/>
                      <a:gd name="connsiteY9" fmla="*/ 23107 h 84743"/>
                      <a:gd name="connsiteX10" fmla="*/ 103597 w 132851"/>
                      <a:gd name="connsiteY10" fmla="*/ 32575 h 84743"/>
                      <a:gd name="connsiteX11" fmla="*/ 107439 w 132851"/>
                      <a:gd name="connsiteY11" fmla="*/ 32163 h 84743"/>
                      <a:gd name="connsiteX12" fmla="*/ 114465 w 132851"/>
                      <a:gd name="connsiteY12" fmla="*/ 34166 h 84743"/>
                      <a:gd name="connsiteX13" fmla="*/ 116358 w 132851"/>
                      <a:gd name="connsiteY13" fmla="*/ 37789 h 84743"/>
                      <a:gd name="connsiteX14" fmla="*/ 123219 w 132851"/>
                      <a:gd name="connsiteY14" fmla="*/ 41192 h 84743"/>
                      <a:gd name="connsiteX15" fmla="*/ 130574 w 132851"/>
                      <a:gd name="connsiteY15" fmla="*/ 35484 h 84743"/>
                      <a:gd name="connsiteX16" fmla="*/ 132852 w 132851"/>
                      <a:gd name="connsiteY16" fmla="*/ 37569 h 84743"/>
                      <a:gd name="connsiteX17" fmla="*/ 132769 w 132851"/>
                      <a:gd name="connsiteY17" fmla="*/ 41027 h 84743"/>
                      <a:gd name="connsiteX18" fmla="*/ 130683 w 132851"/>
                      <a:gd name="connsiteY18" fmla="*/ 48519 h 84743"/>
                      <a:gd name="connsiteX19" fmla="*/ 132742 w 132851"/>
                      <a:gd name="connsiteY19" fmla="*/ 51949 h 84743"/>
                      <a:gd name="connsiteX20" fmla="*/ 132275 w 132851"/>
                      <a:gd name="connsiteY20" fmla="*/ 54941 h 84743"/>
                      <a:gd name="connsiteX21" fmla="*/ 125387 w 132851"/>
                      <a:gd name="connsiteY21" fmla="*/ 51071 h 84743"/>
                      <a:gd name="connsiteX22" fmla="*/ 122121 w 132851"/>
                      <a:gd name="connsiteY22" fmla="*/ 52773 h 84743"/>
                      <a:gd name="connsiteX23" fmla="*/ 120475 w 132851"/>
                      <a:gd name="connsiteY23" fmla="*/ 57658 h 84743"/>
                      <a:gd name="connsiteX24" fmla="*/ 122780 w 132851"/>
                      <a:gd name="connsiteY24" fmla="*/ 60512 h 84743"/>
                      <a:gd name="connsiteX25" fmla="*/ 123521 w 132851"/>
                      <a:gd name="connsiteY25" fmla="*/ 66000 h 84743"/>
                      <a:gd name="connsiteX26" fmla="*/ 121710 w 132851"/>
                      <a:gd name="connsiteY26" fmla="*/ 67345 h 84743"/>
                      <a:gd name="connsiteX27" fmla="*/ 116331 w 132851"/>
                      <a:gd name="connsiteY27" fmla="*/ 61829 h 84743"/>
                      <a:gd name="connsiteX28" fmla="*/ 106177 w 132851"/>
                      <a:gd name="connsiteY28" fmla="*/ 64573 h 84743"/>
                      <a:gd name="connsiteX29" fmla="*/ 102390 w 132851"/>
                      <a:gd name="connsiteY29" fmla="*/ 57164 h 84743"/>
                      <a:gd name="connsiteX30" fmla="*/ 98850 w 132851"/>
                      <a:gd name="connsiteY30" fmla="*/ 56450 h 84743"/>
                      <a:gd name="connsiteX31" fmla="*/ 97258 w 132851"/>
                      <a:gd name="connsiteY31" fmla="*/ 58289 h 84743"/>
                      <a:gd name="connsiteX32" fmla="*/ 96791 w 132851"/>
                      <a:gd name="connsiteY32" fmla="*/ 67620 h 84743"/>
                      <a:gd name="connsiteX33" fmla="*/ 94184 w 132851"/>
                      <a:gd name="connsiteY33" fmla="*/ 70364 h 84743"/>
                      <a:gd name="connsiteX34" fmla="*/ 90342 w 132851"/>
                      <a:gd name="connsiteY34" fmla="*/ 76676 h 84743"/>
                      <a:gd name="connsiteX35" fmla="*/ 90617 w 132851"/>
                      <a:gd name="connsiteY35" fmla="*/ 83042 h 84743"/>
                      <a:gd name="connsiteX36" fmla="*/ 86912 w 132851"/>
                      <a:gd name="connsiteY36" fmla="*/ 84744 h 84743"/>
                      <a:gd name="connsiteX37" fmla="*/ 84470 w 132851"/>
                      <a:gd name="connsiteY37" fmla="*/ 74755 h 84743"/>
                      <a:gd name="connsiteX38" fmla="*/ 81067 w 132851"/>
                      <a:gd name="connsiteY38" fmla="*/ 73437 h 84743"/>
                      <a:gd name="connsiteX39" fmla="*/ 73712 w 132851"/>
                      <a:gd name="connsiteY39" fmla="*/ 66879 h 84743"/>
                      <a:gd name="connsiteX40" fmla="*/ 73547 w 132851"/>
                      <a:gd name="connsiteY40" fmla="*/ 59743 h 84743"/>
                      <a:gd name="connsiteX41" fmla="*/ 71407 w 132851"/>
                      <a:gd name="connsiteY41" fmla="*/ 58344 h 84743"/>
                      <a:gd name="connsiteX42" fmla="*/ 63311 w 132851"/>
                      <a:gd name="connsiteY42" fmla="*/ 66357 h 84743"/>
                      <a:gd name="connsiteX43" fmla="*/ 64107 w 132851"/>
                      <a:gd name="connsiteY43" fmla="*/ 71022 h 84743"/>
                      <a:gd name="connsiteX44" fmla="*/ 56478 w 132851"/>
                      <a:gd name="connsiteY44" fmla="*/ 80627 h 84743"/>
                      <a:gd name="connsiteX45" fmla="*/ 56066 w 132851"/>
                      <a:gd name="connsiteY45" fmla="*/ 81066 h 84743"/>
                      <a:gd name="connsiteX46" fmla="*/ 47806 w 132851"/>
                      <a:gd name="connsiteY46" fmla="*/ 78899 h 84743"/>
                      <a:gd name="connsiteX47" fmla="*/ 35182 w 132851"/>
                      <a:gd name="connsiteY47" fmla="*/ 83344 h 84743"/>
                      <a:gd name="connsiteX48" fmla="*/ 31999 w 132851"/>
                      <a:gd name="connsiteY48" fmla="*/ 80819 h 84743"/>
                      <a:gd name="connsiteX49" fmla="*/ 25275 w 132851"/>
                      <a:gd name="connsiteY49" fmla="*/ 70858 h 84743"/>
                      <a:gd name="connsiteX50" fmla="*/ 25385 w 132851"/>
                      <a:gd name="connsiteY50" fmla="*/ 59359 h 84743"/>
                      <a:gd name="connsiteX51" fmla="*/ 15999 w 132851"/>
                      <a:gd name="connsiteY51" fmla="*/ 58426 h 84743"/>
                      <a:gd name="connsiteX52" fmla="*/ 7712 w 132851"/>
                      <a:gd name="connsiteY52" fmla="*/ 64299 h 84743"/>
                      <a:gd name="connsiteX53" fmla="*/ 8150 w 132851"/>
                      <a:gd name="connsiteY53" fmla="*/ 69156 h 84743"/>
                      <a:gd name="connsiteX54" fmla="*/ 0 w 132851"/>
                      <a:gd name="connsiteY54" fmla="*/ 71928 h 84743"/>
                      <a:gd name="connsiteX55" fmla="*/ 4967 w 132851"/>
                      <a:gd name="connsiteY55" fmla="*/ 64052 h 84743"/>
                      <a:gd name="connsiteX56" fmla="*/ 5489 w 132851"/>
                      <a:gd name="connsiteY56" fmla="*/ 61747 h 84743"/>
                      <a:gd name="connsiteX57" fmla="*/ 3183 w 132851"/>
                      <a:gd name="connsiteY57" fmla="*/ 59853 h 84743"/>
                      <a:gd name="connsiteX58" fmla="*/ 5352 w 132851"/>
                      <a:gd name="connsiteY58" fmla="*/ 53816 h 84743"/>
                      <a:gd name="connsiteX59" fmla="*/ 13337 w 132851"/>
                      <a:gd name="connsiteY59" fmla="*/ 45418 h 84743"/>
                      <a:gd name="connsiteX60" fmla="*/ 14819 w 132851"/>
                      <a:gd name="connsiteY60" fmla="*/ 41192 h 84743"/>
                      <a:gd name="connsiteX61" fmla="*/ 14929 w 132851"/>
                      <a:gd name="connsiteY61" fmla="*/ 37624 h 84743"/>
                      <a:gd name="connsiteX62" fmla="*/ 26565 w 132851"/>
                      <a:gd name="connsiteY62" fmla="*/ 27662 h 84743"/>
                      <a:gd name="connsiteX63" fmla="*/ 31395 w 132851"/>
                      <a:gd name="connsiteY63" fmla="*/ 20445 h 84743"/>
                      <a:gd name="connsiteX64" fmla="*/ 28870 w 132851"/>
                      <a:gd name="connsiteY64" fmla="*/ 18579 h 84743"/>
                      <a:gd name="connsiteX65" fmla="*/ 28925 w 132851"/>
                      <a:gd name="connsiteY65" fmla="*/ 16027 h 84743"/>
                      <a:gd name="connsiteX66" fmla="*/ 34523 w 132851"/>
                      <a:gd name="connsiteY66" fmla="*/ 13008 h 84743"/>
                      <a:gd name="connsiteX67" fmla="*/ 37267 w 132851"/>
                      <a:gd name="connsiteY67" fmla="*/ 16164 h 84743"/>
                      <a:gd name="connsiteX68" fmla="*/ 41905 w 132851"/>
                      <a:gd name="connsiteY68" fmla="*/ 16082 h 84743"/>
                      <a:gd name="connsiteX69" fmla="*/ 45720 w 132851"/>
                      <a:gd name="connsiteY69" fmla="*/ 13035 h 84743"/>
                      <a:gd name="connsiteX70" fmla="*/ 47037 w 132851"/>
                      <a:gd name="connsiteY70" fmla="*/ 10319 h 84743"/>
                      <a:gd name="connsiteX71" fmla="*/ 48025 w 132851"/>
                      <a:gd name="connsiteY71" fmla="*/ 9221 h 84743"/>
                      <a:gd name="connsiteX72" fmla="*/ 49342 w 132851"/>
                      <a:gd name="connsiteY72" fmla="*/ 10483 h 84743"/>
                      <a:gd name="connsiteX73" fmla="*/ 51702 w 132851"/>
                      <a:gd name="connsiteY73" fmla="*/ 11416 h 84743"/>
                      <a:gd name="connsiteX74" fmla="*/ 56999 w 132851"/>
                      <a:gd name="connsiteY74" fmla="*/ 9385 h 84743"/>
                      <a:gd name="connsiteX75" fmla="*/ 72641 w 132851"/>
                      <a:gd name="connsiteY75" fmla="*/ 10181 h 84743"/>
                      <a:gd name="connsiteX76" fmla="*/ 77993 w 132851"/>
                      <a:gd name="connsiteY76" fmla="*/ 5845 h 84743"/>
                      <a:gd name="connsiteX77" fmla="*/ 74782 w 132851"/>
                      <a:gd name="connsiteY77" fmla="*/ 6696 h 84743"/>
                      <a:gd name="connsiteX78" fmla="*/ 72614 w 132851"/>
                      <a:gd name="connsiteY78" fmla="*/ 5900 h 84743"/>
                      <a:gd name="connsiteX79" fmla="*/ 75139 w 132851"/>
                      <a:gd name="connsiteY79" fmla="*/ 1097 h 84743"/>
                      <a:gd name="connsiteX80" fmla="*/ 78212 w 132851"/>
                      <a:gd name="connsiteY80" fmla="*/ 0 h 84743"/>
                      <a:gd name="connsiteX81" fmla="*/ 80436 w 132851"/>
                      <a:gd name="connsiteY81" fmla="*/ 2579 h 84743"/>
                      <a:gd name="connsiteX82" fmla="*/ 79667 w 132851"/>
                      <a:gd name="connsiteY82" fmla="*/ 5049 h 84743"/>
                      <a:gd name="connsiteX83" fmla="*/ 79886 w 132851"/>
                      <a:gd name="connsiteY83" fmla="*/ 5104 h 84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2851" h="84743">
                        <a:moveTo>
                          <a:pt x="79886" y="5077"/>
                        </a:moveTo>
                        <a:lnTo>
                          <a:pt x="83564" y="5489"/>
                        </a:lnTo>
                        <a:lnTo>
                          <a:pt x="84909" y="4308"/>
                        </a:lnTo>
                        <a:lnTo>
                          <a:pt x="85869" y="5845"/>
                        </a:lnTo>
                        <a:lnTo>
                          <a:pt x="94953" y="6367"/>
                        </a:lnTo>
                        <a:lnTo>
                          <a:pt x="100304" y="7574"/>
                        </a:lnTo>
                        <a:lnTo>
                          <a:pt x="104173" y="10895"/>
                        </a:lnTo>
                        <a:lnTo>
                          <a:pt x="106012" y="11334"/>
                        </a:lnTo>
                        <a:lnTo>
                          <a:pt x="109031" y="17371"/>
                        </a:lnTo>
                        <a:lnTo>
                          <a:pt x="105189" y="23107"/>
                        </a:lnTo>
                        <a:lnTo>
                          <a:pt x="103597" y="32575"/>
                        </a:lnTo>
                        <a:lnTo>
                          <a:pt x="107439" y="32163"/>
                        </a:lnTo>
                        <a:lnTo>
                          <a:pt x="114465" y="34166"/>
                        </a:lnTo>
                        <a:lnTo>
                          <a:pt x="116358" y="37789"/>
                        </a:lnTo>
                        <a:lnTo>
                          <a:pt x="123219" y="41192"/>
                        </a:lnTo>
                        <a:lnTo>
                          <a:pt x="130574" y="35484"/>
                        </a:lnTo>
                        <a:lnTo>
                          <a:pt x="132852" y="37569"/>
                        </a:lnTo>
                        <a:lnTo>
                          <a:pt x="132769" y="41027"/>
                        </a:lnTo>
                        <a:lnTo>
                          <a:pt x="130683" y="48519"/>
                        </a:lnTo>
                        <a:lnTo>
                          <a:pt x="132742" y="51949"/>
                        </a:lnTo>
                        <a:lnTo>
                          <a:pt x="132275" y="54941"/>
                        </a:lnTo>
                        <a:lnTo>
                          <a:pt x="125387" y="51071"/>
                        </a:lnTo>
                        <a:lnTo>
                          <a:pt x="122121" y="52773"/>
                        </a:lnTo>
                        <a:lnTo>
                          <a:pt x="120475" y="57658"/>
                        </a:lnTo>
                        <a:lnTo>
                          <a:pt x="122780" y="60512"/>
                        </a:lnTo>
                        <a:lnTo>
                          <a:pt x="123521" y="66000"/>
                        </a:lnTo>
                        <a:lnTo>
                          <a:pt x="121710" y="67345"/>
                        </a:lnTo>
                        <a:lnTo>
                          <a:pt x="116331" y="61829"/>
                        </a:lnTo>
                        <a:lnTo>
                          <a:pt x="106177" y="64573"/>
                        </a:lnTo>
                        <a:lnTo>
                          <a:pt x="102390" y="57164"/>
                        </a:lnTo>
                        <a:lnTo>
                          <a:pt x="98850" y="56450"/>
                        </a:lnTo>
                        <a:lnTo>
                          <a:pt x="97258" y="58289"/>
                        </a:lnTo>
                        <a:lnTo>
                          <a:pt x="96791" y="67620"/>
                        </a:lnTo>
                        <a:lnTo>
                          <a:pt x="94184" y="70364"/>
                        </a:lnTo>
                        <a:lnTo>
                          <a:pt x="90342" y="76676"/>
                        </a:lnTo>
                        <a:lnTo>
                          <a:pt x="90617" y="83042"/>
                        </a:lnTo>
                        <a:lnTo>
                          <a:pt x="86912" y="84744"/>
                        </a:lnTo>
                        <a:lnTo>
                          <a:pt x="84470" y="74755"/>
                        </a:lnTo>
                        <a:lnTo>
                          <a:pt x="81067" y="73437"/>
                        </a:lnTo>
                        <a:lnTo>
                          <a:pt x="73712" y="66879"/>
                        </a:lnTo>
                        <a:lnTo>
                          <a:pt x="73547" y="59743"/>
                        </a:lnTo>
                        <a:lnTo>
                          <a:pt x="71407" y="58344"/>
                        </a:lnTo>
                        <a:lnTo>
                          <a:pt x="63311" y="66357"/>
                        </a:lnTo>
                        <a:lnTo>
                          <a:pt x="64107" y="71022"/>
                        </a:lnTo>
                        <a:lnTo>
                          <a:pt x="56478" y="80627"/>
                        </a:lnTo>
                        <a:lnTo>
                          <a:pt x="56066" y="81066"/>
                        </a:lnTo>
                        <a:lnTo>
                          <a:pt x="47806" y="78899"/>
                        </a:lnTo>
                        <a:lnTo>
                          <a:pt x="35182" y="83344"/>
                        </a:lnTo>
                        <a:lnTo>
                          <a:pt x="31999" y="80819"/>
                        </a:lnTo>
                        <a:lnTo>
                          <a:pt x="25275" y="70858"/>
                        </a:lnTo>
                        <a:lnTo>
                          <a:pt x="25385" y="59359"/>
                        </a:lnTo>
                        <a:lnTo>
                          <a:pt x="15999" y="58426"/>
                        </a:lnTo>
                        <a:lnTo>
                          <a:pt x="7712" y="64299"/>
                        </a:lnTo>
                        <a:lnTo>
                          <a:pt x="8150" y="69156"/>
                        </a:lnTo>
                        <a:lnTo>
                          <a:pt x="0" y="71928"/>
                        </a:lnTo>
                        <a:lnTo>
                          <a:pt x="4967" y="64052"/>
                        </a:lnTo>
                        <a:lnTo>
                          <a:pt x="5489" y="61747"/>
                        </a:lnTo>
                        <a:lnTo>
                          <a:pt x="3183" y="59853"/>
                        </a:lnTo>
                        <a:lnTo>
                          <a:pt x="5352" y="53816"/>
                        </a:lnTo>
                        <a:lnTo>
                          <a:pt x="13337" y="45418"/>
                        </a:lnTo>
                        <a:lnTo>
                          <a:pt x="14819" y="41192"/>
                        </a:lnTo>
                        <a:lnTo>
                          <a:pt x="14929" y="37624"/>
                        </a:lnTo>
                        <a:lnTo>
                          <a:pt x="26565" y="27662"/>
                        </a:lnTo>
                        <a:lnTo>
                          <a:pt x="31395" y="20445"/>
                        </a:lnTo>
                        <a:lnTo>
                          <a:pt x="28870" y="18579"/>
                        </a:lnTo>
                        <a:lnTo>
                          <a:pt x="28925" y="16027"/>
                        </a:lnTo>
                        <a:lnTo>
                          <a:pt x="34523" y="13008"/>
                        </a:lnTo>
                        <a:lnTo>
                          <a:pt x="37267" y="16164"/>
                        </a:lnTo>
                        <a:lnTo>
                          <a:pt x="41905" y="16082"/>
                        </a:lnTo>
                        <a:lnTo>
                          <a:pt x="45720" y="13035"/>
                        </a:lnTo>
                        <a:lnTo>
                          <a:pt x="47037" y="10319"/>
                        </a:lnTo>
                        <a:lnTo>
                          <a:pt x="48025" y="9221"/>
                        </a:lnTo>
                        <a:lnTo>
                          <a:pt x="49342" y="10483"/>
                        </a:lnTo>
                        <a:lnTo>
                          <a:pt x="51702" y="11416"/>
                        </a:lnTo>
                        <a:lnTo>
                          <a:pt x="56999" y="9385"/>
                        </a:lnTo>
                        <a:lnTo>
                          <a:pt x="72641" y="10181"/>
                        </a:lnTo>
                        <a:lnTo>
                          <a:pt x="77993" y="5845"/>
                        </a:lnTo>
                        <a:lnTo>
                          <a:pt x="74782" y="6696"/>
                        </a:lnTo>
                        <a:lnTo>
                          <a:pt x="72614" y="5900"/>
                        </a:lnTo>
                        <a:lnTo>
                          <a:pt x="75139" y="1097"/>
                        </a:lnTo>
                        <a:lnTo>
                          <a:pt x="78212" y="0"/>
                        </a:lnTo>
                        <a:lnTo>
                          <a:pt x="80436" y="2579"/>
                        </a:lnTo>
                        <a:lnTo>
                          <a:pt x="79667" y="5049"/>
                        </a:lnTo>
                        <a:lnTo>
                          <a:pt x="79886" y="510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47" name="Freeform: Shape 2946">
                    <a:extLst>
                      <a:ext uri="{FF2B5EF4-FFF2-40B4-BE49-F238E27FC236}">
                        <a16:creationId xmlns:a16="http://schemas.microsoft.com/office/drawing/2014/main" id="{25D77BFF-C30D-8D56-1FE1-30433DEDA8BF}"/>
                      </a:ext>
                    </a:extLst>
                  </p:cNvPr>
                  <p:cNvSpPr/>
                  <p:nvPr/>
                </p:nvSpPr>
                <p:spPr>
                  <a:xfrm>
                    <a:off x="-6113834" y="2936727"/>
                    <a:ext cx="268941" cy="358981"/>
                  </a:xfrm>
                  <a:custGeom>
                    <a:avLst/>
                    <a:gdLst>
                      <a:gd name="connsiteX0" fmla="*/ 95090 w 268941"/>
                      <a:gd name="connsiteY0" fmla="*/ 2086 h 358981"/>
                      <a:gd name="connsiteX1" fmla="*/ 100414 w 268941"/>
                      <a:gd name="connsiteY1" fmla="*/ 5297 h 358981"/>
                      <a:gd name="connsiteX2" fmla="*/ 104119 w 268941"/>
                      <a:gd name="connsiteY2" fmla="*/ 4226 h 358981"/>
                      <a:gd name="connsiteX3" fmla="*/ 104201 w 268941"/>
                      <a:gd name="connsiteY3" fmla="*/ 4665 h 358981"/>
                      <a:gd name="connsiteX4" fmla="*/ 106232 w 268941"/>
                      <a:gd name="connsiteY4" fmla="*/ 4665 h 358981"/>
                      <a:gd name="connsiteX5" fmla="*/ 119020 w 268941"/>
                      <a:gd name="connsiteY5" fmla="*/ 6998 h 358981"/>
                      <a:gd name="connsiteX6" fmla="*/ 122094 w 268941"/>
                      <a:gd name="connsiteY6" fmla="*/ 14161 h 358981"/>
                      <a:gd name="connsiteX7" fmla="*/ 120283 w 268941"/>
                      <a:gd name="connsiteY7" fmla="*/ 20774 h 358981"/>
                      <a:gd name="connsiteX8" fmla="*/ 126101 w 268941"/>
                      <a:gd name="connsiteY8" fmla="*/ 24507 h 358981"/>
                      <a:gd name="connsiteX9" fmla="*/ 126293 w 268941"/>
                      <a:gd name="connsiteY9" fmla="*/ 28870 h 358981"/>
                      <a:gd name="connsiteX10" fmla="*/ 131205 w 268941"/>
                      <a:gd name="connsiteY10" fmla="*/ 24726 h 358981"/>
                      <a:gd name="connsiteX11" fmla="*/ 142155 w 268941"/>
                      <a:gd name="connsiteY11" fmla="*/ 30928 h 358981"/>
                      <a:gd name="connsiteX12" fmla="*/ 148741 w 268941"/>
                      <a:gd name="connsiteY12" fmla="*/ 27553 h 358981"/>
                      <a:gd name="connsiteX13" fmla="*/ 152720 w 268941"/>
                      <a:gd name="connsiteY13" fmla="*/ 30434 h 358981"/>
                      <a:gd name="connsiteX14" fmla="*/ 152556 w 268941"/>
                      <a:gd name="connsiteY14" fmla="*/ 36636 h 358981"/>
                      <a:gd name="connsiteX15" fmla="*/ 144158 w 268941"/>
                      <a:gd name="connsiteY15" fmla="*/ 42976 h 358981"/>
                      <a:gd name="connsiteX16" fmla="*/ 145914 w 268941"/>
                      <a:gd name="connsiteY16" fmla="*/ 46681 h 358981"/>
                      <a:gd name="connsiteX17" fmla="*/ 147753 w 268941"/>
                      <a:gd name="connsiteY17" fmla="*/ 48464 h 358981"/>
                      <a:gd name="connsiteX18" fmla="*/ 155108 w 268941"/>
                      <a:gd name="connsiteY18" fmla="*/ 45775 h 358981"/>
                      <a:gd name="connsiteX19" fmla="*/ 160212 w 268941"/>
                      <a:gd name="connsiteY19" fmla="*/ 48876 h 358981"/>
                      <a:gd name="connsiteX20" fmla="*/ 167100 w 268941"/>
                      <a:gd name="connsiteY20" fmla="*/ 44869 h 358981"/>
                      <a:gd name="connsiteX21" fmla="*/ 169817 w 268941"/>
                      <a:gd name="connsiteY21" fmla="*/ 39682 h 358981"/>
                      <a:gd name="connsiteX22" fmla="*/ 173495 w 268941"/>
                      <a:gd name="connsiteY22" fmla="*/ 38749 h 358981"/>
                      <a:gd name="connsiteX23" fmla="*/ 179943 w 268941"/>
                      <a:gd name="connsiteY23" fmla="*/ 37487 h 358981"/>
                      <a:gd name="connsiteX24" fmla="*/ 185899 w 268941"/>
                      <a:gd name="connsiteY24" fmla="*/ 34002 h 358981"/>
                      <a:gd name="connsiteX25" fmla="*/ 188396 w 268941"/>
                      <a:gd name="connsiteY25" fmla="*/ 32465 h 358981"/>
                      <a:gd name="connsiteX26" fmla="*/ 193418 w 268941"/>
                      <a:gd name="connsiteY26" fmla="*/ 30352 h 358981"/>
                      <a:gd name="connsiteX27" fmla="*/ 195778 w 268941"/>
                      <a:gd name="connsiteY27" fmla="*/ 23903 h 358981"/>
                      <a:gd name="connsiteX28" fmla="*/ 202584 w 268941"/>
                      <a:gd name="connsiteY28" fmla="*/ 27745 h 358981"/>
                      <a:gd name="connsiteX29" fmla="*/ 208347 w 268941"/>
                      <a:gd name="connsiteY29" fmla="*/ 24726 h 358981"/>
                      <a:gd name="connsiteX30" fmla="*/ 214797 w 268941"/>
                      <a:gd name="connsiteY30" fmla="*/ 26784 h 358981"/>
                      <a:gd name="connsiteX31" fmla="*/ 215565 w 268941"/>
                      <a:gd name="connsiteY31" fmla="*/ 18743 h 358981"/>
                      <a:gd name="connsiteX32" fmla="*/ 218913 w 268941"/>
                      <a:gd name="connsiteY32" fmla="*/ 13420 h 358981"/>
                      <a:gd name="connsiteX33" fmla="*/ 222837 w 268941"/>
                      <a:gd name="connsiteY33" fmla="*/ 21351 h 358981"/>
                      <a:gd name="connsiteX34" fmla="*/ 225636 w 268941"/>
                      <a:gd name="connsiteY34" fmla="*/ 17564 h 358981"/>
                      <a:gd name="connsiteX35" fmla="*/ 228216 w 268941"/>
                      <a:gd name="connsiteY35" fmla="*/ 18003 h 358981"/>
                      <a:gd name="connsiteX36" fmla="*/ 225965 w 268941"/>
                      <a:gd name="connsiteY36" fmla="*/ 23244 h 358981"/>
                      <a:gd name="connsiteX37" fmla="*/ 228875 w 268941"/>
                      <a:gd name="connsiteY37" fmla="*/ 28623 h 358981"/>
                      <a:gd name="connsiteX38" fmla="*/ 220724 w 268941"/>
                      <a:gd name="connsiteY38" fmla="*/ 32136 h 358981"/>
                      <a:gd name="connsiteX39" fmla="*/ 218831 w 268941"/>
                      <a:gd name="connsiteY39" fmla="*/ 36581 h 358981"/>
                      <a:gd name="connsiteX40" fmla="*/ 223441 w 268941"/>
                      <a:gd name="connsiteY40" fmla="*/ 40670 h 358981"/>
                      <a:gd name="connsiteX41" fmla="*/ 233457 w 268941"/>
                      <a:gd name="connsiteY41" fmla="*/ 38283 h 358981"/>
                      <a:gd name="connsiteX42" fmla="*/ 237629 w 268941"/>
                      <a:gd name="connsiteY42" fmla="*/ 46681 h 358981"/>
                      <a:gd name="connsiteX43" fmla="*/ 241773 w 268941"/>
                      <a:gd name="connsiteY43" fmla="*/ 46434 h 358981"/>
                      <a:gd name="connsiteX44" fmla="*/ 245505 w 268941"/>
                      <a:gd name="connsiteY44" fmla="*/ 49837 h 358981"/>
                      <a:gd name="connsiteX45" fmla="*/ 245121 w 268941"/>
                      <a:gd name="connsiteY45" fmla="*/ 52938 h 358981"/>
                      <a:gd name="connsiteX46" fmla="*/ 240785 w 268941"/>
                      <a:gd name="connsiteY46" fmla="*/ 52608 h 358981"/>
                      <a:gd name="connsiteX47" fmla="*/ 236174 w 268941"/>
                      <a:gd name="connsiteY47" fmla="*/ 54117 h 358981"/>
                      <a:gd name="connsiteX48" fmla="*/ 238041 w 268941"/>
                      <a:gd name="connsiteY48" fmla="*/ 57383 h 358981"/>
                      <a:gd name="connsiteX49" fmla="*/ 246767 w 268941"/>
                      <a:gd name="connsiteY49" fmla="*/ 61280 h 358981"/>
                      <a:gd name="connsiteX50" fmla="*/ 250994 w 268941"/>
                      <a:gd name="connsiteY50" fmla="*/ 79530 h 358981"/>
                      <a:gd name="connsiteX51" fmla="*/ 251570 w 268941"/>
                      <a:gd name="connsiteY51" fmla="*/ 82933 h 358981"/>
                      <a:gd name="connsiteX52" fmla="*/ 249978 w 268941"/>
                      <a:gd name="connsiteY52" fmla="*/ 85842 h 358981"/>
                      <a:gd name="connsiteX53" fmla="*/ 248935 w 268941"/>
                      <a:gd name="connsiteY53" fmla="*/ 92593 h 358981"/>
                      <a:gd name="connsiteX54" fmla="*/ 243117 w 268941"/>
                      <a:gd name="connsiteY54" fmla="*/ 97587 h 358981"/>
                      <a:gd name="connsiteX55" fmla="*/ 243502 w 268941"/>
                      <a:gd name="connsiteY55" fmla="*/ 100771 h 358981"/>
                      <a:gd name="connsiteX56" fmla="*/ 243447 w 268941"/>
                      <a:gd name="connsiteY56" fmla="*/ 103542 h 358981"/>
                      <a:gd name="connsiteX57" fmla="*/ 251735 w 268941"/>
                      <a:gd name="connsiteY57" fmla="*/ 111281 h 358981"/>
                      <a:gd name="connsiteX58" fmla="*/ 255522 w 268941"/>
                      <a:gd name="connsiteY58" fmla="*/ 113971 h 358981"/>
                      <a:gd name="connsiteX59" fmla="*/ 257388 w 268941"/>
                      <a:gd name="connsiteY59" fmla="*/ 118938 h 358981"/>
                      <a:gd name="connsiteX60" fmla="*/ 254589 w 268941"/>
                      <a:gd name="connsiteY60" fmla="*/ 125058 h 358981"/>
                      <a:gd name="connsiteX61" fmla="*/ 256537 w 268941"/>
                      <a:gd name="connsiteY61" fmla="*/ 130985 h 358981"/>
                      <a:gd name="connsiteX62" fmla="*/ 259336 w 268941"/>
                      <a:gd name="connsiteY62" fmla="*/ 133044 h 358981"/>
                      <a:gd name="connsiteX63" fmla="*/ 261093 w 268941"/>
                      <a:gd name="connsiteY63" fmla="*/ 140673 h 358981"/>
                      <a:gd name="connsiteX64" fmla="*/ 259968 w 268941"/>
                      <a:gd name="connsiteY64" fmla="*/ 143938 h 358981"/>
                      <a:gd name="connsiteX65" fmla="*/ 256921 w 268941"/>
                      <a:gd name="connsiteY65" fmla="*/ 152281 h 358981"/>
                      <a:gd name="connsiteX66" fmla="*/ 260654 w 268941"/>
                      <a:gd name="connsiteY66" fmla="*/ 159938 h 358981"/>
                      <a:gd name="connsiteX67" fmla="*/ 260324 w 268941"/>
                      <a:gd name="connsiteY67" fmla="*/ 163889 h 358981"/>
                      <a:gd name="connsiteX68" fmla="*/ 261422 w 268941"/>
                      <a:gd name="connsiteY68" fmla="*/ 166881 h 358981"/>
                      <a:gd name="connsiteX69" fmla="*/ 266307 w 268941"/>
                      <a:gd name="connsiteY69" fmla="*/ 169433 h 358981"/>
                      <a:gd name="connsiteX70" fmla="*/ 267514 w 268941"/>
                      <a:gd name="connsiteY70" fmla="*/ 174181 h 358981"/>
                      <a:gd name="connsiteX71" fmla="*/ 268942 w 268941"/>
                      <a:gd name="connsiteY71" fmla="*/ 178352 h 358981"/>
                      <a:gd name="connsiteX72" fmla="*/ 268201 w 268941"/>
                      <a:gd name="connsiteY72" fmla="*/ 184856 h 358981"/>
                      <a:gd name="connsiteX73" fmla="*/ 263096 w 268941"/>
                      <a:gd name="connsiteY73" fmla="*/ 197343 h 358981"/>
                      <a:gd name="connsiteX74" fmla="*/ 261422 w 268941"/>
                      <a:gd name="connsiteY74" fmla="*/ 199703 h 358981"/>
                      <a:gd name="connsiteX75" fmla="*/ 257059 w 268941"/>
                      <a:gd name="connsiteY75" fmla="*/ 197919 h 358981"/>
                      <a:gd name="connsiteX76" fmla="*/ 255989 w 268941"/>
                      <a:gd name="connsiteY76" fmla="*/ 192156 h 358981"/>
                      <a:gd name="connsiteX77" fmla="*/ 253326 w 268941"/>
                      <a:gd name="connsiteY77" fmla="*/ 189247 h 358981"/>
                      <a:gd name="connsiteX78" fmla="*/ 248222 w 268941"/>
                      <a:gd name="connsiteY78" fmla="*/ 188698 h 358981"/>
                      <a:gd name="connsiteX79" fmla="*/ 247151 w 268941"/>
                      <a:gd name="connsiteY79" fmla="*/ 191277 h 358981"/>
                      <a:gd name="connsiteX80" fmla="*/ 249567 w 268941"/>
                      <a:gd name="connsiteY80" fmla="*/ 195778 h 358981"/>
                      <a:gd name="connsiteX81" fmla="*/ 233869 w 268941"/>
                      <a:gd name="connsiteY81" fmla="*/ 203709 h 358981"/>
                      <a:gd name="connsiteX82" fmla="*/ 228627 w 268941"/>
                      <a:gd name="connsiteY82" fmla="*/ 203847 h 358981"/>
                      <a:gd name="connsiteX83" fmla="*/ 224237 w 268941"/>
                      <a:gd name="connsiteY83" fmla="*/ 208320 h 358981"/>
                      <a:gd name="connsiteX84" fmla="*/ 211146 w 268941"/>
                      <a:gd name="connsiteY84" fmla="*/ 214439 h 358981"/>
                      <a:gd name="connsiteX85" fmla="*/ 207963 w 268941"/>
                      <a:gd name="connsiteY85" fmla="*/ 218913 h 358981"/>
                      <a:gd name="connsiteX86" fmla="*/ 204038 w 268941"/>
                      <a:gd name="connsiteY86" fmla="*/ 216827 h 358981"/>
                      <a:gd name="connsiteX87" fmla="*/ 197260 w 268941"/>
                      <a:gd name="connsiteY87" fmla="*/ 218775 h 358981"/>
                      <a:gd name="connsiteX88" fmla="*/ 189549 w 268941"/>
                      <a:gd name="connsiteY88" fmla="*/ 227969 h 358981"/>
                      <a:gd name="connsiteX89" fmla="*/ 183045 w 268941"/>
                      <a:gd name="connsiteY89" fmla="*/ 222892 h 358981"/>
                      <a:gd name="connsiteX90" fmla="*/ 184801 w 268941"/>
                      <a:gd name="connsiteY90" fmla="*/ 227420 h 358981"/>
                      <a:gd name="connsiteX91" fmla="*/ 187765 w 268941"/>
                      <a:gd name="connsiteY91" fmla="*/ 234829 h 358981"/>
                      <a:gd name="connsiteX92" fmla="*/ 196300 w 268941"/>
                      <a:gd name="connsiteY92" fmla="*/ 241828 h 358981"/>
                      <a:gd name="connsiteX93" fmla="*/ 191909 w 268941"/>
                      <a:gd name="connsiteY93" fmla="*/ 248524 h 358981"/>
                      <a:gd name="connsiteX94" fmla="*/ 197562 w 268941"/>
                      <a:gd name="connsiteY94" fmla="*/ 258348 h 358981"/>
                      <a:gd name="connsiteX95" fmla="*/ 198852 w 268941"/>
                      <a:gd name="connsiteY95" fmla="*/ 259364 h 358981"/>
                      <a:gd name="connsiteX96" fmla="*/ 198715 w 268941"/>
                      <a:gd name="connsiteY96" fmla="*/ 261312 h 358981"/>
                      <a:gd name="connsiteX97" fmla="*/ 203380 w 268941"/>
                      <a:gd name="connsiteY97" fmla="*/ 266691 h 358981"/>
                      <a:gd name="connsiteX98" fmla="*/ 209033 w 268941"/>
                      <a:gd name="connsiteY98" fmla="*/ 268283 h 358981"/>
                      <a:gd name="connsiteX99" fmla="*/ 214522 w 268941"/>
                      <a:gd name="connsiteY99" fmla="*/ 275006 h 358981"/>
                      <a:gd name="connsiteX100" fmla="*/ 220230 w 268941"/>
                      <a:gd name="connsiteY100" fmla="*/ 279781 h 358981"/>
                      <a:gd name="connsiteX101" fmla="*/ 221740 w 268941"/>
                      <a:gd name="connsiteY101" fmla="*/ 283706 h 358981"/>
                      <a:gd name="connsiteX102" fmla="*/ 225719 w 268941"/>
                      <a:gd name="connsiteY102" fmla="*/ 284254 h 358981"/>
                      <a:gd name="connsiteX103" fmla="*/ 234198 w 268941"/>
                      <a:gd name="connsiteY103" fmla="*/ 293036 h 358981"/>
                      <a:gd name="connsiteX104" fmla="*/ 232909 w 268941"/>
                      <a:gd name="connsiteY104" fmla="*/ 295616 h 358981"/>
                      <a:gd name="connsiteX105" fmla="*/ 233293 w 268941"/>
                      <a:gd name="connsiteY105" fmla="*/ 300171 h 358981"/>
                      <a:gd name="connsiteX106" fmla="*/ 230878 w 268941"/>
                      <a:gd name="connsiteY106" fmla="*/ 304535 h 358981"/>
                      <a:gd name="connsiteX107" fmla="*/ 224593 w 268941"/>
                      <a:gd name="connsiteY107" fmla="*/ 301077 h 358981"/>
                      <a:gd name="connsiteX108" fmla="*/ 222398 w 268941"/>
                      <a:gd name="connsiteY108" fmla="*/ 302916 h 358981"/>
                      <a:gd name="connsiteX109" fmla="*/ 221080 w 268941"/>
                      <a:gd name="connsiteY109" fmla="*/ 310764 h 358981"/>
                      <a:gd name="connsiteX110" fmla="*/ 214714 w 268941"/>
                      <a:gd name="connsiteY110" fmla="*/ 314222 h 358981"/>
                      <a:gd name="connsiteX111" fmla="*/ 207881 w 268941"/>
                      <a:gd name="connsiteY111" fmla="*/ 318092 h 358981"/>
                      <a:gd name="connsiteX112" fmla="*/ 202227 w 268941"/>
                      <a:gd name="connsiteY112" fmla="*/ 322236 h 358981"/>
                      <a:gd name="connsiteX113" fmla="*/ 205411 w 268941"/>
                      <a:gd name="connsiteY113" fmla="*/ 327367 h 358981"/>
                      <a:gd name="connsiteX114" fmla="*/ 205878 w 268941"/>
                      <a:gd name="connsiteY114" fmla="*/ 328849 h 358981"/>
                      <a:gd name="connsiteX115" fmla="*/ 209006 w 268941"/>
                      <a:gd name="connsiteY115" fmla="*/ 333240 h 358981"/>
                      <a:gd name="connsiteX116" fmla="*/ 207414 w 268941"/>
                      <a:gd name="connsiteY116" fmla="*/ 338838 h 358981"/>
                      <a:gd name="connsiteX117" fmla="*/ 211805 w 268941"/>
                      <a:gd name="connsiteY117" fmla="*/ 341775 h 358981"/>
                      <a:gd name="connsiteX118" fmla="*/ 210844 w 268941"/>
                      <a:gd name="connsiteY118" fmla="*/ 348197 h 358981"/>
                      <a:gd name="connsiteX119" fmla="*/ 207222 w 268941"/>
                      <a:gd name="connsiteY119" fmla="*/ 348992 h 358981"/>
                      <a:gd name="connsiteX120" fmla="*/ 200526 w 268941"/>
                      <a:gd name="connsiteY120" fmla="*/ 341116 h 358981"/>
                      <a:gd name="connsiteX121" fmla="*/ 197672 w 268941"/>
                      <a:gd name="connsiteY121" fmla="*/ 341747 h 358981"/>
                      <a:gd name="connsiteX122" fmla="*/ 196986 w 268941"/>
                      <a:gd name="connsiteY122" fmla="*/ 343284 h 358981"/>
                      <a:gd name="connsiteX123" fmla="*/ 194791 w 268941"/>
                      <a:gd name="connsiteY123" fmla="*/ 343367 h 358981"/>
                      <a:gd name="connsiteX124" fmla="*/ 193391 w 268941"/>
                      <a:gd name="connsiteY124" fmla="*/ 341747 h 358981"/>
                      <a:gd name="connsiteX125" fmla="*/ 190015 w 268941"/>
                      <a:gd name="connsiteY125" fmla="*/ 340458 h 358981"/>
                      <a:gd name="connsiteX126" fmla="*/ 185981 w 268941"/>
                      <a:gd name="connsiteY126" fmla="*/ 340046 h 358981"/>
                      <a:gd name="connsiteX127" fmla="*/ 185432 w 268941"/>
                      <a:gd name="connsiteY127" fmla="*/ 341747 h 358981"/>
                      <a:gd name="connsiteX128" fmla="*/ 185048 w 268941"/>
                      <a:gd name="connsiteY128" fmla="*/ 343751 h 358981"/>
                      <a:gd name="connsiteX129" fmla="*/ 181865 w 268941"/>
                      <a:gd name="connsiteY129" fmla="*/ 343861 h 358981"/>
                      <a:gd name="connsiteX130" fmla="*/ 169268 w 268941"/>
                      <a:gd name="connsiteY130" fmla="*/ 345013 h 358981"/>
                      <a:gd name="connsiteX131" fmla="*/ 167155 w 268941"/>
                      <a:gd name="connsiteY131" fmla="*/ 348087 h 358981"/>
                      <a:gd name="connsiteX132" fmla="*/ 162737 w 268941"/>
                      <a:gd name="connsiteY132" fmla="*/ 349239 h 358981"/>
                      <a:gd name="connsiteX133" fmla="*/ 163066 w 268941"/>
                      <a:gd name="connsiteY133" fmla="*/ 351407 h 358981"/>
                      <a:gd name="connsiteX134" fmla="*/ 151156 w 268941"/>
                      <a:gd name="connsiteY134" fmla="*/ 353520 h 358981"/>
                      <a:gd name="connsiteX135" fmla="*/ 150443 w 268941"/>
                      <a:gd name="connsiteY135" fmla="*/ 353520 h 358981"/>
                      <a:gd name="connsiteX136" fmla="*/ 147369 w 268941"/>
                      <a:gd name="connsiteY136" fmla="*/ 347401 h 358981"/>
                      <a:gd name="connsiteX137" fmla="*/ 134663 w 268941"/>
                      <a:gd name="connsiteY137" fmla="*/ 346577 h 358981"/>
                      <a:gd name="connsiteX138" fmla="*/ 134059 w 268941"/>
                      <a:gd name="connsiteY138" fmla="*/ 353438 h 358981"/>
                      <a:gd name="connsiteX139" fmla="*/ 126512 w 268941"/>
                      <a:gd name="connsiteY139" fmla="*/ 358982 h 358981"/>
                      <a:gd name="connsiteX140" fmla="*/ 127089 w 268941"/>
                      <a:gd name="connsiteY140" fmla="*/ 354728 h 358981"/>
                      <a:gd name="connsiteX141" fmla="*/ 124646 w 268941"/>
                      <a:gd name="connsiteY141" fmla="*/ 354454 h 358981"/>
                      <a:gd name="connsiteX142" fmla="*/ 121271 w 268941"/>
                      <a:gd name="connsiteY142" fmla="*/ 349706 h 358981"/>
                      <a:gd name="connsiteX143" fmla="*/ 120338 w 268941"/>
                      <a:gd name="connsiteY143" fmla="*/ 346962 h 358981"/>
                      <a:gd name="connsiteX144" fmla="*/ 108318 w 268941"/>
                      <a:gd name="connsiteY144" fmla="*/ 347154 h 358981"/>
                      <a:gd name="connsiteX145" fmla="*/ 106479 w 268941"/>
                      <a:gd name="connsiteY145" fmla="*/ 346714 h 358981"/>
                      <a:gd name="connsiteX146" fmla="*/ 102609 w 268941"/>
                      <a:gd name="connsiteY146" fmla="*/ 343394 h 358981"/>
                      <a:gd name="connsiteX147" fmla="*/ 97258 w 268941"/>
                      <a:gd name="connsiteY147" fmla="*/ 342187 h 358981"/>
                      <a:gd name="connsiteX148" fmla="*/ 88174 w 268941"/>
                      <a:gd name="connsiteY148" fmla="*/ 341665 h 358981"/>
                      <a:gd name="connsiteX149" fmla="*/ 87214 w 268941"/>
                      <a:gd name="connsiteY149" fmla="*/ 340128 h 358981"/>
                      <a:gd name="connsiteX150" fmla="*/ 85869 w 268941"/>
                      <a:gd name="connsiteY150" fmla="*/ 341308 h 358981"/>
                      <a:gd name="connsiteX151" fmla="*/ 82192 w 268941"/>
                      <a:gd name="connsiteY151" fmla="*/ 340897 h 358981"/>
                      <a:gd name="connsiteX152" fmla="*/ 81972 w 268941"/>
                      <a:gd name="connsiteY152" fmla="*/ 340842 h 358981"/>
                      <a:gd name="connsiteX153" fmla="*/ 82741 w 268941"/>
                      <a:gd name="connsiteY153" fmla="*/ 338372 h 358981"/>
                      <a:gd name="connsiteX154" fmla="*/ 80518 w 268941"/>
                      <a:gd name="connsiteY154" fmla="*/ 335792 h 358981"/>
                      <a:gd name="connsiteX155" fmla="*/ 77444 w 268941"/>
                      <a:gd name="connsiteY155" fmla="*/ 336890 h 358981"/>
                      <a:gd name="connsiteX156" fmla="*/ 74919 w 268941"/>
                      <a:gd name="connsiteY156" fmla="*/ 341693 h 358981"/>
                      <a:gd name="connsiteX157" fmla="*/ 77088 w 268941"/>
                      <a:gd name="connsiteY157" fmla="*/ 342489 h 358981"/>
                      <a:gd name="connsiteX158" fmla="*/ 80298 w 268941"/>
                      <a:gd name="connsiteY158" fmla="*/ 341638 h 358981"/>
                      <a:gd name="connsiteX159" fmla="*/ 74947 w 268941"/>
                      <a:gd name="connsiteY159" fmla="*/ 345973 h 358981"/>
                      <a:gd name="connsiteX160" fmla="*/ 59305 w 268941"/>
                      <a:gd name="connsiteY160" fmla="*/ 345178 h 358981"/>
                      <a:gd name="connsiteX161" fmla="*/ 54008 w 268941"/>
                      <a:gd name="connsiteY161" fmla="*/ 347209 h 358981"/>
                      <a:gd name="connsiteX162" fmla="*/ 51648 w 268941"/>
                      <a:gd name="connsiteY162" fmla="*/ 346276 h 358981"/>
                      <a:gd name="connsiteX163" fmla="*/ 50331 w 268941"/>
                      <a:gd name="connsiteY163" fmla="*/ 345013 h 358981"/>
                      <a:gd name="connsiteX164" fmla="*/ 48300 w 268941"/>
                      <a:gd name="connsiteY164" fmla="*/ 341638 h 358981"/>
                      <a:gd name="connsiteX165" fmla="*/ 49068 w 268941"/>
                      <a:gd name="connsiteY165" fmla="*/ 338317 h 358981"/>
                      <a:gd name="connsiteX166" fmla="*/ 50742 w 268941"/>
                      <a:gd name="connsiteY166" fmla="*/ 328492 h 358981"/>
                      <a:gd name="connsiteX167" fmla="*/ 50001 w 268941"/>
                      <a:gd name="connsiteY167" fmla="*/ 321988 h 358981"/>
                      <a:gd name="connsiteX168" fmla="*/ 50001 w 268941"/>
                      <a:gd name="connsiteY168" fmla="*/ 321714 h 358981"/>
                      <a:gd name="connsiteX169" fmla="*/ 53047 w 268941"/>
                      <a:gd name="connsiteY169" fmla="*/ 315732 h 358981"/>
                      <a:gd name="connsiteX170" fmla="*/ 57246 w 268941"/>
                      <a:gd name="connsiteY170" fmla="*/ 300171 h 358981"/>
                      <a:gd name="connsiteX171" fmla="*/ 61280 w 268941"/>
                      <a:gd name="connsiteY171" fmla="*/ 295259 h 358981"/>
                      <a:gd name="connsiteX172" fmla="*/ 69294 w 268941"/>
                      <a:gd name="connsiteY172" fmla="*/ 284172 h 358981"/>
                      <a:gd name="connsiteX173" fmla="*/ 64464 w 268941"/>
                      <a:gd name="connsiteY173" fmla="*/ 282718 h 358981"/>
                      <a:gd name="connsiteX174" fmla="*/ 59826 w 268941"/>
                      <a:gd name="connsiteY174" fmla="*/ 280659 h 358981"/>
                      <a:gd name="connsiteX175" fmla="*/ 51758 w 268941"/>
                      <a:gd name="connsiteY175" fmla="*/ 280248 h 358981"/>
                      <a:gd name="connsiteX176" fmla="*/ 47230 w 268941"/>
                      <a:gd name="connsiteY176" fmla="*/ 275665 h 358981"/>
                      <a:gd name="connsiteX177" fmla="*/ 43936 w 268941"/>
                      <a:gd name="connsiteY177" fmla="*/ 275418 h 358981"/>
                      <a:gd name="connsiteX178" fmla="*/ 40341 w 268941"/>
                      <a:gd name="connsiteY178" fmla="*/ 277366 h 358981"/>
                      <a:gd name="connsiteX179" fmla="*/ 36033 w 268941"/>
                      <a:gd name="connsiteY179" fmla="*/ 275665 h 358981"/>
                      <a:gd name="connsiteX180" fmla="*/ 30873 w 268941"/>
                      <a:gd name="connsiteY180" fmla="*/ 273058 h 358981"/>
                      <a:gd name="connsiteX181" fmla="*/ 26702 w 268941"/>
                      <a:gd name="connsiteY181" fmla="*/ 275418 h 358981"/>
                      <a:gd name="connsiteX182" fmla="*/ 24918 w 268941"/>
                      <a:gd name="connsiteY182" fmla="*/ 272811 h 358981"/>
                      <a:gd name="connsiteX183" fmla="*/ 20006 w 268941"/>
                      <a:gd name="connsiteY183" fmla="*/ 263754 h 358981"/>
                      <a:gd name="connsiteX184" fmla="*/ 14380 w 268941"/>
                      <a:gd name="connsiteY184" fmla="*/ 261916 h 358981"/>
                      <a:gd name="connsiteX185" fmla="*/ 14380 w 268941"/>
                      <a:gd name="connsiteY185" fmla="*/ 258293 h 358981"/>
                      <a:gd name="connsiteX186" fmla="*/ 17811 w 268941"/>
                      <a:gd name="connsiteY186" fmla="*/ 250088 h 358981"/>
                      <a:gd name="connsiteX187" fmla="*/ 17591 w 268941"/>
                      <a:gd name="connsiteY187" fmla="*/ 245505 h 358981"/>
                      <a:gd name="connsiteX188" fmla="*/ 14380 w 268941"/>
                      <a:gd name="connsiteY188" fmla="*/ 244215 h 358981"/>
                      <a:gd name="connsiteX189" fmla="*/ 8892 w 268941"/>
                      <a:gd name="connsiteY189" fmla="*/ 239083 h 358981"/>
                      <a:gd name="connsiteX190" fmla="*/ 7684 w 268941"/>
                      <a:gd name="connsiteY190" fmla="*/ 231372 h 358981"/>
                      <a:gd name="connsiteX191" fmla="*/ 9084 w 268941"/>
                      <a:gd name="connsiteY191" fmla="*/ 227091 h 358981"/>
                      <a:gd name="connsiteX192" fmla="*/ 14380 w 268941"/>
                      <a:gd name="connsiteY192" fmla="*/ 222892 h 358981"/>
                      <a:gd name="connsiteX193" fmla="*/ 15560 w 268941"/>
                      <a:gd name="connsiteY193" fmla="*/ 222453 h 358981"/>
                      <a:gd name="connsiteX194" fmla="*/ 12926 w 268941"/>
                      <a:gd name="connsiteY194" fmla="*/ 214467 h 358981"/>
                      <a:gd name="connsiteX195" fmla="*/ 9276 w 268941"/>
                      <a:gd name="connsiteY195" fmla="*/ 213342 h 358981"/>
                      <a:gd name="connsiteX196" fmla="*/ 9194 w 268941"/>
                      <a:gd name="connsiteY196" fmla="*/ 211283 h 358981"/>
                      <a:gd name="connsiteX197" fmla="*/ 9770 w 268941"/>
                      <a:gd name="connsiteY197" fmla="*/ 208155 h 358981"/>
                      <a:gd name="connsiteX198" fmla="*/ 4254 w 268941"/>
                      <a:gd name="connsiteY198" fmla="*/ 202557 h 358981"/>
                      <a:gd name="connsiteX199" fmla="*/ 6175 w 268941"/>
                      <a:gd name="connsiteY199" fmla="*/ 195174 h 358981"/>
                      <a:gd name="connsiteX200" fmla="*/ 0 w 268941"/>
                      <a:gd name="connsiteY200" fmla="*/ 189631 h 358981"/>
                      <a:gd name="connsiteX201" fmla="*/ 8754 w 268941"/>
                      <a:gd name="connsiteY201" fmla="*/ 182496 h 358981"/>
                      <a:gd name="connsiteX202" fmla="*/ 5736 w 268941"/>
                      <a:gd name="connsiteY202" fmla="*/ 179752 h 358981"/>
                      <a:gd name="connsiteX203" fmla="*/ 10209 w 268941"/>
                      <a:gd name="connsiteY203" fmla="*/ 174016 h 358981"/>
                      <a:gd name="connsiteX204" fmla="*/ 9358 w 268941"/>
                      <a:gd name="connsiteY204" fmla="*/ 166744 h 358981"/>
                      <a:gd name="connsiteX205" fmla="*/ 2251 w 268941"/>
                      <a:gd name="connsiteY205" fmla="*/ 155904 h 358981"/>
                      <a:gd name="connsiteX206" fmla="*/ 3787 w 268941"/>
                      <a:gd name="connsiteY206" fmla="*/ 151924 h 358981"/>
                      <a:gd name="connsiteX207" fmla="*/ 8562 w 268941"/>
                      <a:gd name="connsiteY207" fmla="*/ 148631 h 358981"/>
                      <a:gd name="connsiteX208" fmla="*/ 15615 w 268941"/>
                      <a:gd name="connsiteY208" fmla="*/ 152089 h 358981"/>
                      <a:gd name="connsiteX209" fmla="*/ 26510 w 268941"/>
                      <a:gd name="connsiteY209" fmla="*/ 146902 h 358981"/>
                      <a:gd name="connsiteX210" fmla="*/ 25110 w 268941"/>
                      <a:gd name="connsiteY210" fmla="*/ 141441 h 358981"/>
                      <a:gd name="connsiteX211" fmla="*/ 25961 w 268941"/>
                      <a:gd name="connsiteY211" fmla="*/ 138203 h 358981"/>
                      <a:gd name="connsiteX212" fmla="*/ 34963 w 268941"/>
                      <a:gd name="connsiteY212" fmla="*/ 132330 h 358981"/>
                      <a:gd name="connsiteX213" fmla="*/ 33288 w 268941"/>
                      <a:gd name="connsiteY213" fmla="*/ 122807 h 358981"/>
                      <a:gd name="connsiteX214" fmla="*/ 24122 w 268941"/>
                      <a:gd name="connsiteY214" fmla="*/ 120530 h 358981"/>
                      <a:gd name="connsiteX215" fmla="*/ 24479 w 268941"/>
                      <a:gd name="connsiteY215" fmla="*/ 113696 h 358981"/>
                      <a:gd name="connsiteX216" fmla="*/ 33206 w 268941"/>
                      <a:gd name="connsiteY216" fmla="*/ 113147 h 358981"/>
                      <a:gd name="connsiteX217" fmla="*/ 35758 w 268941"/>
                      <a:gd name="connsiteY217" fmla="*/ 103460 h 358981"/>
                      <a:gd name="connsiteX218" fmla="*/ 38832 w 268941"/>
                      <a:gd name="connsiteY218" fmla="*/ 96490 h 358981"/>
                      <a:gd name="connsiteX219" fmla="*/ 39024 w 268941"/>
                      <a:gd name="connsiteY219" fmla="*/ 90041 h 358981"/>
                      <a:gd name="connsiteX220" fmla="*/ 39463 w 268941"/>
                      <a:gd name="connsiteY220" fmla="*/ 85732 h 358981"/>
                      <a:gd name="connsiteX221" fmla="*/ 39189 w 268941"/>
                      <a:gd name="connsiteY221" fmla="*/ 83701 h 358981"/>
                      <a:gd name="connsiteX222" fmla="*/ 40835 w 268941"/>
                      <a:gd name="connsiteY222" fmla="*/ 79612 h 358981"/>
                      <a:gd name="connsiteX223" fmla="*/ 34386 w 268941"/>
                      <a:gd name="connsiteY223" fmla="*/ 79036 h 358981"/>
                      <a:gd name="connsiteX224" fmla="*/ 33041 w 268941"/>
                      <a:gd name="connsiteY224" fmla="*/ 77911 h 358981"/>
                      <a:gd name="connsiteX225" fmla="*/ 36389 w 268941"/>
                      <a:gd name="connsiteY225" fmla="*/ 66851 h 358981"/>
                      <a:gd name="connsiteX226" fmla="*/ 41027 w 268941"/>
                      <a:gd name="connsiteY226" fmla="*/ 61033 h 358981"/>
                      <a:gd name="connsiteX227" fmla="*/ 49205 w 268941"/>
                      <a:gd name="connsiteY227" fmla="*/ 62350 h 358981"/>
                      <a:gd name="connsiteX228" fmla="*/ 56862 w 268941"/>
                      <a:gd name="connsiteY228" fmla="*/ 60704 h 358981"/>
                      <a:gd name="connsiteX229" fmla="*/ 62378 w 268941"/>
                      <a:gd name="connsiteY229" fmla="*/ 60951 h 358981"/>
                      <a:gd name="connsiteX230" fmla="*/ 65150 w 268941"/>
                      <a:gd name="connsiteY230" fmla="*/ 64162 h 358981"/>
                      <a:gd name="connsiteX231" fmla="*/ 67016 w 268941"/>
                      <a:gd name="connsiteY231" fmla="*/ 69211 h 358981"/>
                      <a:gd name="connsiteX232" fmla="*/ 64244 w 268941"/>
                      <a:gd name="connsiteY232" fmla="*/ 70721 h 358981"/>
                      <a:gd name="connsiteX233" fmla="*/ 68224 w 268941"/>
                      <a:gd name="connsiteY233" fmla="*/ 75496 h 358981"/>
                      <a:gd name="connsiteX234" fmla="*/ 71187 w 268941"/>
                      <a:gd name="connsiteY234" fmla="*/ 73273 h 358981"/>
                      <a:gd name="connsiteX235" fmla="*/ 69650 w 268941"/>
                      <a:gd name="connsiteY235" fmla="*/ 68827 h 358981"/>
                      <a:gd name="connsiteX236" fmla="*/ 70940 w 268941"/>
                      <a:gd name="connsiteY236" fmla="*/ 66083 h 358981"/>
                      <a:gd name="connsiteX237" fmla="*/ 78789 w 268941"/>
                      <a:gd name="connsiteY237" fmla="*/ 69760 h 358981"/>
                      <a:gd name="connsiteX238" fmla="*/ 77774 w 268941"/>
                      <a:gd name="connsiteY238" fmla="*/ 65753 h 358981"/>
                      <a:gd name="connsiteX239" fmla="*/ 78267 w 268941"/>
                      <a:gd name="connsiteY239" fmla="*/ 56587 h 358981"/>
                      <a:gd name="connsiteX240" fmla="*/ 82686 w 268941"/>
                      <a:gd name="connsiteY240" fmla="*/ 51511 h 358981"/>
                      <a:gd name="connsiteX241" fmla="*/ 85979 w 268941"/>
                      <a:gd name="connsiteY241" fmla="*/ 54200 h 358981"/>
                      <a:gd name="connsiteX242" fmla="*/ 92428 w 268941"/>
                      <a:gd name="connsiteY242" fmla="*/ 54365 h 358981"/>
                      <a:gd name="connsiteX243" fmla="*/ 99920 w 268941"/>
                      <a:gd name="connsiteY243" fmla="*/ 52718 h 358981"/>
                      <a:gd name="connsiteX244" fmla="*/ 97779 w 268941"/>
                      <a:gd name="connsiteY244" fmla="*/ 52114 h 358981"/>
                      <a:gd name="connsiteX245" fmla="*/ 92730 w 268941"/>
                      <a:gd name="connsiteY245" fmla="*/ 52114 h 358981"/>
                      <a:gd name="connsiteX246" fmla="*/ 86994 w 268941"/>
                      <a:gd name="connsiteY246" fmla="*/ 44952 h 358981"/>
                      <a:gd name="connsiteX247" fmla="*/ 90589 w 268941"/>
                      <a:gd name="connsiteY247" fmla="*/ 42564 h 358981"/>
                      <a:gd name="connsiteX248" fmla="*/ 86857 w 268941"/>
                      <a:gd name="connsiteY248" fmla="*/ 37871 h 358981"/>
                      <a:gd name="connsiteX249" fmla="*/ 87351 w 268941"/>
                      <a:gd name="connsiteY249" fmla="*/ 32767 h 358981"/>
                      <a:gd name="connsiteX250" fmla="*/ 82905 w 268941"/>
                      <a:gd name="connsiteY250" fmla="*/ 29748 h 358981"/>
                      <a:gd name="connsiteX251" fmla="*/ 88339 w 268941"/>
                      <a:gd name="connsiteY251" fmla="*/ 24068 h 358981"/>
                      <a:gd name="connsiteX252" fmla="*/ 87681 w 268941"/>
                      <a:gd name="connsiteY252" fmla="*/ 17728 h 358981"/>
                      <a:gd name="connsiteX253" fmla="*/ 81780 w 268941"/>
                      <a:gd name="connsiteY253" fmla="*/ 5104 h 358981"/>
                      <a:gd name="connsiteX254" fmla="*/ 81231 w 268941"/>
                      <a:gd name="connsiteY254" fmla="*/ 0 h 358981"/>
                      <a:gd name="connsiteX255" fmla="*/ 92785 w 268941"/>
                      <a:gd name="connsiteY255" fmla="*/ 1592 h 358981"/>
                      <a:gd name="connsiteX256" fmla="*/ 95282 w 268941"/>
                      <a:gd name="connsiteY256" fmla="*/ 1948 h 35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268941" h="358981">
                        <a:moveTo>
                          <a:pt x="95090" y="2086"/>
                        </a:moveTo>
                        <a:lnTo>
                          <a:pt x="100414" y="5297"/>
                        </a:lnTo>
                        <a:lnTo>
                          <a:pt x="104119" y="4226"/>
                        </a:lnTo>
                        <a:lnTo>
                          <a:pt x="104201" y="4665"/>
                        </a:lnTo>
                        <a:lnTo>
                          <a:pt x="106232" y="4665"/>
                        </a:lnTo>
                        <a:cubicBezTo>
                          <a:pt x="106232" y="4665"/>
                          <a:pt x="119020" y="6998"/>
                          <a:pt x="119020" y="6998"/>
                        </a:cubicBezTo>
                        <a:lnTo>
                          <a:pt x="122094" y="14161"/>
                        </a:lnTo>
                        <a:lnTo>
                          <a:pt x="120283" y="20774"/>
                        </a:lnTo>
                        <a:lnTo>
                          <a:pt x="126101" y="24507"/>
                        </a:lnTo>
                        <a:lnTo>
                          <a:pt x="126293" y="28870"/>
                        </a:lnTo>
                        <a:lnTo>
                          <a:pt x="131205" y="24726"/>
                        </a:lnTo>
                        <a:lnTo>
                          <a:pt x="142155" y="30928"/>
                        </a:lnTo>
                        <a:lnTo>
                          <a:pt x="148741" y="27553"/>
                        </a:lnTo>
                        <a:lnTo>
                          <a:pt x="152720" y="30434"/>
                        </a:lnTo>
                        <a:lnTo>
                          <a:pt x="152556" y="36636"/>
                        </a:lnTo>
                        <a:lnTo>
                          <a:pt x="144158" y="42976"/>
                        </a:lnTo>
                        <a:lnTo>
                          <a:pt x="145914" y="46681"/>
                        </a:lnTo>
                        <a:lnTo>
                          <a:pt x="147753" y="48464"/>
                        </a:lnTo>
                        <a:lnTo>
                          <a:pt x="155108" y="45775"/>
                        </a:lnTo>
                        <a:lnTo>
                          <a:pt x="160212" y="48876"/>
                        </a:lnTo>
                        <a:lnTo>
                          <a:pt x="167100" y="44869"/>
                        </a:lnTo>
                        <a:lnTo>
                          <a:pt x="169817" y="39682"/>
                        </a:lnTo>
                        <a:lnTo>
                          <a:pt x="173495" y="38749"/>
                        </a:lnTo>
                        <a:lnTo>
                          <a:pt x="179943" y="37487"/>
                        </a:lnTo>
                        <a:lnTo>
                          <a:pt x="185899" y="34002"/>
                        </a:lnTo>
                        <a:lnTo>
                          <a:pt x="188396" y="32465"/>
                        </a:lnTo>
                        <a:lnTo>
                          <a:pt x="193418" y="30352"/>
                        </a:lnTo>
                        <a:lnTo>
                          <a:pt x="195778" y="23903"/>
                        </a:lnTo>
                        <a:lnTo>
                          <a:pt x="202584" y="27745"/>
                        </a:lnTo>
                        <a:lnTo>
                          <a:pt x="208347" y="24726"/>
                        </a:lnTo>
                        <a:lnTo>
                          <a:pt x="214797" y="26784"/>
                        </a:lnTo>
                        <a:lnTo>
                          <a:pt x="215565" y="18743"/>
                        </a:lnTo>
                        <a:lnTo>
                          <a:pt x="218913" y="13420"/>
                        </a:lnTo>
                        <a:lnTo>
                          <a:pt x="222837" y="21351"/>
                        </a:lnTo>
                        <a:lnTo>
                          <a:pt x="225636" y="17564"/>
                        </a:lnTo>
                        <a:lnTo>
                          <a:pt x="228216" y="18003"/>
                        </a:lnTo>
                        <a:lnTo>
                          <a:pt x="225965" y="23244"/>
                        </a:lnTo>
                        <a:lnTo>
                          <a:pt x="228875" y="28623"/>
                        </a:lnTo>
                        <a:lnTo>
                          <a:pt x="220724" y="32136"/>
                        </a:lnTo>
                        <a:lnTo>
                          <a:pt x="218831" y="36581"/>
                        </a:lnTo>
                        <a:lnTo>
                          <a:pt x="223441" y="40670"/>
                        </a:lnTo>
                        <a:lnTo>
                          <a:pt x="233457" y="38283"/>
                        </a:lnTo>
                        <a:lnTo>
                          <a:pt x="237629" y="46681"/>
                        </a:lnTo>
                        <a:lnTo>
                          <a:pt x="241773" y="46434"/>
                        </a:lnTo>
                        <a:lnTo>
                          <a:pt x="245505" y="49837"/>
                        </a:lnTo>
                        <a:lnTo>
                          <a:pt x="245121" y="52938"/>
                        </a:lnTo>
                        <a:lnTo>
                          <a:pt x="240785" y="52608"/>
                        </a:lnTo>
                        <a:lnTo>
                          <a:pt x="236174" y="54117"/>
                        </a:lnTo>
                        <a:lnTo>
                          <a:pt x="238041" y="57383"/>
                        </a:lnTo>
                        <a:lnTo>
                          <a:pt x="246767" y="61280"/>
                        </a:lnTo>
                        <a:lnTo>
                          <a:pt x="250994" y="79530"/>
                        </a:lnTo>
                        <a:lnTo>
                          <a:pt x="251570" y="82933"/>
                        </a:lnTo>
                        <a:lnTo>
                          <a:pt x="249978" y="85842"/>
                        </a:lnTo>
                        <a:lnTo>
                          <a:pt x="248935" y="92593"/>
                        </a:lnTo>
                        <a:lnTo>
                          <a:pt x="243117" y="97587"/>
                        </a:lnTo>
                        <a:lnTo>
                          <a:pt x="243502" y="100771"/>
                        </a:lnTo>
                        <a:lnTo>
                          <a:pt x="243447" y="103542"/>
                        </a:lnTo>
                        <a:lnTo>
                          <a:pt x="251735" y="111281"/>
                        </a:lnTo>
                        <a:lnTo>
                          <a:pt x="255522" y="113971"/>
                        </a:lnTo>
                        <a:lnTo>
                          <a:pt x="257388" y="118938"/>
                        </a:lnTo>
                        <a:lnTo>
                          <a:pt x="254589" y="125058"/>
                        </a:lnTo>
                        <a:lnTo>
                          <a:pt x="256537" y="130985"/>
                        </a:lnTo>
                        <a:lnTo>
                          <a:pt x="259336" y="133044"/>
                        </a:lnTo>
                        <a:lnTo>
                          <a:pt x="261093" y="140673"/>
                        </a:lnTo>
                        <a:lnTo>
                          <a:pt x="259968" y="143938"/>
                        </a:lnTo>
                        <a:lnTo>
                          <a:pt x="256921" y="152281"/>
                        </a:lnTo>
                        <a:lnTo>
                          <a:pt x="260654" y="159938"/>
                        </a:lnTo>
                        <a:lnTo>
                          <a:pt x="260324" y="163889"/>
                        </a:lnTo>
                        <a:lnTo>
                          <a:pt x="261422" y="166881"/>
                        </a:lnTo>
                        <a:lnTo>
                          <a:pt x="266307" y="169433"/>
                        </a:lnTo>
                        <a:lnTo>
                          <a:pt x="267514" y="174181"/>
                        </a:lnTo>
                        <a:lnTo>
                          <a:pt x="268942" y="178352"/>
                        </a:lnTo>
                        <a:lnTo>
                          <a:pt x="268201" y="184856"/>
                        </a:lnTo>
                        <a:lnTo>
                          <a:pt x="263096" y="197343"/>
                        </a:lnTo>
                        <a:lnTo>
                          <a:pt x="261422" y="199703"/>
                        </a:lnTo>
                        <a:lnTo>
                          <a:pt x="257059" y="197919"/>
                        </a:lnTo>
                        <a:lnTo>
                          <a:pt x="255989" y="192156"/>
                        </a:lnTo>
                        <a:lnTo>
                          <a:pt x="253326" y="189247"/>
                        </a:lnTo>
                        <a:lnTo>
                          <a:pt x="248222" y="188698"/>
                        </a:lnTo>
                        <a:lnTo>
                          <a:pt x="247151" y="191277"/>
                        </a:lnTo>
                        <a:lnTo>
                          <a:pt x="249567" y="195778"/>
                        </a:lnTo>
                        <a:lnTo>
                          <a:pt x="233869" y="203709"/>
                        </a:lnTo>
                        <a:lnTo>
                          <a:pt x="228627" y="203847"/>
                        </a:lnTo>
                        <a:lnTo>
                          <a:pt x="224237" y="208320"/>
                        </a:lnTo>
                        <a:lnTo>
                          <a:pt x="211146" y="214439"/>
                        </a:lnTo>
                        <a:lnTo>
                          <a:pt x="207963" y="218913"/>
                        </a:lnTo>
                        <a:lnTo>
                          <a:pt x="204038" y="216827"/>
                        </a:lnTo>
                        <a:lnTo>
                          <a:pt x="197260" y="218775"/>
                        </a:lnTo>
                        <a:lnTo>
                          <a:pt x="189549" y="227969"/>
                        </a:lnTo>
                        <a:lnTo>
                          <a:pt x="183045" y="222892"/>
                        </a:lnTo>
                        <a:lnTo>
                          <a:pt x="184801" y="227420"/>
                        </a:lnTo>
                        <a:lnTo>
                          <a:pt x="187765" y="234829"/>
                        </a:lnTo>
                        <a:lnTo>
                          <a:pt x="196300" y="241828"/>
                        </a:lnTo>
                        <a:lnTo>
                          <a:pt x="191909" y="248524"/>
                        </a:lnTo>
                        <a:lnTo>
                          <a:pt x="197562" y="258348"/>
                        </a:lnTo>
                        <a:lnTo>
                          <a:pt x="198852" y="259364"/>
                        </a:lnTo>
                        <a:lnTo>
                          <a:pt x="198715" y="261312"/>
                        </a:lnTo>
                        <a:lnTo>
                          <a:pt x="203380" y="266691"/>
                        </a:lnTo>
                        <a:lnTo>
                          <a:pt x="209033" y="268283"/>
                        </a:lnTo>
                        <a:lnTo>
                          <a:pt x="214522" y="275006"/>
                        </a:lnTo>
                        <a:lnTo>
                          <a:pt x="220230" y="279781"/>
                        </a:lnTo>
                        <a:lnTo>
                          <a:pt x="221740" y="283706"/>
                        </a:lnTo>
                        <a:lnTo>
                          <a:pt x="225719" y="284254"/>
                        </a:lnTo>
                        <a:lnTo>
                          <a:pt x="234198" y="293036"/>
                        </a:lnTo>
                        <a:lnTo>
                          <a:pt x="232909" y="295616"/>
                        </a:lnTo>
                        <a:lnTo>
                          <a:pt x="233293" y="300171"/>
                        </a:lnTo>
                        <a:lnTo>
                          <a:pt x="230878" y="304535"/>
                        </a:lnTo>
                        <a:lnTo>
                          <a:pt x="224593" y="301077"/>
                        </a:lnTo>
                        <a:lnTo>
                          <a:pt x="222398" y="302916"/>
                        </a:lnTo>
                        <a:lnTo>
                          <a:pt x="221080" y="310764"/>
                        </a:lnTo>
                        <a:lnTo>
                          <a:pt x="214714" y="314222"/>
                        </a:lnTo>
                        <a:lnTo>
                          <a:pt x="207881" y="318092"/>
                        </a:lnTo>
                        <a:lnTo>
                          <a:pt x="202227" y="322236"/>
                        </a:lnTo>
                        <a:lnTo>
                          <a:pt x="205411" y="327367"/>
                        </a:lnTo>
                        <a:lnTo>
                          <a:pt x="205878" y="328849"/>
                        </a:lnTo>
                        <a:lnTo>
                          <a:pt x="209006" y="333240"/>
                        </a:lnTo>
                        <a:lnTo>
                          <a:pt x="207414" y="338838"/>
                        </a:lnTo>
                        <a:lnTo>
                          <a:pt x="211805" y="341775"/>
                        </a:lnTo>
                        <a:lnTo>
                          <a:pt x="210844" y="348197"/>
                        </a:lnTo>
                        <a:lnTo>
                          <a:pt x="207222" y="348992"/>
                        </a:lnTo>
                        <a:lnTo>
                          <a:pt x="200526" y="341116"/>
                        </a:lnTo>
                        <a:lnTo>
                          <a:pt x="197672" y="341747"/>
                        </a:lnTo>
                        <a:lnTo>
                          <a:pt x="196986" y="343284"/>
                        </a:lnTo>
                        <a:lnTo>
                          <a:pt x="194791" y="343367"/>
                        </a:lnTo>
                        <a:lnTo>
                          <a:pt x="193391" y="341747"/>
                        </a:lnTo>
                        <a:lnTo>
                          <a:pt x="190015" y="340458"/>
                        </a:lnTo>
                        <a:lnTo>
                          <a:pt x="185981" y="340046"/>
                        </a:lnTo>
                        <a:lnTo>
                          <a:pt x="185432" y="341747"/>
                        </a:lnTo>
                        <a:lnTo>
                          <a:pt x="185048" y="343751"/>
                        </a:lnTo>
                        <a:lnTo>
                          <a:pt x="181865" y="343861"/>
                        </a:lnTo>
                        <a:lnTo>
                          <a:pt x="169268" y="345013"/>
                        </a:lnTo>
                        <a:lnTo>
                          <a:pt x="167155" y="348087"/>
                        </a:lnTo>
                        <a:lnTo>
                          <a:pt x="162737" y="349239"/>
                        </a:lnTo>
                        <a:lnTo>
                          <a:pt x="163066" y="351407"/>
                        </a:lnTo>
                        <a:lnTo>
                          <a:pt x="151156" y="353520"/>
                        </a:lnTo>
                        <a:lnTo>
                          <a:pt x="150443" y="353520"/>
                        </a:lnTo>
                        <a:lnTo>
                          <a:pt x="147369" y="347401"/>
                        </a:lnTo>
                        <a:lnTo>
                          <a:pt x="134663" y="346577"/>
                        </a:lnTo>
                        <a:lnTo>
                          <a:pt x="134059" y="353438"/>
                        </a:lnTo>
                        <a:lnTo>
                          <a:pt x="126512" y="358982"/>
                        </a:lnTo>
                        <a:lnTo>
                          <a:pt x="127089" y="354728"/>
                        </a:lnTo>
                        <a:lnTo>
                          <a:pt x="124646" y="354454"/>
                        </a:lnTo>
                        <a:lnTo>
                          <a:pt x="121271" y="349706"/>
                        </a:lnTo>
                        <a:lnTo>
                          <a:pt x="120338" y="346962"/>
                        </a:lnTo>
                        <a:lnTo>
                          <a:pt x="108318" y="347154"/>
                        </a:lnTo>
                        <a:lnTo>
                          <a:pt x="106479" y="346714"/>
                        </a:lnTo>
                        <a:lnTo>
                          <a:pt x="102609" y="343394"/>
                        </a:lnTo>
                        <a:lnTo>
                          <a:pt x="97258" y="342187"/>
                        </a:lnTo>
                        <a:lnTo>
                          <a:pt x="88174" y="341665"/>
                        </a:lnTo>
                        <a:lnTo>
                          <a:pt x="87214" y="340128"/>
                        </a:lnTo>
                        <a:lnTo>
                          <a:pt x="85869" y="341308"/>
                        </a:lnTo>
                        <a:lnTo>
                          <a:pt x="82192" y="340897"/>
                        </a:lnTo>
                        <a:lnTo>
                          <a:pt x="81972" y="340842"/>
                        </a:lnTo>
                        <a:lnTo>
                          <a:pt x="82741" y="338372"/>
                        </a:lnTo>
                        <a:lnTo>
                          <a:pt x="80518" y="335792"/>
                        </a:lnTo>
                        <a:lnTo>
                          <a:pt x="77444" y="336890"/>
                        </a:lnTo>
                        <a:lnTo>
                          <a:pt x="74919" y="341693"/>
                        </a:lnTo>
                        <a:lnTo>
                          <a:pt x="77088" y="342489"/>
                        </a:lnTo>
                        <a:lnTo>
                          <a:pt x="80298" y="341638"/>
                        </a:lnTo>
                        <a:lnTo>
                          <a:pt x="74947" y="345973"/>
                        </a:lnTo>
                        <a:lnTo>
                          <a:pt x="59305" y="345178"/>
                        </a:lnTo>
                        <a:lnTo>
                          <a:pt x="54008" y="347209"/>
                        </a:lnTo>
                        <a:lnTo>
                          <a:pt x="51648" y="346276"/>
                        </a:lnTo>
                        <a:lnTo>
                          <a:pt x="50331" y="345013"/>
                        </a:lnTo>
                        <a:lnTo>
                          <a:pt x="48300" y="341638"/>
                        </a:lnTo>
                        <a:lnTo>
                          <a:pt x="49068" y="338317"/>
                        </a:lnTo>
                        <a:lnTo>
                          <a:pt x="50742" y="328492"/>
                        </a:lnTo>
                        <a:lnTo>
                          <a:pt x="50001" y="321988"/>
                        </a:lnTo>
                        <a:lnTo>
                          <a:pt x="50001" y="321714"/>
                        </a:lnTo>
                        <a:cubicBezTo>
                          <a:pt x="50001" y="321714"/>
                          <a:pt x="53047" y="315732"/>
                          <a:pt x="53047" y="315732"/>
                        </a:cubicBezTo>
                        <a:lnTo>
                          <a:pt x="57246" y="300171"/>
                        </a:lnTo>
                        <a:lnTo>
                          <a:pt x="61280" y="295259"/>
                        </a:lnTo>
                        <a:lnTo>
                          <a:pt x="69294" y="284172"/>
                        </a:lnTo>
                        <a:lnTo>
                          <a:pt x="64464" y="282718"/>
                        </a:lnTo>
                        <a:lnTo>
                          <a:pt x="59826" y="280659"/>
                        </a:lnTo>
                        <a:lnTo>
                          <a:pt x="51758" y="280248"/>
                        </a:lnTo>
                        <a:lnTo>
                          <a:pt x="47230" y="275665"/>
                        </a:lnTo>
                        <a:lnTo>
                          <a:pt x="43936" y="275418"/>
                        </a:lnTo>
                        <a:lnTo>
                          <a:pt x="40341" y="277366"/>
                        </a:lnTo>
                        <a:lnTo>
                          <a:pt x="36033" y="275665"/>
                        </a:lnTo>
                        <a:lnTo>
                          <a:pt x="30873" y="273058"/>
                        </a:lnTo>
                        <a:lnTo>
                          <a:pt x="26702" y="275418"/>
                        </a:lnTo>
                        <a:lnTo>
                          <a:pt x="24918" y="272811"/>
                        </a:lnTo>
                        <a:lnTo>
                          <a:pt x="20006" y="263754"/>
                        </a:lnTo>
                        <a:lnTo>
                          <a:pt x="14380" y="261916"/>
                        </a:lnTo>
                        <a:lnTo>
                          <a:pt x="14380" y="258293"/>
                        </a:lnTo>
                        <a:lnTo>
                          <a:pt x="17811" y="250088"/>
                        </a:lnTo>
                        <a:lnTo>
                          <a:pt x="17591" y="245505"/>
                        </a:lnTo>
                        <a:lnTo>
                          <a:pt x="14380" y="244215"/>
                        </a:lnTo>
                        <a:lnTo>
                          <a:pt x="8892" y="239083"/>
                        </a:lnTo>
                        <a:lnTo>
                          <a:pt x="7684" y="231372"/>
                        </a:lnTo>
                        <a:lnTo>
                          <a:pt x="9084" y="227091"/>
                        </a:lnTo>
                        <a:lnTo>
                          <a:pt x="14380" y="222892"/>
                        </a:lnTo>
                        <a:lnTo>
                          <a:pt x="15560" y="222453"/>
                        </a:lnTo>
                        <a:lnTo>
                          <a:pt x="12926" y="214467"/>
                        </a:lnTo>
                        <a:lnTo>
                          <a:pt x="9276" y="213342"/>
                        </a:lnTo>
                        <a:lnTo>
                          <a:pt x="9194" y="211283"/>
                        </a:lnTo>
                        <a:lnTo>
                          <a:pt x="9770" y="208155"/>
                        </a:lnTo>
                        <a:lnTo>
                          <a:pt x="4254" y="202557"/>
                        </a:lnTo>
                        <a:lnTo>
                          <a:pt x="6175" y="195174"/>
                        </a:lnTo>
                        <a:lnTo>
                          <a:pt x="0" y="189631"/>
                        </a:lnTo>
                        <a:lnTo>
                          <a:pt x="8754" y="182496"/>
                        </a:lnTo>
                        <a:lnTo>
                          <a:pt x="5736" y="179752"/>
                        </a:lnTo>
                        <a:lnTo>
                          <a:pt x="10209" y="174016"/>
                        </a:lnTo>
                        <a:lnTo>
                          <a:pt x="9358" y="166744"/>
                        </a:lnTo>
                        <a:lnTo>
                          <a:pt x="2251" y="155904"/>
                        </a:lnTo>
                        <a:lnTo>
                          <a:pt x="3787" y="151924"/>
                        </a:lnTo>
                        <a:lnTo>
                          <a:pt x="8562" y="148631"/>
                        </a:lnTo>
                        <a:lnTo>
                          <a:pt x="15615" y="152089"/>
                        </a:lnTo>
                        <a:lnTo>
                          <a:pt x="26510" y="146902"/>
                        </a:lnTo>
                        <a:lnTo>
                          <a:pt x="25110" y="141441"/>
                        </a:lnTo>
                        <a:lnTo>
                          <a:pt x="25961" y="138203"/>
                        </a:lnTo>
                        <a:lnTo>
                          <a:pt x="34963" y="132330"/>
                        </a:lnTo>
                        <a:lnTo>
                          <a:pt x="33288" y="122807"/>
                        </a:lnTo>
                        <a:lnTo>
                          <a:pt x="24122" y="120530"/>
                        </a:lnTo>
                        <a:lnTo>
                          <a:pt x="24479" y="113696"/>
                        </a:lnTo>
                        <a:lnTo>
                          <a:pt x="33206" y="113147"/>
                        </a:lnTo>
                        <a:lnTo>
                          <a:pt x="35758" y="103460"/>
                        </a:lnTo>
                        <a:lnTo>
                          <a:pt x="38832" y="96490"/>
                        </a:lnTo>
                        <a:lnTo>
                          <a:pt x="39024" y="90041"/>
                        </a:lnTo>
                        <a:lnTo>
                          <a:pt x="39463" y="85732"/>
                        </a:lnTo>
                        <a:lnTo>
                          <a:pt x="39189" y="83701"/>
                        </a:lnTo>
                        <a:lnTo>
                          <a:pt x="40835" y="79612"/>
                        </a:lnTo>
                        <a:lnTo>
                          <a:pt x="34386" y="79036"/>
                        </a:lnTo>
                        <a:lnTo>
                          <a:pt x="33041" y="77911"/>
                        </a:lnTo>
                        <a:lnTo>
                          <a:pt x="36389" y="66851"/>
                        </a:lnTo>
                        <a:lnTo>
                          <a:pt x="41027" y="61033"/>
                        </a:lnTo>
                        <a:lnTo>
                          <a:pt x="49205" y="62350"/>
                        </a:lnTo>
                        <a:lnTo>
                          <a:pt x="56862" y="60704"/>
                        </a:lnTo>
                        <a:lnTo>
                          <a:pt x="62378" y="60951"/>
                        </a:lnTo>
                        <a:lnTo>
                          <a:pt x="65150" y="64162"/>
                        </a:lnTo>
                        <a:lnTo>
                          <a:pt x="67016" y="69211"/>
                        </a:lnTo>
                        <a:lnTo>
                          <a:pt x="64244" y="70721"/>
                        </a:lnTo>
                        <a:lnTo>
                          <a:pt x="68224" y="75496"/>
                        </a:lnTo>
                        <a:lnTo>
                          <a:pt x="71187" y="73273"/>
                        </a:lnTo>
                        <a:lnTo>
                          <a:pt x="69650" y="68827"/>
                        </a:lnTo>
                        <a:lnTo>
                          <a:pt x="70940" y="66083"/>
                        </a:lnTo>
                        <a:lnTo>
                          <a:pt x="78789" y="69760"/>
                        </a:lnTo>
                        <a:lnTo>
                          <a:pt x="77774" y="65753"/>
                        </a:lnTo>
                        <a:lnTo>
                          <a:pt x="78267" y="56587"/>
                        </a:lnTo>
                        <a:lnTo>
                          <a:pt x="82686" y="51511"/>
                        </a:lnTo>
                        <a:lnTo>
                          <a:pt x="85979" y="54200"/>
                        </a:lnTo>
                        <a:lnTo>
                          <a:pt x="92428" y="54365"/>
                        </a:lnTo>
                        <a:lnTo>
                          <a:pt x="99920" y="52718"/>
                        </a:lnTo>
                        <a:lnTo>
                          <a:pt x="97779" y="52114"/>
                        </a:lnTo>
                        <a:lnTo>
                          <a:pt x="92730" y="52114"/>
                        </a:lnTo>
                        <a:lnTo>
                          <a:pt x="86994" y="44952"/>
                        </a:lnTo>
                        <a:lnTo>
                          <a:pt x="90589" y="42564"/>
                        </a:lnTo>
                        <a:lnTo>
                          <a:pt x="86857" y="37871"/>
                        </a:lnTo>
                        <a:lnTo>
                          <a:pt x="87351" y="32767"/>
                        </a:lnTo>
                        <a:lnTo>
                          <a:pt x="82905" y="29748"/>
                        </a:lnTo>
                        <a:lnTo>
                          <a:pt x="88339" y="24068"/>
                        </a:lnTo>
                        <a:lnTo>
                          <a:pt x="87681" y="17728"/>
                        </a:lnTo>
                        <a:lnTo>
                          <a:pt x="81780" y="5104"/>
                        </a:lnTo>
                        <a:lnTo>
                          <a:pt x="81231" y="0"/>
                        </a:lnTo>
                        <a:lnTo>
                          <a:pt x="92785" y="1592"/>
                        </a:lnTo>
                        <a:lnTo>
                          <a:pt x="95282" y="194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48" name="Freeform: Shape 2947">
                    <a:extLst>
                      <a:ext uri="{FF2B5EF4-FFF2-40B4-BE49-F238E27FC236}">
                        <a16:creationId xmlns:a16="http://schemas.microsoft.com/office/drawing/2014/main" id="{39DDA3F7-9AC9-8CF7-887F-35087FC7BCC4}"/>
                      </a:ext>
                    </a:extLst>
                  </p:cNvPr>
                  <p:cNvSpPr/>
                  <p:nvPr/>
                </p:nvSpPr>
                <p:spPr>
                  <a:xfrm>
                    <a:off x="-5962513" y="2956322"/>
                    <a:ext cx="7272" cy="6037"/>
                  </a:xfrm>
                  <a:custGeom>
                    <a:avLst/>
                    <a:gdLst>
                      <a:gd name="connsiteX0" fmla="*/ 7272 w 7272"/>
                      <a:gd name="connsiteY0" fmla="*/ 5818 h 6037"/>
                      <a:gd name="connsiteX1" fmla="*/ 3019 w 7272"/>
                      <a:gd name="connsiteY1" fmla="*/ 6037 h 6037"/>
                      <a:gd name="connsiteX2" fmla="*/ 55 w 7272"/>
                      <a:gd name="connsiteY2" fmla="*/ 4034 h 6037"/>
                      <a:gd name="connsiteX3" fmla="*/ 0 w 7272"/>
                      <a:gd name="connsiteY3" fmla="*/ 1125 h 6037"/>
                      <a:gd name="connsiteX4" fmla="*/ 1015 w 7272"/>
                      <a:gd name="connsiteY4" fmla="*/ 0 h 6037"/>
                      <a:gd name="connsiteX5" fmla="*/ 5407 w 7272"/>
                      <a:gd name="connsiteY5" fmla="*/ 1125 h 6037"/>
                      <a:gd name="connsiteX6" fmla="*/ 7218 w 7272"/>
                      <a:gd name="connsiteY6" fmla="*/ 5818 h 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72" h="6037">
                        <a:moveTo>
                          <a:pt x="7272" y="5818"/>
                        </a:moveTo>
                        <a:lnTo>
                          <a:pt x="3019" y="6037"/>
                        </a:lnTo>
                        <a:lnTo>
                          <a:pt x="55" y="4034"/>
                        </a:lnTo>
                        <a:lnTo>
                          <a:pt x="0" y="1125"/>
                        </a:lnTo>
                        <a:lnTo>
                          <a:pt x="1015" y="0"/>
                        </a:lnTo>
                        <a:lnTo>
                          <a:pt x="5407" y="1125"/>
                        </a:lnTo>
                        <a:lnTo>
                          <a:pt x="7218" y="581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49" name="Freeform: Shape 2948">
                    <a:extLst>
                      <a:ext uri="{FF2B5EF4-FFF2-40B4-BE49-F238E27FC236}">
                        <a16:creationId xmlns:a16="http://schemas.microsoft.com/office/drawing/2014/main" id="{9B79689C-4A14-A77E-5B0C-78D120C02E13}"/>
                      </a:ext>
                    </a:extLst>
                  </p:cNvPr>
                  <p:cNvSpPr/>
                  <p:nvPr/>
                </p:nvSpPr>
                <p:spPr>
                  <a:xfrm>
                    <a:off x="-6040424" y="2982173"/>
                    <a:ext cx="4473" cy="5515"/>
                  </a:xfrm>
                  <a:custGeom>
                    <a:avLst/>
                    <a:gdLst>
                      <a:gd name="connsiteX0" fmla="*/ 4446 w 4473"/>
                      <a:gd name="connsiteY0" fmla="*/ 905 h 5515"/>
                      <a:gd name="connsiteX1" fmla="*/ 2360 w 4473"/>
                      <a:gd name="connsiteY1" fmla="*/ 5516 h 5515"/>
                      <a:gd name="connsiteX2" fmla="*/ 0 w 4473"/>
                      <a:gd name="connsiteY2" fmla="*/ 4336 h 5515"/>
                      <a:gd name="connsiteX3" fmla="*/ 2635 w 4473"/>
                      <a:gd name="connsiteY3" fmla="*/ 0 h 5515"/>
                      <a:gd name="connsiteX4" fmla="*/ 4473 w 4473"/>
                      <a:gd name="connsiteY4" fmla="*/ 905 h 5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3" h="5515">
                        <a:moveTo>
                          <a:pt x="4446" y="905"/>
                        </a:moveTo>
                        <a:lnTo>
                          <a:pt x="2360" y="5516"/>
                        </a:lnTo>
                        <a:lnTo>
                          <a:pt x="0" y="4336"/>
                        </a:lnTo>
                        <a:lnTo>
                          <a:pt x="2635" y="0"/>
                        </a:lnTo>
                        <a:lnTo>
                          <a:pt x="4473" y="90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50" name="Freeform: Shape 2949">
                    <a:extLst>
                      <a:ext uri="{FF2B5EF4-FFF2-40B4-BE49-F238E27FC236}">
                        <a16:creationId xmlns:a16="http://schemas.microsoft.com/office/drawing/2014/main" id="{9F55E247-5AFE-D31F-0A9E-956EBA55F581}"/>
                      </a:ext>
                    </a:extLst>
                  </p:cNvPr>
                  <p:cNvSpPr/>
                  <p:nvPr/>
                </p:nvSpPr>
                <p:spPr>
                  <a:xfrm>
                    <a:off x="-6057328" y="2971168"/>
                    <a:ext cx="4116" cy="5845"/>
                  </a:xfrm>
                  <a:custGeom>
                    <a:avLst/>
                    <a:gdLst>
                      <a:gd name="connsiteX0" fmla="*/ 4089 w 4116"/>
                      <a:gd name="connsiteY0" fmla="*/ 1537 h 5845"/>
                      <a:gd name="connsiteX1" fmla="*/ 3403 w 4116"/>
                      <a:gd name="connsiteY1" fmla="*/ 5845 h 5845"/>
                      <a:gd name="connsiteX2" fmla="*/ 0 w 4116"/>
                      <a:gd name="connsiteY2" fmla="*/ 1262 h 5845"/>
                      <a:gd name="connsiteX3" fmla="*/ 2579 w 4116"/>
                      <a:gd name="connsiteY3" fmla="*/ 0 h 5845"/>
                      <a:gd name="connsiteX4" fmla="*/ 4116 w 4116"/>
                      <a:gd name="connsiteY4" fmla="*/ 1537 h 5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5845">
                        <a:moveTo>
                          <a:pt x="4089" y="1537"/>
                        </a:moveTo>
                        <a:lnTo>
                          <a:pt x="3403" y="5845"/>
                        </a:lnTo>
                        <a:lnTo>
                          <a:pt x="0" y="1262"/>
                        </a:lnTo>
                        <a:lnTo>
                          <a:pt x="2579" y="0"/>
                        </a:lnTo>
                        <a:lnTo>
                          <a:pt x="4116" y="153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51" name="Freeform: Shape 2950">
                    <a:extLst>
                      <a:ext uri="{FF2B5EF4-FFF2-40B4-BE49-F238E27FC236}">
                        <a16:creationId xmlns:a16="http://schemas.microsoft.com/office/drawing/2014/main" id="{54C6C2F3-E290-6221-451A-A23752A4CB84}"/>
                      </a:ext>
                    </a:extLst>
                  </p:cNvPr>
                  <p:cNvSpPr/>
                  <p:nvPr/>
                </p:nvSpPr>
                <p:spPr>
                  <a:xfrm>
                    <a:off x="-6040176" y="2945070"/>
                    <a:ext cx="6229" cy="3759"/>
                  </a:xfrm>
                  <a:custGeom>
                    <a:avLst/>
                    <a:gdLst>
                      <a:gd name="connsiteX0" fmla="*/ 6230 w 6229"/>
                      <a:gd name="connsiteY0" fmla="*/ 412 h 3759"/>
                      <a:gd name="connsiteX1" fmla="*/ 5571 w 6229"/>
                      <a:gd name="connsiteY1" fmla="*/ 3760 h 3759"/>
                      <a:gd name="connsiteX2" fmla="*/ 2964 w 6229"/>
                      <a:gd name="connsiteY2" fmla="*/ 3760 h 3759"/>
                      <a:gd name="connsiteX3" fmla="*/ 0 w 6229"/>
                      <a:gd name="connsiteY3" fmla="*/ 1866 h 3759"/>
                      <a:gd name="connsiteX4" fmla="*/ 1345 w 6229"/>
                      <a:gd name="connsiteY4" fmla="*/ 0 h 3759"/>
                      <a:gd name="connsiteX5" fmla="*/ 6230 w 6229"/>
                      <a:gd name="connsiteY5" fmla="*/ 412 h 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9" h="3759">
                        <a:moveTo>
                          <a:pt x="6230" y="412"/>
                        </a:moveTo>
                        <a:lnTo>
                          <a:pt x="5571" y="3760"/>
                        </a:lnTo>
                        <a:lnTo>
                          <a:pt x="2964" y="3760"/>
                        </a:lnTo>
                        <a:cubicBezTo>
                          <a:pt x="2964" y="3760"/>
                          <a:pt x="0" y="1866"/>
                          <a:pt x="0" y="1866"/>
                        </a:cubicBezTo>
                        <a:lnTo>
                          <a:pt x="1345" y="0"/>
                        </a:lnTo>
                        <a:lnTo>
                          <a:pt x="6230" y="41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52" name="Freeform: Shape 2951">
                    <a:extLst>
                      <a:ext uri="{FF2B5EF4-FFF2-40B4-BE49-F238E27FC236}">
                        <a16:creationId xmlns:a16="http://schemas.microsoft.com/office/drawing/2014/main" id="{A7894602-5259-A2B5-C196-24D159DA6A93}"/>
                      </a:ext>
                    </a:extLst>
                  </p:cNvPr>
                  <p:cNvSpPr/>
                  <p:nvPr/>
                </p:nvSpPr>
                <p:spPr>
                  <a:xfrm>
                    <a:off x="-6043744" y="2945784"/>
                    <a:ext cx="3512" cy="6613"/>
                  </a:xfrm>
                  <a:custGeom>
                    <a:avLst/>
                    <a:gdLst>
                      <a:gd name="connsiteX0" fmla="*/ 3513 w 3512"/>
                      <a:gd name="connsiteY0" fmla="*/ 4583 h 6613"/>
                      <a:gd name="connsiteX1" fmla="*/ 2058 w 3512"/>
                      <a:gd name="connsiteY1" fmla="*/ 6614 h 6613"/>
                      <a:gd name="connsiteX2" fmla="*/ 0 w 3512"/>
                      <a:gd name="connsiteY2" fmla="*/ 3567 h 6613"/>
                      <a:gd name="connsiteX3" fmla="*/ 2799 w 3512"/>
                      <a:gd name="connsiteY3" fmla="*/ 0 h 6613"/>
                      <a:gd name="connsiteX4" fmla="*/ 3513 w 3512"/>
                      <a:gd name="connsiteY4" fmla="*/ 4583 h 6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6613">
                        <a:moveTo>
                          <a:pt x="3513" y="4583"/>
                        </a:moveTo>
                        <a:lnTo>
                          <a:pt x="2058" y="6614"/>
                        </a:lnTo>
                        <a:lnTo>
                          <a:pt x="0" y="3567"/>
                        </a:lnTo>
                        <a:lnTo>
                          <a:pt x="2799" y="0"/>
                        </a:lnTo>
                        <a:lnTo>
                          <a:pt x="3513" y="458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53" name="Freeform: Shape 2952">
                    <a:extLst>
                      <a:ext uri="{FF2B5EF4-FFF2-40B4-BE49-F238E27FC236}">
                        <a16:creationId xmlns:a16="http://schemas.microsoft.com/office/drawing/2014/main" id="{EABCA7D2-F28F-39F7-ED6A-B7771949D360}"/>
                      </a:ext>
                    </a:extLst>
                  </p:cNvPr>
                  <p:cNvSpPr/>
                  <p:nvPr/>
                </p:nvSpPr>
                <p:spPr>
                  <a:xfrm>
                    <a:off x="-6091577" y="3001163"/>
                    <a:ext cx="4473" cy="4528"/>
                  </a:xfrm>
                  <a:custGeom>
                    <a:avLst/>
                    <a:gdLst>
                      <a:gd name="connsiteX0" fmla="*/ 3348 w 4473"/>
                      <a:gd name="connsiteY0" fmla="*/ 0 h 4528"/>
                      <a:gd name="connsiteX1" fmla="*/ 4473 w 4473"/>
                      <a:gd name="connsiteY1" fmla="*/ 4528 h 4528"/>
                      <a:gd name="connsiteX2" fmla="*/ 576 w 4473"/>
                      <a:gd name="connsiteY2" fmla="*/ 3787 h 4528"/>
                      <a:gd name="connsiteX3" fmla="*/ 0 w 4473"/>
                      <a:gd name="connsiteY3" fmla="*/ 2141 h 4528"/>
                      <a:gd name="connsiteX4" fmla="*/ 3320 w 4473"/>
                      <a:gd name="connsiteY4" fmla="*/ 0 h 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3" h="4528">
                        <a:moveTo>
                          <a:pt x="3348" y="0"/>
                        </a:moveTo>
                        <a:lnTo>
                          <a:pt x="4473" y="4528"/>
                        </a:lnTo>
                        <a:lnTo>
                          <a:pt x="576" y="3787"/>
                        </a:lnTo>
                        <a:lnTo>
                          <a:pt x="0" y="2141"/>
                        </a:lnTo>
                        <a:lnTo>
                          <a:pt x="3320"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54" name="Freeform: Shape 2953">
                    <a:extLst>
                      <a:ext uri="{FF2B5EF4-FFF2-40B4-BE49-F238E27FC236}">
                        <a16:creationId xmlns:a16="http://schemas.microsoft.com/office/drawing/2014/main" id="{F9805D10-4BDA-524D-CED3-31B2EA935F8B}"/>
                      </a:ext>
                    </a:extLst>
                  </p:cNvPr>
                  <p:cNvSpPr/>
                  <p:nvPr/>
                </p:nvSpPr>
                <p:spPr>
                  <a:xfrm>
                    <a:off x="-6086528" y="2997980"/>
                    <a:ext cx="3567" cy="5516"/>
                  </a:xfrm>
                  <a:custGeom>
                    <a:avLst/>
                    <a:gdLst>
                      <a:gd name="connsiteX0" fmla="*/ 3567 w 3567"/>
                      <a:gd name="connsiteY0" fmla="*/ 741 h 5516"/>
                      <a:gd name="connsiteX1" fmla="*/ 2799 w 3567"/>
                      <a:gd name="connsiteY1" fmla="*/ 5516 h 5516"/>
                      <a:gd name="connsiteX2" fmla="*/ 933 w 3567"/>
                      <a:gd name="connsiteY2" fmla="*/ 3760 h 5516"/>
                      <a:gd name="connsiteX3" fmla="*/ 0 w 3567"/>
                      <a:gd name="connsiteY3" fmla="*/ 988 h 5516"/>
                      <a:gd name="connsiteX4" fmla="*/ 1180 w 3567"/>
                      <a:gd name="connsiteY4" fmla="*/ 0 h 5516"/>
                      <a:gd name="connsiteX5" fmla="*/ 3567 w 3567"/>
                      <a:gd name="connsiteY5" fmla="*/ 714 h 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5516">
                        <a:moveTo>
                          <a:pt x="3567" y="741"/>
                        </a:moveTo>
                        <a:lnTo>
                          <a:pt x="2799" y="5516"/>
                        </a:lnTo>
                        <a:lnTo>
                          <a:pt x="933" y="3760"/>
                        </a:lnTo>
                        <a:lnTo>
                          <a:pt x="0" y="988"/>
                        </a:lnTo>
                        <a:lnTo>
                          <a:pt x="1180" y="0"/>
                        </a:lnTo>
                        <a:lnTo>
                          <a:pt x="3567" y="71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55" name="Freeform: Shape 2954">
                    <a:extLst>
                      <a:ext uri="{FF2B5EF4-FFF2-40B4-BE49-F238E27FC236}">
                        <a16:creationId xmlns:a16="http://schemas.microsoft.com/office/drawing/2014/main" id="{0A2AC011-87B3-3619-6764-BF081FACF0A6}"/>
                      </a:ext>
                    </a:extLst>
                  </p:cNvPr>
                  <p:cNvSpPr/>
                  <p:nvPr/>
                </p:nvSpPr>
                <p:spPr>
                  <a:xfrm>
                    <a:off x="-6043525" y="2933270"/>
                    <a:ext cx="3073" cy="5982"/>
                  </a:xfrm>
                  <a:custGeom>
                    <a:avLst/>
                    <a:gdLst>
                      <a:gd name="connsiteX0" fmla="*/ 3074 w 3073"/>
                      <a:gd name="connsiteY0" fmla="*/ 5900 h 5982"/>
                      <a:gd name="connsiteX1" fmla="*/ 0 w 3073"/>
                      <a:gd name="connsiteY1" fmla="*/ 5983 h 5982"/>
                      <a:gd name="connsiteX2" fmla="*/ 1729 w 3073"/>
                      <a:gd name="connsiteY2" fmla="*/ 0 h 5982"/>
                      <a:gd name="connsiteX3" fmla="*/ 3074 w 3073"/>
                      <a:gd name="connsiteY3" fmla="*/ 1180 h 5982"/>
                      <a:gd name="connsiteX4" fmla="*/ 3074 w 3073"/>
                      <a:gd name="connsiteY4" fmla="*/ 5900 h 5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 h="5982">
                        <a:moveTo>
                          <a:pt x="3074" y="5900"/>
                        </a:moveTo>
                        <a:lnTo>
                          <a:pt x="0" y="5983"/>
                        </a:lnTo>
                        <a:lnTo>
                          <a:pt x="1729" y="0"/>
                        </a:lnTo>
                        <a:lnTo>
                          <a:pt x="3074" y="1180"/>
                        </a:lnTo>
                        <a:lnTo>
                          <a:pt x="3074" y="590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56" name="Freeform: Shape 2955">
                    <a:extLst>
                      <a:ext uri="{FF2B5EF4-FFF2-40B4-BE49-F238E27FC236}">
                        <a16:creationId xmlns:a16="http://schemas.microsoft.com/office/drawing/2014/main" id="{22F8F1D6-A9E0-8A23-BA80-B0659486691A}"/>
                      </a:ext>
                    </a:extLst>
                  </p:cNvPr>
                  <p:cNvSpPr/>
                  <p:nvPr/>
                </p:nvSpPr>
                <p:spPr>
                  <a:xfrm>
                    <a:off x="-6035182" y="2954977"/>
                    <a:ext cx="4390" cy="4061"/>
                  </a:xfrm>
                  <a:custGeom>
                    <a:avLst/>
                    <a:gdLst>
                      <a:gd name="connsiteX0" fmla="*/ 4391 w 4390"/>
                      <a:gd name="connsiteY0" fmla="*/ 0 h 4061"/>
                      <a:gd name="connsiteX1" fmla="*/ 3787 w 4390"/>
                      <a:gd name="connsiteY1" fmla="*/ 4062 h 4061"/>
                      <a:gd name="connsiteX2" fmla="*/ 0 w 4390"/>
                      <a:gd name="connsiteY2" fmla="*/ 2772 h 4061"/>
                      <a:gd name="connsiteX3" fmla="*/ 0 w 4390"/>
                      <a:gd name="connsiteY3" fmla="*/ 933 h 4061"/>
                      <a:gd name="connsiteX4" fmla="*/ 4391 w 4390"/>
                      <a:gd name="connsiteY4" fmla="*/ 0 h 4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0" h="4061">
                        <a:moveTo>
                          <a:pt x="4391" y="0"/>
                        </a:moveTo>
                        <a:lnTo>
                          <a:pt x="3787" y="4062"/>
                        </a:lnTo>
                        <a:lnTo>
                          <a:pt x="0" y="2772"/>
                        </a:lnTo>
                        <a:lnTo>
                          <a:pt x="0" y="933"/>
                        </a:lnTo>
                        <a:cubicBezTo>
                          <a:pt x="0" y="933"/>
                          <a:pt x="4391" y="0"/>
                          <a:pt x="4391" y="0"/>
                        </a:cubicBez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57" name="Freeform: Shape 2956">
                    <a:extLst>
                      <a:ext uri="{FF2B5EF4-FFF2-40B4-BE49-F238E27FC236}">
                        <a16:creationId xmlns:a16="http://schemas.microsoft.com/office/drawing/2014/main" id="{EA2C2D60-B2C0-C8E0-8751-87255BEF756B}"/>
                      </a:ext>
                    </a:extLst>
                  </p:cNvPr>
                  <p:cNvSpPr/>
                  <p:nvPr/>
                </p:nvSpPr>
                <p:spPr>
                  <a:xfrm>
                    <a:off x="-6048519" y="2790209"/>
                    <a:ext cx="82603" cy="151759"/>
                  </a:xfrm>
                  <a:custGeom>
                    <a:avLst/>
                    <a:gdLst>
                      <a:gd name="connsiteX0" fmla="*/ 71324 w 82603"/>
                      <a:gd name="connsiteY0" fmla="*/ 21735 h 151759"/>
                      <a:gd name="connsiteX1" fmla="*/ 64573 w 82603"/>
                      <a:gd name="connsiteY1" fmla="*/ 39573 h 151759"/>
                      <a:gd name="connsiteX2" fmla="*/ 64052 w 82603"/>
                      <a:gd name="connsiteY2" fmla="*/ 51071 h 151759"/>
                      <a:gd name="connsiteX3" fmla="*/ 61555 w 82603"/>
                      <a:gd name="connsiteY3" fmla="*/ 53898 h 151759"/>
                      <a:gd name="connsiteX4" fmla="*/ 64848 w 82603"/>
                      <a:gd name="connsiteY4" fmla="*/ 54145 h 151759"/>
                      <a:gd name="connsiteX5" fmla="*/ 69294 w 82603"/>
                      <a:gd name="connsiteY5" fmla="*/ 62186 h 151759"/>
                      <a:gd name="connsiteX6" fmla="*/ 80024 w 82603"/>
                      <a:gd name="connsiteY6" fmla="*/ 63036 h 151759"/>
                      <a:gd name="connsiteX7" fmla="*/ 82603 w 82603"/>
                      <a:gd name="connsiteY7" fmla="*/ 70419 h 151759"/>
                      <a:gd name="connsiteX8" fmla="*/ 76868 w 82603"/>
                      <a:gd name="connsiteY8" fmla="*/ 80600 h 151759"/>
                      <a:gd name="connsiteX9" fmla="*/ 73520 w 82603"/>
                      <a:gd name="connsiteY9" fmla="*/ 79859 h 151759"/>
                      <a:gd name="connsiteX10" fmla="*/ 70748 w 82603"/>
                      <a:gd name="connsiteY10" fmla="*/ 83070 h 151759"/>
                      <a:gd name="connsiteX11" fmla="*/ 68553 w 82603"/>
                      <a:gd name="connsiteY11" fmla="*/ 75770 h 151759"/>
                      <a:gd name="connsiteX12" fmla="*/ 64107 w 82603"/>
                      <a:gd name="connsiteY12" fmla="*/ 80353 h 151759"/>
                      <a:gd name="connsiteX13" fmla="*/ 62213 w 82603"/>
                      <a:gd name="connsiteY13" fmla="*/ 96270 h 151759"/>
                      <a:gd name="connsiteX14" fmla="*/ 55105 w 82603"/>
                      <a:gd name="connsiteY14" fmla="*/ 98273 h 151759"/>
                      <a:gd name="connsiteX15" fmla="*/ 55435 w 82603"/>
                      <a:gd name="connsiteY15" fmla="*/ 105162 h 151759"/>
                      <a:gd name="connsiteX16" fmla="*/ 46214 w 82603"/>
                      <a:gd name="connsiteY16" fmla="*/ 105299 h 151759"/>
                      <a:gd name="connsiteX17" fmla="*/ 49397 w 82603"/>
                      <a:gd name="connsiteY17" fmla="*/ 111226 h 151759"/>
                      <a:gd name="connsiteX18" fmla="*/ 44485 w 82603"/>
                      <a:gd name="connsiteY18" fmla="*/ 120941 h 151759"/>
                      <a:gd name="connsiteX19" fmla="*/ 46845 w 82603"/>
                      <a:gd name="connsiteY19" fmla="*/ 128845 h 151759"/>
                      <a:gd name="connsiteX20" fmla="*/ 45363 w 82603"/>
                      <a:gd name="connsiteY20" fmla="*/ 133016 h 151759"/>
                      <a:gd name="connsiteX21" fmla="*/ 42921 w 82603"/>
                      <a:gd name="connsiteY21" fmla="*/ 133016 h 151759"/>
                      <a:gd name="connsiteX22" fmla="*/ 42811 w 82603"/>
                      <a:gd name="connsiteY22" fmla="*/ 139932 h 151759"/>
                      <a:gd name="connsiteX23" fmla="*/ 50166 w 82603"/>
                      <a:gd name="connsiteY23" fmla="*/ 138834 h 151759"/>
                      <a:gd name="connsiteX24" fmla="*/ 54639 w 82603"/>
                      <a:gd name="connsiteY24" fmla="*/ 142127 h 151759"/>
                      <a:gd name="connsiteX25" fmla="*/ 56834 w 82603"/>
                      <a:gd name="connsiteY25" fmla="*/ 147753 h 151759"/>
                      <a:gd name="connsiteX26" fmla="*/ 47504 w 82603"/>
                      <a:gd name="connsiteY26" fmla="*/ 149702 h 151759"/>
                      <a:gd name="connsiteX27" fmla="*/ 44128 w 82603"/>
                      <a:gd name="connsiteY27" fmla="*/ 147973 h 151759"/>
                      <a:gd name="connsiteX28" fmla="*/ 43470 w 82603"/>
                      <a:gd name="connsiteY28" fmla="*/ 147588 h 151759"/>
                      <a:gd name="connsiteX29" fmla="*/ 38804 w 82603"/>
                      <a:gd name="connsiteY29" fmla="*/ 150689 h 151759"/>
                      <a:gd name="connsiteX30" fmla="*/ 35100 w 82603"/>
                      <a:gd name="connsiteY30" fmla="*/ 151760 h 151759"/>
                      <a:gd name="connsiteX31" fmla="*/ 29776 w 82603"/>
                      <a:gd name="connsiteY31" fmla="*/ 148549 h 151759"/>
                      <a:gd name="connsiteX32" fmla="*/ 27278 w 82603"/>
                      <a:gd name="connsiteY32" fmla="*/ 148192 h 151759"/>
                      <a:gd name="connsiteX33" fmla="*/ 15725 w 82603"/>
                      <a:gd name="connsiteY33" fmla="*/ 146601 h 151759"/>
                      <a:gd name="connsiteX34" fmla="*/ 16109 w 82603"/>
                      <a:gd name="connsiteY34" fmla="*/ 122945 h 151759"/>
                      <a:gd name="connsiteX35" fmla="*/ 12404 w 82603"/>
                      <a:gd name="connsiteY35" fmla="*/ 118856 h 151759"/>
                      <a:gd name="connsiteX36" fmla="*/ 9578 w 82603"/>
                      <a:gd name="connsiteY36" fmla="*/ 123192 h 151759"/>
                      <a:gd name="connsiteX37" fmla="*/ 5489 w 82603"/>
                      <a:gd name="connsiteY37" fmla="*/ 112763 h 151759"/>
                      <a:gd name="connsiteX38" fmla="*/ 3403 w 82603"/>
                      <a:gd name="connsiteY38" fmla="*/ 115261 h 151759"/>
                      <a:gd name="connsiteX39" fmla="*/ 0 w 82603"/>
                      <a:gd name="connsiteY39" fmla="*/ 113147 h 151759"/>
                      <a:gd name="connsiteX40" fmla="*/ 2799 w 82603"/>
                      <a:gd name="connsiteY40" fmla="*/ 98932 h 151759"/>
                      <a:gd name="connsiteX41" fmla="*/ 7135 w 82603"/>
                      <a:gd name="connsiteY41" fmla="*/ 93443 h 151759"/>
                      <a:gd name="connsiteX42" fmla="*/ 851 w 82603"/>
                      <a:gd name="connsiteY42" fmla="*/ 81368 h 151759"/>
                      <a:gd name="connsiteX43" fmla="*/ 2827 w 82603"/>
                      <a:gd name="connsiteY43" fmla="*/ 70995 h 151759"/>
                      <a:gd name="connsiteX44" fmla="*/ 988 w 82603"/>
                      <a:gd name="connsiteY44" fmla="*/ 62680 h 151759"/>
                      <a:gd name="connsiteX45" fmla="*/ 2909 w 82603"/>
                      <a:gd name="connsiteY45" fmla="*/ 55298 h 151759"/>
                      <a:gd name="connsiteX46" fmla="*/ 16631 w 82603"/>
                      <a:gd name="connsiteY46" fmla="*/ 64711 h 151759"/>
                      <a:gd name="connsiteX47" fmla="*/ 18442 w 82603"/>
                      <a:gd name="connsiteY47" fmla="*/ 63201 h 151759"/>
                      <a:gd name="connsiteX48" fmla="*/ 19430 w 82603"/>
                      <a:gd name="connsiteY48" fmla="*/ 55654 h 151759"/>
                      <a:gd name="connsiteX49" fmla="*/ 26620 w 82603"/>
                      <a:gd name="connsiteY49" fmla="*/ 46269 h 151759"/>
                      <a:gd name="connsiteX50" fmla="*/ 30297 w 82603"/>
                      <a:gd name="connsiteY50" fmla="*/ 51702 h 151759"/>
                      <a:gd name="connsiteX51" fmla="*/ 30105 w 82603"/>
                      <a:gd name="connsiteY51" fmla="*/ 57411 h 151759"/>
                      <a:gd name="connsiteX52" fmla="*/ 35786 w 82603"/>
                      <a:gd name="connsiteY52" fmla="*/ 54447 h 151759"/>
                      <a:gd name="connsiteX53" fmla="*/ 32657 w 82603"/>
                      <a:gd name="connsiteY53" fmla="*/ 47614 h 151759"/>
                      <a:gd name="connsiteX54" fmla="*/ 31971 w 82603"/>
                      <a:gd name="connsiteY54" fmla="*/ 38585 h 151759"/>
                      <a:gd name="connsiteX55" fmla="*/ 29803 w 82603"/>
                      <a:gd name="connsiteY55" fmla="*/ 36691 h 151759"/>
                      <a:gd name="connsiteX56" fmla="*/ 24836 w 82603"/>
                      <a:gd name="connsiteY56" fmla="*/ 38420 h 151759"/>
                      <a:gd name="connsiteX57" fmla="*/ 21268 w 82603"/>
                      <a:gd name="connsiteY57" fmla="*/ 49260 h 151759"/>
                      <a:gd name="connsiteX58" fmla="*/ 17920 w 82603"/>
                      <a:gd name="connsiteY58" fmla="*/ 53239 h 151759"/>
                      <a:gd name="connsiteX59" fmla="*/ 8260 w 82603"/>
                      <a:gd name="connsiteY59" fmla="*/ 53185 h 151759"/>
                      <a:gd name="connsiteX60" fmla="*/ 5187 w 82603"/>
                      <a:gd name="connsiteY60" fmla="*/ 46296 h 151759"/>
                      <a:gd name="connsiteX61" fmla="*/ 14051 w 82603"/>
                      <a:gd name="connsiteY61" fmla="*/ 31724 h 151759"/>
                      <a:gd name="connsiteX62" fmla="*/ 37981 w 82603"/>
                      <a:gd name="connsiteY62" fmla="*/ 27498 h 151759"/>
                      <a:gd name="connsiteX63" fmla="*/ 54502 w 82603"/>
                      <a:gd name="connsiteY63" fmla="*/ 5818 h 151759"/>
                      <a:gd name="connsiteX64" fmla="*/ 69321 w 82603"/>
                      <a:gd name="connsiteY64" fmla="*/ 0 h 151759"/>
                      <a:gd name="connsiteX65" fmla="*/ 71324 w 82603"/>
                      <a:gd name="connsiteY65" fmla="*/ 21653 h 151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82603" h="151759">
                        <a:moveTo>
                          <a:pt x="71324" y="21735"/>
                        </a:moveTo>
                        <a:lnTo>
                          <a:pt x="64573" y="39573"/>
                        </a:lnTo>
                        <a:lnTo>
                          <a:pt x="64052" y="51071"/>
                        </a:lnTo>
                        <a:lnTo>
                          <a:pt x="61555" y="53898"/>
                        </a:lnTo>
                        <a:lnTo>
                          <a:pt x="64848" y="54145"/>
                        </a:lnTo>
                        <a:lnTo>
                          <a:pt x="69294" y="62186"/>
                        </a:lnTo>
                        <a:lnTo>
                          <a:pt x="80024" y="63036"/>
                        </a:lnTo>
                        <a:lnTo>
                          <a:pt x="82603" y="70419"/>
                        </a:lnTo>
                        <a:lnTo>
                          <a:pt x="76868" y="80600"/>
                        </a:lnTo>
                        <a:lnTo>
                          <a:pt x="73520" y="79859"/>
                        </a:lnTo>
                        <a:lnTo>
                          <a:pt x="70748" y="83070"/>
                        </a:lnTo>
                        <a:lnTo>
                          <a:pt x="68553" y="75770"/>
                        </a:lnTo>
                        <a:lnTo>
                          <a:pt x="64107" y="80353"/>
                        </a:lnTo>
                        <a:lnTo>
                          <a:pt x="62213" y="96270"/>
                        </a:lnTo>
                        <a:lnTo>
                          <a:pt x="55105" y="98273"/>
                        </a:lnTo>
                        <a:lnTo>
                          <a:pt x="55435" y="105162"/>
                        </a:lnTo>
                        <a:lnTo>
                          <a:pt x="46214" y="105299"/>
                        </a:lnTo>
                        <a:lnTo>
                          <a:pt x="49397" y="111226"/>
                        </a:lnTo>
                        <a:lnTo>
                          <a:pt x="44485" y="120941"/>
                        </a:lnTo>
                        <a:lnTo>
                          <a:pt x="46845" y="128845"/>
                        </a:lnTo>
                        <a:lnTo>
                          <a:pt x="45363" y="133016"/>
                        </a:lnTo>
                        <a:lnTo>
                          <a:pt x="42921" y="133016"/>
                        </a:lnTo>
                        <a:lnTo>
                          <a:pt x="42811" y="139932"/>
                        </a:lnTo>
                        <a:lnTo>
                          <a:pt x="50166" y="138834"/>
                        </a:lnTo>
                        <a:lnTo>
                          <a:pt x="54639" y="142127"/>
                        </a:lnTo>
                        <a:lnTo>
                          <a:pt x="56834" y="147753"/>
                        </a:lnTo>
                        <a:lnTo>
                          <a:pt x="47504" y="149702"/>
                        </a:lnTo>
                        <a:lnTo>
                          <a:pt x="44128" y="147973"/>
                        </a:lnTo>
                        <a:lnTo>
                          <a:pt x="43470" y="147588"/>
                        </a:lnTo>
                        <a:lnTo>
                          <a:pt x="38804" y="150689"/>
                        </a:lnTo>
                        <a:lnTo>
                          <a:pt x="35100" y="151760"/>
                        </a:lnTo>
                        <a:lnTo>
                          <a:pt x="29776" y="148549"/>
                        </a:lnTo>
                        <a:lnTo>
                          <a:pt x="27278" y="148192"/>
                        </a:lnTo>
                        <a:lnTo>
                          <a:pt x="15725" y="146601"/>
                        </a:lnTo>
                        <a:lnTo>
                          <a:pt x="16109" y="122945"/>
                        </a:lnTo>
                        <a:lnTo>
                          <a:pt x="12404" y="118856"/>
                        </a:lnTo>
                        <a:lnTo>
                          <a:pt x="9578" y="123192"/>
                        </a:lnTo>
                        <a:lnTo>
                          <a:pt x="5489" y="112763"/>
                        </a:lnTo>
                        <a:lnTo>
                          <a:pt x="3403" y="115261"/>
                        </a:lnTo>
                        <a:lnTo>
                          <a:pt x="0" y="113147"/>
                        </a:lnTo>
                        <a:lnTo>
                          <a:pt x="2799" y="98932"/>
                        </a:lnTo>
                        <a:lnTo>
                          <a:pt x="7135" y="93443"/>
                        </a:lnTo>
                        <a:lnTo>
                          <a:pt x="851" y="81368"/>
                        </a:lnTo>
                        <a:lnTo>
                          <a:pt x="2827" y="70995"/>
                        </a:lnTo>
                        <a:lnTo>
                          <a:pt x="988" y="62680"/>
                        </a:lnTo>
                        <a:lnTo>
                          <a:pt x="2909" y="55298"/>
                        </a:lnTo>
                        <a:lnTo>
                          <a:pt x="16631" y="64711"/>
                        </a:lnTo>
                        <a:lnTo>
                          <a:pt x="18442" y="63201"/>
                        </a:lnTo>
                        <a:lnTo>
                          <a:pt x="19430" y="55654"/>
                        </a:lnTo>
                        <a:lnTo>
                          <a:pt x="26620" y="46269"/>
                        </a:lnTo>
                        <a:lnTo>
                          <a:pt x="30297" y="51702"/>
                        </a:lnTo>
                        <a:lnTo>
                          <a:pt x="30105" y="57411"/>
                        </a:lnTo>
                        <a:lnTo>
                          <a:pt x="35786" y="54447"/>
                        </a:lnTo>
                        <a:lnTo>
                          <a:pt x="32657" y="47614"/>
                        </a:lnTo>
                        <a:lnTo>
                          <a:pt x="31971" y="38585"/>
                        </a:lnTo>
                        <a:lnTo>
                          <a:pt x="29803" y="36691"/>
                        </a:lnTo>
                        <a:lnTo>
                          <a:pt x="24836" y="38420"/>
                        </a:lnTo>
                        <a:lnTo>
                          <a:pt x="21268" y="49260"/>
                        </a:lnTo>
                        <a:lnTo>
                          <a:pt x="17920" y="53239"/>
                        </a:lnTo>
                        <a:lnTo>
                          <a:pt x="8260" y="53185"/>
                        </a:lnTo>
                        <a:lnTo>
                          <a:pt x="5187" y="46296"/>
                        </a:lnTo>
                        <a:lnTo>
                          <a:pt x="14051" y="31724"/>
                        </a:lnTo>
                        <a:lnTo>
                          <a:pt x="37981" y="27498"/>
                        </a:lnTo>
                        <a:lnTo>
                          <a:pt x="54502" y="5818"/>
                        </a:lnTo>
                        <a:lnTo>
                          <a:pt x="69321" y="0"/>
                        </a:lnTo>
                        <a:lnTo>
                          <a:pt x="71324" y="2165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58" name="Freeform: Shape 2957">
                    <a:extLst>
                      <a:ext uri="{FF2B5EF4-FFF2-40B4-BE49-F238E27FC236}">
                        <a16:creationId xmlns:a16="http://schemas.microsoft.com/office/drawing/2014/main" id="{95778F26-4FB1-E5E4-348F-D4F2733E2D53}"/>
                      </a:ext>
                    </a:extLst>
                  </p:cNvPr>
                  <p:cNvSpPr/>
                  <p:nvPr/>
                </p:nvSpPr>
                <p:spPr>
                  <a:xfrm>
                    <a:off x="-5962870" y="2874432"/>
                    <a:ext cx="48299" cy="78212"/>
                  </a:xfrm>
                  <a:custGeom>
                    <a:avLst/>
                    <a:gdLst>
                      <a:gd name="connsiteX0" fmla="*/ 46159 w 48299"/>
                      <a:gd name="connsiteY0" fmla="*/ 16082 h 78212"/>
                      <a:gd name="connsiteX1" fmla="*/ 46159 w 48299"/>
                      <a:gd name="connsiteY1" fmla="*/ 20555 h 78212"/>
                      <a:gd name="connsiteX2" fmla="*/ 48300 w 48299"/>
                      <a:gd name="connsiteY2" fmla="*/ 27470 h 78212"/>
                      <a:gd name="connsiteX3" fmla="*/ 45720 w 48299"/>
                      <a:gd name="connsiteY3" fmla="*/ 28595 h 78212"/>
                      <a:gd name="connsiteX4" fmla="*/ 43854 w 48299"/>
                      <a:gd name="connsiteY4" fmla="*/ 25001 h 78212"/>
                      <a:gd name="connsiteX5" fmla="*/ 39683 w 48299"/>
                      <a:gd name="connsiteY5" fmla="*/ 27223 h 78212"/>
                      <a:gd name="connsiteX6" fmla="*/ 35594 w 48299"/>
                      <a:gd name="connsiteY6" fmla="*/ 31230 h 78212"/>
                      <a:gd name="connsiteX7" fmla="*/ 35456 w 48299"/>
                      <a:gd name="connsiteY7" fmla="*/ 36005 h 78212"/>
                      <a:gd name="connsiteX8" fmla="*/ 41384 w 48299"/>
                      <a:gd name="connsiteY8" fmla="*/ 41686 h 78212"/>
                      <a:gd name="connsiteX9" fmla="*/ 33782 w 48299"/>
                      <a:gd name="connsiteY9" fmla="*/ 48190 h 78212"/>
                      <a:gd name="connsiteX10" fmla="*/ 33591 w 48299"/>
                      <a:gd name="connsiteY10" fmla="*/ 52910 h 78212"/>
                      <a:gd name="connsiteX11" fmla="*/ 36499 w 48299"/>
                      <a:gd name="connsiteY11" fmla="*/ 54090 h 78212"/>
                      <a:gd name="connsiteX12" fmla="*/ 36829 w 48299"/>
                      <a:gd name="connsiteY12" fmla="*/ 58097 h 78212"/>
                      <a:gd name="connsiteX13" fmla="*/ 41192 w 48299"/>
                      <a:gd name="connsiteY13" fmla="*/ 57410 h 78212"/>
                      <a:gd name="connsiteX14" fmla="*/ 42345 w 48299"/>
                      <a:gd name="connsiteY14" fmla="*/ 59716 h 78212"/>
                      <a:gd name="connsiteX15" fmla="*/ 35676 w 48299"/>
                      <a:gd name="connsiteY15" fmla="*/ 63777 h 78212"/>
                      <a:gd name="connsiteX16" fmla="*/ 29831 w 48299"/>
                      <a:gd name="connsiteY16" fmla="*/ 71544 h 78212"/>
                      <a:gd name="connsiteX17" fmla="*/ 27553 w 48299"/>
                      <a:gd name="connsiteY17" fmla="*/ 78212 h 78212"/>
                      <a:gd name="connsiteX18" fmla="*/ 13447 w 48299"/>
                      <a:gd name="connsiteY18" fmla="*/ 77471 h 78212"/>
                      <a:gd name="connsiteX19" fmla="*/ 0 w 48299"/>
                      <a:gd name="connsiteY19" fmla="*/ 69156 h 78212"/>
                      <a:gd name="connsiteX20" fmla="*/ 384 w 48299"/>
                      <a:gd name="connsiteY20" fmla="*/ 63914 h 78212"/>
                      <a:gd name="connsiteX21" fmla="*/ 2827 w 48299"/>
                      <a:gd name="connsiteY21" fmla="*/ 61115 h 78212"/>
                      <a:gd name="connsiteX22" fmla="*/ 7657 w 48299"/>
                      <a:gd name="connsiteY22" fmla="*/ 60951 h 78212"/>
                      <a:gd name="connsiteX23" fmla="*/ 15368 w 48299"/>
                      <a:gd name="connsiteY23" fmla="*/ 66138 h 78212"/>
                      <a:gd name="connsiteX24" fmla="*/ 27169 w 48299"/>
                      <a:gd name="connsiteY24" fmla="*/ 60018 h 78212"/>
                      <a:gd name="connsiteX25" fmla="*/ 19430 w 48299"/>
                      <a:gd name="connsiteY25" fmla="*/ 49123 h 78212"/>
                      <a:gd name="connsiteX26" fmla="*/ 7602 w 48299"/>
                      <a:gd name="connsiteY26" fmla="*/ 46214 h 78212"/>
                      <a:gd name="connsiteX27" fmla="*/ 1427 w 48299"/>
                      <a:gd name="connsiteY27" fmla="*/ 21021 h 78212"/>
                      <a:gd name="connsiteX28" fmla="*/ 8151 w 48299"/>
                      <a:gd name="connsiteY28" fmla="*/ 18743 h 78212"/>
                      <a:gd name="connsiteX29" fmla="*/ 18579 w 48299"/>
                      <a:gd name="connsiteY29" fmla="*/ 8782 h 78212"/>
                      <a:gd name="connsiteX30" fmla="*/ 20637 w 48299"/>
                      <a:gd name="connsiteY30" fmla="*/ 10511 h 78212"/>
                      <a:gd name="connsiteX31" fmla="*/ 22750 w 48299"/>
                      <a:gd name="connsiteY31" fmla="*/ 23793 h 78212"/>
                      <a:gd name="connsiteX32" fmla="*/ 25303 w 48299"/>
                      <a:gd name="connsiteY32" fmla="*/ 19786 h 78212"/>
                      <a:gd name="connsiteX33" fmla="*/ 27086 w 48299"/>
                      <a:gd name="connsiteY33" fmla="*/ 14078 h 78212"/>
                      <a:gd name="connsiteX34" fmla="*/ 26181 w 48299"/>
                      <a:gd name="connsiteY34" fmla="*/ 7135 h 78212"/>
                      <a:gd name="connsiteX35" fmla="*/ 37240 w 48299"/>
                      <a:gd name="connsiteY35" fmla="*/ 0 h 78212"/>
                      <a:gd name="connsiteX36" fmla="*/ 45748 w 48299"/>
                      <a:gd name="connsiteY36" fmla="*/ 3650 h 78212"/>
                      <a:gd name="connsiteX37" fmla="*/ 46159 w 48299"/>
                      <a:gd name="connsiteY37" fmla="*/ 16136 h 78212"/>
                      <a:gd name="connsiteX38" fmla="*/ 28458 w 48299"/>
                      <a:gd name="connsiteY38" fmla="*/ 20143 h 78212"/>
                      <a:gd name="connsiteX39" fmla="*/ 29502 w 48299"/>
                      <a:gd name="connsiteY39" fmla="*/ 21954 h 78212"/>
                      <a:gd name="connsiteX40" fmla="*/ 31477 w 48299"/>
                      <a:gd name="connsiteY40" fmla="*/ 21899 h 78212"/>
                      <a:gd name="connsiteX41" fmla="*/ 31642 w 48299"/>
                      <a:gd name="connsiteY41" fmla="*/ 17481 h 78212"/>
                      <a:gd name="connsiteX42" fmla="*/ 28458 w 48299"/>
                      <a:gd name="connsiteY42" fmla="*/ 20143 h 7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8299" h="78212">
                        <a:moveTo>
                          <a:pt x="46159" y="16082"/>
                        </a:moveTo>
                        <a:lnTo>
                          <a:pt x="46159" y="20555"/>
                        </a:lnTo>
                        <a:cubicBezTo>
                          <a:pt x="46159" y="20555"/>
                          <a:pt x="48300" y="27470"/>
                          <a:pt x="48300" y="27470"/>
                        </a:cubicBezTo>
                        <a:lnTo>
                          <a:pt x="45720" y="28595"/>
                        </a:lnTo>
                        <a:lnTo>
                          <a:pt x="43854" y="25001"/>
                        </a:lnTo>
                        <a:lnTo>
                          <a:pt x="39683" y="27223"/>
                        </a:lnTo>
                        <a:lnTo>
                          <a:pt x="35594" y="31230"/>
                        </a:lnTo>
                        <a:lnTo>
                          <a:pt x="35456" y="36005"/>
                        </a:lnTo>
                        <a:lnTo>
                          <a:pt x="41384" y="41686"/>
                        </a:lnTo>
                        <a:lnTo>
                          <a:pt x="33782" y="48190"/>
                        </a:lnTo>
                        <a:lnTo>
                          <a:pt x="33591" y="52910"/>
                        </a:lnTo>
                        <a:lnTo>
                          <a:pt x="36499" y="54090"/>
                        </a:lnTo>
                        <a:lnTo>
                          <a:pt x="36829" y="58097"/>
                        </a:lnTo>
                        <a:lnTo>
                          <a:pt x="41192" y="57410"/>
                        </a:lnTo>
                        <a:lnTo>
                          <a:pt x="42345" y="59716"/>
                        </a:lnTo>
                        <a:lnTo>
                          <a:pt x="35676" y="63777"/>
                        </a:lnTo>
                        <a:lnTo>
                          <a:pt x="29831" y="71544"/>
                        </a:lnTo>
                        <a:lnTo>
                          <a:pt x="27553" y="78212"/>
                        </a:lnTo>
                        <a:lnTo>
                          <a:pt x="13447" y="77471"/>
                        </a:lnTo>
                        <a:lnTo>
                          <a:pt x="0" y="69156"/>
                        </a:lnTo>
                        <a:lnTo>
                          <a:pt x="384" y="63914"/>
                        </a:lnTo>
                        <a:lnTo>
                          <a:pt x="2827" y="61115"/>
                        </a:lnTo>
                        <a:lnTo>
                          <a:pt x="7657" y="60951"/>
                        </a:lnTo>
                        <a:lnTo>
                          <a:pt x="15368" y="66138"/>
                        </a:lnTo>
                        <a:lnTo>
                          <a:pt x="27169" y="60018"/>
                        </a:lnTo>
                        <a:lnTo>
                          <a:pt x="19430" y="49123"/>
                        </a:lnTo>
                        <a:lnTo>
                          <a:pt x="7602" y="46214"/>
                        </a:lnTo>
                        <a:lnTo>
                          <a:pt x="1427" y="21021"/>
                        </a:lnTo>
                        <a:lnTo>
                          <a:pt x="8151" y="18743"/>
                        </a:lnTo>
                        <a:lnTo>
                          <a:pt x="18579" y="8782"/>
                        </a:lnTo>
                        <a:lnTo>
                          <a:pt x="20637" y="10511"/>
                        </a:lnTo>
                        <a:lnTo>
                          <a:pt x="22750" y="23793"/>
                        </a:lnTo>
                        <a:lnTo>
                          <a:pt x="25303" y="19786"/>
                        </a:lnTo>
                        <a:lnTo>
                          <a:pt x="27086" y="14078"/>
                        </a:lnTo>
                        <a:lnTo>
                          <a:pt x="26181" y="7135"/>
                        </a:lnTo>
                        <a:lnTo>
                          <a:pt x="37240" y="0"/>
                        </a:lnTo>
                        <a:lnTo>
                          <a:pt x="45748" y="3650"/>
                        </a:lnTo>
                        <a:lnTo>
                          <a:pt x="46159" y="16136"/>
                        </a:lnTo>
                        <a:moveTo>
                          <a:pt x="28458" y="20143"/>
                        </a:moveTo>
                        <a:lnTo>
                          <a:pt x="29502" y="21954"/>
                        </a:lnTo>
                        <a:lnTo>
                          <a:pt x="31477" y="21899"/>
                        </a:lnTo>
                        <a:lnTo>
                          <a:pt x="31642" y="17481"/>
                        </a:lnTo>
                        <a:lnTo>
                          <a:pt x="28458" y="2014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59" name="Freeform: Shape 2958">
                    <a:extLst>
                      <a:ext uri="{FF2B5EF4-FFF2-40B4-BE49-F238E27FC236}">
                        <a16:creationId xmlns:a16="http://schemas.microsoft.com/office/drawing/2014/main" id="{1C47BCAA-53F2-5D61-B4CC-D1D14419E364}"/>
                      </a:ext>
                    </a:extLst>
                  </p:cNvPr>
                  <p:cNvSpPr/>
                  <p:nvPr/>
                </p:nvSpPr>
                <p:spPr>
                  <a:xfrm>
                    <a:off x="-5999616" y="2901793"/>
                    <a:ext cx="30598" cy="32931"/>
                  </a:xfrm>
                  <a:custGeom>
                    <a:avLst/>
                    <a:gdLst>
                      <a:gd name="connsiteX0" fmla="*/ 18963 w 30598"/>
                      <a:gd name="connsiteY0" fmla="*/ 0 h 32931"/>
                      <a:gd name="connsiteX1" fmla="*/ 23190 w 30598"/>
                      <a:gd name="connsiteY1" fmla="*/ 6833 h 32931"/>
                      <a:gd name="connsiteX2" fmla="*/ 25522 w 30598"/>
                      <a:gd name="connsiteY2" fmla="*/ 1070 h 32931"/>
                      <a:gd name="connsiteX3" fmla="*/ 26867 w 30598"/>
                      <a:gd name="connsiteY3" fmla="*/ 2003 h 32931"/>
                      <a:gd name="connsiteX4" fmla="*/ 30599 w 30598"/>
                      <a:gd name="connsiteY4" fmla="*/ 21405 h 32931"/>
                      <a:gd name="connsiteX5" fmla="*/ 25687 w 30598"/>
                      <a:gd name="connsiteY5" fmla="*/ 32932 h 32931"/>
                      <a:gd name="connsiteX6" fmla="*/ 18963 w 30598"/>
                      <a:gd name="connsiteY6" fmla="*/ 28376 h 32931"/>
                      <a:gd name="connsiteX7" fmla="*/ 10895 w 30598"/>
                      <a:gd name="connsiteY7" fmla="*/ 27580 h 32931"/>
                      <a:gd name="connsiteX8" fmla="*/ 10456 w 30598"/>
                      <a:gd name="connsiteY8" fmla="*/ 21433 h 32931"/>
                      <a:gd name="connsiteX9" fmla="*/ 8288 w 30598"/>
                      <a:gd name="connsiteY9" fmla="*/ 21433 h 32931"/>
                      <a:gd name="connsiteX10" fmla="*/ 3760 w 30598"/>
                      <a:gd name="connsiteY10" fmla="*/ 17591 h 32931"/>
                      <a:gd name="connsiteX11" fmla="*/ 0 w 30598"/>
                      <a:gd name="connsiteY11" fmla="*/ 3348 h 32931"/>
                      <a:gd name="connsiteX12" fmla="*/ 18991 w 30598"/>
                      <a:gd name="connsiteY12" fmla="*/ 27 h 3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8" h="32931">
                        <a:moveTo>
                          <a:pt x="18963" y="0"/>
                        </a:moveTo>
                        <a:lnTo>
                          <a:pt x="23190" y="6833"/>
                        </a:lnTo>
                        <a:lnTo>
                          <a:pt x="25522" y="1070"/>
                        </a:lnTo>
                        <a:lnTo>
                          <a:pt x="26867" y="2003"/>
                        </a:lnTo>
                        <a:lnTo>
                          <a:pt x="30599" y="21405"/>
                        </a:lnTo>
                        <a:lnTo>
                          <a:pt x="25687" y="32932"/>
                        </a:lnTo>
                        <a:lnTo>
                          <a:pt x="18963" y="28376"/>
                        </a:lnTo>
                        <a:lnTo>
                          <a:pt x="10895" y="27580"/>
                        </a:lnTo>
                        <a:lnTo>
                          <a:pt x="10456" y="21433"/>
                        </a:lnTo>
                        <a:lnTo>
                          <a:pt x="8288" y="21433"/>
                        </a:lnTo>
                        <a:lnTo>
                          <a:pt x="3760" y="17591"/>
                        </a:lnTo>
                        <a:lnTo>
                          <a:pt x="0" y="3348"/>
                        </a:lnTo>
                        <a:lnTo>
                          <a:pt x="18991" y="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60" name="Freeform: Shape 2959">
                    <a:extLst>
                      <a:ext uri="{FF2B5EF4-FFF2-40B4-BE49-F238E27FC236}">
                        <a16:creationId xmlns:a16="http://schemas.microsoft.com/office/drawing/2014/main" id="{3E07BEED-BF65-9277-78B7-1425B44E8FA2}"/>
                      </a:ext>
                    </a:extLst>
                  </p:cNvPr>
                  <p:cNvSpPr/>
                  <p:nvPr/>
                </p:nvSpPr>
                <p:spPr>
                  <a:xfrm>
                    <a:off x="-5854882" y="2917023"/>
                    <a:ext cx="13776" cy="15917"/>
                  </a:xfrm>
                  <a:custGeom>
                    <a:avLst/>
                    <a:gdLst>
                      <a:gd name="connsiteX0" fmla="*/ 13776 w 13776"/>
                      <a:gd name="connsiteY0" fmla="*/ 11361 h 15917"/>
                      <a:gd name="connsiteX1" fmla="*/ 11691 w 13776"/>
                      <a:gd name="connsiteY1" fmla="*/ 15917 h 15917"/>
                      <a:gd name="connsiteX2" fmla="*/ 8178 w 13776"/>
                      <a:gd name="connsiteY2" fmla="*/ 15094 h 15917"/>
                      <a:gd name="connsiteX3" fmla="*/ 1784 w 13776"/>
                      <a:gd name="connsiteY3" fmla="*/ 12048 h 15917"/>
                      <a:gd name="connsiteX4" fmla="*/ 0 w 13776"/>
                      <a:gd name="connsiteY4" fmla="*/ 10319 h 15917"/>
                      <a:gd name="connsiteX5" fmla="*/ 851 w 13776"/>
                      <a:gd name="connsiteY5" fmla="*/ 3815 h 15917"/>
                      <a:gd name="connsiteX6" fmla="*/ 2634 w 13776"/>
                      <a:gd name="connsiteY6" fmla="*/ 0 h 15917"/>
                      <a:gd name="connsiteX7" fmla="*/ 4171 w 13776"/>
                      <a:gd name="connsiteY7" fmla="*/ 2305 h 15917"/>
                      <a:gd name="connsiteX8" fmla="*/ 13776 w 13776"/>
                      <a:gd name="connsiteY8" fmla="*/ 8563 h 15917"/>
                      <a:gd name="connsiteX9" fmla="*/ 13776 w 13776"/>
                      <a:gd name="connsiteY9" fmla="*/ 11361 h 15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76" h="15917">
                        <a:moveTo>
                          <a:pt x="13776" y="11361"/>
                        </a:moveTo>
                        <a:lnTo>
                          <a:pt x="11691" y="15917"/>
                        </a:lnTo>
                        <a:lnTo>
                          <a:pt x="8178" y="15094"/>
                        </a:lnTo>
                        <a:lnTo>
                          <a:pt x="1784" y="12048"/>
                        </a:lnTo>
                        <a:lnTo>
                          <a:pt x="0" y="10319"/>
                        </a:lnTo>
                        <a:lnTo>
                          <a:pt x="851" y="3815"/>
                        </a:lnTo>
                        <a:lnTo>
                          <a:pt x="2634" y="0"/>
                        </a:lnTo>
                        <a:lnTo>
                          <a:pt x="4171" y="2305"/>
                        </a:lnTo>
                        <a:lnTo>
                          <a:pt x="13776" y="8563"/>
                        </a:lnTo>
                        <a:lnTo>
                          <a:pt x="13776" y="1136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61" name="Freeform: Shape 2960">
                    <a:extLst>
                      <a:ext uri="{FF2B5EF4-FFF2-40B4-BE49-F238E27FC236}">
                        <a16:creationId xmlns:a16="http://schemas.microsoft.com/office/drawing/2014/main" id="{06732282-3574-A3A5-58C3-690C7E088425}"/>
                      </a:ext>
                    </a:extLst>
                  </p:cNvPr>
                  <p:cNvSpPr/>
                  <p:nvPr/>
                </p:nvSpPr>
                <p:spPr>
                  <a:xfrm>
                    <a:off x="-5973463" y="2927095"/>
                    <a:ext cx="7601" cy="19100"/>
                  </a:xfrm>
                  <a:custGeom>
                    <a:avLst/>
                    <a:gdLst>
                      <a:gd name="connsiteX0" fmla="*/ 2415 w 7601"/>
                      <a:gd name="connsiteY0" fmla="*/ 18057 h 19100"/>
                      <a:gd name="connsiteX1" fmla="*/ 1153 w 7601"/>
                      <a:gd name="connsiteY1" fmla="*/ 19100 h 19100"/>
                      <a:gd name="connsiteX2" fmla="*/ 0 w 7601"/>
                      <a:gd name="connsiteY2" fmla="*/ 13557 h 19100"/>
                      <a:gd name="connsiteX3" fmla="*/ 1427 w 7601"/>
                      <a:gd name="connsiteY3" fmla="*/ 8480 h 19100"/>
                      <a:gd name="connsiteX4" fmla="*/ 6998 w 7601"/>
                      <a:gd name="connsiteY4" fmla="*/ 0 h 19100"/>
                      <a:gd name="connsiteX5" fmla="*/ 7602 w 7601"/>
                      <a:gd name="connsiteY5" fmla="*/ 3485 h 19100"/>
                      <a:gd name="connsiteX6" fmla="*/ 2388 w 7601"/>
                      <a:gd name="connsiteY6" fmla="*/ 18057 h 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1" h="19100">
                        <a:moveTo>
                          <a:pt x="2415" y="18057"/>
                        </a:moveTo>
                        <a:lnTo>
                          <a:pt x="1153" y="19100"/>
                        </a:lnTo>
                        <a:lnTo>
                          <a:pt x="0" y="13557"/>
                        </a:lnTo>
                        <a:lnTo>
                          <a:pt x="1427" y="8480"/>
                        </a:lnTo>
                        <a:lnTo>
                          <a:pt x="6998" y="0"/>
                        </a:lnTo>
                        <a:lnTo>
                          <a:pt x="7602" y="3485"/>
                        </a:lnTo>
                        <a:lnTo>
                          <a:pt x="2388" y="1805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62" name="Freeform: Shape 2961">
                    <a:extLst>
                      <a:ext uri="{FF2B5EF4-FFF2-40B4-BE49-F238E27FC236}">
                        <a16:creationId xmlns:a16="http://schemas.microsoft.com/office/drawing/2014/main" id="{717D99F8-9119-50DF-8413-639B985218DD}"/>
                      </a:ext>
                    </a:extLst>
                  </p:cNvPr>
                  <p:cNvSpPr/>
                  <p:nvPr/>
                </p:nvSpPr>
                <p:spPr>
                  <a:xfrm>
                    <a:off x="-5966959" y="2809886"/>
                    <a:ext cx="6531" cy="6311"/>
                  </a:xfrm>
                  <a:custGeom>
                    <a:avLst/>
                    <a:gdLst>
                      <a:gd name="connsiteX0" fmla="*/ 6531 w 6531"/>
                      <a:gd name="connsiteY0" fmla="*/ 3156 h 6311"/>
                      <a:gd name="connsiteX1" fmla="*/ 4830 w 6531"/>
                      <a:gd name="connsiteY1" fmla="*/ 6312 h 6311"/>
                      <a:gd name="connsiteX2" fmla="*/ 0 w 6531"/>
                      <a:gd name="connsiteY2" fmla="*/ 3458 h 6311"/>
                      <a:gd name="connsiteX3" fmla="*/ 1290 w 6531"/>
                      <a:gd name="connsiteY3" fmla="*/ 1043 h 6311"/>
                      <a:gd name="connsiteX4" fmla="*/ 5983 w 6531"/>
                      <a:gd name="connsiteY4" fmla="*/ 0 h 6311"/>
                      <a:gd name="connsiteX5" fmla="*/ 6531 w 6531"/>
                      <a:gd name="connsiteY5" fmla="*/ 3129 h 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1" h="6311">
                        <a:moveTo>
                          <a:pt x="6531" y="3156"/>
                        </a:moveTo>
                        <a:lnTo>
                          <a:pt x="4830" y="6312"/>
                        </a:lnTo>
                        <a:lnTo>
                          <a:pt x="0" y="3458"/>
                        </a:lnTo>
                        <a:lnTo>
                          <a:pt x="1290" y="1043"/>
                        </a:lnTo>
                        <a:lnTo>
                          <a:pt x="5983" y="0"/>
                        </a:lnTo>
                        <a:lnTo>
                          <a:pt x="6531" y="312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63" name="Freeform: Shape 2962">
                    <a:extLst>
                      <a:ext uri="{FF2B5EF4-FFF2-40B4-BE49-F238E27FC236}">
                        <a16:creationId xmlns:a16="http://schemas.microsoft.com/office/drawing/2014/main" id="{2BDED38A-1B06-5B21-1DF0-C1338436E71C}"/>
                      </a:ext>
                    </a:extLst>
                  </p:cNvPr>
                  <p:cNvSpPr/>
                  <p:nvPr/>
                </p:nvSpPr>
                <p:spPr>
                  <a:xfrm>
                    <a:off x="-6037981" y="2922018"/>
                    <a:ext cx="4006" cy="7464"/>
                  </a:xfrm>
                  <a:custGeom>
                    <a:avLst/>
                    <a:gdLst>
                      <a:gd name="connsiteX0" fmla="*/ 3348 w 4006"/>
                      <a:gd name="connsiteY0" fmla="*/ 6147 h 7464"/>
                      <a:gd name="connsiteX1" fmla="*/ 1811 w 4006"/>
                      <a:gd name="connsiteY1" fmla="*/ 7464 h 7464"/>
                      <a:gd name="connsiteX2" fmla="*/ 0 w 4006"/>
                      <a:gd name="connsiteY2" fmla="*/ 4940 h 7464"/>
                      <a:gd name="connsiteX3" fmla="*/ 796 w 4006"/>
                      <a:gd name="connsiteY3" fmla="*/ 0 h 7464"/>
                      <a:gd name="connsiteX4" fmla="*/ 4007 w 4006"/>
                      <a:gd name="connsiteY4" fmla="*/ 302 h 7464"/>
                      <a:gd name="connsiteX5" fmla="*/ 2744 w 4006"/>
                      <a:gd name="connsiteY5" fmla="*/ 3101 h 7464"/>
                      <a:gd name="connsiteX6" fmla="*/ 3321 w 4006"/>
                      <a:gd name="connsiteY6" fmla="*/ 6175 h 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6" h="7464">
                        <a:moveTo>
                          <a:pt x="3348" y="6147"/>
                        </a:moveTo>
                        <a:lnTo>
                          <a:pt x="1811" y="7464"/>
                        </a:lnTo>
                        <a:lnTo>
                          <a:pt x="0" y="4940"/>
                        </a:lnTo>
                        <a:lnTo>
                          <a:pt x="796" y="0"/>
                        </a:lnTo>
                        <a:lnTo>
                          <a:pt x="4007" y="302"/>
                        </a:lnTo>
                        <a:lnTo>
                          <a:pt x="2744" y="3101"/>
                        </a:lnTo>
                        <a:lnTo>
                          <a:pt x="3321" y="617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64" name="Freeform: Shape 2963">
                    <a:extLst>
                      <a:ext uri="{FF2B5EF4-FFF2-40B4-BE49-F238E27FC236}">
                        <a16:creationId xmlns:a16="http://schemas.microsoft.com/office/drawing/2014/main" id="{A758E950-F308-78DF-3182-74F3B234B056}"/>
                      </a:ext>
                    </a:extLst>
                  </p:cNvPr>
                  <p:cNvSpPr/>
                  <p:nvPr/>
                </p:nvSpPr>
                <p:spPr>
                  <a:xfrm>
                    <a:off x="-5977222" y="2885546"/>
                    <a:ext cx="4555" cy="6449"/>
                  </a:xfrm>
                  <a:custGeom>
                    <a:avLst/>
                    <a:gdLst>
                      <a:gd name="connsiteX0" fmla="*/ 3238 w 4555"/>
                      <a:gd name="connsiteY0" fmla="*/ 6147 h 6449"/>
                      <a:gd name="connsiteX1" fmla="*/ 412 w 4555"/>
                      <a:gd name="connsiteY1" fmla="*/ 6449 h 6449"/>
                      <a:gd name="connsiteX2" fmla="*/ 0 w 4555"/>
                      <a:gd name="connsiteY2" fmla="*/ 3211 h 6449"/>
                      <a:gd name="connsiteX3" fmla="*/ 2580 w 4555"/>
                      <a:gd name="connsiteY3" fmla="*/ 0 h 6449"/>
                      <a:gd name="connsiteX4" fmla="*/ 4556 w 4555"/>
                      <a:gd name="connsiteY4" fmla="*/ 384 h 6449"/>
                      <a:gd name="connsiteX5" fmla="*/ 3211 w 4555"/>
                      <a:gd name="connsiteY5" fmla="*/ 6175 h 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 h="6449">
                        <a:moveTo>
                          <a:pt x="3238" y="6147"/>
                        </a:moveTo>
                        <a:lnTo>
                          <a:pt x="412" y="6449"/>
                        </a:lnTo>
                        <a:lnTo>
                          <a:pt x="0" y="3211"/>
                        </a:lnTo>
                        <a:lnTo>
                          <a:pt x="2580" y="0"/>
                        </a:lnTo>
                        <a:lnTo>
                          <a:pt x="4556" y="384"/>
                        </a:lnTo>
                        <a:lnTo>
                          <a:pt x="3211" y="617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65" name="Freeform: Shape 2964">
                    <a:extLst>
                      <a:ext uri="{FF2B5EF4-FFF2-40B4-BE49-F238E27FC236}">
                        <a16:creationId xmlns:a16="http://schemas.microsoft.com/office/drawing/2014/main" id="{518E8B99-F989-55AB-7901-3D6A618D20CA}"/>
                      </a:ext>
                    </a:extLst>
                  </p:cNvPr>
                  <p:cNvSpPr/>
                  <p:nvPr/>
                </p:nvSpPr>
                <p:spPr>
                  <a:xfrm>
                    <a:off x="-5983726" y="2936480"/>
                    <a:ext cx="4775" cy="5488"/>
                  </a:xfrm>
                  <a:custGeom>
                    <a:avLst/>
                    <a:gdLst>
                      <a:gd name="connsiteX0" fmla="*/ 4775 w 4775"/>
                      <a:gd name="connsiteY0" fmla="*/ 1537 h 5488"/>
                      <a:gd name="connsiteX1" fmla="*/ 3129 w 4775"/>
                      <a:gd name="connsiteY1" fmla="*/ 5489 h 5488"/>
                      <a:gd name="connsiteX2" fmla="*/ 0 w 4775"/>
                      <a:gd name="connsiteY2" fmla="*/ 1015 h 5488"/>
                      <a:gd name="connsiteX3" fmla="*/ 714 w 4775"/>
                      <a:gd name="connsiteY3" fmla="*/ 0 h 5488"/>
                      <a:gd name="connsiteX4" fmla="*/ 4775 w 4775"/>
                      <a:gd name="connsiteY4" fmla="*/ 1564 h 5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 h="5488">
                        <a:moveTo>
                          <a:pt x="4775" y="1537"/>
                        </a:moveTo>
                        <a:lnTo>
                          <a:pt x="3129" y="5489"/>
                        </a:lnTo>
                        <a:lnTo>
                          <a:pt x="0" y="1015"/>
                        </a:lnTo>
                        <a:lnTo>
                          <a:pt x="714" y="0"/>
                        </a:lnTo>
                        <a:lnTo>
                          <a:pt x="4775" y="156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66" name="Freeform: Shape 2965">
                    <a:extLst>
                      <a:ext uri="{FF2B5EF4-FFF2-40B4-BE49-F238E27FC236}">
                        <a16:creationId xmlns:a16="http://schemas.microsoft.com/office/drawing/2014/main" id="{E1BADE2E-034B-7C11-0A20-DFB337408718}"/>
                      </a:ext>
                    </a:extLst>
                  </p:cNvPr>
                  <p:cNvSpPr/>
                  <p:nvPr/>
                </p:nvSpPr>
                <p:spPr>
                  <a:xfrm>
                    <a:off x="-6038530" y="2843613"/>
                    <a:ext cx="4555" cy="5763"/>
                  </a:xfrm>
                  <a:custGeom>
                    <a:avLst/>
                    <a:gdLst>
                      <a:gd name="connsiteX0" fmla="*/ 4528 w 4555"/>
                      <a:gd name="connsiteY0" fmla="*/ 4940 h 5763"/>
                      <a:gd name="connsiteX1" fmla="*/ 2196 w 4555"/>
                      <a:gd name="connsiteY1" fmla="*/ 5763 h 5763"/>
                      <a:gd name="connsiteX2" fmla="*/ 0 w 4555"/>
                      <a:gd name="connsiteY2" fmla="*/ 1263 h 5763"/>
                      <a:gd name="connsiteX3" fmla="*/ 4281 w 4555"/>
                      <a:gd name="connsiteY3" fmla="*/ 0 h 5763"/>
                      <a:gd name="connsiteX4" fmla="*/ 4556 w 4555"/>
                      <a:gd name="connsiteY4" fmla="*/ 4940 h 5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5763">
                        <a:moveTo>
                          <a:pt x="4528" y="4940"/>
                        </a:moveTo>
                        <a:lnTo>
                          <a:pt x="2196" y="5763"/>
                        </a:lnTo>
                        <a:lnTo>
                          <a:pt x="0" y="1263"/>
                        </a:lnTo>
                        <a:lnTo>
                          <a:pt x="4281" y="0"/>
                        </a:lnTo>
                        <a:lnTo>
                          <a:pt x="4556" y="494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67" name="Freeform: Shape 2966">
                    <a:extLst>
                      <a:ext uri="{FF2B5EF4-FFF2-40B4-BE49-F238E27FC236}">
                        <a16:creationId xmlns:a16="http://schemas.microsoft.com/office/drawing/2014/main" id="{6B6A2730-C944-96DD-373E-6410104C3837}"/>
                      </a:ext>
                    </a:extLst>
                  </p:cNvPr>
                  <p:cNvSpPr/>
                  <p:nvPr/>
                </p:nvSpPr>
                <p:spPr>
                  <a:xfrm>
                    <a:off x="-5978293" y="2878384"/>
                    <a:ext cx="3293" cy="6531"/>
                  </a:xfrm>
                  <a:custGeom>
                    <a:avLst/>
                    <a:gdLst>
                      <a:gd name="connsiteX0" fmla="*/ 3293 w 3293"/>
                      <a:gd name="connsiteY0" fmla="*/ 4830 h 6531"/>
                      <a:gd name="connsiteX1" fmla="*/ 604 w 3293"/>
                      <a:gd name="connsiteY1" fmla="*/ 6531 h 6531"/>
                      <a:gd name="connsiteX2" fmla="*/ 0 w 3293"/>
                      <a:gd name="connsiteY2" fmla="*/ 3129 h 6531"/>
                      <a:gd name="connsiteX3" fmla="*/ 2662 w 3293"/>
                      <a:gd name="connsiteY3" fmla="*/ 0 h 6531"/>
                      <a:gd name="connsiteX4" fmla="*/ 3293 w 3293"/>
                      <a:gd name="connsiteY4" fmla="*/ 4857 h 6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 h="6531">
                        <a:moveTo>
                          <a:pt x="3293" y="4830"/>
                        </a:moveTo>
                        <a:lnTo>
                          <a:pt x="604" y="6531"/>
                        </a:lnTo>
                        <a:lnTo>
                          <a:pt x="0" y="3129"/>
                        </a:lnTo>
                        <a:lnTo>
                          <a:pt x="2662" y="0"/>
                        </a:lnTo>
                        <a:lnTo>
                          <a:pt x="3293" y="485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68" name="Freeform: Shape 2967">
                    <a:extLst>
                      <a:ext uri="{FF2B5EF4-FFF2-40B4-BE49-F238E27FC236}">
                        <a16:creationId xmlns:a16="http://schemas.microsoft.com/office/drawing/2014/main" id="{CCA0A47C-16F9-9C89-0282-E911D654FE6A}"/>
                      </a:ext>
                    </a:extLst>
                  </p:cNvPr>
                  <p:cNvSpPr/>
                  <p:nvPr/>
                </p:nvSpPr>
                <p:spPr>
                  <a:xfrm>
                    <a:off x="-5913308" y="2896606"/>
                    <a:ext cx="2936" cy="6641"/>
                  </a:xfrm>
                  <a:custGeom>
                    <a:avLst/>
                    <a:gdLst>
                      <a:gd name="connsiteX0" fmla="*/ 2937 w 2936"/>
                      <a:gd name="connsiteY0" fmla="*/ 1372 h 6641"/>
                      <a:gd name="connsiteX1" fmla="*/ 2635 w 2936"/>
                      <a:gd name="connsiteY1" fmla="*/ 6641 h 6641"/>
                      <a:gd name="connsiteX2" fmla="*/ 0 w 2936"/>
                      <a:gd name="connsiteY2" fmla="*/ 4940 h 6641"/>
                      <a:gd name="connsiteX3" fmla="*/ 1126 w 2936"/>
                      <a:gd name="connsiteY3" fmla="*/ 0 h 6641"/>
                      <a:gd name="connsiteX4" fmla="*/ 2937 w 2936"/>
                      <a:gd name="connsiteY4" fmla="*/ 1372 h 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6" h="6641">
                        <a:moveTo>
                          <a:pt x="2937" y="1372"/>
                        </a:moveTo>
                        <a:lnTo>
                          <a:pt x="2635" y="6641"/>
                        </a:lnTo>
                        <a:lnTo>
                          <a:pt x="0" y="4940"/>
                        </a:lnTo>
                        <a:lnTo>
                          <a:pt x="1126" y="0"/>
                        </a:lnTo>
                        <a:lnTo>
                          <a:pt x="2937" y="137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69" name="Freeform: Shape 2968">
                    <a:extLst>
                      <a:ext uri="{FF2B5EF4-FFF2-40B4-BE49-F238E27FC236}">
                        <a16:creationId xmlns:a16="http://schemas.microsoft.com/office/drawing/2014/main" id="{317E50C7-9A33-5E92-EFD5-930B88540407}"/>
                      </a:ext>
                    </a:extLst>
                  </p:cNvPr>
                  <p:cNvSpPr/>
                  <p:nvPr/>
                </p:nvSpPr>
                <p:spPr>
                  <a:xfrm>
                    <a:off x="-5944455" y="2867983"/>
                    <a:ext cx="4253" cy="4528"/>
                  </a:xfrm>
                  <a:custGeom>
                    <a:avLst/>
                    <a:gdLst>
                      <a:gd name="connsiteX0" fmla="*/ 3815 w 4253"/>
                      <a:gd name="connsiteY0" fmla="*/ 0 h 4528"/>
                      <a:gd name="connsiteX1" fmla="*/ 4253 w 4253"/>
                      <a:gd name="connsiteY1" fmla="*/ 4528 h 4528"/>
                      <a:gd name="connsiteX2" fmla="*/ 1097 w 4253"/>
                      <a:gd name="connsiteY2" fmla="*/ 4226 h 4528"/>
                      <a:gd name="connsiteX3" fmla="*/ 0 w 4253"/>
                      <a:gd name="connsiteY3" fmla="*/ 1949 h 4528"/>
                      <a:gd name="connsiteX4" fmla="*/ 3842 w 4253"/>
                      <a:gd name="connsiteY4" fmla="*/ 0 h 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4528">
                        <a:moveTo>
                          <a:pt x="3815" y="0"/>
                        </a:moveTo>
                        <a:lnTo>
                          <a:pt x="4253" y="4528"/>
                        </a:lnTo>
                        <a:lnTo>
                          <a:pt x="1097" y="4226"/>
                        </a:lnTo>
                        <a:lnTo>
                          <a:pt x="0" y="1949"/>
                        </a:lnTo>
                        <a:lnTo>
                          <a:pt x="3842"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70" name="Freeform: Shape 2969">
                    <a:extLst>
                      <a:ext uri="{FF2B5EF4-FFF2-40B4-BE49-F238E27FC236}">
                        <a16:creationId xmlns:a16="http://schemas.microsoft.com/office/drawing/2014/main" id="{9EEC966B-B91B-804F-C15B-C2BCF16238FC}"/>
                      </a:ext>
                    </a:extLst>
                  </p:cNvPr>
                  <p:cNvSpPr/>
                  <p:nvPr/>
                </p:nvSpPr>
                <p:spPr>
                  <a:xfrm>
                    <a:off x="-5949916" y="2840896"/>
                    <a:ext cx="4253" cy="4391"/>
                  </a:xfrm>
                  <a:custGeom>
                    <a:avLst/>
                    <a:gdLst>
                      <a:gd name="connsiteX0" fmla="*/ 4144 w 4253"/>
                      <a:gd name="connsiteY0" fmla="*/ 0 h 4391"/>
                      <a:gd name="connsiteX1" fmla="*/ 4253 w 4253"/>
                      <a:gd name="connsiteY1" fmla="*/ 4391 h 4391"/>
                      <a:gd name="connsiteX2" fmla="*/ 1674 w 4253"/>
                      <a:gd name="connsiteY2" fmla="*/ 3787 h 4391"/>
                      <a:gd name="connsiteX3" fmla="*/ 0 w 4253"/>
                      <a:gd name="connsiteY3" fmla="*/ 659 h 4391"/>
                      <a:gd name="connsiteX4" fmla="*/ 4144 w 4253"/>
                      <a:gd name="connsiteY4" fmla="*/ 0 h 4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4391">
                        <a:moveTo>
                          <a:pt x="4144" y="0"/>
                        </a:moveTo>
                        <a:lnTo>
                          <a:pt x="4253" y="4391"/>
                        </a:lnTo>
                        <a:lnTo>
                          <a:pt x="1674" y="3787"/>
                        </a:lnTo>
                        <a:lnTo>
                          <a:pt x="0" y="659"/>
                        </a:lnTo>
                        <a:lnTo>
                          <a:pt x="4144"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71" name="Freeform: Shape 2970">
                    <a:extLst>
                      <a:ext uri="{FF2B5EF4-FFF2-40B4-BE49-F238E27FC236}">
                        <a16:creationId xmlns:a16="http://schemas.microsoft.com/office/drawing/2014/main" id="{1E684CDB-4AFB-5FEC-0596-91AD1BFAFCB5}"/>
                      </a:ext>
                    </a:extLst>
                  </p:cNvPr>
                  <p:cNvSpPr/>
                  <p:nvPr/>
                </p:nvSpPr>
                <p:spPr>
                  <a:xfrm>
                    <a:off x="-5959521" y="2808294"/>
                    <a:ext cx="2991" cy="5982"/>
                  </a:xfrm>
                  <a:custGeom>
                    <a:avLst/>
                    <a:gdLst>
                      <a:gd name="connsiteX0" fmla="*/ 2826 w 2991"/>
                      <a:gd name="connsiteY0" fmla="*/ 4116 h 5982"/>
                      <a:gd name="connsiteX1" fmla="*/ 1070 w 2991"/>
                      <a:gd name="connsiteY1" fmla="*/ 5983 h 5982"/>
                      <a:gd name="connsiteX2" fmla="*/ 0 w 2991"/>
                      <a:gd name="connsiteY2" fmla="*/ 2168 h 5982"/>
                      <a:gd name="connsiteX3" fmla="*/ 549 w 2991"/>
                      <a:gd name="connsiteY3" fmla="*/ 0 h 5982"/>
                      <a:gd name="connsiteX4" fmla="*/ 2991 w 2991"/>
                      <a:gd name="connsiteY4" fmla="*/ 0 h 5982"/>
                      <a:gd name="connsiteX5" fmla="*/ 2826 w 2991"/>
                      <a:gd name="connsiteY5" fmla="*/ 4116 h 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1" h="5982">
                        <a:moveTo>
                          <a:pt x="2826" y="4116"/>
                        </a:moveTo>
                        <a:lnTo>
                          <a:pt x="1070" y="5983"/>
                        </a:lnTo>
                        <a:lnTo>
                          <a:pt x="0" y="2168"/>
                        </a:lnTo>
                        <a:lnTo>
                          <a:pt x="549" y="0"/>
                        </a:lnTo>
                        <a:lnTo>
                          <a:pt x="2991" y="0"/>
                        </a:lnTo>
                        <a:lnTo>
                          <a:pt x="2826" y="411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72" name="Freeform: Shape 2971">
                    <a:extLst>
                      <a:ext uri="{FF2B5EF4-FFF2-40B4-BE49-F238E27FC236}">
                        <a16:creationId xmlns:a16="http://schemas.microsoft.com/office/drawing/2014/main" id="{7DFEF8A4-3EA8-BE4C-7D66-74E6FC156428}"/>
                      </a:ext>
                    </a:extLst>
                  </p:cNvPr>
                  <p:cNvSpPr/>
                  <p:nvPr/>
                </p:nvSpPr>
                <p:spPr>
                  <a:xfrm>
                    <a:off x="-5597741" y="2679175"/>
                    <a:ext cx="139767" cy="119761"/>
                  </a:xfrm>
                  <a:custGeom>
                    <a:avLst/>
                    <a:gdLst>
                      <a:gd name="connsiteX0" fmla="*/ 67592 w 139767"/>
                      <a:gd name="connsiteY0" fmla="*/ 0 h 119761"/>
                      <a:gd name="connsiteX1" fmla="*/ 70639 w 139767"/>
                      <a:gd name="connsiteY1" fmla="*/ 4446 h 119761"/>
                      <a:gd name="connsiteX2" fmla="*/ 72532 w 139767"/>
                      <a:gd name="connsiteY2" fmla="*/ 1427 h 119761"/>
                      <a:gd name="connsiteX3" fmla="*/ 97945 w 139767"/>
                      <a:gd name="connsiteY3" fmla="*/ 8178 h 119761"/>
                      <a:gd name="connsiteX4" fmla="*/ 103982 w 139767"/>
                      <a:gd name="connsiteY4" fmla="*/ 11718 h 119761"/>
                      <a:gd name="connsiteX5" fmla="*/ 129504 w 139767"/>
                      <a:gd name="connsiteY5" fmla="*/ 14023 h 119761"/>
                      <a:gd name="connsiteX6" fmla="*/ 135651 w 139767"/>
                      <a:gd name="connsiteY6" fmla="*/ 9879 h 119761"/>
                      <a:gd name="connsiteX7" fmla="*/ 139768 w 139767"/>
                      <a:gd name="connsiteY7" fmla="*/ 14188 h 119761"/>
                      <a:gd name="connsiteX8" fmla="*/ 139246 w 139767"/>
                      <a:gd name="connsiteY8" fmla="*/ 17948 h 119761"/>
                      <a:gd name="connsiteX9" fmla="*/ 132276 w 139767"/>
                      <a:gd name="connsiteY9" fmla="*/ 22668 h 119761"/>
                      <a:gd name="connsiteX10" fmla="*/ 125826 w 139767"/>
                      <a:gd name="connsiteY10" fmla="*/ 38804 h 119761"/>
                      <a:gd name="connsiteX11" fmla="*/ 115508 w 139767"/>
                      <a:gd name="connsiteY11" fmla="*/ 49013 h 119761"/>
                      <a:gd name="connsiteX12" fmla="*/ 120365 w 139767"/>
                      <a:gd name="connsiteY12" fmla="*/ 69980 h 119761"/>
                      <a:gd name="connsiteX13" fmla="*/ 120612 w 139767"/>
                      <a:gd name="connsiteY13" fmla="*/ 82823 h 119761"/>
                      <a:gd name="connsiteX14" fmla="*/ 126760 w 139767"/>
                      <a:gd name="connsiteY14" fmla="*/ 99700 h 119761"/>
                      <a:gd name="connsiteX15" fmla="*/ 121024 w 139767"/>
                      <a:gd name="connsiteY15" fmla="*/ 104146 h 119761"/>
                      <a:gd name="connsiteX16" fmla="*/ 116880 w 139767"/>
                      <a:gd name="connsiteY16" fmla="*/ 111830 h 119761"/>
                      <a:gd name="connsiteX17" fmla="*/ 115343 w 139767"/>
                      <a:gd name="connsiteY17" fmla="*/ 119761 h 119761"/>
                      <a:gd name="connsiteX18" fmla="*/ 102417 w 139767"/>
                      <a:gd name="connsiteY18" fmla="*/ 114163 h 119761"/>
                      <a:gd name="connsiteX19" fmla="*/ 91056 w 139767"/>
                      <a:gd name="connsiteY19" fmla="*/ 119349 h 119761"/>
                      <a:gd name="connsiteX20" fmla="*/ 84278 w 139767"/>
                      <a:gd name="connsiteY20" fmla="*/ 115206 h 119761"/>
                      <a:gd name="connsiteX21" fmla="*/ 76347 w 139767"/>
                      <a:gd name="connsiteY21" fmla="*/ 101923 h 119761"/>
                      <a:gd name="connsiteX22" fmla="*/ 72505 w 139767"/>
                      <a:gd name="connsiteY22" fmla="*/ 101512 h 119761"/>
                      <a:gd name="connsiteX23" fmla="*/ 56753 w 139767"/>
                      <a:gd name="connsiteY23" fmla="*/ 90672 h 119761"/>
                      <a:gd name="connsiteX24" fmla="*/ 47559 w 139767"/>
                      <a:gd name="connsiteY24" fmla="*/ 91001 h 119761"/>
                      <a:gd name="connsiteX25" fmla="*/ 41302 w 139767"/>
                      <a:gd name="connsiteY25" fmla="*/ 94733 h 119761"/>
                      <a:gd name="connsiteX26" fmla="*/ 27169 w 139767"/>
                      <a:gd name="connsiteY26" fmla="*/ 100084 h 119761"/>
                      <a:gd name="connsiteX27" fmla="*/ 31642 w 139767"/>
                      <a:gd name="connsiteY27" fmla="*/ 74919 h 119761"/>
                      <a:gd name="connsiteX28" fmla="*/ 27141 w 139767"/>
                      <a:gd name="connsiteY28" fmla="*/ 73410 h 119761"/>
                      <a:gd name="connsiteX29" fmla="*/ 18030 w 139767"/>
                      <a:gd name="connsiteY29" fmla="*/ 77773 h 119761"/>
                      <a:gd name="connsiteX30" fmla="*/ 11005 w 139767"/>
                      <a:gd name="connsiteY30" fmla="*/ 73767 h 119761"/>
                      <a:gd name="connsiteX31" fmla="*/ 3568 w 139767"/>
                      <a:gd name="connsiteY31" fmla="*/ 59030 h 119761"/>
                      <a:gd name="connsiteX32" fmla="*/ 5022 w 139767"/>
                      <a:gd name="connsiteY32" fmla="*/ 50083 h 119761"/>
                      <a:gd name="connsiteX33" fmla="*/ 0 w 139767"/>
                      <a:gd name="connsiteY33" fmla="*/ 51126 h 119761"/>
                      <a:gd name="connsiteX34" fmla="*/ 2580 w 139767"/>
                      <a:gd name="connsiteY34" fmla="*/ 26729 h 119761"/>
                      <a:gd name="connsiteX35" fmla="*/ 8865 w 139767"/>
                      <a:gd name="connsiteY35" fmla="*/ 23327 h 119761"/>
                      <a:gd name="connsiteX36" fmla="*/ 19073 w 139767"/>
                      <a:gd name="connsiteY36" fmla="*/ 20088 h 119761"/>
                      <a:gd name="connsiteX37" fmla="*/ 18661 w 139767"/>
                      <a:gd name="connsiteY37" fmla="*/ 15395 h 119761"/>
                      <a:gd name="connsiteX38" fmla="*/ 23217 w 139767"/>
                      <a:gd name="connsiteY38" fmla="*/ 16466 h 119761"/>
                      <a:gd name="connsiteX39" fmla="*/ 29337 w 139767"/>
                      <a:gd name="connsiteY39" fmla="*/ 9742 h 119761"/>
                      <a:gd name="connsiteX40" fmla="*/ 39738 w 139767"/>
                      <a:gd name="connsiteY40" fmla="*/ 10675 h 119761"/>
                      <a:gd name="connsiteX41" fmla="*/ 41329 w 139767"/>
                      <a:gd name="connsiteY41" fmla="*/ 4940 h 119761"/>
                      <a:gd name="connsiteX42" fmla="*/ 49837 w 139767"/>
                      <a:gd name="connsiteY42" fmla="*/ 9056 h 119761"/>
                      <a:gd name="connsiteX43" fmla="*/ 58564 w 139767"/>
                      <a:gd name="connsiteY43" fmla="*/ 7876 h 119761"/>
                      <a:gd name="connsiteX44" fmla="*/ 62570 w 139767"/>
                      <a:gd name="connsiteY44" fmla="*/ 2442 h 119761"/>
                      <a:gd name="connsiteX45" fmla="*/ 66193 w 139767"/>
                      <a:gd name="connsiteY45" fmla="*/ 3568 h 119761"/>
                      <a:gd name="connsiteX46" fmla="*/ 67592 w 139767"/>
                      <a:gd name="connsiteY46" fmla="*/ 0 h 11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9767" h="119761">
                        <a:moveTo>
                          <a:pt x="67592" y="0"/>
                        </a:moveTo>
                        <a:lnTo>
                          <a:pt x="70639" y="4446"/>
                        </a:lnTo>
                        <a:lnTo>
                          <a:pt x="72532" y="1427"/>
                        </a:lnTo>
                        <a:lnTo>
                          <a:pt x="97945" y="8178"/>
                        </a:lnTo>
                        <a:lnTo>
                          <a:pt x="103982" y="11718"/>
                        </a:lnTo>
                        <a:lnTo>
                          <a:pt x="129504" y="14023"/>
                        </a:lnTo>
                        <a:lnTo>
                          <a:pt x="135651" y="9879"/>
                        </a:lnTo>
                        <a:lnTo>
                          <a:pt x="139768" y="14188"/>
                        </a:lnTo>
                        <a:lnTo>
                          <a:pt x="139246" y="17948"/>
                        </a:lnTo>
                        <a:lnTo>
                          <a:pt x="132276" y="22668"/>
                        </a:lnTo>
                        <a:lnTo>
                          <a:pt x="125826" y="38804"/>
                        </a:lnTo>
                        <a:lnTo>
                          <a:pt x="115508" y="49013"/>
                        </a:lnTo>
                        <a:lnTo>
                          <a:pt x="120365" y="69980"/>
                        </a:lnTo>
                        <a:lnTo>
                          <a:pt x="120612" y="82823"/>
                        </a:lnTo>
                        <a:lnTo>
                          <a:pt x="126760" y="99700"/>
                        </a:lnTo>
                        <a:lnTo>
                          <a:pt x="121024" y="104146"/>
                        </a:lnTo>
                        <a:lnTo>
                          <a:pt x="116880" y="111830"/>
                        </a:lnTo>
                        <a:lnTo>
                          <a:pt x="115343" y="119761"/>
                        </a:lnTo>
                        <a:lnTo>
                          <a:pt x="102417" y="114163"/>
                        </a:lnTo>
                        <a:lnTo>
                          <a:pt x="91056" y="119349"/>
                        </a:lnTo>
                        <a:lnTo>
                          <a:pt x="84278" y="115206"/>
                        </a:lnTo>
                        <a:lnTo>
                          <a:pt x="76347" y="101923"/>
                        </a:lnTo>
                        <a:lnTo>
                          <a:pt x="72505" y="101512"/>
                        </a:lnTo>
                        <a:lnTo>
                          <a:pt x="56753" y="90672"/>
                        </a:lnTo>
                        <a:lnTo>
                          <a:pt x="47559" y="91001"/>
                        </a:lnTo>
                        <a:lnTo>
                          <a:pt x="41302" y="94733"/>
                        </a:lnTo>
                        <a:lnTo>
                          <a:pt x="27169" y="100084"/>
                        </a:lnTo>
                        <a:lnTo>
                          <a:pt x="31642" y="74919"/>
                        </a:lnTo>
                        <a:lnTo>
                          <a:pt x="27141" y="73410"/>
                        </a:lnTo>
                        <a:lnTo>
                          <a:pt x="18030" y="77773"/>
                        </a:lnTo>
                        <a:lnTo>
                          <a:pt x="11005" y="73767"/>
                        </a:lnTo>
                        <a:lnTo>
                          <a:pt x="3568" y="59030"/>
                        </a:lnTo>
                        <a:lnTo>
                          <a:pt x="5022" y="50083"/>
                        </a:lnTo>
                        <a:lnTo>
                          <a:pt x="0" y="51126"/>
                        </a:lnTo>
                        <a:lnTo>
                          <a:pt x="2580" y="26729"/>
                        </a:lnTo>
                        <a:lnTo>
                          <a:pt x="8865" y="23327"/>
                        </a:lnTo>
                        <a:lnTo>
                          <a:pt x="19073" y="20088"/>
                        </a:lnTo>
                        <a:lnTo>
                          <a:pt x="18661" y="15395"/>
                        </a:lnTo>
                        <a:lnTo>
                          <a:pt x="23217" y="16466"/>
                        </a:lnTo>
                        <a:lnTo>
                          <a:pt x="29337" y="9742"/>
                        </a:lnTo>
                        <a:lnTo>
                          <a:pt x="39738" y="10675"/>
                        </a:lnTo>
                        <a:lnTo>
                          <a:pt x="41329" y="4940"/>
                        </a:lnTo>
                        <a:lnTo>
                          <a:pt x="49837" y="9056"/>
                        </a:lnTo>
                        <a:lnTo>
                          <a:pt x="58564" y="7876"/>
                        </a:lnTo>
                        <a:lnTo>
                          <a:pt x="62570" y="2442"/>
                        </a:lnTo>
                        <a:lnTo>
                          <a:pt x="66193" y="3568"/>
                        </a:lnTo>
                        <a:lnTo>
                          <a:pt x="67592"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73" name="Freeform: Shape 2972">
                    <a:extLst>
                      <a:ext uri="{FF2B5EF4-FFF2-40B4-BE49-F238E27FC236}">
                        <a16:creationId xmlns:a16="http://schemas.microsoft.com/office/drawing/2014/main" id="{56A595CF-C631-431C-B365-A45B0E8A6F59}"/>
                      </a:ext>
                    </a:extLst>
                  </p:cNvPr>
                  <p:cNvSpPr/>
                  <p:nvPr/>
                </p:nvSpPr>
                <p:spPr>
                  <a:xfrm>
                    <a:off x="-5643351" y="2734912"/>
                    <a:ext cx="44101" cy="41383"/>
                  </a:xfrm>
                  <a:custGeom>
                    <a:avLst/>
                    <a:gdLst>
                      <a:gd name="connsiteX0" fmla="*/ 43497 w 44101"/>
                      <a:gd name="connsiteY0" fmla="*/ 2552 h 41383"/>
                      <a:gd name="connsiteX1" fmla="*/ 44101 w 44101"/>
                      <a:gd name="connsiteY1" fmla="*/ 8452 h 41383"/>
                      <a:gd name="connsiteX2" fmla="*/ 37954 w 44101"/>
                      <a:gd name="connsiteY2" fmla="*/ 6641 h 41383"/>
                      <a:gd name="connsiteX3" fmla="*/ 37240 w 44101"/>
                      <a:gd name="connsiteY3" fmla="*/ 8452 h 41383"/>
                      <a:gd name="connsiteX4" fmla="*/ 40286 w 44101"/>
                      <a:gd name="connsiteY4" fmla="*/ 11306 h 41383"/>
                      <a:gd name="connsiteX5" fmla="*/ 40176 w 44101"/>
                      <a:gd name="connsiteY5" fmla="*/ 13173 h 41383"/>
                      <a:gd name="connsiteX6" fmla="*/ 34743 w 44101"/>
                      <a:gd name="connsiteY6" fmla="*/ 15560 h 41383"/>
                      <a:gd name="connsiteX7" fmla="*/ 24095 w 44101"/>
                      <a:gd name="connsiteY7" fmla="*/ 24946 h 41383"/>
                      <a:gd name="connsiteX8" fmla="*/ 12624 w 44101"/>
                      <a:gd name="connsiteY8" fmla="*/ 26592 h 41383"/>
                      <a:gd name="connsiteX9" fmla="*/ 8782 w 44101"/>
                      <a:gd name="connsiteY9" fmla="*/ 38502 h 41383"/>
                      <a:gd name="connsiteX10" fmla="*/ 4693 w 44101"/>
                      <a:gd name="connsiteY10" fmla="*/ 41384 h 41383"/>
                      <a:gd name="connsiteX11" fmla="*/ 4281 w 44101"/>
                      <a:gd name="connsiteY11" fmla="*/ 37377 h 41383"/>
                      <a:gd name="connsiteX12" fmla="*/ 8891 w 44101"/>
                      <a:gd name="connsiteY12" fmla="*/ 30160 h 41383"/>
                      <a:gd name="connsiteX13" fmla="*/ 0 w 44101"/>
                      <a:gd name="connsiteY13" fmla="*/ 22174 h 41383"/>
                      <a:gd name="connsiteX14" fmla="*/ 2882 w 44101"/>
                      <a:gd name="connsiteY14" fmla="*/ 17481 h 41383"/>
                      <a:gd name="connsiteX15" fmla="*/ 1290 w 44101"/>
                      <a:gd name="connsiteY15" fmla="*/ 10346 h 41383"/>
                      <a:gd name="connsiteX16" fmla="*/ 5900 w 44101"/>
                      <a:gd name="connsiteY16" fmla="*/ 12843 h 41383"/>
                      <a:gd name="connsiteX17" fmla="*/ 9495 w 44101"/>
                      <a:gd name="connsiteY17" fmla="*/ 8480 h 41383"/>
                      <a:gd name="connsiteX18" fmla="*/ 12294 w 44101"/>
                      <a:gd name="connsiteY18" fmla="*/ 9962 h 41383"/>
                      <a:gd name="connsiteX19" fmla="*/ 12761 w 44101"/>
                      <a:gd name="connsiteY19" fmla="*/ 8480 h 41383"/>
                      <a:gd name="connsiteX20" fmla="*/ 19814 w 44101"/>
                      <a:gd name="connsiteY20" fmla="*/ 2772 h 41383"/>
                      <a:gd name="connsiteX21" fmla="*/ 32300 w 44101"/>
                      <a:gd name="connsiteY21" fmla="*/ 3650 h 41383"/>
                      <a:gd name="connsiteX22" fmla="*/ 40423 w 44101"/>
                      <a:gd name="connsiteY22" fmla="*/ 0 h 41383"/>
                      <a:gd name="connsiteX23" fmla="*/ 43470 w 44101"/>
                      <a:gd name="connsiteY23" fmla="*/ 2580 h 4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101" h="41383">
                        <a:moveTo>
                          <a:pt x="43497" y="2552"/>
                        </a:moveTo>
                        <a:lnTo>
                          <a:pt x="44101" y="8452"/>
                        </a:lnTo>
                        <a:lnTo>
                          <a:pt x="37954" y="6641"/>
                        </a:lnTo>
                        <a:lnTo>
                          <a:pt x="37240" y="8452"/>
                        </a:lnTo>
                        <a:lnTo>
                          <a:pt x="40286" y="11306"/>
                        </a:lnTo>
                        <a:lnTo>
                          <a:pt x="40176" y="13173"/>
                        </a:lnTo>
                        <a:lnTo>
                          <a:pt x="34743" y="15560"/>
                        </a:lnTo>
                        <a:lnTo>
                          <a:pt x="24095" y="24946"/>
                        </a:lnTo>
                        <a:lnTo>
                          <a:pt x="12624" y="26592"/>
                        </a:lnTo>
                        <a:lnTo>
                          <a:pt x="8782" y="38502"/>
                        </a:lnTo>
                        <a:lnTo>
                          <a:pt x="4693" y="41384"/>
                        </a:lnTo>
                        <a:lnTo>
                          <a:pt x="4281" y="37377"/>
                        </a:lnTo>
                        <a:lnTo>
                          <a:pt x="8891" y="30160"/>
                        </a:lnTo>
                        <a:lnTo>
                          <a:pt x="0" y="22174"/>
                        </a:lnTo>
                        <a:lnTo>
                          <a:pt x="2882" y="17481"/>
                        </a:lnTo>
                        <a:lnTo>
                          <a:pt x="1290" y="10346"/>
                        </a:lnTo>
                        <a:lnTo>
                          <a:pt x="5900" y="12843"/>
                        </a:lnTo>
                        <a:lnTo>
                          <a:pt x="9495" y="8480"/>
                        </a:lnTo>
                        <a:lnTo>
                          <a:pt x="12294" y="9962"/>
                        </a:lnTo>
                        <a:lnTo>
                          <a:pt x="12761" y="8480"/>
                        </a:lnTo>
                        <a:lnTo>
                          <a:pt x="19814" y="2772"/>
                        </a:lnTo>
                        <a:lnTo>
                          <a:pt x="32300" y="3650"/>
                        </a:lnTo>
                        <a:lnTo>
                          <a:pt x="40423" y="0"/>
                        </a:lnTo>
                        <a:lnTo>
                          <a:pt x="43470" y="258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74" name="Freeform: Shape 2973">
                    <a:extLst>
                      <a:ext uri="{FF2B5EF4-FFF2-40B4-BE49-F238E27FC236}">
                        <a16:creationId xmlns:a16="http://schemas.microsoft.com/office/drawing/2014/main" id="{20B5664B-7717-19CF-C6E0-213CF305CABC}"/>
                      </a:ext>
                    </a:extLst>
                  </p:cNvPr>
                  <p:cNvSpPr/>
                  <p:nvPr/>
                </p:nvSpPr>
                <p:spPr>
                  <a:xfrm>
                    <a:off x="-5629932" y="2711256"/>
                    <a:ext cx="21350" cy="22420"/>
                  </a:xfrm>
                  <a:custGeom>
                    <a:avLst/>
                    <a:gdLst>
                      <a:gd name="connsiteX0" fmla="*/ 8425 w 21350"/>
                      <a:gd name="connsiteY0" fmla="*/ 27 h 22420"/>
                      <a:gd name="connsiteX1" fmla="*/ 19046 w 21350"/>
                      <a:gd name="connsiteY1" fmla="*/ 9605 h 22420"/>
                      <a:gd name="connsiteX2" fmla="*/ 20555 w 21350"/>
                      <a:gd name="connsiteY2" fmla="*/ 9495 h 22420"/>
                      <a:gd name="connsiteX3" fmla="*/ 21351 w 21350"/>
                      <a:gd name="connsiteY3" fmla="*/ 13776 h 22420"/>
                      <a:gd name="connsiteX4" fmla="*/ 19046 w 21350"/>
                      <a:gd name="connsiteY4" fmla="*/ 13667 h 22420"/>
                      <a:gd name="connsiteX5" fmla="*/ 6752 w 21350"/>
                      <a:gd name="connsiteY5" fmla="*/ 22421 h 22420"/>
                      <a:gd name="connsiteX6" fmla="*/ 4364 w 21350"/>
                      <a:gd name="connsiteY6" fmla="*/ 20582 h 22420"/>
                      <a:gd name="connsiteX7" fmla="*/ 1949 w 21350"/>
                      <a:gd name="connsiteY7" fmla="*/ 11965 h 22420"/>
                      <a:gd name="connsiteX8" fmla="*/ 0 w 21350"/>
                      <a:gd name="connsiteY8" fmla="*/ 9797 h 22420"/>
                      <a:gd name="connsiteX9" fmla="*/ 8425 w 21350"/>
                      <a:gd name="connsiteY9" fmla="*/ 0 h 2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50" h="22420">
                        <a:moveTo>
                          <a:pt x="8425" y="27"/>
                        </a:moveTo>
                        <a:lnTo>
                          <a:pt x="19046" y="9605"/>
                        </a:lnTo>
                        <a:lnTo>
                          <a:pt x="20555" y="9495"/>
                        </a:lnTo>
                        <a:lnTo>
                          <a:pt x="21351" y="13776"/>
                        </a:lnTo>
                        <a:lnTo>
                          <a:pt x="19046" y="13667"/>
                        </a:lnTo>
                        <a:lnTo>
                          <a:pt x="6752" y="22421"/>
                        </a:lnTo>
                        <a:lnTo>
                          <a:pt x="4364" y="20582"/>
                        </a:lnTo>
                        <a:lnTo>
                          <a:pt x="1949" y="11965"/>
                        </a:lnTo>
                        <a:lnTo>
                          <a:pt x="0" y="9797"/>
                        </a:lnTo>
                        <a:lnTo>
                          <a:pt x="8425"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75" name="Freeform: Shape 2974">
                    <a:extLst>
                      <a:ext uri="{FF2B5EF4-FFF2-40B4-BE49-F238E27FC236}">
                        <a16:creationId xmlns:a16="http://schemas.microsoft.com/office/drawing/2014/main" id="{A1D056C2-4907-627B-6F80-838015B7C9CC}"/>
                      </a:ext>
                    </a:extLst>
                  </p:cNvPr>
                  <p:cNvSpPr/>
                  <p:nvPr/>
                </p:nvSpPr>
                <p:spPr>
                  <a:xfrm>
                    <a:off x="-5607373" y="2712985"/>
                    <a:ext cx="7546" cy="4912"/>
                  </a:xfrm>
                  <a:custGeom>
                    <a:avLst/>
                    <a:gdLst>
                      <a:gd name="connsiteX0" fmla="*/ 1564 w 7546"/>
                      <a:gd name="connsiteY0" fmla="*/ 0 h 4912"/>
                      <a:gd name="connsiteX1" fmla="*/ 5104 w 7546"/>
                      <a:gd name="connsiteY1" fmla="*/ 1756 h 4912"/>
                      <a:gd name="connsiteX2" fmla="*/ 7190 w 7546"/>
                      <a:gd name="connsiteY2" fmla="*/ 1125 h 4912"/>
                      <a:gd name="connsiteX3" fmla="*/ 7547 w 7546"/>
                      <a:gd name="connsiteY3" fmla="*/ 3979 h 4912"/>
                      <a:gd name="connsiteX4" fmla="*/ 1893 w 7546"/>
                      <a:gd name="connsiteY4" fmla="*/ 4912 h 4912"/>
                      <a:gd name="connsiteX5" fmla="*/ 0 w 7546"/>
                      <a:gd name="connsiteY5" fmla="*/ 1619 h 4912"/>
                      <a:gd name="connsiteX6" fmla="*/ 1591 w 7546"/>
                      <a:gd name="connsiteY6" fmla="*/ 27 h 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46" h="4912">
                        <a:moveTo>
                          <a:pt x="1564" y="0"/>
                        </a:moveTo>
                        <a:lnTo>
                          <a:pt x="5104" y="1756"/>
                        </a:lnTo>
                        <a:lnTo>
                          <a:pt x="7190" y="1125"/>
                        </a:lnTo>
                        <a:lnTo>
                          <a:pt x="7547" y="3979"/>
                        </a:lnTo>
                        <a:lnTo>
                          <a:pt x="1893" y="4912"/>
                        </a:lnTo>
                        <a:lnTo>
                          <a:pt x="0" y="1619"/>
                        </a:lnTo>
                        <a:lnTo>
                          <a:pt x="1591" y="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76" name="Freeform: Shape 2975">
                    <a:extLst>
                      <a:ext uri="{FF2B5EF4-FFF2-40B4-BE49-F238E27FC236}">
                        <a16:creationId xmlns:a16="http://schemas.microsoft.com/office/drawing/2014/main" id="{8A851615-2ECA-FFA5-2F6B-E464F6F035DC}"/>
                      </a:ext>
                    </a:extLst>
                  </p:cNvPr>
                  <p:cNvSpPr/>
                  <p:nvPr/>
                </p:nvSpPr>
                <p:spPr>
                  <a:xfrm>
                    <a:off x="-5698292" y="3525187"/>
                    <a:ext cx="194542" cy="197507"/>
                  </a:xfrm>
                  <a:custGeom>
                    <a:avLst/>
                    <a:gdLst>
                      <a:gd name="connsiteX0" fmla="*/ 194461 w 194542"/>
                      <a:gd name="connsiteY0" fmla="*/ 13337 h 197507"/>
                      <a:gd name="connsiteX1" fmla="*/ 186256 w 194542"/>
                      <a:gd name="connsiteY1" fmla="*/ 18606 h 197507"/>
                      <a:gd name="connsiteX2" fmla="*/ 186420 w 194542"/>
                      <a:gd name="connsiteY2" fmla="*/ 29364 h 197507"/>
                      <a:gd name="connsiteX3" fmla="*/ 177200 w 194542"/>
                      <a:gd name="connsiteY3" fmla="*/ 38420 h 197507"/>
                      <a:gd name="connsiteX4" fmla="*/ 174867 w 194542"/>
                      <a:gd name="connsiteY4" fmla="*/ 34468 h 197507"/>
                      <a:gd name="connsiteX5" fmla="*/ 165426 w 194542"/>
                      <a:gd name="connsiteY5" fmla="*/ 33261 h 197507"/>
                      <a:gd name="connsiteX6" fmla="*/ 151760 w 194542"/>
                      <a:gd name="connsiteY6" fmla="*/ 30050 h 197507"/>
                      <a:gd name="connsiteX7" fmla="*/ 150936 w 194542"/>
                      <a:gd name="connsiteY7" fmla="*/ 28294 h 197507"/>
                      <a:gd name="connsiteX8" fmla="*/ 141359 w 194542"/>
                      <a:gd name="connsiteY8" fmla="*/ 33453 h 197507"/>
                      <a:gd name="connsiteX9" fmla="*/ 136364 w 194542"/>
                      <a:gd name="connsiteY9" fmla="*/ 33151 h 197507"/>
                      <a:gd name="connsiteX10" fmla="*/ 131946 w 194542"/>
                      <a:gd name="connsiteY10" fmla="*/ 30050 h 197507"/>
                      <a:gd name="connsiteX11" fmla="*/ 120969 w 194542"/>
                      <a:gd name="connsiteY11" fmla="*/ 38228 h 197507"/>
                      <a:gd name="connsiteX12" fmla="*/ 113559 w 194542"/>
                      <a:gd name="connsiteY12" fmla="*/ 36526 h 197507"/>
                      <a:gd name="connsiteX13" fmla="*/ 110513 w 194542"/>
                      <a:gd name="connsiteY13" fmla="*/ 37322 h 197507"/>
                      <a:gd name="connsiteX14" fmla="*/ 109113 w 194542"/>
                      <a:gd name="connsiteY14" fmla="*/ 40204 h 197507"/>
                      <a:gd name="connsiteX15" fmla="*/ 110266 w 194542"/>
                      <a:gd name="connsiteY15" fmla="*/ 42097 h 197507"/>
                      <a:gd name="connsiteX16" fmla="*/ 111007 w 194542"/>
                      <a:gd name="connsiteY16" fmla="*/ 43442 h 197507"/>
                      <a:gd name="connsiteX17" fmla="*/ 113257 w 194542"/>
                      <a:gd name="connsiteY17" fmla="*/ 45994 h 197507"/>
                      <a:gd name="connsiteX18" fmla="*/ 113312 w 194542"/>
                      <a:gd name="connsiteY18" fmla="*/ 49123 h 197507"/>
                      <a:gd name="connsiteX19" fmla="*/ 117730 w 194542"/>
                      <a:gd name="connsiteY19" fmla="*/ 51593 h 197507"/>
                      <a:gd name="connsiteX20" fmla="*/ 123109 w 194542"/>
                      <a:gd name="connsiteY20" fmla="*/ 53843 h 197507"/>
                      <a:gd name="connsiteX21" fmla="*/ 128543 w 194542"/>
                      <a:gd name="connsiteY21" fmla="*/ 60841 h 197507"/>
                      <a:gd name="connsiteX22" fmla="*/ 126622 w 194542"/>
                      <a:gd name="connsiteY22" fmla="*/ 61554 h 197507"/>
                      <a:gd name="connsiteX23" fmla="*/ 122259 w 194542"/>
                      <a:gd name="connsiteY23" fmla="*/ 56176 h 197507"/>
                      <a:gd name="connsiteX24" fmla="*/ 117593 w 194542"/>
                      <a:gd name="connsiteY24" fmla="*/ 54419 h 197507"/>
                      <a:gd name="connsiteX25" fmla="*/ 113395 w 194542"/>
                      <a:gd name="connsiteY25" fmla="*/ 51894 h 197507"/>
                      <a:gd name="connsiteX26" fmla="*/ 109086 w 194542"/>
                      <a:gd name="connsiteY26" fmla="*/ 55600 h 197507"/>
                      <a:gd name="connsiteX27" fmla="*/ 117017 w 194542"/>
                      <a:gd name="connsiteY27" fmla="*/ 62707 h 197507"/>
                      <a:gd name="connsiteX28" fmla="*/ 117566 w 194542"/>
                      <a:gd name="connsiteY28" fmla="*/ 65891 h 197507"/>
                      <a:gd name="connsiteX29" fmla="*/ 115892 w 194542"/>
                      <a:gd name="connsiteY29" fmla="*/ 68086 h 197507"/>
                      <a:gd name="connsiteX30" fmla="*/ 112709 w 194542"/>
                      <a:gd name="connsiteY30" fmla="*/ 66439 h 197507"/>
                      <a:gd name="connsiteX31" fmla="*/ 107083 w 194542"/>
                      <a:gd name="connsiteY31" fmla="*/ 58152 h 197507"/>
                      <a:gd name="connsiteX32" fmla="*/ 100633 w 194542"/>
                      <a:gd name="connsiteY32" fmla="*/ 56313 h 197507"/>
                      <a:gd name="connsiteX33" fmla="*/ 96380 w 194542"/>
                      <a:gd name="connsiteY33" fmla="*/ 57493 h 197507"/>
                      <a:gd name="connsiteX34" fmla="*/ 88175 w 194542"/>
                      <a:gd name="connsiteY34" fmla="*/ 53020 h 197507"/>
                      <a:gd name="connsiteX35" fmla="*/ 84634 w 194542"/>
                      <a:gd name="connsiteY35" fmla="*/ 48601 h 197507"/>
                      <a:gd name="connsiteX36" fmla="*/ 85594 w 194542"/>
                      <a:gd name="connsiteY36" fmla="*/ 42729 h 197507"/>
                      <a:gd name="connsiteX37" fmla="*/ 78734 w 194542"/>
                      <a:gd name="connsiteY37" fmla="*/ 46131 h 197507"/>
                      <a:gd name="connsiteX38" fmla="*/ 78185 w 194542"/>
                      <a:gd name="connsiteY38" fmla="*/ 47586 h 197507"/>
                      <a:gd name="connsiteX39" fmla="*/ 76538 w 194542"/>
                      <a:gd name="connsiteY39" fmla="*/ 49068 h 197507"/>
                      <a:gd name="connsiteX40" fmla="*/ 77581 w 194542"/>
                      <a:gd name="connsiteY40" fmla="*/ 52910 h 197507"/>
                      <a:gd name="connsiteX41" fmla="*/ 75057 w 194542"/>
                      <a:gd name="connsiteY41" fmla="*/ 61115 h 197507"/>
                      <a:gd name="connsiteX42" fmla="*/ 78158 w 194542"/>
                      <a:gd name="connsiteY42" fmla="*/ 67482 h 197507"/>
                      <a:gd name="connsiteX43" fmla="*/ 83509 w 194542"/>
                      <a:gd name="connsiteY43" fmla="*/ 74535 h 197507"/>
                      <a:gd name="connsiteX44" fmla="*/ 85567 w 194542"/>
                      <a:gd name="connsiteY44" fmla="*/ 81725 h 197507"/>
                      <a:gd name="connsiteX45" fmla="*/ 91605 w 194542"/>
                      <a:gd name="connsiteY45" fmla="*/ 87159 h 197507"/>
                      <a:gd name="connsiteX46" fmla="*/ 97725 w 194542"/>
                      <a:gd name="connsiteY46" fmla="*/ 97230 h 197507"/>
                      <a:gd name="connsiteX47" fmla="*/ 94431 w 194542"/>
                      <a:gd name="connsiteY47" fmla="*/ 99426 h 197507"/>
                      <a:gd name="connsiteX48" fmla="*/ 91083 w 194542"/>
                      <a:gd name="connsiteY48" fmla="*/ 93526 h 197507"/>
                      <a:gd name="connsiteX49" fmla="*/ 85018 w 194542"/>
                      <a:gd name="connsiteY49" fmla="*/ 93251 h 197507"/>
                      <a:gd name="connsiteX50" fmla="*/ 83399 w 194542"/>
                      <a:gd name="connsiteY50" fmla="*/ 96682 h 197507"/>
                      <a:gd name="connsiteX51" fmla="*/ 88531 w 194542"/>
                      <a:gd name="connsiteY51" fmla="*/ 104530 h 197507"/>
                      <a:gd name="connsiteX52" fmla="*/ 86555 w 194542"/>
                      <a:gd name="connsiteY52" fmla="*/ 107165 h 197507"/>
                      <a:gd name="connsiteX53" fmla="*/ 81341 w 194542"/>
                      <a:gd name="connsiteY53" fmla="*/ 109278 h 197507"/>
                      <a:gd name="connsiteX54" fmla="*/ 76785 w 194542"/>
                      <a:gd name="connsiteY54" fmla="*/ 108482 h 197507"/>
                      <a:gd name="connsiteX55" fmla="*/ 75880 w 194542"/>
                      <a:gd name="connsiteY55" fmla="*/ 110129 h 197507"/>
                      <a:gd name="connsiteX56" fmla="*/ 88833 w 194542"/>
                      <a:gd name="connsiteY56" fmla="*/ 114382 h 197507"/>
                      <a:gd name="connsiteX57" fmla="*/ 91989 w 194542"/>
                      <a:gd name="connsiteY57" fmla="*/ 117621 h 197507"/>
                      <a:gd name="connsiteX58" fmla="*/ 96599 w 194542"/>
                      <a:gd name="connsiteY58" fmla="*/ 118142 h 197507"/>
                      <a:gd name="connsiteX59" fmla="*/ 97697 w 194542"/>
                      <a:gd name="connsiteY59" fmla="*/ 123329 h 197507"/>
                      <a:gd name="connsiteX60" fmla="*/ 102856 w 194542"/>
                      <a:gd name="connsiteY60" fmla="*/ 121353 h 197507"/>
                      <a:gd name="connsiteX61" fmla="*/ 91468 w 194542"/>
                      <a:gd name="connsiteY61" fmla="*/ 109497 h 197507"/>
                      <a:gd name="connsiteX62" fmla="*/ 93882 w 194542"/>
                      <a:gd name="connsiteY62" fmla="*/ 105161 h 197507"/>
                      <a:gd name="connsiteX63" fmla="*/ 97560 w 194542"/>
                      <a:gd name="connsiteY63" fmla="*/ 105244 h 197507"/>
                      <a:gd name="connsiteX64" fmla="*/ 105518 w 194542"/>
                      <a:gd name="connsiteY64" fmla="*/ 112489 h 197507"/>
                      <a:gd name="connsiteX65" fmla="*/ 119788 w 194542"/>
                      <a:gd name="connsiteY65" fmla="*/ 118389 h 197507"/>
                      <a:gd name="connsiteX66" fmla="*/ 125304 w 194542"/>
                      <a:gd name="connsiteY66" fmla="*/ 132138 h 197507"/>
                      <a:gd name="connsiteX67" fmla="*/ 131781 w 194542"/>
                      <a:gd name="connsiteY67" fmla="*/ 137215 h 197507"/>
                      <a:gd name="connsiteX68" fmla="*/ 132660 w 194542"/>
                      <a:gd name="connsiteY68" fmla="*/ 140371 h 197507"/>
                      <a:gd name="connsiteX69" fmla="*/ 130491 w 194542"/>
                      <a:gd name="connsiteY69" fmla="*/ 142347 h 197507"/>
                      <a:gd name="connsiteX70" fmla="*/ 125826 w 194542"/>
                      <a:gd name="connsiteY70" fmla="*/ 141221 h 197507"/>
                      <a:gd name="connsiteX71" fmla="*/ 116797 w 194542"/>
                      <a:gd name="connsiteY71" fmla="*/ 128488 h 197507"/>
                      <a:gd name="connsiteX72" fmla="*/ 107302 w 194542"/>
                      <a:gd name="connsiteY72" fmla="*/ 129092 h 197507"/>
                      <a:gd name="connsiteX73" fmla="*/ 108317 w 194542"/>
                      <a:gd name="connsiteY73" fmla="*/ 129531 h 197507"/>
                      <a:gd name="connsiteX74" fmla="*/ 118608 w 194542"/>
                      <a:gd name="connsiteY74" fmla="*/ 135019 h 197507"/>
                      <a:gd name="connsiteX75" fmla="*/ 119048 w 194542"/>
                      <a:gd name="connsiteY75" fmla="*/ 152857 h 197507"/>
                      <a:gd name="connsiteX76" fmla="*/ 116633 w 194542"/>
                      <a:gd name="connsiteY76" fmla="*/ 154394 h 197507"/>
                      <a:gd name="connsiteX77" fmla="*/ 109909 w 194542"/>
                      <a:gd name="connsiteY77" fmla="*/ 147670 h 197507"/>
                      <a:gd name="connsiteX78" fmla="*/ 107796 w 194542"/>
                      <a:gd name="connsiteY78" fmla="*/ 144405 h 197507"/>
                      <a:gd name="connsiteX79" fmla="*/ 101649 w 194542"/>
                      <a:gd name="connsiteY79" fmla="*/ 145173 h 197507"/>
                      <a:gd name="connsiteX80" fmla="*/ 102472 w 194542"/>
                      <a:gd name="connsiteY80" fmla="*/ 143087 h 197507"/>
                      <a:gd name="connsiteX81" fmla="*/ 104832 w 194542"/>
                      <a:gd name="connsiteY81" fmla="*/ 142484 h 197507"/>
                      <a:gd name="connsiteX82" fmla="*/ 105573 w 194542"/>
                      <a:gd name="connsiteY82" fmla="*/ 141661 h 197507"/>
                      <a:gd name="connsiteX83" fmla="*/ 93306 w 194542"/>
                      <a:gd name="connsiteY83" fmla="*/ 144048 h 197507"/>
                      <a:gd name="connsiteX84" fmla="*/ 90123 w 194542"/>
                      <a:gd name="connsiteY84" fmla="*/ 146353 h 197507"/>
                      <a:gd name="connsiteX85" fmla="*/ 92016 w 194542"/>
                      <a:gd name="connsiteY85" fmla="*/ 149235 h 197507"/>
                      <a:gd name="connsiteX86" fmla="*/ 91523 w 194542"/>
                      <a:gd name="connsiteY86" fmla="*/ 152309 h 197507"/>
                      <a:gd name="connsiteX87" fmla="*/ 93882 w 194542"/>
                      <a:gd name="connsiteY87" fmla="*/ 157276 h 197507"/>
                      <a:gd name="connsiteX88" fmla="*/ 97258 w 194542"/>
                      <a:gd name="connsiteY88" fmla="*/ 158785 h 197507"/>
                      <a:gd name="connsiteX89" fmla="*/ 97340 w 194542"/>
                      <a:gd name="connsiteY89" fmla="*/ 156398 h 197507"/>
                      <a:gd name="connsiteX90" fmla="*/ 99728 w 194542"/>
                      <a:gd name="connsiteY90" fmla="*/ 156041 h 197507"/>
                      <a:gd name="connsiteX91" fmla="*/ 99398 w 194542"/>
                      <a:gd name="connsiteY91" fmla="*/ 159800 h 197507"/>
                      <a:gd name="connsiteX92" fmla="*/ 101814 w 194542"/>
                      <a:gd name="connsiteY92" fmla="*/ 162297 h 197507"/>
                      <a:gd name="connsiteX93" fmla="*/ 100469 w 194542"/>
                      <a:gd name="connsiteY93" fmla="*/ 164136 h 197507"/>
                      <a:gd name="connsiteX94" fmla="*/ 91659 w 194542"/>
                      <a:gd name="connsiteY94" fmla="*/ 167210 h 197507"/>
                      <a:gd name="connsiteX95" fmla="*/ 90370 w 194542"/>
                      <a:gd name="connsiteY95" fmla="*/ 162929 h 197507"/>
                      <a:gd name="connsiteX96" fmla="*/ 80600 w 194542"/>
                      <a:gd name="connsiteY96" fmla="*/ 158373 h 197507"/>
                      <a:gd name="connsiteX97" fmla="*/ 80106 w 194542"/>
                      <a:gd name="connsiteY97" fmla="*/ 161392 h 197507"/>
                      <a:gd name="connsiteX98" fmla="*/ 84991 w 194542"/>
                      <a:gd name="connsiteY98" fmla="*/ 174976 h 197507"/>
                      <a:gd name="connsiteX99" fmla="*/ 87406 w 194542"/>
                      <a:gd name="connsiteY99" fmla="*/ 177638 h 197507"/>
                      <a:gd name="connsiteX100" fmla="*/ 89848 w 194542"/>
                      <a:gd name="connsiteY100" fmla="*/ 195723 h 197507"/>
                      <a:gd name="connsiteX101" fmla="*/ 78706 w 194542"/>
                      <a:gd name="connsiteY101" fmla="*/ 188121 h 197507"/>
                      <a:gd name="connsiteX102" fmla="*/ 75166 w 194542"/>
                      <a:gd name="connsiteY102" fmla="*/ 190509 h 197507"/>
                      <a:gd name="connsiteX103" fmla="*/ 71407 w 194542"/>
                      <a:gd name="connsiteY103" fmla="*/ 197507 h 197507"/>
                      <a:gd name="connsiteX104" fmla="*/ 66961 w 194542"/>
                      <a:gd name="connsiteY104" fmla="*/ 187161 h 197507"/>
                      <a:gd name="connsiteX105" fmla="*/ 61912 w 194542"/>
                      <a:gd name="connsiteY105" fmla="*/ 180657 h 197507"/>
                      <a:gd name="connsiteX106" fmla="*/ 57768 w 194542"/>
                      <a:gd name="connsiteY106" fmla="*/ 181453 h 197507"/>
                      <a:gd name="connsiteX107" fmla="*/ 54447 w 194542"/>
                      <a:gd name="connsiteY107" fmla="*/ 186749 h 197507"/>
                      <a:gd name="connsiteX108" fmla="*/ 50028 w 194542"/>
                      <a:gd name="connsiteY108" fmla="*/ 184170 h 197507"/>
                      <a:gd name="connsiteX109" fmla="*/ 46955 w 194542"/>
                      <a:gd name="connsiteY109" fmla="*/ 175525 h 197507"/>
                      <a:gd name="connsiteX110" fmla="*/ 49150 w 194542"/>
                      <a:gd name="connsiteY110" fmla="*/ 165399 h 197507"/>
                      <a:gd name="connsiteX111" fmla="*/ 45967 w 194542"/>
                      <a:gd name="connsiteY111" fmla="*/ 159773 h 197507"/>
                      <a:gd name="connsiteX112" fmla="*/ 35155 w 194542"/>
                      <a:gd name="connsiteY112" fmla="*/ 149043 h 197507"/>
                      <a:gd name="connsiteX113" fmla="*/ 32987 w 194542"/>
                      <a:gd name="connsiteY113" fmla="*/ 145667 h 197507"/>
                      <a:gd name="connsiteX114" fmla="*/ 39490 w 194542"/>
                      <a:gd name="connsiteY114" fmla="*/ 138477 h 197507"/>
                      <a:gd name="connsiteX115" fmla="*/ 40616 w 194542"/>
                      <a:gd name="connsiteY115" fmla="*/ 134827 h 197507"/>
                      <a:gd name="connsiteX116" fmla="*/ 47367 w 194542"/>
                      <a:gd name="connsiteY116" fmla="*/ 136419 h 197507"/>
                      <a:gd name="connsiteX117" fmla="*/ 54639 w 194542"/>
                      <a:gd name="connsiteY117" fmla="*/ 129915 h 197507"/>
                      <a:gd name="connsiteX118" fmla="*/ 69568 w 194542"/>
                      <a:gd name="connsiteY118" fmla="*/ 136968 h 197507"/>
                      <a:gd name="connsiteX119" fmla="*/ 71489 w 194542"/>
                      <a:gd name="connsiteY119" fmla="*/ 137297 h 197507"/>
                      <a:gd name="connsiteX120" fmla="*/ 84085 w 194542"/>
                      <a:gd name="connsiteY120" fmla="*/ 144185 h 197507"/>
                      <a:gd name="connsiteX121" fmla="*/ 86500 w 194542"/>
                      <a:gd name="connsiteY121" fmla="*/ 143252 h 197507"/>
                      <a:gd name="connsiteX122" fmla="*/ 85897 w 194542"/>
                      <a:gd name="connsiteY122" fmla="*/ 140014 h 197507"/>
                      <a:gd name="connsiteX123" fmla="*/ 91440 w 194542"/>
                      <a:gd name="connsiteY123" fmla="*/ 140014 h 197507"/>
                      <a:gd name="connsiteX124" fmla="*/ 94130 w 194542"/>
                      <a:gd name="connsiteY124" fmla="*/ 137572 h 197507"/>
                      <a:gd name="connsiteX125" fmla="*/ 91687 w 194542"/>
                      <a:gd name="connsiteY125" fmla="*/ 136007 h 197507"/>
                      <a:gd name="connsiteX126" fmla="*/ 82631 w 194542"/>
                      <a:gd name="connsiteY126" fmla="*/ 133510 h 197507"/>
                      <a:gd name="connsiteX127" fmla="*/ 76456 w 194542"/>
                      <a:gd name="connsiteY127" fmla="*/ 128872 h 197507"/>
                      <a:gd name="connsiteX128" fmla="*/ 75276 w 194542"/>
                      <a:gd name="connsiteY128" fmla="*/ 130820 h 197507"/>
                      <a:gd name="connsiteX129" fmla="*/ 71462 w 194542"/>
                      <a:gd name="connsiteY129" fmla="*/ 126292 h 197507"/>
                      <a:gd name="connsiteX130" fmla="*/ 69156 w 194542"/>
                      <a:gd name="connsiteY130" fmla="*/ 129009 h 197507"/>
                      <a:gd name="connsiteX131" fmla="*/ 63997 w 194542"/>
                      <a:gd name="connsiteY131" fmla="*/ 129696 h 197507"/>
                      <a:gd name="connsiteX132" fmla="*/ 58261 w 194542"/>
                      <a:gd name="connsiteY132" fmla="*/ 127363 h 197507"/>
                      <a:gd name="connsiteX133" fmla="*/ 54200 w 194542"/>
                      <a:gd name="connsiteY133" fmla="*/ 128268 h 197507"/>
                      <a:gd name="connsiteX134" fmla="*/ 34111 w 194542"/>
                      <a:gd name="connsiteY134" fmla="*/ 129805 h 197507"/>
                      <a:gd name="connsiteX135" fmla="*/ 30709 w 194542"/>
                      <a:gd name="connsiteY135" fmla="*/ 121545 h 197507"/>
                      <a:gd name="connsiteX136" fmla="*/ 21927 w 194542"/>
                      <a:gd name="connsiteY136" fmla="*/ 109881 h 197507"/>
                      <a:gd name="connsiteX137" fmla="*/ 25357 w 194542"/>
                      <a:gd name="connsiteY137" fmla="*/ 107247 h 197507"/>
                      <a:gd name="connsiteX138" fmla="*/ 31395 w 194542"/>
                      <a:gd name="connsiteY138" fmla="*/ 109086 h 197507"/>
                      <a:gd name="connsiteX139" fmla="*/ 32987 w 194542"/>
                      <a:gd name="connsiteY139" fmla="*/ 106204 h 197507"/>
                      <a:gd name="connsiteX140" fmla="*/ 32328 w 194542"/>
                      <a:gd name="connsiteY140" fmla="*/ 102966 h 197507"/>
                      <a:gd name="connsiteX141" fmla="*/ 24370 w 194542"/>
                      <a:gd name="connsiteY141" fmla="*/ 102774 h 197507"/>
                      <a:gd name="connsiteX142" fmla="*/ 21186 w 194542"/>
                      <a:gd name="connsiteY142" fmla="*/ 104805 h 197507"/>
                      <a:gd name="connsiteX143" fmla="*/ 13804 w 194542"/>
                      <a:gd name="connsiteY143" fmla="*/ 94294 h 197507"/>
                      <a:gd name="connsiteX144" fmla="*/ 13393 w 194542"/>
                      <a:gd name="connsiteY144" fmla="*/ 94376 h 197507"/>
                      <a:gd name="connsiteX145" fmla="*/ 8590 w 194542"/>
                      <a:gd name="connsiteY145" fmla="*/ 92730 h 197507"/>
                      <a:gd name="connsiteX146" fmla="*/ 4528 w 194542"/>
                      <a:gd name="connsiteY146" fmla="*/ 81149 h 197507"/>
                      <a:gd name="connsiteX147" fmla="*/ 0 w 194542"/>
                      <a:gd name="connsiteY147" fmla="*/ 78404 h 197507"/>
                      <a:gd name="connsiteX148" fmla="*/ 6449 w 194542"/>
                      <a:gd name="connsiteY148" fmla="*/ 79447 h 197507"/>
                      <a:gd name="connsiteX149" fmla="*/ 8617 w 194542"/>
                      <a:gd name="connsiteY149" fmla="*/ 76950 h 197507"/>
                      <a:gd name="connsiteX150" fmla="*/ 8617 w 194542"/>
                      <a:gd name="connsiteY150" fmla="*/ 73767 h 197507"/>
                      <a:gd name="connsiteX151" fmla="*/ 11252 w 194542"/>
                      <a:gd name="connsiteY151" fmla="*/ 74672 h 197507"/>
                      <a:gd name="connsiteX152" fmla="*/ 10209 w 194542"/>
                      <a:gd name="connsiteY152" fmla="*/ 67290 h 197507"/>
                      <a:gd name="connsiteX153" fmla="*/ 12980 w 194542"/>
                      <a:gd name="connsiteY153" fmla="*/ 64299 h 197507"/>
                      <a:gd name="connsiteX154" fmla="*/ 17783 w 194542"/>
                      <a:gd name="connsiteY154" fmla="*/ 63503 h 197507"/>
                      <a:gd name="connsiteX155" fmla="*/ 22668 w 194542"/>
                      <a:gd name="connsiteY155" fmla="*/ 53130 h 197507"/>
                      <a:gd name="connsiteX156" fmla="*/ 30818 w 194542"/>
                      <a:gd name="connsiteY156" fmla="*/ 42756 h 197507"/>
                      <a:gd name="connsiteX157" fmla="*/ 28595 w 194542"/>
                      <a:gd name="connsiteY157" fmla="*/ 33508 h 197507"/>
                      <a:gd name="connsiteX158" fmla="*/ 52334 w 194542"/>
                      <a:gd name="connsiteY158" fmla="*/ 30544 h 197507"/>
                      <a:gd name="connsiteX159" fmla="*/ 56533 w 194542"/>
                      <a:gd name="connsiteY159" fmla="*/ 23930 h 197507"/>
                      <a:gd name="connsiteX160" fmla="*/ 64957 w 194542"/>
                      <a:gd name="connsiteY160" fmla="*/ 21186 h 197507"/>
                      <a:gd name="connsiteX161" fmla="*/ 68360 w 194542"/>
                      <a:gd name="connsiteY161" fmla="*/ 23162 h 197507"/>
                      <a:gd name="connsiteX162" fmla="*/ 70089 w 194542"/>
                      <a:gd name="connsiteY162" fmla="*/ 22586 h 197507"/>
                      <a:gd name="connsiteX163" fmla="*/ 79887 w 194542"/>
                      <a:gd name="connsiteY163" fmla="*/ 21543 h 197507"/>
                      <a:gd name="connsiteX164" fmla="*/ 81451 w 194542"/>
                      <a:gd name="connsiteY164" fmla="*/ 15807 h 197507"/>
                      <a:gd name="connsiteX165" fmla="*/ 84470 w 194542"/>
                      <a:gd name="connsiteY165" fmla="*/ 14517 h 197507"/>
                      <a:gd name="connsiteX166" fmla="*/ 85897 w 194542"/>
                      <a:gd name="connsiteY166" fmla="*/ 14627 h 197507"/>
                      <a:gd name="connsiteX167" fmla="*/ 106396 w 194542"/>
                      <a:gd name="connsiteY167" fmla="*/ 13145 h 197507"/>
                      <a:gd name="connsiteX168" fmla="*/ 118280 w 194542"/>
                      <a:gd name="connsiteY168" fmla="*/ 9989 h 197507"/>
                      <a:gd name="connsiteX169" fmla="*/ 119185 w 194542"/>
                      <a:gd name="connsiteY169" fmla="*/ 7409 h 197507"/>
                      <a:gd name="connsiteX170" fmla="*/ 132632 w 194542"/>
                      <a:gd name="connsiteY170" fmla="*/ 6339 h 197507"/>
                      <a:gd name="connsiteX171" fmla="*/ 140480 w 194542"/>
                      <a:gd name="connsiteY171" fmla="*/ 13776 h 197507"/>
                      <a:gd name="connsiteX172" fmla="*/ 143966 w 194542"/>
                      <a:gd name="connsiteY172" fmla="*/ 12926 h 197507"/>
                      <a:gd name="connsiteX173" fmla="*/ 152116 w 194542"/>
                      <a:gd name="connsiteY173" fmla="*/ 15752 h 197507"/>
                      <a:gd name="connsiteX174" fmla="*/ 153433 w 194542"/>
                      <a:gd name="connsiteY174" fmla="*/ 17536 h 197507"/>
                      <a:gd name="connsiteX175" fmla="*/ 173494 w 194542"/>
                      <a:gd name="connsiteY175" fmla="*/ 15862 h 197507"/>
                      <a:gd name="connsiteX176" fmla="*/ 174757 w 194542"/>
                      <a:gd name="connsiteY176" fmla="*/ 15341 h 197507"/>
                      <a:gd name="connsiteX177" fmla="*/ 179477 w 194542"/>
                      <a:gd name="connsiteY177" fmla="*/ 13913 h 197507"/>
                      <a:gd name="connsiteX178" fmla="*/ 181124 w 194542"/>
                      <a:gd name="connsiteY178" fmla="*/ 11252 h 197507"/>
                      <a:gd name="connsiteX179" fmla="*/ 181371 w 194542"/>
                      <a:gd name="connsiteY179" fmla="*/ 6778 h 197507"/>
                      <a:gd name="connsiteX180" fmla="*/ 180163 w 194542"/>
                      <a:gd name="connsiteY180" fmla="*/ 3540 h 197507"/>
                      <a:gd name="connsiteX181" fmla="*/ 179504 w 194542"/>
                      <a:gd name="connsiteY181" fmla="*/ 1701 h 197507"/>
                      <a:gd name="connsiteX182" fmla="*/ 178901 w 194542"/>
                      <a:gd name="connsiteY182" fmla="*/ 137 h 197507"/>
                      <a:gd name="connsiteX183" fmla="*/ 186805 w 194542"/>
                      <a:gd name="connsiteY183" fmla="*/ 0 h 197507"/>
                      <a:gd name="connsiteX184" fmla="*/ 189329 w 194542"/>
                      <a:gd name="connsiteY184" fmla="*/ 1701 h 197507"/>
                      <a:gd name="connsiteX185" fmla="*/ 192101 w 194542"/>
                      <a:gd name="connsiteY185" fmla="*/ 3540 h 197507"/>
                      <a:gd name="connsiteX186" fmla="*/ 193281 w 194542"/>
                      <a:gd name="connsiteY186" fmla="*/ 4308 h 197507"/>
                      <a:gd name="connsiteX187" fmla="*/ 194543 w 194542"/>
                      <a:gd name="connsiteY187" fmla="*/ 13282 h 19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94542" h="197507">
                        <a:moveTo>
                          <a:pt x="194461" y="13337"/>
                        </a:moveTo>
                        <a:lnTo>
                          <a:pt x="186256" y="18606"/>
                        </a:lnTo>
                        <a:lnTo>
                          <a:pt x="186420" y="29364"/>
                        </a:lnTo>
                        <a:lnTo>
                          <a:pt x="177200" y="38420"/>
                        </a:lnTo>
                        <a:lnTo>
                          <a:pt x="174867" y="34468"/>
                        </a:lnTo>
                        <a:lnTo>
                          <a:pt x="165426" y="33261"/>
                        </a:lnTo>
                        <a:lnTo>
                          <a:pt x="151760" y="30050"/>
                        </a:lnTo>
                        <a:lnTo>
                          <a:pt x="150936" y="28294"/>
                        </a:lnTo>
                        <a:lnTo>
                          <a:pt x="141359" y="33453"/>
                        </a:lnTo>
                        <a:lnTo>
                          <a:pt x="136364" y="33151"/>
                        </a:lnTo>
                        <a:lnTo>
                          <a:pt x="131946" y="30050"/>
                        </a:lnTo>
                        <a:lnTo>
                          <a:pt x="120969" y="38228"/>
                        </a:lnTo>
                        <a:lnTo>
                          <a:pt x="113559" y="36526"/>
                        </a:lnTo>
                        <a:lnTo>
                          <a:pt x="110513" y="37322"/>
                        </a:lnTo>
                        <a:lnTo>
                          <a:pt x="109113" y="40204"/>
                        </a:lnTo>
                        <a:lnTo>
                          <a:pt x="110266" y="42097"/>
                        </a:lnTo>
                        <a:lnTo>
                          <a:pt x="111007" y="43442"/>
                        </a:lnTo>
                        <a:lnTo>
                          <a:pt x="113257" y="45994"/>
                        </a:lnTo>
                        <a:lnTo>
                          <a:pt x="113312" y="49123"/>
                        </a:lnTo>
                        <a:lnTo>
                          <a:pt x="117730" y="51593"/>
                        </a:lnTo>
                        <a:lnTo>
                          <a:pt x="123109" y="53843"/>
                        </a:lnTo>
                        <a:lnTo>
                          <a:pt x="128543" y="60841"/>
                        </a:lnTo>
                        <a:lnTo>
                          <a:pt x="126622" y="61554"/>
                        </a:lnTo>
                        <a:lnTo>
                          <a:pt x="122259" y="56176"/>
                        </a:lnTo>
                        <a:lnTo>
                          <a:pt x="117593" y="54419"/>
                        </a:lnTo>
                        <a:lnTo>
                          <a:pt x="113395" y="51894"/>
                        </a:lnTo>
                        <a:lnTo>
                          <a:pt x="109086" y="55600"/>
                        </a:lnTo>
                        <a:lnTo>
                          <a:pt x="117017" y="62707"/>
                        </a:lnTo>
                        <a:lnTo>
                          <a:pt x="117566" y="65891"/>
                        </a:lnTo>
                        <a:lnTo>
                          <a:pt x="115892" y="68086"/>
                        </a:lnTo>
                        <a:lnTo>
                          <a:pt x="112709" y="66439"/>
                        </a:lnTo>
                        <a:lnTo>
                          <a:pt x="107083" y="58152"/>
                        </a:lnTo>
                        <a:lnTo>
                          <a:pt x="100633" y="56313"/>
                        </a:lnTo>
                        <a:lnTo>
                          <a:pt x="96380" y="57493"/>
                        </a:lnTo>
                        <a:lnTo>
                          <a:pt x="88175" y="53020"/>
                        </a:lnTo>
                        <a:lnTo>
                          <a:pt x="84634" y="48601"/>
                        </a:lnTo>
                        <a:lnTo>
                          <a:pt x="85594" y="42729"/>
                        </a:lnTo>
                        <a:lnTo>
                          <a:pt x="78734" y="46131"/>
                        </a:lnTo>
                        <a:lnTo>
                          <a:pt x="78185" y="47586"/>
                        </a:lnTo>
                        <a:lnTo>
                          <a:pt x="76538" y="49068"/>
                        </a:lnTo>
                        <a:lnTo>
                          <a:pt x="77581" y="52910"/>
                        </a:lnTo>
                        <a:lnTo>
                          <a:pt x="75057" y="61115"/>
                        </a:lnTo>
                        <a:lnTo>
                          <a:pt x="78158" y="67482"/>
                        </a:lnTo>
                        <a:lnTo>
                          <a:pt x="83509" y="74535"/>
                        </a:lnTo>
                        <a:lnTo>
                          <a:pt x="85567" y="81725"/>
                        </a:lnTo>
                        <a:lnTo>
                          <a:pt x="91605" y="87159"/>
                        </a:lnTo>
                        <a:lnTo>
                          <a:pt x="97725" y="97230"/>
                        </a:lnTo>
                        <a:lnTo>
                          <a:pt x="94431" y="99426"/>
                        </a:lnTo>
                        <a:lnTo>
                          <a:pt x="91083" y="93526"/>
                        </a:lnTo>
                        <a:lnTo>
                          <a:pt x="85018" y="93251"/>
                        </a:lnTo>
                        <a:lnTo>
                          <a:pt x="83399" y="96682"/>
                        </a:lnTo>
                        <a:lnTo>
                          <a:pt x="88531" y="104530"/>
                        </a:lnTo>
                        <a:lnTo>
                          <a:pt x="86555" y="107165"/>
                        </a:lnTo>
                        <a:lnTo>
                          <a:pt x="81341" y="109278"/>
                        </a:lnTo>
                        <a:lnTo>
                          <a:pt x="76785" y="108482"/>
                        </a:lnTo>
                        <a:lnTo>
                          <a:pt x="75880" y="110129"/>
                        </a:lnTo>
                        <a:lnTo>
                          <a:pt x="88833" y="114382"/>
                        </a:lnTo>
                        <a:lnTo>
                          <a:pt x="91989" y="117621"/>
                        </a:lnTo>
                        <a:lnTo>
                          <a:pt x="96599" y="118142"/>
                        </a:lnTo>
                        <a:lnTo>
                          <a:pt x="97697" y="123329"/>
                        </a:lnTo>
                        <a:lnTo>
                          <a:pt x="102856" y="121353"/>
                        </a:lnTo>
                        <a:lnTo>
                          <a:pt x="91468" y="109497"/>
                        </a:lnTo>
                        <a:lnTo>
                          <a:pt x="93882" y="105161"/>
                        </a:lnTo>
                        <a:lnTo>
                          <a:pt x="97560" y="105244"/>
                        </a:lnTo>
                        <a:lnTo>
                          <a:pt x="105518" y="112489"/>
                        </a:lnTo>
                        <a:lnTo>
                          <a:pt x="119788" y="118389"/>
                        </a:lnTo>
                        <a:lnTo>
                          <a:pt x="125304" y="132138"/>
                        </a:lnTo>
                        <a:lnTo>
                          <a:pt x="131781" y="137215"/>
                        </a:lnTo>
                        <a:lnTo>
                          <a:pt x="132660" y="140371"/>
                        </a:lnTo>
                        <a:lnTo>
                          <a:pt x="130491" y="142347"/>
                        </a:lnTo>
                        <a:lnTo>
                          <a:pt x="125826" y="141221"/>
                        </a:lnTo>
                        <a:lnTo>
                          <a:pt x="116797" y="128488"/>
                        </a:lnTo>
                        <a:lnTo>
                          <a:pt x="107302" y="129092"/>
                        </a:lnTo>
                        <a:lnTo>
                          <a:pt x="108317" y="129531"/>
                        </a:lnTo>
                        <a:lnTo>
                          <a:pt x="118608" y="135019"/>
                        </a:lnTo>
                        <a:lnTo>
                          <a:pt x="119048" y="152857"/>
                        </a:lnTo>
                        <a:lnTo>
                          <a:pt x="116633" y="154394"/>
                        </a:lnTo>
                        <a:lnTo>
                          <a:pt x="109909" y="147670"/>
                        </a:lnTo>
                        <a:lnTo>
                          <a:pt x="107796" y="144405"/>
                        </a:lnTo>
                        <a:lnTo>
                          <a:pt x="101649" y="145173"/>
                        </a:lnTo>
                        <a:lnTo>
                          <a:pt x="102472" y="143087"/>
                        </a:lnTo>
                        <a:lnTo>
                          <a:pt x="104832" y="142484"/>
                        </a:lnTo>
                        <a:lnTo>
                          <a:pt x="105573" y="141661"/>
                        </a:lnTo>
                        <a:lnTo>
                          <a:pt x="93306" y="144048"/>
                        </a:lnTo>
                        <a:lnTo>
                          <a:pt x="90123" y="146353"/>
                        </a:lnTo>
                        <a:lnTo>
                          <a:pt x="92016" y="149235"/>
                        </a:lnTo>
                        <a:lnTo>
                          <a:pt x="91523" y="152309"/>
                        </a:lnTo>
                        <a:lnTo>
                          <a:pt x="93882" y="157276"/>
                        </a:lnTo>
                        <a:lnTo>
                          <a:pt x="97258" y="158785"/>
                        </a:lnTo>
                        <a:lnTo>
                          <a:pt x="97340" y="156398"/>
                        </a:lnTo>
                        <a:lnTo>
                          <a:pt x="99728" y="156041"/>
                        </a:lnTo>
                        <a:lnTo>
                          <a:pt x="99398" y="159800"/>
                        </a:lnTo>
                        <a:lnTo>
                          <a:pt x="101814" y="162297"/>
                        </a:lnTo>
                        <a:lnTo>
                          <a:pt x="100469" y="164136"/>
                        </a:lnTo>
                        <a:lnTo>
                          <a:pt x="91659" y="167210"/>
                        </a:lnTo>
                        <a:lnTo>
                          <a:pt x="90370" y="162929"/>
                        </a:lnTo>
                        <a:lnTo>
                          <a:pt x="80600" y="158373"/>
                        </a:lnTo>
                        <a:lnTo>
                          <a:pt x="80106" y="161392"/>
                        </a:lnTo>
                        <a:lnTo>
                          <a:pt x="84991" y="174976"/>
                        </a:lnTo>
                        <a:lnTo>
                          <a:pt x="87406" y="177638"/>
                        </a:lnTo>
                        <a:lnTo>
                          <a:pt x="89848" y="195723"/>
                        </a:lnTo>
                        <a:lnTo>
                          <a:pt x="78706" y="188121"/>
                        </a:lnTo>
                        <a:lnTo>
                          <a:pt x="75166" y="190509"/>
                        </a:lnTo>
                        <a:lnTo>
                          <a:pt x="71407" y="197507"/>
                        </a:lnTo>
                        <a:lnTo>
                          <a:pt x="66961" y="187161"/>
                        </a:lnTo>
                        <a:lnTo>
                          <a:pt x="61912" y="180657"/>
                        </a:lnTo>
                        <a:lnTo>
                          <a:pt x="57768" y="181453"/>
                        </a:lnTo>
                        <a:lnTo>
                          <a:pt x="54447" y="186749"/>
                        </a:lnTo>
                        <a:lnTo>
                          <a:pt x="50028" y="184170"/>
                        </a:lnTo>
                        <a:lnTo>
                          <a:pt x="46955" y="175525"/>
                        </a:lnTo>
                        <a:lnTo>
                          <a:pt x="49150" y="165399"/>
                        </a:lnTo>
                        <a:lnTo>
                          <a:pt x="45967" y="159773"/>
                        </a:lnTo>
                        <a:lnTo>
                          <a:pt x="35155" y="149043"/>
                        </a:lnTo>
                        <a:lnTo>
                          <a:pt x="32987" y="145667"/>
                        </a:lnTo>
                        <a:lnTo>
                          <a:pt x="39490" y="138477"/>
                        </a:lnTo>
                        <a:lnTo>
                          <a:pt x="40616" y="134827"/>
                        </a:lnTo>
                        <a:lnTo>
                          <a:pt x="47367" y="136419"/>
                        </a:lnTo>
                        <a:lnTo>
                          <a:pt x="54639" y="129915"/>
                        </a:lnTo>
                        <a:lnTo>
                          <a:pt x="69568" y="136968"/>
                        </a:lnTo>
                        <a:lnTo>
                          <a:pt x="71489" y="137297"/>
                        </a:lnTo>
                        <a:lnTo>
                          <a:pt x="84085" y="144185"/>
                        </a:lnTo>
                        <a:lnTo>
                          <a:pt x="86500" y="143252"/>
                        </a:lnTo>
                        <a:lnTo>
                          <a:pt x="85897" y="140014"/>
                        </a:lnTo>
                        <a:lnTo>
                          <a:pt x="91440" y="140014"/>
                        </a:lnTo>
                        <a:cubicBezTo>
                          <a:pt x="91440" y="140014"/>
                          <a:pt x="94130" y="137572"/>
                          <a:pt x="94130" y="137572"/>
                        </a:cubicBezTo>
                        <a:lnTo>
                          <a:pt x="91687" y="136007"/>
                        </a:lnTo>
                        <a:lnTo>
                          <a:pt x="82631" y="133510"/>
                        </a:lnTo>
                        <a:lnTo>
                          <a:pt x="76456" y="128872"/>
                        </a:lnTo>
                        <a:lnTo>
                          <a:pt x="75276" y="130820"/>
                        </a:lnTo>
                        <a:lnTo>
                          <a:pt x="71462" y="126292"/>
                        </a:lnTo>
                        <a:lnTo>
                          <a:pt x="69156" y="129009"/>
                        </a:lnTo>
                        <a:lnTo>
                          <a:pt x="63997" y="129696"/>
                        </a:lnTo>
                        <a:lnTo>
                          <a:pt x="58261" y="127363"/>
                        </a:lnTo>
                        <a:lnTo>
                          <a:pt x="54200" y="128268"/>
                        </a:lnTo>
                        <a:lnTo>
                          <a:pt x="34111" y="129805"/>
                        </a:lnTo>
                        <a:lnTo>
                          <a:pt x="30709" y="121545"/>
                        </a:lnTo>
                        <a:lnTo>
                          <a:pt x="21927" y="109881"/>
                        </a:lnTo>
                        <a:lnTo>
                          <a:pt x="25357" y="107247"/>
                        </a:lnTo>
                        <a:lnTo>
                          <a:pt x="31395" y="109086"/>
                        </a:lnTo>
                        <a:lnTo>
                          <a:pt x="32987" y="106204"/>
                        </a:lnTo>
                        <a:lnTo>
                          <a:pt x="32328" y="102966"/>
                        </a:lnTo>
                        <a:lnTo>
                          <a:pt x="24370" y="102774"/>
                        </a:lnTo>
                        <a:lnTo>
                          <a:pt x="21186" y="104805"/>
                        </a:lnTo>
                        <a:lnTo>
                          <a:pt x="13804" y="94294"/>
                        </a:lnTo>
                        <a:lnTo>
                          <a:pt x="13393" y="94376"/>
                        </a:lnTo>
                        <a:lnTo>
                          <a:pt x="8590" y="92730"/>
                        </a:lnTo>
                        <a:lnTo>
                          <a:pt x="4528" y="81149"/>
                        </a:lnTo>
                        <a:lnTo>
                          <a:pt x="0" y="78404"/>
                        </a:lnTo>
                        <a:lnTo>
                          <a:pt x="6449" y="79447"/>
                        </a:lnTo>
                        <a:lnTo>
                          <a:pt x="8617" y="76950"/>
                        </a:lnTo>
                        <a:lnTo>
                          <a:pt x="8617" y="73767"/>
                        </a:lnTo>
                        <a:cubicBezTo>
                          <a:pt x="8617" y="73767"/>
                          <a:pt x="11252" y="74672"/>
                          <a:pt x="11252" y="74672"/>
                        </a:cubicBezTo>
                        <a:lnTo>
                          <a:pt x="10209" y="67290"/>
                        </a:lnTo>
                        <a:lnTo>
                          <a:pt x="12980" y="64299"/>
                        </a:lnTo>
                        <a:lnTo>
                          <a:pt x="17783" y="63503"/>
                        </a:lnTo>
                        <a:lnTo>
                          <a:pt x="22668" y="53130"/>
                        </a:lnTo>
                        <a:lnTo>
                          <a:pt x="30818" y="42756"/>
                        </a:lnTo>
                        <a:lnTo>
                          <a:pt x="28595" y="33508"/>
                        </a:lnTo>
                        <a:lnTo>
                          <a:pt x="52334" y="30544"/>
                        </a:lnTo>
                        <a:lnTo>
                          <a:pt x="56533" y="23930"/>
                        </a:lnTo>
                        <a:lnTo>
                          <a:pt x="64957" y="21186"/>
                        </a:lnTo>
                        <a:lnTo>
                          <a:pt x="68360" y="23162"/>
                        </a:lnTo>
                        <a:lnTo>
                          <a:pt x="70089" y="22586"/>
                        </a:lnTo>
                        <a:lnTo>
                          <a:pt x="79887" y="21543"/>
                        </a:lnTo>
                        <a:lnTo>
                          <a:pt x="81451" y="15807"/>
                        </a:lnTo>
                        <a:lnTo>
                          <a:pt x="84470" y="14517"/>
                        </a:lnTo>
                        <a:lnTo>
                          <a:pt x="85897" y="14627"/>
                        </a:lnTo>
                        <a:lnTo>
                          <a:pt x="106396" y="13145"/>
                        </a:lnTo>
                        <a:lnTo>
                          <a:pt x="118280" y="9989"/>
                        </a:lnTo>
                        <a:lnTo>
                          <a:pt x="119185" y="7409"/>
                        </a:lnTo>
                        <a:lnTo>
                          <a:pt x="132632" y="6339"/>
                        </a:lnTo>
                        <a:lnTo>
                          <a:pt x="140480" y="13776"/>
                        </a:lnTo>
                        <a:lnTo>
                          <a:pt x="143966" y="12926"/>
                        </a:lnTo>
                        <a:lnTo>
                          <a:pt x="152116" y="15752"/>
                        </a:lnTo>
                        <a:lnTo>
                          <a:pt x="153433" y="17536"/>
                        </a:lnTo>
                        <a:lnTo>
                          <a:pt x="173494" y="15862"/>
                        </a:lnTo>
                        <a:lnTo>
                          <a:pt x="174757" y="15341"/>
                        </a:lnTo>
                        <a:lnTo>
                          <a:pt x="179477" y="13913"/>
                        </a:lnTo>
                        <a:lnTo>
                          <a:pt x="181124" y="11252"/>
                        </a:lnTo>
                        <a:lnTo>
                          <a:pt x="181371" y="6778"/>
                        </a:lnTo>
                        <a:lnTo>
                          <a:pt x="180163" y="3540"/>
                        </a:lnTo>
                        <a:lnTo>
                          <a:pt x="179504" y="1701"/>
                        </a:lnTo>
                        <a:lnTo>
                          <a:pt x="178901" y="137"/>
                        </a:lnTo>
                        <a:lnTo>
                          <a:pt x="186805" y="0"/>
                        </a:lnTo>
                        <a:lnTo>
                          <a:pt x="189329" y="1701"/>
                        </a:lnTo>
                        <a:lnTo>
                          <a:pt x="192101" y="3540"/>
                        </a:lnTo>
                        <a:lnTo>
                          <a:pt x="193281" y="4308"/>
                        </a:lnTo>
                        <a:lnTo>
                          <a:pt x="194543" y="1328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77" name="Freeform: Shape 2976">
                    <a:extLst>
                      <a:ext uri="{FF2B5EF4-FFF2-40B4-BE49-F238E27FC236}">
                        <a16:creationId xmlns:a16="http://schemas.microsoft.com/office/drawing/2014/main" id="{70D41D91-E67F-DEA9-B2BA-2F27DE95DE69}"/>
                      </a:ext>
                    </a:extLst>
                  </p:cNvPr>
                  <p:cNvSpPr/>
                  <p:nvPr/>
                </p:nvSpPr>
                <p:spPr>
                  <a:xfrm>
                    <a:off x="-5709214" y="3599558"/>
                    <a:ext cx="10620" cy="14435"/>
                  </a:xfrm>
                  <a:custGeom>
                    <a:avLst/>
                    <a:gdLst>
                      <a:gd name="connsiteX0" fmla="*/ 10620 w 10620"/>
                      <a:gd name="connsiteY0" fmla="*/ 13227 h 14435"/>
                      <a:gd name="connsiteX1" fmla="*/ 10099 w 10620"/>
                      <a:gd name="connsiteY1" fmla="*/ 14435 h 14435"/>
                      <a:gd name="connsiteX2" fmla="*/ 7464 w 10620"/>
                      <a:gd name="connsiteY2" fmla="*/ 13255 h 14435"/>
                      <a:gd name="connsiteX3" fmla="*/ 0 w 10620"/>
                      <a:gd name="connsiteY3" fmla="*/ 1619 h 14435"/>
                      <a:gd name="connsiteX4" fmla="*/ 1921 w 10620"/>
                      <a:gd name="connsiteY4" fmla="*/ 0 h 14435"/>
                      <a:gd name="connsiteX5" fmla="*/ 8370 w 10620"/>
                      <a:gd name="connsiteY5" fmla="*/ 439 h 14435"/>
                      <a:gd name="connsiteX6" fmla="*/ 6696 w 10620"/>
                      <a:gd name="connsiteY6" fmla="*/ 4116 h 14435"/>
                      <a:gd name="connsiteX7" fmla="*/ 8809 w 10620"/>
                      <a:gd name="connsiteY7" fmla="*/ 11361 h 14435"/>
                      <a:gd name="connsiteX8" fmla="*/ 10593 w 10620"/>
                      <a:gd name="connsiteY8" fmla="*/ 13227 h 1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20" h="14435">
                        <a:moveTo>
                          <a:pt x="10620" y="13227"/>
                        </a:moveTo>
                        <a:lnTo>
                          <a:pt x="10099" y="14435"/>
                        </a:lnTo>
                        <a:lnTo>
                          <a:pt x="7464" y="13255"/>
                        </a:lnTo>
                        <a:lnTo>
                          <a:pt x="0" y="1619"/>
                        </a:lnTo>
                        <a:lnTo>
                          <a:pt x="1921" y="0"/>
                        </a:lnTo>
                        <a:lnTo>
                          <a:pt x="8370" y="439"/>
                        </a:lnTo>
                        <a:lnTo>
                          <a:pt x="6696" y="4116"/>
                        </a:lnTo>
                        <a:lnTo>
                          <a:pt x="8809" y="11361"/>
                        </a:lnTo>
                        <a:lnTo>
                          <a:pt x="10593" y="132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78" name="Freeform: Shape 2977">
                    <a:extLst>
                      <a:ext uri="{FF2B5EF4-FFF2-40B4-BE49-F238E27FC236}">
                        <a16:creationId xmlns:a16="http://schemas.microsoft.com/office/drawing/2014/main" id="{E76A1D58-FD29-4644-9659-04B884F611D2}"/>
                      </a:ext>
                    </a:extLst>
                  </p:cNvPr>
                  <p:cNvSpPr/>
                  <p:nvPr/>
                </p:nvSpPr>
                <p:spPr>
                  <a:xfrm>
                    <a:off x="-5601336" y="3585370"/>
                    <a:ext cx="10977" cy="9632"/>
                  </a:xfrm>
                  <a:custGeom>
                    <a:avLst/>
                    <a:gdLst>
                      <a:gd name="connsiteX0" fmla="*/ 10950 w 10977"/>
                      <a:gd name="connsiteY0" fmla="*/ 7492 h 9632"/>
                      <a:gd name="connsiteX1" fmla="*/ 10840 w 10977"/>
                      <a:gd name="connsiteY1" fmla="*/ 9633 h 9632"/>
                      <a:gd name="connsiteX2" fmla="*/ 8534 w 10977"/>
                      <a:gd name="connsiteY2" fmla="*/ 9441 h 9632"/>
                      <a:gd name="connsiteX3" fmla="*/ 4638 w 10977"/>
                      <a:gd name="connsiteY3" fmla="*/ 7602 h 9632"/>
                      <a:gd name="connsiteX4" fmla="*/ 1564 w 10977"/>
                      <a:gd name="connsiteY4" fmla="*/ 8041 h 9632"/>
                      <a:gd name="connsiteX5" fmla="*/ 2196 w 10977"/>
                      <a:gd name="connsiteY5" fmla="*/ 6367 h 9632"/>
                      <a:gd name="connsiteX6" fmla="*/ 0 w 10977"/>
                      <a:gd name="connsiteY6" fmla="*/ 2525 h 9632"/>
                      <a:gd name="connsiteX7" fmla="*/ 604 w 10977"/>
                      <a:gd name="connsiteY7" fmla="*/ 0 h 9632"/>
                      <a:gd name="connsiteX8" fmla="*/ 2689 w 10977"/>
                      <a:gd name="connsiteY8" fmla="*/ 1098 h 9632"/>
                      <a:gd name="connsiteX9" fmla="*/ 5516 w 10977"/>
                      <a:gd name="connsiteY9" fmla="*/ 5077 h 9632"/>
                      <a:gd name="connsiteX10" fmla="*/ 10977 w 10977"/>
                      <a:gd name="connsiteY10" fmla="*/ 7492 h 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77" h="9632">
                        <a:moveTo>
                          <a:pt x="10950" y="7492"/>
                        </a:moveTo>
                        <a:lnTo>
                          <a:pt x="10840" y="9633"/>
                        </a:lnTo>
                        <a:lnTo>
                          <a:pt x="8534" y="9441"/>
                        </a:lnTo>
                        <a:lnTo>
                          <a:pt x="4638" y="7602"/>
                        </a:lnTo>
                        <a:lnTo>
                          <a:pt x="1564" y="8041"/>
                        </a:lnTo>
                        <a:lnTo>
                          <a:pt x="2196" y="6367"/>
                        </a:lnTo>
                        <a:lnTo>
                          <a:pt x="0" y="2525"/>
                        </a:lnTo>
                        <a:lnTo>
                          <a:pt x="604" y="0"/>
                        </a:lnTo>
                        <a:lnTo>
                          <a:pt x="2689" y="1098"/>
                        </a:lnTo>
                        <a:lnTo>
                          <a:pt x="5516" y="5077"/>
                        </a:lnTo>
                        <a:lnTo>
                          <a:pt x="10977" y="749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79" name="Freeform: Shape 2978">
                    <a:extLst>
                      <a:ext uri="{FF2B5EF4-FFF2-40B4-BE49-F238E27FC236}">
                        <a16:creationId xmlns:a16="http://schemas.microsoft.com/office/drawing/2014/main" id="{FA1CE9C3-FF11-A4F9-D604-DA400A961A57}"/>
                      </a:ext>
                    </a:extLst>
                  </p:cNvPr>
                  <p:cNvSpPr/>
                  <p:nvPr/>
                </p:nvSpPr>
                <p:spPr>
                  <a:xfrm>
                    <a:off x="-5614481" y="3633148"/>
                    <a:ext cx="4747" cy="3732"/>
                  </a:xfrm>
                  <a:custGeom>
                    <a:avLst/>
                    <a:gdLst>
                      <a:gd name="connsiteX0" fmla="*/ 4748 w 4747"/>
                      <a:gd name="connsiteY0" fmla="*/ 1756 h 3732"/>
                      <a:gd name="connsiteX1" fmla="*/ 2964 w 4747"/>
                      <a:gd name="connsiteY1" fmla="*/ 3732 h 3732"/>
                      <a:gd name="connsiteX2" fmla="*/ 0 w 4747"/>
                      <a:gd name="connsiteY2" fmla="*/ 2086 h 3732"/>
                      <a:gd name="connsiteX3" fmla="*/ 1921 w 4747"/>
                      <a:gd name="connsiteY3" fmla="*/ 0 h 3732"/>
                      <a:gd name="connsiteX4" fmla="*/ 4720 w 4747"/>
                      <a:gd name="connsiteY4" fmla="*/ 1756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7" h="3732">
                        <a:moveTo>
                          <a:pt x="4748" y="1756"/>
                        </a:moveTo>
                        <a:lnTo>
                          <a:pt x="2964" y="3732"/>
                        </a:lnTo>
                        <a:lnTo>
                          <a:pt x="0" y="2086"/>
                        </a:lnTo>
                        <a:lnTo>
                          <a:pt x="1921" y="0"/>
                        </a:lnTo>
                        <a:lnTo>
                          <a:pt x="4720" y="175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80" name="Freeform: Shape 2979">
                    <a:extLst>
                      <a:ext uri="{FF2B5EF4-FFF2-40B4-BE49-F238E27FC236}">
                        <a16:creationId xmlns:a16="http://schemas.microsoft.com/office/drawing/2014/main" id="{85B42056-B43F-C476-AFC4-1E027703C421}"/>
                      </a:ext>
                    </a:extLst>
                  </p:cNvPr>
                  <p:cNvSpPr/>
                  <p:nvPr/>
                </p:nvSpPr>
                <p:spPr>
                  <a:xfrm>
                    <a:off x="-5591895" y="3623351"/>
                    <a:ext cx="4555" cy="3759"/>
                  </a:xfrm>
                  <a:custGeom>
                    <a:avLst/>
                    <a:gdLst>
                      <a:gd name="connsiteX0" fmla="*/ 4555 w 4555"/>
                      <a:gd name="connsiteY0" fmla="*/ 1647 h 3759"/>
                      <a:gd name="connsiteX1" fmla="*/ 3101 w 4555"/>
                      <a:gd name="connsiteY1" fmla="*/ 3760 h 3759"/>
                      <a:gd name="connsiteX2" fmla="*/ 961 w 4555"/>
                      <a:gd name="connsiteY2" fmla="*/ 3266 h 3759"/>
                      <a:gd name="connsiteX3" fmla="*/ 0 w 4555"/>
                      <a:gd name="connsiteY3" fmla="*/ 714 h 3759"/>
                      <a:gd name="connsiteX4" fmla="*/ 659 w 4555"/>
                      <a:gd name="connsiteY4" fmla="*/ 0 h 3759"/>
                      <a:gd name="connsiteX5" fmla="*/ 4555 w 4555"/>
                      <a:gd name="connsiteY5" fmla="*/ 1647 h 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 h="3759">
                        <a:moveTo>
                          <a:pt x="4555" y="1647"/>
                        </a:moveTo>
                        <a:lnTo>
                          <a:pt x="3101" y="3760"/>
                        </a:lnTo>
                        <a:lnTo>
                          <a:pt x="961" y="3266"/>
                        </a:lnTo>
                        <a:lnTo>
                          <a:pt x="0" y="714"/>
                        </a:lnTo>
                        <a:lnTo>
                          <a:pt x="659" y="0"/>
                        </a:lnTo>
                        <a:lnTo>
                          <a:pt x="4555" y="164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81" name="Freeform: Shape 2980">
                    <a:extLst>
                      <a:ext uri="{FF2B5EF4-FFF2-40B4-BE49-F238E27FC236}">
                        <a16:creationId xmlns:a16="http://schemas.microsoft.com/office/drawing/2014/main" id="{00362FC6-7048-2F45-2497-0EBFEDA46C3C}"/>
                      </a:ext>
                    </a:extLst>
                  </p:cNvPr>
                  <p:cNvSpPr/>
                  <p:nvPr/>
                </p:nvSpPr>
                <p:spPr>
                  <a:xfrm>
                    <a:off x="-5598070" y="3621841"/>
                    <a:ext cx="3293" cy="4308"/>
                  </a:xfrm>
                  <a:custGeom>
                    <a:avLst/>
                    <a:gdLst>
                      <a:gd name="connsiteX0" fmla="*/ 3266 w 3293"/>
                      <a:gd name="connsiteY0" fmla="*/ 576 h 4308"/>
                      <a:gd name="connsiteX1" fmla="*/ 2168 w 3293"/>
                      <a:gd name="connsiteY1" fmla="*/ 4308 h 4308"/>
                      <a:gd name="connsiteX2" fmla="*/ 0 w 3293"/>
                      <a:gd name="connsiteY2" fmla="*/ 2717 h 4308"/>
                      <a:gd name="connsiteX3" fmla="*/ 329 w 3293"/>
                      <a:gd name="connsiteY3" fmla="*/ 0 h 4308"/>
                      <a:gd name="connsiteX4" fmla="*/ 3293 w 3293"/>
                      <a:gd name="connsiteY4" fmla="*/ 576 h 4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 h="4308">
                        <a:moveTo>
                          <a:pt x="3266" y="576"/>
                        </a:moveTo>
                        <a:lnTo>
                          <a:pt x="2168" y="4308"/>
                        </a:lnTo>
                        <a:lnTo>
                          <a:pt x="0" y="2717"/>
                        </a:lnTo>
                        <a:lnTo>
                          <a:pt x="329" y="0"/>
                        </a:lnTo>
                        <a:lnTo>
                          <a:pt x="3293" y="57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82" name="Freeform: Shape 2981">
                    <a:extLst>
                      <a:ext uri="{FF2B5EF4-FFF2-40B4-BE49-F238E27FC236}">
                        <a16:creationId xmlns:a16="http://schemas.microsoft.com/office/drawing/2014/main" id="{ADBAF294-C6CD-05C4-8401-F46673F1FA0A}"/>
                      </a:ext>
                    </a:extLst>
                  </p:cNvPr>
                  <p:cNvSpPr/>
                  <p:nvPr/>
                </p:nvSpPr>
                <p:spPr>
                  <a:xfrm>
                    <a:off x="-5609267" y="3622802"/>
                    <a:ext cx="3101" cy="4308"/>
                  </a:xfrm>
                  <a:custGeom>
                    <a:avLst/>
                    <a:gdLst>
                      <a:gd name="connsiteX0" fmla="*/ 2305 w 3101"/>
                      <a:gd name="connsiteY0" fmla="*/ 384 h 4308"/>
                      <a:gd name="connsiteX1" fmla="*/ 3101 w 3101"/>
                      <a:gd name="connsiteY1" fmla="*/ 4308 h 4308"/>
                      <a:gd name="connsiteX2" fmla="*/ 0 w 3101"/>
                      <a:gd name="connsiteY2" fmla="*/ 3842 h 4308"/>
                      <a:gd name="connsiteX3" fmla="*/ 768 w 3101"/>
                      <a:gd name="connsiteY3" fmla="*/ 0 h 4308"/>
                      <a:gd name="connsiteX4" fmla="*/ 2305 w 3101"/>
                      <a:gd name="connsiteY4" fmla="*/ 384 h 4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1" h="4308">
                        <a:moveTo>
                          <a:pt x="2305" y="384"/>
                        </a:moveTo>
                        <a:lnTo>
                          <a:pt x="3101" y="4308"/>
                        </a:lnTo>
                        <a:lnTo>
                          <a:pt x="0" y="3842"/>
                        </a:lnTo>
                        <a:lnTo>
                          <a:pt x="768" y="0"/>
                        </a:lnTo>
                        <a:lnTo>
                          <a:pt x="2305" y="38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83" name="Freeform: Shape 2982">
                    <a:extLst>
                      <a:ext uri="{FF2B5EF4-FFF2-40B4-BE49-F238E27FC236}">
                        <a16:creationId xmlns:a16="http://schemas.microsoft.com/office/drawing/2014/main" id="{D79F659E-C712-332F-A97E-328A5027A0CD}"/>
                      </a:ext>
                    </a:extLst>
                  </p:cNvPr>
                  <p:cNvSpPr/>
                  <p:nvPr/>
                </p:nvSpPr>
                <p:spPr>
                  <a:xfrm>
                    <a:off x="-6558739" y="3444203"/>
                    <a:ext cx="368476" cy="296246"/>
                  </a:xfrm>
                  <a:custGeom>
                    <a:avLst/>
                    <a:gdLst>
                      <a:gd name="connsiteX0" fmla="*/ 58426 w 368476"/>
                      <a:gd name="connsiteY0" fmla="*/ 6147 h 296246"/>
                      <a:gd name="connsiteX1" fmla="*/ 65150 w 368476"/>
                      <a:gd name="connsiteY1" fmla="*/ 7766 h 296246"/>
                      <a:gd name="connsiteX2" fmla="*/ 86885 w 368476"/>
                      <a:gd name="connsiteY2" fmla="*/ 6723 h 296246"/>
                      <a:gd name="connsiteX3" fmla="*/ 100112 w 368476"/>
                      <a:gd name="connsiteY3" fmla="*/ 3815 h 296246"/>
                      <a:gd name="connsiteX4" fmla="*/ 105491 w 368476"/>
                      <a:gd name="connsiteY4" fmla="*/ 7519 h 296246"/>
                      <a:gd name="connsiteX5" fmla="*/ 113532 w 368476"/>
                      <a:gd name="connsiteY5" fmla="*/ 7519 h 296246"/>
                      <a:gd name="connsiteX6" fmla="*/ 119569 w 368476"/>
                      <a:gd name="connsiteY6" fmla="*/ 10593 h 296246"/>
                      <a:gd name="connsiteX7" fmla="*/ 139219 w 368476"/>
                      <a:gd name="connsiteY7" fmla="*/ 13859 h 296246"/>
                      <a:gd name="connsiteX8" fmla="*/ 158374 w 368476"/>
                      <a:gd name="connsiteY8" fmla="*/ 10264 h 296246"/>
                      <a:gd name="connsiteX9" fmla="*/ 160487 w 368476"/>
                      <a:gd name="connsiteY9" fmla="*/ 12048 h 296246"/>
                      <a:gd name="connsiteX10" fmla="*/ 166359 w 368476"/>
                      <a:gd name="connsiteY10" fmla="*/ 9413 h 296246"/>
                      <a:gd name="connsiteX11" fmla="*/ 179175 w 368476"/>
                      <a:gd name="connsiteY11" fmla="*/ 15478 h 296246"/>
                      <a:gd name="connsiteX12" fmla="*/ 190729 w 368476"/>
                      <a:gd name="connsiteY12" fmla="*/ 11910 h 296246"/>
                      <a:gd name="connsiteX13" fmla="*/ 195943 w 368476"/>
                      <a:gd name="connsiteY13" fmla="*/ 14380 h 296246"/>
                      <a:gd name="connsiteX14" fmla="*/ 198001 w 368476"/>
                      <a:gd name="connsiteY14" fmla="*/ 15368 h 296246"/>
                      <a:gd name="connsiteX15" fmla="*/ 200992 w 368476"/>
                      <a:gd name="connsiteY15" fmla="*/ 16795 h 296246"/>
                      <a:gd name="connsiteX16" fmla="*/ 208018 w 368476"/>
                      <a:gd name="connsiteY16" fmla="*/ 17920 h 296246"/>
                      <a:gd name="connsiteX17" fmla="*/ 210350 w 368476"/>
                      <a:gd name="connsiteY17" fmla="*/ 17426 h 296246"/>
                      <a:gd name="connsiteX18" fmla="*/ 219434 w 368476"/>
                      <a:gd name="connsiteY18" fmla="*/ 15587 h 296246"/>
                      <a:gd name="connsiteX19" fmla="*/ 221108 w 368476"/>
                      <a:gd name="connsiteY19" fmla="*/ 17783 h 296246"/>
                      <a:gd name="connsiteX20" fmla="*/ 231098 w 368476"/>
                      <a:gd name="connsiteY20" fmla="*/ 19347 h 296246"/>
                      <a:gd name="connsiteX21" fmla="*/ 231098 w 368476"/>
                      <a:gd name="connsiteY21" fmla="*/ 22229 h 296246"/>
                      <a:gd name="connsiteX22" fmla="*/ 230247 w 368476"/>
                      <a:gd name="connsiteY22" fmla="*/ 24644 h 296246"/>
                      <a:gd name="connsiteX23" fmla="*/ 228765 w 368476"/>
                      <a:gd name="connsiteY23" fmla="*/ 26428 h 296246"/>
                      <a:gd name="connsiteX24" fmla="*/ 229616 w 368476"/>
                      <a:gd name="connsiteY24" fmla="*/ 27827 h 296246"/>
                      <a:gd name="connsiteX25" fmla="*/ 231098 w 368476"/>
                      <a:gd name="connsiteY25" fmla="*/ 28348 h 296246"/>
                      <a:gd name="connsiteX26" fmla="*/ 233430 w 368476"/>
                      <a:gd name="connsiteY26" fmla="*/ 26674 h 296246"/>
                      <a:gd name="connsiteX27" fmla="*/ 238891 w 368476"/>
                      <a:gd name="connsiteY27" fmla="*/ 28650 h 296246"/>
                      <a:gd name="connsiteX28" fmla="*/ 250664 w 368476"/>
                      <a:gd name="connsiteY28" fmla="*/ 32959 h 296246"/>
                      <a:gd name="connsiteX29" fmla="*/ 251652 w 368476"/>
                      <a:gd name="connsiteY29" fmla="*/ 33837 h 296246"/>
                      <a:gd name="connsiteX30" fmla="*/ 255220 w 368476"/>
                      <a:gd name="connsiteY30" fmla="*/ 37075 h 296246"/>
                      <a:gd name="connsiteX31" fmla="*/ 262739 w 368476"/>
                      <a:gd name="connsiteY31" fmla="*/ 35758 h 296246"/>
                      <a:gd name="connsiteX32" fmla="*/ 271603 w 368476"/>
                      <a:gd name="connsiteY32" fmla="*/ 41768 h 296246"/>
                      <a:gd name="connsiteX33" fmla="*/ 279671 w 368476"/>
                      <a:gd name="connsiteY33" fmla="*/ 41768 h 296246"/>
                      <a:gd name="connsiteX34" fmla="*/ 286011 w 368476"/>
                      <a:gd name="connsiteY34" fmla="*/ 41768 h 296246"/>
                      <a:gd name="connsiteX35" fmla="*/ 291390 w 368476"/>
                      <a:gd name="connsiteY35" fmla="*/ 42152 h 296246"/>
                      <a:gd name="connsiteX36" fmla="*/ 291692 w 368476"/>
                      <a:gd name="connsiteY36" fmla="*/ 37707 h 296246"/>
                      <a:gd name="connsiteX37" fmla="*/ 293009 w 368476"/>
                      <a:gd name="connsiteY37" fmla="*/ 35648 h 296246"/>
                      <a:gd name="connsiteX38" fmla="*/ 297235 w 368476"/>
                      <a:gd name="connsiteY38" fmla="*/ 36773 h 296246"/>
                      <a:gd name="connsiteX39" fmla="*/ 298662 w 368476"/>
                      <a:gd name="connsiteY39" fmla="*/ 37267 h 296246"/>
                      <a:gd name="connsiteX40" fmla="*/ 310902 w 368476"/>
                      <a:gd name="connsiteY40" fmla="*/ 41384 h 296246"/>
                      <a:gd name="connsiteX41" fmla="*/ 313481 w 368476"/>
                      <a:gd name="connsiteY41" fmla="*/ 44512 h 296246"/>
                      <a:gd name="connsiteX42" fmla="*/ 314414 w 368476"/>
                      <a:gd name="connsiteY42" fmla="*/ 45665 h 296246"/>
                      <a:gd name="connsiteX43" fmla="*/ 315183 w 368476"/>
                      <a:gd name="connsiteY43" fmla="*/ 52032 h 296246"/>
                      <a:gd name="connsiteX44" fmla="*/ 322757 w 368476"/>
                      <a:gd name="connsiteY44" fmla="*/ 49644 h 296246"/>
                      <a:gd name="connsiteX45" fmla="*/ 322894 w 368476"/>
                      <a:gd name="connsiteY45" fmla="*/ 50111 h 296246"/>
                      <a:gd name="connsiteX46" fmla="*/ 328355 w 368476"/>
                      <a:gd name="connsiteY46" fmla="*/ 51675 h 296246"/>
                      <a:gd name="connsiteX47" fmla="*/ 330386 w 368476"/>
                      <a:gd name="connsiteY47" fmla="*/ 53788 h 296246"/>
                      <a:gd name="connsiteX48" fmla="*/ 331868 w 368476"/>
                      <a:gd name="connsiteY48" fmla="*/ 55325 h 296246"/>
                      <a:gd name="connsiteX49" fmla="*/ 335052 w 368476"/>
                      <a:gd name="connsiteY49" fmla="*/ 53788 h 296246"/>
                      <a:gd name="connsiteX50" fmla="*/ 337713 w 368476"/>
                      <a:gd name="connsiteY50" fmla="*/ 52526 h 296246"/>
                      <a:gd name="connsiteX51" fmla="*/ 339525 w 368476"/>
                      <a:gd name="connsiteY51" fmla="*/ 53212 h 296246"/>
                      <a:gd name="connsiteX52" fmla="*/ 341061 w 368476"/>
                      <a:gd name="connsiteY52" fmla="*/ 53788 h 296246"/>
                      <a:gd name="connsiteX53" fmla="*/ 347099 w 368476"/>
                      <a:gd name="connsiteY53" fmla="*/ 56093 h 296246"/>
                      <a:gd name="connsiteX54" fmla="*/ 351847 w 368476"/>
                      <a:gd name="connsiteY54" fmla="*/ 53788 h 296246"/>
                      <a:gd name="connsiteX55" fmla="*/ 356814 w 368476"/>
                      <a:gd name="connsiteY55" fmla="*/ 51401 h 296246"/>
                      <a:gd name="connsiteX56" fmla="*/ 365376 w 368476"/>
                      <a:gd name="connsiteY56" fmla="*/ 52389 h 296246"/>
                      <a:gd name="connsiteX57" fmla="*/ 366144 w 368476"/>
                      <a:gd name="connsiteY57" fmla="*/ 53788 h 296246"/>
                      <a:gd name="connsiteX58" fmla="*/ 368477 w 368476"/>
                      <a:gd name="connsiteY58" fmla="*/ 58069 h 296246"/>
                      <a:gd name="connsiteX59" fmla="*/ 364800 w 368476"/>
                      <a:gd name="connsiteY59" fmla="*/ 61006 h 296246"/>
                      <a:gd name="connsiteX60" fmla="*/ 363894 w 368476"/>
                      <a:gd name="connsiteY60" fmla="*/ 61747 h 296246"/>
                      <a:gd name="connsiteX61" fmla="*/ 365815 w 368476"/>
                      <a:gd name="connsiteY61" fmla="*/ 70309 h 296246"/>
                      <a:gd name="connsiteX62" fmla="*/ 366391 w 368476"/>
                      <a:gd name="connsiteY62" fmla="*/ 72833 h 296246"/>
                      <a:gd name="connsiteX63" fmla="*/ 354646 w 368476"/>
                      <a:gd name="connsiteY63" fmla="*/ 82795 h 296246"/>
                      <a:gd name="connsiteX64" fmla="*/ 353740 w 368476"/>
                      <a:gd name="connsiteY64" fmla="*/ 83564 h 296246"/>
                      <a:gd name="connsiteX65" fmla="*/ 351627 w 368476"/>
                      <a:gd name="connsiteY65" fmla="*/ 84634 h 296246"/>
                      <a:gd name="connsiteX66" fmla="*/ 339552 w 368476"/>
                      <a:gd name="connsiteY66" fmla="*/ 90754 h 296246"/>
                      <a:gd name="connsiteX67" fmla="*/ 333295 w 368476"/>
                      <a:gd name="connsiteY67" fmla="*/ 97478 h 296246"/>
                      <a:gd name="connsiteX68" fmla="*/ 320397 w 368476"/>
                      <a:gd name="connsiteY68" fmla="*/ 101347 h 296246"/>
                      <a:gd name="connsiteX69" fmla="*/ 300775 w 368476"/>
                      <a:gd name="connsiteY69" fmla="*/ 107823 h 296246"/>
                      <a:gd name="connsiteX70" fmla="*/ 298690 w 368476"/>
                      <a:gd name="connsiteY70" fmla="*/ 110238 h 296246"/>
                      <a:gd name="connsiteX71" fmla="*/ 293366 w 368476"/>
                      <a:gd name="connsiteY71" fmla="*/ 116276 h 296246"/>
                      <a:gd name="connsiteX72" fmla="*/ 296604 w 368476"/>
                      <a:gd name="connsiteY72" fmla="*/ 121270 h 296246"/>
                      <a:gd name="connsiteX73" fmla="*/ 289935 w 368476"/>
                      <a:gd name="connsiteY73" fmla="*/ 124015 h 296246"/>
                      <a:gd name="connsiteX74" fmla="*/ 287136 w 368476"/>
                      <a:gd name="connsiteY74" fmla="*/ 127500 h 296246"/>
                      <a:gd name="connsiteX75" fmla="*/ 279699 w 368476"/>
                      <a:gd name="connsiteY75" fmla="*/ 138532 h 296246"/>
                      <a:gd name="connsiteX76" fmla="*/ 272070 w 368476"/>
                      <a:gd name="connsiteY76" fmla="*/ 149756 h 296246"/>
                      <a:gd name="connsiteX77" fmla="*/ 266444 w 368476"/>
                      <a:gd name="connsiteY77" fmla="*/ 158318 h 296246"/>
                      <a:gd name="connsiteX78" fmla="*/ 262383 w 368476"/>
                      <a:gd name="connsiteY78" fmla="*/ 170037 h 296246"/>
                      <a:gd name="connsiteX79" fmla="*/ 266005 w 368476"/>
                      <a:gd name="connsiteY79" fmla="*/ 182715 h 296246"/>
                      <a:gd name="connsiteX80" fmla="*/ 270862 w 368476"/>
                      <a:gd name="connsiteY80" fmla="*/ 190070 h 296246"/>
                      <a:gd name="connsiteX81" fmla="*/ 276214 w 368476"/>
                      <a:gd name="connsiteY81" fmla="*/ 192238 h 296246"/>
                      <a:gd name="connsiteX82" fmla="*/ 277833 w 368476"/>
                      <a:gd name="connsiteY82" fmla="*/ 194955 h 296246"/>
                      <a:gd name="connsiteX83" fmla="*/ 270423 w 368476"/>
                      <a:gd name="connsiteY83" fmla="*/ 201129 h 296246"/>
                      <a:gd name="connsiteX84" fmla="*/ 257498 w 368476"/>
                      <a:gd name="connsiteY84" fmla="*/ 211448 h 296246"/>
                      <a:gd name="connsiteX85" fmla="*/ 249594 w 368476"/>
                      <a:gd name="connsiteY85" fmla="*/ 229094 h 296246"/>
                      <a:gd name="connsiteX86" fmla="*/ 247262 w 368476"/>
                      <a:gd name="connsiteY86" fmla="*/ 233704 h 296246"/>
                      <a:gd name="connsiteX87" fmla="*/ 250253 w 368476"/>
                      <a:gd name="connsiteY87" fmla="*/ 235900 h 296246"/>
                      <a:gd name="connsiteX88" fmla="*/ 249649 w 368476"/>
                      <a:gd name="connsiteY88" fmla="*/ 238260 h 296246"/>
                      <a:gd name="connsiteX89" fmla="*/ 238919 w 368476"/>
                      <a:gd name="connsiteY89" fmla="*/ 239165 h 296246"/>
                      <a:gd name="connsiteX90" fmla="*/ 233320 w 368476"/>
                      <a:gd name="connsiteY90" fmla="*/ 239659 h 296246"/>
                      <a:gd name="connsiteX91" fmla="*/ 224099 w 368476"/>
                      <a:gd name="connsiteY91" fmla="*/ 246603 h 296246"/>
                      <a:gd name="connsiteX92" fmla="*/ 218611 w 368476"/>
                      <a:gd name="connsiteY92" fmla="*/ 253436 h 296246"/>
                      <a:gd name="connsiteX93" fmla="*/ 215839 w 368476"/>
                      <a:gd name="connsiteY93" fmla="*/ 262410 h 296246"/>
                      <a:gd name="connsiteX94" fmla="*/ 210405 w 368476"/>
                      <a:gd name="connsiteY94" fmla="*/ 268502 h 296246"/>
                      <a:gd name="connsiteX95" fmla="*/ 209006 w 368476"/>
                      <a:gd name="connsiteY95" fmla="*/ 270094 h 296246"/>
                      <a:gd name="connsiteX96" fmla="*/ 202529 w 368476"/>
                      <a:gd name="connsiteY96" fmla="*/ 266746 h 296246"/>
                      <a:gd name="connsiteX97" fmla="*/ 198056 w 368476"/>
                      <a:gd name="connsiteY97" fmla="*/ 267102 h 296246"/>
                      <a:gd name="connsiteX98" fmla="*/ 195998 w 368476"/>
                      <a:gd name="connsiteY98" fmla="*/ 268420 h 296246"/>
                      <a:gd name="connsiteX99" fmla="*/ 191085 w 368476"/>
                      <a:gd name="connsiteY99" fmla="*/ 271603 h 296246"/>
                      <a:gd name="connsiteX100" fmla="*/ 179971 w 368476"/>
                      <a:gd name="connsiteY100" fmla="*/ 269627 h 296246"/>
                      <a:gd name="connsiteX101" fmla="*/ 170805 w 368476"/>
                      <a:gd name="connsiteY101" fmla="*/ 271438 h 296246"/>
                      <a:gd name="connsiteX102" fmla="*/ 160898 w 368476"/>
                      <a:gd name="connsiteY102" fmla="*/ 270094 h 296246"/>
                      <a:gd name="connsiteX103" fmla="*/ 142703 w 368476"/>
                      <a:gd name="connsiteY103" fmla="*/ 271109 h 296246"/>
                      <a:gd name="connsiteX104" fmla="*/ 135075 w 368476"/>
                      <a:gd name="connsiteY104" fmla="*/ 278436 h 296246"/>
                      <a:gd name="connsiteX105" fmla="*/ 126512 w 368476"/>
                      <a:gd name="connsiteY105" fmla="*/ 279260 h 296246"/>
                      <a:gd name="connsiteX106" fmla="*/ 120283 w 368476"/>
                      <a:gd name="connsiteY106" fmla="*/ 281949 h 296246"/>
                      <a:gd name="connsiteX107" fmla="*/ 117511 w 368476"/>
                      <a:gd name="connsiteY107" fmla="*/ 285709 h 296246"/>
                      <a:gd name="connsiteX108" fmla="*/ 114931 w 368476"/>
                      <a:gd name="connsiteY108" fmla="*/ 291527 h 296246"/>
                      <a:gd name="connsiteX109" fmla="*/ 114794 w 368476"/>
                      <a:gd name="connsiteY109" fmla="*/ 291527 h 296246"/>
                      <a:gd name="connsiteX110" fmla="*/ 114574 w 368476"/>
                      <a:gd name="connsiteY110" fmla="*/ 291527 h 296246"/>
                      <a:gd name="connsiteX111" fmla="*/ 107302 w 368476"/>
                      <a:gd name="connsiteY111" fmla="*/ 296247 h 296246"/>
                      <a:gd name="connsiteX112" fmla="*/ 94733 w 368476"/>
                      <a:gd name="connsiteY112" fmla="*/ 290045 h 296246"/>
                      <a:gd name="connsiteX113" fmla="*/ 89409 w 368476"/>
                      <a:gd name="connsiteY113" fmla="*/ 282608 h 296246"/>
                      <a:gd name="connsiteX114" fmla="*/ 88339 w 368476"/>
                      <a:gd name="connsiteY114" fmla="*/ 276131 h 296246"/>
                      <a:gd name="connsiteX115" fmla="*/ 85348 w 368476"/>
                      <a:gd name="connsiteY115" fmla="*/ 274237 h 296246"/>
                      <a:gd name="connsiteX116" fmla="*/ 83948 w 368476"/>
                      <a:gd name="connsiteY116" fmla="*/ 273579 h 296246"/>
                      <a:gd name="connsiteX117" fmla="*/ 82768 w 368476"/>
                      <a:gd name="connsiteY117" fmla="*/ 270450 h 296246"/>
                      <a:gd name="connsiteX118" fmla="*/ 85320 w 368476"/>
                      <a:gd name="connsiteY118" fmla="*/ 267898 h 296246"/>
                      <a:gd name="connsiteX119" fmla="*/ 79530 w 368476"/>
                      <a:gd name="connsiteY119" fmla="*/ 261065 h 296246"/>
                      <a:gd name="connsiteX120" fmla="*/ 66165 w 368476"/>
                      <a:gd name="connsiteY120" fmla="*/ 253518 h 296246"/>
                      <a:gd name="connsiteX121" fmla="*/ 64711 w 368476"/>
                      <a:gd name="connsiteY121" fmla="*/ 252914 h 296246"/>
                      <a:gd name="connsiteX122" fmla="*/ 61939 w 368476"/>
                      <a:gd name="connsiteY122" fmla="*/ 252914 h 296246"/>
                      <a:gd name="connsiteX123" fmla="*/ 56286 w 368476"/>
                      <a:gd name="connsiteY123" fmla="*/ 253518 h 296246"/>
                      <a:gd name="connsiteX124" fmla="*/ 54255 w 368476"/>
                      <a:gd name="connsiteY124" fmla="*/ 254067 h 296246"/>
                      <a:gd name="connsiteX125" fmla="*/ 51017 w 368476"/>
                      <a:gd name="connsiteY125" fmla="*/ 241086 h 296246"/>
                      <a:gd name="connsiteX126" fmla="*/ 59140 w 368476"/>
                      <a:gd name="connsiteY126" fmla="*/ 224785 h 296246"/>
                      <a:gd name="connsiteX127" fmla="*/ 65726 w 368476"/>
                      <a:gd name="connsiteY127" fmla="*/ 221959 h 296246"/>
                      <a:gd name="connsiteX128" fmla="*/ 68086 w 368476"/>
                      <a:gd name="connsiteY128" fmla="*/ 215647 h 296246"/>
                      <a:gd name="connsiteX129" fmla="*/ 62899 w 368476"/>
                      <a:gd name="connsiteY129" fmla="*/ 216388 h 296246"/>
                      <a:gd name="connsiteX130" fmla="*/ 57027 w 368476"/>
                      <a:gd name="connsiteY130" fmla="*/ 206261 h 296246"/>
                      <a:gd name="connsiteX131" fmla="*/ 60100 w 368476"/>
                      <a:gd name="connsiteY131" fmla="*/ 195257 h 296246"/>
                      <a:gd name="connsiteX132" fmla="*/ 64080 w 368476"/>
                      <a:gd name="connsiteY132" fmla="*/ 191662 h 296246"/>
                      <a:gd name="connsiteX133" fmla="*/ 67043 w 368476"/>
                      <a:gd name="connsiteY133" fmla="*/ 184636 h 296246"/>
                      <a:gd name="connsiteX134" fmla="*/ 62378 w 368476"/>
                      <a:gd name="connsiteY134" fmla="*/ 181206 h 296246"/>
                      <a:gd name="connsiteX135" fmla="*/ 59305 w 368476"/>
                      <a:gd name="connsiteY135" fmla="*/ 175306 h 296246"/>
                      <a:gd name="connsiteX136" fmla="*/ 56862 w 368476"/>
                      <a:gd name="connsiteY136" fmla="*/ 168555 h 296246"/>
                      <a:gd name="connsiteX137" fmla="*/ 50138 w 368476"/>
                      <a:gd name="connsiteY137" fmla="*/ 160651 h 296246"/>
                      <a:gd name="connsiteX138" fmla="*/ 65424 w 368476"/>
                      <a:gd name="connsiteY138" fmla="*/ 159773 h 296246"/>
                      <a:gd name="connsiteX139" fmla="*/ 69705 w 368476"/>
                      <a:gd name="connsiteY139" fmla="*/ 148713 h 296246"/>
                      <a:gd name="connsiteX140" fmla="*/ 65973 w 368476"/>
                      <a:gd name="connsiteY140" fmla="*/ 141606 h 296246"/>
                      <a:gd name="connsiteX141" fmla="*/ 67565 w 368476"/>
                      <a:gd name="connsiteY141" fmla="*/ 137846 h 296246"/>
                      <a:gd name="connsiteX142" fmla="*/ 70089 w 368476"/>
                      <a:gd name="connsiteY142" fmla="*/ 137324 h 296246"/>
                      <a:gd name="connsiteX143" fmla="*/ 71983 w 368476"/>
                      <a:gd name="connsiteY143" fmla="*/ 133839 h 296246"/>
                      <a:gd name="connsiteX144" fmla="*/ 71626 w 368476"/>
                      <a:gd name="connsiteY144" fmla="*/ 115507 h 296246"/>
                      <a:gd name="connsiteX145" fmla="*/ 68169 w 368476"/>
                      <a:gd name="connsiteY145" fmla="*/ 107906 h 296246"/>
                      <a:gd name="connsiteX146" fmla="*/ 71736 w 368476"/>
                      <a:gd name="connsiteY146" fmla="*/ 106918 h 296246"/>
                      <a:gd name="connsiteX147" fmla="*/ 75249 w 368476"/>
                      <a:gd name="connsiteY147" fmla="*/ 101072 h 296246"/>
                      <a:gd name="connsiteX148" fmla="*/ 81423 w 368476"/>
                      <a:gd name="connsiteY148" fmla="*/ 97587 h 296246"/>
                      <a:gd name="connsiteX149" fmla="*/ 82439 w 368476"/>
                      <a:gd name="connsiteY149" fmla="*/ 97230 h 296246"/>
                      <a:gd name="connsiteX150" fmla="*/ 83290 w 368476"/>
                      <a:gd name="connsiteY150" fmla="*/ 95584 h 296246"/>
                      <a:gd name="connsiteX151" fmla="*/ 85375 w 368476"/>
                      <a:gd name="connsiteY151" fmla="*/ 94184 h 296246"/>
                      <a:gd name="connsiteX152" fmla="*/ 89464 w 368476"/>
                      <a:gd name="connsiteY152" fmla="*/ 87022 h 296246"/>
                      <a:gd name="connsiteX153" fmla="*/ 86418 w 368476"/>
                      <a:gd name="connsiteY153" fmla="*/ 83344 h 296246"/>
                      <a:gd name="connsiteX154" fmla="*/ 80243 w 368476"/>
                      <a:gd name="connsiteY154" fmla="*/ 81396 h 296246"/>
                      <a:gd name="connsiteX155" fmla="*/ 77746 w 368476"/>
                      <a:gd name="connsiteY155" fmla="*/ 72504 h 296246"/>
                      <a:gd name="connsiteX156" fmla="*/ 66495 w 368476"/>
                      <a:gd name="connsiteY156" fmla="*/ 70913 h 296246"/>
                      <a:gd name="connsiteX157" fmla="*/ 61390 w 368476"/>
                      <a:gd name="connsiteY157" fmla="*/ 70858 h 296246"/>
                      <a:gd name="connsiteX158" fmla="*/ 60183 w 368476"/>
                      <a:gd name="connsiteY158" fmla="*/ 74535 h 296246"/>
                      <a:gd name="connsiteX159" fmla="*/ 53843 w 368476"/>
                      <a:gd name="connsiteY159" fmla="*/ 76593 h 296246"/>
                      <a:gd name="connsiteX160" fmla="*/ 44485 w 368476"/>
                      <a:gd name="connsiteY160" fmla="*/ 73657 h 296246"/>
                      <a:gd name="connsiteX161" fmla="*/ 35155 w 368476"/>
                      <a:gd name="connsiteY161" fmla="*/ 76840 h 296246"/>
                      <a:gd name="connsiteX162" fmla="*/ 31834 w 368476"/>
                      <a:gd name="connsiteY162" fmla="*/ 76950 h 296246"/>
                      <a:gd name="connsiteX163" fmla="*/ 30928 w 368476"/>
                      <a:gd name="connsiteY163" fmla="*/ 72696 h 296246"/>
                      <a:gd name="connsiteX164" fmla="*/ 33618 w 368476"/>
                      <a:gd name="connsiteY164" fmla="*/ 68278 h 296246"/>
                      <a:gd name="connsiteX165" fmla="*/ 30846 w 368476"/>
                      <a:gd name="connsiteY165" fmla="*/ 63640 h 296246"/>
                      <a:gd name="connsiteX166" fmla="*/ 18799 w 368476"/>
                      <a:gd name="connsiteY166" fmla="*/ 67729 h 296246"/>
                      <a:gd name="connsiteX167" fmla="*/ 11306 w 368476"/>
                      <a:gd name="connsiteY167" fmla="*/ 74837 h 296246"/>
                      <a:gd name="connsiteX168" fmla="*/ 11224 w 368476"/>
                      <a:gd name="connsiteY168" fmla="*/ 66357 h 296246"/>
                      <a:gd name="connsiteX169" fmla="*/ 13475 w 368476"/>
                      <a:gd name="connsiteY169" fmla="*/ 60567 h 296246"/>
                      <a:gd name="connsiteX170" fmla="*/ 12295 w 368476"/>
                      <a:gd name="connsiteY170" fmla="*/ 58783 h 296246"/>
                      <a:gd name="connsiteX171" fmla="*/ 13612 w 368476"/>
                      <a:gd name="connsiteY171" fmla="*/ 55023 h 296246"/>
                      <a:gd name="connsiteX172" fmla="*/ 12130 w 368476"/>
                      <a:gd name="connsiteY172" fmla="*/ 51949 h 296246"/>
                      <a:gd name="connsiteX173" fmla="*/ 15313 w 368476"/>
                      <a:gd name="connsiteY173" fmla="*/ 42399 h 296246"/>
                      <a:gd name="connsiteX174" fmla="*/ 7135 w 368476"/>
                      <a:gd name="connsiteY174" fmla="*/ 47284 h 296246"/>
                      <a:gd name="connsiteX175" fmla="*/ 6916 w 368476"/>
                      <a:gd name="connsiteY175" fmla="*/ 41878 h 296246"/>
                      <a:gd name="connsiteX176" fmla="*/ 7684 w 368476"/>
                      <a:gd name="connsiteY176" fmla="*/ 39353 h 296246"/>
                      <a:gd name="connsiteX177" fmla="*/ 2882 w 368476"/>
                      <a:gd name="connsiteY177" fmla="*/ 37816 h 296246"/>
                      <a:gd name="connsiteX178" fmla="*/ 3293 w 368476"/>
                      <a:gd name="connsiteY178" fmla="*/ 33974 h 296246"/>
                      <a:gd name="connsiteX179" fmla="*/ 0 w 368476"/>
                      <a:gd name="connsiteY179" fmla="*/ 30297 h 296246"/>
                      <a:gd name="connsiteX180" fmla="*/ 3266 w 368476"/>
                      <a:gd name="connsiteY180" fmla="*/ 22915 h 296246"/>
                      <a:gd name="connsiteX181" fmla="*/ 11361 w 368476"/>
                      <a:gd name="connsiteY181" fmla="*/ 17316 h 296246"/>
                      <a:gd name="connsiteX182" fmla="*/ 28486 w 368476"/>
                      <a:gd name="connsiteY182" fmla="*/ 14819 h 296246"/>
                      <a:gd name="connsiteX183" fmla="*/ 27937 w 368476"/>
                      <a:gd name="connsiteY183" fmla="*/ 9578 h 296246"/>
                      <a:gd name="connsiteX184" fmla="*/ 29584 w 368476"/>
                      <a:gd name="connsiteY184" fmla="*/ 6916 h 296246"/>
                      <a:gd name="connsiteX185" fmla="*/ 39244 w 368476"/>
                      <a:gd name="connsiteY185" fmla="*/ 0 h 296246"/>
                      <a:gd name="connsiteX186" fmla="*/ 45501 w 368476"/>
                      <a:gd name="connsiteY186" fmla="*/ 137 h 296246"/>
                      <a:gd name="connsiteX187" fmla="*/ 52471 w 368476"/>
                      <a:gd name="connsiteY187" fmla="*/ 933 h 296246"/>
                      <a:gd name="connsiteX188" fmla="*/ 58426 w 368476"/>
                      <a:gd name="connsiteY188" fmla="*/ 6284 h 29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368476" h="296246">
                        <a:moveTo>
                          <a:pt x="58426" y="6147"/>
                        </a:moveTo>
                        <a:lnTo>
                          <a:pt x="65150" y="7766"/>
                        </a:lnTo>
                        <a:lnTo>
                          <a:pt x="86885" y="6723"/>
                        </a:lnTo>
                        <a:lnTo>
                          <a:pt x="100112" y="3815"/>
                        </a:lnTo>
                        <a:lnTo>
                          <a:pt x="105491" y="7519"/>
                        </a:lnTo>
                        <a:lnTo>
                          <a:pt x="113532" y="7519"/>
                        </a:lnTo>
                        <a:lnTo>
                          <a:pt x="119569" y="10593"/>
                        </a:lnTo>
                        <a:lnTo>
                          <a:pt x="139219" y="13859"/>
                        </a:lnTo>
                        <a:lnTo>
                          <a:pt x="158374" y="10264"/>
                        </a:lnTo>
                        <a:lnTo>
                          <a:pt x="160487" y="12048"/>
                        </a:lnTo>
                        <a:lnTo>
                          <a:pt x="166359" y="9413"/>
                        </a:lnTo>
                        <a:lnTo>
                          <a:pt x="179175" y="15478"/>
                        </a:lnTo>
                        <a:lnTo>
                          <a:pt x="190729" y="11910"/>
                        </a:lnTo>
                        <a:lnTo>
                          <a:pt x="195943" y="14380"/>
                        </a:lnTo>
                        <a:lnTo>
                          <a:pt x="198001" y="15368"/>
                        </a:lnTo>
                        <a:lnTo>
                          <a:pt x="200992" y="16795"/>
                        </a:lnTo>
                        <a:lnTo>
                          <a:pt x="208018" y="17920"/>
                        </a:lnTo>
                        <a:lnTo>
                          <a:pt x="210350" y="17426"/>
                        </a:lnTo>
                        <a:lnTo>
                          <a:pt x="219434" y="15587"/>
                        </a:lnTo>
                        <a:lnTo>
                          <a:pt x="221108" y="17783"/>
                        </a:lnTo>
                        <a:lnTo>
                          <a:pt x="231098" y="19347"/>
                        </a:lnTo>
                        <a:lnTo>
                          <a:pt x="231098" y="22229"/>
                        </a:lnTo>
                        <a:lnTo>
                          <a:pt x="230247" y="24644"/>
                        </a:lnTo>
                        <a:lnTo>
                          <a:pt x="228765" y="26428"/>
                        </a:lnTo>
                        <a:lnTo>
                          <a:pt x="229616" y="27827"/>
                        </a:lnTo>
                        <a:lnTo>
                          <a:pt x="231098" y="28348"/>
                        </a:lnTo>
                        <a:lnTo>
                          <a:pt x="233430" y="26674"/>
                        </a:lnTo>
                        <a:lnTo>
                          <a:pt x="238891" y="28650"/>
                        </a:lnTo>
                        <a:lnTo>
                          <a:pt x="250664" y="32959"/>
                        </a:lnTo>
                        <a:lnTo>
                          <a:pt x="251652" y="33837"/>
                        </a:lnTo>
                        <a:lnTo>
                          <a:pt x="255220" y="37075"/>
                        </a:lnTo>
                        <a:lnTo>
                          <a:pt x="262739" y="35758"/>
                        </a:lnTo>
                        <a:lnTo>
                          <a:pt x="271603" y="41768"/>
                        </a:lnTo>
                        <a:lnTo>
                          <a:pt x="279671" y="41768"/>
                        </a:lnTo>
                        <a:cubicBezTo>
                          <a:pt x="279671" y="41768"/>
                          <a:pt x="286011" y="41768"/>
                          <a:pt x="286011" y="41768"/>
                        </a:cubicBezTo>
                        <a:lnTo>
                          <a:pt x="291390" y="42152"/>
                        </a:lnTo>
                        <a:lnTo>
                          <a:pt x="291692" y="37707"/>
                        </a:lnTo>
                        <a:lnTo>
                          <a:pt x="293009" y="35648"/>
                        </a:lnTo>
                        <a:lnTo>
                          <a:pt x="297235" y="36773"/>
                        </a:lnTo>
                        <a:lnTo>
                          <a:pt x="298662" y="37267"/>
                        </a:lnTo>
                        <a:lnTo>
                          <a:pt x="310902" y="41384"/>
                        </a:lnTo>
                        <a:lnTo>
                          <a:pt x="313481" y="44512"/>
                        </a:lnTo>
                        <a:lnTo>
                          <a:pt x="314414" y="45665"/>
                        </a:lnTo>
                        <a:lnTo>
                          <a:pt x="315183" y="52032"/>
                        </a:lnTo>
                        <a:lnTo>
                          <a:pt x="322757" y="49644"/>
                        </a:lnTo>
                        <a:lnTo>
                          <a:pt x="322894" y="50111"/>
                        </a:lnTo>
                        <a:lnTo>
                          <a:pt x="328355" y="51675"/>
                        </a:lnTo>
                        <a:lnTo>
                          <a:pt x="330386" y="53788"/>
                        </a:lnTo>
                        <a:lnTo>
                          <a:pt x="331868" y="55325"/>
                        </a:lnTo>
                        <a:lnTo>
                          <a:pt x="335052" y="53788"/>
                        </a:lnTo>
                        <a:lnTo>
                          <a:pt x="337713" y="52526"/>
                        </a:lnTo>
                        <a:lnTo>
                          <a:pt x="339525" y="53212"/>
                        </a:lnTo>
                        <a:lnTo>
                          <a:pt x="341061" y="53788"/>
                        </a:lnTo>
                        <a:lnTo>
                          <a:pt x="347099" y="56093"/>
                        </a:lnTo>
                        <a:lnTo>
                          <a:pt x="351847" y="53788"/>
                        </a:lnTo>
                        <a:lnTo>
                          <a:pt x="356814" y="51401"/>
                        </a:lnTo>
                        <a:lnTo>
                          <a:pt x="365376" y="52389"/>
                        </a:lnTo>
                        <a:lnTo>
                          <a:pt x="366144" y="53788"/>
                        </a:lnTo>
                        <a:lnTo>
                          <a:pt x="368477" y="58069"/>
                        </a:lnTo>
                        <a:lnTo>
                          <a:pt x="364800" y="61006"/>
                        </a:lnTo>
                        <a:lnTo>
                          <a:pt x="363894" y="61747"/>
                        </a:lnTo>
                        <a:lnTo>
                          <a:pt x="365815" y="70309"/>
                        </a:lnTo>
                        <a:lnTo>
                          <a:pt x="366391" y="72833"/>
                        </a:lnTo>
                        <a:lnTo>
                          <a:pt x="354646" y="82795"/>
                        </a:lnTo>
                        <a:lnTo>
                          <a:pt x="353740" y="83564"/>
                        </a:lnTo>
                        <a:lnTo>
                          <a:pt x="351627" y="84634"/>
                        </a:lnTo>
                        <a:lnTo>
                          <a:pt x="339552" y="90754"/>
                        </a:lnTo>
                        <a:lnTo>
                          <a:pt x="333295" y="97478"/>
                        </a:lnTo>
                        <a:lnTo>
                          <a:pt x="320397" y="101347"/>
                        </a:lnTo>
                        <a:lnTo>
                          <a:pt x="300775" y="107823"/>
                        </a:lnTo>
                        <a:lnTo>
                          <a:pt x="298690" y="110238"/>
                        </a:lnTo>
                        <a:lnTo>
                          <a:pt x="293366" y="116276"/>
                        </a:lnTo>
                        <a:lnTo>
                          <a:pt x="296604" y="121270"/>
                        </a:lnTo>
                        <a:lnTo>
                          <a:pt x="289935" y="124015"/>
                        </a:lnTo>
                        <a:lnTo>
                          <a:pt x="287136" y="127500"/>
                        </a:lnTo>
                        <a:lnTo>
                          <a:pt x="279699" y="138532"/>
                        </a:lnTo>
                        <a:lnTo>
                          <a:pt x="272070" y="149756"/>
                        </a:lnTo>
                        <a:lnTo>
                          <a:pt x="266444" y="158318"/>
                        </a:lnTo>
                        <a:lnTo>
                          <a:pt x="262383" y="170037"/>
                        </a:lnTo>
                        <a:lnTo>
                          <a:pt x="266005" y="182715"/>
                        </a:lnTo>
                        <a:lnTo>
                          <a:pt x="270862" y="190070"/>
                        </a:lnTo>
                        <a:lnTo>
                          <a:pt x="276214" y="192238"/>
                        </a:lnTo>
                        <a:lnTo>
                          <a:pt x="277833" y="194955"/>
                        </a:lnTo>
                        <a:lnTo>
                          <a:pt x="270423" y="201129"/>
                        </a:lnTo>
                        <a:lnTo>
                          <a:pt x="257498" y="211448"/>
                        </a:lnTo>
                        <a:lnTo>
                          <a:pt x="249594" y="229094"/>
                        </a:lnTo>
                        <a:lnTo>
                          <a:pt x="247262" y="233704"/>
                        </a:lnTo>
                        <a:lnTo>
                          <a:pt x="250253" y="235900"/>
                        </a:lnTo>
                        <a:lnTo>
                          <a:pt x="249649" y="238260"/>
                        </a:lnTo>
                        <a:lnTo>
                          <a:pt x="238919" y="239165"/>
                        </a:lnTo>
                        <a:lnTo>
                          <a:pt x="233320" y="239659"/>
                        </a:lnTo>
                        <a:lnTo>
                          <a:pt x="224099" y="246603"/>
                        </a:lnTo>
                        <a:lnTo>
                          <a:pt x="218611" y="253436"/>
                        </a:lnTo>
                        <a:lnTo>
                          <a:pt x="215839" y="262410"/>
                        </a:lnTo>
                        <a:lnTo>
                          <a:pt x="210405" y="268502"/>
                        </a:lnTo>
                        <a:lnTo>
                          <a:pt x="209006" y="270094"/>
                        </a:lnTo>
                        <a:lnTo>
                          <a:pt x="202529" y="266746"/>
                        </a:lnTo>
                        <a:lnTo>
                          <a:pt x="198056" y="267102"/>
                        </a:lnTo>
                        <a:lnTo>
                          <a:pt x="195998" y="268420"/>
                        </a:lnTo>
                        <a:lnTo>
                          <a:pt x="191085" y="271603"/>
                        </a:lnTo>
                        <a:lnTo>
                          <a:pt x="179971" y="269627"/>
                        </a:lnTo>
                        <a:lnTo>
                          <a:pt x="170805" y="271438"/>
                        </a:lnTo>
                        <a:lnTo>
                          <a:pt x="160898" y="270094"/>
                        </a:lnTo>
                        <a:lnTo>
                          <a:pt x="142703" y="271109"/>
                        </a:lnTo>
                        <a:lnTo>
                          <a:pt x="135075" y="278436"/>
                        </a:lnTo>
                        <a:lnTo>
                          <a:pt x="126512" y="279260"/>
                        </a:lnTo>
                        <a:lnTo>
                          <a:pt x="120283" y="281949"/>
                        </a:lnTo>
                        <a:lnTo>
                          <a:pt x="117511" y="285709"/>
                        </a:lnTo>
                        <a:lnTo>
                          <a:pt x="114931" y="291527"/>
                        </a:lnTo>
                        <a:lnTo>
                          <a:pt x="114794" y="291527"/>
                        </a:lnTo>
                        <a:cubicBezTo>
                          <a:pt x="114794" y="291527"/>
                          <a:pt x="114574" y="291527"/>
                          <a:pt x="114574" y="291527"/>
                        </a:cubicBezTo>
                        <a:lnTo>
                          <a:pt x="107302" y="296247"/>
                        </a:lnTo>
                        <a:lnTo>
                          <a:pt x="94733" y="290045"/>
                        </a:lnTo>
                        <a:lnTo>
                          <a:pt x="89409" y="282608"/>
                        </a:lnTo>
                        <a:lnTo>
                          <a:pt x="88339" y="276131"/>
                        </a:lnTo>
                        <a:lnTo>
                          <a:pt x="85348" y="274237"/>
                        </a:lnTo>
                        <a:lnTo>
                          <a:pt x="83948" y="273579"/>
                        </a:lnTo>
                        <a:lnTo>
                          <a:pt x="82768" y="270450"/>
                        </a:lnTo>
                        <a:lnTo>
                          <a:pt x="85320" y="267898"/>
                        </a:lnTo>
                        <a:lnTo>
                          <a:pt x="79530" y="261065"/>
                        </a:lnTo>
                        <a:lnTo>
                          <a:pt x="66165" y="253518"/>
                        </a:lnTo>
                        <a:lnTo>
                          <a:pt x="64711" y="252914"/>
                        </a:lnTo>
                        <a:lnTo>
                          <a:pt x="61939" y="252914"/>
                        </a:lnTo>
                        <a:cubicBezTo>
                          <a:pt x="61939" y="252914"/>
                          <a:pt x="56286" y="253518"/>
                          <a:pt x="56286" y="253518"/>
                        </a:cubicBezTo>
                        <a:lnTo>
                          <a:pt x="54255" y="254067"/>
                        </a:lnTo>
                        <a:lnTo>
                          <a:pt x="51017" y="241086"/>
                        </a:lnTo>
                        <a:lnTo>
                          <a:pt x="59140" y="224785"/>
                        </a:lnTo>
                        <a:lnTo>
                          <a:pt x="65726" y="221959"/>
                        </a:lnTo>
                        <a:lnTo>
                          <a:pt x="68086" y="215647"/>
                        </a:lnTo>
                        <a:lnTo>
                          <a:pt x="62899" y="216388"/>
                        </a:lnTo>
                        <a:lnTo>
                          <a:pt x="57027" y="206261"/>
                        </a:lnTo>
                        <a:lnTo>
                          <a:pt x="60100" y="195257"/>
                        </a:lnTo>
                        <a:lnTo>
                          <a:pt x="64080" y="191662"/>
                        </a:lnTo>
                        <a:lnTo>
                          <a:pt x="67043" y="184636"/>
                        </a:lnTo>
                        <a:lnTo>
                          <a:pt x="62378" y="181206"/>
                        </a:lnTo>
                        <a:lnTo>
                          <a:pt x="59305" y="175306"/>
                        </a:lnTo>
                        <a:lnTo>
                          <a:pt x="56862" y="168555"/>
                        </a:lnTo>
                        <a:lnTo>
                          <a:pt x="50138" y="160651"/>
                        </a:lnTo>
                        <a:lnTo>
                          <a:pt x="65424" y="159773"/>
                        </a:lnTo>
                        <a:lnTo>
                          <a:pt x="69705" y="148713"/>
                        </a:lnTo>
                        <a:lnTo>
                          <a:pt x="65973" y="141606"/>
                        </a:lnTo>
                        <a:lnTo>
                          <a:pt x="67565" y="137846"/>
                        </a:lnTo>
                        <a:lnTo>
                          <a:pt x="70089" y="137324"/>
                        </a:lnTo>
                        <a:lnTo>
                          <a:pt x="71983" y="133839"/>
                        </a:lnTo>
                        <a:lnTo>
                          <a:pt x="71626" y="115507"/>
                        </a:lnTo>
                        <a:lnTo>
                          <a:pt x="68169" y="107906"/>
                        </a:lnTo>
                        <a:lnTo>
                          <a:pt x="71736" y="106918"/>
                        </a:lnTo>
                        <a:lnTo>
                          <a:pt x="75249" y="101072"/>
                        </a:lnTo>
                        <a:lnTo>
                          <a:pt x="81423" y="97587"/>
                        </a:lnTo>
                        <a:lnTo>
                          <a:pt x="82439" y="97230"/>
                        </a:lnTo>
                        <a:lnTo>
                          <a:pt x="83290" y="95584"/>
                        </a:lnTo>
                        <a:lnTo>
                          <a:pt x="85375" y="94184"/>
                        </a:lnTo>
                        <a:lnTo>
                          <a:pt x="89464" y="87022"/>
                        </a:lnTo>
                        <a:lnTo>
                          <a:pt x="86418" y="83344"/>
                        </a:lnTo>
                        <a:lnTo>
                          <a:pt x="80243" y="81396"/>
                        </a:lnTo>
                        <a:lnTo>
                          <a:pt x="77746" y="72504"/>
                        </a:lnTo>
                        <a:lnTo>
                          <a:pt x="66495" y="70913"/>
                        </a:lnTo>
                        <a:lnTo>
                          <a:pt x="61390" y="70858"/>
                        </a:lnTo>
                        <a:lnTo>
                          <a:pt x="60183" y="74535"/>
                        </a:lnTo>
                        <a:lnTo>
                          <a:pt x="53843" y="76593"/>
                        </a:lnTo>
                        <a:lnTo>
                          <a:pt x="44485" y="73657"/>
                        </a:lnTo>
                        <a:lnTo>
                          <a:pt x="35155" y="76840"/>
                        </a:lnTo>
                        <a:lnTo>
                          <a:pt x="31834" y="76950"/>
                        </a:lnTo>
                        <a:lnTo>
                          <a:pt x="30928" y="72696"/>
                        </a:lnTo>
                        <a:lnTo>
                          <a:pt x="33618" y="68278"/>
                        </a:lnTo>
                        <a:lnTo>
                          <a:pt x="30846" y="63640"/>
                        </a:lnTo>
                        <a:lnTo>
                          <a:pt x="18799" y="67729"/>
                        </a:lnTo>
                        <a:lnTo>
                          <a:pt x="11306" y="74837"/>
                        </a:lnTo>
                        <a:lnTo>
                          <a:pt x="11224" y="66357"/>
                        </a:lnTo>
                        <a:lnTo>
                          <a:pt x="13475" y="60567"/>
                        </a:lnTo>
                        <a:lnTo>
                          <a:pt x="12295" y="58783"/>
                        </a:lnTo>
                        <a:lnTo>
                          <a:pt x="13612" y="55023"/>
                        </a:lnTo>
                        <a:lnTo>
                          <a:pt x="12130" y="51949"/>
                        </a:lnTo>
                        <a:lnTo>
                          <a:pt x="15313" y="42399"/>
                        </a:lnTo>
                        <a:lnTo>
                          <a:pt x="7135" y="47284"/>
                        </a:lnTo>
                        <a:lnTo>
                          <a:pt x="6916" y="41878"/>
                        </a:lnTo>
                        <a:lnTo>
                          <a:pt x="7684" y="39353"/>
                        </a:lnTo>
                        <a:lnTo>
                          <a:pt x="2882" y="37816"/>
                        </a:lnTo>
                        <a:lnTo>
                          <a:pt x="3293" y="33974"/>
                        </a:lnTo>
                        <a:lnTo>
                          <a:pt x="0" y="30297"/>
                        </a:lnTo>
                        <a:lnTo>
                          <a:pt x="3266" y="22915"/>
                        </a:lnTo>
                        <a:lnTo>
                          <a:pt x="11361" y="17316"/>
                        </a:lnTo>
                        <a:lnTo>
                          <a:pt x="28486" y="14819"/>
                        </a:lnTo>
                        <a:lnTo>
                          <a:pt x="27937" y="9578"/>
                        </a:lnTo>
                        <a:lnTo>
                          <a:pt x="29584" y="6916"/>
                        </a:lnTo>
                        <a:lnTo>
                          <a:pt x="39244" y="0"/>
                        </a:lnTo>
                        <a:lnTo>
                          <a:pt x="45501" y="137"/>
                        </a:lnTo>
                        <a:lnTo>
                          <a:pt x="52471" y="933"/>
                        </a:lnTo>
                        <a:lnTo>
                          <a:pt x="58426" y="628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84" name="Freeform: Shape 2983">
                    <a:extLst>
                      <a:ext uri="{FF2B5EF4-FFF2-40B4-BE49-F238E27FC236}">
                        <a16:creationId xmlns:a16="http://schemas.microsoft.com/office/drawing/2014/main" id="{5059691E-A5DB-24BB-DF2F-276B086682F4}"/>
                      </a:ext>
                    </a:extLst>
                  </p:cNvPr>
                  <p:cNvSpPr/>
                  <p:nvPr/>
                </p:nvSpPr>
                <p:spPr>
                  <a:xfrm>
                    <a:off x="-6218226" y="3594892"/>
                    <a:ext cx="33096" cy="24918"/>
                  </a:xfrm>
                  <a:custGeom>
                    <a:avLst/>
                    <a:gdLst>
                      <a:gd name="connsiteX0" fmla="*/ 21762 w 33096"/>
                      <a:gd name="connsiteY0" fmla="*/ 0 h 24918"/>
                      <a:gd name="connsiteX1" fmla="*/ 23327 w 33096"/>
                      <a:gd name="connsiteY1" fmla="*/ 2058 h 24918"/>
                      <a:gd name="connsiteX2" fmla="*/ 24534 w 33096"/>
                      <a:gd name="connsiteY2" fmla="*/ 604 h 24918"/>
                      <a:gd name="connsiteX3" fmla="*/ 25851 w 33096"/>
                      <a:gd name="connsiteY3" fmla="*/ 1482 h 24918"/>
                      <a:gd name="connsiteX4" fmla="*/ 23958 w 33096"/>
                      <a:gd name="connsiteY4" fmla="*/ 5544 h 24918"/>
                      <a:gd name="connsiteX5" fmla="*/ 27086 w 33096"/>
                      <a:gd name="connsiteY5" fmla="*/ 7245 h 24918"/>
                      <a:gd name="connsiteX6" fmla="*/ 29885 w 33096"/>
                      <a:gd name="connsiteY6" fmla="*/ 5022 h 24918"/>
                      <a:gd name="connsiteX7" fmla="*/ 33096 w 33096"/>
                      <a:gd name="connsiteY7" fmla="*/ 6696 h 24918"/>
                      <a:gd name="connsiteX8" fmla="*/ 33096 w 33096"/>
                      <a:gd name="connsiteY8" fmla="*/ 10017 h 24918"/>
                      <a:gd name="connsiteX9" fmla="*/ 31532 w 33096"/>
                      <a:gd name="connsiteY9" fmla="*/ 10840 h 24918"/>
                      <a:gd name="connsiteX10" fmla="*/ 31477 w 33096"/>
                      <a:gd name="connsiteY10" fmla="*/ 12843 h 24918"/>
                      <a:gd name="connsiteX11" fmla="*/ 28403 w 33096"/>
                      <a:gd name="connsiteY11" fmla="*/ 16027 h 24918"/>
                      <a:gd name="connsiteX12" fmla="*/ 26428 w 33096"/>
                      <a:gd name="connsiteY12" fmla="*/ 21323 h 24918"/>
                      <a:gd name="connsiteX13" fmla="*/ 21158 w 33096"/>
                      <a:gd name="connsiteY13" fmla="*/ 24918 h 24918"/>
                      <a:gd name="connsiteX14" fmla="*/ 18469 w 33096"/>
                      <a:gd name="connsiteY14" fmla="*/ 21268 h 24918"/>
                      <a:gd name="connsiteX15" fmla="*/ 13420 w 33096"/>
                      <a:gd name="connsiteY15" fmla="*/ 21214 h 24918"/>
                      <a:gd name="connsiteX16" fmla="*/ 11526 w 33096"/>
                      <a:gd name="connsiteY16" fmla="*/ 16932 h 24918"/>
                      <a:gd name="connsiteX17" fmla="*/ 12349 w 33096"/>
                      <a:gd name="connsiteY17" fmla="*/ 15890 h 24918"/>
                      <a:gd name="connsiteX18" fmla="*/ 8809 w 33096"/>
                      <a:gd name="connsiteY18" fmla="*/ 13447 h 24918"/>
                      <a:gd name="connsiteX19" fmla="*/ 6120 w 33096"/>
                      <a:gd name="connsiteY19" fmla="*/ 15176 h 24918"/>
                      <a:gd name="connsiteX20" fmla="*/ 5516 w 33096"/>
                      <a:gd name="connsiteY20" fmla="*/ 17619 h 24918"/>
                      <a:gd name="connsiteX21" fmla="*/ 3320 w 33096"/>
                      <a:gd name="connsiteY21" fmla="*/ 15176 h 24918"/>
                      <a:gd name="connsiteX22" fmla="*/ 0 w 33096"/>
                      <a:gd name="connsiteY22" fmla="*/ 13090 h 24918"/>
                      <a:gd name="connsiteX23" fmla="*/ 7547 w 33096"/>
                      <a:gd name="connsiteY23" fmla="*/ 7712 h 24918"/>
                      <a:gd name="connsiteX24" fmla="*/ 9962 w 33096"/>
                      <a:gd name="connsiteY24" fmla="*/ 4857 h 24918"/>
                      <a:gd name="connsiteX25" fmla="*/ 13172 w 33096"/>
                      <a:gd name="connsiteY25" fmla="*/ 2442 h 24918"/>
                      <a:gd name="connsiteX26" fmla="*/ 15094 w 33096"/>
                      <a:gd name="connsiteY26" fmla="*/ 2168 h 24918"/>
                      <a:gd name="connsiteX27" fmla="*/ 18167 w 33096"/>
                      <a:gd name="connsiteY27" fmla="*/ 27 h 24918"/>
                      <a:gd name="connsiteX28" fmla="*/ 21762 w 33096"/>
                      <a:gd name="connsiteY28" fmla="*/ 27 h 2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3096" h="24918">
                        <a:moveTo>
                          <a:pt x="21762" y="0"/>
                        </a:moveTo>
                        <a:lnTo>
                          <a:pt x="23327" y="2058"/>
                        </a:lnTo>
                        <a:lnTo>
                          <a:pt x="24534" y="604"/>
                        </a:lnTo>
                        <a:lnTo>
                          <a:pt x="25851" y="1482"/>
                        </a:lnTo>
                        <a:lnTo>
                          <a:pt x="23958" y="5544"/>
                        </a:lnTo>
                        <a:lnTo>
                          <a:pt x="27086" y="7245"/>
                        </a:lnTo>
                        <a:lnTo>
                          <a:pt x="29885" y="5022"/>
                        </a:lnTo>
                        <a:lnTo>
                          <a:pt x="33096" y="6696"/>
                        </a:lnTo>
                        <a:lnTo>
                          <a:pt x="33096" y="10017"/>
                        </a:lnTo>
                        <a:cubicBezTo>
                          <a:pt x="33096" y="10017"/>
                          <a:pt x="31532" y="10840"/>
                          <a:pt x="31532" y="10840"/>
                        </a:cubicBezTo>
                        <a:lnTo>
                          <a:pt x="31477" y="12843"/>
                        </a:lnTo>
                        <a:lnTo>
                          <a:pt x="28403" y="16027"/>
                        </a:lnTo>
                        <a:lnTo>
                          <a:pt x="26428" y="21323"/>
                        </a:lnTo>
                        <a:lnTo>
                          <a:pt x="21158" y="24918"/>
                        </a:lnTo>
                        <a:lnTo>
                          <a:pt x="18469" y="21268"/>
                        </a:lnTo>
                        <a:lnTo>
                          <a:pt x="13420" y="21214"/>
                        </a:lnTo>
                        <a:lnTo>
                          <a:pt x="11526" y="16932"/>
                        </a:lnTo>
                        <a:lnTo>
                          <a:pt x="12349" y="15890"/>
                        </a:lnTo>
                        <a:lnTo>
                          <a:pt x="8809" y="13447"/>
                        </a:lnTo>
                        <a:lnTo>
                          <a:pt x="6120" y="15176"/>
                        </a:lnTo>
                        <a:lnTo>
                          <a:pt x="5516" y="17619"/>
                        </a:lnTo>
                        <a:lnTo>
                          <a:pt x="3320" y="15176"/>
                        </a:lnTo>
                        <a:lnTo>
                          <a:pt x="0" y="13090"/>
                        </a:lnTo>
                        <a:lnTo>
                          <a:pt x="7547" y="7712"/>
                        </a:lnTo>
                        <a:lnTo>
                          <a:pt x="9962" y="4857"/>
                        </a:lnTo>
                        <a:lnTo>
                          <a:pt x="13172" y="2442"/>
                        </a:lnTo>
                        <a:lnTo>
                          <a:pt x="15094" y="2168"/>
                        </a:lnTo>
                        <a:lnTo>
                          <a:pt x="18167" y="27"/>
                        </a:lnTo>
                        <a:lnTo>
                          <a:pt x="21762" y="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85" name="Freeform: Shape 2984">
                    <a:extLst>
                      <a:ext uri="{FF2B5EF4-FFF2-40B4-BE49-F238E27FC236}">
                        <a16:creationId xmlns:a16="http://schemas.microsoft.com/office/drawing/2014/main" id="{5E3F55C6-0F60-7ECC-A99F-89A696868104}"/>
                      </a:ext>
                    </a:extLst>
                  </p:cNvPr>
                  <p:cNvSpPr/>
                  <p:nvPr/>
                </p:nvSpPr>
                <p:spPr>
                  <a:xfrm>
                    <a:off x="-6175278" y="3589459"/>
                    <a:ext cx="15148" cy="9659"/>
                  </a:xfrm>
                  <a:custGeom>
                    <a:avLst/>
                    <a:gdLst>
                      <a:gd name="connsiteX0" fmla="*/ 13721 w 15148"/>
                      <a:gd name="connsiteY0" fmla="*/ 3705 h 9659"/>
                      <a:gd name="connsiteX1" fmla="*/ 15148 w 15148"/>
                      <a:gd name="connsiteY1" fmla="*/ 7464 h 9659"/>
                      <a:gd name="connsiteX2" fmla="*/ 14188 w 15148"/>
                      <a:gd name="connsiteY2" fmla="*/ 9660 h 9659"/>
                      <a:gd name="connsiteX3" fmla="*/ 12267 w 15148"/>
                      <a:gd name="connsiteY3" fmla="*/ 9056 h 9659"/>
                      <a:gd name="connsiteX4" fmla="*/ 6751 w 15148"/>
                      <a:gd name="connsiteY4" fmla="*/ 5352 h 9659"/>
                      <a:gd name="connsiteX5" fmla="*/ 4885 w 15148"/>
                      <a:gd name="connsiteY5" fmla="*/ 4720 h 9659"/>
                      <a:gd name="connsiteX6" fmla="*/ 851 w 15148"/>
                      <a:gd name="connsiteY6" fmla="*/ 5132 h 9659"/>
                      <a:gd name="connsiteX7" fmla="*/ 1097 w 15148"/>
                      <a:gd name="connsiteY7" fmla="*/ 2607 h 9659"/>
                      <a:gd name="connsiteX8" fmla="*/ 0 w 15148"/>
                      <a:gd name="connsiteY8" fmla="*/ 1701 h 9659"/>
                      <a:gd name="connsiteX9" fmla="*/ 905 w 15148"/>
                      <a:gd name="connsiteY9" fmla="*/ 439 h 9659"/>
                      <a:gd name="connsiteX10" fmla="*/ 4226 w 15148"/>
                      <a:gd name="connsiteY10" fmla="*/ 0 h 9659"/>
                      <a:gd name="connsiteX11" fmla="*/ 11142 w 15148"/>
                      <a:gd name="connsiteY11" fmla="*/ 0 h 9659"/>
                      <a:gd name="connsiteX12" fmla="*/ 13721 w 15148"/>
                      <a:gd name="connsiteY12" fmla="*/ 3732 h 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148" h="9659">
                        <a:moveTo>
                          <a:pt x="13721" y="3705"/>
                        </a:moveTo>
                        <a:lnTo>
                          <a:pt x="15148" y="7464"/>
                        </a:lnTo>
                        <a:lnTo>
                          <a:pt x="14188" y="9660"/>
                        </a:lnTo>
                        <a:lnTo>
                          <a:pt x="12267" y="9056"/>
                        </a:lnTo>
                        <a:lnTo>
                          <a:pt x="6751" y="5352"/>
                        </a:lnTo>
                        <a:lnTo>
                          <a:pt x="4885" y="4720"/>
                        </a:lnTo>
                        <a:lnTo>
                          <a:pt x="851" y="5132"/>
                        </a:lnTo>
                        <a:lnTo>
                          <a:pt x="1097" y="2607"/>
                        </a:lnTo>
                        <a:lnTo>
                          <a:pt x="0" y="1701"/>
                        </a:lnTo>
                        <a:lnTo>
                          <a:pt x="905" y="439"/>
                        </a:lnTo>
                        <a:lnTo>
                          <a:pt x="4226" y="0"/>
                        </a:lnTo>
                        <a:lnTo>
                          <a:pt x="11142" y="0"/>
                        </a:lnTo>
                        <a:cubicBezTo>
                          <a:pt x="11142" y="0"/>
                          <a:pt x="13721" y="3732"/>
                          <a:pt x="13721" y="3732"/>
                        </a:cubicBez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86" name="Freeform: Shape 2985">
                    <a:extLst>
                      <a:ext uri="{FF2B5EF4-FFF2-40B4-BE49-F238E27FC236}">
                        <a16:creationId xmlns:a16="http://schemas.microsoft.com/office/drawing/2014/main" id="{D24F5F48-F18A-4B7E-EBFD-CB2E899F4843}"/>
                      </a:ext>
                    </a:extLst>
                  </p:cNvPr>
                  <p:cNvSpPr/>
                  <p:nvPr/>
                </p:nvSpPr>
                <p:spPr>
                  <a:xfrm>
                    <a:off x="-6251652" y="3625628"/>
                    <a:ext cx="12266" cy="10400"/>
                  </a:xfrm>
                  <a:custGeom>
                    <a:avLst/>
                    <a:gdLst>
                      <a:gd name="connsiteX0" fmla="*/ 7135 w 12266"/>
                      <a:gd name="connsiteY0" fmla="*/ 7437 h 10400"/>
                      <a:gd name="connsiteX1" fmla="*/ 6175 w 12266"/>
                      <a:gd name="connsiteY1" fmla="*/ 10401 h 10400"/>
                      <a:gd name="connsiteX2" fmla="*/ 4446 w 12266"/>
                      <a:gd name="connsiteY2" fmla="*/ 9111 h 10400"/>
                      <a:gd name="connsiteX3" fmla="*/ 1674 w 12266"/>
                      <a:gd name="connsiteY3" fmla="*/ 9578 h 10400"/>
                      <a:gd name="connsiteX4" fmla="*/ 0 w 12266"/>
                      <a:gd name="connsiteY4" fmla="*/ 5845 h 10400"/>
                      <a:gd name="connsiteX5" fmla="*/ 3211 w 12266"/>
                      <a:gd name="connsiteY5" fmla="*/ 5434 h 10400"/>
                      <a:gd name="connsiteX6" fmla="*/ 2909 w 12266"/>
                      <a:gd name="connsiteY6" fmla="*/ 3238 h 10400"/>
                      <a:gd name="connsiteX7" fmla="*/ 4940 w 12266"/>
                      <a:gd name="connsiteY7" fmla="*/ 1564 h 10400"/>
                      <a:gd name="connsiteX8" fmla="*/ 10072 w 12266"/>
                      <a:gd name="connsiteY8" fmla="*/ 0 h 10400"/>
                      <a:gd name="connsiteX9" fmla="*/ 11554 w 12266"/>
                      <a:gd name="connsiteY9" fmla="*/ 741 h 10400"/>
                      <a:gd name="connsiteX10" fmla="*/ 12267 w 12266"/>
                      <a:gd name="connsiteY10" fmla="*/ 3046 h 10400"/>
                      <a:gd name="connsiteX11" fmla="*/ 9633 w 12266"/>
                      <a:gd name="connsiteY11" fmla="*/ 6257 h 10400"/>
                      <a:gd name="connsiteX12" fmla="*/ 7081 w 12266"/>
                      <a:gd name="connsiteY12" fmla="*/ 7409 h 1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66" h="10400">
                        <a:moveTo>
                          <a:pt x="7135" y="7437"/>
                        </a:moveTo>
                        <a:lnTo>
                          <a:pt x="6175" y="10401"/>
                        </a:lnTo>
                        <a:lnTo>
                          <a:pt x="4446" y="9111"/>
                        </a:lnTo>
                        <a:lnTo>
                          <a:pt x="1674" y="9578"/>
                        </a:lnTo>
                        <a:lnTo>
                          <a:pt x="0" y="5845"/>
                        </a:lnTo>
                        <a:lnTo>
                          <a:pt x="3211" y="5434"/>
                        </a:lnTo>
                        <a:lnTo>
                          <a:pt x="2909" y="3238"/>
                        </a:lnTo>
                        <a:lnTo>
                          <a:pt x="4940" y="1564"/>
                        </a:lnTo>
                        <a:lnTo>
                          <a:pt x="10072" y="0"/>
                        </a:lnTo>
                        <a:lnTo>
                          <a:pt x="11554" y="741"/>
                        </a:lnTo>
                        <a:lnTo>
                          <a:pt x="12267" y="3046"/>
                        </a:lnTo>
                        <a:lnTo>
                          <a:pt x="9633" y="6257"/>
                        </a:lnTo>
                        <a:lnTo>
                          <a:pt x="7081" y="740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87" name="Freeform: Shape 2986">
                    <a:extLst>
                      <a:ext uri="{FF2B5EF4-FFF2-40B4-BE49-F238E27FC236}">
                        <a16:creationId xmlns:a16="http://schemas.microsoft.com/office/drawing/2014/main" id="{E125C902-4A00-64E7-3774-2B6F596016B9}"/>
                      </a:ext>
                    </a:extLst>
                  </p:cNvPr>
                  <p:cNvSpPr/>
                  <p:nvPr/>
                </p:nvSpPr>
                <p:spPr>
                  <a:xfrm>
                    <a:off x="-5682430" y="1945981"/>
                    <a:ext cx="323360" cy="721722"/>
                  </a:xfrm>
                  <a:custGeom>
                    <a:avLst/>
                    <a:gdLst>
                      <a:gd name="connsiteX0" fmla="*/ 217266 w 323360"/>
                      <a:gd name="connsiteY0" fmla="*/ 0 h 721722"/>
                      <a:gd name="connsiteX1" fmla="*/ 230411 w 323360"/>
                      <a:gd name="connsiteY1" fmla="*/ 21598 h 721722"/>
                      <a:gd name="connsiteX2" fmla="*/ 241800 w 323360"/>
                      <a:gd name="connsiteY2" fmla="*/ 27855 h 721722"/>
                      <a:gd name="connsiteX3" fmla="*/ 252009 w 323360"/>
                      <a:gd name="connsiteY3" fmla="*/ 33343 h 721722"/>
                      <a:gd name="connsiteX4" fmla="*/ 257799 w 323360"/>
                      <a:gd name="connsiteY4" fmla="*/ 50605 h 721722"/>
                      <a:gd name="connsiteX5" fmla="*/ 245285 w 323360"/>
                      <a:gd name="connsiteY5" fmla="*/ 70419 h 721722"/>
                      <a:gd name="connsiteX6" fmla="*/ 243254 w 323360"/>
                      <a:gd name="connsiteY6" fmla="*/ 80627 h 721722"/>
                      <a:gd name="connsiteX7" fmla="*/ 246493 w 323360"/>
                      <a:gd name="connsiteY7" fmla="*/ 86775 h 721722"/>
                      <a:gd name="connsiteX8" fmla="*/ 237519 w 323360"/>
                      <a:gd name="connsiteY8" fmla="*/ 96736 h 721722"/>
                      <a:gd name="connsiteX9" fmla="*/ 240620 w 323360"/>
                      <a:gd name="connsiteY9" fmla="*/ 104613 h 721722"/>
                      <a:gd name="connsiteX10" fmla="*/ 233513 w 323360"/>
                      <a:gd name="connsiteY10" fmla="*/ 128927 h 721722"/>
                      <a:gd name="connsiteX11" fmla="*/ 236833 w 323360"/>
                      <a:gd name="connsiteY11" fmla="*/ 148302 h 721722"/>
                      <a:gd name="connsiteX12" fmla="*/ 257689 w 323360"/>
                      <a:gd name="connsiteY12" fmla="*/ 166387 h 721722"/>
                      <a:gd name="connsiteX13" fmla="*/ 276680 w 323360"/>
                      <a:gd name="connsiteY13" fmla="*/ 198303 h 721722"/>
                      <a:gd name="connsiteX14" fmla="*/ 273442 w 323360"/>
                      <a:gd name="connsiteY14" fmla="*/ 212052 h 721722"/>
                      <a:gd name="connsiteX15" fmla="*/ 251158 w 323360"/>
                      <a:gd name="connsiteY15" fmla="*/ 252036 h 721722"/>
                      <a:gd name="connsiteX16" fmla="*/ 252256 w 323360"/>
                      <a:gd name="connsiteY16" fmla="*/ 262218 h 721722"/>
                      <a:gd name="connsiteX17" fmla="*/ 265401 w 323360"/>
                      <a:gd name="connsiteY17" fmla="*/ 290347 h 721722"/>
                      <a:gd name="connsiteX18" fmla="*/ 275720 w 323360"/>
                      <a:gd name="connsiteY18" fmla="*/ 313563 h 721722"/>
                      <a:gd name="connsiteX19" fmla="*/ 281483 w 323360"/>
                      <a:gd name="connsiteY19" fmla="*/ 342379 h 721722"/>
                      <a:gd name="connsiteX20" fmla="*/ 270807 w 323360"/>
                      <a:gd name="connsiteY20" fmla="*/ 347730 h 721722"/>
                      <a:gd name="connsiteX21" fmla="*/ 273222 w 323360"/>
                      <a:gd name="connsiteY21" fmla="*/ 353630 h 721722"/>
                      <a:gd name="connsiteX22" fmla="*/ 270752 w 323360"/>
                      <a:gd name="connsiteY22" fmla="*/ 357939 h 721722"/>
                      <a:gd name="connsiteX23" fmla="*/ 268173 w 323360"/>
                      <a:gd name="connsiteY23" fmla="*/ 373801 h 721722"/>
                      <a:gd name="connsiteX24" fmla="*/ 272701 w 323360"/>
                      <a:gd name="connsiteY24" fmla="*/ 381540 h 721722"/>
                      <a:gd name="connsiteX25" fmla="*/ 268008 w 323360"/>
                      <a:gd name="connsiteY25" fmla="*/ 390349 h 721722"/>
                      <a:gd name="connsiteX26" fmla="*/ 268063 w 323360"/>
                      <a:gd name="connsiteY26" fmla="*/ 400091 h 721722"/>
                      <a:gd name="connsiteX27" fmla="*/ 278711 w 323360"/>
                      <a:gd name="connsiteY27" fmla="*/ 411672 h 721722"/>
                      <a:gd name="connsiteX28" fmla="*/ 280440 w 323360"/>
                      <a:gd name="connsiteY28" fmla="*/ 432007 h 721722"/>
                      <a:gd name="connsiteX29" fmla="*/ 292789 w 323360"/>
                      <a:gd name="connsiteY29" fmla="*/ 450010 h 721722"/>
                      <a:gd name="connsiteX30" fmla="*/ 290923 w 323360"/>
                      <a:gd name="connsiteY30" fmla="*/ 461207 h 721722"/>
                      <a:gd name="connsiteX31" fmla="*/ 287026 w 323360"/>
                      <a:gd name="connsiteY31" fmla="*/ 469220 h 721722"/>
                      <a:gd name="connsiteX32" fmla="*/ 277147 w 323360"/>
                      <a:gd name="connsiteY32" fmla="*/ 477426 h 721722"/>
                      <a:gd name="connsiteX33" fmla="*/ 289166 w 323360"/>
                      <a:gd name="connsiteY33" fmla="*/ 492355 h 721722"/>
                      <a:gd name="connsiteX34" fmla="*/ 291664 w 323360"/>
                      <a:gd name="connsiteY34" fmla="*/ 495456 h 721722"/>
                      <a:gd name="connsiteX35" fmla="*/ 299457 w 323360"/>
                      <a:gd name="connsiteY35" fmla="*/ 501548 h 721722"/>
                      <a:gd name="connsiteX36" fmla="*/ 312905 w 323360"/>
                      <a:gd name="connsiteY36" fmla="*/ 512059 h 721722"/>
                      <a:gd name="connsiteX37" fmla="*/ 323361 w 323360"/>
                      <a:gd name="connsiteY37" fmla="*/ 533190 h 721722"/>
                      <a:gd name="connsiteX38" fmla="*/ 312658 w 323360"/>
                      <a:gd name="connsiteY38" fmla="*/ 560797 h 721722"/>
                      <a:gd name="connsiteX39" fmla="*/ 282196 w 323360"/>
                      <a:gd name="connsiteY39" fmla="*/ 600068 h 721722"/>
                      <a:gd name="connsiteX40" fmla="*/ 253490 w 323360"/>
                      <a:gd name="connsiteY40" fmla="*/ 637912 h 721722"/>
                      <a:gd name="connsiteX41" fmla="*/ 243749 w 323360"/>
                      <a:gd name="connsiteY41" fmla="*/ 644773 h 721722"/>
                      <a:gd name="connsiteX42" fmla="*/ 241224 w 323360"/>
                      <a:gd name="connsiteY42" fmla="*/ 648532 h 721722"/>
                      <a:gd name="connsiteX43" fmla="*/ 238397 w 323360"/>
                      <a:gd name="connsiteY43" fmla="*/ 654597 h 721722"/>
                      <a:gd name="connsiteX44" fmla="*/ 233787 w 323360"/>
                      <a:gd name="connsiteY44" fmla="*/ 656162 h 721722"/>
                      <a:gd name="connsiteX45" fmla="*/ 218885 w 323360"/>
                      <a:gd name="connsiteY45" fmla="*/ 672435 h 721722"/>
                      <a:gd name="connsiteX46" fmla="*/ 214522 w 323360"/>
                      <a:gd name="connsiteY46" fmla="*/ 678555 h 721722"/>
                      <a:gd name="connsiteX47" fmla="*/ 213369 w 323360"/>
                      <a:gd name="connsiteY47" fmla="*/ 679653 h 721722"/>
                      <a:gd name="connsiteX48" fmla="*/ 201404 w 323360"/>
                      <a:gd name="connsiteY48" fmla="*/ 685306 h 721722"/>
                      <a:gd name="connsiteX49" fmla="*/ 192979 w 323360"/>
                      <a:gd name="connsiteY49" fmla="*/ 681354 h 721722"/>
                      <a:gd name="connsiteX50" fmla="*/ 178572 w 323360"/>
                      <a:gd name="connsiteY50" fmla="*/ 687282 h 721722"/>
                      <a:gd name="connsiteX51" fmla="*/ 173687 w 323360"/>
                      <a:gd name="connsiteY51" fmla="*/ 683275 h 721722"/>
                      <a:gd name="connsiteX52" fmla="*/ 171711 w 323360"/>
                      <a:gd name="connsiteY52" fmla="*/ 690438 h 721722"/>
                      <a:gd name="connsiteX53" fmla="*/ 162901 w 323360"/>
                      <a:gd name="connsiteY53" fmla="*/ 688654 h 721722"/>
                      <a:gd name="connsiteX54" fmla="*/ 163121 w 323360"/>
                      <a:gd name="connsiteY54" fmla="*/ 694527 h 721722"/>
                      <a:gd name="connsiteX55" fmla="*/ 158566 w 323360"/>
                      <a:gd name="connsiteY55" fmla="*/ 698204 h 721722"/>
                      <a:gd name="connsiteX56" fmla="*/ 137819 w 323360"/>
                      <a:gd name="connsiteY56" fmla="*/ 697710 h 721722"/>
                      <a:gd name="connsiteX57" fmla="*/ 115425 w 323360"/>
                      <a:gd name="connsiteY57" fmla="*/ 712145 h 721722"/>
                      <a:gd name="connsiteX58" fmla="*/ 103817 w 323360"/>
                      <a:gd name="connsiteY58" fmla="*/ 711569 h 721722"/>
                      <a:gd name="connsiteX59" fmla="*/ 97505 w 323360"/>
                      <a:gd name="connsiteY59" fmla="*/ 717003 h 721722"/>
                      <a:gd name="connsiteX60" fmla="*/ 82274 w 323360"/>
                      <a:gd name="connsiteY60" fmla="*/ 717799 h 721722"/>
                      <a:gd name="connsiteX61" fmla="*/ 76840 w 323360"/>
                      <a:gd name="connsiteY61" fmla="*/ 721723 h 721722"/>
                      <a:gd name="connsiteX62" fmla="*/ 68745 w 323360"/>
                      <a:gd name="connsiteY62" fmla="*/ 715713 h 721722"/>
                      <a:gd name="connsiteX63" fmla="*/ 72971 w 323360"/>
                      <a:gd name="connsiteY63" fmla="*/ 706190 h 721722"/>
                      <a:gd name="connsiteX64" fmla="*/ 68745 w 323360"/>
                      <a:gd name="connsiteY64" fmla="*/ 710224 h 721722"/>
                      <a:gd name="connsiteX65" fmla="*/ 55874 w 323360"/>
                      <a:gd name="connsiteY65" fmla="*/ 711816 h 721722"/>
                      <a:gd name="connsiteX66" fmla="*/ 54200 w 323360"/>
                      <a:gd name="connsiteY66" fmla="*/ 707892 h 721722"/>
                      <a:gd name="connsiteX67" fmla="*/ 55215 w 323360"/>
                      <a:gd name="connsiteY67" fmla="*/ 698726 h 721722"/>
                      <a:gd name="connsiteX68" fmla="*/ 48876 w 323360"/>
                      <a:gd name="connsiteY68" fmla="*/ 701141 h 721722"/>
                      <a:gd name="connsiteX69" fmla="*/ 47339 w 323360"/>
                      <a:gd name="connsiteY69" fmla="*/ 695076 h 721722"/>
                      <a:gd name="connsiteX70" fmla="*/ 49095 w 323360"/>
                      <a:gd name="connsiteY70" fmla="*/ 690767 h 721722"/>
                      <a:gd name="connsiteX71" fmla="*/ 46790 w 323360"/>
                      <a:gd name="connsiteY71" fmla="*/ 687529 h 721722"/>
                      <a:gd name="connsiteX72" fmla="*/ 39271 w 323360"/>
                      <a:gd name="connsiteY72" fmla="*/ 694582 h 721722"/>
                      <a:gd name="connsiteX73" fmla="*/ 35017 w 323360"/>
                      <a:gd name="connsiteY73" fmla="*/ 679269 h 721722"/>
                      <a:gd name="connsiteX74" fmla="*/ 30187 w 323360"/>
                      <a:gd name="connsiteY74" fmla="*/ 682342 h 721722"/>
                      <a:gd name="connsiteX75" fmla="*/ 21625 w 323360"/>
                      <a:gd name="connsiteY75" fmla="*/ 681272 h 721722"/>
                      <a:gd name="connsiteX76" fmla="*/ 20966 w 323360"/>
                      <a:gd name="connsiteY76" fmla="*/ 677457 h 721722"/>
                      <a:gd name="connsiteX77" fmla="*/ 23793 w 323360"/>
                      <a:gd name="connsiteY77" fmla="*/ 669911 h 721722"/>
                      <a:gd name="connsiteX78" fmla="*/ 20610 w 323360"/>
                      <a:gd name="connsiteY78" fmla="*/ 659345 h 721722"/>
                      <a:gd name="connsiteX79" fmla="*/ 25632 w 323360"/>
                      <a:gd name="connsiteY79" fmla="*/ 649521 h 721722"/>
                      <a:gd name="connsiteX80" fmla="*/ 28733 w 323360"/>
                      <a:gd name="connsiteY80" fmla="*/ 624794 h 721722"/>
                      <a:gd name="connsiteX81" fmla="*/ 27278 w 323360"/>
                      <a:gd name="connsiteY81" fmla="*/ 614805 h 721722"/>
                      <a:gd name="connsiteX82" fmla="*/ 29666 w 323360"/>
                      <a:gd name="connsiteY82" fmla="*/ 612829 h 721722"/>
                      <a:gd name="connsiteX83" fmla="*/ 23217 w 323360"/>
                      <a:gd name="connsiteY83" fmla="*/ 593537 h 721722"/>
                      <a:gd name="connsiteX84" fmla="*/ 23628 w 323360"/>
                      <a:gd name="connsiteY84" fmla="*/ 571253 h 721722"/>
                      <a:gd name="connsiteX85" fmla="*/ 18799 w 323360"/>
                      <a:gd name="connsiteY85" fmla="*/ 560797 h 721722"/>
                      <a:gd name="connsiteX86" fmla="*/ 15258 w 323360"/>
                      <a:gd name="connsiteY86" fmla="*/ 545347 h 721722"/>
                      <a:gd name="connsiteX87" fmla="*/ 18139 w 323360"/>
                      <a:gd name="connsiteY87" fmla="*/ 529512 h 721722"/>
                      <a:gd name="connsiteX88" fmla="*/ 23079 w 323360"/>
                      <a:gd name="connsiteY88" fmla="*/ 533053 h 721722"/>
                      <a:gd name="connsiteX89" fmla="*/ 26867 w 323360"/>
                      <a:gd name="connsiteY89" fmla="*/ 527152 h 721722"/>
                      <a:gd name="connsiteX90" fmla="*/ 26427 w 323360"/>
                      <a:gd name="connsiteY90" fmla="*/ 518837 h 721722"/>
                      <a:gd name="connsiteX91" fmla="*/ 29007 w 323360"/>
                      <a:gd name="connsiteY91" fmla="*/ 521170 h 721722"/>
                      <a:gd name="connsiteX92" fmla="*/ 29940 w 323360"/>
                      <a:gd name="connsiteY92" fmla="*/ 513239 h 721722"/>
                      <a:gd name="connsiteX93" fmla="*/ 35100 w 323360"/>
                      <a:gd name="connsiteY93" fmla="*/ 508656 h 721722"/>
                      <a:gd name="connsiteX94" fmla="*/ 43909 w 323360"/>
                      <a:gd name="connsiteY94" fmla="*/ 503222 h 721722"/>
                      <a:gd name="connsiteX95" fmla="*/ 52471 w 323360"/>
                      <a:gd name="connsiteY95" fmla="*/ 506735 h 721722"/>
                      <a:gd name="connsiteX96" fmla="*/ 51236 w 323360"/>
                      <a:gd name="connsiteY96" fmla="*/ 501493 h 721722"/>
                      <a:gd name="connsiteX97" fmla="*/ 50303 w 323360"/>
                      <a:gd name="connsiteY97" fmla="*/ 497377 h 721722"/>
                      <a:gd name="connsiteX98" fmla="*/ 50879 w 323360"/>
                      <a:gd name="connsiteY98" fmla="*/ 495401 h 721722"/>
                      <a:gd name="connsiteX99" fmla="*/ 52416 w 323360"/>
                      <a:gd name="connsiteY99" fmla="*/ 490214 h 721722"/>
                      <a:gd name="connsiteX100" fmla="*/ 60539 w 323360"/>
                      <a:gd name="connsiteY100" fmla="*/ 482530 h 721722"/>
                      <a:gd name="connsiteX101" fmla="*/ 62954 w 323360"/>
                      <a:gd name="connsiteY101" fmla="*/ 471306 h 721722"/>
                      <a:gd name="connsiteX102" fmla="*/ 68196 w 323360"/>
                      <a:gd name="connsiteY102" fmla="*/ 471937 h 721722"/>
                      <a:gd name="connsiteX103" fmla="*/ 69019 w 323360"/>
                      <a:gd name="connsiteY103" fmla="*/ 468562 h 721722"/>
                      <a:gd name="connsiteX104" fmla="*/ 73273 w 323360"/>
                      <a:gd name="connsiteY104" fmla="*/ 469632 h 721722"/>
                      <a:gd name="connsiteX105" fmla="*/ 82384 w 323360"/>
                      <a:gd name="connsiteY105" fmla="*/ 465872 h 721722"/>
                      <a:gd name="connsiteX106" fmla="*/ 83564 w 323360"/>
                      <a:gd name="connsiteY106" fmla="*/ 462743 h 721722"/>
                      <a:gd name="connsiteX107" fmla="*/ 84470 w 323360"/>
                      <a:gd name="connsiteY107" fmla="*/ 456898 h 721722"/>
                      <a:gd name="connsiteX108" fmla="*/ 90232 w 323360"/>
                      <a:gd name="connsiteY108" fmla="*/ 457859 h 721722"/>
                      <a:gd name="connsiteX109" fmla="*/ 94239 w 323360"/>
                      <a:gd name="connsiteY109" fmla="*/ 449900 h 721722"/>
                      <a:gd name="connsiteX110" fmla="*/ 95227 w 323360"/>
                      <a:gd name="connsiteY110" fmla="*/ 447952 h 721722"/>
                      <a:gd name="connsiteX111" fmla="*/ 96819 w 323360"/>
                      <a:gd name="connsiteY111" fmla="*/ 444796 h 721722"/>
                      <a:gd name="connsiteX112" fmla="*/ 101429 w 323360"/>
                      <a:gd name="connsiteY112" fmla="*/ 435575 h 721722"/>
                      <a:gd name="connsiteX113" fmla="*/ 110814 w 323360"/>
                      <a:gd name="connsiteY113" fmla="*/ 424845 h 721722"/>
                      <a:gd name="connsiteX114" fmla="*/ 118911 w 323360"/>
                      <a:gd name="connsiteY114" fmla="*/ 405799 h 721722"/>
                      <a:gd name="connsiteX115" fmla="*/ 130903 w 323360"/>
                      <a:gd name="connsiteY115" fmla="*/ 399817 h 721722"/>
                      <a:gd name="connsiteX116" fmla="*/ 138202 w 323360"/>
                      <a:gd name="connsiteY116" fmla="*/ 400201 h 721722"/>
                      <a:gd name="connsiteX117" fmla="*/ 141057 w 323360"/>
                      <a:gd name="connsiteY117" fmla="*/ 395206 h 721722"/>
                      <a:gd name="connsiteX118" fmla="*/ 138807 w 323360"/>
                      <a:gd name="connsiteY118" fmla="*/ 381101 h 721722"/>
                      <a:gd name="connsiteX119" fmla="*/ 139163 w 323360"/>
                      <a:gd name="connsiteY119" fmla="*/ 360683 h 721722"/>
                      <a:gd name="connsiteX120" fmla="*/ 133400 w 323360"/>
                      <a:gd name="connsiteY120" fmla="*/ 351435 h 721722"/>
                      <a:gd name="connsiteX121" fmla="*/ 121792 w 323360"/>
                      <a:gd name="connsiteY121" fmla="*/ 347236 h 721722"/>
                      <a:gd name="connsiteX122" fmla="*/ 118032 w 323360"/>
                      <a:gd name="connsiteY122" fmla="*/ 341555 h 721722"/>
                      <a:gd name="connsiteX123" fmla="*/ 106643 w 323360"/>
                      <a:gd name="connsiteY123" fmla="*/ 338262 h 721722"/>
                      <a:gd name="connsiteX124" fmla="*/ 106039 w 323360"/>
                      <a:gd name="connsiteY124" fmla="*/ 335216 h 721722"/>
                      <a:gd name="connsiteX125" fmla="*/ 104914 w 323360"/>
                      <a:gd name="connsiteY125" fmla="*/ 327697 h 721722"/>
                      <a:gd name="connsiteX126" fmla="*/ 98822 w 323360"/>
                      <a:gd name="connsiteY126" fmla="*/ 311368 h 721722"/>
                      <a:gd name="connsiteX127" fmla="*/ 93690 w 323360"/>
                      <a:gd name="connsiteY127" fmla="*/ 307224 h 721722"/>
                      <a:gd name="connsiteX128" fmla="*/ 91632 w 323360"/>
                      <a:gd name="connsiteY128" fmla="*/ 300857 h 721722"/>
                      <a:gd name="connsiteX129" fmla="*/ 91961 w 323360"/>
                      <a:gd name="connsiteY129" fmla="*/ 288398 h 721722"/>
                      <a:gd name="connsiteX130" fmla="*/ 97532 w 323360"/>
                      <a:gd name="connsiteY130" fmla="*/ 280303 h 721722"/>
                      <a:gd name="connsiteX131" fmla="*/ 100523 w 323360"/>
                      <a:gd name="connsiteY131" fmla="*/ 260434 h 721722"/>
                      <a:gd name="connsiteX132" fmla="*/ 88696 w 323360"/>
                      <a:gd name="connsiteY132" fmla="*/ 233951 h 721722"/>
                      <a:gd name="connsiteX133" fmla="*/ 89574 w 323360"/>
                      <a:gd name="connsiteY133" fmla="*/ 228435 h 721722"/>
                      <a:gd name="connsiteX134" fmla="*/ 93443 w 323360"/>
                      <a:gd name="connsiteY134" fmla="*/ 225060 h 721722"/>
                      <a:gd name="connsiteX135" fmla="*/ 93745 w 323360"/>
                      <a:gd name="connsiteY135" fmla="*/ 215894 h 721722"/>
                      <a:gd name="connsiteX136" fmla="*/ 84552 w 323360"/>
                      <a:gd name="connsiteY136" fmla="*/ 211366 h 721722"/>
                      <a:gd name="connsiteX137" fmla="*/ 87900 w 323360"/>
                      <a:gd name="connsiteY137" fmla="*/ 202913 h 721722"/>
                      <a:gd name="connsiteX138" fmla="*/ 86363 w 323360"/>
                      <a:gd name="connsiteY138" fmla="*/ 184883 h 721722"/>
                      <a:gd name="connsiteX139" fmla="*/ 90397 w 323360"/>
                      <a:gd name="connsiteY139" fmla="*/ 177446 h 721722"/>
                      <a:gd name="connsiteX140" fmla="*/ 89958 w 323360"/>
                      <a:gd name="connsiteY140" fmla="*/ 173577 h 721722"/>
                      <a:gd name="connsiteX141" fmla="*/ 80764 w 323360"/>
                      <a:gd name="connsiteY141" fmla="*/ 160487 h 721722"/>
                      <a:gd name="connsiteX142" fmla="*/ 76950 w 323360"/>
                      <a:gd name="connsiteY142" fmla="*/ 159499 h 721722"/>
                      <a:gd name="connsiteX143" fmla="*/ 73437 w 323360"/>
                      <a:gd name="connsiteY143" fmla="*/ 147314 h 721722"/>
                      <a:gd name="connsiteX144" fmla="*/ 53212 w 323360"/>
                      <a:gd name="connsiteY144" fmla="*/ 133730 h 721722"/>
                      <a:gd name="connsiteX145" fmla="*/ 44540 w 323360"/>
                      <a:gd name="connsiteY145" fmla="*/ 132906 h 721722"/>
                      <a:gd name="connsiteX146" fmla="*/ 28952 w 323360"/>
                      <a:gd name="connsiteY146" fmla="*/ 117044 h 721722"/>
                      <a:gd name="connsiteX147" fmla="*/ 11252 w 323360"/>
                      <a:gd name="connsiteY147" fmla="*/ 98905 h 721722"/>
                      <a:gd name="connsiteX148" fmla="*/ 6888 w 323360"/>
                      <a:gd name="connsiteY148" fmla="*/ 89135 h 721722"/>
                      <a:gd name="connsiteX149" fmla="*/ 0 w 323360"/>
                      <a:gd name="connsiteY149" fmla="*/ 86144 h 721722"/>
                      <a:gd name="connsiteX150" fmla="*/ 5269 w 323360"/>
                      <a:gd name="connsiteY150" fmla="*/ 82439 h 721722"/>
                      <a:gd name="connsiteX151" fmla="*/ 13859 w 323360"/>
                      <a:gd name="connsiteY151" fmla="*/ 85951 h 721722"/>
                      <a:gd name="connsiteX152" fmla="*/ 15423 w 323360"/>
                      <a:gd name="connsiteY152" fmla="*/ 81725 h 721722"/>
                      <a:gd name="connsiteX153" fmla="*/ 13639 w 323360"/>
                      <a:gd name="connsiteY153" fmla="*/ 75907 h 721722"/>
                      <a:gd name="connsiteX154" fmla="*/ 14463 w 323360"/>
                      <a:gd name="connsiteY154" fmla="*/ 71434 h 721722"/>
                      <a:gd name="connsiteX155" fmla="*/ 21817 w 323360"/>
                      <a:gd name="connsiteY155" fmla="*/ 65506 h 721722"/>
                      <a:gd name="connsiteX156" fmla="*/ 28952 w 323360"/>
                      <a:gd name="connsiteY156" fmla="*/ 67510 h 721722"/>
                      <a:gd name="connsiteX157" fmla="*/ 31038 w 323360"/>
                      <a:gd name="connsiteY157" fmla="*/ 68113 h 721722"/>
                      <a:gd name="connsiteX158" fmla="*/ 33453 w 323360"/>
                      <a:gd name="connsiteY158" fmla="*/ 71434 h 721722"/>
                      <a:gd name="connsiteX159" fmla="*/ 42180 w 323360"/>
                      <a:gd name="connsiteY159" fmla="*/ 85073 h 721722"/>
                      <a:gd name="connsiteX160" fmla="*/ 54392 w 323360"/>
                      <a:gd name="connsiteY160" fmla="*/ 113285 h 721722"/>
                      <a:gd name="connsiteX161" fmla="*/ 77910 w 323360"/>
                      <a:gd name="connsiteY161" fmla="*/ 120502 h 721722"/>
                      <a:gd name="connsiteX162" fmla="*/ 91056 w 323360"/>
                      <a:gd name="connsiteY162" fmla="*/ 114931 h 721722"/>
                      <a:gd name="connsiteX163" fmla="*/ 95337 w 323360"/>
                      <a:gd name="connsiteY163" fmla="*/ 106122 h 721722"/>
                      <a:gd name="connsiteX164" fmla="*/ 99096 w 323360"/>
                      <a:gd name="connsiteY164" fmla="*/ 104832 h 721722"/>
                      <a:gd name="connsiteX165" fmla="*/ 126951 w 323360"/>
                      <a:gd name="connsiteY165" fmla="*/ 125140 h 721722"/>
                      <a:gd name="connsiteX166" fmla="*/ 133675 w 323360"/>
                      <a:gd name="connsiteY166" fmla="*/ 120036 h 721722"/>
                      <a:gd name="connsiteX167" fmla="*/ 137654 w 323360"/>
                      <a:gd name="connsiteY167" fmla="*/ 104750 h 721722"/>
                      <a:gd name="connsiteX168" fmla="*/ 150333 w 323360"/>
                      <a:gd name="connsiteY168" fmla="*/ 97121 h 721722"/>
                      <a:gd name="connsiteX169" fmla="*/ 152830 w 323360"/>
                      <a:gd name="connsiteY169" fmla="*/ 88778 h 721722"/>
                      <a:gd name="connsiteX170" fmla="*/ 151622 w 323360"/>
                      <a:gd name="connsiteY170" fmla="*/ 71407 h 721722"/>
                      <a:gd name="connsiteX171" fmla="*/ 153132 w 323360"/>
                      <a:gd name="connsiteY171" fmla="*/ 63668 h 721722"/>
                      <a:gd name="connsiteX172" fmla="*/ 154915 w 323360"/>
                      <a:gd name="connsiteY172" fmla="*/ 60622 h 721722"/>
                      <a:gd name="connsiteX173" fmla="*/ 154696 w 323360"/>
                      <a:gd name="connsiteY173" fmla="*/ 55380 h 721722"/>
                      <a:gd name="connsiteX174" fmla="*/ 157770 w 323360"/>
                      <a:gd name="connsiteY174" fmla="*/ 44046 h 721722"/>
                      <a:gd name="connsiteX175" fmla="*/ 159608 w 323360"/>
                      <a:gd name="connsiteY175" fmla="*/ 32794 h 721722"/>
                      <a:gd name="connsiteX176" fmla="*/ 174674 w 323360"/>
                      <a:gd name="connsiteY176" fmla="*/ 12404 h 721722"/>
                      <a:gd name="connsiteX177" fmla="*/ 191799 w 323360"/>
                      <a:gd name="connsiteY177" fmla="*/ 14133 h 721722"/>
                      <a:gd name="connsiteX178" fmla="*/ 208731 w 323360"/>
                      <a:gd name="connsiteY178" fmla="*/ 878 h 721722"/>
                      <a:gd name="connsiteX179" fmla="*/ 217266 w 323360"/>
                      <a:gd name="connsiteY179" fmla="*/ 55 h 72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323360" h="721722">
                        <a:moveTo>
                          <a:pt x="217266" y="0"/>
                        </a:moveTo>
                        <a:lnTo>
                          <a:pt x="230411" y="21598"/>
                        </a:lnTo>
                        <a:lnTo>
                          <a:pt x="241800" y="27855"/>
                        </a:lnTo>
                        <a:lnTo>
                          <a:pt x="252009" y="33343"/>
                        </a:lnTo>
                        <a:lnTo>
                          <a:pt x="257799" y="50605"/>
                        </a:lnTo>
                        <a:lnTo>
                          <a:pt x="245285" y="70419"/>
                        </a:lnTo>
                        <a:lnTo>
                          <a:pt x="243254" y="80627"/>
                        </a:lnTo>
                        <a:lnTo>
                          <a:pt x="246493" y="86775"/>
                        </a:lnTo>
                        <a:lnTo>
                          <a:pt x="237519" y="96736"/>
                        </a:lnTo>
                        <a:lnTo>
                          <a:pt x="240620" y="104613"/>
                        </a:lnTo>
                        <a:lnTo>
                          <a:pt x="233513" y="128927"/>
                        </a:lnTo>
                        <a:lnTo>
                          <a:pt x="236833" y="148302"/>
                        </a:lnTo>
                        <a:lnTo>
                          <a:pt x="257689" y="166387"/>
                        </a:lnTo>
                        <a:lnTo>
                          <a:pt x="276680" y="198303"/>
                        </a:lnTo>
                        <a:lnTo>
                          <a:pt x="273442" y="212052"/>
                        </a:lnTo>
                        <a:lnTo>
                          <a:pt x="251158" y="252036"/>
                        </a:lnTo>
                        <a:lnTo>
                          <a:pt x="252256" y="262218"/>
                        </a:lnTo>
                        <a:lnTo>
                          <a:pt x="265401" y="290347"/>
                        </a:lnTo>
                        <a:lnTo>
                          <a:pt x="275720" y="313563"/>
                        </a:lnTo>
                        <a:lnTo>
                          <a:pt x="281483" y="342379"/>
                        </a:lnTo>
                        <a:lnTo>
                          <a:pt x="270807" y="347730"/>
                        </a:lnTo>
                        <a:lnTo>
                          <a:pt x="273222" y="353630"/>
                        </a:lnTo>
                        <a:lnTo>
                          <a:pt x="270752" y="357939"/>
                        </a:lnTo>
                        <a:lnTo>
                          <a:pt x="268173" y="373801"/>
                        </a:lnTo>
                        <a:lnTo>
                          <a:pt x="272701" y="381540"/>
                        </a:lnTo>
                        <a:lnTo>
                          <a:pt x="268008" y="390349"/>
                        </a:lnTo>
                        <a:lnTo>
                          <a:pt x="268063" y="400091"/>
                        </a:lnTo>
                        <a:lnTo>
                          <a:pt x="278711" y="411672"/>
                        </a:lnTo>
                        <a:lnTo>
                          <a:pt x="280440" y="432007"/>
                        </a:lnTo>
                        <a:lnTo>
                          <a:pt x="292789" y="450010"/>
                        </a:lnTo>
                        <a:lnTo>
                          <a:pt x="290923" y="461207"/>
                        </a:lnTo>
                        <a:lnTo>
                          <a:pt x="287026" y="469220"/>
                        </a:lnTo>
                        <a:lnTo>
                          <a:pt x="277147" y="477426"/>
                        </a:lnTo>
                        <a:lnTo>
                          <a:pt x="289166" y="492355"/>
                        </a:lnTo>
                        <a:lnTo>
                          <a:pt x="291664" y="495456"/>
                        </a:lnTo>
                        <a:lnTo>
                          <a:pt x="299457" y="501548"/>
                        </a:lnTo>
                        <a:lnTo>
                          <a:pt x="312905" y="512059"/>
                        </a:lnTo>
                        <a:lnTo>
                          <a:pt x="323361" y="533190"/>
                        </a:lnTo>
                        <a:lnTo>
                          <a:pt x="312658" y="560797"/>
                        </a:lnTo>
                        <a:lnTo>
                          <a:pt x="282196" y="600068"/>
                        </a:lnTo>
                        <a:lnTo>
                          <a:pt x="253490" y="637912"/>
                        </a:lnTo>
                        <a:lnTo>
                          <a:pt x="243749" y="644773"/>
                        </a:lnTo>
                        <a:lnTo>
                          <a:pt x="241224" y="648532"/>
                        </a:lnTo>
                        <a:lnTo>
                          <a:pt x="238397" y="654597"/>
                        </a:lnTo>
                        <a:lnTo>
                          <a:pt x="233787" y="656162"/>
                        </a:lnTo>
                        <a:lnTo>
                          <a:pt x="218885" y="672435"/>
                        </a:lnTo>
                        <a:lnTo>
                          <a:pt x="214522" y="678555"/>
                        </a:lnTo>
                        <a:lnTo>
                          <a:pt x="213369" y="679653"/>
                        </a:lnTo>
                        <a:lnTo>
                          <a:pt x="201404" y="685306"/>
                        </a:lnTo>
                        <a:lnTo>
                          <a:pt x="192979" y="681354"/>
                        </a:lnTo>
                        <a:lnTo>
                          <a:pt x="178572" y="687282"/>
                        </a:lnTo>
                        <a:lnTo>
                          <a:pt x="173687" y="683275"/>
                        </a:lnTo>
                        <a:lnTo>
                          <a:pt x="171711" y="690438"/>
                        </a:lnTo>
                        <a:lnTo>
                          <a:pt x="162901" y="688654"/>
                        </a:lnTo>
                        <a:lnTo>
                          <a:pt x="163121" y="694527"/>
                        </a:lnTo>
                        <a:lnTo>
                          <a:pt x="158566" y="698204"/>
                        </a:lnTo>
                        <a:lnTo>
                          <a:pt x="137819" y="697710"/>
                        </a:lnTo>
                        <a:lnTo>
                          <a:pt x="115425" y="712145"/>
                        </a:lnTo>
                        <a:lnTo>
                          <a:pt x="103817" y="711569"/>
                        </a:lnTo>
                        <a:lnTo>
                          <a:pt x="97505" y="717003"/>
                        </a:lnTo>
                        <a:lnTo>
                          <a:pt x="82274" y="717799"/>
                        </a:lnTo>
                        <a:lnTo>
                          <a:pt x="76840" y="721723"/>
                        </a:lnTo>
                        <a:lnTo>
                          <a:pt x="68745" y="715713"/>
                        </a:lnTo>
                        <a:lnTo>
                          <a:pt x="72971" y="706190"/>
                        </a:lnTo>
                        <a:lnTo>
                          <a:pt x="68745" y="710224"/>
                        </a:lnTo>
                        <a:lnTo>
                          <a:pt x="55874" y="711816"/>
                        </a:lnTo>
                        <a:lnTo>
                          <a:pt x="54200" y="707892"/>
                        </a:lnTo>
                        <a:lnTo>
                          <a:pt x="55215" y="698726"/>
                        </a:lnTo>
                        <a:lnTo>
                          <a:pt x="48876" y="701141"/>
                        </a:lnTo>
                        <a:lnTo>
                          <a:pt x="47339" y="695076"/>
                        </a:lnTo>
                        <a:lnTo>
                          <a:pt x="49095" y="690767"/>
                        </a:lnTo>
                        <a:lnTo>
                          <a:pt x="46790" y="687529"/>
                        </a:lnTo>
                        <a:lnTo>
                          <a:pt x="39271" y="694582"/>
                        </a:lnTo>
                        <a:lnTo>
                          <a:pt x="35017" y="679269"/>
                        </a:lnTo>
                        <a:lnTo>
                          <a:pt x="30187" y="682342"/>
                        </a:lnTo>
                        <a:lnTo>
                          <a:pt x="21625" y="681272"/>
                        </a:lnTo>
                        <a:lnTo>
                          <a:pt x="20966" y="677457"/>
                        </a:lnTo>
                        <a:lnTo>
                          <a:pt x="23793" y="669911"/>
                        </a:lnTo>
                        <a:lnTo>
                          <a:pt x="20610" y="659345"/>
                        </a:lnTo>
                        <a:lnTo>
                          <a:pt x="25632" y="649521"/>
                        </a:lnTo>
                        <a:lnTo>
                          <a:pt x="28733" y="624794"/>
                        </a:lnTo>
                        <a:lnTo>
                          <a:pt x="27278" y="614805"/>
                        </a:lnTo>
                        <a:lnTo>
                          <a:pt x="29666" y="612829"/>
                        </a:lnTo>
                        <a:lnTo>
                          <a:pt x="23217" y="593537"/>
                        </a:lnTo>
                        <a:lnTo>
                          <a:pt x="23628" y="571253"/>
                        </a:lnTo>
                        <a:lnTo>
                          <a:pt x="18799" y="560797"/>
                        </a:lnTo>
                        <a:lnTo>
                          <a:pt x="15258" y="545347"/>
                        </a:lnTo>
                        <a:lnTo>
                          <a:pt x="18139" y="529512"/>
                        </a:lnTo>
                        <a:lnTo>
                          <a:pt x="23079" y="533053"/>
                        </a:lnTo>
                        <a:lnTo>
                          <a:pt x="26867" y="527152"/>
                        </a:lnTo>
                        <a:lnTo>
                          <a:pt x="26427" y="518837"/>
                        </a:lnTo>
                        <a:lnTo>
                          <a:pt x="29007" y="521170"/>
                        </a:lnTo>
                        <a:lnTo>
                          <a:pt x="29940" y="513239"/>
                        </a:lnTo>
                        <a:lnTo>
                          <a:pt x="35100" y="508656"/>
                        </a:lnTo>
                        <a:lnTo>
                          <a:pt x="43909" y="503222"/>
                        </a:lnTo>
                        <a:lnTo>
                          <a:pt x="52471" y="506735"/>
                        </a:lnTo>
                        <a:lnTo>
                          <a:pt x="51236" y="501493"/>
                        </a:lnTo>
                        <a:lnTo>
                          <a:pt x="50303" y="497377"/>
                        </a:lnTo>
                        <a:lnTo>
                          <a:pt x="50879" y="495401"/>
                        </a:lnTo>
                        <a:lnTo>
                          <a:pt x="52416" y="490214"/>
                        </a:lnTo>
                        <a:lnTo>
                          <a:pt x="60539" y="482530"/>
                        </a:lnTo>
                        <a:lnTo>
                          <a:pt x="62954" y="471306"/>
                        </a:lnTo>
                        <a:lnTo>
                          <a:pt x="68196" y="471937"/>
                        </a:lnTo>
                        <a:lnTo>
                          <a:pt x="69019" y="468562"/>
                        </a:lnTo>
                        <a:lnTo>
                          <a:pt x="73273" y="469632"/>
                        </a:lnTo>
                        <a:lnTo>
                          <a:pt x="82384" y="465872"/>
                        </a:lnTo>
                        <a:lnTo>
                          <a:pt x="83564" y="462743"/>
                        </a:lnTo>
                        <a:lnTo>
                          <a:pt x="84470" y="456898"/>
                        </a:lnTo>
                        <a:lnTo>
                          <a:pt x="90232" y="457859"/>
                        </a:lnTo>
                        <a:lnTo>
                          <a:pt x="94239" y="449900"/>
                        </a:lnTo>
                        <a:lnTo>
                          <a:pt x="95227" y="447952"/>
                        </a:lnTo>
                        <a:lnTo>
                          <a:pt x="96819" y="444796"/>
                        </a:lnTo>
                        <a:lnTo>
                          <a:pt x="101429" y="435575"/>
                        </a:lnTo>
                        <a:lnTo>
                          <a:pt x="110814" y="424845"/>
                        </a:lnTo>
                        <a:lnTo>
                          <a:pt x="118911" y="405799"/>
                        </a:lnTo>
                        <a:lnTo>
                          <a:pt x="130903" y="399817"/>
                        </a:lnTo>
                        <a:lnTo>
                          <a:pt x="138202" y="400201"/>
                        </a:lnTo>
                        <a:lnTo>
                          <a:pt x="141057" y="395206"/>
                        </a:lnTo>
                        <a:lnTo>
                          <a:pt x="138807" y="381101"/>
                        </a:lnTo>
                        <a:lnTo>
                          <a:pt x="139163" y="360683"/>
                        </a:lnTo>
                        <a:lnTo>
                          <a:pt x="133400" y="351435"/>
                        </a:lnTo>
                        <a:lnTo>
                          <a:pt x="121792" y="347236"/>
                        </a:lnTo>
                        <a:lnTo>
                          <a:pt x="118032" y="341555"/>
                        </a:lnTo>
                        <a:lnTo>
                          <a:pt x="106643" y="338262"/>
                        </a:lnTo>
                        <a:lnTo>
                          <a:pt x="106039" y="335216"/>
                        </a:lnTo>
                        <a:lnTo>
                          <a:pt x="104914" y="327697"/>
                        </a:lnTo>
                        <a:lnTo>
                          <a:pt x="98822" y="311368"/>
                        </a:lnTo>
                        <a:lnTo>
                          <a:pt x="93690" y="307224"/>
                        </a:lnTo>
                        <a:lnTo>
                          <a:pt x="91632" y="300857"/>
                        </a:lnTo>
                        <a:lnTo>
                          <a:pt x="91961" y="288398"/>
                        </a:lnTo>
                        <a:lnTo>
                          <a:pt x="97532" y="280303"/>
                        </a:lnTo>
                        <a:lnTo>
                          <a:pt x="100523" y="260434"/>
                        </a:lnTo>
                        <a:lnTo>
                          <a:pt x="88696" y="233951"/>
                        </a:lnTo>
                        <a:lnTo>
                          <a:pt x="89574" y="228435"/>
                        </a:lnTo>
                        <a:lnTo>
                          <a:pt x="93443" y="225060"/>
                        </a:lnTo>
                        <a:lnTo>
                          <a:pt x="93745" y="215894"/>
                        </a:lnTo>
                        <a:lnTo>
                          <a:pt x="84552" y="211366"/>
                        </a:lnTo>
                        <a:lnTo>
                          <a:pt x="87900" y="202913"/>
                        </a:lnTo>
                        <a:lnTo>
                          <a:pt x="86363" y="184883"/>
                        </a:lnTo>
                        <a:lnTo>
                          <a:pt x="90397" y="177446"/>
                        </a:lnTo>
                        <a:lnTo>
                          <a:pt x="89958" y="173577"/>
                        </a:lnTo>
                        <a:lnTo>
                          <a:pt x="80764" y="160487"/>
                        </a:lnTo>
                        <a:lnTo>
                          <a:pt x="76950" y="159499"/>
                        </a:lnTo>
                        <a:lnTo>
                          <a:pt x="73437" y="147314"/>
                        </a:lnTo>
                        <a:lnTo>
                          <a:pt x="53212" y="133730"/>
                        </a:lnTo>
                        <a:lnTo>
                          <a:pt x="44540" y="132906"/>
                        </a:lnTo>
                        <a:lnTo>
                          <a:pt x="28952" y="117044"/>
                        </a:lnTo>
                        <a:lnTo>
                          <a:pt x="11252" y="98905"/>
                        </a:lnTo>
                        <a:lnTo>
                          <a:pt x="6888" y="89135"/>
                        </a:lnTo>
                        <a:lnTo>
                          <a:pt x="0" y="86144"/>
                        </a:lnTo>
                        <a:lnTo>
                          <a:pt x="5269" y="82439"/>
                        </a:lnTo>
                        <a:lnTo>
                          <a:pt x="13859" y="85951"/>
                        </a:lnTo>
                        <a:lnTo>
                          <a:pt x="15423" y="81725"/>
                        </a:lnTo>
                        <a:lnTo>
                          <a:pt x="13639" y="75907"/>
                        </a:lnTo>
                        <a:lnTo>
                          <a:pt x="14463" y="71434"/>
                        </a:lnTo>
                        <a:lnTo>
                          <a:pt x="21817" y="65506"/>
                        </a:lnTo>
                        <a:lnTo>
                          <a:pt x="28952" y="67510"/>
                        </a:lnTo>
                        <a:lnTo>
                          <a:pt x="31038" y="68113"/>
                        </a:lnTo>
                        <a:lnTo>
                          <a:pt x="33453" y="71434"/>
                        </a:lnTo>
                        <a:lnTo>
                          <a:pt x="42180" y="85073"/>
                        </a:lnTo>
                        <a:lnTo>
                          <a:pt x="54392" y="113285"/>
                        </a:lnTo>
                        <a:lnTo>
                          <a:pt x="77910" y="120502"/>
                        </a:lnTo>
                        <a:lnTo>
                          <a:pt x="91056" y="114931"/>
                        </a:lnTo>
                        <a:lnTo>
                          <a:pt x="95337" y="106122"/>
                        </a:lnTo>
                        <a:lnTo>
                          <a:pt x="99096" y="104832"/>
                        </a:lnTo>
                        <a:lnTo>
                          <a:pt x="126951" y="125140"/>
                        </a:lnTo>
                        <a:lnTo>
                          <a:pt x="133675" y="120036"/>
                        </a:lnTo>
                        <a:lnTo>
                          <a:pt x="137654" y="104750"/>
                        </a:lnTo>
                        <a:lnTo>
                          <a:pt x="150333" y="97121"/>
                        </a:lnTo>
                        <a:lnTo>
                          <a:pt x="152830" y="88778"/>
                        </a:lnTo>
                        <a:lnTo>
                          <a:pt x="151622" y="71407"/>
                        </a:lnTo>
                        <a:lnTo>
                          <a:pt x="153132" y="63668"/>
                        </a:lnTo>
                        <a:lnTo>
                          <a:pt x="154915" y="60622"/>
                        </a:lnTo>
                        <a:lnTo>
                          <a:pt x="154696" y="55380"/>
                        </a:lnTo>
                        <a:lnTo>
                          <a:pt x="157770" y="44046"/>
                        </a:lnTo>
                        <a:lnTo>
                          <a:pt x="159608" y="32794"/>
                        </a:lnTo>
                        <a:lnTo>
                          <a:pt x="174674" y="12404"/>
                        </a:lnTo>
                        <a:lnTo>
                          <a:pt x="191799" y="14133"/>
                        </a:lnTo>
                        <a:lnTo>
                          <a:pt x="208731" y="878"/>
                        </a:lnTo>
                        <a:lnTo>
                          <a:pt x="217266" y="5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88" name="Freeform: Shape 2987">
                    <a:extLst>
                      <a:ext uri="{FF2B5EF4-FFF2-40B4-BE49-F238E27FC236}">
                        <a16:creationId xmlns:a16="http://schemas.microsoft.com/office/drawing/2014/main" id="{A593C225-E2DF-7D8A-34C6-01B3B301E72D}"/>
                      </a:ext>
                    </a:extLst>
                  </p:cNvPr>
                  <p:cNvSpPr/>
                  <p:nvPr/>
                </p:nvSpPr>
                <p:spPr>
                  <a:xfrm>
                    <a:off x="-5711904" y="2633702"/>
                    <a:ext cx="21981" cy="23655"/>
                  </a:xfrm>
                  <a:custGeom>
                    <a:avLst/>
                    <a:gdLst>
                      <a:gd name="connsiteX0" fmla="*/ 20527 w 21981"/>
                      <a:gd name="connsiteY0" fmla="*/ 7684 h 23655"/>
                      <a:gd name="connsiteX1" fmla="*/ 18387 w 21981"/>
                      <a:gd name="connsiteY1" fmla="*/ 13996 h 23655"/>
                      <a:gd name="connsiteX2" fmla="*/ 14545 w 21981"/>
                      <a:gd name="connsiteY2" fmla="*/ 12679 h 23655"/>
                      <a:gd name="connsiteX3" fmla="*/ 14764 w 21981"/>
                      <a:gd name="connsiteY3" fmla="*/ 16960 h 23655"/>
                      <a:gd name="connsiteX4" fmla="*/ 18387 w 21981"/>
                      <a:gd name="connsiteY4" fmla="*/ 19320 h 23655"/>
                      <a:gd name="connsiteX5" fmla="*/ 21076 w 21981"/>
                      <a:gd name="connsiteY5" fmla="*/ 14600 h 23655"/>
                      <a:gd name="connsiteX6" fmla="*/ 21982 w 21981"/>
                      <a:gd name="connsiteY6" fmla="*/ 18744 h 23655"/>
                      <a:gd name="connsiteX7" fmla="*/ 18387 w 21981"/>
                      <a:gd name="connsiteY7" fmla="*/ 23656 h 23655"/>
                      <a:gd name="connsiteX8" fmla="*/ 384 w 21981"/>
                      <a:gd name="connsiteY8" fmla="*/ 13063 h 23655"/>
                      <a:gd name="connsiteX9" fmla="*/ 0 w 21981"/>
                      <a:gd name="connsiteY9" fmla="*/ 11965 h 23655"/>
                      <a:gd name="connsiteX10" fmla="*/ 3759 w 21981"/>
                      <a:gd name="connsiteY10" fmla="*/ 7053 h 23655"/>
                      <a:gd name="connsiteX11" fmla="*/ 4418 w 21981"/>
                      <a:gd name="connsiteY11" fmla="*/ 2607 h 23655"/>
                      <a:gd name="connsiteX12" fmla="*/ 8288 w 21981"/>
                      <a:gd name="connsiteY12" fmla="*/ 9797 h 23655"/>
                      <a:gd name="connsiteX13" fmla="*/ 9358 w 21981"/>
                      <a:gd name="connsiteY13" fmla="*/ 0 h 23655"/>
                      <a:gd name="connsiteX14" fmla="*/ 18387 w 21981"/>
                      <a:gd name="connsiteY14" fmla="*/ 3897 h 23655"/>
                      <a:gd name="connsiteX15" fmla="*/ 20527 w 21981"/>
                      <a:gd name="connsiteY15" fmla="*/ 7739 h 2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81" h="23655">
                        <a:moveTo>
                          <a:pt x="20527" y="7684"/>
                        </a:moveTo>
                        <a:lnTo>
                          <a:pt x="18387" y="13996"/>
                        </a:lnTo>
                        <a:lnTo>
                          <a:pt x="14545" y="12679"/>
                        </a:lnTo>
                        <a:lnTo>
                          <a:pt x="14764" y="16960"/>
                        </a:lnTo>
                        <a:lnTo>
                          <a:pt x="18387" y="19320"/>
                        </a:lnTo>
                        <a:lnTo>
                          <a:pt x="21076" y="14600"/>
                        </a:lnTo>
                        <a:lnTo>
                          <a:pt x="21982" y="18744"/>
                        </a:lnTo>
                        <a:lnTo>
                          <a:pt x="18387" y="23656"/>
                        </a:lnTo>
                        <a:lnTo>
                          <a:pt x="384" y="13063"/>
                        </a:lnTo>
                        <a:lnTo>
                          <a:pt x="0" y="11965"/>
                        </a:lnTo>
                        <a:lnTo>
                          <a:pt x="3759" y="7053"/>
                        </a:lnTo>
                        <a:lnTo>
                          <a:pt x="4418" y="2607"/>
                        </a:lnTo>
                        <a:lnTo>
                          <a:pt x="8288" y="9797"/>
                        </a:lnTo>
                        <a:lnTo>
                          <a:pt x="9358" y="0"/>
                        </a:lnTo>
                        <a:lnTo>
                          <a:pt x="18387" y="3897"/>
                        </a:lnTo>
                        <a:lnTo>
                          <a:pt x="20527" y="773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89" name="Freeform: Shape 2988">
                    <a:extLst>
                      <a:ext uri="{FF2B5EF4-FFF2-40B4-BE49-F238E27FC236}">
                        <a16:creationId xmlns:a16="http://schemas.microsoft.com/office/drawing/2014/main" id="{7F3E80C6-BC17-4D3E-2840-8A3435CAF905}"/>
                      </a:ext>
                    </a:extLst>
                  </p:cNvPr>
                  <p:cNvSpPr/>
                  <p:nvPr/>
                </p:nvSpPr>
                <p:spPr>
                  <a:xfrm>
                    <a:off x="-5665278" y="2447831"/>
                    <a:ext cx="8946" cy="14297"/>
                  </a:xfrm>
                  <a:custGeom>
                    <a:avLst/>
                    <a:gdLst>
                      <a:gd name="connsiteX0" fmla="*/ 8919 w 8946"/>
                      <a:gd name="connsiteY0" fmla="*/ 12212 h 14297"/>
                      <a:gd name="connsiteX1" fmla="*/ 4445 w 8946"/>
                      <a:gd name="connsiteY1" fmla="*/ 14298 h 14297"/>
                      <a:gd name="connsiteX2" fmla="*/ 0 w 8946"/>
                      <a:gd name="connsiteY2" fmla="*/ 7163 h 14297"/>
                      <a:gd name="connsiteX3" fmla="*/ 2992 w 8946"/>
                      <a:gd name="connsiteY3" fmla="*/ 0 h 14297"/>
                      <a:gd name="connsiteX4" fmla="*/ 7767 w 8946"/>
                      <a:gd name="connsiteY4" fmla="*/ 1839 h 14297"/>
                      <a:gd name="connsiteX5" fmla="*/ 7135 w 8946"/>
                      <a:gd name="connsiteY5" fmla="*/ 4528 h 14297"/>
                      <a:gd name="connsiteX6" fmla="*/ 8946 w 8946"/>
                      <a:gd name="connsiteY6" fmla="*/ 12240 h 1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 h="14297">
                        <a:moveTo>
                          <a:pt x="8919" y="12212"/>
                        </a:moveTo>
                        <a:lnTo>
                          <a:pt x="4445" y="14298"/>
                        </a:lnTo>
                        <a:lnTo>
                          <a:pt x="0" y="7163"/>
                        </a:lnTo>
                        <a:lnTo>
                          <a:pt x="2992" y="0"/>
                        </a:lnTo>
                        <a:lnTo>
                          <a:pt x="7767" y="1839"/>
                        </a:lnTo>
                        <a:lnTo>
                          <a:pt x="7135" y="4528"/>
                        </a:lnTo>
                        <a:lnTo>
                          <a:pt x="8946" y="1224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0" name="Freeform: Shape 2989">
                    <a:extLst>
                      <a:ext uri="{FF2B5EF4-FFF2-40B4-BE49-F238E27FC236}">
                        <a16:creationId xmlns:a16="http://schemas.microsoft.com/office/drawing/2014/main" id="{9A83F618-1BD5-B1C2-CB78-8CBC30392152}"/>
                      </a:ext>
                    </a:extLst>
                  </p:cNvPr>
                  <p:cNvSpPr/>
                  <p:nvPr/>
                </p:nvSpPr>
                <p:spPr>
                  <a:xfrm>
                    <a:off x="-5687699" y="2650360"/>
                    <a:ext cx="7244" cy="9412"/>
                  </a:xfrm>
                  <a:custGeom>
                    <a:avLst/>
                    <a:gdLst>
                      <a:gd name="connsiteX0" fmla="*/ 7217 w 7244"/>
                      <a:gd name="connsiteY0" fmla="*/ 5159 h 9412"/>
                      <a:gd name="connsiteX1" fmla="*/ 4308 w 7244"/>
                      <a:gd name="connsiteY1" fmla="*/ 9413 h 9412"/>
                      <a:gd name="connsiteX2" fmla="*/ 0 w 7244"/>
                      <a:gd name="connsiteY2" fmla="*/ 6669 h 9412"/>
                      <a:gd name="connsiteX3" fmla="*/ 2717 w 7244"/>
                      <a:gd name="connsiteY3" fmla="*/ 2305 h 9412"/>
                      <a:gd name="connsiteX4" fmla="*/ 2854 w 7244"/>
                      <a:gd name="connsiteY4" fmla="*/ 0 h 9412"/>
                      <a:gd name="connsiteX5" fmla="*/ 7025 w 7244"/>
                      <a:gd name="connsiteY5" fmla="*/ 1564 h 9412"/>
                      <a:gd name="connsiteX6" fmla="*/ 7245 w 7244"/>
                      <a:gd name="connsiteY6" fmla="*/ 5187 h 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44" h="9412">
                        <a:moveTo>
                          <a:pt x="7217" y="5159"/>
                        </a:moveTo>
                        <a:lnTo>
                          <a:pt x="4308" y="9413"/>
                        </a:lnTo>
                        <a:lnTo>
                          <a:pt x="0" y="6669"/>
                        </a:lnTo>
                        <a:lnTo>
                          <a:pt x="2717" y="2305"/>
                        </a:lnTo>
                        <a:lnTo>
                          <a:pt x="2854" y="0"/>
                        </a:lnTo>
                        <a:lnTo>
                          <a:pt x="7025" y="1564"/>
                        </a:lnTo>
                        <a:lnTo>
                          <a:pt x="7245" y="518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1" name="Freeform: Shape 2990">
                    <a:extLst>
                      <a:ext uri="{FF2B5EF4-FFF2-40B4-BE49-F238E27FC236}">
                        <a16:creationId xmlns:a16="http://schemas.microsoft.com/office/drawing/2014/main" id="{E204EC90-CD91-F232-AA34-DF1BD34DC6D7}"/>
                      </a:ext>
                    </a:extLst>
                  </p:cNvPr>
                  <p:cNvSpPr/>
                  <p:nvPr/>
                </p:nvSpPr>
                <p:spPr>
                  <a:xfrm>
                    <a:off x="-5652654" y="2632467"/>
                    <a:ext cx="5351" cy="12321"/>
                  </a:xfrm>
                  <a:custGeom>
                    <a:avLst/>
                    <a:gdLst>
                      <a:gd name="connsiteX0" fmla="*/ 4610 w 5351"/>
                      <a:gd name="connsiteY0" fmla="*/ 11252 h 12321"/>
                      <a:gd name="connsiteX1" fmla="*/ 0 w 5351"/>
                      <a:gd name="connsiteY1" fmla="*/ 12322 h 12321"/>
                      <a:gd name="connsiteX2" fmla="*/ 0 w 5351"/>
                      <a:gd name="connsiteY2" fmla="*/ 9331 h 12321"/>
                      <a:gd name="connsiteX3" fmla="*/ 2332 w 5351"/>
                      <a:gd name="connsiteY3" fmla="*/ 7821 h 12321"/>
                      <a:gd name="connsiteX4" fmla="*/ 2003 w 5351"/>
                      <a:gd name="connsiteY4" fmla="*/ 5516 h 12321"/>
                      <a:gd name="connsiteX5" fmla="*/ 3211 w 5351"/>
                      <a:gd name="connsiteY5" fmla="*/ 0 h 12321"/>
                      <a:gd name="connsiteX6" fmla="*/ 5351 w 5351"/>
                      <a:gd name="connsiteY6" fmla="*/ 4281 h 12321"/>
                      <a:gd name="connsiteX7" fmla="*/ 3567 w 5351"/>
                      <a:gd name="connsiteY7" fmla="*/ 8727 h 12321"/>
                      <a:gd name="connsiteX8" fmla="*/ 4583 w 5351"/>
                      <a:gd name="connsiteY8" fmla="*/ 11252 h 12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51" h="12321">
                        <a:moveTo>
                          <a:pt x="4610" y="11252"/>
                        </a:moveTo>
                        <a:lnTo>
                          <a:pt x="0" y="12322"/>
                        </a:lnTo>
                        <a:lnTo>
                          <a:pt x="0" y="9331"/>
                        </a:lnTo>
                        <a:lnTo>
                          <a:pt x="2332" y="7821"/>
                        </a:lnTo>
                        <a:lnTo>
                          <a:pt x="2003" y="5516"/>
                        </a:lnTo>
                        <a:lnTo>
                          <a:pt x="3211" y="0"/>
                        </a:lnTo>
                        <a:lnTo>
                          <a:pt x="5351" y="4281"/>
                        </a:lnTo>
                        <a:lnTo>
                          <a:pt x="3567" y="8727"/>
                        </a:lnTo>
                        <a:lnTo>
                          <a:pt x="4583" y="1125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2" name="Freeform: Shape 2991">
                    <a:extLst>
                      <a:ext uri="{FF2B5EF4-FFF2-40B4-BE49-F238E27FC236}">
                        <a16:creationId xmlns:a16="http://schemas.microsoft.com/office/drawing/2014/main" id="{2E5A99F0-4CB9-D0CA-4A0F-0E43B619A4AD}"/>
                      </a:ext>
                    </a:extLst>
                  </p:cNvPr>
                  <p:cNvSpPr/>
                  <p:nvPr/>
                </p:nvSpPr>
                <p:spPr>
                  <a:xfrm>
                    <a:off x="-5642528" y="2644103"/>
                    <a:ext cx="6860" cy="8260"/>
                  </a:xfrm>
                  <a:custGeom>
                    <a:avLst/>
                    <a:gdLst>
                      <a:gd name="connsiteX0" fmla="*/ 5214 w 6860"/>
                      <a:gd name="connsiteY0" fmla="*/ 0 h 8260"/>
                      <a:gd name="connsiteX1" fmla="*/ 6861 w 6860"/>
                      <a:gd name="connsiteY1" fmla="*/ 2936 h 8260"/>
                      <a:gd name="connsiteX2" fmla="*/ 6476 w 6860"/>
                      <a:gd name="connsiteY2" fmla="*/ 5269 h 8260"/>
                      <a:gd name="connsiteX3" fmla="*/ 1838 w 6860"/>
                      <a:gd name="connsiteY3" fmla="*/ 8260 h 8260"/>
                      <a:gd name="connsiteX4" fmla="*/ 0 w 6860"/>
                      <a:gd name="connsiteY4" fmla="*/ 6285 h 8260"/>
                      <a:gd name="connsiteX5" fmla="*/ 878 w 6860"/>
                      <a:gd name="connsiteY5" fmla="*/ 5653 h 8260"/>
                      <a:gd name="connsiteX6" fmla="*/ 878 w 6860"/>
                      <a:gd name="connsiteY6" fmla="*/ 27 h 8260"/>
                      <a:gd name="connsiteX7" fmla="*/ 3430 w 6860"/>
                      <a:gd name="connsiteY7" fmla="*/ 1894 h 8260"/>
                      <a:gd name="connsiteX8" fmla="*/ 5241 w 6860"/>
                      <a:gd name="connsiteY8" fmla="*/ 27 h 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60" h="8260">
                        <a:moveTo>
                          <a:pt x="5214" y="0"/>
                        </a:moveTo>
                        <a:lnTo>
                          <a:pt x="6861" y="2936"/>
                        </a:lnTo>
                        <a:lnTo>
                          <a:pt x="6476" y="5269"/>
                        </a:lnTo>
                        <a:lnTo>
                          <a:pt x="1838" y="8260"/>
                        </a:lnTo>
                        <a:lnTo>
                          <a:pt x="0" y="6285"/>
                        </a:lnTo>
                        <a:lnTo>
                          <a:pt x="878" y="5653"/>
                        </a:lnTo>
                        <a:lnTo>
                          <a:pt x="878" y="27"/>
                        </a:lnTo>
                        <a:lnTo>
                          <a:pt x="3430" y="1894"/>
                        </a:lnTo>
                        <a:lnTo>
                          <a:pt x="5241" y="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3" name="Freeform: Shape 2992">
                    <a:extLst>
                      <a:ext uri="{FF2B5EF4-FFF2-40B4-BE49-F238E27FC236}">
                        <a16:creationId xmlns:a16="http://schemas.microsoft.com/office/drawing/2014/main" id="{5B242224-ABD9-A49C-8455-4E8F8E3C0C78}"/>
                      </a:ext>
                    </a:extLst>
                  </p:cNvPr>
                  <p:cNvSpPr/>
                  <p:nvPr/>
                </p:nvSpPr>
                <p:spPr>
                  <a:xfrm>
                    <a:off x="-5665223" y="2634141"/>
                    <a:ext cx="5653" cy="8672"/>
                  </a:xfrm>
                  <a:custGeom>
                    <a:avLst/>
                    <a:gdLst>
                      <a:gd name="connsiteX0" fmla="*/ 2223 w 5653"/>
                      <a:gd name="connsiteY0" fmla="*/ 0 h 8672"/>
                      <a:gd name="connsiteX1" fmla="*/ 3403 w 5653"/>
                      <a:gd name="connsiteY1" fmla="*/ 3760 h 8672"/>
                      <a:gd name="connsiteX2" fmla="*/ 4720 w 5653"/>
                      <a:gd name="connsiteY2" fmla="*/ 1372 h 8672"/>
                      <a:gd name="connsiteX3" fmla="*/ 5653 w 5653"/>
                      <a:gd name="connsiteY3" fmla="*/ 7190 h 8672"/>
                      <a:gd name="connsiteX4" fmla="*/ 4199 w 5653"/>
                      <a:gd name="connsiteY4" fmla="*/ 8672 h 8672"/>
                      <a:gd name="connsiteX5" fmla="*/ 220 w 5653"/>
                      <a:gd name="connsiteY5" fmla="*/ 5598 h 8672"/>
                      <a:gd name="connsiteX6" fmla="*/ 0 w 5653"/>
                      <a:gd name="connsiteY6" fmla="*/ 1619 h 8672"/>
                      <a:gd name="connsiteX7" fmla="*/ 2196 w 5653"/>
                      <a:gd name="connsiteY7" fmla="*/ 0 h 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53" h="8672">
                        <a:moveTo>
                          <a:pt x="2223" y="0"/>
                        </a:moveTo>
                        <a:lnTo>
                          <a:pt x="3403" y="3760"/>
                        </a:lnTo>
                        <a:lnTo>
                          <a:pt x="4720" y="1372"/>
                        </a:lnTo>
                        <a:lnTo>
                          <a:pt x="5653" y="7190"/>
                        </a:lnTo>
                        <a:lnTo>
                          <a:pt x="4199" y="8672"/>
                        </a:lnTo>
                        <a:lnTo>
                          <a:pt x="220" y="5598"/>
                        </a:lnTo>
                        <a:lnTo>
                          <a:pt x="0" y="1619"/>
                        </a:lnTo>
                        <a:lnTo>
                          <a:pt x="2196"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4" name="Freeform: Shape 2993">
                    <a:extLst>
                      <a:ext uri="{FF2B5EF4-FFF2-40B4-BE49-F238E27FC236}">
                        <a16:creationId xmlns:a16="http://schemas.microsoft.com/office/drawing/2014/main" id="{CD115AE2-A366-C495-73F1-E0F90E9B1AEB}"/>
                      </a:ext>
                    </a:extLst>
                  </p:cNvPr>
                  <p:cNvSpPr/>
                  <p:nvPr/>
                </p:nvSpPr>
                <p:spPr>
                  <a:xfrm>
                    <a:off x="-5648647" y="2645365"/>
                    <a:ext cx="4857" cy="6284"/>
                  </a:xfrm>
                  <a:custGeom>
                    <a:avLst/>
                    <a:gdLst>
                      <a:gd name="connsiteX0" fmla="*/ 4720 w 4857"/>
                      <a:gd name="connsiteY0" fmla="*/ 3101 h 6284"/>
                      <a:gd name="connsiteX1" fmla="*/ 2908 w 4857"/>
                      <a:gd name="connsiteY1" fmla="*/ 6284 h 6284"/>
                      <a:gd name="connsiteX2" fmla="*/ 0 w 4857"/>
                      <a:gd name="connsiteY2" fmla="*/ 4857 h 6284"/>
                      <a:gd name="connsiteX3" fmla="*/ 933 w 4857"/>
                      <a:gd name="connsiteY3" fmla="*/ 878 h 6284"/>
                      <a:gd name="connsiteX4" fmla="*/ 4857 w 4857"/>
                      <a:gd name="connsiteY4" fmla="*/ 0 h 6284"/>
                      <a:gd name="connsiteX5" fmla="*/ 4693 w 4857"/>
                      <a:gd name="connsiteY5" fmla="*/ 3074 h 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 h="6284">
                        <a:moveTo>
                          <a:pt x="4720" y="3101"/>
                        </a:moveTo>
                        <a:lnTo>
                          <a:pt x="2908" y="6284"/>
                        </a:lnTo>
                        <a:lnTo>
                          <a:pt x="0" y="4857"/>
                        </a:lnTo>
                        <a:lnTo>
                          <a:pt x="933" y="878"/>
                        </a:lnTo>
                        <a:lnTo>
                          <a:pt x="4857" y="0"/>
                        </a:lnTo>
                        <a:lnTo>
                          <a:pt x="4693" y="307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5" name="Freeform: Shape 2994">
                    <a:extLst>
                      <a:ext uri="{FF2B5EF4-FFF2-40B4-BE49-F238E27FC236}">
                        <a16:creationId xmlns:a16="http://schemas.microsoft.com/office/drawing/2014/main" id="{EFE13043-5F69-A02A-EAA0-D4EA8301B9FC}"/>
                      </a:ext>
                    </a:extLst>
                  </p:cNvPr>
                  <p:cNvSpPr/>
                  <p:nvPr/>
                </p:nvSpPr>
                <p:spPr>
                  <a:xfrm>
                    <a:off x="-5677792" y="2462650"/>
                    <a:ext cx="4088" cy="8013"/>
                  </a:xfrm>
                  <a:custGeom>
                    <a:avLst/>
                    <a:gdLst>
                      <a:gd name="connsiteX0" fmla="*/ 4089 w 4088"/>
                      <a:gd name="connsiteY0" fmla="*/ 1125 h 8013"/>
                      <a:gd name="connsiteX1" fmla="*/ 1372 w 4088"/>
                      <a:gd name="connsiteY1" fmla="*/ 8013 h 8013"/>
                      <a:gd name="connsiteX2" fmla="*/ 0 w 4088"/>
                      <a:gd name="connsiteY2" fmla="*/ 6779 h 8013"/>
                      <a:gd name="connsiteX3" fmla="*/ 1729 w 4088"/>
                      <a:gd name="connsiteY3" fmla="*/ 0 h 8013"/>
                      <a:gd name="connsiteX4" fmla="*/ 4089 w 4088"/>
                      <a:gd name="connsiteY4" fmla="*/ 1125 h 8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8013">
                        <a:moveTo>
                          <a:pt x="4089" y="1125"/>
                        </a:moveTo>
                        <a:lnTo>
                          <a:pt x="1372" y="8013"/>
                        </a:lnTo>
                        <a:lnTo>
                          <a:pt x="0" y="6779"/>
                        </a:lnTo>
                        <a:lnTo>
                          <a:pt x="1729" y="0"/>
                        </a:lnTo>
                        <a:lnTo>
                          <a:pt x="4089" y="112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6" name="Freeform: Shape 2995">
                    <a:extLst>
                      <a:ext uri="{FF2B5EF4-FFF2-40B4-BE49-F238E27FC236}">
                        <a16:creationId xmlns:a16="http://schemas.microsoft.com/office/drawing/2014/main" id="{F2B5C68A-2EAA-60E2-E7B1-F2BF13F6DB10}"/>
                      </a:ext>
                    </a:extLst>
                  </p:cNvPr>
                  <p:cNvSpPr/>
                  <p:nvPr/>
                </p:nvSpPr>
                <p:spPr>
                  <a:xfrm>
                    <a:off x="-5670383" y="2630025"/>
                    <a:ext cx="3457" cy="8726"/>
                  </a:xfrm>
                  <a:custGeom>
                    <a:avLst/>
                    <a:gdLst>
                      <a:gd name="connsiteX0" fmla="*/ 3458 w 3457"/>
                      <a:gd name="connsiteY0" fmla="*/ 4199 h 8726"/>
                      <a:gd name="connsiteX1" fmla="*/ 1894 w 3457"/>
                      <a:gd name="connsiteY1" fmla="*/ 8727 h 8726"/>
                      <a:gd name="connsiteX2" fmla="*/ 0 w 3457"/>
                      <a:gd name="connsiteY2" fmla="*/ 2827 h 8726"/>
                      <a:gd name="connsiteX3" fmla="*/ 631 w 3457"/>
                      <a:gd name="connsiteY3" fmla="*/ 0 h 8726"/>
                      <a:gd name="connsiteX4" fmla="*/ 3458 w 3457"/>
                      <a:gd name="connsiteY4" fmla="*/ 4199 h 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8726">
                        <a:moveTo>
                          <a:pt x="3458" y="4199"/>
                        </a:moveTo>
                        <a:lnTo>
                          <a:pt x="1894" y="8727"/>
                        </a:lnTo>
                        <a:lnTo>
                          <a:pt x="0" y="2827"/>
                        </a:lnTo>
                        <a:lnTo>
                          <a:pt x="631" y="0"/>
                        </a:lnTo>
                        <a:lnTo>
                          <a:pt x="3458" y="419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7" name="Freeform: Shape 2996">
                    <a:extLst>
                      <a:ext uri="{FF2B5EF4-FFF2-40B4-BE49-F238E27FC236}">
                        <a16:creationId xmlns:a16="http://schemas.microsoft.com/office/drawing/2014/main" id="{92A14BC3-AA93-4551-AD52-947CB123DD85}"/>
                      </a:ext>
                    </a:extLst>
                  </p:cNvPr>
                  <p:cNvSpPr/>
                  <p:nvPr/>
                </p:nvSpPr>
                <p:spPr>
                  <a:xfrm>
                    <a:off x="-5654301" y="2647094"/>
                    <a:ext cx="4939" cy="5598"/>
                  </a:xfrm>
                  <a:custGeom>
                    <a:avLst/>
                    <a:gdLst>
                      <a:gd name="connsiteX0" fmla="*/ 4940 w 4939"/>
                      <a:gd name="connsiteY0" fmla="*/ 4967 h 5598"/>
                      <a:gd name="connsiteX1" fmla="*/ 1097 w 4939"/>
                      <a:gd name="connsiteY1" fmla="*/ 5598 h 5598"/>
                      <a:gd name="connsiteX2" fmla="*/ 0 w 4939"/>
                      <a:gd name="connsiteY2" fmla="*/ 2552 h 5598"/>
                      <a:gd name="connsiteX3" fmla="*/ 2278 w 4939"/>
                      <a:gd name="connsiteY3" fmla="*/ 0 h 5598"/>
                      <a:gd name="connsiteX4" fmla="*/ 4116 w 4939"/>
                      <a:gd name="connsiteY4" fmla="*/ 933 h 5598"/>
                      <a:gd name="connsiteX5" fmla="*/ 4912 w 4939"/>
                      <a:gd name="connsiteY5" fmla="*/ 4940 h 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9" h="5598">
                        <a:moveTo>
                          <a:pt x="4940" y="4967"/>
                        </a:moveTo>
                        <a:lnTo>
                          <a:pt x="1097" y="5598"/>
                        </a:lnTo>
                        <a:lnTo>
                          <a:pt x="0" y="2552"/>
                        </a:lnTo>
                        <a:lnTo>
                          <a:pt x="2278" y="0"/>
                        </a:lnTo>
                        <a:lnTo>
                          <a:pt x="4116" y="933"/>
                        </a:lnTo>
                        <a:lnTo>
                          <a:pt x="4912" y="494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8" name="Freeform: Shape 2997">
                    <a:extLst>
                      <a:ext uri="{FF2B5EF4-FFF2-40B4-BE49-F238E27FC236}">
                        <a16:creationId xmlns:a16="http://schemas.microsoft.com/office/drawing/2014/main" id="{94E4FBA2-C121-C796-01E1-E17DEE5AB8C0}"/>
                      </a:ext>
                    </a:extLst>
                  </p:cNvPr>
                  <p:cNvSpPr/>
                  <p:nvPr/>
                </p:nvSpPr>
                <p:spPr>
                  <a:xfrm>
                    <a:off x="-5689291" y="2637709"/>
                    <a:ext cx="3814" cy="6860"/>
                  </a:xfrm>
                  <a:custGeom>
                    <a:avLst/>
                    <a:gdLst>
                      <a:gd name="connsiteX0" fmla="*/ 3787 w 3814"/>
                      <a:gd name="connsiteY0" fmla="*/ 1619 h 6860"/>
                      <a:gd name="connsiteX1" fmla="*/ 3183 w 3814"/>
                      <a:gd name="connsiteY1" fmla="*/ 6861 h 6860"/>
                      <a:gd name="connsiteX2" fmla="*/ 0 w 3814"/>
                      <a:gd name="connsiteY2" fmla="*/ 5544 h 6860"/>
                      <a:gd name="connsiteX3" fmla="*/ 2579 w 3814"/>
                      <a:gd name="connsiteY3" fmla="*/ 0 h 6860"/>
                      <a:gd name="connsiteX4" fmla="*/ 3814 w 3814"/>
                      <a:gd name="connsiteY4" fmla="*/ 1647 h 6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6860">
                        <a:moveTo>
                          <a:pt x="3787" y="1619"/>
                        </a:moveTo>
                        <a:lnTo>
                          <a:pt x="3183" y="6861"/>
                        </a:lnTo>
                        <a:lnTo>
                          <a:pt x="0" y="5544"/>
                        </a:lnTo>
                        <a:lnTo>
                          <a:pt x="2579" y="0"/>
                        </a:lnTo>
                        <a:lnTo>
                          <a:pt x="3814" y="164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9" name="Freeform: Shape 2998">
                    <a:extLst>
                      <a:ext uri="{FF2B5EF4-FFF2-40B4-BE49-F238E27FC236}">
                        <a16:creationId xmlns:a16="http://schemas.microsoft.com/office/drawing/2014/main" id="{6E60313F-E0FD-3651-4BAA-1A70215BBF55}"/>
                      </a:ext>
                    </a:extLst>
                  </p:cNvPr>
                  <p:cNvSpPr/>
                  <p:nvPr/>
                </p:nvSpPr>
                <p:spPr>
                  <a:xfrm>
                    <a:off x="-5671370" y="2615864"/>
                    <a:ext cx="3128" cy="7656"/>
                  </a:xfrm>
                  <a:custGeom>
                    <a:avLst/>
                    <a:gdLst>
                      <a:gd name="connsiteX0" fmla="*/ 3128 w 3128"/>
                      <a:gd name="connsiteY0" fmla="*/ 1454 h 7656"/>
                      <a:gd name="connsiteX1" fmla="*/ 2168 w 3128"/>
                      <a:gd name="connsiteY1" fmla="*/ 7657 h 7656"/>
                      <a:gd name="connsiteX2" fmla="*/ 0 w 3128"/>
                      <a:gd name="connsiteY2" fmla="*/ 6092 h 7656"/>
                      <a:gd name="connsiteX3" fmla="*/ 1235 w 3128"/>
                      <a:gd name="connsiteY3" fmla="*/ 0 h 7656"/>
                      <a:gd name="connsiteX4" fmla="*/ 3128 w 3128"/>
                      <a:gd name="connsiteY4" fmla="*/ 1454 h 7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8" h="7656">
                        <a:moveTo>
                          <a:pt x="3128" y="1454"/>
                        </a:moveTo>
                        <a:lnTo>
                          <a:pt x="2168" y="7657"/>
                        </a:lnTo>
                        <a:lnTo>
                          <a:pt x="0" y="6092"/>
                        </a:lnTo>
                        <a:lnTo>
                          <a:pt x="1235" y="0"/>
                        </a:lnTo>
                        <a:lnTo>
                          <a:pt x="3128" y="145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0" name="Freeform: Shape 2999">
                    <a:extLst>
                      <a:ext uri="{FF2B5EF4-FFF2-40B4-BE49-F238E27FC236}">
                        <a16:creationId xmlns:a16="http://schemas.microsoft.com/office/drawing/2014/main" id="{F071F22C-BC38-6B25-E8A9-6D7A0AC87EBD}"/>
                      </a:ext>
                    </a:extLst>
                  </p:cNvPr>
                  <p:cNvSpPr/>
                  <p:nvPr/>
                </p:nvSpPr>
                <p:spPr>
                  <a:xfrm>
                    <a:off x="-5669065" y="2624756"/>
                    <a:ext cx="3457" cy="6421"/>
                  </a:xfrm>
                  <a:custGeom>
                    <a:avLst/>
                    <a:gdLst>
                      <a:gd name="connsiteX0" fmla="*/ 3458 w 3457"/>
                      <a:gd name="connsiteY0" fmla="*/ 1674 h 6421"/>
                      <a:gd name="connsiteX1" fmla="*/ 2882 w 3457"/>
                      <a:gd name="connsiteY1" fmla="*/ 6422 h 6421"/>
                      <a:gd name="connsiteX2" fmla="*/ 522 w 3457"/>
                      <a:gd name="connsiteY2" fmla="*/ 4720 h 6421"/>
                      <a:gd name="connsiteX3" fmla="*/ 0 w 3457"/>
                      <a:gd name="connsiteY3" fmla="*/ 1811 h 6421"/>
                      <a:gd name="connsiteX4" fmla="*/ 494 w 3457"/>
                      <a:gd name="connsiteY4" fmla="*/ 0 h 6421"/>
                      <a:gd name="connsiteX5" fmla="*/ 3458 w 3457"/>
                      <a:gd name="connsiteY5" fmla="*/ 1647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7" h="6421">
                        <a:moveTo>
                          <a:pt x="3458" y="1674"/>
                        </a:moveTo>
                        <a:lnTo>
                          <a:pt x="2882" y="6422"/>
                        </a:lnTo>
                        <a:lnTo>
                          <a:pt x="522" y="4720"/>
                        </a:lnTo>
                        <a:lnTo>
                          <a:pt x="0" y="1811"/>
                        </a:lnTo>
                        <a:lnTo>
                          <a:pt x="494" y="0"/>
                        </a:lnTo>
                        <a:lnTo>
                          <a:pt x="3458" y="164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1" name="Freeform: Shape 3000">
                    <a:extLst>
                      <a:ext uri="{FF2B5EF4-FFF2-40B4-BE49-F238E27FC236}">
                        <a16:creationId xmlns:a16="http://schemas.microsoft.com/office/drawing/2014/main" id="{73ADFD09-C17E-5277-9A95-48EBB5A70D93}"/>
                      </a:ext>
                    </a:extLst>
                  </p:cNvPr>
                  <p:cNvSpPr/>
                  <p:nvPr/>
                </p:nvSpPr>
                <p:spPr>
                  <a:xfrm>
                    <a:off x="-5678176" y="2639685"/>
                    <a:ext cx="4061" cy="5186"/>
                  </a:xfrm>
                  <a:custGeom>
                    <a:avLst/>
                    <a:gdLst>
                      <a:gd name="connsiteX0" fmla="*/ 3430 w 4061"/>
                      <a:gd name="connsiteY0" fmla="*/ 5159 h 5186"/>
                      <a:gd name="connsiteX1" fmla="*/ 466 w 4061"/>
                      <a:gd name="connsiteY1" fmla="*/ 5159 h 5186"/>
                      <a:gd name="connsiteX2" fmla="*/ 0 w 4061"/>
                      <a:gd name="connsiteY2" fmla="*/ 3129 h 5186"/>
                      <a:gd name="connsiteX3" fmla="*/ 1866 w 4061"/>
                      <a:gd name="connsiteY3" fmla="*/ 0 h 5186"/>
                      <a:gd name="connsiteX4" fmla="*/ 4062 w 4061"/>
                      <a:gd name="connsiteY4" fmla="*/ 2442 h 5186"/>
                      <a:gd name="connsiteX5" fmla="*/ 3403 w 4061"/>
                      <a:gd name="connsiteY5" fmla="*/ 5187 h 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1" h="5186">
                        <a:moveTo>
                          <a:pt x="3430" y="5159"/>
                        </a:moveTo>
                        <a:lnTo>
                          <a:pt x="466" y="5159"/>
                        </a:lnTo>
                        <a:lnTo>
                          <a:pt x="0" y="3129"/>
                        </a:lnTo>
                        <a:lnTo>
                          <a:pt x="1866" y="0"/>
                        </a:lnTo>
                        <a:lnTo>
                          <a:pt x="4062" y="2442"/>
                        </a:lnTo>
                        <a:lnTo>
                          <a:pt x="3403" y="518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2" name="Freeform: Shape 3001">
                    <a:extLst>
                      <a:ext uri="{FF2B5EF4-FFF2-40B4-BE49-F238E27FC236}">
                        <a16:creationId xmlns:a16="http://schemas.microsoft.com/office/drawing/2014/main" id="{F79C283B-6570-6919-16B7-CE8635924EB0}"/>
                      </a:ext>
                    </a:extLst>
                  </p:cNvPr>
                  <p:cNvSpPr/>
                  <p:nvPr/>
                </p:nvSpPr>
                <p:spPr>
                  <a:xfrm>
                    <a:off x="-5629327" y="2662737"/>
                    <a:ext cx="2606" cy="7135"/>
                  </a:xfrm>
                  <a:custGeom>
                    <a:avLst/>
                    <a:gdLst>
                      <a:gd name="connsiteX0" fmla="*/ 2607 w 2606"/>
                      <a:gd name="connsiteY0" fmla="*/ 6449 h 7135"/>
                      <a:gd name="connsiteX1" fmla="*/ 1015 w 2606"/>
                      <a:gd name="connsiteY1" fmla="*/ 7135 h 7135"/>
                      <a:gd name="connsiteX2" fmla="*/ 0 w 2606"/>
                      <a:gd name="connsiteY2" fmla="*/ 4610 h 7135"/>
                      <a:gd name="connsiteX3" fmla="*/ 850 w 2606"/>
                      <a:gd name="connsiteY3" fmla="*/ 384 h 7135"/>
                      <a:gd name="connsiteX4" fmla="*/ 2470 w 2606"/>
                      <a:gd name="connsiteY4" fmla="*/ 0 h 7135"/>
                      <a:gd name="connsiteX5" fmla="*/ 2607 w 2606"/>
                      <a:gd name="connsiteY5" fmla="*/ 6422 h 7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6" h="7135">
                        <a:moveTo>
                          <a:pt x="2607" y="6449"/>
                        </a:moveTo>
                        <a:lnTo>
                          <a:pt x="1015" y="7135"/>
                        </a:lnTo>
                        <a:lnTo>
                          <a:pt x="0" y="4610"/>
                        </a:lnTo>
                        <a:lnTo>
                          <a:pt x="850" y="384"/>
                        </a:lnTo>
                        <a:lnTo>
                          <a:pt x="2470" y="0"/>
                        </a:lnTo>
                        <a:lnTo>
                          <a:pt x="2607" y="642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3" name="Freeform: Shape 3002">
                    <a:extLst>
                      <a:ext uri="{FF2B5EF4-FFF2-40B4-BE49-F238E27FC236}">
                        <a16:creationId xmlns:a16="http://schemas.microsoft.com/office/drawing/2014/main" id="{BA5E1BA8-3401-4DBE-4075-DB081A81321C}"/>
                      </a:ext>
                    </a:extLst>
                  </p:cNvPr>
                  <p:cNvSpPr/>
                  <p:nvPr/>
                </p:nvSpPr>
                <p:spPr>
                  <a:xfrm>
                    <a:off x="-6506295" y="2515340"/>
                    <a:ext cx="22914" cy="25137"/>
                  </a:xfrm>
                  <a:custGeom>
                    <a:avLst/>
                    <a:gdLst>
                      <a:gd name="connsiteX0" fmla="*/ 15560 w 22914"/>
                      <a:gd name="connsiteY0" fmla="*/ 3156 h 25137"/>
                      <a:gd name="connsiteX1" fmla="*/ 17591 w 22914"/>
                      <a:gd name="connsiteY1" fmla="*/ 3677 h 25137"/>
                      <a:gd name="connsiteX2" fmla="*/ 19100 w 22914"/>
                      <a:gd name="connsiteY2" fmla="*/ 7108 h 25137"/>
                      <a:gd name="connsiteX3" fmla="*/ 21021 w 22914"/>
                      <a:gd name="connsiteY3" fmla="*/ 8123 h 25137"/>
                      <a:gd name="connsiteX4" fmla="*/ 22915 w 22914"/>
                      <a:gd name="connsiteY4" fmla="*/ 14133 h 25137"/>
                      <a:gd name="connsiteX5" fmla="*/ 22586 w 22914"/>
                      <a:gd name="connsiteY5" fmla="*/ 17756 h 25137"/>
                      <a:gd name="connsiteX6" fmla="*/ 19347 w 22914"/>
                      <a:gd name="connsiteY6" fmla="*/ 14600 h 25137"/>
                      <a:gd name="connsiteX7" fmla="*/ 19567 w 22914"/>
                      <a:gd name="connsiteY7" fmla="*/ 17920 h 25137"/>
                      <a:gd name="connsiteX8" fmla="*/ 21350 w 22914"/>
                      <a:gd name="connsiteY8" fmla="*/ 22558 h 25137"/>
                      <a:gd name="connsiteX9" fmla="*/ 20939 w 22914"/>
                      <a:gd name="connsiteY9" fmla="*/ 25138 h 25137"/>
                      <a:gd name="connsiteX10" fmla="*/ 14270 w 22914"/>
                      <a:gd name="connsiteY10" fmla="*/ 19045 h 25137"/>
                      <a:gd name="connsiteX11" fmla="*/ 12322 w 22914"/>
                      <a:gd name="connsiteY11" fmla="*/ 14078 h 25137"/>
                      <a:gd name="connsiteX12" fmla="*/ 11169 w 22914"/>
                      <a:gd name="connsiteY12" fmla="*/ 18332 h 25137"/>
                      <a:gd name="connsiteX13" fmla="*/ 7601 w 22914"/>
                      <a:gd name="connsiteY13" fmla="*/ 20006 h 25137"/>
                      <a:gd name="connsiteX14" fmla="*/ 4363 w 22914"/>
                      <a:gd name="connsiteY14" fmla="*/ 18387 h 25137"/>
                      <a:gd name="connsiteX15" fmla="*/ 4308 w 22914"/>
                      <a:gd name="connsiteY15" fmla="*/ 16713 h 25137"/>
                      <a:gd name="connsiteX16" fmla="*/ 0 w 22914"/>
                      <a:gd name="connsiteY16" fmla="*/ 16274 h 25137"/>
                      <a:gd name="connsiteX17" fmla="*/ 933 w 22914"/>
                      <a:gd name="connsiteY17" fmla="*/ 12514 h 25137"/>
                      <a:gd name="connsiteX18" fmla="*/ 3156 w 22914"/>
                      <a:gd name="connsiteY18" fmla="*/ 13529 h 25137"/>
                      <a:gd name="connsiteX19" fmla="*/ 5598 w 22914"/>
                      <a:gd name="connsiteY19" fmla="*/ 11691 h 25137"/>
                      <a:gd name="connsiteX20" fmla="*/ 7080 w 22914"/>
                      <a:gd name="connsiteY20" fmla="*/ 5818 h 25137"/>
                      <a:gd name="connsiteX21" fmla="*/ 7025 w 22914"/>
                      <a:gd name="connsiteY21" fmla="*/ 2689 h 25137"/>
                      <a:gd name="connsiteX22" fmla="*/ 11197 w 22914"/>
                      <a:gd name="connsiteY22" fmla="*/ 3266 h 25137"/>
                      <a:gd name="connsiteX23" fmla="*/ 14051 w 22914"/>
                      <a:gd name="connsiteY23" fmla="*/ 0 h 25137"/>
                      <a:gd name="connsiteX24" fmla="*/ 15560 w 22914"/>
                      <a:gd name="connsiteY24" fmla="*/ 3156 h 2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14" h="25137">
                        <a:moveTo>
                          <a:pt x="15560" y="3156"/>
                        </a:moveTo>
                        <a:lnTo>
                          <a:pt x="17591" y="3677"/>
                        </a:lnTo>
                        <a:lnTo>
                          <a:pt x="19100" y="7108"/>
                        </a:lnTo>
                        <a:lnTo>
                          <a:pt x="21021" y="8123"/>
                        </a:lnTo>
                        <a:lnTo>
                          <a:pt x="22915" y="14133"/>
                        </a:lnTo>
                        <a:lnTo>
                          <a:pt x="22586" y="17756"/>
                        </a:lnTo>
                        <a:lnTo>
                          <a:pt x="19347" y="14600"/>
                        </a:lnTo>
                        <a:lnTo>
                          <a:pt x="19567" y="17920"/>
                        </a:lnTo>
                        <a:lnTo>
                          <a:pt x="21350" y="22558"/>
                        </a:lnTo>
                        <a:lnTo>
                          <a:pt x="20939" y="25138"/>
                        </a:lnTo>
                        <a:lnTo>
                          <a:pt x="14270" y="19045"/>
                        </a:lnTo>
                        <a:lnTo>
                          <a:pt x="12322" y="14078"/>
                        </a:lnTo>
                        <a:lnTo>
                          <a:pt x="11169" y="18332"/>
                        </a:lnTo>
                        <a:lnTo>
                          <a:pt x="7601" y="20006"/>
                        </a:lnTo>
                        <a:lnTo>
                          <a:pt x="4363" y="18387"/>
                        </a:lnTo>
                        <a:lnTo>
                          <a:pt x="4308" y="16713"/>
                        </a:lnTo>
                        <a:lnTo>
                          <a:pt x="0" y="16274"/>
                        </a:lnTo>
                        <a:lnTo>
                          <a:pt x="933" y="12514"/>
                        </a:lnTo>
                        <a:lnTo>
                          <a:pt x="3156" y="13529"/>
                        </a:lnTo>
                        <a:lnTo>
                          <a:pt x="5598" y="11691"/>
                        </a:lnTo>
                        <a:lnTo>
                          <a:pt x="7080" y="5818"/>
                        </a:lnTo>
                        <a:lnTo>
                          <a:pt x="7025" y="2689"/>
                        </a:lnTo>
                        <a:lnTo>
                          <a:pt x="11197" y="3266"/>
                        </a:lnTo>
                        <a:lnTo>
                          <a:pt x="14051" y="0"/>
                        </a:lnTo>
                        <a:lnTo>
                          <a:pt x="15560" y="315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4" name="Freeform: Shape 3003">
                    <a:extLst>
                      <a:ext uri="{FF2B5EF4-FFF2-40B4-BE49-F238E27FC236}">
                        <a16:creationId xmlns:a16="http://schemas.microsoft.com/office/drawing/2014/main" id="{C2C64B23-4A22-3ABB-AA48-4383007BED0B}"/>
                      </a:ext>
                    </a:extLst>
                  </p:cNvPr>
                  <p:cNvSpPr/>
                  <p:nvPr/>
                </p:nvSpPr>
                <p:spPr>
                  <a:xfrm>
                    <a:off x="-6492794" y="2558371"/>
                    <a:ext cx="8973" cy="15258"/>
                  </a:xfrm>
                  <a:custGeom>
                    <a:avLst/>
                    <a:gdLst>
                      <a:gd name="connsiteX0" fmla="*/ 8837 w 8973"/>
                      <a:gd name="connsiteY0" fmla="*/ 10264 h 15258"/>
                      <a:gd name="connsiteX1" fmla="*/ 8974 w 8973"/>
                      <a:gd name="connsiteY1" fmla="*/ 15258 h 15258"/>
                      <a:gd name="connsiteX2" fmla="*/ 3842 w 8973"/>
                      <a:gd name="connsiteY2" fmla="*/ 11060 h 15258"/>
                      <a:gd name="connsiteX3" fmla="*/ 3320 w 8973"/>
                      <a:gd name="connsiteY3" fmla="*/ 7492 h 15258"/>
                      <a:gd name="connsiteX4" fmla="*/ 741 w 8973"/>
                      <a:gd name="connsiteY4" fmla="*/ 4501 h 15258"/>
                      <a:gd name="connsiteX5" fmla="*/ 0 w 8973"/>
                      <a:gd name="connsiteY5" fmla="*/ 1729 h 15258"/>
                      <a:gd name="connsiteX6" fmla="*/ 2278 w 8973"/>
                      <a:gd name="connsiteY6" fmla="*/ 0 h 15258"/>
                      <a:gd name="connsiteX7" fmla="*/ 5214 w 8973"/>
                      <a:gd name="connsiteY7" fmla="*/ 4446 h 15258"/>
                      <a:gd name="connsiteX8" fmla="*/ 7382 w 8973"/>
                      <a:gd name="connsiteY8" fmla="*/ 4912 h 15258"/>
                      <a:gd name="connsiteX9" fmla="*/ 8837 w 8973"/>
                      <a:gd name="connsiteY9" fmla="*/ 10236 h 1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3" h="15258">
                        <a:moveTo>
                          <a:pt x="8837" y="10264"/>
                        </a:moveTo>
                        <a:lnTo>
                          <a:pt x="8974" y="15258"/>
                        </a:lnTo>
                        <a:lnTo>
                          <a:pt x="3842" y="11060"/>
                        </a:lnTo>
                        <a:lnTo>
                          <a:pt x="3320" y="7492"/>
                        </a:lnTo>
                        <a:lnTo>
                          <a:pt x="741" y="4501"/>
                        </a:lnTo>
                        <a:lnTo>
                          <a:pt x="0" y="1729"/>
                        </a:lnTo>
                        <a:lnTo>
                          <a:pt x="2278" y="0"/>
                        </a:lnTo>
                        <a:lnTo>
                          <a:pt x="5214" y="4446"/>
                        </a:lnTo>
                        <a:lnTo>
                          <a:pt x="7382" y="4912"/>
                        </a:lnTo>
                        <a:lnTo>
                          <a:pt x="8837" y="1023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5" name="Freeform: Shape 3004">
                    <a:extLst>
                      <a:ext uri="{FF2B5EF4-FFF2-40B4-BE49-F238E27FC236}">
                        <a16:creationId xmlns:a16="http://schemas.microsoft.com/office/drawing/2014/main" id="{E76D8B8B-7ABB-4249-44EB-2F1BBD501813}"/>
                      </a:ext>
                    </a:extLst>
                  </p:cNvPr>
                  <p:cNvSpPr/>
                  <p:nvPr/>
                </p:nvSpPr>
                <p:spPr>
                  <a:xfrm>
                    <a:off x="-6484341" y="2513392"/>
                    <a:ext cx="8040" cy="12294"/>
                  </a:xfrm>
                  <a:custGeom>
                    <a:avLst/>
                    <a:gdLst>
                      <a:gd name="connsiteX0" fmla="*/ 329 w 8040"/>
                      <a:gd name="connsiteY0" fmla="*/ 0 h 12294"/>
                      <a:gd name="connsiteX1" fmla="*/ 2333 w 8040"/>
                      <a:gd name="connsiteY1" fmla="*/ 3129 h 12294"/>
                      <a:gd name="connsiteX2" fmla="*/ 5818 w 8040"/>
                      <a:gd name="connsiteY2" fmla="*/ 329 h 12294"/>
                      <a:gd name="connsiteX3" fmla="*/ 7217 w 8040"/>
                      <a:gd name="connsiteY3" fmla="*/ 2635 h 12294"/>
                      <a:gd name="connsiteX4" fmla="*/ 8041 w 8040"/>
                      <a:gd name="connsiteY4" fmla="*/ 8068 h 12294"/>
                      <a:gd name="connsiteX5" fmla="*/ 6449 w 8040"/>
                      <a:gd name="connsiteY5" fmla="*/ 12295 h 12294"/>
                      <a:gd name="connsiteX6" fmla="*/ 3952 w 8040"/>
                      <a:gd name="connsiteY6" fmla="*/ 7135 h 12294"/>
                      <a:gd name="connsiteX7" fmla="*/ 1537 w 8040"/>
                      <a:gd name="connsiteY7" fmla="*/ 6449 h 12294"/>
                      <a:gd name="connsiteX8" fmla="*/ 0 w 8040"/>
                      <a:gd name="connsiteY8" fmla="*/ 2195 h 12294"/>
                      <a:gd name="connsiteX9" fmla="*/ 302 w 8040"/>
                      <a:gd name="connsiteY9" fmla="*/ 0 h 1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40" h="12294">
                        <a:moveTo>
                          <a:pt x="329" y="0"/>
                        </a:moveTo>
                        <a:lnTo>
                          <a:pt x="2333" y="3129"/>
                        </a:lnTo>
                        <a:lnTo>
                          <a:pt x="5818" y="329"/>
                        </a:lnTo>
                        <a:lnTo>
                          <a:pt x="7217" y="2635"/>
                        </a:lnTo>
                        <a:lnTo>
                          <a:pt x="8041" y="8068"/>
                        </a:lnTo>
                        <a:lnTo>
                          <a:pt x="6449" y="12295"/>
                        </a:lnTo>
                        <a:lnTo>
                          <a:pt x="3952" y="7135"/>
                        </a:lnTo>
                        <a:lnTo>
                          <a:pt x="1537" y="6449"/>
                        </a:lnTo>
                        <a:lnTo>
                          <a:pt x="0" y="2195"/>
                        </a:lnTo>
                        <a:lnTo>
                          <a:pt x="302"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6" name="Freeform: Shape 3005">
                    <a:extLst>
                      <a:ext uri="{FF2B5EF4-FFF2-40B4-BE49-F238E27FC236}">
                        <a16:creationId xmlns:a16="http://schemas.microsoft.com/office/drawing/2014/main" id="{89BDFE2B-8713-120A-2932-ACFA0CB45352}"/>
                      </a:ext>
                    </a:extLst>
                  </p:cNvPr>
                  <p:cNvSpPr/>
                  <p:nvPr/>
                </p:nvSpPr>
                <p:spPr>
                  <a:xfrm>
                    <a:off x="-6490406" y="2542482"/>
                    <a:ext cx="7437" cy="8150"/>
                  </a:xfrm>
                  <a:custGeom>
                    <a:avLst/>
                    <a:gdLst>
                      <a:gd name="connsiteX0" fmla="*/ 7108 w 7437"/>
                      <a:gd name="connsiteY0" fmla="*/ 3814 h 8150"/>
                      <a:gd name="connsiteX1" fmla="*/ 7437 w 7437"/>
                      <a:gd name="connsiteY1" fmla="*/ 8150 h 8150"/>
                      <a:gd name="connsiteX2" fmla="*/ 1015 w 7437"/>
                      <a:gd name="connsiteY2" fmla="*/ 4226 h 8150"/>
                      <a:gd name="connsiteX3" fmla="*/ 0 w 7437"/>
                      <a:gd name="connsiteY3" fmla="*/ 1454 h 8150"/>
                      <a:gd name="connsiteX4" fmla="*/ 768 w 7437"/>
                      <a:gd name="connsiteY4" fmla="*/ 0 h 8150"/>
                      <a:gd name="connsiteX5" fmla="*/ 7108 w 7437"/>
                      <a:gd name="connsiteY5" fmla="*/ 3787 h 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37" h="8150">
                        <a:moveTo>
                          <a:pt x="7108" y="3814"/>
                        </a:moveTo>
                        <a:lnTo>
                          <a:pt x="7437" y="8150"/>
                        </a:lnTo>
                        <a:lnTo>
                          <a:pt x="1015" y="4226"/>
                        </a:lnTo>
                        <a:lnTo>
                          <a:pt x="0" y="1454"/>
                        </a:lnTo>
                        <a:lnTo>
                          <a:pt x="768" y="0"/>
                        </a:lnTo>
                        <a:lnTo>
                          <a:pt x="7108" y="378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7" name="Freeform: Shape 3006">
                    <a:extLst>
                      <a:ext uri="{FF2B5EF4-FFF2-40B4-BE49-F238E27FC236}">
                        <a16:creationId xmlns:a16="http://schemas.microsoft.com/office/drawing/2014/main" id="{D341FA1F-88AF-B091-BCFF-5FDC07C92055}"/>
                      </a:ext>
                    </a:extLst>
                  </p:cNvPr>
                  <p:cNvSpPr/>
                  <p:nvPr/>
                </p:nvSpPr>
                <p:spPr>
                  <a:xfrm>
                    <a:off x="-6475559" y="2517152"/>
                    <a:ext cx="4006" cy="5900"/>
                  </a:xfrm>
                  <a:custGeom>
                    <a:avLst/>
                    <a:gdLst>
                      <a:gd name="connsiteX0" fmla="*/ 3320 w 4006"/>
                      <a:gd name="connsiteY0" fmla="*/ 5214 h 5900"/>
                      <a:gd name="connsiteX1" fmla="*/ 384 w 4006"/>
                      <a:gd name="connsiteY1" fmla="*/ 5900 h 5900"/>
                      <a:gd name="connsiteX2" fmla="*/ 0 w 4006"/>
                      <a:gd name="connsiteY2" fmla="*/ 3019 h 5900"/>
                      <a:gd name="connsiteX3" fmla="*/ 2058 w 4006"/>
                      <a:gd name="connsiteY3" fmla="*/ 0 h 5900"/>
                      <a:gd name="connsiteX4" fmla="*/ 4007 w 4006"/>
                      <a:gd name="connsiteY4" fmla="*/ 2662 h 5900"/>
                      <a:gd name="connsiteX5" fmla="*/ 3293 w 4006"/>
                      <a:gd name="connsiteY5" fmla="*/ 5187 h 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6" h="5900">
                        <a:moveTo>
                          <a:pt x="3320" y="5214"/>
                        </a:moveTo>
                        <a:lnTo>
                          <a:pt x="384" y="5900"/>
                        </a:lnTo>
                        <a:lnTo>
                          <a:pt x="0" y="3019"/>
                        </a:lnTo>
                        <a:lnTo>
                          <a:pt x="2058" y="0"/>
                        </a:lnTo>
                        <a:lnTo>
                          <a:pt x="4007" y="2662"/>
                        </a:lnTo>
                        <a:lnTo>
                          <a:pt x="3293" y="518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8" name="Freeform: Shape 3007">
                    <a:extLst>
                      <a:ext uri="{FF2B5EF4-FFF2-40B4-BE49-F238E27FC236}">
                        <a16:creationId xmlns:a16="http://schemas.microsoft.com/office/drawing/2014/main" id="{7A4542DF-C4DD-9C37-794A-8061D6AB6749}"/>
                      </a:ext>
                    </a:extLst>
                  </p:cNvPr>
                  <p:cNvSpPr/>
                  <p:nvPr/>
                </p:nvSpPr>
                <p:spPr>
                  <a:xfrm>
                    <a:off x="-6365129" y="3196777"/>
                    <a:ext cx="4445" cy="4610"/>
                  </a:xfrm>
                  <a:custGeom>
                    <a:avLst/>
                    <a:gdLst>
                      <a:gd name="connsiteX0" fmla="*/ 2333 w 4445"/>
                      <a:gd name="connsiteY0" fmla="*/ 4501 h 4610"/>
                      <a:gd name="connsiteX1" fmla="*/ 2113 w 4445"/>
                      <a:gd name="connsiteY1" fmla="*/ 4611 h 4610"/>
                      <a:gd name="connsiteX2" fmla="*/ 0 w 4445"/>
                      <a:gd name="connsiteY2" fmla="*/ 2744 h 4610"/>
                      <a:gd name="connsiteX3" fmla="*/ 2333 w 4445"/>
                      <a:gd name="connsiteY3" fmla="*/ 1180 h 4610"/>
                      <a:gd name="connsiteX4" fmla="*/ 4144 w 4445"/>
                      <a:gd name="connsiteY4" fmla="*/ 0 h 4610"/>
                      <a:gd name="connsiteX5" fmla="*/ 4446 w 4445"/>
                      <a:gd name="connsiteY5" fmla="*/ 3238 h 4610"/>
                      <a:gd name="connsiteX6" fmla="*/ 2360 w 4445"/>
                      <a:gd name="connsiteY6" fmla="*/ 4501 h 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5" h="4610">
                        <a:moveTo>
                          <a:pt x="2333" y="4501"/>
                        </a:moveTo>
                        <a:lnTo>
                          <a:pt x="2113" y="4611"/>
                        </a:lnTo>
                        <a:lnTo>
                          <a:pt x="0" y="2744"/>
                        </a:lnTo>
                        <a:lnTo>
                          <a:pt x="2333" y="1180"/>
                        </a:lnTo>
                        <a:lnTo>
                          <a:pt x="4144" y="0"/>
                        </a:lnTo>
                        <a:lnTo>
                          <a:pt x="4446" y="3238"/>
                        </a:lnTo>
                        <a:lnTo>
                          <a:pt x="2360" y="450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9" name="Freeform: Shape 3008">
                    <a:extLst>
                      <a:ext uri="{FF2B5EF4-FFF2-40B4-BE49-F238E27FC236}">
                        <a16:creationId xmlns:a16="http://schemas.microsoft.com/office/drawing/2014/main" id="{5FF557AD-3360-65BD-5DC9-846958088437}"/>
                      </a:ext>
                    </a:extLst>
                  </p:cNvPr>
                  <p:cNvSpPr/>
                  <p:nvPr/>
                </p:nvSpPr>
                <p:spPr>
                  <a:xfrm>
                    <a:off x="-6354563" y="3185416"/>
                    <a:ext cx="4994" cy="3402"/>
                  </a:xfrm>
                  <a:custGeom>
                    <a:avLst/>
                    <a:gdLst>
                      <a:gd name="connsiteX0" fmla="*/ 4995 w 4994"/>
                      <a:gd name="connsiteY0" fmla="*/ 0 h 3402"/>
                      <a:gd name="connsiteX1" fmla="*/ 4116 w 4994"/>
                      <a:gd name="connsiteY1" fmla="*/ 3403 h 3402"/>
                      <a:gd name="connsiteX2" fmla="*/ 0 w 4994"/>
                      <a:gd name="connsiteY2" fmla="*/ 2662 h 3402"/>
                      <a:gd name="connsiteX3" fmla="*/ 796 w 4994"/>
                      <a:gd name="connsiteY3" fmla="*/ 851 h 3402"/>
                      <a:gd name="connsiteX4" fmla="*/ 4995 w 4994"/>
                      <a:gd name="connsiteY4" fmla="*/ 0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4" h="3402">
                        <a:moveTo>
                          <a:pt x="4995" y="0"/>
                        </a:moveTo>
                        <a:lnTo>
                          <a:pt x="4116" y="3403"/>
                        </a:lnTo>
                        <a:lnTo>
                          <a:pt x="0" y="2662"/>
                        </a:lnTo>
                        <a:lnTo>
                          <a:pt x="796" y="851"/>
                        </a:lnTo>
                        <a:lnTo>
                          <a:pt x="4995"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0" name="Freeform: Shape 3009">
                    <a:extLst>
                      <a:ext uri="{FF2B5EF4-FFF2-40B4-BE49-F238E27FC236}">
                        <a16:creationId xmlns:a16="http://schemas.microsoft.com/office/drawing/2014/main" id="{29190D6D-8F55-F1B3-49E9-5DEE36DE1A86}"/>
                      </a:ext>
                    </a:extLst>
                  </p:cNvPr>
                  <p:cNvSpPr/>
                  <p:nvPr/>
                </p:nvSpPr>
                <p:spPr>
                  <a:xfrm>
                    <a:off x="-6426629" y="3123861"/>
                    <a:ext cx="381951" cy="376572"/>
                  </a:xfrm>
                  <a:custGeom>
                    <a:avLst/>
                    <a:gdLst>
                      <a:gd name="connsiteX0" fmla="*/ 201459 w 381951"/>
                      <a:gd name="connsiteY0" fmla="*/ 4144 h 376572"/>
                      <a:gd name="connsiteX1" fmla="*/ 207359 w 381951"/>
                      <a:gd name="connsiteY1" fmla="*/ 2305 h 376572"/>
                      <a:gd name="connsiteX2" fmla="*/ 214714 w 381951"/>
                      <a:gd name="connsiteY2" fmla="*/ 0 h 376572"/>
                      <a:gd name="connsiteX3" fmla="*/ 215647 w 381951"/>
                      <a:gd name="connsiteY3" fmla="*/ 4171 h 376572"/>
                      <a:gd name="connsiteX4" fmla="*/ 216498 w 381951"/>
                      <a:gd name="connsiteY4" fmla="*/ 8260 h 376572"/>
                      <a:gd name="connsiteX5" fmla="*/ 217705 w 381951"/>
                      <a:gd name="connsiteY5" fmla="*/ 12376 h 376572"/>
                      <a:gd name="connsiteX6" fmla="*/ 224045 w 381951"/>
                      <a:gd name="connsiteY6" fmla="*/ 17810 h 376572"/>
                      <a:gd name="connsiteX7" fmla="*/ 228600 w 381951"/>
                      <a:gd name="connsiteY7" fmla="*/ 14764 h 376572"/>
                      <a:gd name="connsiteX8" fmla="*/ 230960 w 381951"/>
                      <a:gd name="connsiteY8" fmla="*/ 14490 h 376572"/>
                      <a:gd name="connsiteX9" fmla="*/ 233265 w 381951"/>
                      <a:gd name="connsiteY9" fmla="*/ 15560 h 376572"/>
                      <a:gd name="connsiteX10" fmla="*/ 235241 w 381951"/>
                      <a:gd name="connsiteY10" fmla="*/ 17563 h 376572"/>
                      <a:gd name="connsiteX11" fmla="*/ 237162 w 381951"/>
                      <a:gd name="connsiteY11" fmla="*/ 26400 h 376572"/>
                      <a:gd name="connsiteX12" fmla="*/ 244188 w 381951"/>
                      <a:gd name="connsiteY12" fmla="*/ 27580 h 376572"/>
                      <a:gd name="connsiteX13" fmla="*/ 246109 w 381951"/>
                      <a:gd name="connsiteY13" fmla="*/ 27882 h 376572"/>
                      <a:gd name="connsiteX14" fmla="*/ 247289 w 381951"/>
                      <a:gd name="connsiteY14" fmla="*/ 29199 h 376572"/>
                      <a:gd name="connsiteX15" fmla="*/ 247810 w 381951"/>
                      <a:gd name="connsiteY15" fmla="*/ 32218 h 376572"/>
                      <a:gd name="connsiteX16" fmla="*/ 249100 w 381951"/>
                      <a:gd name="connsiteY16" fmla="*/ 35429 h 376572"/>
                      <a:gd name="connsiteX17" fmla="*/ 258266 w 381951"/>
                      <a:gd name="connsiteY17" fmla="*/ 33974 h 376572"/>
                      <a:gd name="connsiteX18" fmla="*/ 262904 w 381951"/>
                      <a:gd name="connsiteY18" fmla="*/ 39545 h 376572"/>
                      <a:gd name="connsiteX19" fmla="*/ 263508 w 381951"/>
                      <a:gd name="connsiteY19" fmla="*/ 46763 h 376572"/>
                      <a:gd name="connsiteX20" fmla="*/ 261587 w 381951"/>
                      <a:gd name="connsiteY20" fmla="*/ 51373 h 376572"/>
                      <a:gd name="connsiteX21" fmla="*/ 264303 w 381951"/>
                      <a:gd name="connsiteY21" fmla="*/ 52334 h 376572"/>
                      <a:gd name="connsiteX22" fmla="*/ 270149 w 381951"/>
                      <a:gd name="connsiteY22" fmla="*/ 53075 h 376572"/>
                      <a:gd name="connsiteX23" fmla="*/ 276927 w 381951"/>
                      <a:gd name="connsiteY23" fmla="*/ 50660 h 376572"/>
                      <a:gd name="connsiteX24" fmla="*/ 280852 w 381951"/>
                      <a:gd name="connsiteY24" fmla="*/ 43579 h 376572"/>
                      <a:gd name="connsiteX25" fmla="*/ 282498 w 381951"/>
                      <a:gd name="connsiteY25" fmla="*/ 44567 h 376572"/>
                      <a:gd name="connsiteX26" fmla="*/ 281263 w 381951"/>
                      <a:gd name="connsiteY26" fmla="*/ 51675 h 376572"/>
                      <a:gd name="connsiteX27" fmla="*/ 283047 w 381951"/>
                      <a:gd name="connsiteY27" fmla="*/ 59084 h 376572"/>
                      <a:gd name="connsiteX28" fmla="*/ 285984 w 381951"/>
                      <a:gd name="connsiteY28" fmla="*/ 59441 h 376572"/>
                      <a:gd name="connsiteX29" fmla="*/ 291417 w 381951"/>
                      <a:gd name="connsiteY29" fmla="*/ 63283 h 376572"/>
                      <a:gd name="connsiteX30" fmla="*/ 298442 w 381951"/>
                      <a:gd name="connsiteY30" fmla="*/ 67839 h 376572"/>
                      <a:gd name="connsiteX31" fmla="*/ 300720 w 381951"/>
                      <a:gd name="connsiteY31" fmla="*/ 73300 h 376572"/>
                      <a:gd name="connsiteX32" fmla="*/ 308487 w 381951"/>
                      <a:gd name="connsiteY32" fmla="*/ 71105 h 376572"/>
                      <a:gd name="connsiteX33" fmla="*/ 310957 w 381951"/>
                      <a:gd name="connsiteY33" fmla="*/ 71105 h 376572"/>
                      <a:gd name="connsiteX34" fmla="*/ 313152 w 381951"/>
                      <a:gd name="connsiteY34" fmla="*/ 73300 h 376572"/>
                      <a:gd name="connsiteX35" fmla="*/ 327038 w 381951"/>
                      <a:gd name="connsiteY35" fmla="*/ 75002 h 376572"/>
                      <a:gd name="connsiteX36" fmla="*/ 332664 w 381951"/>
                      <a:gd name="connsiteY36" fmla="*/ 76840 h 376572"/>
                      <a:gd name="connsiteX37" fmla="*/ 337576 w 381951"/>
                      <a:gd name="connsiteY37" fmla="*/ 85896 h 376572"/>
                      <a:gd name="connsiteX38" fmla="*/ 339360 w 381951"/>
                      <a:gd name="connsiteY38" fmla="*/ 88504 h 376572"/>
                      <a:gd name="connsiteX39" fmla="*/ 343531 w 381951"/>
                      <a:gd name="connsiteY39" fmla="*/ 86143 h 376572"/>
                      <a:gd name="connsiteX40" fmla="*/ 348691 w 381951"/>
                      <a:gd name="connsiteY40" fmla="*/ 88750 h 376572"/>
                      <a:gd name="connsiteX41" fmla="*/ 352999 w 381951"/>
                      <a:gd name="connsiteY41" fmla="*/ 90452 h 376572"/>
                      <a:gd name="connsiteX42" fmla="*/ 356594 w 381951"/>
                      <a:gd name="connsiteY42" fmla="*/ 88504 h 376572"/>
                      <a:gd name="connsiteX43" fmla="*/ 359887 w 381951"/>
                      <a:gd name="connsiteY43" fmla="*/ 88750 h 376572"/>
                      <a:gd name="connsiteX44" fmla="*/ 364415 w 381951"/>
                      <a:gd name="connsiteY44" fmla="*/ 93333 h 376572"/>
                      <a:gd name="connsiteX45" fmla="*/ 372483 w 381951"/>
                      <a:gd name="connsiteY45" fmla="*/ 93745 h 376572"/>
                      <a:gd name="connsiteX46" fmla="*/ 377122 w 381951"/>
                      <a:gd name="connsiteY46" fmla="*/ 95803 h 376572"/>
                      <a:gd name="connsiteX47" fmla="*/ 381952 w 381951"/>
                      <a:gd name="connsiteY47" fmla="*/ 97258 h 376572"/>
                      <a:gd name="connsiteX48" fmla="*/ 373938 w 381951"/>
                      <a:gd name="connsiteY48" fmla="*/ 108345 h 376572"/>
                      <a:gd name="connsiteX49" fmla="*/ 369904 w 381951"/>
                      <a:gd name="connsiteY49" fmla="*/ 113257 h 376572"/>
                      <a:gd name="connsiteX50" fmla="*/ 365705 w 381951"/>
                      <a:gd name="connsiteY50" fmla="*/ 128817 h 376572"/>
                      <a:gd name="connsiteX51" fmla="*/ 362687 w 381951"/>
                      <a:gd name="connsiteY51" fmla="*/ 134800 h 376572"/>
                      <a:gd name="connsiteX52" fmla="*/ 362687 w 381951"/>
                      <a:gd name="connsiteY52" fmla="*/ 135074 h 376572"/>
                      <a:gd name="connsiteX53" fmla="*/ 363400 w 381951"/>
                      <a:gd name="connsiteY53" fmla="*/ 141578 h 376572"/>
                      <a:gd name="connsiteX54" fmla="*/ 361726 w 381951"/>
                      <a:gd name="connsiteY54" fmla="*/ 151403 h 376572"/>
                      <a:gd name="connsiteX55" fmla="*/ 360958 w 381951"/>
                      <a:gd name="connsiteY55" fmla="*/ 154723 h 376572"/>
                      <a:gd name="connsiteX56" fmla="*/ 362988 w 381951"/>
                      <a:gd name="connsiteY56" fmla="*/ 158099 h 376572"/>
                      <a:gd name="connsiteX57" fmla="*/ 362000 w 381951"/>
                      <a:gd name="connsiteY57" fmla="*/ 159196 h 376572"/>
                      <a:gd name="connsiteX58" fmla="*/ 360683 w 381951"/>
                      <a:gd name="connsiteY58" fmla="*/ 161914 h 376572"/>
                      <a:gd name="connsiteX59" fmla="*/ 356869 w 381951"/>
                      <a:gd name="connsiteY59" fmla="*/ 164960 h 376572"/>
                      <a:gd name="connsiteX60" fmla="*/ 352231 w 381951"/>
                      <a:gd name="connsiteY60" fmla="*/ 165042 h 376572"/>
                      <a:gd name="connsiteX61" fmla="*/ 349486 w 381951"/>
                      <a:gd name="connsiteY61" fmla="*/ 161886 h 376572"/>
                      <a:gd name="connsiteX62" fmla="*/ 343888 w 381951"/>
                      <a:gd name="connsiteY62" fmla="*/ 164905 h 376572"/>
                      <a:gd name="connsiteX63" fmla="*/ 343833 w 381951"/>
                      <a:gd name="connsiteY63" fmla="*/ 167457 h 376572"/>
                      <a:gd name="connsiteX64" fmla="*/ 346358 w 381951"/>
                      <a:gd name="connsiteY64" fmla="*/ 169323 h 376572"/>
                      <a:gd name="connsiteX65" fmla="*/ 341528 w 381951"/>
                      <a:gd name="connsiteY65" fmla="*/ 176541 h 376572"/>
                      <a:gd name="connsiteX66" fmla="*/ 329892 w 381951"/>
                      <a:gd name="connsiteY66" fmla="*/ 186502 h 376572"/>
                      <a:gd name="connsiteX67" fmla="*/ 329782 w 381951"/>
                      <a:gd name="connsiteY67" fmla="*/ 190070 h 376572"/>
                      <a:gd name="connsiteX68" fmla="*/ 328300 w 381951"/>
                      <a:gd name="connsiteY68" fmla="*/ 194296 h 376572"/>
                      <a:gd name="connsiteX69" fmla="*/ 320315 w 381951"/>
                      <a:gd name="connsiteY69" fmla="*/ 202694 h 376572"/>
                      <a:gd name="connsiteX70" fmla="*/ 318147 w 381951"/>
                      <a:gd name="connsiteY70" fmla="*/ 208731 h 376572"/>
                      <a:gd name="connsiteX71" fmla="*/ 320452 w 381951"/>
                      <a:gd name="connsiteY71" fmla="*/ 210625 h 376572"/>
                      <a:gd name="connsiteX72" fmla="*/ 319930 w 381951"/>
                      <a:gd name="connsiteY72" fmla="*/ 212930 h 376572"/>
                      <a:gd name="connsiteX73" fmla="*/ 314963 w 381951"/>
                      <a:gd name="connsiteY73" fmla="*/ 220806 h 376572"/>
                      <a:gd name="connsiteX74" fmla="*/ 323114 w 381951"/>
                      <a:gd name="connsiteY74" fmla="*/ 218034 h 376572"/>
                      <a:gd name="connsiteX75" fmla="*/ 322675 w 381951"/>
                      <a:gd name="connsiteY75" fmla="*/ 213177 h 376572"/>
                      <a:gd name="connsiteX76" fmla="*/ 330962 w 381951"/>
                      <a:gd name="connsiteY76" fmla="*/ 207304 h 376572"/>
                      <a:gd name="connsiteX77" fmla="*/ 340348 w 381951"/>
                      <a:gd name="connsiteY77" fmla="*/ 208237 h 376572"/>
                      <a:gd name="connsiteX78" fmla="*/ 340238 w 381951"/>
                      <a:gd name="connsiteY78" fmla="*/ 219736 h 376572"/>
                      <a:gd name="connsiteX79" fmla="*/ 346962 w 381951"/>
                      <a:gd name="connsiteY79" fmla="*/ 229698 h 376572"/>
                      <a:gd name="connsiteX80" fmla="*/ 339827 w 381951"/>
                      <a:gd name="connsiteY80" fmla="*/ 235762 h 376572"/>
                      <a:gd name="connsiteX81" fmla="*/ 345095 w 381951"/>
                      <a:gd name="connsiteY81" fmla="*/ 242157 h 376572"/>
                      <a:gd name="connsiteX82" fmla="*/ 346001 w 381951"/>
                      <a:gd name="connsiteY82" fmla="*/ 246987 h 376572"/>
                      <a:gd name="connsiteX83" fmla="*/ 348718 w 381951"/>
                      <a:gd name="connsiteY83" fmla="*/ 248825 h 376572"/>
                      <a:gd name="connsiteX84" fmla="*/ 350447 w 381951"/>
                      <a:gd name="connsiteY84" fmla="*/ 251570 h 376572"/>
                      <a:gd name="connsiteX85" fmla="*/ 348498 w 381951"/>
                      <a:gd name="connsiteY85" fmla="*/ 258705 h 376572"/>
                      <a:gd name="connsiteX86" fmla="*/ 334777 w 381951"/>
                      <a:gd name="connsiteY86" fmla="*/ 263837 h 376572"/>
                      <a:gd name="connsiteX87" fmla="*/ 339168 w 381951"/>
                      <a:gd name="connsiteY87" fmla="*/ 272701 h 376572"/>
                      <a:gd name="connsiteX88" fmla="*/ 345891 w 381951"/>
                      <a:gd name="connsiteY88" fmla="*/ 275445 h 376572"/>
                      <a:gd name="connsiteX89" fmla="*/ 347593 w 381951"/>
                      <a:gd name="connsiteY89" fmla="*/ 280302 h 376572"/>
                      <a:gd name="connsiteX90" fmla="*/ 344135 w 381951"/>
                      <a:gd name="connsiteY90" fmla="*/ 282745 h 376572"/>
                      <a:gd name="connsiteX91" fmla="*/ 341967 w 381951"/>
                      <a:gd name="connsiteY91" fmla="*/ 288178 h 376572"/>
                      <a:gd name="connsiteX92" fmla="*/ 342351 w 381951"/>
                      <a:gd name="connsiteY92" fmla="*/ 294847 h 376572"/>
                      <a:gd name="connsiteX93" fmla="*/ 346742 w 381951"/>
                      <a:gd name="connsiteY93" fmla="*/ 300116 h 376572"/>
                      <a:gd name="connsiteX94" fmla="*/ 356978 w 381951"/>
                      <a:gd name="connsiteY94" fmla="*/ 304617 h 376572"/>
                      <a:gd name="connsiteX95" fmla="*/ 363400 w 381951"/>
                      <a:gd name="connsiteY95" fmla="*/ 303849 h 376572"/>
                      <a:gd name="connsiteX96" fmla="*/ 366666 w 381951"/>
                      <a:gd name="connsiteY96" fmla="*/ 307169 h 376572"/>
                      <a:gd name="connsiteX97" fmla="*/ 361040 w 381951"/>
                      <a:gd name="connsiteY97" fmla="*/ 314195 h 376572"/>
                      <a:gd name="connsiteX98" fmla="*/ 361259 w 381951"/>
                      <a:gd name="connsiteY98" fmla="*/ 318503 h 376572"/>
                      <a:gd name="connsiteX99" fmla="*/ 358598 w 381951"/>
                      <a:gd name="connsiteY99" fmla="*/ 319930 h 376572"/>
                      <a:gd name="connsiteX100" fmla="*/ 358543 w 381951"/>
                      <a:gd name="connsiteY100" fmla="*/ 319820 h 376572"/>
                      <a:gd name="connsiteX101" fmla="*/ 357829 w 381951"/>
                      <a:gd name="connsiteY101" fmla="*/ 320506 h 376572"/>
                      <a:gd name="connsiteX102" fmla="*/ 357829 w 381951"/>
                      <a:gd name="connsiteY102" fmla="*/ 320616 h 376572"/>
                      <a:gd name="connsiteX103" fmla="*/ 357747 w 381951"/>
                      <a:gd name="connsiteY103" fmla="*/ 320726 h 376572"/>
                      <a:gd name="connsiteX104" fmla="*/ 357911 w 381951"/>
                      <a:gd name="connsiteY104" fmla="*/ 320863 h 376572"/>
                      <a:gd name="connsiteX105" fmla="*/ 350721 w 381951"/>
                      <a:gd name="connsiteY105" fmla="*/ 324184 h 376572"/>
                      <a:gd name="connsiteX106" fmla="*/ 345041 w 381951"/>
                      <a:gd name="connsiteY106" fmla="*/ 329563 h 376572"/>
                      <a:gd name="connsiteX107" fmla="*/ 343668 w 381951"/>
                      <a:gd name="connsiteY107" fmla="*/ 330852 h 376572"/>
                      <a:gd name="connsiteX108" fmla="*/ 342763 w 381951"/>
                      <a:gd name="connsiteY108" fmla="*/ 332416 h 376572"/>
                      <a:gd name="connsiteX109" fmla="*/ 337549 w 381951"/>
                      <a:gd name="connsiteY109" fmla="*/ 334722 h 376572"/>
                      <a:gd name="connsiteX110" fmla="*/ 335024 w 381951"/>
                      <a:gd name="connsiteY110" fmla="*/ 343092 h 376572"/>
                      <a:gd name="connsiteX111" fmla="*/ 324897 w 381951"/>
                      <a:gd name="connsiteY111" fmla="*/ 345891 h 376572"/>
                      <a:gd name="connsiteX112" fmla="*/ 311313 w 381951"/>
                      <a:gd name="connsiteY112" fmla="*/ 347730 h 376572"/>
                      <a:gd name="connsiteX113" fmla="*/ 306620 w 381951"/>
                      <a:gd name="connsiteY113" fmla="*/ 343037 h 376572"/>
                      <a:gd name="connsiteX114" fmla="*/ 298635 w 381951"/>
                      <a:gd name="connsiteY114" fmla="*/ 341692 h 376572"/>
                      <a:gd name="connsiteX115" fmla="*/ 295808 w 381951"/>
                      <a:gd name="connsiteY115" fmla="*/ 336890 h 376572"/>
                      <a:gd name="connsiteX116" fmla="*/ 288947 w 381951"/>
                      <a:gd name="connsiteY116" fmla="*/ 336615 h 376572"/>
                      <a:gd name="connsiteX117" fmla="*/ 283733 w 381951"/>
                      <a:gd name="connsiteY117" fmla="*/ 333267 h 376572"/>
                      <a:gd name="connsiteX118" fmla="*/ 277092 w 381951"/>
                      <a:gd name="connsiteY118" fmla="*/ 335572 h 376572"/>
                      <a:gd name="connsiteX119" fmla="*/ 272976 w 381951"/>
                      <a:gd name="connsiteY119" fmla="*/ 332471 h 376572"/>
                      <a:gd name="connsiteX120" fmla="*/ 264221 w 381951"/>
                      <a:gd name="connsiteY120" fmla="*/ 331703 h 376572"/>
                      <a:gd name="connsiteX121" fmla="*/ 262163 w 381951"/>
                      <a:gd name="connsiteY121" fmla="*/ 329618 h 376572"/>
                      <a:gd name="connsiteX122" fmla="*/ 260406 w 381951"/>
                      <a:gd name="connsiteY122" fmla="*/ 327861 h 376572"/>
                      <a:gd name="connsiteX123" fmla="*/ 255961 w 381951"/>
                      <a:gd name="connsiteY123" fmla="*/ 328877 h 376572"/>
                      <a:gd name="connsiteX124" fmla="*/ 254918 w 381951"/>
                      <a:gd name="connsiteY124" fmla="*/ 329590 h 376572"/>
                      <a:gd name="connsiteX125" fmla="*/ 251487 w 381951"/>
                      <a:gd name="connsiteY125" fmla="*/ 332444 h 376572"/>
                      <a:gd name="connsiteX126" fmla="*/ 247014 w 381951"/>
                      <a:gd name="connsiteY126" fmla="*/ 334859 h 376572"/>
                      <a:gd name="connsiteX127" fmla="*/ 244215 w 381951"/>
                      <a:gd name="connsiteY127" fmla="*/ 337768 h 376572"/>
                      <a:gd name="connsiteX128" fmla="*/ 235104 w 381951"/>
                      <a:gd name="connsiteY128" fmla="*/ 341720 h 376572"/>
                      <a:gd name="connsiteX129" fmla="*/ 230000 w 381951"/>
                      <a:gd name="connsiteY129" fmla="*/ 350309 h 376572"/>
                      <a:gd name="connsiteX130" fmla="*/ 229314 w 381951"/>
                      <a:gd name="connsiteY130" fmla="*/ 356786 h 376572"/>
                      <a:gd name="connsiteX131" fmla="*/ 229231 w 381951"/>
                      <a:gd name="connsiteY131" fmla="*/ 358240 h 376572"/>
                      <a:gd name="connsiteX132" fmla="*/ 229396 w 381951"/>
                      <a:gd name="connsiteY132" fmla="*/ 365019 h 376572"/>
                      <a:gd name="connsiteX133" fmla="*/ 229451 w 381951"/>
                      <a:gd name="connsiteY133" fmla="*/ 366995 h 376572"/>
                      <a:gd name="connsiteX134" fmla="*/ 233183 w 381951"/>
                      <a:gd name="connsiteY134" fmla="*/ 372868 h 376572"/>
                      <a:gd name="connsiteX135" fmla="*/ 224621 w 381951"/>
                      <a:gd name="connsiteY135" fmla="*/ 371879 h 376572"/>
                      <a:gd name="connsiteX136" fmla="*/ 219654 w 381951"/>
                      <a:gd name="connsiteY136" fmla="*/ 374267 h 376572"/>
                      <a:gd name="connsiteX137" fmla="*/ 214906 w 381951"/>
                      <a:gd name="connsiteY137" fmla="*/ 376572 h 376572"/>
                      <a:gd name="connsiteX138" fmla="*/ 208868 w 381951"/>
                      <a:gd name="connsiteY138" fmla="*/ 374267 h 376572"/>
                      <a:gd name="connsiteX139" fmla="*/ 207332 w 381951"/>
                      <a:gd name="connsiteY139" fmla="*/ 373691 h 376572"/>
                      <a:gd name="connsiteX140" fmla="*/ 205521 w 381951"/>
                      <a:gd name="connsiteY140" fmla="*/ 373005 h 376572"/>
                      <a:gd name="connsiteX141" fmla="*/ 202859 w 381951"/>
                      <a:gd name="connsiteY141" fmla="*/ 374267 h 376572"/>
                      <a:gd name="connsiteX142" fmla="*/ 199675 w 381951"/>
                      <a:gd name="connsiteY142" fmla="*/ 375804 h 376572"/>
                      <a:gd name="connsiteX143" fmla="*/ 198193 w 381951"/>
                      <a:gd name="connsiteY143" fmla="*/ 374267 h 376572"/>
                      <a:gd name="connsiteX144" fmla="*/ 196162 w 381951"/>
                      <a:gd name="connsiteY144" fmla="*/ 372154 h 376572"/>
                      <a:gd name="connsiteX145" fmla="*/ 190701 w 381951"/>
                      <a:gd name="connsiteY145" fmla="*/ 370590 h 376572"/>
                      <a:gd name="connsiteX146" fmla="*/ 190564 w 381951"/>
                      <a:gd name="connsiteY146" fmla="*/ 370123 h 376572"/>
                      <a:gd name="connsiteX147" fmla="*/ 192348 w 381951"/>
                      <a:gd name="connsiteY147" fmla="*/ 367352 h 376572"/>
                      <a:gd name="connsiteX148" fmla="*/ 185817 w 381951"/>
                      <a:gd name="connsiteY148" fmla="*/ 364992 h 376572"/>
                      <a:gd name="connsiteX149" fmla="*/ 184719 w 381951"/>
                      <a:gd name="connsiteY149" fmla="*/ 364580 h 376572"/>
                      <a:gd name="connsiteX150" fmla="*/ 184088 w 381951"/>
                      <a:gd name="connsiteY150" fmla="*/ 364992 h 376572"/>
                      <a:gd name="connsiteX151" fmla="*/ 182249 w 381951"/>
                      <a:gd name="connsiteY151" fmla="*/ 366144 h 376572"/>
                      <a:gd name="connsiteX152" fmla="*/ 181316 w 381951"/>
                      <a:gd name="connsiteY152" fmla="*/ 364992 h 376572"/>
                      <a:gd name="connsiteX153" fmla="*/ 178736 w 381951"/>
                      <a:gd name="connsiteY153" fmla="*/ 361863 h 376572"/>
                      <a:gd name="connsiteX154" fmla="*/ 166497 w 381951"/>
                      <a:gd name="connsiteY154" fmla="*/ 357747 h 376572"/>
                      <a:gd name="connsiteX155" fmla="*/ 165070 w 381951"/>
                      <a:gd name="connsiteY155" fmla="*/ 357253 h 376572"/>
                      <a:gd name="connsiteX156" fmla="*/ 160843 w 381951"/>
                      <a:gd name="connsiteY156" fmla="*/ 356127 h 376572"/>
                      <a:gd name="connsiteX157" fmla="*/ 159526 w 381951"/>
                      <a:gd name="connsiteY157" fmla="*/ 358185 h 376572"/>
                      <a:gd name="connsiteX158" fmla="*/ 159224 w 381951"/>
                      <a:gd name="connsiteY158" fmla="*/ 362631 h 376572"/>
                      <a:gd name="connsiteX159" fmla="*/ 153846 w 381951"/>
                      <a:gd name="connsiteY159" fmla="*/ 362247 h 376572"/>
                      <a:gd name="connsiteX160" fmla="*/ 139438 w 381951"/>
                      <a:gd name="connsiteY160" fmla="*/ 362247 h 376572"/>
                      <a:gd name="connsiteX161" fmla="*/ 130574 w 381951"/>
                      <a:gd name="connsiteY161" fmla="*/ 356265 h 376572"/>
                      <a:gd name="connsiteX162" fmla="*/ 123055 w 381951"/>
                      <a:gd name="connsiteY162" fmla="*/ 357582 h 376572"/>
                      <a:gd name="connsiteX163" fmla="*/ 119487 w 381951"/>
                      <a:gd name="connsiteY163" fmla="*/ 354344 h 376572"/>
                      <a:gd name="connsiteX164" fmla="*/ 118499 w 381951"/>
                      <a:gd name="connsiteY164" fmla="*/ 353465 h 376572"/>
                      <a:gd name="connsiteX165" fmla="*/ 106726 w 381951"/>
                      <a:gd name="connsiteY165" fmla="*/ 349157 h 376572"/>
                      <a:gd name="connsiteX166" fmla="*/ 101265 w 381951"/>
                      <a:gd name="connsiteY166" fmla="*/ 347181 h 376572"/>
                      <a:gd name="connsiteX167" fmla="*/ 98932 w 381951"/>
                      <a:gd name="connsiteY167" fmla="*/ 348855 h 376572"/>
                      <a:gd name="connsiteX168" fmla="*/ 97450 w 381951"/>
                      <a:gd name="connsiteY168" fmla="*/ 348334 h 376572"/>
                      <a:gd name="connsiteX169" fmla="*/ 96599 w 381951"/>
                      <a:gd name="connsiteY169" fmla="*/ 346934 h 376572"/>
                      <a:gd name="connsiteX170" fmla="*/ 98081 w 381951"/>
                      <a:gd name="connsiteY170" fmla="*/ 345150 h 376572"/>
                      <a:gd name="connsiteX171" fmla="*/ 98932 w 381951"/>
                      <a:gd name="connsiteY171" fmla="*/ 342735 h 376572"/>
                      <a:gd name="connsiteX172" fmla="*/ 98932 w 381951"/>
                      <a:gd name="connsiteY172" fmla="*/ 339854 h 376572"/>
                      <a:gd name="connsiteX173" fmla="*/ 88943 w 381951"/>
                      <a:gd name="connsiteY173" fmla="*/ 338289 h 376572"/>
                      <a:gd name="connsiteX174" fmla="*/ 87269 w 381951"/>
                      <a:gd name="connsiteY174" fmla="*/ 336094 h 376572"/>
                      <a:gd name="connsiteX175" fmla="*/ 94953 w 381951"/>
                      <a:gd name="connsiteY175" fmla="*/ 328849 h 376572"/>
                      <a:gd name="connsiteX176" fmla="*/ 99371 w 381951"/>
                      <a:gd name="connsiteY176" fmla="*/ 307553 h 376572"/>
                      <a:gd name="connsiteX177" fmla="*/ 102911 w 381951"/>
                      <a:gd name="connsiteY177" fmla="*/ 290484 h 376572"/>
                      <a:gd name="connsiteX178" fmla="*/ 104256 w 381951"/>
                      <a:gd name="connsiteY178" fmla="*/ 284529 h 376572"/>
                      <a:gd name="connsiteX179" fmla="*/ 107028 w 381951"/>
                      <a:gd name="connsiteY179" fmla="*/ 281592 h 376572"/>
                      <a:gd name="connsiteX180" fmla="*/ 103597 w 381951"/>
                      <a:gd name="connsiteY180" fmla="*/ 276844 h 376572"/>
                      <a:gd name="connsiteX181" fmla="*/ 106232 w 381951"/>
                      <a:gd name="connsiteY181" fmla="*/ 248468 h 376572"/>
                      <a:gd name="connsiteX182" fmla="*/ 108811 w 381951"/>
                      <a:gd name="connsiteY182" fmla="*/ 246795 h 376572"/>
                      <a:gd name="connsiteX183" fmla="*/ 116880 w 381951"/>
                      <a:gd name="connsiteY183" fmla="*/ 256043 h 376572"/>
                      <a:gd name="connsiteX184" fmla="*/ 118746 w 381951"/>
                      <a:gd name="connsiteY184" fmla="*/ 254726 h 376572"/>
                      <a:gd name="connsiteX185" fmla="*/ 115178 w 381951"/>
                      <a:gd name="connsiteY185" fmla="*/ 248029 h 376572"/>
                      <a:gd name="connsiteX186" fmla="*/ 104613 w 381951"/>
                      <a:gd name="connsiteY186" fmla="*/ 239083 h 376572"/>
                      <a:gd name="connsiteX187" fmla="*/ 100332 w 381951"/>
                      <a:gd name="connsiteY187" fmla="*/ 228792 h 376572"/>
                      <a:gd name="connsiteX188" fmla="*/ 101237 w 381951"/>
                      <a:gd name="connsiteY188" fmla="*/ 226953 h 376572"/>
                      <a:gd name="connsiteX189" fmla="*/ 104750 w 381951"/>
                      <a:gd name="connsiteY189" fmla="*/ 232140 h 376572"/>
                      <a:gd name="connsiteX190" fmla="*/ 106232 w 381951"/>
                      <a:gd name="connsiteY190" fmla="*/ 231152 h 376572"/>
                      <a:gd name="connsiteX191" fmla="*/ 107522 w 381951"/>
                      <a:gd name="connsiteY191" fmla="*/ 224703 h 376572"/>
                      <a:gd name="connsiteX192" fmla="*/ 104914 w 381951"/>
                      <a:gd name="connsiteY192" fmla="*/ 218611 h 376572"/>
                      <a:gd name="connsiteX193" fmla="*/ 108125 w 381951"/>
                      <a:gd name="connsiteY193" fmla="*/ 212848 h 376572"/>
                      <a:gd name="connsiteX194" fmla="*/ 106671 w 381951"/>
                      <a:gd name="connsiteY194" fmla="*/ 212957 h 376572"/>
                      <a:gd name="connsiteX195" fmla="*/ 104914 w 381951"/>
                      <a:gd name="connsiteY195" fmla="*/ 213122 h 376572"/>
                      <a:gd name="connsiteX196" fmla="*/ 103817 w 381951"/>
                      <a:gd name="connsiteY196" fmla="*/ 214659 h 376572"/>
                      <a:gd name="connsiteX197" fmla="*/ 98877 w 381951"/>
                      <a:gd name="connsiteY197" fmla="*/ 211942 h 376572"/>
                      <a:gd name="connsiteX198" fmla="*/ 87104 w 381951"/>
                      <a:gd name="connsiteY198" fmla="*/ 205575 h 376572"/>
                      <a:gd name="connsiteX199" fmla="*/ 83866 w 381951"/>
                      <a:gd name="connsiteY199" fmla="*/ 198714 h 376572"/>
                      <a:gd name="connsiteX200" fmla="*/ 78185 w 381951"/>
                      <a:gd name="connsiteY200" fmla="*/ 192238 h 376572"/>
                      <a:gd name="connsiteX201" fmla="*/ 76648 w 381951"/>
                      <a:gd name="connsiteY201" fmla="*/ 190481 h 376572"/>
                      <a:gd name="connsiteX202" fmla="*/ 78185 w 381951"/>
                      <a:gd name="connsiteY202" fmla="*/ 187957 h 376572"/>
                      <a:gd name="connsiteX203" fmla="*/ 81533 w 381951"/>
                      <a:gd name="connsiteY203" fmla="*/ 182441 h 376572"/>
                      <a:gd name="connsiteX204" fmla="*/ 78185 w 381951"/>
                      <a:gd name="connsiteY204" fmla="*/ 179669 h 376572"/>
                      <a:gd name="connsiteX205" fmla="*/ 76127 w 381951"/>
                      <a:gd name="connsiteY205" fmla="*/ 177940 h 376572"/>
                      <a:gd name="connsiteX206" fmla="*/ 75413 w 381951"/>
                      <a:gd name="connsiteY206" fmla="*/ 172671 h 376572"/>
                      <a:gd name="connsiteX207" fmla="*/ 66742 w 381951"/>
                      <a:gd name="connsiteY207" fmla="*/ 170778 h 376572"/>
                      <a:gd name="connsiteX208" fmla="*/ 65918 w 381951"/>
                      <a:gd name="connsiteY208" fmla="*/ 167347 h 376572"/>
                      <a:gd name="connsiteX209" fmla="*/ 67510 w 381951"/>
                      <a:gd name="connsiteY209" fmla="*/ 164274 h 376572"/>
                      <a:gd name="connsiteX210" fmla="*/ 65863 w 381951"/>
                      <a:gd name="connsiteY210" fmla="*/ 161529 h 376572"/>
                      <a:gd name="connsiteX211" fmla="*/ 63805 w 381951"/>
                      <a:gd name="connsiteY211" fmla="*/ 161694 h 376572"/>
                      <a:gd name="connsiteX212" fmla="*/ 57301 w 381951"/>
                      <a:gd name="connsiteY212" fmla="*/ 162188 h 376572"/>
                      <a:gd name="connsiteX213" fmla="*/ 40286 w 381951"/>
                      <a:gd name="connsiteY213" fmla="*/ 153955 h 376572"/>
                      <a:gd name="connsiteX214" fmla="*/ 36197 w 381951"/>
                      <a:gd name="connsiteY214" fmla="*/ 148686 h 376572"/>
                      <a:gd name="connsiteX215" fmla="*/ 12761 w 381951"/>
                      <a:gd name="connsiteY215" fmla="*/ 147451 h 376572"/>
                      <a:gd name="connsiteX216" fmla="*/ 6038 w 381951"/>
                      <a:gd name="connsiteY216" fmla="*/ 139163 h 376572"/>
                      <a:gd name="connsiteX217" fmla="*/ 12322 w 381951"/>
                      <a:gd name="connsiteY217" fmla="*/ 134114 h 376572"/>
                      <a:gd name="connsiteX218" fmla="*/ 8315 w 381951"/>
                      <a:gd name="connsiteY218" fmla="*/ 129668 h 376572"/>
                      <a:gd name="connsiteX219" fmla="*/ 9578 w 381951"/>
                      <a:gd name="connsiteY219" fmla="*/ 126100 h 376572"/>
                      <a:gd name="connsiteX220" fmla="*/ 1537 w 381951"/>
                      <a:gd name="connsiteY220" fmla="*/ 124262 h 376572"/>
                      <a:gd name="connsiteX221" fmla="*/ 0 w 381951"/>
                      <a:gd name="connsiteY221" fmla="*/ 121517 h 376572"/>
                      <a:gd name="connsiteX222" fmla="*/ 2223 w 381951"/>
                      <a:gd name="connsiteY222" fmla="*/ 115782 h 376572"/>
                      <a:gd name="connsiteX223" fmla="*/ 12624 w 381951"/>
                      <a:gd name="connsiteY223" fmla="*/ 110952 h 376572"/>
                      <a:gd name="connsiteX224" fmla="*/ 20966 w 381951"/>
                      <a:gd name="connsiteY224" fmla="*/ 109140 h 376572"/>
                      <a:gd name="connsiteX225" fmla="*/ 32163 w 381951"/>
                      <a:gd name="connsiteY225" fmla="*/ 110979 h 376572"/>
                      <a:gd name="connsiteX226" fmla="*/ 35648 w 381951"/>
                      <a:gd name="connsiteY226" fmla="*/ 104365 h 376572"/>
                      <a:gd name="connsiteX227" fmla="*/ 46681 w 381951"/>
                      <a:gd name="connsiteY227" fmla="*/ 101950 h 376572"/>
                      <a:gd name="connsiteX228" fmla="*/ 60402 w 381951"/>
                      <a:gd name="connsiteY228" fmla="*/ 115919 h 376572"/>
                      <a:gd name="connsiteX229" fmla="*/ 63777 w 381951"/>
                      <a:gd name="connsiteY229" fmla="*/ 114272 h 376572"/>
                      <a:gd name="connsiteX230" fmla="*/ 65836 w 381951"/>
                      <a:gd name="connsiteY230" fmla="*/ 113284 h 376572"/>
                      <a:gd name="connsiteX231" fmla="*/ 70830 w 381951"/>
                      <a:gd name="connsiteY231" fmla="*/ 110869 h 376572"/>
                      <a:gd name="connsiteX232" fmla="*/ 78185 w 381951"/>
                      <a:gd name="connsiteY232" fmla="*/ 113915 h 376572"/>
                      <a:gd name="connsiteX233" fmla="*/ 82686 w 381951"/>
                      <a:gd name="connsiteY233" fmla="*/ 110238 h 376572"/>
                      <a:gd name="connsiteX234" fmla="*/ 87379 w 381951"/>
                      <a:gd name="connsiteY234" fmla="*/ 112928 h 376572"/>
                      <a:gd name="connsiteX235" fmla="*/ 93553 w 381951"/>
                      <a:gd name="connsiteY235" fmla="*/ 112461 h 376572"/>
                      <a:gd name="connsiteX236" fmla="*/ 95502 w 381951"/>
                      <a:gd name="connsiteY236" fmla="*/ 110128 h 376572"/>
                      <a:gd name="connsiteX237" fmla="*/ 93443 w 381951"/>
                      <a:gd name="connsiteY237" fmla="*/ 103927 h 376572"/>
                      <a:gd name="connsiteX238" fmla="*/ 92208 w 381951"/>
                      <a:gd name="connsiteY238" fmla="*/ 89080 h 376572"/>
                      <a:gd name="connsiteX239" fmla="*/ 86802 w 381951"/>
                      <a:gd name="connsiteY239" fmla="*/ 77389 h 376572"/>
                      <a:gd name="connsiteX240" fmla="*/ 84909 w 381951"/>
                      <a:gd name="connsiteY240" fmla="*/ 65561 h 376572"/>
                      <a:gd name="connsiteX241" fmla="*/ 101457 w 381951"/>
                      <a:gd name="connsiteY241" fmla="*/ 65643 h 376572"/>
                      <a:gd name="connsiteX242" fmla="*/ 102609 w 381951"/>
                      <a:gd name="connsiteY242" fmla="*/ 73163 h 376572"/>
                      <a:gd name="connsiteX243" fmla="*/ 106863 w 381951"/>
                      <a:gd name="connsiteY243" fmla="*/ 81286 h 376572"/>
                      <a:gd name="connsiteX244" fmla="*/ 111666 w 381951"/>
                      <a:gd name="connsiteY244" fmla="*/ 78240 h 376572"/>
                      <a:gd name="connsiteX245" fmla="*/ 134526 w 381951"/>
                      <a:gd name="connsiteY245" fmla="*/ 82795 h 376572"/>
                      <a:gd name="connsiteX246" fmla="*/ 147479 w 381951"/>
                      <a:gd name="connsiteY246" fmla="*/ 76922 h 376572"/>
                      <a:gd name="connsiteX247" fmla="*/ 148494 w 381951"/>
                      <a:gd name="connsiteY247" fmla="*/ 76429 h 376572"/>
                      <a:gd name="connsiteX248" fmla="*/ 148878 w 381951"/>
                      <a:gd name="connsiteY248" fmla="*/ 76374 h 376572"/>
                      <a:gd name="connsiteX249" fmla="*/ 149592 w 381951"/>
                      <a:gd name="connsiteY249" fmla="*/ 76264 h 376572"/>
                      <a:gd name="connsiteX250" fmla="*/ 149784 w 381951"/>
                      <a:gd name="connsiteY250" fmla="*/ 76264 h 376572"/>
                      <a:gd name="connsiteX251" fmla="*/ 150525 w 381951"/>
                      <a:gd name="connsiteY251" fmla="*/ 76044 h 376572"/>
                      <a:gd name="connsiteX252" fmla="*/ 150662 w 381951"/>
                      <a:gd name="connsiteY252" fmla="*/ 76044 h 376572"/>
                      <a:gd name="connsiteX253" fmla="*/ 151732 w 381951"/>
                      <a:gd name="connsiteY253" fmla="*/ 75688 h 376572"/>
                      <a:gd name="connsiteX254" fmla="*/ 152281 w 381951"/>
                      <a:gd name="connsiteY254" fmla="*/ 75358 h 376572"/>
                      <a:gd name="connsiteX255" fmla="*/ 153324 w 381951"/>
                      <a:gd name="connsiteY255" fmla="*/ 74672 h 376572"/>
                      <a:gd name="connsiteX256" fmla="*/ 153763 w 381951"/>
                      <a:gd name="connsiteY256" fmla="*/ 74425 h 376572"/>
                      <a:gd name="connsiteX257" fmla="*/ 154010 w 381951"/>
                      <a:gd name="connsiteY257" fmla="*/ 74233 h 376572"/>
                      <a:gd name="connsiteX258" fmla="*/ 154312 w 381951"/>
                      <a:gd name="connsiteY258" fmla="*/ 74123 h 376572"/>
                      <a:gd name="connsiteX259" fmla="*/ 154587 w 381951"/>
                      <a:gd name="connsiteY259" fmla="*/ 74041 h 376572"/>
                      <a:gd name="connsiteX260" fmla="*/ 154998 w 381951"/>
                      <a:gd name="connsiteY260" fmla="*/ 74151 h 376572"/>
                      <a:gd name="connsiteX261" fmla="*/ 155163 w 381951"/>
                      <a:gd name="connsiteY261" fmla="*/ 74288 h 376572"/>
                      <a:gd name="connsiteX262" fmla="*/ 155602 w 381951"/>
                      <a:gd name="connsiteY262" fmla="*/ 74864 h 376572"/>
                      <a:gd name="connsiteX263" fmla="*/ 156233 w 381951"/>
                      <a:gd name="connsiteY263" fmla="*/ 75660 h 376572"/>
                      <a:gd name="connsiteX264" fmla="*/ 156590 w 381951"/>
                      <a:gd name="connsiteY264" fmla="*/ 76099 h 376572"/>
                      <a:gd name="connsiteX265" fmla="*/ 156864 w 381951"/>
                      <a:gd name="connsiteY265" fmla="*/ 76319 h 376572"/>
                      <a:gd name="connsiteX266" fmla="*/ 157002 w 381951"/>
                      <a:gd name="connsiteY266" fmla="*/ 76429 h 376572"/>
                      <a:gd name="connsiteX267" fmla="*/ 157303 w 381951"/>
                      <a:gd name="connsiteY267" fmla="*/ 76538 h 376572"/>
                      <a:gd name="connsiteX268" fmla="*/ 157440 w 381951"/>
                      <a:gd name="connsiteY268" fmla="*/ 76538 h 376572"/>
                      <a:gd name="connsiteX269" fmla="*/ 157633 w 381951"/>
                      <a:gd name="connsiteY269" fmla="*/ 76538 h 376572"/>
                      <a:gd name="connsiteX270" fmla="*/ 157907 w 381951"/>
                      <a:gd name="connsiteY270" fmla="*/ 76484 h 376572"/>
                      <a:gd name="connsiteX271" fmla="*/ 158126 w 381951"/>
                      <a:gd name="connsiteY271" fmla="*/ 76374 h 376572"/>
                      <a:gd name="connsiteX272" fmla="*/ 158044 w 381951"/>
                      <a:gd name="connsiteY272" fmla="*/ 76291 h 376572"/>
                      <a:gd name="connsiteX273" fmla="*/ 157852 w 381951"/>
                      <a:gd name="connsiteY273" fmla="*/ 76291 h 376572"/>
                      <a:gd name="connsiteX274" fmla="*/ 157440 w 381951"/>
                      <a:gd name="connsiteY274" fmla="*/ 76291 h 376572"/>
                      <a:gd name="connsiteX275" fmla="*/ 156974 w 381951"/>
                      <a:gd name="connsiteY275" fmla="*/ 76127 h 376572"/>
                      <a:gd name="connsiteX276" fmla="*/ 156507 w 381951"/>
                      <a:gd name="connsiteY276" fmla="*/ 75660 h 376572"/>
                      <a:gd name="connsiteX277" fmla="*/ 155876 w 381951"/>
                      <a:gd name="connsiteY277" fmla="*/ 74837 h 376572"/>
                      <a:gd name="connsiteX278" fmla="*/ 155711 w 381951"/>
                      <a:gd name="connsiteY278" fmla="*/ 74617 h 376572"/>
                      <a:gd name="connsiteX279" fmla="*/ 155382 w 381951"/>
                      <a:gd name="connsiteY279" fmla="*/ 74206 h 376572"/>
                      <a:gd name="connsiteX280" fmla="*/ 155135 w 381951"/>
                      <a:gd name="connsiteY280" fmla="*/ 73931 h 376572"/>
                      <a:gd name="connsiteX281" fmla="*/ 154888 w 381951"/>
                      <a:gd name="connsiteY281" fmla="*/ 73794 h 376572"/>
                      <a:gd name="connsiteX282" fmla="*/ 154778 w 381951"/>
                      <a:gd name="connsiteY282" fmla="*/ 73794 h 376572"/>
                      <a:gd name="connsiteX283" fmla="*/ 154532 w 381951"/>
                      <a:gd name="connsiteY283" fmla="*/ 73739 h 376572"/>
                      <a:gd name="connsiteX284" fmla="*/ 154312 w 381951"/>
                      <a:gd name="connsiteY284" fmla="*/ 73739 h 376572"/>
                      <a:gd name="connsiteX285" fmla="*/ 153983 w 381951"/>
                      <a:gd name="connsiteY285" fmla="*/ 73876 h 376572"/>
                      <a:gd name="connsiteX286" fmla="*/ 153763 w 381951"/>
                      <a:gd name="connsiteY286" fmla="*/ 74014 h 376572"/>
                      <a:gd name="connsiteX287" fmla="*/ 153324 w 381951"/>
                      <a:gd name="connsiteY287" fmla="*/ 74315 h 376572"/>
                      <a:gd name="connsiteX288" fmla="*/ 152583 w 381951"/>
                      <a:gd name="connsiteY288" fmla="*/ 74864 h 376572"/>
                      <a:gd name="connsiteX289" fmla="*/ 152501 w 381951"/>
                      <a:gd name="connsiteY289" fmla="*/ 74919 h 376572"/>
                      <a:gd name="connsiteX290" fmla="*/ 152172 w 381951"/>
                      <a:gd name="connsiteY290" fmla="*/ 75056 h 376572"/>
                      <a:gd name="connsiteX291" fmla="*/ 151568 w 381951"/>
                      <a:gd name="connsiteY291" fmla="*/ 75276 h 376572"/>
                      <a:gd name="connsiteX292" fmla="*/ 151129 w 381951"/>
                      <a:gd name="connsiteY292" fmla="*/ 75386 h 376572"/>
                      <a:gd name="connsiteX293" fmla="*/ 150827 w 381951"/>
                      <a:gd name="connsiteY293" fmla="*/ 75441 h 376572"/>
                      <a:gd name="connsiteX294" fmla="*/ 150305 w 381951"/>
                      <a:gd name="connsiteY294" fmla="*/ 75495 h 376572"/>
                      <a:gd name="connsiteX295" fmla="*/ 149647 w 381951"/>
                      <a:gd name="connsiteY295" fmla="*/ 75495 h 376572"/>
                      <a:gd name="connsiteX296" fmla="*/ 148659 w 381951"/>
                      <a:gd name="connsiteY296" fmla="*/ 75413 h 376572"/>
                      <a:gd name="connsiteX297" fmla="*/ 147835 w 381951"/>
                      <a:gd name="connsiteY297" fmla="*/ 75331 h 376572"/>
                      <a:gd name="connsiteX298" fmla="*/ 147671 w 381951"/>
                      <a:gd name="connsiteY298" fmla="*/ 75605 h 376572"/>
                      <a:gd name="connsiteX299" fmla="*/ 147479 w 381951"/>
                      <a:gd name="connsiteY299" fmla="*/ 75605 h 376572"/>
                      <a:gd name="connsiteX300" fmla="*/ 142292 w 381951"/>
                      <a:gd name="connsiteY300" fmla="*/ 72312 h 376572"/>
                      <a:gd name="connsiteX301" fmla="*/ 144487 w 381951"/>
                      <a:gd name="connsiteY301" fmla="*/ 65506 h 376572"/>
                      <a:gd name="connsiteX302" fmla="*/ 147451 w 381951"/>
                      <a:gd name="connsiteY302" fmla="*/ 62872 h 376572"/>
                      <a:gd name="connsiteX303" fmla="*/ 180301 w 381951"/>
                      <a:gd name="connsiteY303" fmla="*/ 47504 h 376572"/>
                      <a:gd name="connsiteX304" fmla="*/ 186750 w 381951"/>
                      <a:gd name="connsiteY304" fmla="*/ 40808 h 376572"/>
                      <a:gd name="connsiteX305" fmla="*/ 185432 w 381951"/>
                      <a:gd name="connsiteY305" fmla="*/ 35429 h 376572"/>
                      <a:gd name="connsiteX306" fmla="*/ 188122 w 381951"/>
                      <a:gd name="connsiteY306" fmla="*/ 34386 h 376572"/>
                      <a:gd name="connsiteX307" fmla="*/ 186009 w 381951"/>
                      <a:gd name="connsiteY307" fmla="*/ 29583 h 376572"/>
                      <a:gd name="connsiteX308" fmla="*/ 187024 w 381951"/>
                      <a:gd name="connsiteY308" fmla="*/ 11663 h 376572"/>
                      <a:gd name="connsiteX309" fmla="*/ 201349 w 381951"/>
                      <a:gd name="connsiteY309" fmla="*/ 4226 h 376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381951" h="376572">
                        <a:moveTo>
                          <a:pt x="201459" y="4144"/>
                        </a:moveTo>
                        <a:lnTo>
                          <a:pt x="207359" y="2305"/>
                        </a:lnTo>
                        <a:lnTo>
                          <a:pt x="214714" y="0"/>
                        </a:lnTo>
                        <a:lnTo>
                          <a:pt x="215647" y="4171"/>
                        </a:lnTo>
                        <a:lnTo>
                          <a:pt x="216498" y="8260"/>
                        </a:lnTo>
                        <a:lnTo>
                          <a:pt x="217705" y="12376"/>
                        </a:lnTo>
                        <a:lnTo>
                          <a:pt x="224045" y="17810"/>
                        </a:lnTo>
                        <a:lnTo>
                          <a:pt x="228600" y="14764"/>
                        </a:lnTo>
                        <a:lnTo>
                          <a:pt x="230960" y="14490"/>
                        </a:lnTo>
                        <a:lnTo>
                          <a:pt x="233265" y="15560"/>
                        </a:lnTo>
                        <a:lnTo>
                          <a:pt x="235241" y="17563"/>
                        </a:lnTo>
                        <a:lnTo>
                          <a:pt x="237162" y="26400"/>
                        </a:lnTo>
                        <a:lnTo>
                          <a:pt x="244188" y="27580"/>
                        </a:lnTo>
                        <a:lnTo>
                          <a:pt x="246109" y="27882"/>
                        </a:lnTo>
                        <a:lnTo>
                          <a:pt x="247289" y="29199"/>
                        </a:lnTo>
                        <a:lnTo>
                          <a:pt x="247810" y="32218"/>
                        </a:lnTo>
                        <a:lnTo>
                          <a:pt x="249100" y="35429"/>
                        </a:lnTo>
                        <a:lnTo>
                          <a:pt x="258266" y="33974"/>
                        </a:lnTo>
                        <a:lnTo>
                          <a:pt x="262904" y="39545"/>
                        </a:lnTo>
                        <a:lnTo>
                          <a:pt x="263508" y="46763"/>
                        </a:lnTo>
                        <a:lnTo>
                          <a:pt x="261587" y="51373"/>
                        </a:lnTo>
                        <a:lnTo>
                          <a:pt x="264303" y="52334"/>
                        </a:lnTo>
                        <a:lnTo>
                          <a:pt x="270149" y="53075"/>
                        </a:lnTo>
                        <a:lnTo>
                          <a:pt x="276927" y="50660"/>
                        </a:lnTo>
                        <a:lnTo>
                          <a:pt x="280852" y="43579"/>
                        </a:lnTo>
                        <a:lnTo>
                          <a:pt x="282498" y="44567"/>
                        </a:lnTo>
                        <a:lnTo>
                          <a:pt x="281263" y="51675"/>
                        </a:lnTo>
                        <a:lnTo>
                          <a:pt x="283047" y="59084"/>
                        </a:lnTo>
                        <a:lnTo>
                          <a:pt x="285984" y="59441"/>
                        </a:lnTo>
                        <a:lnTo>
                          <a:pt x="291417" y="63283"/>
                        </a:lnTo>
                        <a:lnTo>
                          <a:pt x="298442" y="67839"/>
                        </a:lnTo>
                        <a:lnTo>
                          <a:pt x="300720" y="73300"/>
                        </a:lnTo>
                        <a:lnTo>
                          <a:pt x="308487" y="71105"/>
                        </a:lnTo>
                        <a:lnTo>
                          <a:pt x="310957" y="71105"/>
                        </a:lnTo>
                        <a:cubicBezTo>
                          <a:pt x="310957" y="71105"/>
                          <a:pt x="313152" y="73300"/>
                          <a:pt x="313152" y="73300"/>
                        </a:cubicBezTo>
                        <a:lnTo>
                          <a:pt x="327038" y="75002"/>
                        </a:lnTo>
                        <a:lnTo>
                          <a:pt x="332664" y="76840"/>
                        </a:lnTo>
                        <a:lnTo>
                          <a:pt x="337576" y="85896"/>
                        </a:lnTo>
                        <a:lnTo>
                          <a:pt x="339360" y="88504"/>
                        </a:lnTo>
                        <a:lnTo>
                          <a:pt x="343531" y="86143"/>
                        </a:lnTo>
                        <a:lnTo>
                          <a:pt x="348691" y="88750"/>
                        </a:lnTo>
                        <a:lnTo>
                          <a:pt x="352999" y="90452"/>
                        </a:lnTo>
                        <a:lnTo>
                          <a:pt x="356594" y="88504"/>
                        </a:lnTo>
                        <a:lnTo>
                          <a:pt x="359887" y="88750"/>
                        </a:lnTo>
                        <a:lnTo>
                          <a:pt x="364415" y="93333"/>
                        </a:lnTo>
                        <a:lnTo>
                          <a:pt x="372483" y="93745"/>
                        </a:lnTo>
                        <a:lnTo>
                          <a:pt x="377122" y="95803"/>
                        </a:lnTo>
                        <a:lnTo>
                          <a:pt x="381952" y="97258"/>
                        </a:lnTo>
                        <a:lnTo>
                          <a:pt x="373938" y="108345"/>
                        </a:lnTo>
                        <a:lnTo>
                          <a:pt x="369904" y="113257"/>
                        </a:lnTo>
                        <a:lnTo>
                          <a:pt x="365705" y="128817"/>
                        </a:lnTo>
                        <a:lnTo>
                          <a:pt x="362687" y="134800"/>
                        </a:lnTo>
                        <a:lnTo>
                          <a:pt x="362687" y="135074"/>
                        </a:lnTo>
                        <a:cubicBezTo>
                          <a:pt x="362687" y="135074"/>
                          <a:pt x="363400" y="141578"/>
                          <a:pt x="363400" y="141578"/>
                        </a:cubicBezTo>
                        <a:lnTo>
                          <a:pt x="361726" y="151403"/>
                        </a:lnTo>
                        <a:lnTo>
                          <a:pt x="360958" y="154723"/>
                        </a:lnTo>
                        <a:lnTo>
                          <a:pt x="362988" y="158099"/>
                        </a:lnTo>
                        <a:lnTo>
                          <a:pt x="362000" y="159196"/>
                        </a:lnTo>
                        <a:lnTo>
                          <a:pt x="360683" y="161914"/>
                        </a:lnTo>
                        <a:lnTo>
                          <a:pt x="356869" y="164960"/>
                        </a:lnTo>
                        <a:lnTo>
                          <a:pt x="352231" y="165042"/>
                        </a:lnTo>
                        <a:lnTo>
                          <a:pt x="349486" y="161886"/>
                        </a:lnTo>
                        <a:lnTo>
                          <a:pt x="343888" y="164905"/>
                        </a:lnTo>
                        <a:lnTo>
                          <a:pt x="343833" y="167457"/>
                        </a:lnTo>
                        <a:lnTo>
                          <a:pt x="346358" y="169323"/>
                        </a:lnTo>
                        <a:lnTo>
                          <a:pt x="341528" y="176541"/>
                        </a:lnTo>
                        <a:lnTo>
                          <a:pt x="329892" y="186502"/>
                        </a:lnTo>
                        <a:lnTo>
                          <a:pt x="329782" y="190070"/>
                        </a:lnTo>
                        <a:lnTo>
                          <a:pt x="328300" y="194296"/>
                        </a:lnTo>
                        <a:lnTo>
                          <a:pt x="320315" y="202694"/>
                        </a:lnTo>
                        <a:lnTo>
                          <a:pt x="318147" y="208731"/>
                        </a:lnTo>
                        <a:lnTo>
                          <a:pt x="320452" y="210625"/>
                        </a:lnTo>
                        <a:lnTo>
                          <a:pt x="319930" y="212930"/>
                        </a:lnTo>
                        <a:lnTo>
                          <a:pt x="314963" y="220806"/>
                        </a:lnTo>
                        <a:lnTo>
                          <a:pt x="323114" y="218034"/>
                        </a:lnTo>
                        <a:lnTo>
                          <a:pt x="322675" y="213177"/>
                        </a:lnTo>
                        <a:lnTo>
                          <a:pt x="330962" y="207304"/>
                        </a:lnTo>
                        <a:lnTo>
                          <a:pt x="340348" y="208237"/>
                        </a:lnTo>
                        <a:lnTo>
                          <a:pt x="340238" y="219736"/>
                        </a:lnTo>
                        <a:lnTo>
                          <a:pt x="346962" y="229698"/>
                        </a:lnTo>
                        <a:lnTo>
                          <a:pt x="339827" y="235762"/>
                        </a:lnTo>
                        <a:lnTo>
                          <a:pt x="345095" y="242157"/>
                        </a:lnTo>
                        <a:lnTo>
                          <a:pt x="346001" y="246987"/>
                        </a:lnTo>
                        <a:lnTo>
                          <a:pt x="348718" y="248825"/>
                        </a:lnTo>
                        <a:lnTo>
                          <a:pt x="350447" y="251570"/>
                        </a:lnTo>
                        <a:lnTo>
                          <a:pt x="348498" y="258705"/>
                        </a:lnTo>
                        <a:lnTo>
                          <a:pt x="334777" y="263837"/>
                        </a:lnTo>
                        <a:lnTo>
                          <a:pt x="339168" y="272701"/>
                        </a:lnTo>
                        <a:lnTo>
                          <a:pt x="345891" y="275445"/>
                        </a:lnTo>
                        <a:lnTo>
                          <a:pt x="347593" y="280302"/>
                        </a:lnTo>
                        <a:lnTo>
                          <a:pt x="344135" y="282745"/>
                        </a:lnTo>
                        <a:lnTo>
                          <a:pt x="341967" y="288178"/>
                        </a:lnTo>
                        <a:lnTo>
                          <a:pt x="342351" y="294847"/>
                        </a:lnTo>
                        <a:lnTo>
                          <a:pt x="346742" y="300116"/>
                        </a:lnTo>
                        <a:lnTo>
                          <a:pt x="356978" y="304617"/>
                        </a:lnTo>
                        <a:lnTo>
                          <a:pt x="363400" y="303849"/>
                        </a:lnTo>
                        <a:lnTo>
                          <a:pt x="366666" y="307169"/>
                        </a:lnTo>
                        <a:lnTo>
                          <a:pt x="361040" y="314195"/>
                        </a:lnTo>
                        <a:lnTo>
                          <a:pt x="361259" y="318503"/>
                        </a:lnTo>
                        <a:lnTo>
                          <a:pt x="358598" y="319930"/>
                        </a:lnTo>
                        <a:lnTo>
                          <a:pt x="358543" y="319820"/>
                        </a:lnTo>
                        <a:lnTo>
                          <a:pt x="357829" y="320506"/>
                        </a:lnTo>
                        <a:lnTo>
                          <a:pt x="357829" y="320616"/>
                        </a:lnTo>
                        <a:lnTo>
                          <a:pt x="357747" y="320726"/>
                        </a:lnTo>
                        <a:lnTo>
                          <a:pt x="357911" y="320863"/>
                        </a:lnTo>
                        <a:lnTo>
                          <a:pt x="350721" y="324184"/>
                        </a:lnTo>
                        <a:lnTo>
                          <a:pt x="345041" y="329563"/>
                        </a:lnTo>
                        <a:lnTo>
                          <a:pt x="343668" y="330852"/>
                        </a:lnTo>
                        <a:lnTo>
                          <a:pt x="342763" y="332416"/>
                        </a:lnTo>
                        <a:lnTo>
                          <a:pt x="337549" y="334722"/>
                        </a:lnTo>
                        <a:lnTo>
                          <a:pt x="335024" y="343092"/>
                        </a:lnTo>
                        <a:lnTo>
                          <a:pt x="324897" y="345891"/>
                        </a:lnTo>
                        <a:lnTo>
                          <a:pt x="311313" y="347730"/>
                        </a:lnTo>
                        <a:lnTo>
                          <a:pt x="306620" y="343037"/>
                        </a:lnTo>
                        <a:lnTo>
                          <a:pt x="298635" y="341692"/>
                        </a:lnTo>
                        <a:lnTo>
                          <a:pt x="295808" y="336890"/>
                        </a:lnTo>
                        <a:lnTo>
                          <a:pt x="288947" y="336615"/>
                        </a:lnTo>
                        <a:lnTo>
                          <a:pt x="283733" y="333267"/>
                        </a:lnTo>
                        <a:lnTo>
                          <a:pt x="277092" y="335572"/>
                        </a:lnTo>
                        <a:lnTo>
                          <a:pt x="272976" y="332471"/>
                        </a:lnTo>
                        <a:lnTo>
                          <a:pt x="264221" y="331703"/>
                        </a:lnTo>
                        <a:lnTo>
                          <a:pt x="262163" y="329618"/>
                        </a:lnTo>
                        <a:lnTo>
                          <a:pt x="260406" y="327861"/>
                        </a:lnTo>
                        <a:lnTo>
                          <a:pt x="255961" y="328877"/>
                        </a:lnTo>
                        <a:lnTo>
                          <a:pt x="254918" y="329590"/>
                        </a:lnTo>
                        <a:lnTo>
                          <a:pt x="251487" y="332444"/>
                        </a:lnTo>
                        <a:lnTo>
                          <a:pt x="247014" y="334859"/>
                        </a:lnTo>
                        <a:lnTo>
                          <a:pt x="244215" y="337768"/>
                        </a:lnTo>
                        <a:lnTo>
                          <a:pt x="235104" y="341720"/>
                        </a:lnTo>
                        <a:lnTo>
                          <a:pt x="230000" y="350309"/>
                        </a:lnTo>
                        <a:lnTo>
                          <a:pt x="229314" y="356786"/>
                        </a:lnTo>
                        <a:lnTo>
                          <a:pt x="229231" y="358240"/>
                        </a:lnTo>
                        <a:lnTo>
                          <a:pt x="229396" y="365019"/>
                        </a:lnTo>
                        <a:lnTo>
                          <a:pt x="229451" y="366995"/>
                        </a:lnTo>
                        <a:lnTo>
                          <a:pt x="233183" y="372868"/>
                        </a:lnTo>
                        <a:lnTo>
                          <a:pt x="224621" y="371879"/>
                        </a:lnTo>
                        <a:lnTo>
                          <a:pt x="219654" y="374267"/>
                        </a:lnTo>
                        <a:lnTo>
                          <a:pt x="214906" y="376572"/>
                        </a:lnTo>
                        <a:lnTo>
                          <a:pt x="208868" y="374267"/>
                        </a:lnTo>
                        <a:lnTo>
                          <a:pt x="207332" y="373691"/>
                        </a:lnTo>
                        <a:lnTo>
                          <a:pt x="205521" y="373005"/>
                        </a:lnTo>
                        <a:lnTo>
                          <a:pt x="202859" y="374267"/>
                        </a:lnTo>
                        <a:lnTo>
                          <a:pt x="199675" y="375804"/>
                        </a:lnTo>
                        <a:lnTo>
                          <a:pt x="198193" y="374267"/>
                        </a:lnTo>
                        <a:lnTo>
                          <a:pt x="196162" y="372154"/>
                        </a:lnTo>
                        <a:lnTo>
                          <a:pt x="190701" y="370590"/>
                        </a:lnTo>
                        <a:lnTo>
                          <a:pt x="190564" y="370123"/>
                        </a:lnTo>
                        <a:lnTo>
                          <a:pt x="192348" y="367352"/>
                        </a:lnTo>
                        <a:lnTo>
                          <a:pt x="185817" y="364992"/>
                        </a:lnTo>
                        <a:lnTo>
                          <a:pt x="184719" y="364580"/>
                        </a:lnTo>
                        <a:lnTo>
                          <a:pt x="184088" y="364992"/>
                        </a:lnTo>
                        <a:lnTo>
                          <a:pt x="182249" y="366144"/>
                        </a:lnTo>
                        <a:lnTo>
                          <a:pt x="181316" y="364992"/>
                        </a:lnTo>
                        <a:lnTo>
                          <a:pt x="178736" y="361863"/>
                        </a:lnTo>
                        <a:lnTo>
                          <a:pt x="166497" y="357747"/>
                        </a:lnTo>
                        <a:lnTo>
                          <a:pt x="165070" y="357253"/>
                        </a:lnTo>
                        <a:lnTo>
                          <a:pt x="160843" y="356127"/>
                        </a:lnTo>
                        <a:lnTo>
                          <a:pt x="159526" y="358185"/>
                        </a:lnTo>
                        <a:lnTo>
                          <a:pt x="159224" y="362631"/>
                        </a:lnTo>
                        <a:lnTo>
                          <a:pt x="153846" y="362247"/>
                        </a:lnTo>
                        <a:lnTo>
                          <a:pt x="139438" y="362247"/>
                        </a:lnTo>
                        <a:cubicBezTo>
                          <a:pt x="139438" y="362247"/>
                          <a:pt x="130574" y="356265"/>
                          <a:pt x="130574" y="356265"/>
                        </a:cubicBezTo>
                        <a:lnTo>
                          <a:pt x="123055" y="357582"/>
                        </a:lnTo>
                        <a:lnTo>
                          <a:pt x="119487" y="354344"/>
                        </a:lnTo>
                        <a:lnTo>
                          <a:pt x="118499" y="353465"/>
                        </a:lnTo>
                        <a:lnTo>
                          <a:pt x="106726" y="349157"/>
                        </a:lnTo>
                        <a:lnTo>
                          <a:pt x="101265" y="347181"/>
                        </a:lnTo>
                        <a:lnTo>
                          <a:pt x="98932" y="348855"/>
                        </a:lnTo>
                        <a:lnTo>
                          <a:pt x="97450" y="348334"/>
                        </a:lnTo>
                        <a:lnTo>
                          <a:pt x="96599" y="346934"/>
                        </a:lnTo>
                        <a:lnTo>
                          <a:pt x="98081" y="345150"/>
                        </a:lnTo>
                        <a:lnTo>
                          <a:pt x="98932" y="342735"/>
                        </a:lnTo>
                        <a:lnTo>
                          <a:pt x="98932" y="339854"/>
                        </a:lnTo>
                        <a:lnTo>
                          <a:pt x="88943" y="338289"/>
                        </a:lnTo>
                        <a:lnTo>
                          <a:pt x="87269" y="336094"/>
                        </a:lnTo>
                        <a:lnTo>
                          <a:pt x="94953" y="328849"/>
                        </a:lnTo>
                        <a:lnTo>
                          <a:pt x="99371" y="307553"/>
                        </a:lnTo>
                        <a:lnTo>
                          <a:pt x="102911" y="290484"/>
                        </a:lnTo>
                        <a:lnTo>
                          <a:pt x="104256" y="284529"/>
                        </a:lnTo>
                        <a:lnTo>
                          <a:pt x="107028" y="281592"/>
                        </a:lnTo>
                        <a:lnTo>
                          <a:pt x="103597" y="276844"/>
                        </a:lnTo>
                        <a:lnTo>
                          <a:pt x="106232" y="248468"/>
                        </a:lnTo>
                        <a:lnTo>
                          <a:pt x="108811" y="246795"/>
                        </a:lnTo>
                        <a:lnTo>
                          <a:pt x="116880" y="256043"/>
                        </a:lnTo>
                        <a:lnTo>
                          <a:pt x="118746" y="254726"/>
                        </a:lnTo>
                        <a:lnTo>
                          <a:pt x="115178" y="248029"/>
                        </a:lnTo>
                        <a:lnTo>
                          <a:pt x="104613" y="239083"/>
                        </a:lnTo>
                        <a:lnTo>
                          <a:pt x="100332" y="228792"/>
                        </a:lnTo>
                        <a:lnTo>
                          <a:pt x="101237" y="226953"/>
                        </a:lnTo>
                        <a:lnTo>
                          <a:pt x="104750" y="232140"/>
                        </a:lnTo>
                        <a:lnTo>
                          <a:pt x="106232" y="231152"/>
                        </a:lnTo>
                        <a:lnTo>
                          <a:pt x="107522" y="224703"/>
                        </a:lnTo>
                        <a:lnTo>
                          <a:pt x="104914" y="218611"/>
                        </a:lnTo>
                        <a:lnTo>
                          <a:pt x="108125" y="212848"/>
                        </a:lnTo>
                        <a:lnTo>
                          <a:pt x="106671" y="212957"/>
                        </a:lnTo>
                        <a:lnTo>
                          <a:pt x="104914" y="213122"/>
                        </a:lnTo>
                        <a:lnTo>
                          <a:pt x="103817" y="214659"/>
                        </a:lnTo>
                        <a:lnTo>
                          <a:pt x="98877" y="211942"/>
                        </a:lnTo>
                        <a:lnTo>
                          <a:pt x="87104" y="205575"/>
                        </a:lnTo>
                        <a:lnTo>
                          <a:pt x="83866" y="198714"/>
                        </a:lnTo>
                        <a:lnTo>
                          <a:pt x="78185" y="192238"/>
                        </a:lnTo>
                        <a:lnTo>
                          <a:pt x="76648" y="190481"/>
                        </a:lnTo>
                        <a:lnTo>
                          <a:pt x="78185" y="187957"/>
                        </a:lnTo>
                        <a:lnTo>
                          <a:pt x="81533" y="182441"/>
                        </a:lnTo>
                        <a:lnTo>
                          <a:pt x="78185" y="179669"/>
                        </a:lnTo>
                        <a:lnTo>
                          <a:pt x="76127" y="177940"/>
                        </a:lnTo>
                        <a:lnTo>
                          <a:pt x="75413" y="172671"/>
                        </a:lnTo>
                        <a:lnTo>
                          <a:pt x="66742" y="170778"/>
                        </a:lnTo>
                        <a:lnTo>
                          <a:pt x="65918" y="167347"/>
                        </a:lnTo>
                        <a:lnTo>
                          <a:pt x="67510" y="164274"/>
                        </a:lnTo>
                        <a:lnTo>
                          <a:pt x="65863" y="161529"/>
                        </a:lnTo>
                        <a:lnTo>
                          <a:pt x="63805" y="161694"/>
                        </a:lnTo>
                        <a:lnTo>
                          <a:pt x="57301" y="162188"/>
                        </a:lnTo>
                        <a:lnTo>
                          <a:pt x="40286" y="153955"/>
                        </a:lnTo>
                        <a:lnTo>
                          <a:pt x="36197" y="148686"/>
                        </a:lnTo>
                        <a:lnTo>
                          <a:pt x="12761" y="147451"/>
                        </a:lnTo>
                        <a:lnTo>
                          <a:pt x="6038" y="139163"/>
                        </a:lnTo>
                        <a:lnTo>
                          <a:pt x="12322" y="134114"/>
                        </a:lnTo>
                        <a:lnTo>
                          <a:pt x="8315" y="129668"/>
                        </a:lnTo>
                        <a:lnTo>
                          <a:pt x="9578" y="126100"/>
                        </a:lnTo>
                        <a:lnTo>
                          <a:pt x="1537" y="124262"/>
                        </a:lnTo>
                        <a:lnTo>
                          <a:pt x="0" y="121517"/>
                        </a:lnTo>
                        <a:lnTo>
                          <a:pt x="2223" y="115782"/>
                        </a:lnTo>
                        <a:lnTo>
                          <a:pt x="12624" y="110952"/>
                        </a:lnTo>
                        <a:lnTo>
                          <a:pt x="20966" y="109140"/>
                        </a:lnTo>
                        <a:lnTo>
                          <a:pt x="32163" y="110979"/>
                        </a:lnTo>
                        <a:lnTo>
                          <a:pt x="35648" y="104365"/>
                        </a:lnTo>
                        <a:lnTo>
                          <a:pt x="46681" y="101950"/>
                        </a:lnTo>
                        <a:lnTo>
                          <a:pt x="60402" y="115919"/>
                        </a:lnTo>
                        <a:lnTo>
                          <a:pt x="63777" y="114272"/>
                        </a:lnTo>
                        <a:lnTo>
                          <a:pt x="65836" y="113284"/>
                        </a:lnTo>
                        <a:lnTo>
                          <a:pt x="70830" y="110869"/>
                        </a:lnTo>
                        <a:lnTo>
                          <a:pt x="78185" y="113915"/>
                        </a:lnTo>
                        <a:lnTo>
                          <a:pt x="82686" y="110238"/>
                        </a:lnTo>
                        <a:lnTo>
                          <a:pt x="87379" y="112928"/>
                        </a:lnTo>
                        <a:lnTo>
                          <a:pt x="93553" y="112461"/>
                        </a:lnTo>
                        <a:lnTo>
                          <a:pt x="95502" y="110128"/>
                        </a:lnTo>
                        <a:lnTo>
                          <a:pt x="93443" y="103927"/>
                        </a:lnTo>
                        <a:lnTo>
                          <a:pt x="92208" y="89080"/>
                        </a:lnTo>
                        <a:lnTo>
                          <a:pt x="86802" y="77389"/>
                        </a:lnTo>
                        <a:lnTo>
                          <a:pt x="84909" y="65561"/>
                        </a:lnTo>
                        <a:lnTo>
                          <a:pt x="101457" y="65643"/>
                        </a:lnTo>
                        <a:lnTo>
                          <a:pt x="102609" y="73163"/>
                        </a:lnTo>
                        <a:lnTo>
                          <a:pt x="106863" y="81286"/>
                        </a:lnTo>
                        <a:lnTo>
                          <a:pt x="111666" y="78240"/>
                        </a:lnTo>
                        <a:lnTo>
                          <a:pt x="134526" y="82795"/>
                        </a:lnTo>
                        <a:lnTo>
                          <a:pt x="147479" y="76922"/>
                        </a:lnTo>
                        <a:lnTo>
                          <a:pt x="148494" y="76429"/>
                        </a:lnTo>
                        <a:lnTo>
                          <a:pt x="148878" y="76374"/>
                        </a:lnTo>
                        <a:lnTo>
                          <a:pt x="149592" y="76264"/>
                        </a:lnTo>
                        <a:lnTo>
                          <a:pt x="149784" y="76264"/>
                        </a:lnTo>
                        <a:cubicBezTo>
                          <a:pt x="149784" y="76264"/>
                          <a:pt x="150525" y="76044"/>
                          <a:pt x="150525" y="76044"/>
                        </a:cubicBezTo>
                        <a:lnTo>
                          <a:pt x="150662" y="76044"/>
                        </a:lnTo>
                        <a:cubicBezTo>
                          <a:pt x="150662" y="76044"/>
                          <a:pt x="151732" y="75688"/>
                          <a:pt x="151732" y="75688"/>
                        </a:cubicBezTo>
                        <a:lnTo>
                          <a:pt x="152281" y="75358"/>
                        </a:lnTo>
                        <a:lnTo>
                          <a:pt x="153324" y="74672"/>
                        </a:lnTo>
                        <a:lnTo>
                          <a:pt x="153763" y="74425"/>
                        </a:lnTo>
                        <a:lnTo>
                          <a:pt x="154010" y="74233"/>
                        </a:lnTo>
                        <a:lnTo>
                          <a:pt x="154312" y="74123"/>
                        </a:lnTo>
                        <a:lnTo>
                          <a:pt x="154587" y="74041"/>
                        </a:lnTo>
                        <a:lnTo>
                          <a:pt x="154998" y="74151"/>
                        </a:lnTo>
                        <a:lnTo>
                          <a:pt x="155163" y="74288"/>
                        </a:lnTo>
                        <a:lnTo>
                          <a:pt x="155602" y="74864"/>
                        </a:lnTo>
                        <a:lnTo>
                          <a:pt x="156233" y="75660"/>
                        </a:lnTo>
                        <a:lnTo>
                          <a:pt x="156590" y="76099"/>
                        </a:lnTo>
                        <a:lnTo>
                          <a:pt x="156864" y="76319"/>
                        </a:lnTo>
                        <a:lnTo>
                          <a:pt x="157002" y="76429"/>
                        </a:lnTo>
                        <a:lnTo>
                          <a:pt x="157303" y="76538"/>
                        </a:lnTo>
                        <a:lnTo>
                          <a:pt x="157440" y="76538"/>
                        </a:lnTo>
                        <a:cubicBezTo>
                          <a:pt x="157440" y="76538"/>
                          <a:pt x="157633" y="76538"/>
                          <a:pt x="157633" y="76538"/>
                        </a:cubicBezTo>
                        <a:lnTo>
                          <a:pt x="157907" y="76484"/>
                        </a:lnTo>
                        <a:lnTo>
                          <a:pt x="158126" y="76374"/>
                        </a:lnTo>
                        <a:lnTo>
                          <a:pt x="158044" y="76291"/>
                        </a:lnTo>
                        <a:lnTo>
                          <a:pt x="157852" y="76291"/>
                        </a:lnTo>
                        <a:cubicBezTo>
                          <a:pt x="157852" y="76291"/>
                          <a:pt x="157440" y="76291"/>
                          <a:pt x="157440" y="76291"/>
                        </a:cubicBezTo>
                        <a:lnTo>
                          <a:pt x="156974" y="76127"/>
                        </a:lnTo>
                        <a:lnTo>
                          <a:pt x="156507" y="75660"/>
                        </a:lnTo>
                        <a:lnTo>
                          <a:pt x="155876" y="74837"/>
                        </a:lnTo>
                        <a:lnTo>
                          <a:pt x="155711" y="74617"/>
                        </a:lnTo>
                        <a:lnTo>
                          <a:pt x="155382" y="74206"/>
                        </a:lnTo>
                        <a:lnTo>
                          <a:pt x="155135" y="73931"/>
                        </a:lnTo>
                        <a:lnTo>
                          <a:pt x="154888" y="73794"/>
                        </a:lnTo>
                        <a:lnTo>
                          <a:pt x="154778" y="73794"/>
                        </a:lnTo>
                        <a:cubicBezTo>
                          <a:pt x="154778" y="73794"/>
                          <a:pt x="154532" y="73739"/>
                          <a:pt x="154532" y="73739"/>
                        </a:cubicBezTo>
                        <a:lnTo>
                          <a:pt x="154312" y="73739"/>
                        </a:lnTo>
                        <a:lnTo>
                          <a:pt x="153983" y="73876"/>
                        </a:lnTo>
                        <a:lnTo>
                          <a:pt x="153763" y="74014"/>
                        </a:lnTo>
                        <a:lnTo>
                          <a:pt x="153324" y="74315"/>
                        </a:lnTo>
                        <a:lnTo>
                          <a:pt x="152583" y="74864"/>
                        </a:lnTo>
                        <a:lnTo>
                          <a:pt x="152501" y="74919"/>
                        </a:lnTo>
                        <a:lnTo>
                          <a:pt x="152172" y="75056"/>
                        </a:lnTo>
                        <a:lnTo>
                          <a:pt x="151568" y="75276"/>
                        </a:lnTo>
                        <a:lnTo>
                          <a:pt x="151129" y="75386"/>
                        </a:lnTo>
                        <a:lnTo>
                          <a:pt x="150827" y="75441"/>
                        </a:lnTo>
                        <a:lnTo>
                          <a:pt x="150305" y="75495"/>
                        </a:lnTo>
                        <a:lnTo>
                          <a:pt x="149647" y="75495"/>
                        </a:lnTo>
                        <a:lnTo>
                          <a:pt x="148659" y="75413"/>
                        </a:lnTo>
                        <a:lnTo>
                          <a:pt x="147835" y="75331"/>
                        </a:lnTo>
                        <a:lnTo>
                          <a:pt x="147671" y="75605"/>
                        </a:lnTo>
                        <a:lnTo>
                          <a:pt x="147479" y="75605"/>
                        </a:lnTo>
                        <a:cubicBezTo>
                          <a:pt x="147479" y="75605"/>
                          <a:pt x="142292" y="72312"/>
                          <a:pt x="142292" y="72312"/>
                        </a:cubicBezTo>
                        <a:lnTo>
                          <a:pt x="144487" y="65506"/>
                        </a:lnTo>
                        <a:lnTo>
                          <a:pt x="147451" y="62872"/>
                        </a:lnTo>
                        <a:lnTo>
                          <a:pt x="180301" y="47504"/>
                        </a:lnTo>
                        <a:lnTo>
                          <a:pt x="186750" y="40808"/>
                        </a:lnTo>
                        <a:lnTo>
                          <a:pt x="185432" y="35429"/>
                        </a:lnTo>
                        <a:lnTo>
                          <a:pt x="188122" y="34386"/>
                        </a:lnTo>
                        <a:lnTo>
                          <a:pt x="186009" y="29583"/>
                        </a:lnTo>
                        <a:lnTo>
                          <a:pt x="187024" y="11663"/>
                        </a:lnTo>
                        <a:lnTo>
                          <a:pt x="201349" y="422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1" name="Freeform: Shape 3010">
                    <a:extLst>
                      <a:ext uri="{FF2B5EF4-FFF2-40B4-BE49-F238E27FC236}">
                        <a16:creationId xmlns:a16="http://schemas.microsoft.com/office/drawing/2014/main" id="{F582B36F-4816-8E45-0A64-9161AB1A36E2}"/>
                      </a:ext>
                    </a:extLst>
                  </p:cNvPr>
                  <p:cNvSpPr/>
                  <p:nvPr/>
                </p:nvSpPr>
                <p:spPr>
                  <a:xfrm>
                    <a:off x="-6034057" y="3475378"/>
                    <a:ext cx="27991" cy="62185"/>
                  </a:xfrm>
                  <a:custGeom>
                    <a:avLst/>
                    <a:gdLst>
                      <a:gd name="connsiteX0" fmla="*/ 22394 w 27991"/>
                      <a:gd name="connsiteY0" fmla="*/ 53404 h 62185"/>
                      <a:gd name="connsiteX1" fmla="*/ 18085 w 27991"/>
                      <a:gd name="connsiteY1" fmla="*/ 62186 h 62185"/>
                      <a:gd name="connsiteX2" fmla="*/ 6943 w 27991"/>
                      <a:gd name="connsiteY2" fmla="*/ 56368 h 62185"/>
                      <a:gd name="connsiteX3" fmla="*/ 6010 w 27991"/>
                      <a:gd name="connsiteY3" fmla="*/ 53404 h 62185"/>
                      <a:gd name="connsiteX4" fmla="*/ 7739 w 27991"/>
                      <a:gd name="connsiteY4" fmla="*/ 51565 h 62185"/>
                      <a:gd name="connsiteX5" fmla="*/ 2415 w 27991"/>
                      <a:gd name="connsiteY5" fmla="*/ 40506 h 62185"/>
                      <a:gd name="connsiteX6" fmla="*/ 0 w 27991"/>
                      <a:gd name="connsiteY6" fmla="*/ 23628 h 62185"/>
                      <a:gd name="connsiteX7" fmla="*/ 4994 w 27991"/>
                      <a:gd name="connsiteY7" fmla="*/ 16246 h 62185"/>
                      <a:gd name="connsiteX8" fmla="*/ 9331 w 27991"/>
                      <a:gd name="connsiteY8" fmla="*/ 13310 h 62185"/>
                      <a:gd name="connsiteX9" fmla="*/ 14956 w 27991"/>
                      <a:gd name="connsiteY9" fmla="*/ 10126 h 62185"/>
                      <a:gd name="connsiteX10" fmla="*/ 20500 w 27991"/>
                      <a:gd name="connsiteY10" fmla="*/ 9824 h 62185"/>
                      <a:gd name="connsiteX11" fmla="*/ 22339 w 27991"/>
                      <a:gd name="connsiteY11" fmla="*/ 1125 h 62185"/>
                      <a:gd name="connsiteX12" fmla="*/ 24040 w 27991"/>
                      <a:gd name="connsiteY12" fmla="*/ 0 h 62185"/>
                      <a:gd name="connsiteX13" fmla="*/ 25659 w 27991"/>
                      <a:gd name="connsiteY13" fmla="*/ 2772 h 62185"/>
                      <a:gd name="connsiteX14" fmla="*/ 26565 w 27991"/>
                      <a:gd name="connsiteY14" fmla="*/ 13310 h 62185"/>
                      <a:gd name="connsiteX15" fmla="*/ 27388 w 27991"/>
                      <a:gd name="connsiteY15" fmla="*/ 22558 h 62185"/>
                      <a:gd name="connsiteX16" fmla="*/ 27992 w 27991"/>
                      <a:gd name="connsiteY16" fmla="*/ 29419 h 62185"/>
                      <a:gd name="connsiteX17" fmla="*/ 25412 w 27991"/>
                      <a:gd name="connsiteY17" fmla="*/ 39051 h 62185"/>
                      <a:gd name="connsiteX18" fmla="*/ 23820 w 27991"/>
                      <a:gd name="connsiteY18" fmla="*/ 44018 h 62185"/>
                      <a:gd name="connsiteX19" fmla="*/ 23189 w 27991"/>
                      <a:gd name="connsiteY19" fmla="*/ 51538 h 62185"/>
                      <a:gd name="connsiteX20" fmla="*/ 22421 w 27991"/>
                      <a:gd name="connsiteY20" fmla="*/ 53376 h 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991" h="62185">
                        <a:moveTo>
                          <a:pt x="22394" y="53404"/>
                        </a:moveTo>
                        <a:lnTo>
                          <a:pt x="18085" y="62186"/>
                        </a:lnTo>
                        <a:lnTo>
                          <a:pt x="6943" y="56368"/>
                        </a:lnTo>
                        <a:lnTo>
                          <a:pt x="6010" y="53404"/>
                        </a:lnTo>
                        <a:lnTo>
                          <a:pt x="7739" y="51565"/>
                        </a:lnTo>
                        <a:lnTo>
                          <a:pt x="2415" y="40506"/>
                        </a:lnTo>
                        <a:lnTo>
                          <a:pt x="0" y="23628"/>
                        </a:lnTo>
                        <a:lnTo>
                          <a:pt x="4994" y="16246"/>
                        </a:lnTo>
                        <a:lnTo>
                          <a:pt x="9331" y="13310"/>
                        </a:lnTo>
                        <a:lnTo>
                          <a:pt x="14956" y="10126"/>
                        </a:lnTo>
                        <a:lnTo>
                          <a:pt x="20500" y="9824"/>
                        </a:lnTo>
                        <a:lnTo>
                          <a:pt x="22339" y="1125"/>
                        </a:lnTo>
                        <a:lnTo>
                          <a:pt x="24040" y="0"/>
                        </a:lnTo>
                        <a:lnTo>
                          <a:pt x="25659" y="2772"/>
                        </a:lnTo>
                        <a:lnTo>
                          <a:pt x="26565" y="13310"/>
                        </a:lnTo>
                        <a:lnTo>
                          <a:pt x="27388" y="22558"/>
                        </a:lnTo>
                        <a:lnTo>
                          <a:pt x="27992" y="29419"/>
                        </a:lnTo>
                        <a:lnTo>
                          <a:pt x="25412" y="39051"/>
                        </a:lnTo>
                        <a:lnTo>
                          <a:pt x="23820" y="44018"/>
                        </a:lnTo>
                        <a:lnTo>
                          <a:pt x="23189" y="51538"/>
                        </a:lnTo>
                        <a:lnTo>
                          <a:pt x="22421" y="5337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2" name="Freeform: Shape 3011">
                    <a:extLst>
                      <a:ext uri="{FF2B5EF4-FFF2-40B4-BE49-F238E27FC236}">
                        <a16:creationId xmlns:a16="http://schemas.microsoft.com/office/drawing/2014/main" id="{9ED71EF8-6BB8-B7B3-C3CF-50BE20F15469}"/>
                      </a:ext>
                    </a:extLst>
                  </p:cNvPr>
                  <p:cNvSpPr/>
                  <p:nvPr/>
                </p:nvSpPr>
                <p:spPr>
                  <a:xfrm>
                    <a:off x="-6382747" y="3290659"/>
                    <a:ext cx="4391" cy="4143"/>
                  </a:xfrm>
                  <a:custGeom>
                    <a:avLst/>
                    <a:gdLst>
                      <a:gd name="connsiteX0" fmla="*/ 0 w 4391"/>
                      <a:gd name="connsiteY0" fmla="*/ 1537 h 4143"/>
                      <a:gd name="connsiteX1" fmla="*/ 302 w 4391"/>
                      <a:gd name="connsiteY1" fmla="*/ 0 h 4143"/>
                      <a:gd name="connsiteX2" fmla="*/ 3129 w 4391"/>
                      <a:gd name="connsiteY2" fmla="*/ 1043 h 4143"/>
                      <a:gd name="connsiteX3" fmla="*/ 4391 w 4391"/>
                      <a:gd name="connsiteY3" fmla="*/ 4144 h 4143"/>
                      <a:gd name="connsiteX4" fmla="*/ 1290 w 4391"/>
                      <a:gd name="connsiteY4" fmla="*/ 4089 h 4143"/>
                      <a:gd name="connsiteX5" fmla="*/ 27 w 4391"/>
                      <a:gd name="connsiteY5" fmla="*/ 1509 h 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1" h="4143">
                        <a:moveTo>
                          <a:pt x="0" y="1537"/>
                        </a:moveTo>
                        <a:lnTo>
                          <a:pt x="302" y="0"/>
                        </a:lnTo>
                        <a:lnTo>
                          <a:pt x="3129" y="1043"/>
                        </a:lnTo>
                        <a:lnTo>
                          <a:pt x="4391" y="4144"/>
                        </a:lnTo>
                        <a:lnTo>
                          <a:pt x="1290" y="4089"/>
                        </a:lnTo>
                        <a:lnTo>
                          <a:pt x="27" y="150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3" name="Freeform: Shape 3012">
                    <a:extLst>
                      <a:ext uri="{FF2B5EF4-FFF2-40B4-BE49-F238E27FC236}">
                        <a16:creationId xmlns:a16="http://schemas.microsoft.com/office/drawing/2014/main" id="{A6D93BD2-263E-C6B8-46E5-ADCAB8F165E1}"/>
                      </a:ext>
                    </a:extLst>
                  </p:cNvPr>
                  <p:cNvSpPr/>
                  <p:nvPr/>
                </p:nvSpPr>
                <p:spPr>
                  <a:xfrm>
                    <a:off x="-6355359" y="3305396"/>
                    <a:ext cx="3128" cy="4363"/>
                  </a:xfrm>
                  <a:custGeom>
                    <a:avLst/>
                    <a:gdLst>
                      <a:gd name="connsiteX0" fmla="*/ 0 w 3128"/>
                      <a:gd name="connsiteY0" fmla="*/ 247 h 4363"/>
                      <a:gd name="connsiteX1" fmla="*/ 2744 w 3128"/>
                      <a:gd name="connsiteY1" fmla="*/ 0 h 4363"/>
                      <a:gd name="connsiteX2" fmla="*/ 3128 w 3128"/>
                      <a:gd name="connsiteY2" fmla="*/ 3238 h 4363"/>
                      <a:gd name="connsiteX3" fmla="*/ 1756 w 3128"/>
                      <a:gd name="connsiteY3" fmla="*/ 4364 h 4363"/>
                      <a:gd name="connsiteX4" fmla="*/ 164 w 3128"/>
                      <a:gd name="connsiteY4" fmla="*/ 2882 h 4363"/>
                      <a:gd name="connsiteX5" fmla="*/ 0 w 3128"/>
                      <a:gd name="connsiteY5" fmla="*/ 220 h 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4363">
                        <a:moveTo>
                          <a:pt x="0" y="247"/>
                        </a:moveTo>
                        <a:lnTo>
                          <a:pt x="2744" y="0"/>
                        </a:lnTo>
                        <a:lnTo>
                          <a:pt x="3128" y="3238"/>
                        </a:lnTo>
                        <a:lnTo>
                          <a:pt x="1756" y="4364"/>
                        </a:lnTo>
                        <a:lnTo>
                          <a:pt x="164" y="2882"/>
                        </a:lnTo>
                        <a:lnTo>
                          <a:pt x="0" y="22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4" name="Freeform: Shape 3013">
                    <a:extLst>
                      <a:ext uri="{FF2B5EF4-FFF2-40B4-BE49-F238E27FC236}">
                        <a16:creationId xmlns:a16="http://schemas.microsoft.com/office/drawing/2014/main" id="{BB54B3D8-8D57-6D60-258B-6C54C1A86743}"/>
                      </a:ext>
                    </a:extLst>
                  </p:cNvPr>
                  <p:cNvSpPr/>
                  <p:nvPr/>
                </p:nvSpPr>
                <p:spPr>
                  <a:xfrm>
                    <a:off x="-6333075" y="3339096"/>
                    <a:ext cx="3484" cy="2689"/>
                  </a:xfrm>
                  <a:custGeom>
                    <a:avLst/>
                    <a:gdLst>
                      <a:gd name="connsiteX0" fmla="*/ 3211 w 3484"/>
                      <a:gd name="connsiteY0" fmla="*/ 2278 h 2689"/>
                      <a:gd name="connsiteX1" fmla="*/ 2936 w 3484"/>
                      <a:gd name="connsiteY1" fmla="*/ 2689 h 2689"/>
                      <a:gd name="connsiteX2" fmla="*/ 1070 w 3484"/>
                      <a:gd name="connsiteY2" fmla="*/ 2689 h 2689"/>
                      <a:gd name="connsiteX3" fmla="*/ 0 w 3484"/>
                      <a:gd name="connsiteY3" fmla="*/ 768 h 2689"/>
                      <a:gd name="connsiteX4" fmla="*/ 1866 w 3484"/>
                      <a:gd name="connsiteY4" fmla="*/ 0 h 2689"/>
                      <a:gd name="connsiteX5" fmla="*/ 3485 w 3484"/>
                      <a:gd name="connsiteY5" fmla="*/ 1564 h 2689"/>
                      <a:gd name="connsiteX6" fmla="*/ 3211 w 3484"/>
                      <a:gd name="connsiteY6" fmla="*/ 2305 h 2689"/>
                      <a:gd name="connsiteX7" fmla="*/ 3211 w 3484"/>
                      <a:gd name="connsiteY7" fmla="*/ 2305 h 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4" h="2689">
                        <a:moveTo>
                          <a:pt x="3211" y="2278"/>
                        </a:moveTo>
                        <a:lnTo>
                          <a:pt x="2936" y="2689"/>
                        </a:lnTo>
                        <a:lnTo>
                          <a:pt x="1070" y="2689"/>
                        </a:lnTo>
                        <a:lnTo>
                          <a:pt x="0" y="768"/>
                        </a:lnTo>
                        <a:lnTo>
                          <a:pt x="1866" y="0"/>
                        </a:lnTo>
                        <a:lnTo>
                          <a:pt x="3485" y="1564"/>
                        </a:lnTo>
                        <a:lnTo>
                          <a:pt x="3211" y="2305"/>
                        </a:lnTo>
                        <a:lnTo>
                          <a:pt x="3211" y="230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5" name="Freeform: Shape 3014">
                    <a:extLst>
                      <a:ext uri="{FF2B5EF4-FFF2-40B4-BE49-F238E27FC236}">
                        <a16:creationId xmlns:a16="http://schemas.microsoft.com/office/drawing/2014/main" id="{8B4F13B0-6EEF-6622-410C-F1D835EE2C7D}"/>
                      </a:ext>
                    </a:extLst>
                  </p:cNvPr>
                  <p:cNvSpPr/>
                  <p:nvPr/>
                </p:nvSpPr>
                <p:spPr>
                  <a:xfrm>
                    <a:off x="-6329782" y="3340112"/>
                    <a:ext cx="1619" cy="2305"/>
                  </a:xfrm>
                  <a:custGeom>
                    <a:avLst/>
                    <a:gdLst>
                      <a:gd name="connsiteX0" fmla="*/ 0 w 1619"/>
                      <a:gd name="connsiteY0" fmla="*/ 1125 h 2305"/>
                      <a:gd name="connsiteX1" fmla="*/ 714 w 1619"/>
                      <a:gd name="connsiteY1" fmla="*/ 0 h 2305"/>
                      <a:gd name="connsiteX2" fmla="*/ 1619 w 1619"/>
                      <a:gd name="connsiteY2" fmla="*/ 55 h 2305"/>
                      <a:gd name="connsiteX3" fmla="*/ 1619 w 1619"/>
                      <a:gd name="connsiteY3" fmla="*/ 1647 h 2305"/>
                      <a:gd name="connsiteX4" fmla="*/ 796 w 1619"/>
                      <a:gd name="connsiteY4" fmla="*/ 2305 h 2305"/>
                      <a:gd name="connsiteX5" fmla="*/ 0 w 1619"/>
                      <a:gd name="connsiteY5" fmla="*/ 1125 h 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 h="2305">
                        <a:moveTo>
                          <a:pt x="0" y="1125"/>
                        </a:moveTo>
                        <a:lnTo>
                          <a:pt x="714" y="0"/>
                        </a:lnTo>
                        <a:lnTo>
                          <a:pt x="1619" y="55"/>
                        </a:lnTo>
                        <a:lnTo>
                          <a:pt x="1619" y="1647"/>
                        </a:lnTo>
                        <a:lnTo>
                          <a:pt x="796" y="2305"/>
                        </a:lnTo>
                        <a:lnTo>
                          <a:pt x="0" y="112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6" name="Freeform: Shape 3015">
                    <a:extLst>
                      <a:ext uri="{FF2B5EF4-FFF2-40B4-BE49-F238E27FC236}">
                        <a16:creationId xmlns:a16="http://schemas.microsoft.com/office/drawing/2014/main" id="{2709584C-4310-E79E-5F67-9C85CF9D2078}"/>
                      </a:ext>
                    </a:extLst>
                  </p:cNvPr>
                  <p:cNvSpPr/>
                  <p:nvPr/>
                </p:nvSpPr>
                <p:spPr>
                  <a:xfrm>
                    <a:off x="-5888993" y="3327515"/>
                    <a:ext cx="173576" cy="151979"/>
                  </a:xfrm>
                  <a:custGeom>
                    <a:avLst/>
                    <a:gdLst>
                      <a:gd name="connsiteX0" fmla="*/ 90342 w 173576"/>
                      <a:gd name="connsiteY0" fmla="*/ 2442 h 151979"/>
                      <a:gd name="connsiteX1" fmla="*/ 97916 w 173576"/>
                      <a:gd name="connsiteY1" fmla="*/ 7794 h 151979"/>
                      <a:gd name="connsiteX2" fmla="*/ 98547 w 173576"/>
                      <a:gd name="connsiteY2" fmla="*/ 9083 h 151979"/>
                      <a:gd name="connsiteX3" fmla="*/ 106644 w 173576"/>
                      <a:gd name="connsiteY3" fmla="*/ 15890 h 151979"/>
                      <a:gd name="connsiteX4" fmla="*/ 110842 w 173576"/>
                      <a:gd name="connsiteY4" fmla="*/ 23162 h 151979"/>
                      <a:gd name="connsiteX5" fmla="*/ 118526 w 173576"/>
                      <a:gd name="connsiteY5" fmla="*/ 25577 h 151979"/>
                      <a:gd name="connsiteX6" fmla="*/ 121353 w 173576"/>
                      <a:gd name="connsiteY6" fmla="*/ 29117 h 151979"/>
                      <a:gd name="connsiteX7" fmla="*/ 129037 w 173576"/>
                      <a:gd name="connsiteY7" fmla="*/ 31504 h 151979"/>
                      <a:gd name="connsiteX8" fmla="*/ 144514 w 173576"/>
                      <a:gd name="connsiteY8" fmla="*/ 33069 h 151979"/>
                      <a:gd name="connsiteX9" fmla="*/ 151074 w 173576"/>
                      <a:gd name="connsiteY9" fmla="*/ 26976 h 151979"/>
                      <a:gd name="connsiteX10" fmla="*/ 155766 w 173576"/>
                      <a:gd name="connsiteY10" fmla="*/ 26318 h 151979"/>
                      <a:gd name="connsiteX11" fmla="*/ 157770 w 173576"/>
                      <a:gd name="connsiteY11" fmla="*/ 26016 h 151979"/>
                      <a:gd name="connsiteX12" fmla="*/ 159636 w 173576"/>
                      <a:gd name="connsiteY12" fmla="*/ 37158 h 151979"/>
                      <a:gd name="connsiteX13" fmla="*/ 158758 w 173576"/>
                      <a:gd name="connsiteY13" fmla="*/ 40396 h 151979"/>
                      <a:gd name="connsiteX14" fmla="*/ 162984 w 173576"/>
                      <a:gd name="connsiteY14" fmla="*/ 42838 h 151979"/>
                      <a:gd name="connsiteX15" fmla="*/ 162051 w 173576"/>
                      <a:gd name="connsiteY15" fmla="*/ 44320 h 151979"/>
                      <a:gd name="connsiteX16" fmla="*/ 161228 w 173576"/>
                      <a:gd name="connsiteY16" fmla="*/ 46488 h 151979"/>
                      <a:gd name="connsiteX17" fmla="*/ 160980 w 173576"/>
                      <a:gd name="connsiteY17" fmla="*/ 48492 h 151979"/>
                      <a:gd name="connsiteX18" fmla="*/ 164933 w 173576"/>
                      <a:gd name="connsiteY18" fmla="*/ 52443 h 151979"/>
                      <a:gd name="connsiteX19" fmla="*/ 172561 w 173576"/>
                      <a:gd name="connsiteY19" fmla="*/ 55078 h 151979"/>
                      <a:gd name="connsiteX20" fmla="*/ 173577 w 173576"/>
                      <a:gd name="connsiteY20" fmla="*/ 57658 h 151979"/>
                      <a:gd name="connsiteX21" fmla="*/ 164356 w 173576"/>
                      <a:gd name="connsiteY21" fmla="*/ 59057 h 151979"/>
                      <a:gd name="connsiteX22" fmla="*/ 164905 w 173576"/>
                      <a:gd name="connsiteY22" fmla="*/ 66577 h 151979"/>
                      <a:gd name="connsiteX23" fmla="*/ 161118 w 173576"/>
                      <a:gd name="connsiteY23" fmla="*/ 69376 h 151979"/>
                      <a:gd name="connsiteX24" fmla="*/ 161749 w 173576"/>
                      <a:gd name="connsiteY24" fmla="*/ 70666 h 151979"/>
                      <a:gd name="connsiteX25" fmla="*/ 157001 w 173576"/>
                      <a:gd name="connsiteY25" fmla="*/ 70666 h 151979"/>
                      <a:gd name="connsiteX26" fmla="*/ 155135 w 173576"/>
                      <a:gd name="connsiteY26" fmla="*/ 69376 h 151979"/>
                      <a:gd name="connsiteX27" fmla="*/ 153791 w 173576"/>
                      <a:gd name="connsiteY27" fmla="*/ 63860 h 151979"/>
                      <a:gd name="connsiteX28" fmla="*/ 147259 w 173576"/>
                      <a:gd name="connsiteY28" fmla="*/ 60978 h 151979"/>
                      <a:gd name="connsiteX29" fmla="*/ 139163 w 173576"/>
                      <a:gd name="connsiteY29" fmla="*/ 59579 h 151979"/>
                      <a:gd name="connsiteX30" fmla="*/ 136117 w 173576"/>
                      <a:gd name="connsiteY30" fmla="*/ 61171 h 151979"/>
                      <a:gd name="connsiteX31" fmla="*/ 132220 w 173576"/>
                      <a:gd name="connsiteY31" fmla="*/ 59112 h 151979"/>
                      <a:gd name="connsiteX32" fmla="*/ 126759 w 173576"/>
                      <a:gd name="connsiteY32" fmla="*/ 62186 h 151979"/>
                      <a:gd name="connsiteX33" fmla="*/ 122341 w 173576"/>
                      <a:gd name="connsiteY33" fmla="*/ 59688 h 151979"/>
                      <a:gd name="connsiteX34" fmla="*/ 106424 w 173576"/>
                      <a:gd name="connsiteY34" fmla="*/ 57850 h 151979"/>
                      <a:gd name="connsiteX35" fmla="*/ 100633 w 173576"/>
                      <a:gd name="connsiteY35" fmla="*/ 54392 h 151979"/>
                      <a:gd name="connsiteX36" fmla="*/ 96380 w 173576"/>
                      <a:gd name="connsiteY36" fmla="*/ 56478 h 151979"/>
                      <a:gd name="connsiteX37" fmla="*/ 89217 w 173576"/>
                      <a:gd name="connsiteY37" fmla="*/ 55462 h 151979"/>
                      <a:gd name="connsiteX38" fmla="*/ 81615 w 173576"/>
                      <a:gd name="connsiteY38" fmla="*/ 64546 h 151979"/>
                      <a:gd name="connsiteX39" fmla="*/ 73300 w 173576"/>
                      <a:gd name="connsiteY39" fmla="*/ 56532 h 151979"/>
                      <a:gd name="connsiteX40" fmla="*/ 68169 w 173576"/>
                      <a:gd name="connsiteY40" fmla="*/ 55325 h 151979"/>
                      <a:gd name="connsiteX41" fmla="*/ 65122 w 173576"/>
                      <a:gd name="connsiteY41" fmla="*/ 67345 h 151979"/>
                      <a:gd name="connsiteX42" fmla="*/ 65781 w 173576"/>
                      <a:gd name="connsiteY42" fmla="*/ 69376 h 151979"/>
                      <a:gd name="connsiteX43" fmla="*/ 66522 w 173576"/>
                      <a:gd name="connsiteY43" fmla="*/ 74315 h 151979"/>
                      <a:gd name="connsiteX44" fmla="*/ 71214 w 173576"/>
                      <a:gd name="connsiteY44" fmla="*/ 76840 h 151979"/>
                      <a:gd name="connsiteX45" fmla="*/ 75606 w 173576"/>
                      <a:gd name="connsiteY45" fmla="*/ 84058 h 151979"/>
                      <a:gd name="connsiteX46" fmla="*/ 76676 w 173576"/>
                      <a:gd name="connsiteY46" fmla="*/ 85540 h 151979"/>
                      <a:gd name="connsiteX47" fmla="*/ 76730 w 173576"/>
                      <a:gd name="connsiteY47" fmla="*/ 87241 h 151979"/>
                      <a:gd name="connsiteX48" fmla="*/ 78761 w 173576"/>
                      <a:gd name="connsiteY48" fmla="*/ 91797 h 151979"/>
                      <a:gd name="connsiteX49" fmla="*/ 77910 w 173576"/>
                      <a:gd name="connsiteY49" fmla="*/ 97313 h 151979"/>
                      <a:gd name="connsiteX50" fmla="*/ 79146 w 173576"/>
                      <a:gd name="connsiteY50" fmla="*/ 97148 h 151979"/>
                      <a:gd name="connsiteX51" fmla="*/ 80545 w 173576"/>
                      <a:gd name="connsiteY51" fmla="*/ 98602 h 151979"/>
                      <a:gd name="connsiteX52" fmla="*/ 88833 w 173576"/>
                      <a:gd name="connsiteY52" fmla="*/ 106945 h 151979"/>
                      <a:gd name="connsiteX53" fmla="*/ 102746 w 173576"/>
                      <a:gd name="connsiteY53" fmla="*/ 123247 h 151979"/>
                      <a:gd name="connsiteX54" fmla="*/ 107055 w 173576"/>
                      <a:gd name="connsiteY54" fmla="*/ 125771 h 151979"/>
                      <a:gd name="connsiteX55" fmla="*/ 110650 w 173576"/>
                      <a:gd name="connsiteY55" fmla="*/ 127884 h 151979"/>
                      <a:gd name="connsiteX56" fmla="*/ 110842 w 173576"/>
                      <a:gd name="connsiteY56" fmla="*/ 132879 h 151979"/>
                      <a:gd name="connsiteX57" fmla="*/ 115535 w 173576"/>
                      <a:gd name="connsiteY57" fmla="*/ 139328 h 151979"/>
                      <a:gd name="connsiteX58" fmla="*/ 121600 w 173576"/>
                      <a:gd name="connsiteY58" fmla="*/ 145475 h 151979"/>
                      <a:gd name="connsiteX59" fmla="*/ 119349 w 173576"/>
                      <a:gd name="connsiteY59" fmla="*/ 148933 h 151979"/>
                      <a:gd name="connsiteX60" fmla="*/ 119267 w 173576"/>
                      <a:gd name="connsiteY60" fmla="*/ 148933 h 151979"/>
                      <a:gd name="connsiteX61" fmla="*/ 119102 w 173576"/>
                      <a:gd name="connsiteY61" fmla="*/ 149015 h 151979"/>
                      <a:gd name="connsiteX62" fmla="*/ 118993 w 173576"/>
                      <a:gd name="connsiteY62" fmla="*/ 149180 h 151979"/>
                      <a:gd name="connsiteX63" fmla="*/ 118883 w 173576"/>
                      <a:gd name="connsiteY63" fmla="*/ 149372 h 151979"/>
                      <a:gd name="connsiteX64" fmla="*/ 118883 w 173576"/>
                      <a:gd name="connsiteY64" fmla="*/ 149592 h 151979"/>
                      <a:gd name="connsiteX65" fmla="*/ 118883 w 173576"/>
                      <a:gd name="connsiteY65" fmla="*/ 149839 h 151979"/>
                      <a:gd name="connsiteX66" fmla="*/ 118938 w 173576"/>
                      <a:gd name="connsiteY66" fmla="*/ 150031 h 151979"/>
                      <a:gd name="connsiteX67" fmla="*/ 119047 w 173576"/>
                      <a:gd name="connsiteY67" fmla="*/ 150223 h 151979"/>
                      <a:gd name="connsiteX68" fmla="*/ 119212 w 173576"/>
                      <a:gd name="connsiteY68" fmla="*/ 150333 h 151979"/>
                      <a:gd name="connsiteX69" fmla="*/ 118361 w 173576"/>
                      <a:gd name="connsiteY69" fmla="*/ 151979 h 151979"/>
                      <a:gd name="connsiteX70" fmla="*/ 113422 w 173576"/>
                      <a:gd name="connsiteY70" fmla="*/ 150085 h 151979"/>
                      <a:gd name="connsiteX71" fmla="*/ 115315 w 173576"/>
                      <a:gd name="connsiteY71" fmla="*/ 147039 h 151979"/>
                      <a:gd name="connsiteX72" fmla="*/ 112736 w 173576"/>
                      <a:gd name="connsiteY72" fmla="*/ 143088 h 151979"/>
                      <a:gd name="connsiteX73" fmla="*/ 101183 w 173576"/>
                      <a:gd name="connsiteY73" fmla="*/ 134882 h 151979"/>
                      <a:gd name="connsiteX74" fmla="*/ 89464 w 173576"/>
                      <a:gd name="connsiteY74" fmla="*/ 134333 h 151979"/>
                      <a:gd name="connsiteX75" fmla="*/ 88915 w 173576"/>
                      <a:gd name="connsiteY75" fmla="*/ 132193 h 151979"/>
                      <a:gd name="connsiteX76" fmla="*/ 92181 w 173576"/>
                      <a:gd name="connsiteY76" fmla="*/ 130189 h 151979"/>
                      <a:gd name="connsiteX77" fmla="*/ 87708 w 173576"/>
                      <a:gd name="connsiteY77" fmla="*/ 126786 h 151979"/>
                      <a:gd name="connsiteX78" fmla="*/ 73328 w 173576"/>
                      <a:gd name="connsiteY78" fmla="*/ 126210 h 151979"/>
                      <a:gd name="connsiteX79" fmla="*/ 67949 w 173576"/>
                      <a:gd name="connsiteY79" fmla="*/ 117236 h 151979"/>
                      <a:gd name="connsiteX80" fmla="*/ 59881 w 173576"/>
                      <a:gd name="connsiteY80" fmla="*/ 111144 h 151979"/>
                      <a:gd name="connsiteX81" fmla="*/ 54886 w 173576"/>
                      <a:gd name="connsiteY81" fmla="*/ 108976 h 151979"/>
                      <a:gd name="connsiteX82" fmla="*/ 48959 w 173576"/>
                      <a:gd name="connsiteY82" fmla="*/ 99673 h 151979"/>
                      <a:gd name="connsiteX83" fmla="*/ 49974 w 173576"/>
                      <a:gd name="connsiteY83" fmla="*/ 95611 h 151979"/>
                      <a:gd name="connsiteX84" fmla="*/ 53789 w 173576"/>
                      <a:gd name="connsiteY84" fmla="*/ 93690 h 151979"/>
                      <a:gd name="connsiteX85" fmla="*/ 51949 w 173576"/>
                      <a:gd name="connsiteY85" fmla="*/ 91028 h 151979"/>
                      <a:gd name="connsiteX86" fmla="*/ 41988 w 173576"/>
                      <a:gd name="connsiteY86" fmla="*/ 83015 h 151979"/>
                      <a:gd name="connsiteX87" fmla="*/ 39957 w 173576"/>
                      <a:gd name="connsiteY87" fmla="*/ 63421 h 151979"/>
                      <a:gd name="connsiteX88" fmla="*/ 36334 w 173576"/>
                      <a:gd name="connsiteY88" fmla="*/ 60402 h 151979"/>
                      <a:gd name="connsiteX89" fmla="*/ 35868 w 173576"/>
                      <a:gd name="connsiteY89" fmla="*/ 64930 h 151979"/>
                      <a:gd name="connsiteX90" fmla="*/ 29831 w 173576"/>
                      <a:gd name="connsiteY90" fmla="*/ 62927 h 151979"/>
                      <a:gd name="connsiteX91" fmla="*/ 28925 w 173576"/>
                      <a:gd name="connsiteY91" fmla="*/ 54749 h 151979"/>
                      <a:gd name="connsiteX92" fmla="*/ 25687 w 173576"/>
                      <a:gd name="connsiteY92" fmla="*/ 51730 h 151979"/>
                      <a:gd name="connsiteX93" fmla="*/ 22970 w 173576"/>
                      <a:gd name="connsiteY93" fmla="*/ 52773 h 151979"/>
                      <a:gd name="connsiteX94" fmla="*/ 20720 w 173576"/>
                      <a:gd name="connsiteY94" fmla="*/ 58289 h 151979"/>
                      <a:gd name="connsiteX95" fmla="*/ 13667 w 173576"/>
                      <a:gd name="connsiteY95" fmla="*/ 71709 h 151979"/>
                      <a:gd name="connsiteX96" fmla="*/ 12404 w 173576"/>
                      <a:gd name="connsiteY96" fmla="*/ 73794 h 151979"/>
                      <a:gd name="connsiteX97" fmla="*/ 11608 w 173576"/>
                      <a:gd name="connsiteY97" fmla="*/ 72120 h 151979"/>
                      <a:gd name="connsiteX98" fmla="*/ 9825 w 173576"/>
                      <a:gd name="connsiteY98" fmla="*/ 71681 h 151979"/>
                      <a:gd name="connsiteX99" fmla="*/ 2168 w 173576"/>
                      <a:gd name="connsiteY99" fmla="*/ 57465 h 151979"/>
                      <a:gd name="connsiteX100" fmla="*/ 0 w 173576"/>
                      <a:gd name="connsiteY100" fmla="*/ 45281 h 151979"/>
                      <a:gd name="connsiteX101" fmla="*/ 3787 w 173576"/>
                      <a:gd name="connsiteY101" fmla="*/ 45720 h 151979"/>
                      <a:gd name="connsiteX102" fmla="*/ 17317 w 173576"/>
                      <a:gd name="connsiteY102" fmla="*/ 44540 h 151979"/>
                      <a:gd name="connsiteX103" fmla="*/ 17536 w 173576"/>
                      <a:gd name="connsiteY103" fmla="*/ 44540 h 151979"/>
                      <a:gd name="connsiteX104" fmla="*/ 25467 w 173576"/>
                      <a:gd name="connsiteY104" fmla="*/ 43826 h 151979"/>
                      <a:gd name="connsiteX105" fmla="*/ 30846 w 173576"/>
                      <a:gd name="connsiteY105" fmla="*/ 36526 h 151979"/>
                      <a:gd name="connsiteX106" fmla="*/ 36637 w 173576"/>
                      <a:gd name="connsiteY106" fmla="*/ 43305 h 151979"/>
                      <a:gd name="connsiteX107" fmla="*/ 38859 w 173576"/>
                      <a:gd name="connsiteY107" fmla="*/ 44979 h 151979"/>
                      <a:gd name="connsiteX108" fmla="*/ 42811 w 173576"/>
                      <a:gd name="connsiteY108" fmla="*/ 43250 h 151979"/>
                      <a:gd name="connsiteX109" fmla="*/ 50138 w 173576"/>
                      <a:gd name="connsiteY109" fmla="*/ 46845 h 151979"/>
                      <a:gd name="connsiteX110" fmla="*/ 54063 w 173576"/>
                      <a:gd name="connsiteY110" fmla="*/ 44403 h 151979"/>
                      <a:gd name="connsiteX111" fmla="*/ 52169 w 173576"/>
                      <a:gd name="connsiteY111" fmla="*/ 39984 h 151979"/>
                      <a:gd name="connsiteX112" fmla="*/ 51867 w 173576"/>
                      <a:gd name="connsiteY112" fmla="*/ 34304 h 151979"/>
                      <a:gd name="connsiteX113" fmla="*/ 53239 w 173576"/>
                      <a:gd name="connsiteY113" fmla="*/ 32739 h 151979"/>
                      <a:gd name="connsiteX114" fmla="*/ 55380 w 173576"/>
                      <a:gd name="connsiteY114" fmla="*/ 31477 h 151979"/>
                      <a:gd name="connsiteX115" fmla="*/ 62707 w 173576"/>
                      <a:gd name="connsiteY115" fmla="*/ 29419 h 151979"/>
                      <a:gd name="connsiteX116" fmla="*/ 64271 w 173576"/>
                      <a:gd name="connsiteY116" fmla="*/ 23793 h 151979"/>
                      <a:gd name="connsiteX117" fmla="*/ 63970 w 173576"/>
                      <a:gd name="connsiteY117" fmla="*/ 20472 h 151979"/>
                      <a:gd name="connsiteX118" fmla="*/ 61939 w 173576"/>
                      <a:gd name="connsiteY118" fmla="*/ 19100 h 151979"/>
                      <a:gd name="connsiteX119" fmla="*/ 62158 w 173576"/>
                      <a:gd name="connsiteY119" fmla="*/ 14984 h 151979"/>
                      <a:gd name="connsiteX120" fmla="*/ 66769 w 173576"/>
                      <a:gd name="connsiteY120" fmla="*/ 11746 h 151979"/>
                      <a:gd name="connsiteX121" fmla="*/ 69184 w 173576"/>
                      <a:gd name="connsiteY121" fmla="*/ 10895 h 151979"/>
                      <a:gd name="connsiteX122" fmla="*/ 77005 w 173576"/>
                      <a:gd name="connsiteY122" fmla="*/ 6065 h 151979"/>
                      <a:gd name="connsiteX123" fmla="*/ 81780 w 173576"/>
                      <a:gd name="connsiteY123" fmla="*/ 6668 h 151979"/>
                      <a:gd name="connsiteX124" fmla="*/ 80023 w 173576"/>
                      <a:gd name="connsiteY124" fmla="*/ 1893 h 151979"/>
                      <a:gd name="connsiteX125" fmla="*/ 83893 w 173576"/>
                      <a:gd name="connsiteY125" fmla="*/ 0 h 151979"/>
                      <a:gd name="connsiteX126" fmla="*/ 90479 w 173576"/>
                      <a:gd name="connsiteY126" fmla="*/ 2525 h 151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73576" h="151979">
                        <a:moveTo>
                          <a:pt x="90342" y="2442"/>
                        </a:moveTo>
                        <a:lnTo>
                          <a:pt x="97916" y="7794"/>
                        </a:lnTo>
                        <a:lnTo>
                          <a:pt x="98547" y="9083"/>
                        </a:lnTo>
                        <a:lnTo>
                          <a:pt x="106644" y="15890"/>
                        </a:lnTo>
                        <a:lnTo>
                          <a:pt x="110842" y="23162"/>
                        </a:lnTo>
                        <a:lnTo>
                          <a:pt x="118526" y="25577"/>
                        </a:lnTo>
                        <a:lnTo>
                          <a:pt x="121353" y="29117"/>
                        </a:lnTo>
                        <a:lnTo>
                          <a:pt x="129037" y="31504"/>
                        </a:lnTo>
                        <a:lnTo>
                          <a:pt x="144514" y="33069"/>
                        </a:lnTo>
                        <a:lnTo>
                          <a:pt x="151074" y="26976"/>
                        </a:lnTo>
                        <a:lnTo>
                          <a:pt x="155766" y="26318"/>
                        </a:lnTo>
                        <a:lnTo>
                          <a:pt x="157770" y="26016"/>
                        </a:lnTo>
                        <a:lnTo>
                          <a:pt x="159636" y="37158"/>
                        </a:lnTo>
                        <a:lnTo>
                          <a:pt x="158758" y="40396"/>
                        </a:lnTo>
                        <a:lnTo>
                          <a:pt x="162984" y="42838"/>
                        </a:lnTo>
                        <a:lnTo>
                          <a:pt x="162051" y="44320"/>
                        </a:lnTo>
                        <a:lnTo>
                          <a:pt x="161228" y="46488"/>
                        </a:lnTo>
                        <a:lnTo>
                          <a:pt x="160980" y="48492"/>
                        </a:lnTo>
                        <a:lnTo>
                          <a:pt x="164933" y="52443"/>
                        </a:lnTo>
                        <a:lnTo>
                          <a:pt x="172561" y="55078"/>
                        </a:lnTo>
                        <a:lnTo>
                          <a:pt x="173577" y="57658"/>
                        </a:lnTo>
                        <a:lnTo>
                          <a:pt x="164356" y="59057"/>
                        </a:lnTo>
                        <a:lnTo>
                          <a:pt x="164905" y="66577"/>
                        </a:lnTo>
                        <a:lnTo>
                          <a:pt x="161118" y="69376"/>
                        </a:lnTo>
                        <a:lnTo>
                          <a:pt x="161749" y="70666"/>
                        </a:lnTo>
                        <a:lnTo>
                          <a:pt x="157001" y="70666"/>
                        </a:lnTo>
                        <a:lnTo>
                          <a:pt x="155135" y="69376"/>
                        </a:lnTo>
                        <a:lnTo>
                          <a:pt x="153791" y="63860"/>
                        </a:lnTo>
                        <a:lnTo>
                          <a:pt x="147259" y="60978"/>
                        </a:lnTo>
                        <a:lnTo>
                          <a:pt x="139163" y="59579"/>
                        </a:lnTo>
                        <a:lnTo>
                          <a:pt x="136117" y="61171"/>
                        </a:lnTo>
                        <a:lnTo>
                          <a:pt x="132220" y="59112"/>
                        </a:lnTo>
                        <a:lnTo>
                          <a:pt x="126759" y="62186"/>
                        </a:lnTo>
                        <a:lnTo>
                          <a:pt x="122341" y="59688"/>
                        </a:lnTo>
                        <a:lnTo>
                          <a:pt x="106424" y="57850"/>
                        </a:lnTo>
                        <a:lnTo>
                          <a:pt x="100633" y="54392"/>
                        </a:lnTo>
                        <a:lnTo>
                          <a:pt x="96380" y="56478"/>
                        </a:lnTo>
                        <a:lnTo>
                          <a:pt x="89217" y="55462"/>
                        </a:lnTo>
                        <a:lnTo>
                          <a:pt x="81615" y="64546"/>
                        </a:lnTo>
                        <a:lnTo>
                          <a:pt x="73300" y="56532"/>
                        </a:lnTo>
                        <a:lnTo>
                          <a:pt x="68169" y="55325"/>
                        </a:lnTo>
                        <a:lnTo>
                          <a:pt x="65122" y="67345"/>
                        </a:lnTo>
                        <a:lnTo>
                          <a:pt x="65781" y="69376"/>
                        </a:lnTo>
                        <a:lnTo>
                          <a:pt x="66522" y="74315"/>
                        </a:lnTo>
                        <a:lnTo>
                          <a:pt x="71214" y="76840"/>
                        </a:lnTo>
                        <a:lnTo>
                          <a:pt x="75606" y="84058"/>
                        </a:lnTo>
                        <a:lnTo>
                          <a:pt x="76676" y="85540"/>
                        </a:lnTo>
                        <a:lnTo>
                          <a:pt x="76730" y="87241"/>
                        </a:lnTo>
                        <a:lnTo>
                          <a:pt x="78761" y="91797"/>
                        </a:lnTo>
                        <a:lnTo>
                          <a:pt x="77910" y="97313"/>
                        </a:lnTo>
                        <a:lnTo>
                          <a:pt x="79146" y="97148"/>
                        </a:lnTo>
                        <a:lnTo>
                          <a:pt x="80545" y="98602"/>
                        </a:lnTo>
                        <a:lnTo>
                          <a:pt x="88833" y="106945"/>
                        </a:lnTo>
                        <a:lnTo>
                          <a:pt x="102746" y="123247"/>
                        </a:lnTo>
                        <a:lnTo>
                          <a:pt x="107055" y="125771"/>
                        </a:lnTo>
                        <a:lnTo>
                          <a:pt x="110650" y="127884"/>
                        </a:lnTo>
                        <a:lnTo>
                          <a:pt x="110842" y="132879"/>
                        </a:lnTo>
                        <a:lnTo>
                          <a:pt x="115535" y="139328"/>
                        </a:lnTo>
                        <a:lnTo>
                          <a:pt x="121600" y="145475"/>
                        </a:lnTo>
                        <a:lnTo>
                          <a:pt x="119349" y="148933"/>
                        </a:lnTo>
                        <a:lnTo>
                          <a:pt x="119267" y="148933"/>
                        </a:lnTo>
                        <a:lnTo>
                          <a:pt x="119102" y="149015"/>
                        </a:lnTo>
                        <a:lnTo>
                          <a:pt x="118993" y="149180"/>
                        </a:lnTo>
                        <a:lnTo>
                          <a:pt x="118883" y="149372"/>
                        </a:lnTo>
                        <a:lnTo>
                          <a:pt x="118883" y="149592"/>
                        </a:lnTo>
                        <a:cubicBezTo>
                          <a:pt x="118883" y="149592"/>
                          <a:pt x="118883" y="149839"/>
                          <a:pt x="118883" y="149839"/>
                        </a:cubicBezTo>
                        <a:lnTo>
                          <a:pt x="118938" y="150031"/>
                        </a:lnTo>
                        <a:lnTo>
                          <a:pt x="119047" y="150223"/>
                        </a:lnTo>
                        <a:lnTo>
                          <a:pt x="119212" y="150333"/>
                        </a:lnTo>
                        <a:lnTo>
                          <a:pt x="118361" y="151979"/>
                        </a:lnTo>
                        <a:lnTo>
                          <a:pt x="113422" y="150085"/>
                        </a:lnTo>
                        <a:lnTo>
                          <a:pt x="115315" y="147039"/>
                        </a:lnTo>
                        <a:lnTo>
                          <a:pt x="112736" y="143088"/>
                        </a:lnTo>
                        <a:lnTo>
                          <a:pt x="101183" y="134882"/>
                        </a:lnTo>
                        <a:lnTo>
                          <a:pt x="89464" y="134333"/>
                        </a:lnTo>
                        <a:lnTo>
                          <a:pt x="88915" y="132193"/>
                        </a:lnTo>
                        <a:lnTo>
                          <a:pt x="92181" y="130189"/>
                        </a:lnTo>
                        <a:lnTo>
                          <a:pt x="87708" y="126786"/>
                        </a:lnTo>
                        <a:lnTo>
                          <a:pt x="73328" y="126210"/>
                        </a:lnTo>
                        <a:lnTo>
                          <a:pt x="67949" y="117236"/>
                        </a:lnTo>
                        <a:lnTo>
                          <a:pt x="59881" y="111144"/>
                        </a:lnTo>
                        <a:lnTo>
                          <a:pt x="54886" y="108976"/>
                        </a:lnTo>
                        <a:lnTo>
                          <a:pt x="48959" y="99673"/>
                        </a:lnTo>
                        <a:lnTo>
                          <a:pt x="49974" y="95611"/>
                        </a:lnTo>
                        <a:lnTo>
                          <a:pt x="53789" y="93690"/>
                        </a:lnTo>
                        <a:lnTo>
                          <a:pt x="51949" y="91028"/>
                        </a:lnTo>
                        <a:lnTo>
                          <a:pt x="41988" y="83015"/>
                        </a:lnTo>
                        <a:lnTo>
                          <a:pt x="39957" y="63421"/>
                        </a:lnTo>
                        <a:lnTo>
                          <a:pt x="36334" y="60402"/>
                        </a:lnTo>
                        <a:lnTo>
                          <a:pt x="35868" y="64930"/>
                        </a:lnTo>
                        <a:lnTo>
                          <a:pt x="29831" y="62927"/>
                        </a:lnTo>
                        <a:lnTo>
                          <a:pt x="28925" y="54749"/>
                        </a:lnTo>
                        <a:lnTo>
                          <a:pt x="25687" y="51730"/>
                        </a:lnTo>
                        <a:lnTo>
                          <a:pt x="22970" y="52773"/>
                        </a:lnTo>
                        <a:lnTo>
                          <a:pt x="20720" y="58289"/>
                        </a:lnTo>
                        <a:lnTo>
                          <a:pt x="13667" y="71709"/>
                        </a:lnTo>
                        <a:lnTo>
                          <a:pt x="12404" y="73794"/>
                        </a:lnTo>
                        <a:lnTo>
                          <a:pt x="11608" y="72120"/>
                        </a:lnTo>
                        <a:lnTo>
                          <a:pt x="9825" y="71681"/>
                        </a:lnTo>
                        <a:lnTo>
                          <a:pt x="2168" y="57465"/>
                        </a:lnTo>
                        <a:lnTo>
                          <a:pt x="0" y="45281"/>
                        </a:lnTo>
                        <a:lnTo>
                          <a:pt x="3787" y="45720"/>
                        </a:lnTo>
                        <a:lnTo>
                          <a:pt x="17317" y="44540"/>
                        </a:lnTo>
                        <a:lnTo>
                          <a:pt x="17536" y="44540"/>
                        </a:lnTo>
                        <a:cubicBezTo>
                          <a:pt x="17536" y="44540"/>
                          <a:pt x="25467" y="43826"/>
                          <a:pt x="25467" y="43826"/>
                        </a:cubicBezTo>
                        <a:lnTo>
                          <a:pt x="30846" y="36526"/>
                        </a:lnTo>
                        <a:lnTo>
                          <a:pt x="36637" y="43305"/>
                        </a:lnTo>
                        <a:lnTo>
                          <a:pt x="38859" y="44979"/>
                        </a:lnTo>
                        <a:lnTo>
                          <a:pt x="42811" y="43250"/>
                        </a:lnTo>
                        <a:lnTo>
                          <a:pt x="50138" y="46845"/>
                        </a:lnTo>
                        <a:lnTo>
                          <a:pt x="54063" y="44403"/>
                        </a:lnTo>
                        <a:lnTo>
                          <a:pt x="52169" y="39984"/>
                        </a:lnTo>
                        <a:lnTo>
                          <a:pt x="51867" y="34304"/>
                        </a:lnTo>
                        <a:lnTo>
                          <a:pt x="53239" y="32739"/>
                        </a:lnTo>
                        <a:lnTo>
                          <a:pt x="55380" y="31477"/>
                        </a:lnTo>
                        <a:lnTo>
                          <a:pt x="62707" y="29419"/>
                        </a:lnTo>
                        <a:lnTo>
                          <a:pt x="64271" y="23793"/>
                        </a:lnTo>
                        <a:lnTo>
                          <a:pt x="63970" y="20472"/>
                        </a:lnTo>
                        <a:lnTo>
                          <a:pt x="61939" y="19100"/>
                        </a:lnTo>
                        <a:lnTo>
                          <a:pt x="62158" y="14984"/>
                        </a:lnTo>
                        <a:lnTo>
                          <a:pt x="66769" y="11746"/>
                        </a:lnTo>
                        <a:lnTo>
                          <a:pt x="69184" y="10895"/>
                        </a:lnTo>
                        <a:lnTo>
                          <a:pt x="77005" y="6065"/>
                        </a:lnTo>
                        <a:lnTo>
                          <a:pt x="81780" y="6668"/>
                        </a:lnTo>
                        <a:lnTo>
                          <a:pt x="80023" y="1893"/>
                        </a:lnTo>
                        <a:lnTo>
                          <a:pt x="83893" y="0"/>
                        </a:lnTo>
                        <a:lnTo>
                          <a:pt x="90479" y="252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7" name="Freeform: Shape 3016">
                    <a:extLst>
                      <a:ext uri="{FF2B5EF4-FFF2-40B4-BE49-F238E27FC236}">
                        <a16:creationId xmlns:a16="http://schemas.microsoft.com/office/drawing/2014/main" id="{EE1CAACB-C648-059F-349B-1A08433B4011}"/>
                      </a:ext>
                    </a:extLst>
                  </p:cNvPr>
                  <p:cNvSpPr/>
                  <p:nvPr/>
                </p:nvSpPr>
                <p:spPr>
                  <a:xfrm>
                    <a:off x="-5768903" y="3478452"/>
                    <a:ext cx="26976" cy="18715"/>
                  </a:xfrm>
                  <a:custGeom>
                    <a:avLst/>
                    <a:gdLst>
                      <a:gd name="connsiteX0" fmla="*/ 6586 w 26976"/>
                      <a:gd name="connsiteY0" fmla="*/ 82 h 18715"/>
                      <a:gd name="connsiteX1" fmla="*/ 17728 w 26976"/>
                      <a:gd name="connsiteY1" fmla="*/ 10236 h 18715"/>
                      <a:gd name="connsiteX2" fmla="*/ 18085 w 26976"/>
                      <a:gd name="connsiteY2" fmla="*/ 10593 h 18715"/>
                      <a:gd name="connsiteX3" fmla="*/ 24397 w 26976"/>
                      <a:gd name="connsiteY3" fmla="*/ 13310 h 18715"/>
                      <a:gd name="connsiteX4" fmla="*/ 26977 w 26976"/>
                      <a:gd name="connsiteY4" fmla="*/ 18716 h 18715"/>
                      <a:gd name="connsiteX5" fmla="*/ 15423 w 26976"/>
                      <a:gd name="connsiteY5" fmla="*/ 10264 h 18715"/>
                      <a:gd name="connsiteX6" fmla="*/ 8041 w 26976"/>
                      <a:gd name="connsiteY6" fmla="*/ 4830 h 18715"/>
                      <a:gd name="connsiteX7" fmla="*/ 0 w 26976"/>
                      <a:gd name="connsiteY7" fmla="*/ 1729 h 18715"/>
                      <a:gd name="connsiteX8" fmla="*/ 494 w 26976"/>
                      <a:gd name="connsiteY8" fmla="*/ 192 h 18715"/>
                      <a:gd name="connsiteX9" fmla="*/ 659 w 26976"/>
                      <a:gd name="connsiteY9" fmla="*/ 274 h 18715"/>
                      <a:gd name="connsiteX10" fmla="*/ 823 w 26976"/>
                      <a:gd name="connsiteY10" fmla="*/ 274 h 18715"/>
                      <a:gd name="connsiteX11" fmla="*/ 988 w 26976"/>
                      <a:gd name="connsiteY11" fmla="*/ 274 h 18715"/>
                      <a:gd name="connsiteX12" fmla="*/ 1125 w 26976"/>
                      <a:gd name="connsiteY12" fmla="*/ 164 h 18715"/>
                      <a:gd name="connsiteX13" fmla="*/ 1235 w 26976"/>
                      <a:gd name="connsiteY13" fmla="*/ 0 h 18715"/>
                      <a:gd name="connsiteX14" fmla="*/ 6641 w 26976"/>
                      <a:gd name="connsiteY14" fmla="*/ 137 h 18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76" h="18715">
                        <a:moveTo>
                          <a:pt x="6586" y="82"/>
                        </a:moveTo>
                        <a:lnTo>
                          <a:pt x="17728" y="10236"/>
                        </a:lnTo>
                        <a:lnTo>
                          <a:pt x="18085" y="10593"/>
                        </a:lnTo>
                        <a:lnTo>
                          <a:pt x="24397" y="13310"/>
                        </a:lnTo>
                        <a:lnTo>
                          <a:pt x="26977" y="18716"/>
                        </a:lnTo>
                        <a:lnTo>
                          <a:pt x="15423" y="10264"/>
                        </a:lnTo>
                        <a:lnTo>
                          <a:pt x="8041" y="4830"/>
                        </a:lnTo>
                        <a:lnTo>
                          <a:pt x="0" y="1729"/>
                        </a:lnTo>
                        <a:lnTo>
                          <a:pt x="494" y="192"/>
                        </a:lnTo>
                        <a:lnTo>
                          <a:pt x="659" y="274"/>
                        </a:lnTo>
                        <a:lnTo>
                          <a:pt x="823" y="274"/>
                        </a:lnTo>
                        <a:cubicBezTo>
                          <a:pt x="823" y="274"/>
                          <a:pt x="988" y="274"/>
                          <a:pt x="988" y="274"/>
                        </a:cubicBezTo>
                        <a:lnTo>
                          <a:pt x="1125" y="164"/>
                        </a:lnTo>
                        <a:lnTo>
                          <a:pt x="1235" y="0"/>
                        </a:lnTo>
                        <a:lnTo>
                          <a:pt x="6641" y="13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8" name="Freeform: Shape 3017">
                    <a:extLst>
                      <a:ext uri="{FF2B5EF4-FFF2-40B4-BE49-F238E27FC236}">
                        <a16:creationId xmlns:a16="http://schemas.microsoft.com/office/drawing/2014/main" id="{FF86FB83-C5C1-B1B1-8A1D-65217362A587}"/>
                      </a:ext>
                    </a:extLst>
                  </p:cNvPr>
                  <p:cNvSpPr/>
                  <p:nvPr/>
                </p:nvSpPr>
                <p:spPr>
                  <a:xfrm>
                    <a:off x="-5865722" y="3392775"/>
                    <a:ext cx="5461" cy="18578"/>
                  </a:xfrm>
                  <a:custGeom>
                    <a:avLst/>
                    <a:gdLst>
                      <a:gd name="connsiteX0" fmla="*/ 3293 w 5461"/>
                      <a:gd name="connsiteY0" fmla="*/ 15341 h 18578"/>
                      <a:gd name="connsiteX1" fmla="*/ 4116 w 5461"/>
                      <a:gd name="connsiteY1" fmla="*/ 18579 h 18578"/>
                      <a:gd name="connsiteX2" fmla="*/ 220 w 5461"/>
                      <a:gd name="connsiteY2" fmla="*/ 17838 h 18578"/>
                      <a:gd name="connsiteX3" fmla="*/ 1702 w 5461"/>
                      <a:gd name="connsiteY3" fmla="*/ 14298 h 18578"/>
                      <a:gd name="connsiteX4" fmla="*/ 0 w 5461"/>
                      <a:gd name="connsiteY4" fmla="*/ 3046 h 18578"/>
                      <a:gd name="connsiteX5" fmla="*/ 2278 w 5461"/>
                      <a:gd name="connsiteY5" fmla="*/ 2223 h 18578"/>
                      <a:gd name="connsiteX6" fmla="*/ 2278 w 5461"/>
                      <a:gd name="connsiteY6" fmla="*/ 0 h 18578"/>
                      <a:gd name="connsiteX7" fmla="*/ 4062 w 5461"/>
                      <a:gd name="connsiteY7" fmla="*/ 1207 h 18578"/>
                      <a:gd name="connsiteX8" fmla="*/ 4281 w 5461"/>
                      <a:gd name="connsiteY8" fmla="*/ 6449 h 18578"/>
                      <a:gd name="connsiteX9" fmla="*/ 5461 w 5461"/>
                      <a:gd name="connsiteY9" fmla="*/ 15039 h 18578"/>
                      <a:gd name="connsiteX10" fmla="*/ 3293 w 5461"/>
                      <a:gd name="connsiteY10" fmla="*/ 15368 h 1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61" h="18578">
                        <a:moveTo>
                          <a:pt x="3293" y="15341"/>
                        </a:moveTo>
                        <a:lnTo>
                          <a:pt x="4116" y="18579"/>
                        </a:lnTo>
                        <a:lnTo>
                          <a:pt x="220" y="17838"/>
                        </a:lnTo>
                        <a:lnTo>
                          <a:pt x="1702" y="14298"/>
                        </a:lnTo>
                        <a:lnTo>
                          <a:pt x="0" y="3046"/>
                        </a:lnTo>
                        <a:lnTo>
                          <a:pt x="2278" y="2223"/>
                        </a:lnTo>
                        <a:lnTo>
                          <a:pt x="2278" y="0"/>
                        </a:lnTo>
                        <a:cubicBezTo>
                          <a:pt x="2278" y="0"/>
                          <a:pt x="4062" y="1207"/>
                          <a:pt x="4062" y="1207"/>
                        </a:cubicBezTo>
                        <a:lnTo>
                          <a:pt x="4281" y="6449"/>
                        </a:lnTo>
                        <a:lnTo>
                          <a:pt x="5461" y="15039"/>
                        </a:lnTo>
                        <a:lnTo>
                          <a:pt x="3293" y="1536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9" name="Freeform: Shape 3018">
                    <a:extLst>
                      <a:ext uri="{FF2B5EF4-FFF2-40B4-BE49-F238E27FC236}">
                        <a16:creationId xmlns:a16="http://schemas.microsoft.com/office/drawing/2014/main" id="{9E9E3644-3824-91FE-02E3-6879BBB39226}"/>
                      </a:ext>
                    </a:extLst>
                  </p:cNvPr>
                  <p:cNvSpPr/>
                  <p:nvPr/>
                </p:nvSpPr>
                <p:spPr>
                  <a:xfrm>
                    <a:off x="-5796894" y="3472387"/>
                    <a:ext cx="16904" cy="5268"/>
                  </a:xfrm>
                  <a:custGeom>
                    <a:avLst/>
                    <a:gdLst>
                      <a:gd name="connsiteX0" fmla="*/ 16795 w 16904"/>
                      <a:gd name="connsiteY0" fmla="*/ 1921 h 5268"/>
                      <a:gd name="connsiteX1" fmla="*/ 16905 w 16904"/>
                      <a:gd name="connsiteY1" fmla="*/ 3266 h 5268"/>
                      <a:gd name="connsiteX2" fmla="*/ 14572 w 16904"/>
                      <a:gd name="connsiteY2" fmla="*/ 5077 h 5268"/>
                      <a:gd name="connsiteX3" fmla="*/ 768 w 16904"/>
                      <a:gd name="connsiteY3" fmla="*/ 5269 h 5268"/>
                      <a:gd name="connsiteX4" fmla="*/ 0 w 16904"/>
                      <a:gd name="connsiteY4" fmla="*/ 3403 h 5268"/>
                      <a:gd name="connsiteX5" fmla="*/ 714 w 16904"/>
                      <a:gd name="connsiteY5" fmla="*/ 1976 h 5268"/>
                      <a:gd name="connsiteX6" fmla="*/ 3622 w 16904"/>
                      <a:gd name="connsiteY6" fmla="*/ 2771 h 5268"/>
                      <a:gd name="connsiteX7" fmla="*/ 8562 w 16904"/>
                      <a:gd name="connsiteY7" fmla="*/ 2717 h 5268"/>
                      <a:gd name="connsiteX8" fmla="*/ 11746 w 16904"/>
                      <a:gd name="connsiteY8" fmla="*/ 0 h 5268"/>
                      <a:gd name="connsiteX9" fmla="*/ 16795 w 16904"/>
                      <a:gd name="connsiteY9" fmla="*/ 1921 h 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04" h="5268">
                        <a:moveTo>
                          <a:pt x="16795" y="1921"/>
                        </a:moveTo>
                        <a:lnTo>
                          <a:pt x="16905" y="3266"/>
                        </a:lnTo>
                        <a:lnTo>
                          <a:pt x="14572" y="5077"/>
                        </a:lnTo>
                        <a:lnTo>
                          <a:pt x="768" y="5269"/>
                        </a:lnTo>
                        <a:lnTo>
                          <a:pt x="0" y="3403"/>
                        </a:lnTo>
                        <a:lnTo>
                          <a:pt x="714" y="1976"/>
                        </a:lnTo>
                        <a:lnTo>
                          <a:pt x="3622" y="2771"/>
                        </a:lnTo>
                        <a:lnTo>
                          <a:pt x="8562" y="2717"/>
                        </a:lnTo>
                        <a:lnTo>
                          <a:pt x="11746" y="0"/>
                        </a:lnTo>
                        <a:lnTo>
                          <a:pt x="16795" y="192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0" name="Freeform: Shape 3019">
                    <a:extLst>
                      <a:ext uri="{FF2B5EF4-FFF2-40B4-BE49-F238E27FC236}">
                        <a16:creationId xmlns:a16="http://schemas.microsoft.com/office/drawing/2014/main" id="{E14AFFA8-E33B-E107-192D-D4BBD2EC4F7C}"/>
                      </a:ext>
                    </a:extLst>
                  </p:cNvPr>
                  <p:cNvSpPr/>
                  <p:nvPr/>
                </p:nvSpPr>
                <p:spPr>
                  <a:xfrm>
                    <a:off x="-5845084" y="3429960"/>
                    <a:ext cx="7190" cy="9220"/>
                  </a:xfrm>
                  <a:custGeom>
                    <a:avLst/>
                    <a:gdLst>
                      <a:gd name="connsiteX0" fmla="*/ 7190 w 7190"/>
                      <a:gd name="connsiteY0" fmla="*/ 7712 h 9220"/>
                      <a:gd name="connsiteX1" fmla="*/ 5351 w 7190"/>
                      <a:gd name="connsiteY1" fmla="*/ 9221 h 9220"/>
                      <a:gd name="connsiteX2" fmla="*/ 2415 w 7190"/>
                      <a:gd name="connsiteY2" fmla="*/ 6449 h 9220"/>
                      <a:gd name="connsiteX3" fmla="*/ 0 w 7190"/>
                      <a:gd name="connsiteY3" fmla="*/ 2333 h 9220"/>
                      <a:gd name="connsiteX4" fmla="*/ 1564 w 7190"/>
                      <a:gd name="connsiteY4" fmla="*/ 0 h 9220"/>
                      <a:gd name="connsiteX5" fmla="*/ 3074 w 7190"/>
                      <a:gd name="connsiteY5" fmla="*/ 1729 h 9220"/>
                      <a:gd name="connsiteX6" fmla="*/ 2525 w 7190"/>
                      <a:gd name="connsiteY6" fmla="*/ 3870 h 9220"/>
                      <a:gd name="connsiteX7" fmla="*/ 7163 w 7190"/>
                      <a:gd name="connsiteY7" fmla="*/ 7712 h 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0" h="9220">
                        <a:moveTo>
                          <a:pt x="7190" y="7712"/>
                        </a:moveTo>
                        <a:lnTo>
                          <a:pt x="5351" y="9221"/>
                        </a:lnTo>
                        <a:lnTo>
                          <a:pt x="2415" y="6449"/>
                        </a:lnTo>
                        <a:lnTo>
                          <a:pt x="0" y="2333"/>
                        </a:lnTo>
                        <a:lnTo>
                          <a:pt x="1564" y="0"/>
                        </a:lnTo>
                        <a:lnTo>
                          <a:pt x="3074" y="1729"/>
                        </a:lnTo>
                        <a:lnTo>
                          <a:pt x="2525" y="3870"/>
                        </a:lnTo>
                        <a:lnTo>
                          <a:pt x="7163" y="771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1" name="Freeform: Shape 3020">
                    <a:extLst>
                      <a:ext uri="{FF2B5EF4-FFF2-40B4-BE49-F238E27FC236}">
                        <a16:creationId xmlns:a16="http://schemas.microsoft.com/office/drawing/2014/main" id="{D1CF1BC1-278D-6F15-7D84-2E06D81A2D02}"/>
                      </a:ext>
                    </a:extLst>
                  </p:cNvPr>
                  <p:cNvSpPr/>
                  <p:nvPr/>
                </p:nvSpPr>
                <p:spPr>
                  <a:xfrm>
                    <a:off x="-5803920" y="3465060"/>
                    <a:ext cx="9412" cy="4116"/>
                  </a:xfrm>
                  <a:custGeom>
                    <a:avLst/>
                    <a:gdLst>
                      <a:gd name="connsiteX0" fmla="*/ 7026 w 9412"/>
                      <a:gd name="connsiteY0" fmla="*/ 27 h 4116"/>
                      <a:gd name="connsiteX1" fmla="*/ 9413 w 9412"/>
                      <a:gd name="connsiteY1" fmla="*/ 3375 h 4116"/>
                      <a:gd name="connsiteX2" fmla="*/ 7958 w 9412"/>
                      <a:gd name="connsiteY2" fmla="*/ 4116 h 4116"/>
                      <a:gd name="connsiteX3" fmla="*/ 439 w 9412"/>
                      <a:gd name="connsiteY3" fmla="*/ 2442 h 4116"/>
                      <a:gd name="connsiteX4" fmla="*/ 0 w 9412"/>
                      <a:gd name="connsiteY4" fmla="*/ 1674 h 4116"/>
                      <a:gd name="connsiteX5" fmla="*/ 961 w 9412"/>
                      <a:gd name="connsiteY5" fmla="*/ 439 h 4116"/>
                      <a:gd name="connsiteX6" fmla="*/ 4391 w 9412"/>
                      <a:gd name="connsiteY6" fmla="*/ 1701 h 4116"/>
                      <a:gd name="connsiteX7" fmla="*/ 6998 w 9412"/>
                      <a:gd name="connsiteY7" fmla="*/ 0 h 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12" h="4116">
                        <a:moveTo>
                          <a:pt x="7026" y="27"/>
                        </a:moveTo>
                        <a:lnTo>
                          <a:pt x="9413" y="3375"/>
                        </a:lnTo>
                        <a:lnTo>
                          <a:pt x="7958" y="4116"/>
                        </a:lnTo>
                        <a:lnTo>
                          <a:pt x="439" y="2442"/>
                        </a:lnTo>
                        <a:lnTo>
                          <a:pt x="0" y="1674"/>
                        </a:lnTo>
                        <a:lnTo>
                          <a:pt x="961" y="439"/>
                        </a:lnTo>
                        <a:lnTo>
                          <a:pt x="4391" y="1701"/>
                        </a:lnTo>
                        <a:lnTo>
                          <a:pt x="6998"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2" name="Freeform: Shape 3021">
                    <a:extLst>
                      <a:ext uri="{FF2B5EF4-FFF2-40B4-BE49-F238E27FC236}">
                        <a16:creationId xmlns:a16="http://schemas.microsoft.com/office/drawing/2014/main" id="{D850CDC7-CF8A-F175-A998-DD8F6131D119}"/>
                      </a:ext>
                    </a:extLst>
                  </p:cNvPr>
                  <p:cNvSpPr/>
                  <p:nvPr/>
                </p:nvSpPr>
                <p:spPr>
                  <a:xfrm>
                    <a:off x="-5844782" y="3413769"/>
                    <a:ext cx="4527" cy="6641"/>
                  </a:xfrm>
                  <a:custGeom>
                    <a:avLst/>
                    <a:gdLst>
                      <a:gd name="connsiteX0" fmla="*/ 4308 w 4527"/>
                      <a:gd name="connsiteY0" fmla="*/ 3348 h 6641"/>
                      <a:gd name="connsiteX1" fmla="*/ 4528 w 4527"/>
                      <a:gd name="connsiteY1" fmla="*/ 6641 h 6641"/>
                      <a:gd name="connsiteX2" fmla="*/ 2497 w 4527"/>
                      <a:gd name="connsiteY2" fmla="*/ 6065 h 6641"/>
                      <a:gd name="connsiteX3" fmla="*/ 0 w 4527"/>
                      <a:gd name="connsiteY3" fmla="*/ 2168 h 6641"/>
                      <a:gd name="connsiteX4" fmla="*/ 549 w 4527"/>
                      <a:gd name="connsiteY4" fmla="*/ 0 h 6641"/>
                      <a:gd name="connsiteX5" fmla="*/ 4336 w 4527"/>
                      <a:gd name="connsiteY5" fmla="*/ 3321 h 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7" h="6641">
                        <a:moveTo>
                          <a:pt x="4308" y="3348"/>
                        </a:moveTo>
                        <a:lnTo>
                          <a:pt x="4528" y="6641"/>
                        </a:lnTo>
                        <a:lnTo>
                          <a:pt x="2497" y="6065"/>
                        </a:lnTo>
                        <a:lnTo>
                          <a:pt x="0" y="2168"/>
                        </a:lnTo>
                        <a:lnTo>
                          <a:pt x="549" y="0"/>
                        </a:lnTo>
                        <a:lnTo>
                          <a:pt x="4336" y="332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3" name="Freeform: Shape 3022">
                    <a:extLst>
                      <a:ext uri="{FF2B5EF4-FFF2-40B4-BE49-F238E27FC236}">
                        <a16:creationId xmlns:a16="http://schemas.microsoft.com/office/drawing/2014/main" id="{6E8C411B-0240-C91B-729C-4E731758CC2A}"/>
                      </a:ext>
                    </a:extLst>
                  </p:cNvPr>
                  <p:cNvSpPr/>
                  <p:nvPr/>
                </p:nvSpPr>
                <p:spPr>
                  <a:xfrm>
                    <a:off x="-5809902" y="3456744"/>
                    <a:ext cx="4775" cy="4034"/>
                  </a:xfrm>
                  <a:custGeom>
                    <a:avLst/>
                    <a:gdLst>
                      <a:gd name="connsiteX0" fmla="*/ 4775 w 4775"/>
                      <a:gd name="connsiteY0" fmla="*/ 2662 h 4034"/>
                      <a:gd name="connsiteX1" fmla="*/ 3677 w 4775"/>
                      <a:gd name="connsiteY1" fmla="*/ 4034 h 4034"/>
                      <a:gd name="connsiteX2" fmla="*/ 0 w 4775"/>
                      <a:gd name="connsiteY2" fmla="*/ 1262 h 4034"/>
                      <a:gd name="connsiteX3" fmla="*/ 960 w 4775"/>
                      <a:gd name="connsiteY3" fmla="*/ 0 h 4034"/>
                      <a:gd name="connsiteX4" fmla="*/ 3622 w 4775"/>
                      <a:gd name="connsiteY4" fmla="*/ 878 h 4034"/>
                      <a:gd name="connsiteX5" fmla="*/ 4775 w 4775"/>
                      <a:gd name="connsiteY5" fmla="*/ 2662 h 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 h="4034">
                        <a:moveTo>
                          <a:pt x="4775" y="2662"/>
                        </a:moveTo>
                        <a:lnTo>
                          <a:pt x="3677" y="4034"/>
                        </a:lnTo>
                        <a:lnTo>
                          <a:pt x="0" y="1262"/>
                        </a:lnTo>
                        <a:lnTo>
                          <a:pt x="960" y="0"/>
                        </a:lnTo>
                        <a:lnTo>
                          <a:pt x="3622" y="878"/>
                        </a:lnTo>
                        <a:lnTo>
                          <a:pt x="4775" y="266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4" name="Freeform: Shape 3023">
                    <a:extLst>
                      <a:ext uri="{FF2B5EF4-FFF2-40B4-BE49-F238E27FC236}">
                        <a16:creationId xmlns:a16="http://schemas.microsoft.com/office/drawing/2014/main" id="{F474BAED-7BB8-92FA-5AD1-9B3AA32205FD}"/>
                      </a:ext>
                    </a:extLst>
                  </p:cNvPr>
                  <p:cNvSpPr/>
                  <p:nvPr/>
                </p:nvSpPr>
                <p:spPr>
                  <a:xfrm>
                    <a:off x="-5867204" y="3384542"/>
                    <a:ext cx="3238" cy="5708"/>
                  </a:xfrm>
                  <a:custGeom>
                    <a:avLst/>
                    <a:gdLst>
                      <a:gd name="connsiteX0" fmla="*/ 3239 w 3238"/>
                      <a:gd name="connsiteY0" fmla="*/ 1400 h 5708"/>
                      <a:gd name="connsiteX1" fmla="*/ 2689 w 3238"/>
                      <a:gd name="connsiteY1" fmla="*/ 5708 h 5708"/>
                      <a:gd name="connsiteX2" fmla="*/ 0 w 3238"/>
                      <a:gd name="connsiteY2" fmla="*/ 2552 h 5708"/>
                      <a:gd name="connsiteX3" fmla="*/ 1619 w 3238"/>
                      <a:gd name="connsiteY3" fmla="*/ 0 h 5708"/>
                      <a:gd name="connsiteX4" fmla="*/ 3239 w 3238"/>
                      <a:gd name="connsiteY4" fmla="*/ 1400 h 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5708">
                        <a:moveTo>
                          <a:pt x="3239" y="1400"/>
                        </a:moveTo>
                        <a:lnTo>
                          <a:pt x="2689" y="5708"/>
                        </a:lnTo>
                        <a:lnTo>
                          <a:pt x="0" y="2552"/>
                        </a:lnTo>
                        <a:lnTo>
                          <a:pt x="1619" y="0"/>
                        </a:lnTo>
                        <a:lnTo>
                          <a:pt x="3239" y="140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5" name="Freeform: Shape 3024">
                    <a:extLst>
                      <a:ext uri="{FF2B5EF4-FFF2-40B4-BE49-F238E27FC236}">
                        <a16:creationId xmlns:a16="http://schemas.microsoft.com/office/drawing/2014/main" id="{7A72D1D1-4241-B857-C5CC-2969188B3792}"/>
                      </a:ext>
                    </a:extLst>
                  </p:cNvPr>
                  <p:cNvSpPr/>
                  <p:nvPr/>
                </p:nvSpPr>
                <p:spPr>
                  <a:xfrm>
                    <a:off x="-5860068" y="3413906"/>
                    <a:ext cx="3841" cy="4692"/>
                  </a:xfrm>
                  <a:custGeom>
                    <a:avLst/>
                    <a:gdLst>
                      <a:gd name="connsiteX0" fmla="*/ 3842 w 3841"/>
                      <a:gd name="connsiteY0" fmla="*/ 4281 h 4692"/>
                      <a:gd name="connsiteX1" fmla="*/ 1207 w 3841"/>
                      <a:gd name="connsiteY1" fmla="*/ 4693 h 4692"/>
                      <a:gd name="connsiteX2" fmla="*/ 0 w 3841"/>
                      <a:gd name="connsiteY2" fmla="*/ 1564 h 4692"/>
                      <a:gd name="connsiteX3" fmla="*/ 1756 w 3841"/>
                      <a:gd name="connsiteY3" fmla="*/ 0 h 4692"/>
                      <a:gd name="connsiteX4" fmla="*/ 3842 w 3841"/>
                      <a:gd name="connsiteY4" fmla="*/ 4281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1" h="4692">
                        <a:moveTo>
                          <a:pt x="3842" y="4281"/>
                        </a:moveTo>
                        <a:lnTo>
                          <a:pt x="1207" y="4693"/>
                        </a:lnTo>
                        <a:lnTo>
                          <a:pt x="0" y="1564"/>
                        </a:lnTo>
                        <a:lnTo>
                          <a:pt x="1756" y="0"/>
                        </a:lnTo>
                        <a:lnTo>
                          <a:pt x="3842" y="428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6" name="Freeform: Shape 3025">
                    <a:extLst>
                      <a:ext uri="{FF2B5EF4-FFF2-40B4-BE49-F238E27FC236}">
                        <a16:creationId xmlns:a16="http://schemas.microsoft.com/office/drawing/2014/main" id="{B7234F8F-AC41-5920-6394-3E06288D1BD1}"/>
                      </a:ext>
                    </a:extLst>
                  </p:cNvPr>
                  <p:cNvSpPr/>
                  <p:nvPr/>
                </p:nvSpPr>
                <p:spPr>
                  <a:xfrm>
                    <a:off x="-5838992" y="3437809"/>
                    <a:ext cx="3402" cy="5131"/>
                  </a:xfrm>
                  <a:custGeom>
                    <a:avLst/>
                    <a:gdLst>
                      <a:gd name="connsiteX0" fmla="*/ 3046 w 3402"/>
                      <a:gd name="connsiteY0" fmla="*/ 0 h 5131"/>
                      <a:gd name="connsiteX1" fmla="*/ 3403 w 3402"/>
                      <a:gd name="connsiteY1" fmla="*/ 5132 h 5131"/>
                      <a:gd name="connsiteX2" fmla="*/ 55 w 3402"/>
                      <a:gd name="connsiteY2" fmla="*/ 2717 h 5131"/>
                      <a:gd name="connsiteX3" fmla="*/ 0 w 3402"/>
                      <a:gd name="connsiteY3" fmla="*/ 878 h 5131"/>
                      <a:gd name="connsiteX4" fmla="*/ 3046 w 3402"/>
                      <a:gd name="connsiteY4" fmla="*/ 0 h 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5131">
                        <a:moveTo>
                          <a:pt x="3046" y="0"/>
                        </a:moveTo>
                        <a:lnTo>
                          <a:pt x="3403" y="5132"/>
                        </a:lnTo>
                        <a:lnTo>
                          <a:pt x="55" y="2717"/>
                        </a:lnTo>
                        <a:lnTo>
                          <a:pt x="0" y="878"/>
                        </a:lnTo>
                        <a:lnTo>
                          <a:pt x="3046"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7" name="Freeform: Shape 3026">
                    <a:extLst>
                      <a:ext uri="{FF2B5EF4-FFF2-40B4-BE49-F238E27FC236}">
                        <a16:creationId xmlns:a16="http://schemas.microsoft.com/office/drawing/2014/main" id="{91B68F3B-5D41-A867-E295-7BEDD0E7729A}"/>
                      </a:ext>
                    </a:extLst>
                  </p:cNvPr>
                  <p:cNvSpPr/>
                  <p:nvPr/>
                </p:nvSpPr>
                <p:spPr>
                  <a:xfrm>
                    <a:off x="-5850271" y="3425102"/>
                    <a:ext cx="3375" cy="5159"/>
                  </a:xfrm>
                  <a:custGeom>
                    <a:avLst/>
                    <a:gdLst>
                      <a:gd name="connsiteX0" fmla="*/ 2881 w 3375"/>
                      <a:gd name="connsiteY0" fmla="*/ 0 h 5159"/>
                      <a:gd name="connsiteX1" fmla="*/ 3375 w 3375"/>
                      <a:gd name="connsiteY1" fmla="*/ 5159 h 5159"/>
                      <a:gd name="connsiteX2" fmla="*/ 740 w 3375"/>
                      <a:gd name="connsiteY2" fmla="*/ 3732 h 5159"/>
                      <a:gd name="connsiteX3" fmla="*/ 0 w 3375"/>
                      <a:gd name="connsiteY3" fmla="*/ 1976 h 5159"/>
                      <a:gd name="connsiteX4" fmla="*/ 2908 w 3375"/>
                      <a:gd name="connsiteY4" fmla="*/ 0 h 5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5159">
                        <a:moveTo>
                          <a:pt x="2881" y="0"/>
                        </a:moveTo>
                        <a:lnTo>
                          <a:pt x="3375" y="5159"/>
                        </a:lnTo>
                        <a:lnTo>
                          <a:pt x="740" y="3732"/>
                        </a:lnTo>
                        <a:lnTo>
                          <a:pt x="0" y="1976"/>
                        </a:lnTo>
                        <a:lnTo>
                          <a:pt x="2908"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8" name="Freeform: Shape 3027">
                    <a:extLst>
                      <a:ext uri="{FF2B5EF4-FFF2-40B4-BE49-F238E27FC236}">
                        <a16:creationId xmlns:a16="http://schemas.microsoft.com/office/drawing/2014/main" id="{4B5E10CF-7D94-E630-A26C-3E0E5BE0226F}"/>
                      </a:ext>
                    </a:extLst>
                  </p:cNvPr>
                  <p:cNvSpPr/>
                  <p:nvPr/>
                </p:nvSpPr>
                <p:spPr>
                  <a:xfrm>
                    <a:off x="-5808942" y="3497003"/>
                    <a:ext cx="4857" cy="3210"/>
                  </a:xfrm>
                  <a:custGeom>
                    <a:avLst/>
                    <a:gdLst>
                      <a:gd name="connsiteX0" fmla="*/ 4857 w 4857"/>
                      <a:gd name="connsiteY0" fmla="*/ 2854 h 3210"/>
                      <a:gd name="connsiteX1" fmla="*/ 1208 w 4857"/>
                      <a:gd name="connsiteY1" fmla="*/ 3211 h 3210"/>
                      <a:gd name="connsiteX2" fmla="*/ 0 w 4857"/>
                      <a:gd name="connsiteY2" fmla="*/ 1592 h 3210"/>
                      <a:gd name="connsiteX3" fmla="*/ 4007 w 4857"/>
                      <a:gd name="connsiteY3" fmla="*/ 0 h 3210"/>
                      <a:gd name="connsiteX4" fmla="*/ 4857 w 4857"/>
                      <a:gd name="connsiteY4" fmla="*/ 2854 h 3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 h="3210">
                        <a:moveTo>
                          <a:pt x="4857" y="2854"/>
                        </a:moveTo>
                        <a:lnTo>
                          <a:pt x="1208" y="3211"/>
                        </a:lnTo>
                        <a:lnTo>
                          <a:pt x="0" y="1592"/>
                        </a:lnTo>
                        <a:lnTo>
                          <a:pt x="4007" y="0"/>
                        </a:lnTo>
                        <a:lnTo>
                          <a:pt x="4857" y="285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9" name="Freeform: Shape 3028">
                    <a:extLst>
                      <a:ext uri="{FF2B5EF4-FFF2-40B4-BE49-F238E27FC236}">
                        <a16:creationId xmlns:a16="http://schemas.microsoft.com/office/drawing/2014/main" id="{A22CCA68-C55D-DEE7-B9D0-2AF53BCF7877}"/>
                      </a:ext>
                    </a:extLst>
                  </p:cNvPr>
                  <p:cNvSpPr/>
                  <p:nvPr/>
                </p:nvSpPr>
                <p:spPr>
                  <a:xfrm>
                    <a:off x="-5855101" y="3397907"/>
                    <a:ext cx="3512" cy="4473"/>
                  </a:xfrm>
                  <a:custGeom>
                    <a:avLst/>
                    <a:gdLst>
                      <a:gd name="connsiteX0" fmla="*/ 3512 w 3512"/>
                      <a:gd name="connsiteY0" fmla="*/ 3512 h 4473"/>
                      <a:gd name="connsiteX1" fmla="*/ 1427 w 3512"/>
                      <a:gd name="connsiteY1" fmla="*/ 4473 h 4473"/>
                      <a:gd name="connsiteX2" fmla="*/ 0 w 3512"/>
                      <a:gd name="connsiteY2" fmla="*/ 1592 h 4473"/>
                      <a:gd name="connsiteX3" fmla="*/ 3512 w 3512"/>
                      <a:gd name="connsiteY3" fmla="*/ 0 h 4473"/>
                      <a:gd name="connsiteX4" fmla="*/ 3512 w 3512"/>
                      <a:gd name="connsiteY4" fmla="*/ 3485 h 4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4473">
                        <a:moveTo>
                          <a:pt x="3512" y="3512"/>
                        </a:moveTo>
                        <a:lnTo>
                          <a:pt x="1427" y="4473"/>
                        </a:lnTo>
                        <a:lnTo>
                          <a:pt x="0" y="1592"/>
                        </a:lnTo>
                        <a:lnTo>
                          <a:pt x="3512" y="0"/>
                        </a:lnTo>
                        <a:lnTo>
                          <a:pt x="3512" y="348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0" name="Freeform: Shape 3029">
                    <a:extLst>
                      <a:ext uri="{FF2B5EF4-FFF2-40B4-BE49-F238E27FC236}">
                        <a16:creationId xmlns:a16="http://schemas.microsoft.com/office/drawing/2014/main" id="{AE8FAA16-7802-9250-623F-0F04D56DA52E}"/>
                      </a:ext>
                    </a:extLst>
                  </p:cNvPr>
                  <p:cNvSpPr/>
                  <p:nvPr/>
                </p:nvSpPr>
                <p:spPr>
                  <a:xfrm>
                    <a:off x="-5814541" y="3470850"/>
                    <a:ext cx="5406" cy="2771"/>
                  </a:xfrm>
                  <a:custGeom>
                    <a:avLst/>
                    <a:gdLst>
                      <a:gd name="connsiteX0" fmla="*/ 5160 w 5406"/>
                      <a:gd name="connsiteY0" fmla="*/ 2388 h 2771"/>
                      <a:gd name="connsiteX1" fmla="*/ 577 w 5406"/>
                      <a:gd name="connsiteY1" fmla="*/ 2772 h 2771"/>
                      <a:gd name="connsiteX2" fmla="*/ 0 w 5406"/>
                      <a:gd name="connsiteY2" fmla="*/ 1015 h 2771"/>
                      <a:gd name="connsiteX3" fmla="*/ 1784 w 5406"/>
                      <a:gd name="connsiteY3" fmla="*/ 0 h 2771"/>
                      <a:gd name="connsiteX4" fmla="*/ 5407 w 5406"/>
                      <a:gd name="connsiteY4" fmla="*/ 302 h 2771"/>
                      <a:gd name="connsiteX5" fmla="*/ 5160 w 5406"/>
                      <a:gd name="connsiteY5" fmla="*/ 2388 h 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6" h="2771">
                        <a:moveTo>
                          <a:pt x="5160" y="2388"/>
                        </a:moveTo>
                        <a:lnTo>
                          <a:pt x="577" y="2772"/>
                        </a:lnTo>
                        <a:lnTo>
                          <a:pt x="0" y="1015"/>
                        </a:lnTo>
                        <a:lnTo>
                          <a:pt x="1784" y="0"/>
                        </a:lnTo>
                        <a:lnTo>
                          <a:pt x="5407" y="302"/>
                        </a:lnTo>
                        <a:lnTo>
                          <a:pt x="5160" y="238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1" name="Freeform: Shape 3030">
                    <a:extLst>
                      <a:ext uri="{FF2B5EF4-FFF2-40B4-BE49-F238E27FC236}">
                        <a16:creationId xmlns:a16="http://schemas.microsoft.com/office/drawing/2014/main" id="{A8796B0A-41DF-1A61-F4D8-6B56390212D9}"/>
                      </a:ext>
                    </a:extLst>
                  </p:cNvPr>
                  <p:cNvSpPr/>
                  <p:nvPr/>
                </p:nvSpPr>
                <p:spPr>
                  <a:xfrm>
                    <a:off x="-5793163" y="3467447"/>
                    <a:ext cx="6229" cy="2030"/>
                  </a:xfrm>
                  <a:custGeom>
                    <a:avLst/>
                    <a:gdLst>
                      <a:gd name="connsiteX0" fmla="*/ 5901 w 6229"/>
                      <a:gd name="connsiteY0" fmla="*/ 329 h 2030"/>
                      <a:gd name="connsiteX1" fmla="*/ 6230 w 6229"/>
                      <a:gd name="connsiteY1" fmla="*/ 2031 h 2030"/>
                      <a:gd name="connsiteX2" fmla="*/ 549 w 6229"/>
                      <a:gd name="connsiteY2" fmla="*/ 1619 h 2030"/>
                      <a:gd name="connsiteX3" fmla="*/ 0 w 6229"/>
                      <a:gd name="connsiteY3" fmla="*/ 631 h 2030"/>
                      <a:gd name="connsiteX4" fmla="*/ 330 w 6229"/>
                      <a:gd name="connsiteY4" fmla="*/ 0 h 2030"/>
                      <a:gd name="connsiteX5" fmla="*/ 5901 w 6229"/>
                      <a:gd name="connsiteY5" fmla="*/ 357 h 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9" h="2030">
                        <a:moveTo>
                          <a:pt x="5901" y="329"/>
                        </a:moveTo>
                        <a:lnTo>
                          <a:pt x="6230" y="2031"/>
                        </a:lnTo>
                        <a:lnTo>
                          <a:pt x="549" y="1619"/>
                        </a:lnTo>
                        <a:lnTo>
                          <a:pt x="0" y="631"/>
                        </a:lnTo>
                        <a:lnTo>
                          <a:pt x="330" y="0"/>
                        </a:lnTo>
                        <a:lnTo>
                          <a:pt x="5901" y="35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2" name="Freeform: Shape 3031">
                    <a:extLst>
                      <a:ext uri="{FF2B5EF4-FFF2-40B4-BE49-F238E27FC236}">
                        <a16:creationId xmlns:a16="http://schemas.microsoft.com/office/drawing/2014/main" id="{13A5058F-FBCA-6634-B86E-94F25BF5742F}"/>
                      </a:ext>
                    </a:extLst>
                  </p:cNvPr>
                  <p:cNvSpPr/>
                  <p:nvPr/>
                </p:nvSpPr>
                <p:spPr>
                  <a:xfrm>
                    <a:off x="-5812866" y="3238545"/>
                    <a:ext cx="199482" cy="122093"/>
                  </a:xfrm>
                  <a:custGeom>
                    <a:avLst/>
                    <a:gdLst>
                      <a:gd name="connsiteX0" fmla="*/ 156205 w 199482"/>
                      <a:gd name="connsiteY0" fmla="*/ 0 h 122093"/>
                      <a:gd name="connsiteX1" fmla="*/ 161557 w 199482"/>
                      <a:gd name="connsiteY1" fmla="*/ 3540 h 122093"/>
                      <a:gd name="connsiteX2" fmla="*/ 165701 w 199482"/>
                      <a:gd name="connsiteY2" fmla="*/ 9825 h 122093"/>
                      <a:gd name="connsiteX3" fmla="*/ 176705 w 199482"/>
                      <a:gd name="connsiteY3" fmla="*/ 8700 h 122093"/>
                      <a:gd name="connsiteX4" fmla="*/ 177693 w 199482"/>
                      <a:gd name="connsiteY4" fmla="*/ 7602 h 122093"/>
                      <a:gd name="connsiteX5" fmla="*/ 188012 w 199482"/>
                      <a:gd name="connsiteY5" fmla="*/ 15204 h 122093"/>
                      <a:gd name="connsiteX6" fmla="*/ 191277 w 199482"/>
                      <a:gd name="connsiteY6" fmla="*/ 20637 h 122093"/>
                      <a:gd name="connsiteX7" fmla="*/ 197452 w 199482"/>
                      <a:gd name="connsiteY7" fmla="*/ 21159 h 122093"/>
                      <a:gd name="connsiteX8" fmla="*/ 199483 w 199482"/>
                      <a:gd name="connsiteY8" fmla="*/ 27443 h 122093"/>
                      <a:gd name="connsiteX9" fmla="*/ 192759 w 199482"/>
                      <a:gd name="connsiteY9" fmla="*/ 34414 h 122093"/>
                      <a:gd name="connsiteX10" fmla="*/ 186859 w 199482"/>
                      <a:gd name="connsiteY10" fmla="*/ 34715 h 122093"/>
                      <a:gd name="connsiteX11" fmla="*/ 179642 w 199482"/>
                      <a:gd name="connsiteY11" fmla="*/ 40012 h 122093"/>
                      <a:gd name="connsiteX12" fmla="*/ 178434 w 199482"/>
                      <a:gd name="connsiteY12" fmla="*/ 42948 h 122093"/>
                      <a:gd name="connsiteX13" fmla="*/ 176897 w 199482"/>
                      <a:gd name="connsiteY13" fmla="*/ 43058 h 122093"/>
                      <a:gd name="connsiteX14" fmla="*/ 174318 w 199482"/>
                      <a:gd name="connsiteY14" fmla="*/ 46351 h 122093"/>
                      <a:gd name="connsiteX15" fmla="*/ 173549 w 199482"/>
                      <a:gd name="connsiteY15" fmla="*/ 51757 h 122093"/>
                      <a:gd name="connsiteX16" fmla="*/ 163093 w 199482"/>
                      <a:gd name="connsiteY16" fmla="*/ 68031 h 122093"/>
                      <a:gd name="connsiteX17" fmla="*/ 156700 w 199482"/>
                      <a:gd name="connsiteY17" fmla="*/ 83975 h 122093"/>
                      <a:gd name="connsiteX18" fmla="*/ 152995 w 199482"/>
                      <a:gd name="connsiteY18" fmla="*/ 86226 h 122093"/>
                      <a:gd name="connsiteX19" fmla="*/ 152446 w 199482"/>
                      <a:gd name="connsiteY19" fmla="*/ 93389 h 122093"/>
                      <a:gd name="connsiteX20" fmla="*/ 148412 w 199482"/>
                      <a:gd name="connsiteY20" fmla="*/ 98520 h 122093"/>
                      <a:gd name="connsiteX21" fmla="*/ 144762 w 199482"/>
                      <a:gd name="connsiteY21" fmla="*/ 101073 h 122093"/>
                      <a:gd name="connsiteX22" fmla="*/ 137105 w 199482"/>
                      <a:gd name="connsiteY22" fmla="*/ 100030 h 122093"/>
                      <a:gd name="connsiteX23" fmla="*/ 135019 w 199482"/>
                      <a:gd name="connsiteY23" fmla="*/ 104914 h 122093"/>
                      <a:gd name="connsiteX24" fmla="*/ 122066 w 199482"/>
                      <a:gd name="connsiteY24" fmla="*/ 106369 h 122093"/>
                      <a:gd name="connsiteX25" fmla="*/ 120859 w 199482"/>
                      <a:gd name="connsiteY25" fmla="*/ 106177 h 122093"/>
                      <a:gd name="connsiteX26" fmla="*/ 110348 w 199482"/>
                      <a:gd name="connsiteY26" fmla="*/ 105354 h 122093"/>
                      <a:gd name="connsiteX27" fmla="*/ 105436 w 199482"/>
                      <a:gd name="connsiteY27" fmla="*/ 103762 h 122093"/>
                      <a:gd name="connsiteX28" fmla="*/ 101704 w 199482"/>
                      <a:gd name="connsiteY28" fmla="*/ 104640 h 122093"/>
                      <a:gd name="connsiteX29" fmla="*/ 93800 w 199482"/>
                      <a:gd name="connsiteY29" fmla="*/ 112077 h 122093"/>
                      <a:gd name="connsiteX30" fmla="*/ 88256 w 199482"/>
                      <a:gd name="connsiteY30" fmla="*/ 111007 h 122093"/>
                      <a:gd name="connsiteX31" fmla="*/ 85759 w 199482"/>
                      <a:gd name="connsiteY31" fmla="*/ 114300 h 122093"/>
                      <a:gd name="connsiteX32" fmla="*/ 81643 w 199482"/>
                      <a:gd name="connsiteY32" fmla="*/ 115041 h 122093"/>
                      <a:gd name="connsiteX33" fmla="*/ 79640 w 199482"/>
                      <a:gd name="connsiteY33" fmla="*/ 115343 h 122093"/>
                      <a:gd name="connsiteX34" fmla="*/ 74947 w 199482"/>
                      <a:gd name="connsiteY34" fmla="*/ 116002 h 122093"/>
                      <a:gd name="connsiteX35" fmla="*/ 68388 w 199482"/>
                      <a:gd name="connsiteY35" fmla="*/ 122094 h 122093"/>
                      <a:gd name="connsiteX36" fmla="*/ 52910 w 199482"/>
                      <a:gd name="connsiteY36" fmla="*/ 120530 h 122093"/>
                      <a:gd name="connsiteX37" fmla="*/ 45226 w 199482"/>
                      <a:gd name="connsiteY37" fmla="*/ 118142 h 122093"/>
                      <a:gd name="connsiteX38" fmla="*/ 42399 w 199482"/>
                      <a:gd name="connsiteY38" fmla="*/ 114602 h 122093"/>
                      <a:gd name="connsiteX39" fmla="*/ 34715 w 199482"/>
                      <a:gd name="connsiteY39" fmla="*/ 112187 h 122093"/>
                      <a:gd name="connsiteX40" fmla="*/ 30517 w 199482"/>
                      <a:gd name="connsiteY40" fmla="*/ 104914 h 122093"/>
                      <a:gd name="connsiteX41" fmla="*/ 22421 w 199482"/>
                      <a:gd name="connsiteY41" fmla="*/ 98109 h 122093"/>
                      <a:gd name="connsiteX42" fmla="*/ 21790 w 199482"/>
                      <a:gd name="connsiteY42" fmla="*/ 96819 h 122093"/>
                      <a:gd name="connsiteX43" fmla="*/ 14215 w 199482"/>
                      <a:gd name="connsiteY43" fmla="*/ 91468 h 122093"/>
                      <a:gd name="connsiteX44" fmla="*/ 7547 w 199482"/>
                      <a:gd name="connsiteY44" fmla="*/ 80929 h 122093"/>
                      <a:gd name="connsiteX45" fmla="*/ 5736 w 199482"/>
                      <a:gd name="connsiteY45" fmla="*/ 75441 h 122093"/>
                      <a:gd name="connsiteX46" fmla="*/ 0 w 199482"/>
                      <a:gd name="connsiteY46" fmla="*/ 74618 h 122093"/>
                      <a:gd name="connsiteX47" fmla="*/ 5516 w 199482"/>
                      <a:gd name="connsiteY47" fmla="*/ 69211 h 122093"/>
                      <a:gd name="connsiteX48" fmla="*/ 9550 w 199482"/>
                      <a:gd name="connsiteY48" fmla="*/ 68278 h 122093"/>
                      <a:gd name="connsiteX49" fmla="*/ 10867 w 199482"/>
                      <a:gd name="connsiteY49" fmla="*/ 64244 h 122093"/>
                      <a:gd name="connsiteX50" fmla="*/ 9413 w 199482"/>
                      <a:gd name="connsiteY50" fmla="*/ 53706 h 122093"/>
                      <a:gd name="connsiteX51" fmla="*/ 15670 w 199482"/>
                      <a:gd name="connsiteY51" fmla="*/ 49644 h 122093"/>
                      <a:gd name="connsiteX52" fmla="*/ 16246 w 199482"/>
                      <a:gd name="connsiteY52" fmla="*/ 43031 h 122093"/>
                      <a:gd name="connsiteX53" fmla="*/ 9084 w 199482"/>
                      <a:gd name="connsiteY53" fmla="*/ 40067 h 122093"/>
                      <a:gd name="connsiteX54" fmla="*/ 14325 w 199482"/>
                      <a:gd name="connsiteY54" fmla="*/ 36719 h 122093"/>
                      <a:gd name="connsiteX55" fmla="*/ 20280 w 199482"/>
                      <a:gd name="connsiteY55" fmla="*/ 38969 h 122093"/>
                      <a:gd name="connsiteX56" fmla="*/ 27059 w 199482"/>
                      <a:gd name="connsiteY56" fmla="*/ 37981 h 122093"/>
                      <a:gd name="connsiteX57" fmla="*/ 30818 w 199482"/>
                      <a:gd name="connsiteY57" fmla="*/ 25110 h 122093"/>
                      <a:gd name="connsiteX58" fmla="*/ 33370 w 199482"/>
                      <a:gd name="connsiteY58" fmla="*/ 24863 h 122093"/>
                      <a:gd name="connsiteX59" fmla="*/ 46845 w 199482"/>
                      <a:gd name="connsiteY59" fmla="*/ 35978 h 122093"/>
                      <a:gd name="connsiteX60" fmla="*/ 52361 w 199482"/>
                      <a:gd name="connsiteY60" fmla="*/ 36829 h 122093"/>
                      <a:gd name="connsiteX61" fmla="*/ 64766 w 199482"/>
                      <a:gd name="connsiteY61" fmla="*/ 36938 h 122093"/>
                      <a:gd name="connsiteX62" fmla="*/ 80436 w 199482"/>
                      <a:gd name="connsiteY62" fmla="*/ 33371 h 122093"/>
                      <a:gd name="connsiteX63" fmla="*/ 78432 w 199482"/>
                      <a:gd name="connsiteY63" fmla="*/ 30873 h 122093"/>
                      <a:gd name="connsiteX64" fmla="*/ 78515 w 199482"/>
                      <a:gd name="connsiteY64" fmla="*/ 27114 h 122093"/>
                      <a:gd name="connsiteX65" fmla="*/ 82823 w 199482"/>
                      <a:gd name="connsiteY65" fmla="*/ 22887 h 122093"/>
                      <a:gd name="connsiteX66" fmla="*/ 85348 w 199482"/>
                      <a:gd name="connsiteY66" fmla="*/ 21982 h 122093"/>
                      <a:gd name="connsiteX67" fmla="*/ 98191 w 199482"/>
                      <a:gd name="connsiteY67" fmla="*/ 20966 h 122093"/>
                      <a:gd name="connsiteX68" fmla="*/ 102966 w 199482"/>
                      <a:gd name="connsiteY68" fmla="*/ 15039 h 122093"/>
                      <a:gd name="connsiteX69" fmla="*/ 111775 w 199482"/>
                      <a:gd name="connsiteY69" fmla="*/ 19018 h 122093"/>
                      <a:gd name="connsiteX70" fmla="*/ 115892 w 199482"/>
                      <a:gd name="connsiteY70" fmla="*/ 18030 h 122093"/>
                      <a:gd name="connsiteX71" fmla="*/ 123164 w 199482"/>
                      <a:gd name="connsiteY71" fmla="*/ 12789 h 122093"/>
                      <a:gd name="connsiteX72" fmla="*/ 127994 w 199482"/>
                      <a:gd name="connsiteY72" fmla="*/ 4912 h 122093"/>
                      <a:gd name="connsiteX73" fmla="*/ 130244 w 199482"/>
                      <a:gd name="connsiteY73" fmla="*/ 1701 h 122093"/>
                      <a:gd name="connsiteX74" fmla="*/ 137160 w 199482"/>
                      <a:gd name="connsiteY74" fmla="*/ 55 h 122093"/>
                      <a:gd name="connsiteX75" fmla="*/ 147451 w 199482"/>
                      <a:gd name="connsiteY75" fmla="*/ 3101 h 122093"/>
                      <a:gd name="connsiteX76" fmla="*/ 156260 w 199482"/>
                      <a:gd name="connsiteY76" fmla="*/ 27 h 12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99482" h="122093">
                        <a:moveTo>
                          <a:pt x="156205" y="0"/>
                        </a:moveTo>
                        <a:lnTo>
                          <a:pt x="161557" y="3540"/>
                        </a:lnTo>
                        <a:lnTo>
                          <a:pt x="165701" y="9825"/>
                        </a:lnTo>
                        <a:lnTo>
                          <a:pt x="176705" y="8700"/>
                        </a:lnTo>
                        <a:lnTo>
                          <a:pt x="177693" y="7602"/>
                        </a:lnTo>
                        <a:lnTo>
                          <a:pt x="188012" y="15204"/>
                        </a:lnTo>
                        <a:lnTo>
                          <a:pt x="191277" y="20637"/>
                        </a:lnTo>
                        <a:lnTo>
                          <a:pt x="197452" y="21159"/>
                        </a:lnTo>
                        <a:lnTo>
                          <a:pt x="199483" y="27443"/>
                        </a:lnTo>
                        <a:lnTo>
                          <a:pt x="192759" y="34414"/>
                        </a:lnTo>
                        <a:lnTo>
                          <a:pt x="186859" y="34715"/>
                        </a:lnTo>
                        <a:lnTo>
                          <a:pt x="179642" y="40012"/>
                        </a:lnTo>
                        <a:lnTo>
                          <a:pt x="178434" y="42948"/>
                        </a:lnTo>
                        <a:lnTo>
                          <a:pt x="176897" y="43058"/>
                        </a:lnTo>
                        <a:lnTo>
                          <a:pt x="174318" y="46351"/>
                        </a:lnTo>
                        <a:lnTo>
                          <a:pt x="173549" y="51757"/>
                        </a:lnTo>
                        <a:lnTo>
                          <a:pt x="163093" y="68031"/>
                        </a:lnTo>
                        <a:lnTo>
                          <a:pt x="156700" y="83975"/>
                        </a:lnTo>
                        <a:lnTo>
                          <a:pt x="152995" y="86226"/>
                        </a:lnTo>
                        <a:lnTo>
                          <a:pt x="152446" y="93389"/>
                        </a:lnTo>
                        <a:lnTo>
                          <a:pt x="148412" y="98520"/>
                        </a:lnTo>
                        <a:lnTo>
                          <a:pt x="144762" y="101073"/>
                        </a:lnTo>
                        <a:lnTo>
                          <a:pt x="137105" y="100030"/>
                        </a:lnTo>
                        <a:lnTo>
                          <a:pt x="135019" y="104914"/>
                        </a:lnTo>
                        <a:lnTo>
                          <a:pt x="122066" y="106369"/>
                        </a:lnTo>
                        <a:lnTo>
                          <a:pt x="120859" y="106177"/>
                        </a:lnTo>
                        <a:lnTo>
                          <a:pt x="110348" y="105354"/>
                        </a:lnTo>
                        <a:lnTo>
                          <a:pt x="105436" y="103762"/>
                        </a:lnTo>
                        <a:lnTo>
                          <a:pt x="101704" y="104640"/>
                        </a:lnTo>
                        <a:lnTo>
                          <a:pt x="93800" y="112077"/>
                        </a:lnTo>
                        <a:lnTo>
                          <a:pt x="88256" y="111007"/>
                        </a:lnTo>
                        <a:lnTo>
                          <a:pt x="85759" y="114300"/>
                        </a:lnTo>
                        <a:lnTo>
                          <a:pt x="81643" y="115041"/>
                        </a:lnTo>
                        <a:lnTo>
                          <a:pt x="79640" y="115343"/>
                        </a:lnTo>
                        <a:lnTo>
                          <a:pt x="74947" y="116002"/>
                        </a:lnTo>
                        <a:lnTo>
                          <a:pt x="68388" y="122094"/>
                        </a:lnTo>
                        <a:lnTo>
                          <a:pt x="52910" y="120530"/>
                        </a:lnTo>
                        <a:lnTo>
                          <a:pt x="45226" y="118142"/>
                        </a:lnTo>
                        <a:lnTo>
                          <a:pt x="42399" y="114602"/>
                        </a:lnTo>
                        <a:lnTo>
                          <a:pt x="34715" y="112187"/>
                        </a:lnTo>
                        <a:lnTo>
                          <a:pt x="30517" y="104914"/>
                        </a:lnTo>
                        <a:lnTo>
                          <a:pt x="22421" y="98109"/>
                        </a:lnTo>
                        <a:lnTo>
                          <a:pt x="21790" y="96819"/>
                        </a:lnTo>
                        <a:lnTo>
                          <a:pt x="14215" y="91468"/>
                        </a:lnTo>
                        <a:lnTo>
                          <a:pt x="7547" y="80929"/>
                        </a:lnTo>
                        <a:lnTo>
                          <a:pt x="5736" y="75441"/>
                        </a:lnTo>
                        <a:lnTo>
                          <a:pt x="0" y="74618"/>
                        </a:lnTo>
                        <a:lnTo>
                          <a:pt x="5516" y="69211"/>
                        </a:lnTo>
                        <a:lnTo>
                          <a:pt x="9550" y="68278"/>
                        </a:lnTo>
                        <a:lnTo>
                          <a:pt x="10867" y="64244"/>
                        </a:lnTo>
                        <a:lnTo>
                          <a:pt x="9413" y="53706"/>
                        </a:lnTo>
                        <a:lnTo>
                          <a:pt x="15670" y="49644"/>
                        </a:lnTo>
                        <a:lnTo>
                          <a:pt x="16246" y="43031"/>
                        </a:lnTo>
                        <a:lnTo>
                          <a:pt x="9084" y="40067"/>
                        </a:lnTo>
                        <a:lnTo>
                          <a:pt x="14325" y="36719"/>
                        </a:lnTo>
                        <a:lnTo>
                          <a:pt x="20280" y="38969"/>
                        </a:lnTo>
                        <a:lnTo>
                          <a:pt x="27059" y="37981"/>
                        </a:lnTo>
                        <a:lnTo>
                          <a:pt x="30818" y="25110"/>
                        </a:lnTo>
                        <a:lnTo>
                          <a:pt x="33370" y="24863"/>
                        </a:lnTo>
                        <a:lnTo>
                          <a:pt x="46845" y="35978"/>
                        </a:lnTo>
                        <a:lnTo>
                          <a:pt x="52361" y="36829"/>
                        </a:lnTo>
                        <a:lnTo>
                          <a:pt x="64766" y="36938"/>
                        </a:lnTo>
                        <a:lnTo>
                          <a:pt x="80436" y="33371"/>
                        </a:lnTo>
                        <a:lnTo>
                          <a:pt x="78432" y="30873"/>
                        </a:lnTo>
                        <a:lnTo>
                          <a:pt x="78515" y="27114"/>
                        </a:lnTo>
                        <a:lnTo>
                          <a:pt x="82823" y="22887"/>
                        </a:lnTo>
                        <a:lnTo>
                          <a:pt x="85348" y="21982"/>
                        </a:lnTo>
                        <a:lnTo>
                          <a:pt x="98191" y="20966"/>
                        </a:lnTo>
                        <a:lnTo>
                          <a:pt x="102966" y="15039"/>
                        </a:lnTo>
                        <a:lnTo>
                          <a:pt x="111775" y="19018"/>
                        </a:lnTo>
                        <a:lnTo>
                          <a:pt x="115892" y="18030"/>
                        </a:lnTo>
                        <a:lnTo>
                          <a:pt x="123164" y="12789"/>
                        </a:lnTo>
                        <a:lnTo>
                          <a:pt x="127994" y="4912"/>
                        </a:lnTo>
                        <a:lnTo>
                          <a:pt x="130244" y="1701"/>
                        </a:lnTo>
                        <a:lnTo>
                          <a:pt x="137160" y="55"/>
                        </a:lnTo>
                        <a:lnTo>
                          <a:pt x="147451" y="3101"/>
                        </a:lnTo>
                        <a:lnTo>
                          <a:pt x="156260" y="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3" name="Freeform: Shape 3032">
                    <a:extLst>
                      <a:ext uri="{FF2B5EF4-FFF2-40B4-BE49-F238E27FC236}">
                        <a16:creationId xmlns:a16="http://schemas.microsoft.com/office/drawing/2014/main" id="{C501E409-BFCC-79EB-5E30-A6AD408CADAB}"/>
                      </a:ext>
                    </a:extLst>
                  </p:cNvPr>
                  <p:cNvSpPr/>
                  <p:nvPr/>
                </p:nvSpPr>
                <p:spPr>
                  <a:xfrm>
                    <a:off x="-6997909" y="2231992"/>
                    <a:ext cx="309282" cy="213835"/>
                  </a:xfrm>
                  <a:custGeom>
                    <a:avLst/>
                    <a:gdLst>
                      <a:gd name="connsiteX0" fmla="*/ 236723 w 309282"/>
                      <a:gd name="connsiteY0" fmla="*/ 110 h 213835"/>
                      <a:gd name="connsiteX1" fmla="*/ 255467 w 309282"/>
                      <a:gd name="connsiteY1" fmla="*/ 19018 h 213835"/>
                      <a:gd name="connsiteX2" fmla="*/ 268886 w 309282"/>
                      <a:gd name="connsiteY2" fmla="*/ 16960 h 213835"/>
                      <a:gd name="connsiteX3" fmla="*/ 270341 w 309282"/>
                      <a:gd name="connsiteY3" fmla="*/ 26592 h 213835"/>
                      <a:gd name="connsiteX4" fmla="*/ 277284 w 309282"/>
                      <a:gd name="connsiteY4" fmla="*/ 37460 h 213835"/>
                      <a:gd name="connsiteX5" fmla="*/ 280028 w 309282"/>
                      <a:gd name="connsiteY5" fmla="*/ 50330 h 213835"/>
                      <a:gd name="connsiteX6" fmla="*/ 290210 w 309282"/>
                      <a:gd name="connsiteY6" fmla="*/ 55846 h 213835"/>
                      <a:gd name="connsiteX7" fmla="*/ 306291 w 309282"/>
                      <a:gd name="connsiteY7" fmla="*/ 72340 h 213835"/>
                      <a:gd name="connsiteX8" fmla="*/ 309282 w 309282"/>
                      <a:gd name="connsiteY8" fmla="*/ 100935 h 213835"/>
                      <a:gd name="connsiteX9" fmla="*/ 301406 w 309282"/>
                      <a:gd name="connsiteY9" fmla="*/ 119871 h 213835"/>
                      <a:gd name="connsiteX10" fmla="*/ 287685 w 309282"/>
                      <a:gd name="connsiteY10" fmla="*/ 133510 h 213835"/>
                      <a:gd name="connsiteX11" fmla="*/ 282745 w 309282"/>
                      <a:gd name="connsiteY11" fmla="*/ 145146 h 213835"/>
                      <a:gd name="connsiteX12" fmla="*/ 272728 w 309282"/>
                      <a:gd name="connsiteY12" fmla="*/ 155025 h 213835"/>
                      <a:gd name="connsiteX13" fmla="*/ 254945 w 309282"/>
                      <a:gd name="connsiteY13" fmla="*/ 159361 h 213835"/>
                      <a:gd name="connsiteX14" fmla="*/ 240977 w 309282"/>
                      <a:gd name="connsiteY14" fmla="*/ 167731 h 213835"/>
                      <a:gd name="connsiteX15" fmla="*/ 221218 w 309282"/>
                      <a:gd name="connsiteY15" fmla="*/ 186887 h 213835"/>
                      <a:gd name="connsiteX16" fmla="*/ 195696 w 309282"/>
                      <a:gd name="connsiteY16" fmla="*/ 193144 h 213835"/>
                      <a:gd name="connsiteX17" fmla="*/ 181727 w 309282"/>
                      <a:gd name="connsiteY17" fmla="*/ 206207 h 213835"/>
                      <a:gd name="connsiteX18" fmla="*/ 168966 w 309282"/>
                      <a:gd name="connsiteY18" fmla="*/ 212107 h 213835"/>
                      <a:gd name="connsiteX19" fmla="*/ 147863 w 309282"/>
                      <a:gd name="connsiteY19" fmla="*/ 213836 h 213835"/>
                      <a:gd name="connsiteX20" fmla="*/ 121984 w 309282"/>
                      <a:gd name="connsiteY20" fmla="*/ 206701 h 213835"/>
                      <a:gd name="connsiteX21" fmla="*/ 86006 w 309282"/>
                      <a:gd name="connsiteY21" fmla="*/ 184499 h 213835"/>
                      <a:gd name="connsiteX22" fmla="*/ 63832 w 309282"/>
                      <a:gd name="connsiteY22" fmla="*/ 186118 h 213835"/>
                      <a:gd name="connsiteX23" fmla="*/ 60210 w 309282"/>
                      <a:gd name="connsiteY23" fmla="*/ 186118 h 213835"/>
                      <a:gd name="connsiteX24" fmla="*/ 43579 w 309282"/>
                      <a:gd name="connsiteY24" fmla="*/ 187216 h 213835"/>
                      <a:gd name="connsiteX25" fmla="*/ 42564 w 309282"/>
                      <a:gd name="connsiteY25" fmla="*/ 175800 h 213835"/>
                      <a:gd name="connsiteX26" fmla="*/ 44649 w 309282"/>
                      <a:gd name="connsiteY26" fmla="*/ 170695 h 213835"/>
                      <a:gd name="connsiteX27" fmla="*/ 50907 w 309282"/>
                      <a:gd name="connsiteY27" fmla="*/ 176623 h 213835"/>
                      <a:gd name="connsiteX28" fmla="*/ 60375 w 309282"/>
                      <a:gd name="connsiteY28" fmla="*/ 172397 h 213835"/>
                      <a:gd name="connsiteX29" fmla="*/ 69732 w 309282"/>
                      <a:gd name="connsiteY29" fmla="*/ 164960 h 213835"/>
                      <a:gd name="connsiteX30" fmla="*/ 68799 w 309282"/>
                      <a:gd name="connsiteY30" fmla="*/ 157797 h 213835"/>
                      <a:gd name="connsiteX31" fmla="*/ 71434 w 309282"/>
                      <a:gd name="connsiteY31" fmla="*/ 153132 h 213835"/>
                      <a:gd name="connsiteX32" fmla="*/ 82576 w 309282"/>
                      <a:gd name="connsiteY32" fmla="*/ 149427 h 213835"/>
                      <a:gd name="connsiteX33" fmla="*/ 66467 w 309282"/>
                      <a:gd name="connsiteY33" fmla="*/ 150552 h 213835"/>
                      <a:gd name="connsiteX34" fmla="*/ 54804 w 309282"/>
                      <a:gd name="connsiteY34" fmla="*/ 133455 h 213835"/>
                      <a:gd name="connsiteX35" fmla="*/ 46571 w 309282"/>
                      <a:gd name="connsiteY35" fmla="*/ 123054 h 213835"/>
                      <a:gd name="connsiteX36" fmla="*/ 13584 w 309282"/>
                      <a:gd name="connsiteY36" fmla="*/ 120337 h 213835"/>
                      <a:gd name="connsiteX37" fmla="*/ 21982 w 309282"/>
                      <a:gd name="connsiteY37" fmla="*/ 111803 h 213835"/>
                      <a:gd name="connsiteX38" fmla="*/ 59771 w 309282"/>
                      <a:gd name="connsiteY38" fmla="*/ 104366 h 213835"/>
                      <a:gd name="connsiteX39" fmla="*/ 60896 w 309282"/>
                      <a:gd name="connsiteY39" fmla="*/ 99700 h 213835"/>
                      <a:gd name="connsiteX40" fmla="*/ 54117 w 309282"/>
                      <a:gd name="connsiteY40" fmla="*/ 91797 h 213835"/>
                      <a:gd name="connsiteX41" fmla="*/ 59277 w 309282"/>
                      <a:gd name="connsiteY41" fmla="*/ 79173 h 213835"/>
                      <a:gd name="connsiteX42" fmla="*/ 58261 w 309282"/>
                      <a:gd name="connsiteY42" fmla="*/ 74590 h 213835"/>
                      <a:gd name="connsiteX43" fmla="*/ 37075 w 309282"/>
                      <a:gd name="connsiteY43" fmla="*/ 66879 h 213835"/>
                      <a:gd name="connsiteX44" fmla="*/ 10236 w 309282"/>
                      <a:gd name="connsiteY44" fmla="*/ 75276 h 213835"/>
                      <a:gd name="connsiteX45" fmla="*/ 0 w 309282"/>
                      <a:gd name="connsiteY45" fmla="*/ 66165 h 213835"/>
                      <a:gd name="connsiteX46" fmla="*/ 6504 w 309282"/>
                      <a:gd name="connsiteY46" fmla="*/ 54941 h 213835"/>
                      <a:gd name="connsiteX47" fmla="*/ 15780 w 309282"/>
                      <a:gd name="connsiteY47" fmla="*/ 54749 h 213835"/>
                      <a:gd name="connsiteX48" fmla="*/ 13749 w 309282"/>
                      <a:gd name="connsiteY48" fmla="*/ 37460 h 213835"/>
                      <a:gd name="connsiteX49" fmla="*/ 20610 w 309282"/>
                      <a:gd name="connsiteY49" fmla="*/ 25687 h 213835"/>
                      <a:gd name="connsiteX50" fmla="*/ 29336 w 309282"/>
                      <a:gd name="connsiteY50" fmla="*/ 25934 h 213835"/>
                      <a:gd name="connsiteX51" fmla="*/ 48135 w 309282"/>
                      <a:gd name="connsiteY51" fmla="*/ 35593 h 213835"/>
                      <a:gd name="connsiteX52" fmla="*/ 46735 w 309282"/>
                      <a:gd name="connsiteY52" fmla="*/ 28349 h 213835"/>
                      <a:gd name="connsiteX53" fmla="*/ 36966 w 309282"/>
                      <a:gd name="connsiteY53" fmla="*/ 11910 h 213835"/>
                      <a:gd name="connsiteX54" fmla="*/ 36966 w 309282"/>
                      <a:gd name="connsiteY54" fmla="*/ 7218 h 213835"/>
                      <a:gd name="connsiteX55" fmla="*/ 39655 w 309282"/>
                      <a:gd name="connsiteY55" fmla="*/ 4363 h 213835"/>
                      <a:gd name="connsiteX56" fmla="*/ 52553 w 309282"/>
                      <a:gd name="connsiteY56" fmla="*/ 6943 h 213835"/>
                      <a:gd name="connsiteX57" fmla="*/ 78212 w 309282"/>
                      <a:gd name="connsiteY57" fmla="*/ 35621 h 213835"/>
                      <a:gd name="connsiteX58" fmla="*/ 81560 w 309282"/>
                      <a:gd name="connsiteY58" fmla="*/ 47120 h 213835"/>
                      <a:gd name="connsiteX59" fmla="*/ 81670 w 309282"/>
                      <a:gd name="connsiteY59" fmla="*/ 63311 h 213835"/>
                      <a:gd name="connsiteX60" fmla="*/ 89985 w 309282"/>
                      <a:gd name="connsiteY60" fmla="*/ 78844 h 213835"/>
                      <a:gd name="connsiteX61" fmla="*/ 99673 w 309282"/>
                      <a:gd name="connsiteY61" fmla="*/ 64820 h 213835"/>
                      <a:gd name="connsiteX62" fmla="*/ 111418 w 309282"/>
                      <a:gd name="connsiteY62" fmla="*/ 57026 h 213835"/>
                      <a:gd name="connsiteX63" fmla="*/ 113230 w 309282"/>
                      <a:gd name="connsiteY63" fmla="*/ 36472 h 213835"/>
                      <a:gd name="connsiteX64" fmla="*/ 115727 w 309282"/>
                      <a:gd name="connsiteY64" fmla="*/ 31477 h 213835"/>
                      <a:gd name="connsiteX65" fmla="*/ 121517 w 309282"/>
                      <a:gd name="connsiteY65" fmla="*/ 33233 h 213835"/>
                      <a:gd name="connsiteX66" fmla="*/ 136501 w 309282"/>
                      <a:gd name="connsiteY66" fmla="*/ 49150 h 213835"/>
                      <a:gd name="connsiteX67" fmla="*/ 142456 w 309282"/>
                      <a:gd name="connsiteY67" fmla="*/ 33892 h 213835"/>
                      <a:gd name="connsiteX68" fmla="*/ 157522 w 309282"/>
                      <a:gd name="connsiteY68" fmla="*/ 26345 h 213835"/>
                      <a:gd name="connsiteX69" fmla="*/ 176019 w 309282"/>
                      <a:gd name="connsiteY69" fmla="*/ 46790 h 213835"/>
                      <a:gd name="connsiteX70" fmla="*/ 175498 w 309282"/>
                      <a:gd name="connsiteY70" fmla="*/ 33124 h 213835"/>
                      <a:gd name="connsiteX71" fmla="*/ 176787 w 309282"/>
                      <a:gd name="connsiteY71" fmla="*/ 28266 h 213835"/>
                      <a:gd name="connsiteX72" fmla="*/ 198687 w 309282"/>
                      <a:gd name="connsiteY72" fmla="*/ 31944 h 213835"/>
                      <a:gd name="connsiteX73" fmla="*/ 207304 w 309282"/>
                      <a:gd name="connsiteY73" fmla="*/ 24671 h 213835"/>
                      <a:gd name="connsiteX74" fmla="*/ 222316 w 309282"/>
                      <a:gd name="connsiteY74" fmla="*/ 20719 h 213835"/>
                      <a:gd name="connsiteX75" fmla="*/ 228463 w 309282"/>
                      <a:gd name="connsiteY75" fmla="*/ 2415 h 213835"/>
                      <a:gd name="connsiteX76" fmla="*/ 236668 w 309282"/>
                      <a:gd name="connsiteY76" fmla="*/ 0 h 21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09282" h="213835">
                        <a:moveTo>
                          <a:pt x="236723" y="110"/>
                        </a:moveTo>
                        <a:lnTo>
                          <a:pt x="255467" y="19018"/>
                        </a:lnTo>
                        <a:lnTo>
                          <a:pt x="268886" y="16960"/>
                        </a:lnTo>
                        <a:lnTo>
                          <a:pt x="270341" y="26592"/>
                        </a:lnTo>
                        <a:lnTo>
                          <a:pt x="277284" y="37460"/>
                        </a:lnTo>
                        <a:lnTo>
                          <a:pt x="280028" y="50330"/>
                        </a:lnTo>
                        <a:lnTo>
                          <a:pt x="290210" y="55846"/>
                        </a:lnTo>
                        <a:lnTo>
                          <a:pt x="306291" y="72340"/>
                        </a:lnTo>
                        <a:lnTo>
                          <a:pt x="309282" y="100935"/>
                        </a:lnTo>
                        <a:lnTo>
                          <a:pt x="301406" y="119871"/>
                        </a:lnTo>
                        <a:lnTo>
                          <a:pt x="287685" y="133510"/>
                        </a:lnTo>
                        <a:lnTo>
                          <a:pt x="282745" y="145146"/>
                        </a:lnTo>
                        <a:lnTo>
                          <a:pt x="272728" y="155025"/>
                        </a:lnTo>
                        <a:lnTo>
                          <a:pt x="254945" y="159361"/>
                        </a:lnTo>
                        <a:lnTo>
                          <a:pt x="240977" y="167731"/>
                        </a:lnTo>
                        <a:lnTo>
                          <a:pt x="221218" y="186887"/>
                        </a:lnTo>
                        <a:lnTo>
                          <a:pt x="195696" y="193144"/>
                        </a:lnTo>
                        <a:lnTo>
                          <a:pt x="181727" y="206207"/>
                        </a:lnTo>
                        <a:lnTo>
                          <a:pt x="168966" y="212107"/>
                        </a:lnTo>
                        <a:lnTo>
                          <a:pt x="147863" y="213836"/>
                        </a:lnTo>
                        <a:lnTo>
                          <a:pt x="121984" y="206701"/>
                        </a:lnTo>
                        <a:lnTo>
                          <a:pt x="86006" y="184499"/>
                        </a:lnTo>
                        <a:lnTo>
                          <a:pt x="63832" y="186118"/>
                        </a:lnTo>
                        <a:lnTo>
                          <a:pt x="60210" y="186118"/>
                        </a:lnTo>
                        <a:cubicBezTo>
                          <a:pt x="60210" y="186118"/>
                          <a:pt x="43579" y="187216"/>
                          <a:pt x="43579" y="187216"/>
                        </a:cubicBezTo>
                        <a:lnTo>
                          <a:pt x="42564" y="175800"/>
                        </a:lnTo>
                        <a:lnTo>
                          <a:pt x="44649" y="170695"/>
                        </a:lnTo>
                        <a:lnTo>
                          <a:pt x="50907" y="176623"/>
                        </a:lnTo>
                        <a:lnTo>
                          <a:pt x="60375" y="172397"/>
                        </a:lnTo>
                        <a:lnTo>
                          <a:pt x="69732" y="164960"/>
                        </a:lnTo>
                        <a:lnTo>
                          <a:pt x="68799" y="157797"/>
                        </a:lnTo>
                        <a:lnTo>
                          <a:pt x="71434" y="153132"/>
                        </a:lnTo>
                        <a:lnTo>
                          <a:pt x="82576" y="149427"/>
                        </a:lnTo>
                        <a:lnTo>
                          <a:pt x="66467" y="150552"/>
                        </a:lnTo>
                        <a:lnTo>
                          <a:pt x="54804" y="133455"/>
                        </a:lnTo>
                        <a:lnTo>
                          <a:pt x="46571" y="123054"/>
                        </a:lnTo>
                        <a:lnTo>
                          <a:pt x="13584" y="120337"/>
                        </a:lnTo>
                        <a:lnTo>
                          <a:pt x="21982" y="111803"/>
                        </a:lnTo>
                        <a:lnTo>
                          <a:pt x="59771" y="104366"/>
                        </a:lnTo>
                        <a:lnTo>
                          <a:pt x="60896" y="99700"/>
                        </a:lnTo>
                        <a:lnTo>
                          <a:pt x="54117" y="91797"/>
                        </a:lnTo>
                        <a:lnTo>
                          <a:pt x="59277" y="79173"/>
                        </a:lnTo>
                        <a:lnTo>
                          <a:pt x="58261" y="74590"/>
                        </a:lnTo>
                        <a:lnTo>
                          <a:pt x="37075" y="66879"/>
                        </a:lnTo>
                        <a:lnTo>
                          <a:pt x="10236" y="75276"/>
                        </a:lnTo>
                        <a:lnTo>
                          <a:pt x="0" y="66165"/>
                        </a:lnTo>
                        <a:lnTo>
                          <a:pt x="6504" y="54941"/>
                        </a:lnTo>
                        <a:lnTo>
                          <a:pt x="15780" y="54749"/>
                        </a:lnTo>
                        <a:lnTo>
                          <a:pt x="13749" y="37460"/>
                        </a:lnTo>
                        <a:lnTo>
                          <a:pt x="20610" y="25687"/>
                        </a:lnTo>
                        <a:lnTo>
                          <a:pt x="29336" y="25934"/>
                        </a:lnTo>
                        <a:lnTo>
                          <a:pt x="48135" y="35593"/>
                        </a:lnTo>
                        <a:lnTo>
                          <a:pt x="46735" y="28349"/>
                        </a:lnTo>
                        <a:lnTo>
                          <a:pt x="36966" y="11910"/>
                        </a:lnTo>
                        <a:lnTo>
                          <a:pt x="36966" y="7218"/>
                        </a:lnTo>
                        <a:cubicBezTo>
                          <a:pt x="36966" y="7218"/>
                          <a:pt x="39655" y="4363"/>
                          <a:pt x="39655" y="4363"/>
                        </a:cubicBezTo>
                        <a:lnTo>
                          <a:pt x="52553" y="6943"/>
                        </a:lnTo>
                        <a:lnTo>
                          <a:pt x="78212" y="35621"/>
                        </a:lnTo>
                        <a:lnTo>
                          <a:pt x="81560" y="47120"/>
                        </a:lnTo>
                        <a:lnTo>
                          <a:pt x="81670" y="63311"/>
                        </a:lnTo>
                        <a:lnTo>
                          <a:pt x="89985" y="78844"/>
                        </a:lnTo>
                        <a:lnTo>
                          <a:pt x="99673" y="64820"/>
                        </a:lnTo>
                        <a:lnTo>
                          <a:pt x="111418" y="57026"/>
                        </a:lnTo>
                        <a:lnTo>
                          <a:pt x="113230" y="36472"/>
                        </a:lnTo>
                        <a:lnTo>
                          <a:pt x="115727" y="31477"/>
                        </a:lnTo>
                        <a:lnTo>
                          <a:pt x="121517" y="33233"/>
                        </a:lnTo>
                        <a:lnTo>
                          <a:pt x="136501" y="49150"/>
                        </a:lnTo>
                        <a:lnTo>
                          <a:pt x="142456" y="33892"/>
                        </a:lnTo>
                        <a:lnTo>
                          <a:pt x="157522" y="26345"/>
                        </a:lnTo>
                        <a:lnTo>
                          <a:pt x="176019" y="46790"/>
                        </a:lnTo>
                        <a:lnTo>
                          <a:pt x="175498" y="33124"/>
                        </a:lnTo>
                        <a:lnTo>
                          <a:pt x="176787" y="28266"/>
                        </a:lnTo>
                        <a:lnTo>
                          <a:pt x="198687" y="31944"/>
                        </a:lnTo>
                        <a:lnTo>
                          <a:pt x="207304" y="24671"/>
                        </a:lnTo>
                        <a:lnTo>
                          <a:pt x="222316" y="20719"/>
                        </a:lnTo>
                        <a:lnTo>
                          <a:pt x="228463" y="2415"/>
                        </a:lnTo>
                        <a:lnTo>
                          <a:pt x="236668"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4" name="Freeform: Shape 3033">
                    <a:extLst>
                      <a:ext uri="{FF2B5EF4-FFF2-40B4-BE49-F238E27FC236}">
                        <a16:creationId xmlns:a16="http://schemas.microsoft.com/office/drawing/2014/main" id="{14CC1E4A-44F3-F057-1E30-BB37071D4923}"/>
                      </a:ext>
                    </a:extLst>
                  </p:cNvPr>
                  <p:cNvSpPr/>
                  <p:nvPr/>
                </p:nvSpPr>
                <p:spPr>
                  <a:xfrm>
                    <a:off x="-6091961" y="3304024"/>
                    <a:ext cx="349102" cy="366199"/>
                  </a:xfrm>
                  <a:custGeom>
                    <a:avLst/>
                    <a:gdLst>
                      <a:gd name="connsiteX0" fmla="*/ 162325 w 349102"/>
                      <a:gd name="connsiteY0" fmla="*/ 3513 h 366199"/>
                      <a:gd name="connsiteX1" fmla="*/ 162929 w 349102"/>
                      <a:gd name="connsiteY1" fmla="*/ 7053 h 366199"/>
                      <a:gd name="connsiteX2" fmla="*/ 172177 w 349102"/>
                      <a:gd name="connsiteY2" fmla="*/ 17234 h 366199"/>
                      <a:gd name="connsiteX3" fmla="*/ 178434 w 349102"/>
                      <a:gd name="connsiteY3" fmla="*/ 18195 h 366199"/>
                      <a:gd name="connsiteX4" fmla="*/ 179614 w 349102"/>
                      <a:gd name="connsiteY4" fmla="*/ 19183 h 366199"/>
                      <a:gd name="connsiteX5" fmla="*/ 202337 w 349102"/>
                      <a:gd name="connsiteY5" fmla="*/ 22092 h 366199"/>
                      <a:gd name="connsiteX6" fmla="*/ 208512 w 349102"/>
                      <a:gd name="connsiteY6" fmla="*/ 23931 h 366199"/>
                      <a:gd name="connsiteX7" fmla="*/ 207633 w 349102"/>
                      <a:gd name="connsiteY7" fmla="*/ 27580 h 366199"/>
                      <a:gd name="connsiteX8" fmla="*/ 199318 w 349102"/>
                      <a:gd name="connsiteY8" fmla="*/ 32877 h 366199"/>
                      <a:gd name="connsiteX9" fmla="*/ 200251 w 349102"/>
                      <a:gd name="connsiteY9" fmla="*/ 35978 h 366199"/>
                      <a:gd name="connsiteX10" fmla="*/ 206453 w 349102"/>
                      <a:gd name="connsiteY10" fmla="*/ 39161 h 366199"/>
                      <a:gd name="connsiteX11" fmla="*/ 202145 w 349102"/>
                      <a:gd name="connsiteY11" fmla="*/ 43991 h 366199"/>
                      <a:gd name="connsiteX12" fmla="*/ 202748 w 349102"/>
                      <a:gd name="connsiteY12" fmla="*/ 46818 h 366199"/>
                      <a:gd name="connsiteX13" fmla="*/ 205850 w 349102"/>
                      <a:gd name="connsiteY13" fmla="*/ 47696 h 366199"/>
                      <a:gd name="connsiteX14" fmla="*/ 205109 w 349102"/>
                      <a:gd name="connsiteY14" fmla="*/ 53789 h 366199"/>
                      <a:gd name="connsiteX15" fmla="*/ 205109 w 349102"/>
                      <a:gd name="connsiteY15" fmla="*/ 54282 h 366199"/>
                      <a:gd name="connsiteX16" fmla="*/ 210378 w 349102"/>
                      <a:gd name="connsiteY16" fmla="*/ 56780 h 366199"/>
                      <a:gd name="connsiteX17" fmla="*/ 213973 w 349102"/>
                      <a:gd name="connsiteY17" fmla="*/ 61527 h 366199"/>
                      <a:gd name="connsiteX18" fmla="*/ 212244 w 349102"/>
                      <a:gd name="connsiteY18" fmla="*/ 63421 h 366199"/>
                      <a:gd name="connsiteX19" fmla="*/ 208786 w 349102"/>
                      <a:gd name="connsiteY19" fmla="*/ 63229 h 366199"/>
                      <a:gd name="connsiteX20" fmla="*/ 208896 w 349102"/>
                      <a:gd name="connsiteY20" fmla="*/ 59222 h 366199"/>
                      <a:gd name="connsiteX21" fmla="*/ 204588 w 349102"/>
                      <a:gd name="connsiteY21" fmla="*/ 55133 h 366199"/>
                      <a:gd name="connsiteX22" fmla="*/ 199483 w 349102"/>
                      <a:gd name="connsiteY22" fmla="*/ 57740 h 366199"/>
                      <a:gd name="connsiteX23" fmla="*/ 191661 w 349102"/>
                      <a:gd name="connsiteY23" fmla="*/ 56231 h 366199"/>
                      <a:gd name="connsiteX24" fmla="*/ 190427 w 349102"/>
                      <a:gd name="connsiteY24" fmla="*/ 61143 h 366199"/>
                      <a:gd name="connsiteX25" fmla="*/ 177967 w 349102"/>
                      <a:gd name="connsiteY25" fmla="*/ 66604 h 366199"/>
                      <a:gd name="connsiteX26" fmla="*/ 173001 w 349102"/>
                      <a:gd name="connsiteY26" fmla="*/ 65836 h 366199"/>
                      <a:gd name="connsiteX27" fmla="*/ 172616 w 349102"/>
                      <a:gd name="connsiteY27" fmla="*/ 68361 h 366199"/>
                      <a:gd name="connsiteX28" fmla="*/ 168362 w 349102"/>
                      <a:gd name="connsiteY28" fmla="*/ 71517 h 366199"/>
                      <a:gd name="connsiteX29" fmla="*/ 165536 w 349102"/>
                      <a:gd name="connsiteY29" fmla="*/ 70913 h 366199"/>
                      <a:gd name="connsiteX30" fmla="*/ 161969 w 349102"/>
                      <a:gd name="connsiteY30" fmla="*/ 75578 h 366199"/>
                      <a:gd name="connsiteX31" fmla="*/ 163972 w 349102"/>
                      <a:gd name="connsiteY31" fmla="*/ 77389 h 366199"/>
                      <a:gd name="connsiteX32" fmla="*/ 167786 w 349102"/>
                      <a:gd name="connsiteY32" fmla="*/ 81423 h 366199"/>
                      <a:gd name="connsiteX33" fmla="*/ 167182 w 349102"/>
                      <a:gd name="connsiteY33" fmla="*/ 85156 h 366199"/>
                      <a:gd name="connsiteX34" fmla="*/ 171683 w 349102"/>
                      <a:gd name="connsiteY34" fmla="*/ 90233 h 366199"/>
                      <a:gd name="connsiteX35" fmla="*/ 169789 w 349102"/>
                      <a:gd name="connsiteY35" fmla="*/ 96736 h 366199"/>
                      <a:gd name="connsiteX36" fmla="*/ 166386 w 349102"/>
                      <a:gd name="connsiteY36" fmla="*/ 95584 h 366199"/>
                      <a:gd name="connsiteX37" fmla="*/ 166003 w 349102"/>
                      <a:gd name="connsiteY37" fmla="*/ 103488 h 366199"/>
                      <a:gd name="connsiteX38" fmla="*/ 169351 w 349102"/>
                      <a:gd name="connsiteY38" fmla="*/ 120173 h 366199"/>
                      <a:gd name="connsiteX39" fmla="*/ 171299 w 349102"/>
                      <a:gd name="connsiteY39" fmla="*/ 122725 h 366199"/>
                      <a:gd name="connsiteX40" fmla="*/ 180135 w 349102"/>
                      <a:gd name="connsiteY40" fmla="*/ 130629 h 366199"/>
                      <a:gd name="connsiteX41" fmla="*/ 192540 w 349102"/>
                      <a:gd name="connsiteY41" fmla="*/ 139575 h 366199"/>
                      <a:gd name="connsiteX42" fmla="*/ 203956 w 349102"/>
                      <a:gd name="connsiteY42" fmla="*/ 145914 h 366199"/>
                      <a:gd name="connsiteX43" fmla="*/ 205603 w 349102"/>
                      <a:gd name="connsiteY43" fmla="*/ 149262 h 366199"/>
                      <a:gd name="connsiteX44" fmla="*/ 206344 w 349102"/>
                      <a:gd name="connsiteY44" fmla="*/ 150799 h 366199"/>
                      <a:gd name="connsiteX45" fmla="*/ 209335 w 349102"/>
                      <a:gd name="connsiteY45" fmla="*/ 158072 h 366199"/>
                      <a:gd name="connsiteX46" fmla="*/ 212463 w 349102"/>
                      <a:gd name="connsiteY46" fmla="*/ 167265 h 366199"/>
                      <a:gd name="connsiteX47" fmla="*/ 214384 w 349102"/>
                      <a:gd name="connsiteY47" fmla="*/ 174181 h 366199"/>
                      <a:gd name="connsiteX48" fmla="*/ 219297 w 349102"/>
                      <a:gd name="connsiteY48" fmla="*/ 184664 h 366199"/>
                      <a:gd name="connsiteX49" fmla="*/ 221163 w 349102"/>
                      <a:gd name="connsiteY49" fmla="*/ 188753 h 366199"/>
                      <a:gd name="connsiteX50" fmla="*/ 224319 w 349102"/>
                      <a:gd name="connsiteY50" fmla="*/ 192156 h 366199"/>
                      <a:gd name="connsiteX51" fmla="*/ 226432 w 349102"/>
                      <a:gd name="connsiteY51" fmla="*/ 193940 h 366199"/>
                      <a:gd name="connsiteX52" fmla="*/ 235076 w 349102"/>
                      <a:gd name="connsiteY52" fmla="*/ 201130 h 366199"/>
                      <a:gd name="connsiteX53" fmla="*/ 237189 w 349102"/>
                      <a:gd name="connsiteY53" fmla="*/ 202914 h 366199"/>
                      <a:gd name="connsiteX54" fmla="*/ 239385 w 349102"/>
                      <a:gd name="connsiteY54" fmla="*/ 206893 h 366199"/>
                      <a:gd name="connsiteX55" fmla="*/ 243885 w 349102"/>
                      <a:gd name="connsiteY55" fmla="*/ 209171 h 366199"/>
                      <a:gd name="connsiteX56" fmla="*/ 246191 w 349102"/>
                      <a:gd name="connsiteY56" fmla="*/ 210460 h 366199"/>
                      <a:gd name="connsiteX57" fmla="*/ 250307 w 349102"/>
                      <a:gd name="connsiteY57" fmla="*/ 212738 h 366199"/>
                      <a:gd name="connsiteX58" fmla="*/ 279452 w 349102"/>
                      <a:gd name="connsiteY58" fmla="*/ 213342 h 366199"/>
                      <a:gd name="connsiteX59" fmla="*/ 280632 w 349102"/>
                      <a:gd name="connsiteY59" fmla="*/ 218830 h 366199"/>
                      <a:gd name="connsiteX60" fmla="*/ 276323 w 349102"/>
                      <a:gd name="connsiteY60" fmla="*/ 222974 h 366199"/>
                      <a:gd name="connsiteX61" fmla="*/ 274402 w 349102"/>
                      <a:gd name="connsiteY61" fmla="*/ 224813 h 366199"/>
                      <a:gd name="connsiteX62" fmla="*/ 272865 w 349102"/>
                      <a:gd name="connsiteY62" fmla="*/ 226268 h 366199"/>
                      <a:gd name="connsiteX63" fmla="*/ 276378 w 349102"/>
                      <a:gd name="connsiteY63" fmla="*/ 232497 h 366199"/>
                      <a:gd name="connsiteX64" fmla="*/ 291609 w 349102"/>
                      <a:gd name="connsiteY64" fmla="*/ 240208 h 366199"/>
                      <a:gd name="connsiteX65" fmla="*/ 307087 w 349102"/>
                      <a:gd name="connsiteY65" fmla="*/ 246438 h 366199"/>
                      <a:gd name="connsiteX66" fmla="*/ 316500 w 349102"/>
                      <a:gd name="connsiteY66" fmla="*/ 253354 h 366199"/>
                      <a:gd name="connsiteX67" fmla="*/ 333926 w 349102"/>
                      <a:gd name="connsiteY67" fmla="*/ 262575 h 366199"/>
                      <a:gd name="connsiteX68" fmla="*/ 337329 w 349102"/>
                      <a:gd name="connsiteY68" fmla="*/ 267953 h 366199"/>
                      <a:gd name="connsiteX69" fmla="*/ 346056 w 349102"/>
                      <a:gd name="connsiteY69" fmla="*/ 275665 h 366199"/>
                      <a:gd name="connsiteX70" fmla="*/ 349102 w 349102"/>
                      <a:gd name="connsiteY70" fmla="*/ 282251 h 366199"/>
                      <a:gd name="connsiteX71" fmla="*/ 345397 w 349102"/>
                      <a:gd name="connsiteY71" fmla="*/ 294985 h 366199"/>
                      <a:gd name="connsiteX72" fmla="*/ 336396 w 349102"/>
                      <a:gd name="connsiteY72" fmla="*/ 290786 h 366199"/>
                      <a:gd name="connsiteX73" fmla="*/ 333267 w 349102"/>
                      <a:gd name="connsiteY73" fmla="*/ 281538 h 366199"/>
                      <a:gd name="connsiteX74" fmla="*/ 327532 w 349102"/>
                      <a:gd name="connsiteY74" fmla="*/ 276488 h 366199"/>
                      <a:gd name="connsiteX75" fmla="*/ 319162 w 349102"/>
                      <a:gd name="connsiteY75" fmla="*/ 275939 h 366199"/>
                      <a:gd name="connsiteX76" fmla="*/ 308349 w 349102"/>
                      <a:gd name="connsiteY76" fmla="*/ 268118 h 366199"/>
                      <a:gd name="connsiteX77" fmla="*/ 301187 w 349102"/>
                      <a:gd name="connsiteY77" fmla="*/ 272509 h 366199"/>
                      <a:gd name="connsiteX78" fmla="*/ 294627 w 349102"/>
                      <a:gd name="connsiteY78" fmla="*/ 283239 h 366199"/>
                      <a:gd name="connsiteX79" fmla="*/ 293612 w 349102"/>
                      <a:gd name="connsiteY79" fmla="*/ 289688 h 366199"/>
                      <a:gd name="connsiteX80" fmla="*/ 290429 w 349102"/>
                      <a:gd name="connsiteY80" fmla="*/ 295341 h 366199"/>
                      <a:gd name="connsiteX81" fmla="*/ 291389 w 349102"/>
                      <a:gd name="connsiteY81" fmla="*/ 300171 h 366199"/>
                      <a:gd name="connsiteX82" fmla="*/ 305824 w 349102"/>
                      <a:gd name="connsiteY82" fmla="*/ 307554 h 366199"/>
                      <a:gd name="connsiteX83" fmla="*/ 309172 w 349102"/>
                      <a:gd name="connsiteY83" fmla="*/ 311149 h 366199"/>
                      <a:gd name="connsiteX84" fmla="*/ 309172 w 349102"/>
                      <a:gd name="connsiteY84" fmla="*/ 318805 h 366199"/>
                      <a:gd name="connsiteX85" fmla="*/ 309420 w 349102"/>
                      <a:gd name="connsiteY85" fmla="*/ 328163 h 366199"/>
                      <a:gd name="connsiteX86" fmla="*/ 301873 w 349102"/>
                      <a:gd name="connsiteY86" fmla="*/ 328685 h 366199"/>
                      <a:gd name="connsiteX87" fmla="*/ 292460 w 349102"/>
                      <a:gd name="connsiteY87" fmla="*/ 334997 h 366199"/>
                      <a:gd name="connsiteX88" fmla="*/ 292816 w 349102"/>
                      <a:gd name="connsiteY88" fmla="*/ 345919 h 366199"/>
                      <a:gd name="connsiteX89" fmla="*/ 281922 w 349102"/>
                      <a:gd name="connsiteY89" fmla="*/ 356896 h 366199"/>
                      <a:gd name="connsiteX90" fmla="*/ 277695 w 349102"/>
                      <a:gd name="connsiteY90" fmla="*/ 365678 h 366199"/>
                      <a:gd name="connsiteX91" fmla="*/ 268173 w 349102"/>
                      <a:gd name="connsiteY91" fmla="*/ 366199 h 366199"/>
                      <a:gd name="connsiteX92" fmla="*/ 265264 w 349102"/>
                      <a:gd name="connsiteY92" fmla="*/ 362961 h 366199"/>
                      <a:gd name="connsiteX93" fmla="*/ 265346 w 349102"/>
                      <a:gd name="connsiteY93" fmla="*/ 355771 h 366199"/>
                      <a:gd name="connsiteX94" fmla="*/ 270121 w 349102"/>
                      <a:gd name="connsiteY94" fmla="*/ 351984 h 366199"/>
                      <a:gd name="connsiteX95" fmla="*/ 273277 w 349102"/>
                      <a:gd name="connsiteY95" fmla="*/ 344547 h 366199"/>
                      <a:gd name="connsiteX96" fmla="*/ 271548 w 349102"/>
                      <a:gd name="connsiteY96" fmla="*/ 338948 h 366199"/>
                      <a:gd name="connsiteX97" fmla="*/ 279589 w 349102"/>
                      <a:gd name="connsiteY97" fmla="*/ 336176 h 366199"/>
                      <a:gd name="connsiteX98" fmla="*/ 281922 w 349102"/>
                      <a:gd name="connsiteY98" fmla="*/ 333103 h 366199"/>
                      <a:gd name="connsiteX99" fmla="*/ 281674 w 349102"/>
                      <a:gd name="connsiteY99" fmla="*/ 329288 h 366199"/>
                      <a:gd name="connsiteX100" fmla="*/ 278381 w 349102"/>
                      <a:gd name="connsiteY100" fmla="*/ 324102 h 366199"/>
                      <a:gd name="connsiteX101" fmla="*/ 277476 w 349102"/>
                      <a:gd name="connsiteY101" fmla="*/ 318805 h 366199"/>
                      <a:gd name="connsiteX102" fmla="*/ 275912 w 349102"/>
                      <a:gd name="connsiteY102" fmla="*/ 310490 h 366199"/>
                      <a:gd name="connsiteX103" fmla="*/ 270615 w 349102"/>
                      <a:gd name="connsiteY103" fmla="*/ 301077 h 366199"/>
                      <a:gd name="connsiteX104" fmla="*/ 268447 w 349102"/>
                      <a:gd name="connsiteY104" fmla="*/ 290759 h 366199"/>
                      <a:gd name="connsiteX105" fmla="*/ 265209 w 349102"/>
                      <a:gd name="connsiteY105" fmla="*/ 286175 h 366199"/>
                      <a:gd name="connsiteX106" fmla="*/ 262821 w 349102"/>
                      <a:gd name="connsiteY106" fmla="*/ 285160 h 366199"/>
                      <a:gd name="connsiteX107" fmla="*/ 258705 w 349102"/>
                      <a:gd name="connsiteY107" fmla="*/ 287712 h 366199"/>
                      <a:gd name="connsiteX108" fmla="*/ 256482 w 349102"/>
                      <a:gd name="connsiteY108" fmla="*/ 287575 h 366199"/>
                      <a:gd name="connsiteX109" fmla="*/ 254644 w 349102"/>
                      <a:gd name="connsiteY109" fmla="*/ 286642 h 366199"/>
                      <a:gd name="connsiteX110" fmla="*/ 253518 w 349102"/>
                      <a:gd name="connsiteY110" fmla="*/ 284584 h 366199"/>
                      <a:gd name="connsiteX111" fmla="*/ 250500 w 349102"/>
                      <a:gd name="connsiteY111" fmla="*/ 281840 h 366199"/>
                      <a:gd name="connsiteX112" fmla="*/ 247371 w 349102"/>
                      <a:gd name="connsiteY112" fmla="*/ 280989 h 366199"/>
                      <a:gd name="connsiteX113" fmla="*/ 244517 w 349102"/>
                      <a:gd name="connsiteY113" fmla="*/ 278985 h 366199"/>
                      <a:gd name="connsiteX114" fmla="*/ 244023 w 349102"/>
                      <a:gd name="connsiteY114" fmla="*/ 277394 h 366199"/>
                      <a:gd name="connsiteX115" fmla="*/ 245807 w 349102"/>
                      <a:gd name="connsiteY115" fmla="*/ 273881 h 366199"/>
                      <a:gd name="connsiteX116" fmla="*/ 245807 w 349102"/>
                      <a:gd name="connsiteY116" fmla="*/ 272372 h 366199"/>
                      <a:gd name="connsiteX117" fmla="*/ 242733 w 349102"/>
                      <a:gd name="connsiteY117" fmla="*/ 265648 h 366199"/>
                      <a:gd name="connsiteX118" fmla="*/ 239934 w 349102"/>
                      <a:gd name="connsiteY118" fmla="*/ 262465 h 366199"/>
                      <a:gd name="connsiteX119" fmla="*/ 233018 w 349102"/>
                      <a:gd name="connsiteY119" fmla="*/ 264139 h 366199"/>
                      <a:gd name="connsiteX120" fmla="*/ 230603 w 349102"/>
                      <a:gd name="connsiteY120" fmla="*/ 263947 h 366199"/>
                      <a:gd name="connsiteX121" fmla="*/ 228490 w 349102"/>
                      <a:gd name="connsiteY121" fmla="*/ 259034 h 366199"/>
                      <a:gd name="connsiteX122" fmla="*/ 217787 w 349102"/>
                      <a:gd name="connsiteY122" fmla="*/ 253134 h 366199"/>
                      <a:gd name="connsiteX123" fmla="*/ 209801 w 349102"/>
                      <a:gd name="connsiteY123" fmla="*/ 240483 h 366199"/>
                      <a:gd name="connsiteX124" fmla="*/ 196025 w 349102"/>
                      <a:gd name="connsiteY124" fmla="*/ 237821 h 366199"/>
                      <a:gd name="connsiteX125" fmla="*/ 189329 w 349102"/>
                      <a:gd name="connsiteY125" fmla="*/ 239769 h 366199"/>
                      <a:gd name="connsiteX126" fmla="*/ 180739 w 349102"/>
                      <a:gd name="connsiteY126" fmla="*/ 232909 h 366199"/>
                      <a:gd name="connsiteX127" fmla="*/ 175992 w 349102"/>
                      <a:gd name="connsiteY127" fmla="*/ 230878 h 366199"/>
                      <a:gd name="connsiteX128" fmla="*/ 170613 w 349102"/>
                      <a:gd name="connsiteY128" fmla="*/ 224868 h 366199"/>
                      <a:gd name="connsiteX129" fmla="*/ 168967 w 349102"/>
                      <a:gd name="connsiteY129" fmla="*/ 223029 h 366199"/>
                      <a:gd name="connsiteX130" fmla="*/ 157880 w 349102"/>
                      <a:gd name="connsiteY130" fmla="*/ 210543 h 366199"/>
                      <a:gd name="connsiteX131" fmla="*/ 156754 w 349102"/>
                      <a:gd name="connsiteY131" fmla="*/ 209253 h 366199"/>
                      <a:gd name="connsiteX132" fmla="*/ 153132 w 349102"/>
                      <a:gd name="connsiteY132" fmla="*/ 208210 h 366199"/>
                      <a:gd name="connsiteX133" fmla="*/ 150140 w 349102"/>
                      <a:gd name="connsiteY133" fmla="*/ 203682 h 366199"/>
                      <a:gd name="connsiteX134" fmla="*/ 148823 w 349102"/>
                      <a:gd name="connsiteY134" fmla="*/ 201240 h 366199"/>
                      <a:gd name="connsiteX135" fmla="*/ 147506 w 349102"/>
                      <a:gd name="connsiteY135" fmla="*/ 198797 h 366199"/>
                      <a:gd name="connsiteX136" fmla="*/ 141798 w 349102"/>
                      <a:gd name="connsiteY136" fmla="*/ 194955 h 366199"/>
                      <a:gd name="connsiteX137" fmla="*/ 133016 w 349102"/>
                      <a:gd name="connsiteY137" fmla="*/ 193802 h 366199"/>
                      <a:gd name="connsiteX138" fmla="*/ 132879 w 349102"/>
                      <a:gd name="connsiteY138" fmla="*/ 188863 h 366199"/>
                      <a:gd name="connsiteX139" fmla="*/ 130134 w 349102"/>
                      <a:gd name="connsiteY139" fmla="*/ 184774 h 366199"/>
                      <a:gd name="connsiteX140" fmla="*/ 127335 w 349102"/>
                      <a:gd name="connsiteY140" fmla="*/ 181151 h 366199"/>
                      <a:gd name="connsiteX141" fmla="*/ 122341 w 349102"/>
                      <a:gd name="connsiteY141" fmla="*/ 178544 h 366199"/>
                      <a:gd name="connsiteX142" fmla="*/ 119898 w 349102"/>
                      <a:gd name="connsiteY142" fmla="*/ 172370 h 366199"/>
                      <a:gd name="connsiteX143" fmla="*/ 114218 w 349102"/>
                      <a:gd name="connsiteY143" fmla="*/ 171738 h 366199"/>
                      <a:gd name="connsiteX144" fmla="*/ 114025 w 349102"/>
                      <a:gd name="connsiteY144" fmla="*/ 159499 h 366199"/>
                      <a:gd name="connsiteX145" fmla="*/ 109305 w 349102"/>
                      <a:gd name="connsiteY145" fmla="*/ 149372 h 366199"/>
                      <a:gd name="connsiteX146" fmla="*/ 107961 w 349102"/>
                      <a:gd name="connsiteY146" fmla="*/ 146518 h 366199"/>
                      <a:gd name="connsiteX147" fmla="*/ 106726 w 349102"/>
                      <a:gd name="connsiteY147" fmla="*/ 137050 h 366199"/>
                      <a:gd name="connsiteX148" fmla="*/ 103377 w 349102"/>
                      <a:gd name="connsiteY148" fmla="*/ 130491 h 366199"/>
                      <a:gd name="connsiteX149" fmla="*/ 99700 w 349102"/>
                      <a:gd name="connsiteY149" fmla="*/ 127665 h 366199"/>
                      <a:gd name="connsiteX150" fmla="*/ 93251 w 349102"/>
                      <a:gd name="connsiteY150" fmla="*/ 126567 h 366199"/>
                      <a:gd name="connsiteX151" fmla="*/ 84771 w 349102"/>
                      <a:gd name="connsiteY151" fmla="*/ 120612 h 366199"/>
                      <a:gd name="connsiteX152" fmla="*/ 73684 w 349102"/>
                      <a:gd name="connsiteY152" fmla="*/ 114657 h 366199"/>
                      <a:gd name="connsiteX153" fmla="*/ 62927 w 349102"/>
                      <a:gd name="connsiteY153" fmla="*/ 112269 h 366199"/>
                      <a:gd name="connsiteX154" fmla="*/ 58947 w 349102"/>
                      <a:gd name="connsiteY154" fmla="*/ 113916 h 366199"/>
                      <a:gd name="connsiteX155" fmla="*/ 48409 w 349102"/>
                      <a:gd name="connsiteY155" fmla="*/ 124262 h 366199"/>
                      <a:gd name="connsiteX156" fmla="*/ 44320 w 349102"/>
                      <a:gd name="connsiteY156" fmla="*/ 132001 h 366199"/>
                      <a:gd name="connsiteX157" fmla="*/ 39188 w 349102"/>
                      <a:gd name="connsiteY157" fmla="*/ 135486 h 366199"/>
                      <a:gd name="connsiteX158" fmla="*/ 26482 w 349102"/>
                      <a:gd name="connsiteY158" fmla="*/ 138340 h 366199"/>
                      <a:gd name="connsiteX159" fmla="*/ 26263 w 349102"/>
                      <a:gd name="connsiteY159" fmla="*/ 134032 h 366199"/>
                      <a:gd name="connsiteX160" fmla="*/ 31889 w 349102"/>
                      <a:gd name="connsiteY160" fmla="*/ 127006 h 366199"/>
                      <a:gd name="connsiteX161" fmla="*/ 28623 w 349102"/>
                      <a:gd name="connsiteY161" fmla="*/ 123686 h 366199"/>
                      <a:gd name="connsiteX162" fmla="*/ 22201 w 349102"/>
                      <a:gd name="connsiteY162" fmla="*/ 124454 h 366199"/>
                      <a:gd name="connsiteX163" fmla="*/ 11965 w 349102"/>
                      <a:gd name="connsiteY163" fmla="*/ 119953 h 366199"/>
                      <a:gd name="connsiteX164" fmla="*/ 7574 w 349102"/>
                      <a:gd name="connsiteY164" fmla="*/ 114684 h 366199"/>
                      <a:gd name="connsiteX165" fmla="*/ 7190 w 349102"/>
                      <a:gd name="connsiteY165" fmla="*/ 108016 h 366199"/>
                      <a:gd name="connsiteX166" fmla="*/ 9358 w 349102"/>
                      <a:gd name="connsiteY166" fmla="*/ 102582 h 366199"/>
                      <a:gd name="connsiteX167" fmla="*/ 12816 w 349102"/>
                      <a:gd name="connsiteY167" fmla="*/ 100139 h 366199"/>
                      <a:gd name="connsiteX168" fmla="*/ 11114 w 349102"/>
                      <a:gd name="connsiteY168" fmla="*/ 95282 h 366199"/>
                      <a:gd name="connsiteX169" fmla="*/ 4391 w 349102"/>
                      <a:gd name="connsiteY169" fmla="*/ 92538 h 366199"/>
                      <a:gd name="connsiteX170" fmla="*/ 0 w 349102"/>
                      <a:gd name="connsiteY170" fmla="*/ 83674 h 366199"/>
                      <a:gd name="connsiteX171" fmla="*/ 13721 w 349102"/>
                      <a:gd name="connsiteY171" fmla="*/ 78542 h 366199"/>
                      <a:gd name="connsiteX172" fmla="*/ 15670 w 349102"/>
                      <a:gd name="connsiteY172" fmla="*/ 71407 h 366199"/>
                      <a:gd name="connsiteX173" fmla="*/ 13941 w 349102"/>
                      <a:gd name="connsiteY173" fmla="*/ 68662 h 366199"/>
                      <a:gd name="connsiteX174" fmla="*/ 11224 w 349102"/>
                      <a:gd name="connsiteY174" fmla="*/ 66824 h 366199"/>
                      <a:gd name="connsiteX175" fmla="*/ 10319 w 349102"/>
                      <a:gd name="connsiteY175" fmla="*/ 61994 h 366199"/>
                      <a:gd name="connsiteX176" fmla="*/ 5049 w 349102"/>
                      <a:gd name="connsiteY176" fmla="*/ 55600 h 366199"/>
                      <a:gd name="connsiteX177" fmla="*/ 12185 w 349102"/>
                      <a:gd name="connsiteY177" fmla="*/ 49535 h 366199"/>
                      <a:gd name="connsiteX178" fmla="*/ 15368 w 349102"/>
                      <a:gd name="connsiteY178" fmla="*/ 52060 h 366199"/>
                      <a:gd name="connsiteX179" fmla="*/ 27992 w 349102"/>
                      <a:gd name="connsiteY179" fmla="*/ 47614 h 366199"/>
                      <a:gd name="connsiteX180" fmla="*/ 36252 w 349102"/>
                      <a:gd name="connsiteY180" fmla="*/ 49782 h 366199"/>
                      <a:gd name="connsiteX181" fmla="*/ 36664 w 349102"/>
                      <a:gd name="connsiteY181" fmla="*/ 49342 h 366199"/>
                      <a:gd name="connsiteX182" fmla="*/ 44293 w 349102"/>
                      <a:gd name="connsiteY182" fmla="*/ 39737 h 366199"/>
                      <a:gd name="connsiteX183" fmla="*/ 43497 w 349102"/>
                      <a:gd name="connsiteY183" fmla="*/ 35072 h 366199"/>
                      <a:gd name="connsiteX184" fmla="*/ 51593 w 349102"/>
                      <a:gd name="connsiteY184" fmla="*/ 27059 h 366199"/>
                      <a:gd name="connsiteX185" fmla="*/ 53733 w 349102"/>
                      <a:gd name="connsiteY185" fmla="*/ 28458 h 366199"/>
                      <a:gd name="connsiteX186" fmla="*/ 53898 w 349102"/>
                      <a:gd name="connsiteY186" fmla="*/ 35594 h 366199"/>
                      <a:gd name="connsiteX187" fmla="*/ 61253 w 349102"/>
                      <a:gd name="connsiteY187" fmla="*/ 42152 h 366199"/>
                      <a:gd name="connsiteX188" fmla="*/ 64655 w 349102"/>
                      <a:gd name="connsiteY188" fmla="*/ 43470 h 366199"/>
                      <a:gd name="connsiteX189" fmla="*/ 67098 w 349102"/>
                      <a:gd name="connsiteY189" fmla="*/ 53459 h 366199"/>
                      <a:gd name="connsiteX190" fmla="*/ 70803 w 349102"/>
                      <a:gd name="connsiteY190" fmla="*/ 51757 h 366199"/>
                      <a:gd name="connsiteX191" fmla="*/ 70528 w 349102"/>
                      <a:gd name="connsiteY191" fmla="*/ 45391 h 366199"/>
                      <a:gd name="connsiteX192" fmla="*/ 74370 w 349102"/>
                      <a:gd name="connsiteY192" fmla="*/ 39079 h 366199"/>
                      <a:gd name="connsiteX193" fmla="*/ 76977 w 349102"/>
                      <a:gd name="connsiteY193" fmla="*/ 36334 h 366199"/>
                      <a:gd name="connsiteX194" fmla="*/ 77444 w 349102"/>
                      <a:gd name="connsiteY194" fmla="*/ 27004 h 366199"/>
                      <a:gd name="connsiteX195" fmla="*/ 79036 w 349102"/>
                      <a:gd name="connsiteY195" fmla="*/ 25165 h 366199"/>
                      <a:gd name="connsiteX196" fmla="*/ 82576 w 349102"/>
                      <a:gd name="connsiteY196" fmla="*/ 25879 h 366199"/>
                      <a:gd name="connsiteX197" fmla="*/ 86363 w 349102"/>
                      <a:gd name="connsiteY197" fmla="*/ 33288 h 366199"/>
                      <a:gd name="connsiteX198" fmla="*/ 96517 w 349102"/>
                      <a:gd name="connsiteY198" fmla="*/ 30544 h 366199"/>
                      <a:gd name="connsiteX199" fmla="*/ 101896 w 349102"/>
                      <a:gd name="connsiteY199" fmla="*/ 36060 h 366199"/>
                      <a:gd name="connsiteX200" fmla="*/ 103707 w 349102"/>
                      <a:gd name="connsiteY200" fmla="*/ 34715 h 366199"/>
                      <a:gd name="connsiteX201" fmla="*/ 102966 w 349102"/>
                      <a:gd name="connsiteY201" fmla="*/ 29227 h 366199"/>
                      <a:gd name="connsiteX202" fmla="*/ 100661 w 349102"/>
                      <a:gd name="connsiteY202" fmla="*/ 26373 h 366199"/>
                      <a:gd name="connsiteX203" fmla="*/ 102307 w 349102"/>
                      <a:gd name="connsiteY203" fmla="*/ 21488 h 366199"/>
                      <a:gd name="connsiteX204" fmla="*/ 105573 w 349102"/>
                      <a:gd name="connsiteY204" fmla="*/ 19787 h 366199"/>
                      <a:gd name="connsiteX205" fmla="*/ 112461 w 349102"/>
                      <a:gd name="connsiteY205" fmla="*/ 23656 h 366199"/>
                      <a:gd name="connsiteX206" fmla="*/ 112928 w 349102"/>
                      <a:gd name="connsiteY206" fmla="*/ 20665 h 366199"/>
                      <a:gd name="connsiteX207" fmla="*/ 110869 w 349102"/>
                      <a:gd name="connsiteY207" fmla="*/ 17234 h 366199"/>
                      <a:gd name="connsiteX208" fmla="*/ 112955 w 349102"/>
                      <a:gd name="connsiteY208" fmla="*/ 9742 h 366199"/>
                      <a:gd name="connsiteX209" fmla="*/ 118691 w 349102"/>
                      <a:gd name="connsiteY209" fmla="*/ 9358 h 366199"/>
                      <a:gd name="connsiteX210" fmla="*/ 128351 w 349102"/>
                      <a:gd name="connsiteY210" fmla="*/ 13392 h 366199"/>
                      <a:gd name="connsiteX211" fmla="*/ 133373 w 349102"/>
                      <a:gd name="connsiteY211" fmla="*/ 4967 h 366199"/>
                      <a:gd name="connsiteX212" fmla="*/ 147012 w 349102"/>
                      <a:gd name="connsiteY212" fmla="*/ 2937 h 366199"/>
                      <a:gd name="connsiteX213" fmla="*/ 151321 w 349102"/>
                      <a:gd name="connsiteY213" fmla="*/ 4226 h 366199"/>
                      <a:gd name="connsiteX214" fmla="*/ 161941 w 349102"/>
                      <a:gd name="connsiteY214" fmla="*/ 0 h 366199"/>
                      <a:gd name="connsiteX215" fmla="*/ 165014 w 349102"/>
                      <a:gd name="connsiteY215" fmla="*/ 522 h 366199"/>
                      <a:gd name="connsiteX216" fmla="*/ 162133 w 349102"/>
                      <a:gd name="connsiteY216" fmla="*/ 3568 h 366199"/>
                      <a:gd name="connsiteX217" fmla="*/ 168774 w 349102"/>
                      <a:gd name="connsiteY217" fmla="*/ 214412 h 366199"/>
                      <a:gd name="connsiteX218" fmla="*/ 169625 w 349102"/>
                      <a:gd name="connsiteY218" fmla="*/ 215016 h 366199"/>
                      <a:gd name="connsiteX219" fmla="*/ 173357 w 349102"/>
                      <a:gd name="connsiteY219" fmla="*/ 214632 h 366199"/>
                      <a:gd name="connsiteX220" fmla="*/ 172534 w 349102"/>
                      <a:gd name="connsiteY220" fmla="*/ 211613 h 366199"/>
                      <a:gd name="connsiteX221" fmla="*/ 170833 w 349102"/>
                      <a:gd name="connsiteY221" fmla="*/ 212189 h 366199"/>
                      <a:gd name="connsiteX222" fmla="*/ 168774 w 349102"/>
                      <a:gd name="connsiteY222" fmla="*/ 214412 h 366199"/>
                      <a:gd name="connsiteX223" fmla="*/ 170393 w 349102"/>
                      <a:gd name="connsiteY223" fmla="*/ 131397 h 366199"/>
                      <a:gd name="connsiteX224" fmla="*/ 170393 w 349102"/>
                      <a:gd name="connsiteY224" fmla="*/ 133483 h 366199"/>
                      <a:gd name="connsiteX225" fmla="*/ 172616 w 349102"/>
                      <a:gd name="connsiteY225" fmla="*/ 132824 h 366199"/>
                      <a:gd name="connsiteX226" fmla="*/ 172808 w 349102"/>
                      <a:gd name="connsiteY226" fmla="*/ 130162 h 366199"/>
                      <a:gd name="connsiteX227" fmla="*/ 170393 w 349102"/>
                      <a:gd name="connsiteY227" fmla="*/ 131397 h 36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349102" h="366199">
                        <a:moveTo>
                          <a:pt x="162325" y="3513"/>
                        </a:moveTo>
                        <a:lnTo>
                          <a:pt x="162929" y="7053"/>
                        </a:lnTo>
                        <a:lnTo>
                          <a:pt x="172177" y="17234"/>
                        </a:lnTo>
                        <a:lnTo>
                          <a:pt x="178434" y="18195"/>
                        </a:lnTo>
                        <a:lnTo>
                          <a:pt x="179614" y="19183"/>
                        </a:lnTo>
                        <a:lnTo>
                          <a:pt x="202337" y="22092"/>
                        </a:lnTo>
                        <a:lnTo>
                          <a:pt x="208512" y="23931"/>
                        </a:lnTo>
                        <a:lnTo>
                          <a:pt x="207633" y="27580"/>
                        </a:lnTo>
                        <a:lnTo>
                          <a:pt x="199318" y="32877"/>
                        </a:lnTo>
                        <a:lnTo>
                          <a:pt x="200251" y="35978"/>
                        </a:lnTo>
                        <a:lnTo>
                          <a:pt x="206453" y="39161"/>
                        </a:lnTo>
                        <a:lnTo>
                          <a:pt x="202145" y="43991"/>
                        </a:lnTo>
                        <a:lnTo>
                          <a:pt x="202748" y="46818"/>
                        </a:lnTo>
                        <a:lnTo>
                          <a:pt x="205850" y="47696"/>
                        </a:lnTo>
                        <a:lnTo>
                          <a:pt x="205109" y="53789"/>
                        </a:lnTo>
                        <a:lnTo>
                          <a:pt x="205109" y="54282"/>
                        </a:lnTo>
                        <a:cubicBezTo>
                          <a:pt x="205109" y="54282"/>
                          <a:pt x="210378" y="56780"/>
                          <a:pt x="210378" y="56780"/>
                        </a:cubicBezTo>
                        <a:lnTo>
                          <a:pt x="213973" y="61527"/>
                        </a:lnTo>
                        <a:lnTo>
                          <a:pt x="212244" y="63421"/>
                        </a:lnTo>
                        <a:lnTo>
                          <a:pt x="208786" y="63229"/>
                        </a:lnTo>
                        <a:lnTo>
                          <a:pt x="208896" y="59222"/>
                        </a:lnTo>
                        <a:lnTo>
                          <a:pt x="204588" y="55133"/>
                        </a:lnTo>
                        <a:lnTo>
                          <a:pt x="199483" y="57740"/>
                        </a:lnTo>
                        <a:lnTo>
                          <a:pt x="191661" y="56231"/>
                        </a:lnTo>
                        <a:lnTo>
                          <a:pt x="190427" y="61143"/>
                        </a:lnTo>
                        <a:lnTo>
                          <a:pt x="177967" y="66604"/>
                        </a:lnTo>
                        <a:lnTo>
                          <a:pt x="173001" y="65836"/>
                        </a:lnTo>
                        <a:lnTo>
                          <a:pt x="172616" y="68361"/>
                        </a:lnTo>
                        <a:lnTo>
                          <a:pt x="168362" y="71517"/>
                        </a:lnTo>
                        <a:lnTo>
                          <a:pt x="165536" y="70913"/>
                        </a:lnTo>
                        <a:lnTo>
                          <a:pt x="161969" y="75578"/>
                        </a:lnTo>
                        <a:lnTo>
                          <a:pt x="163972" y="77389"/>
                        </a:lnTo>
                        <a:lnTo>
                          <a:pt x="167786" y="81423"/>
                        </a:lnTo>
                        <a:lnTo>
                          <a:pt x="167182" y="85156"/>
                        </a:lnTo>
                        <a:lnTo>
                          <a:pt x="171683" y="90233"/>
                        </a:lnTo>
                        <a:lnTo>
                          <a:pt x="169789" y="96736"/>
                        </a:lnTo>
                        <a:lnTo>
                          <a:pt x="166386" y="95584"/>
                        </a:lnTo>
                        <a:lnTo>
                          <a:pt x="166003" y="103488"/>
                        </a:lnTo>
                        <a:lnTo>
                          <a:pt x="169351" y="120173"/>
                        </a:lnTo>
                        <a:lnTo>
                          <a:pt x="171299" y="122725"/>
                        </a:lnTo>
                        <a:lnTo>
                          <a:pt x="180135" y="130629"/>
                        </a:lnTo>
                        <a:lnTo>
                          <a:pt x="192540" y="139575"/>
                        </a:lnTo>
                        <a:lnTo>
                          <a:pt x="203956" y="145914"/>
                        </a:lnTo>
                        <a:lnTo>
                          <a:pt x="205603" y="149262"/>
                        </a:lnTo>
                        <a:lnTo>
                          <a:pt x="206344" y="150799"/>
                        </a:lnTo>
                        <a:lnTo>
                          <a:pt x="209335" y="158072"/>
                        </a:lnTo>
                        <a:lnTo>
                          <a:pt x="212463" y="167265"/>
                        </a:lnTo>
                        <a:lnTo>
                          <a:pt x="214384" y="174181"/>
                        </a:lnTo>
                        <a:lnTo>
                          <a:pt x="219297" y="184664"/>
                        </a:lnTo>
                        <a:lnTo>
                          <a:pt x="221163" y="188753"/>
                        </a:lnTo>
                        <a:lnTo>
                          <a:pt x="224319" y="192156"/>
                        </a:lnTo>
                        <a:lnTo>
                          <a:pt x="226432" y="193940"/>
                        </a:lnTo>
                        <a:lnTo>
                          <a:pt x="235076" y="201130"/>
                        </a:lnTo>
                        <a:lnTo>
                          <a:pt x="237189" y="202914"/>
                        </a:lnTo>
                        <a:lnTo>
                          <a:pt x="239385" y="206893"/>
                        </a:lnTo>
                        <a:lnTo>
                          <a:pt x="243885" y="209171"/>
                        </a:lnTo>
                        <a:lnTo>
                          <a:pt x="246191" y="210460"/>
                        </a:lnTo>
                        <a:lnTo>
                          <a:pt x="250307" y="212738"/>
                        </a:lnTo>
                        <a:lnTo>
                          <a:pt x="279452" y="213342"/>
                        </a:lnTo>
                        <a:lnTo>
                          <a:pt x="280632" y="218830"/>
                        </a:lnTo>
                        <a:lnTo>
                          <a:pt x="276323" y="222974"/>
                        </a:lnTo>
                        <a:lnTo>
                          <a:pt x="274402" y="224813"/>
                        </a:lnTo>
                        <a:lnTo>
                          <a:pt x="272865" y="226268"/>
                        </a:lnTo>
                        <a:lnTo>
                          <a:pt x="276378" y="232497"/>
                        </a:lnTo>
                        <a:lnTo>
                          <a:pt x="291609" y="240208"/>
                        </a:lnTo>
                        <a:lnTo>
                          <a:pt x="307087" y="246438"/>
                        </a:lnTo>
                        <a:lnTo>
                          <a:pt x="316500" y="253354"/>
                        </a:lnTo>
                        <a:lnTo>
                          <a:pt x="333926" y="262575"/>
                        </a:lnTo>
                        <a:lnTo>
                          <a:pt x="337329" y="267953"/>
                        </a:lnTo>
                        <a:lnTo>
                          <a:pt x="346056" y="275665"/>
                        </a:lnTo>
                        <a:lnTo>
                          <a:pt x="349102" y="282251"/>
                        </a:lnTo>
                        <a:lnTo>
                          <a:pt x="345397" y="294985"/>
                        </a:lnTo>
                        <a:lnTo>
                          <a:pt x="336396" y="290786"/>
                        </a:lnTo>
                        <a:lnTo>
                          <a:pt x="333267" y="281538"/>
                        </a:lnTo>
                        <a:lnTo>
                          <a:pt x="327532" y="276488"/>
                        </a:lnTo>
                        <a:lnTo>
                          <a:pt x="319162" y="275939"/>
                        </a:lnTo>
                        <a:lnTo>
                          <a:pt x="308349" y="268118"/>
                        </a:lnTo>
                        <a:lnTo>
                          <a:pt x="301187" y="272509"/>
                        </a:lnTo>
                        <a:lnTo>
                          <a:pt x="294627" y="283239"/>
                        </a:lnTo>
                        <a:lnTo>
                          <a:pt x="293612" y="289688"/>
                        </a:lnTo>
                        <a:lnTo>
                          <a:pt x="290429" y="295341"/>
                        </a:lnTo>
                        <a:lnTo>
                          <a:pt x="291389" y="300171"/>
                        </a:lnTo>
                        <a:lnTo>
                          <a:pt x="305824" y="307554"/>
                        </a:lnTo>
                        <a:lnTo>
                          <a:pt x="309172" y="311149"/>
                        </a:lnTo>
                        <a:lnTo>
                          <a:pt x="309172" y="318805"/>
                        </a:lnTo>
                        <a:cubicBezTo>
                          <a:pt x="309172" y="318805"/>
                          <a:pt x="309420" y="328163"/>
                          <a:pt x="309420" y="328163"/>
                        </a:cubicBezTo>
                        <a:lnTo>
                          <a:pt x="301873" y="328685"/>
                        </a:lnTo>
                        <a:lnTo>
                          <a:pt x="292460" y="334997"/>
                        </a:lnTo>
                        <a:lnTo>
                          <a:pt x="292816" y="345919"/>
                        </a:lnTo>
                        <a:lnTo>
                          <a:pt x="281922" y="356896"/>
                        </a:lnTo>
                        <a:lnTo>
                          <a:pt x="277695" y="365678"/>
                        </a:lnTo>
                        <a:lnTo>
                          <a:pt x="268173" y="366199"/>
                        </a:lnTo>
                        <a:lnTo>
                          <a:pt x="265264" y="362961"/>
                        </a:lnTo>
                        <a:lnTo>
                          <a:pt x="265346" y="355771"/>
                        </a:lnTo>
                        <a:lnTo>
                          <a:pt x="270121" y="351984"/>
                        </a:lnTo>
                        <a:lnTo>
                          <a:pt x="273277" y="344547"/>
                        </a:lnTo>
                        <a:lnTo>
                          <a:pt x="271548" y="338948"/>
                        </a:lnTo>
                        <a:lnTo>
                          <a:pt x="279589" y="336176"/>
                        </a:lnTo>
                        <a:lnTo>
                          <a:pt x="281922" y="333103"/>
                        </a:lnTo>
                        <a:lnTo>
                          <a:pt x="281674" y="329288"/>
                        </a:lnTo>
                        <a:lnTo>
                          <a:pt x="278381" y="324102"/>
                        </a:lnTo>
                        <a:lnTo>
                          <a:pt x="277476" y="318805"/>
                        </a:lnTo>
                        <a:lnTo>
                          <a:pt x="275912" y="310490"/>
                        </a:lnTo>
                        <a:lnTo>
                          <a:pt x="270615" y="301077"/>
                        </a:lnTo>
                        <a:lnTo>
                          <a:pt x="268447" y="290759"/>
                        </a:lnTo>
                        <a:lnTo>
                          <a:pt x="265209" y="286175"/>
                        </a:lnTo>
                        <a:lnTo>
                          <a:pt x="262821" y="285160"/>
                        </a:lnTo>
                        <a:lnTo>
                          <a:pt x="258705" y="287712"/>
                        </a:lnTo>
                        <a:lnTo>
                          <a:pt x="256482" y="287575"/>
                        </a:lnTo>
                        <a:lnTo>
                          <a:pt x="254644" y="286642"/>
                        </a:lnTo>
                        <a:lnTo>
                          <a:pt x="253518" y="284584"/>
                        </a:lnTo>
                        <a:lnTo>
                          <a:pt x="250500" y="281840"/>
                        </a:lnTo>
                        <a:lnTo>
                          <a:pt x="247371" y="280989"/>
                        </a:lnTo>
                        <a:lnTo>
                          <a:pt x="244517" y="278985"/>
                        </a:lnTo>
                        <a:lnTo>
                          <a:pt x="244023" y="277394"/>
                        </a:lnTo>
                        <a:lnTo>
                          <a:pt x="245807" y="273881"/>
                        </a:lnTo>
                        <a:lnTo>
                          <a:pt x="245807" y="272372"/>
                        </a:lnTo>
                        <a:cubicBezTo>
                          <a:pt x="245807" y="272372"/>
                          <a:pt x="242733" y="265648"/>
                          <a:pt x="242733" y="265648"/>
                        </a:cubicBezTo>
                        <a:lnTo>
                          <a:pt x="239934" y="262465"/>
                        </a:lnTo>
                        <a:lnTo>
                          <a:pt x="233018" y="264139"/>
                        </a:lnTo>
                        <a:lnTo>
                          <a:pt x="230603" y="263947"/>
                        </a:lnTo>
                        <a:lnTo>
                          <a:pt x="228490" y="259034"/>
                        </a:lnTo>
                        <a:lnTo>
                          <a:pt x="217787" y="253134"/>
                        </a:lnTo>
                        <a:lnTo>
                          <a:pt x="209801" y="240483"/>
                        </a:lnTo>
                        <a:lnTo>
                          <a:pt x="196025" y="237821"/>
                        </a:lnTo>
                        <a:lnTo>
                          <a:pt x="189329" y="239769"/>
                        </a:lnTo>
                        <a:lnTo>
                          <a:pt x="180739" y="232909"/>
                        </a:lnTo>
                        <a:lnTo>
                          <a:pt x="175992" y="230878"/>
                        </a:lnTo>
                        <a:lnTo>
                          <a:pt x="170613" y="224868"/>
                        </a:lnTo>
                        <a:lnTo>
                          <a:pt x="168967" y="223029"/>
                        </a:lnTo>
                        <a:lnTo>
                          <a:pt x="157880" y="210543"/>
                        </a:lnTo>
                        <a:lnTo>
                          <a:pt x="156754" y="209253"/>
                        </a:lnTo>
                        <a:lnTo>
                          <a:pt x="153132" y="208210"/>
                        </a:lnTo>
                        <a:lnTo>
                          <a:pt x="150140" y="203682"/>
                        </a:lnTo>
                        <a:lnTo>
                          <a:pt x="148823" y="201240"/>
                        </a:lnTo>
                        <a:lnTo>
                          <a:pt x="147506" y="198797"/>
                        </a:lnTo>
                        <a:lnTo>
                          <a:pt x="141798" y="194955"/>
                        </a:lnTo>
                        <a:lnTo>
                          <a:pt x="133016" y="193802"/>
                        </a:lnTo>
                        <a:lnTo>
                          <a:pt x="132879" y="188863"/>
                        </a:lnTo>
                        <a:lnTo>
                          <a:pt x="130134" y="184774"/>
                        </a:lnTo>
                        <a:lnTo>
                          <a:pt x="127335" y="181151"/>
                        </a:lnTo>
                        <a:lnTo>
                          <a:pt x="122341" y="178544"/>
                        </a:lnTo>
                        <a:lnTo>
                          <a:pt x="119898" y="172370"/>
                        </a:lnTo>
                        <a:lnTo>
                          <a:pt x="114218" y="171738"/>
                        </a:lnTo>
                        <a:lnTo>
                          <a:pt x="114025" y="159499"/>
                        </a:lnTo>
                        <a:lnTo>
                          <a:pt x="109305" y="149372"/>
                        </a:lnTo>
                        <a:lnTo>
                          <a:pt x="107961" y="146518"/>
                        </a:lnTo>
                        <a:lnTo>
                          <a:pt x="106726" y="137050"/>
                        </a:lnTo>
                        <a:lnTo>
                          <a:pt x="103377" y="130491"/>
                        </a:lnTo>
                        <a:lnTo>
                          <a:pt x="99700" y="127665"/>
                        </a:lnTo>
                        <a:lnTo>
                          <a:pt x="93251" y="126567"/>
                        </a:lnTo>
                        <a:lnTo>
                          <a:pt x="84771" y="120612"/>
                        </a:lnTo>
                        <a:lnTo>
                          <a:pt x="73684" y="114657"/>
                        </a:lnTo>
                        <a:lnTo>
                          <a:pt x="62927" y="112269"/>
                        </a:lnTo>
                        <a:lnTo>
                          <a:pt x="58947" y="113916"/>
                        </a:lnTo>
                        <a:lnTo>
                          <a:pt x="48409" y="124262"/>
                        </a:lnTo>
                        <a:lnTo>
                          <a:pt x="44320" y="132001"/>
                        </a:lnTo>
                        <a:lnTo>
                          <a:pt x="39188" y="135486"/>
                        </a:lnTo>
                        <a:lnTo>
                          <a:pt x="26482" y="138340"/>
                        </a:lnTo>
                        <a:lnTo>
                          <a:pt x="26263" y="134032"/>
                        </a:lnTo>
                        <a:lnTo>
                          <a:pt x="31889" y="127006"/>
                        </a:lnTo>
                        <a:lnTo>
                          <a:pt x="28623" y="123686"/>
                        </a:lnTo>
                        <a:lnTo>
                          <a:pt x="22201" y="124454"/>
                        </a:lnTo>
                        <a:lnTo>
                          <a:pt x="11965" y="119953"/>
                        </a:lnTo>
                        <a:lnTo>
                          <a:pt x="7574" y="114684"/>
                        </a:lnTo>
                        <a:lnTo>
                          <a:pt x="7190" y="108016"/>
                        </a:lnTo>
                        <a:lnTo>
                          <a:pt x="9358" y="102582"/>
                        </a:lnTo>
                        <a:lnTo>
                          <a:pt x="12816" y="100139"/>
                        </a:lnTo>
                        <a:lnTo>
                          <a:pt x="11114" y="95282"/>
                        </a:lnTo>
                        <a:lnTo>
                          <a:pt x="4391" y="92538"/>
                        </a:lnTo>
                        <a:lnTo>
                          <a:pt x="0" y="83674"/>
                        </a:lnTo>
                        <a:lnTo>
                          <a:pt x="13721" y="78542"/>
                        </a:lnTo>
                        <a:lnTo>
                          <a:pt x="15670" y="71407"/>
                        </a:lnTo>
                        <a:lnTo>
                          <a:pt x="13941" y="68662"/>
                        </a:lnTo>
                        <a:lnTo>
                          <a:pt x="11224" y="66824"/>
                        </a:lnTo>
                        <a:lnTo>
                          <a:pt x="10319" y="61994"/>
                        </a:lnTo>
                        <a:lnTo>
                          <a:pt x="5049" y="55600"/>
                        </a:lnTo>
                        <a:lnTo>
                          <a:pt x="12185" y="49535"/>
                        </a:lnTo>
                        <a:lnTo>
                          <a:pt x="15368" y="52060"/>
                        </a:lnTo>
                        <a:lnTo>
                          <a:pt x="27992" y="47614"/>
                        </a:lnTo>
                        <a:lnTo>
                          <a:pt x="36252" y="49782"/>
                        </a:lnTo>
                        <a:lnTo>
                          <a:pt x="36664" y="49342"/>
                        </a:lnTo>
                        <a:lnTo>
                          <a:pt x="44293" y="39737"/>
                        </a:lnTo>
                        <a:lnTo>
                          <a:pt x="43497" y="35072"/>
                        </a:lnTo>
                        <a:lnTo>
                          <a:pt x="51593" y="27059"/>
                        </a:lnTo>
                        <a:lnTo>
                          <a:pt x="53733" y="28458"/>
                        </a:lnTo>
                        <a:lnTo>
                          <a:pt x="53898" y="35594"/>
                        </a:lnTo>
                        <a:lnTo>
                          <a:pt x="61253" y="42152"/>
                        </a:lnTo>
                        <a:lnTo>
                          <a:pt x="64655" y="43470"/>
                        </a:lnTo>
                        <a:lnTo>
                          <a:pt x="67098" y="53459"/>
                        </a:lnTo>
                        <a:lnTo>
                          <a:pt x="70803" y="51757"/>
                        </a:lnTo>
                        <a:lnTo>
                          <a:pt x="70528" y="45391"/>
                        </a:lnTo>
                        <a:lnTo>
                          <a:pt x="74370" y="39079"/>
                        </a:lnTo>
                        <a:lnTo>
                          <a:pt x="76977" y="36334"/>
                        </a:lnTo>
                        <a:lnTo>
                          <a:pt x="77444" y="27004"/>
                        </a:lnTo>
                        <a:lnTo>
                          <a:pt x="79036" y="25165"/>
                        </a:lnTo>
                        <a:lnTo>
                          <a:pt x="82576" y="25879"/>
                        </a:lnTo>
                        <a:lnTo>
                          <a:pt x="86363" y="33288"/>
                        </a:lnTo>
                        <a:lnTo>
                          <a:pt x="96517" y="30544"/>
                        </a:lnTo>
                        <a:lnTo>
                          <a:pt x="101896" y="36060"/>
                        </a:lnTo>
                        <a:lnTo>
                          <a:pt x="103707" y="34715"/>
                        </a:lnTo>
                        <a:lnTo>
                          <a:pt x="102966" y="29227"/>
                        </a:lnTo>
                        <a:lnTo>
                          <a:pt x="100661" y="26373"/>
                        </a:lnTo>
                        <a:lnTo>
                          <a:pt x="102307" y="21488"/>
                        </a:lnTo>
                        <a:lnTo>
                          <a:pt x="105573" y="19787"/>
                        </a:lnTo>
                        <a:lnTo>
                          <a:pt x="112461" y="23656"/>
                        </a:lnTo>
                        <a:lnTo>
                          <a:pt x="112928" y="20665"/>
                        </a:lnTo>
                        <a:lnTo>
                          <a:pt x="110869" y="17234"/>
                        </a:lnTo>
                        <a:lnTo>
                          <a:pt x="112955" y="9742"/>
                        </a:lnTo>
                        <a:lnTo>
                          <a:pt x="118691" y="9358"/>
                        </a:lnTo>
                        <a:lnTo>
                          <a:pt x="128351" y="13392"/>
                        </a:lnTo>
                        <a:lnTo>
                          <a:pt x="133373" y="4967"/>
                        </a:lnTo>
                        <a:lnTo>
                          <a:pt x="147012" y="2937"/>
                        </a:lnTo>
                        <a:lnTo>
                          <a:pt x="151321" y="4226"/>
                        </a:lnTo>
                        <a:lnTo>
                          <a:pt x="161941" y="0"/>
                        </a:lnTo>
                        <a:lnTo>
                          <a:pt x="165014" y="522"/>
                        </a:lnTo>
                        <a:lnTo>
                          <a:pt x="162133" y="3568"/>
                        </a:lnTo>
                        <a:moveTo>
                          <a:pt x="168774" y="214412"/>
                        </a:moveTo>
                        <a:lnTo>
                          <a:pt x="169625" y="215016"/>
                        </a:lnTo>
                        <a:lnTo>
                          <a:pt x="173357" y="214632"/>
                        </a:lnTo>
                        <a:lnTo>
                          <a:pt x="172534" y="211613"/>
                        </a:lnTo>
                        <a:lnTo>
                          <a:pt x="170833" y="212189"/>
                        </a:lnTo>
                        <a:lnTo>
                          <a:pt x="168774" y="214412"/>
                        </a:lnTo>
                        <a:moveTo>
                          <a:pt x="170393" y="131397"/>
                        </a:moveTo>
                        <a:lnTo>
                          <a:pt x="170393" y="133483"/>
                        </a:lnTo>
                        <a:lnTo>
                          <a:pt x="172616" y="132824"/>
                        </a:lnTo>
                        <a:lnTo>
                          <a:pt x="172808" y="130162"/>
                        </a:lnTo>
                        <a:lnTo>
                          <a:pt x="170393" y="13139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5" name="Freeform: Shape 3034">
                    <a:extLst>
                      <a:ext uri="{FF2B5EF4-FFF2-40B4-BE49-F238E27FC236}">
                        <a16:creationId xmlns:a16="http://schemas.microsoft.com/office/drawing/2014/main" id="{5E89AF81-68D7-0B6A-5305-CF8CECD10135}"/>
                      </a:ext>
                    </a:extLst>
                  </p:cNvPr>
                  <p:cNvSpPr/>
                  <p:nvPr/>
                </p:nvSpPr>
                <p:spPr>
                  <a:xfrm>
                    <a:off x="-6046790" y="3543739"/>
                    <a:ext cx="48491" cy="90287"/>
                  </a:xfrm>
                  <a:custGeom>
                    <a:avLst/>
                    <a:gdLst>
                      <a:gd name="connsiteX0" fmla="*/ 40204 w 48491"/>
                      <a:gd name="connsiteY0" fmla="*/ 8480 h 90287"/>
                      <a:gd name="connsiteX1" fmla="*/ 46763 w 48491"/>
                      <a:gd name="connsiteY1" fmla="*/ 22640 h 90287"/>
                      <a:gd name="connsiteX2" fmla="*/ 48492 w 48491"/>
                      <a:gd name="connsiteY2" fmla="*/ 29144 h 90287"/>
                      <a:gd name="connsiteX3" fmla="*/ 43140 w 48491"/>
                      <a:gd name="connsiteY3" fmla="*/ 39408 h 90287"/>
                      <a:gd name="connsiteX4" fmla="*/ 45912 w 48491"/>
                      <a:gd name="connsiteY4" fmla="*/ 45720 h 90287"/>
                      <a:gd name="connsiteX5" fmla="*/ 43881 w 48491"/>
                      <a:gd name="connsiteY5" fmla="*/ 65314 h 90287"/>
                      <a:gd name="connsiteX6" fmla="*/ 41741 w 48491"/>
                      <a:gd name="connsiteY6" fmla="*/ 79530 h 90287"/>
                      <a:gd name="connsiteX7" fmla="*/ 40863 w 48491"/>
                      <a:gd name="connsiteY7" fmla="*/ 80929 h 90287"/>
                      <a:gd name="connsiteX8" fmla="*/ 38420 w 48491"/>
                      <a:gd name="connsiteY8" fmla="*/ 81396 h 90287"/>
                      <a:gd name="connsiteX9" fmla="*/ 35539 w 48491"/>
                      <a:gd name="connsiteY9" fmla="*/ 79557 h 90287"/>
                      <a:gd name="connsiteX10" fmla="*/ 31258 w 48491"/>
                      <a:gd name="connsiteY10" fmla="*/ 77718 h 90287"/>
                      <a:gd name="connsiteX11" fmla="*/ 28952 w 48491"/>
                      <a:gd name="connsiteY11" fmla="*/ 78953 h 90287"/>
                      <a:gd name="connsiteX12" fmla="*/ 27306 w 48491"/>
                      <a:gd name="connsiteY12" fmla="*/ 78322 h 90287"/>
                      <a:gd name="connsiteX13" fmla="*/ 25988 w 48491"/>
                      <a:gd name="connsiteY13" fmla="*/ 79585 h 90287"/>
                      <a:gd name="connsiteX14" fmla="*/ 25330 w 48491"/>
                      <a:gd name="connsiteY14" fmla="*/ 85732 h 90287"/>
                      <a:gd name="connsiteX15" fmla="*/ 21076 w 48491"/>
                      <a:gd name="connsiteY15" fmla="*/ 90287 h 90287"/>
                      <a:gd name="connsiteX16" fmla="*/ 13913 w 48491"/>
                      <a:gd name="connsiteY16" fmla="*/ 89629 h 90287"/>
                      <a:gd name="connsiteX17" fmla="*/ 13310 w 48491"/>
                      <a:gd name="connsiteY17" fmla="*/ 87818 h 90287"/>
                      <a:gd name="connsiteX18" fmla="*/ 10620 w 48491"/>
                      <a:gd name="connsiteY18" fmla="*/ 84414 h 90287"/>
                      <a:gd name="connsiteX19" fmla="*/ 7218 w 48491"/>
                      <a:gd name="connsiteY19" fmla="*/ 86829 h 90287"/>
                      <a:gd name="connsiteX20" fmla="*/ 6120 w 48491"/>
                      <a:gd name="connsiteY20" fmla="*/ 83619 h 90287"/>
                      <a:gd name="connsiteX21" fmla="*/ 7163 w 48491"/>
                      <a:gd name="connsiteY21" fmla="*/ 79585 h 90287"/>
                      <a:gd name="connsiteX22" fmla="*/ 6861 w 48491"/>
                      <a:gd name="connsiteY22" fmla="*/ 69266 h 90287"/>
                      <a:gd name="connsiteX23" fmla="*/ 8754 w 48491"/>
                      <a:gd name="connsiteY23" fmla="*/ 59304 h 90287"/>
                      <a:gd name="connsiteX24" fmla="*/ 10072 w 48491"/>
                      <a:gd name="connsiteY24" fmla="*/ 59084 h 90287"/>
                      <a:gd name="connsiteX25" fmla="*/ 10977 w 48491"/>
                      <a:gd name="connsiteY25" fmla="*/ 53294 h 90287"/>
                      <a:gd name="connsiteX26" fmla="*/ 7272 w 48491"/>
                      <a:gd name="connsiteY26" fmla="*/ 50495 h 90287"/>
                      <a:gd name="connsiteX27" fmla="*/ 9248 w 48491"/>
                      <a:gd name="connsiteY27" fmla="*/ 38420 h 90287"/>
                      <a:gd name="connsiteX28" fmla="*/ 7026 w 48491"/>
                      <a:gd name="connsiteY28" fmla="*/ 32410 h 90287"/>
                      <a:gd name="connsiteX29" fmla="*/ 4336 w 48491"/>
                      <a:gd name="connsiteY29" fmla="*/ 26180 h 90287"/>
                      <a:gd name="connsiteX30" fmla="*/ 0 w 48491"/>
                      <a:gd name="connsiteY30" fmla="*/ 25055 h 90287"/>
                      <a:gd name="connsiteX31" fmla="*/ 1564 w 48491"/>
                      <a:gd name="connsiteY31" fmla="*/ 14901 h 90287"/>
                      <a:gd name="connsiteX32" fmla="*/ 10401 w 48491"/>
                      <a:gd name="connsiteY32" fmla="*/ 16136 h 90287"/>
                      <a:gd name="connsiteX33" fmla="*/ 18908 w 48491"/>
                      <a:gd name="connsiteY33" fmla="*/ 12075 h 90287"/>
                      <a:gd name="connsiteX34" fmla="*/ 21049 w 48491"/>
                      <a:gd name="connsiteY34" fmla="*/ 8809 h 90287"/>
                      <a:gd name="connsiteX35" fmla="*/ 30654 w 48491"/>
                      <a:gd name="connsiteY35" fmla="*/ 0 h 90287"/>
                      <a:gd name="connsiteX36" fmla="*/ 39902 w 48491"/>
                      <a:gd name="connsiteY36" fmla="*/ 4034 h 90287"/>
                      <a:gd name="connsiteX37" fmla="*/ 40177 w 48491"/>
                      <a:gd name="connsiteY37" fmla="*/ 8507 h 9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8491" h="90287">
                        <a:moveTo>
                          <a:pt x="40204" y="8480"/>
                        </a:moveTo>
                        <a:lnTo>
                          <a:pt x="46763" y="22640"/>
                        </a:lnTo>
                        <a:lnTo>
                          <a:pt x="48492" y="29144"/>
                        </a:lnTo>
                        <a:lnTo>
                          <a:pt x="43140" y="39408"/>
                        </a:lnTo>
                        <a:lnTo>
                          <a:pt x="45912" y="45720"/>
                        </a:lnTo>
                        <a:lnTo>
                          <a:pt x="43881" y="65314"/>
                        </a:lnTo>
                        <a:lnTo>
                          <a:pt x="41741" y="79530"/>
                        </a:lnTo>
                        <a:lnTo>
                          <a:pt x="40863" y="80929"/>
                        </a:lnTo>
                        <a:lnTo>
                          <a:pt x="38420" y="81396"/>
                        </a:lnTo>
                        <a:lnTo>
                          <a:pt x="35539" y="79557"/>
                        </a:lnTo>
                        <a:lnTo>
                          <a:pt x="31258" y="77718"/>
                        </a:lnTo>
                        <a:lnTo>
                          <a:pt x="28952" y="78953"/>
                        </a:lnTo>
                        <a:lnTo>
                          <a:pt x="27306" y="78322"/>
                        </a:lnTo>
                        <a:lnTo>
                          <a:pt x="25988" y="79585"/>
                        </a:lnTo>
                        <a:lnTo>
                          <a:pt x="25330" y="85732"/>
                        </a:lnTo>
                        <a:lnTo>
                          <a:pt x="21076" y="90287"/>
                        </a:lnTo>
                        <a:lnTo>
                          <a:pt x="13913" y="89629"/>
                        </a:lnTo>
                        <a:lnTo>
                          <a:pt x="13310" y="87818"/>
                        </a:lnTo>
                        <a:lnTo>
                          <a:pt x="10620" y="84414"/>
                        </a:lnTo>
                        <a:lnTo>
                          <a:pt x="7218" y="86829"/>
                        </a:lnTo>
                        <a:lnTo>
                          <a:pt x="6120" y="83619"/>
                        </a:lnTo>
                        <a:lnTo>
                          <a:pt x="7163" y="79585"/>
                        </a:lnTo>
                        <a:lnTo>
                          <a:pt x="6861" y="69266"/>
                        </a:lnTo>
                        <a:lnTo>
                          <a:pt x="8754" y="59304"/>
                        </a:lnTo>
                        <a:lnTo>
                          <a:pt x="10072" y="59084"/>
                        </a:lnTo>
                        <a:lnTo>
                          <a:pt x="10977" y="53294"/>
                        </a:lnTo>
                        <a:lnTo>
                          <a:pt x="7272" y="50495"/>
                        </a:lnTo>
                        <a:lnTo>
                          <a:pt x="9248" y="38420"/>
                        </a:lnTo>
                        <a:lnTo>
                          <a:pt x="7026" y="32410"/>
                        </a:lnTo>
                        <a:lnTo>
                          <a:pt x="4336" y="26180"/>
                        </a:lnTo>
                        <a:lnTo>
                          <a:pt x="0" y="25055"/>
                        </a:lnTo>
                        <a:lnTo>
                          <a:pt x="1564" y="14901"/>
                        </a:lnTo>
                        <a:lnTo>
                          <a:pt x="10401" y="16136"/>
                        </a:lnTo>
                        <a:lnTo>
                          <a:pt x="18908" y="12075"/>
                        </a:lnTo>
                        <a:lnTo>
                          <a:pt x="21049" y="8809"/>
                        </a:lnTo>
                        <a:lnTo>
                          <a:pt x="30654" y="0"/>
                        </a:lnTo>
                        <a:lnTo>
                          <a:pt x="39902" y="4034"/>
                        </a:lnTo>
                        <a:lnTo>
                          <a:pt x="40177" y="850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6" name="Freeform: Shape 3035">
                    <a:extLst>
                      <a:ext uri="{FF2B5EF4-FFF2-40B4-BE49-F238E27FC236}">
                        <a16:creationId xmlns:a16="http://schemas.microsoft.com/office/drawing/2014/main" id="{4664AD66-D4C9-7E7F-0292-3B2CF0FD92D0}"/>
                      </a:ext>
                    </a:extLst>
                  </p:cNvPr>
                  <p:cNvSpPr/>
                  <p:nvPr/>
                </p:nvSpPr>
                <p:spPr>
                  <a:xfrm>
                    <a:off x="-5989791" y="3478973"/>
                    <a:ext cx="10373" cy="6202"/>
                  </a:xfrm>
                  <a:custGeom>
                    <a:avLst/>
                    <a:gdLst>
                      <a:gd name="connsiteX0" fmla="*/ 10319 w 10373"/>
                      <a:gd name="connsiteY0" fmla="*/ 1043 h 6202"/>
                      <a:gd name="connsiteX1" fmla="*/ 9660 w 10373"/>
                      <a:gd name="connsiteY1" fmla="*/ 6202 h 6202"/>
                      <a:gd name="connsiteX2" fmla="*/ 7739 w 10373"/>
                      <a:gd name="connsiteY2" fmla="*/ 4693 h 6202"/>
                      <a:gd name="connsiteX3" fmla="*/ 1015 w 10373"/>
                      <a:gd name="connsiteY3" fmla="*/ 5763 h 6202"/>
                      <a:gd name="connsiteX4" fmla="*/ 0 w 10373"/>
                      <a:gd name="connsiteY4" fmla="*/ 3650 h 6202"/>
                      <a:gd name="connsiteX5" fmla="*/ 2525 w 10373"/>
                      <a:gd name="connsiteY5" fmla="*/ 2525 h 6202"/>
                      <a:gd name="connsiteX6" fmla="*/ 4281 w 10373"/>
                      <a:gd name="connsiteY6" fmla="*/ 3485 h 6202"/>
                      <a:gd name="connsiteX7" fmla="*/ 5104 w 10373"/>
                      <a:gd name="connsiteY7" fmla="*/ 1921 h 6202"/>
                      <a:gd name="connsiteX8" fmla="*/ 8068 w 10373"/>
                      <a:gd name="connsiteY8" fmla="*/ 2251 h 6202"/>
                      <a:gd name="connsiteX9" fmla="*/ 9468 w 10373"/>
                      <a:gd name="connsiteY9" fmla="*/ 0 h 6202"/>
                      <a:gd name="connsiteX10" fmla="*/ 10374 w 10373"/>
                      <a:gd name="connsiteY10" fmla="*/ 1043 h 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73" h="6202">
                        <a:moveTo>
                          <a:pt x="10319" y="1043"/>
                        </a:moveTo>
                        <a:lnTo>
                          <a:pt x="9660" y="6202"/>
                        </a:lnTo>
                        <a:lnTo>
                          <a:pt x="7739" y="4693"/>
                        </a:lnTo>
                        <a:lnTo>
                          <a:pt x="1015" y="5763"/>
                        </a:lnTo>
                        <a:lnTo>
                          <a:pt x="0" y="3650"/>
                        </a:lnTo>
                        <a:lnTo>
                          <a:pt x="2525" y="2525"/>
                        </a:lnTo>
                        <a:lnTo>
                          <a:pt x="4281" y="3485"/>
                        </a:lnTo>
                        <a:lnTo>
                          <a:pt x="5104" y="1921"/>
                        </a:lnTo>
                        <a:lnTo>
                          <a:pt x="8068" y="2251"/>
                        </a:lnTo>
                        <a:lnTo>
                          <a:pt x="9468" y="0"/>
                        </a:lnTo>
                        <a:lnTo>
                          <a:pt x="10374" y="104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7" name="Freeform: Shape 3036">
                    <a:extLst>
                      <a:ext uri="{FF2B5EF4-FFF2-40B4-BE49-F238E27FC236}">
                        <a16:creationId xmlns:a16="http://schemas.microsoft.com/office/drawing/2014/main" id="{77F12E50-F4D2-3CDB-C6E0-3E09DB39EE08}"/>
                      </a:ext>
                    </a:extLst>
                  </p:cNvPr>
                  <p:cNvSpPr/>
                  <p:nvPr/>
                </p:nvSpPr>
                <p:spPr>
                  <a:xfrm>
                    <a:off x="-5999561" y="3469258"/>
                    <a:ext cx="3540" cy="5406"/>
                  </a:xfrm>
                  <a:custGeom>
                    <a:avLst/>
                    <a:gdLst>
                      <a:gd name="connsiteX0" fmla="*/ 3540 w 3540"/>
                      <a:gd name="connsiteY0" fmla="*/ 2799 h 5406"/>
                      <a:gd name="connsiteX1" fmla="*/ 1729 w 3540"/>
                      <a:gd name="connsiteY1" fmla="*/ 5406 h 5406"/>
                      <a:gd name="connsiteX2" fmla="*/ 0 w 3540"/>
                      <a:gd name="connsiteY2" fmla="*/ 3074 h 5406"/>
                      <a:gd name="connsiteX3" fmla="*/ 1921 w 3540"/>
                      <a:gd name="connsiteY3" fmla="*/ 0 h 5406"/>
                      <a:gd name="connsiteX4" fmla="*/ 3540 w 3540"/>
                      <a:gd name="connsiteY4" fmla="*/ 2799 h 5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 h="5406">
                        <a:moveTo>
                          <a:pt x="3540" y="2799"/>
                        </a:moveTo>
                        <a:lnTo>
                          <a:pt x="1729" y="5406"/>
                        </a:lnTo>
                        <a:lnTo>
                          <a:pt x="0" y="3074"/>
                        </a:lnTo>
                        <a:lnTo>
                          <a:pt x="1921" y="0"/>
                        </a:lnTo>
                        <a:lnTo>
                          <a:pt x="3540" y="279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8" name="Freeform: Shape 3037">
                    <a:extLst>
                      <a:ext uri="{FF2B5EF4-FFF2-40B4-BE49-F238E27FC236}">
                        <a16:creationId xmlns:a16="http://schemas.microsoft.com/office/drawing/2014/main" id="{BF861E51-AAD4-8CE4-5509-5333A7B21C8E}"/>
                      </a:ext>
                    </a:extLst>
                  </p:cNvPr>
                  <p:cNvSpPr/>
                  <p:nvPr/>
                </p:nvSpPr>
                <p:spPr>
                  <a:xfrm>
                    <a:off x="-5831802" y="3505675"/>
                    <a:ext cx="3896" cy="4638"/>
                  </a:xfrm>
                  <a:custGeom>
                    <a:avLst/>
                    <a:gdLst>
                      <a:gd name="connsiteX0" fmla="*/ 3897 w 3896"/>
                      <a:gd name="connsiteY0" fmla="*/ 2004 h 4638"/>
                      <a:gd name="connsiteX1" fmla="*/ 1235 w 3896"/>
                      <a:gd name="connsiteY1" fmla="*/ 4638 h 4638"/>
                      <a:gd name="connsiteX2" fmla="*/ 0 w 3896"/>
                      <a:gd name="connsiteY2" fmla="*/ 1153 h 4638"/>
                      <a:gd name="connsiteX3" fmla="*/ 2113 w 3896"/>
                      <a:gd name="connsiteY3" fmla="*/ 0 h 4638"/>
                      <a:gd name="connsiteX4" fmla="*/ 3897 w 3896"/>
                      <a:gd name="connsiteY4" fmla="*/ 2004 h 4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6" h="4638">
                        <a:moveTo>
                          <a:pt x="3897" y="2004"/>
                        </a:moveTo>
                        <a:lnTo>
                          <a:pt x="1235" y="4638"/>
                        </a:lnTo>
                        <a:lnTo>
                          <a:pt x="0" y="1153"/>
                        </a:lnTo>
                        <a:lnTo>
                          <a:pt x="2113" y="0"/>
                        </a:lnTo>
                        <a:lnTo>
                          <a:pt x="3897" y="200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9" name="Freeform: Shape 3038">
                    <a:extLst>
                      <a:ext uri="{FF2B5EF4-FFF2-40B4-BE49-F238E27FC236}">
                        <a16:creationId xmlns:a16="http://schemas.microsoft.com/office/drawing/2014/main" id="{68B06C69-6DD8-A959-4874-514EE52690A9}"/>
                      </a:ext>
                    </a:extLst>
                  </p:cNvPr>
                  <p:cNvSpPr/>
                  <p:nvPr/>
                </p:nvSpPr>
                <p:spPr>
                  <a:xfrm>
                    <a:off x="-6047284" y="3553152"/>
                    <a:ext cx="3650" cy="4720"/>
                  </a:xfrm>
                  <a:custGeom>
                    <a:avLst/>
                    <a:gdLst>
                      <a:gd name="connsiteX0" fmla="*/ 3650 w 3650"/>
                      <a:gd name="connsiteY0" fmla="*/ 1317 h 4720"/>
                      <a:gd name="connsiteX1" fmla="*/ 2552 w 3650"/>
                      <a:gd name="connsiteY1" fmla="*/ 4720 h 4720"/>
                      <a:gd name="connsiteX2" fmla="*/ 0 w 3650"/>
                      <a:gd name="connsiteY2" fmla="*/ 2552 h 4720"/>
                      <a:gd name="connsiteX3" fmla="*/ 1647 w 3650"/>
                      <a:gd name="connsiteY3" fmla="*/ 0 h 4720"/>
                      <a:gd name="connsiteX4" fmla="*/ 3650 w 3650"/>
                      <a:gd name="connsiteY4" fmla="*/ 1317 h 4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4720">
                        <a:moveTo>
                          <a:pt x="3650" y="1317"/>
                        </a:moveTo>
                        <a:lnTo>
                          <a:pt x="2552" y="4720"/>
                        </a:lnTo>
                        <a:lnTo>
                          <a:pt x="0" y="2552"/>
                        </a:lnTo>
                        <a:lnTo>
                          <a:pt x="1647" y="0"/>
                        </a:lnTo>
                        <a:lnTo>
                          <a:pt x="3650" y="131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0" name="Freeform: Shape 3039">
                    <a:extLst>
                      <a:ext uri="{FF2B5EF4-FFF2-40B4-BE49-F238E27FC236}">
                        <a16:creationId xmlns:a16="http://schemas.microsoft.com/office/drawing/2014/main" id="{721AB73A-BFDB-4113-1720-57263FB4B511}"/>
                      </a:ext>
                    </a:extLst>
                  </p:cNvPr>
                  <p:cNvSpPr/>
                  <p:nvPr/>
                </p:nvSpPr>
                <p:spPr>
                  <a:xfrm>
                    <a:off x="-5968029" y="3497909"/>
                    <a:ext cx="4006" cy="4253"/>
                  </a:xfrm>
                  <a:custGeom>
                    <a:avLst/>
                    <a:gdLst>
                      <a:gd name="connsiteX0" fmla="*/ 4007 w 4006"/>
                      <a:gd name="connsiteY0" fmla="*/ 1701 h 4253"/>
                      <a:gd name="connsiteX1" fmla="*/ 1427 w 4006"/>
                      <a:gd name="connsiteY1" fmla="*/ 4254 h 4253"/>
                      <a:gd name="connsiteX2" fmla="*/ 0 w 4006"/>
                      <a:gd name="connsiteY2" fmla="*/ 1784 h 4253"/>
                      <a:gd name="connsiteX3" fmla="*/ 1482 w 4006"/>
                      <a:gd name="connsiteY3" fmla="*/ 0 h 4253"/>
                      <a:gd name="connsiteX4" fmla="*/ 2580 w 4006"/>
                      <a:gd name="connsiteY4" fmla="*/ 0 h 4253"/>
                      <a:gd name="connsiteX5" fmla="*/ 4007 w 4006"/>
                      <a:gd name="connsiteY5" fmla="*/ 1701 h 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6" h="4253">
                        <a:moveTo>
                          <a:pt x="4007" y="1701"/>
                        </a:moveTo>
                        <a:lnTo>
                          <a:pt x="1427" y="4254"/>
                        </a:lnTo>
                        <a:lnTo>
                          <a:pt x="0" y="1784"/>
                        </a:lnTo>
                        <a:lnTo>
                          <a:pt x="1482" y="0"/>
                        </a:lnTo>
                        <a:lnTo>
                          <a:pt x="2580" y="0"/>
                        </a:lnTo>
                        <a:lnTo>
                          <a:pt x="4007" y="170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1" name="Freeform: Shape 3040">
                    <a:extLst>
                      <a:ext uri="{FF2B5EF4-FFF2-40B4-BE49-F238E27FC236}">
                        <a16:creationId xmlns:a16="http://schemas.microsoft.com/office/drawing/2014/main" id="{BB87B8EC-4EE0-F6BE-8539-329B71C727A6}"/>
                      </a:ext>
                    </a:extLst>
                  </p:cNvPr>
                  <p:cNvSpPr/>
                  <p:nvPr/>
                </p:nvSpPr>
                <p:spPr>
                  <a:xfrm>
                    <a:off x="-6044869" y="3622390"/>
                    <a:ext cx="3128" cy="4884"/>
                  </a:xfrm>
                  <a:custGeom>
                    <a:avLst/>
                    <a:gdLst>
                      <a:gd name="connsiteX0" fmla="*/ 3129 w 3128"/>
                      <a:gd name="connsiteY0" fmla="*/ 0 h 4884"/>
                      <a:gd name="connsiteX1" fmla="*/ 1866 w 3128"/>
                      <a:gd name="connsiteY1" fmla="*/ 4885 h 4884"/>
                      <a:gd name="connsiteX2" fmla="*/ 0 w 3128"/>
                      <a:gd name="connsiteY2" fmla="*/ 2415 h 4884"/>
                      <a:gd name="connsiteX3" fmla="*/ 851 w 3128"/>
                      <a:gd name="connsiteY3" fmla="*/ 0 h 4884"/>
                      <a:gd name="connsiteX4" fmla="*/ 3129 w 3128"/>
                      <a:gd name="connsiteY4" fmla="*/ 0 h 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8" h="4884">
                        <a:moveTo>
                          <a:pt x="3129" y="0"/>
                        </a:moveTo>
                        <a:lnTo>
                          <a:pt x="1866" y="4885"/>
                        </a:lnTo>
                        <a:lnTo>
                          <a:pt x="0" y="2415"/>
                        </a:lnTo>
                        <a:lnTo>
                          <a:pt x="851" y="0"/>
                        </a:lnTo>
                        <a:lnTo>
                          <a:pt x="3129"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2" name="Freeform: Shape 3041">
                    <a:extLst>
                      <a:ext uri="{FF2B5EF4-FFF2-40B4-BE49-F238E27FC236}">
                        <a16:creationId xmlns:a16="http://schemas.microsoft.com/office/drawing/2014/main" id="{C52D0F90-C3CE-D71C-A4C3-F12DDACB7A64}"/>
                      </a:ext>
                    </a:extLst>
                  </p:cNvPr>
                  <p:cNvSpPr/>
                  <p:nvPr/>
                </p:nvSpPr>
                <p:spPr>
                  <a:xfrm>
                    <a:off x="-6044211" y="3547526"/>
                    <a:ext cx="3760" cy="3814"/>
                  </a:xfrm>
                  <a:custGeom>
                    <a:avLst/>
                    <a:gdLst>
                      <a:gd name="connsiteX0" fmla="*/ 3183 w 3760"/>
                      <a:gd name="connsiteY0" fmla="*/ 3815 h 3814"/>
                      <a:gd name="connsiteX1" fmla="*/ 1208 w 3760"/>
                      <a:gd name="connsiteY1" fmla="*/ 3815 h 3814"/>
                      <a:gd name="connsiteX2" fmla="*/ 0 w 3760"/>
                      <a:gd name="connsiteY2" fmla="*/ 1482 h 3814"/>
                      <a:gd name="connsiteX3" fmla="*/ 2223 w 3760"/>
                      <a:gd name="connsiteY3" fmla="*/ 0 h 3814"/>
                      <a:gd name="connsiteX4" fmla="*/ 3760 w 3760"/>
                      <a:gd name="connsiteY4" fmla="*/ 2004 h 3814"/>
                      <a:gd name="connsiteX5" fmla="*/ 3183 w 3760"/>
                      <a:gd name="connsiteY5" fmla="*/ 3815 h 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0" h="3814">
                        <a:moveTo>
                          <a:pt x="3183" y="3815"/>
                        </a:moveTo>
                        <a:lnTo>
                          <a:pt x="1208" y="3815"/>
                        </a:lnTo>
                        <a:cubicBezTo>
                          <a:pt x="1208" y="3815"/>
                          <a:pt x="0" y="1482"/>
                          <a:pt x="0" y="1482"/>
                        </a:cubicBezTo>
                        <a:lnTo>
                          <a:pt x="2223" y="0"/>
                        </a:lnTo>
                        <a:lnTo>
                          <a:pt x="3760" y="2004"/>
                        </a:lnTo>
                        <a:lnTo>
                          <a:pt x="3183" y="381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3" name="Freeform: Shape 3042">
                    <a:extLst>
                      <a:ext uri="{FF2B5EF4-FFF2-40B4-BE49-F238E27FC236}">
                        <a16:creationId xmlns:a16="http://schemas.microsoft.com/office/drawing/2014/main" id="{3CD2E80E-EC42-0133-6780-E1DD5F3B39A0}"/>
                      </a:ext>
                    </a:extLst>
                  </p:cNvPr>
                  <p:cNvSpPr/>
                  <p:nvPr/>
                </p:nvSpPr>
                <p:spPr>
                  <a:xfrm>
                    <a:off x="-5880047" y="3562043"/>
                    <a:ext cx="4253" cy="3320"/>
                  </a:xfrm>
                  <a:custGeom>
                    <a:avLst/>
                    <a:gdLst>
                      <a:gd name="connsiteX0" fmla="*/ 4254 w 4253"/>
                      <a:gd name="connsiteY0" fmla="*/ 823 h 3320"/>
                      <a:gd name="connsiteX1" fmla="*/ 2964 w 4253"/>
                      <a:gd name="connsiteY1" fmla="*/ 3320 h 3320"/>
                      <a:gd name="connsiteX2" fmla="*/ 0 w 4253"/>
                      <a:gd name="connsiteY2" fmla="*/ 2552 h 3320"/>
                      <a:gd name="connsiteX3" fmla="*/ 466 w 4253"/>
                      <a:gd name="connsiteY3" fmla="*/ 0 h 3320"/>
                      <a:gd name="connsiteX4" fmla="*/ 4254 w 4253"/>
                      <a:gd name="connsiteY4" fmla="*/ 823 h 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3320">
                        <a:moveTo>
                          <a:pt x="4254" y="823"/>
                        </a:moveTo>
                        <a:lnTo>
                          <a:pt x="2964" y="3320"/>
                        </a:lnTo>
                        <a:lnTo>
                          <a:pt x="0" y="2552"/>
                        </a:lnTo>
                        <a:lnTo>
                          <a:pt x="466" y="0"/>
                        </a:lnTo>
                        <a:lnTo>
                          <a:pt x="4254" y="82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4" name="Freeform: Shape 3043">
                    <a:extLst>
                      <a:ext uri="{FF2B5EF4-FFF2-40B4-BE49-F238E27FC236}">
                        <a16:creationId xmlns:a16="http://schemas.microsoft.com/office/drawing/2014/main" id="{7248174D-4918-E43A-8568-B5D19E1AA33F}"/>
                      </a:ext>
                    </a:extLst>
                  </p:cNvPr>
                  <p:cNvSpPr/>
                  <p:nvPr/>
                </p:nvSpPr>
                <p:spPr>
                  <a:xfrm>
                    <a:off x="-6352533" y="3207782"/>
                    <a:ext cx="6202" cy="4280"/>
                  </a:xfrm>
                  <a:custGeom>
                    <a:avLst/>
                    <a:gdLst>
                      <a:gd name="connsiteX0" fmla="*/ 27 w 6202"/>
                      <a:gd name="connsiteY0" fmla="*/ 1153 h 4280"/>
                      <a:gd name="connsiteX1" fmla="*/ 2223 w 6202"/>
                      <a:gd name="connsiteY1" fmla="*/ 0 h 4280"/>
                      <a:gd name="connsiteX2" fmla="*/ 4144 w 6202"/>
                      <a:gd name="connsiteY2" fmla="*/ 631 h 4280"/>
                      <a:gd name="connsiteX3" fmla="*/ 6202 w 6202"/>
                      <a:gd name="connsiteY3" fmla="*/ 1317 h 4280"/>
                      <a:gd name="connsiteX4" fmla="*/ 6093 w 6202"/>
                      <a:gd name="connsiteY4" fmla="*/ 4281 h 4280"/>
                      <a:gd name="connsiteX5" fmla="*/ 4144 w 6202"/>
                      <a:gd name="connsiteY5" fmla="*/ 3870 h 4280"/>
                      <a:gd name="connsiteX6" fmla="*/ 384 w 6202"/>
                      <a:gd name="connsiteY6" fmla="*/ 3129 h 4280"/>
                      <a:gd name="connsiteX7" fmla="*/ 0 w 6202"/>
                      <a:gd name="connsiteY7" fmla="*/ 1153 h 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02" h="4280">
                        <a:moveTo>
                          <a:pt x="27" y="1153"/>
                        </a:moveTo>
                        <a:lnTo>
                          <a:pt x="2223" y="0"/>
                        </a:lnTo>
                        <a:lnTo>
                          <a:pt x="4144" y="631"/>
                        </a:lnTo>
                        <a:lnTo>
                          <a:pt x="6202" y="1317"/>
                        </a:lnTo>
                        <a:lnTo>
                          <a:pt x="6093" y="4281"/>
                        </a:lnTo>
                        <a:lnTo>
                          <a:pt x="4144" y="3870"/>
                        </a:lnTo>
                        <a:lnTo>
                          <a:pt x="384" y="3129"/>
                        </a:lnTo>
                        <a:lnTo>
                          <a:pt x="0" y="115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5" name="Freeform: Shape 3044">
                    <a:extLst>
                      <a:ext uri="{FF2B5EF4-FFF2-40B4-BE49-F238E27FC236}">
                        <a16:creationId xmlns:a16="http://schemas.microsoft.com/office/drawing/2014/main" id="{8ECD666B-CC19-A1F2-BE5A-9E01F7D6A79C}"/>
                      </a:ext>
                    </a:extLst>
                  </p:cNvPr>
                  <p:cNvSpPr/>
                  <p:nvPr/>
                </p:nvSpPr>
                <p:spPr>
                  <a:xfrm>
                    <a:off x="-6589695" y="2916035"/>
                    <a:ext cx="125496" cy="188780"/>
                  </a:xfrm>
                  <a:custGeom>
                    <a:avLst/>
                    <a:gdLst>
                      <a:gd name="connsiteX0" fmla="*/ 95337 w 125496"/>
                      <a:gd name="connsiteY0" fmla="*/ 3568 h 188780"/>
                      <a:gd name="connsiteX1" fmla="*/ 89492 w 125496"/>
                      <a:gd name="connsiteY1" fmla="*/ 12871 h 188780"/>
                      <a:gd name="connsiteX2" fmla="*/ 79008 w 125496"/>
                      <a:gd name="connsiteY2" fmla="*/ 28843 h 188780"/>
                      <a:gd name="connsiteX3" fmla="*/ 72943 w 125496"/>
                      <a:gd name="connsiteY3" fmla="*/ 31614 h 188780"/>
                      <a:gd name="connsiteX4" fmla="*/ 76346 w 125496"/>
                      <a:gd name="connsiteY4" fmla="*/ 36307 h 188780"/>
                      <a:gd name="connsiteX5" fmla="*/ 67565 w 125496"/>
                      <a:gd name="connsiteY5" fmla="*/ 40177 h 188780"/>
                      <a:gd name="connsiteX6" fmla="*/ 63723 w 125496"/>
                      <a:gd name="connsiteY6" fmla="*/ 44622 h 188780"/>
                      <a:gd name="connsiteX7" fmla="*/ 64573 w 125496"/>
                      <a:gd name="connsiteY7" fmla="*/ 46379 h 188780"/>
                      <a:gd name="connsiteX8" fmla="*/ 72120 w 125496"/>
                      <a:gd name="connsiteY8" fmla="*/ 55545 h 188780"/>
                      <a:gd name="connsiteX9" fmla="*/ 79008 w 125496"/>
                      <a:gd name="connsiteY9" fmla="*/ 59634 h 188780"/>
                      <a:gd name="connsiteX10" fmla="*/ 88174 w 125496"/>
                      <a:gd name="connsiteY10" fmla="*/ 60347 h 188780"/>
                      <a:gd name="connsiteX11" fmla="*/ 92208 w 125496"/>
                      <a:gd name="connsiteY11" fmla="*/ 55078 h 188780"/>
                      <a:gd name="connsiteX12" fmla="*/ 91495 w 125496"/>
                      <a:gd name="connsiteY12" fmla="*/ 50001 h 188780"/>
                      <a:gd name="connsiteX13" fmla="*/ 96352 w 125496"/>
                      <a:gd name="connsiteY13" fmla="*/ 46544 h 188780"/>
                      <a:gd name="connsiteX14" fmla="*/ 101017 w 125496"/>
                      <a:gd name="connsiteY14" fmla="*/ 50385 h 188780"/>
                      <a:gd name="connsiteX15" fmla="*/ 103213 w 125496"/>
                      <a:gd name="connsiteY15" fmla="*/ 56286 h 188780"/>
                      <a:gd name="connsiteX16" fmla="*/ 107494 w 125496"/>
                      <a:gd name="connsiteY16" fmla="*/ 57960 h 188780"/>
                      <a:gd name="connsiteX17" fmla="*/ 107165 w 125496"/>
                      <a:gd name="connsiteY17" fmla="*/ 62405 h 188780"/>
                      <a:gd name="connsiteX18" fmla="*/ 108921 w 125496"/>
                      <a:gd name="connsiteY18" fmla="*/ 64738 h 188780"/>
                      <a:gd name="connsiteX19" fmla="*/ 118554 w 125496"/>
                      <a:gd name="connsiteY19" fmla="*/ 61829 h 188780"/>
                      <a:gd name="connsiteX20" fmla="*/ 120804 w 125496"/>
                      <a:gd name="connsiteY20" fmla="*/ 66138 h 188780"/>
                      <a:gd name="connsiteX21" fmla="*/ 115864 w 125496"/>
                      <a:gd name="connsiteY21" fmla="*/ 69513 h 188780"/>
                      <a:gd name="connsiteX22" fmla="*/ 118965 w 125496"/>
                      <a:gd name="connsiteY22" fmla="*/ 75660 h 188780"/>
                      <a:gd name="connsiteX23" fmla="*/ 120091 w 125496"/>
                      <a:gd name="connsiteY23" fmla="*/ 85238 h 188780"/>
                      <a:gd name="connsiteX24" fmla="*/ 123548 w 125496"/>
                      <a:gd name="connsiteY24" fmla="*/ 89300 h 188780"/>
                      <a:gd name="connsiteX25" fmla="*/ 121380 w 125496"/>
                      <a:gd name="connsiteY25" fmla="*/ 100249 h 188780"/>
                      <a:gd name="connsiteX26" fmla="*/ 123384 w 125496"/>
                      <a:gd name="connsiteY26" fmla="*/ 106095 h 188780"/>
                      <a:gd name="connsiteX27" fmla="*/ 125497 w 125496"/>
                      <a:gd name="connsiteY27" fmla="*/ 118526 h 188780"/>
                      <a:gd name="connsiteX28" fmla="*/ 122149 w 125496"/>
                      <a:gd name="connsiteY28" fmla="*/ 129174 h 188780"/>
                      <a:gd name="connsiteX29" fmla="*/ 117813 w 125496"/>
                      <a:gd name="connsiteY29" fmla="*/ 142319 h 188780"/>
                      <a:gd name="connsiteX30" fmla="*/ 116166 w 125496"/>
                      <a:gd name="connsiteY30" fmla="*/ 144927 h 188780"/>
                      <a:gd name="connsiteX31" fmla="*/ 115672 w 125496"/>
                      <a:gd name="connsiteY31" fmla="*/ 146792 h 188780"/>
                      <a:gd name="connsiteX32" fmla="*/ 113751 w 125496"/>
                      <a:gd name="connsiteY32" fmla="*/ 149262 h 188780"/>
                      <a:gd name="connsiteX33" fmla="*/ 116495 w 125496"/>
                      <a:gd name="connsiteY33" fmla="*/ 153324 h 188780"/>
                      <a:gd name="connsiteX34" fmla="*/ 115343 w 125496"/>
                      <a:gd name="connsiteY34" fmla="*/ 155904 h 188780"/>
                      <a:gd name="connsiteX35" fmla="*/ 98136 w 125496"/>
                      <a:gd name="connsiteY35" fmla="*/ 154422 h 188780"/>
                      <a:gd name="connsiteX36" fmla="*/ 96187 w 125496"/>
                      <a:gd name="connsiteY36" fmla="*/ 157852 h 188780"/>
                      <a:gd name="connsiteX37" fmla="*/ 84716 w 125496"/>
                      <a:gd name="connsiteY37" fmla="*/ 158703 h 188780"/>
                      <a:gd name="connsiteX38" fmla="*/ 80106 w 125496"/>
                      <a:gd name="connsiteY38" fmla="*/ 160789 h 188780"/>
                      <a:gd name="connsiteX39" fmla="*/ 78514 w 125496"/>
                      <a:gd name="connsiteY39" fmla="*/ 165289 h 188780"/>
                      <a:gd name="connsiteX40" fmla="*/ 72230 w 125496"/>
                      <a:gd name="connsiteY40" fmla="*/ 166881 h 188780"/>
                      <a:gd name="connsiteX41" fmla="*/ 47257 w 125496"/>
                      <a:gd name="connsiteY41" fmla="*/ 183484 h 188780"/>
                      <a:gd name="connsiteX42" fmla="*/ 28540 w 125496"/>
                      <a:gd name="connsiteY42" fmla="*/ 188780 h 188780"/>
                      <a:gd name="connsiteX43" fmla="*/ 20774 w 125496"/>
                      <a:gd name="connsiteY43" fmla="*/ 186255 h 188780"/>
                      <a:gd name="connsiteX44" fmla="*/ 18963 w 125496"/>
                      <a:gd name="connsiteY44" fmla="*/ 179999 h 188780"/>
                      <a:gd name="connsiteX45" fmla="*/ 8562 w 125496"/>
                      <a:gd name="connsiteY45" fmla="*/ 181618 h 188780"/>
                      <a:gd name="connsiteX46" fmla="*/ 8041 w 125496"/>
                      <a:gd name="connsiteY46" fmla="*/ 175580 h 188780"/>
                      <a:gd name="connsiteX47" fmla="*/ 192 w 125496"/>
                      <a:gd name="connsiteY47" fmla="*/ 171162 h 188780"/>
                      <a:gd name="connsiteX48" fmla="*/ 6915 w 125496"/>
                      <a:gd name="connsiteY48" fmla="*/ 160843 h 188780"/>
                      <a:gd name="connsiteX49" fmla="*/ 0 w 125496"/>
                      <a:gd name="connsiteY49" fmla="*/ 157743 h 188780"/>
                      <a:gd name="connsiteX50" fmla="*/ 219 w 125496"/>
                      <a:gd name="connsiteY50" fmla="*/ 154422 h 188780"/>
                      <a:gd name="connsiteX51" fmla="*/ 10648 w 125496"/>
                      <a:gd name="connsiteY51" fmla="*/ 151952 h 188780"/>
                      <a:gd name="connsiteX52" fmla="*/ 14792 w 125496"/>
                      <a:gd name="connsiteY52" fmla="*/ 142017 h 188780"/>
                      <a:gd name="connsiteX53" fmla="*/ 20582 w 125496"/>
                      <a:gd name="connsiteY53" fmla="*/ 138011 h 188780"/>
                      <a:gd name="connsiteX54" fmla="*/ 27416 w 125496"/>
                      <a:gd name="connsiteY54" fmla="*/ 137215 h 188780"/>
                      <a:gd name="connsiteX55" fmla="*/ 18798 w 125496"/>
                      <a:gd name="connsiteY55" fmla="*/ 133263 h 188780"/>
                      <a:gd name="connsiteX56" fmla="*/ 29364 w 125496"/>
                      <a:gd name="connsiteY56" fmla="*/ 112516 h 188780"/>
                      <a:gd name="connsiteX57" fmla="*/ 37871 w 125496"/>
                      <a:gd name="connsiteY57" fmla="*/ 109498 h 188780"/>
                      <a:gd name="connsiteX58" fmla="*/ 38036 w 125496"/>
                      <a:gd name="connsiteY58" fmla="*/ 106451 h 188780"/>
                      <a:gd name="connsiteX59" fmla="*/ 36746 w 125496"/>
                      <a:gd name="connsiteY59" fmla="*/ 103625 h 188780"/>
                      <a:gd name="connsiteX60" fmla="*/ 17152 w 125496"/>
                      <a:gd name="connsiteY60" fmla="*/ 104338 h 188780"/>
                      <a:gd name="connsiteX61" fmla="*/ 13200 w 125496"/>
                      <a:gd name="connsiteY61" fmla="*/ 100990 h 188780"/>
                      <a:gd name="connsiteX62" fmla="*/ 12404 w 125496"/>
                      <a:gd name="connsiteY62" fmla="*/ 96517 h 188780"/>
                      <a:gd name="connsiteX63" fmla="*/ 6202 w 125496"/>
                      <a:gd name="connsiteY63" fmla="*/ 95666 h 188780"/>
                      <a:gd name="connsiteX64" fmla="*/ 4665 w 125496"/>
                      <a:gd name="connsiteY64" fmla="*/ 91907 h 188780"/>
                      <a:gd name="connsiteX65" fmla="*/ 6696 w 125496"/>
                      <a:gd name="connsiteY65" fmla="*/ 87653 h 188780"/>
                      <a:gd name="connsiteX66" fmla="*/ 11389 w 125496"/>
                      <a:gd name="connsiteY66" fmla="*/ 85814 h 188780"/>
                      <a:gd name="connsiteX67" fmla="*/ 11993 w 125496"/>
                      <a:gd name="connsiteY67" fmla="*/ 79283 h 188780"/>
                      <a:gd name="connsiteX68" fmla="*/ 18002 w 125496"/>
                      <a:gd name="connsiteY68" fmla="*/ 75523 h 188780"/>
                      <a:gd name="connsiteX69" fmla="*/ 16603 w 125496"/>
                      <a:gd name="connsiteY69" fmla="*/ 72614 h 188780"/>
                      <a:gd name="connsiteX70" fmla="*/ 10511 w 125496"/>
                      <a:gd name="connsiteY70" fmla="*/ 72889 h 188780"/>
                      <a:gd name="connsiteX71" fmla="*/ 6861 w 125496"/>
                      <a:gd name="connsiteY71" fmla="*/ 68937 h 188780"/>
                      <a:gd name="connsiteX72" fmla="*/ 7547 w 125496"/>
                      <a:gd name="connsiteY72" fmla="*/ 66906 h 188780"/>
                      <a:gd name="connsiteX73" fmla="*/ 12486 w 125496"/>
                      <a:gd name="connsiteY73" fmla="*/ 67290 h 188780"/>
                      <a:gd name="connsiteX74" fmla="*/ 9742 w 125496"/>
                      <a:gd name="connsiteY74" fmla="*/ 57191 h 188780"/>
                      <a:gd name="connsiteX75" fmla="*/ 7025 w 125496"/>
                      <a:gd name="connsiteY75" fmla="*/ 56011 h 188780"/>
                      <a:gd name="connsiteX76" fmla="*/ 7519 w 125496"/>
                      <a:gd name="connsiteY76" fmla="*/ 53926 h 188780"/>
                      <a:gd name="connsiteX77" fmla="*/ 17673 w 125496"/>
                      <a:gd name="connsiteY77" fmla="*/ 50770 h 188780"/>
                      <a:gd name="connsiteX78" fmla="*/ 27854 w 125496"/>
                      <a:gd name="connsiteY78" fmla="*/ 51291 h 188780"/>
                      <a:gd name="connsiteX79" fmla="*/ 34221 w 125496"/>
                      <a:gd name="connsiteY79" fmla="*/ 58810 h 188780"/>
                      <a:gd name="connsiteX80" fmla="*/ 38695 w 125496"/>
                      <a:gd name="connsiteY80" fmla="*/ 53349 h 188780"/>
                      <a:gd name="connsiteX81" fmla="*/ 47943 w 125496"/>
                      <a:gd name="connsiteY81" fmla="*/ 52718 h 188780"/>
                      <a:gd name="connsiteX82" fmla="*/ 50248 w 125496"/>
                      <a:gd name="connsiteY82" fmla="*/ 47614 h 188780"/>
                      <a:gd name="connsiteX83" fmla="*/ 59524 w 125496"/>
                      <a:gd name="connsiteY83" fmla="*/ 39683 h 188780"/>
                      <a:gd name="connsiteX84" fmla="*/ 59167 w 125496"/>
                      <a:gd name="connsiteY84" fmla="*/ 36307 h 188780"/>
                      <a:gd name="connsiteX85" fmla="*/ 49123 w 125496"/>
                      <a:gd name="connsiteY85" fmla="*/ 35374 h 188780"/>
                      <a:gd name="connsiteX86" fmla="*/ 45473 w 125496"/>
                      <a:gd name="connsiteY86" fmla="*/ 32273 h 188780"/>
                      <a:gd name="connsiteX87" fmla="*/ 53816 w 125496"/>
                      <a:gd name="connsiteY87" fmla="*/ 24205 h 188780"/>
                      <a:gd name="connsiteX88" fmla="*/ 55160 w 125496"/>
                      <a:gd name="connsiteY88" fmla="*/ 16274 h 188780"/>
                      <a:gd name="connsiteX89" fmla="*/ 59277 w 125496"/>
                      <a:gd name="connsiteY89" fmla="*/ 9825 h 188780"/>
                      <a:gd name="connsiteX90" fmla="*/ 76868 w 125496"/>
                      <a:gd name="connsiteY90" fmla="*/ 4418 h 188780"/>
                      <a:gd name="connsiteX91" fmla="*/ 81423 w 125496"/>
                      <a:gd name="connsiteY91" fmla="*/ 12597 h 188780"/>
                      <a:gd name="connsiteX92" fmla="*/ 82768 w 125496"/>
                      <a:gd name="connsiteY92" fmla="*/ 3623 h 188780"/>
                      <a:gd name="connsiteX93" fmla="*/ 85841 w 125496"/>
                      <a:gd name="connsiteY93" fmla="*/ 0 h 188780"/>
                      <a:gd name="connsiteX94" fmla="*/ 95227 w 125496"/>
                      <a:gd name="connsiteY94" fmla="*/ 3513 h 18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25496" h="188780">
                        <a:moveTo>
                          <a:pt x="95337" y="3568"/>
                        </a:moveTo>
                        <a:lnTo>
                          <a:pt x="89492" y="12871"/>
                        </a:lnTo>
                        <a:lnTo>
                          <a:pt x="79008" y="28843"/>
                        </a:lnTo>
                        <a:lnTo>
                          <a:pt x="72943" y="31614"/>
                        </a:lnTo>
                        <a:lnTo>
                          <a:pt x="76346" y="36307"/>
                        </a:lnTo>
                        <a:lnTo>
                          <a:pt x="67565" y="40177"/>
                        </a:lnTo>
                        <a:lnTo>
                          <a:pt x="63723" y="44622"/>
                        </a:lnTo>
                        <a:lnTo>
                          <a:pt x="64573" y="46379"/>
                        </a:lnTo>
                        <a:lnTo>
                          <a:pt x="72120" y="55545"/>
                        </a:lnTo>
                        <a:lnTo>
                          <a:pt x="79008" y="59634"/>
                        </a:lnTo>
                        <a:lnTo>
                          <a:pt x="88174" y="60347"/>
                        </a:lnTo>
                        <a:lnTo>
                          <a:pt x="92208" y="55078"/>
                        </a:lnTo>
                        <a:lnTo>
                          <a:pt x="91495" y="50001"/>
                        </a:lnTo>
                        <a:lnTo>
                          <a:pt x="96352" y="46544"/>
                        </a:lnTo>
                        <a:lnTo>
                          <a:pt x="101017" y="50385"/>
                        </a:lnTo>
                        <a:lnTo>
                          <a:pt x="103213" y="56286"/>
                        </a:lnTo>
                        <a:lnTo>
                          <a:pt x="107494" y="57960"/>
                        </a:lnTo>
                        <a:lnTo>
                          <a:pt x="107165" y="62405"/>
                        </a:lnTo>
                        <a:lnTo>
                          <a:pt x="108921" y="64738"/>
                        </a:lnTo>
                        <a:lnTo>
                          <a:pt x="118554" y="61829"/>
                        </a:lnTo>
                        <a:lnTo>
                          <a:pt x="120804" y="66138"/>
                        </a:lnTo>
                        <a:lnTo>
                          <a:pt x="115864" y="69513"/>
                        </a:lnTo>
                        <a:lnTo>
                          <a:pt x="118965" y="75660"/>
                        </a:lnTo>
                        <a:lnTo>
                          <a:pt x="120091" y="85238"/>
                        </a:lnTo>
                        <a:lnTo>
                          <a:pt x="123548" y="89300"/>
                        </a:lnTo>
                        <a:lnTo>
                          <a:pt x="121380" y="100249"/>
                        </a:lnTo>
                        <a:lnTo>
                          <a:pt x="123384" y="106095"/>
                        </a:lnTo>
                        <a:lnTo>
                          <a:pt x="125497" y="118526"/>
                        </a:lnTo>
                        <a:lnTo>
                          <a:pt x="122149" y="129174"/>
                        </a:lnTo>
                        <a:lnTo>
                          <a:pt x="117813" y="142319"/>
                        </a:lnTo>
                        <a:lnTo>
                          <a:pt x="116166" y="144927"/>
                        </a:lnTo>
                        <a:lnTo>
                          <a:pt x="115672" y="146792"/>
                        </a:lnTo>
                        <a:lnTo>
                          <a:pt x="113751" y="149262"/>
                        </a:lnTo>
                        <a:lnTo>
                          <a:pt x="116495" y="153324"/>
                        </a:lnTo>
                        <a:lnTo>
                          <a:pt x="115343" y="155904"/>
                        </a:lnTo>
                        <a:lnTo>
                          <a:pt x="98136" y="154422"/>
                        </a:lnTo>
                        <a:lnTo>
                          <a:pt x="96187" y="157852"/>
                        </a:lnTo>
                        <a:lnTo>
                          <a:pt x="84716" y="158703"/>
                        </a:lnTo>
                        <a:lnTo>
                          <a:pt x="80106" y="160789"/>
                        </a:lnTo>
                        <a:lnTo>
                          <a:pt x="78514" y="165289"/>
                        </a:lnTo>
                        <a:lnTo>
                          <a:pt x="72230" y="166881"/>
                        </a:lnTo>
                        <a:lnTo>
                          <a:pt x="47257" y="183484"/>
                        </a:lnTo>
                        <a:lnTo>
                          <a:pt x="28540" y="188780"/>
                        </a:lnTo>
                        <a:lnTo>
                          <a:pt x="20774" y="186255"/>
                        </a:lnTo>
                        <a:lnTo>
                          <a:pt x="18963" y="179999"/>
                        </a:lnTo>
                        <a:lnTo>
                          <a:pt x="8562" y="181618"/>
                        </a:lnTo>
                        <a:lnTo>
                          <a:pt x="8041" y="175580"/>
                        </a:lnTo>
                        <a:lnTo>
                          <a:pt x="192" y="171162"/>
                        </a:lnTo>
                        <a:lnTo>
                          <a:pt x="6915" y="160843"/>
                        </a:lnTo>
                        <a:lnTo>
                          <a:pt x="0" y="157743"/>
                        </a:lnTo>
                        <a:lnTo>
                          <a:pt x="219" y="154422"/>
                        </a:lnTo>
                        <a:lnTo>
                          <a:pt x="10648" y="151952"/>
                        </a:lnTo>
                        <a:lnTo>
                          <a:pt x="14792" y="142017"/>
                        </a:lnTo>
                        <a:lnTo>
                          <a:pt x="20582" y="138011"/>
                        </a:lnTo>
                        <a:lnTo>
                          <a:pt x="27416" y="137215"/>
                        </a:lnTo>
                        <a:lnTo>
                          <a:pt x="18798" y="133263"/>
                        </a:lnTo>
                        <a:lnTo>
                          <a:pt x="29364" y="112516"/>
                        </a:lnTo>
                        <a:lnTo>
                          <a:pt x="37871" y="109498"/>
                        </a:lnTo>
                        <a:lnTo>
                          <a:pt x="38036" y="106451"/>
                        </a:lnTo>
                        <a:lnTo>
                          <a:pt x="36746" y="103625"/>
                        </a:lnTo>
                        <a:lnTo>
                          <a:pt x="17152" y="104338"/>
                        </a:lnTo>
                        <a:lnTo>
                          <a:pt x="13200" y="100990"/>
                        </a:lnTo>
                        <a:lnTo>
                          <a:pt x="12404" y="96517"/>
                        </a:lnTo>
                        <a:lnTo>
                          <a:pt x="6202" y="95666"/>
                        </a:lnTo>
                        <a:lnTo>
                          <a:pt x="4665" y="91907"/>
                        </a:lnTo>
                        <a:lnTo>
                          <a:pt x="6696" y="87653"/>
                        </a:lnTo>
                        <a:lnTo>
                          <a:pt x="11389" y="85814"/>
                        </a:lnTo>
                        <a:lnTo>
                          <a:pt x="11993" y="79283"/>
                        </a:lnTo>
                        <a:lnTo>
                          <a:pt x="18002" y="75523"/>
                        </a:lnTo>
                        <a:lnTo>
                          <a:pt x="16603" y="72614"/>
                        </a:lnTo>
                        <a:lnTo>
                          <a:pt x="10511" y="72889"/>
                        </a:lnTo>
                        <a:lnTo>
                          <a:pt x="6861" y="68937"/>
                        </a:lnTo>
                        <a:lnTo>
                          <a:pt x="7547" y="66906"/>
                        </a:lnTo>
                        <a:lnTo>
                          <a:pt x="12486" y="67290"/>
                        </a:lnTo>
                        <a:lnTo>
                          <a:pt x="9742" y="57191"/>
                        </a:lnTo>
                        <a:lnTo>
                          <a:pt x="7025" y="56011"/>
                        </a:lnTo>
                        <a:lnTo>
                          <a:pt x="7519" y="53926"/>
                        </a:lnTo>
                        <a:lnTo>
                          <a:pt x="17673" y="50770"/>
                        </a:lnTo>
                        <a:lnTo>
                          <a:pt x="27854" y="51291"/>
                        </a:lnTo>
                        <a:lnTo>
                          <a:pt x="34221" y="58810"/>
                        </a:lnTo>
                        <a:lnTo>
                          <a:pt x="38695" y="53349"/>
                        </a:lnTo>
                        <a:lnTo>
                          <a:pt x="47943" y="52718"/>
                        </a:lnTo>
                        <a:lnTo>
                          <a:pt x="50248" y="47614"/>
                        </a:lnTo>
                        <a:lnTo>
                          <a:pt x="59524" y="39683"/>
                        </a:lnTo>
                        <a:lnTo>
                          <a:pt x="59167" y="36307"/>
                        </a:lnTo>
                        <a:lnTo>
                          <a:pt x="49123" y="35374"/>
                        </a:lnTo>
                        <a:lnTo>
                          <a:pt x="45473" y="32273"/>
                        </a:lnTo>
                        <a:lnTo>
                          <a:pt x="53816" y="24205"/>
                        </a:lnTo>
                        <a:lnTo>
                          <a:pt x="55160" y="16274"/>
                        </a:lnTo>
                        <a:lnTo>
                          <a:pt x="59277" y="9825"/>
                        </a:lnTo>
                        <a:lnTo>
                          <a:pt x="76868" y="4418"/>
                        </a:lnTo>
                        <a:lnTo>
                          <a:pt x="81423" y="12597"/>
                        </a:lnTo>
                        <a:lnTo>
                          <a:pt x="82768" y="3623"/>
                        </a:lnTo>
                        <a:lnTo>
                          <a:pt x="85841" y="0"/>
                        </a:lnTo>
                        <a:lnTo>
                          <a:pt x="95227" y="351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6" name="Freeform: Shape 3045">
                    <a:extLst>
                      <a:ext uri="{FF2B5EF4-FFF2-40B4-BE49-F238E27FC236}">
                        <a16:creationId xmlns:a16="http://schemas.microsoft.com/office/drawing/2014/main" id="{EE8BEB6F-441C-A5B5-CFB0-1874A3811E85}"/>
                      </a:ext>
                    </a:extLst>
                  </p:cNvPr>
                  <p:cNvSpPr/>
                  <p:nvPr/>
                </p:nvSpPr>
                <p:spPr>
                  <a:xfrm>
                    <a:off x="-6539831" y="2929372"/>
                    <a:ext cx="3979" cy="6092"/>
                  </a:xfrm>
                  <a:custGeom>
                    <a:avLst/>
                    <a:gdLst>
                      <a:gd name="connsiteX0" fmla="*/ 3979 w 3979"/>
                      <a:gd name="connsiteY0" fmla="*/ 3266 h 6092"/>
                      <a:gd name="connsiteX1" fmla="*/ 1647 w 3979"/>
                      <a:gd name="connsiteY1" fmla="*/ 6093 h 6092"/>
                      <a:gd name="connsiteX2" fmla="*/ 0 w 3979"/>
                      <a:gd name="connsiteY2" fmla="*/ 823 h 6092"/>
                      <a:gd name="connsiteX3" fmla="*/ 1729 w 3979"/>
                      <a:gd name="connsiteY3" fmla="*/ 0 h 6092"/>
                      <a:gd name="connsiteX4" fmla="*/ 3979 w 3979"/>
                      <a:gd name="connsiteY4" fmla="*/ 3266 h 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6092">
                        <a:moveTo>
                          <a:pt x="3979" y="3266"/>
                        </a:moveTo>
                        <a:lnTo>
                          <a:pt x="1647" y="6093"/>
                        </a:lnTo>
                        <a:lnTo>
                          <a:pt x="0" y="823"/>
                        </a:lnTo>
                        <a:lnTo>
                          <a:pt x="1729" y="0"/>
                        </a:lnTo>
                        <a:lnTo>
                          <a:pt x="3979" y="326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7" name="Freeform: Shape 3046">
                    <a:extLst>
                      <a:ext uri="{FF2B5EF4-FFF2-40B4-BE49-F238E27FC236}">
                        <a16:creationId xmlns:a16="http://schemas.microsoft.com/office/drawing/2014/main" id="{58F5D01E-C6AB-A0B3-820B-4571CBE0F08E}"/>
                      </a:ext>
                    </a:extLst>
                  </p:cNvPr>
                  <p:cNvSpPr/>
                  <p:nvPr/>
                </p:nvSpPr>
                <p:spPr>
                  <a:xfrm>
                    <a:off x="-6587499" y="2980828"/>
                    <a:ext cx="3128" cy="5790"/>
                  </a:xfrm>
                  <a:custGeom>
                    <a:avLst/>
                    <a:gdLst>
                      <a:gd name="connsiteX0" fmla="*/ 3129 w 3128"/>
                      <a:gd name="connsiteY0" fmla="*/ 659 h 5790"/>
                      <a:gd name="connsiteX1" fmla="*/ 2635 w 3128"/>
                      <a:gd name="connsiteY1" fmla="*/ 5791 h 5790"/>
                      <a:gd name="connsiteX2" fmla="*/ 0 w 3128"/>
                      <a:gd name="connsiteY2" fmla="*/ 3129 h 5790"/>
                      <a:gd name="connsiteX3" fmla="*/ 302 w 3128"/>
                      <a:gd name="connsiteY3" fmla="*/ 0 h 5790"/>
                      <a:gd name="connsiteX4" fmla="*/ 3129 w 3128"/>
                      <a:gd name="connsiteY4" fmla="*/ 659 h 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8" h="5790">
                        <a:moveTo>
                          <a:pt x="3129" y="659"/>
                        </a:moveTo>
                        <a:lnTo>
                          <a:pt x="2635" y="5791"/>
                        </a:lnTo>
                        <a:lnTo>
                          <a:pt x="0" y="3129"/>
                        </a:lnTo>
                        <a:lnTo>
                          <a:pt x="302" y="0"/>
                        </a:lnTo>
                        <a:lnTo>
                          <a:pt x="3129" y="65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8" name="Freeform: Shape 3047">
                    <a:extLst>
                      <a:ext uri="{FF2B5EF4-FFF2-40B4-BE49-F238E27FC236}">
                        <a16:creationId xmlns:a16="http://schemas.microsoft.com/office/drawing/2014/main" id="{B805F2C3-4669-34EB-4A77-0A3A3B4F1AF9}"/>
                      </a:ext>
                    </a:extLst>
                  </p:cNvPr>
                  <p:cNvSpPr/>
                  <p:nvPr/>
                </p:nvSpPr>
                <p:spPr>
                  <a:xfrm>
                    <a:off x="-6575507" y="3102785"/>
                    <a:ext cx="3897" cy="4280"/>
                  </a:xfrm>
                  <a:custGeom>
                    <a:avLst/>
                    <a:gdLst>
                      <a:gd name="connsiteX0" fmla="*/ 3897 w 3897"/>
                      <a:gd name="connsiteY0" fmla="*/ 3156 h 4280"/>
                      <a:gd name="connsiteX1" fmla="*/ 1400 w 3897"/>
                      <a:gd name="connsiteY1" fmla="*/ 4281 h 4280"/>
                      <a:gd name="connsiteX2" fmla="*/ 0 w 3897"/>
                      <a:gd name="connsiteY2" fmla="*/ 2525 h 4280"/>
                      <a:gd name="connsiteX3" fmla="*/ 1756 w 3897"/>
                      <a:gd name="connsiteY3" fmla="*/ 0 h 4280"/>
                      <a:gd name="connsiteX4" fmla="*/ 3595 w 3897"/>
                      <a:gd name="connsiteY4" fmla="*/ 82 h 4280"/>
                      <a:gd name="connsiteX5" fmla="*/ 3897 w 3897"/>
                      <a:gd name="connsiteY5" fmla="*/ 3129 h 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7" h="4280">
                        <a:moveTo>
                          <a:pt x="3897" y="3156"/>
                        </a:moveTo>
                        <a:lnTo>
                          <a:pt x="1400" y="4281"/>
                        </a:lnTo>
                        <a:lnTo>
                          <a:pt x="0" y="2525"/>
                        </a:lnTo>
                        <a:lnTo>
                          <a:pt x="1756" y="0"/>
                        </a:lnTo>
                        <a:lnTo>
                          <a:pt x="3595" y="82"/>
                        </a:lnTo>
                        <a:lnTo>
                          <a:pt x="3897" y="312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9" name="Freeform: Shape 3048">
                    <a:extLst>
                      <a:ext uri="{FF2B5EF4-FFF2-40B4-BE49-F238E27FC236}">
                        <a16:creationId xmlns:a16="http://schemas.microsoft.com/office/drawing/2014/main" id="{0DFF2096-AC01-D436-CE87-7CD8FE35DAAB}"/>
                      </a:ext>
                    </a:extLst>
                  </p:cNvPr>
                  <p:cNvSpPr/>
                  <p:nvPr/>
                </p:nvSpPr>
                <p:spPr>
                  <a:xfrm>
                    <a:off x="-6426711" y="2961920"/>
                    <a:ext cx="12953" cy="18002"/>
                  </a:xfrm>
                  <a:custGeom>
                    <a:avLst/>
                    <a:gdLst>
                      <a:gd name="connsiteX0" fmla="*/ 27 w 12953"/>
                      <a:gd name="connsiteY0" fmla="*/ 16191 h 18002"/>
                      <a:gd name="connsiteX1" fmla="*/ 1125 w 12953"/>
                      <a:gd name="connsiteY1" fmla="*/ 10456 h 18002"/>
                      <a:gd name="connsiteX2" fmla="*/ 4253 w 12953"/>
                      <a:gd name="connsiteY2" fmla="*/ 7519 h 18002"/>
                      <a:gd name="connsiteX3" fmla="*/ 6559 w 12953"/>
                      <a:gd name="connsiteY3" fmla="*/ 2470 h 18002"/>
                      <a:gd name="connsiteX4" fmla="*/ 11581 w 12953"/>
                      <a:gd name="connsiteY4" fmla="*/ 0 h 18002"/>
                      <a:gd name="connsiteX5" fmla="*/ 11004 w 12953"/>
                      <a:gd name="connsiteY5" fmla="*/ 3677 h 18002"/>
                      <a:gd name="connsiteX6" fmla="*/ 12953 w 12953"/>
                      <a:gd name="connsiteY6" fmla="*/ 5818 h 18002"/>
                      <a:gd name="connsiteX7" fmla="*/ 8507 w 12953"/>
                      <a:gd name="connsiteY7" fmla="*/ 13968 h 18002"/>
                      <a:gd name="connsiteX8" fmla="*/ 2497 w 12953"/>
                      <a:gd name="connsiteY8" fmla="*/ 18002 h 18002"/>
                      <a:gd name="connsiteX9" fmla="*/ 0 w 12953"/>
                      <a:gd name="connsiteY9" fmla="*/ 16164 h 1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53" h="18002">
                        <a:moveTo>
                          <a:pt x="27" y="16191"/>
                        </a:moveTo>
                        <a:lnTo>
                          <a:pt x="1125" y="10456"/>
                        </a:lnTo>
                        <a:lnTo>
                          <a:pt x="4253" y="7519"/>
                        </a:lnTo>
                        <a:lnTo>
                          <a:pt x="6559" y="2470"/>
                        </a:lnTo>
                        <a:lnTo>
                          <a:pt x="11581" y="0"/>
                        </a:lnTo>
                        <a:lnTo>
                          <a:pt x="11004" y="3677"/>
                        </a:lnTo>
                        <a:lnTo>
                          <a:pt x="12953" y="5818"/>
                        </a:lnTo>
                        <a:lnTo>
                          <a:pt x="8507" y="13968"/>
                        </a:lnTo>
                        <a:lnTo>
                          <a:pt x="2497" y="18002"/>
                        </a:lnTo>
                        <a:lnTo>
                          <a:pt x="0" y="1616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50" name="Freeform: Shape 3049">
                    <a:extLst>
                      <a:ext uri="{FF2B5EF4-FFF2-40B4-BE49-F238E27FC236}">
                        <a16:creationId xmlns:a16="http://schemas.microsoft.com/office/drawing/2014/main" id="{C72FC59C-9D85-34F2-9039-2D8072BFF122}"/>
                      </a:ext>
                    </a:extLst>
                  </p:cNvPr>
                  <p:cNvSpPr/>
                  <p:nvPr/>
                </p:nvSpPr>
                <p:spPr>
                  <a:xfrm>
                    <a:off x="-6008068" y="3295791"/>
                    <a:ext cx="4253" cy="9495"/>
                  </a:xfrm>
                  <a:custGeom>
                    <a:avLst/>
                    <a:gdLst>
                      <a:gd name="connsiteX0" fmla="*/ 0 w 4253"/>
                      <a:gd name="connsiteY0" fmla="*/ 9468 h 9495"/>
                      <a:gd name="connsiteX1" fmla="*/ 1592 w 4253"/>
                      <a:gd name="connsiteY1" fmla="*/ 0 h 9495"/>
                      <a:gd name="connsiteX2" fmla="*/ 4254 w 4253"/>
                      <a:gd name="connsiteY2" fmla="*/ 5159 h 9495"/>
                      <a:gd name="connsiteX3" fmla="*/ 3842 w 4253"/>
                      <a:gd name="connsiteY3" fmla="*/ 9084 h 9495"/>
                      <a:gd name="connsiteX4" fmla="*/ 0 w 4253"/>
                      <a:gd name="connsiteY4" fmla="*/ 9495 h 9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9495">
                        <a:moveTo>
                          <a:pt x="0" y="9468"/>
                        </a:moveTo>
                        <a:lnTo>
                          <a:pt x="1592" y="0"/>
                        </a:lnTo>
                        <a:lnTo>
                          <a:pt x="4254" y="5159"/>
                        </a:lnTo>
                        <a:lnTo>
                          <a:pt x="3842" y="9084"/>
                        </a:lnTo>
                        <a:lnTo>
                          <a:pt x="0" y="949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51" name="Freeform: Shape 3050">
                    <a:extLst>
                      <a:ext uri="{FF2B5EF4-FFF2-40B4-BE49-F238E27FC236}">
                        <a16:creationId xmlns:a16="http://schemas.microsoft.com/office/drawing/2014/main" id="{A10F6A25-60E0-BF4D-0285-FB17B8CB41BA}"/>
                      </a:ext>
                    </a:extLst>
                  </p:cNvPr>
                  <p:cNvSpPr/>
                  <p:nvPr/>
                </p:nvSpPr>
                <p:spPr>
                  <a:xfrm>
                    <a:off x="-6181728" y="3009753"/>
                    <a:ext cx="107219" cy="129613"/>
                  </a:xfrm>
                  <a:custGeom>
                    <a:avLst/>
                    <a:gdLst>
                      <a:gd name="connsiteX0" fmla="*/ 97121 w 107219"/>
                      <a:gd name="connsiteY0" fmla="*/ 2662 h 129613"/>
                      <a:gd name="connsiteX1" fmla="*/ 98493 w 107219"/>
                      <a:gd name="connsiteY1" fmla="*/ 6092 h 129613"/>
                      <a:gd name="connsiteX2" fmla="*/ 103021 w 107219"/>
                      <a:gd name="connsiteY2" fmla="*/ 8041 h 129613"/>
                      <a:gd name="connsiteX3" fmla="*/ 103543 w 107219"/>
                      <a:gd name="connsiteY3" fmla="*/ 10072 h 129613"/>
                      <a:gd name="connsiteX4" fmla="*/ 106946 w 107219"/>
                      <a:gd name="connsiteY4" fmla="*/ 10758 h 129613"/>
                      <a:gd name="connsiteX5" fmla="*/ 107220 w 107219"/>
                      <a:gd name="connsiteY5" fmla="*/ 12789 h 129613"/>
                      <a:gd name="connsiteX6" fmla="*/ 106781 w 107219"/>
                      <a:gd name="connsiteY6" fmla="*/ 17097 h 129613"/>
                      <a:gd name="connsiteX7" fmla="*/ 106589 w 107219"/>
                      <a:gd name="connsiteY7" fmla="*/ 23546 h 129613"/>
                      <a:gd name="connsiteX8" fmla="*/ 103515 w 107219"/>
                      <a:gd name="connsiteY8" fmla="*/ 30517 h 129613"/>
                      <a:gd name="connsiteX9" fmla="*/ 100963 w 107219"/>
                      <a:gd name="connsiteY9" fmla="*/ 40204 h 129613"/>
                      <a:gd name="connsiteX10" fmla="*/ 92236 w 107219"/>
                      <a:gd name="connsiteY10" fmla="*/ 40753 h 129613"/>
                      <a:gd name="connsiteX11" fmla="*/ 91879 w 107219"/>
                      <a:gd name="connsiteY11" fmla="*/ 47586 h 129613"/>
                      <a:gd name="connsiteX12" fmla="*/ 101045 w 107219"/>
                      <a:gd name="connsiteY12" fmla="*/ 49864 h 129613"/>
                      <a:gd name="connsiteX13" fmla="*/ 102719 w 107219"/>
                      <a:gd name="connsiteY13" fmla="*/ 59387 h 129613"/>
                      <a:gd name="connsiteX14" fmla="*/ 93718 w 107219"/>
                      <a:gd name="connsiteY14" fmla="*/ 65259 h 129613"/>
                      <a:gd name="connsiteX15" fmla="*/ 92867 w 107219"/>
                      <a:gd name="connsiteY15" fmla="*/ 68498 h 129613"/>
                      <a:gd name="connsiteX16" fmla="*/ 94267 w 107219"/>
                      <a:gd name="connsiteY16" fmla="*/ 73959 h 129613"/>
                      <a:gd name="connsiteX17" fmla="*/ 83372 w 107219"/>
                      <a:gd name="connsiteY17" fmla="*/ 79145 h 129613"/>
                      <a:gd name="connsiteX18" fmla="*/ 76319 w 107219"/>
                      <a:gd name="connsiteY18" fmla="*/ 75688 h 129613"/>
                      <a:gd name="connsiteX19" fmla="*/ 71544 w 107219"/>
                      <a:gd name="connsiteY19" fmla="*/ 78981 h 129613"/>
                      <a:gd name="connsiteX20" fmla="*/ 70007 w 107219"/>
                      <a:gd name="connsiteY20" fmla="*/ 82960 h 129613"/>
                      <a:gd name="connsiteX21" fmla="*/ 77115 w 107219"/>
                      <a:gd name="connsiteY21" fmla="*/ 93800 h 129613"/>
                      <a:gd name="connsiteX22" fmla="*/ 77966 w 107219"/>
                      <a:gd name="connsiteY22" fmla="*/ 101073 h 129613"/>
                      <a:gd name="connsiteX23" fmla="*/ 73492 w 107219"/>
                      <a:gd name="connsiteY23" fmla="*/ 106808 h 129613"/>
                      <a:gd name="connsiteX24" fmla="*/ 76511 w 107219"/>
                      <a:gd name="connsiteY24" fmla="*/ 109552 h 129613"/>
                      <a:gd name="connsiteX25" fmla="*/ 67757 w 107219"/>
                      <a:gd name="connsiteY25" fmla="*/ 116688 h 129613"/>
                      <a:gd name="connsiteX26" fmla="*/ 73932 w 107219"/>
                      <a:gd name="connsiteY26" fmla="*/ 122231 h 129613"/>
                      <a:gd name="connsiteX27" fmla="*/ 72010 w 107219"/>
                      <a:gd name="connsiteY27" fmla="*/ 129613 h 129613"/>
                      <a:gd name="connsiteX28" fmla="*/ 68223 w 107219"/>
                      <a:gd name="connsiteY28" fmla="*/ 129613 h 129613"/>
                      <a:gd name="connsiteX29" fmla="*/ 64738 w 107219"/>
                      <a:gd name="connsiteY29" fmla="*/ 128680 h 129613"/>
                      <a:gd name="connsiteX30" fmla="*/ 62021 w 107219"/>
                      <a:gd name="connsiteY30" fmla="*/ 129476 h 129613"/>
                      <a:gd name="connsiteX31" fmla="*/ 62213 w 107219"/>
                      <a:gd name="connsiteY31" fmla="*/ 126924 h 129613"/>
                      <a:gd name="connsiteX32" fmla="*/ 61665 w 107219"/>
                      <a:gd name="connsiteY32" fmla="*/ 124042 h 129613"/>
                      <a:gd name="connsiteX33" fmla="*/ 64518 w 107219"/>
                      <a:gd name="connsiteY33" fmla="*/ 117730 h 129613"/>
                      <a:gd name="connsiteX34" fmla="*/ 65452 w 107219"/>
                      <a:gd name="connsiteY34" fmla="*/ 115343 h 129613"/>
                      <a:gd name="connsiteX35" fmla="*/ 65205 w 107219"/>
                      <a:gd name="connsiteY35" fmla="*/ 110568 h 129613"/>
                      <a:gd name="connsiteX36" fmla="*/ 58618 w 107219"/>
                      <a:gd name="connsiteY36" fmla="*/ 107796 h 129613"/>
                      <a:gd name="connsiteX37" fmla="*/ 56670 w 107219"/>
                      <a:gd name="connsiteY37" fmla="*/ 104750 h 129613"/>
                      <a:gd name="connsiteX38" fmla="*/ 48959 w 107219"/>
                      <a:gd name="connsiteY38" fmla="*/ 105875 h 129613"/>
                      <a:gd name="connsiteX39" fmla="*/ 45226 w 107219"/>
                      <a:gd name="connsiteY39" fmla="*/ 101786 h 129613"/>
                      <a:gd name="connsiteX40" fmla="*/ 44952 w 107219"/>
                      <a:gd name="connsiteY40" fmla="*/ 97972 h 129613"/>
                      <a:gd name="connsiteX41" fmla="*/ 43141 w 107219"/>
                      <a:gd name="connsiteY41" fmla="*/ 96188 h 129613"/>
                      <a:gd name="connsiteX42" fmla="*/ 37926 w 107219"/>
                      <a:gd name="connsiteY42" fmla="*/ 97752 h 129613"/>
                      <a:gd name="connsiteX43" fmla="*/ 34880 w 107219"/>
                      <a:gd name="connsiteY43" fmla="*/ 94514 h 129613"/>
                      <a:gd name="connsiteX44" fmla="*/ 32218 w 107219"/>
                      <a:gd name="connsiteY44" fmla="*/ 98109 h 129613"/>
                      <a:gd name="connsiteX45" fmla="*/ 26922 w 107219"/>
                      <a:gd name="connsiteY45" fmla="*/ 96050 h 129613"/>
                      <a:gd name="connsiteX46" fmla="*/ 24562 w 107219"/>
                      <a:gd name="connsiteY46" fmla="*/ 97148 h 129613"/>
                      <a:gd name="connsiteX47" fmla="*/ 24013 w 107219"/>
                      <a:gd name="connsiteY47" fmla="*/ 100935 h 129613"/>
                      <a:gd name="connsiteX48" fmla="*/ 20747 w 107219"/>
                      <a:gd name="connsiteY48" fmla="*/ 100469 h 129613"/>
                      <a:gd name="connsiteX49" fmla="*/ 19677 w 107219"/>
                      <a:gd name="connsiteY49" fmla="*/ 100524 h 129613"/>
                      <a:gd name="connsiteX50" fmla="*/ 5900 w 107219"/>
                      <a:gd name="connsiteY50" fmla="*/ 98410 h 129613"/>
                      <a:gd name="connsiteX51" fmla="*/ 0 w 107219"/>
                      <a:gd name="connsiteY51" fmla="*/ 94678 h 129613"/>
                      <a:gd name="connsiteX52" fmla="*/ 1811 w 107219"/>
                      <a:gd name="connsiteY52" fmla="*/ 91413 h 129613"/>
                      <a:gd name="connsiteX53" fmla="*/ 8370 w 107219"/>
                      <a:gd name="connsiteY53" fmla="*/ 90617 h 129613"/>
                      <a:gd name="connsiteX54" fmla="*/ 7794 w 107219"/>
                      <a:gd name="connsiteY54" fmla="*/ 82411 h 129613"/>
                      <a:gd name="connsiteX55" fmla="*/ 13859 w 107219"/>
                      <a:gd name="connsiteY55" fmla="*/ 77883 h 129613"/>
                      <a:gd name="connsiteX56" fmla="*/ 12487 w 107219"/>
                      <a:gd name="connsiteY56" fmla="*/ 72230 h 129613"/>
                      <a:gd name="connsiteX57" fmla="*/ 16274 w 107219"/>
                      <a:gd name="connsiteY57" fmla="*/ 70885 h 129613"/>
                      <a:gd name="connsiteX58" fmla="*/ 17317 w 107219"/>
                      <a:gd name="connsiteY58" fmla="*/ 69513 h 129613"/>
                      <a:gd name="connsiteX59" fmla="*/ 18332 w 107219"/>
                      <a:gd name="connsiteY59" fmla="*/ 68333 h 129613"/>
                      <a:gd name="connsiteX60" fmla="*/ 23519 w 107219"/>
                      <a:gd name="connsiteY60" fmla="*/ 61966 h 129613"/>
                      <a:gd name="connsiteX61" fmla="*/ 27059 w 107219"/>
                      <a:gd name="connsiteY61" fmla="*/ 55188 h 129613"/>
                      <a:gd name="connsiteX62" fmla="*/ 29007 w 107219"/>
                      <a:gd name="connsiteY62" fmla="*/ 49919 h 129613"/>
                      <a:gd name="connsiteX63" fmla="*/ 30435 w 107219"/>
                      <a:gd name="connsiteY63" fmla="*/ 43333 h 129613"/>
                      <a:gd name="connsiteX64" fmla="*/ 31614 w 107219"/>
                      <a:gd name="connsiteY64" fmla="*/ 34469 h 129613"/>
                      <a:gd name="connsiteX65" fmla="*/ 33974 w 107219"/>
                      <a:gd name="connsiteY65" fmla="*/ 19869 h 129613"/>
                      <a:gd name="connsiteX66" fmla="*/ 36637 w 107219"/>
                      <a:gd name="connsiteY66" fmla="*/ 14874 h 129613"/>
                      <a:gd name="connsiteX67" fmla="*/ 38859 w 107219"/>
                      <a:gd name="connsiteY67" fmla="*/ 17042 h 129613"/>
                      <a:gd name="connsiteX68" fmla="*/ 35813 w 107219"/>
                      <a:gd name="connsiteY68" fmla="*/ 22805 h 129613"/>
                      <a:gd name="connsiteX69" fmla="*/ 37075 w 107219"/>
                      <a:gd name="connsiteY69" fmla="*/ 26977 h 129613"/>
                      <a:gd name="connsiteX70" fmla="*/ 46735 w 107219"/>
                      <a:gd name="connsiteY70" fmla="*/ 22558 h 129613"/>
                      <a:gd name="connsiteX71" fmla="*/ 54008 w 107219"/>
                      <a:gd name="connsiteY71" fmla="*/ 15176 h 129613"/>
                      <a:gd name="connsiteX72" fmla="*/ 54612 w 107219"/>
                      <a:gd name="connsiteY72" fmla="*/ 12734 h 129613"/>
                      <a:gd name="connsiteX73" fmla="*/ 66165 w 107219"/>
                      <a:gd name="connsiteY73" fmla="*/ 4528 h 129613"/>
                      <a:gd name="connsiteX74" fmla="*/ 76950 w 107219"/>
                      <a:gd name="connsiteY74" fmla="*/ 2442 h 129613"/>
                      <a:gd name="connsiteX75" fmla="*/ 80161 w 107219"/>
                      <a:gd name="connsiteY75" fmla="*/ 3046 h 129613"/>
                      <a:gd name="connsiteX76" fmla="*/ 93416 w 107219"/>
                      <a:gd name="connsiteY76" fmla="*/ 0 h 129613"/>
                      <a:gd name="connsiteX77" fmla="*/ 97038 w 107219"/>
                      <a:gd name="connsiteY77" fmla="*/ 2580 h 12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7219" h="129613">
                        <a:moveTo>
                          <a:pt x="97121" y="2662"/>
                        </a:moveTo>
                        <a:lnTo>
                          <a:pt x="98493" y="6092"/>
                        </a:lnTo>
                        <a:lnTo>
                          <a:pt x="103021" y="8041"/>
                        </a:lnTo>
                        <a:lnTo>
                          <a:pt x="103543" y="10072"/>
                        </a:lnTo>
                        <a:lnTo>
                          <a:pt x="106946" y="10758"/>
                        </a:lnTo>
                        <a:lnTo>
                          <a:pt x="107220" y="12789"/>
                        </a:lnTo>
                        <a:lnTo>
                          <a:pt x="106781" y="17097"/>
                        </a:lnTo>
                        <a:lnTo>
                          <a:pt x="106589" y="23546"/>
                        </a:lnTo>
                        <a:lnTo>
                          <a:pt x="103515" y="30517"/>
                        </a:lnTo>
                        <a:lnTo>
                          <a:pt x="100963" y="40204"/>
                        </a:lnTo>
                        <a:lnTo>
                          <a:pt x="92236" y="40753"/>
                        </a:lnTo>
                        <a:lnTo>
                          <a:pt x="91879" y="47586"/>
                        </a:lnTo>
                        <a:lnTo>
                          <a:pt x="101045" y="49864"/>
                        </a:lnTo>
                        <a:lnTo>
                          <a:pt x="102719" y="59387"/>
                        </a:lnTo>
                        <a:lnTo>
                          <a:pt x="93718" y="65259"/>
                        </a:lnTo>
                        <a:lnTo>
                          <a:pt x="92867" y="68498"/>
                        </a:lnTo>
                        <a:lnTo>
                          <a:pt x="94267" y="73959"/>
                        </a:lnTo>
                        <a:lnTo>
                          <a:pt x="83372" y="79145"/>
                        </a:lnTo>
                        <a:lnTo>
                          <a:pt x="76319" y="75688"/>
                        </a:lnTo>
                        <a:lnTo>
                          <a:pt x="71544" y="78981"/>
                        </a:lnTo>
                        <a:lnTo>
                          <a:pt x="70007" y="82960"/>
                        </a:lnTo>
                        <a:lnTo>
                          <a:pt x="77115" y="93800"/>
                        </a:lnTo>
                        <a:lnTo>
                          <a:pt x="77966" y="101073"/>
                        </a:lnTo>
                        <a:lnTo>
                          <a:pt x="73492" y="106808"/>
                        </a:lnTo>
                        <a:lnTo>
                          <a:pt x="76511" y="109552"/>
                        </a:lnTo>
                        <a:lnTo>
                          <a:pt x="67757" y="116688"/>
                        </a:lnTo>
                        <a:lnTo>
                          <a:pt x="73932" y="122231"/>
                        </a:lnTo>
                        <a:lnTo>
                          <a:pt x="72010" y="129613"/>
                        </a:lnTo>
                        <a:lnTo>
                          <a:pt x="68223" y="129613"/>
                        </a:lnTo>
                        <a:cubicBezTo>
                          <a:pt x="68223" y="129613"/>
                          <a:pt x="64738" y="128680"/>
                          <a:pt x="64738" y="128680"/>
                        </a:cubicBezTo>
                        <a:lnTo>
                          <a:pt x="62021" y="129476"/>
                        </a:lnTo>
                        <a:lnTo>
                          <a:pt x="62213" y="126924"/>
                        </a:lnTo>
                        <a:lnTo>
                          <a:pt x="61665" y="124042"/>
                        </a:lnTo>
                        <a:lnTo>
                          <a:pt x="64518" y="117730"/>
                        </a:lnTo>
                        <a:lnTo>
                          <a:pt x="65452" y="115343"/>
                        </a:lnTo>
                        <a:lnTo>
                          <a:pt x="65205" y="110568"/>
                        </a:lnTo>
                        <a:lnTo>
                          <a:pt x="58618" y="107796"/>
                        </a:lnTo>
                        <a:lnTo>
                          <a:pt x="56670" y="104750"/>
                        </a:lnTo>
                        <a:lnTo>
                          <a:pt x="48959" y="105875"/>
                        </a:lnTo>
                        <a:lnTo>
                          <a:pt x="45226" y="101786"/>
                        </a:lnTo>
                        <a:lnTo>
                          <a:pt x="44952" y="97972"/>
                        </a:lnTo>
                        <a:lnTo>
                          <a:pt x="43141" y="96188"/>
                        </a:lnTo>
                        <a:lnTo>
                          <a:pt x="37926" y="97752"/>
                        </a:lnTo>
                        <a:lnTo>
                          <a:pt x="34880" y="94514"/>
                        </a:lnTo>
                        <a:lnTo>
                          <a:pt x="32218" y="98109"/>
                        </a:lnTo>
                        <a:lnTo>
                          <a:pt x="26922" y="96050"/>
                        </a:lnTo>
                        <a:lnTo>
                          <a:pt x="24562" y="97148"/>
                        </a:lnTo>
                        <a:lnTo>
                          <a:pt x="24013" y="100935"/>
                        </a:lnTo>
                        <a:lnTo>
                          <a:pt x="20747" y="100469"/>
                        </a:lnTo>
                        <a:lnTo>
                          <a:pt x="19677" y="100524"/>
                        </a:lnTo>
                        <a:lnTo>
                          <a:pt x="5900" y="98410"/>
                        </a:lnTo>
                        <a:lnTo>
                          <a:pt x="0" y="94678"/>
                        </a:lnTo>
                        <a:lnTo>
                          <a:pt x="1811" y="91413"/>
                        </a:lnTo>
                        <a:lnTo>
                          <a:pt x="8370" y="90617"/>
                        </a:lnTo>
                        <a:lnTo>
                          <a:pt x="7794" y="82411"/>
                        </a:lnTo>
                        <a:lnTo>
                          <a:pt x="13859" y="77883"/>
                        </a:lnTo>
                        <a:lnTo>
                          <a:pt x="12487" y="72230"/>
                        </a:lnTo>
                        <a:lnTo>
                          <a:pt x="16274" y="70885"/>
                        </a:lnTo>
                        <a:lnTo>
                          <a:pt x="17317" y="69513"/>
                        </a:lnTo>
                        <a:lnTo>
                          <a:pt x="18332" y="68333"/>
                        </a:lnTo>
                        <a:lnTo>
                          <a:pt x="23519" y="61966"/>
                        </a:lnTo>
                        <a:lnTo>
                          <a:pt x="27059" y="55188"/>
                        </a:lnTo>
                        <a:lnTo>
                          <a:pt x="29007" y="49919"/>
                        </a:lnTo>
                        <a:lnTo>
                          <a:pt x="30435" y="43333"/>
                        </a:lnTo>
                        <a:lnTo>
                          <a:pt x="31614" y="34469"/>
                        </a:lnTo>
                        <a:lnTo>
                          <a:pt x="33974" y="19869"/>
                        </a:lnTo>
                        <a:lnTo>
                          <a:pt x="36637" y="14874"/>
                        </a:lnTo>
                        <a:lnTo>
                          <a:pt x="38859" y="17042"/>
                        </a:lnTo>
                        <a:lnTo>
                          <a:pt x="35813" y="22805"/>
                        </a:lnTo>
                        <a:lnTo>
                          <a:pt x="37075" y="26977"/>
                        </a:lnTo>
                        <a:lnTo>
                          <a:pt x="46735" y="22558"/>
                        </a:lnTo>
                        <a:lnTo>
                          <a:pt x="54008" y="15176"/>
                        </a:lnTo>
                        <a:lnTo>
                          <a:pt x="54612" y="12734"/>
                        </a:lnTo>
                        <a:lnTo>
                          <a:pt x="66165" y="4528"/>
                        </a:lnTo>
                        <a:lnTo>
                          <a:pt x="76950" y="2442"/>
                        </a:lnTo>
                        <a:lnTo>
                          <a:pt x="80161" y="3046"/>
                        </a:lnTo>
                        <a:lnTo>
                          <a:pt x="93416" y="0"/>
                        </a:lnTo>
                        <a:lnTo>
                          <a:pt x="97038" y="258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52" name="Freeform: Shape 3051">
                    <a:extLst>
                      <a:ext uri="{FF2B5EF4-FFF2-40B4-BE49-F238E27FC236}">
                        <a16:creationId xmlns:a16="http://schemas.microsoft.com/office/drawing/2014/main" id="{FC6FCA25-AC7F-F2A6-52EA-3A053395E923}"/>
                      </a:ext>
                    </a:extLst>
                  </p:cNvPr>
                  <p:cNvSpPr/>
                  <p:nvPr/>
                </p:nvSpPr>
                <p:spPr>
                  <a:xfrm>
                    <a:off x="-6187765" y="3109151"/>
                    <a:ext cx="25549" cy="8946"/>
                  </a:xfrm>
                  <a:custGeom>
                    <a:avLst/>
                    <a:gdLst>
                      <a:gd name="connsiteX0" fmla="*/ 5379 w 25549"/>
                      <a:gd name="connsiteY0" fmla="*/ 27 h 8946"/>
                      <a:gd name="connsiteX1" fmla="*/ 12898 w 25549"/>
                      <a:gd name="connsiteY1" fmla="*/ 2799 h 8946"/>
                      <a:gd name="connsiteX2" fmla="*/ 18002 w 25549"/>
                      <a:gd name="connsiteY2" fmla="*/ 659 h 8946"/>
                      <a:gd name="connsiteX3" fmla="*/ 25549 w 25549"/>
                      <a:gd name="connsiteY3" fmla="*/ 2525 h 8946"/>
                      <a:gd name="connsiteX4" fmla="*/ 17975 w 25549"/>
                      <a:gd name="connsiteY4" fmla="*/ 8315 h 8946"/>
                      <a:gd name="connsiteX5" fmla="*/ 14408 w 25549"/>
                      <a:gd name="connsiteY5" fmla="*/ 8946 h 8946"/>
                      <a:gd name="connsiteX6" fmla="*/ 11306 w 25549"/>
                      <a:gd name="connsiteY6" fmla="*/ 6339 h 8946"/>
                      <a:gd name="connsiteX7" fmla="*/ 5406 w 25549"/>
                      <a:gd name="connsiteY7" fmla="*/ 5214 h 8946"/>
                      <a:gd name="connsiteX8" fmla="*/ 439 w 25549"/>
                      <a:gd name="connsiteY8" fmla="*/ 5983 h 8946"/>
                      <a:gd name="connsiteX9" fmla="*/ 0 w 25549"/>
                      <a:gd name="connsiteY9" fmla="*/ 1482 h 8946"/>
                      <a:gd name="connsiteX10" fmla="*/ 5406 w 25549"/>
                      <a:gd name="connsiteY10" fmla="*/ 0 h 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49" h="8946">
                        <a:moveTo>
                          <a:pt x="5379" y="27"/>
                        </a:moveTo>
                        <a:lnTo>
                          <a:pt x="12898" y="2799"/>
                        </a:lnTo>
                        <a:lnTo>
                          <a:pt x="18002" y="659"/>
                        </a:lnTo>
                        <a:lnTo>
                          <a:pt x="25549" y="2525"/>
                        </a:lnTo>
                        <a:lnTo>
                          <a:pt x="17975" y="8315"/>
                        </a:lnTo>
                        <a:lnTo>
                          <a:pt x="14408" y="8946"/>
                        </a:lnTo>
                        <a:lnTo>
                          <a:pt x="11306" y="6339"/>
                        </a:lnTo>
                        <a:lnTo>
                          <a:pt x="5406" y="5214"/>
                        </a:lnTo>
                        <a:lnTo>
                          <a:pt x="439" y="5983"/>
                        </a:lnTo>
                        <a:lnTo>
                          <a:pt x="0" y="1482"/>
                        </a:lnTo>
                        <a:lnTo>
                          <a:pt x="5406"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53" name="Freeform: Shape 3052">
                    <a:extLst>
                      <a:ext uri="{FF2B5EF4-FFF2-40B4-BE49-F238E27FC236}">
                        <a16:creationId xmlns:a16="http://schemas.microsoft.com/office/drawing/2014/main" id="{132DF82E-4EF9-71E8-6542-457F34622CDA}"/>
                      </a:ext>
                    </a:extLst>
                  </p:cNvPr>
                  <p:cNvSpPr/>
                  <p:nvPr/>
                </p:nvSpPr>
                <p:spPr>
                  <a:xfrm>
                    <a:off x="-6135596" y="3011674"/>
                    <a:ext cx="5351" cy="4500"/>
                  </a:xfrm>
                  <a:custGeom>
                    <a:avLst/>
                    <a:gdLst>
                      <a:gd name="connsiteX0" fmla="*/ 2415 w 5351"/>
                      <a:gd name="connsiteY0" fmla="*/ 27 h 4500"/>
                      <a:gd name="connsiteX1" fmla="*/ 3458 w 5351"/>
                      <a:gd name="connsiteY1" fmla="*/ 1399 h 4500"/>
                      <a:gd name="connsiteX2" fmla="*/ 3458 w 5351"/>
                      <a:gd name="connsiteY2" fmla="*/ 933 h 4500"/>
                      <a:gd name="connsiteX3" fmla="*/ 4007 w 5351"/>
                      <a:gd name="connsiteY3" fmla="*/ 933 h 4500"/>
                      <a:gd name="connsiteX4" fmla="*/ 4803 w 5351"/>
                      <a:gd name="connsiteY4" fmla="*/ 466 h 4500"/>
                      <a:gd name="connsiteX5" fmla="*/ 5077 w 5351"/>
                      <a:gd name="connsiteY5" fmla="*/ 466 h 4500"/>
                      <a:gd name="connsiteX6" fmla="*/ 5077 w 5351"/>
                      <a:gd name="connsiteY6" fmla="*/ 933 h 4500"/>
                      <a:gd name="connsiteX7" fmla="*/ 5351 w 5351"/>
                      <a:gd name="connsiteY7" fmla="*/ 933 h 4500"/>
                      <a:gd name="connsiteX8" fmla="*/ 5351 w 5351"/>
                      <a:gd name="connsiteY8" fmla="*/ 1811 h 4500"/>
                      <a:gd name="connsiteX9" fmla="*/ 5077 w 5351"/>
                      <a:gd name="connsiteY9" fmla="*/ 2278 h 4500"/>
                      <a:gd name="connsiteX10" fmla="*/ 4803 w 5351"/>
                      <a:gd name="connsiteY10" fmla="*/ 2278 h 4500"/>
                      <a:gd name="connsiteX11" fmla="*/ 4528 w 5351"/>
                      <a:gd name="connsiteY11" fmla="*/ 2744 h 4500"/>
                      <a:gd name="connsiteX12" fmla="*/ 3979 w 5351"/>
                      <a:gd name="connsiteY12" fmla="*/ 2744 h 4500"/>
                      <a:gd name="connsiteX13" fmla="*/ 3979 w 5351"/>
                      <a:gd name="connsiteY13" fmla="*/ 2278 h 4500"/>
                      <a:gd name="connsiteX14" fmla="*/ 3705 w 5351"/>
                      <a:gd name="connsiteY14" fmla="*/ 2278 h 4500"/>
                      <a:gd name="connsiteX15" fmla="*/ 3430 w 5351"/>
                      <a:gd name="connsiteY15" fmla="*/ 1811 h 4500"/>
                      <a:gd name="connsiteX16" fmla="*/ 3430 w 5351"/>
                      <a:gd name="connsiteY16" fmla="*/ 2278 h 4500"/>
                      <a:gd name="connsiteX17" fmla="*/ 2662 w 5351"/>
                      <a:gd name="connsiteY17" fmla="*/ 4500 h 4500"/>
                      <a:gd name="connsiteX18" fmla="*/ 796 w 5351"/>
                      <a:gd name="connsiteY18" fmla="*/ 4500 h 4500"/>
                      <a:gd name="connsiteX19" fmla="*/ 0 w 5351"/>
                      <a:gd name="connsiteY19" fmla="*/ 2717 h 4500"/>
                      <a:gd name="connsiteX20" fmla="*/ 549 w 5351"/>
                      <a:gd name="connsiteY20" fmla="*/ 1372 h 4500"/>
                      <a:gd name="connsiteX21" fmla="*/ 1619 w 5351"/>
                      <a:gd name="connsiteY21" fmla="*/ 0 h 4500"/>
                      <a:gd name="connsiteX22" fmla="*/ 2415 w 5351"/>
                      <a:gd name="connsiteY22" fmla="*/ 0 h 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351" h="4500">
                        <a:moveTo>
                          <a:pt x="2415" y="27"/>
                        </a:moveTo>
                        <a:lnTo>
                          <a:pt x="3458" y="1399"/>
                        </a:lnTo>
                        <a:lnTo>
                          <a:pt x="3458" y="933"/>
                        </a:lnTo>
                        <a:lnTo>
                          <a:pt x="4007" y="933"/>
                        </a:lnTo>
                        <a:lnTo>
                          <a:pt x="4803" y="466"/>
                        </a:lnTo>
                        <a:lnTo>
                          <a:pt x="5077" y="466"/>
                        </a:lnTo>
                        <a:lnTo>
                          <a:pt x="5077" y="933"/>
                        </a:lnTo>
                        <a:lnTo>
                          <a:pt x="5351" y="933"/>
                        </a:lnTo>
                        <a:lnTo>
                          <a:pt x="5351" y="1811"/>
                        </a:lnTo>
                        <a:lnTo>
                          <a:pt x="5077" y="2278"/>
                        </a:lnTo>
                        <a:lnTo>
                          <a:pt x="4803" y="2278"/>
                        </a:lnTo>
                        <a:lnTo>
                          <a:pt x="4528" y="2744"/>
                        </a:lnTo>
                        <a:lnTo>
                          <a:pt x="3979" y="2744"/>
                        </a:lnTo>
                        <a:lnTo>
                          <a:pt x="3979" y="2278"/>
                        </a:lnTo>
                        <a:lnTo>
                          <a:pt x="3705" y="2278"/>
                        </a:lnTo>
                        <a:lnTo>
                          <a:pt x="3430" y="1811"/>
                        </a:lnTo>
                        <a:lnTo>
                          <a:pt x="3430" y="2278"/>
                        </a:lnTo>
                        <a:lnTo>
                          <a:pt x="2662" y="4500"/>
                        </a:lnTo>
                        <a:lnTo>
                          <a:pt x="796" y="4500"/>
                        </a:lnTo>
                        <a:lnTo>
                          <a:pt x="0" y="2717"/>
                        </a:lnTo>
                        <a:lnTo>
                          <a:pt x="549" y="1372"/>
                        </a:lnTo>
                        <a:lnTo>
                          <a:pt x="1619" y="0"/>
                        </a:lnTo>
                        <a:lnTo>
                          <a:pt x="2415"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54" name="Freeform: Shape 3053">
                    <a:extLst>
                      <a:ext uri="{FF2B5EF4-FFF2-40B4-BE49-F238E27FC236}">
                        <a16:creationId xmlns:a16="http://schemas.microsoft.com/office/drawing/2014/main" id="{5CA0E817-1839-BDD2-B2CC-2B5CF62207C7}"/>
                      </a:ext>
                    </a:extLst>
                  </p:cNvPr>
                  <p:cNvSpPr/>
                  <p:nvPr/>
                </p:nvSpPr>
                <p:spPr>
                  <a:xfrm>
                    <a:off x="-6123191" y="3007969"/>
                    <a:ext cx="4884" cy="4720"/>
                  </a:xfrm>
                  <a:custGeom>
                    <a:avLst/>
                    <a:gdLst>
                      <a:gd name="connsiteX0" fmla="*/ 4885 w 4884"/>
                      <a:gd name="connsiteY0" fmla="*/ 2882 h 4720"/>
                      <a:gd name="connsiteX1" fmla="*/ 2086 w 4884"/>
                      <a:gd name="connsiteY1" fmla="*/ 4720 h 4720"/>
                      <a:gd name="connsiteX2" fmla="*/ 0 w 4884"/>
                      <a:gd name="connsiteY2" fmla="*/ 2360 h 4720"/>
                      <a:gd name="connsiteX3" fmla="*/ 2744 w 4884"/>
                      <a:gd name="connsiteY3" fmla="*/ 0 h 4720"/>
                      <a:gd name="connsiteX4" fmla="*/ 4885 w 4884"/>
                      <a:gd name="connsiteY4" fmla="*/ 2882 h 4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4" h="4720">
                        <a:moveTo>
                          <a:pt x="4885" y="2882"/>
                        </a:moveTo>
                        <a:lnTo>
                          <a:pt x="2086" y="4720"/>
                        </a:lnTo>
                        <a:lnTo>
                          <a:pt x="0" y="2360"/>
                        </a:lnTo>
                        <a:lnTo>
                          <a:pt x="2744" y="0"/>
                        </a:lnTo>
                        <a:lnTo>
                          <a:pt x="4885" y="288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55" name="Freeform: Shape 3054">
                    <a:extLst>
                      <a:ext uri="{FF2B5EF4-FFF2-40B4-BE49-F238E27FC236}">
                        <a16:creationId xmlns:a16="http://schemas.microsoft.com/office/drawing/2014/main" id="{FC9F35F9-CFD5-BC09-AE6E-88471DD0F334}"/>
                      </a:ext>
                    </a:extLst>
                  </p:cNvPr>
                  <p:cNvSpPr/>
                  <p:nvPr/>
                </p:nvSpPr>
                <p:spPr>
                  <a:xfrm>
                    <a:off x="-6094294" y="3004649"/>
                    <a:ext cx="4034" cy="3677"/>
                  </a:xfrm>
                  <a:custGeom>
                    <a:avLst/>
                    <a:gdLst>
                      <a:gd name="connsiteX0" fmla="*/ 4034 w 4034"/>
                      <a:gd name="connsiteY0" fmla="*/ 1482 h 3677"/>
                      <a:gd name="connsiteX1" fmla="*/ 2223 w 4034"/>
                      <a:gd name="connsiteY1" fmla="*/ 3677 h 3677"/>
                      <a:gd name="connsiteX2" fmla="*/ 0 w 4034"/>
                      <a:gd name="connsiteY2" fmla="*/ 1701 h 3677"/>
                      <a:gd name="connsiteX3" fmla="*/ 2168 w 4034"/>
                      <a:gd name="connsiteY3" fmla="*/ 0 h 3677"/>
                      <a:gd name="connsiteX4" fmla="*/ 4034 w 4034"/>
                      <a:gd name="connsiteY4" fmla="*/ 1482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 h="3677">
                        <a:moveTo>
                          <a:pt x="4034" y="1482"/>
                        </a:moveTo>
                        <a:lnTo>
                          <a:pt x="2223" y="3677"/>
                        </a:lnTo>
                        <a:lnTo>
                          <a:pt x="0" y="1701"/>
                        </a:lnTo>
                        <a:lnTo>
                          <a:pt x="2168" y="0"/>
                        </a:lnTo>
                        <a:lnTo>
                          <a:pt x="4034" y="148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56" name="Freeform: Shape 3055">
                    <a:extLst>
                      <a:ext uri="{FF2B5EF4-FFF2-40B4-BE49-F238E27FC236}">
                        <a16:creationId xmlns:a16="http://schemas.microsoft.com/office/drawing/2014/main" id="{A0141561-4EEE-2991-D9A7-4C8A6C79FA05}"/>
                      </a:ext>
                    </a:extLst>
                  </p:cNvPr>
                  <p:cNvSpPr/>
                  <p:nvPr/>
                </p:nvSpPr>
                <p:spPr>
                  <a:xfrm>
                    <a:off x="-6565764" y="3507816"/>
                    <a:ext cx="96462" cy="197809"/>
                  </a:xfrm>
                  <a:custGeom>
                    <a:avLst/>
                    <a:gdLst>
                      <a:gd name="connsiteX0" fmla="*/ 37926 w 96462"/>
                      <a:gd name="connsiteY0" fmla="*/ 8974 h 197809"/>
                      <a:gd name="connsiteX1" fmla="*/ 38832 w 96462"/>
                      <a:gd name="connsiteY1" fmla="*/ 13228 h 197809"/>
                      <a:gd name="connsiteX2" fmla="*/ 42152 w 96462"/>
                      <a:gd name="connsiteY2" fmla="*/ 13118 h 197809"/>
                      <a:gd name="connsiteX3" fmla="*/ 51483 w 96462"/>
                      <a:gd name="connsiteY3" fmla="*/ 9934 h 197809"/>
                      <a:gd name="connsiteX4" fmla="*/ 60841 w 96462"/>
                      <a:gd name="connsiteY4" fmla="*/ 12871 h 197809"/>
                      <a:gd name="connsiteX5" fmla="*/ 67180 w 96462"/>
                      <a:gd name="connsiteY5" fmla="*/ 10813 h 197809"/>
                      <a:gd name="connsiteX6" fmla="*/ 68388 w 96462"/>
                      <a:gd name="connsiteY6" fmla="*/ 7135 h 197809"/>
                      <a:gd name="connsiteX7" fmla="*/ 73492 w 96462"/>
                      <a:gd name="connsiteY7" fmla="*/ 7190 h 197809"/>
                      <a:gd name="connsiteX8" fmla="*/ 84744 w 96462"/>
                      <a:gd name="connsiteY8" fmla="*/ 8782 h 197809"/>
                      <a:gd name="connsiteX9" fmla="*/ 87241 w 96462"/>
                      <a:gd name="connsiteY9" fmla="*/ 17673 h 197809"/>
                      <a:gd name="connsiteX10" fmla="*/ 93416 w 96462"/>
                      <a:gd name="connsiteY10" fmla="*/ 19622 h 197809"/>
                      <a:gd name="connsiteX11" fmla="*/ 96462 w 96462"/>
                      <a:gd name="connsiteY11" fmla="*/ 23299 h 197809"/>
                      <a:gd name="connsiteX12" fmla="*/ 92373 w 96462"/>
                      <a:gd name="connsiteY12" fmla="*/ 30462 h 197809"/>
                      <a:gd name="connsiteX13" fmla="*/ 90287 w 96462"/>
                      <a:gd name="connsiteY13" fmla="*/ 31861 h 197809"/>
                      <a:gd name="connsiteX14" fmla="*/ 89437 w 96462"/>
                      <a:gd name="connsiteY14" fmla="*/ 33508 h 197809"/>
                      <a:gd name="connsiteX15" fmla="*/ 88421 w 96462"/>
                      <a:gd name="connsiteY15" fmla="*/ 33865 h 197809"/>
                      <a:gd name="connsiteX16" fmla="*/ 82247 w 96462"/>
                      <a:gd name="connsiteY16" fmla="*/ 37350 h 197809"/>
                      <a:gd name="connsiteX17" fmla="*/ 78734 w 96462"/>
                      <a:gd name="connsiteY17" fmla="*/ 43195 h 197809"/>
                      <a:gd name="connsiteX18" fmla="*/ 75166 w 96462"/>
                      <a:gd name="connsiteY18" fmla="*/ 44183 h 197809"/>
                      <a:gd name="connsiteX19" fmla="*/ 78624 w 96462"/>
                      <a:gd name="connsiteY19" fmla="*/ 51785 h 197809"/>
                      <a:gd name="connsiteX20" fmla="*/ 78981 w 96462"/>
                      <a:gd name="connsiteY20" fmla="*/ 70117 h 197809"/>
                      <a:gd name="connsiteX21" fmla="*/ 77087 w 96462"/>
                      <a:gd name="connsiteY21" fmla="*/ 73602 h 197809"/>
                      <a:gd name="connsiteX22" fmla="*/ 74563 w 96462"/>
                      <a:gd name="connsiteY22" fmla="*/ 74124 h 197809"/>
                      <a:gd name="connsiteX23" fmla="*/ 72971 w 96462"/>
                      <a:gd name="connsiteY23" fmla="*/ 77883 h 197809"/>
                      <a:gd name="connsiteX24" fmla="*/ 76703 w 96462"/>
                      <a:gd name="connsiteY24" fmla="*/ 84991 h 197809"/>
                      <a:gd name="connsiteX25" fmla="*/ 72422 w 96462"/>
                      <a:gd name="connsiteY25" fmla="*/ 96050 h 197809"/>
                      <a:gd name="connsiteX26" fmla="*/ 57136 w 96462"/>
                      <a:gd name="connsiteY26" fmla="*/ 96929 h 197809"/>
                      <a:gd name="connsiteX27" fmla="*/ 63860 w 96462"/>
                      <a:gd name="connsiteY27" fmla="*/ 104832 h 197809"/>
                      <a:gd name="connsiteX28" fmla="*/ 66302 w 96462"/>
                      <a:gd name="connsiteY28" fmla="*/ 111583 h 197809"/>
                      <a:gd name="connsiteX29" fmla="*/ 69376 w 96462"/>
                      <a:gd name="connsiteY29" fmla="*/ 117484 h 197809"/>
                      <a:gd name="connsiteX30" fmla="*/ 74041 w 96462"/>
                      <a:gd name="connsiteY30" fmla="*/ 120914 h 197809"/>
                      <a:gd name="connsiteX31" fmla="*/ 71077 w 96462"/>
                      <a:gd name="connsiteY31" fmla="*/ 127939 h 197809"/>
                      <a:gd name="connsiteX32" fmla="*/ 67098 w 96462"/>
                      <a:gd name="connsiteY32" fmla="*/ 131534 h 197809"/>
                      <a:gd name="connsiteX33" fmla="*/ 64024 w 96462"/>
                      <a:gd name="connsiteY33" fmla="*/ 142539 h 197809"/>
                      <a:gd name="connsiteX34" fmla="*/ 69897 w 96462"/>
                      <a:gd name="connsiteY34" fmla="*/ 152665 h 197809"/>
                      <a:gd name="connsiteX35" fmla="*/ 75084 w 96462"/>
                      <a:gd name="connsiteY35" fmla="*/ 151924 h 197809"/>
                      <a:gd name="connsiteX36" fmla="*/ 72724 w 96462"/>
                      <a:gd name="connsiteY36" fmla="*/ 158236 h 197809"/>
                      <a:gd name="connsiteX37" fmla="*/ 66138 w 96462"/>
                      <a:gd name="connsiteY37" fmla="*/ 161063 h 197809"/>
                      <a:gd name="connsiteX38" fmla="*/ 58014 w 96462"/>
                      <a:gd name="connsiteY38" fmla="*/ 177364 h 197809"/>
                      <a:gd name="connsiteX39" fmla="*/ 61253 w 96462"/>
                      <a:gd name="connsiteY39" fmla="*/ 190344 h 197809"/>
                      <a:gd name="connsiteX40" fmla="*/ 46982 w 96462"/>
                      <a:gd name="connsiteY40" fmla="*/ 197809 h 197809"/>
                      <a:gd name="connsiteX41" fmla="*/ 38557 w 96462"/>
                      <a:gd name="connsiteY41" fmla="*/ 193857 h 197809"/>
                      <a:gd name="connsiteX42" fmla="*/ 26647 w 96462"/>
                      <a:gd name="connsiteY42" fmla="*/ 192622 h 197809"/>
                      <a:gd name="connsiteX43" fmla="*/ 15505 w 96462"/>
                      <a:gd name="connsiteY43" fmla="*/ 196080 h 197809"/>
                      <a:gd name="connsiteX44" fmla="*/ 16905 w 96462"/>
                      <a:gd name="connsiteY44" fmla="*/ 189796 h 197809"/>
                      <a:gd name="connsiteX45" fmla="*/ 20253 w 96462"/>
                      <a:gd name="connsiteY45" fmla="*/ 180438 h 197809"/>
                      <a:gd name="connsiteX46" fmla="*/ 20198 w 96462"/>
                      <a:gd name="connsiteY46" fmla="*/ 164987 h 197809"/>
                      <a:gd name="connsiteX47" fmla="*/ 18250 w 96462"/>
                      <a:gd name="connsiteY47" fmla="*/ 160596 h 197809"/>
                      <a:gd name="connsiteX48" fmla="*/ 22091 w 96462"/>
                      <a:gd name="connsiteY48" fmla="*/ 140426 h 197809"/>
                      <a:gd name="connsiteX49" fmla="*/ 9001 w 96462"/>
                      <a:gd name="connsiteY49" fmla="*/ 143499 h 197809"/>
                      <a:gd name="connsiteX50" fmla="*/ 7053 w 96462"/>
                      <a:gd name="connsiteY50" fmla="*/ 135870 h 197809"/>
                      <a:gd name="connsiteX51" fmla="*/ 0 w 96462"/>
                      <a:gd name="connsiteY51" fmla="*/ 131891 h 197809"/>
                      <a:gd name="connsiteX52" fmla="*/ 2058 w 96462"/>
                      <a:gd name="connsiteY52" fmla="*/ 120090 h 197809"/>
                      <a:gd name="connsiteX53" fmla="*/ 4253 w 96462"/>
                      <a:gd name="connsiteY53" fmla="*/ 108949 h 197809"/>
                      <a:gd name="connsiteX54" fmla="*/ 10181 w 96462"/>
                      <a:gd name="connsiteY54" fmla="*/ 102225 h 197809"/>
                      <a:gd name="connsiteX55" fmla="*/ 13118 w 96462"/>
                      <a:gd name="connsiteY55" fmla="*/ 93965 h 197809"/>
                      <a:gd name="connsiteX56" fmla="*/ 17399 w 96462"/>
                      <a:gd name="connsiteY56" fmla="*/ 82329 h 197809"/>
                      <a:gd name="connsiteX57" fmla="*/ 20665 w 96462"/>
                      <a:gd name="connsiteY57" fmla="*/ 64025 h 197809"/>
                      <a:gd name="connsiteX58" fmla="*/ 23518 w 96462"/>
                      <a:gd name="connsiteY58" fmla="*/ 57383 h 197809"/>
                      <a:gd name="connsiteX59" fmla="*/ 24506 w 96462"/>
                      <a:gd name="connsiteY59" fmla="*/ 46763 h 197809"/>
                      <a:gd name="connsiteX60" fmla="*/ 20884 w 96462"/>
                      <a:gd name="connsiteY60" fmla="*/ 26949 h 197809"/>
                      <a:gd name="connsiteX61" fmla="*/ 20225 w 96462"/>
                      <a:gd name="connsiteY61" fmla="*/ 23354 h 197809"/>
                      <a:gd name="connsiteX62" fmla="*/ 19869 w 96462"/>
                      <a:gd name="connsiteY62" fmla="*/ 21461 h 197809"/>
                      <a:gd name="connsiteX63" fmla="*/ 18332 w 96462"/>
                      <a:gd name="connsiteY63" fmla="*/ 11197 h 197809"/>
                      <a:gd name="connsiteX64" fmla="*/ 25824 w 96462"/>
                      <a:gd name="connsiteY64" fmla="*/ 4089 h 197809"/>
                      <a:gd name="connsiteX65" fmla="*/ 37871 w 96462"/>
                      <a:gd name="connsiteY65" fmla="*/ 0 h 197809"/>
                      <a:gd name="connsiteX66" fmla="*/ 40643 w 96462"/>
                      <a:gd name="connsiteY66" fmla="*/ 4638 h 197809"/>
                      <a:gd name="connsiteX67" fmla="*/ 37954 w 96462"/>
                      <a:gd name="connsiteY67" fmla="*/ 9056 h 19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96462" h="197809">
                        <a:moveTo>
                          <a:pt x="37926" y="8974"/>
                        </a:moveTo>
                        <a:lnTo>
                          <a:pt x="38832" y="13228"/>
                        </a:lnTo>
                        <a:lnTo>
                          <a:pt x="42152" y="13118"/>
                        </a:lnTo>
                        <a:lnTo>
                          <a:pt x="51483" y="9934"/>
                        </a:lnTo>
                        <a:lnTo>
                          <a:pt x="60841" y="12871"/>
                        </a:lnTo>
                        <a:lnTo>
                          <a:pt x="67180" y="10813"/>
                        </a:lnTo>
                        <a:lnTo>
                          <a:pt x="68388" y="7135"/>
                        </a:lnTo>
                        <a:lnTo>
                          <a:pt x="73492" y="7190"/>
                        </a:lnTo>
                        <a:lnTo>
                          <a:pt x="84744" y="8782"/>
                        </a:lnTo>
                        <a:lnTo>
                          <a:pt x="87241" y="17673"/>
                        </a:lnTo>
                        <a:lnTo>
                          <a:pt x="93416" y="19622"/>
                        </a:lnTo>
                        <a:lnTo>
                          <a:pt x="96462" y="23299"/>
                        </a:lnTo>
                        <a:lnTo>
                          <a:pt x="92373" y="30462"/>
                        </a:lnTo>
                        <a:lnTo>
                          <a:pt x="90287" y="31861"/>
                        </a:lnTo>
                        <a:lnTo>
                          <a:pt x="89437" y="33508"/>
                        </a:lnTo>
                        <a:lnTo>
                          <a:pt x="88421" y="33865"/>
                        </a:lnTo>
                        <a:lnTo>
                          <a:pt x="82247" y="37350"/>
                        </a:lnTo>
                        <a:lnTo>
                          <a:pt x="78734" y="43195"/>
                        </a:lnTo>
                        <a:lnTo>
                          <a:pt x="75166" y="44183"/>
                        </a:lnTo>
                        <a:lnTo>
                          <a:pt x="78624" y="51785"/>
                        </a:lnTo>
                        <a:lnTo>
                          <a:pt x="78981" y="70117"/>
                        </a:lnTo>
                        <a:lnTo>
                          <a:pt x="77087" y="73602"/>
                        </a:lnTo>
                        <a:lnTo>
                          <a:pt x="74563" y="74124"/>
                        </a:lnTo>
                        <a:lnTo>
                          <a:pt x="72971" y="77883"/>
                        </a:lnTo>
                        <a:lnTo>
                          <a:pt x="76703" y="84991"/>
                        </a:lnTo>
                        <a:lnTo>
                          <a:pt x="72422" y="96050"/>
                        </a:lnTo>
                        <a:lnTo>
                          <a:pt x="57136" y="96929"/>
                        </a:lnTo>
                        <a:lnTo>
                          <a:pt x="63860" y="104832"/>
                        </a:lnTo>
                        <a:lnTo>
                          <a:pt x="66302" y="111583"/>
                        </a:lnTo>
                        <a:lnTo>
                          <a:pt x="69376" y="117484"/>
                        </a:lnTo>
                        <a:lnTo>
                          <a:pt x="74041" y="120914"/>
                        </a:lnTo>
                        <a:lnTo>
                          <a:pt x="71077" y="127939"/>
                        </a:lnTo>
                        <a:lnTo>
                          <a:pt x="67098" y="131534"/>
                        </a:lnTo>
                        <a:lnTo>
                          <a:pt x="64024" y="142539"/>
                        </a:lnTo>
                        <a:lnTo>
                          <a:pt x="69897" y="152665"/>
                        </a:lnTo>
                        <a:lnTo>
                          <a:pt x="75084" y="151924"/>
                        </a:lnTo>
                        <a:lnTo>
                          <a:pt x="72724" y="158236"/>
                        </a:lnTo>
                        <a:lnTo>
                          <a:pt x="66138" y="161063"/>
                        </a:lnTo>
                        <a:lnTo>
                          <a:pt x="58014" y="177364"/>
                        </a:lnTo>
                        <a:lnTo>
                          <a:pt x="61253" y="190344"/>
                        </a:lnTo>
                        <a:lnTo>
                          <a:pt x="46982" y="197809"/>
                        </a:lnTo>
                        <a:lnTo>
                          <a:pt x="38557" y="193857"/>
                        </a:lnTo>
                        <a:lnTo>
                          <a:pt x="26647" y="192622"/>
                        </a:lnTo>
                        <a:lnTo>
                          <a:pt x="15505" y="196080"/>
                        </a:lnTo>
                        <a:lnTo>
                          <a:pt x="16905" y="189796"/>
                        </a:lnTo>
                        <a:lnTo>
                          <a:pt x="20253" y="180438"/>
                        </a:lnTo>
                        <a:lnTo>
                          <a:pt x="20198" y="164987"/>
                        </a:lnTo>
                        <a:lnTo>
                          <a:pt x="18250" y="160596"/>
                        </a:lnTo>
                        <a:lnTo>
                          <a:pt x="22091" y="140426"/>
                        </a:lnTo>
                        <a:lnTo>
                          <a:pt x="9001" y="143499"/>
                        </a:lnTo>
                        <a:lnTo>
                          <a:pt x="7053" y="135870"/>
                        </a:lnTo>
                        <a:lnTo>
                          <a:pt x="0" y="131891"/>
                        </a:lnTo>
                        <a:lnTo>
                          <a:pt x="2058" y="120090"/>
                        </a:lnTo>
                        <a:lnTo>
                          <a:pt x="4253" y="108949"/>
                        </a:lnTo>
                        <a:lnTo>
                          <a:pt x="10181" y="102225"/>
                        </a:lnTo>
                        <a:lnTo>
                          <a:pt x="13118" y="93965"/>
                        </a:lnTo>
                        <a:lnTo>
                          <a:pt x="17399" y="82329"/>
                        </a:lnTo>
                        <a:lnTo>
                          <a:pt x="20665" y="64025"/>
                        </a:lnTo>
                        <a:lnTo>
                          <a:pt x="23518" y="57383"/>
                        </a:lnTo>
                        <a:lnTo>
                          <a:pt x="24506" y="46763"/>
                        </a:lnTo>
                        <a:lnTo>
                          <a:pt x="20884" y="26949"/>
                        </a:lnTo>
                        <a:lnTo>
                          <a:pt x="20225" y="23354"/>
                        </a:lnTo>
                        <a:lnTo>
                          <a:pt x="19869" y="21461"/>
                        </a:lnTo>
                        <a:lnTo>
                          <a:pt x="18332" y="11197"/>
                        </a:lnTo>
                        <a:lnTo>
                          <a:pt x="25824" y="4089"/>
                        </a:lnTo>
                        <a:lnTo>
                          <a:pt x="37871" y="0"/>
                        </a:lnTo>
                        <a:lnTo>
                          <a:pt x="40643" y="4638"/>
                        </a:lnTo>
                        <a:lnTo>
                          <a:pt x="37954" y="905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57" name="Freeform: Shape 3056">
                    <a:extLst>
                      <a:ext uri="{FF2B5EF4-FFF2-40B4-BE49-F238E27FC236}">
                        <a16:creationId xmlns:a16="http://schemas.microsoft.com/office/drawing/2014/main" id="{A7A920C0-3F54-18CF-9E48-38648CBE99F6}"/>
                      </a:ext>
                    </a:extLst>
                  </p:cNvPr>
                  <p:cNvSpPr/>
                  <p:nvPr/>
                </p:nvSpPr>
                <p:spPr>
                  <a:xfrm>
                    <a:off x="-5690745" y="3252377"/>
                    <a:ext cx="276871" cy="195558"/>
                  </a:xfrm>
                  <a:custGeom>
                    <a:avLst/>
                    <a:gdLst>
                      <a:gd name="connsiteX0" fmla="*/ 203023 w 276871"/>
                      <a:gd name="connsiteY0" fmla="*/ 13749 h 195558"/>
                      <a:gd name="connsiteX1" fmla="*/ 207359 w 276871"/>
                      <a:gd name="connsiteY1" fmla="*/ 27196 h 195558"/>
                      <a:gd name="connsiteX2" fmla="*/ 209555 w 276871"/>
                      <a:gd name="connsiteY2" fmla="*/ 29529 h 195558"/>
                      <a:gd name="connsiteX3" fmla="*/ 222974 w 276871"/>
                      <a:gd name="connsiteY3" fmla="*/ 50028 h 195558"/>
                      <a:gd name="connsiteX4" fmla="*/ 229753 w 276871"/>
                      <a:gd name="connsiteY4" fmla="*/ 56093 h 195558"/>
                      <a:gd name="connsiteX5" fmla="*/ 230796 w 276871"/>
                      <a:gd name="connsiteY5" fmla="*/ 62021 h 195558"/>
                      <a:gd name="connsiteX6" fmla="*/ 234500 w 276871"/>
                      <a:gd name="connsiteY6" fmla="*/ 71544 h 195558"/>
                      <a:gd name="connsiteX7" fmla="*/ 234555 w 276871"/>
                      <a:gd name="connsiteY7" fmla="*/ 79612 h 195558"/>
                      <a:gd name="connsiteX8" fmla="*/ 231673 w 276871"/>
                      <a:gd name="connsiteY8" fmla="*/ 86939 h 195558"/>
                      <a:gd name="connsiteX9" fmla="*/ 230851 w 276871"/>
                      <a:gd name="connsiteY9" fmla="*/ 93224 h 195558"/>
                      <a:gd name="connsiteX10" fmla="*/ 232305 w 276871"/>
                      <a:gd name="connsiteY10" fmla="*/ 111007 h 195558"/>
                      <a:gd name="connsiteX11" fmla="*/ 230741 w 276871"/>
                      <a:gd name="connsiteY11" fmla="*/ 114794 h 195558"/>
                      <a:gd name="connsiteX12" fmla="*/ 233677 w 276871"/>
                      <a:gd name="connsiteY12" fmla="*/ 120228 h 195558"/>
                      <a:gd name="connsiteX13" fmla="*/ 239495 w 276871"/>
                      <a:gd name="connsiteY13" fmla="*/ 126869 h 195558"/>
                      <a:gd name="connsiteX14" fmla="*/ 249429 w 276871"/>
                      <a:gd name="connsiteY14" fmla="*/ 129366 h 195558"/>
                      <a:gd name="connsiteX15" fmla="*/ 269627 w 276871"/>
                      <a:gd name="connsiteY15" fmla="*/ 121902 h 195558"/>
                      <a:gd name="connsiteX16" fmla="*/ 274979 w 276871"/>
                      <a:gd name="connsiteY16" fmla="*/ 125222 h 195558"/>
                      <a:gd name="connsiteX17" fmla="*/ 276872 w 276871"/>
                      <a:gd name="connsiteY17" fmla="*/ 130903 h 195558"/>
                      <a:gd name="connsiteX18" fmla="*/ 274841 w 276871"/>
                      <a:gd name="connsiteY18" fmla="*/ 145832 h 195558"/>
                      <a:gd name="connsiteX19" fmla="*/ 261888 w 276871"/>
                      <a:gd name="connsiteY19" fmla="*/ 149015 h 195558"/>
                      <a:gd name="connsiteX20" fmla="*/ 256729 w 276871"/>
                      <a:gd name="connsiteY20" fmla="*/ 153022 h 195558"/>
                      <a:gd name="connsiteX21" fmla="*/ 246411 w 276871"/>
                      <a:gd name="connsiteY21" fmla="*/ 168280 h 195558"/>
                      <a:gd name="connsiteX22" fmla="*/ 246795 w 276871"/>
                      <a:gd name="connsiteY22" fmla="*/ 181480 h 195558"/>
                      <a:gd name="connsiteX23" fmla="*/ 244517 w 276871"/>
                      <a:gd name="connsiteY23" fmla="*/ 191662 h 195558"/>
                      <a:gd name="connsiteX24" fmla="*/ 234034 w 276871"/>
                      <a:gd name="connsiteY24" fmla="*/ 190564 h 195558"/>
                      <a:gd name="connsiteX25" fmla="*/ 227859 w 276871"/>
                      <a:gd name="connsiteY25" fmla="*/ 187381 h 195558"/>
                      <a:gd name="connsiteX26" fmla="*/ 225142 w 276871"/>
                      <a:gd name="connsiteY26" fmla="*/ 181453 h 195558"/>
                      <a:gd name="connsiteX27" fmla="*/ 218529 w 276871"/>
                      <a:gd name="connsiteY27" fmla="*/ 181535 h 195558"/>
                      <a:gd name="connsiteX28" fmla="*/ 209664 w 276871"/>
                      <a:gd name="connsiteY28" fmla="*/ 180108 h 195558"/>
                      <a:gd name="connsiteX29" fmla="*/ 206042 w 276871"/>
                      <a:gd name="connsiteY29" fmla="*/ 175827 h 195558"/>
                      <a:gd name="connsiteX30" fmla="*/ 196574 w 276871"/>
                      <a:gd name="connsiteY30" fmla="*/ 175333 h 195558"/>
                      <a:gd name="connsiteX31" fmla="*/ 179889 w 276871"/>
                      <a:gd name="connsiteY31" fmla="*/ 179422 h 195558"/>
                      <a:gd name="connsiteX32" fmla="*/ 179203 w 276871"/>
                      <a:gd name="connsiteY32" fmla="*/ 179477 h 195558"/>
                      <a:gd name="connsiteX33" fmla="*/ 172177 w 276871"/>
                      <a:gd name="connsiteY33" fmla="*/ 182358 h 195558"/>
                      <a:gd name="connsiteX34" fmla="*/ 165591 w 276871"/>
                      <a:gd name="connsiteY34" fmla="*/ 189055 h 195558"/>
                      <a:gd name="connsiteX35" fmla="*/ 159032 w 276871"/>
                      <a:gd name="connsiteY35" fmla="*/ 193720 h 195558"/>
                      <a:gd name="connsiteX36" fmla="*/ 155273 w 276871"/>
                      <a:gd name="connsiteY36" fmla="*/ 195559 h 195558"/>
                      <a:gd name="connsiteX37" fmla="*/ 147972 w 276871"/>
                      <a:gd name="connsiteY37" fmla="*/ 195037 h 195558"/>
                      <a:gd name="connsiteX38" fmla="*/ 129092 w 276871"/>
                      <a:gd name="connsiteY38" fmla="*/ 192265 h 195558"/>
                      <a:gd name="connsiteX39" fmla="*/ 123960 w 276871"/>
                      <a:gd name="connsiteY39" fmla="*/ 191113 h 195558"/>
                      <a:gd name="connsiteX40" fmla="*/ 119349 w 276871"/>
                      <a:gd name="connsiteY40" fmla="*/ 193308 h 195558"/>
                      <a:gd name="connsiteX41" fmla="*/ 113120 w 276871"/>
                      <a:gd name="connsiteY41" fmla="*/ 193199 h 195558"/>
                      <a:gd name="connsiteX42" fmla="*/ 98987 w 276871"/>
                      <a:gd name="connsiteY42" fmla="*/ 189494 h 195558"/>
                      <a:gd name="connsiteX43" fmla="*/ 92455 w 276871"/>
                      <a:gd name="connsiteY43" fmla="*/ 187106 h 195558"/>
                      <a:gd name="connsiteX44" fmla="*/ 80353 w 276871"/>
                      <a:gd name="connsiteY44" fmla="*/ 188835 h 195558"/>
                      <a:gd name="connsiteX45" fmla="*/ 76237 w 276871"/>
                      <a:gd name="connsiteY45" fmla="*/ 186036 h 195558"/>
                      <a:gd name="connsiteX46" fmla="*/ 77334 w 276871"/>
                      <a:gd name="connsiteY46" fmla="*/ 181974 h 195558"/>
                      <a:gd name="connsiteX47" fmla="*/ 81094 w 276871"/>
                      <a:gd name="connsiteY47" fmla="*/ 179257 h 195558"/>
                      <a:gd name="connsiteX48" fmla="*/ 79420 w 276871"/>
                      <a:gd name="connsiteY48" fmla="*/ 176952 h 195558"/>
                      <a:gd name="connsiteX49" fmla="*/ 70858 w 276871"/>
                      <a:gd name="connsiteY49" fmla="*/ 172122 h 195558"/>
                      <a:gd name="connsiteX50" fmla="*/ 65067 w 276871"/>
                      <a:gd name="connsiteY50" fmla="*/ 162572 h 195558"/>
                      <a:gd name="connsiteX51" fmla="*/ 68937 w 276871"/>
                      <a:gd name="connsiteY51" fmla="*/ 159087 h 195558"/>
                      <a:gd name="connsiteX52" fmla="*/ 72477 w 276871"/>
                      <a:gd name="connsiteY52" fmla="*/ 159004 h 195558"/>
                      <a:gd name="connsiteX53" fmla="*/ 71736 w 276871"/>
                      <a:gd name="connsiteY53" fmla="*/ 156562 h 195558"/>
                      <a:gd name="connsiteX54" fmla="*/ 63311 w 276871"/>
                      <a:gd name="connsiteY54" fmla="*/ 152446 h 195558"/>
                      <a:gd name="connsiteX55" fmla="*/ 55297 w 276871"/>
                      <a:gd name="connsiteY55" fmla="*/ 161090 h 195558"/>
                      <a:gd name="connsiteX56" fmla="*/ 51511 w 276871"/>
                      <a:gd name="connsiteY56" fmla="*/ 156343 h 195558"/>
                      <a:gd name="connsiteX57" fmla="*/ 51401 w 276871"/>
                      <a:gd name="connsiteY57" fmla="*/ 156206 h 195558"/>
                      <a:gd name="connsiteX58" fmla="*/ 40890 w 276871"/>
                      <a:gd name="connsiteY58" fmla="*/ 153461 h 195558"/>
                      <a:gd name="connsiteX59" fmla="*/ 38475 w 276871"/>
                      <a:gd name="connsiteY59" fmla="*/ 150031 h 195558"/>
                      <a:gd name="connsiteX60" fmla="*/ 32163 w 276871"/>
                      <a:gd name="connsiteY60" fmla="*/ 147122 h 195558"/>
                      <a:gd name="connsiteX61" fmla="*/ 37707 w 276871"/>
                      <a:gd name="connsiteY61" fmla="*/ 144432 h 195558"/>
                      <a:gd name="connsiteX62" fmla="*/ 33535 w 276871"/>
                      <a:gd name="connsiteY62" fmla="*/ 139657 h 195558"/>
                      <a:gd name="connsiteX63" fmla="*/ 36417 w 276871"/>
                      <a:gd name="connsiteY63" fmla="*/ 134306 h 195558"/>
                      <a:gd name="connsiteX64" fmla="*/ 35703 w 276871"/>
                      <a:gd name="connsiteY64" fmla="*/ 131671 h 195558"/>
                      <a:gd name="connsiteX65" fmla="*/ 22119 w 276871"/>
                      <a:gd name="connsiteY65" fmla="*/ 126155 h 195558"/>
                      <a:gd name="connsiteX66" fmla="*/ 16273 w 276871"/>
                      <a:gd name="connsiteY66" fmla="*/ 119158 h 195558"/>
                      <a:gd name="connsiteX67" fmla="*/ 16054 w 276871"/>
                      <a:gd name="connsiteY67" fmla="*/ 108153 h 195558"/>
                      <a:gd name="connsiteX68" fmla="*/ 11718 w 276871"/>
                      <a:gd name="connsiteY68" fmla="*/ 106424 h 195558"/>
                      <a:gd name="connsiteX69" fmla="*/ 0 w 276871"/>
                      <a:gd name="connsiteY69" fmla="*/ 92346 h 195558"/>
                      <a:gd name="connsiteX70" fmla="*/ 12953 w 276871"/>
                      <a:gd name="connsiteY70" fmla="*/ 90891 h 195558"/>
                      <a:gd name="connsiteX71" fmla="*/ 15039 w 276871"/>
                      <a:gd name="connsiteY71" fmla="*/ 86006 h 195558"/>
                      <a:gd name="connsiteX72" fmla="*/ 22695 w 276871"/>
                      <a:gd name="connsiteY72" fmla="*/ 87049 h 195558"/>
                      <a:gd name="connsiteX73" fmla="*/ 26346 w 276871"/>
                      <a:gd name="connsiteY73" fmla="*/ 84497 h 195558"/>
                      <a:gd name="connsiteX74" fmla="*/ 30380 w 276871"/>
                      <a:gd name="connsiteY74" fmla="*/ 79365 h 195558"/>
                      <a:gd name="connsiteX75" fmla="*/ 30928 w 276871"/>
                      <a:gd name="connsiteY75" fmla="*/ 72202 h 195558"/>
                      <a:gd name="connsiteX76" fmla="*/ 34633 w 276871"/>
                      <a:gd name="connsiteY76" fmla="*/ 69952 h 195558"/>
                      <a:gd name="connsiteX77" fmla="*/ 41027 w 276871"/>
                      <a:gd name="connsiteY77" fmla="*/ 54008 h 195558"/>
                      <a:gd name="connsiteX78" fmla="*/ 51483 w 276871"/>
                      <a:gd name="connsiteY78" fmla="*/ 37734 h 195558"/>
                      <a:gd name="connsiteX79" fmla="*/ 52252 w 276871"/>
                      <a:gd name="connsiteY79" fmla="*/ 32328 h 195558"/>
                      <a:gd name="connsiteX80" fmla="*/ 54831 w 276871"/>
                      <a:gd name="connsiteY80" fmla="*/ 29035 h 195558"/>
                      <a:gd name="connsiteX81" fmla="*/ 56368 w 276871"/>
                      <a:gd name="connsiteY81" fmla="*/ 28925 h 195558"/>
                      <a:gd name="connsiteX82" fmla="*/ 57575 w 276871"/>
                      <a:gd name="connsiteY82" fmla="*/ 25988 h 195558"/>
                      <a:gd name="connsiteX83" fmla="*/ 64793 w 276871"/>
                      <a:gd name="connsiteY83" fmla="*/ 20692 h 195558"/>
                      <a:gd name="connsiteX84" fmla="*/ 70693 w 276871"/>
                      <a:gd name="connsiteY84" fmla="*/ 20390 h 195558"/>
                      <a:gd name="connsiteX85" fmla="*/ 77417 w 276871"/>
                      <a:gd name="connsiteY85" fmla="*/ 13420 h 195558"/>
                      <a:gd name="connsiteX86" fmla="*/ 86143 w 276871"/>
                      <a:gd name="connsiteY86" fmla="*/ 6614 h 195558"/>
                      <a:gd name="connsiteX87" fmla="*/ 95008 w 276871"/>
                      <a:gd name="connsiteY87" fmla="*/ 12843 h 195558"/>
                      <a:gd name="connsiteX88" fmla="*/ 97230 w 276871"/>
                      <a:gd name="connsiteY88" fmla="*/ 11087 h 195558"/>
                      <a:gd name="connsiteX89" fmla="*/ 116221 w 276871"/>
                      <a:gd name="connsiteY89" fmla="*/ 15670 h 195558"/>
                      <a:gd name="connsiteX90" fmla="*/ 126622 w 276871"/>
                      <a:gd name="connsiteY90" fmla="*/ 13337 h 195558"/>
                      <a:gd name="connsiteX91" fmla="*/ 137764 w 276871"/>
                      <a:gd name="connsiteY91" fmla="*/ 23299 h 195558"/>
                      <a:gd name="connsiteX92" fmla="*/ 141990 w 276871"/>
                      <a:gd name="connsiteY92" fmla="*/ 22448 h 195558"/>
                      <a:gd name="connsiteX93" fmla="*/ 147808 w 276871"/>
                      <a:gd name="connsiteY93" fmla="*/ 15533 h 195558"/>
                      <a:gd name="connsiteX94" fmla="*/ 165646 w 276871"/>
                      <a:gd name="connsiteY94" fmla="*/ 13090 h 195558"/>
                      <a:gd name="connsiteX95" fmla="*/ 171628 w 276871"/>
                      <a:gd name="connsiteY95" fmla="*/ 12377 h 195558"/>
                      <a:gd name="connsiteX96" fmla="*/ 174757 w 276871"/>
                      <a:gd name="connsiteY96" fmla="*/ 10648 h 195558"/>
                      <a:gd name="connsiteX97" fmla="*/ 179038 w 276871"/>
                      <a:gd name="connsiteY97" fmla="*/ 3320 h 195558"/>
                      <a:gd name="connsiteX98" fmla="*/ 187271 w 276871"/>
                      <a:gd name="connsiteY98" fmla="*/ 0 h 195558"/>
                      <a:gd name="connsiteX99" fmla="*/ 192458 w 276871"/>
                      <a:gd name="connsiteY99" fmla="*/ 631 h 195558"/>
                      <a:gd name="connsiteX100" fmla="*/ 198714 w 276871"/>
                      <a:gd name="connsiteY100" fmla="*/ 6120 h 195558"/>
                      <a:gd name="connsiteX101" fmla="*/ 203078 w 276871"/>
                      <a:gd name="connsiteY101" fmla="*/ 13639 h 19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76871" h="195558">
                        <a:moveTo>
                          <a:pt x="203023" y="13749"/>
                        </a:moveTo>
                        <a:lnTo>
                          <a:pt x="207359" y="27196"/>
                        </a:lnTo>
                        <a:lnTo>
                          <a:pt x="209555" y="29529"/>
                        </a:lnTo>
                        <a:lnTo>
                          <a:pt x="222974" y="50028"/>
                        </a:lnTo>
                        <a:lnTo>
                          <a:pt x="229753" y="56093"/>
                        </a:lnTo>
                        <a:lnTo>
                          <a:pt x="230796" y="62021"/>
                        </a:lnTo>
                        <a:lnTo>
                          <a:pt x="234500" y="71544"/>
                        </a:lnTo>
                        <a:lnTo>
                          <a:pt x="234555" y="79612"/>
                        </a:lnTo>
                        <a:lnTo>
                          <a:pt x="231673" y="86939"/>
                        </a:lnTo>
                        <a:lnTo>
                          <a:pt x="230851" y="93224"/>
                        </a:lnTo>
                        <a:lnTo>
                          <a:pt x="232305" y="111007"/>
                        </a:lnTo>
                        <a:lnTo>
                          <a:pt x="230741" y="114794"/>
                        </a:lnTo>
                        <a:lnTo>
                          <a:pt x="233677" y="120228"/>
                        </a:lnTo>
                        <a:lnTo>
                          <a:pt x="239495" y="126869"/>
                        </a:lnTo>
                        <a:lnTo>
                          <a:pt x="249429" y="129366"/>
                        </a:lnTo>
                        <a:lnTo>
                          <a:pt x="269627" y="121902"/>
                        </a:lnTo>
                        <a:lnTo>
                          <a:pt x="274979" y="125222"/>
                        </a:lnTo>
                        <a:lnTo>
                          <a:pt x="276872" y="130903"/>
                        </a:lnTo>
                        <a:lnTo>
                          <a:pt x="274841" y="145832"/>
                        </a:lnTo>
                        <a:lnTo>
                          <a:pt x="261888" y="149015"/>
                        </a:lnTo>
                        <a:lnTo>
                          <a:pt x="256729" y="153022"/>
                        </a:lnTo>
                        <a:lnTo>
                          <a:pt x="246411" y="168280"/>
                        </a:lnTo>
                        <a:lnTo>
                          <a:pt x="246795" y="181480"/>
                        </a:lnTo>
                        <a:lnTo>
                          <a:pt x="244517" y="191662"/>
                        </a:lnTo>
                        <a:lnTo>
                          <a:pt x="234034" y="190564"/>
                        </a:lnTo>
                        <a:lnTo>
                          <a:pt x="227859" y="187381"/>
                        </a:lnTo>
                        <a:lnTo>
                          <a:pt x="225142" y="181453"/>
                        </a:lnTo>
                        <a:lnTo>
                          <a:pt x="218529" y="181535"/>
                        </a:lnTo>
                        <a:lnTo>
                          <a:pt x="209664" y="180108"/>
                        </a:lnTo>
                        <a:lnTo>
                          <a:pt x="206042" y="175827"/>
                        </a:lnTo>
                        <a:lnTo>
                          <a:pt x="196574" y="175333"/>
                        </a:lnTo>
                        <a:lnTo>
                          <a:pt x="179889" y="179422"/>
                        </a:lnTo>
                        <a:lnTo>
                          <a:pt x="179203" y="179477"/>
                        </a:lnTo>
                        <a:lnTo>
                          <a:pt x="172177" y="182358"/>
                        </a:lnTo>
                        <a:lnTo>
                          <a:pt x="165591" y="189055"/>
                        </a:lnTo>
                        <a:lnTo>
                          <a:pt x="159032" y="193720"/>
                        </a:lnTo>
                        <a:lnTo>
                          <a:pt x="155273" y="195559"/>
                        </a:lnTo>
                        <a:lnTo>
                          <a:pt x="147972" y="195037"/>
                        </a:lnTo>
                        <a:lnTo>
                          <a:pt x="129092" y="192265"/>
                        </a:lnTo>
                        <a:lnTo>
                          <a:pt x="123960" y="191113"/>
                        </a:lnTo>
                        <a:lnTo>
                          <a:pt x="119349" y="193308"/>
                        </a:lnTo>
                        <a:lnTo>
                          <a:pt x="113120" y="193199"/>
                        </a:lnTo>
                        <a:lnTo>
                          <a:pt x="98987" y="189494"/>
                        </a:lnTo>
                        <a:lnTo>
                          <a:pt x="92455" y="187106"/>
                        </a:lnTo>
                        <a:lnTo>
                          <a:pt x="80353" y="188835"/>
                        </a:lnTo>
                        <a:lnTo>
                          <a:pt x="76237" y="186036"/>
                        </a:lnTo>
                        <a:lnTo>
                          <a:pt x="77334" y="181974"/>
                        </a:lnTo>
                        <a:lnTo>
                          <a:pt x="81094" y="179257"/>
                        </a:lnTo>
                        <a:lnTo>
                          <a:pt x="79420" y="176952"/>
                        </a:lnTo>
                        <a:lnTo>
                          <a:pt x="70858" y="172122"/>
                        </a:lnTo>
                        <a:lnTo>
                          <a:pt x="65067" y="162572"/>
                        </a:lnTo>
                        <a:lnTo>
                          <a:pt x="68937" y="159087"/>
                        </a:lnTo>
                        <a:lnTo>
                          <a:pt x="72477" y="159004"/>
                        </a:lnTo>
                        <a:lnTo>
                          <a:pt x="71736" y="156562"/>
                        </a:lnTo>
                        <a:lnTo>
                          <a:pt x="63311" y="152446"/>
                        </a:lnTo>
                        <a:lnTo>
                          <a:pt x="55297" y="161090"/>
                        </a:lnTo>
                        <a:lnTo>
                          <a:pt x="51511" y="156343"/>
                        </a:lnTo>
                        <a:lnTo>
                          <a:pt x="51401" y="156206"/>
                        </a:lnTo>
                        <a:lnTo>
                          <a:pt x="40890" y="153461"/>
                        </a:lnTo>
                        <a:lnTo>
                          <a:pt x="38475" y="150031"/>
                        </a:lnTo>
                        <a:lnTo>
                          <a:pt x="32163" y="147122"/>
                        </a:lnTo>
                        <a:lnTo>
                          <a:pt x="37707" y="144432"/>
                        </a:lnTo>
                        <a:lnTo>
                          <a:pt x="33535" y="139657"/>
                        </a:lnTo>
                        <a:lnTo>
                          <a:pt x="36417" y="134306"/>
                        </a:lnTo>
                        <a:lnTo>
                          <a:pt x="35703" y="131671"/>
                        </a:lnTo>
                        <a:lnTo>
                          <a:pt x="22119" y="126155"/>
                        </a:lnTo>
                        <a:lnTo>
                          <a:pt x="16273" y="119158"/>
                        </a:lnTo>
                        <a:lnTo>
                          <a:pt x="16054" y="108153"/>
                        </a:lnTo>
                        <a:lnTo>
                          <a:pt x="11718" y="106424"/>
                        </a:lnTo>
                        <a:lnTo>
                          <a:pt x="0" y="92346"/>
                        </a:lnTo>
                        <a:lnTo>
                          <a:pt x="12953" y="90891"/>
                        </a:lnTo>
                        <a:lnTo>
                          <a:pt x="15039" y="86006"/>
                        </a:lnTo>
                        <a:lnTo>
                          <a:pt x="22695" y="87049"/>
                        </a:lnTo>
                        <a:lnTo>
                          <a:pt x="26346" y="84497"/>
                        </a:lnTo>
                        <a:lnTo>
                          <a:pt x="30380" y="79365"/>
                        </a:lnTo>
                        <a:lnTo>
                          <a:pt x="30928" y="72202"/>
                        </a:lnTo>
                        <a:lnTo>
                          <a:pt x="34633" y="69952"/>
                        </a:lnTo>
                        <a:lnTo>
                          <a:pt x="41027" y="54008"/>
                        </a:lnTo>
                        <a:lnTo>
                          <a:pt x="51483" y="37734"/>
                        </a:lnTo>
                        <a:lnTo>
                          <a:pt x="52252" y="32328"/>
                        </a:lnTo>
                        <a:lnTo>
                          <a:pt x="54831" y="29035"/>
                        </a:lnTo>
                        <a:lnTo>
                          <a:pt x="56368" y="28925"/>
                        </a:lnTo>
                        <a:lnTo>
                          <a:pt x="57575" y="25988"/>
                        </a:lnTo>
                        <a:lnTo>
                          <a:pt x="64793" y="20692"/>
                        </a:lnTo>
                        <a:lnTo>
                          <a:pt x="70693" y="20390"/>
                        </a:lnTo>
                        <a:lnTo>
                          <a:pt x="77417" y="13420"/>
                        </a:lnTo>
                        <a:lnTo>
                          <a:pt x="86143" y="6614"/>
                        </a:lnTo>
                        <a:lnTo>
                          <a:pt x="95008" y="12843"/>
                        </a:lnTo>
                        <a:lnTo>
                          <a:pt x="97230" y="11087"/>
                        </a:lnTo>
                        <a:lnTo>
                          <a:pt x="116221" y="15670"/>
                        </a:lnTo>
                        <a:lnTo>
                          <a:pt x="126622" y="13337"/>
                        </a:lnTo>
                        <a:lnTo>
                          <a:pt x="137764" y="23299"/>
                        </a:lnTo>
                        <a:lnTo>
                          <a:pt x="141990" y="22448"/>
                        </a:lnTo>
                        <a:lnTo>
                          <a:pt x="147808" y="15533"/>
                        </a:lnTo>
                        <a:lnTo>
                          <a:pt x="165646" y="13090"/>
                        </a:lnTo>
                        <a:lnTo>
                          <a:pt x="171628" y="12377"/>
                        </a:lnTo>
                        <a:lnTo>
                          <a:pt x="174757" y="10648"/>
                        </a:lnTo>
                        <a:lnTo>
                          <a:pt x="179038" y="3320"/>
                        </a:lnTo>
                        <a:lnTo>
                          <a:pt x="187271" y="0"/>
                        </a:lnTo>
                        <a:lnTo>
                          <a:pt x="192458" y="631"/>
                        </a:lnTo>
                        <a:lnTo>
                          <a:pt x="198714" y="6120"/>
                        </a:lnTo>
                        <a:lnTo>
                          <a:pt x="203078" y="1363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58" name="Freeform: Shape 3057">
                    <a:extLst>
                      <a:ext uri="{FF2B5EF4-FFF2-40B4-BE49-F238E27FC236}">
                        <a16:creationId xmlns:a16="http://schemas.microsoft.com/office/drawing/2014/main" id="{86CB8D8A-E54D-76FB-E514-1BD79C7C9812}"/>
                      </a:ext>
                    </a:extLst>
                  </p:cNvPr>
                  <p:cNvSpPr/>
                  <p:nvPr/>
                </p:nvSpPr>
                <p:spPr>
                  <a:xfrm>
                    <a:off x="-5870716" y="2941228"/>
                    <a:ext cx="292569" cy="275280"/>
                  </a:xfrm>
                  <a:custGeom>
                    <a:avLst/>
                    <a:gdLst>
                      <a:gd name="connsiteX0" fmla="*/ 131452 w 292569"/>
                      <a:gd name="connsiteY0" fmla="*/ 20500 h 275280"/>
                      <a:gd name="connsiteX1" fmla="*/ 141276 w 292569"/>
                      <a:gd name="connsiteY1" fmla="*/ 23766 h 275280"/>
                      <a:gd name="connsiteX2" fmla="*/ 152830 w 292569"/>
                      <a:gd name="connsiteY2" fmla="*/ 23162 h 275280"/>
                      <a:gd name="connsiteX3" fmla="*/ 161557 w 292569"/>
                      <a:gd name="connsiteY3" fmla="*/ 18716 h 275280"/>
                      <a:gd name="connsiteX4" fmla="*/ 161831 w 292569"/>
                      <a:gd name="connsiteY4" fmla="*/ 18991 h 275280"/>
                      <a:gd name="connsiteX5" fmla="*/ 150470 w 292569"/>
                      <a:gd name="connsiteY5" fmla="*/ 24836 h 275280"/>
                      <a:gd name="connsiteX6" fmla="*/ 150333 w 292569"/>
                      <a:gd name="connsiteY6" fmla="*/ 27800 h 275280"/>
                      <a:gd name="connsiteX7" fmla="*/ 154806 w 292569"/>
                      <a:gd name="connsiteY7" fmla="*/ 27937 h 275280"/>
                      <a:gd name="connsiteX8" fmla="*/ 166415 w 292569"/>
                      <a:gd name="connsiteY8" fmla="*/ 19539 h 275280"/>
                      <a:gd name="connsiteX9" fmla="*/ 181398 w 292569"/>
                      <a:gd name="connsiteY9" fmla="*/ 21570 h 275280"/>
                      <a:gd name="connsiteX10" fmla="*/ 218035 w 292569"/>
                      <a:gd name="connsiteY10" fmla="*/ 25604 h 275280"/>
                      <a:gd name="connsiteX11" fmla="*/ 254287 w 292569"/>
                      <a:gd name="connsiteY11" fmla="*/ 23546 h 275280"/>
                      <a:gd name="connsiteX12" fmla="*/ 259364 w 292569"/>
                      <a:gd name="connsiteY12" fmla="*/ 22366 h 275280"/>
                      <a:gd name="connsiteX13" fmla="*/ 269847 w 292569"/>
                      <a:gd name="connsiteY13" fmla="*/ 29117 h 275280"/>
                      <a:gd name="connsiteX14" fmla="*/ 274979 w 292569"/>
                      <a:gd name="connsiteY14" fmla="*/ 35539 h 275280"/>
                      <a:gd name="connsiteX15" fmla="*/ 275555 w 292569"/>
                      <a:gd name="connsiteY15" fmla="*/ 43991 h 275280"/>
                      <a:gd name="connsiteX16" fmla="*/ 277723 w 292569"/>
                      <a:gd name="connsiteY16" fmla="*/ 56972 h 275280"/>
                      <a:gd name="connsiteX17" fmla="*/ 285764 w 292569"/>
                      <a:gd name="connsiteY17" fmla="*/ 81396 h 275280"/>
                      <a:gd name="connsiteX18" fmla="*/ 287356 w 292569"/>
                      <a:gd name="connsiteY18" fmla="*/ 95886 h 275280"/>
                      <a:gd name="connsiteX19" fmla="*/ 286944 w 292569"/>
                      <a:gd name="connsiteY19" fmla="*/ 106012 h 275280"/>
                      <a:gd name="connsiteX20" fmla="*/ 273936 w 292569"/>
                      <a:gd name="connsiteY20" fmla="*/ 113614 h 275280"/>
                      <a:gd name="connsiteX21" fmla="*/ 265648 w 292569"/>
                      <a:gd name="connsiteY21" fmla="*/ 126018 h 275280"/>
                      <a:gd name="connsiteX22" fmla="*/ 279809 w 292569"/>
                      <a:gd name="connsiteY22" fmla="*/ 137297 h 275280"/>
                      <a:gd name="connsiteX23" fmla="*/ 278574 w 292569"/>
                      <a:gd name="connsiteY23" fmla="*/ 149290 h 275280"/>
                      <a:gd name="connsiteX24" fmla="*/ 276433 w 292569"/>
                      <a:gd name="connsiteY24" fmla="*/ 152748 h 275280"/>
                      <a:gd name="connsiteX25" fmla="*/ 278546 w 292569"/>
                      <a:gd name="connsiteY25" fmla="*/ 162874 h 275280"/>
                      <a:gd name="connsiteX26" fmla="*/ 281263 w 292569"/>
                      <a:gd name="connsiteY26" fmla="*/ 173824 h 275280"/>
                      <a:gd name="connsiteX27" fmla="*/ 292570 w 292569"/>
                      <a:gd name="connsiteY27" fmla="*/ 193418 h 275280"/>
                      <a:gd name="connsiteX28" fmla="*/ 289222 w 292569"/>
                      <a:gd name="connsiteY28" fmla="*/ 195861 h 275280"/>
                      <a:gd name="connsiteX29" fmla="*/ 292487 w 292569"/>
                      <a:gd name="connsiteY29" fmla="*/ 203435 h 275280"/>
                      <a:gd name="connsiteX30" fmla="*/ 291115 w 292569"/>
                      <a:gd name="connsiteY30" fmla="*/ 211723 h 275280"/>
                      <a:gd name="connsiteX31" fmla="*/ 281703 w 292569"/>
                      <a:gd name="connsiteY31" fmla="*/ 215674 h 275280"/>
                      <a:gd name="connsiteX32" fmla="*/ 276515 w 292569"/>
                      <a:gd name="connsiteY32" fmla="*/ 221520 h 275280"/>
                      <a:gd name="connsiteX33" fmla="*/ 251186 w 292569"/>
                      <a:gd name="connsiteY33" fmla="*/ 252530 h 275280"/>
                      <a:gd name="connsiteX34" fmla="*/ 252942 w 292569"/>
                      <a:gd name="connsiteY34" fmla="*/ 267843 h 275280"/>
                      <a:gd name="connsiteX35" fmla="*/ 255522 w 292569"/>
                      <a:gd name="connsiteY35" fmla="*/ 275280 h 275280"/>
                      <a:gd name="connsiteX36" fmla="*/ 247673 w 292569"/>
                      <a:gd name="connsiteY36" fmla="*/ 274430 h 275280"/>
                      <a:gd name="connsiteX37" fmla="*/ 233019 w 292569"/>
                      <a:gd name="connsiteY37" fmla="*/ 268502 h 275280"/>
                      <a:gd name="connsiteX38" fmla="*/ 227475 w 292569"/>
                      <a:gd name="connsiteY38" fmla="*/ 261477 h 275280"/>
                      <a:gd name="connsiteX39" fmla="*/ 213314 w 292569"/>
                      <a:gd name="connsiteY39" fmla="*/ 258869 h 275280"/>
                      <a:gd name="connsiteX40" fmla="*/ 205219 w 292569"/>
                      <a:gd name="connsiteY40" fmla="*/ 259611 h 275280"/>
                      <a:gd name="connsiteX41" fmla="*/ 199785 w 292569"/>
                      <a:gd name="connsiteY41" fmla="*/ 264331 h 275280"/>
                      <a:gd name="connsiteX42" fmla="*/ 190290 w 292569"/>
                      <a:gd name="connsiteY42" fmla="*/ 259583 h 275280"/>
                      <a:gd name="connsiteX43" fmla="*/ 188890 w 292569"/>
                      <a:gd name="connsiteY43" fmla="*/ 261065 h 275280"/>
                      <a:gd name="connsiteX44" fmla="*/ 184499 w 292569"/>
                      <a:gd name="connsiteY44" fmla="*/ 260160 h 275280"/>
                      <a:gd name="connsiteX45" fmla="*/ 177309 w 292569"/>
                      <a:gd name="connsiteY45" fmla="*/ 263754 h 275280"/>
                      <a:gd name="connsiteX46" fmla="*/ 174510 w 292569"/>
                      <a:gd name="connsiteY46" fmla="*/ 269490 h 275280"/>
                      <a:gd name="connsiteX47" fmla="*/ 168829 w 292569"/>
                      <a:gd name="connsiteY47" fmla="*/ 269216 h 275280"/>
                      <a:gd name="connsiteX48" fmla="*/ 165893 w 292569"/>
                      <a:gd name="connsiteY48" fmla="*/ 268529 h 275280"/>
                      <a:gd name="connsiteX49" fmla="*/ 165811 w 292569"/>
                      <a:gd name="connsiteY49" fmla="*/ 260955 h 275280"/>
                      <a:gd name="connsiteX50" fmla="*/ 162161 w 292569"/>
                      <a:gd name="connsiteY50" fmla="*/ 259912 h 275280"/>
                      <a:gd name="connsiteX51" fmla="*/ 156562 w 292569"/>
                      <a:gd name="connsiteY51" fmla="*/ 250719 h 275280"/>
                      <a:gd name="connsiteX52" fmla="*/ 147616 w 292569"/>
                      <a:gd name="connsiteY52" fmla="*/ 259583 h 275280"/>
                      <a:gd name="connsiteX53" fmla="*/ 142676 w 292569"/>
                      <a:gd name="connsiteY53" fmla="*/ 259967 h 275280"/>
                      <a:gd name="connsiteX54" fmla="*/ 140975 w 292569"/>
                      <a:gd name="connsiteY54" fmla="*/ 255796 h 275280"/>
                      <a:gd name="connsiteX55" fmla="*/ 138423 w 292569"/>
                      <a:gd name="connsiteY55" fmla="*/ 255110 h 275280"/>
                      <a:gd name="connsiteX56" fmla="*/ 136968 w 292569"/>
                      <a:gd name="connsiteY56" fmla="*/ 248688 h 275280"/>
                      <a:gd name="connsiteX57" fmla="*/ 131480 w 292569"/>
                      <a:gd name="connsiteY57" fmla="*/ 244517 h 275280"/>
                      <a:gd name="connsiteX58" fmla="*/ 130299 w 292569"/>
                      <a:gd name="connsiteY58" fmla="*/ 237217 h 275280"/>
                      <a:gd name="connsiteX59" fmla="*/ 123000 w 292569"/>
                      <a:gd name="connsiteY59" fmla="*/ 236394 h 275280"/>
                      <a:gd name="connsiteX60" fmla="*/ 114410 w 292569"/>
                      <a:gd name="connsiteY60" fmla="*/ 230109 h 275280"/>
                      <a:gd name="connsiteX61" fmla="*/ 108839 w 292569"/>
                      <a:gd name="connsiteY61" fmla="*/ 233595 h 275280"/>
                      <a:gd name="connsiteX62" fmla="*/ 103158 w 292569"/>
                      <a:gd name="connsiteY62" fmla="*/ 226706 h 275280"/>
                      <a:gd name="connsiteX63" fmla="*/ 105601 w 292569"/>
                      <a:gd name="connsiteY63" fmla="*/ 223386 h 275280"/>
                      <a:gd name="connsiteX64" fmla="*/ 105436 w 292569"/>
                      <a:gd name="connsiteY64" fmla="*/ 220038 h 275280"/>
                      <a:gd name="connsiteX65" fmla="*/ 96600 w 292569"/>
                      <a:gd name="connsiteY65" fmla="*/ 221465 h 275280"/>
                      <a:gd name="connsiteX66" fmla="*/ 81286 w 292569"/>
                      <a:gd name="connsiteY66" fmla="*/ 212464 h 275280"/>
                      <a:gd name="connsiteX67" fmla="*/ 80683 w 292569"/>
                      <a:gd name="connsiteY67" fmla="*/ 214467 h 275280"/>
                      <a:gd name="connsiteX68" fmla="*/ 83838 w 292569"/>
                      <a:gd name="connsiteY68" fmla="*/ 220806 h 275280"/>
                      <a:gd name="connsiteX69" fmla="*/ 79969 w 292569"/>
                      <a:gd name="connsiteY69" fmla="*/ 224045 h 275280"/>
                      <a:gd name="connsiteX70" fmla="*/ 75578 w 292569"/>
                      <a:gd name="connsiteY70" fmla="*/ 227804 h 275280"/>
                      <a:gd name="connsiteX71" fmla="*/ 71654 w 292569"/>
                      <a:gd name="connsiteY71" fmla="*/ 226569 h 275280"/>
                      <a:gd name="connsiteX72" fmla="*/ 62214 w 292569"/>
                      <a:gd name="connsiteY72" fmla="*/ 212244 h 275280"/>
                      <a:gd name="connsiteX73" fmla="*/ 66000 w 292569"/>
                      <a:gd name="connsiteY73" fmla="*/ 208127 h 275280"/>
                      <a:gd name="connsiteX74" fmla="*/ 66110 w 292569"/>
                      <a:gd name="connsiteY74" fmla="*/ 205328 h 275280"/>
                      <a:gd name="connsiteX75" fmla="*/ 57740 w 292569"/>
                      <a:gd name="connsiteY75" fmla="*/ 202611 h 275280"/>
                      <a:gd name="connsiteX76" fmla="*/ 55984 w 292569"/>
                      <a:gd name="connsiteY76" fmla="*/ 204093 h 275280"/>
                      <a:gd name="connsiteX77" fmla="*/ 48656 w 292569"/>
                      <a:gd name="connsiteY77" fmla="*/ 198879 h 275280"/>
                      <a:gd name="connsiteX78" fmla="*/ 40918 w 292569"/>
                      <a:gd name="connsiteY78" fmla="*/ 197150 h 275280"/>
                      <a:gd name="connsiteX79" fmla="*/ 36253 w 292569"/>
                      <a:gd name="connsiteY79" fmla="*/ 196107 h 275280"/>
                      <a:gd name="connsiteX80" fmla="*/ 32300 w 292569"/>
                      <a:gd name="connsiteY80" fmla="*/ 187628 h 275280"/>
                      <a:gd name="connsiteX81" fmla="*/ 27004 w 292569"/>
                      <a:gd name="connsiteY81" fmla="*/ 186365 h 275280"/>
                      <a:gd name="connsiteX82" fmla="*/ 24480 w 292569"/>
                      <a:gd name="connsiteY82" fmla="*/ 192540 h 275280"/>
                      <a:gd name="connsiteX83" fmla="*/ 19979 w 292569"/>
                      <a:gd name="connsiteY83" fmla="*/ 192924 h 275280"/>
                      <a:gd name="connsiteX84" fmla="*/ 25083 w 292569"/>
                      <a:gd name="connsiteY84" fmla="*/ 180438 h 275280"/>
                      <a:gd name="connsiteX85" fmla="*/ 25824 w 292569"/>
                      <a:gd name="connsiteY85" fmla="*/ 173934 h 275280"/>
                      <a:gd name="connsiteX86" fmla="*/ 24397 w 292569"/>
                      <a:gd name="connsiteY86" fmla="*/ 169762 h 275280"/>
                      <a:gd name="connsiteX87" fmla="*/ 23190 w 292569"/>
                      <a:gd name="connsiteY87" fmla="*/ 165015 h 275280"/>
                      <a:gd name="connsiteX88" fmla="*/ 18305 w 292569"/>
                      <a:gd name="connsiteY88" fmla="*/ 162462 h 275280"/>
                      <a:gd name="connsiteX89" fmla="*/ 17207 w 292569"/>
                      <a:gd name="connsiteY89" fmla="*/ 159471 h 275280"/>
                      <a:gd name="connsiteX90" fmla="*/ 17536 w 292569"/>
                      <a:gd name="connsiteY90" fmla="*/ 155519 h 275280"/>
                      <a:gd name="connsiteX91" fmla="*/ 13804 w 292569"/>
                      <a:gd name="connsiteY91" fmla="*/ 147863 h 275280"/>
                      <a:gd name="connsiteX92" fmla="*/ 16850 w 292569"/>
                      <a:gd name="connsiteY92" fmla="*/ 139520 h 275280"/>
                      <a:gd name="connsiteX93" fmla="*/ 17975 w 292569"/>
                      <a:gd name="connsiteY93" fmla="*/ 136254 h 275280"/>
                      <a:gd name="connsiteX94" fmla="*/ 16219 w 292569"/>
                      <a:gd name="connsiteY94" fmla="*/ 128625 h 275280"/>
                      <a:gd name="connsiteX95" fmla="*/ 13420 w 292569"/>
                      <a:gd name="connsiteY95" fmla="*/ 126567 h 275280"/>
                      <a:gd name="connsiteX96" fmla="*/ 11472 w 292569"/>
                      <a:gd name="connsiteY96" fmla="*/ 120639 h 275280"/>
                      <a:gd name="connsiteX97" fmla="*/ 14271 w 292569"/>
                      <a:gd name="connsiteY97" fmla="*/ 114519 h 275280"/>
                      <a:gd name="connsiteX98" fmla="*/ 12404 w 292569"/>
                      <a:gd name="connsiteY98" fmla="*/ 109552 h 275280"/>
                      <a:gd name="connsiteX99" fmla="*/ 8617 w 292569"/>
                      <a:gd name="connsiteY99" fmla="*/ 106863 h 275280"/>
                      <a:gd name="connsiteX100" fmla="*/ 330 w 292569"/>
                      <a:gd name="connsiteY100" fmla="*/ 99124 h 275280"/>
                      <a:gd name="connsiteX101" fmla="*/ 385 w 292569"/>
                      <a:gd name="connsiteY101" fmla="*/ 96352 h 275280"/>
                      <a:gd name="connsiteX102" fmla="*/ 0 w 292569"/>
                      <a:gd name="connsiteY102" fmla="*/ 93169 h 275280"/>
                      <a:gd name="connsiteX103" fmla="*/ 5818 w 292569"/>
                      <a:gd name="connsiteY103" fmla="*/ 88174 h 275280"/>
                      <a:gd name="connsiteX104" fmla="*/ 6861 w 292569"/>
                      <a:gd name="connsiteY104" fmla="*/ 81423 h 275280"/>
                      <a:gd name="connsiteX105" fmla="*/ 8453 w 292569"/>
                      <a:gd name="connsiteY105" fmla="*/ 78514 h 275280"/>
                      <a:gd name="connsiteX106" fmla="*/ 7876 w 292569"/>
                      <a:gd name="connsiteY106" fmla="*/ 75111 h 275280"/>
                      <a:gd name="connsiteX107" fmla="*/ 3650 w 292569"/>
                      <a:gd name="connsiteY107" fmla="*/ 56862 h 275280"/>
                      <a:gd name="connsiteX108" fmla="*/ 10566 w 292569"/>
                      <a:gd name="connsiteY108" fmla="*/ 57219 h 275280"/>
                      <a:gd name="connsiteX109" fmla="*/ 12734 w 292569"/>
                      <a:gd name="connsiteY109" fmla="*/ 50824 h 275280"/>
                      <a:gd name="connsiteX110" fmla="*/ 9386 w 292569"/>
                      <a:gd name="connsiteY110" fmla="*/ 49041 h 275280"/>
                      <a:gd name="connsiteX111" fmla="*/ 2031 w 292569"/>
                      <a:gd name="connsiteY111" fmla="*/ 49672 h 275280"/>
                      <a:gd name="connsiteX112" fmla="*/ 2031 w 292569"/>
                      <a:gd name="connsiteY112" fmla="*/ 48492 h 275280"/>
                      <a:gd name="connsiteX113" fmla="*/ 2388 w 292569"/>
                      <a:gd name="connsiteY113" fmla="*/ 45391 h 275280"/>
                      <a:gd name="connsiteX114" fmla="*/ 7108 w 292569"/>
                      <a:gd name="connsiteY114" fmla="*/ 45885 h 275280"/>
                      <a:gd name="connsiteX115" fmla="*/ 14600 w 292569"/>
                      <a:gd name="connsiteY115" fmla="*/ 41960 h 275280"/>
                      <a:gd name="connsiteX116" fmla="*/ 17536 w 292569"/>
                      <a:gd name="connsiteY116" fmla="*/ 44787 h 275280"/>
                      <a:gd name="connsiteX117" fmla="*/ 20720 w 292569"/>
                      <a:gd name="connsiteY117" fmla="*/ 39545 h 275280"/>
                      <a:gd name="connsiteX118" fmla="*/ 36554 w 292569"/>
                      <a:gd name="connsiteY118" fmla="*/ 33865 h 275280"/>
                      <a:gd name="connsiteX119" fmla="*/ 57795 w 292569"/>
                      <a:gd name="connsiteY119" fmla="*/ 27745 h 275280"/>
                      <a:gd name="connsiteX120" fmla="*/ 69019 w 292569"/>
                      <a:gd name="connsiteY120" fmla="*/ 15725 h 275280"/>
                      <a:gd name="connsiteX121" fmla="*/ 75139 w 292569"/>
                      <a:gd name="connsiteY121" fmla="*/ 13173 h 275280"/>
                      <a:gd name="connsiteX122" fmla="*/ 91550 w 292569"/>
                      <a:gd name="connsiteY122" fmla="*/ 4994 h 275280"/>
                      <a:gd name="connsiteX123" fmla="*/ 103597 w 292569"/>
                      <a:gd name="connsiteY123" fmla="*/ 2278 h 275280"/>
                      <a:gd name="connsiteX124" fmla="*/ 123082 w 292569"/>
                      <a:gd name="connsiteY124" fmla="*/ 0 h 275280"/>
                      <a:gd name="connsiteX125" fmla="*/ 129339 w 292569"/>
                      <a:gd name="connsiteY125" fmla="*/ 12404 h 275280"/>
                      <a:gd name="connsiteX126" fmla="*/ 131507 w 292569"/>
                      <a:gd name="connsiteY126" fmla="*/ 20555 h 275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92569" h="275280">
                        <a:moveTo>
                          <a:pt x="131452" y="20500"/>
                        </a:moveTo>
                        <a:lnTo>
                          <a:pt x="141276" y="23766"/>
                        </a:lnTo>
                        <a:lnTo>
                          <a:pt x="152830" y="23162"/>
                        </a:lnTo>
                        <a:lnTo>
                          <a:pt x="161557" y="18716"/>
                        </a:lnTo>
                        <a:lnTo>
                          <a:pt x="161831" y="18991"/>
                        </a:lnTo>
                        <a:lnTo>
                          <a:pt x="150470" y="24836"/>
                        </a:lnTo>
                        <a:lnTo>
                          <a:pt x="150333" y="27800"/>
                        </a:lnTo>
                        <a:lnTo>
                          <a:pt x="154806" y="27937"/>
                        </a:lnTo>
                        <a:lnTo>
                          <a:pt x="166415" y="19539"/>
                        </a:lnTo>
                        <a:lnTo>
                          <a:pt x="181398" y="21570"/>
                        </a:lnTo>
                        <a:lnTo>
                          <a:pt x="218035" y="25604"/>
                        </a:lnTo>
                        <a:lnTo>
                          <a:pt x="254287" y="23546"/>
                        </a:lnTo>
                        <a:lnTo>
                          <a:pt x="259364" y="22366"/>
                        </a:lnTo>
                        <a:lnTo>
                          <a:pt x="269847" y="29117"/>
                        </a:lnTo>
                        <a:lnTo>
                          <a:pt x="274979" y="35539"/>
                        </a:lnTo>
                        <a:lnTo>
                          <a:pt x="275555" y="43991"/>
                        </a:lnTo>
                        <a:lnTo>
                          <a:pt x="277723" y="56972"/>
                        </a:lnTo>
                        <a:lnTo>
                          <a:pt x="285764" y="81396"/>
                        </a:lnTo>
                        <a:lnTo>
                          <a:pt x="287356" y="95886"/>
                        </a:lnTo>
                        <a:lnTo>
                          <a:pt x="286944" y="106012"/>
                        </a:lnTo>
                        <a:lnTo>
                          <a:pt x="273936" y="113614"/>
                        </a:lnTo>
                        <a:lnTo>
                          <a:pt x="265648" y="126018"/>
                        </a:lnTo>
                        <a:lnTo>
                          <a:pt x="279809" y="137297"/>
                        </a:lnTo>
                        <a:lnTo>
                          <a:pt x="278574" y="149290"/>
                        </a:lnTo>
                        <a:lnTo>
                          <a:pt x="276433" y="152748"/>
                        </a:lnTo>
                        <a:lnTo>
                          <a:pt x="278546" y="162874"/>
                        </a:lnTo>
                        <a:lnTo>
                          <a:pt x="281263" y="173824"/>
                        </a:lnTo>
                        <a:lnTo>
                          <a:pt x="292570" y="193418"/>
                        </a:lnTo>
                        <a:lnTo>
                          <a:pt x="289222" y="195861"/>
                        </a:lnTo>
                        <a:lnTo>
                          <a:pt x="292487" y="203435"/>
                        </a:lnTo>
                        <a:lnTo>
                          <a:pt x="291115" y="211723"/>
                        </a:lnTo>
                        <a:lnTo>
                          <a:pt x="281703" y="215674"/>
                        </a:lnTo>
                        <a:lnTo>
                          <a:pt x="276515" y="221520"/>
                        </a:lnTo>
                        <a:lnTo>
                          <a:pt x="251186" y="252530"/>
                        </a:lnTo>
                        <a:lnTo>
                          <a:pt x="252942" y="267843"/>
                        </a:lnTo>
                        <a:lnTo>
                          <a:pt x="255522" y="275280"/>
                        </a:lnTo>
                        <a:lnTo>
                          <a:pt x="247673" y="274430"/>
                        </a:lnTo>
                        <a:lnTo>
                          <a:pt x="233019" y="268502"/>
                        </a:lnTo>
                        <a:lnTo>
                          <a:pt x="227475" y="261477"/>
                        </a:lnTo>
                        <a:lnTo>
                          <a:pt x="213314" y="258869"/>
                        </a:lnTo>
                        <a:lnTo>
                          <a:pt x="205219" y="259611"/>
                        </a:lnTo>
                        <a:lnTo>
                          <a:pt x="199785" y="264331"/>
                        </a:lnTo>
                        <a:lnTo>
                          <a:pt x="190290" y="259583"/>
                        </a:lnTo>
                        <a:lnTo>
                          <a:pt x="188890" y="261065"/>
                        </a:lnTo>
                        <a:lnTo>
                          <a:pt x="184499" y="260160"/>
                        </a:lnTo>
                        <a:lnTo>
                          <a:pt x="177309" y="263754"/>
                        </a:lnTo>
                        <a:lnTo>
                          <a:pt x="174510" y="269490"/>
                        </a:lnTo>
                        <a:lnTo>
                          <a:pt x="168829" y="269216"/>
                        </a:lnTo>
                        <a:lnTo>
                          <a:pt x="165893" y="268529"/>
                        </a:lnTo>
                        <a:lnTo>
                          <a:pt x="165811" y="260955"/>
                        </a:lnTo>
                        <a:lnTo>
                          <a:pt x="162161" y="259912"/>
                        </a:lnTo>
                        <a:lnTo>
                          <a:pt x="156562" y="250719"/>
                        </a:lnTo>
                        <a:lnTo>
                          <a:pt x="147616" y="259583"/>
                        </a:lnTo>
                        <a:lnTo>
                          <a:pt x="142676" y="259967"/>
                        </a:lnTo>
                        <a:lnTo>
                          <a:pt x="140975" y="255796"/>
                        </a:lnTo>
                        <a:lnTo>
                          <a:pt x="138423" y="255110"/>
                        </a:lnTo>
                        <a:lnTo>
                          <a:pt x="136968" y="248688"/>
                        </a:lnTo>
                        <a:lnTo>
                          <a:pt x="131480" y="244517"/>
                        </a:lnTo>
                        <a:lnTo>
                          <a:pt x="130299" y="237217"/>
                        </a:lnTo>
                        <a:lnTo>
                          <a:pt x="123000" y="236394"/>
                        </a:lnTo>
                        <a:lnTo>
                          <a:pt x="114410" y="230109"/>
                        </a:lnTo>
                        <a:lnTo>
                          <a:pt x="108839" y="233595"/>
                        </a:lnTo>
                        <a:lnTo>
                          <a:pt x="103158" y="226706"/>
                        </a:lnTo>
                        <a:lnTo>
                          <a:pt x="105601" y="223386"/>
                        </a:lnTo>
                        <a:lnTo>
                          <a:pt x="105436" y="220038"/>
                        </a:lnTo>
                        <a:lnTo>
                          <a:pt x="96600" y="221465"/>
                        </a:lnTo>
                        <a:lnTo>
                          <a:pt x="81286" y="212464"/>
                        </a:lnTo>
                        <a:lnTo>
                          <a:pt x="80683" y="214467"/>
                        </a:lnTo>
                        <a:lnTo>
                          <a:pt x="83838" y="220806"/>
                        </a:lnTo>
                        <a:lnTo>
                          <a:pt x="79969" y="224045"/>
                        </a:lnTo>
                        <a:lnTo>
                          <a:pt x="75578" y="227804"/>
                        </a:lnTo>
                        <a:lnTo>
                          <a:pt x="71654" y="226569"/>
                        </a:lnTo>
                        <a:lnTo>
                          <a:pt x="62214" y="212244"/>
                        </a:lnTo>
                        <a:lnTo>
                          <a:pt x="66000" y="208127"/>
                        </a:lnTo>
                        <a:lnTo>
                          <a:pt x="66110" y="205328"/>
                        </a:lnTo>
                        <a:lnTo>
                          <a:pt x="57740" y="202611"/>
                        </a:lnTo>
                        <a:lnTo>
                          <a:pt x="55984" y="204093"/>
                        </a:lnTo>
                        <a:lnTo>
                          <a:pt x="48656" y="198879"/>
                        </a:lnTo>
                        <a:lnTo>
                          <a:pt x="40918" y="197150"/>
                        </a:lnTo>
                        <a:lnTo>
                          <a:pt x="36253" y="196107"/>
                        </a:lnTo>
                        <a:lnTo>
                          <a:pt x="32300" y="187628"/>
                        </a:lnTo>
                        <a:lnTo>
                          <a:pt x="27004" y="186365"/>
                        </a:lnTo>
                        <a:lnTo>
                          <a:pt x="24480" y="192540"/>
                        </a:lnTo>
                        <a:lnTo>
                          <a:pt x="19979" y="192924"/>
                        </a:lnTo>
                        <a:lnTo>
                          <a:pt x="25083" y="180438"/>
                        </a:lnTo>
                        <a:lnTo>
                          <a:pt x="25824" y="173934"/>
                        </a:lnTo>
                        <a:lnTo>
                          <a:pt x="24397" y="169762"/>
                        </a:lnTo>
                        <a:lnTo>
                          <a:pt x="23190" y="165015"/>
                        </a:lnTo>
                        <a:lnTo>
                          <a:pt x="18305" y="162462"/>
                        </a:lnTo>
                        <a:lnTo>
                          <a:pt x="17207" y="159471"/>
                        </a:lnTo>
                        <a:lnTo>
                          <a:pt x="17536" y="155519"/>
                        </a:lnTo>
                        <a:lnTo>
                          <a:pt x="13804" y="147863"/>
                        </a:lnTo>
                        <a:lnTo>
                          <a:pt x="16850" y="139520"/>
                        </a:lnTo>
                        <a:lnTo>
                          <a:pt x="17975" y="136254"/>
                        </a:lnTo>
                        <a:lnTo>
                          <a:pt x="16219" y="128625"/>
                        </a:lnTo>
                        <a:lnTo>
                          <a:pt x="13420" y="126567"/>
                        </a:lnTo>
                        <a:lnTo>
                          <a:pt x="11472" y="120639"/>
                        </a:lnTo>
                        <a:lnTo>
                          <a:pt x="14271" y="114519"/>
                        </a:lnTo>
                        <a:lnTo>
                          <a:pt x="12404" y="109552"/>
                        </a:lnTo>
                        <a:lnTo>
                          <a:pt x="8617" y="106863"/>
                        </a:lnTo>
                        <a:lnTo>
                          <a:pt x="330" y="99124"/>
                        </a:lnTo>
                        <a:lnTo>
                          <a:pt x="385" y="96352"/>
                        </a:lnTo>
                        <a:lnTo>
                          <a:pt x="0" y="93169"/>
                        </a:lnTo>
                        <a:lnTo>
                          <a:pt x="5818" y="88174"/>
                        </a:lnTo>
                        <a:lnTo>
                          <a:pt x="6861" y="81423"/>
                        </a:lnTo>
                        <a:lnTo>
                          <a:pt x="8453" y="78514"/>
                        </a:lnTo>
                        <a:lnTo>
                          <a:pt x="7876" y="75111"/>
                        </a:lnTo>
                        <a:lnTo>
                          <a:pt x="3650" y="56862"/>
                        </a:lnTo>
                        <a:lnTo>
                          <a:pt x="10566" y="57219"/>
                        </a:lnTo>
                        <a:lnTo>
                          <a:pt x="12734" y="50824"/>
                        </a:lnTo>
                        <a:lnTo>
                          <a:pt x="9386" y="49041"/>
                        </a:lnTo>
                        <a:lnTo>
                          <a:pt x="2031" y="49672"/>
                        </a:lnTo>
                        <a:lnTo>
                          <a:pt x="2031" y="48492"/>
                        </a:lnTo>
                        <a:cubicBezTo>
                          <a:pt x="2031" y="48492"/>
                          <a:pt x="2388" y="45391"/>
                          <a:pt x="2388" y="45391"/>
                        </a:cubicBezTo>
                        <a:lnTo>
                          <a:pt x="7108" y="45885"/>
                        </a:lnTo>
                        <a:lnTo>
                          <a:pt x="14600" y="41960"/>
                        </a:lnTo>
                        <a:lnTo>
                          <a:pt x="17536" y="44787"/>
                        </a:lnTo>
                        <a:lnTo>
                          <a:pt x="20720" y="39545"/>
                        </a:lnTo>
                        <a:lnTo>
                          <a:pt x="36554" y="33865"/>
                        </a:lnTo>
                        <a:lnTo>
                          <a:pt x="57795" y="27745"/>
                        </a:lnTo>
                        <a:lnTo>
                          <a:pt x="69019" y="15725"/>
                        </a:lnTo>
                        <a:lnTo>
                          <a:pt x="75139" y="13173"/>
                        </a:lnTo>
                        <a:lnTo>
                          <a:pt x="91550" y="4994"/>
                        </a:lnTo>
                        <a:lnTo>
                          <a:pt x="103597" y="2278"/>
                        </a:lnTo>
                        <a:lnTo>
                          <a:pt x="123082" y="0"/>
                        </a:lnTo>
                        <a:lnTo>
                          <a:pt x="129339" y="12404"/>
                        </a:lnTo>
                        <a:lnTo>
                          <a:pt x="131507" y="2055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59" name="Freeform: Shape 3058">
                    <a:extLst>
                      <a:ext uri="{FF2B5EF4-FFF2-40B4-BE49-F238E27FC236}">
                        <a16:creationId xmlns:a16="http://schemas.microsoft.com/office/drawing/2014/main" id="{9073DD5B-59D0-DC99-48AD-FD692A082B02}"/>
                      </a:ext>
                    </a:extLst>
                  </p:cNvPr>
                  <p:cNvSpPr/>
                  <p:nvPr/>
                </p:nvSpPr>
                <p:spPr>
                  <a:xfrm>
                    <a:off x="-5667474" y="2857856"/>
                    <a:ext cx="167264" cy="129887"/>
                  </a:xfrm>
                  <a:custGeom>
                    <a:avLst/>
                    <a:gdLst>
                      <a:gd name="connsiteX0" fmla="*/ 79063 w 167264"/>
                      <a:gd name="connsiteY0" fmla="*/ 3375 h 129887"/>
                      <a:gd name="connsiteX1" fmla="*/ 91028 w 167264"/>
                      <a:gd name="connsiteY1" fmla="*/ 9221 h 129887"/>
                      <a:gd name="connsiteX2" fmla="*/ 102170 w 167264"/>
                      <a:gd name="connsiteY2" fmla="*/ 7739 h 129887"/>
                      <a:gd name="connsiteX3" fmla="*/ 106314 w 167264"/>
                      <a:gd name="connsiteY3" fmla="*/ 2031 h 129887"/>
                      <a:gd name="connsiteX4" fmla="*/ 112544 w 167264"/>
                      <a:gd name="connsiteY4" fmla="*/ 27 h 129887"/>
                      <a:gd name="connsiteX5" fmla="*/ 119295 w 167264"/>
                      <a:gd name="connsiteY5" fmla="*/ 12596 h 129887"/>
                      <a:gd name="connsiteX6" fmla="*/ 134855 w 167264"/>
                      <a:gd name="connsiteY6" fmla="*/ 15944 h 129887"/>
                      <a:gd name="connsiteX7" fmla="*/ 140151 w 167264"/>
                      <a:gd name="connsiteY7" fmla="*/ 19841 h 129887"/>
                      <a:gd name="connsiteX8" fmla="*/ 142320 w 167264"/>
                      <a:gd name="connsiteY8" fmla="*/ 22586 h 129887"/>
                      <a:gd name="connsiteX9" fmla="*/ 146738 w 167264"/>
                      <a:gd name="connsiteY9" fmla="*/ 25549 h 129887"/>
                      <a:gd name="connsiteX10" fmla="*/ 156205 w 167264"/>
                      <a:gd name="connsiteY10" fmla="*/ 37460 h 129887"/>
                      <a:gd name="connsiteX11" fmla="*/ 163944 w 167264"/>
                      <a:gd name="connsiteY11" fmla="*/ 39326 h 129887"/>
                      <a:gd name="connsiteX12" fmla="*/ 160953 w 167264"/>
                      <a:gd name="connsiteY12" fmla="*/ 55270 h 129887"/>
                      <a:gd name="connsiteX13" fmla="*/ 166936 w 167264"/>
                      <a:gd name="connsiteY13" fmla="*/ 58454 h 129887"/>
                      <a:gd name="connsiteX14" fmla="*/ 167265 w 167264"/>
                      <a:gd name="connsiteY14" fmla="*/ 61445 h 129887"/>
                      <a:gd name="connsiteX15" fmla="*/ 164988 w 167264"/>
                      <a:gd name="connsiteY15" fmla="*/ 66110 h 129887"/>
                      <a:gd name="connsiteX16" fmla="*/ 154559 w 167264"/>
                      <a:gd name="connsiteY16" fmla="*/ 67647 h 129887"/>
                      <a:gd name="connsiteX17" fmla="*/ 150827 w 167264"/>
                      <a:gd name="connsiteY17" fmla="*/ 74645 h 129887"/>
                      <a:gd name="connsiteX18" fmla="*/ 142292 w 167264"/>
                      <a:gd name="connsiteY18" fmla="*/ 77856 h 129887"/>
                      <a:gd name="connsiteX19" fmla="*/ 138011 w 167264"/>
                      <a:gd name="connsiteY19" fmla="*/ 84442 h 129887"/>
                      <a:gd name="connsiteX20" fmla="*/ 137874 w 167264"/>
                      <a:gd name="connsiteY20" fmla="*/ 95694 h 129887"/>
                      <a:gd name="connsiteX21" fmla="*/ 132824 w 167264"/>
                      <a:gd name="connsiteY21" fmla="*/ 107220 h 129887"/>
                      <a:gd name="connsiteX22" fmla="*/ 138340 w 167264"/>
                      <a:gd name="connsiteY22" fmla="*/ 113092 h 129887"/>
                      <a:gd name="connsiteX23" fmla="*/ 138615 w 167264"/>
                      <a:gd name="connsiteY23" fmla="*/ 116303 h 129887"/>
                      <a:gd name="connsiteX24" fmla="*/ 132550 w 167264"/>
                      <a:gd name="connsiteY24" fmla="*/ 117181 h 129887"/>
                      <a:gd name="connsiteX25" fmla="*/ 132165 w 167264"/>
                      <a:gd name="connsiteY25" fmla="*/ 111830 h 129887"/>
                      <a:gd name="connsiteX26" fmla="*/ 130382 w 167264"/>
                      <a:gd name="connsiteY26" fmla="*/ 110211 h 129887"/>
                      <a:gd name="connsiteX27" fmla="*/ 122945 w 167264"/>
                      <a:gd name="connsiteY27" fmla="*/ 112516 h 129887"/>
                      <a:gd name="connsiteX28" fmla="*/ 118197 w 167264"/>
                      <a:gd name="connsiteY28" fmla="*/ 117703 h 129887"/>
                      <a:gd name="connsiteX29" fmla="*/ 111117 w 167264"/>
                      <a:gd name="connsiteY29" fmla="*/ 117703 h 129887"/>
                      <a:gd name="connsiteX30" fmla="*/ 109607 w 167264"/>
                      <a:gd name="connsiteY30" fmla="*/ 125387 h 129887"/>
                      <a:gd name="connsiteX31" fmla="*/ 104914 w 167264"/>
                      <a:gd name="connsiteY31" fmla="*/ 125058 h 129887"/>
                      <a:gd name="connsiteX32" fmla="*/ 98630 w 167264"/>
                      <a:gd name="connsiteY32" fmla="*/ 129887 h 129887"/>
                      <a:gd name="connsiteX33" fmla="*/ 92044 w 167264"/>
                      <a:gd name="connsiteY33" fmla="*/ 127061 h 129887"/>
                      <a:gd name="connsiteX34" fmla="*/ 72258 w 167264"/>
                      <a:gd name="connsiteY34" fmla="*/ 127308 h 129887"/>
                      <a:gd name="connsiteX35" fmla="*/ 71681 w 167264"/>
                      <a:gd name="connsiteY35" fmla="*/ 118855 h 129887"/>
                      <a:gd name="connsiteX36" fmla="*/ 66549 w 167264"/>
                      <a:gd name="connsiteY36" fmla="*/ 112434 h 129887"/>
                      <a:gd name="connsiteX37" fmla="*/ 56066 w 167264"/>
                      <a:gd name="connsiteY37" fmla="*/ 105683 h 129887"/>
                      <a:gd name="connsiteX38" fmla="*/ 50989 w 167264"/>
                      <a:gd name="connsiteY38" fmla="*/ 106863 h 129887"/>
                      <a:gd name="connsiteX39" fmla="*/ 48080 w 167264"/>
                      <a:gd name="connsiteY39" fmla="*/ 96599 h 129887"/>
                      <a:gd name="connsiteX40" fmla="*/ 53102 w 167264"/>
                      <a:gd name="connsiteY40" fmla="*/ 83756 h 129887"/>
                      <a:gd name="connsiteX41" fmla="*/ 45007 w 167264"/>
                      <a:gd name="connsiteY41" fmla="*/ 70858 h 129887"/>
                      <a:gd name="connsiteX42" fmla="*/ 30050 w 167264"/>
                      <a:gd name="connsiteY42" fmla="*/ 72340 h 129887"/>
                      <a:gd name="connsiteX43" fmla="*/ 17427 w 167264"/>
                      <a:gd name="connsiteY43" fmla="*/ 65232 h 129887"/>
                      <a:gd name="connsiteX44" fmla="*/ 9468 w 167264"/>
                      <a:gd name="connsiteY44" fmla="*/ 60100 h 129887"/>
                      <a:gd name="connsiteX45" fmla="*/ 6339 w 167264"/>
                      <a:gd name="connsiteY45" fmla="*/ 61829 h 129887"/>
                      <a:gd name="connsiteX46" fmla="*/ 5215 w 167264"/>
                      <a:gd name="connsiteY46" fmla="*/ 49562 h 129887"/>
                      <a:gd name="connsiteX47" fmla="*/ 1345 w 167264"/>
                      <a:gd name="connsiteY47" fmla="*/ 40506 h 129887"/>
                      <a:gd name="connsiteX48" fmla="*/ 0 w 167264"/>
                      <a:gd name="connsiteY48" fmla="*/ 29693 h 129887"/>
                      <a:gd name="connsiteX49" fmla="*/ 192 w 167264"/>
                      <a:gd name="connsiteY49" fmla="*/ 18908 h 129887"/>
                      <a:gd name="connsiteX50" fmla="*/ 3540 w 167264"/>
                      <a:gd name="connsiteY50" fmla="*/ 18195 h 129887"/>
                      <a:gd name="connsiteX51" fmla="*/ 6367 w 167264"/>
                      <a:gd name="connsiteY51" fmla="*/ 12789 h 129887"/>
                      <a:gd name="connsiteX52" fmla="*/ 13914 w 167264"/>
                      <a:gd name="connsiteY52" fmla="*/ 6696 h 129887"/>
                      <a:gd name="connsiteX53" fmla="*/ 27059 w 167264"/>
                      <a:gd name="connsiteY53" fmla="*/ 2196 h 129887"/>
                      <a:gd name="connsiteX54" fmla="*/ 31148 w 167264"/>
                      <a:gd name="connsiteY54" fmla="*/ 0 h 129887"/>
                      <a:gd name="connsiteX55" fmla="*/ 46406 w 167264"/>
                      <a:gd name="connsiteY55" fmla="*/ 3101 h 129887"/>
                      <a:gd name="connsiteX56" fmla="*/ 52828 w 167264"/>
                      <a:gd name="connsiteY56" fmla="*/ 3101 h 129887"/>
                      <a:gd name="connsiteX57" fmla="*/ 54804 w 167264"/>
                      <a:gd name="connsiteY57" fmla="*/ 1427 h 129887"/>
                      <a:gd name="connsiteX58" fmla="*/ 58865 w 167264"/>
                      <a:gd name="connsiteY58" fmla="*/ 5544 h 129887"/>
                      <a:gd name="connsiteX59" fmla="*/ 64930 w 167264"/>
                      <a:gd name="connsiteY59" fmla="*/ 2827 h 129887"/>
                      <a:gd name="connsiteX60" fmla="*/ 79036 w 167264"/>
                      <a:gd name="connsiteY60" fmla="*/ 3348 h 12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67264" h="129887">
                        <a:moveTo>
                          <a:pt x="79063" y="3375"/>
                        </a:moveTo>
                        <a:lnTo>
                          <a:pt x="91028" y="9221"/>
                        </a:lnTo>
                        <a:lnTo>
                          <a:pt x="102170" y="7739"/>
                        </a:lnTo>
                        <a:lnTo>
                          <a:pt x="106314" y="2031"/>
                        </a:lnTo>
                        <a:lnTo>
                          <a:pt x="112544" y="27"/>
                        </a:lnTo>
                        <a:lnTo>
                          <a:pt x="119295" y="12596"/>
                        </a:lnTo>
                        <a:lnTo>
                          <a:pt x="134855" y="15944"/>
                        </a:lnTo>
                        <a:lnTo>
                          <a:pt x="140151" y="19841"/>
                        </a:lnTo>
                        <a:lnTo>
                          <a:pt x="142320" y="22586"/>
                        </a:lnTo>
                        <a:lnTo>
                          <a:pt x="146738" y="25549"/>
                        </a:lnTo>
                        <a:lnTo>
                          <a:pt x="156205" y="37460"/>
                        </a:lnTo>
                        <a:lnTo>
                          <a:pt x="163944" y="39326"/>
                        </a:lnTo>
                        <a:lnTo>
                          <a:pt x="160953" y="55270"/>
                        </a:lnTo>
                        <a:lnTo>
                          <a:pt x="166936" y="58454"/>
                        </a:lnTo>
                        <a:lnTo>
                          <a:pt x="167265" y="61445"/>
                        </a:lnTo>
                        <a:lnTo>
                          <a:pt x="164988" y="66110"/>
                        </a:lnTo>
                        <a:lnTo>
                          <a:pt x="154559" y="67647"/>
                        </a:lnTo>
                        <a:lnTo>
                          <a:pt x="150827" y="74645"/>
                        </a:lnTo>
                        <a:lnTo>
                          <a:pt x="142292" y="77856"/>
                        </a:lnTo>
                        <a:lnTo>
                          <a:pt x="138011" y="84442"/>
                        </a:lnTo>
                        <a:lnTo>
                          <a:pt x="137874" y="95694"/>
                        </a:lnTo>
                        <a:lnTo>
                          <a:pt x="132824" y="107220"/>
                        </a:lnTo>
                        <a:lnTo>
                          <a:pt x="138340" y="113092"/>
                        </a:lnTo>
                        <a:lnTo>
                          <a:pt x="138615" y="116303"/>
                        </a:lnTo>
                        <a:lnTo>
                          <a:pt x="132550" y="117181"/>
                        </a:lnTo>
                        <a:lnTo>
                          <a:pt x="132165" y="111830"/>
                        </a:lnTo>
                        <a:lnTo>
                          <a:pt x="130382" y="110211"/>
                        </a:lnTo>
                        <a:lnTo>
                          <a:pt x="122945" y="112516"/>
                        </a:lnTo>
                        <a:lnTo>
                          <a:pt x="118197" y="117703"/>
                        </a:lnTo>
                        <a:lnTo>
                          <a:pt x="111117" y="117703"/>
                        </a:lnTo>
                        <a:cubicBezTo>
                          <a:pt x="111117" y="117703"/>
                          <a:pt x="109607" y="125387"/>
                          <a:pt x="109607" y="125387"/>
                        </a:cubicBezTo>
                        <a:lnTo>
                          <a:pt x="104914" y="125058"/>
                        </a:lnTo>
                        <a:lnTo>
                          <a:pt x="98630" y="129887"/>
                        </a:lnTo>
                        <a:lnTo>
                          <a:pt x="92044" y="127061"/>
                        </a:lnTo>
                        <a:lnTo>
                          <a:pt x="72258" y="127308"/>
                        </a:lnTo>
                        <a:lnTo>
                          <a:pt x="71681" y="118855"/>
                        </a:lnTo>
                        <a:lnTo>
                          <a:pt x="66549" y="112434"/>
                        </a:lnTo>
                        <a:lnTo>
                          <a:pt x="56066" y="105683"/>
                        </a:lnTo>
                        <a:lnTo>
                          <a:pt x="50989" y="106863"/>
                        </a:lnTo>
                        <a:lnTo>
                          <a:pt x="48080" y="96599"/>
                        </a:lnTo>
                        <a:lnTo>
                          <a:pt x="53102" y="83756"/>
                        </a:lnTo>
                        <a:lnTo>
                          <a:pt x="45007" y="70858"/>
                        </a:lnTo>
                        <a:lnTo>
                          <a:pt x="30050" y="72340"/>
                        </a:lnTo>
                        <a:lnTo>
                          <a:pt x="17427" y="65232"/>
                        </a:lnTo>
                        <a:lnTo>
                          <a:pt x="9468" y="60100"/>
                        </a:lnTo>
                        <a:lnTo>
                          <a:pt x="6339" y="61829"/>
                        </a:lnTo>
                        <a:lnTo>
                          <a:pt x="5215" y="49562"/>
                        </a:lnTo>
                        <a:lnTo>
                          <a:pt x="1345" y="40506"/>
                        </a:lnTo>
                        <a:lnTo>
                          <a:pt x="0" y="29693"/>
                        </a:lnTo>
                        <a:lnTo>
                          <a:pt x="192" y="18908"/>
                        </a:lnTo>
                        <a:lnTo>
                          <a:pt x="3540" y="18195"/>
                        </a:lnTo>
                        <a:lnTo>
                          <a:pt x="6367" y="12789"/>
                        </a:lnTo>
                        <a:lnTo>
                          <a:pt x="13914" y="6696"/>
                        </a:lnTo>
                        <a:lnTo>
                          <a:pt x="27059" y="2196"/>
                        </a:lnTo>
                        <a:lnTo>
                          <a:pt x="31148" y="0"/>
                        </a:lnTo>
                        <a:lnTo>
                          <a:pt x="46406" y="3101"/>
                        </a:lnTo>
                        <a:lnTo>
                          <a:pt x="52828" y="3101"/>
                        </a:lnTo>
                        <a:lnTo>
                          <a:pt x="54804" y="1427"/>
                        </a:lnTo>
                        <a:lnTo>
                          <a:pt x="58865" y="5544"/>
                        </a:lnTo>
                        <a:lnTo>
                          <a:pt x="64930" y="2827"/>
                        </a:lnTo>
                        <a:lnTo>
                          <a:pt x="79036" y="334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60" name="Freeform: Shape 3059">
                    <a:extLst>
                      <a:ext uri="{FF2B5EF4-FFF2-40B4-BE49-F238E27FC236}">
                        <a16:creationId xmlns:a16="http://schemas.microsoft.com/office/drawing/2014/main" id="{3172AE65-A86B-4581-0363-8DAEBC99CEDC}"/>
                      </a:ext>
                    </a:extLst>
                  </p:cNvPr>
                  <p:cNvSpPr/>
                  <p:nvPr/>
                </p:nvSpPr>
                <p:spPr>
                  <a:xfrm>
                    <a:off x="-6117758" y="3165849"/>
                    <a:ext cx="21625" cy="32986"/>
                  </a:xfrm>
                  <a:custGeom>
                    <a:avLst/>
                    <a:gdLst>
                      <a:gd name="connsiteX0" fmla="*/ 11498 w 21625"/>
                      <a:gd name="connsiteY0" fmla="*/ 2442 h 32986"/>
                      <a:gd name="connsiteX1" fmla="*/ 12706 w 21625"/>
                      <a:gd name="connsiteY1" fmla="*/ 10154 h 32986"/>
                      <a:gd name="connsiteX2" fmla="*/ 18195 w 21625"/>
                      <a:gd name="connsiteY2" fmla="*/ 15286 h 32986"/>
                      <a:gd name="connsiteX3" fmla="*/ 21405 w 21625"/>
                      <a:gd name="connsiteY3" fmla="*/ 16576 h 32986"/>
                      <a:gd name="connsiteX4" fmla="*/ 21625 w 21625"/>
                      <a:gd name="connsiteY4" fmla="*/ 21158 h 32986"/>
                      <a:gd name="connsiteX5" fmla="*/ 18195 w 21625"/>
                      <a:gd name="connsiteY5" fmla="*/ 29364 h 32986"/>
                      <a:gd name="connsiteX6" fmla="*/ 18195 w 21625"/>
                      <a:gd name="connsiteY6" fmla="*/ 32987 h 32986"/>
                      <a:gd name="connsiteX7" fmla="*/ 4308 w 21625"/>
                      <a:gd name="connsiteY7" fmla="*/ 31285 h 32986"/>
                      <a:gd name="connsiteX8" fmla="*/ 2113 w 21625"/>
                      <a:gd name="connsiteY8" fmla="*/ 29062 h 32986"/>
                      <a:gd name="connsiteX9" fmla="*/ 4308 w 21625"/>
                      <a:gd name="connsiteY9" fmla="*/ 23683 h 32986"/>
                      <a:gd name="connsiteX10" fmla="*/ 0 w 21625"/>
                      <a:gd name="connsiteY10" fmla="*/ 15066 h 32986"/>
                      <a:gd name="connsiteX11" fmla="*/ 4501 w 21625"/>
                      <a:gd name="connsiteY11" fmla="*/ 3650 h 32986"/>
                      <a:gd name="connsiteX12" fmla="*/ 8178 w 21625"/>
                      <a:gd name="connsiteY12" fmla="*/ 0 h 32986"/>
                      <a:gd name="connsiteX13" fmla="*/ 11498 w 21625"/>
                      <a:gd name="connsiteY13" fmla="*/ 2415 h 32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25" h="32986">
                        <a:moveTo>
                          <a:pt x="11498" y="2442"/>
                        </a:moveTo>
                        <a:lnTo>
                          <a:pt x="12706" y="10154"/>
                        </a:lnTo>
                        <a:lnTo>
                          <a:pt x="18195" y="15286"/>
                        </a:lnTo>
                        <a:lnTo>
                          <a:pt x="21405" y="16576"/>
                        </a:lnTo>
                        <a:lnTo>
                          <a:pt x="21625" y="21158"/>
                        </a:lnTo>
                        <a:lnTo>
                          <a:pt x="18195" y="29364"/>
                        </a:lnTo>
                        <a:lnTo>
                          <a:pt x="18195" y="32987"/>
                        </a:lnTo>
                        <a:lnTo>
                          <a:pt x="4308" y="31285"/>
                        </a:lnTo>
                        <a:lnTo>
                          <a:pt x="2113" y="29062"/>
                        </a:lnTo>
                        <a:lnTo>
                          <a:pt x="4308" y="23683"/>
                        </a:lnTo>
                        <a:lnTo>
                          <a:pt x="0" y="15066"/>
                        </a:lnTo>
                        <a:lnTo>
                          <a:pt x="4501" y="3650"/>
                        </a:lnTo>
                        <a:lnTo>
                          <a:pt x="8178" y="0"/>
                        </a:lnTo>
                        <a:lnTo>
                          <a:pt x="11498" y="241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61" name="Freeform: Shape 3060">
                    <a:extLst>
                      <a:ext uri="{FF2B5EF4-FFF2-40B4-BE49-F238E27FC236}">
                        <a16:creationId xmlns:a16="http://schemas.microsoft.com/office/drawing/2014/main" id="{CC0971B3-DA19-7CD5-47ED-CB001EDDA2FF}"/>
                      </a:ext>
                    </a:extLst>
                  </p:cNvPr>
                  <p:cNvSpPr/>
                  <p:nvPr/>
                </p:nvSpPr>
                <p:spPr>
                  <a:xfrm>
                    <a:off x="-5669888" y="2769764"/>
                    <a:ext cx="213121" cy="127362"/>
                  </a:xfrm>
                  <a:custGeom>
                    <a:avLst/>
                    <a:gdLst>
                      <a:gd name="connsiteX0" fmla="*/ 156452 w 213121"/>
                      <a:gd name="connsiteY0" fmla="*/ 24616 h 127362"/>
                      <a:gd name="connsiteX1" fmla="*/ 163231 w 213121"/>
                      <a:gd name="connsiteY1" fmla="*/ 28760 h 127362"/>
                      <a:gd name="connsiteX2" fmla="*/ 174592 w 213121"/>
                      <a:gd name="connsiteY2" fmla="*/ 23573 h 127362"/>
                      <a:gd name="connsiteX3" fmla="*/ 187517 w 213121"/>
                      <a:gd name="connsiteY3" fmla="*/ 29172 h 127362"/>
                      <a:gd name="connsiteX4" fmla="*/ 192705 w 213121"/>
                      <a:gd name="connsiteY4" fmla="*/ 28815 h 127362"/>
                      <a:gd name="connsiteX5" fmla="*/ 193281 w 213121"/>
                      <a:gd name="connsiteY5" fmla="*/ 34139 h 127362"/>
                      <a:gd name="connsiteX6" fmla="*/ 197507 w 213121"/>
                      <a:gd name="connsiteY6" fmla="*/ 37240 h 127362"/>
                      <a:gd name="connsiteX7" fmla="*/ 202282 w 213121"/>
                      <a:gd name="connsiteY7" fmla="*/ 42921 h 127362"/>
                      <a:gd name="connsiteX8" fmla="*/ 197068 w 213121"/>
                      <a:gd name="connsiteY8" fmla="*/ 65150 h 127362"/>
                      <a:gd name="connsiteX9" fmla="*/ 202858 w 213121"/>
                      <a:gd name="connsiteY9" fmla="*/ 65314 h 127362"/>
                      <a:gd name="connsiteX10" fmla="*/ 209939 w 213121"/>
                      <a:gd name="connsiteY10" fmla="*/ 80627 h 127362"/>
                      <a:gd name="connsiteX11" fmla="*/ 213122 w 213121"/>
                      <a:gd name="connsiteY11" fmla="*/ 95749 h 127362"/>
                      <a:gd name="connsiteX12" fmla="*/ 211146 w 213121"/>
                      <a:gd name="connsiteY12" fmla="*/ 101676 h 127362"/>
                      <a:gd name="connsiteX13" fmla="*/ 197068 w 213121"/>
                      <a:gd name="connsiteY13" fmla="*/ 114135 h 127362"/>
                      <a:gd name="connsiteX14" fmla="*/ 194433 w 213121"/>
                      <a:gd name="connsiteY14" fmla="*/ 121380 h 127362"/>
                      <a:gd name="connsiteX15" fmla="*/ 180053 w 213121"/>
                      <a:gd name="connsiteY15" fmla="*/ 118938 h 127362"/>
                      <a:gd name="connsiteX16" fmla="*/ 171765 w 213121"/>
                      <a:gd name="connsiteY16" fmla="*/ 126677 h 127362"/>
                      <a:gd name="connsiteX17" fmla="*/ 166304 w 213121"/>
                      <a:gd name="connsiteY17" fmla="*/ 127363 h 127362"/>
                      <a:gd name="connsiteX18" fmla="*/ 158566 w 213121"/>
                      <a:gd name="connsiteY18" fmla="*/ 125497 h 127362"/>
                      <a:gd name="connsiteX19" fmla="*/ 149097 w 213121"/>
                      <a:gd name="connsiteY19" fmla="*/ 113587 h 127362"/>
                      <a:gd name="connsiteX20" fmla="*/ 144679 w 213121"/>
                      <a:gd name="connsiteY20" fmla="*/ 110622 h 127362"/>
                      <a:gd name="connsiteX21" fmla="*/ 142511 w 213121"/>
                      <a:gd name="connsiteY21" fmla="*/ 107878 h 127362"/>
                      <a:gd name="connsiteX22" fmla="*/ 137215 w 213121"/>
                      <a:gd name="connsiteY22" fmla="*/ 103981 h 127362"/>
                      <a:gd name="connsiteX23" fmla="*/ 121654 w 213121"/>
                      <a:gd name="connsiteY23" fmla="*/ 100633 h 127362"/>
                      <a:gd name="connsiteX24" fmla="*/ 114903 w 213121"/>
                      <a:gd name="connsiteY24" fmla="*/ 88064 h 127362"/>
                      <a:gd name="connsiteX25" fmla="*/ 108674 w 213121"/>
                      <a:gd name="connsiteY25" fmla="*/ 90068 h 127362"/>
                      <a:gd name="connsiteX26" fmla="*/ 104530 w 213121"/>
                      <a:gd name="connsiteY26" fmla="*/ 95776 h 127362"/>
                      <a:gd name="connsiteX27" fmla="*/ 93389 w 213121"/>
                      <a:gd name="connsiteY27" fmla="*/ 97258 h 127362"/>
                      <a:gd name="connsiteX28" fmla="*/ 81423 w 213121"/>
                      <a:gd name="connsiteY28" fmla="*/ 91412 h 127362"/>
                      <a:gd name="connsiteX29" fmla="*/ 67318 w 213121"/>
                      <a:gd name="connsiteY29" fmla="*/ 90891 h 127362"/>
                      <a:gd name="connsiteX30" fmla="*/ 61252 w 213121"/>
                      <a:gd name="connsiteY30" fmla="*/ 93608 h 127362"/>
                      <a:gd name="connsiteX31" fmla="*/ 57191 w 213121"/>
                      <a:gd name="connsiteY31" fmla="*/ 89492 h 127362"/>
                      <a:gd name="connsiteX32" fmla="*/ 55215 w 213121"/>
                      <a:gd name="connsiteY32" fmla="*/ 91165 h 127362"/>
                      <a:gd name="connsiteX33" fmla="*/ 48794 w 213121"/>
                      <a:gd name="connsiteY33" fmla="*/ 91165 h 127362"/>
                      <a:gd name="connsiteX34" fmla="*/ 33535 w 213121"/>
                      <a:gd name="connsiteY34" fmla="*/ 88064 h 127362"/>
                      <a:gd name="connsiteX35" fmla="*/ 29446 w 213121"/>
                      <a:gd name="connsiteY35" fmla="*/ 90260 h 127362"/>
                      <a:gd name="connsiteX36" fmla="*/ 16301 w 213121"/>
                      <a:gd name="connsiteY36" fmla="*/ 94761 h 127362"/>
                      <a:gd name="connsiteX37" fmla="*/ 8754 w 213121"/>
                      <a:gd name="connsiteY37" fmla="*/ 100853 h 127362"/>
                      <a:gd name="connsiteX38" fmla="*/ 5927 w 213121"/>
                      <a:gd name="connsiteY38" fmla="*/ 106259 h 127362"/>
                      <a:gd name="connsiteX39" fmla="*/ 2579 w 213121"/>
                      <a:gd name="connsiteY39" fmla="*/ 106973 h 127362"/>
                      <a:gd name="connsiteX40" fmla="*/ 0 w 213121"/>
                      <a:gd name="connsiteY40" fmla="*/ 92620 h 127362"/>
                      <a:gd name="connsiteX41" fmla="*/ 2497 w 213121"/>
                      <a:gd name="connsiteY41" fmla="*/ 67702 h 127362"/>
                      <a:gd name="connsiteX42" fmla="*/ 11608 w 213121"/>
                      <a:gd name="connsiteY42" fmla="*/ 56834 h 127362"/>
                      <a:gd name="connsiteX43" fmla="*/ 12788 w 213121"/>
                      <a:gd name="connsiteY43" fmla="*/ 46598 h 127362"/>
                      <a:gd name="connsiteX44" fmla="*/ 13968 w 213121"/>
                      <a:gd name="connsiteY44" fmla="*/ 40561 h 127362"/>
                      <a:gd name="connsiteX45" fmla="*/ 22064 w 213121"/>
                      <a:gd name="connsiteY45" fmla="*/ 26455 h 127362"/>
                      <a:gd name="connsiteX46" fmla="*/ 45308 w 213121"/>
                      <a:gd name="connsiteY46" fmla="*/ 16877 h 127362"/>
                      <a:gd name="connsiteX47" fmla="*/ 47010 w 213121"/>
                      <a:gd name="connsiteY47" fmla="*/ 17563 h 127362"/>
                      <a:gd name="connsiteX48" fmla="*/ 49397 w 213121"/>
                      <a:gd name="connsiteY48" fmla="*/ 25906 h 127362"/>
                      <a:gd name="connsiteX49" fmla="*/ 61225 w 213121"/>
                      <a:gd name="connsiteY49" fmla="*/ 36993 h 127362"/>
                      <a:gd name="connsiteX50" fmla="*/ 63832 w 213121"/>
                      <a:gd name="connsiteY50" fmla="*/ 40149 h 127362"/>
                      <a:gd name="connsiteX51" fmla="*/ 65616 w 213121"/>
                      <a:gd name="connsiteY51" fmla="*/ 46598 h 127362"/>
                      <a:gd name="connsiteX52" fmla="*/ 67894 w 213121"/>
                      <a:gd name="connsiteY52" fmla="*/ 52965 h 127362"/>
                      <a:gd name="connsiteX53" fmla="*/ 76950 w 213121"/>
                      <a:gd name="connsiteY53" fmla="*/ 58618 h 127362"/>
                      <a:gd name="connsiteX54" fmla="*/ 87022 w 213121"/>
                      <a:gd name="connsiteY54" fmla="*/ 56944 h 127362"/>
                      <a:gd name="connsiteX55" fmla="*/ 92455 w 213121"/>
                      <a:gd name="connsiteY55" fmla="*/ 52635 h 127362"/>
                      <a:gd name="connsiteX56" fmla="*/ 99041 w 213121"/>
                      <a:gd name="connsiteY56" fmla="*/ 46598 h 127362"/>
                      <a:gd name="connsiteX57" fmla="*/ 100825 w 213121"/>
                      <a:gd name="connsiteY57" fmla="*/ 41110 h 127362"/>
                      <a:gd name="connsiteX58" fmla="*/ 99343 w 213121"/>
                      <a:gd name="connsiteY58" fmla="*/ 9413 h 127362"/>
                      <a:gd name="connsiteX59" fmla="*/ 113476 w 213121"/>
                      <a:gd name="connsiteY59" fmla="*/ 4062 h 127362"/>
                      <a:gd name="connsiteX60" fmla="*/ 119733 w 213121"/>
                      <a:gd name="connsiteY60" fmla="*/ 329 h 127362"/>
                      <a:gd name="connsiteX61" fmla="*/ 128927 w 213121"/>
                      <a:gd name="connsiteY61" fmla="*/ 0 h 127362"/>
                      <a:gd name="connsiteX62" fmla="*/ 144679 w 213121"/>
                      <a:gd name="connsiteY62" fmla="*/ 10840 h 127362"/>
                      <a:gd name="connsiteX63" fmla="*/ 148521 w 213121"/>
                      <a:gd name="connsiteY63" fmla="*/ 11252 h 127362"/>
                      <a:gd name="connsiteX64" fmla="*/ 156452 w 213121"/>
                      <a:gd name="connsiteY64" fmla="*/ 24534 h 12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3121" h="127362">
                        <a:moveTo>
                          <a:pt x="156452" y="24616"/>
                        </a:moveTo>
                        <a:lnTo>
                          <a:pt x="163231" y="28760"/>
                        </a:lnTo>
                        <a:lnTo>
                          <a:pt x="174592" y="23573"/>
                        </a:lnTo>
                        <a:lnTo>
                          <a:pt x="187517" y="29172"/>
                        </a:lnTo>
                        <a:lnTo>
                          <a:pt x="192705" y="28815"/>
                        </a:lnTo>
                        <a:lnTo>
                          <a:pt x="193281" y="34139"/>
                        </a:lnTo>
                        <a:lnTo>
                          <a:pt x="197507" y="37240"/>
                        </a:lnTo>
                        <a:lnTo>
                          <a:pt x="202282" y="42921"/>
                        </a:lnTo>
                        <a:lnTo>
                          <a:pt x="197068" y="65150"/>
                        </a:lnTo>
                        <a:lnTo>
                          <a:pt x="202858" y="65314"/>
                        </a:lnTo>
                        <a:lnTo>
                          <a:pt x="209939" y="80627"/>
                        </a:lnTo>
                        <a:lnTo>
                          <a:pt x="213122" y="95749"/>
                        </a:lnTo>
                        <a:lnTo>
                          <a:pt x="211146" y="101676"/>
                        </a:lnTo>
                        <a:lnTo>
                          <a:pt x="197068" y="114135"/>
                        </a:lnTo>
                        <a:lnTo>
                          <a:pt x="194433" y="121380"/>
                        </a:lnTo>
                        <a:lnTo>
                          <a:pt x="180053" y="118938"/>
                        </a:lnTo>
                        <a:lnTo>
                          <a:pt x="171765" y="126677"/>
                        </a:lnTo>
                        <a:lnTo>
                          <a:pt x="166304" y="127363"/>
                        </a:lnTo>
                        <a:lnTo>
                          <a:pt x="158566" y="125497"/>
                        </a:lnTo>
                        <a:lnTo>
                          <a:pt x="149097" y="113587"/>
                        </a:lnTo>
                        <a:lnTo>
                          <a:pt x="144679" y="110622"/>
                        </a:lnTo>
                        <a:lnTo>
                          <a:pt x="142511" y="107878"/>
                        </a:lnTo>
                        <a:lnTo>
                          <a:pt x="137215" y="103981"/>
                        </a:lnTo>
                        <a:lnTo>
                          <a:pt x="121654" y="100633"/>
                        </a:lnTo>
                        <a:lnTo>
                          <a:pt x="114903" y="88064"/>
                        </a:lnTo>
                        <a:lnTo>
                          <a:pt x="108674" y="90068"/>
                        </a:lnTo>
                        <a:lnTo>
                          <a:pt x="104530" y="95776"/>
                        </a:lnTo>
                        <a:lnTo>
                          <a:pt x="93389" y="97258"/>
                        </a:lnTo>
                        <a:lnTo>
                          <a:pt x="81423" y="91412"/>
                        </a:lnTo>
                        <a:lnTo>
                          <a:pt x="67318" y="90891"/>
                        </a:lnTo>
                        <a:lnTo>
                          <a:pt x="61252" y="93608"/>
                        </a:lnTo>
                        <a:lnTo>
                          <a:pt x="57191" y="89492"/>
                        </a:lnTo>
                        <a:lnTo>
                          <a:pt x="55215" y="91165"/>
                        </a:lnTo>
                        <a:lnTo>
                          <a:pt x="48794" y="91165"/>
                        </a:lnTo>
                        <a:lnTo>
                          <a:pt x="33535" y="88064"/>
                        </a:lnTo>
                        <a:lnTo>
                          <a:pt x="29446" y="90260"/>
                        </a:lnTo>
                        <a:lnTo>
                          <a:pt x="16301" y="94761"/>
                        </a:lnTo>
                        <a:lnTo>
                          <a:pt x="8754" y="100853"/>
                        </a:lnTo>
                        <a:lnTo>
                          <a:pt x="5927" y="106259"/>
                        </a:lnTo>
                        <a:lnTo>
                          <a:pt x="2579" y="106973"/>
                        </a:lnTo>
                        <a:lnTo>
                          <a:pt x="0" y="92620"/>
                        </a:lnTo>
                        <a:lnTo>
                          <a:pt x="2497" y="67702"/>
                        </a:lnTo>
                        <a:lnTo>
                          <a:pt x="11608" y="56834"/>
                        </a:lnTo>
                        <a:lnTo>
                          <a:pt x="12788" y="46598"/>
                        </a:lnTo>
                        <a:lnTo>
                          <a:pt x="13968" y="40561"/>
                        </a:lnTo>
                        <a:lnTo>
                          <a:pt x="22064" y="26455"/>
                        </a:lnTo>
                        <a:lnTo>
                          <a:pt x="45308" y="16877"/>
                        </a:lnTo>
                        <a:lnTo>
                          <a:pt x="47010" y="17563"/>
                        </a:lnTo>
                        <a:lnTo>
                          <a:pt x="49397" y="25906"/>
                        </a:lnTo>
                        <a:lnTo>
                          <a:pt x="61225" y="36993"/>
                        </a:lnTo>
                        <a:lnTo>
                          <a:pt x="63832" y="40149"/>
                        </a:lnTo>
                        <a:lnTo>
                          <a:pt x="65616" y="46598"/>
                        </a:lnTo>
                        <a:lnTo>
                          <a:pt x="67894" y="52965"/>
                        </a:lnTo>
                        <a:lnTo>
                          <a:pt x="76950" y="58618"/>
                        </a:lnTo>
                        <a:lnTo>
                          <a:pt x="87022" y="56944"/>
                        </a:lnTo>
                        <a:lnTo>
                          <a:pt x="92455" y="52635"/>
                        </a:lnTo>
                        <a:lnTo>
                          <a:pt x="99041" y="46598"/>
                        </a:lnTo>
                        <a:lnTo>
                          <a:pt x="100825" y="41110"/>
                        </a:lnTo>
                        <a:lnTo>
                          <a:pt x="99343" y="9413"/>
                        </a:lnTo>
                        <a:lnTo>
                          <a:pt x="113476" y="4062"/>
                        </a:lnTo>
                        <a:lnTo>
                          <a:pt x="119733" y="329"/>
                        </a:lnTo>
                        <a:lnTo>
                          <a:pt x="128927" y="0"/>
                        </a:lnTo>
                        <a:lnTo>
                          <a:pt x="144679" y="10840"/>
                        </a:lnTo>
                        <a:lnTo>
                          <a:pt x="148521" y="11252"/>
                        </a:lnTo>
                        <a:lnTo>
                          <a:pt x="156452" y="2453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62" name="Freeform: Shape 3061">
                    <a:extLst>
                      <a:ext uri="{FF2B5EF4-FFF2-40B4-BE49-F238E27FC236}">
                        <a16:creationId xmlns:a16="http://schemas.microsoft.com/office/drawing/2014/main" id="{974AB19E-7498-8DA6-5555-2815F679B4FD}"/>
                      </a:ext>
                    </a:extLst>
                  </p:cNvPr>
                  <p:cNvSpPr/>
                  <p:nvPr/>
                </p:nvSpPr>
                <p:spPr>
                  <a:xfrm>
                    <a:off x="-6068690" y="3443544"/>
                    <a:ext cx="823" cy="1124"/>
                  </a:xfrm>
                  <a:custGeom>
                    <a:avLst/>
                    <a:gdLst>
                      <a:gd name="connsiteX0" fmla="*/ 796 w 823"/>
                      <a:gd name="connsiteY0" fmla="*/ 0 h 1124"/>
                      <a:gd name="connsiteX1" fmla="*/ 0 w 823"/>
                      <a:gd name="connsiteY1" fmla="*/ 1125 h 1124"/>
                      <a:gd name="connsiteX2" fmla="*/ 0 w 823"/>
                      <a:gd name="connsiteY2" fmla="*/ 741 h 1124"/>
                      <a:gd name="connsiteX3" fmla="*/ 549 w 823"/>
                      <a:gd name="connsiteY3" fmla="*/ 0 h 1124"/>
                      <a:gd name="connsiteX4" fmla="*/ 823 w 823"/>
                      <a:gd name="connsiteY4" fmla="*/ 0 h 1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 h="1124">
                        <a:moveTo>
                          <a:pt x="796" y="0"/>
                        </a:moveTo>
                        <a:lnTo>
                          <a:pt x="0" y="1125"/>
                        </a:lnTo>
                        <a:lnTo>
                          <a:pt x="0" y="741"/>
                        </a:lnTo>
                        <a:lnTo>
                          <a:pt x="549" y="0"/>
                        </a:lnTo>
                        <a:lnTo>
                          <a:pt x="823"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63" name="Freeform: Shape 3062">
                    <a:extLst>
                      <a:ext uri="{FF2B5EF4-FFF2-40B4-BE49-F238E27FC236}">
                        <a16:creationId xmlns:a16="http://schemas.microsoft.com/office/drawing/2014/main" id="{870B18F0-01D8-656E-3BB8-300672B13E34}"/>
                      </a:ext>
                    </a:extLst>
                  </p:cNvPr>
                  <p:cNvSpPr/>
                  <p:nvPr/>
                </p:nvSpPr>
                <p:spPr>
                  <a:xfrm>
                    <a:off x="-5744534" y="3452408"/>
                    <a:ext cx="56313" cy="67564"/>
                  </a:xfrm>
                  <a:custGeom>
                    <a:avLst/>
                    <a:gdLst>
                      <a:gd name="connsiteX0" fmla="*/ 23135 w 56313"/>
                      <a:gd name="connsiteY0" fmla="*/ 219 h 67564"/>
                      <a:gd name="connsiteX1" fmla="*/ 36280 w 56313"/>
                      <a:gd name="connsiteY1" fmla="*/ 13721 h 67564"/>
                      <a:gd name="connsiteX2" fmla="*/ 47861 w 56313"/>
                      <a:gd name="connsiteY2" fmla="*/ 21268 h 67564"/>
                      <a:gd name="connsiteX3" fmla="*/ 52526 w 56313"/>
                      <a:gd name="connsiteY3" fmla="*/ 23518 h 67564"/>
                      <a:gd name="connsiteX4" fmla="*/ 55600 w 56313"/>
                      <a:gd name="connsiteY4" fmla="*/ 25357 h 67564"/>
                      <a:gd name="connsiteX5" fmla="*/ 56313 w 56313"/>
                      <a:gd name="connsiteY5" fmla="*/ 28239 h 67564"/>
                      <a:gd name="connsiteX6" fmla="*/ 47861 w 56313"/>
                      <a:gd name="connsiteY6" fmla="*/ 31889 h 67564"/>
                      <a:gd name="connsiteX7" fmla="*/ 48739 w 56313"/>
                      <a:gd name="connsiteY7" fmla="*/ 36280 h 67564"/>
                      <a:gd name="connsiteX8" fmla="*/ 48163 w 56313"/>
                      <a:gd name="connsiteY8" fmla="*/ 39326 h 67564"/>
                      <a:gd name="connsiteX9" fmla="*/ 40973 w 56313"/>
                      <a:gd name="connsiteY9" fmla="*/ 42893 h 67564"/>
                      <a:gd name="connsiteX10" fmla="*/ 38119 w 56313"/>
                      <a:gd name="connsiteY10" fmla="*/ 36252 h 67564"/>
                      <a:gd name="connsiteX11" fmla="*/ 38064 w 56313"/>
                      <a:gd name="connsiteY11" fmla="*/ 36142 h 67564"/>
                      <a:gd name="connsiteX12" fmla="*/ 37899 w 56313"/>
                      <a:gd name="connsiteY12" fmla="*/ 36252 h 67564"/>
                      <a:gd name="connsiteX13" fmla="*/ 34661 w 56313"/>
                      <a:gd name="connsiteY13" fmla="*/ 38475 h 67564"/>
                      <a:gd name="connsiteX14" fmla="*/ 30380 w 56313"/>
                      <a:gd name="connsiteY14" fmla="*/ 45500 h 67564"/>
                      <a:gd name="connsiteX15" fmla="*/ 25989 w 56313"/>
                      <a:gd name="connsiteY15" fmla="*/ 52690 h 67564"/>
                      <a:gd name="connsiteX16" fmla="*/ 27635 w 56313"/>
                      <a:gd name="connsiteY16" fmla="*/ 58152 h 67564"/>
                      <a:gd name="connsiteX17" fmla="*/ 27580 w 56313"/>
                      <a:gd name="connsiteY17" fmla="*/ 62021 h 67564"/>
                      <a:gd name="connsiteX18" fmla="*/ 27470 w 56313"/>
                      <a:gd name="connsiteY18" fmla="*/ 67565 h 67564"/>
                      <a:gd name="connsiteX19" fmla="*/ 21900 w 56313"/>
                      <a:gd name="connsiteY19" fmla="*/ 63750 h 67564"/>
                      <a:gd name="connsiteX20" fmla="*/ 21268 w 56313"/>
                      <a:gd name="connsiteY20" fmla="*/ 61994 h 67564"/>
                      <a:gd name="connsiteX21" fmla="*/ 20775 w 56313"/>
                      <a:gd name="connsiteY21" fmla="*/ 60704 h 67564"/>
                      <a:gd name="connsiteX22" fmla="*/ 14134 w 56313"/>
                      <a:gd name="connsiteY22" fmla="*/ 52690 h 67564"/>
                      <a:gd name="connsiteX23" fmla="*/ 13255 w 56313"/>
                      <a:gd name="connsiteY23" fmla="*/ 51620 h 67564"/>
                      <a:gd name="connsiteX24" fmla="*/ 8974 w 56313"/>
                      <a:gd name="connsiteY24" fmla="*/ 49562 h 67564"/>
                      <a:gd name="connsiteX25" fmla="*/ 7218 w 56313"/>
                      <a:gd name="connsiteY25" fmla="*/ 45500 h 67564"/>
                      <a:gd name="connsiteX26" fmla="*/ 4089 w 56313"/>
                      <a:gd name="connsiteY26" fmla="*/ 45500 h 67564"/>
                      <a:gd name="connsiteX27" fmla="*/ 2580 w 56313"/>
                      <a:gd name="connsiteY27" fmla="*/ 44704 h 67564"/>
                      <a:gd name="connsiteX28" fmla="*/ 0 w 56313"/>
                      <a:gd name="connsiteY28" fmla="*/ 39298 h 67564"/>
                      <a:gd name="connsiteX29" fmla="*/ 2827 w 56313"/>
                      <a:gd name="connsiteY29" fmla="*/ 36252 h 67564"/>
                      <a:gd name="connsiteX30" fmla="*/ 3787 w 56313"/>
                      <a:gd name="connsiteY30" fmla="*/ 35209 h 67564"/>
                      <a:gd name="connsiteX31" fmla="*/ 878 w 56313"/>
                      <a:gd name="connsiteY31" fmla="*/ 29391 h 67564"/>
                      <a:gd name="connsiteX32" fmla="*/ 1894 w 56313"/>
                      <a:gd name="connsiteY32" fmla="*/ 22339 h 67564"/>
                      <a:gd name="connsiteX33" fmla="*/ 6120 w 56313"/>
                      <a:gd name="connsiteY33" fmla="*/ 19430 h 67564"/>
                      <a:gd name="connsiteX34" fmla="*/ 7519 w 56313"/>
                      <a:gd name="connsiteY34" fmla="*/ 11746 h 67564"/>
                      <a:gd name="connsiteX35" fmla="*/ 13283 w 56313"/>
                      <a:gd name="connsiteY35" fmla="*/ 7739 h 67564"/>
                      <a:gd name="connsiteX36" fmla="*/ 16850 w 56313"/>
                      <a:gd name="connsiteY36" fmla="*/ 10511 h 67564"/>
                      <a:gd name="connsiteX37" fmla="*/ 18360 w 56313"/>
                      <a:gd name="connsiteY37" fmla="*/ 9056 h 67564"/>
                      <a:gd name="connsiteX38" fmla="*/ 15313 w 56313"/>
                      <a:gd name="connsiteY38" fmla="*/ 2964 h 67564"/>
                      <a:gd name="connsiteX39" fmla="*/ 16054 w 56313"/>
                      <a:gd name="connsiteY39" fmla="*/ 851 h 67564"/>
                      <a:gd name="connsiteX40" fmla="*/ 16905 w 56313"/>
                      <a:gd name="connsiteY40" fmla="*/ 0 h 67564"/>
                      <a:gd name="connsiteX41" fmla="*/ 23080 w 56313"/>
                      <a:gd name="connsiteY41" fmla="*/ 219 h 67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6313" h="67564">
                        <a:moveTo>
                          <a:pt x="23135" y="219"/>
                        </a:moveTo>
                        <a:lnTo>
                          <a:pt x="36280" y="13721"/>
                        </a:lnTo>
                        <a:lnTo>
                          <a:pt x="47861" y="21268"/>
                        </a:lnTo>
                        <a:lnTo>
                          <a:pt x="52526" y="23518"/>
                        </a:lnTo>
                        <a:lnTo>
                          <a:pt x="55600" y="25357"/>
                        </a:lnTo>
                        <a:lnTo>
                          <a:pt x="56313" y="28239"/>
                        </a:lnTo>
                        <a:lnTo>
                          <a:pt x="47861" y="31889"/>
                        </a:lnTo>
                        <a:lnTo>
                          <a:pt x="48739" y="36280"/>
                        </a:lnTo>
                        <a:lnTo>
                          <a:pt x="48163" y="39326"/>
                        </a:lnTo>
                        <a:lnTo>
                          <a:pt x="40973" y="42893"/>
                        </a:lnTo>
                        <a:lnTo>
                          <a:pt x="38119" y="36252"/>
                        </a:lnTo>
                        <a:lnTo>
                          <a:pt x="38064" y="36142"/>
                        </a:lnTo>
                        <a:lnTo>
                          <a:pt x="37899" y="36252"/>
                        </a:lnTo>
                        <a:lnTo>
                          <a:pt x="34661" y="38475"/>
                        </a:lnTo>
                        <a:lnTo>
                          <a:pt x="30380" y="45500"/>
                        </a:lnTo>
                        <a:lnTo>
                          <a:pt x="25989" y="52690"/>
                        </a:lnTo>
                        <a:lnTo>
                          <a:pt x="27635" y="58152"/>
                        </a:lnTo>
                        <a:lnTo>
                          <a:pt x="27580" y="62021"/>
                        </a:lnTo>
                        <a:lnTo>
                          <a:pt x="27470" y="67565"/>
                        </a:lnTo>
                        <a:lnTo>
                          <a:pt x="21900" y="63750"/>
                        </a:lnTo>
                        <a:lnTo>
                          <a:pt x="21268" y="61994"/>
                        </a:lnTo>
                        <a:lnTo>
                          <a:pt x="20775" y="60704"/>
                        </a:lnTo>
                        <a:lnTo>
                          <a:pt x="14134" y="52690"/>
                        </a:lnTo>
                        <a:lnTo>
                          <a:pt x="13255" y="51620"/>
                        </a:lnTo>
                        <a:lnTo>
                          <a:pt x="8974" y="49562"/>
                        </a:lnTo>
                        <a:lnTo>
                          <a:pt x="7218" y="45500"/>
                        </a:lnTo>
                        <a:lnTo>
                          <a:pt x="4089" y="45500"/>
                        </a:lnTo>
                        <a:lnTo>
                          <a:pt x="2580" y="44704"/>
                        </a:lnTo>
                        <a:lnTo>
                          <a:pt x="0" y="39298"/>
                        </a:lnTo>
                        <a:lnTo>
                          <a:pt x="2827" y="36252"/>
                        </a:lnTo>
                        <a:lnTo>
                          <a:pt x="3787" y="35209"/>
                        </a:lnTo>
                        <a:lnTo>
                          <a:pt x="878" y="29391"/>
                        </a:lnTo>
                        <a:lnTo>
                          <a:pt x="1894" y="22339"/>
                        </a:lnTo>
                        <a:lnTo>
                          <a:pt x="6120" y="19430"/>
                        </a:lnTo>
                        <a:lnTo>
                          <a:pt x="7519" y="11746"/>
                        </a:lnTo>
                        <a:lnTo>
                          <a:pt x="13283" y="7739"/>
                        </a:lnTo>
                        <a:lnTo>
                          <a:pt x="16850" y="10511"/>
                        </a:lnTo>
                        <a:lnTo>
                          <a:pt x="18360" y="9056"/>
                        </a:lnTo>
                        <a:lnTo>
                          <a:pt x="15313" y="2964"/>
                        </a:lnTo>
                        <a:lnTo>
                          <a:pt x="16054" y="851"/>
                        </a:lnTo>
                        <a:lnTo>
                          <a:pt x="16905" y="0"/>
                        </a:lnTo>
                        <a:lnTo>
                          <a:pt x="23080" y="21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64" name="Freeform: Shape 3063">
                    <a:extLst>
                      <a:ext uri="{FF2B5EF4-FFF2-40B4-BE49-F238E27FC236}">
                        <a16:creationId xmlns:a16="http://schemas.microsoft.com/office/drawing/2014/main" id="{996BA72E-3B69-1BE2-7D85-D797057D22B6}"/>
                      </a:ext>
                    </a:extLst>
                  </p:cNvPr>
                  <p:cNvSpPr/>
                  <p:nvPr/>
                </p:nvSpPr>
                <p:spPr>
                  <a:xfrm>
                    <a:off x="-5684598" y="3499994"/>
                    <a:ext cx="74205" cy="58782"/>
                  </a:xfrm>
                  <a:custGeom>
                    <a:avLst/>
                    <a:gdLst>
                      <a:gd name="connsiteX0" fmla="*/ 55462 w 74205"/>
                      <a:gd name="connsiteY0" fmla="*/ 1482 h 58782"/>
                      <a:gd name="connsiteX1" fmla="*/ 58069 w 74205"/>
                      <a:gd name="connsiteY1" fmla="*/ 5132 h 58782"/>
                      <a:gd name="connsiteX2" fmla="*/ 59881 w 74205"/>
                      <a:gd name="connsiteY2" fmla="*/ 7684 h 58782"/>
                      <a:gd name="connsiteX3" fmla="*/ 70364 w 74205"/>
                      <a:gd name="connsiteY3" fmla="*/ 12980 h 58782"/>
                      <a:gd name="connsiteX4" fmla="*/ 70885 w 74205"/>
                      <a:gd name="connsiteY4" fmla="*/ 14463 h 58782"/>
                      <a:gd name="connsiteX5" fmla="*/ 74206 w 74205"/>
                      <a:gd name="connsiteY5" fmla="*/ 24095 h 58782"/>
                      <a:gd name="connsiteX6" fmla="*/ 74069 w 74205"/>
                      <a:gd name="connsiteY6" fmla="*/ 26949 h 58782"/>
                      <a:gd name="connsiteX7" fmla="*/ 73986 w 74205"/>
                      <a:gd name="connsiteY7" fmla="*/ 28788 h 58782"/>
                      <a:gd name="connsiteX8" fmla="*/ 73355 w 74205"/>
                      <a:gd name="connsiteY8" fmla="*/ 32794 h 58782"/>
                      <a:gd name="connsiteX9" fmla="*/ 72148 w 74205"/>
                      <a:gd name="connsiteY9" fmla="*/ 39902 h 58782"/>
                      <a:gd name="connsiteX10" fmla="*/ 70721 w 74205"/>
                      <a:gd name="connsiteY10" fmla="*/ 39792 h 58782"/>
                      <a:gd name="connsiteX11" fmla="*/ 67702 w 74205"/>
                      <a:gd name="connsiteY11" fmla="*/ 41082 h 58782"/>
                      <a:gd name="connsiteX12" fmla="*/ 66138 w 74205"/>
                      <a:gd name="connsiteY12" fmla="*/ 46818 h 58782"/>
                      <a:gd name="connsiteX13" fmla="*/ 56341 w 74205"/>
                      <a:gd name="connsiteY13" fmla="*/ 47861 h 58782"/>
                      <a:gd name="connsiteX14" fmla="*/ 54611 w 74205"/>
                      <a:gd name="connsiteY14" fmla="*/ 48437 h 58782"/>
                      <a:gd name="connsiteX15" fmla="*/ 51208 w 74205"/>
                      <a:gd name="connsiteY15" fmla="*/ 46461 h 58782"/>
                      <a:gd name="connsiteX16" fmla="*/ 42784 w 74205"/>
                      <a:gd name="connsiteY16" fmla="*/ 49205 h 58782"/>
                      <a:gd name="connsiteX17" fmla="*/ 38585 w 74205"/>
                      <a:gd name="connsiteY17" fmla="*/ 55819 h 58782"/>
                      <a:gd name="connsiteX18" fmla="*/ 14846 w 74205"/>
                      <a:gd name="connsiteY18" fmla="*/ 58783 h 58782"/>
                      <a:gd name="connsiteX19" fmla="*/ 10648 w 74205"/>
                      <a:gd name="connsiteY19" fmla="*/ 55956 h 58782"/>
                      <a:gd name="connsiteX20" fmla="*/ 7657 w 74205"/>
                      <a:gd name="connsiteY20" fmla="*/ 55846 h 58782"/>
                      <a:gd name="connsiteX21" fmla="*/ 5626 w 74205"/>
                      <a:gd name="connsiteY21" fmla="*/ 50440 h 58782"/>
                      <a:gd name="connsiteX22" fmla="*/ 3595 w 74205"/>
                      <a:gd name="connsiteY22" fmla="*/ 49562 h 58782"/>
                      <a:gd name="connsiteX23" fmla="*/ 741 w 74205"/>
                      <a:gd name="connsiteY23" fmla="*/ 40753 h 58782"/>
                      <a:gd name="connsiteX24" fmla="*/ 1866 w 74205"/>
                      <a:gd name="connsiteY24" fmla="*/ 37350 h 58782"/>
                      <a:gd name="connsiteX25" fmla="*/ 0 w 74205"/>
                      <a:gd name="connsiteY25" fmla="*/ 31861 h 58782"/>
                      <a:gd name="connsiteX26" fmla="*/ 2415 w 74205"/>
                      <a:gd name="connsiteY26" fmla="*/ 30352 h 58782"/>
                      <a:gd name="connsiteX27" fmla="*/ 2113 w 74205"/>
                      <a:gd name="connsiteY27" fmla="*/ 28788 h 58782"/>
                      <a:gd name="connsiteX28" fmla="*/ 1784 w 74205"/>
                      <a:gd name="connsiteY28" fmla="*/ 26949 h 58782"/>
                      <a:gd name="connsiteX29" fmla="*/ 1400 w 74205"/>
                      <a:gd name="connsiteY29" fmla="*/ 24809 h 58782"/>
                      <a:gd name="connsiteX30" fmla="*/ 2525 w 74205"/>
                      <a:gd name="connsiteY30" fmla="*/ 19951 h 58782"/>
                      <a:gd name="connsiteX31" fmla="*/ 3458 w 74205"/>
                      <a:gd name="connsiteY31" fmla="*/ 18716 h 58782"/>
                      <a:gd name="connsiteX32" fmla="*/ 7876 w 74205"/>
                      <a:gd name="connsiteY32" fmla="*/ 18140 h 58782"/>
                      <a:gd name="connsiteX33" fmla="*/ 8013 w 74205"/>
                      <a:gd name="connsiteY33" fmla="*/ 14463 h 58782"/>
                      <a:gd name="connsiteX34" fmla="*/ 8617 w 74205"/>
                      <a:gd name="connsiteY34" fmla="*/ 12816 h 58782"/>
                      <a:gd name="connsiteX35" fmla="*/ 18168 w 74205"/>
                      <a:gd name="connsiteY35" fmla="*/ 6449 h 58782"/>
                      <a:gd name="connsiteX36" fmla="*/ 21625 w 74205"/>
                      <a:gd name="connsiteY36" fmla="*/ 9468 h 58782"/>
                      <a:gd name="connsiteX37" fmla="*/ 28404 w 74205"/>
                      <a:gd name="connsiteY37" fmla="*/ 4528 h 58782"/>
                      <a:gd name="connsiteX38" fmla="*/ 29172 w 74205"/>
                      <a:gd name="connsiteY38" fmla="*/ 3129 h 58782"/>
                      <a:gd name="connsiteX39" fmla="*/ 32630 w 74205"/>
                      <a:gd name="connsiteY39" fmla="*/ 3430 h 58782"/>
                      <a:gd name="connsiteX40" fmla="*/ 52334 w 74205"/>
                      <a:gd name="connsiteY40" fmla="*/ 0 h 58782"/>
                      <a:gd name="connsiteX41" fmla="*/ 55380 w 74205"/>
                      <a:gd name="connsiteY41" fmla="*/ 1509 h 5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4205" h="58782">
                        <a:moveTo>
                          <a:pt x="55462" y="1482"/>
                        </a:moveTo>
                        <a:lnTo>
                          <a:pt x="58069" y="5132"/>
                        </a:lnTo>
                        <a:lnTo>
                          <a:pt x="59881" y="7684"/>
                        </a:lnTo>
                        <a:lnTo>
                          <a:pt x="70364" y="12980"/>
                        </a:lnTo>
                        <a:lnTo>
                          <a:pt x="70885" y="14463"/>
                        </a:lnTo>
                        <a:lnTo>
                          <a:pt x="74206" y="24095"/>
                        </a:lnTo>
                        <a:lnTo>
                          <a:pt x="74069" y="26949"/>
                        </a:lnTo>
                        <a:lnTo>
                          <a:pt x="73986" y="28788"/>
                        </a:lnTo>
                        <a:lnTo>
                          <a:pt x="73355" y="32794"/>
                        </a:lnTo>
                        <a:lnTo>
                          <a:pt x="72148" y="39902"/>
                        </a:lnTo>
                        <a:lnTo>
                          <a:pt x="70721" y="39792"/>
                        </a:lnTo>
                        <a:lnTo>
                          <a:pt x="67702" y="41082"/>
                        </a:lnTo>
                        <a:lnTo>
                          <a:pt x="66138" y="46818"/>
                        </a:lnTo>
                        <a:lnTo>
                          <a:pt x="56341" y="47861"/>
                        </a:lnTo>
                        <a:lnTo>
                          <a:pt x="54611" y="48437"/>
                        </a:lnTo>
                        <a:lnTo>
                          <a:pt x="51208" y="46461"/>
                        </a:lnTo>
                        <a:lnTo>
                          <a:pt x="42784" y="49205"/>
                        </a:lnTo>
                        <a:lnTo>
                          <a:pt x="38585" y="55819"/>
                        </a:lnTo>
                        <a:lnTo>
                          <a:pt x="14846" y="58783"/>
                        </a:lnTo>
                        <a:lnTo>
                          <a:pt x="10648" y="55956"/>
                        </a:lnTo>
                        <a:lnTo>
                          <a:pt x="7657" y="55846"/>
                        </a:lnTo>
                        <a:lnTo>
                          <a:pt x="5626" y="50440"/>
                        </a:lnTo>
                        <a:lnTo>
                          <a:pt x="3595" y="49562"/>
                        </a:lnTo>
                        <a:lnTo>
                          <a:pt x="741" y="40753"/>
                        </a:lnTo>
                        <a:lnTo>
                          <a:pt x="1866" y="37350"/>
                        </a:lnTo>
                        <a:lnTo>
                          <a:pt x="0" y="31861"/>
                        </a:lnTo>
                        <a:lnTo>
                          <a:pt x="2415" y="30352"/>
                        </a:lnTo>
                        <a:lnTo>
                          <a:pt x="2113" y="28788"/>
                        </a:lnTo>
                        <a:lnTo>
                          <a:pt x="1784" y="26949"/>
                        </a:lnTo>
                        <a:lnTo>
                          <a:pt x="1400" y="24809"/>
                        </a:lnTo>
                        <a:lnTo>
                          <a:pt x="2525" y="19951"/>
                        </a:lnTo>
                        <a:lnTo>
                          <a:pt x="3458" y="18716"/>
                        </a:lnTo>
                        <a:lnTo>
                          <a:pt x="7876" y="18140"/>
                        </a:lnTo>
                        <a:lnTo>
                          <a:pt x="8013" y="14463"/>
                        </a:lnTo>
                        <a:lnTo>
                          <a:pt x="8617" y="12816"/>
                        </a:lnTo>
                        <a:lnTo>
                          <a:pt x="18168" y="6449"/>
                        </a:lnTo>
                        <a:lnTo>
                          <a:pt x="21625" y="9468"/>
                        </a:lnTo>
                        <a:lnTo>
                          <a:pt x="28404" y="4528"/>
                        </a:lnTo>
                        <a:lnTo>
                          <a:pt x="29172" y="3129"/>
                        </a:lnTo>
                        <a:lnTo>
                          <a:pt x="32630" y="3430"/>
                        </a:lnTo>
                        <a:lnTo>
                          <a:pt x="52334" y="0"/>
                        </a:lnTo>
                        <a:lnTo>
                          <a:pt x="55380" y="150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65" name="Freeform: Shape 3064">
                    <a:extLst>
                      <a:ext uri="{FF2B5EF4-FFF2-40B4-BE49-F238E27FC236}">
                        <a16:creationId xmlns:a16="http://schemas.microsoft.com/office/drawing/2014/main" id="{33841DAA-EB7C-B021-5915-7FBDCA8AF5C4}"/>
                      </a:ext>
                    </a:extLst>
                  </p:cNvPr>
                  <p:cNvSpPr/>
                  <p:nvPr/>
                </p:nvSpPr>
                <p:spPr>
                  <a:xfrm>
                    <a:off x="-5923187" y="3515637"/>
                    <a:ext cx="4582" cy="3403"/>
                  </a:xfrm>
                  <a:custGeom>
                    <a:avLst/>
                    <a:gdLst>
                      <a:gd name="connsiteX0" fmla="*/ 0 w 4582"/>
                      <a:gd name="connsiteY0" fmla="*/ 2799 h 3403"/>
                      <a:gd name="connsiteX1" fmla="*/ 2058 w 4582"/>
                      <a:gd name="connsiteY1" fmla="*/ 577 h 3403"/>
                      <a:gd name="connsiteX2" fmla="*/ 3759 w 4582"/>
                      <a:gd name="connsiteY2" fmla="*/ 0 h 3403"/>
                      <a:gd name="connsiteX3" fmla="*/ 4583 w 4582"/>
                      <a:gd name="connsiteY3" fmla="*/ 3019 h 3403"/>
                      <a:gd name="connsiteX4" fmla="*/ 851 w 4582"/>
                      <a:gd name="connsiteY4" fmla="*/ 3403 h 3403"/>
                      <a:gd name="connsiteX5" fmla="*/ 0 w 4582"/>
                      <a:gd name="connsiteY5" fmla="*/ 2799 h 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2" h="3403">
                        <a:moveTo>
                          <a:pt x="0" y="2799"/>
                        </a:moveTo>
                        <a:lnTo>
                          <a:pt x="2058" y="577"/>
                        </a:lnTo>
                        <a:lnTo>
                          <a:pt x="3759" y="0"/>
                        </a:lnTo>
                        <a:lnTo>
                          <a:pt x="4583" y="3019"/>
                        </a:lnTo>
                        <a:lnTo>
                          <a:pt x="851" y="3403"/>
                        </a:lnTo>
                        <a:lnTo>
                          <a:pt x="0" y="279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66" name="Freeform: Shape 3065">
                    <a:extLst>
                      <a:ext uri="{FF2B5EF4-FFF2-40B4-BE49-F238E27FC236}">
                        <a16:creationId xmlns:a16="http://schemas.microsoft.com/office/drawing/2014/main" id="{46C1966E-72B7-BBB9-D830-29283D3FD0C8}"/>
                      </a:ext>
                    </a:extLst>
                  </p:cNvPr>
                  <p:cNvSpPr/>
                  <p:nvPr/>
                </p:nvSpPr>
                <p:spPr>
                  <a:xfrm>
                    <a:off x="-5731361" y="3342280"/>
                    <a:ext cx="121133" cy="176430"/>
                  </a:xfrm>
                  <a:custGeom>
                    <a:avLst/>
                    <a:gdLst>
                      <a:gd name="connsiteX0" fmla="*/ 40561 w 121133"/>
                      <a:gd name="connsiteY0" fmla="*/ 2552 h 176430"/>
                      <a:gd name="connsiteX1" fmla="*/ 52279 w 121133"/>
                      <a:gd name="connsiteY1" fmla="*/ 16630 h 176430"/>
                      <a:gd name="connsiteX2" fmla="*/ 56615 w 121133"/>
                      <a:gd name="connsiteY2" fmla="*/ 18359 h 176430"/>
                      <a:gd name="connsiteX3" fmla="*/ 56834 w 121133"/>
                      <a:gd name="connsiteY3" fmla="*/ 29364 h 176430"/>
                      <a:gd name="connsiteX4" fmla="*/ 62680 w 121133"/>
                      <a:gd name="connsiteY4" fmla="*/ 36362 h 176430"/>
                      <a:gd name="connsiteX5" fmla="*/ 76264 w 121133"/>
                      <a:gd name="connsiteY5" fmla="*/ 41878 h 176430"/>
                      <a:gd name="connsiteX6" fmla="*/ 76978 w 121133"/>
                      <a:gd name="connsiteY6" fmla="*/ 44512 h 176430"/>
                      <a:gd name="connsiteX7" fmla="*/ 74096 w 121133"/>
                      <a:gd name="connsiteY7" fmla="*/ 49864 h 176430"/>
                      <a:gd name="connsiteX8" fmla="*/ 78267 w 121133"/>
                      <a:gd name="connsiteY8" fmla="*/ 54639 h 176430"/>
                      <a:gd name="connsiteX9" fmla="*/ 72724 w 121133"/>
                      <a:gd name="connsiteY9" fmla="*/ 57328 h 176430"/>
                      <a:gd name="connsiteX10" fmla="*/ 79036 w 121133"/>
                      <a:gd name="connsiteY10" fmla="*/ 60237 h 176430"/>
                      <a:gd name="connsiteX11" fmla="*/ 81451 w 121133"/>
                      <a:gd name="connsiteY11" fmla="*/ 63668 h 176430"/>
                      <a:gd name="connsiteX12" fmla="*/ 91961 w 121133"/>
                      <a:gd name="connsiteY12" fmla="*/ 66412 h 176430"/>
                      <a:gd name="connsiteX13" fmla="*/ 92071 w 121133"/>
                      <a:gd name="connsiteY13" fmla="*/ 66549 h 176430"/>
                      <a:gd name="connsiteX14" fmla="*/ 95859 w 121133"/>
                      <a:gd name="connsiteY14" fmla="*/ 71297 h 176430"/>
                      <a:gd name="connsiteX15" fmla="*/ 103872 w 121133"/>
                      <a:gd name="connsiteY15" fmla="*/ 62652 h 176430"/>
                      <a:gd name="connsiteX16" fmla="*/ 112297 w 121133"/>
                      <a:gd name="connsiteY16" fmla="*/ 66769 h 176430"/>
                      <a:gd name="connsiteX17" fmla="*/ 113037 w 121133"/>
                      <a:gd name="connsiteY17" fmla="*/ 69211 h 176430"/>
                      <a:gd name="connsiteX18" fmla="*/ 109498 w 121133"/>
                      <a:gd name="connsiteY18" fmla="*/ 69294 h 176430"/>
                      <a:gd name="connsiteX19" fmla="*/ 105628 w 121133"/>
                      <a:gd name="connsiteY19" fmla="*/ 72779 h 176430"/>
                      <a:gd name="connsiteX20" fmla="*/ 111419 w 121133"/>
                      <a:gd name="connsiteY20" fmla="*/ 82329 h 176430"/>
                      <a:gd name="connsiteX21" fmla="*/ 109607 w 121133"/>
                      <a:gd name="connsiteY21" fmla="*/ 87872 h 176430"/>
                      <a:gd name="connsiteX22" fmla="*/ 107330 w 121133"/>
                      <a:gd name="connsiteY22" fmla="*/ 89299 h 176430"/>
                      <a:gd name="connsiteX23" fmla="*/ 103872 w 121133"/>
                      <a:gd name="connsiteY23" fmla="*/ 91797 h 176430"/>
                      <a:gd name="connsiteX24" fmla="*/ 102472 w 121133"/>
                      <a:gd name="connsiteY24" fmla="*/ 99783 h 176430"/>
                      <a:gd name="connsiteX25" fmla="*/ 106809 w 121133"/>
                      <a:gd name="connsiteY25" fmla="*/ 111034 h 176430"/>
                      <a:gd name="connsiteX26" fmla="*/ 111144 w 121133"/>
                      <a:gd name="connsiteY26" fmla="*/ 115452 h 176430"/>
                      <a:gd name="connsiteX27" fmla="*/ 113504 w 121133"/>
                      <a:gd name="connsiteY27" fmla="*/ 116084 h 176430"/>
                      <a:gd name="connsiteX28" fmla="*/ 121134 w 121133"/>
                      <a:gd name="connsiteY28" fmla="*/ 123933 h 176430"/>
                      <a:gd name="connsiteX29" fmla="*/ 113532 w 121133"/>
                      <a:gd name="connsiteY29" fmla="*/ 136117 h 176430"/>
                      <a:gd name="connsiteX30" fmla="*/ 106699 w 121133"/>
                      <a:gd name="connsiteY30" fmla="*/ 136968 h 176430"/>
                      <a:gd name="connsiteX31" fmla="*/ 104558 w 121133"/>
                      <a:gd name="connsiteY31" fmla="*/ 138697 h 176430"/>
                      <a:gd name="connsiteX32" fmla="*/ 105134 w 121133"/>
                      <a:gd name="connsiteY32" fmla="*/ 145777 h 176430"/>
                      <a:gd name="connsiteX33" fmla="*/ 105272 w 121133"/>
                      <a:gd name="connsiteY33" fmla="*/ 146408 h 176430"/>
                      <a:gd name="connsiteX34" fmla="*/ 107083 w 121133"/>
                      <a:gd name="connsiteY34" fmla="*/ 154010 h 176430"/>
                      <a:gd name="connsiteX35" fmla="*/ 105491 w 121133"/>
                      <a:gd name="connsiteY35" fmla="*/ 155684 h 176430"/>
                      <a:gd name="connsiteX36" fmla="*/ 102143 w 121133"/>
                      <a:gd name="connsiteY36" fmla="*/ 159224 h 176430"/>
                      <a:gd name="connsiteX37" fmla="*/ 99097 w 121133"/>
                      <a:gd name="connsiteY37" fmla="*/ 157715 h 176430"/>
                      <a:gd name="connsiteX38" fmla="*/ 79393 w 121133"/>
                      <a:gd name="connsiteY38" fmla="*/ 161145 h 176430"/>
                      <a:gd name="connsiteX39" fmla="*/ 75935 w 121133"/>
                      <a:gd name="connsiteY39" fmla="*/ 160843 h 176430"/>
                      <a:gd name="connsiteX40" fmla="*/ 75167 w 121133"/>
                      <a:gd name="connsiteY40" fmla="*/ 162243 h 176430"/>
                      <a:gd name="connsiteX41" fmla="*/ 68388 w 121133"/>
                      <a:gd name="connsiteY41" fmla="*/ 167182 h 176430"/>
                      <a:gd name="connsiteX42" fmla="*/ 64931 w 121133"/>
                      <a:gd name="connsiteY42" fmla="*/ 164164 h 176430"/>
                      <a:gd name="connsiteX43" fmla="*/ 55380 w 121133"/>
                      <a:gd name="connsiteY43" fmla="*/ 170531 h 176430"/>
                      <a:gd name="connsiteX44" fmla="*/ 54776 w 121133"/>
                      <a:gd name="connsiteY44" fmla="*/ 172177 h 176430"/>
                      <a:gd name="connsiteX45" fmla="*/ 54639 w 121133"/>
                      <a:gd name="connsiteY45" fmla="*/ 175854 h 176430"/>
                      <a:gd name="connsiteX46" fmla="*/ 50221 w 121133"/>
                      <a:gd name="connsiteY46" fmla="*/ 176431 h 176430"/>
                      <a:gd name="connsiteX47" fmla="*/ 50111 w 121133"/>
                      <a:gd name="connsiteY47" fmla="*/ 172177 h 176430"/>
                      <a:gd name="connsiteX48" fmla="*/ 50056 w 121133"/>
                      <a:gd name="connsiteY48" fmla="*/ 170366 h 176430"/>
                      <a:gd name="connsiteX49" fmla="*/ 47010 w 121133"/>
                      <a:gd name="connsiteY49" fmla="*/ 162847 h 176430"/>
                      <a:gd name="connsiteX50" fmla="*/ 40506 w 121133"/>
                      <a:gd name="connsiteY50" fmla="*/ 155656 h 176430"/>
                      <a:gd name="connsiteX51" fmla="*/ 34962 w 121133"/>
                      <a:gd name="connsiteY51" fmla="*/ 149454 h 176430"/>
                      <a:gd name="connsiteX52" fmla="*/ 35539 w 121133"/>
                      <a:gd name="connsiteY52" fmla="*/ 146408 h 176430"/>
                      <a:gd name="connsiteX53" fmla="*/ 34661 w 121133"/>
                      <a:gd name="connsiteY53" fmla="*/ 142017 h 176430"/>
                      <a:gd name="connsiteX54" fmla="*/ 43113 w 121133"/>
                      <a:gd name="connsiteY54" fmla="*/ 138367 h 176430"/>
                      <a:gd name="connsiteX55" fmla="*/ 42399 w 121133"/>
                      <a:gd name="connsiteY55" fmla="*/ 135486 h 176430"/>
                      <a:gd name="connsiteX56" fmla="*/ 39326 w 121133"/>
                      <a:gd name="connsiteY56" fmla="*/ 133647 h 176430"/>
                      <a:gd name="connsiteX57" fmla="*/ 34661 w 121133"/>
                      <a:gd name="connsiteY57" fmla="*/ 131397 h 176430"/>
                      <a:gd name="connsiteX58" fmla="*/ 23080 w 121133"/>
                      <a:gd name="connsiteY58" fmla="*/ 123850 h 176430"/>
                      <a:gd name="connsiteX59" fmla="*/ 9935 w 121133"/>
                      <a:gd name="connsiteY59" fmla="*/ 110348 h 176430"/>
                      <a:gd name="connsiteX60" fmla="*/ 17975 w 121133"/>
                      <a:gd name="connsiteY60" fmla="*/ 105985 h 176430"/>
                      <a:gd name="connsiteX61" fmla="*/ 17619 w 121133"/>
                      <a:gd name="connsiteY61" fmla="*/ 102170 h 176430"/>
                      <a:gd name="connsiteX62" fmla="*/ 12459 w 121133"/>
                      <a:gd name="connsiteY62" fmla="*/ 93745 h 176430"/>
                      <a:gd name="connsiteX63" fmla="*/ 19677 w 121133"/>
                      <a:gd name="connsiteY63" fmla="*/ 91385 h 176430"/>
                      <a:gd name="connsiteX64" fmla="*/ 17948 w 121133"/>
                      <a:gd name="connsiteY64" fmla="*/ 87077 h 176430"/>
                      <a:gd name="connsiteX65" fmla="*/ 7355 w 121133"/>
                      <a:gd name="connsiteY65" fmla="*/ 75825 h 176430"/>
                      <a:gd name="connsiteX66" fmla="*/ 7876 w 121133"/>
                      <a:gd name="connsiteY66" fmla="*/ 70172 h 176430"/>
                      <a:gd name="connsiteX67" fmla="*/ 13667 w 121133"/>
                      <a:gd name="connsiteY67" fmla="*/ 54529 h 176430"/>
                      <a:gd name="connsiteX68" fmla="*/ 3979 w 121133"/>
                      <a:gd name="connsiteY68" fmla="*/ 55929 h 176430"/>
                      <a:gd name="connsiteX69" fmla="*/ 3348 w 121133"/>
                      <a:gd name="connsiteY69" fmla="*/ 54639 h 176430"/>
                      <a:gd name="connsiteX70" fmla="*/ 7135 w 121133"/>
                      <a:gd name="connsiteY70" fmla="*/ 51840 h 176430"/>
                      <a:gd name="connsiteX71" fmla="*/ 6587 w 121133"/>
                      <a:gd name="connsiteY71" fmla="*/ 44320 h 176430"/>
                      <a:gd name="connsiteX72" fmla="*/ 15807 w 121133"/>
                      <a:gd name="connsiteY72" fmla="*/ 42921 h 176430"/>
                      <a:gd name="connsiteX73" fmla="*/ 14792 w 121133"/>
                      <a:gd name="connsiteY73" fmla="*/ 40341 h 176430"/>
                      <a:gd name="connsiteX74" fmla="*/ 7163 w 121133"/>
                      <a:gd name="connsiteY74" fmla="*/ 37707 h 176430"/>
                      <a:gd name="connsiteX75" fmla="*/ 3211 w 121133"/>
                      <a:gd name="connsiteY75" fmla="*/ 33755 h 176430"/>
                      <a:gd name="connsiteX76" fmla="*/ 3458 w 121133"/>
                      <a:gd name="connsiteY76" fmla="*/ 31751 h 176430"/>
                      <a:gd name="connsiteX77" fmla="*/ 4281 w 121133"/>
                      <a:gd name="connsiteY77" fmla="*/ 29584 h 176430"/>
                      <a:gd name="connsiteX78" fmla="*/ 5215 w 121133"/>
                      <a:gd name="connsiteY78" fmla="*/ 28102 h 176430"/>
                      <a:gd name="connsiteX79" fmla="*/ 988 w 121133"/>
                      <a:gd name="connsiteY79" fmla="*/ 25659 h 176430"/>
                      <a:gd name="connsiteX80" fmla="*/ 1867 w 121133"/>
                      <a:gd name="connsiteY80" fmla="*/ 22421 h 176430"/>
                      <a:gd name="connsiteX81" fmla="*/ 0 w 121133"/>
                      <a:gd name="connsiteY81" fmla="*/ 11279 h 176430"/>
                      <a:gd name="connsiteX82" fmla="*/ 4116 w 121133"/>
                      <a:gd name="connsiteY82" fmla="*/ 10538 h 176430"/>
                      <a:gd name="connsiteX83" fmla="*/ 6614 w 121133"/>
                      <a:gd name="connsiteY83" fmla="*/ 7245 h 176430"/>
                      <a:gd name="connsiteX84" fmla="*/ 12158 w 121133"/>
                      <a:gd name="connsiteY84" fmla="*/ 8315 h 176430"/>
                      <a:gd name="connsiteX85" fmla="*/ 20061 w 121133"/>
                      <a:gd name="connsiteY85" fmla="*/ 878 h 176430"/>
                      <a:gd name="connsiteX86" fmla="*/ 23794 w 121133"/>
                      <a:gd name="connsiteY86" fmla="*/ 0 h 176430"/>
                      <a:gd name="connsiteX87" fmla="*/ 28705 w 121133"/>
                      <a:gd name="connsiteY87" fmla="*/ 1592 h 176430"/>
                      <a:gd name="connsiteX88" fmla="*/ 39216 w 121133"/>
                      <a:gd name="connsiteY88" fmla="*/ 2415 h 176430"/>
                      <a:gd name="connsiteX89" fmla="*/ 40423 w 121133"/>
                      <a:gd name="connsiteY89" fmla="*/ 2607 h 17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133" h="176430">
                        <a:moveTo>
                          <a:pt x="40561" y="2552"/>
                        </a:moveTo>
                        <a:lnTo>
                          <a:pt x="52279" y="16630"/>
                        </a:lnTo>
                        <a:lnTo>
                          <a:pt x="56615" y="18359"/>
                        </a:lnTo>
                        <a:lnTo>
                          <a:pt x="56834" y="29364"/>
                        </a:lnTo>
                        <a:lnTo>
                          <a:pt x="62680" y="36362"/>
                        </a:lnTo>
                        <a:lnTo>
                          <a:pt x="76264" y="41878"/>
                        </a:lnTo>
                        <a:lnTo>
                          <a:pt x="76978" y="44512"/>
                        </a:lnTo>
                        <a:lnTo>
                          <a:pt x="74096" y="49864"/>
                        </a:lnTo>
                        <a:lnTo>
                          <a:pt x="78267" y="54639"/>
                        </a:lnTo>
                        <a:lnTo>
                          <a:pt x="72724" y="57328"/>
                        </a:lnTo>
                        <a:lnTo>
                          <a:pt x="79036" y="60237"/>
                        </a:lnTo>
                        <a:lnTo>
                          <a:pt x="81451" y="63668"/>
                        </a:lnTo>
                        <a:lnTo>
                          <a:pt x="91961" y="66412"/>
                        </a:lnTo>
                        <a:lnTo>
                          <a:pt x="92071" y="66549"/>
                        </a:lnTo>
                        <a:lnTo>
                          <a:pt x="95859" y="71297"/>
                        </a:lnTo>
                        <a:lnTo>
                          <a:pt x="103872" y="62652"/>
                        </a:lnTo>
                        <a:lnTo>
                          <a:pt x="112297" y="66769"/>
                        </a:lnTo>
                        <a:lnTo>
                          <a:pt x="113037" y="69211"/>
                        </a:lnTo>
                        <a:lnTo>
                          <a:pt x="109498" y="69294"/>
                        </a:lnTo>
                        <a:lnTo>
                          <a:pt x="105628" y="72779"/>
                        </a:lnTo>
                        <a:lnTo>
                          <a:pt x="111419" y="82329"/>
                        </a:lnTo>
                        <a:lnTo>
                          <a:pt x="109607" y="87872"/>
                        </a:lnTo>
                        <a:lnTo>
                          <a:pt x="107330" y="89299"/>
                        </a:lnTo>
                        <a:lnTo>
                          <a:pt x="103872" y="91797"/>
                        </a:lnTo>
                        <a:lnTo>
                          <a:pt x="102472" y="99783"/>
                        </a:lnTo>
                        <a:lnTo>
                          <a:pt x="106809" y="111034"/>
                        </a:lnTo>
                        <a:lnTo>
                          <a:pt x="111144" y="115452"/>
                        </a:lnTo>
                        <a:lnTo>
                          <a:pt x="113504" y="116084"/>
                        </a:lnTo>
                        <a:lnTo>
                          <a:pt x="121134" y="123933"/>
                        </a:lnTo>
                        <a:lnTo>
                          <a:pt x="113532" y="136117"/>
                        </a:lnTo>
                        <a:lnTo>
                          <a:pt x="106699" y="136968"/>
                        </a:lnTo>
                        <a:lnTo>
                          <a:pt x="104558" y="138697"/>
                        </a:lnTo>
                        <a:lnTo>
                          <a:pt x="105134" y="145777"/>
                        </a:lnTo>
                        <a:lnTo>
                          <a:pt x="105272" y="146408"/>
                        </a:lnTo>
                        <a:lnTo>
                          <a:pt x="107083" y="154010"/>
                        </a:lnTo>
                        <a:lnTo>
                          <a:pt x="105491" y="155684"/>
                        </a:lnTo>
                        <a:lnTo>
                          <a:pt x="102143" y="159224"/>
                        </a:lnTo>
                        <a:lnTo>
                          <a:pt x="99097" y="157715"/>
                        </a:lnTo>
                        <a:lnTo>
                          <a:pt x="79393" y="161145"/>
                        </a:lnTo>
                        <a:lnTo>
                          <a:pt x="75935" y="160843"/>
                        </a:lnTo>
                        <a:lnTo>
                          <a:pt x="75167" y="162243"/>
                        </a:lnTo>
                        <a:lnTo>
                          <a:pt x="68388" y="167182"/>
                        </a:lnTo>
                        <a:lnTo>
                          <a:pt x="64931" y="164164"/>
                        </a:lnTo>
                        <a:lnTo>
                          <a:pt x="55380" y="170531"/>
                        </a:lnTo>
                        <a:lnTo>
                          <a:pt x="54776" y="172177"/>
                        </a:lnTo>
                        <a:lnTo>
                          <a:pt x="54639" y="175854"/>
                        </a:lnTo>
                        <a:lnTo>
                          <a:pt x="50221" y="176431"/>
                        </a:lnTo>
                        <a:lnTo>
                          <a:pt x="50111" y="172177"/>
                        </a:lnTo>
                        <a:lnTo>
                          <a:pt x="50056" y="170366"/>
                        </a:lnTo>
                        <a:lnTo>
                          <a:pt x="47010" y="162847"/>
                        </a:lnTo>
                        <a:lnTo>
                          <a:pt x="40506" y="155656"/>
                        </a:lnTo>
                        <a:lnTo>
                          <a:pt x="34962" y="149454"/>
                        </a:lnTo>
                        <a:lnTo>
                          <a:pt x="35539" y="146408"/>
                        </a:lnTo>
                        <a:lnTo>
                          <a:pt x="34661" y="142017"/>
                        </a:lnTo>
                        <a:lnTo>
                          <a:pt x="43113" y="138367"/>
                        </a:lnTo>
                        <a:lnTo>
                          <a:pt x="42399" y="135486"/>
                        </a:lnTo>
                        <a:lnTo>
                          <a:pt x="39326" y="133647"/>
                        </a:lnTo>
                        <a:lnTo>
                          <a:pt x="34661" y="131397"/>
                        </a:lnTo>
                        <a:lnTo>
                          <a:pt x="23080" y="123850"/>
                        </a:lnTo>
                        <a:lnTo>
                          <a:pt x="9935" y="110348"/>
                        </a:lnTo>
                        <a:lnTo>
                          <a:pt x="17975" y="105985"/>
                        </a:lnTo>
                        <a:lnTo>
                          <a:pt x="17619" y="102170"/>
                        </a:lnTo>
                        <a:lnTo>
                          <a:pt x="12459" y="93745"/>
                        </a:lnTo>
                        <a:lnTo>
                          <a:pt x="19677" y="91385"/>
                        </a:lnTo>
                        <a:lnTo>
                          <a:pt x="17948" y="87077"/>
                        </a:lnTo>
                        <a:lnTo>
                          <a:pt x="7355" y="75825"/>
                        </a:lnTo>
                        <a:lnTo>
                          <a:pt x="7876" y="70172"/>
                        </a:lnTo>
                        <a:lnTo>
                          <a:pt x="13667" y="54529"/>
                        </a:lnTo>
                        <a:lnTo>
                          <a:pt x="3979" y="55929"/>
                        </a:lnTo>
                        <a:lnTo>
                          <a:pt x="3348" y="54639"/>
                        </a:lnTo>
                        <a:lnTo>
                          <a:pt x="7135" y="51840"/>
                        </a:lnTo>
                        <a:lnTo>
                          <a:pt x="6587" y="44320"/>
                        </a:lnTo>
                        <a:lnTo>
                          <a:pt x="15807" y="42921"/>
                        </a:lnTo>
                        <a:lnTo>
                          <a:pt x="14792" y="40341"/>
                        </a:lnTo>
                        <a:lnTo>
                          <a:pt x="7163" y="37707"/>
                        </a:lnTo>
                        <a:lnTo>
                          <a:pt x="3211" y="33755"/>
                        </a:lnTo>
                        <a:lnTo>
                          <a:pt x="3458" y="31751"/>
                        </a:lnTo>
                        <a:lnTo>
                          <a:pt x="4281" y="29584"/>
                        </a:lnTo>
                        <a:lnTo>
                          <a:pt x="5215" y="28102"/>
                        </a:lnTo>
                        <a:lnTo>
                          <a:pt x="988" y="25659"/>
                        </a:lnTo>
                        <a:lnTo>
                          <a:pt x="1867" y="22421"/>
                        </a:lnTo>
                        <a:lnTo>
                          <a:pt x="0" y="11279"/>
                        </a:lnTo>
                        <a:lnTo>
                          <a:pt x="4116" y="10538"/>
                        </a:lnTo>
                        <a:lnTo>
                          <a:pt x="6614" y="7245"/>
                        </a:lnTo>
                        <a:lnTo>
                          <a:pt x="12158" y="8315"/>
                        </a:lnTo>
                        <a:lnTo>
                          <a:pt x="20061" y="878"/>
                        </a:lnTo>
                        <a:lnTo>
                          <a:pt x="23794" y="0"/>
                        </a:lnTo>
                        <a:lnTo>
                          <a:pt x="28705" y="1592"/>
                        </a:lnTo>
                        <a:lnTo>
                          <a:pt x="39216" y="2415"/>
                        </a:lnTo>
                        <a:lnTo>
                          <a:pt x="40423" y="260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67" name="Freeform: Shape 3066">
                    <a:extLst>
                      <a:ext uri="{FF2B5EF4-FFF2-40B4-BE49-F238E27FC236}">
                        <a16:creationId xmlns:a16="http://schemas.microsoft.com/office/drawing/2014/main" id="{5CE88AD3-26ED-59D4-E46C-BFE1410D9F81}"/>
                      </a:ext>
                    </a:extLst>
                  </p:cNvPr>
                  <p:cNvSpPr/>
                  <p:nvPr/>
                </p:nvSpPr>
                <p:spPr>
                  <a:xfrm>
                    <a:off x="-5635118" y="3063377"/>
                    <a:ext cx="529869" cy="352203"/>
                  </a:xfrm>
                  <a:custGeom>
                    <a:avLst/>
                    <a:gdLst>
                      <a:gd name="connsiteX0" fmla="*/ 342817 w 529869"/>
                      <a:gd name="connsiteY0" fmla="*/ 933 h 352203"/>
                      <a:gd name="connsiteX1" fmla="*/ 350035 w 529869"/>
                      <a:gd name="connsiteY1" fmla="*/ 8809 h 352203"/>
                      <a:gd name="connsiteX2" fmla="*/ 352148 w 529869"/>
                      <a:gd name="connsiteY2" fmla="*/ 17289 h 352203"/>
                      <a:gd name="connsiteX3" fmla="*/ 359778 w 529869"/>
                      <a:gd name="connsiteY3" fmla="*/ 26620 h 352203"/>
                      <a:gd name="connsiteX4" fmla="*/ 359092 w 529869"/>
                      <a:gd name="connsiteY4" fmla="*/ 30434 h 352203"/>
                      <a:gd name="connsiteX5" fmla="*/ 352313 w 529869"/>
                      <a:gd name="connsiteY5" fmla="*/ 33343 h 352203"/>
                      <a:gd name="connsiteX6" fmla="*/ 355963 w 529869"/>
                      <a:gd name="connsiteY6" fmla="*/ 39875 h 352203"/>
                      <a:gd name="connsiteX7" fmla="*/ 357033 w 529869"/>
                      <a:gd name="connsiteY7" fmla="*/ 52059 h 352203"/>
                      <a:gd name="connsiteX8" fmla="*/ 371304 w 529869"/>
                      <a:gd name="connsiteY8" fmla="*/ 56286 h 352203"/>
                      <a:gd name="connsiteX9" fmla="*/ 381128 w 529869"/>
                      <a:gd name="connsiteY9" fmla="*/ 55325 h 352203"/>
                      <a:gd name="connsiteX10" fmla="*/ 383433 w 529869"/>
                      <a:gd name="connsiteY10" fmla="*/ 60841 h 352203"/>
                      <a:gd name="connsiteX11" fmla="*/ 388208 w 529869"/>
                      <a:gd name="connsiteY11" fmla="*/ 63476 h 352203"/>
                      <a:gd name="connsiteX12" fmla="*/ 391282 w 529869"/>
                      <a:gd name="connsiteY12" fmla="*/ 76374 h 352203"/>
                      <a:gd name="connsiteX13" fmla="*/ 390266 w 529869"/>
                      <a:gd name="connsiteY13" fmla="*/ 84744 h 352203"/>
                      <a:gd name="connsiteX14" fmla="*/ 396524 w 529869"/>
                      <a:gd name="connsiteY14" fmla="*/ 93992 h 352203"/>
                      <a:gd name="connsiteX15" fmla="*/ 408653 w 529869"/>
                      <a:gd name="connsiteY15" fmla="*/ 90534 h 352203"/>
                      <a:gd name="connsiteX16" fmla="*/ 416612 w 529869"/>
                      <a:gd name="connsiteY16" fmla="*/ 96736 h 352203"/>
                      <a:gd name="connsiteX17" fmla="*/ 426190 w 529869"/>
                      <a:gd name="connsiteY17" fmla="*/ 99728 h 352203"/>
                      <a:gd name="connsiteX18" fmla="*/ 449434 w 529869"/>
                      <a:gd name="connsiteY18" fmla="*/ 91797 h 352203"/>
                      <a:gd name="connsiteX19" fmla="*/ 454236 w 529869"/>
                      <a:gd name="connsiteY19" fmla="*/ 96901 h 352203"/>
                      <a:gd name="connsiteX20" fmla="*/ 458463 w 529869"/>
                      <a:gd name="connsiteY20" fmla="*/ 106149 h 352203"/>
                      <a:gd name="connsiteX21" fmla="*/ 467107 w 529869"/>
                      <a:gd name="connsiteY21" fmla="*/ 113339 h 352203"/>
                      <a:gd name="connsiteX22" fmla="*/ 470317 w 529869"/>
                      <a:gd name="connsiteY22" fmla="*/ 113037 h 352203"/>
                      <a:gd name="connsiteX23" fmla="*/ 474023 w 529869"/>
                      <a:gd name="connsiteY23" fmla="*/ 107576 h 352203"/>
                      <a:gd name="connsiteX24" fmla="*/ 493946 w 529869"/>
                      <a:gd name="connsiteY24" fmla="*/ 119103 h 352203"/>
                      <a:gd name="connsiteX25" fmla="*/ 500286 w 529869"/>
                      <a:gd name="connsiteY25" fmla="*/ 117429 h 352203"/>
                      <a:gd name="connsiteX26" fmla="*/ 504786 w 529869"/>
                      <a:gd name="connsiteY26" fmla="*/ 121792 h 352203"/>
                      <a:gd name="connsiteX27" fmla="*/ 512004 w 529869"/>
                      <a:gd name="connsiteY27" fmla="*/ 123192 h 352203"/>
                      <a:gd name="connsiteX28" fmla="*/ 518562 w 529869"/>
                      <a:gd name="connsiteY28" fmla="*/ 130080 h 352203"/>
                      <a:gd name="connsiteX29" fmla="*/ 527344 w 529869"/>
                      <a:gd name="connsiteY29" fmla="*/ 130244 h 352203"/>
                      <a:gd name="connsiteX30" fmla="*/ 526631 w 529869"/>
                      <a:gd name="connsiteY30" fmla="*/ 134992 h 352203"/>
                      <a:gd name="connsiteX31" fmla="*/ 529814 w 529869"/>
                      <a:gd name="connsiteY31" fmla="*/ 140590 h 352203"/>
                      <a:gd name="connsiteX32" fmla="*/ 529869 w 529869"/>
                      <a:gd name="connsiteY32" fmla="*/ 144762 h 352203"/>
                      <a:gd name="connsiteX33" fmla="*/ 523200 w 529869"/>
                      <a:gd name="connsiteY33" fmla="*/ 152446 h 352203"/>
                      <a:gd name="connsiteX34" fmla="*/ 516889 w 529869"/>
                      <a:gd name="connsiteY34" fmla="*/ 155876 h 352203"/>
                      <a:gd name="connsiteX35" fmla="*/ 519386 w 529869"/>
                      <a:gd name="connsiteY35" fmla="*/ 159855 h 352203"/>
                      <a:gd name="connsiteX36" fmla="*/ 524737 w 529869"/>
                      <a:gd name="connsiteY36" fmla="*/ 162023 h 352203"/>
                      <a:gd name="connsiteX37" fmla="*/ 523502 w 529869"/>
                      <a:gd name="connsiteY37" fmla="*/ 164411 h 352203"/>
                      <a:gd name="connsiteX38" fmla="*/ 519001 w 529869"/>
                      <a:gd name="connsiteY38" fmla="*/ 164850 h 352203"/>
                      <a:gd name="connsiteX39" fmla="*/ 516257 w 529869"/>
                      <a:gd name="connsiteY39" fmla="*/ 170613 h 352203"/>
                      <a:gd name="connsiteX40" fmla="*/ 524133 w 529869"/>
                      <a:gd name="connsiteY40" fmla="*/ 189494 h 352203"/>
                      <a:gd name="connsiteX41" fmla="*/ 518315 w 529869"/>
                      <a:gd name="connsiteY41" fmla="*/ 205356 h 352203"/>
                      <a:gd name="connsiteX42" fmla="*/ 512662 w 529869"/>
                      <a:gd name="connsiteY42" fmla="*/ 207990 h 352203"/>
                      <a:gd name="connsiteX43" fmla="*/ 492409 w 529869"/>
                      <a:gd name="connsiteY43" fmla="*/ 206783 h 352203"/>
                      <a:gd name="connsiteX44" fmla="*/ 487826 w 529869"/>
                      <a:gd name="connsiteY44" fmla="*/ 213534 h 352203"/>
                      <a:gd name="connsiteX45" fmla="*/ 479703 w 529869"/>
                      <a:gd name="connsiteY45" fmla="*/ 216305 h 352203"/>
                      <a:gd name="connsiteX46" fmla="*/ 475395 w 529869"/>
                      <a:gd name="connsiteY46" fmla="*/ 220559 h 352203"/>
                      <a:gd name="connsiteX47" fmla="*/ 473556 w 529869"/>
                      <a:gd name="connsiteY47" fmla="*/ 228627 h 352203"/>
                      <a:gd name="connsiteX48" fmla="*/ 474818 w 529869"/>
                      <a:gd name="connsiteY48" fmla="*/ 232909 h 352203"/>
                      <a:gd name="connsiteX49" fmla="*/ 472788 w 529869"/>
                      <a:gd name="connsiteY49" fmla="*/ 238946 h 352203"/>
                      <a:gd name="connsiteX50" fmla="*/ 455251 w 529869"/>
                      <a:gd name="connsiteY50" fmla="*/ 241251 h 352203"/>
                      <a:gd name="connsiteX51" fmla="*/ 432227 w 529869"/>
                      <a:gd name="connsiteY51" fmla="*/ 254040 h 352203"/>
                      <a:gd name="connsiteX52" fmla="*/ 404400 w 529869"/>
                      <a:gd name="connsiteY52" fmla="*/ 260297 h 352203"/>
                      <a:gd name="connsiteX53" fmla="*/ 371056 w 529869"/>
                      <a:gd name="connsiteY53" fmla="*/ 279589 h 352203"/>
                      <a:gd name="connsiteX54" fmla="*/ 367846 w 529869"/>
                      <a:gd name="connsiteY54" fmla="*/ 293091 h 352203"/>
                      <a:gd name="connsiteX55" fmla="*/ 376957 w 529869"/>
                      <a:gd name="connsiteY55" fmla="*/ 302147 h 352203"/>
                      <a:gd name="connsiteX56" fmla="*/ 384421 w 529869"/>
                      <a:gd name="connsiteY56" fmla="*/ 314002 h 352203"/>
                      <a:gd name="connsiteX57" fmla="*/ 391529 w 529869"/>
                      <a:gd name="connsiteY57" fmla="*/ 315978 h 352203"/>
                      <a:gd name="connsiteX58" fmla="*/ 412605 w 529869"/>
                      <a:gd name="connsiteY58" fmla="*/ 310462 h 352203"/>
                      <a:gd name="connsiteX59" fmla="*/ 421057 w 529869"/>
                      <a:gd name="connsiteY59" fmla="*/ 316720 h 352203"/>
                      <a:gd name="connsiteX60" fmla="*/ 415185 w 529869"/>
                      <a:gd name="connsiteY60" fmla="*/ 325391 h 352203"/>
                      <a:gd name="connsiteX61" fmla="*/ 404427 w 529869"/>
                      <a:gd name="connsiteY61" fmla="*/ 327559 h 352203"/>
                      <a:gd name="connsiteX62" fmla="*/ 392242 w 529869"/>
                      <a:gd name="connsiteY62" fmla="*/ 326407 h 352203"/>
                      <a:gd name="connsiteX63" fmla="*/ 380909 w 529869"/>
                      <a:gd name="connsiteY63" fmla="*/ 334310 h 352203"/>
                      <a:gd name="connsiteX64" fmla="*/ 363619 w 529869"/>
                      <a:gd name="connsiteY64" fmla="*/ 341006 h 352203"/>
                      <a:gd name="connsiteX65" fmla="*/ 349459 w 529869"/>
                      <a:gd name="connsiteY65" fmla="*/ 351819 h 352203"/>
                      <a:gd name="connsiteX66" fmla="*/ 341445 w 529869"/>
                      <a:gd name="connsiteY66" fmla="*/ 352203 h 352203"/>
                      <a:gd name="connsiteX67" fmla="*/ 335326 w 529869"/>
                      <a:gd name="connsiteY67" fmla="*/ 347922 h 352203"/>
                      <a:gd name="connsiteX68" fmla="*/ 335545 w 529869"/>
                      <a:gd name="connsiteY68" fmla="*/ 332252 h 352203"/>
                      <a:gd name="connsiteX69" fmla="*/ 331813 w 529869"/>
                      <a:gd name="connsiteY69" fmla="*/ 323662 h 352203"/>
                      <a:gd name="connsiteX70" fmla="*/ 307690 w 529869"/>
                      <a:gd name="connsiteY70" fmla="*/ 311862 h 352203"/>
                      <a:gd name="connsiteX71" fmla="*/ 311999 w 529869"/>
                      <a:gd name="connsiteY71" fmla="*/ 305605 h 352203"/>
                      <a:gd name="connsiteX72" fmla="*/ 334338 w 529869"/>
                      <a:gd name="connsiteY72" fmla="*/ 292240 h 352203"/>
                      <a:gd name="connsiteX73" fmla="*/ 335243 w 529869"/>
                      <a:gd name="connsiteY73" fmla="*/ 285160 h 352203"/>
                      <a:gd name="connsiteX74" fmla="*/ 323470 w 529869"/>
                      <a:gd name="connsiteY74" fmla="*/ 281894 h 352203"/>
                      <a:gd name="connsiteX75" fmla="*/ 312822 w 529869"/>
                      <a:gd name="connsiteY75" fmla="*/ 284309 h 352203"/>
                      <a:gd name="connsiteX76" fmla="*/ 290566 w 529869"/>
                      <a:gd name="connsiteY76" fmla="*/ 276680 h 352203"/>
                      <a:gd name="connsiteX77" fmla="*/ 287794 w 529869"/>
                      <a:gd name="connsiteY77" fmla="*/ 273195 h 352203"/>
                      <a:gd name="connsiteX78" fmla="*/ 287191 w 529869"/>
                      <a:gd name="connsiteY78" fmla="*/ 267981 h 352203"/>
                      <a:gd name="connsiteX79" fmla="*/ 293420 w 529869"/>
                      <a:gd name="connsiteY79" fmla="*/ 262629 h 352203"/>
                      <a:gd name="connsiteX80" fmla="*/ 287932 w 529869"/>
                      <a:gd name="connsiteY80" fmla="*/ 257113 h 352203"/>
                      <a:gd name="connsiteX81" fmla="*/ 254204 w 529869"/>
                      <a:gd name="connsiteY81" fmla="*/ 266307 h 352203"/>
                      <a:gd name="connsiteX82" fmla="*/ 239851 w 529869"/>
                      <a:gd name="connsiteY82" fmla="*/ 288563 h 352203"/>
                      <a:gd name="connsiteX83" fmla="*/ 224264 w 529869"/>
                      <a:gd name="connsiteY83" fmla="*/ 304891 h 352203"/>
                      <a:gd name="connsiteX84" fmla="*/ 221327 w 529869"/>
                      <a:gd name="connsiteY84" fmla="*/ 320013 h 352203"/>
                      <a:gd name="connsiteX85" fmla="*/ 219434 w 529869"/>
                      <a:gd name="connsiteY85" fmla="*/ 314332 h 352203"/>
                      <a:gd name="connsiteX86" fmla="*/ 214083 w 529869"/>
                      <a:gd name="connsiteY86" fmla="*/ 311011 h 352203"/>
                      <a:gd name="connsiteX87" fmla="*/ 193884 w 529869"/>
                      <a:gd name="connsiteY87" fmla="*/ 318476 h 352203"/>
                      <a:gd name="connsiteX88" fmla="*/ 183950 w 529869"/>
                      <a:gd name="connsiteY88" fmla="*/ 315978 h 352203"/>
                      <a:gd name="connsiteX89" fmla="*/ 178132 w 529869"/>
                      <a:gd name="connsiteY89" fmla="*/ 309337 h 352203"/>
                      <a:gd name="connsiteX90" fmla="*/ 185926 w 529869"/>
                      <a:gd name="connsiteY90" fmla="*/ 307114 h 352203"/>
                      <a:gd name="connsiteX91" fmla="*/ 187710 w 529869"/>
                      <a:gd name="connsiteY91" fmla="*/ 299293 h 352203"/>
                      <a:gd name="connsiteX92" fmla="*/ 193829 w 529869"/>
                      <a:gd name="connsiteY92" fmla="*/ 293859 h 352203"/>
                      <a:gd name="connsiteX93" fmla="*/ 195724 w 529869"/>
                      <a:gd name="connsiteY93" fmla="*/ 288096 h 352203"/>
                      <a:gd name="connsiteX94" fmla="*/ 200855 w 529869"/>
                      <a:gd name="connsiteY94" fmla="*/ 284858 h 352203"/>
                      <a:gd name="connsiteX95" fmla="*/ 202145 w 529869"/>
                      <a:gd name="connsiteY95" fmla="*/ 279863 h 352203"/>
                      <a:gd name="connsiteX96" fmla="*/ 200224 w 529869"/>
                      <a:gd name="connsiteY96" fmla="*/ 274375 h 352203"/>
                      <a:gd name="connsiteX97" fmla="*/ 201212 w 529869"/>
                      <a:gd name="connsiteY97" fmla="*/ 266883 h 352203"/>
                      <a:gd name="connsiteX98" fmla="*/ 207057 w 529869"/>
                      <a:gd name="connsiteY98" fmla="*/ 264550 h 352203"/>
                      <a:gd name="connsiteX99" fmla="*/ 209308 w 529869"/>
                      <a:gd name="connsiteY99" fmla="*/ 268008 h 352203"/>
                      <a:gd name="connsiteX100" fmla="*/ 214522 w 529869"/>
                      <a:gd name="connsiteY100" fmla="*/ 267102 h 352203"/>
                      <a:gd name="connsiteX101" fmla="*/ 219324 w 529869"/>
                      <a:gd name="connsiteY101" fmla="*/ 270698 h 352203"/>
                      <a:gd name="connsiteX102" fmla="*/ 223221 w 529869"/>
                      <a:gd name="connsiteY102" fmla="*/ 268804 h 352203"/>
                      <a:gd name="connsiteX103" fmla="*/ 227283 w 529869"/>
                      <a:gd name="connsiteY103" fmla="*/ 270944 h 352203"/>
                      <a:gd name="connsiteX104" fmla="*/ 231893 w 529869"/>
                      <a:gd name="connsiteY104" fmla="*/ 269819 h 352203"/>
                      <a:gd name="connsiteX105" fmla="*/ 229066 w 529869"/>
                      <a:gd name="connsiteY105" fmla="*/ 263892 h 352203"/>
                      <a:gd name="connsiteX106" fmla="*/ 228819 w 529869"/>
                      <a:gd name="connsiteY106" fmla="*/ 253683 h 352203"/>
                      <a:gd name="connsiteX107" fmla="*/ 219214 w 529869"/>
                      <a:gd name="connsiteY107" fmla="*/ 244736 h 352203"/>
                      <a:gd name="connsiteX108" fmla="*/ 217760 w 529869"/>
                      <a:gd name="connsiteY108" fmla="*/ 230054 h 352203"/>
                      <a:gd name="connsiteX109" fmla="*/ 213561 w 529869"/>
                      <a:gd name="connsiteY109" fmla="*/ 229999 h 352203"/>
                      <a:gd name="connsiteX110" fmla="*/ 206646 w 529869"/>
                      <a:gd name="connsiteY110" fmla="*/ 222453 h 352203"/>
                      <a:gd name="connsiteX111" fmla="*/ 208512 w 529869"/>
                      <a:gd name="connsiteY111" fmla="*/ 210213 h 352203"/>
                      <a:gd name="connsiteX112" fmla="*/ 205850 w 529869"/>
                      <a:gd name="connsiteY112" fmla="*/ 202282 h 352203"/>
                      <a:gd name="connsiteX113" fmla="*/ 199895 w 529869"/>
                      <a:gd name="connsiteY113" fmla="*/ 201761 h 352203"/>
                      <a:gd name="connsiteX114" fmla="*/ 193226 w 529869"/>
                      <a:gd name="connsiteY114" fmla="*/ 194406 h 352203"/>
                      <a:gd name="connsiteX115" fmla="*/ 185569 w 529869"/>
                      <a:gd name="connsiteY115" fmla="*/ 195751 h 352203"/>
                      <a:gd name="connsiteX116" fmla="*/ 181096 w 529869"/>
                      <a:gd name="connsiteY116" fmla="*/ 190591 h 352203"/>
                      <a:gd name="connsiteX117" fmla="*/ 174400 w 529869"/>
                      <a:gd name="connsiteY117" fmla="*/ 188862 h 352203"/>
                      <a:gd name="connsiteX118" fmla="*/ 162435 w 529869"/>
                      <a:gd name="connsiteY118" fmla="*/ 180465 h 352203"/>
                      <a:gd name="connsiteX119" fmla="*/ 148741 w 529869"/>
                      <a:gd name="connsiteY119" fmla="*/ 183703 h 352203"/>
                      <a:gd name="connsiteX120" fmla="*/ 137023 w 529869"/>
                      <a:gd name="connsiteY120" fmla="*/ 182798 h 352203"/>
                      <a:gd name="connsiteX121" fmla="*/ 135925 w 529869"/>
                      <a:gd name="connsiteY121" fmla="*/ 186832 h 352203"/>
                      <a:gd name="connsiteX122" fmla="*/ 131644 w 529869"/>
                      <a:gd name="connsiteY122" fmla="*/ 189137 h 352203"/>
                      <a:gd name="connsiteX123" fmla="*/ 123411 w 529869"/>
                      <a:gd name="connsiteY123" fmla="*/ 192458 h 352203"/>
                      <a:gd name="connsiteX124" fmla="*/ 119130 w 529869"/>
                      <a:gd name="connsiteY124" fmla="*/ 199785 h 352203"/>
                      <a:gd name="connsiteX125" fmla="*/ 116002 w 529869"/>
                      <a:gd name="connsiteY125" fmla="*/ 201514 h 352203"/>
                      <a:gd name="connsiteX126" fmla="*/ 110019 w 529869"/>
                      <a:gd name="connsiteY126" fmla="*/ 202227 h 352203"/>
                      <a:gd name="connsiteX127" fmla="*/ 92181 w 529869"/>
                      <a:gd name="connsiteY127" fmla="*/ 204670 h 352203"/>
                      <a:gd name="connsiteX128" fmla="*/ 86363 w 529869"/>
                      <a:gd name="connsiteY128" fmla="*/ 211585 h 352203"/>
                      <a:gd name="connsiteX129" fmla="*/ 82137 w 529869"/>
                      <a:gd name="connsiteY129" fmla="*/ 212436 h 352203"/>
                      <a:gd name="connsiteX130" fmla="*/ 70995 w 529869"/>
                      <a:gd name="connsiteY130" fmla="*/ 202474 h 352203"/>
                      <a:gd name="connsiteX131" fmla="*/ 60594 w 529869"/>
                      <a:gd name="connsiteY131" fmla="*/ 204807 h 352203"/>
                      <a:gd name="connsiteX132" fmla="*/ 41603 w 529869"/>
                      <a:gd name="connsiteY132" fmla="*/ 200224 h 352203"/>
                      <a:gd name="connsiteX133" fmla="*/ 39381 w 529869"/>
                      <a:gd name="connsiteY133" fmla="*/ 201980 h 352203"/>
                      <a:gd name="connsiteX134" fmla="*/ 30516 w 529869"/>
                      <a:gd name="connsiteY134" fmla="*/ 195751 h 352203"/>
                      <a:gd name="connsiteX135" fmla="*/ 21790 w 529869"/>
                      <a:gd name="connsiteY135" fmla="*/ 202556 h 352203"/>
                      <a:gd name="connsiteX136" fmla="*/ 19759 w 529869"/>
                      <a:gd name="connsiteY136" fmla="*/ 196272 h 352203"/>
                      <a:gd name="connsiteX137" fmla="*/ 13584 w 529869"/>
                      <a:gd name="connsiteY137" fmla="*/ 195751 h 352203"/>
                      <a:gd name="connsiteX138" fmla="*/ 10319 w 529869"/>
                      <a:gd name="connsiteY138" fmla="*/ 190317 h 352203"/>
                      <a:gd name="connsiteX139" fmla="*/ 0 w 529869"/>
                      <a:gd name="connsiteY139" fmla="*/ 182715 h 352203"/>
                      <a:gd name="connsiteX140" fmla="*/ 439 w 529869"/>
                      <a:gd name="connsiteY140" fmla="*/ 175361 h 352203"/>
                      <a:gd name="connsiteX141" fmla="*/ 5131 w 529869"/>
                      <a:gd name="connsiteY141" fmla="*/ 169790 h 352203"/>
                      <a:gd name="connsiteX142" fmla="*/ 6723 w 529869"/>
                      <a:gd name="connsiteY142" fmla="*/ 162298 h 352203"/>
                      <a:gd name="connsiteX143" fmla="*/ 12130 w 529869"/>
                      <a:gd name="connsiteY143" fmla="*/ 152171 h 352203"/>
                      <a:gd name="connsiteX144" fmla="*/ 19979 w 529869"/>
                      <a:gd name="connsiteY144" fmla="*/ 153022 h 352203"/>
                      <a:gd name="connsiteX145" fmla="*/ 17399 w 529869"/>
                      <a:gd name="connsiteY145" fmla="*/ 145585 h 352203"/>
                      <a:gd name="connsiteX146" fmla="*/ 15642 w 529869"/>
                      <a:gd name="connsiteY146" fmla="*/ 130272 h 352203"/>
                      <a:gd name="connsiteX147" fmla="*/ 40972 w 529869"/>
                      <a:gd name="connsiteY147" fmla="*/ 99261 h 352203"/>
                      <a:gd name="connsiteX148" fmla="*/ 46159 w 529869"/>
                      <a:gd name="connsiteY148" fmla="*/ 93416 h 352203"/>
                      <a:gd name="connsiteX149" fmla="*/ 55572 w 529869"/>
                      <a:gd name="connsiteY149" fmla="*/ 89464 h 352203"/>
                      <a:gd name="connsiteX150" fmla="*/ 56944 w 529869"/>
                      <a:gd name="connsiteY150" fmla="*/ 81176 h 352203"/>
                      <a:gd name="connsiteX151" fmla="*/ 53679 w 529869"/>
                      <a:gd name="connsiteY151" fmla="*/ 73602 h 352203"/>
                      <a:gd name="connsiteX152" fmla="*/ 57027 w 529869"/>
                      <a:gd name="connsiteY152" fmla="*/ 71159 h 352203"/>
                      <a:gd name="connsiteX153" fmla="*/ 45720 w 529869"/>
                      <a:gd name="connsiteY153" fmla="*/ 51565 h 352203"/>
                      <a:gd name="connsiteX154" fmla="*/ 43003 w 529869"/>
                      <a:gd name="connsiteY154" fmla="*/ 40615 h 352203"/>
                      <a:gd name="connsiteX155" fmla="*/ 43936 w 529869"/>
                      <a:gd name="connsiteY155" fmla="*/ 39765 h 352203"/>
                      <a:gd name="connsiteX156" fmla="*/ 43497 w 529869"/>
                      <a:gd name="connsiteY156" fmla="*/ 34798 h 352203"/>
                      <a:gd name="connsiteX157" fmla="*/ 47312 w 529869"/>
                      <a:gd name="connsiteY157" fmla="*/ 33425 h 352203"/>
                      <a:gd name="connsiteX158" fmla="*/ 51181 w 529869"/>
                      <a:gd name="connsiteY158" fmla="*/ 36472 h 352203"/>
                      <a:gd name="connsiteX159" fmla="*/ 54529 w 529869"/>
                      <a:gd name="connsiteY159" fmla="*/ 36828 h 352203"/>
                      <a:gd name="connsiteX160" fmla="*/ 62817 w 529869"/>
                      <a:gd name="connsiteY160" fmla="*/ 30077 h 352203"/>
                      <a:gd name="connsiteX161" fmla="*/ 63530 w 529869"/>
                      <a:gd name="connsiteY161" fmla="*/ 25495 h 352203"/>
                      <a:gd name="connsiteX162" fmla="*/ 65891 w 529869"/>
                      <a:gd name="connsiteY162" fmla="*/ 23052 h 352203"/>
                      <a:gd name="connsiteX163" fmla="*/ 82740 w 529869"/>
                      <a:gd name="connsiteY163" fmla="*/ 21954 h 352203"/>
                      <a:gd name="connsiteX164" fmla="*/ 89574 w 529869"/>
                      <a:gd name="connsiteY164" fmla="*/ 18881 h 352203"/>
                      <a:gd name="connsiteX165" fmla="*/ 95886 w 529869"/>
                      <a:gd name="connsiteY165" fmla="*/ 21049 h 352203"/>
                      <a:gd name="connsiteX166" fmla="*/ 106835 w 529869"/>
                      <a:gd name="connsiteY166" fmla="*/ 20061 h 352203"/>
                      <a:gd name="connsiteX167" fmla="*/ 109937 w 529869"/>
                      <a:gd name="connsiteY167" fmla="*/ 21213 h 352203"/>
                      <a:gd name="connsiteX168" fmla="*/ 138971 w 529869"/>
                      <a:gd name="connsiteY168" fmla="*/ 29501 h 352203"/>
                      <a:gd name="connsiteX169" fmla="*/ 147314 w 529869"/>
                      <a:gd name="connsiteY169" fmla="*/ 28403 h 352203"/>
                      <a:gd name="connsiteX170" fmla="*/ 150936 w 529869"/>
                      <a:gd name="connsiteY170" fmla="*/ 35484 h 352203"/>
                      <a:gd name="connsiteX171" fmla="*/ 162655 w 529869"/>
                      <a:gd name="connsiteY171" fmla="*/ 36362 h 352203"/>
                      <a:gd name="connsiteX172" fmla="*/ 162545 w 529869"/>
                      <a:gd name="connsiteY172" fmla="*/ 40067 h 352203"/>
                      <a:gd name="connsiteX173" fmla="*/ 164137 w 529869"/>
                      <a:gd name="connsiteY173" fmla="*/ 41576 h 352203"/>
                      <a:gd name="connsiteX174" fmla="*/ 167731 w 529869"/>
                      <a:gd name="connsiteY174" fmla="*/ 35978 h 352203"/>
                      <a:gd name="connsiteX175" fmla="*/ 172424 w 529869"/>
                      <a:gd name="connsiteY175" fmla="*/ 37981 h 352203"/>
                      <a:gd name="connsiteX176" fmla="*/ 178873 w 529869"/>
                      <a:gd name="connsiteY176" fmla="*/ 33316 h 352203"/>
                      <a:gd name="connsiteX177" fmla="*/ 182358 w 529869"/>
                      <a:gd name="connsiteY177" fmla="*/ 38310 h 352203"/>
                      <a:gd name="connsiteX178" fmla="*/ 189713 w 529869"/>
                      <a:gd name="connsiteY178" fmla="*/ 37844 h 352203"/>
                      <a:gd name="connsiteX179" fmla="*/ 192650 w 529869"/>
                      <a:gd name="connsiteY179" fmla="*/ 42921 h 352203"/>
                      <a:gd name="connsiteX180" fmla="*/ 196903 w 529869"/>
                      <a:gd name="connsiteY180" fmla="*/ 37871 h 352203"/>
                      <a:gd name="connsiteX181" fmla="*/ 204615 w 529869"/>
                      <a:gd name="connsiteY181" fmla="*/ 34606 h 352203"/>
                      <a:gd name="connsiteX182" fmla="*/ 211201 w 529869"/>
                      <a:gd name="connsiteY182" fmla="*/ 46104 h 352203"/>
                      <a:gd name="connsiteX183" fmla="*/ 221520 w 529869"/>
                      <a:gd name="connsiteY183" fmla="*/ 40314 h 352203"/>
                      <a:gd name="connsiteX184" fmla="*/ 225554 w 529869"/>
                      <a:gd name="connsiteY184" fmla="*/ 43442 h 352203"/>
                      <a:gd name="connsiteX185" fmla="*/ 236092 w 529869"/>
                      <a:gd name="connsiteY185" fmla="*/ 41219 h 352203"/>
                      <a:gd name="connsiteX186" fmla="*/ 245944 w 529869"/>
                      <a:gd name="connsiteY186" fmla="*/ 51565 h 352203"/>
                      <a:gd name="connsiteX187" fmla="*/ 249484 w 529869"/>
                      <a:gd name="connsiteY187" fmla="*/ 47723 h 352203"/>
                      <a:gd name="connsiteX188" fmla="*/ 246466 w 529869"/>
                      <a:gd name="connsiteY188" fmla="*/ 33618 h 352203"/>
                      <a:gd name="connsiteX189" fmla="*/ 258815 w 529869"/>
                      <a:gd name="connsiteY189" fmla="*/ 13831 h 352203"/>
                      <a:gd name="connsiteX190" fmla="*/ 279726 w 529869"/>
                      <a:gd name="connsiteY190" fmla="*/ 11910 h 352203"/>
                      <a:gd name="connsiteX191" fmla="*/ 283239 w 529869"/>
                      <a:gd name="connsiteY191" fmla="*/ 12075 h 352203"/>
                      <a:gd name="connsiteX192" fmla="*/ 294628 w 529869"/>
                      <a:gd name="connsiteY192" fmla="*/ 14023 h 352203"/>
                      <a:gd name="connsiteX193" fmla="*/ 298223 w 529869"/>
                      <a:gd name="connsiteY193" fmla="*/ 10840 h 352203"/>
                      <a:gd name="connsiteX194" fmla="*/ 301928 w 529869"/>
                      <a:gd name="connsiteY194" fmla="*/ 2113 h 352203"/>
                      <a:gd name="connsiteX195" fmla="*/ 312493 w 529869"/>
                      <a:gd name="connsiteY195" fmla="*/ 5022 h 352203"/>
                      <a:gd name="connsiteX196" fmla="*/ 324952 w 529869"/>
                      <a:gd name="connsiteY196" fmla="*/ 0 h 352203"/>
                      <a:gd name="connsiteX197" fmla="*/ 342817 w 529869"/>
                      <a:gd name="connsiteY197" fmla="*/ 933 h 35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529869" h="352203">
                        <a:moveTo>
                          <a:pt x="342817" y="933"/>
                        </a:moveTo>
                        <a:lnTo>
                          <a:pt x="350035" y="8809"/>
                        </a:lnTo>
                        <a:lnTo>
                          <a:pt x="352148" y="17289"/>
                        </a:lnTo>
                        <a:lnTo>
                          <a:pt x="359778" y="26620"/>
                        </a:lnTo>
                        <a:lnTo>
                          <a:pt x="359092" y="30434"/>
                        </a:lnTo>
                        <a:lnTo>
                          <a:pt x="352313" y="33343"/>
                        </a:lnTo>
                        <a:lnTo>
                          <a:pt x="355963" y="39875"/>
                        </a:lnTo>
                        <a:lnTo>
                          <a:pt x="357033" y="52059"/>
                        </a:lnTo>
                        <a:lnTo>
                          <a:pt x="371304" y="56286"/>
                        </a:lnTo>
                        <a:lnTo>
                          <a:pt x="381128" y="55325"/>
                        </a:lnTo>
                        <a:lnTo>
                          <a:pt x="383433" y="60841"/>
                        </a:lnTo>
                        <a:lnTo>
                          <a:pt x="388208" y="63476"/>
                        </a:lnTo>
                        <a:lnTo>
                          <a:pt x="391282" y="76374"/>
                        </a:lnTo>
                        <a:lnTo>
                          <a:pt x="390266" y="84744"/>
                        </a:lnTo>
                        <a:lnTo>
                          <a:pt x="396524" y="93992"/>
                        </a:lnTo>
                        <a:lnTo>
                          <a:pt x="408653" y="90534"/>
                        </a:lnTo>
                        <a:lnTo>
                          <a:pt x="416612" y="96736"/>
                        </a:lnTo>
                        <a:lnTo>
                          <a:pt x="426190" y="99728"/>
                        </a:lnTo>
                        <a:lnTo>
                          <a:pt x="449434" y="91797"/>
                        </a:lnTo>
                        <a:lnTo>
                          <a:pt x="454236" y="96901"/>
                        </a:lnTo>
                        <a:lnTo>
                          <a:pt x="458463" y="106149"/>
                        </a:lnTo>
                        <a:lnTo>
                          <a:pt x="467107" y="113339"/>
                        </a:lnTo>
                        <a:lnTo>
                          <a:pt x="470317" y="113037"/>
                        </a:lnTo>
                        <a:lnTo>
                          <a:pt x="474023" y="107576"/>
                        </a:lnTo>
                        <a:lnTo>
                          <a:pt x="493946" y="119103"/>
                        </a:lnTo>
                        <a:lnTo>
                          <a:pt x="500286" y="117429"/>
                        </a:lnTo>
                        <a:lnTo>
                          <a:pt x="504786" y="121792"/>
                        </a:lnTo>
                        <a:lnTo>
                          <a:pt x="512004" y="123192"/>
                        </a:lnTo>
                        <a:lnTo>
                          <a:pt x="518562" y="130080"/>
                        </a:lnTo>
                        <a:lnTo>
                          <a:pt x="527344" y="130244"/>
                        </a:lnTo>
                        <a:lnTo>
                          <a:pt x="526631" y="134992"/>
                        </a:lnTo>
                        <a:lnTo>
                          <a:pt x="529814" y="140590"/>
                        </a:lnTo>
                        <a:lnTo>
                          <a:pt x="529869" y="144762"/>
                        </a:lnTo>
                        <a:lnTo>
                          <a:pt x="523200" y="152446"/>
                        </a:lnTo>
                        <a:lnTo>
                          <a:pt x="516889" y="155876"/>
                        </a:lnTo>
                        <a:lnTo>
                          <a:pt x="519386" y="159855"/>
                        </a:lnTo>
                        <a:lnTo>
                          <a:pt x="524737" y="162023"/>
                        </a:lnTo>
                        <a:lnTo>
                          <a:pt x="523502" y="164411"/>
                        </a:lnTo>
                        <a:lnTo>
                          <a:pt x="519001" y="164850"/>
                        </a:lnTo>
                        <a:lnTo>
                          <a:pt x="516257" y="170613"/>
                        </a:lnTo>
                        <a:lnTo>
                          <a:pt x="524133" y="189494"/>
                        </a:lnTo>
                        <a:lnTo>
                          <a:pt x="518315" y="205356"/>
                        </a:lnTo>
                        <a:lnTo>
                          <a:pt x="512662" y="207990"/>
                        </a:lnTo>
                        <a:lnTo>
                          <a:pt x="492409" y="206783"/>
                        </a:lnTo>
                        <a:lnTo>
                          <a:pt x="487826" y="213534"/>
                        </a:lnTo>
                        <a:lnTo>
                          <a:pt x="479703" y="216305"/>
                        </a:lnTo>
                        <a:lnTo>
                          <a:pt x="475395" y="220559"/>
                        </a:lnTo>
                        <a:lnTo>
                          <a:pt x="473556" y="228627"/>
                        </a:lnTo>
                        <a:lnTo>
                          <a:pt x="474818" y="232909"/>
                        </a:lnTo>
                        <a:lnTo>
                          <a:pt x="472788" y="238946"/>
                        </a:lnTo>
                        <a:lnTo>
                          <a:pt x="455251" y="241251"/>
                        </a:lnTo>
                        <a:lnTo>
                          <a:pt x="432227" y="254040"/>
                        </a:lnTo>
                        <a:lnTo>
                          <a:pt x="404400" y="260297"/>
                        </a:lnTo>
                        <a:lnTo>
                          <a:pt x="371056" y="279589"/>
                        </a:lnTo>
                        <a:lnTo>
                          <a:pt x="367846" y="293091"/>
                        </a:lnTo>
                        <a:lnTo>
                          <a:pt x="376957" y="302147"/>
                        </a:lnTo>
                        <a:lnTo>
                          <a:pt x="384421" y="314002"/>
                        </a:lnTo>
                        <a:lnTo>
                          <a:pt x="391529" y="315978"/>
                        </a:lnTo>
                        <a:lnTo>
                          <a:pt x="412605" y="310462"/>
                        </a:lnTo>
                        <a:lnTo>
                          <a:pt x="421057" y="316720"/>
                        </a:lnTo>
                        <a:lnTo>
                          <a:pt x="415185" y="325391"/>
                        </a:lnTo>
                        <a:lnTo>
                          <a:pt x="404427" y="327559"/>
                        </a:lnTo>
                        <a:lnTo>
                          <a:pt x="392242" y="326407"/>
                        </a:lnTo>
                        <a:lnTo>
                          <a:pt x="380909" y="334310"/>
                        </a:lnTo>
                        <a:lnTo>
                          <a:pt x="363619" y="341006"/>
                        </a:lnTo>
                        <a:lnTo>
                          <a:pt x="349459" y="351819"/>
                        </a:lnTo>
                        <a:lnTo>
                          <a:pt x="341445" y="352203"/>
                        </a:lnTo>
                        <a:lnTo>
                          <a:pt x="335326" y="347922"/>
                        </a:lnTo>
                        <a:lnTo>
                          <a:pt x="335545" y="332252"/>
                        </a:lnTo>
                        <a:lnTo>
                          <a:pt x="331813" y="323662"/>
                        </a:lnTo>
                        <a:lnTo>
                          <a:pt x="307690" y="311862"/>
                        </a:lnTo>
                        <a:lnTo>
                          <a:pt x="311999" y="305605"/>
                        </a:lnTo>
                        <a:lnTo>
                          <a:pt x="334338" y="292240"/>
                        </a:lnTo>
                        <a:lnTo>
                          <a:pt x="335243" y="285160"/>
                        </a:lnTo>
                        <a:lnTo>
                          <a:pt x="323470" y="281894"/>
                        </a:lnTo>
                        <a:lnTo>
                          <a:pt x="312822" y="284309"/>
                        </a:lnTo>
                        <a:lnTo>
                          <a:pt x="290566" y="276680"/>
                        </a:lnTo>
                        <a:lnTo>
                          <a:pt x="287794" y="273195"/>
                        </a:lnTo>
                        <a:lnTo>
                          <a:pt x="287191" y="267981"/>
                        </a:lnTo>
                        <a:lnTo>
                          <a:pt x="293420" y="262629"/>
                        </a:lnTo>
                        <a:lnTo>
                          <a:pt x="287932" y="257113"/>
                        </a:lnTo>
                        <a:lnTo>
                          <a:pt x="254204" y="266307"/>
                        </a:lnTo>
                        <a:lnTo>
                          <a:pt x="239851" y="288563"/>
                        </a:lnTo>
                        <a:lnTo>
                          <a:pt x="224264" y="304891"/>
                        </a:lnTo>
                        <a:lnTo>
                          <a:pt x="221327" y="320013"/>
                        </a:lnTo>
                        <a:lnTo>
                          <a:pt x="219434" y="314332"/>
                        </a:lnTo>
                        <a:lnTo>
                          <a:pt x="214083" y="311011"/>
                        </a:lnTo>
                        <a:lnTo>
                          <a:pt x="193884" y="318476"/>
                        </a:lnTo>
                        <a:lnTo>
                          <a:pt x="183950" y="315978"/>
                        </a:lnTo>
                        <a:lnTo>
                          <a:pt x="178132" y="309337"/>
                        </a:lnTo>
                        <a:lnTo>
                          <a:pt x="185926" y="307114"/>
                        </a:lnTo>
                        <a:lnTo>
                          <a:pt x="187710" y="299293"/>
                        </a:lnTo>
                        <a:lnTo>
                          <a:pt x="193829" y="293859"/>
                        </a:lnTo>
                        <a:lnTo>
                          <a:pt x="195724" y="288096"/>
                        </a:lnTo>
                        <a:lnTo>
                          <a:pt x="200855" y="284858"/>
                        </a:lnTo>
                        <a:lnTo>
                          <a:pt x="202145" y="279863"/>
                        </a:lnTo>
                        <a:lnTo>
                          <a:pt x="200224" y="274375"/>
                        </a:lnTo>
                        <a:lnTo>
                          <a:pt x="201212" y="266883"/>
                        </a:lnTo>
                        <a:lnTo>
                          <a:pt x="207057" y="264550"/>
                        </a:lnTo>
                        <a:lnTo>
                          <a:pt x="209308" y="268008"/>
                        </a:lnTo>
                        <a:lnTo>
                          <a:pt x="214522" y="267102"/>
                        </a:lnTo>
                        <a:lnTo>
                          <a:pt x="219324" y="270698"/>
                        </a:lnTo>
                        <a:lnTo>
                          <a:pt x="223221" y="268804"/>
                        </a:lnTo>
                        <a:lnTo>
                          <a:pt x="227283" y="270944"/>
                        </a:lnTo>
                        <a:lnTo>
                          <a:pt x="231893" y="269819"/>
                        </a:lnTo>
                        <a:lnTo>
                          <a:pt x="229066" y="263892"/>
                        </a:lnTo>
                        <a:lnTo>
                          <a:pt x="228819" y="253683"/>
                        </a:lnTo>
                        <a:lnTo>
                          <a:pt x="219214" y="244736"/>
                        </a:lnTo>
                        <a:lnTo>
                          <a:pt x="217760" y="230054"/>
                        </a:lnTo>
                        <a:lnTo>
                          <a:pt x="213561" y="229999"/>
                        </a:lnTo>
                        <a:lnTo>
                          <a:pt x="206646" y="222453"/>
                        </a:lnTo>
                        <a:lnTo>
                          <a:pt x="208512" y="210213"/>
                        </a:lnTo>
                        <a:lnTo>
                          <a:pt x="205850" y="202282"/>
                        </a:lnTo>
                        <a:lnTo>
                          <a:pt x="199895" y="201761"/>
                        </a:lnTo>
                        <a:lnTo>
                          <a:pt x="193226" y="194406"/>
                        </a:lnTo>
                        <a:lnTo>
                          <a:pt x="185569" y="195751"/>
                        </a:lnTo>
                        <a:lnTo>
                          <a:pt x="181096" y="190591"/>
                        </a:lnTo>
                        <a:lnTo>
                          <a:pt x="174400" y="188862"/>
                        </a:lnTo>
                        <a:lnTo>
                          <a:pt x="162435" y="180465"/>
                        </a:lnTo>
                        <a:lnTo>
                          <a:pt x="148741" y="183703"/>
                        </a:lnTo>
                        <a:lnTo>
                          <a:pt x="137023" y="182798"/>
                        </a:lnTo>
                        <a:lnTo>
                          <a:pt x="135925" y="186832"/>
                        </a:lnTo>
                        <a:lnTo>
                          <a:pt x="131644" y="189137"/>
                        </a:lnTo>
                        <a:lnTo>
                          <a:pt x="123411" y="192458"/>
                        </a:lnTo>
                        <a:lnTo>
                          <a:pt x="119130" y="199785"/>
                        </a:lnTo>
                        <a:lnTo>
                          <a:pt x="116002" y="201514"/>
                        </a:lnTo>
                        <a:lnTo>
                          <a:pt x="110019" y="202227"/>
                        </a:lnTo>
                        <a:lnTo>
                          <a:pt x="92181" y="204670"/>
                        </a:lnTo>
                        <a:lnTo>
                          <a:pt x="86363" y="211585"/>
                        </a:lnTo>
                        <a:lnTo>
                          <a:pt x="82137" y="212436"/>
                        </a:lnTo>
                        <a:lnTo>
                          <a:pt x="70995" y="202474"/>
                        </a:lnTo>
                        <a:lnTo>
                          <a:pt x="60594" y="204807"/>
                        </a:lnTo>
                        <a:lnTo>
                          <a:pt x="41603" y="200224"/>
                        </a:lnTo>
                        <a:lnTo>
                          <a:pt x="39381" y="201980"/>
                        </a:lnTo>
                        <a:lnTo>
                          <a:pt x="30516" y="195751"/>
                        </a:lnTo>
                        <a:lnTo>
                          <a:pt x="21790" y="202556"/>
                        </a:lnTo>
                        <a:lnTo>
                          <a:pt x="19759" y="196272"/>
                        </a:lnTo>
                        <a:lnTo>
                          <a:pt x="13584" y="195751"/>
                        </a:lnTo>
                        <a:lnTo>
                          <a:pt x="10319" y="190317"/>
                        </a:lnTo>
                        <a:lnTo>
                          <a:pt x="0" y="182715"/>
                        </a:lnTo>
                        <a:lnTo>
                          <a:pt x="439" y="175361"/>
                        </a:lnTo>
                        <a:lnTo>
                          <a:pt x="5131" y="169790"/>
                        </a:lnTo>
                        <a:lnTo>
                          <a:pt x="6723" y="162298"/>
                        </a:lnTo>
                        <a:lnTo>
                          <a:pt x="12130" y="152171"/>
                        </a:lnTo>
                        <a:lnTo>
                          <a:pt x="19979" y="153022"/>
                        </a:lnTo>
                        <a:lnTo>
                          <a:pt x="17399" y="145585"/>
                        </a:lnTo>
                        <a:lnTo>
                          <a:pt x="15642" y="130272"/>
                        </a:lnTo>
                        <a:lnTo>
                          <a:pt x="40972" y="99261"/>
                        </a:lnTo>
                        <a:lnTo>
                          <a:pt x="46159" y="93416"/>
                        </a:lnTo>
                        <a:lnTo>
                          <a:pt x="55572" y="89464"/>
                        </a:lnTo>
                        <a:lnTo>
                          <a:pt x="56944" y="81176"/>
                        </a:lnTo>
                        <a:lnTo>
                          <a:pt x="53679" y="73602"/>
                        </a:lnTo>
                        <a:lnTo>
                          <a:pt x="57027" y="71159"/>
                        </a:lnTo>
                        <a:lnTo>
                          <a:pt x="45720" y="51565"/>
                        </a:lnTo>
                        <a:lnTo>
                          <a:pt x="43003" y="40615"/>
                        </a:lnTo>
                        <a:lnTo>
                          <a:pt x="43936" y="39765"/>
                        </a:lnTo>
                        <a:lnTo>
                          <a:pt x="43497" y="34798"/>
                        </a:lnTo>
                        <a:lnTo>
                          <a:pt x="47312" y="33425"/>
                        </a:lnTo>
                        <a:lnTo>
                          <a:pt x="51181" y="36472"/>
                        </a:lnTo>
                        <a:lnTo>
                          <a:pt x="54529" y="36828"/>
                        </a:lnTo>
                        <a:lnTo>
                          <a:pt x="62817" y="30077"/>
                        </a:lnTo>
                        <a:lnTo>
                          <a:pt x="63530" y="25495"/>
                        </a:lnTo>
                        <a:lnTo>
                          <a:pt x="65891" y="23052"/>
                        </a:lnTo>
                        <a:lnTo>
                          <a:pt x="82740" y="21954"/>
                        </a:lnTo>
                        <a:lnTo>
                          <a:pt x="89574" y="18881"/>
                        </a:lnTo>
                        <a:lnTo>
                          <a:pt x="95886" y="21049"/>
                        </a:lnTo>
                        <a:lnTo>
                          <a:pt x="106835" y="20061"/>
                        </a:lnTo>
                        <a:lnTo>
                          <a:pt x="109937" y="21213"/>
                        </a:lnTo>
                        <a:lnTo>
                          <a:pt x="138971" y="29501"/>
                        </a:lnTo>
                        <a:lnTo>
                          <a:pt x="147314" y="28403"/>
                        </a:lnTo>
                        <a:lnTo>
                          <a:pt x="150936" y="35484"/>
                        </a:lnTo>
                        <a:lnTo>
                          <a:pt x="162655" y="36362"/>
                        </a:lnTo>
                        <a:lnTo>
                          <a:pt x="162545" y="40067"/>
                        </a:lnTo>
                        <a:lnTo>
                          <a:pt x="164137" y="41576"/>
                        </a:lnTo>
                        <a:lnTo>
                          <a:pt x="167731" y="35978"/>
                        </a:lnTo>
                        <a:lnTo>
                          <a:pt x="172424" y="37981"/>
                        </a:lnTo>
                        <a:lnTo>
                          <a:pt x="178873" y="33316"/>
                        </a:lnTo>
                        <a:lnTo>
                          <a:pt x="182358" y="38310"/>
                        </a:lnTo>
                        <a:lnTo>
                          <a:pt x="189713" y="37844"/>
                        </a:lnTo>
                        <a:lnTo>
                          <a:pt x="192650" y="42921"/>
                        </a:lnTo>
                        <a:lnTo>
                          <a:pt x="196903" y="37871"/>
                        </a:lnTo>
                        <a:lnTo>
                          <a:pt x="204615" y="34606"/>
                        </a:lnTo>
                        <a:lnTo>
                          <a:pt x="211201" y="46104"/>
                        </a:lnTo>
                        <a:lnTo>
                          <a:pt x="221520" y="40314"/>
                        </a:lnTo>
                        <a:lnTo>
                          <a:pt x="225554" y="43442"/>
                        </a:lnTo>
                        <a:lnTo>
                          <a:pt x="236092" y="41219"/>
                        </a:lnTo>
                        <a:lnTo>
                          <a:pt x="245944" y="51565"/>
                        </a:lnTo>
                        <a:lnTo>
                          <a:pt x="249484" y="47723"/>
                        </a:lnTo>
                        <a:lnTo>
                          <a:pt x="246466" y="33618"/>
                        </a:lnTo>
                        <a:lnTo>
                          <a:pt x="258815" y="13831"/>
                        </a:lnTo>
                        <a:lnTo>
                          <a:pt x="279726" y="11910"/>
                        </a:lnTo>
                        <a:lnTo>
                          <a:pt x="283239" y="12075"/>
                        </a:lnTo>
                        <a:lnTo>
                          <a:pt x="294628" y="14023"/>
                        </a:lnTo>
                        <a:lnTo>
                          <a:pt x="298223" y="10840"/>
                        </a:lnTo>
                        <a:lnTo>
                          <a:pt x="301928" y="2113"/>
                        </a:lnTo>
                        <a:lnTo>
                          <a:pt x="312493" y="5022"/>
                        </a:lnTo>
                        <a:lnTo>
                          <a:pt x="324952" y="0"/>
                        </a:lnTo>
                        <a:lnTo>
                          <a:pt x="342817" y="93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68" name="Freeform: Shape 3067">
                    <a:extLst>
                      <a:ext uri="{FF2B5EF4-FFF2-40B4-BE49-F238E27FC236}">
                        <a16:creationId xmlns:a16="http://schemas.microsoft.com/office/drawing/2014/main" id="{F76E7EBC-137E-EB8D-4ABF-AE658C321F6C}"/>
                      </a:ext>
                    </a:extLst>
                  </p:cNvPr>
                  <p:cNvSpPr/>
                  <p:nvPr/>
                </p:nvSpPr>
                <p:spPr>
                  <a:xfrm>
                    <a:off x="-6483408" y="2736695"/>
                    <a:ext cx="247755" cy="438291"/>
                  </a:xfrm>
                  <a:custGeom>
                    <a:avLst/>
                    <a:gdLst>
                      <a:gd name="connsiteX0" fmla="*/ 207908 w 247755"/>
                      <a:gd name="connsiteY0" fmla="*/ 369026 h 438291"/>
                      <a:gd name="connsiteX1" fmla="*/ 204340 w 247755"/>
                      <a:gd name="connsiteY1" fmla="*/ 368724 h 438291"/>
                      <a:gd name="connsiteX2" fmla="*/ 202804 w 247755"/>
                      <a:gd name="connsiteY2" fmla="*/ 368285 h 438291"/>
                      <a:gd name="connsiteX3" fmla="*/ 201075 w 247755"/>
                      <a:gd name="connsiteY3" fmla="*/ 367215 h 438291"/>
                      <a:gd name="connsiteX4" fmla="*/ 199455 w 247755"/>
                      <a:gd name="connsiteY4" fmla="*/ 367077 h 438291"/>
                      <a:gd name="connsiteX5" fmla="*/ 196876 w 247755"/>
                      <a:gd name="connsiteY5" fmla="*/ 367489 h 438291"/>
                      <a:gd name="connsiteX6" fmla="*/ 194269 w 247755"/>
                      <a:gd name="connsiteY6" fmla="*/ 367489 h 438291"/>
                      <a:gd name="connsiteX7" fmla="*/ 193308 w 247755"/>
                      <a:gd name="connsiteY7" fmla="*/ 367297 h 438291"/>
                      <a:gd name="connsiteX8" fmla="*/ 192183 w 247755"/>
                      <a:gd name="connsiteY8" fmla="*/ 368504 h 438291"/>
                      <a:gd name="connsiteX9" fmla="*/ 189411 w 247755"/>
                      <a:gd name="connsiteY9" fmla="*/ 368340 h 438291"/>
                      <a:gd name="connsiteX10" fmla="*/ 190015 w 247755"/>
                      <a:gd name="connsiteY10" fmla="*/ 369136 h 438291"/>
                      <a:gd name="connsiteX11" fmla="*/ 192814 w 247755"/>
                      <a:gd name="connsiteY11" fmla="*/ 368532 h 438291"/>
                      <a:gd name="connsiteX12" fmla="*/ 193391 w 247755"/>
                      <a:gd name="connsiteY12" fmla="*/ 367407 h 438291"/>
                      <a:gd name="connsiteX13" fmla="*/ 195888 w 247755"/>
                      <a:gd name="connsiteY13" fmla="*/ 368504 h 438291"/>
                      <a:gd name="connsiteX14" fmla="*/ 200224 w 247755"/>
                      <a:gd name="connsiteY14" fmla="*/ 367516 h 438291"/>
                      <a:gd name="connsiteX15" fmla="*/ 202996 w 247755"/>
                      <a:gd name="connsiteY15" fmla="*/ 368751 h 438291"/>
                      <a:gd name="connsiteX16" fmla="*/ 204313 w 247755"/>
                      <a:gd name="connsiteY16" fmla="*/ 369657 h 438291"/>
                      <a:gd name="connsiteX17" fmla="*/ 207908 w 247755"/>
                      <a:gd name="connsiteY17" fmla="*/ 369822 h 438291"/>
                      <a:gd name="connsiteX18" fmla="*/ 210076 w 247755"/>
                      <a:gd name="connsiteY18" fmla="*/ 369959 h 438291"/>
                      <a:gd name="connsiteX19" fmla="*/ 216443 w 247755"/>
                      <a:gd name="connsiteY19" fmla="*/ 369904 h 438291"/>
                      <a:gd name="connsiteX20" fmla="*/ 215016 w 247755"/>
                      <a:gd name="connsiteY20" fmla="*/ 373719 h 438291"/>
                      <a:gd name="connsiteX21" fmla="*/ 219983 w 247755"/>
                      <a:gd name="connsiteY21" fmla="*/ 370810 h 438291"/>
                      <a:gd name="connsiteX22" fmla="*/ 223249 w 247755"/>
                      <a:gd name="connsiteY22" fmla="*/ 373883 h 438291"/>
                      <a:gd name="connsiteX23" fmla="*/ 224538 w 247755"/>
                      <a:gd name="connsiteY23" fmla="*/ 375091 h 438291"/>
                      <a:gd name="connsiteX24" fmla="*/ 229066 w 247755"/>
                      <a:gd name="connsiteY24" fmla="*/ 373856 h 438291"/>
                      <a:gd name="connsiteX25" fmla="*/ 238260 w 247755"/>
                      <a:gd name="connsiteY25" fmla="*/ 374569 h 438291"/>
                      <a:gd name="connsiteX26" fmla="*/ 236696 w 247755"/>
                      <a:gd name="connsiteY26" fmla="*/ 384476 h 438291"/>
                      <a:gd name="connsiteX27" fmla="*/ 229066 w 247755"/>
                      <a:gd name="connsiteY27" fmla="*/ 388099 h 438291"/>
                      <a:gd name="connsiteX28" fmla="*/ 227173 w 247755"/>
                      <a:gd name="connsiteY28" fmla="*/ 388977 h 438291"/>
                      <a:gd name="connsiteX29" fmla="*/ 225307 w 247755"/>
                      <a:gd name="connsiteY29" fmla="*/ 391282 h 438291"/>
                      <a:gd name="connsiteX30" fmla="*/ 224703 w 247755"/>
                      <a:gd name="connsiteY30" fmla="*/ 394822 h 438291"/>
                      <a:gd name="connsiteX31" fmla="*/ 223276 w 247755"/>
                      <a:gd name="connsiteY31" fmla="*/ 394822 h 438291"/>
                      <a:gd name="connsiteX32" fmla="*/ 221739 w 247755"/>
                      <a:gd name="connsiteY32" fmla="*/ 394822 h 438291"/>
                      <a:gd name="connsiteX33" fmla="*/ 204313 w 247755"/>
                      <a:gd name="connsiteY33" fmla="*/ 402836 h 438291"/>
                      <a:gd name="connsiteX34" fmla="*/ 195476 w 247755"/>
                      <a:gd name="connsiteY34" fmla="*/ 400613 h 438291"/>
                      <a:gd name="connsiteX35" fmla="*/ 190235 w 247755"/>
                      <a:gd name="connsiteY35" fmla="*/ 399295 h 438291"/>
                      <a:gd name="connsiteX36" fmla="*/ 173220 w 247755"/>
                      <a:gd name="connsiteY36" fmla="*/ 403494 h 438291"/>
                      <a:gd name="connsiteX37" fmla="*/ 169159 w 247755"/>
                      <a:gd name="connsiteY37" fmla="*/ 398582 h 438291"/>
                      <a:gd name="connsiteX38" fmla="*/ 167594 w 247755"/>
                      <a:gd name="connsiteY38" fmla="*/ 400503 h 438291"/>
                      <a:gd name="connsiteX39" fmla="*/ 166469 w 247755"/>
                      <a:gd name="connsiteY39" fmla="*/ 399048 h 438291"/>
                      <a:gd name="connsiteX40" fmla="*/ 165097 w 247755"/>
                      <a:gd name="connsiteY40" fmla="*/ 400256 h 438291"/>
                      <a:gd name="connsiteX41" fmla="*/ 163478 w 247755"/>
                      <a:gd name="connsiteY41" fmla="*/ 398939 h 438291"/>
                      <a:gd name="connsiteX42" fmla="*/ 160926 w 247755"/>
                      <a:gd name="connsiteY42" fmla="*/ 399899 h 438291"/>
                      <a:gd name="connsiteX43" fmla="*/ 156425 w 247755"/>
                      <a:gd name="connsiteY43" fmla="*/ 396853 h 438291"/>
                      <a:gd name="connsiteX44" fmla="*/ 153873 w 247755"/>
                      <a:gd name="connsiteY44" fmla="*/ 395261 h 438291"/>
                      <a:gd name="connsiteX45" fmla="*/ 157084 w 247755"/>
                      <a:gd name="connsiteY45" fmla="*/ 400476 h 438291"/>
                      <a:gd name="connsiteX46" fmla="*/ 146792 w 247755"/>
                      <a:gd name="connsiteY46" fmla="*/ 403549 h 438291"/>
                      <a:gd name="connsiteX47" fmla="*/ 145338 w 247755"/>
                      <a:gd name="connsiteY47" fmla="*/ 404235 h 438291"/>
                      <a:gd name="connsiteX48" fmla="*/ 136858 w 247755"/>
                      <a:gd name="connsiteY48" fmla="*/ 404510 h 438291"/>
                      <a:gd name="connsiteX49" fmla="*/ 138313 w 247755"/>
                      <a:gd name="connsiteY49" fmla="*/ 407473 h 438291"/>
                      <a:gd name="connsiteX50" fmla="*/ 137215 w 247755"/>
                      <a:gd name="connsiteY50" fmla="*/ 409779 h 438291"/>
                      <a:gd name="connsiteX51" fmla="*/ 122615 w 247755"/>
                      <a:gd name="connsiteY51" fmla="*/ 409504 h 438291"/>
                      <a:gd name="connsiteX52" fmla="*/ 120557 w 247755"/>
                      <a:gd name="connsiteY52" fmla="*/ 408681 h 438291"/>
                      <a:gd name="connsiteX53" fmla="*/ 109881 w 247755"/>
                      <a:gd name="connsiteY53" fmla="*/ 404400 h 438291"/>
                      <a:gd name="connsiteX54" fmla="*/ 100579 w 247755"/>
                      <a:gd name="connsiteY54" fmla="*/ 406952 h 438291"/>
                      <a:gd name="connsiteX55" fmla="*/ 93389 w 247755"/>
                      <a:gd name="connsiteY55" fmla="*/ 413730 h 438291"/>
                      <a:gd name="connsiteX56" fmla="*/ 93334 w 247755"/>
                      <a:gd name="connsiteY56" fmla="*/ 420097 h 438291"/>
                      <a:gd name="connsiteX57" fmla="*/ 88421 w 247755"/>
                      <a:gd name="connsiteY57" fmla="*/ 427479 h 438291"/>
                      <a:gd name="connsiteX58" fmla="*/ 83729 w 247755"/>
                      <a:gd name="connsiteY58" fmla="*/ 427040 h 438291"/>
                      <a:gd name="connsiteX59" fmla="*/ 80984 w 247755"/>
                      <a:gd name="connsiteY59" fmla="*/ 423610 h 438291"/>
                      <a:gd name="connsiteX60" fmla="*/ 76703 w 247755"/>
                      <a:gd name="connsiteY60" fmla="*/ 423610 h 438291"/>
                      <a:gd name="connsiteX61" fmla="*/ 75303 w 247755"/>
                      <a:gd name="connsiteY61" fmla="*/ 421579 h 438291"/>
                      <a:gd name="connsiteX62" fmla="*/ 73437 w 247755"/>
                      <a:gd name="connsiteY62" fmla="*/ 418012 h 438291"/>
                      <a:gd name="connsiteX63" fmla="*/ 72504 w 247755"/>
                      <a:gd name="connsiteY63" fmla="*/ 415651 h 438291"/>
                      <a:gd name="connsiteX64" fmla="*/ 70528 w 247755"/>
                      <a:gd name="connsiteY64" fmla="*/ 420234 h 438291"/>
                      <a:gd name="connsiteX65" fmla="*/ 57301 w 247755"/>
                      <a:gd name="connsiteY65" fmla="*/ 422814 h 438291"/>
                      <a:gd name="connsiteX66" fmla="*/ 54913 w 247755"/>
                      <a:gd name="connsiteY66" fmla="*/ 426766 h 438291"/>
                      <a:gd name="connsiteX67" fmla="*/ 47531 w 247755"/>
                      <a:gd name="connsiteY67" fmla="*/ 429126 h 438291"/>
                      <a:gd name="connsiteX68" fmla="*/ 47092 w 247755"/>
                      <a:gd name="connsiteY68" fmla="*/ 435904 h 438291"/>
                      <a:gd name="connsiteX69" fmla="*/ 43799 w 247755"/>
                      <a:gd name="connsiteY69" fmla="*/ 438292 h 438291"/>
                      <a:gd name="connsiteX70" fmla="*/ 36197 w 247755"/>
                      <a:gd name="connsiteY70" fmla="*/ 432337 h 438291"/>
                      <a:gd name="connsiteX71" fmla="*/ 29419 w 247755"/>
                      <a:gd name="connsiteY71" fmla="*/ 434477 h 438291"/>
                      <a:gd name="connsiteX72" fmla="*/ 30022 w 247755"/>
                      <a:gd name="connsiteY72" fmla="*/ 430635 h 438291"/>
                      <a:gd name="connsiteX73" fmla="*/ 41137 w 247755"/>
                      <a:gd name="connsiteY73" fmla="*/ 425009 h 438291"/>
                      <a:gd name="connsiteX74" fmla="*/ 47531 w 247755"/>
                      <a:gd name="connsiteY74" fmla="*/ 417490 h 438291"/>
                      <a:gd name="connsiteX75" fmla="*/ 49562 w 247755"/>
                      <a:gd name="connsiteY75" fmla="*/ 411864 h 438291"/>
                      <a:gd name="connsiteX76" fmla="*/ 55078 w 247755"/>
                      <a:gd name="connsiteY76" fmla="*/ 409532 h 438291"/>
                      <a:gd name="connsiteX77" fmla="*/ 60786 w 247755"/>
                      <a:gd name="connsiteY77" fmla="*/ 403275 h 438291"/>
                      <a:gd name="connsiteX78" fmla="*/ 62899 w 247755"/>
                      <a:gd name="connsiteY78" fmla="*/ 394603 h 438291"/>
                      <a:gd name="connsiteX79" fmla="*/ 64326 w 247755"/>
                      <a:gd name="connsiteY79" fmla="*/ 390953 h 438291"/>
                      <a:gd name="connsiteX80" fmla="*/ 69870 w 247755"/>
                      <a:gd name="connsiteY80" fmla="*/ 390870 h 438291"/>
                      <a:gd name="connsiteX81" fmla="*/ 74261 w 247755"/>
                      <a:gd name="connsiteY81" fmla="*/ 382281 h 438291"/>
                      <a:gd name="connsiteX82" fmla="*/ 87159 w 247755"/>
                      <a:gd name="connsiteY82" fmla="*/ 380360 h 438291"/>
                      <a:gd name="connsiteX83" fmla="*/ 106616 w 247755"/>
                      <a:gd name="connsiteY83" fmla="*/ 382363 h 438291"/>
                      <a:gd name="connsiteX84" fmla="*/ 108537 w 247755"/>
                      <a:gd name="connsiteY84" fmla="*/ 376243 h 438291"/>
                      <a:gd name="connsiteX85" fmla="*/ 113971 w 247755"/>
                      <a:gd name="connsiteY85" fmla="*/ 369190 h 438291"/>
                      <a:gd name="connsiteX86" fmla="*/ 117785 w 247755"/>
                      <a:gd name="connsiteY86" fmla="*/ 368696 h 438291"/>
                      <a:gd name="connsiteX87" fmla="*/ 117950 w 247755"/>
                      <a:gd name="connsiteY87" fmla="*/ 365650 h 438291"/>
                      <a:gd name="connsiteX88" fmla="*/ 120584 w 247755"/>
                      <a:gd name="connsiteY88" fmla="*/ 361589 h 438291"/>
                      <a:gd name="connsiteX89" fmla="*/ 122039 w 247755"/>
                      <a:gd name="connsiteY89" fmla="*/ 359366 h 438291"/>
                      <a:gd name="connsiteX90" fmla="*/ 120584 w 247755"/>
                      <a:gd name="connsiteY90" fmla="*/ 360025 h 438291"/>
                      <a:gd name="connsiteX91" fmla="*/ 118169 w 247755"/>
                      <a:gd name="connsiteY91" fmla="*/ 361150 h 438291"/>
                      <a:gd name="connsiteX92" fmla="*/ 105930 w 247755"/>
                      <a:gd name="connsiteY92" fmla="*/ 367654 h 438291"/>
                      <a:gd name="connsiteX93" fmla="*/ 102719 w 247755"/>
                      <a:gd name="connsiteY93" fmla="*/ 371962 h 438291"/>
                      <a:gd name="connsiteX94" fmla="*/ 97230 w 247755"/>
                      <a:gd name="connsiteY94" fmla="*/ 373115 h 438291"/>
                      <a:gd name="connsiteX95" fmla="*/ 89601 w 247755"/>
                      <a:gd name="connsiteY95" fmla="*/ 369136 h 438291"/>
                      <a:gd name="connsiteX96" fmla="*/ 86253 w 247755"/>
                      <a:gd name="connsiteY96" fmla="*/ 367022 h 438291"/>
                      <a:gd name="connsiteX97" fmla="*/ 82274 w 247755"/>
                      <a:gd name="connsiteY97" fmla="*/ 362165 h 438291"/>
                      <a:gd name="connsiteX98" fmla="*/ 73739 w 247755"/>
                      <a:gd name="connsiteY98" fmla="*/ 365376 h 438291"/>
                      <a:gd name="connsiteX99" fmla="*/ 70693 w 247755"/>
                      <a:gd name="connsiteY99" fmla="*/ 364251 h 438291"/>
                      <a:gd name="connsiteX100" fmla="*/ 71407 w 247755"/>
                      <a:gd name="connsiteY100" fmla="*/ 361945 h 438291"/>
                      <a:gd name="connsiteX101" fmla="*/ 77389 w 247755"/>
                      <a:gd name="connsiteY101" fmla="*/ 358103 h 438291"/>
                      <a:gd name="connsiteX102" fmla="*/ 63613 w 247755"/>
                      <a:gd name="connsiteY102" fmla="*/ 356429 h 438291"/>
                      <a:gd name="connsiteX103" fmla="*/ 50056 w 247755"/>
                      <a:gd name="connsiteY103" fmla="*/ 362137 h 438291"/>
                      <a:gd name="connsiteX104" fmla="*/ 44814 w 247755"/>
                      <a:gd name="connsiteY104" fmla="*/ 357115 h 438291"/>
                      <a:gd name="connsiteX105" fmla="*/ 44924 w 247755"/>
                      <a:gd name="connsiteY105" fmla="*/ 351874 h 438291"/>
                      <a:gd name="connsiteX106" fmla="*/ 42893 w 247755"/>
                      <a:gd name="connsiteY106" fmla="*/ 348608 h 438291"/>
                      <a:gd name="connsiteX107" fmla="*/ 48464 w 247755"/>
                      <a:gd name="connsiteY107" fmla="*/ 343147 h 438291"/>
                      <a:gd name="connsiteX108" fmla="*/ 70721 w 247755"/>
                      <a:gd name="connsiteY108" fmla="*/ 332444 h 438291"/>
                      <a:gd name="connsiteX109" fmla="*/ 80957 w 247755"/>
                      <a:gd name="connsiteY109" fmla="*/ 317323 h 438291"/>
                      <a:gd name="connsiteX110" fmla="*/ 76511 w 247755"/>
                      <a:gd name="connsiteY110" fmla="*/ 315375 h 438291"/>
                      <a:gd name="connsiteX111" fmla="*/ 76319 w 247755"/>
                      <a:gd name="connsiteY111" fmla="*/ 308596 h 438291"/>
                      <a:gd name="connsiteX112" fmla="*/ 73602 w 247755"/>
                      <a:gd name="connsiteY112" fmla="*/ 301022 h 438291"/>
                      <a:gd name="connsiteX113" fmla="*/ 63558 w 247755"/>
                      <a:gd name="connsiteY113" fmla="*/ 304590 h 438291"/>
                      <a:gd name="connsiteX114" fmla="*/ 60018 w 247755"/>
                      <a:gd name="connsiteY114" fmla="*/ 303053 h 438291"/>
                      <a:gd name="connsiteX115" fmla="*/ 73849 w 247755"/>
                      <a:gd name="connsiteY115" fmla="*/ 285709 h 438291"/>
                      <a:gd name="connsiteX116" fmla="*/ 78734 w 247755"/>
                      <a:gd name="connsiteY116" fmla="*/ 283514 h 438291"/>
                      <a:gd name="connsiteX117" fmla="*/ 86253 w 247755"/>
                      <a:gd name="connsiteY117" fmla="*/ 280138 h 438291"/>
                      <a:gd name="connsiteX118" fmla="*/ 97669 w 247755"/>
                      <a:gd name="connsiteY118" fmla="*/ 278354 h 438291"/>
                      <a:gd name="connsiteX119" fmla="*/ 105381 w 247755"/>
                      <a:gd name="connsiteY119" fmla="*/ 282553 h 438291"/>
                      <a:gd name="connsiteX120" fmla="*/ 105106 w 247755"/>
                      <a:gd name="connsiteY120" fmla="*/ 281099 h 438291"/>
                      <a:gd name="connsiteX121" fmla="*/ 103268 w 247755"/>
                      <a:gd name="connsiteY121" fmla="*/ 277147 h 438291"/>
                      <a:gd name="connsiteX122" fmla="*/ 106616 w 247755"/>
                      <a:gd name="connsiteY122" fmla="*/ 274704 h 438291"/>
                      <a:gd name="connsiteX123" fmla="*/ 110458 w 247755"/>
                      <a:gd name="connsiteY123" fmla="*/ 280495 h 438291"/>
                      <a:gd name="connsiteX124" fmla="*/ 115645 w 247755"/>
                      <a:gd name="connsiteY124" fmla="*/ 280165 h 438291"/>
                      <a:gd name="connsiteX125" fmla="*/ 113449 w 247755"/>
                      <a:gd name="connsiteY125" fmla="*/ 279342 h 438291"/>
                      <a:gd name="connsiteX126" fmla="*/ 109909 w 247755"/>
                      <a:gd name="connsiteY126" fmla="*/ 277503 h 438291"/>
                      <a:gd name="connsiteX127" fmla="*/ 108098 w 247755"/>
                      <a:gd name="connsiteY127" fmla="*/ 274073 h 438291"/>
                      <a:gd name="connsiteX128" fmla="*/ 105792 w 247755"/>
                      <a:gd name="connsiteY128" fmla="*/ 268173 h 438291"/>
                      <a:gd name="connsiteX129" fmla="*/ 109635 w 247755"/>
                      <a:gd name="connsiteY129" fmla="*/ 261257 h 438291"/>
                      <a:gd name="connsiteX130" fmla="*/ 113257 w 247755"/>
                      <a:gd name="connsiteY130" fmla="*/ 260022 h 438291"/>
                      <a:gd name="connsiteX131" fmla="*/ 106671 w 247755"/>
                      <a:gd name="connsiteY131" fmla="*/ 257333 h 438291"/>
                      <a:gd name="connsiteX132" fmla="*/ 106945 w 247755"/>
                      <a:gd name="connsiteY132" fmla="*/ 252366 h 438291"/>
                      <a:gd name="connsiteX133" fmla="*/ 111858 w 247755"/>
                      <a:gd name="connsiteY133" fmla="*/ 247618 h 438291"/>
                      <a:gd name="connsiteX134" fmla="*/ 111309 w 247755"/>
                      <a:gd name="connsiteY134" fmla="*/ 244380 h 438291"/>
                      <a:gd name="connsiteX135" fmla="*/ 113285 w 247755"/>
                      <a:gd name="connsiteY135" fmla="*/ 240428 h 438291"/>
                      <a:gd name="connsiteX136" fmla="*/ 112187 w 247755"/>
                      <a:gd name="connsiteY136" fmla="*/ 237327 h 438291"/>
                      <a:gd name="connsiteX137" fmla="*/ 103981 w 247755"/>
                      <a:gd name="connsiteY137" fmla="*/ 241498 h 438291"/>
                      <a:gd name="connsiteX138" fmla="*/ 97724 w 247755"/>
                      <a:gd name="connsiteY138" fmla="*/ 234802 h 438291"/>
                      <a:gd name="connsiteX139" fmla="*/ 90150 w 247755"/>
                      <a:gd name="connsiteY139" fmla="*/ 219599 h 438291"/>
                      <a:gd name="connsiteX140" fmla="*/ 97642 w 247755"/>
                      <a:gd name="connsiteY140" fmla="*/ 201212 h 438291"/>
                      <a:gd name="connsiteX141" fmla="*/ 101017 w 247755"/>
                      <a:gd name="connsiteY141" fmla="*/ 198303 h 438291"/>
                      <a:gd name="connsiteX142" fmla="*/ 104777 w 247755"/>
                      <a:gd name="connsiteY142" fmla="*/ 199208 h 438291"/>
                      <a:gd name="connsiteX143" fmla="*/ 106643 w 247755"/>
                      <a:gd name="connsiteY143" fmla="*/ 196162 h 438291"/>
                      <a:gd name="connsiteX144" fmla="*/ 93306 w 247755"/>
                      <a:gd name="connsiteY144" fmla="*/ 197178 h 438291"/>
                      <a:gd name="connsiteX145" fmla="*/ 79694 w 247755"/>
                      <a:gd name="connsiteY145" fmla="*/ 206563 h 438291"/>
                      <a:gd name="connsiteX146" fmla="*/ 68141 w 247755"/>
                      <a:gd name="connsiteY146" fmla="*/ 203407 h 438291"/>
                      <a:gd name="connsiteX147" fmla="*/ 66028 w 247755"/>
                      <a:gd name="connsiteY147" fmla="*/ 210488 h 438291"/>
                      <a:gd name="connsiteX148" fmla="*/ 54364 w 247755"/>
                      <a:gd name="connsiteY148" fmla="*/ 202886 h 438291"/>
                      <a:gd name="connsiteX149" fmla="*/ 50413 w 247755"/>
                      <a:gd name="connsiteY149" fmla="*/ 210159 h 438291"/>
                      <a:gd name="connsiteX150" fmla="*/ 45007 w 247755"/>
                      <a:gd name="connsiteY150" fmla="*/ 200581 h 438291"/>
                      <a:gd name="connsiteX151" fmla="*/ 45610 w 247755"/>
                      <a:gd name="connsiteY151" fmla="*/ 196739 h 438291"/>
                      <a:gd name="connsiteX152" fmla="*/ 48300 w 247755"/>
                      <a:gd name="connsiteY152" fmla="*/ 195614 h 438291"/>
                      <a:gd name="connsiteX153" fmla="*/ 49480 w 247755"/>
                      <a:gd name="connsiteY153" fmla="*/ 189603 h 438291"/>
                      <a:gd name="connsiteX154" fmla="*/ 50028 w 247755"/>
                      <a:gd name="connsiteY154" fmla="*/ 187929 h 438291"/>
                      <a:gd name="connsiteX155" fmla="*/ 53294 w 247755"/>
                      <a:gd name="connsiteY155" fmla="*/ 184033 h 438291"/>
                      <a:gd name="connsiteX156" fmla="*/ 53898 w 247755"/>
                      <a:gd name="connsiteY156" fmla="*/ 181920 h 438291"/>
                      <a:gd name="connsiteX157" fmla="*/ 59990 w 247755"/>
                      <a:gd name="connsiteY157" fmla="*/ 171244 h 438291"/>
                      <a:gd name="connsiteX158" fmla="*/ 59524 w 247755"/>
                      <a:gd name="connsiteY158" fmla="*/ 166030 h 438291"/>
                      <a:gd name="connsiteX159" fmla="*/ 53898 w 247755"/>
                      <a:gd name="connsiteY159" fmla="*/ 160761 h 438291"/>
                      <a:gd name="connsiteX160" fmla="*/ 52718 w 247755"/>
                      <a:gd name="connsiteY160" fmla="*/ 158895 h 438291"/>
                      <a:gd name="connsiteX161" fmla="*/ 53623 w 247755"/>
                      <a:gd name="connsiteY161" fmla="*/ 155135 h 438291"/>
                      <a:gd name="connsiteX162" fmla="*/ 52745 w 247755"/>
                      <a:gd name="connsiteY162" fmla="*/ 150140 h 438291"/>
                      <a:gd name="connsiteX163" fmla="*/ 53898 w 247755"/>
                      <a:gd name="connsiteY163" fmla="*/ 146079 h 438291"/>
                      <a:gd name="connsiteX164" fmla="*/ 64875 w 247755"/>
                      <a:gd name="connsiteY164" fmla="*/ 147808 h 438291"/>
                      <a:gd name="connsiteX165" fmla="*/ 67345 w 247755"/>
                      <a:gd name="connsiteY165" fmla="*/ 149345 h 438291"/>
                      <a:gd name="connsiteX166" fmla="*/ 64793 w 247755"/>
                      <a:gd name="connsiteY166" fmla="*/ 147451 h 438291"/>
                      <a:gd name="connsiteX167" fmla="*/ 58947 w 247755"/>
                      <a:gd name="connsiteY167" fmla="*/ 145393 h 438291"/>
                      <a:gd name="connsiteX168" fmla="*/ 57877 w 247755"/>
                      <a:gd name="connsiteY168" fmla="*/ 143884 h 438291"/>
                      <a:gd name="connsiteX169" fmla="*/ 56478 w 247755"/>
                      <a:gd name="connsiteY169" fmla="*/ 143088 h 438291"/>
                      <a:gd name="connsiteX170" fmla="*/ 53926 w 247755"/>
                      <a:gd name="connsiteY170" fmla="*/ 143939 h 438291"/>
                      <a:gd name="connsiteX171" fmla="*/ 53102 w 247755"/>
                      <a:gd name="connsiteY171" fmla="*/ 140343 h 438291"/>
                      <a:gd name="connsiteX172" fmla="*/ 56862 w 247755"/>
                      <a:gd name="connsiteY172" fmla="*/ 132852 h 438291"/>
                      <a:gd name="connsiteX173" fmla="*/ 52526 w 247755"/>
                      <a:gd name="connsiteY173" fmla="*/ 140563 h 438291"/>
                      <a:gd name="connsiteX174" fmla="*/ 48025 w 247755"/>
                      <a:gd name="connsiteY174" fmla="*/ 153489 h 438291"/>
                      <a:gd name="connsiteX175" fmla="*/ 39051 w 247755"/>
                      <a:gd name="connsiteY175" fmla="*/ 150827 h 438291"/>
                      <a:gd name="connsiteX176" fmla="*/ 38640 w 247755"/>
                      <a:gd name="connsiteY176" fmla="*/ 158621 h 438291"/>
                      <a:gd name="connsiteX177" fmla="*/ 44348 w 247755"/>
                      <a:gd name="connsiteY177" fmla="*/ 160843 h 438291"/>
                      <a:gd name="connsiteX178" fmla="*/ 46543 w 247755"/>
                      <a:gd name="connsiteY178" fmla="*/ 167869 h 438291"/>
                      <a:gd name="connsiteX179" fmla="*/ 45940 w 247755"/>
                      <a:gd name="connsiteY179" fmla="*/ 171656 h 438291"/>
                      <a:gd name="connsiteX180" fmla="*/ 41549 w 247755"/>
                      <a:gd name="connsiteY180" fmla="*/ 171711 h 438291"/>
                      <a:gd name="connsiteX181" fmla="*/ 37240 w 247755"/>
                      <a:gd name="connsiteY181" fmla="*/ 164438 h 438291"/>
                      <a:gd name="connsiteX182" fmla="*/ 33124 w 247755"/>
                      <a:gd name="connsiteY182" fmla="*/ 174894 h 438291"/>
                      <a:gd name="connsiteX183" fmla="*/ 28184 w 247755"/>
                      <a:gd name="connsiteY183" fmla="*/ 176513 h 438291"/>
                      <a:gd name="connsiteX184" fmla="*/ 32959 w 247755"/>
                      <a:gd name="connsiteY184" fmla="*/ 129311 h 438291"/>
                      <a:gd name="connsiteX185" fmla="*/ 36088 w 247755"/>
                      <a:gd name="connsiteY185" fmla="*/ 115261 h 438291"/>
                      <a:gd name="connsiteX186" fmla="*/ 31642 w 247755"/>
                      <a:gd name="connsiteY186" fmla="*/ 116386 h 438291"/>
                      <a:gd name="connsiteX187" fmla="*/ 24616 w 247755"/>
                      <a:gd name="connsiteY187" fmla="*/ 125277 h 438291"/>
                      <a:gd name="connsiteX188" fmla="*/ 13447 w 247755"/>
                      <a:gd name="connsiteY188" fmla="*/ 125853 h 438291"/>
                      <a:gd name="connsiteX189" fmla="*/ 13200 w 247755"/>
                      <a:gd name="connsiteY189" fmla="*/ 113010 h 438291"/>
                      <a:gd name="connsiteX190" fmla="*/ 17893 w 247755"/>
                      <a:gd name="connsiteY190" fmla="*/ 104311 h 438291"/>
                      <a:gd name="connsiteX191" fmla="*/ 25055 w 247755"/>
                      <a:gd name="connsiteY191" fmla="*/ 98164 h 438291"/>
                      <a:gd name="connsiteX192" fmla="*/ 26373 w 247755"/>
                      <a:gd name="connsiteY192" fmla="*/ 86583 h 438291"/>
                      <a:gd name="connsiteX193" fmla="*/ 21158 w 247755"/>
                      <a:gd name="connsiteY193" fmla="*/ 86281 h 438291"/>
                      <a:gd name="connsiteX194" fmla="*/ 17728 w 247755"/>
                      <a:gd name="connsiteY194" fmla="*/ 81560 h 438291"/>
                      <a:gd name="connsiteX195" fmla="*/ 10593 w 247755"/>
                      <a:gd name="connsiteY195" fmla="*/ 78295 h 438291"/>
                      <a:gd name="connsiteX196" fmla="*/ 0 w 247755"/>
                      <a:gd name="connsiteY196" fmla="*/ 65561 h 438291"/>
                      <a:gd name="connsiteX197" fmla="*/ 2442 w 247755"/>
                      <a:gd name="connsiteY197" fmla="*/ 60786 h 438291"/>
                      <a:gd name="connsiteX198" fmla="*/ 11306 w 247755"/>
                      <a:gd name="connsiteY198" fmla="*/ 55984 h 438291"/>
                      <a:gd name="connsiteX199" fmla="*/ 14682 w 247755"/>
                      <a:gd name="connsiteY199" fmla="*/ 59524 h 438291"/>
                      <a:gd name="connsiteX200" fmla="*/ 17591 w 247755"/>
                      <a:gd name="connsiteY200" fmla="*/ 68909 h 438291"/>
                      <a:gd name="connsiteX201" fmla="*/ 22421 w 247755"/>
                      <a:gd name="connsiteY201" fmla="*/ 73520 h 438291"/>
                      <a:gd name="connsiteX202" fmla="*/ 34633 w 247755"/>
                      <a:gd name="connsiteY202" fmla="*/ 70309 h 438291"/>
                      <a:gd name="connsiteX203" fmla="*/ 25796 w 247755"/>
                      <a:gd name="connsiteY203" fmla="*/ 68113 h 438291"/>
                      <a:gd name="connsiteX204" fmla="*/ 25165 w 247755"/>
                      <a:gd name="connsiteY204" fmla="*/ 61802 h 438291"/>
                      <a:gd name="connsiteX205" fmla="*/ 27525 w 247755"/>
                      <a:gd name="connsiteY205" fmla="*/ 58179 h 438291"/>
                      <a:gd name="connsiteX206" fmla="*/ 26235 w 247755"/>
                      <a:gd name="connsiteY206" fmla="*/ 46324 h 438291"/>
                      <a:gd name="connsiteX207" fmla="*/ 40094 w 247755"/>
                      <a:gd name="connsiteY207" fmla="*/ 39490 h 438291"/>
                      <a:gd name="connsiteX208" fmla="*/ 37762 w 247755"/>
                      <a:gd name="connsiteY208" fmla="*/ 33206 h 438291"/>
                      <a:gd name="connsiteX209" fmla="*/ 39792 w 247755"/>
                      <a:gd name="connsiteY209" fmla="*/ 29611 h 438291"/>
                      <a:gd name="connsiteX210" fmla="*/ 39929 w 247755"/>
                      <a:gd name="connsiteY210" fmla="*/ 23134 h 438291"/>
                      <a:gd name="connsiteX211" fmla="*/ 44430 w 247755"/>
                      <a:gd name="connsiteY211" fmla="*/ 18853 h 438291"/>
                      <a:gd name="connsiteX212" fmla="*/ 49315 w 247755"/>
                      <a:gd name="connsiteY212" fmla="*/ 2525 h 438291"/>
                      <a:gd name="connsiteX213" fmla="*/ 71571 w 247755"/>
                      <a:gd name="connsiteY213" fmla="*/ 5434 h 438291"/>
                      <a:gd name="connsiteX214" fmla="*/ 105765 w 247755"/>
                      <a:gd name="connsiteY214" fmla="*/ 0 h 438291"/>
                      <a:gd name="connsiteX215" fmla="*/ 106122 w 247755"/>
                      <a:gd name="connsiteY215" fmla="*/ 10758 h 438291"/>
                      <a:gd name="connsiteX216" fmla="*/ 104036 w 247755"/>
                      <a:gd name="connsiteY216" fmla="*/ 15423 h 438291"/>
                      <a:gd name="connsiteX217" fmla="*/ 80353 w 247755"/>
                      <a:gd name="connsiteY217" fmla="*/ 37350 h 438291"/>
                      <a:gd name="connsiteX218" fmla="*/ 78048 w 247755"/>
                      <a:gd name="connsiteY218" fmla="*/ 43360 h 438291"/>
                      <a:gd name="connsiteX219" fmla="*/ 81670 w 247755"/>
                      <a:gd name="connsiteY219" fmla="*/ 45857 h 438291"/>
                      <a:gd name="connsiteX220" fmla="*/ 81066 w 247755"/>
                      <a:gd name="connsiteY220" fmla="*/ 49699 h 438291"/>
                      <a:gd name="connsiteX221" fmla="*/ 75989 w 247755"/>
                      <a:gd name="connsiteY221" fmla="*/ 52828 h 438291"/>
                      <a:gd name="connsiteX222" fmla="*/ 75660 w 247755"/>
                      <a:gd name="connsiteY222" fmla="*/ 57164 h 438291"/>
                      <a:gd name="connsiteX223" fmla="*/ 72696 w 247755"/>
                      <a:gd name="connsiteY223" fmla="*/ 61198 h 438291"/>
                      <a:gd name="connsiteX224" fmla="*/ 66165 w 247755"/>
                      <a:gd name="connsiteY224" fmla="*/ 63311 h 438291"/>
                      <a:gd name="connsiteX225" fmla="*/ 73108 w 247755"/>
                      <a:gd name="connsiteY225" fmla="*/ 63586 h 438291"/>
                      <a:gd name="connsiteX226" fmla="*/ 77911 w 247755"/>
                      <a:gd name="connsiteY226" fmla="*/ 58371 h 438291"/>
                      <a:gd name="connsiteX227" fmla="*/ 96352 w 247755"/>
                      <a:gd name="connsiteY227" fmla="*/ 51126 h 438291"/>
                      <a:gd name="connsiteX228" fmla="*/ 114108 w 247755"/>
                      <a:gd name="connsiteY228" fmla="*/ 52279 h 438291"/>
                      <a:gd name="connsiteX229" fmla="*/ 134910 w 247755"/>
                      <a:gd name="connsiteY229" fmla="*/ 52279 h 438291"/>
                      <a:gd name="connsiteX230" fmla="*/ 140975 w 247755"/>
                      <a:gd name="connsiteY230" fmla="*/ 56039 h 438291"/>
                      <a:gd name="connsiteX231" fmla="*/ 143060 w 247755"/>
                      <a:gd name="connsiteY231" fmla="*/ 62954 h 438291"/>
                      <a:gd name="connsiteX232" fmla="*/ 134910 w 247755"/>
                      <a:gd name="connsiteY232" fmla="*/ 83399 h 438291"/>
                      <a:gd name="connsiteX233" fmla="*/ 131397 w 247755"/>
                      <a:gd name="connsiteY233" fmla="*/ 95117 h 438291"/>
                      <a:gd name="connsiteX234" fmla="*/ 125167 w 247755"/>
                      <a:gd name="connsiteY234" fmla="*/ 103323 h 438291"/>
                      <a:gd name="connsiteX235" fmla="*/ 120502 w 247755"/>
                      <a:gd name="connsiteY235" fmla="*/ 114218 h 438291"/>
                      <a:gd name="connsiteX236" fmla="*/ 106753 w 247755"/>
                      <a:gd name="connsiteY236" fmla="*/ 119185 h 438291"/>
                      <a:gd name="connsiteX237" fmla="*/ 104146 w 247755"/>
                      <a:gd name="connsiteY237" fmla="*/ 121078 h 438291"/>
                      <a:gd name="connsiteX238" fmla="*/ 100853 w 247755"/>
                      <a:gd name="connsiteY238" fmla="*/ 124838 h 438291"/>
                      <a:gd name="connsiteX239" fmla="*/ 112242 w 247755"/>
                      <a:gd name="connsiteY239" fmla="*/ 119899 h 438291"/>
                      <a:gd name="connsiteX240" fmla="*/ 117950 w 247755"/>
                      <a:gd name="connsiteY240" fmla="*/ 129147 h 438291"/>
                      <a:gd name="connsiteX241" fmla="*/ 96599 w 247755"/>
                      <a:gd name="connsiteY241" fmla="*/ 141688 h 438291"/>
                      <a:gd name="connsiteX242" fmla="*/ 83179 w 247755"/>
                      <a:gd name="connsiteY242" fmla="*/ 137078 h 438291"/>
                      <a:gd name="connsiteX243" fmla="*/ 84140 w 247755"/>
                      <a:gd name="connsiteY243" fmla="*/ 138203 h 438291"/>
                      <a:gd name="connsiteX244" fmla="*/ 93086 w 247755"/>
                      <a:gd name="connsiteY244" fmla="*/ 143307 h 438291"/>
                      <a:gd name="connsiteX245" fmla="*/ 95749 w 247755"/>
                      <a:gd name="connsiteY245" fmla="*/ 143746 h 438291"/>
                      <a:gd name="connsiteX246" fmla="*/ 105985 w 247755"/>
                      <a:gd name="connsiteY246" fmla="*/ 146244 h 438291"/>
                      <a:gd name="connsiteX247" fmla="*/ 115535 w 247755"/>
                      <a:gd name="connsiteY247" fmla="*/ 140234 h 438291"/>
                      <a:gd name="connsiteX248" fmla="*/ 120502 w 247755"/>
                      <a:gd name="connsiteY248" fmla="*/ 142868 h 438291"/>
                      <a:gd name="connsiteX249" fmla="*/ 122560 w 247755"/>
                      <a:gd name="connsiteY249" fmla="*/ 143966 h 438291"/>
                      <a:gd name="connsiteX250" fmla="*/ 126869 w 247755"/>
                      <a:gd name="connsiteY250" fmla="*/ 146271 h 438291"/>
                      <a:gd name="connsiteX251" fmla="*/ 136666 w 247755"/>
                      <a:gd name="connsiteY251" fmla="*/ 153351 h 438291"/>
                      <a:gd name="connsiteX252" fmla="*/ 148494 w 247755"/>
                      <a:gd name="connsiteY252" fmla="*/ 167045 h 438291"/>
                      <a:gd name="connsiteX253" fmla="*/ 153488 w 247755"/>
                      <a:gd name="connsiteY253" fmla="*/ 191552 h 438291"/>
                      <a:gd name="connsiteX254" fmla="*/ 156370 w 247755"/>
                      <a:gd name="connsiteY254" fmla="*/ 198248 h 438291"/>
                      <a:gd name="connsiteX255" fmla="*/ 156864 w 247755"/>
                      <a:gd name="connsiteY255" fmla="*/ 202529 h 438291"/>
                      <a:gd name="connsiteX256" fmla="*/ 159938 w 247755"/>
                      <a:gd name="connsiteY256" fmla="*/ 209555 h 438291"/>
                      <a:gd name="connsiteX257" fmla="*/ 160322 w 247755"/>
                      <a:gd name="connsiteY257" fmla="*/ 209856 h 438291"/>
                      <a:gd name="connsiteX258" fmla="*/ 160678 w 247755"/>
                      <a:gd name="connsiteY258" fmla="*/ 210131 h 438291"/>
                      <a:gd name="connsiteX259" fmla="*/ 160761 w 247755"/>
                      <a:gd name="connsiteY259" fmla="*/ 210131 h 438291"/>
                      <a:gd name="connsiteX260" fmla="*/ 160926 w 247755"/>
                      <a:gd name="connsiteY260" fmla="*/ 210268 h 438291"/>
                      <a:gd name="connsiteX261" fmla="*/ 161831 w 247755"/>
                      <a:gd name="connsiteY261" fmla="*/ 210762 h 438291"/>
                      <a:gd name="connsiteX262" fmla="*/ 161914 w 247755"/>
                      <a:gd name="connsiteY262" fmla="*/ 210899 h 438291"/>
                      <a:gd name="connsiteX263" fmla="*/ 161804 w 247755"/>
                      <a:gd name="connsiteY263" fmla="*/ 211064 h 438291"/>
                      <a:gd name="connsiteX264" fmla="*/ 161529 w 247755"/>
                      <a:gd name="connsiteY264" fmla="*/ 210954 h 438291"/>
                      <a:gd name="connsiteX265" fmla="*/ 161365 w 247755"/>
                      <a:gd name="connsiteY265" fmla="*/ 211146 h 438291"/>
                      <a:gd name="connsiteX266" fmla="*/ 161365 w 247755"/>
                      <a:gd name="connsiteY266" fmla="*/ 211338 h 438291"/>
                      <a:gd name="connsiteX267" fmla="*/ 161228 w 247755"/>
                      <a:gd name="connsiteY267" fmla="*/ 211531 h 438291"/>
                      <a:gd name="connsiteX268" fmla="*/ 161228 w 247755"/>
                      <a:gd name="connsiteY268" fmla="*/ 211805 h 438291"/>
                      <a:gd name="connsiteX269" fmla="*/ 161694 w 247755"/>
                      <a:gd name="connsiteY269" fmla="*/ 212820 h 438291"/>
                      <a:gd name="connsiteX270" fmla="*/ 162298 w 247755"/>
                      <a:gd name="connsiteY270" fmla="*/ 213452 h 438291"/>
                      <a:gd name="connsiteX271" fmla="*/ 162160 w 247755"/>
                      <a:gd name="connsiteY271" fmla="*/ 213616 h 438291"/>
                      <a:gd name="connsiteX272" fmla="*/ 162215 w 247755"/>
                      <a:gd name="connsiteY272" fmla="*/ 214110 h 438291"/>
                      <a:gd name="connsiteX273" fmla="*/ 162215 w 247755"/>
                      <a:gd name="connsiteY273" fmla="*/ 214412 h 438291"/>
                      <a:gd name="connsiteX274" fmla="*/ 162133 w 247755"/>
                      <a:gd name="connsiteY274" fmla="*/ 214522 h 438291"/>
                      <a:gd name="connsiteX275" fmla="*/ 161969 w 247755"/>
                      <a:gd name="connsiteY275" fmla="*/ 214631 h 438291"/>
                      <a:gd name="connsiteX276" fmla="*/ 161831 w 247755"/>
                      <a:gd name="connsiteY276" fmla="*/ 214769 h 438291"/>
                      <a:gd name="connsiteX277" fmla="*/ 161749 w 247755"/>
                      <a:gd name="connsiteY277" fmla="*/ 214988 h 438291"/>
                      <a:gd name="connsiteX278" fmla="*/ 161694 w 247755"/>
                      <a:gd name="connsiteY278" fmla="*/ 215263 h 438291"/>
                      <a:gd name="connsiteX279" fmla="*/ 161694 w 247755"/>
                      <a:gd name="connsiteY279" fmla="*/ 215537 h 438291"/>
                      <a:gd name="connsiteX280" fmla="*/ 161694 w 247755"/>
                      <a:gd name="connsiteY280" fmla="*/ 215702 h 438291"/>
                      <a:gd name="connsiteX281" fmla="*/ 161639 w 247755"/>
                      <a:gd name="connsiteY281" fmla="*/ 215976 h 438291"/>
                      <a:gd name="connsiteX282" fmla="*/ 161557 w 247755"/>
                      <a:gd name="connsiteY282" fmla="*/ 216223 h 438291"/>
                      <a:gd name="connsiteX283" fmla="*/ 161419 w 247755"/>
                      <a:gd name="connsiteY283" fmla="*/ 216415 h 438291"/>
                      <a:gd name="connsiteX284" fmla="*/ 161228 w 247755"/>
                      <a:gd name="connsiteY284" fmla="*/ 216635 h 438291"/>
                      <a:gd name="connsiteX285" fmla="*/ 160981 w 247755"/>
                      <a:gd name="connsiteY285" fmla="*/ 216800 h 438291"/>
                      <a:gd name="connsiteX286" fmla="*/ 160322 w 247755"/>
                      <a:gd name="connsiteY286" fmla="*/ 216663 h 438291"/>
                      <a:gd name="connsiteX287" fmla="*/ 160733 w 247755"/>
                      <a:gd name="connsiteY287" fmla="*/ 216882 h 438291"/>
                      <a:gd name="connsiteX288" fmla="*/ 161063 w 247755"/>
                      <a:gd name="connsiteY288" fmla="*/ 216882 h 438291"/>
                      <a:gd name="connsiteX289" fmla="*/ 161282 w 247755"/>
                      <a:gd name="connsiteY289" fmla="*/ 216827 h 438291"/>
                      <a:gd name="connsiteX290" fmla="*/ 162270 w 247755"/>
                      <a:gd name="connsiteY290" fmla="*/ 215812 h 438291"/>
                      <a:gd name="connsiteX291" fmla="*/ 162572 w 247755"/>
                      <a:gd name="connsiteY291" fmla="*/ 215812 h 438291"/>
                      <a:gd name="connsiteX292" fmla="*/ 162517 w 247755"/>
                      <a:gd name="connsiteY292" fmla="*/ 215565 h 438291"/>
                      <a:gd name="connsiteX293" fmla="*/ 162627 w 247755"/>
                      <a:gd name="connsiteY293" fmla="*/ 215071 h 438291"/>
                      <a:gd name="connsiteX294" fmla="*/ 162572 w 247755"/>
                      <a:gd name="connsiteY294" fmla="*/ 214549 h 438291"/>
                      <a:gd name="connsiteX295" fmla="*/ 162984 w 247755"/>
                      <a:gd name="connsiteY295" fmla="*/ 214385 h 438291"/>
                      <a:gd name="connsiteX296" fmla="*/ 163039 w 247755"/>
                      <a:gd name="connsiteY296" fmla="*/ 213918 h 438291"/>
                      <a:gd name="connsiteX297" fmla="*/ 163313 w 247755"/>
                      <a:gd name="connsiteY297" fmla="*/ 214055 h 438291"/>
                      <a:gd name="connsiteX298" fmla="*/ 163423 w 247755"/>
                      <a:gd name="connsiteY298" fmla="*/ 214138 h 438291"/>
                      <a:gd name="connsiteX299" fmla="*/ 173248 w 247755"/>
                      <a:gd name="connsiteY299" fmla="*/ 217925 h 438291"/>
                      <a:gd name="connsiteX300" fmla="*/ 179998 w 247755"/>
                      <a:gd name="connsiteY300" fmla="*/ 222782 h 438291"/>
                      <a:gd name="connsiteX301" fmla="*/ 190290 w 247755"/>
                      <a:gd name="connsiteY301" fmla="*/ 238205 h 438291"/>
                      <a:gd name="connsiteX302" fmla="*/ 192101 w 247755"/>
                      <a:gd name="connsiteY302" fmla="*/ 239989 h 438291"/>
                      <a:gd name="connsiteX303" fmla="*/ 190564 w 247755"/>
                      <a:gd name="connsiteY303" fmla="*/ 243941 h 438291"/>
                      <a:gd name="connsiteX304" fmla="*/ 191140 w 247755"/>
                      <a:gd name="connsiteY304" fmla="*/ 248249 h 438291"/>
                      <a:gd name="connsiteX305" fmla="*/ 196547 w 247755"/>
                      <a:gd name="connsiteY305" fmla="*/ 258101 h 438291"/>
                      <a:gd name="connsiteX306" fmla="*/ 199017 w 247755"/>
                      <a:gd name="connsiteY306" fmla="*/ 262520 h 438291"/>
                      <a:gd name="connsiteX307" fmla="*/ 193610 w 247755"/>
                      <a:gd name="connsiteY307" fmla="*/ 263782 h 438291"/>
                      <a:gd name="connsiteX308" fmla="*/ 189192 w 247755"/>
                      <a:gd name="connsiteY308" fmla="*/ 259419 h 438291"/>
                      <a:gd name="connsiteX309" fmla="*/ 184197 w 247755"/>
                      <a:gd name="connsiteY309" fmla="*/ 260077 h 438291"/>
                      <a:gd name="connsiteX310" fmla="*/ 175992 w 247755"/>
                      <a:gd name="connsiteY310" fmla="*/ 261779 h 438291"/>
                      <a:gd name="connsiteX311" fmla="*/ 187490 w 247755"/>
                      <a:gd name="connsiteY311" fmla="*/ 260818 h 438291"/>
                      <a:gd name="connsiteX312" fmla="*/ 197068 w 247755"/>
                      <a:gd name="connsiteY312" fmla="*/ 269737 h 438291"/>
                      <a:gd name="connsiteX313" fmla="*/ 201569 w 247755"/>
                      <a:gd name="connsiteY313" fmla="*/ 272838 h 438291"/>
                      <a:gd name="connsiteX314" fmla="*/ 204258 w 247755"/>
                      <a:gd name="connsiteY314" fmla="*/ 279150 h 438291"/>
                      <a:gd name="connsiteX315" fmla="*/ 206207 w 247755"/>
                      <a:gd name="connsiteY315" fmla="*/ 283788 h 438291"/>
                      <a:gd name="connsiteX316" fmla="*/ 206152 w 247755"/>
                      <a:gd name="connsiteY316" fmla="*/ 290237 h 438291"/>
                      <a:gd name="connsiteX317" fmla="*/ 204258 w 247755"/>
                      <a:gd name="connsiteY317" fmla="*/ 292624 h 438291"/>
                      <a:gd name="connsiteX318" fmla="*/ 199017 w 247755"/>
                      <a:gd name="connsiteY318" fmla="*/ 299074 h 438291"/>
                      <a:gd name="connsiteX319" fmla="*/ 204258 w 247755"/>
                      <a:gd name="connsiteY319" fmla="*/ 304699 h 438291"/>
                      <a:gd name="connsiteX320" fmla="*/ 208320 w 247755"/>
                      <a:gd name="connsiteY320" fmla="*/ 303849 h 438291"/>
                      <a:gd name="connsiteX321" fmla="*/ 213753 w 247755"/>
                      <a:gd name="connsiteY321" fmla="*/ 297153 h 438291"/>
                      <a:gd name="connsiteX322" fmla="*/ 227804 w 247755"/>
                      <a:gd name="connsiteY322" fmla="*/ 297674 h 438291"/>
                      <a:gd name="connsiteX323" fmla="*/ 237437 w 247755"/>
                      <a:gd name="connsiteY323" fmla="*/ 300802 h 438291"/>
                      <a:gd name="connsiteX324" fmla="*/ 245834 w 247755"/>
                      <a:gd name="connsiteY324" fmla="*/ 308075 h 438291"/>
                      <a:gd name="connsiteX325" fmla="*/ 247755 w 247755"/>
                      <a:gd name="connsiteY325" fmla="*/ 318311 h 438291"/>
                      <a:gd name="connsiteX326" fmla="*/ 242184 w 247755"/>
                      <a:gd name="connsiteY326" fmla="*/ 339607 h 438291"/>
                      <a:gd name="connsiteX327" fmla="*/ 235845 w 247755"/>
                      <a:gd name="connsiteY327" fmla="*/ 345562 h 438291"/>
                      <a:gd name="connsiteX328" fmla="*/ 229066 w 247755"/>
                      <a:gd name="connsiteY328" fmla="*/ 346605 h 438291"/>
                      <a:gd name="connsiteX329" fmla="*/ 232744 w 247755"/>
                      <a:gd name="connsiteY329" fmla="*/ 347401 h 438291"/>
                      <a:gd name="connsiteX330" fmla="*/ 233348 w 247755"/>
                      <a:gd name="connsiteY330" fmla="*/ 349925 h 438291"/>
                      <a:gd name="connsiteX331" fmla="*/ 229176 w 247755"/>
                      <a:gd name="connsiteY331" fmla="*/ 354097 h 438291"/>
                      <a:gd name="connsiteX332" fmla="*/ 223221 w 247755"/>
                      <a:gd name="connsiteY332" fmla="*/ 354261 h 438291"/>
                      <a:gd name="connsiteX333" fmla="*/ 221382 w 247755"/>
                      <a:gd name="connsiteY333" fmla="*/ 354261 h 438291"/>
                      <a:gd name="connsiteX334" fmla="*/ 223523 w 247755"/>
                      <a:gd name="connsiteY334" fmla="*/ 357417 h 438291"/>
                      <a:gd name="connsiteX335" fmla="*/ 223139 w 247755"/>
                      <a:gd name="connsiteY335" fmla="*/ 360217 h 438291"/>
                      <a:gd name="connsiteX336" fmla="*/ 213918 w 247755"/>
                      <a:gd name="connsiteY336" fmla="*/ 361451 h 438291"/>
                      <a:gd name="connsiteX337" fmla="*/ 220422 w 247755"/>
                      <a:gd name="connsiteY337" fmla="*/ 362878 h 438291"/>
                      <a:gd name="connsiteX338" fmla="*/ 220696 w 247755"/>
                      <a:gd name="connsiteY338" fmla="*/ 365733 h 438291"/>
                      <a:gd name="connsiteX339" fmla="*/ 220367 w 247755"/>
                      <a:gd name="connsiteY339" fmla="*/ 365733 h 438291"/>
                      <a:gd name="connsiteX340" fmla="*/ 214961 w 247755"/>
                      <a:gd name="connsiteY340" fmla="*/ 366144 h 438291"/>
                      <a:gd name="connsiteX341" fmla="*/ 211640 w 247755"/>
                      <a:gd name="connsiteY341" fmla="*/ 366144 h 438291"/>
                      <a:gd name="connsiteX342" fmla="*/ 207826 w 247755"/>
                      <a:gd name="connsiteY342" fmla="*/ 368861 h 4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Lst>
                    <a:rect l="l" t="t" r="r" b="b"/>
                    <a:pathLst>
                      <a:path w="247755" h="438291">
                        <a:moveTo>
                          <a:pt x="207908" y="369026"/>
                        </a:moveTo>
                        <a:lnTo>
                          <a:pt x="204340" y="368724"/>
                        </a:lnTo>
                        <a:lnTo>
                          <a:pt x="202804" y="368285"/>
                        </a:lnTo>
                        <a:lnTo>
                          <a:pt x="201075" y="367215"/>
                        </a:lnTo>
                        <a:lnTo>
                          <a:pt x="199455" y="367077"/>
                        </a:lnTo>
                        <a:lnTo>
                          <a:pt x="196876" y="367489"/>
                        </a:lnTo>
                        <a:lnTo>
                          <a:pt x="194269" y="367489"/>
                        </a:lnTo>
                        <a:cubicBezTo>
                          <a:pt x="194269" y="367489"/>
                          <a:pt x="193308" y="367297"/>
                          <a:pt x="193308" y="367297"/>
                        </a:cubicBezTo>
                        <a:lnTo>
                          <a:pt x="192183" y="368504"/>
                        </a:lnTo>
                        <a:lnTo>
                          <a:pt x="189411" y="368340"/>
                        </a:lnTo>
                        <a:lnTo>
                          <a:pt x="190015" y="369136"/>
                        </a:lnTo>
                        <a:lnTo>
                          <a:pt x="192814" y="368532"/>
                        </a:lnTo>
                        <a:lnTo>
                          <a:pt x="193391" y="367407"/>
                        </a:lnTo>
                        <a:lnTo>
                          <a:pt x="195888" y="368504"/>
                        </a:lnTo>
                        <a:lnTo>
                          <a:pt x="200224" y="367516"/>
                        </a:lnTo>
                        <a:lnTo>
                          <a:pt x="202996" y="368751"/>
                        </a:lnTo>
                        <a:lnTo>
                          <a:pt x="204313" y="369657"/>
                        </a:lnTo>
                        <a:lnTo>
                          <a:pt x="207908" y="369822"/>
                        </a:lnTo>
                        <a:lnTo>
                          <a:pt x="210076" y="369959"/>
                        </a:lnTo>
                        <a:lnTo>
                          <a:pt x="216443" y="369904"/>
                        </a:lnTo>
                        <a:lnTo>
                          <a:pt x="215016" y="373719"/>
                        </a:lnTo>
                        <a:lnTo>
                          <a:pt x="219983" y="370810"/>
                        </a:lnTo>
                        <a:lnTo>
                          <a:pt x="223249" y="373883"/>
                        </a:lnTo>
                        <a:lnTo>
                          <a:pt x="224538" y="375091"/>
                        </a:lnTo>
                        <a:lnTo>
                          <a:pt x="229066" y="373856"/>
                        </a:lnTo>
                        <a:lnTo>
                          <a:pt x="238260" y="374569"/>
                        </a:lnTo>
                        <a:lnTo>
                          <a:pt x="236696" y="384476"/>
                        </a:lnTo>
                        <a:lnTo>
                          <a:pt x="229066" y="388099"/>
                        </a:lnTo>
                        <a:lnTo>
                          <a:pt x="227173" y="388977"/>
                        </a:lnTo>
                        <a:lnTo>
                          <a:pt x="225307" y="391282"/>
                        </a:lnTo>
                        <a:lnTo>
                          <a:pt x="224703" y="394822"/>
                        </a:lnTo>
                        <a:lnTo>
                          <a:pt x="223276" y="394822"/>
                        </a:lnTo>
                        <a:cubicBezTo>
                          <a:pt x="223276" y="394822"/>
                          <a:pt x="221739" y="394822"/>
                          <a:pt x="221739" y="394822"/>
                        </a:cubicBezTo>
                        <a:lnTo>
                          <a:pt x="204313" y="402836"/>
                        </a:lnTo>
                        <a:lnTo>
                          <a:pt x="195476" y="400613"/>
                        </a:lnTo>
                        <a:lnTo>
                          <a:pt x="190235" y="399295"/>
                        </a:lnTo>
                        <a:lnTo>
                          <a:pt x="173220" y="403494"/>
                        </a:lnTo>
                        <a:lnTo>
                          <a:pt x="169159" y="398582"/>
                        </a:lnTo>
                        <a:lnTo>
                          <a:pt x="167594" y="400503"/>
                        </a:lnTo>
                        <a:lnTo>
                          <a:pt x="166469" y="399048"/>
                        </a:lnTo>
                        <a:lnTo>
                          <a:pt x="165097" y="400256"/>
                        </a:lnTo>
                        <a:lnTo>
                          <a:pt x="163478" y="398939"/>
                        </a:lnTo>
                        <a:lnTo>
                          <a:pt x="160926" y="399899"/>
                        </a:lnTo>
                        <a:lnTo>
                          <a:pt x="156425" y="396853"/>
                        </a:lnTo>
                        <a:lnTo>
                          <a:pt x="153873" y="395261"/>
                        </a:lnTo>
                        <a:lnTo>
                          <a:pt x="157084" y="400476"/>
                        </a:lnTo>
                        <a:lnTo>
                          <a:pt x="146792" y="403549"/>
                        </a:lnTo>
                        <a:lnTo>
                          <a:pt x="145338" y="404235"/>
                        </a:lnTo>
                        <a:lnTo>
                          <a:pt x="136858" y="404510"/>
                        </a:lnTo>
                        <a:lnTo>
                          <a:pt x="138313" y="407473"/>
                        </a:lnTo>
                        <a:lnTo>
                          <a:pt x="137215" y="409779"/>
                        </a:lnTo>
                        <a:lnTo>
                          <a:pt x="122615" y="409504"/>
                        </a:lnTo>
                        <a:lnTo>
                          <a:pt x="120557" y="408681"/>
                        </a:lnTo>
                        <a:lnTo>
                          <a:pt x="109881" y="404400"/>
                        </a:lnTo>
                        <a:lnTo>
                          <a:pt x="100579" y="406952"/>
                        </a:lnTo>
                        <a:lnTo>
                          <a:pt x="93389" y="413730"/>
                        </a:lnTo>
                        <a:lnTo>
                          <a:pt x="93334" y="420097"/>
                        </a:lnTo>
                        <a:lnTo>
                          <a:pt x="88421" y="427479"/>
                        </a:lnTo>
                        <a:lnTo>
                          <a:pt x="83729" y="427040"/>
                        </a:lnTo>
                        <a:lnTo>
                          <a:pt x="80984" y="423610"/>
                        </a:lnTo>
                        <a:lnTo>
                          <a:pt x="76703" y="423610"/>
                        </a:lnTo>
                        <a:cubicBezTo>
                          <a:pt x="76703" y="423610"/>
                          <a:pt x="75303" y="421579"/>
                          <a:pt x="75303" y="421579"/>
                        </a:cubicBezTo>
                        <a:lnTo>
                          <a:pt x="73437" y="418012"/>
                        </a:lnTo>
                        <a:lnTo>
                          <a:pt x="72504" y="415651"/>
                        </a:lnTo>
                        <a:lnTo>
                          <a:pt x="70528" y="420234"/>
                        </a:lnTo>
                        <a:lnTo>
                          <a:pt x="57301" y="422814"/>
                        </a:lnTo>
                        <a:lnTo>
                          <a:pt x="54913" y="426766"/>
                        </a:lnTo>
                        <a:lnTo>
                          <a:pt x="47531" y="429126"/>
                        </a:lnTo>
                        <a:lnTo>
                          <a:pt x="47092" y="435904"/>
                        </a:lnTo>
                        <a:lnTo>
                          <a:pt x="43799" y="438292"/>
                        </a:lnTo>
                        <a:lnTo>
                          <a:pt x="36197" y="432337"/>
                        </a:lnTo>
                        <a:lnTo>
                          <a:pt x="29419" y="434477"/>
                        </a:lnTo>
                        <a:lnTo>
                          <a:pt x="30022" y="430635"/>
                        </a:lnTo>
                        <a:lnTo>
                          <a:pt x="41137" y="425009"/>
                        </a:lnTo>
                        <a:lnTo>
                          <a:pt x="47531" y="417490"/>
                        </a:lnTo>
                        <a:lnTo>
                          <a:pt x="49562" y="411864"/>
                        </a:lnTo>
                        <a:lnTo>
                          <a:pt x="55078" y="409532"/>
                        </a:lnTo>
                        <a:lnTo>
                          <a:pt x="60786" y="403275"/>
                        </a:lnTo>
                        <a:lnTo>
                          <a:pt x="62899" y="394603"/>
                        </a:lnTo>
                        <a:lnTo>
                          <a:pt x="64326" y="390953"/>
                        </a:lnTo>
                        <a:lnTo>
                          <a:pt x="69870" y="390870"/>
                        </a:lnTo>
                        <a:lnTo>
                          <a:pt x="74261" y="382281"/>
                        </a:lnTo>
                        <a:lnTo>
                          <a:pt x="87159" y="380360"/>
                        </a:lnTo>
                        <a:lnTo>
                          <a:pt x="106616" y="382363"/>
                        </a:lnTo>
                        <a:lnTo>
                          <a:pt x="108537" y="376243"/>
                        </a:lnTo>
                        <a:lnTo>
                          <a:pt x="113971" y="369190"/>
                        </a:lnTo>
                        <a:lnTo>
                          <a:pt x="117785" y="368696"/>
                        </a:lnTo>
                        <a:lnTo>
                          <a:pt x="117950" y="365650"/>
                        </a:lnTo>
                        <a:lnTo>
                          <a:pt x="120584" y="361589"/>
                        </a:lnTo>
                        <a:lnTo>
                          <a:pt x="122039" y="359366"/>
                        </a:lnTo>
                        <a:lnTo>
                          <a:pt x="120584" y="360025"/>
                        </a:lnTo>
                        <a:lnTo>
                          <a:pt x="118169" y="361150"/>
                        </a:lnTo>
                        <a:lnTo>
                          <a:pt x="105930" y="367654"/>
                        </a:lnTo>
                        <a:lnTo>
                          <a:pt x="102719" y="371962"/>
                        </a:lnTo>
                        <a:lnTo>
                          <a:pt x="97230" y="373115"/>
                        </a:lnTo>
                        <a:lnTo>
                          <a:pt x="89601" y="369136"/>
                        </a:lnTo>
                        <a:lnTo>
                          <a:pt x="86253" y="367022"/>
                        </a:lnTo>
                        <a:lnTo>
                          <a:pt x="82274" y="362165"/>
                        </a:lnTo>
                        <a:lnTo>
                          <a:pt x="73739" y="365376"/>
                        </a:lnTo>
                        <a:lnTo>
                          <a:pt x="70693" y="364251"/>
                        </a:lnTo>
                        <a:lnTo>
                          <a:pt x="71407" y="361945"/>
                        </a:lnTo>
                        <a:lnTo>
                          <a:pt x="77389" y="358103"/>
                        </a:lnTo>
                        <a:lnTo>
                          <a:pt x="63613" y="356429"/>
                        </a:lnTo>
                        <a:lnTo>
                          <a:pt x="50056" y="362137"/>
                        </a:lnTo>
                        <a:lnTo>
                          <a:pt x="44814" y="357115"/>
                        </a:lnTo>
                        <a:lnTo>
                          <a:pt x="44924" y="351874"/>
                        </a:lnTo>
                        <a:lnTo>
                          <a:pt x="42893" y="348608"/>
                        </a:lnTo>
                        <a:lnTo>
                          <a:pt x="48464" y="343147"/>
                        </a:lnTo>
                        <a:lnTo>
                          <a:pt x="70721" y="332444"/>
                        </a:lnTo>
                        <a:lnTo>
                          <a:pt x="80957" y="317323"/>
                        </a:lnTo>
                        <a:lnTo>
                          <a:pt x="76511" y="315375"/>
                        </a:lnTo>
                        <a:lnTo>
                          <a:pt x="76319" y="308596"/>
                        </a:lnTo>
                        <a:lnTo>
                          <a:pt x="73602" y="301022"/>
                        </a:lnTo>
                        <a:lnTo>
                          <a:pt x="63558" y="304590"/>
                        </a:lnTo>
                        <a:lnTo>
                          <a:pt x="60018" y="303053"/>
                        </a:lnTo>
                        <a:lnTo>
                          <a:pt x="73849" y="285709"/>
                        </a:lnTo>
                        <a:lnTo>
                          <a:pt x="78734" y="283514"/>
                        </a:lnTo>
                        <a:lnTo>
                          <a:pt x="86253" y="280138"/>
                        </a:lnTo>
                        <a:lnTo>
                          <a:pt x="97669" y="278354"/>
                        </a:lnTo>
                        <a:lnTo>
                          <a:pt x="105381" y="282553"/>
                        </a:lnTo>
                        <a:lnTo>
                          <a:pt x="105106" y="281099"/>
                        </a:lnTo>
                        <a:lnTo>
                          <a:pt x="103268" y="277147"/>
                        </a:lnTo>
                        <a:lnTo>
                          <a:pt x="106616" y="274704"/>
                        </a:lnTo>
                        <a:lnTo>
                          <a:pt x="110458" y="280495"/>
                        </a:lnTo>
                        <a:lnTo>
                          <a:pt x="115645" y="280165"/>
                        </a:lnTo>
                        <a:lnTo>
                          <a:pt x="113449" y="279342"/>
                        </a:lnTo>
                        <a:lnTo>
                          <a:pt x="109909" y="277503"/>
                        </a:lnTo>
                        <a:lnTo>
                          <a:pt x="108098" y="274073"/>
                        </a:lnTo>
                        <a:lnTo>
                          <a:pt x="105792" y="268173"/>
                        </a:lnTo>
                        <a:lnTo>
                          <a:pt x="109635" y="261257"/>
                        </a:lnTo>
                        <a:lnTo>
                          <a:pt x="113257" y="260022"/>
                        </a:lnTo>
                        <a:lnTo>
                          <a:pt x="106671" y="257333"/>
                        </a:lnTo>
                        <a:lnTo>
                          <a:pt x="106945" y="252366"/>
                        </a:lnTo>
                        <a:lnTo>
                          <a:pt x="111858" y="247618"/>
                        </a:lnTo>
                        <a:lnTo>
                          <a:pt x="111309" y="244380"/>
                        </a:lnTo>
                        <a:lnTo>
                          <a:pt x="113285" y="240428"/>
                        </a:lnTo>
                        <a:lnTo>
                          <a:pt x="112187" y="237327"/>
                        </a:lnTo>
                        <a:lnTo>
                          <a:pt x="103981" y="241498"/>
                        </a:lnTo>
                        <a:lnTo>
                          <a:pt x="97724" y="234802"/>
                        </a:lnTo>
                        <a:lnTo>
                          <a:pt x="90150" y="219599"/>
                        </a:lnTo>
                        <a:lnTo>
                          <a:pt x="97642" y="201212"/>
                        </a:lnTo>
                        <a:lnTo>
                          <a:pt x="101017" y="198303"/>
                        </a:lnTo>
                        <a:lnTo>
                          <a:pt x="104777" y="199208"/>
                        </a:lnTo>
                        <a:lnTo>
                          <a:pt x="106643" y="196162"/>
                        </a:lnTo>
                        <a:lnTo>
                          <a:pt x="93306" y="197178"/>
                        </a:lnTo>
                        <a:lnTo>
                          <a:pt x="79694" y="206563"/>
                        </a:lnTo>
                        <a:lnTo>
                          <a:pt x="68141" y="203407"/>
                        </a:lnTo>
                        <a:lnTo>
                          <a:pt x="66028" y="210488"/>
                        </a:lnTo>
                        <a:lnTo>
                          <a:pt x="54364" y="202886"/>
                        </a:lnTo>
                        <a:lnTo>
                          <a:pt x="50413" y="210159"/>
                        </a:lnTo>
                        <a:lnTo>
                          <a:pt x="45007" y="200581"/>
                        </a:lnTo>
                        <a:lnTo>
                          <a:pt x="45610" y="196739"/>
                        </a:lnTo>
                        <a:lnTo>
                          <a:pt x="48300" y="195614"/>
                        </a:lnTo>
                        <a:lnTo>
                          <a:pt x="49480" y="189603"/>
                        </a:lnTo>
                        <a:lnTo>
                          <a:pt x="50028" y="187929"/>
                        </a:lnTo>
                        <a:lnTo>
                          <a:pt x="53294" y="184033"/>
                        </a:lnTo>
                        <a:lnTo>
                          <a:pt x="53898" y="181920"/>
                        </a:lnTo>
                        <a:lnTo>
                          <a:pt x="59990" y="171244"/>
                        </a:lnTo>
                        <a:lnTo>
                          <a:pt x="59524" y="166030"/>
                        </a:lnTo>
                        <a:lnTo>
                          <a:pt x="53898" y="160761"/>
                        </a:lnTo>
                        <a:lnTo>
                          <a:pt x="52718" y="158895"/>
                        </a:lnTo>
                        <a:lnTo>
                          <a:pt x="53623" y="155135"/>
                        </a:lnTo>
                        <a:lnTo>
                          <a:pt x="52745" y="150140"/>
                        </a:lnTo>
                        <a:lnTo>
                          <a:pt x="53898" y="146079"/>
                        </a:lnTo>
                        <a:lnTo>
                          <a:pt x="64875" y="147808"/>
                        </a:lnTo>
                        <a:lnTo>
                          <a:pt x="67345" y="149345"/>
                        </a:lnTo>
                        <a:lnTo>
                          <a:pt x="64793" y="147451"/>
                        </a:lnTo>
                        <a:lnTo>
                          <a:pt x="58947" y="145393"/>
                        </a:lnTo>
                        <a:lnTo>
                          <a:pt x="57877" y="143884"/>
                        </a:lnTo>
                        <a:lnTo>
                          <a:pt x="56478" y="143088"/>
                        </a:lnTo>
                        <a:lnTo>
                          <a:pt x="53926" y="143939"/>
                        </a:lnTo>
                        <a:lnTo>
                          <a:pt x="53102" y="140343"/>
                        </a:lnTo>
                        <a:lnTo>
                          <a:pt x="56862" y="132852"/>
                        </a:lnTo>
                        <a:lnTo>
                          <a:pt x="52526" y="140563"/>
                        </a:lnTo>
                        <a:lnTo>
                          <a:pt x="48025" y="153489"/>
                        </a:lnTo>
                        <a:lnTo>
                          <a:pt x="39051" y="150827"/>
                        </a:lnTo>
                        <a:lnTo>
                          <a:pt x="38640" y="158621"/>
                        </a:lnTo>
                        <a:lnTo>
                          <a:pt x="44348" y="160843"/>
                        </a:lnTo>
                        <a:lnTo>
                          <a:pt x="46543" y="167869"/>
                        </a:lnTo>
                        <a:lnTo>
                          <a:pt x="45940" y="171656"/>
                        </a:lnTo>
                        <a:lnTo>
                          <a:pt x="41549" y="171711"/>
                        </a:lnTo>
                        <a:lnTo>
                          <a:pt x="37240" y="164438"/>
                        </a:lnTo>
                        <a:lnTo>
                          <a:pt x="33124" y="174894"/>
                        </a:lnTo>
                        <a:lnTo>
                          <a:pt x="28184" y="176513"/>
                        </a:lnTo>
                        <a:lnTo>
                          <a:pt x="32959" y="129311"/>
                        </a:lnTo>
                        <a:lnTo>
                          <a:pt x="36088" y="115261"/>
                        </a:lnTo>
                        <a:lnTo>
                          <a:pt x="31642" y="116386"/>
                        </a:lnTo>
                        <a:lnTo>
                          <a:pt x="24616" y="125277"/>
                        </a:lnTo>
                        <a:lnTo>
                          <a:pt x="13447" y="125853"/>
                        </a:lnTo>
                        <a:lnTo>
                          <a:pt x="13200" y="113010"/>
                        </a:lnTo>
                        <a:lnTo>
                          <a:pt x="17893" y="104311"/>
                        </a:lnTo>
                        <a:lnTo>
                          <a:pt x="25055" y="98164"/>
                        </a:lnTo>
                        <a:lnTo>
                          <a:pt x="26373" y="86583"/>
                        </a:lnTo>
                        <a:lnTo>
                          <a:pt x="21158" y="86281"/>
                        </a:lnTo>
                        <a:lnTo>
                          <a:pt x="17728" y="81560"/>
                        </a:lnTo>
                        <a:lnTo>
                          <a:pt x="10593" y="78295"/>
                        </a:lnTo>
                        <a:lnTo>
                          <a:pt x="0" y="65561"/>
                        </a:lnTo>
                        <a:lnTo>
                          <a:pt x="2442" y="60786"/>
                        </a:lnTo>
                        <a:lnTo>
                          <a:pt x="11306" y="55984"/>
                        </a:lnTo>
                        <a:lnTo>
                          <a:pt x="14682" y="59524"/>
                        </a:lnTo>
                        <a:lnTo>
                          <a:pt x="17591" y="68909"/>
                        </a:lnTo>
                        <a:lnTo>
                          <a:pt x="22421" y="73520"/>
                        </a:lnTo>
                        <a:lnTo>
                          <a:pt x="34633" y="70309"/>
                        </a:lnTo>
                        <a:lnTo>
                          <a:pt x="25796" y="68113"/>
                        </a:lnTo>
                        <a:lnTo>
                          <a:pt x="25165" y="61802"/>
                        </a:lnTo>
                        <a:lnTo>
                          <a:pt x="27525" y="58179"/>
                        </a:lnTo>
                        <a:lnTo>
                          <a:pt x="26235" y="46324"/>
                        </a:lnTo>
                        <a:lnTo>
                          <a:pt x="40094" y="39490"/>
                        </a:lnTo>
                        <a:lnTo>
                          <a:pt x="37762" y="33206"/>
                        </a:lnTo>
                        <a:lnTo>
                          <a:pt x="39792" y="29611"/>
                        </a:lnTo>
                        <a:lnTo>
                          <a:pt x="39929" y="23134"/>
                        </a:lnTo>
                        <a:lnTo>
                          <a:pt x="44430" y="18853"/>
                        </a:lnTo>
                        <a:lnTo>
                          <a:pt x="49315" y="2525"/>
                        </a:lnTo>
                        <a:lnTo>
                          <a:pt x="71571" y="5434"/>
                        </a:lnTo>
                        <a:lnTo>
                          <a:pt x="105765" y="0"/>
                        </a:lnTo>
                        <a:lnTo>
                          <a:pt x="106122" y="10758"/>
                        </a:lnTo>
                        <a:lnTo>
                          <a:pt x="104036" y="15423"/>
                        </a:lnTo>
                        <a:lnTo>
                          <a:pt x="80353" y="37350"/>
                        </a:lnTo>
                        <a:lnTo>
                          <a:pt x="78048" y="43360"/>
                        </a:lnTo>
                        <a:lnTo>
                          <a:pt x="81670" y="45857"/>
                        </a:lnTo>
                        <a:lnTo>
                          <a:pt x="81066" y="49699"/>
                        </a:lnTo>
                        <a:lnTo>
                          <a:pt x="75989" y="52828"/>
                        </a:lnTo>
                        <a:lnTo>
                          <a:pt x="75660" y="57164"/>
                        </a:lnTo>
                        <a:lnTo>
                          <a:pt x="72696" y="61198"/>
                        </a:lnTo>
                        <a:lnTo>
                          <a:pt x="66165" y="63311"/>
                        </a:lnTo>
                        <a:lnTo>
                          <a:pt x="73108" y="63586"/>
                        </a:lnTo>
                        <a:lnTo>
                          <a:pt x="77911" y="58371"/>
                        </a:lnTo>
                        <a:lnTo>
                          <a:pt x="96352" y="51126"/>
                        </a:lnTo>
                        <a:lnTo>
                          <a:pt x="114108" y="52279"/>
                        </a:lnTo>
                        <a:lnTo>
                          <a:pt x="134910" y="52279"/>
                        </a:lnTo>
                        <a:lnTo>
                          <a:pt x="140975" y="56039"/>
                        </a:lnTo>
                        <a:lnTo>
                          <a:pt x="143060" y="62954"/>
                        </a:lnTo>
                        <a:lnTo>
                          <a:pt x="134910" y="83399"/>
                        </a:lnTo>
                        <a:lnTo>
                          <a:pt x="131397" y="95117"/>
                        </a:lnTo>
                        <a:lnTo>
                          <a:pt x="125167" y="103323"/>
                        </a:lnTo>
                        <a:lnTo>
                          <a:pt x="120502" y="114218"/>
                        </a:lnTo>
                        <a:lnTo>
                          <a:pt x="106753" y="119185"/>
                        </a:lnTo>
                        <a:lnTo>
                          <a:pt x="104146" y="121078"/>
                        </a:lnTo>
                        <a:lnTo>
                          <a:pt x="100853" y="124838"/>
                        </a:lnTo>
                        <a:lnTo>
                          <a:pt x="112242" y="119899"/>
                        </a:lnTo>
                        <a:lnTo>
                          <a:pt x="117950" y="129147"/>
                        </a:lnTo>
                        <a:lnTo>
                          <a:pt x="96599" y="141688"/>
                        </a:lnTo>
                        <a:lnTo>
                          <a:pt x="83179" y="137078"/>
                        </a:lnTo>
                        <a:lnTo>
                          <a:pt x="84140" y="138203"/>
                        </a:lnTo>
                        <a:lnTo>
                          <a:pt x="93086" y="143307"/>
                        </a:lnTo>
                        <a:lnTo>
                          <a:pt x="95749" y="143746"/>
                        </a:lnTo>
                        <a:lnTo>
                          <a:pt x="105985" y="146244"/>
                        </a:lnTo>
                        <a:lnTo>
                          <a:pt x="115535" y="140234"/>
                        </a:lnTo>
                        <a:lnTo>
                          <a:pt x="120502" y="142868"/>
                        </a:lnTo>
                        <a:lnTo>
                          <a:pt x="122560" y="143966"/>
                        </a:lnTo>
                        <a:lnTo>
                          <a:pt x="126869" y="146271"/>
                        </a:lnTo>
                        <a:lnTo>
                          <a:pt x="136666" y="153351"/>
                        </a:lnTo>
                        <a:lnTo>
                          <a:pt x="148494" y="167045"/>
                        </a:lnTo>
                        <a:lnTo>
                          <a:pt x="153488" y="191552"/>
                        </a:lnTo>
                        <a:lnTo>
                          <a:pt x="156370" y="198248"/>
                        </a:lnTo>
                        <a:lnTo>
                          <a:pt x="156864" y="202529"/>
                        </a:lnTo>
                        <a:lnTo>
                          <a:pt x="159938" y="209555"/>
                        </a:lnTo>
                        <a:lnTo>
                          <a:pt x="160322" y="209856"/>
                        </a:lnTo>
                        <a:lnTo>
                          <a:pt x="160678" y="210131"/>
                        </a:lnTo>
                        <a:lnTo>
                          <a:pt x="160761" y="210131"/>
                        </a:lnTo>
                        <a:cubicBezTo>
                          <a:pt x="160761" y="210131"/>
                          <a:pt x="160926" y="210268"/>
                          <a:pt x="160926" y="210268"/>
                        </a:cubicBezTo>
                        <a:lnTo>
                          <a:pt x="161831" y="210762"/>
                        </a:lnTo>
                        <a:lnTo>
                          <a:pt x="161914" y="210899"/>
                        </a:lnTo>
                        <a:lnTo>
                          <a:pt x="161804" y="211064"/>
                        </a:lnTo>
                        <a:lnTo>
                          <a:pt x="161529" y="210954"/>
                        </a:lnTo>
                        <a:lnTo>
                          <a:pt x="161365" y="211146"/>
                        </a:lnTo>
                        <a:lnTo>
                          <a:pt x="161365" y="211338"/>
                        </a:lnTo>
                        <a:cubicBezTo>
                          <a:pt x="161365" y="211338"/>
                          <a:pt x="161228" y="211531"/>
                          <a:pt x="161228" y="211531"/>
                        </a:cubicBezTo>
                        <a:lnTo>
                          <a:pt x="161228" y="211805"/>
                        </a:lnTo>
                        <a:lnTo>
                          <a:pt x="161694" y="212820"/>
                        </a:lnTo>
                        <a:lnTo>
                          <a:pt x="162298" y="213452"/>
                        </a:lnTo>
                        <a:lnTo>
                          <a:pt x="162160" y="213616"/>
                        </a:lnTo>
                        <a:lnTo>
                          <a:pt x="162215" y="214110"/>
                        </a:lnTo>
                        <a:lnTo>
                          <a:pt x="162215" y="214412"/>
                        </a:lnTo>
                        <a:lnTo>
                          <a:pt x="162133" y="214522"/>
                        </a:lnTo>
                        <a:lnTo>
                          <a:pt x="161969" y="214631"/>
                        </a:lnTo>
                        <a:lnTo>
                          <a:pt x="161831" y="214769"/>
                        </a:lnTo>
                        <a:lnTo>
                          <a:pt x="161749" y="214988"/>
                        </a:lnTo>
                        <a:lnTo>
                          <a:pt x="161694" y="215263"/>
                        </a:lnTo>
                        <a:lnTo>
                          <a:pt x="161694" y="215537"/>
                        </a:lnTo>
                        <a:cubicBezTo>
                          <a:pt x="161694" y="215537"/>
                          <a:pt x="161694" y="215702"/>
                          <a:pt x="161694" y="215702"/>
                        </a:cubicBezTo>
                        <a:lnTo>
                          <a:pt x="161639" y="215976"/>
                        </a:lnTo>
                        <a:lnTo>
                          <a:pt x="161557" y="216223"/>
                        </a:lnTo>
                        <a:lnTo>
                          <a:pt x="161419" y="216415"/>
                        </a:lnTo>
                        <a:lnTo>
                          <a:pt x="161228" y="216635"/>
                        </a:lnTo>
                        <a:lnTo>
                          <a:pt x="160981" y="216800"/>
                        </a:lnTo>
                        <a:lnTo>
                          <a:pt x="160322" y="216663"/>
                        </a:lnTo>
                        <a:lnTo>
                          <a:pt x="160733" y="216882"/>
                        </a:lnTo>
                        <a:lnTo>
                          <a:pt x="161063" y="216882"/>
                        </a:lnTo>
                        <a:cubicBezTo>
                          <a:pt x="161063" y="216882"/>
                          <a:pt x="161282" y="216827"/>
                          <a:pt x="161282" y="216827"/>
                        </a:cubicBezTo>
                        <a:lnTo>
                          <a:pt x="162270" y="215812"/>
                        </a:lnTo>
                        <a:lnTo>
                          <a:pt x="162572" y="215812"/>
                        </a:lnTo>
                        <a:lnTo>
                          <a:pt x="162517" y="215565"/>
                        </a:lnTo>
                        <a:lnTo>
                          <a:pt x="162627" y="215071"/>
                        </a:lnTo>
                        <a:lnTo>
                          <a:pt x="162572" y="214549"/>
                        </a:lnTo>
                        <a:lnTo>
                          <a:pt x="162984" y="214385"/>
                        </a:lnTo>
                        <a:lnTo>
                          <a:pt x="163039" y="213918"/>
                        </a:lnTo>
                        <a:lnTo>
                          <a:pt x="163313" y="214055"/>
                        </a:lnTo>
                        <a:lnTo>
                          <a:pt x="163423" y="214138"/>
                        </a:lnTo>
                        <a:lnTo>
                          <a:pt x="173248" y="217925"/>
                        </a:lnTo>
                        <a:lnTo>
                          <a:pt x="179998" y="222782"/>
                        </a:lnTo>
                        <a:lnTo>
                          <a:pt x="190290" y="238205"/>
                        </a:lnTo>
                        <a:lnTo>
                          <a:pt x="192101" y="239989"/>
                        </a:lnTo>
                        <a:lnTo>
                          <a:pt x="190564" y="243941"/>
                        </a:lnTo>
                        <a:lnTo>
                          <a:pt x="191140" y="248249"/>
                        </a:lnTo>
                        <a:lnTo>
                          <a:pt x="196547" y="258101"/>
                        </a:lnTo>
                        <a:lnTo>
                          <a:pt x="199017" y="262520"/>
                        </a:lnTo>
                        <a:lnTo>
                          <a:pt x="193610" y="263782"/>
                        </a:lnTo>
                        <a:lnTo>
                          <a:pt x="189192" y="259419"/>
                        </a:lnTo>
                        <a:lnTo>
                          <a:pt x="184197" y="260077"/>
                        </a:lnTo>
                        <a:lnTo>
                          <a:pt x="175992" y="261779"/>
                        </a:lnTo>
                        <a:lnTo>
                          <a:pt x="187490" y="260818"/>
                        </a:lnTo>
                        <a:lnTo>
                          <a:pt x="197068" y="269737"/>
                        </a:lnTo>
                        <a:lnTo>
                          <a:pt x="201569" y="272838"/>
                        </a:lnTo>
                        <a:lnTo>
                          <a:pt x="204258" y="279150"/>
                        </a:lnTo>
                        <a:lnTo>
                          <a:pt x="206207" y="283788"/>
                        </a:lnTo>
                        <a:lnTo>
                          <a:pt x="206152" y="290237"/>
                        </a:lnTo>
                        <a:lnTo>
                          <a:pt x="204258" y="292624"/>
                        </a:lnTo>
                        <a:lnTo>
                          <a:pt x="199017" y="299074"/>
                        </a:lnTo>
                        <a:lnTo>
                          <a:pt x="204258" y="304699"/>
                        </a:lnTo>
                        <a:lnTo>
                          <a:pt x="208320" y="303849"/>
                        </a:lnTo>
                        <a:lnTo>
                          <a:pt x="213753" y="297153"/>
                        </a:lnTo>
                        <a:lnTo>
                          <a:pt x="227804" y="297674"/>
                        </a:lnTo>
                        <a:lnTo>
                          <a:pt x="237437" y="300802"/>
                        </a:lnTo>
                        <a:lnTo>
                          <a:pt x="245834" y="308075"/>
                        </a:lnTo>
                        <a:lnTo>
                          <a:pt x="247755" y="318311"/>
                        </a:lnTo>
                        <a:lnTo>
                          <a:pt x="242184" y="339607"/>
                        </a:lnTo>
                        <a:lnTo>
                          <a:pt x="235845" y="345562"/>
                        </a:lnTo>
                        <a:lnTo>
                          <a:pt x="229066" y="346605"/>
                        </a:lnTo>
                        <a:lnTo>
                          <a:pt x="232744" y="347401"/>
                        </a:lnTo>
                        <a:lnTo>
                          <a:pt x="233348" y="349925"/>
                        </a:lnTo>
                        <a:lnTo>
                          <a:pt x="229176" y="354097"/>
                        </a:lnTo>
                        <a:lnTo>
                          <a:pt x="223221" y="354261"/>
                        </a:lnTo>
                        <a:lnTo>
                          <a:pt x="221382" y="354261"/>
                        </a:lnTo>
                        <a:cubicBezTo>
                          <a:pt x="221382" y="354261"/>
                          <a:pt x="223523" y="357417"/>
                          <a:pt x="223523" y="357417"/>
                        </a:cubicBezTo>
                        <a:lnTo>
                          <a:pt x="223139" y="360217"/>
                        </a:lnTo>
                        <a:lnTo>
                          <a:pt x="213918" y="361451"/>
                        </a:lnTo>
                        <a:lnTo>
                          <a:pt x="220422" y="362878"/>
                        </a:lnTo>
                        <a:lnTo>
                          <a:pt x="220696" y="365733"/>
                        </a:lnTo>
                        <a:lnTo>
                          <a:pt x="220367" y="365733"/>
                        </a:lnTo>
                        <a:lnTo>
                          <a:pt x="214961" y="366144"/>
                        </a:lnTo>
                        <a:lnTo>
                          <a:pt x="211640" y="366144"/>
                        </a:lnTo>
                        <a:cubicBezTo>
                          <a:pt x="211640" y="366144"/>
                          <a:pt x="207826" y="368861"/>
                          <a:pt x="207826" y="368861"/>
                        </a:cubicBez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69" name="Freeform: Shape 3068">
                    <a:extLst>
                      <a:ext uri="{FF2B5EF4-FFF2-40B4-BE49-F238E27FC236}">
                        <a16:creationId xmlns:a16="http://schemas.microsoft.com/office/drawing/2014/main" id="{9BC67DCB-13A6-A255-41B9-3F0475B8BB1F}"/>
                      </a:ext>
                    </a:extLst>
                  </p:cNvPr>
                  <p:cNvSpPr/>
                  <p:nvPr/>
                </p:nvSpPr>
                <p:spPr>
                  <a:xfrm>
                    <a:off x="-6525945" y="2919932"/>
                    <a:ext cx="78267" cy="61170"/>
                  </a:xfrm>
                  <a:custGeom>
                    <a:avLst/>
                    <a:gdLst>
                      <a:gd name="connsiteX0" fmla="*/ 63366 w 78267"/>
                      <a:gd name="connsiteY0" fmla="*/ 9523 h 61170"/>
                      <a:gd name="connsiteX1" fmla="*/ 63750 w 78267"/>
                      <a:gd name="connsiteY1" fmla="*/ 13227 h 61170"/>
                      <a:gd name="connsiteX2" fmla="*/ 71297 w 78267"/>
                      <a:gd name="connsiteY2" fmla="*/ 22887 h 61170"/>
                      <a:gd name="connsiteX3" fmla="*/ 66577 w 78267"/>
                      <a:gd name="connsiteY3" fmla="*/ 28321 h 61170"/>
                      <a:gd name="connsiteX4" fmla="*/ 65259 w 78267"/>
                      <a:gd name="connsiteY4" fmla="*/ 30407 h 61170"/>
                      <a:gd name="connsiteX5" fmla="*/ 66961 w 78267"/>
                      <a:gd name="connsiteY5" fmla="*/ 31120 h 61170"/>
                      <a:gd name="connsiteX6" fmla="*/ 76099 w 78267"/>
                      <a:gd name="connsiteY6" fmla="*/ 31285 h 61170"/>
                      <a:gd name="connsiteX7" fmla="*/ 78267 w 78267"/>
                      <a:gd name="connsiteY7" fmla="*/ 37871 h 61170"/>
                      <a:gd name="connsiteX8" fmla="*/ 77773 w 78267"/>
                      <a:gd name="connsiteY8" fmla="*/ 42701 h 61170"/>
                      <a:gd name="connsiteX9" fmla="*/ 76291 w 78267"/>
                      <a:gd name="connsiteY9" fmla="*/ 43250 h 61170"/>
                      <a:gd name="connsiteX10" fmla="*/ 74014 w 78267"/>
                      <a:gd name="connsiteY10" fmla="*/ 36966 h 61170"/>
                      <a:gd name="connsiteX11" fmla="*/ 73108 w 78267"/>
                      <a:gd name="connsiteY11" fmla="*/ 40012 h 61170"/>
                      <a:gd name="connsiteX12" fmla="*/ 75633 w 78267"/>
                      <a:gd name="connsiteY12" fmla="*/ 45967 h 61170"/>
                      <a:gd name="connsiteX13" fmla="*/ 74069 w 78267"/>
                      <a:gd name="connsiteY13" fmla="*/ 50221 h 61170"/>
                      <a:gd name="connsiteX14" fmla="*/ 67318 w 78267"/>
                      <a:gd name="connsiteY14" fmla="*/ 51648 h 61170"/>
                      <a:gd name="connsiteX15" fmla="*/ 64875 w 78267"/>
                      <a:gd name="connsiteY15" fmla="*/ 58371 h 61170"/>
                      <a:gd name="connsiteX16" fmla="*/ 61527 w 78267"/>
                      <a:gd name="connsiteY16" fmla="*/ 61171 h 61170"/>
                      <a:gd name="connsiteX17" fmla="*/ 54831 w 78267"/>
                      <a:gd name="connsiteY17" fmla="*/ 58014 h 61170"/>
                      <a:gd name="connsiteX18" fmla="*/ 45199 w 78267"/>
                      <a:gd name="connsiteY18" fmla="*/ 60923 h 61170"/>
                      <a:gd name="connsiteX19" fmla="*/ 43442 w 78267"/>
                      <a:gd name="connsiteY19" fmla="*/ 58591 h 61170"/>
                      <a:gd name="connsiteX20" fmla="*/ 43771 w 78267"/>
                      <a:gd name="connsiteY20" fmla="*/ 54145 h 61170"/>
                      <a:gd name="connsiteX21" fmla="*/ 39490 w 78267"/>
                      <a:gd name="connsiteY21" fmla="*/ 52471 h 61170"/>
                      <a:gd name="connsiteX22" fmla="*/ 37295 w 78267"/>
                      <a:gd name="connsiteY22" fmla="*/ 46571 h 61170"/>
                      <a:gd name="connsiteX23" fmla="*/ 32630 w 78267"/>
                      <a:gd name="connsiteY23" fmla="*/ 42729 h 61170"/>
                      <a:gd name="connsiteX24" fmla="*/ 27772 w 78267"/>
                      <a:gd name="connsiteY24" fmla="*/ 46186 h 61170"/>
                      <a:gd name="connsiteX25" fmla="*/ 28486 w 78267"/>
                      <a:gd name="connsiteY25" fmla="*/ 51264 h 61170"/>
                      <a:gd name="connsiteX26" fmla="*/ 24452 w 78267"/>
                      <a:gd name="connsiteY26" fmla="*/ 56532 h 61170"/>
                      <a:gd name="connsiteX27" fmla="*/ 15286 w 78267"/>
                      <a:gd name="connsiteY27" fmla="*/ 55819 h 61170"/>
                      <a:gd name="connsiteX28" fmla="*/ 8397 w 78267"/>
                      <a:gd name="connsiteY28" fmla="*/ 51730 h 61170"/>
                      <a:gd name="connsiteX29" fmla="*/ 851 w 78267"/>
                      <a:gd name="connsiteY29" fmla="*/ 42564 h 61170"/>
                      <a:gd name="connsiteX30" fmla="*/ 0 w 78267"/>
                      <a:gd name="connsiteY30" fmla="*/ 40808 h 61170"/>
                      <a:gd name="connsiteX31" fmla="*/ 3842 w 78267"/>
                      <a:gd name="connsiteY31" fmla="*/ 36362 h 61170"/>
                      <a:gd name="connsiteX32" fmla="*/ 12624 w 78267"/>
                      <a:gd name="connsiteY32" fmla="*/ 32492 h 61170"/>
                      <a:gd name="connsiteX33" fmla="*/ 9221 w 78267"/>
                      <a:gd name="connsiteY33" fmla="*/ 27800 h 61170"/>
                      <a:gd name="connsiteX34" fmla="*/ 15286 w 78267"/>
                      <a:gd name="connsiteY34" fmla="*/ 25028 h 61170"/>
                      <a:gd name="connsiteX35" fmla="*/ 25769 w 78267"/>
                      <a:gd name="connsiteY35" fmla="*/ 9056 h 61170"/>
                      <a:gd name="connsiteX36" fmla="*/ 28898 w 78267"/>
                      <a:gd name="connsiteY36" fmla="*/ 10264 h 61170"/>
                      <a:gd name="connsiteX37" fmla="*/ 31806 w 78267"/>
                      <a:gd name="connsiteY37" fmla="*/ 9660 h 61170"/>
                      <a:gd name="connsiteX38" fmla="*/ 33563 w 78267"/>
                      <a:gd name="connsiteY38" fmla="*/ 6614 h 61170"/>
                      <a:gd name="connsiteX39" fmla="*/ 35182 w 78267"/>
                      <a:gd name="connsiteY39" fmla="*/ 3183 h 61170"/>
                      <a:gd name="connsiteX40" fmla="*/ 48656 w 78267"/>
                      <a:gd name="connsiteY40" fmla="*/ 0 h 61170"/>
                      <a:gd name="connsiteX41" fmla="*/ 56615 w 78267"/>
                      <a:gd name="connsiteY41" fmla="*/ 1729 h 61170"/>
                      <a:gd name="connsiteX42" fmla="*/ 59880 w 78267"/>
                      <a:gd name="connsiteY42" fmla="*/ 2086 h 61170"/>
                      <a:gd name="connsiteX43" fmla="*/ 61664 w 78267"/>
                      <a:gd name="connsiteY43" fmla="*/ 6641 h 61170"/>
                      <a:gd name="connsiteX44" fmla="*/ 63421 w 78267"/>
                      <a:gd name="connsiteY44" fmla="*/ 9633 h 6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8267" h="61170">
                        <a:moveTo>
                          <a:pt x="63366" y="9523"/>
                        </a:moveTo>
                        <a:lnTo>
                          <a:pt x="63750" y="13227"/>
                        </a:lnTo>
                        <a:lnTo>
                          <a:pt x="71297" y="22887"/>
                        </a:lnTo>
                        <a:lnTo>
                          <a:pt x="66577" y="28321"/>
                        </a:lnTo>
                        <a:lnTo>
                          <a:pt x="65259" y="30407"/>
                        </a:lnTo>
                        <a:lnTo>
                          <a:pt x="66961" y="31120"/>
                        </a:lnTo>
                        <a:lnTo>
                          <a:pt x="76099" y="31285"/>
                        </a:lnTo>
                        <a:lnTo>
                          <a:pt x="78267" y="37871"/>
                        </a:lnTo>
                        <a:lnTo>
                          <a:pt x="77773" y="42701"/>
                        </a:lnTo>
                        <a:lnTo>
                          <a:pt x="76291" y="43250"/>
                        </a:lnTo>
                        <a:lnTo>
                          <a:pt x="74014" y="36966"/>
                        </a:lnTo>
                        <a:lnTo>
                          <a:pt x="73108" y="40012"/>
                        </a:lnTo>
                        <a:lnTo>
                          <a:pt x="75633" y="45967"/>
                        </a:lnTo>
                        <a:lnTo>
                          <a:pt x="74069" y="50221"/>
                        </a:lnTo>
                        <a:lnTo>
                          <a:pt x="67318" y="51648"/>
                        </a:lnTo>
                        <a:lnTo>
                          <a:pt x="64875" y="58371"/>
                        </a:lnTo>
                        <a:lnTo>
                          <a:pt x="61527" y="61171"/>
                        </a:lnTo>
                        <a:lnTo>
                          <a:pt x="54831" y="58014"/>
                        </a:lnTo>
                        <a:lnTo>
                          <a:pt x="45199" y="60923"/>
                        </a:lnTo>
                        <a:lnTo>
                          <a:pt x="43442" y="58591"/>
                        </a:lnTo>
                        <a:lnTo>
                          <a:pt x="43771" y="54145"/>
                        </a:lnTo>
                        <a:lnTo>
                          <a:pt x="39490" y="52471"/>
                        </a:lnTo>
                        <a:lnTo>
                          <a:pt x="37295" y="46571"/>
                        </a:lnTo>
                        <a:lnTo>
                          <a:pt x="32630" y="42729"/>
                        </a:lnTo>
                        <a:lnTo>
                          <a:pt x="27772" y="46186"/>
                        </a:lnTo>
                        <a:lnTo>
                          <a:pt x="28486" y="51264"/>
                        </a:lnTo>
                        <a:lnTo>
                          <a:pt x="24452" y="56532"/>
                        </a:lnTo>
                        <a:lnTo>
                          <a:pt x="15286" y="55819"/>
                        </a:lnTo>
                        <a:lnTo>
                          <a:pt x="8397" y="51730"/>
                        </a:lnTo>
                        <a:lnTo>
                          <a:pt x="851" y="42564"/>
                        </a:lnTo>
                        <a:lnTo>
                          <a:pt x="0" y="40808"/>
                        </a:lnTo>
                        <a:lnTo>
                          <a:pt x="3842" y="36362"/>
                        </a:lnTo>
                        <a:lnTo>
                          <a:pt x="12624" y="32492"/>
                        </a:lnTo>
                        <a:lnTo>
                          <a:pt x="9221" y="27800"/>
                        </a:lnTo>
                        <a:lnTo>
                          <a:pt x="15286" y="25028"/>
                        </a:lnTo>
                        <a:lnTo>
                          <a:pt x="25769" y="9056"/>
                        </a:lnTo>
                        <a:lnTo>
                          <a:pt x="28898" y="10264"/>
                        </a:lnTo>
                        <a:lnTo>
                          <a:pt x="31806" y="9660"/>
                        </a:lnTo>
                        <a:lnTo>
                          <a:pt x="33563" y="6614"/>
                        </a:lnTo>
                        <a:lnTo>
                          <a:pt x="35182" y="3183"/>
                        </a:lnTo>
                        <a:lnTo>
                          <a:pt x="48656" y="0"/>
                        </a:lnTo>
                        <a:lnTo>
                          <a:pt x="56615" y="1729"/>
                        </a:lnTo>
                        <a:lnTo>
                          <a:pt x="59880" y="2086"/>
                        </a:lnTo>
                        <a:lnTo>
                          <a:pt x="61664" y="6641"/>
                        </a:lnTo>
                        <a:lnTo>
                          <a:pt x="63421" y="963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70" name="Freeform: Shape 3069">
                    <a:extLst>
                      <a:ext uri="{FF2B5EF4-FFF2-40B4-BE49-F238E27FC236}">
                        <a16:creationId xmlns:a16="http://schemas.microsoft.com/office/drawing/2014/main" id="{8D5B0A6F-0A40-FC0C-183B-272EEBC883D2}"/>
                      </a:ext>
                    </a:extLst>
                  </p:cNvPr>
                  <p:cNvSpPr/>
                  <p:nvPr/>
                </p:nvSpPr>
                <p:spPr>
                  <a:xfrm>
                    <a:off x="-6335600" y="2609882"/>
                    <a:ext cx="25110" cy="53129"/>
                  </a:xfrm>
                  <a:custGeom>
                    <a:avLst/>
                    <a:gdLst>
                      <a:gd name="connsiteX0" fmla="*/ 19951 w 25110"/>
                      <a:gd name="connsiteY0" fmla="*/ 14078 h 53129"/>
                      <a:gd name="connsiteX1" fmla="*/ 15725 w 25110"/>
                      <a:gd name="connsiteY1" fmla="*/ 23354 h 53129"/>
                      <a:gd name="connsiteX2" fmla="*/ 17893 w 25110"/>
                      <a:gd name="connsiteY2" fmla="*/ 28568 h 53129"/>
                      <a:gd name="connsiteX3" fmla="*/ 15725 w 25110"/>
                      <a:gd name="connsiteY3" fmla="*/ 29858 h 53129"/>
                      <a:gd name="connsiteX4" fmla="*/ 10648 w 25110"/>
                      <a:gd name="connsiteY4" fmla="*/ 53130 h 53129"/>
                      <a:gd name="connsiteX5" fmla="*/ 8754 w 25110"/>
                      <a:gd name="connsiteY5" fmla="*/ 49370 h 53129"/>
                      <a:gd name="connsiteX6" fmla="*/ 10181 w 25110"/>
                      <a:gd name="connsiteY6" fmla="*/ 38201 h 53129"/>
                      <a:gd name="connsiteX7" fmla="*/ 4446 w 25110"/>
                      <a:gd name="connsiteY7" fmla="*/ 37707 h 53129"/>
                      <a:gd name="connsiteX8" fmla="*/ 0 w 25110"/>
                      <a:gd name="connsiteY8" fmla="*/ 32712 h 53129"/>
                      <a:gd name="connsiteX9" fmla="*/ 5379 w 25110"/>
                      <a:gd name="connsiteY9" fmla="*/ 25494 h 53129"/>
                      <a:gd name="connsiteX10" fmla="*/ 3568 w 25110"/>
                      <a:gd name="connsiteY10" fmla="*/ 17948 h 53129"/>
                      <a:gd name="connsiteX11" fmla="*/ 6751 w 25110"/>
                      <a:gd name="connsiteY11" fmla="*/ 13474 h 53129"/>
                      <a:gd name="connsiteX12" fmla="*/ 9083 w 25110"/>
                      <a:gd name="connsiteY12" fmla="*/ 13721 h 53129"/>
                      <a:gd name="connsiteX13" fmla="*/ 10675 w 25110"/>
                      <a:gd name="connsiteY13" fmla="*/ 20857 h 53129"/>
                      <a:gd name="connsiteX14" fmla="*/ 13749 w 25110"/>
                      <a:gd name="connsiteY14" fmla="*/ 19594 h 53129"/>
                      <a:gd name="connsiteX15" fmla="*/ 15752 w 25110"/>
                      <a:gd name="connsiteY15" fmla="*/ 6723 h 53129"/>
                      <a:gd name="connsiteX16" fmla="*/ 23518 w 25110"/>
                      <a:gd name="connsiteY16" fmla="*/ 0 h 53129"/>
                      <a:gd name="connsiteX17" fmla="*/ 25110 w 25110"/>
                      <a:gd name="connsiteY17" fmla="*/ 2195 h 53129"/>
                      <a:gd name="connsiteX18" fmla="*/ 23820 w 25110"/>
                      <a:gd name="connsiteY18" fmla="*/ 11279 h 53129"/>
                      <a:gd name="connsiteX19" fmla="*/ 19979 w 25110"/>
                      <a:gd name="connsiteY19" fmla="*/ 14051 h 53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10" h="53129">
                        <a:moveTo>
                          <a:pt x="19951" y="14078"/>
                        </a:moveTo>
                        <a:lnTo>
                          <a:pt x="15725" y="23354"/>
                        </a:lnTo>
                        <a:lnTo>
                          <a:pt x="17893" y="28568"/>
                        </a:lnTo>
                        <a:lnTo>
                          <a:pt x="15725" y="29858"/>
                        </a:lnTo>
                        <a:lnTo>
                          <a:pt x="10648" y="53130"/>
                        </a:lnTo>
                        <a:lnTo>
                          <a:pt x="8754" y="49370"/>
                        </a:lnTo>
                        <a:lnTo>
                          <a:pt x="10181" y="38201"/>
                        </a:lnTo>
                        <a:lnTo>
                          <a:pt x="4446" y="37707"/>
                        </a:lnTo>
                        <a:lnTo>
                          <a:pt x="0" y="32712"/>
                        </a:lnTo>
                        <a:lnTo>
                          <a:pt x="5379" y="25494"/>
                        </a:lnTo>
                        <a:lnTo>
                          <a:pt x="3568" y="17948"/>
                        </a:lnTo>
                        <a:lnTo>
                          <a:pt x="6751" y="13474"/>
                        </a:lnTo>
                        <a:lnTo>
                          <a:pt x="9083" y="13721"/>
                        </a:lnTo>
                        <a:lnTo>
                          <a:pt x="10675" y="20857"/>
                        </a:lnTo>
                        <a:lnTo>
                          <a:pt x="13749" y="19594"/>
                        </a:lnTo>
                        <a:lnTo>
                          <a:pt x="15752" y="6723"/>
                        </a:lnTo>
                        <a:lnTo>
                          <a:pt x="23518" y="0"/>
                        </a:lnTo>
                        <a:lnTo>
                          <a:pt x="25110" y="2195"/>
                        </a:lnTo>
                        <a:lnTo>
                          <a:pt x="23820" y="11279"/>
                        </a:lnTo>
                        <a:lnTo>
                          <a:pt x="19979" y="1405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71" name="Freeform: Shape 3070">
                    <a:extLst>
                      <a:ext uri="{FF2B5EF4-FFF2-40B4-BE49-F238E27FC236}">
                        <a16:creationId xmlns:a16="http://schemas.microsoft.com/office/drawing/2014/main" id="{B420A395-EF16-AA87-357C-01C0BCEDFAEE}"/>
                      </a:ext>
                    </a:extLst>
                  </p:cNvPr>
                  <p:cNvSpPr/>
                  <p:nvPr/>
                </p:nvSpPr>
                <p:spPr>
                  <a:xfrm>
                    <a:off x="-6496197" y="2743639"/>
                    <a:ext cx="27415" cy="43332"/>
                  </a:xfrm>
                  <a:custGeom>
                    <a:avLst/>
                    <a:gdLst>
                      <a:gd name="connsiteX0" fmla="*/ 20088 w 27415"/>
                      <a:gd name="connsiteY0" fmla="*/ 30489 h 43332"/>
                      <a:gd name="connsiteX1" fmla="*/ 4281 w 27415"/>
                      <a:gd name="connsiteY1" fmla="*/ 43332 h 43332"/>
                      <a:gd name="connsiteX2" fmla="*/ 1784 w 27415"/>
                      <a:gd name="connsiteY2" fmla="*/ 40286 h 43332"/>
                      <a:gd name="connsiteX3" fmla="*/ 5516 w 27415"/>
                      <a:gd name="connsiteY3" fmla="*/ 33563 h 43332"/>
                      <a:gd name="connsiteX4" fmla="*/ 1866 w 27415"/>
                      <a:gd name="connsiteY4" fmla="*/ 30407 h 43332"/>
                      <a:gd name="connsiteX5" fmla="*/ 0 w 27415"/>
                      <a:gd name="connsiteY5" fmla="*/ 23601 h 43332"/>
                      <a:gd name="connsiteX6" fmla="*/ 1674 w 27415"/>
                      <a:gd name="connsiteY6" fmla="*/ 17454 h 43332"/>
                      <a:gd name="connsiteX7" fmla="*/ 22668 w 27415"/>
                      <a:gd name="connsiteY7" fmla="*/ 2936 h 43332"/>
                      <a:gd name="connsiteX8" fmla="*/ 25247 w 27415"/>
                      <a:gd name="connsiteY8" fmla="*/ 0 h 43332"/>
                      <a:gd name="connsiteX9" fmla="*/ 27416 w 27415"/>
                      <a:gd name="connsiteY9" fmla="*/ 2936 h 43332"/>
                      <a:gd name="connsiteX10" fmla="*/ 26922 w 27415"/>
                      <a:gd name="connsiteY10" fmla="*/ 9687 h 43332"/>
                      <a:gd name="connsiteX11" fmla="*/ 22531 w 27415"/>
                      <a:gd name="connsiteY11" fmla="*/ 17426 h 43332"/>
                      <a:gd name="connsiteX12" fmla="*/ 20116 w 27415"/>
                      <a:gd name="connsiteY12" fmla="*/ 30544 h 43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415" h="43332">
                        <a:moveTo>
                          <a:pt x="20088" y="30489"/>
                        </a:moveTo>
                        <a:lnTo>
                          <a:pt x="4281" y="43332"/>
                        </a:lnTo>
                        <a:lnTo>
                          <a:pt x="1784" y="40286"/>
                        </a:lnTo>
                        <a:lnTo>
                          <a:pt x="5516" y="33563"/>
                        </a:lnTo>
                        <a:lnTo>
                          <a:pt x="1866" y="30407"/>
                        </a:lnTo>
                        <a:lnTo>
                          <a:pt x="0" y="23601"/>
                        </a:lnTo>
                        <a:lnTo>
                          <a:pt x="1674" y="17454"/>
                        </a:lnTo>
                        <a:lnTo>
                          <a:pt x="22668" y="2936"/>
                        </a:lnTo>
                        <a:lnTo>
                          <a:pt x="25247" y="0"/>
                        </a:lnTo>
                        <a:lnTo>
                          <a:pt x="27416" y="2936"/>
                        </a:lnTo>
                        <a:lnTo>
                          <a:pt x="26922" y="9687"/>
                        </a:lnTo>
                        <a:lnTo>
                          <a:pt x="22531" y="17426"/>
                        </a:lnTo>
                        <a:lnTo>
                          <a:pt x="20116" y="3054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72" name="Freeform: Shape 3071">
                    <a:extLst>
                      <a:ext uri="{FF2B5EF4-FFF2-40B4-BE49-F238E27FC236}">
                        <a16:creationId xmlns:a16="http://schemas.microsoft.com/office/drawing/2014/main" id="{CF306C03-82B4-5537-A2A2-FA08B1C9AB9A}"/>
                      </a:ext>
                    </a:extLst>
                  </p:cNvPr>
                  <p:cNvSpPr/>
                  <p:nvPr/>
                </p:nvSpPr>
                <p:spPr>
                  <a:xfrm>
                    <a:off x="-6478523" y="2872840"/>
                    <a:ext cx="24122" cy="28458"/>
                  </a:xfrm>
                  <a:custGeom>
                    <a:avLst/>
                    <a:gdLst>
                      <a:gd name="connsiteX0" fmla="*/ 24122 w 24122"/>
                      <a:gd name="connsiteY0" fmla="*/ 2196 h 28458"/>
                      <a:gd name="connsiteX1" fmla="*/ 16658 w 24122"/>
                      <a:gd name="connsiteY1" fmla="*/ 17262 h 28458"/>
                      <a:gd name="connsiteX2" fmla="*/ 13117 w 24122"/>
                      <a:gd name="connsiteY2" fmla="*/ 19155 h 28458"/>
                      <a:gd name="connsiteX3" fmla="*/ 13913 w 24122"/>
                      <a:gd name="connsiteY3" fmla="*/ 25193 h 28458"/>
                      <a:gd name="connsiteX4" fmla="*/ 5845 w 24122"/>
                      <a:gd name="connsiteY4" fmla="*/ 28458 h 28458"/>
                      <a:gd name="connsiteX5" fmla="*/ 7684 w 24122"/>
                      <a:gd name="connsiteY5" fmla="*/ 19155 h 28458"/>
                      <a:gd name="connsiteX6" fmla="*/ 4994 w 24122"/>
                      <a:gd name="connsiteY6" fmla="*/ 19155 h 28458"/>
                      <a:gd name="connsiteX7" fmla="*/ 2909 w 24122"/>
                      <a:gd name="connsiteY7" fmla="*/ 23135 h 28458"/>
                      <a:gd name="connsiteX8" fmla="*/ 0 w 24122"/>
                      <a:gd name="connsiteY8" fmla="*/ 23574 h 28458"/>
                      <a:gd name="connsiteX9" fmla="*/ 3211 w 24122"/>
                      <a:gd name="connsiteY9" fmla="*/ 14463 h 28458"/>
                      <a:gd name="connsiteX10" fmla="*/ 9166 w 24122"/>
                      <a:gd name="connsiteY10" fmla="*/ 11938 h 28458"/>
                      <a:gd name="connsiteX11" fmla="*/ 12431 w 24122"/>
                      <a:gd name="connsiteY11" fmla="*/ 12651 h 28458"/>
                      <a:gd name="connsiteX12" fmla="*/ 20774 w 24122"/>
                      <a:gd name="connsiteY12" fmla="*/ 2196 h 28458"/>
                      <a:gd name="connsiteX13" fmla="*/ 23546 w 24122"/>
                      <a:gd name="connsiteY13" fmla="*/ 0 h 28458"/>
                      <a:gd name="connsiteX14" fmla="*/ 24122 w 24122"/>
                      <a:gd name="connsiteY14" fmla="*/ 2196 h 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122" h="28458">
                        <a:moveTo>
                          <a:pt x="24122" y="2196"/>
                        </a:moveTo>
                        <a:lnTo>
                          <a:pt x="16658" y="17262"/>
                        </a:lnTo>
                        <a:lnTo>
                          <a:pt x="13117" y="19155"/>
                        </a:lnTo>
                        <a:lnTo>
                          <a:pt x="13913" y="25193"/>
                        </a:lnTo>
                        <a:lnTo>
                          <a:pt x="5845" y="28458"/>
                        </a:lnTo>
                        <a:lnTo>
                          <a:pt x="7684" y="19155"/>
                        </a:lnTo>
                        <a:lnTo>
                          <a:pt x="4994" y="19155"/>
                        </a:lnTo>
                        <a:lnTo>
                          <a:pt x="2909" y="23135"/>
                        </a:lnTo>
                        <a:lnTo>
                          <a:pt x="0" y="23574"/>
                        </a:lnTo>
                        <a:lnTo>
                          <a:pt x="3211" y="14463"/>
                        </a:lnTo>
                        <a:lnTo>
                          <a:pt x="9166" y="11938"/>
                        </a:lnTo>
                        <a:lnTo>
                          <a:pt x="12431" y="12651"/>
                        </a:lnTo>
                        <a:lnTo>
                          <a:pt x="20774" y="2196"/>
                        </a:lnTo>
                        <a:lnTo>
                          <a:pt x="23546" y="0"/>
                        </a:lnTo>
                        <a:lnTo>
                          <a:pt x="24122" y="219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73" name="Freeform: Shape 3072">
                    <a:extLst>
                      <a:ext uri="{FF2B5EF4-FFF2-40B4-BE49-F238E27FC236}">
                        <a16:creationId xmlns:a16="http://schemas.microsoft.com/office/drawing/2014/main" id="{D20F83D1-BB22-D60D-96C3-578779EF4931}"/>
                      </a:ext>
                    </a:extLst>
                  </p:cNvPr>
                  <p:cNvSpPr/>
                  <p:nvPr/>
                </p:nvSpPr>
                <p:spPr>
                  <a:xfrm>
                    <a:off x="-6508271" y="2787492"/>
                    <a:ext cx="13639" cy="34166"/>
                  </a:xfrm>
                  <a:custGeom>
                    <a:avLst/>
                    <a:gdLst>
                      <a:gd name="connsiteX0" fmla="*/ 8837 w 13639"/>
                      <a:gd name="connsiteY0" fmla="*/ 34139 h 34166"/>
                      <a:gd name="connsiteX1" fmla="*/ 4885 w 13639"/>
                      <a:gd name="connsiteY1" fmla="*/ 34139 h 34166"/>
                      <a:gd name="connsiteX2" fmla="*/ 3101 w 13639"/>
                      <a:gd name="connsiteY2" fmla="*/ 27937 h 34166"/>
                      <a:gd name="connsiteX3" fmla="*/ 4857 w 13639"/>
                      <a:gd name="connsiteY3" fmla="*/ 11279 h 34166"/>
                      <a:gd name="connsiteX4" fmla="*/ 0 w 13639"/>
                      <a:gd name="connsiteY4" fmla="*/ 7245 h 34166"/>
                      <a:gd name="connsiteX5" fmla="*/ 2251 w 13639"/>
                      <a:gd name="connsiteY5" fmla="*/ 3760 h 34166"/>
                      <a:gd name="connsiteX6" fmla="*/ 7767 w 13639"/>
                      <a:gd name="connsiteY6" fmla="*/ 3238 h 34166"/>
                      <a:gd name="connsiteX7" fmla="*/ 10209 w 13639"/>
                      <a:gd name="connsiteY7" fmla="*/ 0 h 34166"/>
                      <a:gd name="connsiteX8" fmla="*/ 13639 w 13639"/>
                      <a:gd name="connsiteY8" fmla="*/ 2250 h 34166"/>
                      <a:gd name="connsiteX9" fmla="*/ 12349 w 13639"/>
                      <a:gd name="connsiteY9" fmla="*/ 7245 h 34166"/>
                      <a:gd name="connsiteX10" fmla="*/ 11032 w 13639"/>
                      <a:gd name="connsiteY10" fmla="*/ 7245 h 34166"/>
                      <a:gd name="connsiteX11" fmla="*/ 11526 w 13639"/>
                      <a:gd name="connsiteY11" fmla="*/ 11060 h 34166"/>
                      <a:gd name="connsiteX12" fmla="*/ 9578 w 13639"/>
                      <a:gd name="connsiteY12" fmla="*/ 16384 h 34166"/>
                      <a:gd name="connsiteX13" fmla="*/ 8837 w 13639"/>
                      <a:gd name="connsiteY13" fmla="*/ 34166 h 34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39" h="34166">
                        <a:moveTo>
                          <a:pt x="8837" y="34139"/>
                        </a:moveTo>
                        <a:lnTo>
                          <a:pt x="4885" y="34139"/>
                        </a:lnTo>
                        <a:lnTo>
                          <a:pt x="3101" y="27937"/>
                        </a:lnTo>
                        <a:lnTo>
                          <a:pt x="4857" y="11279"/>
                        </a:lnTo>
                        <a:lnTo>
                          <a:pt x="0" y="7245"/>
                        </a:lnTo>
                        <a:lnTo>
                          <a:pt x="2251" y="3760"/>
                        </a:lnTo>
                        <a:lnTo>
                          <a:pt x="7767" y="3238"/>
                        </a:lnTo>
                        <a:lnTo>
                          <a:pt x="10209" y="0"/>
                        </a:lnTo>
                        <a:lnTo>
                          <a:pt x="13639" y="2250"/>
                        </a:lnTo>
                        <a:lnTo>
                          <a:pt x="12349" y="7245"/>
                        </a:lnTo>
                        <a:lnTo>
                          <a:pt x="11032" y="7245"/>
                        </a:lnTo>
                        <a:lnTo>
                          <a:pt x="11526" y="11060"/>
                        </a:lnTo>
                        <a:lnTo>
                          <a:pt x="9578" y="16384"/>
                        </a:lnTo>
                        <a:lnTo>
                          <a:pt x="8837" y="3416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74" name="Freeform: Shape 3073">
                    <a:extLst>
                      <a:ext uri="{FF2B5EF4-FFF2-40B4-BE49-F238E27FC236}">
                        <a16:creationId xmlns:a16="http://schemas.microsoft.com/office/drawing/2014/main" id="{B0D6F648-E00A-4B0A-FC28-77C0E841C627}"/>
                      </a:ext>
                    </a:extLst>
                  </p:cNvPr>
                  <p:cNvSpPr/>
                  <p:nvPr/>
                </p:nvSpPr>
                <p:spPr>
                  <a:xfrm>
                    <a:off x="-6387083" y="2705054"/>
                    <a:ext cx="19072" cy="23710"/>
                  </a:xfrm>
                  <a:custGeom>
                    <a:avLst/>
                    <a:gdLst>
                      <a:gd name="connsiteX0" fmla="*/ 11636 w 19072"/>
                      <a:gd name="connsiteY0" fmla="*/ 10620 h 23710"/>
                      <a:gd name="connsiteX1" fmla="*/ 15341 w 19072"/>
                      <a:gd name="connsiteY1" fmla="*/ 12020 h 23710"/>
                      <a:gd name="connsiteX2" fmla="*/ 15286 w 19072"/>
                      <a:gd name="connsiteY2" fmla="*/ 7849 h 23710"/>
                      <a:gd name="connsiteX3" fmla="*/ 17207 w 19072"/>
                      <a:gd name="connsiteY3" fmla="*/ 5983 h 23710"/>
                      <a:gd name="connsiteX4" fmla="*/ 18936 w 19072"/>
                      <a:gd name="connsiteY4" fmla="*/ 10264 h 23710"/>
                      <a:gd name="connsiteX5" fmla="*/ 17810 w 19072"/>
                      <a:gd name="connsiteY5" fmla="*/ 12734 h 23710"/>
                      <a:gd name="connsiteX6" fmla="*/ 19073 w 19072"/>
                      <a:gd name="connsiteY6" fmla="*/ 15752 h 23710"/>
                      <a:gd name="connsiteX7" fmla="*/ 15478 w 19072"/>
                      <a:gd name="connsiteY7" fmla="*/ 18058 h 23710"/>
                      <a:gd name="connsiteX8" fmla="*/ 12130 w 19072"/>
                      <a:gd name="connsiteY8" fmla="*/ 13996 h 23710"/>
                      <a:gd name="connsiteX9" fmla="*/ 4501 w 19072"/>
                      <a:gd name="connsiteY9" fmla="*/ 13776 h 23710"/>
                      <a:gd name="connsiteX10" fmla="*/ 3430 w 19072"/>
                      <a:gd name="connsiteY10" fmla="*/ 15972 h 23710"/>
                      <a:gd name="connsiteX11" fmla="*/ 5516 w 19072"/>
                      <a:gd name="connsiteY11" fmla="*/ 19100 h 23710"/>
                      <a:gd name="connsiteX12" fmla="*/ 5049 w 19072"/>
                      <a:gd name="connsiteY12" fmla="*/ 23711 h 23710"/>
                      <a:gd name="connsiteX13" fmla="*/ 2497 w 19072"/>
                      <a:gd name="connsiteY13" fmla="*/ 22531 h 23710"/>
                      <a:gd name="connsiteX14" fmla="*/ 0 w 19072"/>
                      <a:gd name="connsiteY14" fmla="*/ 17673 h 23710"/>
                      <a:gd name="connsiteX15" fmla="*/ 1948 w 19072"/>
                      <a:gd name="connsiteY15" fmla="*/ 4775 h 23710"/>
                      <a:gd name="connsiteX16" fmla="*/ 4418 w 19072"/>
                      <a:gd name="connsiteY16" fmla="*/ 2552 h 23710"/>
                      <a:gd name="connsiteX17" fmla="*/ 9276 w 19072"/>
                      <a:gd name="connsiteY17" fmla="*/ 2552 h 23710"/>
                      <a:gd name="connsiteX18" fmla="*/ 9824 w 19072"/>
                      <a:gd name="connsiteY18" fmla="*/ 0 h 23710"/>
                      <a:gd name="connsiteX19" fmla="*/ 12541 w 19072"/>
                      <a:gd name="connsiteY19" fmla="*/ 494 h 23710"/>
                      <a:gd name="connsiteX20" fmla="*/ 12980 w 19072"/>
                      <a:gd name="connsiteY20" fmla="*/ 2552 h 23710"/>
                      <a:gd name="connsiteX21" fmla="*/ 11060 w 19072"/>
                      <a:gd name="connsiteY21" fmla="*/ 5187 h 23710"/>
                      <a:gd name="connsiteX22" fmla="*/ 11663 w 19072"/>
                      <a:gd name="connsiteY22" fmla="*/ 10620 h 2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072" h="23710">
                        <a:moveTo>
                          <a:pt x="11636" y="10620"/>
                        </a:moveTo>
                        <a:lnTo>
                          <a:pt x="15341" y="12020"/>
                        </a:lnTo>
                        <a:lnTo>
                          <a:pt x="15286" y="7849"/>
                        </a:lnTo>
                        <a:lnTo>
                          <a:pt x="17207" y="5983"/>
                        </a:lnTo>
                        <a:lnTo>
                          <a:pt x="18936" y="10264"/>
                        </a:lnTo>
                        <a:lnTo>
                          <a:pt x="17810" y="12734"/>
                        </a:lnTo>
                        <a:lnTo>
                          <a:pt x="19073" y="15752"/>
                        </a:lnTo>
                        <a:lnTo>
                          <a:pt x="15478" y="18058"/>
                        </a:lnTo>
                        <a:lnTo>
                          <a:pt x="12130" y="13996"/>
                        </a:lnTo>
                        <a:lnTo>
                          <a:pt x="4501" y="13776"/>
                        </a:lnTo>
                        <a:lnTo>
                          <a:pt x="3430" y="15972"/>
                        </a:lnTo>
                        <a:lnTo>
                          <a:pt x="5516" y="19100"/>
                        </a:lnTo>
                        <a:lnTo>
                          <a:pt x="5049" y="23711"/>
                        </a:lnTo>
                        <a:lnTo>
                          <a:pt x="2497" y="22531"/>
                        </a:lnTo>
                        <a:lnTo>
                          <a:pt x="0" y="17673"/>
                        </a:lnTo>
                        <a:lnTo>
                          <a:pt x="1948" y="4775"/>
                        </a:lnTo>
                        <a:lnTo>
                          <a:pt x="4418" y="2552"/>
                        </a:lnTo>
                        <a:lnTo>
                          <a:pt x="9276" y="2552"/>
                        </a:lnTo>
                        <a:lnTo>
                          <a:pt x="9824" y="0"/>
                        </a:lnTo>
                        <a:lnTo>
                          <a:pt x="12541" y="494"/>
                        </a:lnTo>
                        <a:lnTo>
                          <a:pt x="12980" y="2552"/>
                        </a:lnTo>
                        <a:lnTo>
                          <a:pt x="11060" y="5187"/>
                        </a:lnTo>
                        <a:lnTo>
                          <a:pt x="11663" y="1062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75" name="Freeform: Shape 3074">
                    <a:extLst>
                      <a:ext uri="{FF2B5EF4-FFF2-40B4-BE49-F238E27FC236}">
                        <a16:creationId xmlns:a16="http://schemas.microsoft.com/office/drawing/2014/main" id="{9C417C18-52A3-34B0-139C-2181F3724063}"/>
                      </a:ext>
                    </a:extLst>
                  </p:cNvPr>
                  <p:cNvSpPr/>
                  <p:nvPr/>
                </p:nvSpPr>
                <p:spPr>
                  <a:xfrm>
                    <a:off x="-6422183" y="3011537"/>
                    <a:ext cx="14682" cy="14764"/>
                  </a:xfrm>
                  <a:custGeom>
                    <a:avLst/>
                    <a:gdLst>
                      <a:gd name="connsiteX0" fmla="*/ 11389 w 14682"/>
                      <a:gd name="connsiteY0" fmla="*/ 11005 h 14764"/>
                      <a:gd name="connsiteX1" fmla="*/ 8096 w 14682"/>
                      <a:gd name="connsiteY1" fmla="*/ 14764 h 14764"/>
                      <a:gd name="connsiteX2" fmla="*/ 5489 w 14682"/>
                      <a:gd name="connsiteY2" fmla="*/ 14353 h 14764"/>
                      <a:gd name="connsiteX3" fmla="*/ 3046 w 14682"/>
                      <a:gd name="connsiteY3" fmla="*/ 11005 h 14764"/>
                      <a:gd name="connsiteX4" fmla="*/ 0 w 14682"/>
                      <a:gd name="connsiteY4" fmla="*/ 6339 h 14764"/>
                      <a:gd name="connsiteX5" fmla="*/ 1592 w 14682"/>
                      <a:gd name="connsiteY5" fmla="*/ 1290 h 14764"/>
                      <a:gd name="connsiteX6" fmla="*/ 5790 w 14682"/>
                      <a:gd name="connsiteY6" fmla="*/ 0 h 14764"/>
                      <a:gd name="connsiteX7" fmla="*/ 14682 w 14682"/>
                      <a:gd name="connsiteY7" fmla="*/ 6285 h 14764"/>
                      <a:gd name="connsiteX8" fmla="*/ 11444 w 14682"/>
                      <a:gd name="connsiteY8" fmla="*/ 11005 h 1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82" h="14764">
                        <a:moveTo>
                          <a:pt x="11389" y="11005"/>
                        </a:moveTo>
                        <a:lnTo>
                          <a:pt x="8096" y="14764"/>
                        </a:lnTo>
                        <a:lnTo>
                          <a:pt x="5489" y="14353"/>
                        </a:lnTo>
                        <a:lnTo>
                          <a:pt x="3046" y="11005"/>
                        </a:lnTo>
                        <a:lnTo>
                          <a:pt x="0" y="6339"/>
                        </a:lnTo>
                        <a:lnTo>
                          <a:pt x="1592" y="1290"/>
                        </a:lnTo>
                        <a:lnTo>
                          <a:pt x="5790" y="0"/>
                        </a:lnTo>
                        <a:lnTo>
                          <a:pt x="14682" y="6285"/>
                        </a:lnTo>
                        <a:lnTo>
                          <a:pt x="11444" y="1100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76" name="Freeform: Shape 3075">
                    <a:extLst>
                      <a:ext uri="{FF2B5EF4-FFF2-40B4-BE49-F238E27FC236}">
                        <a16:creationId xmlns:a16="http://schemas.microsoft.com/office/drawing/2014/main" id="{C2DB32D5-ACEE-F2BC-07FC-DE2CD5885B27}"/>
                      </a:ext>
                    </a:extLst>
                  </p:cNvPr>
                  <p:cNvSpPr/>
                  <p:nvPr/>
                </p:nvSpPr>
                <p:spPr>
                  <a:xfrm>
                    <a:off x="-6331264" y="3138900"/>
                    <a:ext cx="11745" cy="8891"/>
                  </a:xfrm>
                  <a:custGeom>
                    <a:avLst/>
                    <a:gdLst>
                      <a:gd name="connsiteX0" fmla="*/ 9221 w 11745"/>
                      <a:gd name="connsiteY0" fmla="*/ 7711 h 8891"/>
                      <a:gd name="connsiteX1" fmla="*/ 6202 w 11745"/>
                      <a:gd name="connsiteY1" fmla="*/ 8891 h 8891"/>
                      <a:gd name="connsiteX2" fmla="*/ 686 w 11745"/>
                      <a:gd name="connsiteY2" fmla="*/ 4912 h 8891"/>
                      <a:gd name="connsiteX3" fmla="*/ 0 w 11745"/>
                      <a:gd name="connsiteY3" fmla="*/ 3705 h 8891"/>
                      <a:gd name="connsiteX4" fmla="*/ 6202 w 11745"/>
                      <a:gd name="connsiteY4" fmla="*/ 0 h 8891"/>
                      <a:gd name="connsiteX5" fmla="*/ 11746 w 11745"/>
                      <a:gd name="connsiteY5" fmla="*/ 3485 h 8891"/>
                      <a:gd name="connsiteX6" fmla="*/ 9193 w 11745"/>
                      <a:gd name="connsiteY6" fmla="*/ 7711 h 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5" h="8891">
                        <a:moveTo>
                          <a:pt x="9221" y="7711"/>
                        </a:moveTo>
                        <a:lnTo>
                          <a:pt x="6202" y="8891"/>
                        </a:lnTo>
                        <a:lnTo>
                          <a:pt x="686" y="4912"/>
                        </a:lnTo>
                        <a:lnTo>
                          <a:pt x="0" y="3705"/>
                        </a:lnTo>
                        <a:lnTo>
                          <a:pt x="6202" y="0"/>
                        </a:lnTo>
                        <a:lnTo>
                          <a:pt x="11746" y="3485"/>
                        </a:lnTo>
                        <a:lnTo>
                          <a:pt x="9193" y="771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77" name="Freeform: Shape 3076">
                    <a:extLst>
                      <a:ext uri="{FF2B5EF4-FFF2-40B4-BE49-F238E27FC236}">
                        <a16:creationId xmlns:a16="http://schemas.microsoft.com/office/drawing/2014/main" id="{78EE687B-0E68-652C-ABC6-DCFFCB4CE9FE}"/>
                      </a:ext>
                    </a:extLst>
                  </p:cNvPr>
                  <p:cNvSpPr/>
                  <p:nvPr/>
                </p:nvSpPr>
                <p:spPr>
                  <a:xfrm>
                    <a:off x="-6476575" y="2823937"/>
                    <a:ext cx="6366" cy="6695"/>
                  </a:xfrm>
                  <a:custGeom>
                    <a:avLst/>
                    <a:gdLst>
                      <a:gd name="connsiteX0" fmla="*/ 6367 w 6366"/>
                      <a:gd name="connsiteY0" fmla="*/ 2827 h 6695"/>
                      <a:gd name="connsiteX1" fmla="*/ 3952 w 6366"/>
                      <a:gd name="connsiteY1" fmla="*/ 6696 h 6695"/>
                      <a:gd name="connsiteX2" fmla="*/ 0 w 6366"/>
                      <a:gd name="connsiteY2" fmla="*/ 2799 h 6695"/>
                      <a:gd name="connsiteX3" fmla="*/ 3266 w 6366"/>
                      <a:gd name="connsiteY3" fmla="*/ 0 h 6695"/>
                      <a:gd name="connsiteX4" fmla="*/ 6339 w 6366"/>
                      <a:gd name="connsiteY4" fmla="*/ 2827 h 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6" h="6695">
                        <a:moveTo>
                          <a:pt x="6367" y="2827"/>
                        </a:moveTo>
                        <a:lnTo>
                          <a:pt x="3952" y="6696"/>
                        </a:lnTo>
                        <a:lnTo>
                          <a:pt x="0" y="2799"/>
                        </a:lnTo>
                        <a:lnTo>
                          <a:pt x="3266" y="0"/>
                        </a:lnTo>
                        <a:lnTo>
                          <a:pt x="6339" y="28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78" name="Freeform: Shape 3077">
                    <a:extLst>
                      <a:ext uri="{FF2B5EF4-FFF2-40B4-BE49-F238E27FC236}">
                        <a16:creationId xmlns:a16="http://schemas.microsoft.com/office/drawing/2014/main" id="{888FB7B6-3499-AA88-F76F-BBCEAD6684BF}"/>
                      </a:ext>
                    </a:extLst>
                  </p:cNvPr>
                  <p:cNvSpPr/>
                  <p:nvPr/>
                </p:nvSpPr>
                <p:spPr>
                  <a:xfrm>
                    <a:off x="-6482256" y="2844162"/>
                    <a:ext cx="5214" cy="5982"/>
                  </a:xfrm>
                  <a:custGeom>
                    <a:avLst/>
                    <a:gdLst>
                      <a:gd name="connsiteX0" fmla="*/ 4473 w 5214"/>
                      <a:gd name="connsiteY0" fmla="*/ 3458 h 5982"/>
                      <a:gd name="connsiteX1" fmla="*/ 494 w 5214"/>
                      <a:gd name="connsiteY1" fmla="*/ 5982 h 5982"/>
                      <a:gd name="connsiteX2" fmla="*/ 0 w 5214"/>
                      <a:gd name="connsiteY2" fmla="*/ 4583 h 5982"/>
                      <a:gd name="connsiteX3" fmla="*/ 3540 w 5214"/>
                      <a:gd name="connsiteY3" fmla="*/ 0 h 5982"/>
                      <a:gd name="connsiteX4" fmla="*/ 5214 w 5214"/>
                      <a:gd name="connsiteY4" fmla="*/ 55 h 5982"/>
                      <a:gd name="connsiteX5" fmla="*/ 4473 w 5214"/>
                      <a:gd name="connsiteY5" fmla="*/ 3458 h 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4" h="5982">
                        <a:moveTo>
                          <a:pt x="4473" y="3458"/>
                        </a:moveTo>
                        <a:lnTo>
                          <a:pt x="494" y="5982"/>
                        </a:lnTo>
                        <a:lnTo>
                          <a:pt x="0" y="4583"/>
                        </a:lnTo>
                        <a:lnTo>
                          <a:pt x="3540" y="0"/>
                        </a:lnTo>
                        <a:lnTo>
                          <a:pt x="5214" y="55"/>
                        </a:lnTo>
                        <a:lnTo>
                          <a:pt x="4473" y="345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79" name="Freeform: Shape 3078">
                    <a:extLst>
                      <a:ext uri="{FF2B5EF4-FFF2-40B4-BE49-F238E27FC236}">
                        <a16:creationId xmlns:a16="http://schemas.microsoft.com/office/drawing/2014/main" id="{C254A8F6-5A93-50FD-9B6E-9BAC40C11CBC}"/>
                      </a:ext>
                    </a:extLst>
                  </p:cNvPr>
                  <p:cNvSpPr/>
                  <p:nvPr/>
                </p:nvSpPr>
                <p:spPr>
                  <a:xfrm>
                    <a:off x="-6492629" y="2851874"/>
                    <a:ext cx="5954" cy="4994"/>
                  </a:xfrm>
                  <a:custGeom>
                    <a:avLst/>
                    <a:gdLst>
                      <a:gd name="connsiteX0" fmla="*/ 3622 w 5954"/>
                      <a:gd name="connsiteY0" fmla="*/ 2744 h 4994"/>
                      <a:gd name="connsiteX1" fmla="*/ 3074 w 5954"/>
                      <a:gd name="connsiteY1" fmla="*/ 4995 h 4994"/>
                      <a:gd name="connsiteX2" fmla="*/ 549 w 5954"/>
                      <a:gd name="connsiteY2" fmla="*/ 4583 h 4994"/>
                      <a:gd name="connsiteX3" fmla="*/ 0 w 5954"/>
                      <a:gd name="connsiteY3" fmla="*/ 1839 h 4994"/>
                      <a:gd name="connsiteX4" fmla="*/ 4885 w 5954"/>
                      <a:gd name="connsiteY4" fmla="*/ 0 h 4994"/>
                      <a:gd name="connsiteX5" fmla="*/ 5955 w 5954"/>
                      <a:gd name="connsiteY5" fmla="*/ 1729 h 4994"/>
                      <a:gd name="connsiteX6" fmla="*/ 3595 w 5954"/>
                      <a:gd name="connsiteY6" fmla="*/ 2717 h 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4" h="4994">
                        <a:moveTo>
                          <a:pt x="3622" y="2744"/>
                        </a:moveTo>
                        <a:lnTo>
                          <a:pt x="3074" y="4995"/>
                        </a:lnTo>
                        <a:lnTo>
                          <a:pt x="549" y="4583"/>
                        </a:lnTo>
                        <a:lnTo>
                          <a:pt x="0" y="1839"/>
                        </a:lnTo>
                        <a:lnTo>
                          <a:pt x="4885" y="0"/>
                        </a:lnTo>
                        <a:lnTo>
                          <a:pt x="5955" y="1729"/>
                        </a:lnTo>
                        <a:lnTo>
                          <a:pt x="3595" y="271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0" name="Freeform: Shape 3079">
                    <a:extLst>
                      <a:ext uri="{FF2B5EF4-FFF2-40B4-BE49-F238E27FC236}">
                        <a16:creationId xmlns:a16="http://schemas.microsoft.com/office/drawing/2014/main" id="{0AE4C7C9-4C3C-9467-7831-020C394C6BC0}"/>
                      </a:ext>
                    </a:extLst>
                  </p:cNvPr>
                  <p:cNvSpPr/>
                  <p:nvPr/>
                </p:nvSpPr>
                <p:spPr>
                  <a:xfrm>
                    <a:off x="-6471443" y="2756839"/>
                    <a:ext cx="4253" cy="6696"/>
                  </a:xfrm>
                  <a:custGeom>
                    <a:avLst/>
                    <a:gdLst>
                      <a:gd name="connsiteX0" fmla="*/ 4254 w 4253"/>
                      <a:gd name="connsiteY0" fmla="*/ 2223 h 6696"/>
                      <a:gd name="connsiteX1" fmla="*/ 2333 w 4253"/>
                      <a:gd name="connsiteY1" fmla="*/ 6696 h 6696"/>
                      <a:gd name="connsiteX2" fmla="*/ 0 w 4253"/>
                      <a:gd name="connsiteY2" fmla="*/ 4391 h 6696"/>
                      <a:gd name="connsiteX3" fmla="*/ 3238 w 4253"/>
                      <a:gd name="connsiteY3" fmla="*/ 0 h 6696"/>
                      <a:gd name="connsiteX4" fmla="*/ 4254 w 4253"/>
                      <a:gd name="connsiteY4" fmla="*/ 2223 h 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6696">
                        <a:moveTo>
                          <a:pt x="4254" y="2223"/>
                        </a:moveTo>
                        <a:lnTo>
                          <a:pt x="2333" y="6696"/>
                        </a:lnTo>
                        <a:lnTo>
                          <a:pt x="0" y="4391"/>
                        </a:lnTo>
                        <a:lnTo>
                          <a:pt x="3238" y="0"/>
                        </a:lnTo>
                        <a:lnTo>
                          <a:pt x="4254" y="222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1" name="Freeform: Shape 3080">
                    <a:extLst>
                      <a:ext uri="{FF2B5EF4-FFF2-40B4-BE49-F238E27FC236}">
                        <a16:creationId xmlns:a16="http://schemas.microsoft.com/office/drawing/2014/main" id="{264C07A1-19F1-A175-817E-119AD54B01E2}"/>
                      </a:ext>
                    </a:extLst>
                  </p:cNvPr>
                  <p:cNvSpPr/>
                  <p:nvPr/>
                </p:nvSpPr>
                <p:spPr>
                  <a:xfrm>
                    <a:off x="-6474544" y="3174356"/>
                    <a:ext cx="4253" cy="5324"/>
                  </a:xfrm>
                  <a:custGeom>
                    <a:avLst/>
                    <a:gdLst>
                      <a:gd name="connsiteX0" fmla="*/ 4226 w 4253"/>
                      <a:gd name="connsiteY0" fmla="*/ 2333 h 5324"/>
                      <a:gd name="connsiteX1" fmla="*/ 1015 w 4253"/>
                      <a:gd name="connsiteY1" fmla="*/ 5324 h 5324"/>
                      <a:gd name="connsiteX2" fmla="*/ 0 w 4253"/>
                      <a:gd name="connsiteY2" fmla="*/ 2799 h 5324"/>
                      <a:gd name="connsiteX3" fmla="*/ 2991 w 4253"/>
                      <a:gd name="connsiteY3" fmla="*/ 0 h 5324"/>
                      <a:gd name="connsiteX4" fmla="*/ 4254 w 4253"/>
                      <a:gd name="connsiteY4" fmla="*/ 2333 h 5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5324">
                        <a:moveTo>
                          <a:pt x="4226" y="2333"/>
                        </a:moveTo>
                        <a:lnTo>
                          <a:pt x="1015" y="5324"/>
                        </a:lnTo>
                        <a:lnTo>
                          <a:pt x="0" y="2799"/>
                        </a:lnTo>
                        <a:lnTo>
                          <a:pt x="2991" y="0"/>
                        </a:lnTo>
                        <a:lnTo>
                          <a:pt x="4254" y="233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2" name="Freeform: Shape 3081">
                    <a:extLst>
                      <a:ext uri="{FF2B5EF4-FFF2-40B4-BE49-F238E27FC236}">
                        <a16:creationId xmlns:a16="http://schemas.microsoft.com/office/drawing/2014/main" id="{71ACA1BE-9DCC-D57B-C8F4-17869326A8BE}"/>
                      </a:ext>
                    </a:extLst>
                  </p:cNvPr>
                  <p:cNvSpPr/>
                  <p:nvPr/>
                </p:nvSpPr>
                <p:spPr>
                  <a:xfrm>
                    <a:off x="-6471964" y="2873609"/>
                    <a:ext cx="3759" cy="6696"/>
                  </a:xfrm>
                  <a:custGeom>
                    <a:avLst/>
                    <a:gdLst>
                      <a:gd name="connsiteX0" fmla="*/ 3760 w 3759"/>
                      <a:gd name="connsiteY0" fmla="*/ 659 h 6696"/>
                      <a:gd name="connsiteX1" fmla="*/ 2744 w 3759"/>
                      <a:gd name="connsiteY1" fmla="*/ 6696 h 6696"/>
                      <a:gd name="connsiteX2" fmla="*/ 0 w 3759"/>
                      <a:gd name="connsiteY2" fmla="*/ 6339 h 6696"/>
                      <a:gd name="connsiteX3" fmla="*/ 2744 w 3759"/>
                      <a:gd name="connsiteY3" fmla="*/ 0 h 6696"/>
                      <a:gd name="connsiteX4" fmla="*/ 3760 w 3759"/>
                      <a:gd name="connsiteY4" fmla="*/ 631 h 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9" h="6696">
                        <a:moveTo>
                          <a:pt x="3760" y="659"/>
                        </a:moveTo>
                        <a:lnTo>
                          <a:pt x="2744" y="6696"/>
                        </a:lnTo>
                        <a:lnTo>
                          <a:pt x="0" y="6339"/>
                        </a:lnTo>
                        <a:lnTo>
                          <a:pt x="2744" y="0"/>
                        </a:lnTo>
                        <a:lnTo>
                          <a:pt x="3760" y="63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3" name="Freeform: Shape 3082">
                    <a:extLst>
                      <a:ext uri="{FF2B5EF4-FFF2-40B4-BE49-F238E27FC236}">
                        <a16:creationId xmlns:a16="http://schemas.microsoft.com/office/drawing/2014/main" id="{6718EC84-B5AD-13AE-BFE2-DA735E142BE7}"/>
                      </a:ext>
                    </a:extLst>
                  </p:cNvPr>
                  <p:cNvSpPr/>
                  <p:nvPr/>
                </p:nvSpPr>
                <p:spPr>
                  <a:xfrm>
                    <a:off x="-6470290" y="2828931"/>
                    <a:ext cx="4198" cy="6037"/>
                  </a:xfrm>
                  <a:custGeom>
                    <a:avLst/>
                    <a:gdLst>
                      <a:gd name="connsiteX0" fmla="*/ 4199 w 4198"/>
                      <a:gd name="connsiteY0" fmla="*/ 4720 h 6037"/>
                      <a:gd name="connsiteX1" fmla="*/ 2223 w 4198"/>
                      <a:gd name="connsiteY1" fmla="*/ 6038 h 6037"/>
                      <a:gd name="connsiteX2" fmla="*/ 0 w 4198"/>
                      <a:gd name="connsiteY2" fmla="*/ 4611 h 6037"/>
                      <a:gd name="connsiteX3" fmla="*/ 3266 w 4198"/>
                      <a:gd name="connsiteY3" fmla="*/ 0 h 6037"/>
                      <a:gd name="connsiteX4" fmla="*/ 4199 w 4198"/>
                      <a:gd name="connsiteY4" fmla="*/ 4720 h 6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8" h="6037">
                        <a:moveTo>
                          <a:pt x="4199" y="4720"/>
                        </a:moveTo>
                        <a:lnTo>
                          <a:pt x="2223" y="6038"/>
                        </a:lnTo>
                        <a:lnTo>
                          <a:pt x="0" y="4611"/>
                        </a:lnTo>
                        <a:lnTo>
                          <a:pt x="3266" y="0"/>
                        </a:lnTo>
                        <a:lnTo>
                          <a:pt x="4199" y="472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4" name="Freeform: Shape 3083">
                    <a:extLst>
                      <a:ext uri="{FF2B5EF4-FFF2-40B4-BE49-F238E27FC236}">
                        <a16:creationId xmlns:a16="http://schemas.microsoft.com/office/drawing/2014/main" id="{98234831-1D54-5CC5-23C6-DA1EE46BD744}"/>
                      </a:ext>
                    </a:extLst>
                  </p:cNvPr>
                  <p:cNvSpPr/>
                  <p:nvPr/>
                </p:nvSpPr>
                <p:spPr>
                  <a:xfrm>
                    <a:off x="-6349843" y="2646930"/>
                    <a:ext cx="4089" cy="6421"/>
                  </a:xfrm>
                  <a:custGeom>
                    <a:avLst/>
                    <a:gdLst>
                      <a:gd name="connsiteX0" fmla="*/ 4089 w 4089"/>
                      <a:gd name="connsiteY0" fmla="*/ 2881 h 6421"/>
                      <a:gd name="connsiteX1" fmla="*/ 2772 w 4089"/>
                      <a:gd name="connsiteY1" fmla="*/ 6422 h 6421"/>
                      <a:gd name="connsiteX2" fmla="*/ 1400 w 4089"/>
                      <a:gd name="connsiteY2" fmla="*/ 5379 h 6421"/>
                      <a:gd name="connsiteX3" fmla="*/ 0 w 4089"/>
                      <a:gd name="connsiteY3" fmla="*/ 2991 h 6421"/>
                      <a:gd name="connsiteX4" fmla="*/ 1400 w 4089"/>
                      <a:gd name="connsiteY4" fmla="*/ 0 h 6421"/>
                      <a:gd name="connsiteX5" fmla="*/ 4089 w 4089"/>
                      <a:gd name="connsiteY5" fmla="*/ 2881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9" h="6421">
                        <a:moveTo>
                          <a:pt x="4089" y="2881"/>
                        </a:moveTo>
                        <a:lnTo>
                          <a:pt x="2772" y="6422"/>
                        </a:lnTo>
                        <a:lnTo>
                          <a:pt x="1400" y="5379"/>
                        </a:lnTo>
                        <a:lnTo>
                          <a:pt x="0" y="2991"/>
                        </a:lnTo>
                        <a:lnTo>
                          <a:pt x="1400" y="0"/>
                        </a:lnTo>
                        <a:lnTo>
                          <a:pt x="4089" y="288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5" name="Freeform: Shape 3084">
                    <a:extLst>
                      <a:ext uri="{FF2B5EF4-FFF2-40B4-BE49-F238E27FC236}">
                        <a16:creationId xmlns:a16="http://schemas.microsoft.com/office/drawing/2014/main" id="{1EC5C8A9-C97F-6AE8-721D-C8727B51E9A4}"/>
                      </a:ext>
                    </a:extLst>
                  </p:cNvPr>
                  <p:cNvSpPr/>
                  <p:nvPr/>
                </p:nvSpPr>
                <p:spPr>
                  <a:xfrm>
                    <a:off x="-6508656" y="2825995"/>
                    <a:ext cx="4638" cy="4665"/>
                  </a:xfrm>
                  <a:custGeom>
                    <a:avLst/>
                    <a:gdLst>
                      <a:gd name="connsiteX0" fmla="*/ 4638 w 4638"/>
                      <a:gd name="connsiteY0" fmla="*/ 1043 h 4665"/>
                      <a:gd name="connsiteX1" fmla="*/ 2744 w 4638"/>
                      <a:gd name="connsiteY1" fmla="*/ 4665 h 4665"/>
                      <a:gd name="connsiteX2" fmla="*/ 522 w 4638"/>
                      <a:gd name="connsiteY2" fmla="*/ 3567 h 4665"/>
                      <a:gd name="connsiteX3" fmla="*/ 0 w 4638"/>
                      <a:gd name="connsiteY3" fmla="*/ 0 h 4665"/>
                      <a:gd name="connsiteX4" fmla="*/ 4638 w 4638"/>
                      <a:gd name="connsiteY4" fmla="*/ 1043 h 4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 h="4665">
                        <a:moveTo>
                          <a:pt x="4638" y="1043"/>
                        </a:moveTo>
                        <a:lnTo>
                          <a:pt x="2744" y="4665"/>
                        </a:lnTo>
                        <a:lnTo>
                          <a:pt x="522" y="3567"/>
                        </a:lnTo>
                        <a:lnTo>
                          <a:pt x="0" y="0"/>
                        </a:lnTo>
                        <a:lnTo>
                          <a:pt x="4638" y="104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6" name="Freeform: Shape 3085">
                    <a:extLst>
                      <a:ext uri="{FF2B5EF4-FFF2-40B4-BE49-F238E27FC236}">
                        <a16:creationId xmlns:a16="http://schemas.microsoft.com/office/drawing/2014/main" id="{E2EDEFB7-CD78-E7D5-CDFB-ACEBE962B0F2}"/>
                      </a:ext>
                    </a:extLst>
                  </p:cNvPr>
                  <p:cNvSpPr/>
                  <p:nvPr/>
                </p:nvSpPr>
                <p:spPr>
                  <a:xfrm>
                    <a:off x="-6369986" y="2701514"/>
                    <a:ext cx="3156" cy="7190"/>
                  </a:xfrm>
                  <a:custGeom>
                    <a:avLst/>
                    <a:gdLst>
                      <a:gd name="connsiteX0" fmla="*/ 2031 w 3156"/>
                      <a:gd name="connsiteY0" fmla="*/ 7190 h 7190"/>
                      <a:gd name="connsiteX1" fmla="*/ 823 w 3156"/>
                      <a:gd name="connsiteY1" fmla="*/ 7190 h 7190"/>
                      <a:gd name="connsiteX2" fmla="*/ 0 w 3156"/>
                      <a:gd name="connsiteY2" fmla="*/ 2360 h 7190"/>
                      <a:gd name="connsiteX3" fmla="*/ 1784 w 3156"/>
                      <a:gd name="connsiteY3" fmla="*/ 0 h 7190"/>
                      <a:gd name="connsiteX4" fmla="*/ 3156 w 3156"/>
                      <a:gd name="connsiteY4" fmla="*/ 7190 h 7190"/>
                      <a:gd name="connsiteX5" fmla="*/ 2058 w 3156"/>
                      <a:gd name="connsiteY5" fmla="*/ 7190 h 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6" h="7190">
                        <a:moveTo>
                          <a:pt x="2031" y="7190"/>
                        </a:moveTo>
                        <a:lnTo>
                          <a:pt x="823" y="7190"/>
                        </a:lnTo>
                        <a:lnTo>
                          <a:pt x="0" y="2360"/>
                        </a:lnTo>
                        <a:lnTo>
                          <a:pt x="1784" y="0"/>
                        </a:lnTo>
                        <a:lnTo>
                          <a:pt x="3156" y="7190"/>
                        </a:lnTo>
                        <a:lnTo>
                          <a:pt x="2058" y="719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7" name="Freeform: Shape 3086">
                    <a:extLst>
                      <a:ext uri="{FF2B5EF4-FFF2-40B4-BE49-F238E27FC236}">
                        <a16:creationId xmlns:a16="http://schemas.microsoft.com/office/drawing/2014/main" id="{04866893-FDC6-34DA-A359-0055CBD0AB4E}"/>
                      </a:ext>
                    </a:extLst>
                  </p:cNvPr>
                  <p:cNvSpPr/>
                  <p:nvPr/>
                </p:nvSpPr>
                <p:spPr>
                  <a:xfrm>
                    <a:off x="-6363867" y="2698413"/>
                    <a:ext cx="3759" cy="5735"/>
                  </a:xfrm>
                  <a:custGeom>
                    <a:avLst/>
                    <a:gdLst>
                      <a:gd name="connsiteX0" fmla="*/ 3760 w 3759"/>
                      <a:gd name="connsiteY0" fmla="*/ 5214 h 5735"/>
                      <a:gd name="connsiteX1" fmla="*/ 1098 w 3759"/>
                      <a:gd name="connsiteY1" fmla="*/ 5735 h 5735"/>
                      <a:gd name="connsiteX2" fmla="*/ 549 w 3759"/>
                      <a:gd name="connsiteY2" fmla="*/ 4693 h 5735"/>
                      <a:gd name="connsiteX3" fmla="*/ 0 w 3759"/>
                      <a:gd name="connsiteY3" fmla="*/ 1043 h 5735"/>
                      <a:gd name="connsiteX4" fmla="*/ 1070 w 3759"/>
                      <a:gd name="connsiteY4" fmla="*/ 0 h 5735"/>
                      <a:gd name="connsiteX5" fmla="*/ 1839 w 3759"/>
                      <a:gd name="connsiteY5" fmla="*/ 0 h 5735"/>
                      <a:gd name="connsiteX6" fmla="*/ 3705 w 3759"/>
                      <a:gd name="connsiteY6" fmla="*/ 5242 h 5735"/>
                      <a:gd name="connsiteX7" fmla="*/ 3705 w 3759"/>
                      <a:gd name="connsiteY7" fmla="*/ 5242 h 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9" h="5735">
                        <a:moveTo>
                          <a:pt x="3760" y="5214"/>
                        </a:moveTo>
                        <a:lnTo>
                          <a:pt x="1098" y="5735"/>
                        </a:lnTo>
                        <a:lnTo>
                          <a:pt x="549" y="4693"/>
                        </a:lnTo>
                        <a:lnTo>
                          <a:pt x="0" y="1043"/>
                        </a:lnTo>
                        <a:lnTo>
                          <a:pt x="1070" y="0"/>
                        </a:lnTo>
                        <a:lnTo>
                          <a:pt x="1839" y="0"/>
                        </a:lnTo>
                        <a:lnTo>
                          <a:pt x="3705" y="5242"/>
                        </a:lnTo>
                        <a:lnTo>
                          <a:pt x="3705" y="524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8" name="Freeform: Shape 3087">
                    <a:extLst>
                      <a:ext uri="{FF2B5EF4-FFF2-40B4-BE49-F238E27FC236}">
                        <a16:creationId xmlns:a16="http://schemas.microsoft.com/office/drawing/2014/main" id="{07508D48-B97C-9FCA-0144-D09E7DABF120}"/>
                      </a:ext>
                    </a:extLst>
                  </p:cNvPr>
                  <p:cNvSpPr/>
                  <p:nvPr/>
                </p:nvSpPr>
                <p:spPr>
                  <a:xfrm>
                    <a:off x="-6375530" y="2724044"/>
                    <a:ext cx="2964" cy="6833"/>
                  </a:xfrm>
                  <a:custGeom>
                    <a:avLst/>
                    <a:gdLst>
                      <a:gd name="connsiteX0" fmla="*/ 2964 w 2964"/>
                      <a:gd name="connsiteY0" fmla="*/ 1756 h 6833"/>
                      <a:gd name="connsiteX1" fmla="*/ 2607 w 2964"/>
                      <a:gd name="connsiteY1" fmla="*/ 6833 h 6833"/>
                      <a:gd name="connsiteX2" fmla="*/ 796 w 2964"/>
                      <a:gd name="connsiteY2" fmla="*/ 6230 h 6833"/>
                      <a:gd name="connsiteX3" fmla="*/ 0 w 2964"/>
                      <a:gd name="connsiteY3" fmla="*/ 3458 h 6833"/>
                      <a:gd name="connsiteX4" fmla="*/ 1290 w 2964"/>
                      <a:gd name="connsiteY4" fmla="*/ 0 h 6833"/>
                      <a:gd name="connsiteX5" fmla="*/ 2964 w 2964"/>
                      <a:gd name="connsiteY5" fmla="*/ 1756 h 6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4" h="6833">
                        <a:moveTo>
                          <a:pt x="2964" y="1756"/>
                        </a:moveTo>
                        <a:lnTo>
                          <a:pt x="2607" y="6833"/>
                        </a:lnTo>
                        <a:lnTo>
                          <a:pt x="796" y="6230"/>
                        </a:lnTo>
                        <a:lnTo>
                          <a:pt x="0" y="3458"/>
                        </a:lnTo>
                        <a:lnTo>
                          <a:pt x="1290" y="0"/>
                        </a:lnTo>
                        <a:lnTo>
                          <a:pt x="2964" y="175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9" name="Freeform: Shape 3088">
                    <a:extLst>
                      <a:ext uri="{FF2B5EF4-FFF2-40B4-BE49-F238E27FC236}">
                        <a16:creationId xmlns:a16="http://schemas.microsoft.com/office/drawing/2014/main" id="{E395BCCF-7171-C17F-9953-D9F8D7AE4F2B}"/>
                      </a:ext>
                    </a:extLst>
                  </p:cNvPr>
                  <p:cNvSpPr/>
                  <p:nvPr/>
                </p:nvSpPr>
                <p:spPr>
                  <a:xfrm>
                    <a:off x="-6336917" y="2682551"/>
                    <a:ext cx="4225" cy="4747"/>
                  </a:xfrm>
                  <a:custGeom>
                    <a:avLst/>
                    <a:gdLst>
                      <a:gd name="connsiteX0" fmla="*/ 3650 w 4225"/>
                      <a:gd name="connsiteY0" fmla="*/ 4254 h 4747"/>
                      <a:gd name="connsiteX1" fmla="*/ 0 w 4225"/>
                      <a:gd name="connsiteY1" fmla="*/ 4748 h 4747"/>
                      <a:gd name="connsiteX2" fmla="*/ 1455 w 4225"/>
                      <a:gd name="connsiteY2" fmla="*/ 0 h 4747"/>
                      <a:gd name="connsiteX3" fmla="*/ 4226 w 4225"/>
                      <a:gd name="connsiteY3" fmla="*/ 439 h 4747"/>
                      <a:gd name="connsiteX4" fmla="*/ 3650 w 4225"/>
                      <a:gd name="connsiteY4" fmla="*/ 4281 h 4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5" h="4747">
                        <a:moveTo>
                          <a:pt x="3650" y="4254"/>
                        </a:moveTo>
                        <a:lnTo>
                          <a:pt x="0" y="4748"/>
                        </a:lnTo>
                        <a:lnTo>
                          <a:pt x="1455" y="0"/>
                        </a:lnTo>
                        <a:lnTo>
                          <a:pt x="4226" y="439"/>
                        </a:lnTo>
                        <a:lnTo>
                          <a:pt x="3650" y="428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0" name="Freeform: Shape 3089">
                    <a:extLst>
                      <a:ext uri="{FF2B5EF4-FFF2-40B4-BE49-F238E27FC236}">
                        <a16:creationId xmlns:a16="http://schemas.microsoft.com/office/drawing/2014/main" id="{CBB2D449-49ED-E4EA-B3C0-7718AD6A5631}"/>
                      </a:ext>
                    </a:extLst>
                  </p:cNvPr>
                  <p:cNvSpPr/>
                  <p:nvPr/>
                </p:nvSpPr>
                <p:spPr>
                  <a:xfrm>
                    <a:off x="-6376380" y="2695531"/>
                    <a:ext cx="3430" cy="5763"/>
                  </a:xfrm>
                  <a:custGeom>
                    <a:avLst/>
                    <a:gdLst>
                      <a:gd name="connsiteX0" fmla="*/ 2744 w 3430"/>
                      <a:gd name="connsiteY0" fmla="*/ 27 h 5763"/>
                      <a:gd name="connsiteX1" fmla="*/ 3430 w 3430"/>
                      <a:gd name="connsiteY1" fmla="*/ 5763 h 5763"/>
                      <a:gd name="connsiteX2" fmla="*/ 0 w 3430"/>
                      <a:gd name="connsiteY2" fmla="*/ 5351 h 5763"/>
                      <a:gd name="connsiteX3" fmla="*/ 0 w 3430"/>
                      <a:gd name="connsiteY3" fmla="*/ 2442 h 5763"/>
                      <a:gd name="connsiteX4" fmla="*/ 2744 w 3430"/>
                      <a:gd name="connsiteY4" fmla="*/ 0 h 5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5763">
                        <a:moveTo>
                          <a:pt x="2744" y="27"/>
                        </a:moveTo>
                        <a:lnTo>
                          <a:pt x="3430" y="5763"/>
                        </a:lnTo>
                        <a:lnTo>
                          <a:pt x="0" y="5351"/>
                        </a:lnTo>
                        <a:lnTo>
                          <a:pt x="0" y="2442"/>
                        </a:lnTo>
                        <a:lnTo>
                          <a:pt x="2744"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1" name="Freeform: Shape 3090">
                    <a:extLst>
                      <a:ext uri="{FF2B5EF4-FFF2-40B4-BE49-F238E27FC236}">
                        <a16:creationId xmlns:a16="http://schemas.microsoft.com/office/drawing/2014/main" id="{4A656560-F63B-389F-D924-19DBC31EBA02}"/>
                      </a:ext>
                    </a:extLst>
                  </p:cNvPr>
                  <p:cNvSpPr/>
                  <p:nvPr/>
                </p:nvSpPr>
                <p:spPr>
                  <a:xfrm>
                    <a:off x="-6418423" y="2708759"/>
                    <a:ext cx="3897" cy="4994"/>
                  </a:xfrm>
                  <a:custGeom>
                    <a:avLst/>
                    <a:gdLst>
                      <a:gd name="connsiteX0" fmla="*/ 3897 w 3897"/>
                      <a:gd name="connsiteY0" fmla="*/ 2991 h 4994"/>
                      <a:gd name="connsiteX1" fmla="*/ 2113 w 3897"/>
                      <a:gd name="connsiteY1" fmla="*/ 4995 h 4994"/>
                      <a:gd name="connsiteX2" fmla="*/ 0 w 3897"/>
                      <a:gd name="connsiteY2" fmla="*/ 4281 h 4994"/>
                      <a:gd name="connsiteX3" fmla="*/ 796 w 3897"/>
                      <a:gd name="connsiteY3" fmla="*/ 494 h 4994"/>
                      <a:gd name="connsiteX4" fmla="*/ 3376 w 3897"/>
                      <a:gd name="connsiteY4" fmla="*/ 0 h 4994"/>
                      <a:gd name="connsiteX5" fmla="*/ 3897 w 3897"/>
                      <a:gd name="connsiteY5" fmla="*/ 2991 h 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7" h="4994">
                        <a:moveTo>
                          <a:pt x="3897" y="2991"/>
                        </a:moveTo>
                        <a:lnTo>
                          <a:pt x="2113" y="4995"/>
                        </a:lnTo>
                        <a:lnTo>
                          <a:pt x="0" y="4281"/>
                        </a:lnTo>
                        <a:lnTo>
                          <a:pt x="796" y="494"/>
                        </a:lnTo>
                        <a:lnTo>
                          <a:pt x="3376" y="0"/>
                        </a:lnTo>
                        <a:lnTo>
                          <a:pt x="3897" y="299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2" name="Freeform: Shape 3091">
                    <a:extLst>
                      <a:ext uri="{FF2B5EF4-FFF2-40B4-BE49-F238E27FC236}">
                        <a16:creationId xmlns:a16="http://schemas.microsoft.com/office/drawing/2014/main" id="{EA7A8BAD-68BB-8DF4-626C-F9B2A58E28EE}"/>
                      </a:ext>
                    </a:extLst>
                  </p:cNvPr>
                  <p:cNvSpPr/>
                  <p:nvPr/>
                </p:nvSpPr>
                <p:spPr>
                  <a:xfrm>
                    <a:off x="-6364388" y="2708320"/>
                    <a:ext cx="3210" cy="4692"/>
                  </a:xfrm>
                  <a:custGeom>
                    <a:avLst/>
                    <a:gdLst>
                      <a:gd name="connsiteX0" fmla="*/ 1619 w 3210"/>
                      <a:gd name="connsiteY0" fmla="*/ 4693 h 4692"/>
                      <a:gd name="connsiteX1" fmla="*/ 0 w 3210"/>
                      <a:gd name="connsiteY1" fmla="*/ 4693 h 4692"/>
                      <a:gd name="connsiteX2" fmla="*/ 274 w 3210"/>
                      <a:gd name="connsiteY2" fmla="*/ 1043 h 4692"/>
                      <a:gd name="connsiteX3" fmla="*/ 1619 w 3210"/>
                      <a:gd name="connsiteY3" fmla="*/ 0 h 4692"/>
                      <a:gd name="connsiteX4" fmla="*/ 2662 w 3210"/>
                      <a:gd name="connsiteY4" fmla="*/ 0 h 4692"/>
                      <a:gd name="connsiteX5" fmla="*/ 3211 w 3210"/>
                      <a:gd name="connsiteY5" fmla="*/ 2086 h 4692"/>
                      <a:gd name="connsiteX6" fmla="*/ 1619 w 3210"/>
                      <a:gd name="connsiteY6" fmla="*/ 4693 h 4692"/>
                      <a:gd name="connsiteX7" fmla="*/ 1619 w 3210"/>
                      <a:gd name="connsiteY7" fmla="*/ 4693 h 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0" h="4692">
                        <a:moveTo>
                          <a:pt x="1619" y="4693"/>
                        </a:moveTo>
                        <a:lnTo>
                          <a:pt x="0" y="4693"/>
                        </a:lnTo>
                        <a:lnTo>
                          <a:pt x="274" y="1043"/>
                        </a:lnTo>
                        <a:lnTo>
                          <a:pt x="1619" y="0"/>
                        </a:lnTo>
                        <a:lnTo>
                          <a:pt x="2662" y="0"/>
                        </a:lnTo>
                        <a:lnTo>
                          <a:pt x="3211" y="2086"/>
                        </a:lnTo>
                        <a:lnTo>
                          <a:pt x="1619" y="4693"/>
                        </a:lnTo>
                        <a:lnTo>
                          <a:pt x="1619" y="469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3" name="Freeform: Shape 3092">
                    <a:extLst>
                      <a:ext uri="{FF2B5EF4-FFF2-40B4-BE49-F238E27FC236}">
                        <a16:creationId xmlns:a16="http://schemas.microsoft.com/office/drawing/2014/main" id="{472ECD51-DF6B-B0D9-92F7-DD7ADAD508E9}"/>
                      </a:ext>
                    </a:extLst>
                  </p:cNvPr>
                  <p:cNvSpPr/>
                  <p:nvPr/>
                </p:nvSpPr>
                <p:spPr>
                  <a:xfrm>
                    <a:off x="-5704329" y="2917984"/>
                    <a:ext cx="89985" cy="48820"/>
                  </a:xfrm>
                  <a:custGeom>
                    <a:avLst/>
                    <a:gdLst>
                      <a:gd name="connsiteX0" fmla="*/ 6476 w 89985"/>
                      <a:gd name="connsiteY0" fmla="*/ 19621 h 48820"/>
                      <a:gd name="connsiteX1" fmla="*/ 39216 w 89985"/>
                      <a:gd name="connsiteY1" fmla="*/ 17454 h 48820"/>
                      <a:gd name="connsiteX2" fmla="*/ 41576 w 89985"/>
                      <a:gd name="connsiteY2" fmla="*/ 13667 h 48820"/>
                      <a:gd name="connsiteX3" fmla="*/ 43223 w 89985"/>
                      <a:gd name="connsiteY3" fmla="*/ 1729 h 48820"/>
                      <a:gd name="connsiteX4" fmla="*/ 46351 w 89985"/>
                      <a:gd name="connsiteY4" fmla="*/ 0 h 48820"/>
                      <a:gd name="connsiteX5" fmla="*/ 54310 w 89985"/>
                      <a:gd name="connsiteY5" fmla="*/ 5132 h 48820"/>
                      <a:gd name="connsiteX6" fmla="*/ 66933 w 89985"/>
                      <a:gd name="connsiteY6" fmla="*/ 12239 h 48820"/>
                      <a:gd name="connsiteX7" fmla="*/ 81889 w 89985"/>
                      <a:gd name="connsiteY7" fmla="*/ 10757 h 48820"/>
                      <a:gd name="connsiteX8" fmla="*/ 89986 w 89985"/>
                      <a:gd name="connsiteY8" fmla="*/ 23656 h 48820"/>
                      <a:gd name="connsiteX9" fmla="*/ 84963 w 89985"/>
                      <a:gd name="connsiteY9" fmla="*/ 36499 h 48820"/>
                      <a:gd name="connsiteX10" fmla="*/ 87872 w 89985"/>
                      <a:gd name="connsiteY10" fmla="*/ 46763 h 48820"/>
                      <a:gd name="connsiteX11" fmla="*/ 51620 w 89985"/>
                      <a:gd name="connsiteY11" fmla="*/ 48821 h 48820"/>
                      <a:gd name="connsiteX12" fmla="*/ 14984 w 89985"/>
                      <a:gd name="connsiteY12" fmla="*/ 44787 h 48820"/>
                      <a:gd name="connsiteX13" fmla="*/ 0 w 89985"/>
                      <a:gd name="connsiteY13" fmla="*/ 42756 h 48820"/>
                      <a:gd name="connsiteX14" fmla="*/ 11334 w 89985"/>
                      <a:gd name="connsiteY14" fmla="*/ 32959 h 48820"/>
                      <a:gd name="connsiteX15" fmla="*/ 6120 w 89985"/>
                      <a:gd name="connsiteY15" fmla="*/ 26757 h 48820"/>
                      <a:gd name="connsiteX16" fmla="*/ 6476 w 89985"/>
                      <a:gd name="connsiteY16" fmla="*/ 19621 h 4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985" h="48820">
                        <a:moveTo>
                          <a:pt x="6476" y="19621"/>
                        </a:moveTo>
                        <a:lnTo>
                          <a:pt x="39216" y="17454"/>
                        </a:lnTo>
                        <a:lnTo>
                          <a:pt x="41576" y="13667"/>
                        </a:lnTo>
                        <a:lnTo>
                          <a:pt x="43223" y="1729"/>
                        </a:lnTo>
                        <a:lnTo>
                          <a:pt x="46351" y="0"/>
                        </a:lnTo>
                        <a:lnTo>
                          <a:pt x="54310" y="5132"/>
                        </a:lnTo>
                        <a:lnTo>
                          <a:pt x="66933" y="12239"/>
                        </a:lnTo>
                        <a:lnTo>
                          <a:pt x="81889" y="10757"/>
                        </a:lnTo>
                        <a:lnTo>
                          <a:pt x="89986" y="23656"/>
                        </a:lnTo>
                        <a:lnTo>
                          <a:pt x="84963" y="36499"/>
                        </a:lnTo>
                        <a:lnTo>
                          <a:pt x="87872" y="46763"/>
                        </a:lnTo>
                        <a:lnTo>
                          <a:pt x="51620" y="48821"/>
                        </a:lnTo>
                        <a:lnTo>
                          <a:pt x="14984" y="44787"/>
                        </a:lnTo>
                        <a:lnTo>
                          <a:pt x="0" y="42756"/>
                        </a:lnTo>
                        <a:lnTo>
                          <a:pt x="11334" y="32959"/>
                        </a:lnTo>
                        <a:lnTo>
                          <a:pt x="6120" y="26757"/>
                        </a:lnTo>
                        <a:lnTo>
                          <a:pt x="6476" y="1962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4" name="Freeform: Shape 3093">
                    <a:extLst>
                      <a:ext uri="{FF2B5EF4-FFF2-40B4-BE49-F238E27FC236}">
                        <a16:creationId xmlns:a16="http://schemas.microsoft.com/office/drawing/2014/main" id="{0D0E715A-B157-E8A7-AA60-C4E0EE86349B}"/>
                      </a:ext>
                    </a:extLst>
                  </p:cNvPr>
                  <p:cNvSpPr/>
                  <p:nvPr/>
                </p:nvSpPr>
                <p:spPr>
                  <a:xfrm>
                    <a:off x="-5702957" y="2947595"/>
                    <a:ext cx="4116" cy="4445"/>
                  </a:xfrm>
                  <a:custGeom>
                    <a:avLst/>
                    <a:gdLst>
                      <a:gd name="connsiteX0" fmla="*/ 0 w 4116"/>
                      <a:gd name="connsiteY0" fmla="*/ 2580 h 4445"/>
                      <a:gd name="connsiteX1" fmla="*/ 1729 w 4116"/>
                      <a:gd name="connsiteY1" fmla="*/ 0 h 4445"/>
                      <a:gd name="connsiteX2" fmla="*/ 3293 w 4116"/>
                      <a:gd name="connsiteY2" fmla="*/ 412 h 4445"/>
                      <a:gd name="connsiteX3" fmla="*/ 4116 w 4116"/>
                      <a:gd name="connsiteY3" fmla="*/ 3815 h 4445"/>
                      <a:gd name="connsiteX4" fmla="*/ 1043 w 4116"/>
                      <a:gd name="connsiteY4" fmla="*/ 4446 h 4445"/>
                      <a:gd name="connsiteX5" fmla="*/ 27 w 4116"/>
                      <a:gd name="connsiteY5" fmla="*/ 2580 h 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6" h="4445">
                        <a:moveTo>
                          <a:pt x="0" y="2580"/>
                        </a:moveTo>
                        <a:lnTo>
                          <a:pt x="1729" y="0"/>
                        </a:lnTo>
                        <a:lnTo>
                          <a:pt x="3293" y="412"/>
                        </a:lnTo>
                        <a:lnTo>
                          <a:pt x="4116" y="3815"/>
                        </a:lnTo>
                        <a:lnTo>
                          <a:pt x="1043" y="4446"/>
                        </a:lnTo>
                        <a:lnTo>
                          <a:pt x="27" y="258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5" name="Freeform: Shape 3094">
                    <a:extLst>
                      <a:ext uri="{FF2B5EF4-FFF2-40B4-BE49-F238E27FC236}">
                        <a16:creationId xmlns:a16="http://schemas.microsoft.com/office/drawing/2014/main" id="{AC246291-B534-5C12-CF27-DB9E6D1C28E6}"/>
                      </a:ext>
                    </a:extLst>
                  </p:cNvPr>
                  <p:cNvSpPr/>
                  <p:nvPr/>
                </p:nvSpPr>
                <p:spPr>
                  <a:xfrm>
                    <a:off x="-5959384" y="2031850"/>
                    <a:ext cx="383021" cy="882456"/>
                  </a:xfrm>
                  <a:custGeom>
                    <a:avLst/>
                    <a:gdLst>
                      <a:gd name="connsiteX0" fmla="*/ 330194 w 383021"/>
                      <a:gd name="connsiteY0" fmla="*/ 47806 h 882456"/>
                      <a:gd name="connsiteX1" fmla="*/ 350420 w 383021"/>
                      <a:gd name="connsiteY1" fmla="*/ 61390 h 882456"/>
                      <a:gd name="connsiteX2" fmla="*/ 353932 w 383021"/>
                      <a:gd name="connsiteY2" fmla="*/ 73575 h 882456"/>
                      <a:gd name="connsiteX3" fmla="*/ 357747 w 383021"/>
                      <a:gd name="connsiteY3" fmla="*/ 74563 h 882456"/>
                      <a:gd name="connsiteX4" fmla="*/ 366940 w 383021"/>
                      <a:gd name="connsiteY4" fmla="*/ 87653 h 882456"/>
                      <a:gd name="connsiteX5" fmla="*/ 367379 w 383021"/>
                      <a:gd name="connsiteY5" fmla="*/ 91522 h 882456"/>
                      <a:gd name="connsiteX6" fmla="*/ 363345 w 383021"/>
                      <a:gd name="connsiteY6" fmla="*/ 98959 h 882456"/>
                      <a:gd name="connsiteX7" fmla="*/ 364882 w 383021"/>
                      <a:gd name="connsiteY7" fmla="*/ 116989 h 882456"/>
                      <a:gd name="connsiteX8" fmla="*/ 361534 w 383021"/>
                      <a:gd name="connsiteY8" fmla="*/ 125442 h 882456"/>
                      <a:gd name="connsiteX9" fmla="*/ 370727 w 383021"/>
                      <a:gd name="connsiteY9" fmla="*/ 129970 h 882456"/>
                      <a:gd name="connsiteX10" fmla="*/ 370426 w 383021"/>
                      <a:gd name="connsiteY10" fmla="*/ 139136 h 882456"/>
                      <a:gd name="connsiteX11" fmla="*/ 366556 w 383021"/>
                      <a:gd name="connsiteY11" fmla="*/ 142511 h 882456"/>
                      <a:gd name="connsiteX12" fmla="*/ 365678 w 383021"/>
                      <a:gd name="connsiteY12" fmla="*/ 148027 h 882456"/>
                      <a:gd name="connsiteX13" fmla="*/ 377505 w 383021"/>
                      <a:gd name="connsiteY13" fmla="*/ 174510 h 882456"/>
                      <a:gd name="connsiteX14" fmla="*/ 374515 w 383021"/>
                      <a:gd name="connsiteY14" fmla="*/ 194378 h 882456"/>
                      <a:gd name="connsiteX15" fmla="*/ 368944 w 383021"/>
                      <a:gd name="connsiteY15" fmla="*/ 202474 h 882456"/>
                      <a:gd name="connsiteX16" fmla="*/ 368614 w 383021"/>
                      <a:gd name="connsiteY16" fmla="*/ 214933 h 882456"/>
                      <a:gd name="connsiteX17" fmla="*/ 370672 w 383021"/>
                      <a:gd name="connsiteY17" fmla="*/ 221300 h 882456"/>
                      <a:gd name="connsiteX18" fmla="*/ 375804 w 383021"/>
                      <a:gd name="connsiteY18" fmla="*/ 225444 h 882456"/>
                      <a:gd name="connsiteX19" fmla="*/ 381897 w 383021"/>
                      <a:gd name="connsiteY19" fmla="*/ 241773 h 882456"/>
                      <a:gd name="connsiteX20" fmla="*/ 383022 w 383021"/>
                      <a:gd name="connsiteY20" fmla="*/ 249292 h 882456"/>
                      <a:gd name="connsiteX21" fmla="*/ 368944 w 383021"/>
                      <a:gd name="connsiteY21" fmla="*/ 249292 h 882456"/>
                      <a:gd name="connsiteX22" fmla="*/ 352944 w 383021"/>
                      <a:gd name="connsiteY22" fmla="*/ 255110 h 882456"/>
                      <a:gd name="connsiteX23" fmla="*/ 343367 w 383021"/>
                      <a:gd name="connsiteY23" fmla="*/ 248469 h 882456"/>
                      <a:gd name="connsiteX24" fmla="*/ 341418 w 383021"/>
                      <a:gd name="connsiteY24" fmla="*/ 254781 h 882456"/>
                      <a:gd name="connsiteX25" fmla="*/ 331511 w 383021"/>
                      <a:gd name="connsiteY25" fmla="*/ 249127 h 882456"/>
                      <a:gd name="connsiteX26" fmla="*/ 329261 w 383021"/>
                      <a:gd name="connsiteY26" fmla="*/ 263645 h 882456"/>
                      <a:gd name="connsiteX27" fmla="*/ 324925 w 383021"/>
                      <a:gd name="connsiteY27" fmla="*/ 273826 h 882456"/>
                      <a:gd name="connsiteX28" fmla="*/ 318888 w 383021"/>
                      <a:gd name="connsiteY28" fmla="*/ 273414 h 882456"/>
                      <a:gd name="connsiteX29" fmla="*/ 315951 w 383021"/>
                      <a:gd name="connsiteY29" fmla="*/ 288096 h 882456"/>
                      <a:gd name="connsiteX30" fmla="*/ 310243 w 383021"/>
                      <a:gd name="connsiteY30" fmla="*/ 284666 h 882456"/>
                      <a:gd name="connsiteX31" fmla="*/ 305385 w 383021"/>
                      <a:gd name="connsiteY31" fmla="*/ 301790 h 882456"/>
                      <a:gd name="connsiteX32" fmla="*/ 294628 w 383021"/>
                      <a:gd name="connsiteY32" fmla="*/ 320754 h 882456"/>
                      <a:gd name="connsiteX33" fmla="*/ 297729 w 383021"/>
                      <a:gd name="connsiteY33" fmla="*/ 332828 h 882456"/>
                      <a:gd name="connsiteX34" fmla="*/ 303876 w 383021"/>
                      <a:gd name="connsiteY34" fmla="*/ 343174 h 882456"/>
                      <a:gd name="connsiteX35" fmla="*/ 303739 w 383021"/>
                      <a:gd name="connsiteY35" fmla="*/ 348169 h 882456"/>
                      <a:gd name="connsiteX36" fmla="*/ 291088 w 383021"/>
                      <a:gd name="connsiteY36" fmla="*/ 364113 h 882456"/>
                      <a:gd name="connsiteX37" fmla="*/ 277092 w 383021"/>
                      <a:gd name="connsiteY37" fmla="*/ 392160 h 882456"/>
                      <a:gd name="connsiteX38" fmla="*/ 261614 w 383021"/>
                      <a:gd name="connsiteY38" fmla="*/ 398939 h 882456"/>
                      <a:gd name="connsiteX39" fmla="*/ 253298 w 383021"/>
                      <a:gd name="connsiteY39" fmla="*/ 409559 h 882456"/>
                      <a:gd name="connsiteX40" fmla="*/ 252283 w 383021"/>
                      <a:gd name="connsiteY40" fmla="*/ 410849 h 882456"/>
                      <a:gd name="connsiteX41" fmla="*/ 250418 w 383021"/>
                      <a:gd name="connsiteY41" fmla="*/ 409559 h 882456"/>
                      <a:gd name="connsiteX42" fmla="*/ 246685 w 383021"/>
                      <a:gd name="connsiteY42" fmla="*/ 406924 h 882456"/>
                      <a:gd name="connsiteX43" fmla="*/ 245999 w 383021"/>
                      <a:gd name="connsiteY43" fmla="*/ 409559 h 882456"/>
                      <a:gd name="connsiteX44" fmla="*/ 245175 w 383021"/>
                      <a:gd name="connsiteY44" fmla="*/ 412550 h 882456"/>
                      <a:gd name="connsiteX45" fmla="*/ 239879 w 383021"/>
                      <a:gd name="connsiteY45" fmla="*/ 410574 h 882456"/>
                      <a:gd name="connsiteX46" fmla="*/ 238177 w 383021"/>
                      <a:gd name="connsiteY46" fmla="*/ 415679 h 882456"/>
                      <a:gd name="connsiteX47" fmla="*/ 236174 w 383021"/>
                      <a:gd name="connsiteY47" fmla="*/ 421826 h 882456"/>
                      <a:gd name="connsiteX48" fmla="*/ 231344 w 383021"/>
                      <a:gd name="connsiteY48" fmla="*/ 427177 h 882456"/>
                      <a:gd name="connsiteX49" fmla="*/ 223797 w 383021"/>
                      <a:gd name="connsiteY49" fmla="*/ 423939 h 882456"/>
                      <a:gd name="connsiteX50" fmla="*/ 224154 w 383021"/>
                      <a:gd name="connsiteY50" fmla="*/ 428934 h 882456"/>
                      <a:gd name="connsiteX51" fmla="*/ 217705 w 383021"/>
                      <a:gd name="connsiteY51" fmla="*/ 435794 h 882456"/>
                      <a:gd name="connsiteX52" fmla="*/ 213561 w 383021"/>
                      <a:gd name="connsiteY52" fmla="*/ 449982 h 882456"/>
                      <a:gd name="connsiteX53" fmla="*/ 207579 w 383021"/>
                      <a:gd name="connsiteY53" fmla="*/ 455361 h 882456"/>
                      <a:gd name="connsiteX54" fmla="*/ 203710 w 383021"/>
                      <a:gd name="connsiteY54" fmla="*/ 465845 h 882456"/>
                      <a:gd name="connsiteX55" fmla="*/ 186558 w 383021"/>
                      <a:gd name="connsiteY55" fmla="*/ 482310 h 882456"/>
                      <a:gd name="connsiteX56" fmla="*/ 189329 w 383021"/>
                      <a:gd name="connsiteY56" fmla="*/ 491229 h 882456"/>
                      <a:gd name="connsiteX57" fmla="*/ 187024 w 383021"/>
                      <a:gd name="connsiteY57" fmla="*/ 496361 h 882456"/>
                      <a:gd name="connsiteX58" fmla="*/ 183100 w 383021"/>
                      <a:gd name="connsiteY58" fmla="*/ 513760 h 882456"/>
                      <a:gd name="connsiteX59" fmla="*/ 186914 w 383021"/>
                      <a:gd name="connsiteY59" fmla="*/ 525451 h 882456"/>
                      <a:gd name="connsiteX60" fmla="*/ 185240 w 383021"/>
                      <a:gd name="connsiteY60" fmla="*/ 527509 h 882456"/>
                      <a:gd name="connsiteX61" fmla="*/ 180246 w 383021"/>
                      <a:gd name="connsiteY61" fmla="*/ 524408 h 882456"/>
                      <a:gd name="connsiteX62" fmla="*/ 175964 w 383021"/>
                      <a:gd name="connsiteY62" fmla="*/ 533354 h 882456"/>
                      <a:gd name="connsiteX63" fmla="*/ 177885 w 383021"/>
                      <a:gd name="connsiteY63" fmla="*/ 562334 h 882456"/>
                      <a:gd name="connsiteX64" fmla="*/ 183484 w 383021"/>
                      <a:gd name="connsiteY64" fmla="*/ 587472 h 882456"/>
                      <a:gd name="connsiteX65" fmla="*/ 189576 w 383021"/>
                      <a:gd name="connsiteY65" fmla="*/ 588981 h 882456"/>
                      <a:gd name="connsiteX66" fmla="*/ 192430 w 383021"/>
                      <a:gd name="connsiteY66" fmla="*/ 593729 h 882456"/>
                      <a:gd name="connsiteX67" fmla="*/ 200910 w 383021"/>
                      <a:gd name="connsiteY67" fmla="*/ 589914 h 882456"/>
                      <a:gd name="connsiteX68" fmla="*/ 204478 w 383021"/>
                      <a:gd name="connsiteY68" fmla="*/ 599300 h 882456"/>
                      <a:gd name="connsiteX69" fmla="*/ 211558 w 383021"/>
                      <a:gd name="connsiteY69" fmla="*/ 604953 h 882456"/>
                      <a:gd name="connsiteX70" fmla="*/ 215071 w 383021"/>
                      <a:gd name="connsiteY70" fmla="*/ 598175 h 882456"/>
                      <a:gd name="connsiteX71" fmla="*/ 220065 w 383021"/>
                      <a:gd name="connsiteY71" fmla="*/ 607972 h 882456"/>
                      <a:gd name="connsiteX72" fmla="*/ 217101 w 383021"/>
                      <a:gd name="connsiteY72" fmla="*/ 617604 h 882456"/>
                      <a:gd name="connsiteX73" fmla="*/ 221547 w 383021"/>
                      <a:gd name="connsiteY73" fmla="*/ 618098 h 882456"/>
                      <a:gd name="connsiteX74" fmla="*/ 224319 w 383021"/>
                      <a:gd name="connsiteY74" fmla="*/ 614311 h 882456"/>
                      <a:gd name="connsiteX75" fmla="*/ 229204 w 383021"/>
                      <a:gd name="connsiteY75" fmla="*/ 629020 h 882456"/>
                      <a:gd name="connsiteX76" fmla="*/ 235351 w 383021"/>
                      <a:gd name="connsiteY76" fmla="*/ 635936 h 882456"/>
                      <a:gd name="connsiteX77" fmla="*/ 234994 w 383021"/>
                      <a:gd name="connsiteY77" fmla="*/ 641836 h 882456"/>
                      <a:gd name="connsiteX78" fmla="*/ 226158 w 383021"/>
                      <a:gd name="connsiteY78" fmla="*/ 646200 h 882456"/>
                      <a:gd name="connsiteX79" fmla="*/ 224923 w 383021"/>
                      <a:gd name="connsiteY79" fmla="*/ 664257 h 882456"/>
                      <a:gd name="connsiteX80" fmla="*/ 226295 w 383021"/>
                      <a:gd name="connsiteY80" fmla="*/ 665163 h 882456"/>
                      <a:gd name="connsiteX81" fmla="*/ 229122 w 383021"/>
                      <a:gd name="connsiteY81" fmla="*/ 658522 h 882456"/>
                      <a:gd name="connsiteX82" fmla="*/ 229780 w 383021"/>
                      <a:gd name="connsiteY82" fmla="*/ 663379 h 882456"/>
                      <a:gd name="connsiteX83" fmla="*/ 217623 w 383021"/>
                      <a:gd name="connsiteY83" fmla="*/ 682040 h 882456"/>
                      <a:gd name="connsiteX84" fmla="*/ 209774 w 383021"/>
                      <a:gd name="connsiteY84" fmla="*/ 680257 h 882456"/>
                      <a:gd name="connsiteX85" fmla="*/ 197974 w 383021"/>
                      <a:gd name="connsiteY85" fmla="*/ 693292 h 882456"/>
                      <a:gd name="connsiteX86" fmla="*/ 189412 w 383021"/>
                      <a:gd name="connsiteY86" fmla="*/ 687035 h 882456"/>
                      <a:gd name="connsiteX87" fmla="*/ 189686 w 383021"/>
                      <a:gd name="connsiteY87" fmla="*/ 692057 h 882456"/>
                      <a:gd name="connsiteX88" fmla="*/ 187435 w 383021"/>
                      <a:gd name="connsiteY88" fmla="*/ 697765 h 882456"/>
                      <a:gd name="connsiteX89" fmla="*/ 178928 w 383021"/>
                      <a:gd name="connsiteY89" fmla="*/ 700235 h 882456"/>
                      <a:gd name="connsiteX90" fmla="*/ 178928 w 383021"/>
                      <a:gd name="connsiteY90" fmla="*/ 705120 h 882456"/>
                      <a:gd name="connsiteX91" fmla="*/ 174647 w 383021"/>
                      <a:gd name="connsiteY91" fmla="*/ 702924 h 882456"/>
                      <a:gd name="connsiteX92" fmla="*/ 165234 w 383021"/>
                      <a:gd name="connsiteY92" fmla="*/ 705422 h 882456"/>
                      <a:gd name="connsiteX93" fmla="*/ 169762 w 383021"/>
                      <a:gd name="connsiteY93" fmla="*/ 711349 h 882456"/>
                      <a:gd name="connsiteX94" fmla="*/ 171738 w 383021"/>
                      <a:gd name="connsiteY94" fmla="*/ 717606 h 882456"/>
                      <a:gd name="connsiteX95" fmla="*/ 170229 w 383021"/>
                      <a:gd name="connsiteY95" fmla="*/ 721421 h 882456"/>
                      <a:gd name="connsiteX96" fmla="*/ 172534 w 383021"/>
                      <a:gd name="connsiteY96" fmla="*/ 727486 h 882456"/>
                      <a:gd name="connsiteX97" fmla="*/ 162737 w 383021"/>
                      <a:gd name="connsiteY97" fmla="*/ 740741 h 882456"/>
                      <a:gd name="connsiteX98" fmla="*/ 166881 w 383021"/>
                      <a:gd name="connsiteY98" fmla="*/ 744199 h 882456"/>
                      <a:gd name="connsiteX99" fmla="*/ 164548 w 383021"/>
                      <a:gd name="connsiteY99" fmla="*/ 752596 h 882456"/>
                      <a:gd name="connsiteX100" fmla="*/ 164850 w 383021"/>
                      <a:gd name="connsiteY100" fmla="*/ 766757 h 882456"/>
                      <a:gd name="connsiteX101" fmla="*/ 157550 w 383021"/>
                      <a:gd name="connsiteY101" fmla="*/ 784952 h 882456"/>
                      <a:gd name="connsiteX102" fmla="*/ 159389 w 383021"/>
                      <a:gd name="connsiteY102" fmla="*/ 789260 h 882456"/>
                      <a:gd name="connsiteX103" fmla="*/ 156343 w 383021"/>
                      <a:gd name="connsiteY103" fmla="*/ 796313 h 882456"/>
                      <a:gd name="connsiteX104" fmla="*/ 153544 w 383021"/>
                      <a:gd name="connsiteY104" fmla="*/ 812093 h 882456"/>
                      <a:gd name="connsiteX105" fmla="*/ 145036 w 383021"/>
                      <a:gd name="connsiteY105" fmla="*/ 831138 h 882456"/>
                      <a:gd name="connsiteX106" fmla="*/ 143691 w 383021"/>
                      <a:gd name="connsiteY106" fmla="*/ 836489 h 882456"/>
                      <a:gd name="connsiteX107" fmla="*/ 136968 w 383021"/>
                      <a:gd name="connsiteY107" fmla="*/ 845079 h 882456"/>
                      <a:gd name="connsiteX108" fmla="*/ 131507 w 383021"/>
                      <a:gd name="connsiteY108" fmla="*/ 838712 h 882456"/>
                      <a:gd name="connsiteX109" fmla="*/ 123878 w 383021"/>
                      <a:gd name="connsiteY109" fmla="*/ 841786 h 882456"/>
                      <a:gd name="connsiteX110" fmla="*/ 106698 w 383021"/>
                      <a:gd name="connsiteY110" fmla="*/ 841100 h 882456"/>
                      <a:gd name="connsiteX111" fmla="*/ 104393 w 383021"/>
                      <a:gd name="connsiteY111" fmla="*/ 847906 h 882456"/>
                      <a:gd name="connsiteX112" fmla="*/ 100359 w 383021"/>
                      <a:gd name="connsiteY112" fmla="*/ 845244 h 882456"/>
                      <a:gd name="connsiteX113" fmla="*/ 91166 w 383021"/>
                      <a:gd name="connsiteY113" fmla="*/ 857319 h 882456"/>
                      <a:gd name="connsiteX114" fmla="*/ 90809 w 383021"/>
                      <a:gd name="connsiteY114" fmla="*/ 862505 h 882456"/>
                      <a:gd name="connsiteX115" fmla="*/ 93745 w 383021"/>
                      <a:gd name="connsiteY115" fmla="*/ 871726 h 882456"/>
                      <a:gd name="connsiteX116" fmla="*/ 90205 w 383021"/>
                      <a:gd name="connsiteY116" fmla="*/ 879081 h 882456"/>
                      <a:gd name="connsiteX117" fmla="*/ 75935 w 383021"/>
                      <a:gd name="connsiteY117" fmla="*/ 878834 h 882456"/>
                      <a:gd name="connsiteX118" fmla="*/ 64903 w 383021"/>
                      <a:gd name="connsiteY118" fmla="*/ 882456 h 882456"/>
                      <a:gd name="connsiteX119" fmla="*/ 55600 w 383021"/>
                      <a:gd name="connsiteY119" fmla="*/ 879383 h 882456"/>
                      <a:gd name="connsiteX120" fmla="*/ 52773 w 383021"/>
                      <a:gd name="connsiteY120" fmla="*/ 872522 h 882456"/>
                      <a:gd name="connsiteX121" fmla="*/ 55298 w 383021"/>
                      <a:gd name="connsiteY121" fmla="*/ 863932 h 882456"/>
                      <a:gd name="connsiteX122" fmla="*/ 41604 w 383021"/>
                      <a:gd name="connsiteY122" fmla="*/ 836572 h 882456"/>
                      <a:gd name="connsiteX123" fmla="*/ 48300 w 383021"/>
                      <a:gd name="connsiteY123" fmla="*/ 835611 h 882456"/>
                      <a:gd name="connsiteX124" fmla="*/ 46214 w 383021"/>
                      <a:gd name="connsiteY124" fmla="*/ 826445 h 882456"/>
                      <a:gd name="connsiteX125" fmla="*/ 51922 w 383021"/>
                      <a:gd name="connsiteY125" fmla="*/ 824689 h 882456"/>
                      <a:gd name="connsiteX126" fmla="*/ 52032 w 383021"/>
                      <a:gd name="connsiteY126" fmla="*/ 815605 h 882456"/>
                      <a:gd name="connsiteX127" fmla="*/ 47092 w 383021"/>
                      <a:gd name="connsiteY127" fmla="*/ 812833 h 882456"/>
                      <a:gd name="connsiteX128" fmla="*/ 42180 w 383021"/>
                      <a:gd name="connsiteY128" fmla="*/ 803668 h 882456"/>
                      <a:gd name="connsiteX129" fmla="*/ 36609 w 383021"/>
                      <a:gd name="connsiteY129" fmla="*/ 799112 h 882456"/>
                      <a:gd name="connsiteX130" fmla="*/ 32136 w 383021"/>
                      <a:gd name="connsiteY130" fmla="*/ 786378 h 882456"/>
                      <a:gd name="connsiteX131" fmla="*/ 29474 w 383021"/>
                      <a:gd name="connsiteY131" fmla="*/ 782262 h 882456"/>
                      <a:gd name="connsiteX132" fmla="*/ 28239 w 383021"/>
                      <a:gd name="connsiteY132" fmla="*/ 772794 h 882456"/>
                      <a:gd name="connsiteX133" fmla="*/ 23518 w 383021"/>
                      <a:gd name="connsiteY133" fmla="*/ 774633 h 882456"/>
                      <a:gd name="connsiteX134" fmla="*/ 23244 w 383021"/>
                      <a:gd name="connsiteY134" fmla="*/ 764534 h 882456"/>
                      <a:gd name="connsiteX135" fmla="*/ 21241 w 383021"/>
                      <a:gd name="connsiteY135" fmla="*/ 761405 h 882456"/>
                      <a:gd name="connsiteX136" fmla="*/ 18469 w 383021"/>
                      <a:gd name="connsiteY136" fmla="*/ 764205 h 882456"/>
                      <a:gd name="connsiteX137" fmla="*/ 17619 w 383021"/>
                      <a:gd name="connsiteY137" fmla="*/ 755670 h 882456"/>
                      <a:gd name="connsiteX138" fmla="*/ 13228 w 383021"/>
                      <a:gd name="connsiteY138" fmla="*/ 755423 h 882456"/>
                      <a:gd name="connsiteX139" fmla="*/ 15395 w 383021"/>
                      <a:gd name="connsiteY139" fmla="*/ 748288 h 882456"/>
                      <a:gd name="connsiteX140" fmla="*/ 10922 w 383021"/>
                      <a:gd name="connsiteY140" fmla="*/ 740659 h 882456"/>
                      <a:gd name="connsiteX141" fmla="*/ 7767 w 383021"/>
                      <a:gd name="connsiteY141" fmla="*/ 726059 h 882456"/>
                      <a:gd name="connsiteX142" fmla="*/ 2964 w 383021"/>
                      <a:gd name="connsiteY142" fmla="*/ 718155 h 882456"/>
                      <a:gd name="connsiteX143" fmla="*/ 2689 w 383021"/>
                      <a:gd name="connsiteY143" fmla="*/ 699494 h 882456"/>
                      <a:gd name="connsiteX144" fmla="*/ 0 w 383021"/>
                      <a:gd name="connsiteY144" fmla="*/ 685690 h 882456"/>
                      <a:gd name="connsiteX145" fmla="*/ 4528 w 383021"/>
                      <a:gd name="connsiteY145" fmla="*/ 679763 h 882456"/>
                      <a:gd name="connsiteX146" fmla="*/ 9660 w 383021"/>
                      <a:gd name="connsiteY146" fmla="*/ 684730 h 882456"/>
                      <a:gd name="connsiteX147" fmla="*/ 10319 w 383021"/>
                      <a:gd name="connsiteY147" fmla="*/ 690218 h 882456"/>
                      <a:gd name="connsiteX148" fmla="*/ 14792 w 383021"/>
                      <a:gd name="connsiteY148" fmla="*/ 689148 h 882456"/>
                      <a:gd name="connsiteX149" fmla="*/ 19046 w 383021"/>
                      <a:gd name="connsiteY149" fmla="*/ 673451 h 882456"/>
                      <a:gd name="connsiteX150" fmla="*/ 20418 w 383021"/>
                      <a:gd name="connsiteY150" fmla="*/ 670432 h 882456"/>
                      <a:gd name="connsiteX151" fmla="*/ 17372 w 383021"/>
                      <a:gd name="connsiteY151" fmla="*/ 650975 h 882456"/>
                      <a:gd name="connsiteX152" fmla="*/ 22777 w 383021"/>
                      <a:gd name="connsiteY152" fmla="*/ 644224 h 882456"/>
                      <a:gd name="connsiteX153" fmla="*/ 23382 w 383021"/>
                      <a:gd name="connsiteY153" fmla="*/ 638406 h 882456"/>
                      <a:gd name="connsiteX154" fmla="*/ 20802 w 383021"/>
                      <a:gd name="connsiteY154" fmla="*/ 635470 h 882456"/>
                      <a:gd name="connsiteX155" fmla="*/ 31505 w 383021"/>
                      <a:gd name="connsiteY155" fmla="*/ 631216 h 882456"/>
                      <a:gd name="connsiteX156" fmla="*/ 39490 w 383021"/>
                      <a:gd name="connsiteY156" fmla="*/ 620129 h 882456"/>
                      <a:gd name="connsiteX157" fmla="*/ 42784 w 383021"/>
                      <a:gd name="connsiteY157" fmla="*/ 596693 h 882456"/>
                      <a:gd name="connsiteX158" fmla="*/ 33426 w 383021"/>
                      <a:gd name="connsiteY158" fmla="*/ 566917 h 882456"/>
                      <a:gd name="connsiteX159" fmla="*/ 45199 w 383021"/>
                      <a:gd name="connsiteY159" fmla="*/ 562965 h 882456"/>
                      <a:gd name="connsiteX160" fmla="*/ 50248 w 383021"/>
                      <a:gd name="connsiteY160" fmla="*/ 549381 h 882456"/>
                      <a:gd name="connsiteX161" fmla="*/ 50358 w 383021"/>
                      <a:gd name="connsiteY161" fmla="*/ 543865 h 882456"/>
                      <a:gd name="connsiteX162" fmla="*/ 43607 w 383021"/>
                      <a:gd name="connsiteY162" fmla="*/ 533601 h 882456"/>
                      <a:gd name="connsiteX163" fmla="*/ 37350 w 383021"/>
                      <a:gd name="connsiteY163" fmla="*/ 531022 h 882456"/>
                      <a:gd name="connsiteX164" fmla="*/ 30105 w 383021"/>
                      <a:gd name="connsiteY164" fmla="*/ 521636 h 882456"/>
                      <a:gd name="connsiteX165" fmla="*/ 34332 w 383021"/>
                      <a:gd name="connsiteY165" fmla="*/ 487909 h 882456"/>
                      <a:gd name="connsiteX166" fmla="*/ 33014 w 383021"/>
                      <a:gd name="connsiteY166" fmla="*/ 483875 h 882456"/>
                      <a:gd name="connsiteX167" fmla="*/ 27333 w 383021"/>
                      <a:gd name="connsiteY167" fmla="*/ 465488 h 882456"/>
                      <a:gd name="connsiteX168" fmla="*/ 29144 w 383021"/>
                      <a:gd name="connsiteY168" fmla="*/ 457502 h 882456"/>
                      <a:gd name="connsiteX169" fmla="*/ 28211 w 383021"/>
                      <a:gd name="connsiteY169" fmla="*/ 447842 h 882456"/>
                      <a:gd name="connsiteX170" fmla="*/ 31285 w 383021"/>
                      <a:gd name="connsiteY170" fmla="*/ 440707 h 882456"/>
                      <a:gd name="connsiteX171" fmla="*/ 27059 w 383021"/>
                      <a:gd name="connsiteY171" fmla="*/ 429098 h 882456"/>
                      <a:gd name="connsiteX172" fmla="*/ 25989 w 383021"/>
                      <a:gd name="connsiteY172" fmla="*/ 422512 h 882456"/>
                      <a:gd name="connsiteX173" fmla="*/ 28706 w 383021"/>
                      <a:gd name="connsiteY173" fmla="*/ 415459 h 882456"/>
                      <a:gd name="connsiteX174" fmla="*/ 31038 w 383021"/>
                      <a:gd name="connsiteY174" fmla="*/ 409367 h 882456"/>
                      <a:gd name="connsiteX175" fmla="*/ 30874 w 383021"/>
                      <a:gd name="connsiteY175" fmla="*/ 406266 h 882456"/>
                      <a:gd name="connsiteX176" fmla="*/ 30654 w 383021"/>
                      <a:gd name="connsiteY176" fmla="*/ 401848 h 882456"/>
                      <a:gd name="connsiteX177" fmla="*/ 45720 w 383021"/>
                      <a:gd name="connsiteY177" fmla="*/ 376737 h 882456"/>
                      <a:gd name="connsiteX178" fmla="*/ 60759 w 383021"/>
                      <a:gd name="connsiteY178" fmla="*/ 368943 h 882456"/>
                      <a:gd name="connsiteX179" fmla="*/ 83948 w 383021"/>
                      <a:gd name="connsiteY179" fmla="*/ 372923 h 882456"/>
                      <a:gd name="connsiteX180" fmla="*/ 87626 w 383021"/>
                      <a:gd name="connsiteY180" fmla="*/ 363894 h 882456"/>
                      <a:gd name="connsiteX181" fmla="*/ 88422 w 383021"/>
                      <a:gd name="connsiteY181" fmla="*/ 361945 h 882456"/>
                      <a:gd name="connsiteX182" fmla="*/ 87132 w 383021"/>
                      <a:gd name="connsiteY182" fmla="*/ 345754 h 882456"/>
                      <a:gd name="connsiteX183" fmla="*/ 75633 w 383021"/>
                      <a:gd name="connsiteY183" fmla="*/ 333597 h 882456"/>
                      <a:gd name="connsiteX184" fmla="*/ 93910 w 383021"/>
                      <a:gd name="connsiteY184" fmla="*/ 298497 h 882456"/>
                      <a:gd name="connsiteX185" fmla="*/ 95474 w 383021"/>
                      <a:gd name="connsiteY185" fmla="*/ 289496 h 882456"/>
                      <a:gd name="connsiteX186" fmla="*/ 98959 w 383021"/>
                      <a:gd name="connsiteY186" fmla="*/ 285380 h 882456"/>
                      <a:gd name="connsiteX187" fmla="*/ 99399 w 383021"/>
                      <a:gd name="connsiteY187" fmla="*/ 266060 h 882456"/>
                      <a:gd name="connsiteX188" fmla="*/ 102335 w 383021"/>
                      <a:gd name="connsiteY188" fmla="*/ 249319 h 882456"/>
                      <a:gd name="connsiteX189" fmla="*/ 101072 w 383021"/>
                      <a:gd name="connsiteY189" fmla="*/ 238095 h 882456"/>
                      <a:gd name="connsiteX190" fmla="*/ 99893 w 383021"/>
                      <a:gd name="connsiteY190" fmla="*/ 228929 h 882456"/>
                      <a:gd name="connsiteX191" fmla="*/ 99536 w 383021"/>
                      <a:gd name="connsiteY191" fmla="*/ 226240 h 882456"/>
                      <a:gd name="connsiteX192" fmla="*/ 102857 w 383021"/>
                      <a:gd name="connsiteY192" fmla="*/ 225911 h 882456"/>
                      <a:gd name="connsiteX193" fmla="*/ 104339 w 383021"/>
                      <a:gd name="connsiteY193" fmla="*/ 225746 h 882456"/>
                      <a:gd name="connsiteX194" fmla="*/ 109964 w 383021"/>
                      <a:gd name="connsiteY194" fmla="*/ 225170 h 882456"/>
                      <a:gd name="connsiteX195" fmla="*/ 112269 w 383021"/>
                      <a:gd name="connsiteY195" fmla="*/ 224923 h 882456"/>
                      <a:gd name="connsiteX196" fmla="*/ 114766 w 383021"/>
                      <a:gd name="connsiteY196" fmla="*/ 224621 h 882456"/>
                      <a:gd name="connsiteX197" fmla="*/ 122725 w 383021"/>
                      <a:gd name="connsiteY197" fmla="*/ 218913 h 882456"/>
                      <a:gd name="connsiteX198" fmla="*/ 127912 w 383021"/>
                      <a:gd name="connsiteY198" fmla="*/ 215317 h 882456"/>
                      <a:gd name="connsiteX199" fmla="*/ 127116 w 383021"/>
                      <a:gd name="connsiteY199" fmla="*/ 210680 h 882456"/>
                      <a:gd name="connsiteX200" fmla="*/ 125524 w 383021"/>
                      <a:gd name="connsiteY200" fmla="*/ 200526 h 882456"/>
                      <a:gd name="connsiteX201" fmla="*/ 130245 w 383021"/>
                      <a:gd name="connsiteY201" fmla="*/ 194159 h 882456"/>
                      <a:gd name="connsiteX202" fmla="*/ 144515 w 383021"/>
                      <a:gd name="connsiteY202" fmla="*/ 168582 h 882456"/>
                      <a:gd name="connsiteX203" fmla="*/ 154037 w 383021"/>
                      <a:gd name="connsiteY203" fmla="*/ 158209 h 882456"/>
                      <a:gd name="connsiteX204" fmla="*/ 154504 w 383021"/>
                      <a:gd name="connsiteY204" fmla="*/ 146271 h 882456"/>
                      <a:gd name="connsiteX205" fmla="*/ 146546 w 383021"/>
                      <a:gd name="connsiteY205" fmla="*/ 127116 h 882456"/>
                      <a:gd name="connsiteX206" fmla="*/ 156453 w 383021"/>
                      <a:gd name="connsiteY206" fmla="*/ 118746 h 882456"/>
                      <a:gd name="connsiteX207" fmla="*/ 164493 w 383021"/>
                      <a:gd name="connsiteY207" fmla="*/ 93361 h 882456"/>
                      <a:gd name="connsiteX208" fmla="*/ 181014 w 383021"/>
                      <a:gd name="connsiteY208" fmla="*/ 76676 h 882456"/>
                      <a:gd name="connsiteX209" fmla="*/ 191717 w 383021"/>
                      <a:gd name="connsiteY209" fmla="*/ 81972 h 882456"/>
                      <a:gd name="connsiteX210" fmla="*/ 199044 w 383021"/>
                      <a:gd name="connsiteY210" fmla="*/ 86473 h 882456"/>
                      <a:gd name="connsiteX211" fmla="*/ 205328 w 383021"/>
                      <a:gd name="connsiteY211" fmla="*/ 72120 h 882456"/>
                      <a:gd name="connsiteX212" fmla="*/ 205685 w 383021"/>
                      <a:gd name="connsiteY212" fmla="*/ 42591 h 882456"/>
                      <a:gd name="connsiteX213" fmla="*/ 214878 w 383021"/>
                      <a:gd name="connsiteY213" fmla="*/ 39957 h 882456"/>
                      <a:gd name="connsiteX214" fmla="*/ 259144 w 383021"/>
                      <a:gd name="connsiteY214" fmla="*/ 55325 h 882456"/>
                      <a:gd name="connsiteX215" fmla="*/ 264303 w 383021"/>
                      <a:gd name="connsiteY215" fmla="*/ 48794 h 882456"/>
                      <a:gd name="connsiteX216" fmla="*/ 261943 w 383021"/>
                      <a:gd name="connsiteY216" fmla="*/ 40177 h 882456"/>
                      <a:gd name="connsiteX217" fmla="*/ 269792 w 383021"/>
                      <a:gd name="connsiteY217" fmla="*/ 20939 h 882456"/>
                      <a:gd name="connsiteX218" fmla="*/ 266828 w 383021"/>
                      <a:gd name="connsiteY218" fmla="*/ 2909 h 882456"/>
                      <a:gd name="connsiteX219" fmla="*/ 276955 w 383021"/>
                      <a:gd name="connsiteY219" fmla="*/ 0 h 882456"/>
                      <a:gd name="connsiteX220" fmla="*/ 283843 w 383021"/>
                      <a:gd name="connsiteY220" fmla="*/ 2991 h 882456"/>
                      <a:gd name="connsiteX221" fmla="*/ 288207 w 383021"/>
                      <a:gd name="connsiteY221" fmla="*/ 12761 h 882456"/>
                      <a:gd name="connsiteX222" fmla="*/ 305907 w 383021"/>
                      <a:gd name="connsiteY222" fmla="*/ 30901 h 882456"/>
                      <a:gd name="connsiteX223" fmla="*/ 321495 w 383021"/>
                      <a:gd name="connsiteY223" fmla="*/ 46763 h 882456"/>
                      <a:gd name="connsiteX224" fmla="*/ 330166 w 383021"/>
                      <a:gd name="connsiteY224" fmla="*/ 47586 h 88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383021" h="882456">
                        <a:moveTo>
                          <a:pt x="330194" y="47806"/>
                        </a:moveTo>
                        <a:lnTo>
                          <a:pt x="350420" y="61390"/>
                        </a:lnTo>
                        <a:lnTo>
                          <a:pt x="353932" y="73575"/>
                        </a:lnTo>
                        <a:lnTo>
                          <a:pt x="357747" y="74563"/>
                        </a:lnTo>
                        <a:lnTo>
                          <a:pt x="366940" y="87653"/>
                        </a:lnTo>
                        <a:lnTo>
                          <a:pt x="367379" y="91522"/>
                        </a:lnTo>
                        <a:lnTo>
                          <a:pt x="363345" y="98959"/>
                        </a:lnTo>
                        <a:lnTo>
                          <a:pt x="364882" y="116989"/>
                        </a:lnTo>
                        <a:lnTo>
                          <a:pt x="361534" y="125442"/>
                        </a:lnTo>
                        <a:lnTo>
                          <a:pt x="370727" y="129970"/>
                        </a:lnTo>
                        <a:lnTo>
                          <a:pt x="370426" y="139136"/>
                        </a:lnTo>
                        <a:lnTo>
                          <a:pt x="366556" y="142511"/>
                        </a:lnTo>
                        <a:lnTo>
                          <a:pt x="365678" y="148027"/>
                        </a:lnTo>
                        <a:lnTo>
                          <a:pt x="377505" y="174510"/>
                        </a:lnTo>
                        <a:lnTo>
                          <a:pt x="374515" y="194378"/>
                        </a:lnTo>
                        <a:lnTo>
                          <a:pt x="368944" y="202474"/>
                        </a:lnTo>
                        <a:lnTo>
                          <a:pt x="368614" y="214933"/>
                        </a:lnTo>
                        <a:lnTo>
                          <a:pt x="370672" y="221300"/>
                        </a:lnTo>
                        <a:lnTo>
                          <a:pt x="375804" y="225444"/>
                        </a:lnTo>
                        <a:lnTo>
                          <a:pt x="381897" y="241773"/>
                        </a:lnTo>
                        <a:lnTo>
                          <a:pt x="383022" y="249292"/>
                        </a:lnTo>
                        <a:lnTo>
                          <a:pt x="368944" y="249292"/>
                        </a:lnTo>
                        <a:cubicBezTo>
                          <a:pt x="368944" y="249292"/>
                          <a:pt x="352944" y="255110"/>
                          <a:pt x="352944" y="255110"/>
                        </a:cubicBezTo>
                        <a:lnTo>
                          <a:pt x="343367" y="248469"/>
                        </a:lnTo>
                        <a:lnTo>
                          <a:pt x="341418" y="254781"/>
                        </a:lnTo>
                        <a:lnTo>
                          <a:pt x="331511" y="249127"/>
                        </a:lnTo>
                        <a:lnTo>
                          <a:pt x="329261" y="263645"/>
                        </a:lnTo>
                        <a:lnTo>
                          <a:pt x="324925" y="273826"/>
                        </a:lnTo>
                        <a:lnTo>
                          <a:pt x="318888" y="273414"/>
                        </a:lnTo>
                        <a:lnTo>
                          <a:pt x="315951" y="288096"/>
                        </a:lnTo>
                        <a:lnTo>
                          <a:pt x="310243" y="284666"/>
                        </a:lnTo>
                        <a:lnTo>
                          <a:pt x="305385" y="301790"/>
                        </a:lnTo>
                        <a:lnTo>
                          <a:pt x="294628" y="320754"/>
                        </a:lnTo>
                        <a:lnTo>
                          <a:pt x="297729" y="332828"/>
                        </a:lnTo>
                        <a:lnTo>
                          <a:pt x="303876" y="343174"/>
                        </a:lnTo>
                        <a:lnTo>
                          <a:pt x="303739" y="348169"/>
                        </a:lnTo>
                        <a:lnTo>
                          <a:pt x="291088" y="364113"/>
                        </a:lnTo>
                        <a:lnTo>
                          <a:pt x="277092" y="392160"/>
                        </a:lnTo>
                        <a:lnTo>
                          <a:pt x="261614" y="398939"/>
                        </a:lnTo>
                        <a:lnTo>
                          <a:pt x="253298" y="409559"/>
                        </a:lnTo>
                        <a:lnTo>
                          <a:pt x="252283" y="410849"/>
                        </a:lnTo>
                        <a:lnTo>
                          <a:pt x="250418" y="409559"/>
                        </a:lnTo>
                        <a:lnTo>
                          <a:pt x="246685" y="406924"/>
                        </a:lnTo>
                        <a:lnTo>
                          <a:pt x="245999" y="409559"/>
                        </a:lnTo>
                        <a:lnTo>
                          <a:pt x="245175" y="412550"/>
                        </a:lnTo>
                        <a:lnTo>
                          <a:pt x="239879" y="410574"/>
                        </a:lnTo>
                        <a:lnTo>
                          <a:pt x="238177" y="415679"/>
                        </a:lnTo>
                        <a:lnTo>
                          <a:pt x="236174" y="421826"/>
                        </a:lnTo>
                        <a:lnTo>
                          <a:pt x="231344" y="427177"/>
                        </a:lnTo>
                        <a:lnTo>
                          <a:pt x="223797" y="423939"/>
                        </a:lnTo>
                        <a:lnTo>
                          <a:pt x="224154" y="428934"/>
                        </a:lnTo>
                        <a:lnTo>
                          <a:pt x="217705" y="435794"/>
                        </a:lnTo>
                        <a:lnTo>
                          <a:pt x="213561" y="449982"/>
                        </a:lnTo>
                        <a:lnTo>
                          <a:pt x="207579" y="455361"/>
                        </a:lnTo>
                        <a:lnTo>
                          <a:pt x="203710" y="465845"/>
                        </a:lnTo>
                        <a:lnTo>
                          <a:pt x="186558" y="482310"/>
                        </a:lnTo>
                        <a:lnTo>
                          <a:pt x="189329" y="491229"/>
                        </a:lnTo>
                        <a:lnTo>
                          <a:pt x="187024" y="496361"/>
                        </a:lnTo>
                        <a:lnTo>
                          <a:pt x="183100" y="513760"/>
                        </a:lnTo>
                        <a:lnTo>
                          <a:pt x="186914" y="525451"/>
                        </a:lnTo>
                        <a:lnTo>
                          <a:pt x="185240" y="527509"/>
                        </a:lnTo>
                        <a:lnTo>
                          <a:pt x="180246" y="524408"/>
                        </a:lnTo>
                        <a:lnTo>
                          <a:pt x="175964" y="533354"/>
                        </a:lnTo>
                        <a:lnTo>
                          <a:pt x="177885" y="562334"/>
                        </a:lnTo>
                        <a:lnTo>
                          <a:pt x="183484" y="587472"/>
                        </a:lnTo>
                        <a:lnTo>
                          <a:pt x="189576" y="588981"/>
                        </a:lnTo>
                        <a:lnTo>
                          <a:pt x="192430" y="593729"/>
                        </a:lnTo>
                        <a:lnTo>
                          <a:pt x="200910" y="589914"/>
                        </a:lnTo>
                        <a:lnTo>
                          <a:pt x="204478" y="599300"/>
                        </a:lnTo>
                        <a:lnTo>
                          <a:pt x="211558" y="604953"/>
                        </a:lnTo>
                        <a:lnTo>
                          <a:pt x="215071" y="598175"/>
                        </a:lnTo>
                        <a:lnTo>
                          <a:pt x="220065" y="607972"/>
                        </a:lnTo>
                        <a:lnTo>
                          <a:pt x="217101" y="617604"/>
                        </a:lnTo>
                        <a:lnTo>
                          <a:pt x="221547" y="618098"/>
                        </a:lnTo>
                        <a:lnTo>
                          <a:pt x="224319" y="614311"/>
                        </a:lnTo>
                        <a:lnTo>
                          <a:pt x="229204" y="629020"/>
                        </a:lnTo>
                        <a:lnTo>
                          <a:pt x="235351" y="635936"/>
                        </a:lnTo>
                        <a:lnTo>
                          <a:pt x="234994" y="641836"/>
                        </a:lnTo>
                        <a:lnTo>
                          <a:pt x="226158" y="646200"/>
                        </a:lnTo>
                        <a:lnTo>
                          <a:pt x="224923" y="664257"/>
                        </a:lnTo>
                        <a:lnTo>
                          <a:pt x="226295" y="665163"/>
                        </a:lnTo>
                        <a:lnTo>
                          <a:pt x="229122" y="658522"/>
                        </a:lnTo>
                        <a:lnTo>
                          <a:pt x="229780" y="663379"/>
                        </a:lnTo>
                        <a:lnTo>
                          <a:pt x="217623" y="682040"/>
                        </a:lnTo>
                        <a:lnTo>
                          <a:pt x="209774" y="680257"/>
                        </a:lnTo>
                        <a:lnTo>
                          <a:pt x="197974" y="693292"/>
                        </a:lnTo>
                        <a:lnTo>
                          <a:pt x="189412" y="687035"/>
                        </a:lnTo>
                        <a:lnTo>
                          <a:pt x="189686" y="692057"/>
                        </a:lnTo>
                        <a:lnTo>
                          <a:pt x="187435" y="697765"/>
                        </a:lnTo>
                        <a:lnTo>
                          <a:pt x="178928" y="700235"/>
                        </a:lnTo>
                        <a:lnTo>
                          <a:pt x="178928" y="705120"/>
                        </a:lnTo>
                        <a:cubicBezTo>
                          <a:pt x="178928" y="705120"/>
                          <a:pt x="174647" y="702924"/>
                          <a:pt x="174647" y="702924"/>
                        </a:cubicBezTo>
                        <a:lnTo>
                          <a:pt x="165234" y="705422"/>
                        </a:lnTo>
                        <a:lnTo>
                          <a:pt x="169762" y="711349"/>
                        </a:lnTo>
                        <a:lnTo>
                          <a:pt x="171738" y="717606"/>
                        </a:lnTo>
                        <a:lnTo>
                          <a:pt x="170229" y="721421"/>
                        </a:lnTo>
                        <a:lnTo>
                          <a:pt x="172534" y="727486"/>
                        </a:lnTo>
                        <a:lnTo>
                          <a:pt x="162737" y="740741"/>
                        </a:lnTo>
                        <a:lnTo>
                          <a:pt x="166881" y="744199"/>
                        </a:lnTo>
                        <a:lnTo>
                          <a:pt x="164548" y="752596"/>
                        </a:lnTo>
                        <a:lnTo>
                          <a:pt x="164850" y="766757"/>
                        </a:lnTo>
                        <a:lnTo>
                          <a:pt x="157550" y="784952"/>
                        </a:lnTo>
                        <a:lnTo>
                          <a:pt x="159389" y="789260"/>
                        </a:lnTo>
                        <a:lnTo>
                          <a:pt x="156343" y="796313"/>
                        </a:lnTo>
                        <a:lnTo>
                          <a:pt x="153544" y="812093"/>
                        </a:lnTo>
                        <a:lnTo>
                          <a:pt x="145036" y="831138"/>
                        </a:lnTo>
                        <a:lnTo>
                          <a:pt x="143691" y="836489"/>
                        </a:lnTo>
                        <a:lnTo>
                          <a:pt x="136968" y="845079"/>
                        </a:lnTo>
                        <a:lnTo>
                          <a:pt x="131507" y="838712"/>
                        </a:lnTo>
                        <a:lnTo>
                          <a:pt x="123878" y="841786"/>
                        </a:lnTo>
                        <a:lnTo>
                          <a:pt x="106698" y="841100"/>
                        </a:lnTo>
                        <a:lnTo>
                          <a:pt x="104393" y="847906"/>
                        </a:lnTo>
                        <a:lnTo>
                          <a:pt x="100359" y="845244"/>
                        </a:lnTo>
                        <a:lnTo>
                          <a:pt x="91166" y="857319"/>
                        </a:lnTo>
                        <a:lnTo>
                          <a:pt x="90809" y="862505"/>
                        </a:lnTo>
                        <a:lnTo>
                          <a:pt x="93745" y="871726"/>
                        </a:lnTo>
                        <a:lnTo>
                          <a:pt x="90205" y="879081"/>
                        </a:lnTo>
                        <a:lnTo>
                          <a:pt x="75935" y="878834"/>
                        </a:lnTo>
                        <a:lnTo>
                          <a:pt x="64903" y="882456"/>
                        </a:lnTo>
                        <a:lnTo>
                          <a:pt x="55600" y="879383"/>
                        </a:lnTo>
                        <a:lnTo>
                          <a:pt x="52773" y="872522"/>
                        </a:lnTo>
                        <a:lnTo>
                          <a:pt x="55298" y="863932"/>
                        </a:lnTo>
                        <a:lnTo>
                          <a:pt x="41604" y="836572"/>
                        </a:lnTo>
                        <a:lnTo>
                          <a:pt x="48300" y="835611"/>
                        </a:lnTo>
                        <a:lnTo>
                          <a:pt x="46214" y="826445"/>
                        </a:lnTo>
                        <a:lnTo>
                          <a:pt x="51922" y="824689"/>
                        </a:lnTo>
                        <a:lnTo>
                          <a:pt x="52032" y="815605"/>
                        </a:lnTo>
                        <a:lnTo>
                          <a:pt x="47092" y="812833"/>
                        </a:lnTo>
                        <a:lnTo>
                          <a:pt x="42180" y="803668"/>
                        </a:lnTo>
                        <a:lnTo>
                          <a:pt x="36609" y="799112"/>
                        </a:lnTo>
                        <a:lnTo>
                          <a:pt x="32136" y="786378"/>
                        </a:lnTo>
                        <a:lnTo>
                          <a:pt x="29474" y="782262"/>
                        </a:lnTo>
                        <a:lnTo>
                          <a:pt x="28239" y="772794"/>
                        </a:lnTo>
                        <a:lnTo>
                          <a:pt x="23518" y="774633"/>
                        </a:lnTo>
                        <a:lnTo>
                          <a:pt x="23244" y="764534"/>
                        </a:lnTo>
                        <a:lnTo>
                          <a:pt x="21241" y="761405"/>
                        </a:lnTo>
                        <a:lnTo>
                          <a:pt x="18469" y="764205"/>
                        </a:lnTo>
                        <a:lnTo>
                          <a:pt x="17619" y="755670"/>
                        </a:lnTo>
                        <a:lnTo>
                          <a:pt x="13228" y="755423"/>
                        </a:lnTo>
                        <a:lnTo>
                          <a:pt x="15395" y="748288"/>
                        </a:lnTo>
                        <a:lnTo>
                          <a:pt x="10922" y="740659"/>
                        </a:lnTo>
                        <a:lnTo>
                          <a:pt x="7767" y="726059"/>
                        </a:lnTo>
                        <a:lnTo>
                          <a:pt x="2964" y="718155"/>
                        </a:lnTo>
                        <a:lnTo>
                          <a:pt x="2689" y="699494"/>
                        </a:lnTo>
                        <a:lnTo>
                          <a:pt x="0" y="685690"/>
                        </a:lnTo>
                        <a:lnTo>
                          <a:pt x="4528" y="679763"/>
                        </a:lnTo>
                        <a:lnTo>
                          <a:pt x="9660" y="684730"/>
                        </a:lnTo>
                        <a:lnTo>
                          <a:pt x="10319" y="690218"/>
                        </a:lnTo>
                        <a:lnTo>
                          <a:pt x="14792" y="689148"/>
                        </a:lnTo>
                        <a:lnTo>
                          <a:pt x="19046" y="673451"/>
                        </a:lnTo>
                        <a:lnTo>
                          <a:pt x="20418" y="670432"/>
                        </a:lnTo>
                        <a:lnTo>
                          <a:pt x="17372" y="650975"/>
                        </a:lnTo>
                        <a:lnTo>
                          <a:pt x="22777" y="644224"/>
                        </a:lnTo>
                        <a:lnTo>
                          <a:pt x="23382" y="638406"/>
                        </a:lnTo>
                        <a:lnTo>
                          <a:pt x="20802" y="635470"/>
                        </a:lnTo>
                        <a:lnTo>
                          <a:pt x="31505" y="631216"/>
                        </a:lnTo>
                        <a:lnTo>
                          <a:pt x="39490" y="620129"/>
                        </a:lnTo>
                        <a:lnTo>
                          <a:pt x="42784" y="596693"/>
                        </a:lnTo>
                        <a:lnTo>
                          <a:pt x="33426" y="566917"/>
                        </a:lnTo>
                        <a:lnTo>
                          <a:pt x="45199" y="562965"/>
                        </a:lnTo>
                        <a:lnTo>
                          <a:pt x="50248" y="549381"/>
                        </a:lnTo>
                        <a:lnTo>
                          <a:pt x="50358" y="543865"/>
                        </a:lnTo>
                        <a:lnTo>
                          <a:pt x="43607" y="533601"/>
                        </a:lnTo>
                        <a:lnTo>
                          <a:pt x="37350" y="531022"/>
                        </a:lnTo>
                        <a:lnTo>
                          <a:pt x="30105" y="521636"/>
                        </a:lnTo>
                        <a:lnTo>
                          <a:pt x="34332" y="487909"/>
                        </a:lnTo>
                        <a:lnTo>
                          <a:pt x="33014" y="483875"/>
                        </a:lnTo>
                        <a:lnTo>
                          <a:pt x="27333" y="465488"/>
                        </a:lnTo>
                        <a:lnTo>
                          <a:pt x="29144" y="457502"/>
                        </a:lnTo>
                        <a:lnTo>
                          <a:pt x="28211" y="447842"/>
                        </a:lnTo>
                        <a:lnTo>
                          <a:pt x="31285" y="440707"/>
                        </a:lnTo>
                        <a:lnTo>
                          <a:pt x="27059" y="429098"/>
                        </a:lnTo>
                        <a:lnTo>
                          <a:pt x="25989" y="422512"/>
                        </a:lnTo>
                        <a:lnTo>
                          <a:pt x="28706" y="415459"/>
                        </a:lnTo>
                        <a:lnTo>
                          <a:pt x="31038" y="409367"/>
                        </a:lnTo>
                        <a:lnTo>
                          <a:pt x="30874" y="406266"/>
                        </a:lnTo>
                        <a:lnTo>
                          <a:pt x="30654" y="401848"/>
                        </a:lnTo>
                        <a:lnTo>
                          <a:pt x="45720" y="376737"/>
                        </a:lnTo>
                        <a:lnTo>
                          <a:pt x="60759" y="368943"/>
                        </a:lnTo>
                        <a:lnTo>
                          <a:pt x="83948" y="372923"/>
                        </a:lnTo>
                        <a:lnTo>
                          <a:pt x="87626" y="363894"/>
                        </a:lnTo>
                        <a:lnTo>
                          <a:pt x="88422" y="361945"/>
                        </a:lnTo>
                        <a:lnTo>
                          <a:pt x="87132" y="345754"/>
                        </a:lnTo>
                        <a:lnTo>
                          <a:pt x="75633" y="333597"/>
                        </a:lnTo>
                        <a:lnTo>
                          <a:pt x="93910" y="298497"/>
                        </a:lnTo>
                        <a:lnTo>
                          <a:pt x="95474" y="289496"/>
                        </a:lnTo>
                        <a:lnTo>
                          <a:pt x="98959" y="285380"/>
                        </a:lnTo>
                        <a:lnTo>
                          <a:pt x="99399" y="266060"/>
                        </a:lnTo>
                        <a:lnTo>
                          <a:pt x="102335" y="249319"/>
                        </a:lnTo>
                        <a:lnTo>
                          <a:pt x="101072" y="238095"/>
                        </a:lnTo>
                        <a:lnTo>
                          <a:pt x="99893" y="228929"/>
                        </a:lnTo>
                        <a:lnTo>
                          <a:pt x="99536" y="226240"/>
                        </a:lnTo>
                        <a:lnTo>
                          <a:pt x="102857" y="225911"/>
                        </a:lnTo>
                        <a:lnTo>
                          <a:pt x="104339" y="225746"/>
                        </a:lnTo>
                        <a:lnTo>
                          <a:pt x="109964" y="225170"/>
                        </a:lnTo>
                        <a:lnTo>
                          <a:pt x="112269" y="224923"/>
                        </a:lnTo>
                        <a:lnTo>
                          <a:pt x="114766" y="224621"/>
                        </a:lnTo>
                        <a:lnTo>
                          <a:pt x="122725" y="218913"/>
                        </a:lnTo>
                        <a:lnTo>
                          <a:pt x="127912" y="215317"/>
                        </a:lnTo>
                        <a:lnTo>
                          <a:pt x="127116" y="210680"/>
                        </a:lnTo>
                        <a:lnTo>
                          <a:pt x="125524" y="200526"/>
                        </a:lnTo>
                        <a:lnTo>
                          <a:pt x="130245" y="194159"/>
                        </a:lnTo>
                        <a:lnTo>
                          <a:pt x="144515" y="168582"/>
                        </a:lnTo>
                        <a:lnTo>
                          <a:pt x="154037" y="158209"/>
                        </a:lnTo>
                        <a:lnTo>
                          <a:pt x="154504" y="146271"/>
                        </a:lnTo>
                        <a:lnTo>
                          <a:pt x="146546" y="127116"/>
                        </a:lnTo>
                        <a:lnTo>
                          <a:pt x="156453" y="118746"/>
                        </a:lnTo>
                        <a:lnTo>
                          <a:pt x="164493" y="93361"/>
                        </a:lnTo>
                        <a:lnTo>
                          <a:pt x="181014" y="76676"/>
                        </a:lnTo>
                        <a:lnTo>
                          <a:pt x="191717" y="81972"/>
                        </a:lnTo>
                        <a:lnTo>
                          <a:pt x="199044" y="86473"/>
                        </a:lnTo>
                        <a:lnTo>
                          <a:pt x="205328" y="72120"/>
                        </a:lnTo>
                        <a:lnTo>
                          <a:pt x="205685" y="42591"/>
                        </a:lnTo>
                        <a:lnTo>
                          <a:pt x="214878" y="39957"/>
                        </a:lnTo>
                        <a:lnTo>
                          <a:pt x="259144" y="55325"/>
                        </a:lnTo>
                        <a:lnTo>
                          <a:pt x="264303" y="48794"/>
                        </a:lnTo>
                        <a:lnTo>
                          <a:pt x="261943" y="40177"/>
                        </a:lnTo>
                        <a:lnTo>
                          <a:pt x="269792" y="20939"/>
                        </a:lnTo>
                        <a:lnTo>
                          <a:pt x="266828" y="2909"/>
                        </a:lnTo>
                        <a:lnTo>
                          <a:pt x="276955" y="0"/>
                        </a:lnTo>
                        <a:lnTo>
                          <a:pt x="283843" y="2991"/>
                        </a:lnTo>
                        <a:lnTo>
                          <a:pt x="288207" y="12761"/>
                        </a:lnTo>
                        <a:lnTo>
                          <a:pt x="305907" y="30901"/>
                        </a:lnTo>
                        <a:lnTo>
                          <a:pt x="321495" y="46763"/>
                        </a:lnTo>
                        <a:lnTo>
                          <a:pt x="330166" y="4758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6" name="Freeform: Shape 3095">
                    <a:extLst>
                      <a:ext uri="{FF2B5EF4-FFF2-40B4-BE49-F238E27FC236}">
                        <a16:creationId xmlns:a16="http://schemas.microsoft.com/office/drawing/2014/main" id="{278E12BE-CC68-1ECF-D9FE-9B6B3508BEB3}"/>
                      </a:ext>
                    </a:extLst>
                  </p:cNvPr>
                  <p:cNvSpPr/>
                  <p:nvPr/>
                </p:nvSpPr>
                <p:spPr>
                  <a:xfrm>
                    <a:off x="-5753946" y="2774155"/>
                    <a:ext cx="31257" cy="57410"/>
                  </a:xfrm>
                  <a:custGeom>
                    <a:avLst/>
                    <a:gdLst>
                      <a:gd name="connsiteX0" fmla="*/ 31258 w 31257"/>
                      <a:gd name="connsiteY0" fmla="*/ 1482 h 57410"/>
                      <a:gd name="connsiteX1" fmla="*/ 29391 w 31257"/>
                      <a:gd name="connsiteY1" fmla="*/ 7382 h 57410"/>
                      <a:gd name="connsiteX2" fmla="*/ 19759 w 31257"/>
                      <a:gd name="connsiteY2" fmla="*/ 17618 h 57410"/>
                      <a:gd name="connsiteX3" fmla="*/ 19347 w 31257"/>
                      <a:gd name="connsiteY3" fmla="*/ 26126 h 57410"/>
                      <a:gd name="connsiteX4" fmla="*/ 22998 w 31257"/>
                      <a:gd name="connsiteY4" fmla="*/ 30297 h 57410"/>
                      <a:gd name="connsiteX5" fmla="*/ 7300 w 31257"/>
                      <a:gd name="connsiteY5" fmla="*/ 47970 h 57410"/>
                      <a:gd name="connsiteX6" fmla="*/ 6230 w 31257"/>
                      <a:gd name="connsiteY6" fmla="*/ 54886 h 57410"/>
                      <a:gd name="connsiteX7" fmla="*/ 2882 w 31257"/>
                      <a:gd name="connsiteY7" fmla="*/ 57411 h 57410"/>
                      <a:gd name="connsiteX8" fmla="*/ 1509 w 31257"/>
                      <a:gd name="connsiteY8" fmla="*/ 56231 h 57410"/>
                      <a:gd name="connsiteX9" fmla="*/ 2607 w 31257"/>
                      <a:gd name="connsiteY9" fmla="*/ 47202 h 57410"/>
                      <a:gd name="connsiteX10" fmla="*/ 988 w 31257"/>
                      <a:gd name="connsiteY10" fmla="*/ 43909 h 57410"/>
                      <a:gd name="connsiteX11" fmla="*/ 0 w 31257"/>
                      <a:gd name="connsiteY11" fmla="*/ 38503 h 57410"/>
                      <a:gd name="connsiteX12" fmla="*/ 1674 w 31257"/>
                      <a:gd name="connsiteY12" fmla="*/ 32932 h 57410"/>
                      <a:gd name="connsiteX13" fmla="*/ 82 w 31257"/>
                      <a:gd name="connsiteY13" fmla="*/ 24507 h 57410"/>
                      <a:gd name="connsiteX14" fmla="*/ 9742 w 31257"/>
                      <a:gd name="connsiteY14" fmla="*/ 9331 h 57410"/>
                      <a:gd name="connsiteX15" fmla="*/ 17262 w 31257"/>
                      <a:gd name="connsiteY15" fmla="*/ 3156 h 57410"/>
                      <a:gd name="connsiteX16" fmla="*/ 20034 w 31257"/>
                      <a:gd name="connsiteY16" fmla="*/ 5049 h 57410"/>
                      <a:gd name="connsiteX17" fmla="*/ 30681 w 31257"/>
                      <a:gd name="connsiteY17" fmla="*/ 0 h 57410"/>
                      <a:gd name="connsiteX18" fmla="*/ 31258 w 31257"/>
                      <a:gd name="connsiteY18" fmla="*/ 1482 h 5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257" h="57410">
                        <a:moveTo>
                          <a:pt x="31258" y="1482"/>
                        </a:moveTo>
                        <a:lnTo>
                          <a:pt x="29391" y="7382"/>
                        </a:lnTo>
                        <a:lnTo>
                          <a:pt x="19759" y="17618"/>
                        </a:lnTo>
                        <a:lnTo>
                          <a:pt x="19347" y="26126"/>
                        </a:lnTo>
                        <a:lnTo>
                          <a:pt x="22998" y="30297"/>
                        </a:lnTo>
                        <a:lnTo>
                          <a:pt x="7300" y="47970"/>
                        </a:lnTo>
                        <a:lnTo>
                          <a:pt x="6230" y="54886"/>
                        </a:lnTo>
                        <a:lnTo>
                          <a:pt x="2882" y="57411"/>
                        </a:lnTo>
                        <a:lnTo>
                          <a:pt x="1509" y="56231"/>
                        </a:lnTo>
                        <a:lnTo>
                          <a:pt x="2607" y="47202"/>
                        </a:lnTo>
                        <a:lnTo>
                          <a:pt x="988" y="43909"/>
                        </a:lnTo>
                        <a:lnTo>
                          <a:pt x="0" y="38503"/>
                        </a:lnTo>
                        <a:lnTo>
                          <a:pt x="1674" y="32932"/>
                        </a:lnTo>
                        <a:lnTo>
                          <a:pt x="82" y="24507"/>
                        </a:lnTo>
                        <a:lnTo>
                          <a:pt x="9742" y="9331"/>
                        </a:lnTo>
                        <a:lnTo>
                          <a:pt x="17262" y="3156"/>
                        </a:lnTo>
                        <a:lnTo>
                          <a:pt x="20034" y="5049"/>
                        </a:lnTo>
                        <a:lnTo>
                          <a:pt x="30681" y="0"/>
                        </a:lnTo>
                        <a:lnTo>
                          <a:pt x="31258" y="148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7" name="Freeform: Shape 3096">
                    <a:extLst>
                      <a:ext uri="{FF2B5EF4-FFF2-40B4-BE49-F238E27FC236}">
                        <a16:creationId xmlns:a16="http://schemas.microsoft.com/office/drawing/2014/main" id="{6F7C4F2A-AC4F-21F9-AF07-1CA9B68FB136}"/>
                      </a:ext>
                    </a:extLst>
                  </p:cNvPr>
                  <p:cNvSpPr/>
                  <p:nvPr/>
                </p:nvSpPr>
                <p:spPr>
                  <a:xfrm>
                    <a:off x="-5805100" y="2808267"/>
                    <a:ext cx="21021" cy="61005"/>
                  </a:xfrm>
                  <a:custGeom>
                    <a:avLst/>
                    <a:gdLst>
                      <a:gd name="connsiteX0" fmla="*/ 3649 w 21021"/>
                      <a:gd name="connsiteY0" fmla="*/ 57740 h 61005"/>
                      <a:gd name="connsiteX1" fmla="*/ 1207 w 21021"/>
                      <a:gd name="connsiteY1" fmla="*/ 61006 h 61005"/>
                      <a:gd name="connsiteX2" fmla="*/ 0 w 21021"/>
                      <a:gd name="connsiteY2" fmla="*/ 44814 h 61005"/>
                      <a:gd name="connsiteX3" fmla="*/ 4610 w 21021"/>
                      <a:gd name="connsiteY3" fmla="*/ 31560 h 61005"/>
                      <a:gd name="connsiteX4" fmla="*/ 10071 w 21021"/>
                      <a:gd name="connsiteY4" fmla="*/ 24013 h 61005"/>
                      <a:gd name="connsiteX5" fmla="*/ 15890 w 21021"/>
                      <a:gd name="connsiteY5" fmla="*/ 9825 h 61005"/>
                      <a:gd name="connsiteX6" fmla="*/ 17646 w 21021"/>
                      <a:gd name="connsiteY6" fmla="*/ 2799 h 61005"/>
                      <a:gd name="connsiteX7" fmla="*/ 20253 w 21021"/>
                      <a:gd name="connsiteY7" fmla="*/ 0 h 61005"/>
                      <a:gd name="connsiteX8" fmla="*/ 21021 w 21021"/>
                      <a:gd name="connsiteY8" fmla="*/ 1839 h 61005"/>
                      <a:gd name="connsiteX9" fmla="*/ 19539 w 21021"/>
                      <a:gd name="connsiteY9" fmla="*/ 9825 h 61005"/>
                      <a:gd name="connsiteX10" fmla="*/ 7547 w 21021"/>
                      <a:gd name="connsiteY10" fmla="*/ 44814 h 61005"/>
                      <a:gd name="connsiteX11" fmla="*/ 3649 w 21021"/>
                      <a:gd name="connsiteY11" fmla="*/ 57712 h 6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021" h="61005">
                        <a:moveTo>
                          <a:pt x="3649" y="57740"/>
                        </a:moveTo>
                        <a:lnTo>
                          <a:pt x="1207" y="61006"/>
                        </a:lnTo>
                        <a:lnTo>
                          <a:pt x="0" y="44814"/>
                        </a:lnTo>
                        <a:lnTo>
                          <a:pt x="4610" y="31560"/>
                        </a:lnTo>
                        <a:lnTo>
                          <a:pt x="10071" y="24013"/>
                        </a:lnTo>
                        <a:lnTo>
                          <a:pt x="15890" y="9825"/>
                        </a:lnTo>
                        <a:lnTo>
                          <a:pt x="17646" y="2799"/>
                        </a:lnTo>
                        <a:lnTo>
                          <a:pt x="20253" y="0"/>
                        </a:lnTo>
                        <a:lnTo>
                          <a:pt x="21021" y="1839"/>
                        </a:lnTo>
                        <a:lnTo>
                          <a:pt x="19539" y="9825"/>
                        </a:lnTo>
                        <a:lnTo>
                          <a:pt x="7547" y="44814"/>
                        </a:lnTo>
                        <a:lnTo>
                          <a:pt x="3649" y="5771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8" name="Freeform: Shape 3097">
                    <a:extLst>
                      <a:ext uri="{FF2B5EF4-FFF2-40B4-BE49-F238E27FC236}">
                        <a16:creationId xmlns:a16="http://schemas.microsoft.com/office/drawing/2014/main" id="{94A3D9CE-ED34-A652-7CBB-A73F8EF95FBD}"/>
                      </a:ext>
                    </a:extLst>
                  </p:cNvPr>
                  <p:cNvSpPr/>
                  <p:nvPr/>
                </p:nvSpPr>
                <p:spPr>
                  <a:xfrm>
                    <a:off x="-5624113" y="2295961"/>
                    <a:ext cx="6970" cy="11032"/>
                  </a:xfrm>
                  <a:custGeom>
                    <a:avLst/>
                    <a:gdLst>
                      <a:gd name="connsiteX0" fmla="*/ 6971 w 6970"/>
                      <a:gd name="connsiteY0" fmla="*/ 9276 h 11032"/>
                      <a:gd name="connsiteX1" fmla="*/ 5186 w 6970"/>
                      <a:gd name="connsiteY1" fmla="*/ 11032 h 11032"/>
                      <a:gd name="connsiteX2" fmla="*/ 3403 w 6970"/>
                      <a:gd name="connsiteY2" fmla="*/ 7437 h 11032"/>
                      <a:gd name="connsiteX3" fmla="*/ 0 w 6970"/>
                      <a:gd name="connsiteY3" fmla="*/ 6586 h 11032"/>
                      <a:gd name="connsiteX4" fmla="*/ 2387 w 6970"/>
                      <a:gd name="connsiteY4" fmla="*/ 0 h 11032"/>
                      <a:gd name="connsiteX5" fmla="*/ 5818 w 6970"/>
                      <a:gd name="connsiteY5" fmla="*/ 4281 h 11032"/>
                      <a:gd name="connsiteX6" fmla="*/ 6943 w 6970"/>
                      <a:gd name="connsiteY6" fmla="*/ 9276 h 1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0" h="11032">
                        <a:moveTo>
                          <a:pt x="6971" y="9276"/>
                        </a:moveTo>
                        <a:lnTo>
                          <a:pt x="5186" y="11032"/>
                        </a:lnTo>
                        <a:lnTo>
                          <a:pt x="3403" y="7437"/>
                        </a:lnTo>
                        <a:lnTo>
                          <a:pt x="0" y="6586"/>
                        </a:lnTo>
                        <a:lnTo>
                          <a:pt x="2387" y="0"/>
                        </a:lnTo>
                        <a:lnTo>
                          <a:pt x="5818" y="4281"/>
                        </a:lnTo>
                        <a:lnTo>
                          <a:pt x="6943" y="927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9" name="Freeform: Shape 3098">
                    <a:extLst>
                      <a:ext uri="{FF2B5EF4-FFF2-40B4-BE49-F238E27FC236}">
                        <a16:creationId xmlns:a16="http://schemas.microsoft.com/office/drawing/2014/main" id="{B78C2FEA-854A-6B6A-FCA9-ABBF04D84C1A}"/>
                      </a:ext>
                    </a:extLst>
                  </p:cNvPr>
                  <p:cNvSpPr/>
                  <p:nvPr/>
                </p:nvSpPr>
                <p:spPr>
                  <a:xfrm>
                    <a:off x="-5614481" y="2285341"/>
                    <a:ext cx="4417" cy="8589"/>
                  </a:xfrm>
                  <a:custGeom>
                    <a:avLst/>
                    <a:gdLst>
                      <a:gd name="connsiteX0" fmla="*/ 4390 w 4417"/>
                      <a:gd name="connsiteY0" fmla="*/ 5022 h 8589"/>
                      <a:gd name="connsiteX1" fmla="*/ 3485 w 4417"/>
                      <a:gd name="connsiteY1" fmla="*/ 8590 h 8589"/>
                      <a:gd name="connsiteX2" fmla="*/ 0 w 4417"/>
                      <a:gd name="connsiteY2" fmla="*/ 3156 h 8589"/>
                      <a:gd name="connsiteX3" fmla="*/ 1455 w 4417"/>
                      <a:gd name="connsiteY3" fmla="*/ 0 h 8589"/>
                      <a:gd name="connsiteX4" fmla="*/ 4418 w 4417"/>
                      <a:gd name="connsiteY4" fmla="*/ 5022 h 8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7" h="8589">
                        <a:moveTo>
                          <a:pt x="4390" y="5022"/>
                        </a:moveTo>
                        <a:lnTo>
                          <a:pt x="3485" y="8590"/>
                        </a:lnTo>
                        <a:lnTo>
                          <a:pt x="0" y="3156"/>
                        </a:lnTo>
                        <a:lnTo>
                          <a:pt x="1455" y="0"/>
                        </a:lnTo>
                        <a:lnTo>
                          <a:pt x="4418" y="502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0" name="Freeform: Shape 3099">
                    <a:extLst>
                      <a:ext uri="{FF2B5EF4-FFF2-40B4-BE49-F238E27FC236}">
                        <a16:creationId xmlns:a16="http://schemas.microsoft.com/office/drawing/2014/main" id="{978B4BDA-D553-747B-78BE-03585C76757F}"/>
                      </a:ext>
                    </a:extLst>
                  </p:cNvPr>
                  <p:cNvSpPr/>
                  <p:nvPr/>
                </p:nvSpPr>
                <p:spPr>
                  <a:xfrm>
                    <a:off x="-5767997" y="2520747"/>
                    <a:ext cx="4582" cy="6229"/>
                  </a:xfrm>
                  <a:custGeom>
                    <a:avLst/>
                    <a:gdLst>
                      <a:gd name="connsiteX0" fmla="*/ 4583 w 4582"/>
                      <a:gd name="connsiteY0" fmla="*/ 1372 h 6229"/>
                      <a:gd name="connsiteX1" fmla="*/ 1976 w 4582"/>
                      <a:gd name="connsiteY1" fmla="*/ 6230 h 6229"/>
                      <a:gd name="connsiteX2" fmla="*/ 0 w 4582"/>
                      <a:gd name="connsiteY2" fmla="*/ 2936 h 6229"/>
                      <a:gd name="connsiteX3" fmla="*/ 1125 w 4582"/>
                      <a:gd name="connsiteY3" fmla="*/ 0 h 6229"/>
                      <a:gd name="connsiteX4" fmla="*/ 4583 w 4582"/>
                      <a:gd name="connsiteY4" fmla="*/ 1372 h 6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2" h="6229">
                        <a:moveTo>
                          <a:pt x="4583" y="1372"/>
                        </a:moveTo>
                        <a:lnTo>
                          <a:pt x="1976" y="6230"/>
                        </a:lnTo>
                        <a:lnTo>
                          <a:pt x="0" y="2936"/>
                        </a:lnTo>
                        <a:lnTo>
                          <a:pt x="1125" y="0"/>
                        </a:lnTo>
                        <a:lnTo>
                          <a:pt x="4583" y="137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1" name="Freeform: Shape 3100">
                    <a:extLst>
                      <a:ext uri="{FF2B5EF4-FFF2-40B4-BE49-F238E27FC236}">
                        <a16:creationId xmlns:a16="http://schemas.microsoft.com/office/drawing/2014/main" id="{0CD32AA0-583D-0186-AC5B-C2FDEA4F7ADE}"/>
                      </a:ext>
                    </a:extLst>
                  </p:cNvPr>
                  <p:cNvSpPr/>
                  <p:nvPr/>
                </p:nvSpPr>
                <p:spPr>
                  <a:xfrm>
                    <a:off x="-5721180" y="2771164"/>
                    <a:ext cx="3650" cy="6503"/>
                  </a:xfrm>
                  <a:custGeom>
                    <a:avLst/>
                    <a:gdLst>
                      <a:gd name="connsiteX0" fmla="*/ 3650 w 3650"/>
                      <a:gd name="connsiteY0" fmla="*/ 5077 h 6503"/>
                      <a:gd name="connsiteX1" fmla="*/ 796 w 3650"/>
                      <a:gd name="connsiteY1" fmla="*/ 6504 h 6503"/>
                      <a:gd name="connsiteX2" fmla="*/ 0 w 3650"/>
                      <a:gd name="connsiteY2" fmla="*/ 3485 h 6503"/>
                      <a:gd name="connsiteX3" fmla="*/ 2580 w 3650"/>
                      <a:gd name="connsiteY3" fmla="*/ 0 h 6503"/>
                      <a:gd name="connsiteX4" fmla="*/ 3650 w 3650"/>
                      <a:gd name="connsiteY4" fmla="*/ 5077 h 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6503">
                        <a:moveTo>
                          <a:pt x="3650" y="5077"/>
                        </a:moveTo>
                        <a:lnTo>
                          <a:pt x="796" y="6504"/>
                        </a:lnTo>
                        <a:lnTo>
                          <a:pt x="0" y="3485"/>
                        </a:lnTo>
                        <a:lnTo>
                          <a:pt x="2580" y="0"/>
                        </a:lnTo>
                        <a:lnTo>
                          <a:pt x="3650" y="507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2" name="Freeform: Shape 3101">
                    <a:extLst>
                      <a:ext uri="{FF2B5EF4-FFF2-40B4-BE49-F238E27FC236}">
                        <a16:creationId xmlns:a16="http://schemas.microsoft.com/office/drawing/2014/main" id="{0814CEAF-3CB5-BC84-2E2A-CA79D627C29F}"/>
                      </a:ext>
                    </a:extLst>
                  </p:cNvPr>
                  <p:cNvSpPr/>
                  <p:nvPr/>
                </p:nvSpPr>
                <p:spPr>
                  <a:xfrm>
                    <a:off x="-5910618" y="2907775"/>
                    <a:ext cx="3402" cy="6366"/>
                  </a:xfrm>
                  <a:custGeom>
                    <a:avLst/>
                    <a:gdLst>
                      <a:gd name="connsiteX0" fmla="*/ 3375 w 3402"/>
                      <a:gd name="connsiteY0" fmla="*/ 5297 h 6366"/>
                      <a:gd name="connsiteX1" fmla="*/ 1235 w 3402"/>
                      <a:gd name="connsiteY1" fmla="*/ 6367 h 6366"/>
                      <a:gd name="connsiteX2" fmla="*/ 0 w 3402"/>
                      <a:gd name="connsiteY2" fmla="*/ 3403 h 6366"/>
                      <a:gd name="connsiteX3" fmla="*/ 2936 w 3402"/>
                      <a:gd name="connsiteY3" fmla="*/ 0 h 6366"/>
                      <a:gd name="connsiteX4" fmla="*/ 3403 w 3402"/>
                      <a:gd name="connsiteY4" fmla="*/ 5297 h 6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6366">
                        <a:moveTo>
                          <a:pt x="3375" y="5297"/>
                        </a:moveTo>
                        <a:lnTo>
                          <a:pt x="1235" y="6367"/>
                        </a:lnTo>
                        <a:lnTo>
                          <a:pt x="0" y="3403"/>
                        </a:lnTo>
                        <a:lnTo>
                          <a:pt x="2936" y="0"/>
                        </a:lnTo>
                        <a:lnTo>
                          <a:pt x="3403" y="529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3" name="Freeform: Shape 3102">
                    <a:extLst>
                      <a:ext uri="{FF2B5EF4-FFF2-40B4-BE49-F238E27FC236}">
                        <a16:creationId xmlns:a16="http://schemas.microsoft.com/office/drawing/2014/main" id="{0BE08684-25AC-603E-BA63-9079464C795C}"/>
                      </a:ext>
                    </a:extLst>
                  </p:cNvPr>
                  <p:cNvSpPr/>
                  <p:nvPr/>
                </p:nvSpPr>
                <p:spPr>
                  <a:xfrm>
                    <a:off x="-5751861" y="2716415"/>
                    <a:ext cx="4226" cy="5543"/>
                  </a:xfrm>
                  <a:custGeom>
                    <a:avLst/>
                    <a:gdLst>
                      <a:gd name="connsiteX0" fmla="*/ 4226 w 4226"/>
                      <a:gd name="connsiteY0" fmla="*/ 4803 h 5543"/>
                      <a:gd name="connsiteX1" fmla="*/ 494 w 4226"/>
                      <a:gd name="connsiteY1" fmla="*/ 5543 h 5543"/>
                      <a:gd name="connsiteX2" fmla="*/ 0 w 4226"/>
                      <a:gd name="connsiteY2" fmla="*/ 3595 h 5543"/>
                      <a:gd name="connsiteX3" fmla="*/ 3485 w 4226"/>
                      <a:gd name="connsiteY3" fmla="*/ 0 h 5543"/>
                      <a:gd name="connsiteX4" fmla="*/ 4199 w 4226"/>
                      <a:gd name="connsiteY4" fmla="*/ 4803 h 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 h="5543">
                        <a:moveTo>
                          <a:pt x="4226" y="4803"/>
                        </a:moveTo>
                        <a:lnTo>
                          <a:pt x="494" y="5543"/>
                        </a:lnTo>
                        <a:lnTo>
                          <a:pt x="0" y="3595"/>
                        </a:lnTo>
                        <a:lnTo>
                          <a:pt x="3485" y="0"/>
                        </a:lnTo>
                        <a:lnTo>
                          <a:pt x="4199" y="480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4" name="Freeform: Shape 3103">
                    <a:extLst>
                      <a:ext uri="{FF2B5EF4-FFF2-40B4-BE49-F238E27FC236}">
                        <a16:creationId xmlns:a16="http://schemas.microsoft.com/office/drawing/2014/main" id="{C61BD234-9623-C1CC-2903-7641F3B0360E}"/>
                      </a:ext>
                    </a:extLst>
                  </p:cNvPr>
                  <p:cNvSpPr/>
                  <p:nvPr/>
                </p:nvSpPr>
                <p:spPr>
                  <a:xfrm>
                    <a:off x="-5673786" y="2419400"/>
                    <a:ext cx="3073" cy="8123"/>
                  </a:xfrm>
                  <a:custGeom>
                    <a:avLst/>
                    <a:gdLst>
                      <a:gd name="connsiteX0" fmla="*/ 3074 w 3073"/>
                      <a:gd name="connsiteY0" fmla="*/ 3595 h 8123"/>
                      <a:gd name="connsiteX1" fmla="*/ 2223 w 3073"/>
                      <a:gd name="connsiteY1" fmla="*/ 8123 h 8123"/>
                      <a:gd name="connsiteX2" fmla="*/ 522 w 3073"/>
                      <a:gd name="connsiteY2" fmla="*/ 7959 h 8123"/>
                      <a:gd name="connsiteX3" fmla="*/ 0 w 3073"/>
                      <a:gd name="connsiteY3" fmla="*/ 2113 h 8123"/>
                      <a:gd name="connsiteX4" fmla="*/ 1537 w 3073"/>
                      <a:gd name="connsiteY4" fmla="*/ 0 h 8123"/>
                      <a:gd name="connsiteX5" fmla="*/ 3074 w 3073"/>
                      <a:gd name="connsiteY5" fmla="*/ 3595 h 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 h="8123">
                        <a:moveTo>
                          <a:pt x="3074" y="3595"/>
                        </a:moveTo>
                        <a:lnTo>
                          <a:pt x="2223" y="8123"/>
                        </a:lnTo>
                        <a:lnTo>
                          <a:pt x="522" y="7959"/>
                        </a:lnTo>
                        <a:lnTo>
                          <a:pt x="0" y="2113"/>
                        </a:lnTo>
                        <a:lnTo>
                          <a:pt x="1537" y="0"/>
                        </a:lnTo>
                        <a:lnTo>
                          <a:pt x="3074" y="359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5" name="Freeform: Shape 3104">
                    <a:extLst>
                      <a:ext uri="{FF2B5EF4-FFF2-40B4-BE49-F238E27FC236}">
                        <a16:creationId xmlns:a16="http://schemas.microsoft.com/office/drawing/2014/main" id="{CFFBABC2-F4B6-FB84-BD9D-6B386DA87F04}"/>
                      </a:ext>
                    </a:extLst>
                  </p:cNvPr>
                  <p:cNvSpPr/>
                  <p:nvPr/>
                </p:nvSpPr>
                <p:spPr>
                  <a:xfrm>
                    <a:off x="-5722991" y="2749676"/>
                    <a:ext cx="4226" cy="4418"/>
                  </a:xfrm>
                  <a:custGeom>
                    <a:avLst/>
                    <a:gdLst>
                      <a:gd name="connsiteX0" fmla="*/ 3869 w 4226"/>
                      <a:gd name="connsiteY0" fmla="*/ 4418 h 4418"/>
                      <a:gd name="connsiteX1" fmla="*/ 878 w 4226"/>
                      <a:gd name="connsiteY1" fmla="*/ 4418 h 4418"/>
                      <a:gd name="connsiteX2" fmla="*/ 0 w 4226"/>
                      <a:gd name="connsiteY2" fmla="*/ 1564 h 4418"/>
                      <a:gd name="connsiteX3" fmla="*/ 631 w 4226"/>
                      <a:gd name="connsiteY3" fmla="*/ 0 h 4418"/>
                      <a:gd name="connsiteX4" fmla="*/ 4226 w 4226"/>
                      <a:gd name="connsiteY4" fmla="*/ 1756 h 4418"/>
                      <a:gd name="connsiteX5" fmla="*/ 3842 w 4226"/>
                      <a:gd name="connsiteY5" fmla="*/ 4418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6" h="4418">
                        <a:moveTo>
                          <a:pt x="3869" y="4418"/>
                        </a:moveTo>
                        <a:lnTo>
                          <a:pt x="878" y="4418"/>
                        </a:lnTo>
                        <a:cubicBezTo>
                          <a:pt x="878" y="4418"/>
                          <a:pt x="0" y="1564"/>
                          <a:pt x="0" y="1564"/>
                        </a:cubicBezTo>
                        <a:lnTo>
                          <a:pt x="631" y="0"/>
                        </a:lnTo>
                        <a:lnTo>
                          <a:pt x="4226" y="1756"/>
                        </a:lnTo>
                        <a:lnTo>
                          <a:pt x="3842" y="441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6" name="Freeform: Shape 3105">
                    <a:extLst>
                      <a:ext uri="{FF2B5EF4-FFF2-40B4-BE49-F238E27FC236}">
                        <a16:creationId xmlns:a16="http://schemas.microsoft.com/office/drawing/2014/main" id="{163E7161-4DA2-FC19-B8FC-A87DCFAEB362}"/>
                      </a:ext>
                    </a:extLst>
                  </p:cNvPr>
                  <p:cNvSpPr/>
                  <p:nvPr/>
                </p:nvSpPr>
                <p:spPr>
                  <a:xfrm>
                    <a:off x="-5892698" y="3313108"/>
                    <a:ext cx="94074" cy="61170"/>
                  </a:xfrm>
                  <a:custGeom>
                    <a:avLst/>
                    <a:gdLst>
                      <a:gd name="connsiteX0" fmla="*/ 87406 w 94074"/>
                      <a:gd name="connsiteY0" fmla="*/ 6312 h 61170"/>
                      <a:gd name="connsiteX1" fmla="*/ 94075 w 94074"/>
                      <a:gd name="connsiteY1" fmla="*/ 16850 h 61170"/>
                      <a:gd name="connsiteX2" fmla="*/ 87489 w 94074"/>
                      <a:gd name="connsiteY2" fmla="*/ 14325 h 61170"/>
                      <a:gd name="connsiteX3" fmla="*/ 83619 w 94074"/>
                      <a:gd name="connsiteY3" fmla="*/ 16219 h 61170"/>
                      <a:gd name="connsiteX4" fmla="*/ 85375 w 94074"/>
                      <a:gd name="connsiteY4" fmla="*/ 20994 h 61170"/>
                      <a:gd name="connsiteX5" fmla="*/ 80600 w 94074"/>
                      <a:gd name="connsiteY5" fmla="*/ 20390 h 61170"/>
                      <a:gd name="connsiteX6" fmla="*/ 72779 w 94074"/>
                      <a:gd name="connsiteY6" fmla="*/ 25220 h 61170"/>
                      <a:gd name="connsiteX7" fmla="*/ 70364 w 94074"/>
                      <a:gd name="connsiteY7" fmla="*/ 26071 h 61170"/>
                      <a:gd name="connsiteX8" fmla="*/ 65754 w 94074"/>
                      <a:gd name="connsiteY8" fmla="*/ 29309 h 61170"/>
                      <a:gd name="connsiteX9" fmla="*/ 65534 w 94074"/>
                      <a:gd name="connsiteY9" fmla="*/ 33425 h 61170"/>
                      <a:gd name="connsiteX10" fmla="*/ 67565 w 94074"/>
                      <a:gd name="connsiteY10" fmla="*/ 34798 h 61170"/>
                      <a:gd name="connsiteX11" fmla="*/ 67866 w 94074"/>
                      <a:gd name="connsiteY11" fmla="*/ 38118 h 61170"/>
                      <a:gd name="connsiteX12" fmla="*/ 66303 w 94074"/>
                      <a:gd name="connsiteY12" fmla="*/ 43744 h 61170"/>
                      <a:gd name="connsiteX13" fmla="*/ 58975 w 94074"/>
                      <a:gd name="connsiteY13" fmla="*/ 45802 h 61170"/>
                      <a:gd name="connsiteX14" fmla="*/ 56835 w 94074"/>
                      <a:gd name="connsiteY14" fmla="*/ 47065 h 61170"/>
                      <a:gd name="connsiteX15" fmla="*/ 55463 w 94074"/>
                      <a:gd name="connsiteY15" fmla="*/ 48629 h 61170"/>
                      <a:gd name="connsiteX16" fmla="*/ 55764 w 94074"/>
                      <a:gd name="connsiteY16" fmla="*/ 54310 h 61170"/>
                      <a:gd name="connsiteX17" fmla="*/ 57658 w 94074"/>
                      <a:gd name="connsiteY17" fmla="*/ 58728 h 61170"/>
                      <a:gd name="connsiteX18" fmla="*/ 53734 w 94074"/>
                      <a:gd name="connsiteY18" fmla="*/ 61171 h 61170"/>
                      <a:gd name="connsiteX19" fmla="*/ 46407 w 94074"/>
                      <a:gd name="connsiteY19" fmla="*/ 57575 h 61170"/>
                      <a:gd name="connsiteX20" fmla="*/ 42455 w 94074"/>
                      <a:gd name="connsiteY20" fmla="*/ 59304 h 61170"/>
                      <a:gd name="connsiteX21" fmla="*/ 40232 w 94074"/>
                      <a:gd name="connsiteY21" fmla="*/ 57630 h 61170"/>
                      <a:gd name="connsiteX22" fmla="*/ 34441 w 94074"/>
                      <a:gd name="connsiteY22" fmla="*/ 50852 h 61170"/>
                      <a:gd name="connsiteX23" fmla="*/ 29062 w 94074"/>
                      <a:gd name="connsiteY23" fmla="*/ 58152 h 61170"/>
                      <a:gd name="connsiteX24" fmla="*/ 21132 w 94074"/>
                      <a:gd name="connsiteY24" fmla="*/ 58893 h 61170"/>
                      <a:gd name="connsiteX25" fmla="*/ 20912 w 94074"/>
                      <a:gd name="connsiteY25" fmla="*/ 58893 h 61170"/>
                      <a:gd name="connsiteX26" fmla="*/ 7383 w 94074"/>
                      <a:gd name="connsiteY26" fmla="*/ 60045 h 61170"/>
                      <a:gd name="connsiteX27" fmla="*/ 6175 w 94074"/>
                      <a:gd name="connsiteY27" fmla="*/ 57410 h 61170"/>
                      <a:gd name="connsiteX28" fmla="*/ 9468 w 94074"/>
                      <a:gd name="connsiteY28" fmla="*/ 54117 h 61170"/>
                      <a:gd name="connsiteX29" fmla="*/ 12926 w 94074"/>
                      <a:gd name="connsiteY29" fmla="*/ 54310 h 61170"/>
                      <a:gd name="connsiteX30" fmla="*/ 14655 w 94074"/>
                      <a:gd name="connsiteY30" fmla="*/ 52416 h 61170"/>
                      <a:gd name="connsiteX31" fmla="*/ 11060 w 94074"/>
                      <a:gd name="connsiteY31" fmla="*/ 47668 h 61170"/>
                      <a:gd name="connsiteX32" fmla="*/ 5763 w 94074"/>
                      <a:gd name="connsiteY32" fmla="*/ 45171 h 61170"/>
                      <a:gd name="connsiteX33" fmla="*/ 5763 w 94074"/>
                      <a:gd name="connsiteY33" fmla="*/ 44677 h 61170"/>
                      <a:gd name="connsiteX34" fmla="*/ 6532 w 94074"/>
                      <a:gd name="connsiteY34" fmla="*/ 38585 h 61170"/>
                      <a:gd name="connsiteX35" fmla="*/ 3430 w 94074"/>
                      <a:gd name="connsiteY35" fmla="*/ 37707 h 61170"/>
                      <a:gd name="connsiteX36" fmla="*/ 2827 w 94074"/>
                      <a:gd name="connsiteY36" fmla="*/ 34880 h 61170"/>
                      <a:gd name="connsiteX37" fmla="*/ 7135 w 94074"/>
                      <a:gd name="connsiteY37" fmla="*/ 30050 h 61170"/>
                      <a:gd name="connsiteX38" fmla="*/ 933 w 94074"/>
                      <a:gd name="connsiteY38" fmla="*/ 26867 h 61170"/>
                      <a:gd name="connsiteX39" fmla="*/ 0 w 94074"/>
                      <a:gd name="connsiteY39" fmla="*/ 23766 h 61170"/>
                      <a:gd name="connsiteX40" fmla="*/ 8315 w 94074"/>
                      <a:gd name="connsiteY40" fmla="*/ 18469 h 61170"/>
                      <a:gd name="connsiteX41" fmla="*/ 9194 w 94074"/>
                      <a:gd name="connsiteY41" fmla="*/ 14819 h 61170"/>
                      <a:gd name="connsiteX42" fmla="*/ 30407 w 94074"/>
                      <a:gd name="connsiteY42" fmla="*/ 18222 h 61170"/>
                      <a:gd name="connsiteX43" fmla="*/ 34249 w 94074"/>
                      <a:gd name="connsiteY43" fmla="*/ 21241 h 61170"/>
                      <a:gd name="connsiteX44" fmla="*/ 37460 w 94074"/>
                      <a:gd name="connsiteY44" fmla="*/ 17920 h 61170"/>
                      <a:gd name="connsiteX45" fmla="*/ 40177 w 94074"/>
                      <a:gd name="connsiteY45" fmla="*/ 15642 h 61170"/>
                      <a:gd name="connsiteX46" fmla="*/ 43991 w 94074"/>
                      <a:gd name="connsiteY46" fmla="*/ 11142 h 61170"/>
                      <a:gd name="connsiteX47" fmla="*/ 48959 w 94074"/>
                      <a:gd name="connsiteY47" fmla="*/ 9303 h 61170"/>
                      <a:gd name="connsiteX48" fmla="*/ 58866 w 94074"/>
                      <a:gd name="connsiteY48" fmla="*/ 9248 h 61170"/>
                      <a:gd name="connsiteX49" fmla="*/ 61692 w 94074"/>
                      <a:gd name="connsiteY49" fmla="*/ 10181 h 61170"/>
                      <a:gd name="connsiteX50" fmla="*/ 66138 w 94074"/>
                      <a:gd name="connsiteY50" fmla="*/ 6998 h 61170"/>
                      <a:gd name="connsiteX51" fmla="*/ 70172 w 94074"/>
                      <a:gd name="connsiteY51" fmla="*/ 6943 h 61170"/>
                      <a:gd name="connsiteX52" fmla="*/ 76895 w 94074"/>
                      <a:gd name="connsiteY52" fmla="*/ 8425 h 61170"/>
                      <a:gd name="connsiteX53" fmla="*/ 76347 w 94074"/>
                      <a:gd name="connsiteY53" fmla="*/ 1455 h 61170"/>
                      <a:gd name="connsiteX54" fmla="*/ 79804 w 94074"/>
                      <a:gd name="connsiteY54" fmla="*/ 0 h 61170"/>
                      <a:gd name="connsiteX55" fmla="*/ 85540 w 94074"/>
                      <a:gd name="connsiteY55" fmla="*/ 823 h 61170"/>
                      <a:gd name="connsiteX56" fmla="*/ 87351 w 94074"/>
                      <a:gd name="connsiteY56" fmla="*/ 6312 h 6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94074" h="61170">
                        <a:moveTo>
                          <a:pt x="87406" y="6312"/>
                        </a:moveTo>
                        <a:lnTo>
                          <a:pt x="94075" y="16850"/>
                        </a:lnTo>
                        <a:lnTo>
                          <a:pt x="87489" y="14325"/>
                        </a:lnTo>
                        <a:lnTo>
                          <a:pt x="83619" y="16219"/>
                        </a:lnTo>
                        <a:lnTo>
                          <a:pt x="85375" y="20994"/>
                        </a:lnTo>
                        <a:lnTo>
                          <a:pt x="80600" y="20390"/>
                        </a:lnTo>
                        <a:lnTo>
                          <a:pt x="72779" y="25220"/>
                        </a:lnTo>
                        <a:lnTo>
                          <a:pt x="70364" y="26071"/>
                        </a:lnTo>
                        <a:lnTo>
                          <a:pt x="65754" y="29309"/>
                        </a:lnTo>
                        <a:lnTo>
                          <a:pt x="65534" y="33425"/>
                        </a:lnTo>
                        <a:lnTo>
                          <a:pt x="67565" y="34798"/>
                        </a:lnTo>
                        <a:lnTo>
                          <a:pt x="67866" y="38118"/>
                        </a:lnTo>
                        <a:lnTo>
                          <a:pt x="66303" y="43744"/>
                        </a:lnTo>
                        <a:lnTo>
                          <a:pt x="58975" y="45802"/>
                        </a:lnTo>
                        <a:lnTo>
                          <a:pt x="56835" y="47065"/>
                        </a:lnTo>
                        <a:lnTo>
                          <a:pt x="55463" y="48629"/>
                        </a:lnTo>
                        <a:lnTo>
                          <a:pt x="55764" y="54310"/>
                        </a:lnTo>
                        <a:lnTo>
                          <a:pt x="57658" y="58728"/>
                        </a:lnTo>
                        <a:lnTo>
                          <a:pt x="53734" y="61171"/>
                        </a:lnTo>
                        <a:lnTo>
                          <a:pt x="46407" y="57575"/>
                        </a:lnTo>
                        <a:lnTo>
                          <a:pt x="42455" y="59304"/>
                        </a:lnTo>
                        <a:lnTo>
                          <a:pt x="40232" y="57630"/>
                        </a:lnTo>
                        <a:lnTo>
                          <a:pt x="34441" y="50852"/>
                        </a:lnTo>
                        <a:lnTo>
                          <a:pt x="29062" y="58152"/>
                        </a:lnTo>
                        <a:lnTo>
                          <a:pt x="21132" y="58893"/>
                        </a:lnTo>
                        <a:lnTo>
                          <a:pt x="20912" y="58893"/>
                        </a:lnTo>
                        <a:cubicBezTo>
                          <a:pt x="20912" y="58893"/>
                          <a:pt x="7383" y="60045"/>
                          <a:pt x="7383" y="60045"/>
                        </a:cubicBezTo>
                        <a:lnTo>
                          <a:pt x="6175" y="57410"/>
                        </a:lnTo>
                        <a:lnTo>
                          <a:pt x="9468" y="54117"/>
                        </a:lnTo>
                        <a:lnTo>
                          <a:pt x="12926" y="54310"/>
                        </a:lnTo>
                        <a:lnTo>
                          <a:pt x="14655" y="52416"/>
                        </a:lnTo>
                        <a:lnTo>
                          <a:pt x="11060" y="47668"/>
                        </a:lnTo>
                        <a:lnTo>
                          <a:pt x="5763" y="45171"/>
                        </a:lnTo>
                        <a:lnTo>
                          <a:pt x="5763" y="44677"/>
                        </a:lnTo>
                        <a:cubicBezTo>
                          <a:pt x="5763" y="44677"/>
                          <a:pt x="6532" y="38585"/>
                          <a:pt x="6532" y="38585"/>
                        </a:cubicBezTo>
                        <a:lnTo>
                          <a:pt x="3430" y="37707"/>
                        </a:lnTo>
                        <a:lnTo>
                          <a:pt x="2827" y="34880"/>
                        </a:lnTo>
                        <a:lnTo>
                          <a:pt x="7135" y="30050"/>
                        </a:lnTo>
                        <a:lnTo>
                          <a:pt x="933" y="26867"/>
                        </a:lnTo>
                        <a:lnTo>
                          <a:pt x="0" y="23766"/>
                        </a:lnTo>
                        <a:lnTo>
                          <a:pt x="8315" y="18469"/>
                        </a:lnTo>
                        <a:lnTo>
                          <a:pt x="9194" y="14819"/>
                        </a:lnTo>
                        <a:lnTo>
                          <a:pt x="30407" y="18222"/>
                        </a:lnTo>
                        <a:lnTo>
                          <a:pt x="34249" y="21241"/>
                        </a:lnTo>
                        <a:lnTo>
                          <a:pt x="37460" y="17920"/>
                        </a:lnTo>
                        <a:lnTo>
                          <a:pt x="40177" y="15642"/>
                        </a:lnTo>
                        <a:lnTo>
                          <a:pt x="43991" y="11142"/>
                        </a:lnTo>
                        <a:lnTo>
                          <a:pt x="48959" y="9303"/>
                        </a:lnTo>
                        <a:lnTo>
                          <a:pt x="58866" y="9248"/>
                        </a:lnTo>
                        <a:lnTo>
                          <a:pt x="61692" y="10181"/>
                        </a:lnTo>
                        <a:lnTo>
                          <a:pt x="66138" y="6998"/>
                        </a:lnTo>
                        <a:lnTo>
                          <a:pt x="70172" y="6943"/>
                        </a:lnTo>
                        <a:lnTo>
                          <a:pt x="76895" y="8425"/>
                        </a:lnTo>
                        <a:lnTo>
                          <a:pt x="76347" y="1455"/>
                        </a:lnTo>
                        <a:lnTo>
                          <a:pt x="79804" y="0"/>
                        </a:lnTo>
                        <a:lnTo>
                          <a:pt x="85540" y="823"/>
                        </a:lnTo>
                        <a:lnTo>
                          <a:pt x="87351" y="631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7" name="Freeform: Shape 3106">
                    <a:extLst>
                      <a:ext uri="{FF2B5EF4-FFF2-40B4-BE49-F238E27FC236}">
                        <a16:creationId xmlns:a16="http://schemas.microsoft.com/office/drawing/2014/main" id="{18F5C3C8-D108-A4E4-5581-24E1A008BC27}"/>
                      </a:ext>
                    </a:extLst>
                  </p:cNvPr>
                  <p:cNvSpPr/>
                  <p:nvPr/>
                </p:nvSpPr>
                <p:spPr>
                  <a:xfrm>
                    <a:off x="-5791296" y="3191865"/>
                    <a:ext cx="168197" cy="83564"/>
                  </a:xfrm>
                  <a:custGeom>
                    <a:avLst/>
                    <a:gdLst>
                      <a:gd name="connsiteX0" fmla="*/ 82685 w 168197"/>
                      <a:gd name="connsiteY0" fmla="*/ 9193 h 83564"/>
                      <a:gd name="connsiteX1" fmla="*/ 86336 w 168197"/>
                      <a:gd name="connsiteY1" fmla="*/ 10236 h 83564"/>
                      <a:gd name="connsiteX2" fmla="*/ 86418 w 168197"/>
                      <a:gd name="connsiteY2" fmla="*/ 17810 h 83564"/>
                      <a:gd name="connsiteX3" fmla="*/ 89354 w 168197"/>
                      <a:gd name="connsiteY3" fmla="*/ 18497 h 83564"/>
                      <a:gd name="connsiteX4" fmla="*/ 95035 w 168197"/>
                      <a:gd name="connsiteY4" fmla="*/ 18771 h 83564"/>
                      <a:gd name="connsiteX5" fmla="*/ 97834 w 168197"/>
                      <a:gd name="connsiteY5" fmla="*/ 13035 h 83564"/>
                      <a:gd name="connsiteX6" fmla="*/ 105024 w 168197"/>
                      <a:gd name="connsiteY6" fmla="*/ 9441 h 83564"/>
                      <a:gd name="connsiteX7" fmla="*/ 109415 w 168197"/>
                      <a:gd name="connsiteY7" fmla="*/ 10346 h 83564"/>
                      <a:gd name="connsiteX8" fmla="*/ 110814 w 168197"/>
                      <a:gd name="connsiteY8" fmla="*/ 8864 h 83564"/>
                      <a:gd name="connsiteX9" fmla="*/ 120310 w 168197"/>
                      <a:gd name="connsiteY9" fmla="*/ 13612 h 83564"/>
                      <a:gd name="connsiteX10" fmla="*/ 125743 w 168197"/>
                      <a:gd name="connsiteY10" fmla="*/ 8891 h 83564"/>
                      <a:gd name="connsiteX11" fmla="*/ 133839 w 168197"/>
                      <a:gd name="connsiteY11" fmla="*/ 8151 h 83564"/>
                      <a:gd name="connsiteX12" fmla="*/ 148000 w 168197"/>
                      <a:gd name="connsiteY12" fmla="*/ 10758 h 83564"/>
                      <a:gd name="connsiteX13" fmla="*/ 153543 w 168197"/>
                      <a:gd name="connsiteY13" fmla="*/ 17783 h 83564"/>
                      <a:gd name="connsiteX14" fmla="*/ 168197 w 168197"/>
                      <a:gd name="connsiteY14" fmla="*/ 23711 h 83564"/>
                      <a:gd name="connsiteX15" fmla="*/ 162791 w 168197"/>
                      <a:gd name="connsiteY15" fmla="*/ 33837 h 83564"/>
                      <a:gd name="connsiteX16" fmla="*/ 161200 w 168197"/>
                      <a:gd name="connsiteY16" fmla="*/ 41329 h 83564"/>
                      <a:gd name="connsiteX17" fmla="*/ 156507 w 168197"/>
                      <a:gd name="connsiteY17" fmla="*/ 46900 h 83564"/>
                      <a:gd name="connsiteX18" fmla="*/ 156068 w 168197"/>
                      <a:gd name="connsiteY18" fmla="*/ 54255 h 83564"/>
                      <a:gd name="connsiteX19" fmla="*/ 155080 w 168197"/>
                      <a:gd name="connsiteY19" fmla="*/ 55353 h 83564"/>
                      <a:gd name="connsiteX20" fmla="*/ 144076 w 168197"/>
                      <a:gd name="connsiteY20" fmla="*/ 56478 h 83564"/>
                      <a:gd name="connsiteX21" fmla="*/ 139932 w 168197"/>
                      <a:gd name="connsiteY21" fmla="*/ 50193 h 83564"/>
                      <a:gd name="connsiteX22" fmla="*/ 134580 w 168197"/>
                      <a:gd name="connsiteY22" fmla="*/ 46653 h 83564"/>
                      <a:gd name="connsiteX23" fmla="*/ 125771 w 168197"/>
                      <a:gd name="connsiteY23" fmla="*/ 49727 h 83564"/>
                      <a:gd name="connsiteX24" fmla="*/ 115480 w 168197"/>
                      <a:gd name="connsiteY24" fmla="*/ 46681 h 83564"/>
                      <a:gd name="connsiteX25" fmla="*/ 108564 w 168197"/>
                      <a:gd name="connsiteY25" fmla="*/ 48327 h 83564"/>
                      <a:gd name="connsiteX26" fmla="*/ 106314 w 168197"/>
                      <a:gd name="connsiteY26" fmla="*/ 51538 h 83564"/>
                      <a:gd name="connsiteX27" fmla="*/ 101484 w 168197"/>
                      <a:gd name="connsiteY27" fmla="*/ 59414 h 83564"/>
                      <a:gd name="connsiteX28" fmla="*/ 94211 w 168197"/>
                      <a:gd name="connsiteY28" fmla="*/ 64656 h 83564"/>
                      <a:gd name="connsiteX29" fmla="*/ 90095 w 168197"/>
                      <a:gd name="connsiteY29" fmla="*/ 65644 h 83564"/>
                      <a:gd name="connsiteX30" fmla="*/ 81286 w 168197"/>
                      <a:gd name="connsiteY30" fmla="*/ 61665 h 83564"/>
                      <a:gd name="connsiteX31" fmla="*/ 76511 w 168197"/>
                      <a:gd name="connsiteY31" fmla="*/ 67592 h 83564"/>
                      <a:gd name="connsiteX32" fmla="*/ 63668 w 168197"/>
                      <a:gd name="connsiteY32" fmla="*/ 68607 h 83564"/>
                      <a:gd name="connsiteX33" fmla="*/ 61142 w 168197"/>
                      <a:gd name="connsiteY33" fmla="*/ 69513 h 83564"/>
                      <a:gd name="connsiteX34" fmla="*/ 56834 w 168197"/>
                      <a:gd name="connsiteY34" fmla="*/ 73739 h 83564"/>
                      <a:gd name="connsiteX35" fmla="*/ 56752 w 168197"/>
                      <a:gd name="connsiteY35" fmla="*/ 77499 h 83564"/>
                      <a:gd name="connsiteX36" fmla="*/ 58755 w 168197"/>
                      <a:gd name="connsiteY36" fmla="*/ 79996 h 83564"/>
                      <a:gd name="connsiteX37" fmla="*/ 43085 w 168197"/>
                      <a:gd name="connsiteY37" fmla="*/ 83564 h 83564"/>
                      <a:gd name="connsiteX38" fmla="*/ 30681 w 168197"/>
                      <a:gd name="connsiteY38" fmla="*/ 83454 h 83564"/>
                      <a:gd name="connsiteX39" fmla="*/ 25165 w 168197"/>
                      <a:gd name="connsiteY39" fmla="*/ 82603 h 83564"/>
                      <a:gd name="connsiteX40" fmla="*/ 11691 w 168197"/>
                      <a:gd name="connsiteY40" fmla="*/ 71489 h 83564"/>
                      <a:gd name="connsiteX41" fmla="*/ 9138 w 168197"/>
                      <a:gd name="connsiteY41" fmla="*/ 71736 h 83564"/>
                      <a:gd name="connsiteX42" fmla="*/ 6366 w 168197"/>
                      <a:gd name="connsiteY42" fmla="*/ 66824 h 83564"/>
                      <a:gd name="connsiteX43" fmla="*/ 3677 w 168197"/>
                      <a:gd name="connsiteY43" fmla="*/ 64464 h 83564"/>
                      <a:gd name="connsiteX44" fmla="*/ 0 w 168197"/>
                      <a:gd name="connsiteY44" fmla="*/ 52691 h 83564"/>
                      <a:gd name="connsiteX45" fmla="*/ 2936 w 168197"/>
                      <a:gd name="connsiteY45" fmla="*/ 48382 h 83564"/>
                      <a:gd name="connsiteX46" fmla="*/ 2634 w 168197"/>
                      <a:gd name="connsiteY46" fmla="*/ 44760 h 83564"/>
                      <a:gd name="connsiteX47" fmla="*/ 9440 w 168197"/>
                      <a:gd name="connsiteY47" fmla="*/ 34194 h 83564"/>
                      <a:gd name="connsiteX48" fmla="*/ 16054 w 168197"/>
                      <a:gd name="connsiteY48" fmla="*/ 36033 h 83564"/>
                      <a:gd name="connsiteX49" fmla="*/ 23408 w 168197"/>
                      <a:gd name="connsiteY49" fmla="*/ 34194 h 83564"/>
                      <a:gd name="connsiteX50" fmla="*/ 35813 w 168197"/>
                      <a:gd name="connsiteY50" fmla="*/ 25467 h 83564"/>
                      <a:gd name="connsiteX51" fmla="*/ 38804 w 168197"/>
                      <a:gd name="connsiteY51" fmla="*/ 15835 h 83564"/>
                      <a:gd name="connsiteX52" fmla="*/ 43304 w 168197"/>
                      <a:gd name="connsiteY52" fmla="*/ 13530 h 83564"/>
                      <a:gd name="connsiteX53" fmla="*/ 45665 w 168197"/>
                      <a:gd name="connsiteY53" fmla="*/ 9825 h 83564"/>
                      <a:gd name="connsiteX54" fmla="*/ 50742 w 168197"/>
                      <a:gd name="connsiteY54" fmla="*/ 5297 h 83564"/>
                      <a:gd name="connsiteX55" fmla="*/ 58838 w 168197"/>
                      <a:gd name="connsiteY55" fmla="*/ 4391 h 83564"/>
                      <a:gd name="connsiteX56" fmla="*/ 61390 w 168197"/>
                      <a:gd name="connsiteY56" fmla="*/ 5077 h 83564"/>
                      <a:gd name="connsiteX57" fmla="*/ 63091 w 168197"/>
                      <a:gd name="connsiteY57" fmla="*/ 9248 h 83564"/>
                      <a:gd name="connsiteX58" fmla="*/ 68031 w 168197"/>
                      <a:gd name="connsiteY58" fmla="*/ 8864 h 83564"/>
                      <a:gd name="connsiteX59" fmla="*/ 76977 w 168197"/>
                      <a:gd name="connsiteY59" fmla="*/ 0 h 83564"/>
                      <a:gd name="connsiteX60" fmla="*/ 82575 w 168197"/>
                      <a:gd name="connsiteY60" fmla="*/ 9193 h 8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68197" h="83564">
                        <a:moveTo>
                          <a:pt x="82685" y="9193"/>
                        </a:moveTo>
                        <a:lnTo>
                          <a:pt x="86336" y="10236"/>
                        </a:lnTo>
                        <a:lnTo>
                          <a:pt x="86418" y="17810"/>
                        </a:lnTo>
                        <a:lnTo>
                          <a:pt x="89354" y="18497"/>
                        </a:lnTo>
                        <a:lnTo>
                          <a:pt x="95035" y="18771"/>
                        </a:lnTo>
                        <a:lnTo>
                          <a:pt x="97834" y="13035"/>
                        </a:lnTo>
                        <a:lnTo>
                          <a:pt x="105024" y="9441"/>
                        </a:lnTo>
                        <a:lnTo>
                          <a:pt x="109415" y="10346"/>
                        </a:lnTo>
                        <a:lnTo>
                          <a:pt x="110814" y="8864"/>
                        </a:lnTo>
                        <a:lnTo>
                          <a:pt x="120310" y="13612"/>
                        </a:lnTo>
                        <a:lnTo>
                          <a:pt x="125743" y="8891"/>
                        </a:lnTo>
                        <a:lnTo>
                          <a:pt x="133839" y="8151"/>
                        </a:lnTo>
                        <a:lnTo>
                          <a:pt x="148000" y="10758"/>
                        </a:lnTo>
                        <a:lnTo>
                          <a:pt x="153543" y="17783"/>
                        </a:lnTo>
                        <a:lnTo>
                          <a:pt x="168197" y="23711"/>
                        </a:lnTo>
                        <a:lnTo>
                          <a:pt x="162791" y="33837"/>
                        </a:lnTo>
                        <a:lnTo>
                          <a:pt x="161200" y="41329"/>
                        </a:lnTo>
                        <a:lnTo>
                          <a:pt x="156507" y="46900"/>
                        </a:lnTo>
                        <a:lnTo>
                          <a:pt x="156068" y="54255"/>
                        </a:lnTo>
                        <a:lnTo>
                          <a:pt x="155080" y="55353"/>
                        </a:lnTo>
                        <a:lnTo>
                          <a:pt x="144076" y="56478"/>
                        </a:lnTo>
                        <a:lnTo>
                          <a:pt x="139932" y="50193"/>
                        </a:lnTo>
                        <a:lnTo>
                          <a:pt x="134580" y="46653"/>
                        </a:lnTo>
                        <a:lnTo>
                          <a:pt x="125771" y="49727"/>
                        </a:lnTo>
                        <a:lnTo>
                          <a:pt x="115480" y="46681"/>
                        </a:lnTo>
                        <a:lnTo>
                          <a:pt x="108564" y="48327"/>
                        </a:lnTo>
                        <a:lnTo>
                          <a:pt x="106314" y="51538"/>
                        </a:lnTo>
                        <a:lnTo>
                          <a:pt x="101484" y="59414"/>
                        </a:lnTo>
                        <a:lnTo>
                          <a:pt x="94211" y="64656"/>
                        </a:lnTo>
                        <a:lnTo>
                          <a:pt x="90095" y="65644"/>
                        </a:lnTo>
                        <a:lnTo>
                          <a:pt x="81286" y="61665"/>
                        </a:lnTo>
                        <a:lnTo>
                          <a:pt x="76511" y="67592"/>
                        </a:lnTo>
                        <a:lnTo>
                          <a:pt x="63668" y="68607"/>
                        </a:lnTo>
                        <a:lnTo>
                          <a:pt x="61142" y="69513"/>
                        </a:lnTo>
                        <a:lnTo>
                          <a:pt x="56834" y="73739"/>
                        </a:lnTo>
                        <a:lnTo>
                          <a:pt x="56752" y="77499"/>
                        </a:lnTo>
                        <a:lnTo>
                          <a:pt x="58755" y="79996"/>
                        </a:lnTo>
                        <a:lnTo>
                          <a:pt x="43085" y="83564"/>
                        </a:lnTo>
                        <a:lnTo>
                          <a:pt x="30681" y="83454"/>
                        </a:lnTo>
                        <a:lnTo>
                          <a:pt x="25165" y="82603"/>
                        </a:lnTo>
                        <a:lnTo>
                          <a:pt x="11691" y="71489"/>
                        </a:lnTo>
                        <a:lnTo>
                          <a:pt x="9138" y="71736"/>
                        </a:lnTo>
                        <a:lnTo>
                          <a:pt x="6366" y="66824"/>
                        </a:lnTo>
                        <a:lnTo>
                          <a:pt x="3677" y="64464"/>
                        </a:lnTo>
                        <a:lnTo>
                          <a:pt x="0" y="52691"/>
                        </a:lnTo>
                        <a:lnTo>
                          <a:pt x="2936" y="48382"/>
                        </a:lnTo>
                        <a:lnTo>
                          <a:pt x="2634" y="44760"/>
                        </a:lnTo>
                        <a:lnTo>
                          <a:pt x="9440" y="34194"/>
                        </a:lnTo>
                        <a:lnTo>
                          <a:pt x="16054" y="36033"/>
                        </a:lnTo>
                        <a:lnTo>
                          <a:pt x="23408" y="34194"/>
                        </a:lnTo>
                        <a:lnTo>
                          <a:pt x="35813" y="25467"/>
                        </a:lnTo>
                        <a:lnTo>
                          <a:pt x="38804" y="15835"/>
                        </a:lnTo>
                        <a:lnTo>
                          <a:pt x="43304" y="13530"/>
                        </a:lnTo>
                        <a:lnTo>
                          <a:pt x="45665" y="9825"/>
                        </a:lnTo>
                        <a:lnTo>
                          <a:pt x="50742" y="5297"/>
                        </a:lnTo>
                        <a:lnTo>
                          <a:pt x="58838" y="4391"/>
                        </a:lnTo>
                        <a:lnTo>
                          <a:pt x="61390" y="5077"/>
                        </a:lnTo>
                        <a:lnTo>
                          <a:pt x="63091" y="9248"/>
                        </a:lnTo>
                        <a:lnTo>
                          <a:pt x="68031" y="8864"/>
                        </a:lnTo>
                        <a:lnTo>
                          <a:pt x="76977" y="0"/>
                        </a:lnTo>
                        <a:lnTo>
                          <a:pt x="82575" y="919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8" name="Freeform: Shape 3107">
                    <a:extLst>
                      <a:ext uri="{FF2B5EF4-FFF2-40B4-BE49-F238E27FC236}">
                        <a16:creationId xmlns:a16="http://schemas.microsoft.com/office/drawing/2014/main" id="{3D776CF0-4BD3-9714-CE87-C04D1D531AB5}"/>
                      </a:ext>
                    </a:extLst>
                  </p:cNvPr>
                  <p:cNvSpPr/>
                  <p:nvPr/>
                </p:nvSpPr>
                <p:spPr>
                  <a:xfrm>
                    <a:off x="-5921568" y="3434186"/>
                    <a:ext cx="2415" cy="3320"/>
                  </a:xfrm>
                  <a:custGeom>
                    <a:avLst/>
                    <a:gdLst>
                      <a:gd name="connsiteX0" fmla="*/ 2223 w 2415"/>
                      <a:gd name="connsiteY0" fmla="*/ 2662 h 3320"/>
                      <a:gd name="connsiteX1" fmla="*/ 0 w 2415"/>
                      <a:gd name="connsiteY1" fmla="*/ 3320 h 3320"/>
                      <a:gd name="connsiteX2" fmla="*/ 0 w 2415"/>
                      <a:gd name="connsiteY2" fmla="*/ 1235 h 3320"/>
                      <a:gd name="connsiteX3" fmla="*/ 2415 w 2415"/>
                      <a:gd name="connsiteY3" fmla="*/ 0 h 3320"/>
                      <a:gd name="connsiteX4" fmla="*/ 2223 w 2415"/>
                      <a:gd name="connsiteY4" fmla="*/ 2662 h 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5" h="3320">
                        <a:moveTo>
                          <a:pt x="2223" y="2662"/>
                        </a:moveTo>
                        <a:lnTo>
                          <a:pt x="0" y="3320"/>
                        </a:lnTo>
                        <a:lnTo>
                          <a:pt x="0" y="1235"/>
                        </a:lnTo>
                        <a:lnTo>
                          <a:pt x="2415" y="0"/>
                        </a:lnTo>
                        <a:lnTo>
                          <a:pt x="2223" y="266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9" name="Freeform: Shape 3108">
                    <a:extLst>
                      <a:ext uri="{FF2B5EF4-FFF2-40B4-BE49-F238E27FC236}">
                        <a16:creationId xmlns:a16="http://schemas.microsoft.com/office/drawing/2014/main" id="{A42DDBA7-06D4-E7FD-4BBA-06FBBE47B8BF}"/>
                      </a:ext>
                    </a:extLst>
                  </p:cNvPr>
                  <p:cNvSpPr/>
                  <p:nvPr/>
                </p:nvSpPr>
                <p:spPr>
                  <a:xfrm>
                    <a:off x="-6143527" y="1854486"/>
                    <a:ext cx="766180" cy="918296"/>
                  </a:xfrm>
                  <a:custGeom>
                    <a:avLst/>
                    <a:gdLst>
                      <a:gd name="connsiteX0" fmla="*/ 616918 w 766180"/>
                      <a:gd name="connsiteY0" fmla="*/ 16082 h 918296"/>
                      <a:gd name="connsiteX1" fmla="*/ 597818 w 766180"/>
                      <a:gd name="connsiteY1" fmla="*/ 57493 h 918296"/>
                      <a:gd name="connsiteX2" fmla="*/ 595403 w 766180"/>
                      <a:gd name="connsiteY2" fmla="*/ 73876 h 918296"/>
                      <a:gd name="connsiteX3" fmla="*/ 598092 w 766180"/>
                      <a:gd name="connsiteY3" fmla="*/ 78432 h 918296"/>
                      <a:gd name="connsiteX4" fmla="*/ 635799 w 766180"/>
                      <a:gd name="connsiteY4" fmla="*/ 22558 h 918296"/>
                      <a:gd name="connsiteX5" fmla="*/ 639805 w 766180"/>
                      <a:gd name="connsiteY5" fmla="*/ 27388 h 918296"/>
                      <a:gd name="connsiteX6" fmla="*/ 640546 w 766180"/>
                      <a:gd name="connsiteY6" fmla="*/ 54310 h 918296"/>
                      <a:gd name="connsiteX7" fmla="*/ 646282 w 766180"/>
                      <a:gd name="connsiteY7" fmla="*/ 56176 h 918296"/>
                      <a:gd name="connsiteX8" fmla="*/ 658577 w 766180"/>
                      <a:gd name="connsiteY8" fmla="*/ 30050 h 918296"/>
                      <a:gd name="connsiteX9" fmla="*/ 661870 w 766180"/>
                      <a:gd name="connsiteY9" fmla="*/ 11114 h 918296"/>
                      <a:gd name="connsiteX10" fmla="*/ 676552 w 766180"/>
                      <a:gd name="connsiteY10" fmla="*/ 3485 h 918296"/>
                      <a:gd name="connsiteX11" fmla="*/ 688105 w 766180"/>
                      <a:gd name="connsiteY11" fmla="*/ 16027 h 918296"/>
                      <a:gd name="connsiteX12" fmla="*/ 684950 w 766180"/>
                      <a:gd name="connsiteY12" fmla="*/ 34167 h 918296"/>
                      <a:gd name="connsiteX13" fmla="*/ 687858 w 766180"/>
                      <a:gd name="connsiteY13" fmla="*/ 51236 h 918296"/>
                      <a:gd name="connsiteX14" fmla="*/ 692441 w 766180"/>
                      <a:gd name="connsiteY14" fmla="*/ 48300 h 918296"/>
                      <a:gd name="connsiteX15" fmla="*/ 702403 w 766180"/>
                      <a:gd name="connsiteY15" fmla="*/ 28541 h 918296"/>
                      <a:gd name="connsiteX16" fmla="*/ 709676 w 766180"/>
                      <a:gd name="connsiteY16" fmla="*/ 25906 h 918296"/>
                      <a:gd name="connsiteX17" fmla="*/ 722546 w 766180"/>
                      <a:gd name="connsiteY17" fmla="*/ 36307 h 918296"/>
                      <a:gd name="connsiteX18" fmla="*/ 741509 w 766180"/>
                      <a:gd name="connsiteY18" fmla="*/ 40835 h 918296"/>
                      <a:gd name="connsiteX19" fmla="*/ 763711 w 766180"/>
                      <a:gd name="connsiteY19" fmla="*/ 61143 h 918296"/>
                      <a:gd name="connsiteX20" fmla="*/ 765384 w 766180"/>
                      <a:gd name="connsiteY20" fmla="*/ 67400 h 918296"/>
                      <a:gd name="connsiteX21" fmla="*/ 762036 w 766180"/>
                      <a:gd name="connsiteY21" fmla="*/ 73108 h 918296"/>
                      <a:gd name="connsiteX22" fmla="*/ 723315 w 766180"/>
                      <a:gd name="connsiteY22" fmla="*/ 96407 h 918296"/>
                      <a:gd name="connsiteX23" fmla="*/ 733770 w 766180"/>
                      <a:gd name="connsiteY23" fmla="*/ 108702 h 918296"/>
                      <a:gd name="connsiteX24" fmla="*/ 764562 w 766180"/>
                      <a:gd name="connsiteY24" fmla="*/ 118993 h 918296"/>
                      <a:gd name="connsiteX25" fmla="*/ 766180 w 766180"/>
                      <a:gd name="connsiteY25" fmla="*/ 131754 h 918296"/>
                      <a:gd name="connsiteX26" fmla="*/ 763738 w 766180"/>
                      <a:gd name="connsiteY26" fmla="*/ 137023 h 918296"/>
                      <a:gd name="connsiteX27" fmla="*/ 754682 w 766180"/>
                      <a:gd name="connsiteY27" fmla="*/ 136886 h 918296"/>
                      <a:gd name="connsiteX28" fmla="*/ 744144 w 766180"/>
                      <a:gd name="connsiteY28" fmla="*/ 128021 h 918296"/>
                      <a:gd name="connsiteX29" fmla="*/ 743787 w 766180"/>
                      <a:gd name="connsiteY29" fmla="*/ 137489 h 918296"/>
                      <a:gd name="connsiteX30" fmla="*/ 739232 w 766180"/>
                      <a:gd name="connsiteY30" fmla="*/ 146326 h 918296"/>
                      <a:gd name="connsiteX31" fmla="*/ 720653 w 766180"/>
                      <a:gd name="connsiteY31" fmla="*/ 156809 h 918296"/>
                      <a:gd name="connsiteX32" fmla="*/ 714258 w 766180"/>
                      <a:gd name="connsiteY32" fmla="*/ 176486 h 918296"/>
                      <a:gd name="connsiteX33" fmla="*/ 707617 w 766180"/>
                      <a:gd name="connsiteY33" fmla="*/ 178187 h 918296"/>
                      <a:gd name="connsiteX34" fmla="*/ 704379 w 766180"/>
                      <a:gd name="connsiteY34" fmla="*/ 172040 h 918296"/>
                      <a:gd name="connsiteX35" fmla="*/ 706409 w 766180"/>
                      <a:gd name="connsiteY35" fmla="*/ 161831 h 918296"/>
                      <a:gd name="connsiteX36" fmla="*/ 718924 w 766180"/>
                      <a:gd name="connsiteY36" fmla="*/ 142017 h 918296"/>
                      <a:gd name="connsiteX37" fmla="*/ 713134 w 766180"/>
                      <a:gd name="connsiteY37" fmla="*/ 124756 h 918296"/>
                      <a:gd name="connsiteX38" fmla="*/ 702924 w 766180"/>
                      <a:gd name="connsiteY38" fmla="*/ 119267 h 918296"/>
                      <a:gd name="connsiteX39" fmla="*/ 691536 w 766180"/>
                      <a:gd name="connsiteY39" fmla="*/ 113010 h 918296"/>
                      <a:gd name="connsiteX40" fmla="*/ 678390 w 766180"/>
                      <a:gd name="connsiteY40" fmla="*/ 91413 h 918296"/>
                      <a:gd name="connsiteX41" fmla="*/ 669856 w 766180"/>
                      <a:gd name="connsiteY41" fmla="*/ 92236 h 918296"/>
                      <a:gd name="connsiteX42" fmla="*/ 652923 w 766180"/>
                      <a:gd name="connsiteY42" fmla="*/ 105491 h 918296"/>
                      <a:gd name="connsiteX43" fmla="*/ 635799 w 766180"/>
                      <a:gd name="connsiteY43" fmla="*/ 103762 h 918296"/>
                      <a:gd name="connsiteX44" fmla="*/ 620733 w 766180"/>
                      <a:gd name="connsiteY44" fmla="*/ 124152 h 918296"/>
                      <a:gd name="connsiteX45" fmla="*/ 618894 w 766180"/>
                      <a:gd name="connsiteY45" fmla="*/ 135404 h 918296"/>
                      <a:gd name="connsiteX46" fmla="*/ 615820 w 766180"/>
                      <a:gd name="connsiteY46" fmla="*/ 146738 h 918296"/>
                      <a:gd name="connsiteX47" fmla="*/ 616040 w 766180"/>
                      <a:gd name="connsiteY47" fmla="*/ 151979 h 918296"/>
                      <a:gd name="connsiteX48" fmla="*/ 614256 w 766180"/>
                      <a:gd name="connsiteY48" fmla="*/ 155025 h 918296"/>
                      <a:gd name="connsiteX49" fmla="*/ 612747 w 766180"/>
                      <a:gd name="connsiteY49" fmla="*/ 162764 h 918296"/>
                      <a:gd name="connsiteX50" fmla="*/ 613954 w 766180"/>
                      <a:gd name="connsiteY50" fmla="*/ 180136 h 918296"/>
                      <a:gd name="connsiteX51" fmla="*/ 611457 w 766180"/>
                      <a:gd name="connsiteY51" fmla="*/ 188478 h 918296"/>
                      <a:gd name="connsiteX52" fmla="*/ 598778 w 766180"/>
                      <a:gd name="connsiteY52" fmla="*/ 196107 h 918296"/>
                      <a:gd name="connsiteX53" fmla="*/ 594799 w 766180"/>
                      <a:gd name="connsiteY53" fmla="*/ 211393 h 918296"/>
                      <a:gd name="connsiteX54" fmla="*/ 588076 w 766180"/>
                      <a:gd name="connsiteY54" fmla="*/ 216498 h 918296"/>
                      <a:gd name="connsiteX55" fmla="*/ 560221 w 766180"/>
                      <a:gd name="connsiteY55" fmla="*/ 196190 h 918296"/>
                      <a:gd name="connsiteX56" fmla="*/ 556461 w 766180"/>
                      <a:gd name="connsiteY56" fmla="*/ 197480 h 918296"/>
                      <a:gd name="connsiteX57" fmla="*/ 552180 w 766180"/>
                      <a:gd name="connsiteY57" fmla="*/ 206289 h 918296"/>
                      <a:gd name="connsiteX58" fmla="*/ 539035 w 766180"/>
                      <a:gd name="connsiteY58" fmla="*/ 211860 h 918296"/>
                      <a:gd name="connsiteX59" fmla="*/ 515517 w 766180"/>
                      <a:gd name="connsiteY59" fmla="*/ 204642 h 918296"/>
                      <a:gd name="connsiteX60" fmla="*/ 503304 w 766180"/>
                      <a:gd name="connsiteY60" fmla="*/ 176431 h 918296"/>
                      <a:gd name="connsiteX61" fmla="*/ 494577 w 766180"/>
                      <a:gd name="connsiteY61" fmla="*/ 162792 h 918296"/>
                      <a:gd name="connsiteX62" fmla="*/ 492163 w 766180"/>
                      <a:gd name="connsiteY62" fmla="*/ 159471 h 918296"/>
                      <a:gd name="connsiteX63" fmla="*/ 490077 w 766180"/>
                      <a:gd name="connsiteY63" fmla="*/ 158867 h 918296"/>
                      <a:gd name="connsiteX64" fmla="*/ 482941 w 766180"/>
                      <a:gd name="connsiteY64" fmla="*/ 156864 h 918296"/>
                      <a:gd name="connsiteX65" fmla="*/ 475587 w 766180"/>
                      <a:gd name="connsiteY65" fmla="*/ 162792 h 918296"/>
                      <a:gd name="connsiteX66" fmla="*/ 474764 w 766180"/>
                      <a:gd name="connsiteY66" fmla="*/ 167265 h 918296"/>
                      <a:gd name="connsiteX67" fmla="*/ 476547 w 766180"/>
                      <a:gd name="connsiteY67" fmla="*/ 173083 h 918296"/>
                      <a:gd name="connsiteX68" fmla="*/ 474983 w 766180"/>
                      <a:gd name="connsiteY68" fmla="*/ 177309 h 918296"/>
                      <a:gd name="connsiteX69" fmla="*/ 466393 w 766180"/>
                      <a:gd name="connsiteY69" fmla="*/ 173796 h 918296"/>
                      <a:gd name="connsiteX70" fmla="*/ 461124 w 766180"/>
                      <a:gd name="connsiteY70" fmla="*/ 177501 h 918296"/>
                      <a:gd name="connsiteX71" fmla="*/ 450998 w 766180"/>
                      <a:gd name="connsiteY71" fmla="*/ 180410 h 918296"/>
                      <a:gd name="connsiteX72" fmla="*/ 453962 w 766180"/>
                      <a:gd name="connsiteY72" fmla="*/ 198440 h 918296"/>
                      <a:gd name="connsiteX73" fmla="*/ 446113 w 766180"/>
                      <a:gd name="connsiteY73" fmla="*/ 217678 h 918296"/>
                      <a:gd name="connsiteX74" fmla="*/ 448473 w 766180"/>
                      <a:gd name="connsiteY74" fmla="*/ 226295 h 918296"/>
                      <a:gd name="connsiteX75" fmla="*/ 443314 w 766180"/>
                      <a:gd name="connsiteY75" fmla="*/ 232826 h 918296"/>
                      <a:gd name="connsiteX76" fmla="*/ 399048 w 766180"/>
                      <a:gd name="connsiteY76" fmla="*/ 217458 h 918296"/>
                      <a:gd name="connsiteX77" fmla="*/ 389855 w 766180"/>
                      <a:gd name="connsiteY77" fmla="*/ 220093 h 918296"/>
                      <a:gd name="connsiteX78" fmla="*/ 389498 w 766180"/>
                      <a:gd name="connsiteY78" fmla="*/ 249621 h 918296"/>
                      <a:gd name="connsiteX79" fmla="*/ 383213 w 766180"/>
                      <a:gd name="connsiteY79" fmla="*/ 263974 h 918296"/>
                      <a:gd name="connsiteX80" fmla="*/ 375886 w 766180"/>
                      <a:gd name="connsiteY80" fmla="*/ 259473 h 918296"/>
                      <a:gd name="connsiteX81" fmla="*/ 365184 w 766180"/>
                      <a:gd name="connsiteY81" fmla="*/ 254177 h 918296"/>
                      <a:gd name="connsiteX82" fmla="*/ 348663 w 766180"/>
                      <a:gd name="connsiteY82" fmla="*/ 270862 h 918296"/>
                      <a:gd name="connsiteX83" fmla="*/ 340623 w 766180"/>
                      <a:gd name="connsiteY83" fmla="*/ 296247 h 918296"/>
                      <a:gd name="connsiteX84" fmla="*/ 330715 w 766180"/>
                      <a:gd name="connsiteY84" fmla="*/ 304617 h 918296"/>
                      <a:gd name="connsiteX85" fmla="*/ 338674 w 766180"/>
                      <a:gd name="connsiteY85" fmla="*/ 323772 h 918296"/>
                      <a:gd name="connsiteX86" fmla="*/ 338207 w 766180"/>
                      <a:gd name="connsiteY86" fmla="*/ 335710 h 918296"/>
                      <a:gd name="connsiteX87" fmla="*/ 328685 w 766180"/>
                      <a:gd name="connsiteY87" fmla="*/ 346083 h 918296"/>
                      <a:gd name="connsiteX88" fmla="*/ 314414 w 766180"/>
                      <a:gd name="connsiteY88" fmla="*/ 371660 h 918296"/>
                      <a:gd name="connsiteX89" fmla="*/ 309694 w 766180"/>
                      <a:gd name="connsiteY89" fmla="*/ 378027 h 918296"/>
                      <a:gd name="connsiteX90" fmla="*/ 311286 w 766180"/>
                      <a:gd name="connsiteY90" fmla="*/ 388181 h 918296"/>
                      <a:gd name="connsiteX91" fmla="*/ 312081 w 766180"/>
                      <a:gd name="connsiteY91" fmla="*/ 392819 h 918296"/>
                      <a:gd name="connsiteX92" fmla="*/ 306895 w 766180"/>
                      <a:gd name="connsiteY92" fmla="*/ 396414 h 918296"/>
                      <a:gd name="connsiteX93" fmla="*/ 298936 w 766180"/>
                      <a:gd name="connsiteY93" fmla="*/ 402122 h 918296"/>
                      <a:gd name="connsiteX94" fmla="*/ 296439 w 766180"/>
                      <a:gd name="connsiteY94" fmla="*/ 402424 h 918296"/>
                      <a:gd name="connsiteX95" fmla="*/ 294134 w 766180"/>
                      <a:gd name="connsiteY95" fmla="*/ 402671 h 918296"/>
                      <a:gd name="connsiteX96" fmla="*/ 288508 w 766180"/>
                      <a:gd name="connsiteY96" fmla="*/ 403247 h 918296"/>
                      <a:gd name="connsiteX97" fmla="*/ 287026 w 766180"/>
                      <a:gd name="connsiteY97" fmla="*/ 403412 h 918296"/>
                      <a:gd name="connsiteX98" fmla="*/ 283705 w 766180"/>
                      <a:gd name="connsiteY98" fmla="*/ 403741 h 918296"/>
                      <a:gd name="connsiteX99" fmla="*/ 284062 w 766180"/>
                      <a:gd name="connsiteY99" fmla="*/ 406430 h 918296"/>
                      <a:gd name="connsiteX100" fmla="*/ 285242 w 766180"/>
                      <a:gd name="connsiteY100" fmla="*/ 415596 h 918296"/>
                      <a:gd name="connsiteX101" fmla="*/ 286504 w 766180"/>
                      <a:gd name="connsiteY101" fmla="*/ 426821 h 918296"/>
                      <a:gd name="connsiteX102" fmla="*/ 283569 w 766180"/>
                      <a:gd name="connsiteY102" fmla="*/ 443561 h 918296"/>
                      <a:gd name="connsiteX103" fmla="*/ 283129 w 766180"/>
                      <a:gd name="connsiteY103" fmla="*/ 462881 h 918296"/>
                      <a:gd name="connsiteX104" fmla="*/ 279644 w 766180"/>
                      <a:gd name="connsiteY104" fmla="*/ 466997 h 918296"/>
                      <a:gd name="connsiteX105" fmla="*/ 278080 w 766180"/>
                      <a:gd name="connsiteY105" fmla="*/ 475998 h 918296"/>
                      <a:gd name="connsiteX106" fmla="*/ 259802 w 766180"/>
                      <a:gd name="connsiteY106" fmla="*/ 511098 h 918296"/>
                      <a:gd name="connsiteX107" fmla="*/ 271302 w 766180"/>
                      <a:gd name="connsiteY107" fmla="*/ 523255 h 918296"/>
                      <a:gd name="connsiteX108" fmla="*/ 272591 w 766180"/>
                      <a:gd name="connsiteY108" fmla="*/ 539447 h 918296"/>
                      <a:gd name="connsiteX109" fmla="*/ 271795 w 766180"/>
                      <a:gd name="connsiteY109" fmla="*/ 541395 h 918296"/>
                      <a:gd name="connsiteX110" fmla="*/ 268118 w 766180"/>
                      <a:gd name="connsiteY110" fmla="*/ 550424 h 918296"/>
                      <a:gd name="connsiteX111" fmla="*/ 244929 w 766180"/>
                      <a:gd name="connsiteY111" fmla="*/ 546445 h 918296"/>
                      <a:gd name="connsiteX112" fmla="*/ 229890 w 766180"/>
                      <a:gd name="connsiteY112" fmla="*/ 554238 h 918296"/>
                      <a:gd name="connsiteX113" fmla="*/ 214824 w 766180"/>
                      <a:gd name="connsiteY113" fmla="*/ 579349 h 918296"/>
                      <a:gd name="connsiteX114" fmla="*/ 215043 w 766180"/>
                      <a:gd name="connsiteY114" fmla="*/ 583767 h 918296"/>
                      <a:gd name="connsiteX115" fmla="*/ 215208 w 766180"/>
                      <a:gd name="connsiteY115" fmla="*/ 586868 h 918296"/>
                      <a:gd name="connsiteX116" fmla="*/ 212875 w 766180"/>
                      <a:gd name="connsiteY116" fmla="*/ 592960 h 918296"/>
                      <a:gd name="connsiteX117" fmla="*/ 210159 w 766180"/>
                      <a:gd name="connsiteY117" fmla="*/ 600013 h 918296"/>
                      <a:gd name="connsiteX118" fmla="*/ 211229 w 766180"/>
                      <a:gd name="connsiteY118" fmla="*/ 606600 h 918296"/>
                      <a:gd name="connsiteX119" fmla="*/ 215455 w 766180"/>
                      <a:gd name="connsiteY119" fmla="*/ 618208 h 918296"/>
                      <a:gd name="connsiteX120" fmla="*/ 212381 w 766180"/>
                      <a:gd name="connsiteY120" fmla="*/ 625343 h 918296"/>
                      <a:gd name="connsiteX121" fmla="*/ 213314 w 766180"/>
                      <a:gd name="connsiteY121" fmla="*/ 635003 h 918296"/>
                      <a:gd name="connsiteX122" fmla="*/ 211503 w 766180"/>
                      <a:gd name="connsiteY122" fmla="*/ 642989 h 918296"/>
                      <a:gd name="connsiteX123" fmla="*/ 217183 w 766180"/>
                      <a:gd name="connsiteY123" fmla="*/ 661376 h 918296"/>
                      <a:gd name="connsiteX124" fmla="*/ 218501 w 766180"/>
                      <a:gd name="connsiteY124" fmla="*/ 665410 h 918296"/>
                      <a:gd name="connsiteX125" fmla="*/ 214275 w 766180"/>
                      <a:gd name="connsiteY125" fmla="*/ 699137 h 918296"/>
                      <a:gd name="connsiteX126" fmla="*/ 221520 w 766180"/>
                      <a:gd name="connsiteY126" fmla="*/ 708523 h 918296"/>
                      <a:gd name="connsiteX127" fmla="*/ 227777 w 766180"/>
                      <a:gd name="connsiteY127" fmla="*/ 711102 h 918296"/>
                      <a:gd name="connsiteX128" fmla="*/ 234528 w 766180"/>
                      <a:gd name="connsiteY128" fmla="*/ 721366 h 918296"/>
                      <a:gd name="connsiteX129" fmla="*/ 234418 w 766180"/>
                      <a:gd name="connsiteY129" fmla="*/ 726882 h 918296"/>
                      <a:gd name="connsiteX130" fmla="*/ 229369 w 766180"/>
                      <a:gd name="connsiteY130" fmla="*/ 740466 h 918296"/>
                      <a:gd name="connsiteX131" fmla="*/ 217595 w 766180"/>
                      <a:gd name="connsiteY131" fmla="*/ 744418 h 918296"/>
                      <a:gd name="connsiteX132" fmla="*/ 226953 w 766180"/>
                      <a:gd name="connsiteY132" fmla="*/ 774194 h 918296"/>
                      <a:gd name="connsiteX133" fmla="*/ 223660 w 766180"/>
                      <a:gd name="connsiteY133" fmla="*/ 797630 h 918296"/>
                      <a:gd name="connsiteX134" fmla="*/ 215675 w 766180"/>
                      <a:gd name="connsiteY134" fmla="*/ 808717 h 918296"/>
                      <a:gd name="connsiteX135" fmla="*/ 204971 w 766180"/>
                      <a:gd name="connsiteY135" fmla="*/ 812971 h 918296"/>
                      <a:gd name="connsiteX136" fmla="*/ 207551 w 766180"/>
                      <a:gd name="connsiteY136" fmla="*/ 815907 h 918296"/>
                      <a:gd name="connsiteX137" fmla="*/ 206947 w 766180"/>
                      <a:gd name="connsiteY137" fmla="*/ 821725 h 918296"/>
                      <a:gd name="connsiteX138" fmla="*/ 201541 w 766180"/>
                      <a:gd name="connsiteY138" fmla="*/ 828476 h 918296"/>
                      <a:gd name="connsiteX139" fmla="*/ 204588 w 766180"/>
                      <a:gd name="connsiteY139" fmla="*/ 847933 h 918296"/>
                      <a:gd name="connsiteX140" fmla="*/ 203215 w 766180"/>
                      <a:gd name="connsiteY140" fmla="*/ 850952 h 918296"/>
                      <a:gd name="connsiteX141" fmla="*/ 198962 w 766180"/>
                      <a:gd name="connsiteY141" fmla="*/ 866649 h 918296"/>
                      <a:gd name="connsiteX142" fmla="*/ 194488 w 766180"/>
                      <a:gd name="connsiteY142" fmla="*/ 867720 h 918296"/>
                      <a:gd name="connsiteX143" fmla="*/ 193830 w 766180"/>
                      <a:gd name="connsiteY143" fmla="*/ 862231 h 918296"/>
                      <a:gd name="connsiteX144" fmla="*/ 191031 w 766180"/>
                      <a:gd name="connsiteY144" fmla="*/ 856495 h 918296"/>
                      <a:gd name="connsiteX145" fmla="*/ 190564 w 766180"/>
                      <a:gd name="connsiteY145" fmla="*/ 855535 h 918296"/>
                      <a:gd name="connsiteX146" fmla="*/ 184691 w 766180"/>
                      <a:gd name="connsiteY146" fmla="*/ 854876 h 918296"/>
                      <a:gd name="connsiteX147" fmla="*/ 180520 w 766180"/>
                      <a:gd name="connsiteY147" fmla="*/ 859569 h 918296"/>
                      <a:gd name="connsiteX148" fmla="*/ 176952 w 766180"/>
                      <a:gd name="connsiteY148" fmla="*/ 857730 h 918296"/>
                      <a:gd name="connsiteX149" fmla="*/ 170558 w 766180"/>
                      <a:gd name="connsiteY149" fmla="*/ 842390 h 918296"/>
                      <a:gd name="connsiteX150" fmla="*/ 171024 w 766180"/>
                      <a:gd name="connsiteY150" fmla="*/ 833471 h 918296"/>
                      <a:gd name="connsiteX151" fmla="*/ 167786 w 766180"/>
                      <a:gd name="connsiteY151" fmla="*/ 819475 h 918296"/>
                      <a:gd name="connsiteX152" fmla="*/ 169900 w 766180"/>
                      <a:gd name="connsiteY152" fmla="*/ 813739 h 918296"/>
                      <a:gd name="connsiteX153" fmla="*/ 173357 w 766180"/>
                      <a:gd name="connsiteY153" fmla="*/ 813657 h 918296"/>
                      <a:gd name="connsiteX154" fmla="*/ 173248 w 766180"/>
                      <a:gd name="connsiteY154" fmla="*/ 810830 h 918296"/>
                      <a:gd name="connsiteX155" fmla="*/ 171848 w 766180"/>
                      <a:gd name="connsiteY155" fmla="*/ 810501 h 918296"/>
                      <a:gd name="connsiteX156" fmla="*/ 169735 w 766180"/>
                      <a:gd name="connsiteY156" fmla="*/ 808827 h 918296"/>
                      <a:gd name="connsiteX157" fmla="*/ 165481 w 766180"/>
                      <a:gd name="connsiteY157" fmla="*/ 816044 h 918296"/>
                      <a:gd name="connsiteX158" fmla="*/ 167512 w 766180"/>
                      <a:gd name="connsiteY158" fmla="*/ 822795 h 918296"/>
                      <a:gd name="connsiteX159" fmla="*/ 168500 w 766180"/>
                      <a:gd name="connsiteY159" fmla="*/ 823920 h 918296"/>
                      <a:gd name="connsiteX160" fmla="*/ 168939 w 766180"/>
                      <a:gd name="connsiteY160" fmla="*/ 827598 h 918296"/>
                      <a:gd name="connsiteX161" fmla="*/ 167512 w 766180"/>
                      <a:gd name="connsiteY161" fmla="*/ 830205 h 918296"/>
                      <a:gd name="connsiteX162" fmla="*/ 166579 w 766180"/>
                      <a:gd name="connsiteY162" fmla="*/ 831852 h 918296"/>
                      <a:gd name="connsiteX163" fmla="*/ 163588 w 766180"/>
                      <a:gd name="connsiteY163" fmla="*/ 830973 h 918296"/>
                      <a:gd name="connsiteX164" fmla="*/ 163286 w 766180"/>
                      <a:gd name="connsiteY164" fmla="*/ 822356 h 918296"/>
                      <a:gd name="connsiteX165" fmla="*/ 161776 w 766180"/>
                      <a:gd name="connsiteY165" fmla="*/ 820737 h 918296"/>
                      <a:gd name="connsiteX166" fmla="*/ 160267 w 766180"/>
                      <a:gd name="connsiteY166" fmla="*/ 821698 h 918296"/>
                      <a:gd name="connsiteX167" fmla="*/ 162023 w 766180"/>
                      <a:gd name="connsiteY167" fmla="*/ 826445 h 918296"/>
                      <a:gd name="connsiteX168" fmla="*/ 161529 w 766180"/>
                      <a:gd name="connsiteY168" fmla="*/ 833443 h 918296"/>
                      <a:gd name="connsiteX169" fmla="*/ 164713 w 766180"/>
                      <a:gd name="connsiteY169" fmla="*/ 838877 h 918296"/>
                      <a:gd name="connsiteX170" fmla="*/ 164356 w 766180"/>
                      <a:gd name="connsiteY170" fmla="*/ 855233 h 918296"/>
                      <a:gd name="connsiteX171" fmla="*/ 160843 w 766180"/>
                      <a:gd name="connsiteY171" fmla="*/ 852297 h 918296"/>
                      <a:gd name="connsiteX172" fmla="*/ 155958 w 766180"/>
                      <a:gd name="connsiteY172" fmla="*/ 859734 h 918296"/>
                      <a:gd name="connsiteX173" fmla="*/ 148439 w 766180"/>
                      <a:gd name="connsiteY173" fmla="*/ 862588 h 918296"/>
                      <a:gd name="connsiteX174" fmla="*/ 146051 w 766180"/>
                      <a:gd name="connsiteY174" fmla="*/ 859075 h 918296"/>
                      <a:gd name="connsiteX175" fmla="*/ 138368 w 766180"/>
                      <a:gd name="connsiteY175" fmla="*/ 869778 h 918296"/>
                      <a:gd name="connsiteX176" fmla="*/ 133098 w 766180"/>
                      <a:gd name="connsiteY176" fmla="*/ 870711 h 918296"/>
                      <a:gd name="connsiteX177" fmla="*/ 132138 w 766180"/>
                      <a:gd name="connsiteY177" fmla="*/ 874580 h 918296"/>
                      <a:gd name="connsiteX178" fmla="*/ 127829 w 766180"/>
                      <a:gd name="connsiteY178" fmla="*/ 877105 h 918296"/>
                      <a:gd name="connsiteX179" fmla="*/ 115261 w 766180"/>
                      <a:gd name="connsiteY179" fmla="*/ 895135 h 918296"/>
                      <a:gd name="connsiteX180" fmla="*/ 97395 w 766180"/>
                      <a:gd name="connsiteY180" fmla="*/ 909927 h 918296"/>
                      <a:gd name="connsiteX181" fmla="*/ 81067 w 766180"/>
                      <a:gd name="connsiteY181" fmla="*/ 918297 h 918296"/>
                      <a:gd name="connsiteX182" fmla="*/ 67839 w 766180"/>
                      <a:gd name="connsiteY182" fmla="*/ 915388 h 918296"/>
                      <a:gd name="connsiteX183" fmla="*/ 63338 w 766180"/>
                      <a:gd name="connsiteY183" fmla="*/ 917336 h 918296"/>
                      <a:gd name="connsiteX184" fmla="*/ 52361 w 766180"/>
                      <a:gd name="connsiteY184" fmla="*/ 913110 h 918296"/>
                      <a:gd name="connsiteX185" fmla="*/ 52197 w 766180"/>
                      <a:gd name="connsiteY185" fmla="*/ 906853 h 918296"/>
                      <a:gd name="connsiteX186" fmla="*/ 46022 w 766180"/>
                      <a:gd name="connsiteY186" fmla="*/ 901612 h 918296"/>
                      <a:gd name="connsiteX187" fmla="*/ 24369 w 766180"/>
                      <a:gd name="connsiteY187" fmla="*/ 887286 h 918296"/>
                      <a:gd name="connsiteX188" fmla="*/ 19347 w 766180"/>
                      <a:gd name="connsiteY188" fmla="*/ 877517 h 918296"/>
                      <a:gd name="connsiteX189" fmla="*/ 22037 w 766180"/>
                      <a:gd name="connsiteY189" fmla="*/ 860090 h 918296"/>
                      <a:gd name="connsiteX190" fmla="*/ 26976 w 766180"/>
                      <a:gd name="connsiteY190" fmla="*/ 853175 h 918296"/>
                      <a:gd name="connsiteX191" fmla="*/ 27717 w 766180"/>
                      <a:gd name="connsiteY191" fmla="*/ 859761 h 918296"/>
                      <a:gd name="connsiteX192" fmla="*/ 30654 w 766180"/>
                      <a:gd name="connsiteY192" fmla="*/ 861161 h 918296"/>
                      <a:gd name="connsiteX193" fmla="*/ 31999 w 766180"/>
                      <a:gd name="connsiteY193" fmla="*/ 846177 h 918296"/>
                      <a:gd name="connsiteX194" fmla="*/ 35703 w 766180"/>
                      <a:gd name="connsiteY194" fmla="*/ 843487 h 918296"/>
                      <a:gd name="connsiteX195" fmla="*/ 30160 w 766180"/>
                      <a:gd name="connsiteY195" fmla="*/ 836764 h 918296"/>
                      <a:gd name="connsiteX196" fmla="*/ 28403 w 766180"/>
                      <a:gd name="connsiteY196" fmla="*/ 841566 h 918296"/>
                      <a:gd name="connsiteX197" fmla="*/ 21433 w 766180"/>
                      <a:gd name="connsiteY197" fmla="*/ 844805 h 918296"/>
                      <a:gd name="connsiteX198" fmla="*/ 17234 w 766180"/>
                      <a:gd name="connsiteY198" fmla="*/ 850513 h 918296"/>
                      <a:gd name="connsiteX199" fmla="*/ 14023 w 766180"/>
                      <a:gd name="connsiteY199" fmla="*/ 848839 h 918296"/>
                      <a:gd name="connsiteX200" fmla="*/ 9962 w 766180"/>
                      <a:gd name="connsiteY200" fmla="*/ 852406 h 918296"/>
                      <a:gd name="connsiteX201" fmla="*/ 9770 w 766180"/>
                      <a:gd name="connsiteY201" fmla="*/ 840359 h 918296"/>
                      <a:gd name="connsiteX202" fmla="*/ 12651 w 766180"/>
                      <a:gd name="connsiteY202" fmla="*/ 833855 h 918296"/>
                      <a:gd name="connsiteX203" fmla="*/ 12569 w 766180"/>
                      <a:gd name="connsiteY203" fmla="*/ 827488 h 918296"/>
                      <a:gd name="connsiteX204" fmla="*/ 18853 w 766180"/>
                      <a:gd name="connsiteY204" fmla="*/ 820435 h 918296"/>
                      <a:gd name="connsiteX205" fmla="*/ 18853 w 766180"/>
                      <a:gd name="connsiteY205" fmla="*/ 828394 h 918296"/>
                      <a:gd name="connsiteX206" fmla="*/ 17179 w 766180"/>
                      <a:gd name="connsiteY206" fmla="*/ 832839 h 918296"/>
                      <a:gd name="connsiteX207" fmla="*/ 19924 w 766180"/>
                      <a:gd name="connsiteY207" fmla="*/ 829519 h 918296"/>
                      <a:gd name="connsiteX208" fmla="*/ 21296 w 766180"/>
                      <a:gd name="connsiteY208" fmla="*/ 823454 h 918296"/>
                      <a:gd name="connsiteX209" fmla="*/ 27882 w 766180"/>
                      <a:gd name="connsiteY209" fmla="*/ 824277 h 918296"/>
                      <a:gd name="connsiteX210" fmla="*/ 24836 w 766180"/>
                      <a:gd name="connsiteY210" fmla="*/ 814343 h 918296"/>
                      <a:gd name="connsiteX211" fmla="*/ 34496 w 766180"/>
                      <a:gd name="connsiteY211" fmla="*/ 800100 h 918296"/>
                      <a:gd name="connsiteX212" fmla="*/ 34907 w 766180"/>
                      <a:gd name="connsiteY212" fmla="*/ 792965 h 918296"/>
                      <a:gd name="connsiteX213" fmla="*/ 24095 w 766180"/>
                      <a:gd name="connsiteY213" fmla="*/ 804930 h 918296"/>
                      <a:gd name="connsiteX214" fmla="*/ 16136 w 766180"/>
                      <a:gd name="connsiteY214" fmla="*/ 818597 h 918296"/>
                      <a:gd name="connsiteX215" fmla="*/ 10511 w 766180"/>
                      <a:gd name="connsiteY215" fmla="*/ 824030 h 918296"/>
                      <a:gd name="connsiteX216" fmla="*/ 8398 w 766180"/>
                      <a:gd name="connsiteY216" fmla="*/ 822576 h 918296"/>
                      <a:gd name="connsiteX217" fmla="*/ 7849 w 766180"/>
                      <a:gd name="connsiteY217" fmla="*/ 809925 h 918296"/>
                      <a:gd name="connsiteX218" fmla="*/ 24040 w 766180"/>
                      <a:gd name="connsiteY218" fmla="*/ 795736 h 918296"/>
                      <a:gd name="connsiteX219" fmla="*/ 21323 w 766180"/>
                      <a:gd name="connsiteY219" fmla="*/ 791263 h 918296"/>
                      <a:gd name="connsiteX220" fmla="*/ 15999 w 766180"/>
                      <a:gd name="connsiteY220" fmla="*/ 793376 h 918296"/>
                      <a:gd name="connsiteX221" fmla="*/ 11334 w 766180"/>
                      <a:gd name="connsiteY221" fmla="*/ 791044 h 918296"/>
                      <a:gd name="connsiteX222" fmla="*/ 9770 w 766180"/>
                      <a:gd name="connsiteY222" fmla="*/ 800512 h 918296"/>
                      <a:gd name="connsiteX223" fmla="*/ 4281 w 766180"/>
                      <a:gd name="connsiteY223" fmla="*/ 792636 h 918296"/>
                      <a:gd name="connsiteX224" fmla="*/ 0 w 766180"/>
                      <a:gd name="connsiteY224" fmla="*/ 774331 h 918296"/>
                      <a:gd name="connsiteX225" fmla="*/ 2827 w 766180"/>
                      <a:gd name="connsiteY225" fmla="*/ 771559 h 918296"/>
                      <a:gd name="connsiteX226" fmla="*/ 659 w 766180"/>
                      <a:gd name="connsiteY226" fmla="*/ 759375 h 918296"/>
                      <a:gd name="connsiteX227" fmla="*/ 7904 w 766180"/>
                      <a:gd name="connsiteY227" fmla="*/ 753474 h 918296"/>
                      <a:gd name="connsiteX228" fmla="*/ 3595 w 766180"/>
                      <a:gd name="connsiteY228" fmla="*/ 747245 h 918296"/>
                      <a:gd name="connsiteX229" fmla="*/ 10511 w 766180"/>
                      <a:gd name="connsiteY229" fmla="*/ 738381 h 918296"/>
                      <a:gd name="connsiteX230" fmla="*/ 2470 w 766180"/>
                      <a:gd name="connsiteY230" fmla="*/ 731575 h 918296"/>
                      <a:gd name="connsiteX231" fmla="*/ 3348 w 766180"/>
                      <a:gd name="connsiteY231" fmla="*/ 721888 h 918296"/>
                      <a:gd name="connsiteX232" fmla="*/ 7437 w 766180"/>
                      <a:gd name="connsiteY232" fmla="*/ 709703 h 918296"/>
                      <a:gd name="connsiteX233" fmla="*/ 3622 w 766180"/>
                      <a:gd name="connsiteY233" fmla="*/ 689395 h 918296"/>
                      <a:gd name="connsiteX234" fmla="*/ 10538 w 766180"/>
                      <a:gd name="connsiteY234" fmla="*/ 676936 h 918296"/>
                      <a:gd name="connsiteX235" fmla="*/ 18277 w 766180"/>
                      <a:gd name="connsiteY235" fmla="*/ 681052 h 918296"/>
                      <a:gd name="connsiteX236" fmla="*/ 16383 w 766180"/>
                      <a:gd name="connsiteY236" fmla="*/ 671200 h 918296"/>
                      <a:gd name="connsiteX237" fmla="*/ 19265 w 766180"/>
                      <a:gd name="connsiteY237" fmla="*/ 667276 h 918296"/>
                      <a:gd name="connsiteX238" fmla="*/ 19814 w 766180"/>
                      <a:gd name="connsiteY238" fmla="*/ 658412 h 918296"/>
                      <a:gd name="connsiteX239" fmla="*/ 43470 w 766180"/>
                      <a:gd name="connsiteY239" fmla="*/ 660360 h 918296"/>
                      <a:gd name="connsiteX240" fmla="*/ 43415 w 766180"/>
                      <a:gd name="connsiteY240" fmla="*/ 657012 h 918296"/>
                      <a:gd name="connsiteX241" fmla="*/ 37707 w 766180"/>
                      <a:gd name="connsiteY241" fmla="*/ 652951 h 918296"/>
                      <a:gd name="connsiteX242" fmla="*/ 40314 w 766180"/>
                      <a:gd name="connsiteY242" fmla="*/ 643154 h 918296"/>
                      <a:gd name="connsiteX243" fmla="*/ 52745 w 766180"/>
                      <a:gd name="connsiteY243" fmla="*/ 641205 h 918296"/>
                      <a:gd name="connsiteX244" fmla="*/ 61994 w 766180"/>
                      <a:gd name="connsiteY244" fmla="*/ 623587 h 918296"/>
                      <a:gd name="connsiteX245" fmla="*/ 78954 w 766180"/>
                      <a:gd name="connsiteY245" fmla="*/ 613323 h 918296"/>
                      <a:gd name="connsiteX246" fmla="*/ 95941 w 766180"/>
                      <a:gd name="connsiteY246" fmla="*/ 613845 h 918296"/>
                      <a:gd name="connsiteX247" fmla="*/ 94870 w 766180"/>
                      <a:gd name="connsiteY247" fmla="*/ 604185 h 918296"/>
                      <a:gd name="connsiteX248" fmla="*/ 111199 w 766180"/>
                      <a:gd name="connsiteY248" fmla="*/ 592906 h 918296"/>
                      <a:gd name="connsiteX249" fmla="*/ 114273 w 766180"/>
                      <a:gd name="connsiteY249" fmla="*/ 590792 h 918296"/>
                      <a:gd name="connsiteX250" fmla="*/ 103954 w 766180"/>
                      <a:gd name="connsiteY250" fmla="*/ 586813 h 918296"/>
                      <a:gd name="connsiteX251" fmla="*/ 107879 w 766180"/>
                      <a:gd name="connsiteY251" fmla="*/ 578114 h 918296"/>
                      <a:gd name="connsiteX252" fmla="*/ 107220 w 766180"/>
                      <a:gd name="connsiteY252" fmla="*/ 571500 h 918296"/>
                      <a:gd name="connsiteX253" fmla="*/ 111336 w 766180"/>
                      <a:gd name="connsiteY253" fmla="*/ 563871 h 918296"/>
                      <a:gd name="connsiteX254" fmla="*/ 115480 w 766180"/>
                      <a:gd name="connsiteY254" fmla="*/ 566423 h 918296"/>
                      <a:gd name="connsiteX255" fmla="*/ 118499 w 766180"/>
                      <a:gd name="connsiteY255" fmla="*/ 574930 h 918296"/>
                      <a:gd name="connsiteX256" fmla="*/ 124920 w 766180"/>
                      <a:gd name="connsiteY256" fmla="*/ 576851 h 918296"/>
                      <a:gd name="connsiteX257" fmla="*/ 128077 w 766180"/>
                      <a:gd name="connsiteY257" fmla="*/ 583849 h 918296"/>
                      <a:gd name="connsiteX258" fmla="*/ 142978 w 766180"/>
                      <a:gd name="connsiteY258" fmla="*/ 578004 h 918296"/>
                      <a:gd name="connsiteX259" fmla="*/ 147643 w 766180"/>
                      <a:gd name="connsiteY259" fmla="*/ 586786 h 918296"/>
                      <a:gd name="connsiteX260" fmla="*/ 150936 w 766180"/>
                      <a:gd name="connsiteY260" fmla="*/ 592878 h 918296"/>
                      <a:gd name="connsiteX261" fmla="*/ 152446 w 766180"/>
                      <a:gd name="connsiteY261" fmla="*/ 592878 h 918296"/>
                      <a:gd name="connsiteX262" fmla="*/ 158264 w 766180"/>
                      <a:gd name="connsiteY262" fmla="*/ 589612 h 918296"/>
                      <a:gd name="connsiteX263" fmla="*/ 176019 w 766180"/>
                      <a:gd name="connsiteY263" fmla="*/ 589804 h 918296"/>
                      <a:gd name="connsiteX264" fmla="*/ 179010 w 766180"/>
                      <a:gd name="connsiteY264" fmla="*/ 571445 h 918296"/>
                      <a:gd name="connsiteX265" fmla="*/ 155876 w 766180"/>
                      <a:gd name="connsiteY265" fmla="*/ 583685 h 918296"/>
                      <a:gd name="connsiteX266" fmla="*/ 150058 w 766180"/>
                      <a:gd name="connsiteY266" fmla="*/ 584700 h 918296"/>
                      <a:gd name="connsiteX267" fmla="*/ 140343 w 766180"/>
                      <a:gd name="connsiteY267" fmla="*/ 568865 h 918296"/>
                      <a:gd name="connsiteX268" fmla="*/ 142264 w 766180"/>
                      <a:gd name="connsiteY268" fmla="*/ 563514 h 918296"/>
                      <a:gd name="connsiteX269" fmla="*/ 149372 w 766180"/>
                      <a:gd name="connsiteY269" fmla="*/ 557833 h 918296"/>
                      <a:gd name="connsiteX270" fmla="*/ 149647 w 766180"/>
                      <a:gd name="connsiteY270" fmla="*/ 549244 h 918296"/>
                      <a:gd name="connsiteX271" fmla="*/ 154504 w 766180"/>
                      <a:gd name="connsiteY271" fmla="*/ 541313 h 918296"/>
                      <a:gd name="connsiteX272" fmla="*/ 155684 w 766180"/>
                      <a:gd name="connsiteY272" fmla="*/ 539364 h 918296"/>
                      <a:gd name="connsiteX273" fmla="*/ 157605 w 766180"/>
                      <a:gd name="connsiteY273" fmla="*/ 536208 h 918296"/>
                      <a:gd name="connsiteX274" fmla="*/ 158373 w 766180"/>
                      <a:gd name="connsiteY274" fmla="*/ 534287 h 918296"/>
                      <a:gd name="connsiteX275" fmla="*/ 163505 w 766180"/>
                      <a:gd name="connsiteY275" fmla="*/ 531159 h 918296"/>
                      <a:gd name="connsiteX276" fmla="*/ 165920 w 766180"/>
                      <a:gd name="connsiteY276" fmla="*/ 523530 h 918296"/>
                      <a:gd name="connsiteX277" fmla="*/ 184582 w 766180"/>
                      <a:gd name="connsiteY277" fmla="*/ 506844 h 918296"/>
                      <a:gd name="connsiteX278" fmla="*/ 175663 w 766180"/>
                      <a:gd name="connsiteY278" fmla="*/ 495263 h 918296"/>
                      <a:gd name="connsiteX279" fmla="*/ 176294 w 766180"/>
                      <a:gd name="connsiteY279" fmla="*/ 488787 h 918296"/>
                      <a:gd name="connsiteX280" fmla="*/ 195394 w 766180"/>
                      <a:gd name="connsiteY280" fmla="*/ 488183 h 918296"/>
                      <a:gd name="connsiteX281" fmla="*/ 200828 w 766180"/>
                      <a:gd name="connsiteY281" fmla="*/ 478633 h 918296"/>
                      <a:gd name="connsiteX282" fmla="*/ 207908 w 766180"/>
                      <a:gd name="connsiteY282" fmla="*/ 473830 h 918296"/>
                      <a:gd name="connsiteX283" fmla="*/ 208649 w 766180"/>
                      <a:gd name="connsiteY283" fmla="*/ 474407 h 918296"/>
                      <a:gd name="connsiteX284" fmla="*/ 208786 w 766180"/>
                      <a:gd name="connsiteY284" fmla="*/ 475669 h 918296"/>
                      <a:gd name="connsiteX285" fmla="*/ 207497 w 766180"/>
                      <a:gd name="connsiteY285" fmla="*/ 477480 h 918296"/>
                      <a:gd name="connsiteX286" fmla="*/ 211064 w 766180"/>
                      <a:gd name="connsiteY286" fmla="*/ 479895 h 918296"/>
                      <a:gd name="connsiteX287" fmla="*/ 213314 w 766180"/>
                      <a:gd name="connsiteY287" fmla="*/ 453111 h 918296"/>
                      <a:gd name="connsiteX288" fmla="*/ 225581 w 766180"/>
                      <a:gd name="connsiteY288" fmla="*/ 426601 h 918296"/>
                      <a:gd name="connsiteX289" fmla="*/ 223578 w 766180"/>
                      <a:gd name="connsiteY289" fmla="*/ 412248 h 918296"/>
                      <a:gd name="connsiteX290" fmla="*/ 224539 w 766180"/>
                      <a:gd name="connsiteY290" fmla="*/ 405168 h 918296"/>
                      <a:gd name="connsiteX291" fmla="*/ 230851 w 766180"/>
                      <a:gd name="connsiteY291" fmla="*/ 405360 h 918296"/>
                      <a:gd name="connsiteX292" fmla="*/ 239056 w 766180"/>
                      <a:gd name="connsiteY292" fmla="*/ 397813 h 918296"/>
                      <a:gd name="connsiteX293" fmla="*/ 242267 w 766180"/>
                      <a:gd name="connsiteY293" fmla="*/ 380140 h 918296"/>
                      <a:gd name="connsiteX294" fmla="*/ 248634 w 766180"/>
                      <a:gd name="connsiteY294" fmla="*/ 361177 h 918296"/>
                      <a:gd name="connsiteX295" fmla="*/ 270890 w 766180"/>
                      <a:gd name="connsiteY295" fmla="*/ 331127 h 918296"/>
                      <a:gd name="connsiteX296" fmla="*/ 279177 w 766180"/>
                      <a:gd name="connsiteY296" fmla="*/ 324019 h 918296"/>
                      <a:gd name="connsiteX297" fmla="*/ 291115 w 766180"/>
                      <a:gd name="connsiteY297" fmla="*/ 303108 h 918296"/>
                      <a:gd name="connsiteX298" fmla="*/ 302312 w 766180"/>
                      <a:gd name="connsiteY298" fmla="*/ 295808 h 918296"/>
                      <a:gd name="connsiteX299" fmla="*/ 306017 w 766180"/>
                      <a:gd name="connsiteY299" fmla="*/ 286807 h 918296"/>
                      <a:gd name="connsiteX300" fmla="*/ 304727 w 766180"/>
                      <a:gd name="connsiteY300" fmla="*/ 283266 h 918296"/>
                      <a:gd name="connsiteX301" fmla="*/ 295232 w 766180"/>
                      <a:gd name="connsiteY301" fmla="*/ 285572 h 918296"/>
                      <a:gd name="connsiteX302" fmla="*/ 293503 w 766180"/>
                      <a:gd name="connsiteY302" fmla="*/ 277915 h 918296"/>
                      <a:gd name="connsiteX303" fmla="*/ 295259 w 766180"/>
                      <a:gd name="connsiteY303" fmla="*/ 270917 h 918296"/>
                      <a:gd name="connsiteX304" fmla="*/ 310462 w 766180"/>
                      <a:gd name="connsiteY304" fmla="*/ 267761 h 918296"/>
                      <a:gd name="connsiteX305" fmla="*/ 312822 w 766180"/>
                      <a:gd name="connsiteY305" fmla="*/ 254726 h 918296"/>
                      <a:gd name="connsiteX306" fmla="*/ 325447 w 766180"/>
                      <a:gd name="connsiteY306" fmla="*/ 247426 h 918296"/>
                      <a:gd name="connsiteX307" fmla="*/ 333624 w 766180"/>
                      <a:gd name="connsiteY307" fmla="*/ 261120 h 918296"/>
                      <a:gd name="connsiteX308" fmla="*/ 335984 w 766180"/>
                      <a:gd name="connsiteY308" fmla="*/ 237711 h 918296"/>
                      <a:gd name="connsiteX309" fmla="*/ 334942 w 766180"/>
                      <a:gd name="connsiteY309" fmla="*/ 232415 h 918296"/>
                      <a:gd name="connsiteX310" fmla="*/ 327834 w 766180"/>
                      <a:gd name="connsiteY310" fmla="*/ 228298 h 918296"/>
                      <a:gd name="connsiteX311" fmla="*/ 304397 w 766180"/>
                      <a:gd name="connsiteY311" fmla="*/ 241361 h 918296"/>
                      <a:gd name="connsiteX312" fmla="*/ 293174 w 766180"/>
                      <a:gd name="connsiteY312" fmla="*/ 242843 h 918296"/>
                      <a:gd name="connsiteX313" fmla="*/ 289551 w 766180"/>
                      <a:gd name="connsiteY313" fmla="*/ 249374 h 918296"/>
                      <a:gd name="connsiteX314" fmla="*/ 285791 w 766180"/>
                      <a:gd name="connsiteY314" fmla="*/ 245038 h 918296"/>
                      <a:gd name="connsiteX315" fmla="*/ 273496 w 766180"/>
                      <a:gd name="connsiteY315" fmla="*/ 246109 h 918296"/>
                      <a:gd name="connsiteX316" fmla="*/ 258623 w 766180"/>
                      <a:gd name="connsiteY316" fmla="*/ 252887 h 918296"/>
                      <a:gd name="connsiteX317" fmla="*/ 256482 w 766180"/>
                      <a:gd name="connsiteY317" fmla="*/ 250499 h 918296"/>
                      <a:gd name="connsiteX318" fmla="*/ 256948 w 766180"/>
                      <a:gd name="connsiteY318" fmla="*/ 245642 h 918296"/>
                      <a:gd name="connsiteX319" fmla="*/ 264029 w 766180"/>
                      <a:gd name="connsiteY319" fmla="*/ 238507 h 918296"/>
                      <a:gd name="connsiteX320" fmla="*/ 277723 w 766180"/>
                      <a:gd name="connsiteY320" fmla="*/ 237327 h 918296"/>
                      <a:gd name="connsiteX321" fmla="*/ 305056 w 766180"/>
                      <a:gd name="connsiteY321" fmla="*/ 218967 h 918296"/>
                      <a:gd name="connsiteX322" fmla="*/ 311588 w 766180"/>
                      <a:gd name="connsiteY322" fmla="*/ 204834 h 918296"/>
                      <a:gd name="connsiteX323" fmla="*/ 315429 w 766180"/>
                      <a:gd name="connsiteY323" fmla="*/ 176815 h 918296"/>
                      <a:gd name="connsiteX324" fmla="*/ 328630 w 766180"/>
                      <a:gd name="connsiteY324" fmla="*/ 160843 h 918296"/>
                      <a:gd name="connsiteX325" fmla="*/ 329123 w 766180"/>
                      <a:gd name="connsiteY325" fmla="*/ 167183 h 918296"/>
                      <a:gd name="connsiteX326" fmla="*/ 323169 w 766180"/>
                      <a:gd name="connsiteY326" fmla="*/ 183648 h 918296"/>
                      <a:gd name="connsiteX327" fmla="*/ 327532 w 766180"/>
                      <a:gd name="connsiteY327" fmla="*/ 202447 h 918296"/>
                      <a:gd name="connsiteX328" fmla="*/ 339415 w 766180"/>
                      <a:gd name="connsiteY328" fmla="*/ 186173 h 918296"/>
                      <a:gd name="connsiteX329" fmla="*/ 349047 w 766180"/>
                      <a:gd name="connsiteY329" fmla="*/ 204148 h 918296"/>
                      <a:gd name="connsiteX330" fmla="*/ 368833 w 766180"/>
                      <a:gd name="connsiteY330" fmla="*/ 191744 h 918296"/>
                      <a:gd name="connsiteX331" fmla="*/ 370178 w 766180"/>
                      <a:gd name="connsiteY331" fmla="*/ 175855 h 918296"/>
                      <a:gd name="connsiteX332" fmla="*/ 361013 w 766180"/>
                      <a:gd name="connsiteY332" fmla="*/ 177693 h 918296"/>
                      <a:gd name="connsiteX333" fmla="*/ 356292 w 766180"/>
                      <a:gd name="connsiteY333" fmla="*/ 173961 h 918296"/>
                      <a:gd name="connsiteX334" fmla="*/ 359147 w 766180"/>
                      <a:gd name="connsiteY334" fmla="*/ 151732 h 918296"/>
                      <a:gd name="connsiteX335" fmla="*/ 367132 w 766180"/>
                      <a:gd name="connsiteY335" fmla="*/ 141990 h 918296"/>
                      <a:gd name="connsiteX336" fmla="*/ 378302 w 766180"/>
                      <a:gd name="connsiteY336" fmla="*/ 138093 h 918296"/>
                      <a:gd name="connsiteX337" fmla="*/ 397978 w 766180"/>
                      <a:gd name="connsiteY337" fmla="*/ 147835 h 918296"/>
                      <a:gd name="connsiteX338" fmla="*/ 393807 w 766180"/>
                      <a:gd name="connsiteY338" fmla="*/ 127939 h 918296"/>
                      <a:gd name="connsiteX339" fmla="*/ 411974 w 766180"/>
                      <a:gd name="connsiteY339" fmla="*/ 89876 h 918296"/>
                      <a:gd name="connsiteX340" fmla="*/ 421002 w 766180"/>
                      <a:gd name="connsiteY340" fmla="*/ 86171 h 918296"/>
                      <a:gd name="connsiteX341" fmla="*/ 429538 w 766180"/>
                      <a:gd name="connsiteY341" fmla="*/ 95227 h 918296"/>
                      <a:gd name="connsiteX342" fmla="*/ 437770 w 766180"/>
                      <a:gd name="connsiteY342" fmla="*/ 120722 h 918296"/>
                      <a:gd name="connsiteX343" fmla="*/ 451300 w 766180"/>
                      <a:gd name="connsiteY343" fmla="*/ 110211 h 918296"/>
                      <a:gd name="connsiteX344" fmla="*/ 454730 w 766180"/>
                      <a:gd name="connsiteY344" fmla="*/ 134855 h 918296"/>
                      <a:gd name="connsiteX345" fmla="*/ 465076 w 766180"/>
                      <a:gd name="connsiteY345" fmla="*/ 107165 h 918296"/>
                      <a:gd name="connsiteX346" fmla="*/ 461262 w 766180"/>
                      <a:gd name="connsiteY346" fmla="*/ 91797 h 918296"/>
                      <a:gd name="connsiteX347" fmla="*/ 462524 w 766180"/>
                      <a:gd name="connsiteY347" fmla="*/ 85622 h 918296"/>
                      <a:gd name="connsiteX348" fmla="*/ 468809 w 766180"/>
                      <a:gd name="connsiteY348" fmla="*/ 88915 h 918296"/>
                      <a:gd name="connsiteX349" fmla="*/ 475642 w 766180"/>
                      <a:gd name="connsiteY349" fmla="*/ 106534 h 918296"/>
                      <a:gd name="connsiteX350" fmla="*/ 484533 w 766180"/>
                      <a:gd name="connsiteY350" fmla="*/ 101566 h 918296"/>
                      <a:gd name="connsiteX351" fmla="*/ 496828 w 766180"/>
                      <a:gd name="connsiteY351" fmla="*/ 102253 h 918296"/>
                      <a:gd name="connsiteX352" fmla="*/ 487415 w 766180"/>
                      <a:gd name="connsiteY352" fmla="*/ 81066 h 918296"/>
                      <a:gd name="connsiteX353" fmla="*/ 496608 w 766180"/>
                      <a:gd name="connsiteY353" fmla="*/ 71215 h 918296"/>
                      <a:gd name="connsiteX354" fmla="*/ 514418 w 766180"/>
                      <a:gd name="connsiteY354" fmla="*/ 75331 h 918296"/>
                      <a:gd name="connsiteX355" fmla="*/ 543536 w 766180"/>
                      <a:gd name="connsiteY355" fmla="*/ 50660 h 918296"/>
                      <a:gd name="connsiteX356" fmla="*/ 551769 w 766180"/>
                      <a:gd name="connsiteY356" fmla="*/ 52443 h 918296"/>
                      <a:gd name="connsiteX357" fmla="*/ 557230 w 766180"/>
                      <a:gd name="connsiteY357" fmla="*/ 39792 h 918296"/>
                      <a:gd name="connsiteX358" fmla="*/ 569140 w 766180"/>
                      <a:gd name="connsiteY358" fmla="*/ 46296 h 918296"/>
                      <a:gd name="connsiteX359" fmla="*/ 573860 w 766180"/>
                      <a:gd name="connsiteY359" fmla="*/ 40259 h 918296"/>
                      <a:gd name="connsiteX360" fmla="*/ 576083 w 766180"/>
                      <a:gd name="connsiteY360" fmla="*/ 25742 h 918296"/>
                      <a:gd name="connsiteX361" fmla="*/ 581654 w 766180"/>
                      <a:gd name="connsiteY361" fmla="*/ 15313 h 918296"/>
                      <a:gd name="connsiteX362" fmla="*/ 597653 w 766180"/>
                      <a:gd name="connsiteY362" fmla="*/ 19210 h 918296"/>
                      <a:gd name="connsiteX363" fmla="*/ 607560 w 766180"/>
                      <a:gd name="connsiteY363" fmla="*/ 0 h 918296"/>
                      <a:gd name="connsiteX364" fmla="*/ 617330 w 766180"/>
                      <a:gd name="connsiteY364" fmla="*/ 3320 h 918296"/>
                      <a:gd name="connsiteX365" fmla="*/ 616918 w 766180"/>
                      <a:gd name="connsiteY365" fmla="*/ 16109 h 91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Lst>
                    <a:rect l="l" t="t" r="r" b="b"/>
                    <a:pathLst>
                      <a:path w="766180" h="918296">
                        <a:moveTo>
                          <a:pt x="616918" y="16082"/>
                        </a:moveTo>
                        <a:lnTo>
                          <a:pt x="597818" y="57493"/>
                        </a:lnTo>
                        <a:lnTo>
                          <a:pt x="595403" y="73876"/>
                        </a:lnTo>
                        <a:lnTo>
                          <a:pt x="598092" y="78432"/>
                        </a:lnTo>
                        <a:lnTo>
                          <a:pt x="635799" y="22558"/>
                        </a:lnTo>
                        <a:lnTo>
                          <a:pt x="639805" y="27388"/>
                        </a:lnTo>
                        <a:lnTo>
                          <a:pt x="640546" y="54310"/>
                        </a:lnTo>
                        <a:lnTo>
                          <a:pt x="646282" y="56176"/>
                        </a:lnTo>
                        <a:lnTo>
                          <a:pt x="658577" y="30050"/>
                        </a:lnTo>
                        <a:lnTo>
                          <a:pt x="661870" y="11114"/>
                        </a:lnTo>
                        <a:lnTo>
                          <a:pt x="676552" y="3485"/>
                        </a:lnTo>
                        <a:lnTo>
                          <a:pt x="688105" y="16027"/>
                        </a:lnTo>
                        <a:lnTo>
                          <a:pt x="684950" y="34167"/>
                        </a:lnTo>
                        <a:lnTo>
                          <a:pt x="687858" y="51236"/>
                        </a:lnTo>
                        <a:lnTo>
                          <a:pt x="692441" y="48300"/>
                        </a:lnTo>
                        <a:lnTo>
                          <a:pt x="702403" y="28541"/>
                        </a:lnTo>
                        <a:lnTo>
                          <a:pt x="709676" y="25906"/>
                        </a:lnTo>
                        <a:lnTo>
                          <a:pt x="722546" y="36307"/>
                        </a:lnTo>
                        <a:lnTo>
                          <a:pt x="741509" y="40835"/>
                        </a:lnTo>
                        <a:lnTo>
                          <a:pt x="763711" y="61143"/>
                        </a:lnTo>
                        <a:lnTo>
                          <a:pt x="765384" y="67400"/>
                        </a:lnTo>
                        <a:lnTo>
                          <a:pt x="762036" y="73108"/>
                        </a:lnTo>
                        <a:lnTo>
                          <a:pt x="723315" y="96407"/>
                        </a:lnTo>
                        <a:lnTo>
                          <a:pt x="733770" y="108702"/>
                        </a:lnTo>
                        <a:lnTo>
                          <a:pt x="764562" y="118993"/>
                        </a:lnTo>
                        <a:lnTo>
                          <a:pt x="766180" y="131754"/>
                        </a:lnTo>
                        <a:lnTo>
                          <a:pt x="763738" y="137023"/>
                        </a:lnTo>
                        <a:lnTo>
                          <a:pt x="754682" y="136886"/>
                        </a:lnTo>
                        <a:lnTo>
                          <a:pt x="744144" y="128021"/>
                        </a:lnTo>
                        <a:lnTo>
                          <a:pt x="743787" y="137489"/>
                        </a:lnTo>
                        <a:lnTo>
                          <a:pt x="739232" y="146326"/>
                        </a:lnTo>
                        <a:lnTo>
                          <a:pt x="720653" y="156809"/>
                        </a:lnTo>
                        <a:lnTo>
                          <a:pt x="714258" y="176486"/>
                        </a:lnTo>
                        <a:lnTo>
                          <a:pt x="707617" y="178187"/>
                        </a:lnTo>
                        <a:lnTo>
                          <a:pt x="704379" y="172040"/>
                        </a:lnTo>
                        <a:lnTo>
                          <a:pt x="706409" y="161831"/>
                        </a:lnTo>
                        <a:lnTo>
                          <a:pt x="718924" y="142017"/>
                        </a:lnTo>
                        <a:lnTo>
                          <a:pt x="713134" y="124756"/>
                        </a:lnTo>
                        <a:lnTo>
                          <a:pt x="702924" y="119267"/>
                        </a:lnTo>
                        <a:lnTo>
                          <a:pt x="691536" y="113010"/>
                        </a:lnTo>
                        <a:lnTo>
                          <a:pt x="678390" y="91413"/>
                        </a:lnTo>
                        <a:lnTo>
                          <a:pt x="669856" y="92236"/>
                        </a:lnTo>
                        <a:lnTo>
                          <a:pt x="652923" y="105491"/>
                        </a:lnTo>
                        <a:lnTo>
                          <a:pt x="635799" y="103762"/>
                        </a:lnTo>
                        <a:lnTo>
                          <a:pt x="620733" y="124152"/>
                        </a:lnTo>
                        <a:lnTo>
                          <a:pt x="618894" y="135404"/>
                        </a:lnTo>
                        <a:lnTo>
                          <a:pt x="615820" y="146738"/>
                        </a:lnTo>
                        <a:lnTo>
                          <a:pt x="616040" y="151979"/>
                        </a:lnTo>
                        <a:lnTo>
                          <a:pt x="614256" y="155025"/>
                        </a:lnTo>
                        <a:lnTo>
                          <a:pt x="612747" y="162764"/>
                        </a:lnTo>
                        <a:lnTo>
                          <a:pt x="613954" y="180136"/>
                        </a:lnTo>
                        <a:lnTo>
                          <a:pt x="611457" y="188478"/>
                        </a:lnTo>
                        <a:lnTo>
                          <a:pt x="598778" y="196107"/>
                        </a:lnTo>
                        <a:lnTo>
                          <a:pt x="594799" y="211393"/>
                        </a:lnTo>
                        <a:lnTo>
                          <a:pt x="588076" y="216498"/>
                        </a:lnTo>
                        <a:lnTo>
                          <a:pt x="560221" y="196190"/>
                        </a:lnTo>
                        <a:lnTo>
                          <a:pt x="556461" y="197480"/>
                        </a:lnTo>
                        <a:lnTo>
                          <a:pt x="552180" y="206289"/>
                        </a:lnTo>
                        <a:lnTo>
                          <a:pt x="539035" y="211860"/>
                        </a:lnTo>
                        <a:lnTo>
                          <a:pt x="515517" y="204642"/>
                        </a:lnTo>
                        <a:lnTo>
                          <a:pt x="503304" y="176431"/>
                        </a:lnTo>
                        <a:lnTo>
                          <a:pt x="494577" y="162792"/>
                        </a:lnTo>
                        <a:lnTo>
                          <a:pt x="492163" y="159471"/>
                        </a:lnTo>
                        <a:lnTo>
                          <a:pt x="490077" y="158867"/>
                        </a:lnTo>
                        <a:lnTo>
                          <a:pt x="482941" y="156864"/>
                        </a:lnTo>
                        <a:lnTo>
                          <a:pt x="475587" y="162792"/>
                        </a:lnTo>
                        <a:lnTo>
                          <a:pt x="474764" y="167265"/>
                        </a:lnTo>
                        <a:lnTo>
                          <a:pt x="476547" y="173083"/>
                        </a:lnTo>
                        <a:lnTo>
                          <a:pt x="474983" y="177309"/>
                        </a:lnTo>
                        <a:lnTo>
                          <a:pt x="466393" y="173796"/>
                        </a:lnTo>
                        <a:lnTo>
                          <a:pt x="461124" y="177501"/>
                        </a:lnTo>
                        <a:lnTo>
                          <a:pt x="450998" y="180410"/>
                        </a:lnTo>
                        <a:lnTo>
                          <a:pt x="453962" y="198440"/>
                        </a:lnTo>
                        <a:lnTo>
                          <a:pt x="446113" y="217678"/>
                        </a:lnTo>
                        <a:lnTo>
                          <a:pt x="448473" y="226295"/>
                        </a:lnTo>
                        <a:lnTo>
                          <a:pt x="443314" y="232826"/>
                        </a:lnTo>
                        <a:lnTo>
                          <a:pt x="399048" y="217458"/>
                        </a:lnTo>
                        <a:lnTo>
                          <a:pt x="389855" y="220093"/>
                        </a:lnTo>
                        <a:lnTo>
                          <a:pt x="389498" y="249621"/>
                        </a:lnTo>
                        <a:lnTo>
                          <a:pt x="383213" y="263974"/>
                        </a:lnTo>
                        <a:lnTo>
                          <a:pt x="375886" y="259473"/>
                        </a:lnTo>
                        <a:lnTo>
                          <a:pt x="365184" y="254177"/>
                        </a:lnTo>
                        <a:lnTo>
                          <a:pt x="348663" y="270862"/>
                        </a:lnTo>
                        <a:lnTo>
                          <a:pt x="340623" y="296247"/>
                        </a:lnTo>
                        <a:lnTo>
                          <a:pt x="330715" y="304617"/>
                        </a:lnTo>
                        <a:lnTo>
                          <a:pt x="338674" y="323772"/>
                        </a:lnTo>
                        <a:lnTo>
                          <a:pt x="338207" y="335710"/>
                        </a:lnTo>
                        <a:lnTo>
                          <a:pt x="328685" y="346083"/>
                        </a:lnTo>
                        <a:lnTo>
                          <a:pt x="314414" y="371660"/>
                        </a:lnTo>
                        <a:lnTo>
                          <a:pt x="309694" y="378027"/>
                        </a:lnTo>
                        <a:lnTo>
                          <a:pt x="311286" y="388181"/>
                        </a:lnTo>
                        <a:lnTo>
                          <a:pt x="312081" y="392819"/>
                        </a:lnTo>
                        <a:lnTo>
                          <a:pt x="306895" y="396414"/>
                        </a:lnTo>
                        <a:lnTo>
                          <a:pt x="298936" y="402122"/>
                        </a:lnTo>
                        <a:lnTo>
                          <a:pt x="296439" y="402424"/>
                        </a:lnTo>
                        <a:lnTo>
                          <a:pt x="294134" y="402671"/>
                        </a:lnTo>
                        <a:lnTo>
                          <a:pt x="288508" y="403247"/>
                        </a:lnTo>
                        <a:lnTo>
                          <a:pt x="287026" y="403412"/>
                        </a:lnTo>
                        <a:lnTo>
                          <a:pt x="283705" y="403741"/>
                        </a:lnTo>
                        <a:lnTo>
                          <a:pt x="284062" y="406430"/>
                        </a:lnTo>
                        <a:lnTo>
                          <a:pt x="285242" y="415596"/>
                        </a:lnTo>
                        <a:lnTo>
                          <a:pt x="286504" y="426821"/>
                        </a:lnTo>
                        <a:lnTo>
                          <a:pt x="283569" y="443561"/>
                        </a:lnTo>
                        <a:lnTo>
                          <a:pt x="283129" y="462881"/>
                        </a:lnTo>
                        <a:lnTo>
                          <a:pt x="279644" y="466997"/>
                        </a:lnTo>
                        <a:lnTo>
                          <a:pt x="278080" y="475998"/>
                        </a:lnTo>
                        <a:lnTo>
                          <a:pt x="259802" y="511098"/>
                        </a:lnTo>
                        <a:lnTo>
                          <a:pt x="271302" y="523255"/>
                        </a:lnTo>
                        <a:lnTo>
                          <a:pt x="272591" y="539447"/>
                        </a:lnTo>
                        <a:lnTo>
                          <a:pt x="271795" y="541395"/>
                        </a:lnTo>
                        <a:lnTo>
                          <a:pt x="268118" y="550424"/>
                        </a:lnTo>
                        <a:lnTo>
                          <a:pt x="244929" y="546445"/>
                        </a:lnTo>
                        <a:lnTo>
                          <a:pt x="229890" y="554238"/>
                        </a:lnTo>
                        <a:lnTo>
                          <a:pt x="214824" y="579349"/>
                        </a:lnTo>
                        <a:lnTo>
                          <a:pt x="215043" y="583767"/>
                        </a:lnTo>
                        <a:lnTo>
                          <a:pt x="215208" y="586868"/>
                        </a:lnTo>
                        <a:lnTo>
                          <a:pt x="212875" y="592960"/>
                        </a:lnTo>
                        <a:lnTo>
                          <a:pt x="210159" y="600013"/>
                        </a:lnTo>
                        <a:lnTo>
                          <a:pt x="211229" y="606600"/>
                        </a:lnTo>
                        <a:lnTo>
                          <a:pt x="215455" y="618208"/>
                        </a:lnTo>
                        <a:lnTo>
                          <a:pt x="212381" y="625343"/>
                        </a:lnTo>
                        <a:lnTo>
                          <a:pt x="213314" y="635003"/>
                        </a:lnTo>
                        <a:lnTo>
                          <a:pt x="211503" y="642989"/>
                        </a:lnTo>
                        <a:lnTo>
                          <a:pt x="217183" y="661376"/>
                        </a:lnTo>
                        <a:lnTo>
                          <a:pt x="218501" y="665410"/>
                        </a:lnTo>
                        <a:lnTo>
                          <a:pt x="214275" y="699137"/>
                        </a:lnTo>
                        <a:lnTo>
                          <a:pt x="221520" y="708523"/>
                        </a:lnTo>
                        <a:lnTo>
                          <a:pt x="227777" y="711102"/>
                        </a:lnTo>
                        <a:lnTo>
                          <a:pt x="234528" y="721366"/>
                        </a:lnTo>
                        <a:lnTo>
                          <a:pt x="234418" y="726882"/>
                        </a:lnTo>
                        <a:lnTo>
                          <a:pt x="229369" y="740466"/>
                        </a:lnTo>
                        <a:lnTo>
                          <a:pt x="217595" y="744418"/>
                        </a:lnTo>
                        <a:lnTo>
                          <a:pt x="226953" y="774194"/>
                        </a:lnTo>
                        <a:lnTo>
                          <a:pt x="223660" y="797630"/>
                        </a:lnTo>
                        <a:lnTo>
                          <a:pt x="215675" y="808717"/>
                        </a:lnTo>
                        <a:lnTo>
                          <a:pt x="204971" y="812971"/>
                        </a:lnTo>
                        <a:lnTo>
                          <a:pt x="207551" y="815907"/>
                        </a:lnTo>
                        <a:lnTo>
                          <a:pt x="206947" y="821725"/>
                        </a:lnTo>
                        <a:lnTo>
                          <a:pt x="201541" y="828476"/>
                        </a:lnTo>
                        <a:lnTo>
                          <a:pt x="204588" y="847933"/>
                        </a:lnTo>
                        <a:lnTo>
                          <a:pt x="203215" y="850952"/>
                        </a:lnTo>
                        <a:lnTo>
                          <a:pt x="198962" y="866649"/>
                        </a:lnTo>
                        <a:lnTo>
                          <a:pt x="194488" y="867720"/>
                        </a:lnTo>
                        <a:lnTo>
                          <a:pt x="193830" y="862231"/>
                        </a:lnTo>
                        <a:lnTo>
                          <a:pt x="191031" y="856495"/>
                        </a:lnTo>
                        <a:lnTo>
                          <a:pt x="190564" y="855535"/>
                        </a:lnTo>
                        <a:lnTo>
                          <a:pt x="184691" y="854876"/>
                        </a:lnTo>
                        <a:lnTo>
                          <a:pt x="180520" y="859569"/>
                        </a:lnTo>
                        <a:lnTo>
                          <a:pt x="176952" y="857730"/>
                        </a:lnTo>
                        <a:lnTo>
                          <a:pt x="170558" y="842390"/>
                        </a:lnTo>
                        <a:lnTo>
                          <a:pt x="171024" y="833471"/>
                        </a:lnTo>
                        <a:lnTo>
                          <a:pt x="167786" y="819475"/>
                        </a:lnTo>
                        <a:lnTo>
                          <a:pt x="169900" y="813739"/>
                        </a:lnTo>
                        <a:lnTo>
                          <a:pt x="173357" y="813657"/>
                        </a:lnTo>
                        <a:lnTo>
                          <a:pt x="173248" y="810830"/>
                        </a:lnTo>
                        <a:lnTo>
                          <a:pt x="171848" y="810501"/>
                        </a:lnTo>
                        <a:lnTo>
                          <a:pt x="169735" y="808827"/>
                        </a:lnTo>
                        <a:lnTo>
                          <a:pt x="165481" y="816044"/>
                        </a:lnTo>
                        <a:lnTo>
                          <a:pt x="167512" y="822795"/>
                        </a:lnTo>
                        <a:lnTo>
                          <a:pt x="168500" y="823920"/>
                        </a:lnTo>
                        <a:lnTo>
                          <a:pt x="168939" y="827598"/>
                        </a:lnTo>
                        <a:lnTo>
                          <a:pt x="167512" y="830205"/>
                        </a:lnTo>
                        <a:lnTo>
                          <a:pt x="166579" y="831852"/>
                        </a:lnTo>
                        <a:lnTo>
                          <a:pt x="163588" y="830973"/>
                        </a:lnTo>
                        <a:lnTo>
                          <a:pt x="163286" y="822356"/>
                        </a:lnTo>
                        <a:lnTo>
                          <a:pt x="161776" y="820737"/>
                        </a:lnTo>
                        <a:lnTo>
                          <a:pt x="160267" y="821698"/>
                        </a:lnTo>
                        <a:lnTo>
                          <a:pt x="162023" y="826445"/>
                        </a:lnTo>
                        <a:lnTo>
                          <a:pt x="161529" y="833443"/>
                        </a:lnTo>
                        <a:lnTo>
                          <a:pt x="164713" y="838877"/>
                        </a:lnTo>
                        <a:lnTo>
                          <a:pt x="164356" y="855233"/>
                        </a:lnTo>
                        <a:lnTo>
                          <a:pt x="160843" y="852297"/>
                        </a:lnTo>
                        <a:lnTo>
                          <a:pt x="155958" y="859734"/>
                        </a:lnTo>
                        <a:lnTo>
                          <a:pt x="148439" y="862588"/>
                        </a:lnTo>
                        <a:lnTo>
                          <a:pt x="146051" y="859075"/>
                        </a:lnTo>
                        <a:lnTo>
                          <a:pt x="138368" y="869778"/>
                        </a:lnTo>
                        <a:lnTo>
                          <a:pt x="133098" y="870711"/>
                        </a:lnTo>
                        <a:lnTo>
                          <a:pt x="132138" y="874580"/>
                        </a:lnTo>
                        <a:lnTo>
                          <a:pt x="127829" y="877105"/>
                        </a:lnTo>
                        <a:lnTo>
                          <a:pt x="115261" y="895135"/>
                        </a:lnTo>
                        <a:lnTo>
                          <a:pt x="97395" y="909927"/>
                        </a:lnTo>
                        <a:lnTo>
                          <a:pt x="81067" y="918297"/>
                        </a:lnTo>
                        <a:lnTo>
                          <a:pt x="67839" y="915388"/>
                        </a:lnTo>
                        <a:lnTo>
                          <a:pt x="63338" y="917336"/>
                        </a:lnTo>
                        <a:lnTo>
                          <a:pt x="52361" y="913110"/>
                        </a:lnTo>
                        <a:lnTo>
                          <a:pt x="52197" y="906853"/>
                        </a:lnTo>
                        <a:lnTo>
                          <a:pt x="46022" y="901612"/>
                        </a:lnTo>
                        <a:lnTo>
                          <a:pt x="24369" y="887286"/>
                        </a:lnTo>
                        <a:lnTo>
                          <a:pt x="19347" y="877517"/>
                        </a:lnTo>
                        <a:lnTo>
                          <a:pt x="22037" y="860090"/>
                        </a:lnTo>
                        <a:lnTo>
                          <a:pt x="26976" y="853175"/>
                        </a:lnTo>
                        <a:lnTo>
                          <a:pt x="27717" y="859761"/>
                        </a:lnTo>
                        <a:lnTo>
                          <a:pt x="30654" y="861161"/>
                        </a:lnTo>
                        <a:lnTo>
                          <a:pt x="31999" y="846177"/>
                        </a:lnTo>
                        <a:lnTo>
                          <a:pt x="35703" y="843487"/>
                        </a:lnTo>
                        <a:lnTo>
                          <a:pt x="30160" y="836764"/>
                        </a:lnTo>
                        <a:lnTo>
                          <a:pt x="28403" y="841566"/>
                        </a:lnTo>
                        <a:lnTo>
                          <a:pt x="21433" y="844805"/>
                        </a:lnTo>
                        <a:lnTo>
                          <a:pt x="17234" y="850513"/>
                        </a:lnTo>
                        <a:lnTo>
                          <a:pt x="14023" y="848839"/>
                        </a:lnTo>
                        <a:lnTo>
                          <a:pt x="9962" y="852406"/>
                        </a:lnTo>
                        <a:lnTo>
                          <a:pt x="9770" y="840359"/>
                        </a:lnTo>
                        <a:lnTo>
                          <a:pt x="12651" y="833855"/>
                        </a:lnTo>
                        <a:lnTo>
                          <a:pt x="12569" y="827488"/>
                        </a:lnTo>
                        <a:lnTo>
                          <a:pt x="18853" y="820435"/>
                        </a:lnTo>
                        <a:lnTo>
                          <a:pt x="18853" y="828394"/>
                        </a:lnTo>
                        <a:cubicBezTo>
                          <a:pt x="18853" y="828394"/>
                          <a:pt x="17179" y="832839"/>
                          <a:pt x="17179" y="832839"/>
                        </a:cubicBezTo>
                        <a:lnTo>
                          <a:pt x="19924" y="829519"/>
                        </a:lnTo>
                        <a:lnTo>
                          <a:pt x="21296" y="823454"/>
                        </a:lnTo>
                        <a:lnTo>
                          <a:pt x="27882" y="824277"/>
                        </a:lnTo>
                        <a:lnTo>
                          <a:pt x="24836" y="814343"/>
                        </a:lnTo>
                        <a:lnTo>
                          <a:pt x="34496" y="800100"/>
                        </a:lnTo>
                        <a:lnTo>
                          <a:pt x="34907" y="792965"/>
                        </a:lnTo>
                        <a:lnTo>
                          <a:pt x="24095" y="804930"/>
                        </a:lnTo>
                        <a:lnTo>
                          <a:pt x="16136" y="818597"/>
                        </a:lnTo>
                        <a:lnTo>
                          <a:pt x="10511" y="824030"/>
                        </a:lnTo>
                        <a:lnTo>
                          <a:pt x="8398" y="822576"/>
                        </a:lnTo>
                        <a:lnTo>
                          <a:pt x="7849" y="809925"/>
                        </a:lnTo>
                        <a:lnTo>
                          <a:pt x="24040" y="795736"/>
                        </a:lnTo>
                        <a:lnTo>
                          <a:pt x="21323" y="791263"/>
                        </a:lnTo>
                        <a:lnTo>
                          <a:pt x="15999" y="793376"/>
                        </a:lnTo>
                        <a:lnTo>
                          <a:pt x="11334" y="791044"/>
                        </a:lnTo>
                        <a:lnTo>
                          <a:pt x="9770" y="800512"/>
                        </a:lnTo>
                        <a:lnTo>
                          <a:pt x="4281" y="792636"/>
                        </a:lnTo>
                        <a:lnTo>
                          <a:pt x="0" y="774331"/>
                        </a:lnTo>
                        <a:lnTo>
                          <a:pt x="2827" y="771559"/>
                        </a:lnTo>
                        <a:lnTo>
                          <a:pt x="659" y="759375"/>
                        </a:lnTo>
                        <a:lnTo>
                          <a:pt x="7904" y="753474"/>
                        </a:lnTo>
                        <a:lnTo>
                          <a:pt x="3595" y="747245"/>
                        </a:lnTo>
                        <a:lnTo>
                          <a:pt x="10511" y="738381"/>
                        </a:lnTo>
                        <a:lnTo>
                          <a:pt x="2470" y="731575"/>
                        </a:lnTo>
                        <a:lnTo>
                          <a:pt x="3348" y="721888"/>
                        </a:lnTo>
                        <a:lnTo>
                          <a:pt x="7437" y="709703"/>
                        </a:lnTo>
                        <a:lnTo>
                          <a:pt x="3622" y="689395"/>
                        </a:lnTo>
                        <a:lnTo>
                          <a:pt x="10538" y="676936"/>
                        </a:lnTo>
                        <a:lnTo>
                          <a:pt x="18277" y="681052"/>
                        </a:lnTo>
                        <a:lnTo>
                          <a:pt x="16383" y="671200"/>
                        </a:lnTo>
                        <a:lnTo>
                          <a:pt x="19265" y="667276"/>
                        </a:lnTo>
                        <a:lnTo>
                          <a:pt x="19814" y="658412"/>
                        </a:lnTo>
                        <a:lnTo>
                          <a:pt x="43470" y="660360"/>
                        </a:lnTo>
                        <a:lnTo>
                          <a:pt x="43415" y="657012"/>
                        </a:lnTo>
                        <a:lnTo>
                          <a:pt x="37707" y="652951"/>
                        </a:lnTo>
                        <a:lnTo>
                          <a:pt x="40314" y="643154"/>
                        </a:lnTo>
                        <a:lnTo>
                          <a:pt x="52745" y="641205"/>
                        </a:lnTo>
                        <a:lnTo>
                          <a:pt x="61994" y="623587"/>
                        </a:lnTo>
                        <a:lnTo>
                          <a:pt x="78954" y="613323"/>
                        </a:lnTo>
                        <a:lnTo>
                          <a:pt x="95941" y="613845"/>
                        </a:lnTo>
                        <a:lnTo>
                          <a:pt x="94870" y="604185"/>
                        </a:lnTo>
                        <a:lnTo>
                          <a:pt x="111199" y="592906"/>
                        </a:lnTo>
                        <a:lnTo>
                          <a:pt x="114273" y="590792"/>
                        </a:lnTo>
                        <a:lnTo>
                          <a:pt x="103954" y="586813"/>
                        </a:lnTo>
                        <a:lnTo>
                          <a:pt x="107879" y="578114"/>
                        </a:lnTo>
                        <a:lnTo>
                          <a:pt x="107220" y="571500"/>
                        </a:lnTo>
                        <a:lnTo>
                          <a:pt x="111336" y="563871"/>
                        </a:lnTo>
                        <a:lnTo>
                          <a:pt x="115480" y="566423"/>
                        </a:lnTo>
                        <a:lnTo>
                          <a:pt x="118499" y="574930"/>
                        </a:lnTo>
                        <a:lnTo>
                          <a:pt x="124920" y="576851"/>
                        </a:lnTo>
                        <a:lnTo>
                          <a:pt x="128077" y="583849"/>
                        </a:lnTo>
                        <a:lnTo>
                          <a:pt x="142978" y="578004"/>
                        </a:lnTo>
                        <a:lnTo>
                          <a:pt x="147643" y="586786"/>
                        </a:lnTo>
                        <a:lnTo>
                          <a:pt x="150936" y="592878"/>
                        </a:lnTo>
                        <a:lnTo>
                          <a:pt x="152446" y="592878"/>
                        </a:lnTo>
                        <a:lnTo>
                          <a:pt x="158264" y="589612"/>
                        </a:lnTo>
                        <a:lnTo>
                          <a:pt x="176019" y="589804"/>
                        </a:lnTo>
                        <a:lnTo>
                          <a:pt x="179010" y="571445"/>
                        </a:lnTo>
                        <a:lnTo>
                          <a:pt x="155876" y="583685"/>
                        </a:lnTo>
                        <a:lnTo>
                          <a:pt x="150058" y="584700"/>
                        </a:lnTo>
                        <a:lnTo>
                          <a:pt x="140343" y="568865"/>
                        </a:lnTo>
                        <a:lnTo>
                          <a:pt x="142264" y="563514"/>
                        </a:lnTo>
                        <a:lnTo>
                          <a:pt x="149372" y="557833"/>
                        </a:lnTo>
                        <a:lnTo>
                          <a:pt x="149647" y="549244"/>
                        </a:lnTo>
                        <a:lnTo>
                          <a:pt x="154504" y="541313"/>
                        </a:lnTo>
                        <a:lnTo>
                          <a:pt x="155684" y="539364"/>
                        </a:lnTo>
                        <a:lnTo>
                          <a:pt x="157605" y="536208"/>
                        </a:lnTo>
                        <a:lnTo>
                          <a:pt x="158373" y="534287"/>
                        </a:lnTo>
                        <a:lnTo>
                          <a:pt x="163505" y="531159"/>
                        </a:lnTo>
                        <a:lnTo>
                          <a:pt x="165920" y="523530"/>
                        </a:lnTo>
                        <a:lnTo>
                          <a:pt x="184582" y="506844"/>
                        </a:lnTo>
                        <a:lnTo>
                          <a:pt x="175663" y="495263"/>
                        </a:lnTo>
                        <a:lnTo>
                          <a:pt x="176294" y="488787"/>
                        </a:lnTo>
                        <a:lnTo>
                          <a:pt x="195394" y="488183"/>
                        </a:lnTo>
                        <a:lnTo>
                          <a:pt x="200828" y="478633"/>
                        </a:lnTo>
                        <a:lnTo>
                          <a:pt x="207908" y="473830"/>
                        </a:lnTo>
                        <a:lnTo>
                          <a:pt x="208649" y="474407"/>
                        </a:lnTo>
                        <a:lnTo>
                          <a:pt x="208786" y="475669"/>
                        </a:lnTo>
                        <a:lnTo>
                          <a:pt x="207497" y="477480"/>
                        </a:lnTo>
                        <a:lnTo>
                          <a:pt x="211064" y="479895"/>
                        </a:lnTo>
                        <a:lnTo>
                          <a:pt x="213314" y="453111"/>
                        </a:lnTo>
                        <a:lnTo>
                          <a:pt x="225581" y="426601"/>
                        </a:lnTo>
                        <a:lnTo>
                          <a:pt x="223578" y="412248"/>
                        </a:lnTo>
                        <a:lnTo>
                          <a:pt x="224539" y="405168"/>
                        </a:lnTo>
                        <a:lnTo>
                          <a:pt x="230851" y="405360"/>
                        </a:lnTo>
                        <a:lnTo>
                          <a:pt x="239056" y="397813"/>
                        </a:lnTo>
                        <a:lnTo>
                          <a:pt x="242267" y="380140"/>
                        </a:lnTo>
                        <a:lnTo>
                          <a:pt x="248634" y="361177"/>
                        </a:lnTo>
                        <a:lnTo>
                          <a:pt x="270890" y="331127"/>
                        </a:lnTo>
                        <a:lnTo>
                          <a:pt x="279177" y="324019"/>
                        </a:lnTo>
                        <a:lnTo>
                          <a:pt x="291115" y="303108"/>
                        </a:lnTo>
                        <a:lnTo>
                          <a:pt x="302312" y="295808"/>
                        </a:lnTo>
                        <a:lnTo>
                          <a:pt x="306017" y="286807"/>
                        </a:lnTo>
                        <a:lnTo>
                          <a:pt x="304727" y="283266"/>
                        </a:lnTo>
                        <a:lnTo>
                          <a:pt x="295232" y="285572"/>
                        </a:lnTo>
                        <a:lnTo>
                          <a:pt x="293503" y="277915"/>
                        </a:lnTo>
                        <a:lnTo>
                          <a:pt x="295259" y="270917"/>
                        </a:lnTo>
                        <a:lnTo>
                          <a:pt x="310462" y="267761"/>
                        </a:lnTo>
                        <a:lnTo>
                          <a:pt x="312822" y="254726"/>
                        </a:lnTo>
                        <a:lnTo>
                          <a:pt x="325447" y="247426"/>
                        </a:lnTo>
                        <a:lnTo>
                          <a:pt x="333624" y="261120"/>
                        </a:lnTo>
                        <a:lnTo>
                          <a:pt x="335984" y="237711"/>
                        </a:lnTo>
                        <a:lnTo>
                          <a:pt x="334942" y="232415"/>
                        </a:lnTo>
                        <a:lnTo>
                          <a:pt x="327834" y="228298"/>
                        </a:lnTo>
                        <a:lnTo>
                          <a:pt x="304397" y="241361"/>
                        </a:lnTo>
                        <a:lnTo>
                          <a:pt x="293174" y="242843"/>
                        </a:lnTo>
                        <a:lnTo>
                          <a:pt x="289551" y="249374"/>
                        </a:lnTo>
                        <a:lnTo>
                          <a:pt x="285791" y="245038"/>
                        </a:lnTo>
                        <a:lnTo>
                          <a:pt x="273496" y="246109"/>
                        </a:lnTo>
                        <a:lnTo>
                          <a:pt x="258623" y="252887"/>
                        </a:lnTo>
                        <a:lnTo>
                          <a:pt x="256482" y="250499"/>
                        </a:lnTo>
                        <a:lnTo>
                          <a:pt x="256948" y="245642"/>
                        </a:lnTo>
                        <a:lnTo>
                          <a:pt x="264029" y="238507"/>
                        </a:lnTo>
                        <a:lnTo>
                          <a:pt x="277723" y="237327"/>
                        </a:lnTo>
                        <a:lnTo>
                          <a:pt x="305056" y="218967"/>
                        </a:lnTo>
                        <a:lnTo>
                          <a:pt x="311588" y="204834"/>
                        </a:lnTo>
                        <a:lnTo>
                          <a:pt x="315429" y="176815"/>
                        </a:lnTo>
                        <a:lnTo>
                          <a:pt x="328630" y="160843"/>
                        </a:lnTo>
                        <a:lnTo>
                          <a:pt x="329123" y="167183"/>
                        </a:lnTo>
                        <a:lnTo>
                          <a:pt x="323169" y="183648"/>
                        </a:lnTo>
                        <a:lnTo>
                          <a:pt x="327532" y="202447"/>
                        </a:lnTo>
                        <a:lnTo>
                          <a:pt x="339415" y="186173"/>
                        </a:lnTo>
                        <a:lnTo>
                          <a:pt x="349047" y="204148"/>
                        </a:lnTo>
                        <a:lnTo>
                          <a:pt x="368833" y="191744"/>
                        </a:lnTo>
                        <a:lnTo>
                          <a:pt x="370178" y="175855"/>
                        </a:lnTo>
                        <a:lnTo>
                          <a:pt x="361013" y="177693"/>
                        </a:lnTo>
                        <a:lnTo>
                          <a:pt x="356292" y="173961"/>
                        </a:lnTo>
                        <a:lnTo>
                          <a:pt x="359147" y="151732"/>
                        </a:lnTo>
                        <a:lnTo>
                          <a:pt x="367132" y="141990"/>
                        </a:lnTo>
                        <a:lnTo>
                          <a:pt x="378302" y="138093"/>
                        </a:lnTo>
                        <a:lnTo>
                          <a:pt x="397978" y="147835"/>
                        </a:lnTo>
                        <a:lnTo>
                          <a:pt x="393807" y="127939"/>
                        </a:lnTo>
                        <a:lnTo>
                          <a:pt x="411974" y="89876"/>
                        </a:lnTo>
                        <a:lnTo>
                          <a:pt x="421002" y="86171"/>
                        </a:lnTo>
                        <a:lnTo>
                          <a:pt x="429538" y="95227"/>
                        </a:lnTo>
                        <a:lnTo>
                          <a:pt x="437770" y="120722"/>
                        </a:lnTo>
                        <a:lnTo>
                          <a:pt x="451300" y="110211"/>
                        </a:lnTo>
                        <a:lnTo>
                          <a:pt x="454730" y="134855"/>
                        </a:lnTo>
                        <a:lnTo>
                          <a:pt x="465076" y="107165"/>
                        </a:lnTo>
                        <a:lnTo>
                          <a:pt x="461262" y="91797"/>
                        </a:lnTo>
                        <a:lnTo>
                          <a:pt x="462524" y="85622"/>
                        </a:lnTo>
                        <a:lnTo>
                          <a:pt x="468809" y="88915"/>
                        </a:lnTo>
                        <a:lnTo>
                          <a:pt x="475642" y="106534"/>
                        </a:lnTo>
                        <a:lnTo>
                          <a:pt x="484533" y="101566"/>
                        </a:lnTo>
                        <a:lnTo>
                          <a:pt x="496828" y="102253"/>
                        </a:lnTo>
                        <a:lnTo>
                          <a:pt x="487415" y="81066"/>
                        </a:lnTo>
                        <a:lnTo>
                          <a:pt x="496608" y="71215"/>
                        </a:lnTo>
                        <a:lnTo>
                          <a:pt x="514418" y="75331"/>
                        </a:lnTo>
                        <a:lnTo>
                          <a:pt x="543536" y="50660"/>
                        </a:lnTo>
                        <a:lnTo>
                          <a:pt x="551769" y="52443"/>
                        </a:lnTo>
                        <a:lnTo>
                          <a:pt x="557230" y="39792"/>
                        </a:lnTo>
                        <a:lnTo>
                          <a:pt x="569140" y="46296"/>
                        </a:lnTo>
                        <a:lnTo>
                          <a:pt x="573860" y="40259"/>
                        </a:lnTo>
                        <a:lnTo>
                          <a:pt x="576083" y="25742"/>
                        </a:lnTo>
                        <a:lnTo>
                          <a:pt x="581654" y="15313"/>
                        </a:lnTo>
                        <a:lnTo>
                          <a:pt x="597653" y="19210"/>
                        </a:lnTo>
                        <a:lnTo>
                          <a:pt x="607560" y="0"/>
                        </a:lnTo>
                        <a:lnTo>
                          <a:pt x="617330" y="3320"/>
                        </a:lnTo>
                        <a:lnTo>
                          <a:pt x="616918" y="1610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0" name="Freeform: Shape 3109">
                    <a:extLst>
                      <a:ext uri="{FF2B5EF4-FFF2-40B4-BE49-F238E27FC236}">
                        <a16:creationId xmlns:a16="http://schemas.microsoft.com/office/drawing/2014/main" id="{1DE2F14C-E2C1-FAFF-0DDB-FEF3C5B47F4E}"/>
                      </a:ext>
                    </a:extLst>
                  </p:cNvPr>
                  <p:cNvSpPr/>
                  <p:nvPr/>
                </p:nvSpPr>
                <p:spPr>
                  <a:xfrm>
                    <a:off x="-6057273" y="2441574"/>
                    <a:ext cx="12211" cy="13200"/>
                  </a:xfrm>
                  <a:custGeom>
                    <a:avLst/>
                    <a:gdLst>
                      <a:gd name="connsiteX0" fmla="*/ 11608 w 12211"/>
                      <a:gd name="connsiteY0" fmla="*/ 10126 h 13200"/>
                      <a:gd name="connsiteX1" fmla="*/ 7464 w 12211"/>
                      <a:gd name="connsiteY1" fmla="*/ 13200 h 13200"/>
                      <a:gd name="connsiteX2" fmla="*/ 604 w 12211"/>
                      <a:gd name="connsiteY2" fmla="*/ 9825 h 13200"/>
                      <a:gd name="connsiteX3" fmla="*/ 0 w 12211"/>
                      <a:gd name="connsiteY3" fmla="*/ 5928 h 13200"/>
                      <a:gd name="connsiteX4" fmla="*/ 0 w 12211"/>
                      <a:gd name="connsiteY4" fmla="*/ 2250 h 13200"/>
                      <a:gd name="connsiteX5" fmla="*/ 5406 w 12211"/>
                      <a:gd name="connsiteY5" fmla="*/ 0 h 13200"/>
                      <a:gd name="connsiteX6" fmla="*/ 9083 w 12211"/>
                      <a:gd name="connsiteY6" fmla="*/ 631 h 13200"/>
                      <a:gd name="connsiteX7" fmla="*/ 12212 w 12211"/>
                      <a:gd name="connsiteY7" fmla="*/ 5928 h 13200"/>
                      <a:gd name="connsiteX8" fmla="*/ 11608 w 12211"/>
                      <a:gd name="connsiteY8" fmla="*/ 10126 h 1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1" h="13200">
                        <a:moveTo>
                          <a:pt x="11608" y="10126"/>
                        </a:moveTo>
                        <a:lnTo>
                          <a:pt x="7464" y="13200"/>
                        </a:lnTo>
                        <a:lnTo>
                          <a:pt x="604" y="9825"/>
                        </a:lnTo>
                        <a:lnTo>
                          <a:pt x="0" y="5928"/>
                        </a:lnTo>
                        <a:lnTo>
                          <a:pt x="0" y="2250"/>
                        </a:lnTo>
                        <a:lnTo>
                          <a:pt x="5406" y="0"/>
                        </a:lnTo>
                        <a:lnTo>
                          <a:pt x="9083" y="631"/>
                        </a:lnTo>
                        <a:lnTo>
                          <a:pt x="12212" y="5928"/>
                        </a:lnTo>
                        <a:lnTo>
                          <a:pt x="11608" y="1012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1" name="Freeform: Shape 3110">
                    <a:extLst>
                      <a:ext uri="{FF2B5EF4-FFF2-40B4-BE49-F238E27FC236}">
                        <a16:creationId xmlns:a16="http://schemas.microsoft.com/office/drawing/2014/main" id="{1BD014DD-9303-58BB-11D0-7059A89B7092}"/>
                      </a:ext>
                    </a:extLst>
                  </p:cNvPr>
                  <p:cNvSpPr/>
                  <p:nvPr/>
                </p:nvSpPr>
                <p:spPr>
                  <a:xfrm>
                    <a:off x="-6153434" y="2590150"/>
                    <a:ext cx="8534" cy="10894"/>
                  </a:xfrm>
                  <a:custGeom>
                    <a:avLst/>
                    <a:gdLst>
                      <a:gd name="connsiteX0" fmla="*/ 8535 w 8534"/>
                      <a:gd name="connsiteY0" fmla="*/ 4254 h 10894"/>
                      <a:gd name="connsiteX1" fmla="*/ 7519 w 8534"/>
                      <a:gd name="connsiteY1" fmla="*/ 6586 h 10894"/>
                      <a:gd name="connsiteX2" fmla="*/ 4885 w 8534"/>
                      <a:gd name="connsiteY2" fmla="*/ 5132 h 10894"/>
                      <a:gd name="connsiteX3" fmla="*/ 1564 w 8534"/>
                      <a:gd name="connsiteY3" fmla="*/ 10895 h 10894"/>
                      <a:gd name="connsiteX4" fmla="*/ 0 w 8534"/>
                      <a:gd name="connsiteY4" fmla="*/ 7684 h 10894"/>
                      <a:gd name="connsiteX5" fmla="*/ 878 w 8534"/>
                      <a:gd name="connsiteY5" fmla="*/ 3924 h 10894"/>
                      <a:gd name="connsiteX6" fmla="*/ 5324 w 8534"/>
                      <a:gd name="connsiteY6" fmla="*/ 2442 h 10894"/>
                      <a:gd name="connsiteX7" fmla="*/ 8205 w 8534"/>
                      <a:gd name="connsiteY7" fmla="*/ 0 h 10894"/>
                      <a:gd name="connsiteX8" fmla="*/ 8535 w 8534"/>
                      <a:gd name="connsiteY8" fmla="*/ 4254 h 1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34" h="10894">
                        <a:moveTo>
                          <a:pt x="8535" y="4254"/>
                        </a:moveTo>
                        <a:lnTo>
                          <a:pt x="7519" y="6586"/>
                        </a:lnTo>
                        <a:lnTo>
                          <a:pt x="4885" y="5132"/>
                        </a:lnTo>
                        <a:lnTo>
                          <a:pt x="1564" y="10895"/>
                        </a:lnTo>
                        <a:lnTo>
                          <a:pt x="0" y="7684"/>
                        </a:lnTo>
                        <a:lnTo>
                          <a:pt x="878" y="3924"/>
                        </a:lnTo>
                        <a:lnTo>
                          <a:pt x="5324" y="2442"/>
                        </a:lnTo>
                        <a:lnTo>
                          <a:pt x="8205" y="0"/>
                        </a:lnTo>
                        <a:lnTo>
                          <a:pt x="8535" y="425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2" name="Freeform: Shape 3111">
                    <a:extLst>
                      <a:ext uri="{FF2B5EF4-FFF2-40B4-BE49-F238E27FC236}">
                        <a16:creationId xmlns:a16="http://schemas.microsoft.com/office/drawing/2014/main" id="{155BE1EA-DE4A-0A66-4F98-CC0BB1DF5CFF}"/>
                      </a:ext>
                    </a:extLst>
                  </p:cNvPr>
                  <p:cNvSpPr/>
                  <p:nvPr/>
                </p:nvSpPr>
                <p:spPr>
                  <a:xfrm>
                    <a:off x="-5940476" y="2287152"/>
                    <a:ext cx="6668" cy="11059"/>
                  </a:xfrm>
                  <a:custGeom>
                    <a:avLst/>
                    <a:gdLst>
                      <a:gd name="connsiteX0" fmla="*/ 6668 w 6668"/>
                      <a:gd name="connsiteY0" fmla="*/ 6367 h 11059"/>
                      <a:gd name="connsiteX1" fmla="*/ 4089 w 6668"/>
                      <a:gd name="connsiteY1" fmla="*/ 11060 h 11059"/>
                      <a:gd name="connsiteX2" fmla="*/ 0 w 6668"/>
                      <a:gd name="connsiteY2" fmla="*/ 6367 h 11059"/>
                      <a:gd name="connsiteX3" fmla="*/ 165 w 6668"/>
                      <a:gd name="connsiteY3" fmla="*/ 3293 h 11059"/>
                      <a:gd name="connsiteX4" fmla="*/ 5461 w 6668"/>
                      <a:gd name="connsiteY4" fmla="*/ 0 h 11059"/>
                      <a:gd name="connsiteX5" fmla="*/ 6668 w 6668"/>
                      <a:gd name="connsiteY5" fmla="*/ 6394 h 1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8" h="11059">
                        <a:moveTo>
                          <a:pt x="6668" y="6367"/>
                        </a:moveTo>
                        <a:lnTo>
                          <a:pt x="4089" y="11060"/>
                        </a:lnTo>
                        <a:lnTo>
                          <a:pt x="0" y="6367"/>
                        </a:lnTo>
                        <a:lnTo>
                          <a:pt x="165" y="3293"/>
                        </a:lnTo>
                        <a:lnTo>
                          <a:pt x="5461" y="0"/>
                        </a:lnTo>
                        <a:lnTo>
                          <a:pt x="6668" y="639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3" name="Freeform: Shape 3112">
                    <a:extLst>
                      <a:ext uri="{FF2B5EF4-FFF2-40B4-BE49-F238E27FC236}">
                        <a16:creationId xmlns:a16="http://schemas.microsoft.com/office/drawing/2014/main" id="{80E7E1D3-5311-9D2A-85B7-787BE680AA02}"/>
                      </a:ext>
                    </a:extLst>
                  </p:cNvPr>
                  <p:cNvSpPr/>
                  <p:nvPr/>
                </p:nvSpPr>
                <p:spPr>
                  <a:xfrm>
                    <a:off x="-5927413" y="2263853"/>
                    <a:ext cx="3814" cy="17645"/>
                  </a:xfrm>
                  <a:custGeom>
                    <a:avLst/>
                    <a:gdLst>
                      <a:gd name="connsiteX0" fmla="*/ 2937 w 3814"/>
                      <a:gd name="connsiteY0" fmla="*/ 16905 h 17645"/>
                      <a:gd name="connsiteX1" fmla="*/ 741 w 3814"/>
                      <a:gd name="connsiteY1" fmla="*/ 17646 h 17645"/>
                      <a:gd name="connsiteX2" fmla="*/ 0 w 3814"/>
                      <a:gd name="connsiteY2" fmla="*/ 768 h 17645"/>
                      <a:gd name="connsiteX3" fmla="*/ 1262 w 3814"/>
                      <a:gd name="connsiteY3" fmla="*/ 0 h 17645"/>
                      <a:gd name="connsiteX4" fmla="*/ 1838 w 3814"/>
                      <a:gd name="connsiteY4" fmla="*/ 6367 h 17645"/>
                      <a:gd name="connsiteX5" fmla="*/ 3814 w 3814"/>
                      <a:gd name="connsiteY5" fmla="*/ 13996 h 17645"/>
                      <a:gd name="connsiteX6" fmla="*/ 2964 w 3814"/>
                      <a:gd name="connsiteY6" fmla="*/ 16932 h 1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4" h="17645">
                        <a:moveTo>
                          <a:pt x="2937" y="16905"/>
                        </a:moveTo>
                        <a:lnTo>
                          <a:pt x="741" y="17646"/>
                        </a:lnTo>
                        <a:lnTo>
                          <a:pt x="0" y="768"/>
                        </a:lnTo>
                        <a:lnTo>
                          <a:pt x="1262" y="0"/>
                        </a:lnTo>
                        <a:lnTo>
                          <a:pt x="1838" y="6367"/>
                        </a:lnTo>
                        <a:lnTo>
                          <a:pt x="3814" y="13996"/>
                        </a:lnTo>
                        <a:lnTo>
                          <a:pt x="2964" y="1693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4" name="Freeform: Shape 3113">
                    <a:extLst>
                      <a:ext uri="{FF2B5EF4-FFF2-40B4-BE49-F238E27FC236}">
                        <a16:creationId xmlns:a16="http://schemas.microsoft.com/office/drawing/2014/main" id="{D742E3F3-B121-A103-00B3-881EC84BA77E}"/>
                      </a:ext>
                    </a:extLst>
                  </p:cNvPr>
                  <p:cNvSpPr/>
                  <p:nvPr/>
                </p:nvSpPr>
                <p:spPr>
                  <a:xfrm>
                    <a:off x="-5971295" y="2352905"/>
                    <a:ext cx="4637" cy="7519"/>
                  </a:xfrm>
                  <a:custGeom>
                    <a:avLst/>
                    <a:gdLst>
                      <a:gd name="connsiteX0" fmla="*/ 4638 w 4637"/>
                      <a:gd name="connsiteY0" fmla="*/ 4144 h 7519"/>
                      <a:gd name="connsiteX1" fmla="*/ 2470 w 4637"/>
                      <a:gd name="connsiteY1" fmla="*/ 7519 h 7519"/>
                      <a:gd name="connsiteX2" fmla="*/ 0 w 4637"/>
                      <a:gd name="connsiteY2" fmla="*/ 2442 h 7519"/>
                      <a:gd name="connsiteX3" fmla="*/ 1153 w 4637"/>
                      <a:gd name="connsiteY3" fmla="*/ 0 h 7519"/>
                      <a:gd name="connsiteX4" fmla="*/ 4638 w 4637"/>
                      <a:gd name="connsiteY4" fmla="*/ 4144 h 7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7" h="7519">
                        <a:moveTo>
                          <a:pt x="4638" y="4144"/>
                        </a:moveTo>
                        <a:lnTo>
                          <a:pt x="2470" y="7519"/>
                        </a:lnTo>
                        <a:lnTo>
                          <a:pt x="0" y="2442"/>
                        </a:lnTo>
                        <a:lnTo>
                          <a:pt x="1153" y="0"/>
                        </a:lnTo>
                        <a:lnTo>
                          <a:pt x="4638" y="414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5" name="Freeform: Shape 3114">
                    <a:extLst>
                      <a:ext uri="{FF2B5EF4-FFF2-40B4-BE49-F238E27FC236}">
                        <a16:creationId xmlns:a16="http://schemas.microsoft.com/office/drawing/2014/main" id="{162134DA-6C52-1AEF-20DD-5FA874F3B5CA}"/>
                      </a:ext>
                    </a:extLst>
                  </p:cNvPr>
                  <p:cNvSpPr/>
                  <p:nvPr/>
                </p:nvSpPr>
                <p:spPr>
                  <a:xfrm>
                    <a:off x="-5925739" y="2251696"/>
                    <a:ext cx="4034" cy="8507"/>
                  </a:xfrm>
                  <a:custGeom>
                    <a:avLst/>
                    <a:gdLst>
                      <a:gd name="connsiteX0" fmla="*/ 4034 w 4034"/>
                      <a:gd name="connsiteY0" fmla="*/ 4336 h 8507"/>
                      <a:gd name="connsiteX1" fmla="*/ 1838 w 4034"/>
                      <a:gd name="connsiteY1" fmla="*/ 8507 h 8507"/>
                      <a:gd name="connsiteX2" fmla="*/ 0 w 4034"/>
                      <a:gd name="connsiteY2" fmla="*/ 5214 h 8507"/>
                      <a:gd name="connsiteX3" fmla="*/ 1564 w 4034"/>
                      <a:gd name="connsiteY3" fmla="*/ 0 h 8507"/>
                      <a:gd name="connsiteX4" fmla="*/ 4034 w 4034"/>
                      <a:gd name="connsiteY4" fmla="*/ 4336 h 8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 h="8507">
                        <a:moveTo>
                          <a:pt x="4034" y="4336"/>
                        </a:moveTo>
                        <a:lnTo>
                          <a:pt x="1838" y="8507"/>
                        </a:lnTo>
                        <a:lnTo>
                          <a:pt x="0" y="5214"/>
                        </a:lnTo>
                        <a:lnTo>
                          <a:pt x="1564" y="0"/>
                        </a:lnTo>
                        <a:lnTo>
                          <a:pt x="4034" y="433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6" name="Freeform: Shape 3115">
                    <a:extLst>
                      <a:ext uri="{FF2B5EF4-FFF2-40B4-BE49-F238E27FC236}">
                        <a16:creationId xmlns:a16="http://schemas.microsoft.com/office/drawing/2014/main" id="{C3917605-47C6-FB3B-AC0C-9680F060694C}"/>
                      </a:ext>
                    </a:extLst>
                  </p:cNvPr>
                  <p:cNvSpPr/>
                  <p:nvPr/>
                </p:nvSpPr>
                <p:spPr>
                  <a:xfrm>
                    <a:off x="-5943632" y="2280923"/>
                    <a:ext cx="3622" cy="8946"/>
                  </a:xfrm>
                  <a:custGeom>
                    <a:avLst/>
                    <a:gdLst>
                      <a:gd name="connsiteX0" fmla="*/ 3321 w 3622"/>
                      <a:gd name="connsiteY0" fmla="*/ 7958 h 8946"/>
                      <a:gd name="connsiteX1" fmla="*/ 2388 w 3622"/>
                      <a:gd name="connsiteY1" fmla="*/ 8946 h 8946"/>
                      <a:gd name="connsiteX2" fmla="*/ 0 w 3622"/>
                      <a:gd name="connsiteY2" fmla="*/ 4610 h 8946"/>
                      <a:gd name="connsiteX3" fmla="*/ 3623 w 3622"/>
                      <a:gd name="connsiteY3" fmla="*/ 0 h 8946"/>
                      <a:gd name="connsiteX4" fmla="*/ 3321 w 3622"/>
                      <a:gd name="connsiteY4" fmla="*/ 7958 h 8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8946">
                        <a:moveTo>
                          <a:pt x="3321" y="7958"/>
                        </a:moveTo>
                        <a:lnTo>
                          <a:pt x="2388" y="8946"/>
                        </a:lnTo>
                        <a:lnTo>
                          <a:pt x="0" y="4610"/>
                        </a:lnTo>
                        <a:lnTo>
                          <a:pt x="3623" y="0"/>
                        </a:lnTo>
                        <a:lnTo>
                          <a:pt x="3321" y="795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7" name="Freeform: Shape 3116">
                    <a:extLst>
                      <a:ext uri="{FF2B5EF4-FFF2-40B4-BE49-F238E27FC236}">
                        <a16:creationId xmlns:a16="http://schemas.microsoft.com/office/drawing/2014/main" id="{78B0FFAC-6D92-4CC9-3C9D-45FBD1A51A55}"/>
                      </a:ext>
                    </a:extLst>
                  </p:cNvPr>
                  <p:cNvSpPr/>
                  <p:nvPr/>
                </p:nvSpPr>
                <p:spPr>
                  <a:xfrm>
                    <a:off x="-6117209" y="2698769"/>
                    <a:ext cx="4088" cy="5296"/>
                  </a:xfrm>
                  <a:custGeom>
                    <a:avLst/>
                    <a:gdLst>
                      <a:gd name="connsiteX0" fmla="*/ 4089 w 4088"/>
                      <a:gd name="connsiteY0" fmla="*/ 1784 h 5296"/>
                      <a:gd name="connsiteX1" fmla="*/ 2635 w 4088"/>
                      <a:gd name="connsiteY1" fmla="*/ 5297 h 5296"/>
                      <a:gd name="connsiteX2" fmla="*/ 0 w 4088"/>
                      <a:gd name="connsiteY2" fmla="*/ 4775 h 5296"/>
                      <a:gd name="connsiteX3" fmla="*/ 686 w 4088"/>
                      <a:gd name="connsiteY3" fmla="*/ 0 h 5296"/>
                      <a:gd name="connsiteX4" fmla="*/ 4062 w 4088"/>
                      <a:gd name="connsiteY4" fmla="*/ 1784 h 5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5296">
                        <a:moveTo>
                          <a:pt x="4089" y="1784"/>
                        </a:moveTo>
                        <a:lnTo>
                          <a:pt x="2635" y="5297"/>
                        </a:lnTo>
                        <a:lnTo>
                          <a:pt x="0" y="4775"/>
                        </a:lnTo>
                        <a:lnTo>
                          <a:pt x="686" y="0"/>
                        </a:lnTo>
                        <a:lnTo>
                          <a:pt x="4062" y="178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8" name="Freeform: Shape 3117">
                    <a:extLst>
                      <a:ext uri="{FF2B5EF4-FFF2-40B4-BE49-F238E27FC236}">
                        <a16:creationId xmlns:a16="http://schemas.microsoft.com/office/drawing/2014/main" id="{40846F60-D725-3232-7B60-818717AB5D50}"/>
                      </a:ext>
                    </a:extLst>
                  </p:cNvPr>
                  <p:cNvSpPr/>
                  <p:nvPr/>
                </p:nvSpPr>
                <p:spPr>
                  <a:xfrm>
                    <a:off x="-6097203" y="2482628"/>
                    <a:ext cx="4528" cy="5021"/>
                  </a:xfrm>
                  <a:custGeom>
                    <a:avLst/>
                    <a:gdLst>
                      <a:gd name="connsiteX0" fmla="*/ 4528 w 4528"/>
                      <a:gd name="connsiteY0" fmla="*/ 1948 h 5021"/>
                      <a:gd name="connsiteX1" fmla="*/ 3705 w 4528"/>
                      <a:gd name="connsiteY1" fmla="*/ 5022 h 5021"/>
                      <a:gd name="connsiteX2" fmla="*/ 549 w 4528"/>
                      <a:gd name="connsiteY2" fmla="*/ 4583 h 5021"/>
                      <a:gd name="connsiteX3" fmla="*/ 0 w 4528"/>
                      <a:gd name="connsiteY3" fmla="*/ 3211 h 5021"/>
                      <a:gd name="connsiteX4" fmla="*/ 823 w 4528"/>
                      <a:gd name="connsiteY4" fmla="*/ 1482 h 5021"/>
                      <a:gd name="connsiteX5" fmla="*/ 3897 w 4528"/>
                      <a:gd name="connsiteY5" fmla="*/ 0 h 5021"/>
                      <a:gd name="connsiteX6" fmla="*/ 4501 w 4528"/>
                      <a:gd name="connsiteY6" fmla="*/ 1894 h 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8" h="5021">
                        <a:moveTo>
                          <a:pt x="4528" y="1948"/>
                        </a:moveTo>
                        <a:lnTo>
                          <a:pt x="3705" y="5022"/>
                        </a:lnTo>
                        <a:lnTo>
                          <a:pt x="549" y="4583"/>
                        </a:lnTo>
                        <a:lnTo>
                          <a:pt x="0" y="3211"/>
                        </a:lnTo>
                        <a:lnTo>
                          <a:pt x="823" y="1482"/>
                        </a:lnTo>
                        <a:lnTo>
                          <a:pt x="3897" y="0"/>
                        </a:lnTo>
                        <a:lnTo>
                          <a:pt x="4501" y="189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9" name="Freeform: Shape 3118">
                    <a:extLst>
                      <a:ext uri="{FF2B5EF4-FFF2-40B4-BE49-F238E27FC236}">
                        <a16:creationId xmlns:a16="http://schemas.microsoft.com/office/drawing/2014/main" id="{2F789BDF-C2F2-D627-D5BB-AD0A0AFAF243}"/>
                      </a:ext>
                    </a:extLst>
                  </p:cNvPr>
                  <p:cNvSpPr/>
                  <p:nvPr/>
                </p:nvSpPr>
                <p:spPr>
                  <a:xfrm>
                    <a:off x="-6146381" y="2697727"/>
                    <a:ext cx="4006" cy="4775"/>
                  </a:xfrm>
                  <a:custGeom>
                    <a:avLst/>
                    <a:gdLst>
                      <a:gd name="connsiteX0" fmla="*/ 3979 w 4006"/>
                      <a:gd name="connsiteY0" fmla="*/ 165 h 4775"/>
                      <a:gd name="connsiteX1" fmla="*/ 3293 w 4006"/>
                      <a:gd name="connsiteY1" fmla="*/ 4775 h 4775"/>
                      <a:gd name="connsiteX2" fmla="*/ 1317 w 4006"/>
                      <a:gd name="connsiteY2" fmla="*/ 4583 h 4775"/>
                      <a:gd name="connsiteX3" fmla="*/ 0 w 4006"/>
                      <a:gd name="connsiteY3" fmla="*/ 0 h 4775"/>
                      <a:gd name="connsiteX4" fmla="*/ 4007 w 4006"/>
                      <a:gd name="connsiteY4" fmla="*/ 165 h 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4775">
                        <a:moveTo>
                          <a:pt x="3979" y="165"/>
                        </a:moveTo>
                        <a:lnTo>
                          <a:pt x="3293" y="4775"/>
                        </a:lnTo>
                        <a:lnTo>
                          <a:pt x="1317" y="4583"/>
                        </a:lnTo>
                        <a:lnTo>
                          <a:pt x="0" y="0"/>
                        </a:lnTo>
                        <a:lnTo>
                          <a:pt x="4007" y="16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0" name="Freeform: Shape 3119">
                    <a:extLst>
                      <a:ext uri="{FF2B5EF4-FFF2-40B4-BE49-F238E27FC236}">
                        <a16:creationId xmlns:a16="http://schemas.microsoft.com/office/drawing/2014/main" id="{FE4A5A0A-D246-AAA6-6050-1F77EE981461}"/>
                      </a:ext>
                    </a:extLst>
                  </p:cNvPr>
                  <p:cNvSpPr/>
                  <p:nvPr/>
                </p:nvSpPr>
                <p:spPr>
                  <a:xfrm>
                    <a:off x="-6145173" y="2553980"/>
                    <a:ext cx="2689" cy="6997"/>
                  </a:xfrm>
                  <a:custGeom>
                    <a:avLst/>
                    <a:gdLst>
                      <a:gd name="connsiteX0" fmla="*/ 2689 w 2689"/>
                      <a:gd name="connsiteY0" fmla="*/ 27 h 6997"/>
                      <a:gd name="connsiteX1" fmla="*/ 2195 w 2689"/>
                      <a:gd name="connsiteY1" fmla="*/ 6998 h 6997"/>
                      <a:gd name="connsiteX2" fmla="*/ 0 w 2689"/>
                      <a:gd name="connsiteY2" fmla="*/ 5434 h 6997"/>
                      <a:gd name="connsiteX3" fmla="*/ 219 w 2689"/>
                      <a:gd name="connsiteY3" fmla="*/ 0 h 6997"/>
                      <a:gd name="connsiteX4" fmla="*/ 2689 w 2689"/>
                      <a:gd name="connsiteY4" fmla="*/ 0 h 6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9" h="6997">
                        <a:moveTo>
                          <a:pt x="2689" y="27"/>
                        </a:moveTo>
                        <a:lnTo>
                          <a:pt x="2195" y="6998"/>
                        </a:lnTo>
                        <a:lnTo>
                          <a:pt x="0" y="5434"/>
                        </a:lnTo>
                        <a:lnTo>
                          <a:pt x="219" y="0"/>
                        </a:lnTo>
                        <a:lnTo>
                          <a:pt x="2689"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1" name="Freeform: Shape 3120">
                    <a:extLst>
                      <a:ext uri="{FF2B5EF4-FFF2-40B4-BE49-F238E27FC236}">
                        <a16:creationId xmlns:a16="http://schemas.microsoft.com/office/drawing/2014/main" id="{77146644-ABBF-CCAA-27DE-86BADA028C90}"/>
                      </a:ext>
                    </a:extLst>
                  </p:cNvPr>
                  <p:cNvSpPr/>
                  <p:nvPr/>
                </p:nvSpPr>
                <p:spPr>
                  <a:xfrm>
                    <a:off x="-5930432" y="2271784"/>
                    <a:ext cx="1811" cy="4555"/>
                  </a:xfrm>
                  <a:custGeom>
                    <a:avLst/>
                    <a:gdLst>
                      <a:gd name="connsiteX0" fmla="*/ 1812 w 1811"/>
                      <a:gd name="connsiteY0" fmla="*/ 1647 h 4555"/>
                      <a:gd name="connsiteX1" fmla="*/ 1455 w 1811"/>
                      <a:gd name="connsiteY1" fmla="*/ 4555 h 4555"/>
                      <a:gd name="connsiteX2" fmla="*/ 0 w 1811"/>
                      <a:gd name="connsiteY2" fmla="*/ 2388 h 4555"/>
                      <a:gd name="connsiteX3" fmla="*/ 933 w 1811"/>
                      <a:gd name="connsiteY3" fmla="*/ 0 h 4555"/>
                      <a:gd name="connsiteX4" fmla="*/ 1784 w 1811"/>
                      <a:gd name="connsiteY4" fmla="*/ 1674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 h="4555">
                        <a:moveTo>
                          <a:pt x="1812" y="1647"/>
                        </a:moveTo>
                        <a:lnTo>
                          <a:pt x="1455" y="4555"/>
                        </a:lnTo>
                        <a:lnTo>
                          <a:pt x="0" y="2388"/>
                        </a:lnTo>
                        <a:lnTo>
                          <a:pt x="933" y="0"/>
                        </a:lnTo>
                        <a:lnTo>
                          <a:pt x="1784" y="167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2" name="Freeform: Shape 3121">
                    <a:extLst>
                      <a:ext uri="{FF2B5EF4-FFF2-40B4-BE49-F238E27FC236}">
                        <a16:creationId xmlns:a16="http://schemas.microsoft.com/office/drawing/2014/main" id="{926DAE27-B37C-8004-5B7F-3CD361B54179}"/>
                      </a:ext>
                    </a:extLst>
                  </p:cNvPr>
                  <p:cNvSpPr/>
                  <p:nvPr/>
                </p:nvSpPr>
                <p:spPr>
                  <a:xfrm>
                    <a:off x="-5929801" y="2276367"/>
                    <a:ext cx="1536" cy="4143"/>
                  </a:xfrm>
                  <a:custGeom>
                    <a:avLst/>
                    <a:gdLst>
                      <a:gd name="connsiteX0" fmla="*/ 1455 w 1536"/>
                      <a:gd name="connsiteY0" fmla="*/ 3622 h 4143"/>
                      <a:gd name="connsiteX1" fmla="*/ 686 w 1536"/>
                      <a:gd name="connsiteY1" fmla="*/ 4144 h 4143"/>
                      <a:gd name="connsiteX2" fmla="*/ 0 w 1536"/>
                      <a:gd name="connsiteY2" fmla="*/ 2086 h 4143"/>
                      <a:gd name="connsiteX3" fmla="*/ 741 w 1536"/>
                      <a:gd name="connsiteY3" fmla="*/ 0 h 4143"/>
                      <a:gd name="connsiteX4" fmla="*/ 1537 w 1536"/>
                      <a:gd name="connsiteY4" fmla="*/ 823 h 4143"/>
                      <a:gd name="connsiteX5" fmla="*/ 1455 w 1536"/>
                      <a:gd name="connsiteY5" fmla="*/ 3650 h 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6" h="4143">
                        <a:moveTo>
                          <a:pt x="1455" y="3622"/>
                        </a:moveTo>
                        <a:lnTo>
                          <a:pt x="686" y="4144"/>
                        </a:lnTo>
                        <a:lnTo>
                          <a:pt x="0" y="2086"/>
                        </a:lnTo>
                        <a:lnTo>
                          <a:pt x="741" y="0"/>
                        </a:lnTo>
                        <a:lnTo>
                          <a:pt x="1537" y="823"/>
                        </a:lnTo>
                        <a:lnTo>
                          <a:pt x="1455" y="365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grpSp>
      </p:grpSp>
      <p:sp>
        <p:nvSpPr>
          <p:cNvPr id="168" name="object 32">
            <a:extLst>
              <a:ext uri="{FF2B5EF4-FFF2-40B4-BE49-F238E27FC236}">
                <a16:creationId xmlns:a16="http://schemas.microsoft.com/office/drawing/2014/main" id="{43D50EEE-068A-EA6B-A0DA-AE845CC5D551}"/>
              </a:ext>
            </a:extLst>
          </p:cNvPr>
          <p:cNvSpPr txBox="1"/>
          <p:nvPr/>
        </p:nvSpPr>
        <p:spPr>
          <a:xfrm>
            <a:off x="1158239" y="1909115"/>
            <a:ext cx="9875520" cy="3031370"/>
          </a:xfrm>
          <a:prstGeom prst="rect">
            <a:avLst/>
          </a:prstGeom>
          <a:ln w="12700">
            <a:solidFill>
              <a:schemeClr val="bg2"/>
            </a:solidFill>
          </a:ln>
        </p:spPr>
        <p:txBody>
          <a:bodyPr vert="horz" wrap="square" lIns="64800" tIns="64800" rIns="1620000" bIns="0" rtlCol="0" anchor="t">
            <a:no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9144" marR="0" lvl="0" indent="0" algn="l" defTabSz="822919" rtl="0" eaLnBrk="1" fontAlgn="base" latinLnBrk="0" hangingPunct="1">
              <a:lnSpc>
                <a:spcPct val="100000"/>
              </a:lnSpc>
              <a:spcBef>
                <a:spcPts val="270"/>
              </a:spcBef>
              <a:spcAft>
                <a:spcPts val="180"/>
              </a:spcAft>
              <a:buClr>
                <a:srgbClr val="000000"/>
              </a:buClr>
              <a:buSzTx/>
              <a:buFontTx/>
              <a:buNone/>
              <a:tabLst/>
              <a:defRPr/>
            </a:pPr>
            <a:r>
              <a:rPr kumimoji="0" lang="en-US" sz="1260" b="1" i="0" u="none" strike="noStrike" kern="0" cap="none" spc="0" normalizeH="0" baseline="0" noProof="0" dirty="0">
                <a:ln>
                  <a:noFill/>
                </a:ln>
                <a:solidFill>
                  <a:srgbClr val="156168"/>
                </a:solidFill>
                <a:effectLst/>
                <a:uLnTx/>
                <a:uFillTx/>
                <a:latin typeface="Aptos" panose="02110004020202020204"/>
                <a:ea typeface="Lato"/>
                <a:cs typeface="Lato"/>
                <a:sym typeface="Lato" panose="020F0502020204030203" pitchFamily="34" charset="0"/>
              </a:rPr>
              <a:t>P</a:t>
            </a:r>
            <a:r>
              <a:rPr kumimoji="0" sz="1260" b="1" i="0" u="none" strike="noStrike" kern="0" cap="none" spc="0" normalizeH="0" baseline="0" noProof="0" dirty="0">
                <a:ln>
                  <a:noFill/>
                </a:ln>
                <a:solidFill>
                  <a:srgbClr val="156168"/>
                </a:solidFill>
                <a:effectLst/>
                <a:uLnTx/>
                <a:uFillTx/>
                <a:latin typeface="Aptos" panose="02110004020202020204"/>
                <a:ea typeface="Lato"/>
                <a:cs typeface="Lato"/>
                <a:sym typeface="Lato" panose="020F0502020204030203" pitchFamily="34" charset="0"/>
              </a:rPr>
              <a:t>opulation</a:t>
            </a:r>
            <a:endParaRPr kumimoji="0" lang="en-US" sz="1260" b="1" i="0" u="none" strike="noStrike" kern="0" cap="none" spc="0" normalizeH="0" baseline="0" noProof="0" dirty="0">
              <a:ln>
                <a:noFill/>
              </a:ln>
              <a:solidFill>
                <a:srgbClr val="156168"/>
              </a:solidFill>
              <a:effectLst/>
              <a:uLnTx/>
              <a:uFillTx/>
              <a:latin typeface="Aptos" panose="02110004020202020204"/>
              <a:ea typeface="Lato"/>
              <a:cs typeface="Lato"/>
              <a:sym typeface="Lato" panose="020F0502020204030203" pitchFamily="34" charset="0"/>
            </a:endParaRPr>
          </a:p>
          <a:p>
            <a:pPr marL="9144" marR="0" lvl="0" indent="0" algn="l" defTabSz="822919" rtl="0" eaLnBrk="1" fontAlgn="base" latinLnBrk="0" hangingPunct="1">
              <a:lnSpc>
                <a:spcPct val="100000"/>
              </a:lnSpc>
              <a:spcBef>
                <a:spcPts val="270"/>
              </a:spcBef>
              <a:spcAft>
                <a:spcPts val="360"/>
              </a:spcAft>
              <a:buClr>
                <a:srgbClr val="000000"/>
              </a:buClr>
              <a:buSzTx/>
              <a:buFontTx/>
              <a:buNone/>
              <a:tabLst/>
              <a:defRPr/>
            </a:pPr>
            <a:r>
              <a:rPr kumimoji="0" lang="en-US" sz="1080" b="1"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rPr>
              <a:t>90 patients</a:t>
            </a:r>
            <a:endParaRPr kumimoji="0" lang="en-US" sz="1080" b="1" i="0" u="none" strike="noStrike" kern="0" cap="none" spc="0" normalizeH="0" baseline="0" noProof="0" dirty="0">
              <a:ln>
                <a:noFill/>
              </a:ln>
              <a:solidFill>
                <a:srgbClr val="231F20"/>
              </a:solidFill>
              <a:effectLst/>
              <a:uLnTx/>
              <a:uFillTx/>
              <a:latin typeface="Aptos" panose="02110004020202020204"/>
              <a:ea typeface="Lato"/>
              <a:cs typeface="Lato"/>
            </a:endParaRP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810" b="0"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rPr>
              <a:t>Epithelial ovarian, primary peritoneal, or fallopian tube cancer</a:t>
            </a:r>
            <a:endParaRPr kumimoji="0" lang="en-US" sz="810" b="0" i="0" u="none" strike="noStrike" kern="0" cap="none" spc="0" normalizeH="0" baseline="0" noProof="0" dirty="0">
              <a:ln>
                <a:noFill/>
              </a:ln>
              <a:solidFill>
                <a:srgbClr val="231F20"/>
              </a:solidFill>
              <a:effectLst/>
              <a:uLnTx/>
              <a:uFillTx/>
              <a:latin typeface="Aptos" panose="02110004020202020204"/>
              <a:ea typeface="Lato"/>
              <a:cs typeface="Lato"/>
            </a:endParaRP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810" b="0" i="0" u="none" strike="noStrike" kern="0" cap="none" spc="0" normalizeH="0" baseline="0" noProof="0" dirty="0">
                <a:ln>
                  <a:noFill/>
                </a:ln>
                <a:solidFill>
                  <a:srgbClr val="231F20"/>
                </a:solidFill>
                <a:effectLst/>
                <a:uLnTx/>
                <a:uFillTx/>
                <a:latin typeface="Aptos" panose="02110004020202020204"/>
                <a:ea typeface="Lato"/>
                <a:cs typeface="Lato" panose="020F0502020204030203" pitchFamily="34" charset="0"/>
                <a:sym typeface="Lato" panose="020F0502020204030203" pitchFamily="34" charset="0"/>
              </a:rPr>
              <a:t>Progression &lt;6 months after the last dose of platinum therapy</a:t>
            </a:r>
            <a:endParaRPr kumimoji="0" lang="en-US" sz="810" b="0"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endParaRP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810" b="0"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rPr>
              <a:t>ECOG performance status 0 or 1</a:t>
            </a:r>
            <a:endParaRPr kumimoji="0" lang="en-US" sz="810" b="0" i="0" u="none" strike="noStrike" kern="0" cap="none" spc="0" normalizeH="0" baseline="0" noProof="0" dirty="0">
              <a:ln>
                <a:noFill/>
              </a:ln>
              <a:solidFill>
                <a:srgbClr val="231F20"/>
              </a:solidFill>
              <a:effectLst/>
              <a:uLnTx/>
              <a:uFillTx/>
              <a:latin typeface="Aptos" panose="02110004020202020204"/>
              <a:ea typeface="Lato"/>
              <a:cs typeface="Lato"/>
            </a:endParaRP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810" b="0" i="0" u="none" strike="noStrike" kern="0" cap="none" spc="0" normalizeH="0" baseline="0" noProof="0" dirty="0">
                <a:ln>
                  <a:noFill/>
                </a:ln>
                <a:solidFill>
                  <a:srgbClr val="000000"/>
                </a:solidFill>
                <a:effectLst/>
                <a:uLnTx/>
                <a:uFillTx/>
                <a:latin typeface="Aptos" panose="02110004020202020204"/>
                <a:ea typeface="Lato"/>
                <a:cs typeface="Lato"/>
                <a:sym typeface="Lato" panose="020F0502020204030203" pitchFamily="34" charset="0"/>
              </a:rPr>
              <a:t>1 to 3 prior lines of therapy</a:t>
            </a:r>
            <a:endParaRPr kumimoji="0" lang="en-US" sz="810" b="0" i="0" u="none" strike="noStrike" kern="0" cap="none" spc="0" normalizeH="0" baseline="0" noProof="0" dirty="0">
              <a:ln>
                <a:noFill/>
              </a:ln>
              <a:solidFill>
                <a:srgbClr val="000000"/>
              </a:solidFill>
              <a:effectLst/>
              <a:uLnTx/>
              <a:uFillTx/>
              <a:latin typeface="Aptos" panose="02110004020202020204"/>
              <a:ea typeface="Lato"/>
              <a:cs typeface="Lato"/>
            </a:endParaRP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810" b="0" i="0" u="none" strike="noStrike" kern="0" cap="none" spc="0" normalizeH="0" baseline="0" noProof="0" dirty="0">
                <a:ln>
                  <a:noFill/>
                </a:ln>
                <a:solidFill>
                  <a:srgbClr val="000000"/>
                </a:solidFill>
                <a:effectLst/>
                <a:uLnTx/>
                <a:uFillTx/>
                <a:latin typeface="Aptos" panose="02110004020202020204"/>
                <a:ea typeface="Lato"/>
                <a:cs typeface="Lato"/>
                <a:sym typeface="Lato" panose="020F0502020204030203" pitchFamily="34" charset="0"/>
              </a:rPr>
              <a:t>Suitable for bevacizumab</a:t>
            </a:r>
            <a:endParaRPr kumimoji="0" lang="en-US" sz="810" b="0" i="0" u="none" strike="noStrike" kern="0" cap="none" spc="0" normalizeH="0" baseline="0" noProof="0" dirty="0">
              <a:ln>
                <a:noFill/>
              </a:ln>
              <a:solidFill>
                <a:srgbClr val="000000"/>
              </a:solidFill>
              <a:effectLst/>
              <a:uLnTx/>
              <a:uFillTx/>
              <a:latin typeface="Aptos" panose="02110004020202020204"/>
              <a:ea typeface="Lato"/>
              <a:cs typeface="Lato"/>
            </a:endParaRP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810" b="0" i="0" u="none" strike="noStrike" kern="0" cap="none" spc="0" normalizeH="0" baseline="0" noProof="0" dirty="0">
                <a:ln>
                  <a:noFill/>
                </a:ln>
                <a:solidFill>
                  <a:srgbClr val="000000"/>
                </a:solidFill>
                <a:effectLst/>
                <a:uLnTx/>
                <a:uFillTx/>
                <a:latin typeface="Aptos" panose="02110004020202020204"/>
                <a:ea typeface="Lato"/>
                <a:cs typeface="Lato"/>
                <a:sym typeface="Lato" panose="020F0502020204030203" pitchFamily="34" charset="0"/>
              </a:rPr>
              <a:t>Eligible irrespective of prior bevacizumab</a:t>
            </a:r>
            <a:endParaRPr kumimoji="0" lang="en-US" sz="810" b="0" i="0" u="none" strike="noStrike" kern="0" cap="none" spc="0" normalizeH="0" baseline="0" noProof="0" dirty="0">
              <a:ln>
                <a:noFill/>
              </a:ln>
              <a:solidFill>
                <a:srgbClr val="000000"/>
              </a:solidFill>
              <a:effectLst/>
              <a:uLnTx/>
              <a:uFillTx/>
              <a:latin typeface="Aptos" panose="02110004020202020204"/>
              <a:ea typeface="Lato"/>
              <a:cs typeface="Lato"/>
            </a:endParaRPr>
          </a:p>
        </p:txBody>
      </p:sp>
      <p:sp>
        <p:nvSpPr>
          <p:cNvPr id="7" name="Title 6">
            <a:extLst>
              <a:ext uri="{FF2B5EF4-FFF2-40B4-BE49-F238E27FC236}">
                <a16:creationId xmlns:a16="http://schemas.microsoft.com/office/drawing/2014/main" id="{A8CD629E-F357-B82B-85B0-AE2B40E4BB90}"/>
              </a:ext>
            </a:extLst>
          </p:cNvPr>
          <p:cNvSpPr>
            <a:spLocks noGrp="1"/>
          </p:cNvSpPr>
          <p:nvPr>
            <p:ph type="title"/>
          </p:nvPr>
        </p:nvSpPr>
        <p:spPr>
          <a:xfrm>
            <a:off x="1004002" y="616931"/>
            <a:ext cx="10699423" cy="781050"/>
          </a:xfrm>
        </p:spPr>
        <p:txBody>
          <a:bodyPr>
            <a:noAutofit/>
          </a:bodyPr>
          <a:lstStyle/>
          <a:p>
            <a:r>
              <a:rPr lang="en-US" sz="3200" dirty="0" err="1">
                <a:solidFill>
                  <a:schemeClr val="tx1"/>
                </a:solidFill>
                <a:latin typeface="+mn-lt"/>
              </a:rPr>
              <a:t>Relacorilant</a:t>
            </a:r>
            <a:r>
              <a:rPr lang="en-US" sz="3200" dirty="0">
                <a:solidFill>
                  <a:schemeClr val="tx1"/>
                </a:solidFill>
                <a:latin typeface="+mn-lt"/>
              </a:rPr>
              <a:t> in Combination With Chemotherapy: </a:t>
            </a:r>
            <a:br>
              <a:rPr lang="en-US" sz="3200" dirty="0">
                <a:solidFill>
                  <a:schemeClr val="tx1"/>
                </a:solidFill>
                <a:latin typeface="+mn-lt"/>
              </a:rPr>
            </a:br>
            <a:r>
              <a:rPr lang="en-US" sz="3200" u="sng" dirty="0">
                <a:solidFill>
                  <a:schemeClr val="tx1"/>
                </a:solidFill>
                <a:latin typeface="+mn-lt"/>
              </a:rPr>
              <a:t>BELLA Arm A </a:t>
            </a:r>
            <a:br>
              <a:rPr lang="en-US" sz="3200" dirty="0">
                <a:solidFill>
                  <a:schemeClr val="tx1"/>
                </a:solidFill>
                <a:latin typeface="+mn-lt"/>
                <a:cs typeface="Lato" panose="020F0502020204030203" pitchFamily="34" charset="0"/>
              </a:rPr>
            </a:br>
            <a:r>
              <a:rPr lang="en-US" sz="3200" dirty="0">
                <a:solidFill>
                  <a:schemeClr val="tx1"/>
                </a:solidFill>
                <a:latin typeface="+mn-lt"/>
              </a:rPr>
              <a:t>Phase 2 Trial in Platinum-Resistant Ovarian Cancer (PROC)</a:t>
            </a:r>
          </a:p>
        </p:txBody>
      </p:sp>
      <p:cxnSp>
        <p:nvCxnSpPr>
          <p:cNvPr id="120" name="Straight Connector 119">
            <a:extLst>
              <a:ext uri="{FF2B5EF4-FFF2-40B4-BE49-F238E27FC236}">
                <a16:creationId xmlns:a16="http://schemas.microsoft.com/office/drawing/2014/main" id="{401D9CAB-63D8-0A2E-B2F3-5D33437D0941}"/>
              </a:ext>
            </a:extLst>
          </p:cNvPr>
          <p:cNvCxnSpPr>
            <a:cxnSpLocks/>
          </p:cNvCxnSpPr>
          <p:nvPr/>
        </p:nvCxnSpPr>
        <p:spPr>
          <a:xfrm>
            <a:off x="4293408" y="1978545"/>
            <a:ext cx="0" cy="289251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4DE71A39-1F49-ECF9-2554-942D0ACF72DA}"/>
              </a:ext>
            </a:extLst>
          </p:cNvPr>
          <p:cNvGrpSpPr/>
          <p:nvPr/>
        </p:nvGrpSpPr>
        <p:grpSpPr>
          <a:xfrm>
            <a:off x="5608886" y="2381524"/>
            <a:ext cx="2612706" cy="1913935"/>
            <a:chOff x="5554761" y="1865336"/>
            <a:chExt cx="2903007" cy="2300400"/>
          </a:xfrm>
        </p:grpSpPr>
        <p:cxnSp>
          <p:nvCxnSpPr>
            <p:cNvPr id="170" name="Straight Connector 169">
              <a:extLst>
                <a:ext uri="{FF2B5EF4-FFF2-40B4-BE49-F238E27FC236}">
                  <a16:creationId xmlns:a16="http://schemas.microsoft.com/office/drawing/2014/main" id="{07B4346D-1068-8435-5C07-87666E25D99F}"/>
                </a:ext>
              </a:extLst>
            </p:cNvPr>
            <p:cNvCxnSpPr>
              <a:cxnSpLocks/>
            </p:cNvCxnSpPr>
            <p:nvPr/>
          </p:nvCxnSpPr>
          <p:spPr>
            <a:xfrm flipV="1">
              <a:off x="5554761" y="1865336"/>
              <a:ext cx="0" cy="2300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5E652153-33D9-19F5-19FD-59276DC8B673}"/>
                </a:ext>
              </a:extLst>
            </p:cNvPr>
            <p:cNvCxnSpPr>
              <a:cxnSpLocks/>
            </p:cNvCxnSpPr>
            <p:nvPr/>
          </p:nvCxnSpPr>
          <p:spPr>
            <a:xfrm flipV="1">
              <a:off x="6386336" y="1865336"/>
              <a:ext cx="0" cy="2300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6BC43066-2CD5-D48D-16B0-CF263E5AE292}"/>
                </a:ext>
              </a:extLst>
            </p:cNvPr>
            <p:cNvCxnSpPr>
              <a:cxnSpLocks/>
            </p:cNvCxnSpPr>
            <p:nvPr/>
          </p:nvCxnSpPr>
          <p:spPr>
            <a:xfrm flipV="1">
              <a:off x="7216857" y="1865336"/>
              <a:ext cx="8026" cy="2300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562E314-8884-269A-769A-674203034293}"/>
                </a:ext>
              </a:extLst>
            </p:cNvPr>
            <p:cNvCxnSpPr>
              <a:cxnSpLocks/>
            </p:cNvCxnSpPr>
            <p:nvPr/>
          </p:nvCxnSpPr>
          <p:spPr>
            <a:xfrm flipV="1">
              <a:off x="8457768" y="1865336"/>
              <a:ext cx="0" cy="2300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 name="object 32">
            <a:extLst>
              <a:ext uri="{FF2B5EF4-FFF2-40B4-BE49-F238E27FC236}">
                <a16:creationId xmlns:a16="http://schemas.microsoft.com/office/drawing/2014/main" id="{FB085B63-8106-438F-4977-6D215E65B8A1}"/>
              </a:ext>
            </a:extLst>
          </p:cNvPr>
          <p:cNvSpPr txBox="1"/>
          <p:nvPr/>
        </p:nvSpPr>
        <p:spPr>
          <a:xfrm>
            <a:off x="9781690" y="2289194"/>
            <a:ext cx="1256416" cy="1918248"/>
          </a:xfrm>
          <a:prstGeom prst="rect">
            <a:avLst/>
          </a:prstGeom>
          <a:noFill/>
          <a:ln w="12700">
            <a:noFill/>
          </a:ln>
        </p:spPr>
        <p:txBody>
          <a:bodyPr vert="horz" wrap="square" lIns="64800" tIns="64800" rIns="0" bIns="0" rtlCol="0" anchor="t">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9144" marR="0" lvl="0" indent="0" algn="l" defTabSz="822919" rtl="0" eaLnBrk="1" fontAlgn="base" latinLnBrk="0" hangingPunct="1">
              <a:lnSpc>
                <a:spcPct val="100000"/>
              </a:lnSpc>
              <a:spcBef>
                <a:spcPts val="270"/>
              </a:spcBef>
              <a:spcAft>
                <a:spcPts val="180"/>
              </a:spcAft>
              <a:buClr>
                <a:srgbClr val="000000"/>
              </a:buClr>
              <a:buSzTx/>
              <a:buFontTx/>
              <a:buNone/>
              <a:tabLst/>
              <a:defRPr/>
            </a:pPr>
            <a:r>
              <a:rPr kumimoji="0" lang="en-US" sz="1080" b="1"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Primary Endpoint</a:t>
            </a:r>
          </a:p>
          <a:p>
            <a:pPr marL="172594" marR="129538" lvl="0" indent="-154306" algn="l" defTabSz="822919" rtl="0" eaLnBrk="1" fontAlgn="base" latinLnBrk="0" hangingPunct="1">
              <a:lnSpc>
                <a:spcPct val="100000"/>
              </a:lnSpc>
              <a:spcBef>
                <a:spcPts val="27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Progression-free survival</a:t>
            </a:r>
          </a:p>
          <a:p>
            <a:pPr marL="172594" marR="129538" lvl="0" indent="-154306" algn="l" defTabSz="822919" rtl="0" eaLnBrk="1" fontAlgn="base" latinLnBrk="0" hangingPunct="1">
              <a:lnSpc>
                <a:spcPct val="100000"/>
              </a:lnSpc>
              <a:spcBef>
                <a:spcPts val="27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endPar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endParaRPr>
          </a:p>
          <a:p>
            <a:pPr marL="9144" marR="0" lvl="0" indent="0" algn="l" defTabSz="822919" rtl="0" eaLnBrk="1" fontAlgn="base" latinLnBrk="0" hangingPunct="1">
              <a:lnSpc>
                <a:spcPct val="100000"/>
              </a:lnSpc>
              <a:spcBef>
                <a:spcPts val="270"/>
              </a:spcBef>
              <a:spcAft>
                <a:spcPts val="180"/>
              </a:spcAft>
              <a:buClr>
                <a:srgbClr val="000000"/>
              </a:buClr>
              <a:buSzTx/>
              <a:buFontTx/>
              <a:buNone/>
              <a:tabLst/>
              <a:defRPr/>
            </a:pPr>
            <a:r>
              <a:rPr kumimoji="0" lang="en-US" sz="1080" b="1"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Secondary Endpoints</a:t>
            </a:r>
          </a:p>
          <a:p>
            <a:pPr marL="172594" marR="129538" lvl="0" indent="-154306" algn="l" defTabSz="822919" rtl="0" eaLnBrk="1" fontAlgn="base" latinLnBrk="0" hangingPunct="1">
              <a:lnSpc>
                <a:spcPct val="100000"/>
              </a:lnSpc>
              <a:spcBef>
                <a:spcPts val="27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Overall survival</a:t>
            </a:r>
          </a:p>
          <a:p>
            <a:pPr marL="172594" marR="129538" lvl="0" indent="-154306" algn="l" defTabSz="822919" rtl="0" eaLnBrk="1" fontAlgn="base" latinLnBrk="0" hangingPunct="1">
              <a:lnSpc>
                <a:spcPct val="100000"/>
              </a:lnSpc>
              <a:spcBef>
                <a:spcPts val="27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ORR, DoR, </a:t>
            </a:r>
            <a:br>
              <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br>
            <a:r>
              <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BOR, CBR</a:t>
            </a:r>
          </a:p>
          <a:p>
            <a:pPr marL="172594" marR="129538" lvl="0" indent="-154306" algn="l" defTabSz="822919" rtl="0" eaLnBrk="1" fontAlgn="base" latinLnBrk="0" hangingPunct="1">
              <a:lnSpc>
                <a:spcPct val="100000"/>
              </a:lnSpc>
              <a:spcBef>
                <a:spcPts val="27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900" b="0" i="0" u="none" strike="noStrike" kern="1200" cap="none" spc="0" normalizeH="0" baseline="0" noProof="0">
                <a:ln>
                  <a:noFill/>
                </a:ln>
                <a:solidFill>
                  <a:prstClr val="black"/>
                </a:solidFill>
                <a:effectLst/>
                <a:uLnTx/>
                <a:uFillTx/>
                <a:latin typeface="Lato" panose="020F0502020204030203" pitchFamily="34" charset="0"/>
                <a:ea typeface="+mn-ea"/>
                <a:cs typeface="+mn-cs"/>
              </a:rPr>
              <a:t>Safety</a:t>
            </a:r>
          </a:p>
        </p:txBody>
      </p:sp>
      <p:cxnSp>
        <p:nvCxnSpPr>
          <p:cNvPr id="28" name="Straight Connector 27">
            <a:extLst>
              <a:ext uri="{FF2B5EF4-FFF2-40B4-BE49-F238E27FC236}">
                <a16:creationId xmlns:a16="http://schemas.microsoft.com/office/drawing/2014/main" id="{822EC773-3EC3-A078-2C1E-418A0324F28C}"/>
              </a:ext>
            </a:extLst>
          </p:cNvPr>
          <p:cNvCxnSpPr>
            <a:cxnSpLocks/>
          </p:cNvCxnSpPr>
          <p:nvPr/>
        </p:nvCxnSpPr>
        <p:spPr>
          <a:xfrm>
            <a:off x="9726778" y="1978545"/>
            <a:ext cx="0" cy="289251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Content Placeholder 15">
            <a:extLst>
              <a:ext uri="{FF2B5EF4-FFF2-40B4-BE49-F238E27FC236}">
                <a16:creationId xmlns:a16="http://schemas.microsoft.com/office/drawing/2014/main" id="{A8DF049D-BF7B-BFBB-7795-6A0965949618}"/>
              </a:ext>
            </a:extLst>
          </p:cNvPr>
          <p:cNvSpPr txBox="1">
            <a:spLocks/>
          </p:cNvSpPr>
          <p:nvPr/>
        </p:nvSpPr>
        <p:spPr>
          <a:xfrm>
            <a:off x="4566005" y="5210157"/>
            <a:ext cx="3904915" cy="193899"/>
          </a:xfrm>
          <a:prstGeom prst="rect">
            <a:avLst/>
          </a:prstGeom>
        </p:spPr>
        <p:txBody>
          <a:bodyPr vert="horz" wrap="none" lIns="0" tIns="0" rIns="0" bIns="0" rtlCol="0">
            <a:spAutoFit/>
          </a:bodyPr>
          <a:lstStyle>
            <a:defPPr marR="0" lvl="0" algn="l" rtl="0">
              <a:lnSpc>
                <a:spcPct val="100000"/>
              </a:lnSpc>
              <a:spcBef>
                <a:spcPts val="0"/>
              </a:spcBef>
              <a:spcAft>
                <a:spcPts val="0"/>
              </a:spcAft>
            </a:defPPr>
            <a:lvl1pPr marL="0" marR="0" lvl="0" indent="0" algn="l" rtl="0">
              <a:lnSpc>
                <a:spcPct val="100000"/>
              </a:lnSpc>
              <a:spcBef>
                <a:spcPts val="600"/>
              </a:spcBef>
              <a:spcAft>
                <a:spcPts val="600"/>
              </a:spcAft>
              <a:buClr>
                <a:srgbClr val="000000"/>
              </a:buClr>
              <a:buFont typeface="Lato" panose="020F0502020204030203" pitchFamily="34" charset="0"/>
              <a:defRPr sz="1600" b="0" i="0" u="none" strike="noStrike" cap="none">
                <a:solidFill>
                  <a:srgbClr val="000000"/>
                </a:solidFill>
                <a:latin typeface="+mn-lt"/>
                <a:ea typeface="Lato" panose="020F0502020204030203" pitchFamily="34" charset="0"/>
                <a:cs typeface="Lato" panose="020F0502020204030203" pitchFamily="34" charset="0"/>
                <a:sym typeface="Lato" panose="020F0502020204030203" pitchFamily="34" charset="0"/>
              </a:defRPr>
            </a:lvl1pPr>
            <a:lvl2pPr marL="216000" marR="0" lvl="1" indent="-216000" algn="l" rtl="0">
              <a:lnSpc>
                <a:spcPct val="100000"/>
              </a:lnSpc>
              <a:spcBef>
                <a:spcPts val="600"/>
              </a:spcBef>
              <a:spcAft>
                <a:spcPts val="300"/>
              </a:spcAft>
              <a:buClr>
                <a:srgbClr val="000000"/>
              </a:buClr>
              <a:buFontTx/>
              <a:buBlip>
                <a:blip>
                  <a:extLst>
                    <a:ext uri="{96DAC541-7B7A-43D3-8B79-37D633B846F1}">
                      <asvg:svgBlip xmlns:asvg="http://schemas.microsoft.com/office/drawing/2016/SVG/main" r:embed="rId3"/>
                    </a:ext>
                  </a:extLst>
                </a:blip>
              </a:buBlip>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Lato" panose="020F0502020204030203" pitchFamily="34" charset="0"/>
              </a:defRPr>
            </a:lvl2pPr>
            <a:lvl3pPr marL="432000" marR="0" lvl="2"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Lato" panose="020F0502020204030203" pitchFamily="34" charset="0"/>
              </a:defRPr>
            </a:lvl3pPr>
            <a:lvl4pPr marL="648000" marR="0" lvl="3"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Lato" panose="020F0502020204030203" pitchFamily="34" charset="0"/>
              </a:defRPr>
            </a:lvl4pPr>
            <a:lvl5pPr marL="864000" marR="0" lvl="4"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a:solidFill>
                  <a:srgbClr val="000000"/>
                </a:solidFill>
                <a:latin typeface="+mn-lt"/>
                <a:ea typeface="Lato" panose="020F0502020204030203" pitchFamily="34" charset="0"/>
                <a:cs typeface="Lato" panose="020F0502020204030203" pitchFamily="34" charset="0"/>
                <a:sym typeface="Lato" panose="020F0502020204030203" pitchFamily="34" charset="0"/>
              </a:defRPr>
            </a:lvl5pPr>
            <a:lvl6pPr marR="0" lvl="5" algn="l" rtl="0">
              <a:lnSpc>
                <a:spcPct val="100000"/>
              </a:lnSpc>
              <a:spcBef>
                <a:spcPts val="0"/>
              </a:spcBef>
              <a:spcAft>
                <a:spcPts val="0"/>
              </a:spcAft>
              <a:buClr>
                <a:srgbClr val="000000"/>
              </a:buClr>
              <a:buFont typeface="Lato" panose="020F0502020204030203" pitchFamily="34" charset="0"/>
              <a:defRPr sz="1400" b="0" i="0" u="none" strike="noStrike" cap="none">
                <a:solidFill>
                  <a:srgbClr val="00000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6pPr>
            <a:lvl7pPr marR="0" lvl="6" algn="l" rtl="0">
              <a:lnSpc>
                <a:spcPct val="100000"/>
              </a:lnSpc>
              <a:spcBef>
                <a:spcPts val="0"/>
              </a:spcBef>
              <a:spcAft>
                <a:spcPts val="0"/>
              </a:spcAft>
              <a:buClr>
                <a:srgbClr val="000000"/>
              </a:buClr>
              <a:buFont typeface="Lato" panose="020F0502020204030203" pitchFamily="34" charset="0"/>
              <a:defRPr sz="1400" b="0" i="0" u="none" strike="noStrike" cap="none">
                <a:solidFill>
                  <a:srgbClr val="00000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7pPr>
            <a:lvl8pPr marR="0" lvl="7" algn="l" rtl="0">
              <a:lnSpc>
                <a:spcPct val="100000"/>
              </a:lnSpc>
              <a:spcBef>
                <a:spcPts val="0"/>
              </a:spcBef>
              <a:spcAft>
                <a:spcPts val="0"/>
              </a:spcAft>
              <a:buClr>
                <a:srgbClr val="000000"/>
              </a:buClr>
              <a:buFont typeface="Lato" panose="020F0502020204030203" pitchFamily="34" charset="0"/>
              <a:defRPr sz="1400" b="0" i="0" u="none" strike="noStrike" cap="none">
                <a:solidFill>
                  <a:srgbClr val="00000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8pPr>
            <a:lvl9pPr marR="0" lvl="8" algn="l" rtl="0">
              <a:lnSpc>
                <a:spcPct val="100000"/>
              </a:lnSpc>
              <a:spcBef>
                <a:spcPts val="0"/>
              </a:spcBef>
              <a:spcAft>
                <a:spcPts val="0"/>
              </a:spcAft>
              <a:buClr>
                <a:srgbClr val="000000"/>
              </a:buClr>
              <a:buFont typeface="Lato" panose="020F0502020204030203" pitchFamily="34" charset="0"/>
              <a:defRPr sz="1400" b="0" i="0" u="none" strike="noStrike" cap="none">
                <a:solidFill>
                  <a:srgbClr val="00000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9pPr>
          </a:lstStyle>
          <a:p>
            <a:pPr marL="0" marR="0" lvl="0" indent="0" algn="l" defTabSz="914400" rtl="0" eaLnBrk="0" fontAlgn="base" latinLnBrk="0" hangingPunct="0">
              <a:lnSpc>
                <a:spcPct val="100000"/>
              </a:lnSpc>
              <a:spcBef>
                <a:spcPts val="600"/>
              </a:spcBef>
              <a:spcAft>
                <a:spcPts val="600"/>
              </a:spcAft>
              <a:buClr>
                <a:srgbClr val="000000"/>
              </a:buClr>
              <a:buSzTx/>
              <a:buFont typeface="Lato" panose="020F0502020204030203" pitchFamily="34" charset="0"/>
              <a:buNone/>
              <a:tabLst/>
              <a:defRPr/>
            </a:pPr>
            <a:r>
              <a:rPr kumimoji="0" lang="en-US" sz="1260" b="1" i="0" u="none" strike="noStrike" kern="0" cap="none" spc="0" normalizeH="0" baseline="0" noProof="0" dirty="0">
                <a:ln>
                  <a:noFill/>
                </a:ln>
                <a:solidFill>
                  <a:prstClr val="whit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Fully Enrolled - Results expected by year-end 2026</a:t>
            </a:r>
          </a:p>
        </p:txBody>
      </p:sp>
      <p:pic>
        <p:nvPicPr>
          <p:cNvPr id="30" name="Graphic 29">
            <a:extLst>
              <a:ext uri="{FF2B5EF4-FFF2-40B4-BE49-F238E27FC236}">
                <a16:creationId xmlns:a16="http://schemas.microsoft.com/office/drawing/2014/main" id="{A316A83F-5CD9-F2BA-7BB8-3268425F87B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986420" y="5101366"/>
            <a:ext cx="411480" cy="411480"/>
          </a:xfrm>
          <a:prstGeom prst="rect">
            <a:avLst/>
          </a:prstGeom>
        </p:spPr>
      </p:pic>
      <p:grpSp>
        <p:nvGrpSpPr>
          <p:cNvPr id="75" name="Group 74">
            <a:extLst>
              <a:ext uri="{FF2B5EF4-FFF2-40B4-BE49-F238E27FC236}">
                <a16:creationId xmlns:a16="http://schemas.microsoft.com/office/drawing/2014/main" id="{2667111A-9E54-E7C1-574F-55F4566CB32B}"/>
              </a:ext>
            </a:extLst>
          </p:cNvPr>
          <p:cNvGrpSpPr/>
          <p:nvPr/>
        </p:nvGrpSpPr>
        <p:grpSpPr>
          <a:xfrm>
            <a:off x="4430096" y="4055133"/>
            <a:ext cx="5297264" cy="825229"/>
            <a:chOff x="4244994" y="3875789"/>
            <a:chExt cx="5885849" cy="916921"/>
          </a:xfrm>
        </p:grpSpPr>
        <p:sp>
          <p:nvSpPr>
            <p:cNvPr id="46" name="Rectangle 45">
              <a:extLst>
                <a:ext uri="{FF2B5EF4-FFF2-40B4-BE49-F238E27FC236}">
                  <a16:creationId xmlns:a16="http://schemas.microsoft.com/office/drawing/2014/main" id="{1D453B49-9933-2D9A-A3AE-CD4BC9FCC200}"/>
                </a:ext>
              </a:extLst>
            </p:cNvPr>
            <p:cNvSpPr/>
            <p:nvPr/>
          </p:nvSpPr>
          <p:spPr>
            <a:xfrm>
              <a:off x="8628731" y="4529532"/>
              <a:ext cx="1502112" cy="26317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0" marR="0" lvl="0" indent="0" algn="ctr" defTabSz="822919" rtl="0" eaLnBrk="1" fontAlgn="base" latinLnBrk="0" hangingPunct="1">
                <a:lnSpc>
                  <a:spcPct val="95000"/>
                </a:lnSpc>
                <a:spcBef>
                  <a:spcPct val="0"/>
                </a:spcBef>
                <a:spcAft>
                  <a:spcPct val="0"/>
                </a:spcAft>
                <a:buClr>
                  <a:srgbClr val="000000">
                    <a:lumMod val="75000"/>
                    <a:lumOff val="25000"/>
                  </a:srgbClr>
                </a:buClr>
                <a:buSzTx/>
                <a:buFontTx/>
                <a:buNone/>
                <a:tabLst/>
                <a:defRPr/>
              </a:pPr>
              <a:r>
                <a:rPr kumimoji="0" lang="en-US" sz="810" b="0" i="0" u="none" strike="noStrike" kern="0" cap="none" spc="0" normalizeH="0" baseline="0" noProof="0">
                  <a:ln>
                    <a:noFill/>
                  </a:ln>
                  <a:solidFill>
                    <a:srgbClr val="000000">
                      <a:lumMod val="85000"/>
                      <a:lumOff val="15000"/>
                    </a:srgbClr>
                  </a:solidFill>
                  <a:effectLst/>
                  <a:uLnTx/>
                  <a:uFillTx/>
                  <a:latin typeface="Aptos" panose="02110004020202020204"/>
                  <a:ea typeface="Lato" panose="020F0502020204030203" pitchFamily="34" charset="0"/>
                  <a:cs typeface="Lato" panose="020F0502020204030203" pitchFamily="34" charset="0"/>
                </a:rPr>
                <a:t>Treatment to progression</a:t>
              </a:r>
              <a:br>
                <a:rPr kumimoji="0" lang="en-US" sz="810" b="0" i="0" u="none" strike="noStrike" kern="0" cap="none" spc="0" normalizeH="0" baseline="0" noProof="0">
                  <a:ln>
                    <a:noFill/>
                  </a:ln>
                  <a:solidFill>
                    <a:srgbClr val="000000">
                      <a:lumMod val="85000"/>
                      <a:lumOff val="15000"/>
                    </a:srgbClr>
                  </a:solidFill>
                  <a:effectLst/>
                  <a:uLnTx/>
                  <a:uFillTx/>
                  <a:latin typeface="Aptos" panose="02110004020202020204"/>
                  <a:ea typeface="Lato" panose="020F0502020204030203" pitchFamily="34" charset="0"/>
                  <a:cs typeface="Lato" panose="020F0502020204030203" pitchFamily="34" charset="0"/>
                </a:rPr>
              </a:br>
              <a:r>
                <a:rPr kumimoji="0" lang="en-US" sz="810" b="0" i="0" u="none" strike="noStrike" kern="0" cap="none" spc="0" normalizeH="0" baseline="0" noProof="0">
                  <a:ln>
                    <a:noFill/>
                  </a:ln>
                  <a:solidFill>
                    <a:srgbClr val="000000">
                      <a:lumMod val="85000"/>
                      <a:lumOff val="15000"/>
                    </a:srgbClr>
                  </a:solidFill>
                  <a:effectLst/>
                  <a:uLnTx/>
                  <a:uFillTx/>
                  <a:latin typeface="Aptos" panose="02110004020202020204"/>
                  <a:ea typeface="Lato" panose="020F0502020204030203" pitchFamily="34" charset="0"/>
                  <a:cs typeface="Lato" panose="020F0502020204030203" pitchFamily="34" charset="0"/>
                </a:rPr>
                <a:t>or unmanageable toxicity</a:t>
              </a:r>
            </a:p>
          </p:txBody>
        </p:sp>
        <p:sp>
          <p:nvSpPr>
            <p:cNvPr id="50" name="object 81">
              <a:extLst>
                <a:ext uri="{FF2B5EF4-FFF2-40B4-BE49-F238E27FC236}">
                  <a16:creationId xmlns:a16="http://schemas.microsoft.com/office/drawing/2014/main" id="{64D386CE-57D2-F017-00E9-49EE8BF30435}"/>
                </a:ext>
              </a:extLst>
            </p:cNvPr>
            <p:cNvSpPr txBox="1"/>
            <p:nvPr/>
          </p:nvSpPr>
          <p:spPr>
            <a:xfrm>
              <a:off x="4271355" y="3875789"/>
              <a:ext cx="615197" cy="123111"/>
            </a:xfrm>
            <a:prstGeom prst="rect">
              <a:avLst/>
            </a:prstGeom>
          </p:spPr>
          <p:txBody>
            <a:bodyPr vert="horz" wrap="none" lIns="0" tIns="0" rIns="0" bIns="0" rtlCol="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79"/>
                </a:spcBef>
                <a:spcAft>
                  <a:spcPct val="0"/>
                </a:spcAft>
                <a:buClr>
                  <a:srgbClr val="000000"/>
                </a:buClr>
                <a:buSzTx/>
                <a:buFontTx/>
                <a:buNone/>
                <a:tabLst/>
                <a:defRPr/>
              </a:pPr>
              <a:r>
                <a:rPr kumimoji="0" sz="720" b="0" i="0" u="none" strike="noStrike" kern="0" cap="none" spc="0" normalizeH="0" baseline="0" noProof="0">
                  <a:ln>
                    <a:noFill/>
                  </a:ln>
                  <a:solidFill>
                    <a:prstClr val="black"/>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SCREENING</a:t>
              </a:r>
            </a:p>
          </p:txBody>
        </p:sp>
        <p:sp>
          <p:nvSpPr>
            <p:cNvPr id="113" name="object 80">
              <a:extLst>
                <a:ext uri="{FF2B5EF4-FFF2-40B4-BE49-F238E27FC236}">
                  <a16:creationId xmlns:a16="http://schemas.microsoft.com/office/drawing/2014/main" id="{DAA1602E-DF84-CDE7-3B96-674CCCED9141}"/>
                </a:ext>
              </a:extLst>
            </p:cNvPr>
            <p:cNvSpPr txBox="1"/>
            <p:nvPr/>
          </p:nvSpPr>
          <p:spPr>
            <a:xfrm>
              <a:off x="5821350" y="4529532"/>
              <a:ext cx="2301200" cy="138500"/>
            </a:xfrm>
            <a:prstGeom prst="rect">
              <a:avLst/>
            </a:prstGeom>
          </p:spPr>
          <p:txBody>
            <a:bodyPr vert="horz" wrap="none" lIns="0" tIns="0" rIns="0" bIns="0" rtlCol="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0" marR="0" lvl="0" indent="0" algn="ctr" defTabSz="822919" rtl="0" eaLnBrk="1" fontAlgn="base" latinLnBrk="0" hangingPunct="1">
                <a:lnSpc>
                  <a:spcPct val="100000"/>
                </a:lnSpc>
                <a:spcBef>
                  <a:spcPts val="114"/>
                </a:spcBef>
                <a:spcAft>
                  <a:spcPct val="0"/>
                </a:spcAft>
                <a:buClr>
                  <a:srgbClr val="000000"/>
                </a:buClr>
                <a:buSzTx/>
                <a:buFontTx/>
                <a:buNone/>
                <a:tabLst/>
                <a:defRPr/>
              </a:pPr>
              <a:r>
                <a:rPr kumimoji="0" lang="en-US" sz="810" b="0" i="0" u="none" strike="noStrike" kern="0" cap="none" spc="0" normalizeH="0" baseline="0" noProof="0">
                  <a:ln>
                    <a:noFill/>
                  </a:ln>
                  <a:solidFill>
                    <a:srgbClr val="156168"/>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R</a:t>
              </a:r>
              <a:r>
                <a:rPr kumimoji="0" sz="810" b="0" i="0" u="none" strike="noStrike" kern="0" cap="none" spc="0" normalizeH="0" baseline="0" noProof="0">
                  <a:ln>
                    <a:noFill/>
                  </a:ln>
                  <a:solidFill>
                    <a:srgbClr val="156168"/>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elacorilant </a:t>
              </a:r>
              <a:r>
                <a:rPr kumimoji="0"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 </a:t>
              </a:r>
              <a:r>
                <a:rPr kumimoji="0" lang="en-US"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Nab-Paclitaxel </a:t>
              </a:r>
              <a:r>
                <a:rPr kumimoji="0" lang="en-US"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 Bevacizumab</a:t>
              </a:r>
              <a:endParaRPr kumimoji="0"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endParaRPr>
            </a:p>
          </p:txBody>
        </p:sp>
        <p:sp>
          <p:nvSpPr>
            <p:cNvPr id="2640" name="object 81">
              <a:extLst>
                <a:ext uri="{FF2B5EF4-FFF2-40B4-BE49-F238E27FC236}">
                  <a16:creationId xmlns:a16="http://schemas.microsoft.com/office/drawing/2014/main" id="{430938DA-2ACE-CF32-6704-6134B594E081}"/>
                </a:ext>
              </a:extLst>
            </p:cNvPr>
            <p:cNvSpPr txBox="1"/>
            <p:nvPr/>
          </p:nvSpPr>
          <p:spPr>
            <a:xfrm>
              <a:off x="9063555" y="3875789"/>
              <a:ext cx="613416" cy="123111"/>
            </a:xfrm>
            <a:prstGeom prst="rect">
              <a:avLst/>
            </a:prstGeom>
          </p:spPr>
          <p:txBody>
            <a:bodyPr vert="horz" wrap="none" lIns="0" tIns="0" rIns="0" bIns="0" rtlCol="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79"/>
                </a:spcBef>
                <a:spcAft>
                  <a:spcPct val="0"/>
                </a:spcAft>
                <a:buClr>
                  <a:srgbClr val="000000"/>
                </a:buClr>
                <a:buSzTx/>
                <a:buFontTx/>
                <a:buNone/>
                <a:tabLst/>
                <a:defRPr/>
              </a:pPr>
              <a:r>
                <a:rPr kumimoji="0" lang="en-US" sz="720" b="0" i="0" u="none" strike="noStrike" kern="0" cap="none" spc="0" normalizeH="0" baseline="0" noProof="0">
                  <a:ln>
                    <a:noFill/>
                  </a:ln>
                  <a:solidFill>
                    <a:prstClr val="black"/>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FOLLOW-UP</a:t>
              </a:r>
            </a:p>
          </p:txBody>
        </p:sp>
        <p:grpSp>
          <p:nvGrpSpPr>
            <p:cNvPr id="3" name="Group 2">
              <a:extLst>
                <a:ext uri="{FF2B5EF4-FFF2-40B4-BE49-F238E27FC236}">
                  <a16:creationId xmlns:a16="http://schemas.microsoft.com/office/drawing/2014/main" id="{FA28993E-915B-2AF2-3472-B20494C4FD9A}"/>
                </a:ext>
              </a:extLst>
            </p:cNvPr>
            <p:cNvGrpSpPr/>
            <p:nvPr/>
          </p:nvGrpSpPr>
          <p:grpSpPr>
            <a:xfrm>
              <a:off x="4741165" y="4209020"/>
              <a:ext cx="4461570" cy="108000"/>
              <a:chOff x="4684015" y="4089502"/>
              <a:chExt cx="4461570" cy="108000"/>
            </a:xfrm>
          </p:grpSpPr>
          <p:cxnSp>
            <p:nvCxnSpPr>
              <p:cNvPr id="4" name="Straight Connector 3">
                <a:extLst>
                  <a:ext uri="{FF2B5EF4-FFF2-40B4-BE49-F238E27FC236}">
                    <a16:creationId xmlns:a16="http://schemas.microsoft.com/office/drawing/2014/main" id="{DDFF555E-9844-CDE2-DBA2-0BD9DAE65A78}"/>
                  </a:ext>
                </a:extLst>
              </p:cNvPr>
              <p:cNvCxnSpPr/>
              <p:nvPr/>
            </p:nvCxnSpPr>
            <p:spPr>
              <a:xfrm>
                <a:off x="4684015" y="4143502"/>
                <a:ext cx="4461570" cy="0"/>
              </a:xfrm>
              <a:prstGeom prst="line">
                <a:avLst/>
              </a:prstGeom>
              <a:ln w="12700">
                <a:solidFill>
                  <a:srgbClr val="156168"/>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F9631D-87EA-A774-E75B-76E79E68D7FA}"/>
                  </a:ext>
                </a:extLst>
              </p:cNvPr>
              <p:cNvCxnSpPr>
                <a:cxnSpLocks/>
              </p:cNvCxnSpPr>
              <p:nvPr/>
            </p:nvCxnSpPr>
            <p:spPr>
              <a:xfrm flipV="1">
                <a:off x="5497275" y="4089502"/>
                <a:ext cx="0" cy="10800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80ED307-E94E-C170-AA4A-2C7A70C27BE5}"/>
                  </a:ext>
                </a:extLst>
              </p:cNvPr>
              <p:cNvCxnSpPr>
                <a:cxnSpLocks/>
              </p:cNvCxnSpPr>
              <p:nvPr/>
            </p:nvCxnSpPr>
            <p:spPr>
              <a:xfrm flipV="1">
                <a:off x="6329186" y="4089502"/>
                <a:ext cx="0" cy="10800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49D5E9A-58AF-199F-BF4E-7FE752068A6F}"/>
                  </a:ext>
                </a:extLst>
              </p:cNvPr>
              <p:cNvCxnSpPr>
                <a:cxnSpLocks/>
              </p:cNvCxnSpPr>
              <p:nvPr/>
            </p:nvCxnSpPr>
            <p:spPr>
              <a:xfrm flipV="1">
                <a:off x="7167733" y="4089502"/>
                <a:ext cx="0" cy="10800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3C5FE52-B2D4-7ACC-5DB2-5E71A538CFD3}"/>
                  </a:ext>
                </a:extLst>
              </p:cNvPr>
              <p:cNvCxnSpPr>
                <a:cxnSpLocks/>
              </p:cNvCxnSpPr>
              <p:nvPr/>
            </p:nvCxnSpPr>
            <p:spPr>
              <a:xfrm flipV="1">
                <a:off x="8402400" y="4089502"/>
                <a:ext cx="0" cy="10800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917F0D91-C5A0-1257-9FDD-F6C2164329B1}"/>
                </a:ext>
              </a:extLst>
            </p:cNvPr>
            <p:cNvGrpSpPr/>
            <p:nvPr/>
          </p:nvGrpSpPr>
          <p:grpSpPr>
            <a:xfrm>
              <a:off x="9114146" y="4051595"/>
              <a:ext cx="498428" cy="422850"/>
              <a:chOff x="9107796" y="3932077"/>
              <a:chExt cx="498428" cy="422850"/>
            </a:xfrm>
          </p:grpSpPr>
          <p:sp>
            <p:nvSpPr>
              <p:cNvPr id="2642" name="Hexagon 2641">
                <a:extLst>
                  <a:ext uri="{FF2B5EF4-FFF2-40B4-BE49-F238E27FC236}">
                    <a16:creationId xmlns:a16="http://schemas.microsoft.com/office/drawing/2014/main" id="{007ACF79-86A9-ABA2-84C4-813FB696AB7F}"/>
                  </a:ext>
                </a:extLst>
              </p:cNvPr>
              <p:cNvSpPr/>
              <p:nvPr/>
            </p:nvSpPr>
            <p:spPr>
              <a:xfrm>
                <a:off x="9107796" y="3932077"/>
                <a:ext cx="498428" cy="422850"/>
              </a:xfrm>
              <a:prstGeom prst="hexagon">
                <a:avLst/>
              </a:prstGeom>
              <a:gradFill flip="none" rotWithShape="1">
                <a:gsLst>
                  <a:gs pos="0">
                    <a:srgbClr val="156168"/>
                  </a:gs>
                  <a:gs pos="80000">
                    <a:srgbClr val="0D3A3F"/>
                  </a:gs>
                </a:gsLst>
                <a:lin ang="10800000" scaled="1"/>
                <a:tileRect/>
              </a:gradFill>
              <a:ln w="28575">
                <a:noFill/>
              </a:ln>
            </p:spPr>
            <p:txBody>
              <a:bodyPr vert="horz" wrap="square" lIns="64800" tIns="64800" rIns="5119200" bIns="0" rtlCol="0" anchor="t">
                <a:noAutofit/>
              </a:bodyPr>
              <a:lstStyle/>
              <a:p>
                <a:pPr marL="9144" marR="0" lvl="0" indent="0" algn="l" defTabSz="822919" rtl="0" eaLnBrk="0" fontAlgn="base" latinLnBrk="0" hangingPunct="0">
                  <a:lnSpc>
                    <a:spcPct val="100000"/>
                  </a:lnSpc>
                  <a:spcBef>
                    <a:spcPts val="270"/>
                  </a:spcBef>
                  <a:spcAft>
                    <a:spcPts val="180"/>
                  </a:spcAft>
                  <a:buClr>
                    <a:srgbClr val="000000"/>
                  </a:buClr>
                  <a:buSzTx/>
                  <a:buFontTx/>
                  <a:buNone/>
                  <a:tabLst/>
                  <a:defRPr/>
                </a:pPr>
                <a:endParaRPr kumimoji="0" lang="en-US" sz="900" b="0" i="0" u="none" strike="noStrike" kern="0" cap="none" spc="0" normalizeH="0" baseline="0" noProof="0">
                  <a:ln>
                    <a:noFill/>
                  </a:ln>
                  <a:solidFill>
                    <a:srgbClr val="231F20"/>
                  </a:solidFill>
                  <a:effectLst/>
                  <a:uLnTx/>
                  <a:uFillTx/>
                  <a:latin typeface="Calibri" panose="020F0502020204030204" pitchFamily="34" charset="0"/>
                  <a:ea typeface="Lato"/>
                  <a:cs typeface="Lato"/>
                </a:endParaRPr>
              </a:p>
            </p:txBody>
          </p:sp>
          <p:pic>
            <p:nvPicPr>
              <p:cNvPr id="2643" name="Graphic 2642">
                <a:extLst>
                  <a:ext uri="{FF2B5EF4-FFF2-40B4-BE49-F238E27FC236}">
                    <a16:creationId xmlns:a16="http://schemas.microsoft.com/office/drawing/2014/main" id="{B75A0AD3-5001-1F56-79E1-A0E84D035C5E}"/>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9207903" y="3965350"/>
                <a:ext cx="333067" cy="333067"/>
              </a:xfrm>
              <a:prstGeom prst="rect">
                <a:avLst/>
              </a:prstGeom>
            </p:spPr>
          </p:pic>
        </p:grpSp>
        <p:grpSp>
          <p:nvGrpSpPr>
            <p:cNvPr id="18" name="Group 17">
              <a:extLst>
                <a:ext uri="{FF2B5EF4-FFF2-40B4-BE49-F238E27FC236}">
                  <a16:creationId xmlns:a16="http://schemas.microsoft.com/office/drawing/2014/main" id="{E33CBDE8-3376-064A-FCCA-711089FC47EF}"/>
                </a:ext>
              </a:extLst>
            </p:cNvPr>
            <p:cNvGrpSpPr/>
            <p:nvPr/>
          </p:nvGrpSpPr>
          <p:grpSpPr>
            <a:xfrm>
              <a:off x="4329738" y="4051595"/>
              <a:ext cx="498428" cy="422850"/>
              <a:chOff x="4223376" y="3932077"/>
              <a:chExt cx="498428" cy="422850"/>
            </a:xfrm>
          </p:grpSpPr>
          <p:sp>
            <p:nvSpPr>
              <p:cNvPr id="67" name="Hexagon 66">
                <a:extLst>
                  <a:ext uri="{FF2B5EF4-FFF2-40B4-BE49-F238E27FC236}">
                    <a16:creationId xmlns:a16="http://schemas.microsoft.com/office/drawing/2014/main" id="{7BC6E577-ECB6-E8D7-9F45-FCD9BF563730}"/>
                  </a:ext>
                </a:extLst>
              </p:cNvPr>
              <p:cNvSpPr/>
              <p:nvPr/>
            </p:nvSpPr>
            <p:spPr>
              <a:xfrm>
                <a:off x="4223376" y="3932077"/>
                <a:ext cx="498428" cy="422850"/>
              </a:xfrm>
              <a:prstGeom prst="hexagon">
                <a:avLst/>
              </a:prstGeom>
              <a:gradFill flip="none" rotWithShape="1">
                <a:gsLst>
                  <a:gs pos="0">
                    <a:srgbClr val="156168"/>
                  </a:gs>
                  <a:gs pos="80000">
                    <a:srgbClr val="0D3A3F"/>
                  </a:gs>
                </a:gsLst>
                <a:lin ang="0" scaled="1"/>
                <a:tileRect/>
              </a:gradFill>
              <a:ln w="28575">
                <a:noFill/>
              </a:ln>
            </p:spPr>
            <p:txBody>
              <a:bodyPr vert="horz" wrap="square" lIns="64800" tIns="64800" rIns="5119200" bIns="0" rtlCol="0" anchor="t">
                <a:noAutofit/>
              </a:bodyPr>
              <a:lstStyle/>
              <a:p>
                <a:pPr marL="9144" marR="0" lvl="0" indent="0" algn="l" defTabSz="822919" rtl="0" eaLnBrk="0" fontAlgn="base" latinLnBrk="0" hangingPunct="0">
                  <a:lnSpc>
                    <a:spcPct val="100000"/>
                  </a:lnSpc>
                  <a:spcBef>
                    <a:spcPts val="270"/>
                  </a:spcBef>
                  <a:spcAft>
                    <a:spcPts val="180"/>
                  </a:spcAft>
                  <a:buClr>
                    <a:srgbClr val="000000"/>
                  </a:buClr>
                  <a:buSzTx/>
                  <a:buFontTx/>
                  <a:buNone/>
                  <a:tabLst/>
                  <a:defRPr/>
                </a:pPr>
                <a:endParaRPr kumimoji="0" lang="en-US" sz="900" b="0" i="0" u="none" strike="noStrike" kern="0" cap="none" spc="0" normalizeH="0" baseline="0" noProof="0">
                  <a:ln>
                    <a:noFill/>
                  </a:ln>
                  <a:solidFill>
                    <a:srgbClr val="231F20"/>
                  </a:solidFill>
                  <a:effectLst/>
                  <a:uLnTx/>
                  <a:uFillTx/>
                  <a:latin typeface="Calibri" panose="020F0502020204030204" pitchFamily="34" charset="0"/>
                  <a:ea typeface="Lato"/>
                  <a:cs typeface="Lato"/>
                </a:endParaRPr>
              </a:p>
            </p:txBody>
          </p:sp>
          <p:pic>
            <p:nvPicPr>
              <p:cNvPr id="66" name="Graphic 65">
                <a:extLst>
                  <a:ext uri="{FF2B5EF4-FFF2-40B4-BE49-F238E27FC236}">
                    <a16:creationId xmlns:a16="http://schemas.microsoft.com/office/drawing/2014/main" id="{505CC65C-90A6-1F56-B32C-A702A7EA316D}"/>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4323483" y="3965350"/>
                <a:ext cx="333067" cy="333067"/>
              </a:xfrm>
              <a:prstGeom prst="rect">
                <a:avLst/>
              </a:prstGeom>
            </p:spPr>
          </p:pic>
        </p:grpSp>
        <p:sp>
          <p:nvSpPr>
            <p:cNvPr id="42" name="object 81">
              <a:extLst>
                <a:ext uri="{FF2B5EF4-FFF2-40B4-BE49-F238E27FC236}">
                  <a16:creationId xmlns:a16="http://schemas.microsoft.com/office/drawing/2014/main" id="{C48FF2E5-1249-3CA4-9A30-B5B00BE1D5B6}"/>
                </a:ext>
              </a:extLst>
            </p:cNvPr>
            <p:cNvSpPr txBox="1"/>
            <p:nvPr/>
          </p:nvSpPr>
          <p:spPr>
            <a:xfrm>
              <a:off x="4244994" y="4529532"/>
              <a:ext cx="667918" cy="138500"/>
            </a:xfrm>
            <a:prstGeom prst="rect">
              <a:avLst/>
            </a:prstGeom>
          </p:spPr>
          <p:txBody>
            <a:bodyPr vert="horz" wrap="none" lIns="0" tIns="0" rIns="0" bIns="0" rtlCol="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0" marR="0" lvl="0" indent="0" algn="ctr" defTabSz="822919" rtl="0" eaLnBrk="1" fontAlgn="base" latinLnBrk="0" hangingPunct="1">
                <a:lnSpc>
                  <a:spcPct val="100000"/>
                </a:lnSpc>
                <a:spcBef>
                  <a:spcPct val="0"/>
                </a:spcBef>
                <a:spcAft>
                  <a:spcPct val="0"/>
                </a:spcAft>
                <a:buClr>
                  <a:srgbClr val="000000"/>
                </a:buClr>
                <a:buSzTx/>
                <a:buFontTx/>
                <a:buNone/>
                <a:tabLst/>
                <a:defRPr/>
              </a:pPr>
              <a:r>
                <a:rPr kumimoji="0" sz="810" b="0" i="0" u="none" strike="noStrike" kern="0" cap="none" spc="0" normalizeH="0" baseline="0" noProof="0">
                  <a:ln>
                    <a:noFill/>
                  </a:ln>
                  <a:solidFill>
                    <a:srgbClr val="192025"/>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Day -28 to -1</a:t>
              </a:r>
            </a:p>
          </p:txBody>
        </p:sp>
        <p:sp>
          <p:nvSpPr>
            <p:cNvPr id="37" name="object 49">
              <a:extLst>
                <a:ext uri="{FF2B5EF4-FFF2-40B4-BE49-F238E27FC236}">
                  <a16:creationId xmlns:a16="http://schemas.microsoft.com/office/drawing/2014/main" id="{BB4F2E22-3824-3775-E1AF-D1F84DE57801}"/>
                </a:ext>
              </a:extLst>
            </p:cNvPr>
            <p:cNvSpPr txBox="1"/>
            <p:nvPr/>
          </p:nvSpPr>
          <p:spPr>
            <a:xfrm>
              <a:off x="6214619" y="4112491"/>
              <a:ext cx="360088" cy="301058"/>
            </a:xfrm>
            <a:prstGeom prst="hexagon">
              <a:avLst/>
            </a:prstGeom>
            <a:solidFill>
              <a:srgbClr val="0D3A3F"/>
            </a:solidFill>
          </p:spPr>
          <p:txBody>
            <a:bodyPr vert="horz" wrap="none" lIns="0" tIns="0" rIns="0" bIns="0" rtlCol="0" anchor="ctr" anchorCtr="0">
              <a:no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4"/>
                </a:spcBef>
                <a:spcAft>
                  <a:spcPct val="0"/>
                </a:spcAft>
                <a:buClr>
                  <a:srgbClr val="000000"/>
                </a:buClr>
                <a:buSzTx/>
                <a:buFontTx/>
                <a:buNone/>
                <a:tabLst/>
                <a:defRPr/>
              </a:pPr>
              <a:r>
                <a:rPr kumimoji="0" sz="990" b="1" i="0" u="none" strike="noStrike" kern="0" cap="none" spc="0" normalizeH="0" baseline="0" noProof="0">
                  <a:ln>
                    <a:noFill/>
                  </a:ln>
                  <a:solidFill>
                    <a:srgbClr val="4EA72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8</a:t>
              </a:r>
            </a:p>
          </p:txBody>
        </p:sp>
        <p:sp>
          <p:nvSpPr>
            <p:cNvPr id="39" name="object 51">
              <a:extLst>
                <a:ext uri="{FF2B5EF4-FFF2-40B4-BE49-F238E27FC236}">
                  <a16:creationId xmlns:a16="http://schemas.microsoft.com/office/drawing/2014/main" id="{B47CE049-4C77-9F64-EB11-4FD2D78220A0}"/>
                </a:ext>
              </a:extLst>
            </p:cNvPr>
            <p:cNvSpPr txBox="1"/>
            <p:nvPr/>
          </p:nvSpPr>
          <p:spPr>
            <a:xfrm>
              <a:off x="8277724" y="4112491"/>
              <a:ext cx="360088" cy="301058"/>
            </a:xfrm>
            <a:prstGeom prst="hexagon">
              <a:avLst/>
            </a:prstGeom>
            <a:solidFill>
              <a:srgbClr val="0D3A3F"/>
            </a:solidFill>
          </p:spPr>
          <p:txBody>
            <a:bodyPr vert="horz" wrap="none" lIns="0" tIns="0" rIns="0" bIns="0" rtlCol="0" anchor="ctr" anchorCtr="0">
              <a:no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4"/>
                </a:spcBef>
                <a:spcAft>
                  <a:spcPct val="0"/>
                </a:spcAft>
                <a:buClr>
                  <a:srgbClr val="000000"/>
                </a:buClr>
                <a:buSzTx/>
                <a:buFontTx/>
                <a:buNone/>
                <a:tabLst/>
                <a:defRPr/>
              </a:pPr>
              <a:r>
                <a:rPr kumimoji="0" sz="990" b="1" i="0" u="none" strike="noStrike" kern="0" cap="none" spc="0" normalizeH="0" baseline="0" noProof="0">
                  <a:ln>
                    <a:noFill/>
                  </a:ln>
                  <a:solidFill>
                    <a:srgbClr val="4EA72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28</a:t>
              </a:r>
            </a:p>
          </p:txBody>
        </p:sp>
        <p:sp>
          <p:nvSpPr>
            <p:cNvPr id="40" name="object 58">
              <a:extLst>
                <a:ext uri="{FF2B5EF4-FFF2-40B4-BE49-F238E27FC236}">
                  <a16:creationId xmlns:a16="http://schemas.microsoft.com/office/drawing/2014/main" id="{E47A4663-BA19-E332-4B03-2D409F587BE0}"/>
                </a:ext>
              </a:extLst>
            </p:cNvPr>
            <p:cNvSpPr txBox="1"/>
            <p:nvPr/>
          </p:nvSpPr>
          <p:spPr>
            <a:xfrm>
              <a:off x="5374381" y="4112491"/>
              <a:ext cx="360088" cy="301058"/>
            </a:xfrm>
            <a:prstGeom prst="hexagon">
              <a:avLst/>
            </a:prstGeom>
            <a:solidFill>
              <a:srgbClr val="0D3A3F"/>
            </a:solidFill>
          </p:spPr>
          <p:txBody>
            <a:bodyPr vert="horz" wrap="none" lIns="0" tIns="0" rIns="0" bIns="0" rtlCol="0" anchor="ctr" anchorCtr="0">
              <a:no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4"/>
                </a:spcBef>
                <a:spcAft>
                  <a:spcPct val="0"/>
                </a:spcAft>
                <a:buClr>
                  <a:srgbClr val="000000"/>
                </a:buClr>
                <a:buSzTx/>
                <a:buFontTx/>
                <a:buNone/>
                <a:tabLst>
                  <a:tab pos="273059" algn="l"/>
                </a:tabLst>
                <a:defRPr/>
              </a:pPr>
              <a:r>
                <a:rPr kumimoji="0" sz="990" b="1" i="0" u="none" strike="noStrike" kern="0" cap="none" spc="0" normalizeH="0" baseline="0" noProof="0">
                  <a:ln>
                    <a:noFill/>
                  </a:ln>
                  <a:solidFill>
                    <a:srgbClr val="4EA72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1</a:t>
              </a:r>
            </a:p>
          </p:txBody>
        </p:sp>
        <p:sp>
          <p:nvSpPr>
            <p:cNvPr id="2635" name="object 50">
              <a:extLst>
                <a:ext uri="{FF2B5EF4-FFF2-40B4-BE49-F238E27FC236}">
                  <a16:creationId xmlns:a16="http://schemas.microsoft.com/office/drawing/2014/main" id="{E8A2BF4B-5DA0-5EDA-17A2-4DADF9A159E5}"/>
                </a:ext>
              </a:extLst>
            </p:cNvPr>
            <p:cNvSpPr txBox="1"/>
            <p:nvPr/>
          </p:nvSpPr>
          <p:spPr>
            <a:xfrm>
              <a:off x="7038204" y="4112491"/>
              <a:ext cx="360088" cy="301058"/>
            </a:xfrm>
            <a:prstGeom prst="hexagon">
              <a:avLst/>
            </a:prstGeom>
            <a:solidFill>
              <a:srgbClr val="0D3A3F"/>
            </a:solidFill>
          </p:spPr>
          <p:txBody>
            <a:bodyPr vert="horz" wrap="none" lIns="0" tIns="0" rIns="0" bIns="0" rtlCol="0" anchor="ctr" anchorCtr="0">
              <a:no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4"/>
                </a:spcBef>
                <a:spcAft>
                  <a:spcPct val="0"/>
                </a:spcAft>
                <a:buClr>
                  <a:srgbClr val="000000"/>
                </a:buClr>
                <a:buSzTx/>
                <a:buFontTx/>
                <a:buNone/>
                <a:tabLst/>
                <a:defRPr/>
              </a:pPr>
              <a:r>
                <a:rPr kumimoji="0" sz="990" b="1" i="0" u="none" strike="noStrike" kern="0" cap="none" spc="0" normalizeH="0" baseline="0" noProof="0">
                  <a:ln>
                    <a:noFill/>
                  </a:ln>
                  <a:solidFill>
                    <a:srgbClr val="4EA72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15</a:t>
              </a:r>
            </a:p>
          </p:txBody>
        </p:sp>
      </p:grpSp>
      <p:pic>
        <p:nvPicPr>
          <p:cNvPr id="21" name="Picture 20" descr="A blue and black letter&#10;&#10;AI-generated content may be incorrect.">
            <a:extLst>
              <a:ext uri="{FF2B5EF4-FFF2-40B4-BE49-F238E27FC236}">
                <a16:creationId xmlns:a16="http://schemas.microsoft.com/office/drawing/2014/main" id="{806068AF-6274-0ED4-C178-A9294DBDEF0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21198" y="2004484"/>
            <a:ext cx="1225000" cy="267565"/>
          </a:xfrm>
          <a:prstGeom prst="rect">
            <a:avLst/>
          </a:prstGeom>
        </p:spPr>
      </p:pic>
      <p:grpSp>
        <p:nvGrpSpPr>
          <p:cNvPr id="2636" name="Group 2635">
            <a:extLst>
              <a:ext uri="{FF2B5EF4-FFF2-40B4-BE49-F238E27FC236}">
                <a16:creationId xmlns:a16="http://schemas.microsoft.com/office/drawing/2014/main" id="{6EB05F0B-ED6D-3086-145E-EF3CD124E832}"/>
              </a:ext>
            </a:extLst>
          </p:cNvPr>
          <p:cNvGrpSpPr/>
          <p:nvPr/>
        </p:nvGrpSpPr>
        <p:grpSpPr>
          <a:xfrm>
            <a:off x="4421198" y="2381304"/>
            <a:ext cx="5177790" cy="1605445"/>
            <a:chOff x="4235108" y="2044555"/>
            <a:chExt cx="5753100" cy="1783828"/>
          </a:xfrm>
        </p:grpSpPr>
        <p:grpSp>
          <p:nvGrpSpPr>
            <p:cNvPr id="2634" name="Group 2633">
              <a:extLst>
                <a:ext uri="{FF2B5EF4-FFF2-40B4-BE49-F238E27FC236}">
                  <a16:creationId xmlns:a16="http://schemas.microsoft.com/office/drawing/2014/main" id="{FBA892AF-DA5D-908B-6C03-8E9A2E19B67F}"/>
                </a:ext>
              </a:extLst>
            </p:cNvPr>
            <p:cNvGrpSpPr/>
            <p:nvPr/>
          </p:nvGrpSpPr>
          <p:grpSpPr>
            <a:xfrm>
              <a:off x="4235108" y="3302457"/>
              <a:ext cx="5753100" cy="525926"/>
              <a:chOff x="4235108" y="3302457"/>
              <a:chExt cx="5753100" cy="525926"/>
            </a:xfrm>
          </p:grpSpPr>
          <p:sp>
            <p:nvSpPr>
              <p:cNvPr id="17" name="Rectangle 16">
                <a:extLst>
                  <a:ext uri="{FF2B5EF4-FFF2-40B4-BE49-F238E27FC236}">
                    <a16:creationId xmlns:a16="http://schemas.microsoft.com/office/drawing/2014/main" id="{2DD6353F-48BB-4D2A-EA75-4F018A102E7F}"/>
                  </a:ext>
                </a:extLst>
              </p:cNvPr>
              <p:cNvSpPr/>
              <p:nvPr/>
            </p:nvSpPr>
            <p:spPr>
              <a:xfrm>
                <a:off x="4235108" y="3302457"/>
                <a:ext cx="5753100" cy="525926"/>
              </a:xfrm>
              <a:prstGeom prst="rect">
                <a:avLst/>
              </a:prstGeom>
              <a:solidFill>
                <a:schemeClr val="accent3">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9" name="Arrow: Chevron 98">
                <a:extLst>
                  <a:ext uri="{FF2B5EF4-FFF2-40B4-BE49-F238E27FC236}">
                    <a16:creationId xmlns:a16="http://schemas.microsoft.com/office/drawing/2014/main" id="{F0FC1CD2-8710-4AB4-E447-D9085828A791}"/>
                  </a:ext>
                </a:extLst>
              </p:cNvPr>
              <p:cNvSpPr/>
              <p:nvPr/>
            </p:nvSpPr>
            <p:spPr>
              <a:xfrm>
                <a:off x="8394288" y="3403006"/>
                <a:ext cx="1190787" cy="324829"/>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0" name="Arrow: Pentagon 99">
                <a:extLst>
                  <a:ext uri="{FF2B5EF4-FFF2-40B4-BE49-F238E27FC236}">
                    <a16:creationId xmlns:a16="http://schemas.microsoft.com/office/drawing/2014/main" id="{6F161E10-6162-FAD9-FD98-7617E2F02FC7}"/>
                  </a:ext>
                </a:extLst>
              </p:cNvPr>
              <p:cNvSpPr/>
              <p:nvPr/>
            </p:nvSpPr>
            <p:spPr>
              <a:xfrm>
                <a:off x="5565775" y="3403006"/>
                <a:ext cx="2939046" cy="324829"/>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4" name="object 59">
                <a:extLst>
                  <a:ext uri="{FF2B5EF4-FFF2-40B4-BE49-F238E27FC236}">
                    <a16:creationId xmlns:a16="http://schemas.microsoft.com/office/drawing/2014/main" id="{0BA87288-82A3-6B0A-1003-F964280A6636}"/>
                  </a:ext>
                </a:extLst>
              </p:cNvPr>
              <p:cNvSpPr txBox="1"/>
              <p:nvPr/>
            </p:nvSpPr>
            <p:spPr>
              <a:xfrm>
                <a:off x="4604944" y="3433830"/>
                <a:ext cx="706390" cy="263178"/>
              </a:xfrm>
              <a:prstGeom prst="rect">
                <a:avLst/>
              </a:prstGeom>
              <a:noFill/>
            </p:spPr>
            <p:txBody>
              <a:bodyPr vert="horz" wrap="none" lIns="0" tIns="0" rIns="0" bIns="0" rtlCol="0" anchor="ctr" anchorCtr="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12145" marR="0" lvl="0" indent="0" algn="l" defTabSz="822919" rtl="0" eaLnBrk="1" fontAlgn="base" latinLnBrk="0" hangingPunct="1">
                  <a:lnSpc>
                    <a:spcPct val="95000"/>
                  </a:lnSpc>
                  <a:spcBef>
                    <a:spcPts val="174"/>
                  </a:spcBef>
                  <a:spcAft>
                    <a:spcPct val="0"/>
                  </a:spcAft>
                  <a:buClr>
                    <a:srgbClr val="000000"/>
                  </a:buClr>
                  <a:buSzTx/>
                  <a:buFontTx/>
                  <a:buNone/>
                  <a:tabLst/>
                  <a:defRPr/>
                </a:pPr>
                <a:r>
                  <a:rPr kumimoji="0" lang="en-US"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Bevacizumab</a:t>
                </a:r>
                <a:br>
                  <a:rPr kumimoji="0" lang="en-US"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br>
                <a:r>
                  <a:rPr kumimoji="0"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a:t>
                </a:r>
                <a:r>
                  <a:rPr kumimoji="0" lang="en-US"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10</a:t>
                </a:r>
                <a:r>
                  <a:rPr kumimoji="0"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 mg</a:t>
                </a:r>
                <a:r>
                  <a:rPr kumimoji="0" lang="en-US"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kg IV)</a:t>
                </a:r>
                <a:endParaRPr kumimoji="0"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endParaRPr>
              </a:p>
            </p:txBody>
          </p:sp>
          <p:cxnSp>
            <p:nvCxnSpPr>
              <p:cNvPr id="1046" name="Straight Arrow Connector 1045">
                <a:extLst>
                  <a:ext uri="{FF2B5EF4-FFF2-40B4-BE49-F238E27FC236}">
                    <a16:creationId xmlns:a16="http://schemas.microsoft.com/office/drawing/2014/main" id="{E9572FF8-B408-4E17-B3DD-1DB464354E2F}"/>
                  </a:ext>
                </a:extLst>
              </p:cNvPr>
              <p:cNvCxnSpPr>
                <a:cxnSpLocks/>
              </p:cNvCxnSpPr>
              <p:nvPr/>
            </p:nvCxnSpPr>
            <p:spPr>
              <a:xfrm>
                <a:off x="5788870" y="3565420"/>
                <a:ext cx="1292806"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47" name="Straight Arrow Connector 1046">
                <a:extLst>
                  <a:ext uri="{FF2B5EF4-FFF2-40B4-BE49-F238E27FC236}">
                    <a16:creationId xmlns:a16="http://schemas.microsoft.com/office/drawing/2014/main" id="{B817EFDE-C2F8-E647-6ABC-B768BD8DA47E}"/>
                  </a:ext>
                </a:extLst>
              </p:cNvPr>
              <p:cNvCxnSpPr>
                <a:cxnSpLocks/>
              </p:cNvCxnSpPr>
              <p:nvPr/>
            </p:nvCxnSpPr>
            <p:spPr>
              <a:xfrm>
                <a:off x="7349210" y="3565420"/>
                <a:ext cx="1488212"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5D485A4B-CD25-6D5E-AD6C-E89BEFAE3DE6}"/>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887152" y="3451437"/>
                <a:ext cx="175279" cy="227967"/>
              </a:xfrm>
              <a:prstGeom prst="rect">
                <a:avLst/>
              </a:prstGeom>
            </p:spPr>
          </p:pic>
          <p:pic>
            <p:nvPicPr>
              <p:cNvPr id="118" name="Graphic 117">
                <a:extLst>
                  <a:ext uri="{FF2B5EF4-FFF2-40B4-BE49-F238E27FC236}">
                    <a16:creationId xmlns:a16="http://schemas.microsoft.com/office/drawing/2014/main" id="{316D5681-1BF4-EF09-E629-A6C64891AADB}"/>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7124202" y="3451437"/>
                <a:ext cx="175279" cy="227967"/>
              </a:xfrm>
              <a:prstGeom prst="rect">
                <a:avLst/>
              </a:prstGeom>
            </p:spPr>
          </p:pic>
          <p:pic>
            <p:nvPicPr>
              <p:cNvPr id="119" name="Graphic 118">
                <a:extLst>
                  <a:ext uri="{FF2B5EF4-FFF2-40B4-BE49-F238E27FC236}">
                    <a16:creationId xmlns:a16="http://schemas.microsoft.com/office/drawing/2014/main" id="{F216F4E5-7D9B-1020-F39C-2C375F2E3EB2}"/>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571064" y="3451437"/>
                <a:ext cx="175279" cy="227967"/>
              </a:xfrm>
              <a:prstGeom prst="rect">
                <a:avLst/>
              </a:prstGeom>
            </p:spPr>
          </p:pic>
          <p:grpSp>
            <p:nvGrpSpPr>
              <p:cNvPr id="127" name="Group 126">
                <a:extLst>
                  <a:ext uri="{FF2B5EF4-FFF2-40B4-BE49-F238E27FC236}">
                    <a16:creationId xmlns:a16="http://schemas.microsoft.com/office/drawing/2014/main" id="{5A75A4F6-9A76-CD8C-ACF7-CEDA4A99B923}"/>
                  </a:ext>
                </a:extLst>
              </p:cNvPr>
              <p:cNvGrpSpPr/>
              <p:nvPr/>
            </p:nvGrpSpPr>
            <p:grpSpPr>
              <a:xfrm>
                <a:off x="4323254" y="3356373"/>
                <a:ext cx="176985" cy="418095"/>
                <a:chOff x="4552526" y="3253088"/>
                <a:chExt cx="176970" cy="418064"/>
              </a:xfrm>
              <a:solidFill>
                <a:schemeClr val="accent3"/>
              </a:solidFill>
            </p:grpSpPr>
            <p:sp>
              <p:nvSpPr>
                <p:cNvPr id="128" name="Freeform: Shape 127">
                  <a:extLst>
                    <a:ext uri="{FF2B5EF4-FFF2-40B4-BE49-F238E27FC236}">
                      <a16:creationId xmlns:a16="http://schemas.microsoft.com/office/drawing/2014/main" id="{2E58EA15-EDAE-1CA7-EDB0-52ED9AD5357D}"/>
                    </a:ext>
                  </a:extLst>
                </p:cNvPr>
                <p:cNvSpPr/>
                <p:nvPr/>
              </p:nvSpPr>
              <p:spPr>
                <a:xfrm>
                  <a:off x="4552526" y="3352478"/>
                  <a:ext cx="176970" cy="318674"/>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29" name="Freeform: Shape 128">
                  <a:extLst>
                    <a:ext uri="{FF2B5EF4-FFF2-40B4-BE49-F238E27FC236}">
                      <a16:creationId xmlns:a16="http://schemas.microsoft.com/office/drawing/2014/main" id="{55DF8933-0237-CB0E-4C4D-74AAC20F821C}"/>
                    </a:ext>
                  </a:extLst>
                </p:cNvPr>
                <p:cNvSpPr/>
                <p:nvPr/>
              </p:nvSpPr>
              <p:spPr>
                <a:xfrm>
                  <a:off x="4589252" y="3253088"/>
                  <a:ext cx="103518" cy="93595"/>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grpSp>
          <p:nvGrpSpPr>
            <p:cNvPr id="175" name="Group 174">
              <a:extLst>
                <a:ext uri="{FF2B5EF4-FFF2-40B4-BE49-F238E27FC236}">
                  <a16:creationId xmlns:a16="http://schemas.microsoft.com/office/drawing/2014/main" id="{9261C613-F9B0-F6AC-AF3B-69DAABC193BF}"/>
                </a:ext>
              </a:extLst>
            </p:cNvPr>
            <p:cNvGrpSpPr/>
            <p:nvPr/>
          </p:nvGrpSpPr>
          <p:grpSpPr>
            <a:xfrm>
              <a:off x="4235108" y="2044555"/>
              <a:ext cx="5753100" cy="525926"/>
              <a:chOff x="4235108" y="2044555"/>
              <a:chExt cx="5753100" cy="525926"/>
            </a:xfrm>
          </p:grpSpPr>
          <p:sp>
            <p:nvSpPr>
              <p:cNvPr id="20" name="Rectangle 19">
                <a:extLst>
                  <a:ext uri="{FF2B5EF4-FFF2-40B4-BE49-F238E27FC236}">
                    <a16:creationId xmlns:a16="http://schemas.microsoft.com/office/drawing/2014/main" id="{256C558A-E0B0-111D-96EA-A09855FB345B}"/>
                  </a:ext>
                </a:extLst>
              </p:cNvPr>
              <p:cNvSpPr/>
              <p:nvPr/>
            </p:nvSpPr>
            <p:spPr>
              <a:xfrm>
                <a:off x="4235108" y="2044555"/>
                <a:ext cx="5753100" cy="525926"/>
              </a:xfrm>
              <a:prstGeom prst="rect">
                <a:avLst/>
              </a:prstGeom>
              <a:solidFill>
                <a:srgbClr val="156168">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5" name="TextBox 104">
                <a:extLst>
                  <a:ext uri="{FF2B5EF4-FFF2-40B4-BE49-F238E27FC236}">
                    <a16:creationId xmlns:a16="http://schemas.microsoft.com/office/drawing/2014/main" id="{AEEDE3B7-2687-CB6E-584E-DF2E393B5A09}"/>
                  </a:ext>
                </a:extLst>
              </p:cNvPr>
              <p:cNvSpPr txBox="1"/>
              <p:nvPr/>
            </p:nvSpPr>
            <p:spPr>
              <a:xfrm>
                <a:off x="4604944" y="2169018"/>
                <a:ext cx="674330" cy="276999"/>
              </a:xfrm>
              <a:prstGeom prst="rect">
                <a:avLst/>
              </a:prstGeom>
              <a:noFill/>
            </p:spPr>
            <p:txBody>
              <a:bodyPr wrap="none" lIns="0" tIns="0" rIns="0" bIns="0" anchor="ctr" anchorCtr="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12145" marR="0" lvl="0" indent="0" algn="l" defTabSz="822919" rtl="0" eaLnBrk="1" fontAlgn="base" latinLnBrk="0" hangingPunct="1">
                  <a:lnSpc>
                    <a:spcPct val="100000"/>
                  </a:lnSpc>
                  <a:spcBef>
                    <a:spcPts val="204"/>
                  </a:spcBef>
                  <a:spcAft>
                    <a:spcPct val="0"/>
                  </a:spcAft>
                  <a:buClr>
                    <a:srgbClr val="000000"/>
                  </a:buClr>
                  <a:buSzTx/>
                  <a:buFontTx/>
                  <a:buNone/>
                  <a:tabLst/>
                  <a:defRPr/>
                </a:pPr>
                <a:r>
                  <a:rPr kumimoji="0" lang="en-US" sz="810" b="0" i="0" u="none" strike="noStrike" kern="0" cap="none" spc="0" normalizeH="0" baseline="0" noProof="0">
                    <a:ln>
                      <a:noFill/>
                    </a:ln>
                    <a:solidFill>
                      <a:srgbClr val="156168"/>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Relacorilant</a:t>
                </a:r>
                <a:br>
                  <a:rPr kumimoji="0" lang="en-US" sz="810" b="0" i="0" u="none" strike="noStrike" kern="0" cap="none" spc="0" normalizeH="0" baseline="0" noProof="0">
                    <a:ln>
                      <a:noFill/>
                    </a:ln>
                    <a:solidFill>
                      <a:srgbClr val="156168"/>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br>
                <a:r>
                  <a:rPr kumimoji="0" lang="en-US" sz="810" b="0" i="0" u="none" strike="noStrike" kern="0" cap="none" spc="0" normalizeH="0" baseline="0" noProof="0">
                    <a:ln>
                      <a:noFill/>
                    </a:ln>
                    <a:solidFill>
                      <a:srgbClr val="156168"/>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150 mg PO)</a:t>
                </a:r>
              </a:p>
            </p:txBody>
          </p:sp>
          <p:sp>
            <p:nvSpPr>
              <p:cNvPr id="101" name="Arrow: Pentagon 100">
                <a:extLst>
                  <a:ext uri="{FF2B5EF4-FFF2-40B4-BE49-F238E27FC236}">
                    <a16:creationId xmlns:a16="http://schemas.microsoft.com/office/drawing/2014/main" id="{E9DEA73D-5758-CB58-C49B-FAED1B5A107E}"/>
                  </a:ext>
                </a:extLst>
              </p:cNvPr>
              <p:cNvSpPr/>
              <p:nvPr/>
            </p:nvSpPr>
            <p:spPr>
              <a:xfrm>
                <a:off x="5565775" y="2145104"/>
                <a:ext cx="2939046" cy="324829"/>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2" name="Arrow: Chevron 101">
                <a:extLst>
                  <a:ext uri="{FF2B5EF4-FFF2-40B4-BE49-F238E27FC236}">
                    <a16:creationId xmlns:a16="http://schemas.microsoft.com/office/drawing/2014/main" id="{FE84892B-988D-8B43-CE2B-CBAF27BB4D74}"/>
                  </a:ext>
                </a:extLst>
              </p:cNvPr>
              <p:cNvSpPr/>
              <p:nvPr/>
            </p:nvSpPr>
            <p:spPr>
              <a:xfrm>
                <a:off x="8394288" y="2145104"/>
                <a:ext cx="1190787" cy="324829"/>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25" name="Straight Arrow Connector 1024">
                <a:extLst>
                  <a:ext uri="{FF2B5EF4-FFF2-40B4-BE49-F238E27FC236}">
                    <a16:creationId xmlns:a16="http://schemas.microsoft.com/office/drawing/2014/main" id="{A945124D-2732-3002-50A9-EA4DF61D5F9C}"/>
                  </a:ext>
                </a:extLst>
              </p:cNvPr>
              <p:cNvCxnSpPr>
                <a:cxnSpLocks/>
              </p:cNvCxnSpPr>
              <p:nvPr/>
            </p:nvCxnSpPr>
            <p:spPr>
              <a:xfrm>
                <a:off x="5906489" y="2307518"/>
                <a:ext cx="219106" cy="0"/>
              </a:xfrm>
              <a:prstGeom prst="straightConnector1">
                <a:avLst/>
              </a:prstGeom>
              <a:ln>
                <a:solidFill>
                  <a:srgbClr val="156168"/>
                </a:solidFill>
                <a:tailEnd type="triangle"/>
              </a:ln>
            </p:spPr>
            <p:style>
              <a:lnRef idx="1">
                <a:schemeClr val="accent1"/>
              </a:lnRef>
              <a:fillRef idx="0">
                <a:schemeClr val="accent1"/>
              </a:fillRef>
              <a:effectRef idx="0">
                <a:schemeClr val="accent1"/>
              </a:effectRef>
              <a:fontRef idx="minor">
                <a:schemeClr val="tx1"/>
              </a:fontRef>
            </p:style>
          </p:cxnSp>
          <p:cxnSp>
            <p:nvCxnSpPr>
              <p:cNvPr id="1028" name="Straight Arrow Connector 1027">
                <a:extLst>
                  <a:ext uri="{FF2B5EF4-FFF2-40B4-BE49-F238E27FC236}">
                    <a16:creationId xmlns:a16="http://schemas.microsoft.com/office/drawing/2014/main" id="{5523E02D-3847-5E76-3E73-195824FC1C86}"/>
                  </a:ext>
                </a:extLst>
              </p:cNvPr>
              <p:cNvCxnSpPr>
                <a:cxnSpLocks/>
              </p:cNvCxnSpPr>
              <p:nvPr/>
            </p:nvCxnSpPr>
            <p:spPr>
              <a:xfrm>
                <a:off x="7501137" y="2307518"/>
                <a:ext cx="663069" cy="0"/>
              </a:xfrm>
              <a:prstGeom prst="straightConnector1">
                <a:avLst/>
              </a:prstGeom>
              <a:ln>
                <a:solidFill>
                  <a:srgbClr val="156168"/>
                </a:solidFill>
                <a:tailEnd type="triangle"/>
              </a:ln>
            </p:spPr>
            <p:style>
              <a:lnRef idx="1">
                <a:schemeClr val="accent1"/>
              </a:lnRef>
              <a:fillRef idx="0">
                <a:schemeClr val="accent1"/>
              </a:fillRef>
              <a:effectRef idx="0">
                <a:schemeClr val="accent1"/>
              </a:effectRef>
              <a:fontRef idx="minor">
                <a:schemeClr val="tx1"/>
              </a:fontRef>
            </p:style>
          </p:cxnSp>
          <p:cxnSp>
            <p:nvCxnSpPr>
              <p:cNvPr id="1030" name="Straight Arrow Connector 1029">
                <a:extLst>
                  <a:ext uri="{FF2B5EF4-FFF2-40B4-BE49-F238E27FC236}">
                    <a16:creationId xmlns:a16="http://schemas.microsoft.com/office/drawing/2014/main" id="{686489BC-3EDE-0570-B8FF-2050A04A9163}"/>
                  </a:ext>
                </a:extLst>
              </p:cNvPr>
              <p:cNvCxnSpPr>
                <a:cxnSpLocks/>
              </p:cNvCxnSpPr>
              <p:nvPr/>
            </p:nvCxnSpPr>
            <p:spPr>
              <a:xfrm>
                <a:off x="8401057" y="2307518"/>
                <a:ext cx="473068" cy="0"/>
              </a:xfrm>
              <a:prstGeom prst="straightConnector1">
                <a:avLst/>
              </a:prstGeom>
              <a:ln>
                <a:solidFill>
                  <a:srgbClr val="156168"/>
                </a:solidFill>
                <a:tailEnd type="triangle"/>
              </a:ln>
            </p:spPr>
            <p:style>
              <a:lnRef idx="1">
                <a:schemeClr val="accent1"/>
              </a:lnRef>
              <a:fillRef idx="0">
                <a:schemeClr val="accent1"/>
              </a:fillRef>
              <a:effectRef idx="0">
                <a:schemeClr val="accent1"/>
              </a:effectRef>
              <a:fontRef idx="minor">
                <a:schemeClr val="tx1"/>
              </a:fontRef>
            </p:style>
          </p:cxnSp>
          <p:cxnSp>
            <p:nvCxnSpPr>
              <p:cNvPr id="1032" name="Straight Arrow Connector 1031">
                <a:extLst>
                  <a:ext uri="{FF2B5EF4-FFF2-40B4-BE49-F238E27FC236}">
                    <a16:creationId xmlns:a16="http://schemas.microsoft.com/office/drawing/2014/main" id="{2D64DE77-8FE2-B7FF-96A5-B6CC5ABA520F}"/>
                  </a:ext>
                </a:extLst>
              </p:cNvPr>
              <p:cNvCxnSpPr>
                <a:cxnSpLocks/>
              </p:cNvCxnSpPr>
              <p:nvPr/>
            </p:nvCxnSpPr>
            <p:spPr>
              <a:xfrm>
                <a:off x="6653215" y="2307518"/>
                <a:ext cx="288381" cy="0"/>
              </a:xfrm>
              <a:prstGeom prst="straightConnector1">
                <a:avLst/>
              </a:prstGeom>
              <a:ln>
                <a:solidFill>
                  <a:srgbClr val="156168"/>
                </a:solidFill>
                <a:tailEnd type="triangl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16E3D239-E04F-53C7-05E1-8EADF8FD4A40}"/>
                  </a:ext>
                </a:extLst>
              </p:cNvPr>
              <p:cNvGrpSpPr/>
              <p:nvPr/>
            </p:nvGrpSpPr>
            <p:grpSpPr>
              <a:xfrm>
                <a:off x="5571064" y="2193535"/>
                <a:ext cx="326341" cy="227967"/>
                <a:chOff x="3895725" y="2255044"/>
                <a:chExt cx="282931" cy="197643"/>
              </a:xfrm>
            </p:grpSpPr>
            <p:pic>
              <p:nvPicPr>
                <p:cNvPr id="35" name="Graphic 34">
                  <a:extLst>
                    <a:ext uri="{FF2B5EF4-FFF2-40B4-BE49-F238E27FC236}">
                      <a16:creationId xmlns:a16="http://schemas.microsoft.com/office/drawing/2014/main" id="{71211255-0E70-0551-0EC6-0C1E932783B7}"/>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895725" y="2255044"/>
                  <a:ext cx="151963" cy="197643"/>
                </a:xfrm>
                <a:prstGeom prst="rect">
                  <a:avLst/>
                </a:prstGeom>
              </p:spPr>
            </p:pic>
            <p:pic>
              <p:nvPicPr>
                <p:cNvPr id="36" name="Graphic 35">
                  <a:extLst>
                    <a:ext uri="{FF2B5EF4-FFF2-40B4-BE49-F238E27FC236}">
                      <a16:creationId xmlns:a16="http://schemas.microsoft.com/office/drawing/2014/main" id="{4C1C8437-483C-5A91-5535-D27D7A21D5B8}"/>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026693" y="2255044"/>
                  <a:ext cx="151963" cy="197643"/>
                </a:xfrm>
                <a:prstGeom prst="rect">
                  <a:avLst/>
                </a:prstGeom>
              </p:spPr>
            </p:pic>
          </p:grpSp>
          <p:pic>
            <p:nvPicPr>
              <p:cNvPr id="51" name="Graphic 50">
                <a:extLst>
                  <a:ext uri="{FF2B5EF4-FFF2-40B4-BE49-F238E27FC236}">
                    <a16:creationId xmlns:a16="http://schemas.microsoft.com/office/drawing/2014/main" id="{18239BAA-5826-BD95-1D26-4EBF15C45629}"/>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964898" y="2193535"/>
                <a:ext cx="175279" cy="227967"/>
              </a:xfrm>
              <a:prstGeom prst="rect">
                <a:avLst/>
              </a:prstGeom>
            </p:spPr>
          </p:pic>
          <p:pic>
            <p:nvPicPr>
              <p:cNvPr id="52" name="Graphic 51">
                <a:extLst>
                  <a:ext uri="{FF2B5EF4-FFF2-40B4-BE49-F238E27FC236}">
                    <a16:creationId xmlns:a16="http://schemas.microsoft.com/office/drawing/2014/main" id="{1ABE6586-33E2-118E-EEA9-85F8F1CE57EB}"/>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124202" y="2193535"/>
                <a:ext cx="175279" cy="227967"/>
              </a:xfrm>
              <a:prstGeom prst="rect">
                <a:avLst/>
              </a:prstGeom>
            </p:spPr>
          </p:pic>
          <p:pic>
            <p:nvPicPr>
              <p:cNvPr id="60" name="Graphic 59">
                <a:extLst>
                  <a:ext uri="{FF2B5EF4-FFF2-40B4-BE49-F238E27FC236}">
                    <a16:creationId xmlns:a16="http://schemas.microsoft.com/office/drawing/2014/main" id="{088E6876-2D88-10C7-5FF6-B33C32278CBC}"/>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283504" y="2193535"/>
                <a:ext cx="175279" cy="227967"/>
              </a:xfrm>
              <a:prstGeom prst="rect">
                <a:avLst/>
              </a:prstGeom>
            </p:spPr>
          </p:pic>
          <p:pic>
            <p:nvPicPr>
              <p:cNvPr id="73" name="Graphic 72">
                <a:extLst>
                  <a:ext uri="{FF2B5EF4-FFF2-40B4-BE49-F238E27FC236}">
                    <a16:creationId xmlns:a16="http://schemas.microsoft.com/office/drawing/2014/main" id="{F13E84E0-BD3D-6F7D-96A2-9B4A2478A358}"/>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206559" y="2193535"/>
                <a:ext cx="175279" cy="227967"/>
              </a:xfrm>
              <a:prstGeom prst="rect">
                <a:avLst/>
              </a:prstGeom>
            </p:spPr>
          </p:pic>
          <p:pic>
            <p:nvPicPr>
              <p:cNvPr id="76" name="Graphic 75">
                <a:extLst>
                  <a:ext uri="{FF2B5EF4-FFF2-40B4-BE49-F238E27FC236}">
                    <a16:creationId xmlns:a16="http://schemas.microsoft.com/office/drawing/2014/main" id="{05F296C9-5DB3-658A-7890-829BB9D27738}"/>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887152" y="2193535"/>
                <a:ext cx="175279" cy="227967"/>
              </a:xfrm>
              <a:prstGeom prst="rect">
                <a:avLst/>
              </a:prstGeom>
            </p:spPr>
          </p:pic>
          <p:grpSp>
            <p:nvGrpSpPr>
              <p:cNvPr id="123" name="Group 122">
                <a:extLst>
                  <a:ext uri="{FF2B5EF4-FFF2-40B4-BE49-F238E27FC236}">
                    <a16:creationId xmlns:a16="http://schemas.microsoft.com/office/drawing/2014/main" id="{E6FEC652-A8AE-3099-3CC1-5F5FC34FCA01}"/>
                  </a:ext>
                </a:extLst>
              </p:cNvPr>
              <p:cNvGrpSpPr/>
              <p:nvPr/>
            </p:nvGrpSpPr>
            <p:grpSpPr>
              <a:xfrm>
                <a:off x="4323254" y="2098471"/>
                <a:ext cx="176985" cy="418095"/>
                <a:chOff x="4552526" y="3253088"/>
                <a:chExt cx="176970" cy="418064"/>
              </a:xfrm>
              <a:solidFill>
                <a:srgbClr val="156168"/>
              </a:solidFill>
            </p:grpSpPr>
            <p:sp>
              <p:nvSpPr>
                <p:cNvPr id="121" name="Freeform: Shape 120">
                  <a:extLst>
                    <a:ext uri="{FF2B5EF4-FFF2-40B4-BE49-F238E27FC236}">
                      <a16:creationId xmlns:a16="http://schemas.microsoft.com/office/drawing/2014/main" id="{982E6F8B-D9FB-BB4A-A8C7-D6F5F8197CAF}"/>
                    </a:ext>
                  </a:extLst>
                </p:cNvPr>
                <p:cNvSpPr/>
                <p:nvPr/>
              </p:nvSpPr>
              <p:spPr>
                <a:xfrm>
                  <a:off x="4552526" y="3352478"/>
                  <a:ext cx="176970" cy="318674"/>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22" name="Freeform: Shape 121">
                  <a:extLst>
                    <a:ext uri="{FF2B5EF4-FFF2-40B4-BE49-F238E27FC236}">
                      <a16:creationId xmlns:a16="http://schemas.microsoft.com/office/drawing/2014/main" id="{2D1D257B-ACAF-FD04-C971-6FC28F3F90B1}"/>
                    </a:ext>
                  </a:extLst>
                </p:cNvPr>
                <p:cNvSpPr/>
                <p:nvPr/>
              </p:nvSpPr>
              <p:spPr>
                <a:xfrm>
                  <a:off x="4589252" y="3253088"/>
                  <a:ext cx="103518" cy="93595"/>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638" name="Group 2637">
                <a:extLst>
                  <a:ext uri="{FF2B5EF4-FFF2-40B4-BE49-F238E27FC236}">
                    <a16:creationId xmlns:a16="http://schemas.microsoft.com/office/drawing/2014/main" id="{6D595042-4BB2-79FE-55DA-5BB724C9F973}"/>
                  </a:ext>
                </a:extLst>
              </p:cNvPr>
              <p:cNvGrpSpPr/>
              <p:nvPr/>
            </p:nvGrpSpPr>
            <p:grpSpPr>
              <a:xfrm>
                <a:off x="6134679" y="2193535"/>
                <a:ext cx="493885" cy="227967"/>
                <a:chOff x="6151531" y="1823965"/>
                <a:chExt cx="493885" cy="227967"/>
              </a:xfrm>
            </p:grpSpPr>
            <p:pic>
              <p:nvPicPr>
                <p:cNvPr id="41" name="Graphic 40">
                  <a:extLst>
                    <a:ext uri="{FF2B5EF4-FFF2-40B4-BE49-F238E27FC236}">
                      <a16:creationId xmlns:a16="http://schemas.microsoft.com/office/drawing/2014/main" id="{94988737-B346-0B93-B49F-372B46078087}"/>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151531" y="1823965"/>
                  <a:ext cx="175279" cy="227967"/>
                </a:xfrm>
                <a:prstGeom prst="rect">
                  <a:avLst/>
                </a:prstGeom>
              </p:spPr>
            </p:pic>
            <p:pic>
              <p:nvPicPr>
                <p:cNvPr id="44" name="Graphic 43">
                  <a:extLst>
                    <a:ext uri="{FF2B5EF4-FFF2-40B4-BE49-F238E27FC236}">
                      <a16:creationId xmlns:a16="http://schemas.microsoft.com/office/drawing/2014/main" id="{A89563AF-8F47-1ABB-0D90-C543B3408CF2}"/>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310835" y="1823965"/>
                  <a:ext cx="175279" cy="227967"/>
                </a:xfrm>
                <a:prstGeom prst="rect">
                  <a:avLst/>
                </a:prstGeom>
              </p:spPr>
            </p:pic>
            <p:pic>
              <p:nvPicPr>
                <p:cNvPr id="45" name="Graphic 44">
                  <a:extLst>
                    <a:ext uri="{FF2B5EF4-FFF2-40B4-BE49-F238E27FC236}">
                      <a16:creationId xmlns:a16="http://schemas.microsoft.com/office/drawing/2014/main" id="{77C9503D-D379-59E0-5760-38DA792AC10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470137" y="1823965"/>
                  <a:ext cx="175279" cy="227967"/>
                </a:xfrm>
                <a:prstGeom prst="rect">
                  <a:avLst/>
                </a:prstGeom>
              </p:spPr>
            </p:pic>
          </p:grpSp>
        </p:grpSp>
        <p:grpSp>
          <p:nvGrpSpPr>
            <p:cNvPr id="2633" name="Group 2632">
              <a:extLst>
                <a:ext uri="{FF2B5EF4-FFF2-40B4-BE49-F238E27FC236}">
                  <a16:creationId xmlns:a16="http://schemas.microsoft.com/office/drawing/2014/main" id="{5F0EE10E-0095-034E-C571-BB5FCA5E19D2}"/>
                </a:ext>
              </a:extLst>
            </p:cNvPr>
            <p:cNvGrpSpPr/>
            <p:nvPr/>
          </p:nvGrpSpPr>
          <p:grpSpPr>
            <a:xfrm>
              <a:off x="4235108" y="2673506"/>
              <a:ext cx="5753100" cy="525926"/>
              <a:chOff x="4235108" y="2673506"/>
              <a:chExt cx="5753100" cy="525926"/>
            </a:xfrm>
          </p:grpSpPr>
          <p:sp>
            <p:nvSpPr>
              <p:cNvPr id="19" name="Rectangle 18">
                <a:extLst>
                  <a:ext uri="{FF2B5EF4-FFF2-40B4-BE49-F238E27FC236}">
                    <a16:creationId xmlns:a16="http://schemas.microsoft.com/office/drawing/2014/main" id="{E690801B-6A7B-4AE6-12D0-F6BF3BD521B2}"/>
                  </a:ext>
                </a:extLst>
              </p:cNvPr>
              <p:cNvSpPr/>
              <p:nvPr/>
            </p:nvSpPr>
            <p:spPr>
              <a:xfrm>
                <a:off x="4235108" y="2673506"/>
                <a:ext cx="5753100" cy="525926"/>
              </a:xfrm>
              <a:prstGeom prst="rect">
                <a:avLst/>
              </a:prstGeom>
              <a:solidFill>
                <a:srgbClr val="8C3177">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4" name="Arrow: Chevron 103">
                <a:extLst>
                  <a:ext uri="{FF2B5EF4-FFF2-40B4-BE49-F238E27FC236}">
                    <a16:creationId xmlns:a16="http://schemas.microsoft.com/office/drawing/2014/main" id="{AC0B858E-B85C-66B0-30BA-CEB894CF7BC7}"/>
                  </a:ext>
                </a:extLst>
              </p:cNvPr>
              <p:cNvSpPr/>
              <p:nvPr/>
            </p:nvSpPr>
            <p:spPr>
              <a:xfrm>
                <a:off x="8394288" y="2774055"/>
                <a:ext cx="1190787" cy="324829"/>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3" name="Arrow: Pentagon 82">
                <a:extLst>
                  <a:ext uri="{FF2B5EF4-FFF2-40B4-BE49-F238E27FC236}">
                    <a16:creationId xmlns:a16="http://schemas.microsoft.com/office/drawing/2014/main" id="{ABF9C1FA-A655-61EA-59AD-52E401DDF89D}"/>
                  </a:ext>
                </a:extLst>
              </p:cNvPr>
              <p:cNvSpPr/>
              <p:nvPr/>
            </p:nvSpPr>
            <p:spPr>
              <a:xfrm>
                <a:off x="5565775" y="2774055"/>
                <a:ext cx="2939046" cy="324829"/>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0" name="object 59">
                <a:extLst>
                  <a:ext uri="{FF2B5EF4-FFF2-40B4-BE49-F238E27FC236}">
                    <a16:creationId xmlns:a16="http://schemas.microsoft.com/office/drawing/2014/main" id="{E9D6ADFF-5153-7DAA-7B30-D3D68051E99D}"/>
                  </a:ext>
                </a:extLst>
              </p:cNvPr>
              <p:cNvSpPr txBox="1"/>
              <p:nvPr/>
            </p:nvSpPr>
            <p:spPr>
              <a:xfrm>
                <a:off x="4604944" y="2797969"/>
                <a:ext cx="754480" cy="276999"/>
              </a:xfrm>
              <a:prstGeom prst="rect">
                <a:avLst/>
              </a:prstGeom>
              <a:noFill/>
            </p:spPr>
            <p:txBody>
              <a:bodyPr vert="horz" wrap="none" lIns="0" tIns="0" rIns="0" bIns="0" rtlCol="0" anchor="ctr" anchorCtr="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12145" marR="0" lvl="0" indent="0" algn="l" defTabSz="822919" rtl="0" eaLnBrk="1" fontAlgn="base" latinLnBrk="0" hangingPunct="1">
                  <a:lnSpc>
                    <a:spcPct val="100000"/>
                  </a:lnSpc>
                  <a:spcBef>
                    <a:spcPts val="174"/>
                  </a:spcBef>
                  <a:spcAft>
                    <a:spcPct val="0"/>
                  </a:spcAft>
                  <a:buClr>
                    <a:srgbClr val="000000"/>
                  </a:buClr>
                  <a:buSzTx/>
                  <a:buFontTx/>
                  <a:buNone/>
                  <a:tabLst/>
                  <a:defRPr/>
                </a:pPr>
                <a:r>
                  <a:rPr kumimoji="0" lang="en-US"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Nab-Paclitaxel</a:t>
                </a:r>
                <a:br>
                  <a:rPr kumimoji="0" lang="en-US"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br>
                <a:r>
                  <a:rPr kumimoji="0"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80 mg</a:t>
                </a:r>
                <a:r>
                  <a:rPr kumimoji="0" lang="en-US"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m</a:t>
                </a:r>
                <a:r>
                  <a:rPr kumimoji="0" lang="en-US" sz="810" b="0" i="0" u="none" strike="noStrike" kern="0" cap="none" spc="0" normalizeH="0" baseline="32407"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2</a:t>
                </a:r>
                <a:r>
                  <a:rPr kumimoji="0" lang="en-US"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 IV)</a:t>
                </a:r>
                <a:endParaRPr kumimoji="0"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endParaRPr>
              </a:p>
            </p:txBody>
          </p:sp>
          <p:cxnSp>
            <p:nvCxnSpPr>
              <p:cNvPr id="1037" name="Straight Arrow Connector 1036">
                <a:extLst>
                  <a:ext uri="{FF2B5EF4-FFF2-40B4-BE49-F238E27FC236}">
                    <a16:creationId xmlns:a16="http://schemas.microsoft.com/office/drawing/2014/main" id="{216E54EA-FB24-A17F-904C-85009E70A51C}"/>
                  </a:ext>
                </a:extLst>
              </p:cNvPr>
              <p:cNvCxnSpPr>
                <a:cxnSpLocks/>
              </p:cNvCxnSpPr>
              <p:nvPr/>
            </p:nvCxnSpPr>
            <p:spPr>
              <a:xfrm>
                <a:off x="5782452" y="2936469"/>
                <a:ext cx="446898" cy="0"/>
              </a:xfrm>
              <a:prstGeom prst="straightConnector1">
                <a:avLst/>
              </a:prstGeom>
              <a:ln>
                <a:solidFill>
                  <a:srgbClr val="8C3177"/>
                </a:solidFill>
                <a:tailEnd type="triangle"/>
              </a:ln>
            </p:spPr>
            <p:style>
              <a:lnRef idx="1">
                <a:schemeClr val="accent1"/>
              </a:lnRef>
              <a:fillRef idx="0">
                <a:schemeClr val="accent1"/>
              </a:fillRef>
              <a:effectRef idx="0">
                <a:schemeClr val="accent1"/>
              </a:effectRef>
              <a:fontRef idx="minor">
                <a:schemeClr val="tx1"/>
              </a:fontRef>
            </p:style>
          </p:cxnSp>
          <p:cxnSp>
            <p:nvCxnSpPr>
              <p:cNvPr id="1038" name="Straight Arrow Connector 1037">
                <a:extLst>
                  <a:ext uri="{FF2B5EF4-FFF2-40B4-BE49-F238E27FC236}">
                    <a16:creationId xmlns:a16="http://schemas.microsoft.com/office/drawing/2014/main" id="{8D4E0150-E495-59E8-E600-0E5AD6B54BE4}"/>
                  </a:ext>
                </a:extLst>
              </p:cNvPr>
              <p:cNvCxnSpPr>
                <a:cxnSpLocks/>
              </p:cNvCxnSpPr>
              <p:nvPr/>
            </p:nvCxnSpPr>
            <p:spPr>
              <a:xfrm>
                <a:off x="7350622" y="2936469"/>
                <a:ext cx="1486800" cy="0"/>
              </a:xfrm>
              <a:prstGeom prst="straightConnector1">
                <a:avLst/>
              </a:prstGeom>
              <a:ln>
                <a:solidFill>
                  <a:srgbClr val="8C3177"/>
                </a:solidFill>
                <a:tailEnd type="triangle"/>
              </a:ln>
            </p:spPr>
            <p:style>
              <a:lnRef idx="1">
                <a:schemeClr val="accent1"/>
              </a:lnRef>
              <a:fillRef idx="0">
                <a:schemeClr val="accent1"/>
              </a:fillRef>
              <a:effectRef idx="0">
                <a:schemeClr val="accent1"/>
              </a:effectRef>
              <a:fontRef idx="minor">
                <a:schemeClr val="tx1"/>
              </a:fontRef>
            </p:style>
          </p:cxnSp>
          <p:cxnSp>
            <p:nvCxnSpPr>
              <p:cNvPr id="1043" name="Straight Arrow Connector 1042">
                <a:extLst>
                  <a:ext uri="{FF2B5EF4-FFF2-40B4-BE49-F238E27FC236}">
                    <a16:creationId xmlns:a16="http://schemas.microsoft.com/office/drawing/2014/main" id="{7BD4C470-5623-9513-A7B2-FD91AC512ECD}"/>
                  </a:ext>
                </a:extLst>
              </p:cNvPr>
              <p:cNvCxnSpPr>
                <a:cxnSpLocks/>
              </p:cNvCxnSpPr>
              <p:nvPr/>
            </p:nvCxnSpPr>
            <p:spPr>
              <a:xfrm>
                <a:off x="6496050" y="2936469"/>
                <a:ext cx="580303" cy="0"/>
              </a:xfrm>
              <a:prstGeom prst="straightConnector1">
                <a:avLst/>
              </a:prstGeom>
              <a:ln>
                <a:solidFill>
                  <a:srgbClr val="8C3177"/>
                </a:solidFill>
                <a:tailEnd type="triangle"/>
              </a:ln>
            </p:spPr>
            <p:style>
              <a:lnRef idx="1">
                <a:schemeClr val="accent1"/>
              </a:lnRef>
              <a:fillRef idx="0">
                <a:schemeClr val="accent1"/>
              </a:fillRef>
              <a:effectRef idx="0">
                <a:schemeClr val="accent1"/>
              </a:effectRef>
              <a:fontRef idx="minor">
                <a:schemeClr val="tx1"/>
              </a:fontRef>
            </p:style>
          </p:cxnSp>
          <p:pic>
            <p:nvPicPr>
              <p:cNvPr id="77" name="Graphic 76">
                <a:extLst>
                  <a:ext uri="{FF2B5EF4-FFF2-40B4-BE49-F238E27FC236}">
                    <a16:creationId xmlns:a16="http://schemas.microsoft.com/office/drawing/2014/main" id="{DD29A3BC-F2C1-9FD0-7E8D-5342AB48D608}"/>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8887152" y="2822486"/>
                <a:ext cx="175279" cy="227967"/>
              </a:xfrm>
              <a:prstGeom prst="rect">
                <a:avLst/>
              </a:prstGeom>
            </p:spPr>
          </p:pic>
          <p:pic>
            <p:nvPicPr>
              <p:cNvPr id="78" name="Graphic 77">
                <a:extLst>
                  <a:ext uri="{FF2B5EF4-FFF2-40B4-BE49-F238E27FC236}">
                    <a16:creationId xmlns:a16="http://schemas.microsoft.com/office/drawing/2014/main" id="{59CD7C91-5F27-4CB3-1F2F-02D91237D805}"/>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7124202" y="2822486"/>
                <a:ext cx="175279" cy="227967"/>
              </a:xfrm>
              <a:prstGeom prst="rect">
                <a:avLst/>
              </a:prstGeom>
            </p:spPr>
          </p:pic>
          <p:pic>
            <p:nvPicPr>
              <p:cNvPr id="98" name="Graphic 97">
                <a:extLst>
                  <a:ext uri="{FF2B5EF4-FFF2-40B4-BE49-F238E27FC236}">
                    <a16:creationId xmlns:a16="http://schemas.microsoft.com/office/drawing/2014/main" id="{3B2A3F50-18C9-16E2-9579-48FA0DAD74EB}"/>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571064" y="2822486"/>
                <a:ext cx="175279" cy="227967"/>
              </a:xfrm>
              <a:prstGeom prst="rect">
                <a:avLst/>
              </a:prstGeom>
            </p:spPr>
          </p:pic>
          <p:grpSp>
            <p:nvGrpSpPr>
              <p:cNvPr id="124" name="Group 123">
                <a:extLst>
                  <a:ext uri="{FF2B5EF4-FFF2-40B4-BE49-F238E27FC236}">
                    <a16:creationId xmlns:a16="http://schemas.microsoft.com/office/drawing/2014/main" id="{C84ACBE7-DCBF-EF16-0B2C-0516431DDD5B}"/>
                  </a:ext>
                </a:extLst>
              </p:cNvPr>
              <p:cNvGrpSpPr/>
              <p:nvPr/>
            </p:nvGrpSpPr>
            <p:grpSpPr>
              <a:xfrm>
                <a:off x="4323254" y="2727422"/>
                <a:ext cx="176985" cy="418095"/>
                <a:chOff x="4552526" y="3253088"/>
                <a:chExt cx="176970" cy="418064"/>
              </a:xfrm>
              <a:solidFill>
                <a:srgbClr val="8C3177"/>
              </a:solidFill>
            </p:grpSpPr>
            <p:sp>
              <p:nvSpPr>
                <p:cNvPr id="125" name="Freeform: Shape 124">
                  <a:extLst>
                    <a:ext uri="{FF2B5EF4-FFF2-40B4-BE49-F238E27FC236}">
                      <a16:creationId xmlns:a16="http://schemas.microsoft.com/office/drawing/2014/main" id="{1A2C0285-7C12-983F-1CB3-CCB9465D5FF9}"/>
                    </a:ext>
                  </a:extLst>
                </p:cNvPr>
                <p:cNvSpPr/>
                <p:nvPr/>
              </p:nvSpPr>
              <p:spPr>
                <a:xfrm>
                  <a:off x="4552526" y="3352478"/>
                  <a:ext cx="176970" cy="318674"/>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26" name="Freeform: Shape 125">
                  <a:extLst>
                    <a:ext uri="{FF2B5EF4-FFF2-40B4-BE49-F238E27FC236}">
                      <a16:creationId xmlns:a16="http://schemas.microsoft.com/office/drawing/2014/main" id="{764ED0D0-918B-6BD7-2393-F88D7D5D7B06}"/>
                    </a:ext>
                  </a:extLst>
                </p:cNvPr>
                <p:cNvSpPr/>
                <p:nvPr/>
              </p:nvSpPr>
              <p:spPr>
                <a:xfrm>
                  <a:off x="4589252" y="3253088"/>
                  <a:ext cx="103518" cy="93595"/>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pic>
            <p:nvPicPr>
              <p:cNvPr id="81" name="Graphic 80">
                <a:extLst>
                  <a:ext uri="{FF2B5EF4-FFF2-40B4-BE49-F238E27FC236}">
                    <a16:creationId xmlns:a16="http://schemas.microsoft.com/office/drawing/2014/main" id="{919F1A50-629A-C9C2-F757-BE0266EA55CA}"/>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6293983" y="2822486"/>
                <a:ext cx="175279" cy="227967"/>
              </a:xfrm>
              <a:prstGeom prst="rect">
                <a:avLst/>
              </a:prstGeom>
            </p:spPr>
          </p:pic>
        </p:grpSp>
      </p:grpSp>
      <p:cxnSp>
        <p:nvCxnSpPr>
          <p:cNvPr id="4609" name="Straight Connector 4608">
            <a:extLst>
              <a:ext uri="{FF2B5EF4-FFF2-40B4-BE49-F238E27FC236}">
                <a16:creationId xmlns:a16="http://schemas.microsoft.com/office/drawing/2014/main" id="{6A5CB81E-72E7-764F-7D45-3693B6A2AB9A}"/>
              </a:ext>
            </a:extLst>
          </p:cNvPr>
          <p:cNvCxnSpPr>
            <a:cxnSpLocks/>
          </p:cNvCxnSpPr>
          <p:nvPr/>
        </p:nvCxnSpPr>
        <p:spPr>
          <a:xfrm flipV="1">
            <a:off x="1207124" y="3473695"/>
            <a:ext cx="3013200" cy="1"/>
          </a:xfrm>
          <a:prstGeom prst="line">
            <a:avLst/>
          </a:prstGeom>
          <a:ln w="3175">
            <a:solidFill>
              <a:srgbClr val="156168"/>
            </a:solidFill>
          </a:ln>
        </p:spPr>
        <p:style>
          <a:lnRef idx="1">
            <a:schemeClr val="accent1"/>
          </a:lnRef>
          <a:fillRef idx="0">
            <a:schemeClr val="accent1"/>
          </a:fillRef>
          <a:effectRef idx="0">
            <a:schemeClr val="accent1"/>
          </a:effectRef>
          <a:fontRef idx="minor">
            <a:schemeClr val="tx1"/>
          </a:fontRef>
        </p:style>
      </p:cxnSp>
      <p:cxnSp>
        <p:nvCxnSpPr>
          <p:cNvPr id="4610" name="Straight Connector 4609">
            <a:extLst>
              <a:ext uri="{FF2B5EF4-FFF2-40B4-BE49-F238E27FC236}">
                <a16:creationId xmlns:a16="http://schemas.microsoft.com/office/drawing/2014/main" id="{DB111B26-CE2F-D569-CB21-D0011D8FFEC0}"/>
              </a:ext>
            </a:extLst>
          </p:cNvPr>
          <p:cNvCxnSpPr>
            <a:cxnSpLocks/>
          </p:cNvCxnSpPr>
          <p:nvPr/>
        </p:nvCxnSpPr>
        <p:spPr>
          <a:xfrm flipV="1">
            <a:off x="1207124" y="4256626"/>
            <a:ext cx="3013200" cy="1"/>
          </a:xfrm>
          <a:prstGeom prst="line">
            <a:avLst/>
          </a:prstGeom>
          <a:ln w="3175">
            <a:solidFill>
              <a:srgbClr val="156168"/>
            </a:solidFill>
          </a:ln>
        </p:spPr>
        <p:style>
          <a:lnRef idx="1">
            <a:schemeClr val="accent1"/>
          </a:lnRef>
          <a:fillRef idx="0">
            <a:schemeClr val="accent1"/>
          </a:fillRef>
          <a:effectRef idx="0">
            <a:schemeClr val="accent1"/>
          </a:effectRef>
          <a:fontRef idx="minor">
            <a:schemeClr val="tx1"/>
          </a:fontRef>
        </p:style>
      </p:cxnSp>
      <p:grpSp>
        <p:nvGrpSpPr>
          <p:cNvPr id="6307" name="Group 6306">
            <a:extLst>
              <a:ext uri="{FF2B5EF4-FFF2-40B4-BE49-F238E27FC236}">
                <a16:creationId xmlns:a16="http://schemas.microsoft.com/office/drawing/2014/main" id="{B403EF3C-128F-9454-B84A-44AF4B1EFF64}"/>
              </a:ext>
            </a:extLst>
          </p:cNvPr>
          <p:cNvGrpSpPr/>
          <p:nvPr/>
        </p:nvGrpSpPr>
        <p:grpSpPr>
          <a:xfrm>
            <a:off x="1283888" y="4326624"/>
            <a:ext cx="2889665" cy="562184"/>
            <a:chOff x="754680" y="4158004"/>
            <a:chExt cx="3210738" cy="624649"/>
          </a:xfrm>
          <a:solidFill>
            <a:srgbClr val="CFCFCF"/>
          </a:solidFill>
        </p:grpSpPr>
        <p:grpSp>
          <p:nvGrpSpPr>
            <p:cNvPr id="6308" name="Group 6307">
              <a:extLst>
                <a:ext uri="{FF2B5EF4-FFF2-40B4-BE49-F238E27FC236}">
                  <a16:creationId xmlns:a16="http://schemas.microsoft.com/office/drawing/2014/main" id="{1D680E39-1461-D464-28E6-B2A521444E12}"/>
                </a:ext>
              </a:extLst>
            </p:cNvPr>
            <p:cNvGrpSpPr/>
            <p:nvPr/>
          </p:nvGrpSpPr>
          <p:grpSpPr>
            <a:xfrm>
              <a:off x="754680" y="4619731"/>
              <a:ext cx="3210738" cy="162922"/>
              <a:chOff x="754680" y="4619731"/>
              <a:chExt cx="3210738" cy="162922"/>
            </a:xfrm>
            <a:grpFill/>
          </p:grpSpPr>
          <p:grpSp>
            <p:nvGrpSpPr>
              <p:cNvPr id="6491" name="Group 6490">
                <a:extLst>
                  <a:ext uri="{FF2B5EF4-FFF2-40B4-BE49-F238E27FC236}">
                    <a16:creationId xmlns:a16="http://schemas.microsoft.com/office/drawing/2014/main" id="{E31AA57D-834F-BF7E-650D-0E93751319A6}"/>
                  </a:ext>
                </a:extLst>
              </p:cNvPr>
              <p:cNvGrpSpPr/>
              <p:nvPr/>
            </p:nvGrpSpPr>
            <p:grpSpPr>
              <a:xfrm>
                <a:off x="754680" y="4619731"/>
                <a:ext cx="68967" cy="162922"/>
                <a:chOff x="4475654" y="2372796"/>
                <a:chExt cx="176985" cy="418095"/>
              </a:xfrm>
              <a:grpFill/>
            </p:grpSpPr>
            <p:sp>
              <p:nvSpPr>
                <p:cNvPr id="6579" name="Freeform: Shape 6578">
                  <a:extLst>
                    <a:ext uri="{FF2B5EF4-FFF2-40B4-BE49-F238E27FC236}">
                      <a16:creationId xmlns:a16="http://schemas.microsoft.com/office/drawing/2014/main" id="{82705C1C-3876-2A4B-AA42-FBCAB8911CEB}"/>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80" name="Freeform: Shape 6579">
                  <a:extLst>
                    <a:ext uri="{FF2B5EF4-FFF2-40B4-BE49-F238E27FC236}">
                      <a16:creationId xmlns:a16="http://schemas.microsoft.com/office/drawing/2014/main" id="{DFCC367A-7C9E-3755-DF59-0A3F8C1AE45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92" name="Group 6491">
                <a:extLst>
                  <a:ext uri="{FF2B5EF4-FFF2-40B4-BE49-F238E27FC236}">
                    <a16:creationId xmlns:a16="http://schemas.microsoft.com/office/drawing/2014/main" id="{90320A03-16F0-E0EE-FD65-778579D281B9}"/>
                  </a:ext>
                </a:extLst>
              </p:cNvPr>
              <p:cNvGrpSpPr/>
              <p:nvPr/>
            </p:nvGrpSpPr>
            <p:grpSpPr>
              <a:xfrm>
                <a:off x="863017" y="4619731"/>
                <a:ext cx="68967" cy="162922"/>
                <a:chOff x="4475654" y="2372796"/>
                <a:chExt cx="176985" cy="418095"/>
              </a:xfrm>
              <a:grpFill/>
            </p:grpSpPr>
            <p:sp>
              <p:nvSpPr>
                <p:cNvPr id="6577" name="Freeform: Shape 6576">
                  <a:extLst>
                    <a:ext uri="{FF2B5EF4-FFF2-40B4-BE49-F238E27FC236}">
                      <a16:creationId xmlns:a16="http://schemas.microsoft.com/office/drawing/2014/main" id="{7B8FA9F0-7414-4854-178F-2DCC569EAD9E}"/>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78" name="Freeform: Shape 6577">
                  <a:extLst>
                    <a:ext uri="{FF2B5EF4-FFF2-40B4-BE49-F238E27FC236}">
                      <a16:creationId xmlns:a16="http://schemas.microsoft.com/office/drawing/2014/main" id="{34EBB9D2-4F7C-2E3F-E394-725B7C5F2BD6}"/>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93" name="Group 6492">
                <a:extLst>
                  <a:ext uri="{FF2B5EF4-FFF2-40B4-BE49-F238E27FC236}">
                    <a16:creationId xmlns:a16="http://schemas.microsoft.com/office/drawing/2014/main" id="{06C48C59-6304-86D2-EB4B-0C79963FE6DC}"/>
                  </a:ext>
                </a:extLst>
              </p:cNvPr>
              <p:cNvGrpSpPr/>
              <p:nvPr/>
            </p:nvGrpSpPr>
            <p:grpSpPr>
              <a:xfrm>
                <a:off x="971354" y="4619731"/>
                <a:ext cx="68967" cy="162922"/>
                <a:chOff x="4475654" y="2372796"/>
                <a:chExt cx="176985" cy="418095"/>
              </a:xfrm>
              <a:grpFill/>
            </p:grpSpPr>
            <p:sp>
              <p:nvSpPr>
                <p:cNvPr id="6575" name="Freeform: Shape 6574">
                  <a:extLst>
                    <a:ext uri="{FF2B5EF4-FFF2-40B4-BE49-F238E27FC236}">
                      <a16:creationId xmlns:a16="http://schemas.microsoft.com/office/drawing/2014/main" id="{E64C34E8-6C4C-59CC-7B1D-DF23EFCB8C5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76" name="Freeform: Shape 6575">
                  <a:extLst>
                    <a:ext uri="{FF2B5EF4-FFF2-40B4-BE49-F238E27FC236}">
                      <a16:creationId xmlns:a16="http://schemas.microsoft.com/office/drawing/2014/main" id="{FECD83CE-1E37-4B25-D5B6-D23BA6A42E0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94" name="Group 6493">
                <a:extLst>
                  <a:ext uri="{FF2B5EF4-FFF2-40B4-BE49-F238E27FC236}">
                    <a16:creationId xmlns:a16="http://schemas.microsoft.com/office/drawing/2014/main" id="{5583E38A-E703-C940-5BC8-AF895B103BA6}"/>
                  </a:ext>
                </a:extLst>
              </p:cNvPr>
              <p:cNvGrpSpPr/>
              <p:nvPr/>
            </p:nvGrpSpPr>
            <p:grpSpPr>
              <a:xfrm>
                <a:off x="1188028" y="4619731"/>
                <a:ext cx="68967" cy="162922"/>
                <a:chOff x="4475654" y="2372796"/>
                <a:chExt cx="176985" cy="418095"/>
              </a:xfrm>
              <a:grpFill/>
            </p:grpSpPr>
            <p:sp>
              <p:nvSpPr>
                <p:cNvPr id="6573" name="Freeform: Shape 6572">
                  <a:extLst>
                    <a:ext uri="{FF2B5EF4-FFF2-40B4-BE49-F238E27FC236}">
                      <a16:creationId xmlns:a16="http://schemas.microsoft.com/office/drawing/2014/main" id="{A68C61A5-7FA3-29BE-5911-6B53FF0333F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74" name="Freeform: Shape 6573">
                  <a:extLst>
                    <a:ext uri="{FF2B5EF4-FFF2-40B4-BE49-F238E27FC236}">
                      <a16:creationId xmlns:a16="http://schemas.microsoft.com/office/drawing/2014/main" id="{CFE39A7C-9561-F2C5-FC53-39CB29A2591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95" name="Group 6494">
                <a:extLst>
                  <a:ext uri="{FF2B5EF4-FFF2-40B4-BE49-F238E27FC236}">
                    <a16:creationId xmlns:a16="http://schemas.microsoft.com/office/drawing/2014/main" id="{F8581A60-383C-EBA2-F96F-452C720D1102}"/>
                  </a:ext>
                </a:extLst>
              </p:cNvPr>
              <p:cNvGrpSpPr/>
              <p:nvPr/>
            </p:nvGrpSpPr>
            <p:grpSpPr>
              <a:xfrm>
                <a:off x="1079691" y="4619731"/>
                <a:ext cx="68967" cy="162922"/>
                <a:chOff x="4475654" y="2372796"/>
                <a:chExt cx="176985" cy="418095"/>
              </a:xfrm>
              <a:grpFill/>
            </p:grpSpPr>
            <p:sp>
              <p:nvSpPr>
                <p:cNvPr id="6571" name="Freeform: Shape 6570">
                  <a:extLst>
                    <a:ext uri="{FF2B5EF4-FFF2-40B4-BE49-F238E27FC236}">
                      <a16:creationId xmlns:a16="http://schemas.microsoft.com/office/drawing/2014/main" id="{469F3A4B-FCAE-4C57-A2F4-D96009B096A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72" name="Freeform: Shape 6571">
                  <a:extLst>
                    <a:ext uri="{FF2B5EF4-FFF2-40B4-BE49-F238E27FC236}">
                      <a16:creationId xmlns:a16="http://schemas.microsoft.com/office/drawing/2014/main" id="{0BF42B0A-B62E-6938-2150-8C7A7E3B7A4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96" name="Group 6495">
                <a:extLst>
                  <a:ext uri="{FF2B5EF4-FFF2-40B4-BE49-F238E27FC236}">
                    <a16:creationId xmlns:a16="http://schemas.microsoft.com/office/drawing/2014/main" id="{112E4202-232E-A8AD-4A6B-0AF9D12578ED}"/>
                  </a:ext>
                </a:extLst>
              </p:cNvPr>
              <p:cNvGrpSpPr/>
              <p:nvPr/>
            </p:nvGrpSpPr>
            <p:grpSpPr>
              <a:xfrm>
                <a:off x="1296365" y="4619731"/>
                <a:ext cx="68967" cy="162922"/>
                <a:chOff x="4475654" y="2372796"/>
                <a:chExt cx="176985" cy="418095"/>
              </a:xfrm>
              <a:grpFill/>
            </p:grpSpPr>
            <p:sp>
              <p:nvSpPr>
                <p:cNvPr id="6569" name="Freeform: Shape 6568">
                  <a:extLst>
                    <a:ext uri="{FF2B5EF4-FFF2-40B4-BE49-F238E27FC236}">
                      <a16:creationId xmlns:a16="http://schemas.microsoft.com/office/drawing/2014/main" id="{0ECFDCDC-851A-E8BD-AADD-8ADFDEB3024B}"/>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70" name="Freeform: Shape 6569">
                  <a:extLst>
                    <a:ext uri="{FF2B5EF4-FFF2-40B4-BE49-F238E27FC236}">
                      <a16:creationId xmlns:a16="http://schemas.microsoft.com/office/drawing/2014/main" id="{0A09CAB9-6A8C-C747-B8DB-8FC9B24F14D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97" name="Group 6496">
                <a:extLst>
                  <a:ext uri="{FF2B5EF4-FFF2-40B4-BE49-F238E27FC236}">
                    <a16:creationId xmlns:a16="http://schemas.microsoft.com/office/drawing/2014/main" id="{B6ACE0A9-E10F-F974-CE8A-9147A368E9A8}"/>
                  </a:ext>
                </a:extLst>
              </p:cNvPr>
              <p:cNvGrpSpPr/>
              <p:nvPr/>
            </p:nvGrpSpPr>
            <p:grpSpPr>
              <a:xfrm>
                <a:off x="1404702" y="4619731"/>
                <a:ext cx="68967" cy="162922"/>
                <a:chOff x="4475654" y="2372796"/>
                <a:chExt cx="176985" cy="418095"/>
              </a:xfrm>
              <a:grpFill/>
            </p:grpSpPr>
            <p:sp>
              <p:nvSpPr>
                <p:cNvPr id="6567" name="Freeform: Shape 6566">
                  <a:extLst>
                    <a:ext uri="{FF2B5EF4-FFF2-40B4-BE49-F238E27FC236}">
                      <a16:creationId xmlns:a16="http://schemas.microsoft.com/office/drawing/2014/main" id="{00EB07FD-1F80-3AB6-02C6-E13F8983612B}"/>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68" name="Freeform: Shape 6567">
                  <a:extLst>
                    <a:ext uri="{FF2B5EF4-FFF2-40B4-BE49-F238E27FC236}">
                      <a16:creationId xmlns:a16="http://schemas.microsoft.com/office/drawing/2014/main" id="{1ADE8C9A-5979-F6D4-47F9-4138293ED3F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98" name="Group 6497">
                <a:extLst>
                  <a:ext uri="{FF2B5EF4-FFF2-40B4-BE49-F238E27FC236}">
                    <a16:creationId xmlns:a16="http://schemas.microsoft.com/office/drawing/2014/main" id="{EC1F9F20-5B51-1BA0-C696-302F2F3E10D4}"/>
                  </a:ext>
                </a:extLst>
              </p:cNvPr>
              <p:cNvGrpSpPr/>
              <p:nvPr/>
            </p:nvGrpSpPr>
            <p:grpSpPr>
              <a:xfrm>
                <a:off x="1513039" y="4619731"/>
                <a:ext cx="68967" cy="162922"/>
                <a:chOff x="4475654" y="2372796"/>
                <a:chExt cx="176985" cy="418095"/>
              </a:xfrm>
              <a:grpFill/>
            </p:grpSpPr>
            <p:sp>
              <p:nvSpPr>
                <p:cNvPr id="6565" name="Freeform: Shape 6564">
                  <a:extLst>
                    <a:ext uri="{FF2B5EF4-FFF2-40B4-BE49-F238E27FC236}">
                      <a16:creationId xmlns:a16="http://schemas.microsoft.com/office/drawing/2014/main" id="{1DD0AC80-213E-76BF-CE12-6FD833D8912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66" name="Freeform: Shape 6565">
                  <a:extLst>
                    <a:ext uri="{FF2B5EF4-FFF2-40B4-BE49-F238E27FC236}">
                      <a16:creationId xmlns:a16="http://schemas.microsoft.com/office/drawing/2014/main" id="{79DD9275-8322-1DD7-CDBF-6403B3A3C6B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99" name="Group 6498">
                <a:extLst>
                  <a:ext uri="{FF2B5EF4-FFF2-40B4-BE49-F238E27FC236}">
                    <a16:creationId xmlns:a16="http://schemas.microsoft.com/office/drawing/2014/main" id="{71FF0E06-3390-C7DB-2450-1430985AA3CD}"/>
                  </a:ext>
                </a:extLst>
              </p:cNvPr>
              <p:cNvGrpSpPr/>
              <p:nvPr/>
            </p:nvGrpSpPr>
            <p:grpSpPr>
              <a:xfrm>
                <a:off x="1621376" y="4619731"/>
                <a:ext cx="68967" cy="162922"/>
                <a:chOff x="4475654" y="2372796"/>
                <a:chExt cx="176985" cy="418095"/>
              </a:xfrm>
              <a:grpFill/>
            </p:grpSpPr>
            <p:sp>
              <p:nvSpPr>
                <p:cNvPr id="6563" name="Freeform: Shape 6562">
                  <a:extLst>
                    <a:ext uri="{FF2B5EF4-FFF2-40B4-BE49-F238E27FC236}">
                      <a16:creationId xmlns:a16="http://schemas.microsoft.com/office/drawing/2014/main" id="{97C4A335-43CA-4EDD-4E94-F2F916DE689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64" name="Freeform: Shape 6563">
                  <a:extLst>
                    <a:ext uri="{FF2B5EF4-FFF2-40B4-BE49-F238E27FC236}">
                      <a16:creationId xmlns:a16="http://schemas.microsoft.com/office/drawing/2014/main" id="{08EAE4A8-44EE-58D5-7DAC-7BD30FCA419F}"/>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00" name="Group 6499">
                <a:extLst>
                  <a:ext uri="{FF2B5EF4-FFF2-40B4-BE49-F238E27FC236}">
                    <a16:creationId xmlns:a16="http://schemas.microsoft.com/office/drawing/2014/main" id="{CCD8588A-5305-614E-CE9C-B8FEFCB45119}"/>
                  </a:ext>
                </a:extLst>
              </p:cNvPr>
              <p:cNvGrpSpPr/>
              <p:nvPr/>
            </p:nvGrpSpPr>
            <p:grpSpPr>
              <a:xfrm>
                <a:off x="1729713" y="4619731"/>
                <a:ext cx="68967" cy="162922"/>
                <a:chOff x="4475654" y="2372796"/>
                <a:chExt cx="176985" cy="418095"/>
              </a:xfrm>
              <a:grpFill/>
            </p:grpSpPr>
            <p:sp>
              <p:nvSpPr>
                <p:cNvPr id="6561" name="Freeform: Shape 6560">
                  <a:extLst>
                    <a:ext uri="{FF2B5EF4-FFF2-40B4-BE49-F238E27FC236}">
                      <a16:creationId xmlns:a16="http://schemas.microsoft.com/office/drawing/2014/main" id="{D04C7C73-A4B0-451F-B09A-4325B7B67E3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62" name="Freeform: Shape 6561">
                  <a:extLst>
                    <a:ext uri="{FF2B5EF4-FFF2-40B4-BE49-F238E27FC236}">
                      <a16:creationId xmlns:a16="http://schemas.microsoft.com/office/drawing/2014/main" id="{9807DA5F-3CE4-1FF8-9EF2-9B580792A9E1}"/>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01" name="Group 6500">
                <a:extLst>
                  <a:ext uri="{FF2B5EF4-FFF2-40B4-BE49-F238E27FC236}">
                    <a16:creationId xmlns:a16="http://schemas.microsoft.com/office/drawing/2014/main" id="{528DDC2E-98DB-00B6-94DC-6B68337D651A}"/>
                  </a:ext>
                </a:extLst>
              </p:cNvPr>
              <p:cNvGrpSpPr/>
              <p:nvPr/>
            </p:nvGrpSpPr>
            <p:grpSpPr>
              <a:xfrm>
                <a:off x="1838050" y="4619731"/>
                <a:ext cx="68967" cy="162922"/>
                <a:chOff x="4475654" y="2372796"/>
                <a:chExt cx="176985" cy="418095"/>
              </a:xfrm>
              <a:grpFill/>
            </p:grpSpPr>
            <p:sp>
              <p:nvSpPr>
                <p:cNvPr id="6559" name="Freeform: Shape 6558">
                  <a:extLst>
                    <a:ext uri="{FF2B5EF4-FFF2-40B4-BE49-F238E27FC236}">
                      <a16:creationId xmlns:a16="http://schemas.microsoft.com/office/drawing/2014/main" id="{4ABBB321-E63F-35CF-AB74-A49EDA62340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60" name="Freeform: Shape 6559">
                  <a:extLst>
                    <a:ext uri="{FF2B5EF4-FFF2-40B4-BE49-F238E27FC236}">
                      <a16:creationId xmlns:a16="http://schemas.microsoft.com/office/drawing/2014/main" id="{2E5A1C7D-2F5A-F5CB-AC37-6DCC5CB169D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02" name="Group 6501">
                <a:extLst>
                  <a:ext uri="{FF2B5EF4-FFF2-40B4-BE49-F238E27FC236}">
                    <a16:creationId xmlns:a16="http://schemas.microsoft.com/office/drawing/2014/main" id="{E7D573DF-7632-A0B6-02FE-787DEA1B1D0B}"/>
                  </a:ext>
                </a:extLst>
              </p:cNvPr>
              <p:cNvGrpSpPr/>
              <p:nvPr/>
            </p:nvGrpSpPr>
            <p:grpSpPr>
              <a:xfrm>
                <a:off x="1946387" y="4619731"/>
                <a:ext cx="68967" cy="162922"/>
                <a:chOff x="4475654" y="2372796"/>
                <a:chExt cx="176985" cy="418095"/>
              </a:xfrm>
              <a:grpFill/>
            </p:grpSpPr>
            <p:sp>
              <p:nvSpPr>
                <p:cNvPr id="6557" name="Freeform: Shape 6556">
                  <a:extLst>
                    <a:ext uri="{FF2B5EF4-FFF2-40B4-BE49-F238E27FC236}">
                      <a16:creationId xmlns:a16="http://schemas.microsoft.com/office/drawing/2014/main" id="{CD185306-D376-50EB-FAA5-BFF0670C01D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58" name="Freeform: Shape 6557">
                  <a:extLst>
                    <a:ext uri="{FF2B5EF4-FFF2-40B4-BE49-F238E27FC236}">
                      <a16:creationId xmlns:a16="http://schemas.microsoft.com/office/drawing/2014/main" id="{7ADE2028-47F0-9390-6614-174F21D25C5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03" name="Group 6502">
                <a:extLst>
                  <a:ext uri="{FF2B5EF4-FFF2-40B4-BE49-F238E27FC236}">
                    <a16:creationId xmlns:a16="http://schemas.microsoft.com/office/drawing/2014/main" id="{68C426E1-A657-BD5E-99BD-C8CC478F3944}"/>
                  </a:ext>
                </a:extLst>
              </p:cNvPr>
              <p:cNvGrpSpPr/>
              <p:nvPr/>
            </p:nvGrpSpPr>
            <p:grpSpPr>
              <a:xfrm>
                <a:off x="2054724" y="4619731"/>
                <a:ext cx="68967" cy="162922"/>
                <a:chOff x="4475654" y="2372796"/>
                <a:chExt cx="176985" cy="418095"/>
              </a:xfrm>
              <a:grpFill/>
            </p:grpSpPr>
            <p:sp>
              <p:nvSpPr>
                <p:cNvPr id="6555" name="Freeform: Shape 6554">
                  <a:extLst>
                    <a:ext uri="{FF2B5EF4-FFF2-40B4-BE49-F238E27FC236}">
                      <a16:creationId xmlns:a16="http://schemas.microsoft.com/office/drawing/2014/main" id="{A6A1D82B-425A-185D-BD55-7CC846744AC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56" name="Freeform: Shape 6555">
                  <a:extLst>
                    <a:ext uri="{FF2B5EF4-FFF2-40B4-BE49-F238E27FC236}">
                      <a16:creationId xmlns:a16="http://schemas.microsoft.com/office/drawing/2014/main" id="{72745045-6227-0400-547B-2EE26BF1A43B}"/>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04" name="Group 6503">
                <a:extLst>
                  <a:ext uri="{FF2B5EF4-FFF2-40B4-BE49-F238E27FC236}">
                    <a16:creationId xmlns:a16="http://schemas.microsoft.com/office/drawing/2014/main" id="{89743837-19DD-5FF5-A2B2-7D29FCB716AE}"/>
                  </a:ext>
                </a:extLst>
              </p:cNvPr>
              <p:cNvGrpSpPr/>
              <p:nvPr/>
            </p:nvGrpSpPr>
            <p:grpSpPr>
              <a:xfrm>
                <a:off x="2163061" y="4619731"/>
                <a:ext cx="68967" cy="162922"/>
                <a:chOff x="4475654" y="2372796"/>
                <a:chExt cx="176985" cy="418095"/>
              </a:xfrm>
              <a:grpFill/>
            </p:grpSpPr>
            <p:sp>
              <p:nvSpPr>
                <p:cNvPr id="6553" name="Freeform: Shape 6552">
                  <a:extLst>
                    <a:ext uri="{FF2B5EF4-FFF2-40B4-BE49-F238E27FC236}">
                      <a16:creationId xmlns:a16="http://schemas.microsoft.com/office/drawing/2014/main" id="{B0940783-CDC8-BEDE-4294-45779D79EDB2}"/>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54" name="Freeform: Shape 6553">
                  <a:extLst>
                    <a:ext uri="{FF2B5EF4-FFF2-40B4-BE49-F238E27FC236}">
                      <a16:creationId xmlns:a16="http://schemas.microsoft.com/office/drawing/2014/main" id="{40C014D6-4691-FB19-FF15-A5C406188EB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05" name="Group 6504">
                <a:extLst>
                  <a:ext uri="{FF2B5EF4-FFF2-40B4-BE49-F238E27FC236}">
                    <a16:creationId xmlns:a16="http://schemas.microsoft.com/office/drawing/2014/main" id="{565BD345-7B39-DBE1-D6E1-70907F50DCC2}"/>
                  </a:ext>
                </a:extLst>
              </p:cNvPr>
              <p:cNvGrpSpPr/>
              <p:nvPr/>
            </p:nvGrpSpPr>
            <p:grpSpPr>
              <a:xfrm>
                <a:off x="2271398" y="4619731"/>
                <a:ext cx="68967" cy="162922"/>
                <a:chOff x="4475654" y="2372796"/>
                <a:chExt cx="176985" cy="418095"/>
              </a:xfrm>
              <a:grpFill/>
            </p:grpSpPr>
            <p:sp>
              <p:nvSpPr>
                <p:cNvPr id="6551" name="Freeform: Shape 6550">
                  <a:extLst>
                    <a:ext uri="{FF2B5EF4-FFF2-40B4-BE49-F238E27FC236}">
                      <a16:creationId xmlns:a16="http://schemas.microsoft.com/office/drawing/2014/main" id="{2E3E9E74-6A2A-1ECF-F11A-B7940E80450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52" name="Freeform: Shape 6551">
                  <a:extLst>
                    <a:ext uri="{FF2B5EF4-FFF2-40B4-BE49-F238E27FC236}">
                      <a16:creationId xmlns:a16="http://schemas.microsoft.com/office/drawing/2014/main" id="{328EB05C-D0CD-ACC6-AC05-2C24CB302DF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06" name="Group 6505">
                <a:extLst>
                  <a:ext uri="{FF2B5EF4-FFF2-40B4-BE49-F238E27FC236}">
                    <a16:creationId xmlns:a16="http://schemas.microsoft.com/office/drawing/2014/main" id="{3A448F23-2017-0D07-530D-E2EDEA8F6501}"/>
                  </a:ext>
                </a:extLst>
              </p:cNvPr>
              <p:cNvGrpSpPr/>
              <p:nvPr/>
            </p:nvGrpSpPr>
            <p:grpSpPr>
              <a:xfrm>
                <a:off x="2379735" y="4619731"/>
                <a:ext cx="68967" cy="162922"/>
                <a:chOff x="4475654" y="2372796"/>
                <a:chExt cx="176985" cy="418095"/>
              </a:xfrm>
              <a:grpFill/>
            </p:grpSpPr>
            <p:sp>
              <p:nvSpPr>
                <p:cNvPr id="6549" name="Freeform: Shape 6548">
                  <a:extLst>
                    <a:ext uri="{FF2B5EF4-FFF2-40B4-BE49-F238E27FC236}">
                      <a16:creationId xmlns:a16="http://schemas.microsoft.com/office/drawing/2014/main" id="{677476EA-09F5-1C01-5407-163CE3BB1FF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50" name="Freeform: Shape 6549">
                  <a:extLst>
                    <a:ext uri="{FF2B5EF4-FFF2-40B4-BE49-F238E27FC236}">
                      <a16:creationId xmlns:a16="http://schemas.microsoft.com/office/drawing/2014/main" id="{2829D17F-1B6B-C005-2567-31DD0D4EF99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07" name="Group 6506">
                <a:extLst>
                  <a:ext uri="{FF2B5EF4-FFF2-40B4-BE49-F238E27FC236}">
                    <a16:creationId xmlns:a16="http://schemas.microsoft.com/office/drawing/2014/main" id="{402C8852-E19E-4A61-72D5-55E43F00CFBA}"/>
                  </a:ext>
                </a:extLst>
              </p:cNvPr>
              <p:cNvGrpSpPr/>
              <p:nvPr/>
            </p:nvGrpSpPr>
            <p:grpSpPr>
              <a:xfrm>
                <a:off x="2488072" y="4619731"/>
                <a:ext cx="68967" cy="162922"/>
                <a:chOff x="4475654" y="2372796"/>
                <a:chExt cx="176985" cy="418095"/>
              </a:xfrm>
              <a:grpFill/>
            </p:grpSpPr>
            <p:sp>
              <p:nvSpPr>
                <p:cNvPr id="6547" name="Freeform: Shape 6546">
                  <a:extLst>
                    <a:ext uri="{FF2B5EF4-FFF2-40B4-BE49-F238E27FC236}">
                      <a16:creationId xmlns:a16="http://schemas.microsoft.com/office/drawing/2014/main" id="{BD299638-C418-C263-946E-A9909CD8A829}"/>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48" name="Freeform: Shape 6547">
                  <a:extLst>
                    <a:ext uri="{FF2B5EF4-FFF2-40B4-BE49-F238E27FC236}">
                      <a16:creationId xmlns:a16="http://schemas.microsoft.com/office/drawing/2014/main" id="{B611CB8F-BABE-FF9B-0EC6-DD5B80FFF18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08" name="Group 6507">
                <a:extLst>
                  <a:ext uri="{FF2B5EF4-FFF2-40B4-BE49-F238E27FC236}">
                    <a16:creationId xmlns:a16="http://schemas.microsoft.com/office/drawing/2014/main" id="{1FBBE7FD-0A2E-C610-823D-2C62A7A85A7E}"/>
                  </a:ext>
                </a:extLst>
              </p:cNvPr>
              <p:cNvGrpSpPr/>
              <p:nvPr/>
            </p:nvGrpSpPr>
            <p:grpSpPr>
              <a:xfrm>
                <a:off x="2596409" y="4619731"/>
                <a:ext cx="68967" cy="162922"/>
                <a:chOff x="4475654" y="2372796"/>
                <a:chExt cx="176985" cy="418095"/>
              </a:xfrm>
              <a:grpFill/>
            </p:grpSpPr>
            <p:sp>
              <p:nvSpPr>
                <p:cNvPr id="6545" name="Freeform: Shape 6544">
                  <a:extLst>
                    <a:ext uri="{FF2B5EF4-FFF2-40B4-BE49-F238E27FC236}">
                      <a16:creationId xmlns:a16="http://schemas.microsoft.com/office/drawing/2014/main" id="{91897B6B-432F-0B46-7509-D18BEF664D6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46" name="Freeform: Shape 6545">
                  <a:extLst>
                    <a:ext uri="{FF2B5EF4-FFF2-40B4-BE49-F238E27FC236}">
                      <a16:creationId xmlns:a16="http://schemas.microsoft.com/office/drawing/2014/main" id="{5107DDCB-5D5A-6BE8-3F62-2F1ED128387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09" name="Group 6508">
                <a:extLst>
                  <a:ext uri="{FF2B5EF4-FFF2-40B4-BE49-F238E27FC236}">
                    <a16:creationId xmlns:a16="http://schemas.microsoft.com/office/drawing/2014/main" id="{5051CDB2-F4A8-17D8-1011-01774F0F451F}"/>
                  </a:ext>
                </a:extLst>
              </p:cNvPr>
              <p:cNvGrpSpPr/>
              <p:nvPr/>
            </p:nvGrpSpPr>
            <p:grpSpPr>
              <a:xfrm>
                <a:off x="2813083" y="4619731"/>
                <a:ext cx="68967" cy="162922"/>
                <a:chOff x="4475654" y="2372796"/>
                <a:chExt cx="176985" cy="418095"/>
              </a:xfrm>
              <a:grpFill/>
            </p:grpSpPr>
            <p:sp>
              <p:nvSpPr>
                <p:cNvPr id="6543" name="Freeform: Shape 6542">
                  <a:extLst>
                    <a:ext uri="{FF2B5EF4-FFF2-40B4-BE49-F238E27FC236}">
                      <a16:creationId xmlns:a16="http://schemas.microsoft.com/office/drawing/2014/main" id="{5388E3F9-4AD6-4B40-0F5D-E2F5A00ED1CE}"/>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44" name="Freeform: Shape 6543">
                  <a:extLst>
                    <a:ext uri="{FF2B5EF4-FFF2-40B4-BE49-F238E27FC236}">
                      <a16:creationId xmlns:a16="http://schemas.microsoft.com/office/drawing/2014/main" id="{6ADA1B14-3F38-298A-ACC5-82D30B5D949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10" name="Group 6509">
                <a:extLst>
                  <a:ext uri="{FF2B5EF4-FFF2-40B4-BE49-F238E27FC236}">
                    <a16:creationId xmlns:a16="http://schemas.microsoft.com/office/drawing/2014/main" id="{35E20187-1598-FF3A-D9CF-00AADD46EED9}"/>
                  </a:ext>
                </a:extLst>
              </p:cNvPr>
              <p:cNvGrpSpPr/>
              <p:nvPr/>
            </p:nvGrpSpPr>
            <p:grpSpPr>
              <a:xfrm>
                <a:off x="2704746" y="4619731"/>
                <a:ext cx="68967" cy="162922"/>
                <a:chOff x="4475654" y="2372796"/>
                <a:chExt cx="176985" cy="418095"/>
              </a:xfrm>
              <a:grpFill/>
            </p:grpSpPr>
            <p:sp>
              <p:nvSpPr>
                <p:cNvPr id="6541" name="Freeform: Shape 6540">
                  <a:extLst>
                    <a:ext uri="{FF2B5EF4-FFF2-40B4-BE49-F238E27FC236}">
                      <a16:creationId xmlns:a16="http://schemas.microsoft.com/office/drawing/2014/main" id="{DB69805C-879D-197D-F97E-6650100495B1}"/>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42" name="Freeform: Shape 6541">
                  <a:extLst>
                    <a:ext uri="{FF2B5EF4-FFF2-40B4-BE49-F238E27FC236}">
                      <a16:creationId xmlns:a16="http://schemas.microsoft.com/office/drawing/2014/main" id="{BCCA1106-E010-A574-B034-DBF2F7E8EDE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11" name="Group 6510">
                <a:extLst>
                  <a:ext uri="{FF2B5EF4-FFF2-40B4-BE49-F238E27FC236}">
                    <a16:creationId xmlns:a16="http://schemas.microsoft.com/office/drawing/2014/main" id="{DED6FA55-2359-836E-BC39-77B8B307E2C6}"/>
                  </a:ext>
                </a:extLst>
              </p:cNvPr>
              <p:cNvGrpSpPr/>
              <p:nvPr/>
            </p:nvGrpSpPr>
            <p:grpSpPr>
              <a:xfrm>
                <a:off x="2921420" y="4619731"/>
                <a:ext cx="68967" cy="162922"/>
                <a:chOff x="4475654" y="2372796"/>
                <a:chExt cx="176985" cy="418095"/>
              </a:xfrm>
              <a:grpFill/>
            </p:grpSpPr>
            <p:sp>
              <p:nvSpPr>
                <p:cNvPr id="6539" name="Freeform: Shape 6538">
                  <a:extLst>
                    <a:ext uri="{FF2B5EF4-FFF2-40B4-BE49-F238E27FC236}">
                      <a16:creationId xmlns:a16="http://schemas.microsoft.com/office/drawing/2014/main" id="{EE0B9DE1-E5FC-B4A2-F42A-E767EB4342EA}"/>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40" name="Freeform: Shape 6539">
                  <a:extLst>
                    <a:ext uri="{FF2B5EF4-FFF2-40B4-BE49-F238E27FC236}">
                      <a16:creationId xmlns:a16="http://schemas.microsoft.com/office/drawing/2014/main" id="{72897D4A-C0D8-4010-F8C0-8BF85982F06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12" name="Group 6511">
                <a:extLst>
                  <a:ext uri="{FF2B5EF4-FFF2-40B4-BE49-F238E27FC236}">
                    <a16:creationId xmlns:a16="http://schemas.microsoft.com/office/drawing/2014/main" id="{1C7E2865-2135-2F3A-9BAB-3C77ADBAE819}"/>
                  </a:ext>
                </a:extLst>
              </p:cNvPr>
              <p:cNvGrpSpPr/>
              <p:nvPr/>
            </p:nvGrpSpPr>
            <p:grpSpPr>
              <a:xfrm>
                <a:off x="3029757" y="4619731"/>
                <a:ext cx="68967" cy="162922"/>
                <a:chOff x="4475654" y="2372796"/>
                <a:chExt cx="176985" cy="418095"/>
              </a:xfrm>
              <a:grpFill/>
            </p:grpSpPr>
            <p:sp>
              <p:nvSpPr>
                <p:cNvPr id="6537" name="Freeform: Shape 6536">
                  <a:extLst>
                    <a:ext uri="{FF2B5EF4-FFF2-40B4-BE49-F238E27FC236}">
                      <a16:creationId xmlns:a16="http://schemas.microsoft.com/office/drawing/2014/main" id="{ED3C9861-5E07-5575-F9B2-C43852EA3A3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38" name="Freeform: Shape 6537">
                  <a:extLst>
                    <a:ext uri="{FF2B5EF4-FFF2-40B4-BE49-F238E27FC236}">
                      <a16:creationId xmlns:a16="http://schemas.microsoft.com/office/drawing/2014/main" id="{242EDBD4-4F68-E8A5-0198-18EA392A0E0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13" name="Group 6512">
                <a:extLst>
                  <a:ext uri="{FF2B5EF4-FFF2-40B4-BE49-F238E27FC236}">
                    <a16:creationId xmlns:a16="http://schemas.microsoft.com/office/drawing/2014/main" id="{3C189915-3583-3079-D289-FF605346F7D1}"/>
                  </a:ext>
                </a:extLst>
              </p:cNvPr>
              <p:cNvGrpSpPr/>
              <p:nvPr/>
            </p:nvGrpSpPr>
            <p:grpSpPr>
              <a:xfrm>
                <a:off x="3138094" y="4619731"/>
                <a:ext cx="68967" cy="162922"/>
                <a:chOff x="4475654" y="2372796"/>
                <a:chExt cx="176985" cy="418095"/>
              </a:xfrm>
              <a:grpFill/>
            </p:grpSpPr>
            <p:sp>
              <p:nvSpPr>
                <p:cNvPr id="6535" name="Freeform: Shape 6534">
                  <a:extLst>
                    <a:ext uri="{FF2B5EF4-FFF2-40B4-BE49-F238E27FC236}">
                      <a16:creationId xmlns:a16="http://schemas.microsoft.com/office/drawing/2014/main" id="{4FB18EE9-ED96-B2B3-EC1E-67DFA168851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36" name="Freeform: Shape 6535">
                  <a:extLst>
                    <a:ext uri="{FF2B5EF4-FFF2-40B4-BE49-F238E27FC236}">
                      <a16:creationId xmlns:a16="http://schemas.microsoft.com/office/drawing/2014/main" id="{69EC5E28-1016-D4B0-6755-3A210EDBB9A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14" name="Group 6513">
                <a:extLst>
                  <a:ext uri="{FF2B5EF4-FFF2-40B4-BE49-F238E27FC236}">
                    <a16:creationId xmlns:a16="http://schemas.microsoft.com/office/drawing/2014/main" id="{60524931-5FB0-8899-47CB-5F0121E40BDF}"/>
                  </a:ext>
                </a:extLst>
              </p:cNvPr>
              <p:cNvGrpSpPr/>
              <p:nvPr/>
            </p:nvGrpSpPr>
            <p:grpSpPr>
              <a:xfrm>
                <a:off x="3246431" y="4619731"/>
                <a:ext cx="68967" cy="162922"/>
                <a:chOff x="4475654" y="2372796"/>
                <a:chExt cx="176985" cy="418095"/>
              </a:xfrm>
              <a:grpFill/>
            </p:grpSpPr>
            <p:sp>
              <p:nvSpPr>
                <p:cNvPr id="6533" name="Freeform: Shape 6532">
                  <a:extLst>
                    <a:ext uri="{FF2B5EF4-FFF2-40B4-BE49-F238E27FC236}">
                      <a16:creationId xmlns:a16="http://schemas.microsoft.com/office/drawing/2014/main" id="{B10A9A46-559A-210E-2FD3-76811255A9D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34" name="Freeform: Shape 6533">
                  <a:extLst>
                    <a:ext uri="{FF2B5EF4-FFF2-40B4-BE49-F238E27FC236}">
                      <a16:creationId xmlns:a16="http://schemas.microsoft.com/office/drawing/2014/main" id="{B7086EC3-FC01-B4EB-35BB-5B520424334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15" name="Group 6514">
                <a:extLst>
                  <a:ext uri="{FF2B5EF4-FFF2-40B4-BE49-F238E27FC236}">
                    <a16:creationId xmlns:a16="http://schemas.microsoft.com/office/drawing/2014/main" id="{A2409E5C-A3B8-9FB8-EA25-26AD89805CCD}"/>
                  </a:ext>
                </a:extLst>
              </p:cNvPr>
              <p:cNvGrpSpPr/>
              <p:nvPr/>
            </p:nvGrpSpPr>
            <p:grpSpPr>
              <a:xfrm>
                <a:off x="3354768" y="4619731"/>
                <a:ext cx="68967" cy="162922"/>
                <a:chOff x="4475654" y="2372796"/>
                <a:chExt cx="176985" cy="418095"/>
              </a:xfrm>
              <a:grpFill/>
            </p:grpSpPr>
            <p:sp>
              <p:nvSpPr>
                <p:cNvPr id="6531" name="Freeform: Shape 6530">
                  <a:extLst>
                    <a:ext uri="{FF2B5EF4-FFF2-40B4-BE49-F238E27FC236}">
                      <a16:creationId xmlns:a16="http://schemas.microsoft.com/office/drawing/2014/main" id="{128AE039-E6B1-A66E-EDF4-6764F0CF2D5E}"/>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32" name="Freeform: Shape 6531">
                  <a:extLst>
                    <a:ext uri="{FF2B5EF4-FFF2-40B4-BE49-F238E27FC236}">
                      <a16:creationId xmlns:a16="http://schemas.microsoft.com/office/drawing/2014/main" id="{BDC61690-9061-8F94-552F-884F4B36574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16" name="Group 6515">
                <a:extLst>
                  <a:ext uri="{FF2B5EF4-FFF2-40B4-BE49-F238E27FC236}">
                    <a16:creationId xmlns:a16="http://schemas.microsoft.com/office/drawing/2014/main" id="{FC5DC529-EAC7-A5E6-A3AE-9132FD63A071}"/>
                  </a:ext>
                </a:extLst>
              </p:cNvPr>
              <p:cNvGrpSpPr/>
              <p:nvPr/>
            </p:nvGrpSpPr>
            <p:grpSpPr>
              <a:xfrm>
                <a:off x="3463105" y="4619731"/>
                <a:ext cx="68967" cy="162922"/>
                <a:chOff x="4475654" y="2372796"/>
                <a:chExt cx="176985" cy="418095"/>
              </a:xfrm>
              <a:grpFill/>
            </p:grpSpPr>
            <p:sp>
              <p:nvSpPr>
                <p:cNvPr id="6529" name="Freeform: Shape 6528">
                  <a:extLst>
                    <a:ext uri="{FF2B5EF4-FFF2-40B4-BE49-F238E27FC236}">
                      <a16:creationId xmlns:a16="http://schemas.microsoft.com/office/drawing/2014/main" id="{9BD57FC8-A9B5-20A0-22B1-8864392730D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30" name="Freeform: Shape 6529">
                  <a:extLst>
                    <a:ext uri="{FF2B5EF4-FFF2-40B4-BE49-F238E27FC236}">
                      <a16:creationId xmlns:a16="http://schemas.microsoft.com/office/drawing/2014/main" id="{C3C45CF6-A807-50D3-516D-B3AE5B8492DB}"/>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17" name="Group 6516">
                <a:extLst>
                  <a:ext uri="{FF2B5EF4-FFF2-40B4-BE49-F238E27FC236}">
                    <a16:creationId xmlns:a16="http://schemas.microsoft.com/office/drawing/2014/main" id="{090B5276-42F1-99CB-C167-DC31C4A30875}"/>
                  </a:ext>
                </a:extLst>
              </p:cNvPr>
              <p:cNvGrpSpPr/>
              <p:nvPr/>
            </p:nvGrpSpPr>
            <p:grpSpPr>
              <a:xfrm>
                <a:off x="3571442" y="4619731"/>
                <a:ext cx="68967" cy="162922"/>
                <a:chOff x="4475654" y="2372796"/>
                <a:chExt cx="176985" cy="418095"/>
              </a:xfrm>
              <a:grpFill/>
            </p:grpSpPr>
            <p:sp>
              <p:nvSpPr>
                <p:cNvPr id="6527" name="Freeform: Shape 6526">
                  <a:extLst>
                    <a:ext uri="{FF2B5EF4-FFF2-40B4-BE49-F238E27FC236}">
                      <a16:creationId xmlns:a16="http://schemas.microsoft.com/office/drawing/2014/main" id="{29EF2B49-EC95-C108-5283-D2265938E6F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28" name="Freeform: Shape 6527">
                  <a:extLst>
                    <a:ext uri="{FF2B5EF4-FFF2-40B4-BE49-F238E27FC236}">
                      <a16:creationId xmlns:a16="http://schemas.microsoft.com/office/drawing/2014/main" id="{DAC2A107-811E-24D5-3E9D-7ADEB1EFC57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18" name="Group 6517">
                <a:extLst>
                  <a:ext uri="{FF2B5EF4-FFF2-40B4-BE49-F238E27FC236}">
                    <a16:creationId xmlns:a16="http://schemas.microsoft.com/office/drawing/2014/main" id="{0AA95C99-0C30-FA35-3492-D9B3B408A44F}"/>
                  </a:ext>
                </a:extLst>
              </p:cNvPr>
              <p:cNvGrpSpPr/>
              <p:nvPr/>
            </p:nvGrpSpPr>
            <p:grpSpPr>
              <a:xfrm>
                <a:off x="3679779" y="4619731"/>
                <a:ext cx="68967" cy="162922"/>
                <a:chOff x="4475654" y="2372796"/>
                <a:chExt cx="176985" cy="418095"/>
              </a:xfrm>
              <a:grpFill/>
            </p:grpSpPr>
            <p:sp>
              <p:nvSpPr>
                <p:cNvPr id="6525" name="Freeform: Shape 6524">
                  <a:extLst>
                    <a:ext uri="{FF2B5EF4-FFF2-40B4-BE49-F238E27FC236}">
                      <a16:creationId xmlns:a16="http://schemas.microsoft.com/office/drawing/2014/main" id="{72788307-3724-E42D-8B6E-06F124F511A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26" name="Freeform: Shape 6525">
                  <a:extLst>
                    <a:ext uri="{FF2B5EF4-FFF2-40B4-BE49-F238E27FC236}">
                      <a16:creationId xmlns:a16="http://schemas.microsoft.com/office/drawing/2014/main" id="{6100F0E5-7D28-6E67-527F-2DA49245B43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19" name="Group 6518">
                <a:extLst>
                  <a:ext uri="{FF2B5EF4-FFF2-40B4-BE49-F238E27FC236}">
                    <a16:creationId xmlns:a16="http://schemas.microsoft.com/office/drawing/2014/main" id="{3585EFE1-C986-06DE-A65F-17F1A7A61E4E}"/>
                  </a:ext>
                </a:extLst>
              </p:cNvPr>
              <p:cNvGrpSpPr/>
              <p:nvPr/>
            </p:nvGrpSpPr>
            <p:grpSpPr>
              <a:xfrm>
                <a:off x="3788116" y="4619731"/>
                <a:ext cx="68967" cy="162922"/>
                <a:chOff x="4475654" y="2372796"/>
                <a:chExt cx="176985" cy="418095"/>
              </a:xfrm>
              <a:grpFill/>
            </p:grpSpPr>
            <p:sp>
              <p:nvSpPr>
                <p:cNvPr id="6523" name="Freeform: Shape 6522">
                  <a:extLst>
                    <a:ext uri="{FF2B5EF4-FFF2-40B4-BE49-F238E27FC236}">
                      <a16:creationId xmlns:a16="http://schemas.microsoft.com/office/drawing/2014/main" id="{DFE08FA1-E776-5250-0D18-9C3011322E7A}"/>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24" name="Freeform: Shape 6523">
                  <a:extLst>
                    <a:ext uri="{FF2B5EF4-FFF2-40B4-BE49-F238E27FC236}">
                      <a16:creationId xmlns:a16="http://schemas.microsoft.com/office/drawing/2014/main" id="{55CCEC41-9CAA-6199-9F43-38DEFDF0DEE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520" name="Group 6519">
                <a:extLst>
                  <a:ext uri="{FF2B5EF4-FFF2-40B4-BE49-F238E27FC236}">
                    <a16:creationId xmlns:a16="http://schemas.microsoft.com/office/drawing/2014/main" id="{464A5A68-7EE2-D155-D77C-45A6E9729098}"/>
                  </a:ext>
                </a:extLst>
              </p:cNvPr>
              <p:cNvGrpSpPr/>
              <p:nvPr/>
            </p:nvGrpSpPr>
            <p:grpSpPr>
              <a:xfrm>
                <a:off x="3896451" y="4619731"/>
                <a:ext cx="68967" cy="162922"/>
                <a:chOff x="4475654" y="2372796"/>
                <a:chExt cx="176985" cy="418095"/>
              </a:xfrm>
              <a:grpFill/>
            </p:grpSpPr>
            <p:sp>
              <p:nvSpPr>
                <p:cNvPr id="6521" name="Freeform: Shape 6520">
                  <a:extLst>
                    <a:ext uri="{FF2B5EF4-FFF2-40B4-BE49-F238E27FC236}">
                      <a16:creationId xmlns:a16="http://schemas.microsoft.com/office/drawing/2014/main" id="{6755044F-C399-BF15-C7B7-698E5487CAF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22" name="Freeform: Shape 6521">
                  <a:extLst>
                    <a:ext uri="{FF2B5EF4-FFF2-40B4-BE49-F238E27FC236}">
                      <a16:creationId xmlns:a16="http://schemas.microsoft.com/office/drawing/2014/main" id="{4D96D8E3-9A6F-20F1-9247-266A14209E6F}"/>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grpSp>
          <p:nvGrpSpPr>
            <p:cNvPr id="6309" name="Group 6308">
              <a:extLst>
                <a:ext uri="{FF2B5EF4-FFF2-40B4-BE49-F238E27FC236}">
                  <a16:creationId xmlns:a16="http://schemas.microsoft.com/office/drawing/2014/main" id="{BF3587F0-ED37-EDDD-98A1-FAE525AA1E38}"/>
                </a:ext>
              </a:extLst>
            </p:cNvPr>
            <p:cNvGrpSpPr/>
            <p:nvPr/>
          </p:nvGrpSpPr>
          <p:grpSpPr>
            <a:xfrm>
              <a:off x="754680" y="4388868"/>
              <a:ext cx="3210738" cy="162922"/>
              <a:chOff x="754680" y="4619731"/>
              <a:chExt cx="3210738" cy="162922"/>
            </a:xfrm>
            <a:grpFill/>
          </p:grpSpPr>
          <p:grpSp>
            <p:nvGrpSpPr>
              <p:cNvPr id="6401" name="Group 6400">
                <a:extLst>
                  <a:ext uri="{FF2B5EF4-FFF2-40B4-BE49-F238E27FC236}">
                    <a16:creationId xmlns:a16="http://schemas.microsoft.com/office/drawing/2014/main" id="{2B3A0A56-3EB9-6280-0CA4-E5647C443074}"/>
                  </a:ext>
                </a:extLst>
              </p:cNvPr>
              <p:cNvGrpSpPr/>
              <p:nvPr/>
            </p:nvGrpSpPr>
            <p:grpSpPr>
              <a:xfrm>
                <a:off x="754680" y="4619731"/>
                <a:ext cx="68967" cy="162922"/>
                <a:chOff x="4475654" y="2372796"/>
                <a:chExt cx="176985" cy="418095"/>
              </a:xfrm>
              <a:grpFill/>
            </p:grpSpPr>
            <p:sp>
              <p:nvSpPr>
                <p:cNvPr id="6489" name="Freeform: Shape 6488">
                  <a:extLst>
                    <a:ext uri="{FF2B5EF4-FFF2-40B4-BE49-F238E27FC236}">
                      <a16:creationId xmlns:a16="http://schemas.microsoft.com/office/drawing/2014/main" id="{0AB6036D-9E4E-02A3-F00D-5A4B893EF31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90" name="Freeform: Shape 6489">
                  <a:extLst>
                    <a:ext uri="{FF2B5EF4-FFF2-40B4-BE49-F238E27FC236}">
                      <a16:creationId xmlns:a16="http://schemas.microsoft.com/office/drawing/2014/main" id="{3A788B8E-5449-2833-19F4-A65EC2092A2F}"/>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02" name="Group 6401">
                <a:extLst>
                  <a:ext uri="{FF2B5EF4-FFF2-40B4-BE49-F238E27FC236}">
                    <a16:creationId xmlns:a16="http://schemas.microsoft.com/office/drawing/2014/main" id="{3DC4C0CA-0EF5-9188-C8E7-331F88072B0C}"/>
                  </a:ext>
                </a:extLst>
              </p:cNvPr>
              <p:cNvGrpSpPr/>
              <p:nvPr/>
            </p:nvGrpSpPr>
            <p:grpSpPr>
              <a:xfrm>
                <a:off x="863017" y="4619731"/>
                <a:ext cx="68967" cy="162922"/>
                <a:chOff x="4475654" y="2372796"/>
                <a:chExt cx="176985" cy="418095"/>
              </a:xfrm>
              <a:grpFill/>
            </p:grpSpPr>
            <p:sp>
              <p:nvSpPr>
                <p:cNvPr id="6487" name="Freeform: Shape 6486">
                  <a:extLst>
                    <a:ext uri="{FF2B5EF4-FFF2-40B4-BE49-F238E27FC236}">
                      <a16:creationId xmlns:a16="http://schemas.microsoft.com/office/drawing/2014/main" id="{C3D747A4-F3C9-4647-0C31-31329D62351E}"/>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88" name="Freeform: Shape 6487">
                  <a:extLst>
                    <a:ext uri="{FF2B5EF4-FFF2-40B4-BE49-F238E27FC236}">
                      <a16:creationId xmlns:a16="http://schemas.microsoft.com/office/drawing/2014/main" id="{99FC3083-674C-7988-1797-0E12C2E4CFA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03" name="Group 6402">
                <a:extLst>
                  <a:ext uri="{FF2B5EF4-FFF2-40B4-BE49-F238E27FC236}">
                    <a16:creationId xmlns:a16="http://schemas.microsoft.com/office/drawing/2014/main" id="{5B1344A7-62E4-4D32-AC68-1655186582B0}"/>
                  </a:ext>
                </a:extLst>
              </p:cNvPr>
              <p:cNvGrpSpPr/>
              <p:nvPr/>
            </p:nvGrpSpPr>
            <p:grpSpPr>
              <a:xfrm>
                <a:off x="971354" y="4619731"/>
                <a:ext cx="68967" cy="162922"/>
                <a:chOff x="4475654" y="2372796"/>
                <a:chExt cx="176985" cy="418095"/>
              </a:xfrm>
              <a:grpFill/>
            </p:grpSpPr>
            <p:sp>
              <p:nvSpPr>
                <p:cNvPr id="6485" name="Freeform: Shape 6484">
                  <a:extLst>
                    <a:ext uri="{FF2B5EF4-FFF2-40B4-BE49-F238E27FC236}">
                      <a16:creationId xmlns:a16="http://schemas.microsoft.com/office/drawing/2014/main" id="{07BE9E46-8903-6E2B-68B9-30E79FF44D8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86" name="Freeform: Shape 6485">
                  <a:extLst>
                    <a:ext uri="{FF2B5EF4-FFF2-40B4-BE49-F238E27FC236}">
                      <a16:creationId xmlns:a16="http://schemas.microsoft.com/office/drawing/2014/main" id="{2E368784-043E-6E2E-C72C-2B747545BD4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04" name="Group 6403">
                <a:extLst>
                  <a:ext uri="{FF2B5EF4-FFF2-40B4-BE49-F238E27FC236}">
                    <a16:creationId xmlns:a16="http://schemas.microsoft.com/office/drawing/2014/main" id="{6BEB0932-B9F8-276E-B402-A495E22725C5}"/>
                  </a:ext>
                </a:extLst>
              </p:cNvPr>
              <p:cNvGrpSpPr/>
              <p:nvPr/>
            </p:nvGrpSpPr>
            <p:grpSpPr>
              <a:xfrm>
                <a:off x="1188028" y="4619731"/>
                <a:ext cx="68967" cy="162922"/>
                <a:chOff x="4475654" y="2372796"/>
                <a:chExt cx="176985" cy="418095"/>
              </a:xfrm>
              <a:grpFill/>
            </p:grpSpPr>
            <p:sp>
              <p:nvSpPr>
                <p:cNvPr id="6483" name="Freeform: Shape 6482">
                  <a:extLst>
                    <a:ext uri="{FF2B5EF4-FFF2-40B4-BE49-F238E27FC236}">
                      <a16:creationId xmlns:a16="http://schemas.microsoft.com/office/drawing/2014/main" id="{8883BCE2-D6C1-D340-E4F6-6A6A125B223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84" name="Freeform: Shape 6483">
                  <a:extLst>
                    <a:ext uri="{FF2B5EF4-FFF2-40B4-BE49-F238E27FC236}">
                      <a16:creationId xmlns:a16="http://schemas.microsoft.com/office/drawing/2014/main" id="{2CE2498B-E36F-F180-2A53-F564F3A0FFFF}"/>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05" name="Group 6404">
                <a:extLst>
                  <a:ext uri="{FF2B5EF4-FFF2-40B4-BE49-F238E27FC236}">
                    <a16:creationId xmlns:a16="http://schemas.microsoft.com/office/drawing/2014/main" id="{35A71862-629E-B323-0A02-C50130746DE6}"/>
                  </a:ext>
                </a:extLst>
              </p:cNvPr>
              <p:cNvGrpSpPr/>
              <p:nvPr/>
            </p:nvGrpSpPr>
            <p:grpSpPr>
              <a:xfrm>
                <a:off x="1079691" y="4619731"/>
                <a:ext cx="68967" cy="162922"/>
                <a:chOff x="4475654" y="2372796"/>
                <a:chExt cx="176985" cy="418095"/>
              </a:xfrm>
              <a:grpFill/>
            </p:grpSpPr>
            <p:sp>
              <p:nvSpPr>
                <p:cNvPr id="6481" name="Freeform: Shape 6480">
                  <a:extLst>
                    <a:ext uri="{FF2B5EF4-FFF2-40B4-BE49-F238E27FC236}">
                      <a16:creationId xmlns:a16="http://schemas.microsoft.com/office/drawing/2014/main" id="{2257B853-0791-35DA-C4FE-096DA488750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82" name="Freeform: Shape 6481">
                  <a:extLst>
                    <a:ext uri="{FF2B5EF4-FFF2-40B4-BE49-F238E27FC236}">
                      <a16:creationId xmlns:a16="http://schemas.microsoft.com/office/drawing/2014/main" id="{C01DC6AD-DD29-BEF3-C037-E9718B5711D0}"/>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06" name="Group 6405">
                <a:extLst>
                  <a:ext uri="{FF2B5EF4-FFF2-40B4-BE49-F238E27FC236}">
                    <a16:creationId xmlns:a16="http://schemas.microsoft.com/office/drawing/2014/main" id="{C82E331D-DD82-C257-02E4-A4C9C81CA832}"/>
                  </a:ext>
                </a:extLst>
              </p:cNvPr>
              <p:cNvGrpSpPr/>
              <p:nvPr/>
            </p:nvGrpSpPr>
            <p:grpSpPr>
              <a:xfrm>
                <a:off x="1296365" y="4619731"/>
                <a:ext cx="68967" cy="162922"/>
                <a:chOff x="4475654" y="2372796"/>
                <a:chExt cx="176985" cy="418095"/>
              </a:xfrm>
              <a:grpFill/>
            </p:grpSpPr>
            <p:sp>
              <p:nvSpPr>
                <p:cNvPr id="6479" name="Freeform: Shape 6478">
                  <a:extLst>
                    <a:ext uri="{FF2B5EF4-FFF2-40B4-BE49-F238E27FC236}">
                      <a16:creationId xmlns:a16="http://schemas.microsoft.com/office/drawing/2014/main" id="{707E5E93-33BC-FAC8-D6FE-2D02CEDC820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80" name="Freeform: Shape 6479">
                  <a:extLst>
                    <a:ext uri="{FF2B5EF4-FFF2-40B4-BE49-F238E27FC236}">
                      <a16:creationId xmlns:a16="http://schemas.microsoft.com/office/drawing/2014/main" id="{E518FE0C-6DFC-E5EE-9B2C-94C0FBD182B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07" name="Group 6406">
                <a:extLst>
                  <a:ext uri="{FF2B5EF4-FFF2-40B4-BE49-F238E27FC236}">
                    <a16:creationId xmlns:a16="http://schemas.microsoft.com/office/drawing/2014/main" id="{9F4E61DD-6229-0254-8A6A-23A497620438}"/>
                  </a:ext>
                </a:extLst>
              </p:cNvPr>
              <p:cNvGrpSpPr/>
              <p:nvPr/>
            </p:nvGrpSpPr>
            <p:grpSpPr>
              <a:xfrm>
                <a:off x="1404702" y="4619731"/>
                <a:ext cx="68967" cy="162922"/>
                <a:chOff x="4475654" y="2372796"/>
                <a:chExt cx="176985" cy="418095"/>
              </a:xfrm>
              <a:grpFill/>
            </p:grpSpPr>
            <p:sp>
              <p:nvSpPr>
                <p:cNvPr id="6477" name="Freeform: Shape 6476">
                  <a:extLst>
                    <a:ext uri="{FF2B5EF4-FFF2-40B4-BE49-F238E27FC236}">
                      <a16:creationId xmlns:a16="http://schemas.microsoft.com/office/drawing/2014/main" id="{D4A08E43-0B97-75BA-662C-5740C1C9230B}"/>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78" name="Freeform: Shape 6477">
                  <a:extLst>
                    <a:ext uri="{FF2B5EF4-FFF2-40B4-BE49-F238E27FC236}">
                      <a16:creationId xmlns:a16="http://schemas.microsoft.com/office/drawing/2014/main" id="{141E9392-EFF0-BF0B-CA16-DEA3980F1B4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08" name="Group 6407">
                <a:extLst>
                  <a:ext uri="{FF2B5EF4-FFF2-40B4-BE49-F238E27FC236}">
                    <a16:creationId xmlns:a16="http://schemas.microsoft.com/office/drawing/2014/main" id="{2B89252D-1E26-E5BF-F341-CAA111DD8E70}"/>
                  </a:ext>
                </a:extLst>
              </p:cNvPr>
              <p:cNvGrpSpPr/>
              <p:nvPr/>
            </p:nvGrpSpPr>
            <p:grpSpPr>
              <a:xfrm>
                <a:off x="1513039" y="4619731"/>
                <a:ext cx="68967" cy="162922"/>
                <a:chOff x="4475654" y="2372796"/>
                <a:chExt cx="176985" cy="418095"/>
              </a:xfrm>
              <a:grpFill/>
            </p:grpSpPr>
            <p:sp>
              <p:nvSpPr>
                <p:cNvPr id="6475" name="Freeform: Shape 6474">
                  <a:extLst>
                    <a:ext uri="{FF2B5EF4-FFF2-40B4-BE49-F238E27FC236}">
                      <a16:creationId xmlns:a16="http://schemas.microsoft.com/office/drawing/2014/main" id="{E21B83BD-FC9E-0433-685C-D78103B7390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76" name="Freeform: Shape 6475">
                  <a:extLst>
                    <a:ext uri="{FF2B5EF4-FFF2-40B4-BE49-F238E27FC236}">
                      <a16:creationId xmlns:a16="http://schemas.microsoft.com/office/drawing/2014/main" id="{17F7066B-5E1A-A052-1BE2-3A7994895AF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09" name="Group 6408">
                <a:extLst>
                  <a:ext uri="{FF2B5EF4-FFF2-40B4-BE49-F238E27FC236}">
                    <a16:creationId xmlns:a16="http://schemas.microsoft.com/office/drawing/2014/main" id="{1A9ED1FD-FCD8-FB9B-24F5-BB583756B76F}"/>
                  </a:ext>
                </a:extLst>
              </p:cNvPr>
              <p:cNvGrpSpPr/>
              <p:nvPr/>
            </p:nvGrpSpPr>
            <p:grpSpPr>
              <a:xfrm>
                <a:off x="1621376" y="4619731"/>
                <a:ext cx="68967" cy="162922"/>
                <a:chOff x="4475654" y="2372796"/>
                <a:chExt cx="176985" cy="418095"/>
              </a:xfrm>
              <a:grpFill/>
            </p:grpSpPr>
            <p:sp>
              <p:nvSpPr>
                <p:cNvPr id="6473" name="Freeform: Shape 6472">
                  <a:extLst>
                    <a:ext uri="{FF2B5EF4-FFF2-40B4-BE49-F238E27FC236}">
                      <a16:creationId xmlns:a16="http://schemas.microsoft.com/office/drawing/2014/main" id="{E60781E0-E32C-47CB-48E4-740C0A8972E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74" name="Freeform: Shape 6473">
                  <a:extLst>
                    <a:ext uri="{FF2B5EF4-FFF2-40B4-BE49-F238E27FC236}">
                      <a16:creationId xmlns:a16="http://schemas.microsoft.com/office/drawing/2014/main" id="{FAFF3AF7-686E-1734-CCF5-98BDB4AB55E6}"/>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10" name="Group 6409">
                <a:extLst>
                  <a:ext uri="{FF2B5EF4-FFF2-40B4-BE49-F238E27FC236}">
                    <a16:creationId xmlns:a16="http://schemas.microsoft.com/office/drawing/2014/main" id="{9C246766-B81B-6F32-EC50-A6B08E28B470}"/>
                  </a:ext>
                </a:extLst>
              </p:cNvPr>
              <p:cNvGrpSpPr/>
              <p:nvPr/>
            </p:nvGrpSpPr>
            <p:grpSpPr>
              <a:xfrm>
                <a:off x="1729713" y="4619731"/>
                <a:ext cx="68967" cy="162922"/>
                <a:chOff x="4475654" y="2372796"/>
                <a:chExt cx="176985" cy="418095"/>
              </a:xfrm>
              <a:grpFill/>
            </p:grpSpPr>
            <p:sp>
              <p:nvSpPr>
                <p:cNvPr id="6471" name="Freeform: Shape 6470">
                  <a:extLst>
                    <a:ext uri="{FF2B5EF4-FFF2-40B4-BE49-F238E27FC236}">
                      <a16:creationId xmlns:a16="http://schemas.microsoft.com/office/drawing/2014/main" id="{81CB79E3-6F62-6319-91C8-3FAA5468E0F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72" name="Freeform: Shape 6471">
                  <a:extLst>
                    <a:ext uri="{FF2B5EF4-FFF2-40B4-BE49-F238E27FC236}">
                      <a16:creationId xmlns:a16="http://schemas.microsoft.com/office/drawing/2014/main" id="{63FCB62C-6039-73A1-8C75-58A0A46750D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11" name="Group 6410">
                <a:extLst>
                  <a:ext uri="{FF2B5EF4-FFF2-40B4-BE49-F238E27FC236}">
                    <a16:creationId xmlns:a16="http://schemas.microsoft.com/office/drawing/2014/main" id="{743AE874-6EE6-9F13-3684-71C5368DF2B1}"/>
                  </a:ext>
                </a:extLst>
              </p:cNvPr>
              <p:cNvGrpSpPr/>
              <p:nvPr/>
            </p:nvGrpSpPr>
            <p:grpSpPr>
              <a:xfrm>
                <a:off x="1838050" y="4619731"/>
                <a:ext cx="68967" cy="162922"/>
                <a:chOff x="4475654" y="2372796"/>
                <a:chExt cx="176985" cy="418095"/>
              </a:xfrm>
              <a:grpFill/>
            </p:grpSpPr>
            <p:sp>
              <p:nvSpPr>
                <p:cNvPr id="6469" name="Freeform: Shape 6468">
                  <a:extLst>
                    <a:ext uri="{FF2B5EF4-FFF2-40B4-BE49-F238E27FC236}">
                      <a16:creationId xmlns:a16="http://schemas.microsoft.com/office/drawing/2014/main" id="{7967DEA6-6D28-9574-38F1-890330B832E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70" name="Freeform: Shape 6469">
                  <a:extLst>
                    <a:ext uri="{FF2B5EF4-FFF2-40B4-BE49-F238E27FC236}">
                      <a16:creationId xmlns:a16="http://schemas.microsoft.com/office/drawing/2014/main" id="{3F28706C-5A55-E1E6-4482-34E79045958F}"/>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12" name="Group 6411">
                <a:extLst>
                  <a:ext uri="{FF2B5EF4-FFF2-40B4-BE49-F238E27FC236}">
                    <a16:creationId xmlns:a16="http://schemas.microsoft.com/office/drawing/2014/main" id="{48EC7CF0-4BB1-12EB-E91C-EAB1B0C9CCC5}"/>
                  </a:ext>
                </a:extLst>
              </p:cNvPr>
              <p:cNvGrpSpPr/>
              <p:nvPr/>
            </p:nvGrpSpPr>
            <p:grpSpPr>
              <a:xfrm>
                <a:off x="1946387" y="4619731"/>
                <a:ext cx="68967" cy="162922"/>
                <a:chOff x="4475654" y="2372796"/>
                <a:chExt cx="176985" cy="418095"/>
              </a:xfrm>
              <a:grpFill/>
            </p:grpSpPr>
            <p:sp>
              <p:nvSpPr>
                <p:cNvPr id="6467" name="Freeform: Shape 6466">
                  <a:extLst>
                    <a:ext uri="{FF2B5EF4-FFF2-40B4-BE49-F238E27FC236}">
                      <a16:creationId xmlns:a16="http://schemas.microsoft.com/office/drawing/2014/main" id="{BFA83B21-244A-6BBD-E853-F200D73B0A8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68" name="Freeform: Shape 6467">
                  <a:extLst>
                    <a:ext uri="{FF2B5EF4-FFF2-40B4-BE49-F238E27FC236}">
                      <a16:creationId xmlns:a16="http://schemas.microsoft.com/office/drawing/2014/main" id="{09FE72A2-5888-5FEE-7547-DA5030E92EB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13" name="Group 6412">
                <a:extLst>
                  <a:ext uri="{FF2B5EF4-FFF2-40B4-BE49-F238E27FC236}">
                    <a16:creationId xmlns:a16="http://schemas.microsoft.com/office/drawing/2014/main" id="{8CE0019B-3050-8BBD-795D-48A0E826CBB8}"/>
                  </a:ext>
                </a:extLst>
              </p:cNvPr>
              <p:cNvGrpSpPr/>
              <p:nvPr/>
            </p:nvGrpSpPr>
            <p:grpSpPr>
              <a:xfrm>
                <a:off x="2054724" y="4619731"/>
                <a:ext cx="68967" cy="162922"/>
                <a:chOff x="4475654" y="2372796"/>
                <a:chExt cx="176985" cy="418095"/>
              </a:xfrm>
              <a:grpFill/>
            </p:grpSpPr>
            <p:sp>
              <p:nvSpPr>
                <p:cNvPr id="6465" name="Freeform: Shape 6464">
                  <a:extLst>
                    <a:ext uri="{FF2B5EF4-FFF2-40B4-BE49-F238E27FC236}">
                      <a16:creationId xmlns:a16="http://schemas.microsoft.com/office/drawing/2014/main" id="{A2154486-106A-D3CD-E05A-869F53383C72}"/>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66" name="Freeform: Shape 6465">
                  <a:extLst>
                    <a:ext uri="{FF2B5EF4-FFF2-40B4-BE49-F238E27FC236}">
                      <a16:creationId xmlns:a16="http://schemas.microsoft.com/office/drawing/2014/main" id="{30227084-6179-D69D-98FA-009CDA78C36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14" name="Group 6413">
                <a:extLst>
                  <a:ext uri="{FF2B5EF4-FFF2-40B4-BE49-F238E27FC236}">
                    <a16:creationId xmlns:a16="http://schemas.microsoft.com/office/drawing/2014/main" id="{67C24505-3154-5266-BD7F-C5D469390B1F}"/>
                  </a:ext>
                </a:extLst>
              </p:cNvPr>
              <p:cNvGrpSpPr/>
              <p:nvPr/>
            </p:nvGrpSpPr>
            <p:grpSpPr>
              <a:xfrm>
                <a:off x="2163061" y="4619731"/>
                <a:ext cx="68967" cy="162922"/>
                <a:chOff x="4475654" y="2372796"/>
                <a:chExt cx="176985" cy="418095"/>
              </a:xfrm>
              <a:grpFill/>
            </p:grpSpPr>
            <p:sp>
              <p:nvSpPr>
                <p:cNvPr id="6463" name="Freeform: Shape 6462">
                  <a:extLst>
                    <a:ext uri="{FF2B5EF4-FFF2-40B4-BE49-F238E27FC236}">
                      <a16:creationId xmlns:a16="http://schemas.microsoft.com/office/drawing/2014/main" id="{1FC65A48-4334-6256-4257-8CA61944F24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64" name="Freeform: Shape 6463">
                  <a:extLst>
                    <a:ext uri="{FF2B5EF4-FFF2-40B4-BE49-F238E27FC236}">
                      <a16:creationId xmlns:a16="http://schemas.microsoft.com/office/drawing/2014/main" id="{65D8E656-3DC1-3C78-B62F-BC8F52FE5DF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15" name="Group 6414">
                <a:extLst>
                  <a:ext uri="{FF2B5EF4-FFF2-40B4-BE49-F238E27FC236}">
                    <a16:creationId xmlns:a16="http://schemas.microsoft.com/office/drawing/2014/main" id="{69C17A3C-80F8-18AA-8474-936D1FAA3442}"/>
                  </a:ext>
                </a:extLst>
              </p:cNvPr>
              <p:cNvGrpSpPr/>
              <p:nvPr/>
            </p:nvGrpSpPr>
            <p:grpSpPr>
              <a:xfrm>
                <a:off x="2271398" y="4619731"/>
                <a:ext cx="68967" cy="162922"/>
                <a:chOff x="4475654" y="2372796"/>
                <a:chExt cx="176985" cy="418095"/>
              </a:xfrm>
              <a:grpFill/>
            </p:grpSpPr>
            <p:sp>
              <p:nvSpPr>
                <p:cNvPr id="6461" name="Freeform: Shape 6460">
                  <a:extLst>
                    <a:ext uri="{FF2B5EF4-FFF2-40B4-BE49-F238E27FC236}">
                      <a16:creationId xmlns:a16="http://schemas.microsoft.com/office/drawing/2014/main" id="{58D248E6-324E-B049-DADB-5B681C4A9C9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62" name="Freeform: Shape 6461">
                  <a:extLst>
                    <a:ext uri="{FF2B5EF4-FFF2-40B4-BE49-F238E27FC236}">
                      <a16:creationId xmlns:a16="http://schemas.microsoft.com/office/drawing/2014/main" id="{0A37585D-9C53-7777-8103-2E8C63E7DE2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16" name="Group 6415">
                <a:extLst>
                  <a:ext uri="{FF2B5EF4-FFF2-40B4-BE49-F238E27FC236}">
                    <a16:creationId xmlns:a16="http://schemas.microsoft.com/office/drawing/2014/main" id="{E4FFC264-09BE-8528-A53C-81A87A1E7F04}"/>
                  </a:ext>
                </a:extLst>
              </p:cNvPr>
              <p:cNvGrpSpPr/>
              <p:nvPr/>
            </p:nvGrpSpPr>
            <p:grpSpPr>
              <a:xfrm>
                <a:off x="2379735" y="4619731"/>
                <a:ext cx="68967" cy="162922"/>
                <a:chOff x="4475654" y="2372796"/>
                <a:chExt cx="176985" cy="418095"/>
              </a:xfrm>
              <a:grpFill/>
            </p:grpSpPr>
            <p:sp>
              <p:nvSpPr>
                <p:cNvPr id="6459" name="Freeform: Shape 6458">
                  <a:extLst>
                    <a:ext uri="{FF2B5EF4-FFF2-40B4-BE49-F238E27FC236}">
                      <a16:creationId xmlns:a16="http://schemas.microsoft.com/office/drawing/2014/main" id="{7E534991-87DD-8E0C-DC7D-22A54242A96E}"/>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60" name="Freeform: Shape 6459">
                  <a:extLst>
                    <a:ext uri="{FF2B5EF4-FFF2-40B4-BE49-F238E27FC236}">
                      <a16:creationId xmlns:a16="http://schemas.microsoft.com/office/drawing/2014/main" id="{3BAC7558-1907-B73E-9013-96B848B355D0}"/>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17" name="Group 6416">
                <a:extLst>
                  <a:ext uri="{FF2B5EF4-FFF2-40B4-BE49-F238E27FC236}">
                    <a16:creationId xmlns:a16="http://schemas.microsoft.com/office/drawing/2014/main" id="{93450328-EAEC-66D0-25C9-AADFE9564BB0}"/>
                  </a:ext>
                </a:extLst>
              </p:cNvPr>
              <p:cNvGrpSpPr/>
              <p:nvPr/>
            </p:nvGrpSpPr>
            <p:grpSpPr>
              <a:xfrm>
                <a:off x="2488072" y="4619731"/>
                <a:ext cx="68967" cy="162922"/>
                <a:chOff x="4475654" y="2372796"/>
                <a:chExt cx="176985" cy="418095"/>
              </a:xfrm>
              <a:grpFill/>
            </p:grpSpPr>
            <p:sp>
              <p:nvSpPr>
                <p:cNvPr id="6457" name="Freeform: Shape 6456">
                  <a:extLst>
                    <a:ext uri="{FF2B5EF4-FFF2-40B4-BE49-F238E27FC236}">
                      <a16:creationId xmlns:a16="http://schemas.microsoft.com/office/drawing/2014/main" id="{DF6D95EB-F4AE-ADB3-C85D-47FEC3676CA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58" name="Freeform: Shape 6457">
                  <a:extLst>
                    <a:ext uri="{FF2B5EF4-FFF2-40B4-BE49-F238E27FC236}">
                      <a16:creationId xmlns:a16="http://schemas.microsoft.com/office/drawing/2014/main" id="{0E544674-D9C4-1760-F0DE-003664BF2F6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18" name="Group 6417">
                <a:extLst>
                  <a:ext uri="{FF2B5EF4-FFF2-40B4-BE49-F238E27FC236}">
                    <a16:creationId xmlns:a16="http://schemas.microsoft.com/office/drawing/2014/main" id="{8A600E08-9892-54FB-B282-4F08BFC69A56}"/>
                  </a:ext>
                </a:extLst>
              </p:cNvPr>
              <p:cNvGrpSpPr/>
              <p:nvPr/>
            </p:nvGrpSpPr>
            <p:grpSpPr>
              <a:xfrm>
                <a:off x="2596409" y="4619731"/>
                <a:ext cx="68967" cy="162922"/>
                <a:chOff x="4475654" y="2372796"/>
                <a:chExt cx="176985" cy="418095"/>
              </a:xfrm>
              <a:grpFill/>
            </p:grpSpPr>
            <p:sp>
              <p:nvSpPr>
                <p:cNvPr id="6455" name="Freeform: Shape 6454">
                  <a:extLst>
                    <a:ext uri="{FF2B5EF4-FFF2-40B4-BE49-F238E27FC236}">
                      <a16:creationId xmlns:a16="http://schemas.microsoft.com/office/drawing/2014/main" id="{B155925F-2CB7-88B2-876C-367ACB07745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56" name="Freeform: Shape 6455">
                  <a:extLst>
                    <a:ext uri="{FF2B5EF4-FFF2-40B4-BE49-F238E27FC236}">
                      <a16:creationId xmlns:a16="http://schemas.microsoft.com/office/drawing/2014/main" id="{32F80349-4E6D-2632-004D-6B8B320E1A7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19" name="Group 6418">
                <a:extLst>
                  <a:ext uri="{FF2B5EF4-FFF2-40B4-BE49-F238E27FC236}">
                    <a16:creationId xmlns:a16="http://schemas.microsoft.com/office/drawing/2014/main" id="{7C9F132F-10BA-33CF-1CC4-744AA8639DDA}"/>
                  </a:ext>
                </a:extLst>
              </p:cNvPr>
              <p:cNvGrpSpPr/>
              <p:nvPr/>
            </p:nvGrpSpPr>
            <p:grpSpPr>
              <a:xfrm>
                <a:off x="2813083" y="4619731"/>
                <a:ext cx="68967" cy="162922"/>
                <a:chOff x="4475654" y="2372796"/>
                <a:chExt cx="176985" cy="418095"/>
              </a:xfrm>
              <a:grpFill/>
            </p:grpSpPr>
            <p:sp>
              <p:nvSpPr>
                <p:cNvPr id="6453" name="Freeform: Shape 6452">
                  <a:extLst>
                    <a:ext uri="{FF2B5EF4-FFF2-40B4-BE49-F238E27FC236}">
                      <a16:creationId xmlns:a16="http://schemas.microsoft.com/office/drawing/2014/main" id="{90C02316-8B42-3F5B-3B93-601BC8331A9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54" name="Freeform: Shape 6453">
                  <a:extLst>
                    <a:ext uri="{FF2B5EF4-FFF2-40B4-BE49-F238E27FC236}">
                      <a16:creationId xmlns:a16="http://schemas.microsoft.com/office/drawing/2014/main" id="{E737DC75-86A1-8B6D-237C-04EF900F443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20" name="Group 6419">
                <a:extLst>
                  <a:ext uri="{FF2B5EF4-FFF2-40B4-BE49-F238E27FC236}">
                    <a16:creationId xmlns:a16="http://schemas.microsoft.com/office/drawing/2014/main" id="{D3350A02-6D10-6FC0-F7CD-7F7E693AF23B}"/>
                  </a:ext>
                </a:extLst>
              </p:cNvPr>
              <p:cNvGrpSpPr/>
              <p:nvPr/>
            </p:nvGrpSpPr>
            <p:grpSpPr>
              <a:xfrm>
                <a:off x="2704746" y="4619731"/>
                <a:ext cx="68967" cy="162922"/>
                <a:chOff x="4475654" y="2372796"/>
                <a:chExt cx="176985" cy="418095"/>
              </a:xfrm>
              <a:grpFill/>
            </p:grpSpPr>
            <p:sp>
              <p:nvSpPr>
                <p:cNvPr id="6451" name="Freeform: Shape 6450">
                  <a:extLst>
                    <a:ext uri="{FF2B5EF4-FFF2-40B4-BE49-F238E27FC236}">
                      <a16:creationId xmlns:a16="http://schemas.microsoft.com/office/drawing/2014/main" id="{5E7B5DFD-82FE-0578-2A10-00071742D759}"/>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52" name="Freeform: Shape 6451">
                  <a:extLst>
                    <a:ext uri="{FF2B5EF4-FFF2-40B4-BE49-F238E27FC236}">
                      <a16:creationId xmlns:a16="http://schemas.microsoft.com/office/drawing/2014/main" id="{35E0B6E8-CABE-8C7E-B7BA-4AA134BAAC86}"/>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21" name="Group 6420">
                <a:extLst>
                  <a:ext uri="{FF2B5EF4-FFF2-40B4-BE49-F238E27FC236}">
                    <a16:creationId xmlns:a16="http://schemas.microsoft.com/office/drawing/2014/main" id="{6505C6A0-C42D-0AEB-EE00-AB5D69D5CFD4}"/>
                  </a:ext>
                </a:extLst>
              </p:cNvPr>
              <p:cNvGrpSpPr/>
              <p:nvPr/>
            </p:nvGrpSpPr>
            <p:grpSpPr>
              <a:xfrm>
                <a:off x="2921420" y="4619731"/>
                <a:ext cx="68967" cy="162922"/>
                <a:chOff x="4475654" y="2372796"/>
                <a:chExt cx="176985" cy="418095"/>
              </a:xfrm>
              <a:grpFill/>
            </p:grpSpPr>
            <p:sp>
              <p:nvSpPr>
                <p:cNvPr id="6449" name="Freeform: Shape 6448">
                  <a:extLst>
                    <a:ext uri="{FF2B5EF4-FFF2-40B4-BE49-F238E27FC236}">
                      <a16:creationId xmlns:a16="http://schemas.microsoft.com/office/drawing/2014/main" id="{7E711186-FF3B-4026-7963-C95162B6A9F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50" name="Freeform: Shape 6449">
                  <a:extLst>
                    <a:ext uri="{FF2B5EF4-FFF2-40B4-BE49-F238E27FC236}">
                      <a16:creationId xmlns:a16="http://schemas.microsoft.com/office/drawing/2014/main" id="{768D1BCB-865A-09D7-C28B-766DA9F8379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22" name="Group 6421">
                <a:extLst>
                  <a:ext uri="{FF2B5EF4-FFF2-40B4-BE49-F238E27FC236}">
                    <a16:creationId xmlns:a16="http://schemas.microsoft.com/office/drawing/2014/main" id="{B710A38E-A680-107D-0090-378DA0090037}"/>
                  </a:ext>
                </a:extLst>
              </p:cNvPr>
              <p:cNvGrpSpPr/>
              <p:nvPr/>
            </p:nvGrpSpPr>
            <p:grpSpPr>
              <a:xfrm>
                <a:off x="3029757" y="4619731"/>
                <a:ext cx="68967" cy="162922"/>
                <a:chOff x="4475654" y="2372796"/>
                <a:chExt cx="176985" cy="418095"/>
              </a:xfrm>
              <a:grpFill/>
            </p:grpSpPr>
            <p:sp>
              <p:nvSpPr>
                <p:cNvPr id="6447" name="Freeform: Shape 6446">
                  <a:extLst>
                    <a:ext uri="{FF2B5EF4-FFF2-40B4-BE49-F238E27FC236}">
                      <a16:creationId xmlns:a16="http://schemas.microsoft.com/office/drawing/2014/main" id="{CDC1D69C-F14D-A9E8-4247-0997D6428CA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48" name="Freeform: Shape 6447">
                  <a:extLst>
                    <a:ext uri="{FF2B5EF4-FFF2-40B4-BE49-F238E27FC236}">
                      <a16:creationId xmlns:a16="http://schemas.microsoft.com/office/drawing/2014/main" id="{40D926EC-AADA-261E-6D58-088ED967BEC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23" name="Group 6422">
                <a:extLst>
                  <a:ext uri="{FF2B5EF4-FFF2-40B4-BE49-F238E27FC236}">
                    <a16:creationId xmlns:a16="http://schemas.microsoft.com/office/drawing/2014/main" id="{C769360B-A659-B2E4-3A25-EA63CE5B608C}"/>
                  </a:ext>
                </a:extLst>
              </p:cNvPr>
              <p:cNvGrpSpPr/>
              <p:nvPr/>
            </p:nvGrpSpPr>
            <p:grpSpPr>
              <a:xfrm>
                <a:off x="3138094" y="4619731"/>
                <a:ext cx="68967" cy="162922"/>
                <a:chOff x="4475654" y="2372796"/>
                <a:chExt cx="176985" cy="418095"/>
              </a:xfrm>
              <a:grpFill/>
            </p:grpSpPr>
            <p:sp>
              <p:nvSpPr>
                <p:cNvPr id="6445" name="Freeform: Shape 6444">
                  <a:extLst>
                    <a:ext uri="{FF2B5EF4-FFF2-40B4-BE49-F238E27FC236}">
                      <a16:creationId xmlns:a16="http://schemas.microsoft.com/office/drawing/2014/main" id="{476FBA5A-DF53-8144-26A0-B7DB1CE9E421}"/>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46" name="Freeform: Shape 6445">
                  <a:extLst>
                    <a:ext uri="{FF2B5EF4-FFF2-40B4-BE49-F238E27FC236}">
                      <a16:creationId xmlns:a16="http://schemas.microsoft.com/office/drawing/2014/main" id="{B86ED626-2F48-7A98-7678-813C5EE9D061}"/>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24" name="Group 6423">
                <a:extLst>
                  <a:ext uri="{FF2B5EF4-FFF2-40B4-BE49-F238E27FC236}">
                    <a16:creationId xmlns:a16="http://schemas.microsoft.com/office/drawing/2014/main" id="{F793E826-69A5-41D5-4610-8755550AFC45}"/>
                  </a:ext>
                </a:extLst>
              </p:cNvPr>
              <p:cNvGrpSpPr/>
              <p:nvPr/>
            </p:nvGrpSpPr>
            <p:grpSpPr>
              <a:xfrm>
                <a:off x="3246431" y="4619731"/>
                <a:ext cx="68967" cy="162922"/>
                <a:chOff x="4475654" y="2372796"/>
                <a:chExt cx="176985" cy="418095"/>
              </a:xfrm>
              <a:grpFill/>
            </p:grpSpPr>
            <p:sp>
              <p:nvSpPr>
                <p:cNvPr id="6443" name="Freeform: Shape 6442">
                  <a:extLst>
                    <a:ext uri="{FF2B5EF4-FFF2-40B4-BE49-F238E27FC236}">
                      <a16:creationId xmlns:a16="http://schemas.microsoft.com/office/drawing/2014/main" id="{1F843826-35C8-5AEC-AA9B-458296B8C481}"/>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44" name="Freeform: Shape 6443">
                  <a:extLst>
                    <a:ext uri="{FF2B5EF4-FFF2-40B4-BE49-F238E27FC236}">
                      <a16:creationId xmlns:a16="http://schemas.microsoft.com/office/drawing/2014/main" id="{60846947-F73A-7787-C5AE-13132F723BE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25" name="Group 6424">
                <a:extLst>
                  <a:ext uri="{FF2B5EF4-FFF2-40B4-BE49-F238E27FC236}">
                    <a16:creationId xmlns:a16="http://schemas.microsoft.com/office/drawing/2014/main" id="{1239B89D-60FD-ED86-DB3B-551A98E1FFF6}"/>
                  </a:ext>
                </a:extLst>
              </p:cNvPr>
              <p:cNvGrpSpPr/>
              <p:nvPr/>
            </p:nvGrpSpPr>
            <p:grpSpPr>
              <a:xfrm>
                <a:off x="3354768" y="4619731"/>
                <a:ext cx="68967" cy="162922"/>
                <a:chOff x="4475654" y="2372796"/>
                <a:chExt cx="176985" cy="418095"/>
              </a:xfrm>
              <a:grpFill/>
            </p:grpSpPr>
            <p:sp>
              <p:nvSpPr>
                <p:cNvPr id="6441" name="Freeform: Shape 6440">
                  <a:extLst>
                    <a:ext uri="{FF2B5EF4-FFF2-40B4-BE49-F238E27FC236}">
                      <a16:creationId xmlns:a16="http://schemas.microsoft.com/office/drawing/2014/main" id="{FE1BEA3A-EEE5-672D-96F0-6C800D8E873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42" name="Freeform: Shape 6441">
                  <a:extLst>
                    <a:ext uri="{FF2B5EF4-FFF2-40B4-BE49-F238E27FC236}">
                      <a16:creationId xmlns:a16="http://schemas.microsoft.com/office/drawing/2014/main" id="{EC6AF687-CA36-96FB-C67A-9FBE9B2045BC}"/>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26" name="Group 6425">
                <a:extLst>
                  <a:ext uri="{FF2B5EF4-FFF2-40B4-BE49-F238E27FC236}">
                    <a16:creationId xmlns:a16="http://schemas.microsoft.com/office/drawing/2014/main" id="{AA231861-7F03-F4E8-3BC4-146594948641}"/>
                  </a:ext>
                </a:extLst>
              </p:cNvPr>
              <p:cNvGrpSpPr/>
              <p:nvPr/>
            </p:nvGrpSpPr>
            <p:grpSpPr>
              <a:xfrm>
                <a:off x="3463105" y="4619731"/>
                <a:ext cx="68967" cy="162922"/>
                <a:chOff x="4475654" y="2372796"/>
                <a:chExt cx="176985" cy="418095"/>
              </a:xfrm>
              <a:grpFill/>
            </p:grpSpPr>
            <p:sp>
              <p:nvSpPr>
                <p:cNvPr id="6439" name="Freeform: Shape 6438">
                  <a:extLst>
                    <a:ext uri="{FF2B5EF4-FFF2-40B4-BE49-F238E27FC236}">
                      <a16:creationId xmlns:a16="http://schemas.microsoft.com/office/drawing/2014/main" id="{8F0406DA-9BF7-290B-E11D-8B297A7EE9F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40" name="Freeform: Shape 6439">
                  <a:extLst>
                    <a:ext uri="{FF2B5EF4-FFF2-40B4-BE49-F238E27FC236}">
                      <a16:creationId xmlns:a16="http://schemas.microsoft.com/office/drawing/2014/main" id="{467E8036-87DA-C56F-C182-62A6B04A8EC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27" name="Group 6426">
                <a:extLst>
                  <a:ext uri="{FF2B5EF4-FFF2-40B4-BE49-F238E27FC236}">
                    <a16:creationId xmlns:a16="http://schemas.microsoft.com/office/drawing/2014/main" id="{3EFC62F8-1253-8AC7-A448-5F0FFAF4F33C}"/>
                  </a:ext>
                </a:extLst>
              </p:cNvPr>
              <p:cNvGrpSpPr/>
              <p:nvPr/>
            </p:nvGrpSpPr>
            <p:grpSpPr>
              <a:xfrm>
                <a:off x="3571442" y="4619731"/>
                <a:ext cx="68967" cy="162922"/>
                <a:chOff x="4475654" y="2372796"/>
                <a:chExt cx="176985" cy="418095"/>
              </a:xfrm>
              <a:grpFill/>
            </p:grpSpPr>
            <p:sp>
              <p:nvSpPr>
                <p:cNvPr id="6437" name="Freeform: Shape 6436">
                  <a:extLst>
                    <a:ext uri="{FF2B5EF4-FFF2-40B4-BE49-F238E27FC236}">
                      <a16:creationId xmlns:a16="http://schemas.microsoft.com/office/drawing/2014/main" id="{504A13CB-3285-D8E9-7872-F2B6F76F51D1}"/>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38" name="Freeform: Shape 6437">
                  <a:extLst>
                    <a:ext uri="{FF2B5EF4-FFF2-40B4-BE49-F238E27FC236}">
                      <a16:creationId xmlns:a16="http://schemas.microsoft.com/office/drawing/2014/main" id="{AF32A10A-06BB-65F1-2F41-466B409A80DC}"/>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28" name="Group 6427">
                <a:extLst>
                  <a:ext uri="{FF2B5EF4-FFF2-40B4-BE49-F238E27FC236}">
                    <a16:creationId xmlns:a16="http://schemas.microsoft.com/office/drawing/2014/main" id="{D36ADF33-9781-41AE-AEBA-FD67ED81EE87}"/>
                  </a:ext>
                </a:extLst>
              </p:cNvPr>
              <p:cNvGrpSpPr/>
              <p:nvPr/>
            </p:nvGrpSpPr>
            <p:grpSpPr>
              <a:xfrm>
                <a:off x="3679779" y="4619731"/>
                <a:ext cx="68967" cy="162922"/>
                <a:chOff x="4475654" y="2372796"/>
                <a:chExt cx="176985" cy="418095"/>
              </a:xfrm>
              <a:grpFill/>
            </p:grpSpPr>
            <p:sp>
              <p:nvSpPr>
                <p:cNvPr id="6435" name="Freeform: Shape 6434">
                  <a:extLst>
                    <a:ext uri="{FF2B5EF4-FFF2-40B4-BE49-F238E27FC236}">
                      <a16:creationId xmlns:a16="http://schemas.microsoft.com/office/drawing/2014/main" id="{958C2E68-4A5A-9062-59DA-DD474F27B27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36" name="Freeform: Shape 6435">
                  <a:extLst>
                    <a:ext uri="{FF2B5EF4-FFF2-40B4-BE49-F238E27FC236}">
                      <a16:creationId xmlns:a16="http://schemas.microsoft.com/office/drawing/2014/main" id="{74F197A8-4CE9-3EDD-73EE-EF1B1CCC55B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29" name="Group 6428">
                <a:extLst>
                  <a:ext uri="{FF2B5EF4-FFF2-40B4-BE49-F238E27FC236}">
                    <a16:creationId xmlns:a16="http://schemas.microsoft.com/office/drawing/2014/main" id="{319C55B0-76F0-10A9-137C-3534DA4BB5C7}"/>
                  </a:ext>
                </a:extLst>
              </p:cNvPr>
              <p:cNvGrpSpPr/>
              <p:nvPr/>
            </p:nvGrpSpPr>
            <p:grpSpPr>
              <a:xfrm>
                <a:off x="3788116" y="4619731"/>
                <a:ext cx="68967" cy="162922"/>
                <a:chOff x="4475654" y="2372796"/>
                <a:chExt cx="176985" cy="418095"/>
              </a:xfrm>
              <a:grpFill/>
            </p:grpSpPr>
            <p:sp>
              <p:nvSpPr>
                <p:cNvPr id="6433" name="Freeform: Shape 6432">
                  <a:extLst>
                    <a:ext uri="{FF2B5EF4-FFF2-40B4-BE49-F238E27FC236}">
                      <a16:creationId xmlns:a16="http://schemas.microsoft.com/office/drawing/2014/main" id="{B472A927-E02C-3684-8D41-0180FB3F6D8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34" name="Freeform: Shape 6433">
                  <a:extLst>
                    <a:ext uri="{FF2B5EF4-FFF2-40B4-BE49-F238E27FC236}">
                      <a16:creationId xmlns:a16="http://schemas.microsoft.com/office/drawing/2014/main" id="{69C6146F-A83A-E279-8A9A-AE83E604863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430" name="Group 6429">
                <a:extLst>
                  <a:ext uri="{FF2B5EF4-FFF2-40B4-BE49-F238E27FC236}">
                    <a16:creationId xmlns:a16="http://schemas.microsoft.com/office/drawing/2014/main" id="{D8B7B618-3F15-916E-BDD0-B5491B71485C}"/>
                  </a:ext>
                </a:extLst>
              </p:cNvPr>
              <p:cNvGrpSpPr/>
              <p:nvPr/>
            </p:nvGrpSpPr>
            <p:grpSpPr>
              <a:xfrm>
                <a:off x="3896451" y="4619731"/>
                <a:ext cx="68967" cy="162922"/>
                <a:chOff x="4475654" y="2372796"/>
                <a:chExt cx="176985" cy="418095"/>
              </a:xfrm>
              <a:grpFill/>
            </p:grpSpPr>
            <p:sp>
              <p:nvSpPr>
                <p:cNvPr id="6431" name="Freeform: Shape 6430">
                  <a:extLst>
                    <a:ext uri="{FF2B5EF4-FFF2-40B4-BE49-F238E27FC236}">
                      <a16:creationId xmlns:a16="http://schemas.microsoft.com/office/drawing/2014/main" id="{B5666335-1177-0C24-A35C-2EAEF627D47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32" name="Freeform: Shape 6431">
                  <a:extLst>
                    <a:ext uri="{FF2B5EF4-FFF2-40B4-BE49-F238E27FC236}">
                      <a16:creationId xmlns:a16="http://schemas.microsoft.com/office/drawing/2014/main" id="{72622208-F377-4415-242A-9B2304ADE9D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grpSp>
          <p:nvGrpSpPr>
            <p:cNvPr id="6310" name="Group 6309">
              <a:extLst>
                <a:ext uri="{FF2B5EF4-FFF2-40B4-BE49-F238E27FC236}">
                  <a16:creationId xmlns:a16="http://schemas.microsoft.com/office/drawing/2014/main" id="{3357F813-E7CE-1DAE-1A8B-446B664C283D}"/>
                </a:ext>
              </a:extLst>
            </p:cNvPr>
            <p:cNvGrpSpPr/>
            <p:nvPr/>
          </p:nvGrpSpPr>
          <p:grpSpPr>
            <a:xfrm>
              <a:off x="754680" y="4158004"/>
              <a:ext cx="3210738" cy="162922"/>
              <a:chOff x="754680" y="4619731"/>
              <a:chExt cx="3210738" cy="162922"/>
            </a:xfrm>
            <a:grpFill/>
          </p:grpSpPr>
          <p:grpSp>
            <p:nvGrpSpPr>
              <p:cNvPr id="6311" name="Group 6310">
                <a:extLst>
                  <a:ext uri="{FF2B5EF4-FFF2-40B4-BE49-F238E27FC236}">
                    <a16:creationId xmlns:a16="http://schemas.microsoft.com/office/drawing/2014/main" id="{71D5C1E5-EED1-8597-2731-C195045B1A03}"/>
                  </a:ext>
                </a:extLst>
              </p:cNvPr>
              <p:cNvGrpSpPr/>
              <p:nvPr/>
            </p:nvGrpSpPr>
            <p:grpSpPr>
              <a:xfrm>
                <a:off x="754680" y="4619731"/>
                <a:ext cx="68967" cy="162922"/>
                <a:chOff x="4475654" y="2372796"/>
                <a:chExt cx="176985" cy="418095"/>
              </a:xfrm>
              <a:grpFill/>
            </p:grpSpPr>
            <p:sp>
              <p:nvSpPr>
                <p:cNvPr id="6399" name="Freeform: Shape 6398">
                  <a:extLst>
                    <a:ext uri="{FF2B5EF4-FFF2-40B4-BE49-F238E27FC236}">
                      <a16:creationId xmlns:a16="http://schemas.microsoft.com/office/drawing/2014/main" id="{693A4AF4-CF34-21BF-1CB7-2DB04BBFA98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00" name="Freeform: Shape 6399">
                  <a:extLst>
                    <a:ext uri="{FF2B5EF4-FFF2-40B4-BE49-F238E27FC236}">
                      <a16:creationId xmlns:a16="http://schemas.microsoft.com/office/drawing/2014/main" id="{F10B907E-4702-BB03-FFDB-9607395498A0}"/>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12" name="Group 6311">
                <a:extLst>
                  <a:ext uri="{FF2B5EF4-FFF2-40B4-BE49-F238E27FC236}">
                    <a16:creationId xmlns:a16="http://schemas.microsoft.com/office/drawing/2014/main" id="{F0A22AD5-0E99-DCF5-A5CF-E3ECDE27BF10}"/>
                  </a:ext>
                </a:extLst>
              </p:cNvPr>
              <p:cNvGrpSpPr/>
              <p:nvPr/>
            </p:nvGrpSpPr>
            <p:grpSpPr>
              <a:xfrm>
                <a:off x="863017" y="4619731"/>
                <a:ext cx="68967" cy="162922"/>
                <a:chOff x="4475654" y="2372796"/>
                <a:chExt cx="176985" cy="418095"/>
              </a:xfrm>
              <a:grpFill/>
            </p:grpSpPr>
            <p:sp>
              <p:nvSpPr>
                <p:cNvPr id="6397" name="Freeform: Shape 6396">
                  <a:extLst>
                    <a:ext uri="{FF2B5EF4-FFF2-40B4-BE49-F238E27FC236}">
                      <a16:creationId xmlns:a16="http://schemas.microsoft.com/office/drawing/2014/main" id="{2DCC9DC5-5D12-B8E6-556D-77D8D41C17A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98" name="Freeform: Shape 6397">
                  <a:extLst>
                    <a:ext uri="{FF2B5EF4-FFF2-40B4-BE49-F238E27FC236}">
                      <a16:creationId xmlns:a16="http://schemas.microsoft.com/office/drawing/2014/main" id="{325575CE-39EC-6328-792C-5C31C949EC8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13" name="Group 6312">
                <a:extLst>
                  <a:ext uri="{FF2B5EF4-FFF2-40B4-BE49-F238E27FC236}">
                    <a16:creationId xmlns:a16="http://schemas.microsoft.com/office/drawing/2014/main" id="{12FDCA83-F246-9E8D-B485-82DEBBB50EF9}"/>
                  </a:ext>
                </a:extLst>
              </p:cNvPr>
              <p:cNvGrpSpPr/>
              <p:nvPr/>
            </p:nvGrpSpPr>
            <p:grpSpPr>
              <a:xfrm>
                <a:off x="971354" y="4619731"/>
                <a:ext cx="68967" cy="162922"/>
                <a:chOff x="4475654" y="2372796"/>
                <a:chExt cx="176985" cy="418095"/>
              </a:xfrm>
              <a:grpFill/>
            </p:grpSpPr>
            <p:sp>
              <p:nvSpPr>
                <p:cNvPr id="6395" name="Freeform: Shape 6394">
                  <a:extLst>
                    <a:ext uri="{FF2B5EF4-FFF2-40B4-BE49-F238E27FC236}">
                      <a16:creationId xmlns:a16="http://schemas.microsoft.com/office/drawing/2014/main" id="{A9782CA7-0E4A-F2E5-4429-9A28B5FA1B3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96" name="Freeform: Shape 6395">
                  <a:extLst>
                    <a:ext uri="{FF2B5EF4-FFF2-40B4-BE49-F238E27FC236}">
                      <a16:creationId xmlns:a16="http://schemas.microsoft.com/office/drawing/2014/main" id="{B89A580E-937F-D60E-8A85-A4461DF85C1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14" name="Group 6313">
                <a:extLst>
                  <a:ext uri="{FF2B5EF4-FFF2-40B4-BE49-F238E27FC236}">
                    <a16:creationId xmlns:a16="http://schemas.microsoft.com/office/drawing/2014/main" id="{663A56A6-F9ED-B8E4-3384-85995AE040CA}"/>
                  </a:ext>
                </a:extLst>
              </p:cNvPr>
              <p:cNvGrpSpPr/>
              <p:nvPr/>
            </p:nvGrpSpPr>
            <p:grpSpPr>
              <a:xfrm>
                <a:off x="1188028" y="4619731"/>
                <a:ext cx="68967" cy="162922"/>
                <a:chOff x="4475654" y="2372796"/>
                <a:chExt cx="176985" cy="418095"/>
              </a:xfrm>
              <a:grpFill/>
            </p:grpSpPr>
            <p:sp>
              <p:nvSpPr>
                <p:cNvPr id="6393" name="Freeform: Shape 6392">
                  <a:extLst>
                    <a:ext uri="{FF2B5EF4-FFF2-40B4-BE49-F238E27FC236}">
                      <a16:creationId xmlns:a16="http://schemas.microsoft.com/office/drawing/2014/main" id="{7F09CA9F-B028-2E3D-B1E9-CD6164D9343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94" name="Freeform: Shape 6393">
                  <a:extLst>
                    <a:ext uri="{FF2B5EF4-FFF2-40B4-BE49-F238E27FC236}">
                      <a16:creationId xmlns:a16="http://schemas.microsoft.com/office/drawing/2014/main" id="{670A4959-CECF-D0B3-E964-11D98E252C3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15" name="Group 6314">
                <a:extLst>
                  <a:ext uri="{FF2B5EF4-FFF2-40B4-BE49-F238E27FC236}">
                    <a16:creationId xmlns:a16="http://schemas.microsoft.com/office/drawing/2014/main" id="{E701BD05-FB3B-57BE-44BB-AEC834ED9E94}"/>
                  </a:ext>
                </a:extLst>
              </p:cNvPr>
              <p:cNvGrpSpPr/>
              <p:nvPr/>
            </p:nvGrpSpPr>
            <p:grpSpPr>
              <a:xfrm>
                <a:off x="1079691" y="4619731"/>
                <a:ext cx="68967" cy="162922"/>
                <a:chOff x="4475654" y="2372796"/>
                <a:chExt cx="176985" cy="418095"/>
              </a:xfrm>
              <a:grpFill/>
            </p:grpSpPr>
            <p:sp>
              <p:nvSpPr>
                <p:cNvPr id="6391" name="Freeform: Shape 6390">
                  <a:extLst>
                    <a:ext uri="{FF2B5EF4-FFF2-40B4-BE49-F238E27FC236}">
                      <a16:creationId xmlns:a16="http://schemas.microsoft.com/office/drawing/2014/main" id="{3A568C0C-7071-51A9-458D-BB3072A5912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92" name="Freeform: Shape 6391">
                  <a:extLst>
                    <a:ext uri="{FF2B5EF4-FFF2-40B4-BE49-F238E27FC236}">
                      <a16:creationId xmlns:a16="http://schemas.microsoft.com/office/drawing/2014/main" id="{2EC2EC7C-B61F-D605-E4F5-4E0639B3274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16" name="Group 6315">
                <a:extLst>
                  <a:ext uri="{FF2B5EF4-FFF2-40B4-BE49-F238E27FC236}">
                    <a16:creationId xmlns:a16="http://schemas.microsoft.com/office/drawing/2014/main" id="{CD245111-4618-3782-9296-889296BCB306}"/>
                  </a:ext>
                </a:extLst>
              </p:cNvPr>
              <p:cNvGrpSpPr/>
              <p:nvPr/>
            </p:nvGrpSpPr>
            <p:grpSpPr>
              <a:xfrm>
                <a:off x="1296365" y="4619731"/>
                <a:ext cx="68967" cy="162922"/>
                <a:chOff x="4475654" y="2372796"/>
                <a:chExt cx="176985" cy="418095"/>
              </a:xfrm>
              <a:grpFill/>
            </p:grpSpPr>
            <p:sp>
              <p:nvSpPr>
                <p:cNvPr id="6389" name="Freeform: Shape 6388">
                  <a:extLst>
                    <a:ext uri="{FF2B5EF4-FFF2-40B4-BE49-F238E27FC236}">
                      <a16:creationId xmlns:a16="http://schemas.microsoft.com/office/drawing/2014/main" id="{5D1CFC85-6132-3E92-7ECB-786688E030C9}"/>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90" name="Freeform: Shape 6389">
                  <a:extLst>
                    <a:ext uri="{FF2B5EF4-FFF2-40B4-BE49-F238E27FC236}">
                      <a16:creationId xmlns:a16="http://schemas.microsoft.com/office/drawing/2014/main" id="{2853316C-FC5E-021F-CBCB-3CCEBB7F56B0}"/>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17" name="Group 6316">
                <a:extLst>
                  <a:ext uri="{FF2B5EF4-FFF2-40B4-BE49-F238E27FC236}">
                    <a16:creationId xmlns:a16="http://schemas.microsoft.com/office/drawing/2014/main" id="{0964C910-54FB-536E-14D7-8BE2943DECDF}"/>
                  </a:ext>
                </a:extLst>
              </p:cNvPr>
              <p:cNvGrpSpPr/>
              <p:nvPr/>
            </p:nvGrpSpPr>
            <p:grpSpPr>
              <a:xfrm>
                <a:off x="1404702" y="4619731"/>
                <a:ext cx="68967" cy="162922"/>
                <a:chOff x="4475654" y="2372796"/>
                <a:chExt cx="176985" cy="418095"/>
              </a:xfrm>
              <a:grpFill/>
            </p:grpSpPr>
            <p:sp>
              <p:nvSpPr>
                <p:cNvPr id="6387" name="Freeform: Shape 6386">
                  <a:extLst>
                    <a:ext uri="{FF2B5EF4-FFF2-40B4-BE49-F238E27FC236}">
                      <a16:creationId xmlns:a16="http://schemas.microsoft.com/office/drawing/2014/main" id="{B1C2154D-15F7-3D05-3361-CFDDD46AB52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88" name="Freeform: Shape 6387">
                  <a:extLst>
                    <a:ext uri="{FF2B5EF4-FFF2-40B4-BE49-F238E27FC236}">
                      <a16:creationId xmlns:a16="http://schemas.microsoft.com/office/drawing/2014/main" id="{FBA7E64B-8350-166A-8797-78448EAD49E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18" name="Group 6317">
                <a:extLst>
                  <a:ext uri="{FF2B5EF4-FFF2-40B4-BE49-F238E27FC236}">
                    <a16:creationId xmlns:a16="http://schemas.microsoft.com/office/drawing/2014/main" id="{A14AE59B-BD91-15A1-5902-F68545525858}"/>
                  </a:ext>
                </a:extLst>
              </p:cNvPr>
              <p:cNvGrpSpPr/>
              <p:nvPr/>
            </p:nvGrpSpPr>
            <p:grpSpPr>
              <a:xfrm>
                <a:off x="1513039" y="4619731"/>
                <a:ext cx="68967" cy="162922"/>
                <a:chOff x="4475654" y="2372796"/>
                <a:chExt cx="176985" cy="418095"/>
              </a:xfrm>
              <a:grpFill/>
            </p:grpSpPr>
            <p:sp>
              <p:nvSpPr>
                <p:cNvPr id="6385" name="Freeform: Shape 6384">
                  <a:extLst>
                    <a:ext uri="{FF2B5EF4-FFF2-40B4-BE49-F238E27FC236}">
                      <a16:creationId xmlns:a16="http://schemas.microsoft.com/office/drawing/2014/main" id="{FF3E4428-0A1A-16D4-950F-164440F9483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86" name="Freeform: Shape 6385">
                  <a:extLst>
                    <a:ext uri="{FF2B5EF4-FFF2-40B4-BE49-F238E27FC236}">
                      <a16:creationId xmlns:a16="http://schemas.microsoft.com/office/drawing/2014/main" id="{D5191B0C-EA92-303B-DBF1-3ABD2DA71AA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19" name="Group 6318">
                <a:extLst>
                  <a:ext uri="{FF2B5EF4-FFF2-40B4-BE49-F238E27FC236}">
                    <a16:creationId xmlns:a16="http://schemas.microsoft.com/office/drawing/2014/main" id="{ADED0BAF-8D13-4399-7679-C25BBB958E53}"/>
                  </a:ext>
                </a:extLst>
              </p:cNvPr>
              <p:cNvGrpSpPr/>
              <p:nvPr/>
            </p:nvGrpSpPr>
            <p:grpSpPr>
              <a:xfrm>
                <a:off x="1621376" y="4619731"/>
                <a:ext cx="68967" cy="162922"/>
                <a:chOff x="4475654" y="2372796"/>
                <a:chExt cx="176985" cy="418095"/>
              </a:xfrm>
              <a:grpFill/>
            </p:grpSpPr>
            <p:sp>
              <p:nvSpPr>
                <p:cNvPr id="6383" name="Freeform: Shape 6382">
                  <a:extLst>
                    <a:ext uri="{FF2B5EF4-FFF2-40B4-BE49-F238E27FC236}">
                      <a16:creationId xmlns:a16="http://schemas.microsoft.com/office/drawing/2014/main" id="{F0463B47-4F98-BBCD-D5F1-6EF2B0987D2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84" name="Freeform: Shape 6383">
                  <a:extLst>
                    <a:ext uri="{FF2B5EF4-FFF2-40B4-BE49-F238E27FC236}">
                      <a16:creationId xmlns:a16="http://schemas.microsoft.com/office/drawing/2014/main" id="{215EA1F9-7730-A638-60DC-C9E702986E4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20" name="Group 6319">
                <a:extLst>
                  <a:ext uri="{FF2B5EF4-FFF2-40B4-BE49-F238E27FC236}">
                    <a16:creationId xmlns:a16="http://schemas.microsoft.com/office/drawing/2014/main" id="{49F6FD4A-AC01-FBA3-E8DB-FE939461ECAB}"/>
                  </a:ext>
                </a:extLst>
              </p:cNvPr>
              <p:cNvGrpSpPr/>
              <p:nvPr/>
            </p:nvGrpSpPr>
            <p:grpSpPr>
              <a:xfrm>
                <a:off x="1729713" y="4619731"/>
                <a:ext cx="68967" cy="162922"/>
                <a:chOff x="4475654" y="2372796"/>
                <a:chExt cx="176985" cy="418095"/>
              </a:xfrm>
              <a:grpFill/>
            </p:grpSpPr>
            <p:sp>
              <p:nvSpPr>
                <p:cNvPr id="6381" name="Freeform: Shape 6380">
                  <a:extLst>
                    <a:ext uri="{FF2B5EF4-FFF2-40B4-BE49-F238E27FC236}">
                      <a16:creationId xmlns:a16="http://schemas.microsoft.com/office/drawing/2014/main" id="{4E63BEC4-8099-38E8-1095-ECFD4A61FA9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82" name="Freeform: Shape 6381">
                  <a:extLst>
                    <a:ext uri="{FF2B5EF4-FFF2-40B4-BE49-F238E27FC236}">
                      <a16:creationId xmlns:a16="http://schemas.microsoft.com/office/drawing/2014/main" id="{4A00BFDB-0645-0ECE-8E0A-7C9B93C2C081}"/>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21" name="Group 6320">
                <a:extLst>
                  <a:ext uri="{FF2B5EF4-FFF2-40B4-BE49-F238E27FC236}">
                    <a16:creationId xmlns:a16="http://schemas.microsoft.com/office/drawing/2014/main" id="{C09246FF-BA6B-EBBE-B561-0198F3E04981}"/>
                  </a:ext>
                </a:extLst>
              </p:cNvPr>
              <p:cNvGrpSpPr/>
              <p:nvPr/>
            </p:nvGrpSpPr>
            <p:grpSpPr>
              <a:xfrm>
                <a:off x="1838050" y="4619731"/>
                <a:ext cx="68967" cy="162922"/>
                <a:chOff x="4475654" y="2372796"/>
                <a:chExt cx="176985" cy="418095"/>
              </a:xfrm>
              <a:grpFill/>
            </p:grpSpPr>
            <p:sp>
              <p:nvSpPr>
                <p:cNvPr id="6379" name="Freeform: Shape 6378">
                  <a:extLst>
                    <a:ext uri="{FF2B5EF4-FFF2-40B4-BE49-F238E27FC236}">
                      <a16:creationId xmlns:a16="http://schemas.microsoft.com/office/drawing/2014/main" id="{7DA98DF2-EDF8-338E-A415-4192BE80B60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80" name="Freeform: Shape 6379">
                  <a:extLst>
                    <a:ext uri="{FF2B5EF4-FFF2-40B4-BE49-F238E27FC236}">
                      <a16:creationId xmlns:a16="http://schemas.microsoft.com/office/drawing/2014/main" id="{6BF89C52-1C7E-D407-43CC-1E660894353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22" name="Group 6321">
                <a:extLst>
                  <a:ext uri="{FF2B5EF4-FFF2-40B4-BE49-F238E27FC236}">
                    <a16:creationId xmlns:a16="http://schemas.microsoft.com/office/drawing/2014/main" id="{8A83F863-D85F-FFD3-8B9B-C61EE8C38B86}"/>
                  </a:ext>
                </a:extLst>
              </p:cNvPr>
              <p:cNvGrpSpPr/>
              <p:nvPr/>
            </p:nvGrpSpPr>
            <p:grpSpPr>
              <a:xfrm>
                <a:off x="1946387" y="4619731"/>
                <a:ext cx="68967" cy="162922"/>
                <a:chOff x="4475654" y="2372796"/>
                <a:chExt cx="176985" cy="418095"/>
              </a:xfrm>
              <a:grpFill/>
            </p:grpSpPr>
            <p:sp>
              <p:nvSpPr>
                <p:cNvPr id="6377" name="Freeform: Shape 6376">
                  <a:extLst>
                    <a:ext uri="{FF2B5EF4-FFF2-40B4-BE49-F238E27FC236}">
                      <a16:creationId xmlns:a16="http://schemas.microsoft.com/office/drawing/2014/main" id="{AF471CBF-DDC3-1303-8527-82CCF36FCC6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78" name="Freeform: Shape 6377">
                  <a:extLst>
                    <a:ext uri="{FF2B5EF4-FFF2-40B4-BE49-F238E27FC236}">
                      <a16:creationId xmlns:a16="http://schemas.microsoft.com/office/drawing/2014/main" id="{90A14943-2A2C-6CD8-6A5B-F283C691820C}"/>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23" name="Group 6322">
                <a:extLst>
                  <a:ext uri="{FF2B5EF4-FFF2-40B4-BE49-F238E27FC236}">
                    <a16:creationId xmlns:a16="http://schemas.microsoft.com/office/drawing/2014/main" id="{B5E61318-A273-780F-616E-C9C745E10CA7}"/>
                  </a:ext>
                </a:extLst>
              </p:cNvPr>
              <p:cNvGrpSpPr/>
              <p:nvPr/>
            </p:nvGrpSpPr>
            <p:grpSpPr>
              <a:xfrm>
                <a:off x="2054724" y="4619731"/>
                <a:ext cx="68967" cy="162922"/>
                <a:chOff x="4475654" y="2372796"/>
                <a:chExt cx="176985" cy="418095"/>
              </a:xfrm>
              <a:grpFill/>
            </p:grpSpPr>
            <p:sp>
              <p:nvSpPr>
                <p:cNvPr id="6375" name="Freeform: Shape 6374">
                  <a:extLst>
                    <a:ext uri="{FF2B5EF4-FFF2-40B4-BE49-F238E27FC236}">
                      <a16:creationId xmlns:a16="http://schemas.microsoft.com/office/drawing/2014/main" id="{B6C44A68-A37E-C9FB-FBF0-3C6F7571F6F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76" name="Freeform: Shape 6375">
                  <a:extLst>
                    <a:ext uri="{FF2B5EF4-FFF2-40B4-BE49-F238E27FC236}">
                      <a16:creationId xmlns:a16="http://schemas.microsoft.com/office/drawing/2014/main" id="{AE736207-3B16-C97B-3936-E2F20B77242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24" name="Group 6323">
                <a:extLst>
                  <a:ext uri="{FF2B5EF4-FFF2-40B4-BE49-F238E27FC236}">
                    <a16:creationId xmlns:a16="http://schemas.microsoft.com/office/drawing/2014/main" id="{FA644E56-66EF-EF34-7339-65D46D60CCC4}"/>
                  </a:ext>
                </a:extLst>
              </p:cNvPr>
              <p:cNvGrpSpPr/>
              <p:nvPr/>
            </p:nvGrpSpPr>
            <p:grpSpPr>
              <a:xfrm>
                <a:off x="2163061" y="4619731"/>
                <a:ext cx="68967" cy="162922"/>
                <a:chOff x="4475654" y="2372796"/>
                <a:chExt cx="176985" cy="418095"/>
              </a:xfrm>
              <a:grpFill/>
            </p:grpSpPr>
            <p:sp>
              <p:nvSpPr>
                <p:cNvPr id="6373" name="Freeform: Shape 6372">
                  <a:extLst>
                    <a:ext uri="{FF2B5EF4-FFF2-40B4-BE49-F238E27FC236}">
                      <a16:creationId xmlns:a16="http://schemas.microsoft.com/office/drawing/2014/main" id="{59740890-B747-E913-33C2-A0152928991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74" name="Freeform: Shape 6373">
                  <a:extLst>
                    <a:ext uri="{FF2B5EF4-FFF2-40B4-BE49-F238E27FC236}">
                      <a16:creationId xmlns:a16="http://schemas.microsoft.com/office/drawing/2014/main" id="{C0E12375-B527-7A51-247F-B4402E0723B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25" name="Group 6324">
                <a:extLst>
                  <a:ext uri="{FF2B5EF4-FFF2-40B4-BE49-F238E27FC236}">
                    <a16:creationId xmlns:a16="http://schemas.microsoft.com/office/drawing/2014/main" id="{2035A0F1-BB0D-9049-D2FA-81DBF047C3D2}"/>
                  </a:ext>
                </a:extLst>
              </p:cNvPr>
              <p:cNvGrpSpPr/>
              <p:nvPr/>
            </p:nvGrpSpPr>
            <p:grpSpPr>
              <a:xfrm>
                <a:off x="2271398" y="4619731"/>
                <a:ext cx="68967" cy="162922"/>
                <a:chOff x="4475654" y="2372796"/>
                <a:chExt cx="176985" cy="418095"/>
              </a:xfrm>
              <a:grpFill/>
            </p:grpSpPr>
            <p:sp>
              <p:nvSpPr>
                <p:cNvPr id="6371" name="Freeform: Shape 6370">
                  <a:extLst>
                    <a:ext uri="{FF2B5EF4-FFF2-40B4-BE49-F238E27FC236}">
                      <a16:creationId xmlns:a16="http://schemas.microsoft.com/office/drawing/2014/main" id="{56BB41F2-FD60-8371-B2FD-A6C5BCC9E42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72" name="Freeform: Shape 6371">
                  <a:extLst>
                    <a:ext uri="{FF2B5EF4-FFF2-40B4-BE49-F238E27FC236}">
                      <a16:creationId xmlns:a16="http://schemas.microsoft.com/office/drawing/2014/main" id="{D14FD382-BB3A-7FBF-BD09-EA3D9AB856EF}"/>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26" name="Group 6325">
                <a:extLst>
                  <a:ext uri="{FF2B5EF4-FFF2-40B4-BE49-F238E27FC236}">
                    <a16:creationId xmlns:a16="http://schemas.microsoft.com/office/drawing/2014/main" id="{14C54B43-C791-6442-54C5-451C2F264E5C}"/>
                  </a:ext>
                </a:extLst>
              </p:cNvPr>
              <p:cNvGrpSpPr/>
              <p:nvPr/>
            </p:nvGrpSpPr>
            <p:grpSpPr>
              <a:xfrm>
                <a:off x="2379735" y="4619731"/>
                <a:ext cx="68967" cy="162922"/>
                <a:chOff x="4475654" y="2372796"/>
                <a:chExt cx="176985" cy="418095"/>
              </a:xfrm>
              <a:grpFill/>
            </p:grpSpPr>
            <p:sp>
              <p:nvSpPr>
                <p:cNvPr id="6369" name="Freeform: Shape 6368">
                  <a:extLst>
                    <a:ext uri="{FF2B5EF4-FFF2-40B4-BE49-F238E27FC236}">
                      <a16:creationId xmlns:a16="http://schemas.microsoft.com/office/drawing/2014/main" id="{600AEB17-F14A-A1D1-A88B-E3F2ABAAB5C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70" name="Freeform: Shape 6369">
                  <a:extLst>
                    <a:ext uri="{FF2B5EF4-FFF2-40B4-BE49-F238E27FC236}">
                      <a16:creationId xmlns:a16="http://schemas.microsoft.com/office/drawing/2014/main" id="{4CE4C175-FEB6-27DA-8165-A4A4BEB4716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27" name="Group 6326">
                <a:extLst>
                  <a:ext uri="{FF2B5EF4-FFF2-40B4-BE49-F238E27FC236}">
                    <a16:creationId xmlns:a16="http://schemas.microsoft.com/office/drawing/2014/main" id="{7A763923-B0A2-E28A-0C20-6027D058FA31}"/>
                  </a:ext>
                </a:extLst>
              </p:cNvPr>
              <p:cNvGrpSpPr/>
              <p:nvPr/>
            </p:nvGrpSpPr>
            <p:grpSpPr>
              <a:xfrm>
                <a:off x="2488072" y="4619731"/>
                <a:ext cx="68967" cy="162922"/>
                <a:chOff x="4475654" y="2372796"/>
                <a:chExt cx="176985" cy="418095"/>
              </a:xfrm>
              <a:grpFill/>
            </p:grpSpPr>
            <p:sp>
              <p:nvSpPr>
                <p:cNvPr id="6367" name="Freeform: Shape 6366">
                  <a:extLst>
                    <a:ext uri="{FF2B5EF4-FFF2-40B4-BE49-F238E27FC236}">
                      <a16:creationId xmlns:a16="http://schemas.microsoft.com/office/drawing/2014/main" id="{2B144DA5-E9B4-AAA9-11DE-02095B79B0C1}"/>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68" name="Freeform: Shape 6367">
                  <a:extLst>
                    <a:ext uri="{FF2B5EF4-FFF2-40B4-BE49-F238E27FC236}">
                      <a16:creationId xmlns:a16="http://schemas.microsoft.com/office/drawing/2014/main" id="{3AC61817-A836-E7B4-C582-A460F915270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28" name="Group 6327">
                <a:extLst>
                  <a:ext uri="{FF2B5EF4-FFF2-40B4-BE49-F238E27FC236}">
                    <a16:creationId xmlns:a16="http://schemas.microsoft.com/office/drawing/2014/main" id="{741976E8-2672-85EB-6455-132ADD2105B8}"/>
                  </a:ext>
                </a:extLst>
              </p:cNvPr>
              <p:cNvGrpSpPr/>
              <p:nvPr/>
            </p:nvGrpSpPr>
            <p:grpSpPr>
              <a:xfrm>
                <a:off x="2596409" y="4619731"/>
                <a:ext cx="68967" cy="162922"/>
                <a:chOff x="4475654" y="2372796"/>
                <a:chExt cx="176985" cy="418095"/>
              </a:xfrm>
              <a:grpFill/>
            </p:grpSpPr>
            <p:sp>
              <p:nvSpPr>
                <p:cNvPr id="6365" name="Freeform: Shape 6364">
                  <a:extLst>
                    <a:ext uri="{FF2B5EF4-FFF2-40B4-BE49-F238E27FC236}">
                      <a16:creationId xmlns:a16="http://schemas.microsoft.com/office/drawing/2014/main" id="{ADC8F7AD-E19F-3BE0-A183-E5F92A74F06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66" name="Freeform: Shape 6365">
                  <a:extLst>
                    <a:ext uri="{FF2B5EF4-FFF2-40B4-BE49-F238E27FC236}">
                      <a16:creationId xmlns:a16="http://schemas.microsoft.com/office/drawing/2014/main" id="{D9F936F1-BC36-0A83-DB71-34288FFA378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29" name="Group 6328">
                <a:extLst>
                  <a:ext uri="{FF2B5EF4-FFF2-40B4-BE49-F238E27FC236}">
                    <a16:creationId xmlns:a16="http://schemas.microsoft.com/office/drawing/2014/main" id="{53C4CBE6-CA81-3B03-8263-C7F324310590}"/>
                  </a:ext>
                </a:extLst>
              </p:cNvPr>
              <p:cNvGrpSpPr/>
              <p:nvPr/>
            </p:nvGrpSpPr>
            <p:grpSpPr>
              <a:xfrm>
                <a:off x="2813083" y="4619731"/>
                <a:ext cx="68967" cy="162922"/>
                <a:chOff x="4475654" y="2372796"/>
                <a:chExt cx="176985" cy="418095"/>
              </a:xfrm>
              <a:grpFill/>
            </p:grpSpPr>
            <p:sp>
              <p:nvSpPr>
                <p:cNvPr id="6363" name="Freeform: Shape 6362">
                  <a:extLst>
                    <a:ext uri="{FF2B5EF4-FFF2-40B4-BE49-F238E27FC236}">
                      <a16:creationId xmlns:a16="http://schemas.microsoft.com/office/drawing/2014/main" id="{B2508188-64A3-C931-A21D-5C771683D9C2}"/>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64" name="Freeform: Shape 6363">
                  <a:extLst>
                    <a:ext uri="{FF2B5EF4-FFF2-40B4-BE49-F238E27FC236}">
                      <a16:creationId xmlns:a16="http://schemas.microsoft.com/office/drawing/2014/main" id="{3B98CBD8-755E-D4C4-BF7D-37DC8698758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30" name="Group 6329">
                <a:extLst>
                  <a:ext uri="{FF2B5EF4-FFF2-40B4-BE49-F238E27FC236}">
                    <a16:creationId xmlns:a16="http://schemas.microsoft.com/office/drawing/2014/main" id="{C891DA1D-1314-AB65-3850-DFD2C5982148}"/>
                  </a:ext>
                </a:extLst>
              </p:cNvPr>
              <p:cNvGrpSpPr/>
              <p:nvPr/>
            </p:nvGrpSpPr>
            <p:grpSpPr>
              <a:xfrm>
                <a:off x="2704746" y="4619731"/>
                <a:ext cx="68967" cy="162922"/>
                <a:chOff x="4475654" y="2372796"/>
                <a:chExt cx="176985" cy="418095"/>
              </a:xfrm>
              <a:grpFill/>
            </p:grpSpPr>
            <p:sp>
              <p:nvSpPr>
                <p:cNvPr id="6361" name="Freeform: Shape 6360">
                  <a:extLst>
                    <a:ext uri="{FF2B5EF4-FFF2-40B4-BE49-F238E27FC236}">
                      <a16:creationId xmlns:a16="http://schemas.microsoft.com/office/drawing/2014/main" id="{3C505E59-D879-CF44-0EE8-ACECE771598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62" name="Freeform: Shape 6361">
                  <a:extLst>
                    <a:ext uri="{FF2B5EF4-FFF2-40B4-BE49-F238E27FC236}">
                      <a16:creationId xmlns:a16="http://schemas.microsoft.com/office/drawing/2014/main" id="{A1401EE2-7B25-7C27-A565-8D6E6B85B12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31" name="Group 6330">
                <a:extLst>
                  <a:ext uri="{FF2B5EF4-FFF2-40B4-BE49-F238E27FC236}">
                    <a16:creationId xmlns:a16="http://schemas.microsoft.com/office/drawing/2014/main" id="{BBFE0650-ED91-9761-60EC-A94BBE0C4705}"/>
                  </a:ext>
                </a:extLst>
              </p:cNvPr>
              <p:cNvGrpSpPr/>
              <p:nvPr/>
            </p:nvGrpSpPr>
            <p:grpSpPr>
              <a:xfrm>
                <a:off x="2921420" y="4619731"/>
                <a:ext cx="68967" cy="162922"/>
                <a:chOff x="4475654" y="2372796"/>
                <a:chExt cx="176985" cy="418095"/>
              </a:xfrm>
              <a:grpFill/>
            </p:grpSpPr>
            <p:sp>
              <p:nvSpPr>
                <p:cNvPr id="6359" name="Freeform: Shape 6358">
                  <a:extLst>
                    <a:ext uri="{FF2B5EF4-FFF2-40B4-BE49-F238E27FC236}">
                      <a16:creationId xmlns:a16="http://schemas.microsoft.com/office/drawing/2014/main" id="{8FAAC703-347F-3017-1ECA-708B49EAA941}"/>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60" name="Freeform: Shape 6359">
                  <a:extLst>
                    <a:ext uri="{FF2B5EF4-FFF2-40B4-BE49-F238E27FC236}">
                      <a16:creationId xmlns:a16="http://schemas.microsoft.com/office/drawing/2014/main" id="{311B0C92-A2DB-F42D-C8CC-E6B75E906511}"/>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32" name="Group 6331">
                <a:extLst>
                  <a:ext uri="{FF2B5EF4-FFF2-40B4-BE49-F238E27FC236}">
                    <a16:creationId xmlns:a16="http://schemas.microsoft.com/office/drawing/2014/main" id="{2A8CFA16-A729-5A84-FA50-15D5F352C414}"/>
                  </a:ext>
                </a:extLst>
              </p:cNvPr>
              <p:cNvGrpSpPr/>
              <p:nvPr/>
            </p:nvGrpSpPr>
            <p:grpSpPr>
              <a:xfrm>
                <a:off x="3029757" y="4619731"/>
                <a:ext cx="68967" cy="162922"/>
                <a:chOff x="4475654" y="2372796"/>
                <a:chExt cx="176985" cy="418095"/>
              </a:xfrm>
              <a:grpFill/>
            </p:grpSpPr>
            <p:sp>
              <p:nvSpPr>
                <p:cNvPr id="6357" name="Freeform: Shape 6356">
                  <a:extLst>
                    <a:ext uri="{FF2B5EF4-FFF2-40B4-BE49-F238E27FC236}">
                      <a16:creationId xmlns:a16="http://schemas.microsoft.com/office/drawing/2014/main" id="{FB51A6FF-2A39-EF35-18AA-1CB5FA92E4CB}"/>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58" name="Freeform: Shape 6357">
                  <a:extLst>
                    <a:ext uri="{FF2B5EF4-FFF2-40B4-BE49-F238E27FC236}">
                      <a16:creationId xmlns:a16="http://schemas.microsoft.com/office/drawing/2014/main" id="{6A25D2CE-70FA-2286-5C13-4229B7807BE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33" name="Group 6332">
                <a:extLst>
                  <a:ext uri="{FF2B5EF4-FFF2-40B4-BE49-F238E27FC236}">
                    <a16:creationId xmlns:a16="http://schemas.microsoft.com/office/drawing/2014/main" id="{04E70E1D-B047-A54D-700F-E1ADDC975B0E}"/>
                  </a:ext>
                </a:extLst>
              </p:cNvPr>
              <p:cNvGrpSpPr/>
              <p:nvPr/>
            </p:nvGrpSpPr>
            <p:grpSpPr>
              <a:xfrm>
                <a:off x="3138094" y="4619731"/>
                <a:ext cx="68967" cy="162922"/>
                <a:chOff x="4475654" y="2372796"/>
                <a:chExt cx="176985" cy="418095"/>
              </a:xfrm>
              <a:grpFill/>
            </p:grpSpPr>
            <p:sp>
              <p:nvSpPr>
                <p:cNvPr id="6355" name="Freeform: Shape 6354">
                  <a:extLst>
                    <a:ext uri="{FF2B5EF4-FFF2-40B4-BE49-F238E27FC236}">
                      <a16:creationId xmlns:a16="http://schemas.microsoft.com/office/drawing/2014/main" id="{5D25F3D4-2C4C-8982-3A98-CBBC06F83DC1}"/>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56" name="Freeform: Shape 6355">
                  <a:extLst>
                    <a:ext uri="{FF2B5EF4-FFF2-40B4-BE49-F238E27FC236}">
                      <a16:creationId xmlns:a16="http://schemas.microsoft.com/office/drawing/2014/main" id="{FE35941A-2711-A429-B5AA-613D88F85C1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34" name="Group 6333">
                <a:extLst>
                  <a:ext uri="{FF2B5EF4-FFF2-40B4-BE49-F238E27FC236}">
                    <a16:creationId xmlns:a16="http://schemas.microsoft.com/office/drawing/2014/main" id="{944B433B-A2BF-2D27-8409-ED8BA47CDCD0}"/>
                  </a:ext>
                </a:extLst>
              </p:cNvPr>
              <p:cNvGrpSpPr/>
              <p:nvPr/>
            </p:nvGrpSpPr>
            <p:grpSpPr>
              <a:xfrm>
                <a:off x="3246431" y="4619731"/>
                <a:ext cx="68967" cy="162922"/>
                <a:chOff x="4475654" y="2372796"/>
                <a:chExt cx="176985" cy="418095"/>
              </a:xfrm>
              <a:grpFill/>
            </p:grpSpPr>
            <p:sp>
              <p:nvSpPr>
                <p:cNvPr id="6353" name="Freeform: Shape 6352">
                  <a:extLst>
                    <a:ext uri="{FF2B5EF4-FFF2-40B4-BE49-F238E27FC236}">
                      <a16:creationId xmlns:a16="http://schemas.microsoft.com/office/drawing/2014/main" id="{301B278C-1D94-834E-C9B0-6D752109C63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54" name="Freeform: Shape 6353">
                  <a:extLst>
                    <a:ext uri="{FF2B5EF4-FFF2-40B4-BE49-F238E27FC236}">
                      <a16:creationId xmlns:a16="http://schemas.microsoft.com/office/drawing/2014/main" id="{6B698082-C572-1D55-7A88-4B549C86245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35" name="Group 6334">
                <a:extLst>
                  <a:ext uri="{FF2B5EF4-FFF2-40B4-BE49-F238E27FC236}">
                    <a16:creationId xmlns:a16="http://schemas.microsoft.com/office/drawing/2014/main" id="{3D909A47-C029-6738-40B6-A6C47FAD97B9}"/>
                  </a:ext>
                </a:extLst>
              </p:cNvPr>
              <p:cNvGrpSpPr/>
              <p:nvPr/>
            </p:nvGrpSpPr>
            <p:grpSpPr>
              <a:xfrm>
                <a:off x="3354768" y="4619731"/>
                <a:ext cx="68967" cy="162922"/>
                <a:chOff x="4475654" y="2372796"/>
                <a:chExt cx="176985" cy="418095"/>
              </a:xfrm>
              <a:grpFill/>
            </p:grpSpPr>
            <p:sp>
              <p:nvSpPr>
                <p:cNvPr id="6351" name="Freeform: Shape 6350">
                  <a:extLst>
                    <a:ext uri="{FF2B5EF4-FFF2-40B4-BE49-F238E27FC236}">
                      <a16:creationId xmlns:a16="http://schemas.microsoft.com/office/drawing/2014/main" id="{EF7CC24A-2E7B-C11F-3A5A-601BE5F6D25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52" name="Freeform: Shape 6351">
                  <a:extLst>
                    <a:ext uri="{FF2B5EF4-FFF2-40B4-BE49-F238E27FC236}">
                      <a16:creationId xmlns:a16="http://schemas.microsoft.com/office/drawing/2014/main" id="{65358C09-6C43-D313-C620-14495B3E664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36" name="Group 6335">
                <a:extLst>
                  <a:ext uri="{FF2B5EF4-FFF2-40B4-BE49-F238E27FC236}">
                    <a16:creationId xmlns:a16="http://schemas.microsoft.com/office/drawing/2014/main" id="{48801FAD-7946-3708-5E57-CC8A5AD22FE7}"/>
                  </a:ext>
                </a:extLst>
              </p:cNvPr>
              <p:cNvGrpSpPr/>
              <p:nvPr/>
            </p:nvGrpSpPr>
            <p:grpSpPr>
              <a:xfrm>
                <a:off x="3463105" y="4619731"/>
                <a:ext cx="68967" cy="162922"/>
                <a:chOff x="4475654" y="2372796"/>
                <a:chExt cx="176985" cy="418095"/>
              </a:xfrm>
              <a:grpFill/>
            </p:grpSpPr>
            <p:sp>
              <p:nvSpPr>
                <p:cNvPr id="6349" name="Freeform: Shape 6348">
                  <a:extLst>
                    <a:ext uri="{FF2B5EF4-FFF2-40B4-BE49-F238E27FC236}">
                      <a16:creationId xmlns:a16="http://schemas.microsoft.com/office/drawing/2014/main" id="{D50206D2-C71F-1CCD-7D0F-142EB1CBB6CE}"/>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50" name="Freeform: Shape 6349">
                  <a:extLst>
                    <a:ext uri="{FF2B5EF4-FFF2-40B4-BE49-F238E27FC236}">
                      <a16:creationId xmlns:a16="http://schemas.microsoft.com/office/drawing/2014/main" id="{94505F68-C10F-5CB3-721C-62144757EA4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37" name="Group 6336">
                <a:extLst>
                  <a:ext uri="{FF2B5EF4-FFF2-40B4-BE49-F238E27FC236}">
                    <a16:creationId xmlns:a16="http://schemas.microsoft.com/office/drawing/2014/main" id="{CE9D8D3A-FECE-D254-880E-D4B97EBEF862}"/>
                  </a:ext>
                </a:extLst>
              </p:cNvPr>
              <p:cNvGrpSpPr/>
              <p:nvPr/>
            </p:nvGrpSpPr>
            <p:grpSpPr>
              <a:xfrm>
                <a:off x="3571442" y="4619731"/>
                <a:ext cx="68967" cy="162922"/>
                <a:chOff x="4475654" y="2372796"/>
                <a:chExt cx="176985" cy="418095"/>
              </a:xfrm>
              <a:grpFill/>
            </p:grpSpPr>
            <p:sp>
              <p:nvSpPr>
                <p:cNvPr id="6347" name="Freeform: Shape 6346">
                  <a:extLst>
                    <a:ext uri="{FF2B5EF4-FFF2-40B4-BE49-F238E27FC236}">
                      <a16:creationId xmlns:a16="http://schemas.microsoft.com/office/drawing/2014/main" id="{C6A5350D-049E-03F7-E98D-D6E8139EFF7E}"/>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48" name="Freeform: Shape 6347">
                  <a:extLst>
                    <a:ext uri="{FF2B5EF4-FFF2-40B4-BE49-F238E27FC236}">
                      <a16:creationId xmlns:a16="http://schemas.microsoft.com/office/drawing/2014/main" id="{92E612D0-E477-227D-BA2B-4E784CC2268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38" name="Group 6337">
                <a:extLst>
                  <a:ext uri="{FF2B5EF4-FFF2-40B4-BE49-F238E27FC236}">
                    <a16:creationId xmlns:a16="http://schemas.microsoft.com/office/drawing/2014/main" id="{BA0D2555-239A-84AE-F65B-7190958B16F3}"/>
                  </a:ext>
                </a:extLst>
              </p:cNvPr>
              <p:cNvGrpSpPr/>
              <p:nvPr/>
            </p:nvGrpSpPr>
            <p:grpSpPr>
              <a:xfrm>
                <a:off x="3679779" y="4619731"/>
                <a:ext cx="68967" cy="162922"/>
                <a:chOff x="4475654" y="2372796"/>
                <a:chExt cx="176985" cy="418095"/>
              </a:xfrm>
              <a:grpFill/>
            </p:grpSpPr>
            <p:sp>
              <p:nvSpPr>
                <p:cNvPr id="6345" name="Freeform: Shape 6344">
                  <a:extLst>
                    <a:ext uri="{FF2B5EF4-FFF2-40B4-BE49-F238E27FC236}">
                      <a16:creationId xmlns:a16="http://schemas.microsoft.com/office/drawing/2014/main" id="{39B67319-5F78-B19E-4067-7CBFCBCB715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46" name="Freeform: Shape 6345">
                  <a:extLst>
                    <a:ext uri="{FF2B5EF4-FFF2-40B4-BE49-F238E27FC236}">
                      <a16:creationId xmlns:a16="http://schemas.microsoft.com/office/drawing/2014/main" id="{8C2E60F7-CCF5-5B44-1CE1-9A698D6C86E1}"/>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39" name="Group 6338">
                <a:extLst>
                  <a:ext uri="{FF2B5EF4-FFF2-40B4-BE49-F238E27FC236}">
                    <a16:creationId xmlns:a16="http://schemas.microsoft.com/office/drawing/2014/main" id="{5D084B7F-62E5-1AC9-B242-5090CC2358FA}"/>
                  </a:ext>
                </a:extLst>
              </p:cNvPr>
              <p:cNvGrpSpPr/>
              <p:nvPr/>
            </p:nvGrpSpPr>
            <p:grpSpPr>
              <a:xfrm>
                <a:off x="3788116" y="4619731"/>
                <a:ext cx="68967" cy="162922"/>
                <a:chOff x="4475654" y="2372796"/>
                <a:chExt cx="176985" cy="418095"/>
              </a:xfrm>
              <a:grpFill/>
            </p:grpSpPr>
            <p:sp>
              <p:nvSpPr>
                <p:cNvPr id="6343" name="Freeform: Shape 6342">
                  <a:extLst>
                    <a:ext uri="{FF2B5EF4-FFF2-40B4-BE49-F238E27FC236}">
                      <a16:creationId xmlns:a16="http://schemas.microsoft.com/office/drawing/2014/main" id="{695ABBF3-6C63-22B4-6DE9-3F383AF5187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44" name="Freeform: Shape 6343">
                  <a:extLst>
                    <a:ext uri="{FF2B5EF4-FFF2-40B4-BE49-F238E27FC236}">
                      <a16:creationId xmlns:a16="http://schemas.microsoft.com/office/drawing/2014/main" id="{274D8472-5700-969D-C426-E4CBFC1FA79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340" name="Group 6339">
                <a:extLst>
                  <a:ext uri="{FF2B5EF4-FFF2-40B4-BE49-F238E27FC236}">
                    <a16:creationId xmlns:a16="http://schemas.microsoft.com/office/drawing/2014/main" id="{11C4ADDE-8260-6029-9C7F-13DF6F01FCEF}"/>
                  </a:ext>
                </a:extLst>
              </p:cNvPr>
              <p:cNvGrpSpPr/>
              <p:nvPr/>
            </p:nvGrpSpPr>
            <p:grpSpPr>
              <a:xfrm>
                <a:off x="3896451" y="4619731"/>
                <a:ext cx="68967" cy="162922"/>
                <a:chOff x="4475654" y="2372796"/>
                <a:chExt cx="176985" cy="418095"/>
              </a:xfrm>
              <a:grpFill/>
            </p:grpSpPr>
            <p:sp>
              <p:nvSpPr>
                <p:cNvPr id="6341" name="Freeform: Shape 6340">
                  <a:extLst>
                    <a:ext uri="{FF2B5EF4-FFF2-40B4-BE49-F238E27FC236}">
                      <a16:creationId xmlns:a16="http://schemas.microsoft.com/office/drawing/2014/main" id="{0F5A1359-0B62-18DE-91A0-74E586288A8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42" name="Freeform: Shape 6341">
                  <a:extLst>
                    <a:ext uri="{FF2B5EF4-FFF2-40B4-BE49-F238E27FC236}">
                      <a16:creationId xmlns:a16="http://schemas.microsoft.com/office/drawing/2014/main" id="{E61BEE52-062B-53C6-14D1-4602DC41729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grpSp>
      <p:sp>
        <p:nvSpPr>
          <p:cNvPr id="8" name="Content Placeholder 21">
            <a:extLst>
              <a:ext uri="{FF2B5EF4-FFF2-40B4-BE49-F238E27FC236}">
                <a16:creationId xmlns:a16="http://schemas.microsoft.com/office/drawing/2014/main" id="{98E52A8D-9CF3-C4F5-D470-CDE74AE306DF}"/>
              </a:ext>
            </a:extLst>
          </p:cNvPr>
          <p:cNvSpPr txBox="1">
            <a:spLocks/>
          </p:cNvSpPr>
          <p:nvPr/>
        </p:nvSpPr>
        <p:spPr>
          <a:xfrm>
            <a:off x="1158241" y="5011210"/>
            <a:ext cx="9875521" cy="591792"/>
          </a:xfrm>
          <a:prstGeom prst="rect">
            <a:avLst/>
          </a:prstGeom>
          <a:gradFill flip="none" rotWithShape="1">
            <a:gsLst>
              <a:gs pos="100000">
                <a:schemeClr val="accent5"/>
              </a:gs>
              <a:gs pos="50000">
                <a:schemeClr val="accent3"/>
              </a:gs>
              <a:gs pos="0">
                <a:schemeClr val="accent1"/>
              </a:gs>
            </a:gsLst>
            <a:lin ang="2400000" scaled="0"/>
            <a:tileRect/>
          </a:gradFill>
          <a:ln>
            <a:noFill/>
          </a:ln>
        </p:spPr>
        <p:txBody>
          <a:bodyPr vert="horz" wrap="square" lIns="64800" tIns="64800" rIns="5119200" bIns="0" rtlCol="0" anchor="t">
            <a:noAutofit/>
          </a:bodyPr>
          <a:lstStyle>
            <a:defPPr>
              <a:defRPr lang="en-US"/>
            </a:defPPr>
            <a:lvl1pPr marL="10160" defTabSz="914354">
              <a:spcBef>
                <a:spcPts val="300"/>
              </a:spcBef>
              <a:spcAft>
                <a:spcPts val="200"/>
              </a:spcAft>
              <a:buClr>
                <a:srgbClr val="000000"/>
              </a:buClr>
              <a:defRPr sz="1000" kern="0">
                <a:solidFill>
                  <a:srgbClr val="231F20"/>
                </a:solidFill>
                <a:ea typeface="Lato"/>
                <a:cs typeface="Lato"/>
              </a:defRPr>
            </a:lvl1pPr>
            <a:lvl2pPr marL="342900" defTabSz="342900">
              <a:defRPr sz="1350"/>
            </a:lvl2pPr>
            <a:lvl3pPr marL="685800" defTabSz="342900">
              <a:defRPr sz="1350"/>
            </a:lvl3pPr>
            <a:lvl4pPr marL="1028700" defTabSz="342900">
              <a:defRPr sz="1350"/>
            </a:lvl4pPr>
            <a:lvl5pPr marL="1371600" defTabSz="342900">
              <a:defRPr sz="1350"/>
            </a:lvl5pPr>
            <a:lvl6pPr marL="1714500" defTabSz="342900">
              <a:defRPr sz="1350"/>
            </a:lvl6pPr>
            <a:lvl7pPr marL="2057400" defTabSz="342900">
              <a:defRPr sz="1350"/>
            </a:lvl7pPr>
            <a:lvl8pPr marL="2400300" defTabSz="342900">
              <a:defRPr sz="1350"/>
            </a:lvl8pPr>
            <a:lvl9pPr marL="2743200" defTabSz="342900">
              <a:defRPr sz="1350"/>
            </a:lvl9pPr>
          </a:lstStyle>
          <a:p>
            <a:pPr marL="10160" marR="0" lvl="0" indent="0" algn="l" defTabSz="914354" rtl="0" eaLnBrk="0" fontAlgn="base" latinLnBrk="0" hangingPunct="0">
              <a:lnSpc>
                <a:spcPct val="100000"/>
              </a:lnSpc>
              <a:spcBef>
                <a:spcPts val="300"/>
              </a:spcBef>
              <a:spcAft>
                <a:spcPts val="200"/>
              </a:spcAft>
              <a:buClr>
                <a:srgbClr val="000000"/>
              </a:buClr>
              <a:buSzTx/>
              <a:buFontTx/>
              <a:buNone/>
              <a:tabLst/>
              <a:defRPr/>
            </a:pPr>
            <a:endParaRPr kumimoji="0" lang="en-US" sz="900" b="0" i="0" u="none" strike="noStrike" kern="0" cap="none" spc="0" normalizeH="0" baseline="0" noProof="0" dirty="0">
              <a:ln>
                <a:noFill/>
              </a:ln>
              <a:solidFill>
                <a:srgbClr val="231F20"/>
              </a:solidFill>
              <a:effectLst/>
              <a:uLnTx/>
              <a:uFillTx/>
              <a:latin typeface="Calibri" panose="020F0502020204030204" pitchFamily="34" charset="0"/>
              <a:ea typeface="Lato"/>
              <a:cs typeface="Lato"/>
            </a:endParaRPr>
          </a:p>
        </p:txBody>
      </p:sp>
      <p:grpSp>
        <p:nvGrpSpPr>
          <p:cNvPr id="10" name="Group 9">
            <a:extLst>
              <a:ext uri="{FF2B5EF4-FFF2-40B4-BE49-F238E27FC236}">
                <a16:creationId xmlns:a16="http://schemas.microsoft.com/office/drawing/2014/main" id="{43D3823C-E170-F40D-9509-9CB8D546D991}"/>
              </a:ext>
            </a:extLst>
          </p:cNvPr>
          <p:cNvGrpSpPr/>
          <p:nvPr/>
        </p:nvGrpSpPr>
        <p:grpSpPr>
          <a:xfrm>
            <a:off x="2313631" y="5101366"/>
            <a:ext cx="7732733" cy="411480"/>
            <a:chOff x="1010255" y="5066846"/>
            <a:chExt cx="8591926" cy="457200"/>
          </a:xfrm>
        </p:grpSpPr>
        <p:sp>
          <p:nvSpPr>
            <p:cNvPr id="11" name="Content Placeholder 15">
              <a:extLst>
                <a:ext uri="{FF2B5EF4-FFF2-40B4-BE49-F238E27FC236}">
                  <a16:creationId xmlns:a16="http://schemas.microsoft.com/office/drawing/2014/main" id="{66498B39-C822-4C62-2817-BE46786FBB86}"/>
                </a:ext>
              </a:extLst>
            </p:cNvPr>
            <p:cNvSpPr txBox="1">
              <a:spLocks/>
            </p:cNvSpPr>
            <p:nvPr/>
          </p:nvSpPr>
          <p:spPr>
            <a:xfrm>
              <a:off x="1630638" y="5187725"/>
              <a:ext cx="4137529" cy="215443"/>
            </a:xfrm>
            <a:prstGeom prst="rect">
              <a:avLst/>
            </a:prstGeom>
          </p:spPr>
          <p:txBody>
            <a:bodyPr vert="horz" wrap="none" lIns="0" tIns="0" rIns="0" bIns="0" rtlCol="0">
              <a:spAutoFit/>
            </a:bodyPr>
            <a:lstStyle>
              <a:defPPr marR="0" lvl="0" algn="l" rtl="0">
                <a:lnSpc>
                  <a:spcPct val="100000"/>
                </a:lnSpc>
                <a:spcBef>
                  <a:spcPts val="0"/>
                </a:spcBef>
                <a:spcAft>
                  <a:spcPts val="0"/>
                </a:spcAft>
              </a:defPPr>
              <a:lvl1pPr marL="0" marR="0" lvl="0" indent="0" algn="l" rtl="0">
                <a:lnSpc>
                  <a:spcPct val="100000"/>
                </a:lnSpc>
                <a:spcBef>
                  <a:spcPts val="600"/>
                </a:spcBef>
                <a:spcAft>
                  <a:spcPts val="600"/>
                </a:spcAft>
                <a:buClr>
                  <a:srgbClr val="000000"/>
                </a:buClr>
                <a:buFont typeface="Arial"/>
                <a:defRPr sz="1600" b="0" i="0" u="none" strike="noStrike" cap="none">
                  <a:solidFill>
                    <a:srgbClr val="000000"/>
                  </a:solidFill>
                  <a:latin typeface="+mn-lt"/>
                  <a:ea typeface="Lato" panose="020F0502020204030203" pitchFamily="34" charset="0"/>
                  <a:cs typeface="Lato" panose="020F0502020204030203" pitchFamily="34" charset="0"/>
                  <a:sym typeface="Arial"/>
                </a:defRPr>
              </a:lvl1pPr>
              <a:lvl2pPr marL="216000" marR="0" lvl="1" indent="-216000" algn="l" rtl="0">
                <a:lnSpc>
                  <a:spcPct val="100000"/>
                </a:lnSpc>
                <a:spcBef>
                  <a:spcPts val="600"/>
                </a:spcBef>
                <a:spcAft>
                  <a:spcPts val="300"/>
                </a:spcAft>
                <a:buClr>
                  <a:srgbClr val="000000"/>
                </a:buClr>
                <a:buFontTx/>
                <a:buBlip>
                  <a:blip>
                    <a:extLst>
                      <a:ext uri="{96DAC541-7B7A-43D3-8B79-37D633B846F1}">
                        <asvg:svgBlip xmlns:asvg="http://schemas.microsoft.com/office/drawing/2016/SVG/main" r:embed="rId3"/>
                      </a:ext>
                    </a:extLst>
                  </a:blip>
                </a:buBlip>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2pPr>
              <a:lvl3pPr marL="432000" marR="0" lvl="2"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3pPr>
              <a:lvl4pPr marL="648000" marR="0" lvl="3"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4pPr>
              <a:lvl5pPr marL="864000" marR="0" lvl="4" indent="-216000" algn="l" rtl="0">
                <a:lnSpc>
                  <a:spcPct val="100000"/>
                </a:lnSpc>
                <a:spcBef>
                  <a:spcPts val="600"/>
                </a:spcBef>
                <a:spcAft>
                  <a:spcPts val="300"/>
                </a:spcAft>
                <a:buClr>
                  <a:srgbClr val="000000"/>
                </a:buClr>
                <a:buFont typeface="Arial" panose="020B0604020202020204" pitchFamily="34" charset="0"/>
                <a:buChar char="–"/>
                <a:defRPr lang="en-US" sz="1400" b="0" i="0" u="none" strike="noStrike" kern="0" cap="none" dirty="0">
                  <a:solidFill>
                    <a:srgbClr val="000000"/>
                  </a:solidFill>
                  <a:latin typeface="+mn-lt"/>
                  <a:ea typeface="Lato" panose="020F0502020204030203" pitchFamily="34" charset="0"/>
                  <a:cs typeface="Lato" panose="020F0502020204030203" pitchFamily="34" charset="0"/>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0" fontAlgn="base" latinLnBrk="0" hangingPunct="0">
                <a:lnSpc>
                  <a:spcPct val="100000"/>
                </a:lnSpc>
                <a:spcBef>
                  <a:spcPts val="600"/>
                </a:spcBef>
                <a:spcAft>
                  <a:spcPts val="600"/>
                </a:spcAft>
                <a:buClr>
                  <a:srgbClr val="000000"/>
                </a:buClr>
                <a:buSzTx/>
                <a:buFont typeface="Arial"/>
                <a:buNone/>
                <a:tabLst/>
                <a:defRPr/>
              </a:pPr>
              <a:r>
                <a:rPr kumimoji="0" lang="en-US" sz="1260" b="1" i="0" u="none" strike="noStrike" kern="0" cap="none" spc="0" normalizeH="0" baseline="0" noProof="0" dirty="0">
                  <a:ln>
                    <a:noFill/>
                  </a:ln>
                  <a:solidFill>
                    <a:prstClr val="white"/>
                  </a:solidFill>
                  <a:effectLst/>
                  <a:uLnTx/>
                  <a:uFillTx/>
                  <a:latin typeface="Aptos" panose="02110004020202020204"/>
                  <a:ea typeface="Lato" panose="020F0502020204030203" pitchFamily="34" charset="0"/>
                  <a:cs typeface="Lato" panose="020F0502020204030203" pitchFamily="34" charset="0"/>
                  <a:sym typeface="Arial"/>
                </a:rPr>
                <a:t>~20,000 addressable patients per year in the US</a:t>
              </a:r>
              <a:r>
                <a:rPr kumimoji="0" lang="en-US" sz="1260" b="1" i="0" u="none" strike="noStrike" kern="0" cap="none" spc="0" normalizeH="0" baseline="30000" noProof="0" dirty="0">
                  <a:ln>
                    <a:noFill/>
                  </a:ln>
                  <a:solidFill>
                    <a:prstClr val="white"/>
                  </a:solidFill>
                  <a:effectLst/>
                  <a:uLnTx/>
                  <a:uFillTx/>
                  <a:latin typeface="Aptos" panose="02110004020202020204"/>
                  <a:ea typeface="Lato" panose="020F0502020204030203" pitchFamily="34" charset="0"/>
                  <a:cs typeface="Lato" panose="020F0502020204030203" pitchFamily="34" charset="0"/>
                  <a:sym typeface="Arial"/>
                </a:rPr>
                <a:t>1</a:t>
              </a:r>
            </a:p>
          </p:txBody>
        </p:sp>
        <p:sp>
          <p:nvSpPr>
            <p:cNvPr id="16" name="Content Placeholder 15">
              <a:extLst>
                <a:ext uri="{FF2B5EF4-FFF2-40B4-BE49-F238E27FC236}">
                  <a16:creationId xmlns:a16="http://schemas.microsoft.com/office/drawing/2014/main" id="{1F9B281D-5F4D-5A48-113D-03412961A938}"/>
                </a:ext>
              </a:extLst>
            </p:cNvPr>
            <p:cNvSpPr txBox="1">
              <a:spLocks/>
            </p:cNvSpPr>
            <p:nvPr/>
          </p:nvSpPr>
          <p:spPr>
            <a:xfrm>
              <a:off x="6613471" y="5187725"/>
              <a:ext cx="2988710" cy="215443"/>
            </a:xfrm>
            <a:prstGeom prst="rect">
              <a:avLst/>
            </a:prstGeom>
          </p:spPr>
          <p:txBody>
            <a:bodyPr vert="horz" wrap="none" lIns="0" tIns="0" rIns="0" bIns="0" rtlCol="0">
              <a:spAutoFit/>
            </a:bodyPr>
            <a:lstStyle>
              <a:defPPr marR="0" lvl="0" algn="l" rtl="0">
                <a:lnSpc>
                  <a:spcPct val="100000"/>
                </a:lnSpc>
                <a:spcBef>
                  <a:spcPts val="0"/>
                </a:spcBef>
                <a:spcAft>
                  <a:spcPts val="0"/>
                </a:spcAft>
              </a:defPPr>
              <a:lvl1pPr marL="0" marR="0" lvl="0" indent="0" algn="l" rtl="0">
                <a:lnSpc>
                  <a:spcPct val="100000"/>
                </a:lnSpc>
                <a:spcBef>
                  <a:spcPts val="600"/>
                </a:spcBef>
                <a:spcAft>
                  <a:spcPts val="600"/>
                </a:spcAft>
                <a:buClr>
                  <a:srgbClr val="000000"/>
                </a:buClr>
                <a:buFont typeface="Arial"/>
                <a:defRPr sz="1600" b="0" i="0" u="none" strike="noStrike" cap="none">
                  <a:solidFill>
                    <a:srgbClr val="000000"/>
                  </a:solidFill>
                  <a:latin typeface="+mn-lt"/>
                  <a:ea typeface="Lato" panose="020F0502020204030203" pitchFamily="34" charset="0"/>
                  <a:cs typeface="Lato" panose="020F0502020204030203" pitchFamily="34" charset="0"/>
                  <a:sym typeface="Arial"/>
                </a:defRPr>
              </a:lvl1pPr>
              <a:lvl2pPr marL="216000" marR="0" lvl="1" indent="-216000" algn="l" rtl="0">
                <a:lnSpc>
                  <a:spcPct val="100000"/>
                </a:lnSpc>
                <a:spcBef>
                  <a:spcPts val="600"/>
                </a:spcBef>
                <a:spcAft>
                  <a:spcPts val="300"/>
                </a:spcAft>
                <a:buClr>
                  <a:srgbClr val="000000"/>
                </a:buClr>
                <a:buFontTx/>
                <a:buBlip>
                  <a:blip>
                    <a:extLst>
                      <a:ext uri="{96DAC541-7B7A-43D3-8B79-37D633B846F1}">
                        <asvg:svgBlip xmlns:asvg="http://schemas.microsoft.com/office/drawing/2016/SVG/main" r:embed="rId3"/>
                      </a:ext>
                    </a:extLst>
                  </a:blip>
                </a:buBlip>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2pPr>
              <a:lvl3pPr marL="432000" marR="0" lvl="2"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3pPr>
              <a:lvl4pPr marL="648000" marR="0" lvl="3"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4pPr>
              <a:lvl5pPr marL="864000" marR="0" lvl="4" indent="-216000" algn="l" rtl="0">
                <a:lnSpc>
                  <a:spcPct val="100000"/>
                </a:lnSpc>
                <a:spcBef>
                  <a:spcPts val="600"/>
                </a:spcBef>
                <a:spcAft>
                  <a:spcPts val="300"/>
                </a:spcAft>
                <a:buClr>
                  <a:srgbClr val="000000"/>
                </a:buClr>
                <a:buFont typeface="Arial" panose="020B0604020202020204" pitchFamily="34" charset="0"/>
                <a:buChar char="–"/>
                <a:defRPr lang="en-US" sz="1400" b="0" i="0" u="none" strike="noStrike" kern="0" cap="none" dirty="0">
                  <a:solidFill>
                    <a:srgbClr val="000000"/>
                  </a:solidFill>
                  <a:latin typeface="+mn-lt"/>
                  <a:ea typeface="Lato" panose="020F0502020204030203" pitchFamily="34" charset="0"/>
                  <a:cs typeface="Lato" panose="020F0502020204030203" pitchFamily="34" charset="0"/>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0" fontAlgn="base" latinLnBrk="0" hangingPunct="0">
                <a:lnSpc>
                  <a:spcPct val="100000"/>
                </a:lnSpc>
                <a:spcBef>
                  <a:spcPts val="600"/>
                </a:spcBef>
                <a:spcAft>
                  <a:spcPts val="600"/>
                </a:spcAft>
                <a:buClr>
                  <a:srgbClr val="000000"/>
                </a:buClr>
                <a:buSzTx/>
                <a:buFont typeface="Arial"/>
                <a:buNone/>
                <a:tabLst/>
                <a:defRPr/>
              </a:pPr>
              <a:r>
                <a:rPr kumimoji="0" lang="en-US" sz="1260" b="1" i="0" u="none" strike="noStrike" kern="0" cap="none" spc="0" normalizeH="0" baseline="0" noProof="0" dirty="0">
                  <a:ln>
                    <a:noFill/>
                  </a:ln>
                  <a:solidFill>
                    <a:prstClr val="white"/>
                  </a:solidFill>
                  <a:effectLst/>
                  <a:uLnTx/>
                  <a:uFillTx/>
                  <a:latin typeface="Aptos" panose="02110004020202020204"/>
                  <a:ea typeface="Lato" panose="020F0502020204030203" pitchFamily="34" charset="0"/>
                  <a:cs typeface="Lato" panose="020F0502020204030203" pitchFamily="34" charset="0"/>
                  <a:sym typeface="Arial"/>
                </a:rPr>
                <a:t>Results expected by year-end 2026</a:t>
              </a:r>
            </a:p>
          </p:txBody>
        </p:sp>
        <p:pic>
          <p:nvPicPr>
            <p:cNvPr id="23" name="Graphic 22">
              <a:extLst>
                <a:ext uri="{FF2B5EF4-FFF2-40B4-BE49-F238E27FC236}">
                  <a16:creationId xmlns:a16="http://schemas.microsoft.com/office/drawing/2014/main" id="{21EC5460-9D47-C9CB-DF4E-CF91E7B29C38}"/>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10255" y="5089340"/>
              <a:ext cx="436461" cy="412213"/>
            </a:xfrm>
            <a:prstGeom prst="rect">
              <a:avLst/>
            </a:prstGeom>
          </p:spPr>
        </p:pic>
        <p:pic>
          <p:nvPicPr>
            <p:cNvPr id="24" name="Graphic 23">
              <a:extLst>
                <a:ext uri="{FF2B5EF4-FFF2-40B4-BE49-F238E27FC236}">
                  <a16:creationId xmlns:a16="http://schemas.microsoft.com/office/drawing/2014/main" id="{A180A769-D022-1AF3-58C5-35251D67209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969489" y="5066846"/>
              <a:ext cx="457200" cy="457200"/>
            </a:xfrm>
            <a:prstGeom prst="rect">
              <a:avLst/>
            </a:prstGeom>
          </p:spPr>
        </p:pic>
      </p:grpSp>
      <p:pic>
        <p:nvPicPr>
          <p:cNvPr id="25" name="Picture 4" descr="logo U pitt 1[1]">
            <a:extLst>
              <a:ext uri="{FF2B5EF4-FFF2-40B4-BE49-F238E27FC236}">
                <a16:creationId xmlns:a16="http://schemas.microsoft.com/office/drawing/2014/main" id="{53A8FC07-DF9D-891D-4F9A-F090C88881B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Text Placeholder 9">
            <a:extLst>
              <a:ext uri="{FF2B5EF4-FFF2-40B4-BE49-F238E27FC236}">
                <a16:creationId xmlns:a16="http://schemas.microsoft.com/office/drawing/2014/main" id="{9587B5EA-4264-E0B7-B9CC-6E88E589225E}"/>
              </a:ext>
            </a:extLst>
          </p:cNvPr>
          <p:cNvSpPr txBox="1">
            <a:spLocks/>
          </p:cNvSpPr>
          <p:nvPr/>
        </p:nvSpPr>
        <p:spPr>
          <a:xfrm>
            <a:off x="1158239" y="5887706"/>
            <a:ext cx="8553600" cy="391454"/>
          </a:xfrm>
          <a:prstGeom prst="rect">
            <a:avLst/>
          </a:prstGeom>
        </p:spPr>
        <p:txBody>
          <a:bodyPr vert="horz" lIns="91440" tIns="45720" rIns="91440" bIns="45720" rtlCol="0" anchor="b">
            <a:spAutoFit/>
          </a:bodyPr>
          <a:lstStyle>
            <a:lvl1pPr marL="228600" indent="-228600" algn="l" defTabSz="914400" rtl="0" eaLnBrk="1" latinLnBrk="0" hangingPunct="1">
              <a:lnSpc>
                <a:spcPct val="90000"/>
              </a:lnSpc>
              <a:spcBef>
                <a:spcPts val="0"/>
              </a:spcBef>
              <a:spcAft>
                <a:spcPts val="0"/>
              </a:spcAft>
              <a:buFont typeface="Arial" panose="020B0604020202020204" pitchFamily="34" charset="0"/>
              <a:buChar char="•"/>
              <a:defRPr sz="7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r>
              <a:rPr lang="en-US" baseline="30000"/>
              <a:t>1</a:t>
            </a:r>
            <a:r>
              <a:rPr lang="en-US"/>
              <a:t>Decision Resources Group.</a:t>
            </a:r>
          </a:p>
          <a:p>
            <a:pPr fontAlgn="auto"/>
            <a:r>
              <a:rPr lang="en-US"/>
              <a:t>BOR, best overall response; CBR, clinical benefit rate; DoR, duration of response; ECOG, Eastern Cooperative Oncology Group; EU, European Union; </a:t>
            </a:r>
            <a:br>
              <a:rPr lang="en-US"/>
            </a:br>
            <a:r>
              <a:rPr lang="en-US"/>
              <a:t>IV, intravenous; ORR, objective response rate; PO, by mouth; US, United States.</a:t>
            </a:r>
            <a:endParaRPr lang="en-US" dirty="0"/>
          </a:p>
        </p:txBody>
      </p:sp>
      <p:sp>
        <p:nvSpPr>
          <p:cNvPr id="38" name="TextBox 37">
            <a:extLst>
              <a:ext uri="{FF2B5EF4-FFF2-40B4-BE49-F238E27FC236}">
                <a16:creationId xmlns:a16="http://schemas.microsoft.com/office/drawing/2014/main" id="{2094704C-95CD-8861-5811-B5E2D057589B}"/>
              </a:ext>
            </a:extLst>
          </p:cNvPr>
          <p:cNvSpPr txBox="1"/>
          <p:nvPr/>
        </p:nvSpPr>
        <p:spPr>
          <a:xfrm>
            <a:off x="2465221" y="3702488"/>
            <a:ext cx="1700394" cy="344758"/>
          </a:xfrm>
          <a:prstGeom prst="rect">
            <a:avLst/>
          </a:prstGeom>
          <a:solidFill>
            <a:schemeClr val="bg1">
              <a:alpha val="70000"/>
            </a:schemeClr>
          </a:solidFill>
          <a:ln>
            <a:noFill/>
          </a:ln>
        </p:spPr>
        <p:txBody>
          <a:bodyPr wrap="none" lIns="0" tIns="0" rIns="0" bIns="0" rtlCol="0" anchor="ctr" anchorCtr="0">
            <a:noAutofit/>
          </a:bodyPr>
          <a:lstStyle/>
          <a:p>
            <a:pPr defTabSz="822940">
              <a:buClr>
                <a:srgbClr val="000000"/>
              </a:buClr>
              <a:defRPr/>
            </a:pPr>
            <a:r>
              <a:rPr lang="en-US" sz="1300" b="1" kern="0" dirty="0">
                <a:solidFill>
                  <a:srgbClr val="156168"/>
                </a:solidFill>
                <a:latin typeface="Calibri" panose="020F0502020204030204" pitchFamily="34" charset="0"/>
                <a:cs typeface="Calibri" panose="020F0502020204030204" pitchFamily="34" charset="0"/>
                <a:sym typeface="Lato" panose="020F0502020204030203" pitchFamily="34" charset="0"/>
              </a:rPr>
              <a:t>Conducted at 45 sites</a:t>
            </a:r>
            <a:br>
              <a:rPr lang="en-US" sz="1300" b="1" kern="0" dirty="0">
                <a:solidFill>
                  <a:srgbClr val="156168"/>
                </a:solidFill>
                <a:latin typeface="Calibri" panose="020F0502020204030204" pitchFamily="34" charset="0"/>
                <a:cs typeface="Calibri" panose="020F0502020204030204" pitchFamily="34" charset="0"/>
                <a:sym typeface="Lato" panose="020F0502020204030203" pitchFamily="34" charset="0"/>
              </a:rPr>
            </a:br>
            <a:r>
              <a:rPr lang="en-US" sz="1300" b="1" kern="0" dirty="0">
                <a:solidFill>
                  <a:srgbClr val="156168"/>
                </a:solidFill>
                <a:latin typeface="Calibri" panose="020F0502020204030204" pitchFamily="34" charset="0"/>
                <a:cs typeface="Calibri" panose="020F0502020204030204" pitchFamily="34" charset="0"/>
                <a:sym typeface="Lato" panose="020F0502020204030203" pitchFamily="34" charset="0"/>
              </a:rPr>
              <a:t>in the US, EU and Korea</a:t>
            </a:r>
          </a:p>
        </p:txBody>
      </p:sp>
      <p:sp>
        <p:nvSpPr>
          <p:cNvPr id="47" name="TextBox 46">
            <a:extLst>
              <a:ext uri="{FF2B5EF4-FFF2-40B4-BE49-F238E27FC236}">
                <a16:creationId xmlns:a16="http://schemas.microsoft.com/office/drawing/2014/main" id="{6102FBB9-0E3D-FB3C-0F87-E17BC8E5CE08}"/>
              </a:ext>
            </a:extLst>
          </p:cNvPr>
          <p:cNvSpPr txBox="1"/>
          <p:nvPr/>
        </p:nvSpPr>
        <p:spPr>
          <a:xfrm>
            <a:off x="77556" y="6488540"/>
            <a:ext cx="6440906" cy="30777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hlinkClick r:id="rId13"/>
              </a:rPr>
              <a:t>https://clinicaltrials.gov/study/NCT06906341</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ccessed April 2026</a:t>
            </a:r>
          </a:p>
        </p:txBody>
      </p:sp>
    </p:spTree>
    <p:extLst>
      <p:ext uri="{BB962C8B-B14F-4D97-AF65-F5344CB8AC3E}">
        <p14:creationId xmlns:p14="http://schemas.microsoft.com/office/powerpoint/2010/main" val="25702067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C30CD-1B8F-43F9-F590-65FC3290CD96}"/>
            </a:ext>
          </a:extLst>
        </p:cNvPr>
        <p:cNvGrpSpPr/>
        <p:nvPr/>
      </p:nvGrpSpPr>
      <p:grpSpPr>
        <a:xfrm>
          <a:off x="0" y="0"/>
          <a:ext cx="0" cy="0"/>
          <a:chOff x="0" y="0"/>
          <a:chExt cx="0" cy="0"/>
        </a:xfrm>
      </p:grpSpPr>
      <p:sp>
        <p:nvSpPr>
          <p:cNvPr id="168" name="object 32">
            <a:extLst>
              <a:ext uri="{FF2B5EF4-FFF2-40B4-BE49-F238E27FC236}">
                <a16:creationId xmlns:a16="http://schemas.microsoft.com/office/drawing/2014/main" id="{2B6EB9A6-D41E-2862-47B3-77234CA5E038}"/>
              </a:ext>
            </a:extLst>
          </p:cNvPr>
          <p:cNvSpPr txBox="1"/>
          <p:nvPr/>
        </p:nvSpPr>
        <p:spPr>
          <a:xfrm>
            <a:off x="1032044" y="1948157"/>
            <a:ext cx="9875520" cy="3031370"/>
          </a:xfrm>
          <a:prstGeom prst="rect">
            <a:avLst/>
          </a:prstGeom>
          <a:ln w="12700">
            <a:solidFill>
              <a:schemeClr val="bg2"/>
            </a:solidFill>
          </a:ln>
        </p:spPr>
        <p:txBody>
          <a:bodyPr vert="horz" wrap="square" lIns="64800" tIns="64800" rIns="1620000" bIns="0" rtlCol="0" anchor="t">
            <a:no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9144" marR="0" lvl="0" indent="0" algn="l" defTabSz="822919" rtl="0" eaLnBrk="1" fontAlgn="base" latinLnBrk="0" hangingPunct="1">
              <a:lnSpc>
                <a:spcPct val="100000"/>
              </a:lnSpc>
              <a:spcBef>
                <a:spcPts val="270"/>
              </a:spcBef>
              <a:spcAft>
                <a:spcPts val="180"/>
              </a:spcAft>
              <a:buClr>
                <a:srgbClr val="000000"/>
              </a:buClr>
              <a:buSzTx/>
              <a:buFontTx/>
              <a:buNone/>
              <a:tabLst/>
              <a:defRPr/>
            </a:pPr>
            <a:r>
              <a:rPr kumimoji="0" lang="en-US" sz="1260" b="1" i="0" u="none" strike="noStrike" kern="0" cap="none" spc="0" normalizeH="0" baseline="0" noProof="0" dirty="0">
                <a:ln>
                  <a:noFill/>
                </a:ln>
                <a:solidFill>
                  <a:srgbClr val="196B24"/>
                </a:solidFill>
                <a:effectLst/>
                <a:uLnTx/>
                <a:uFillTx/>
                <a:latin typeface="Aptos" panose="02110004020202020204"/>
                <a:ea typeface="Lato"/>
                <a:cs typeface="Lato"/>
                <a:sym typeface="Lato" panose="020F0502020204030203" pitchFamily="34" charset="0"/>
              </a:rPr>
              <a:t>P</a:t>
            </a:r>
            <a:r>
              <a:rPr kumimoji="0" sz="1260" b="1" i="0" u="none" strike="noStrike" kern="0" cap="none" spc="0" normalizeH="0" baseline="0" noProof="0" dirty="0">
                <a:ln>
                  <a:noFill/>
                </a:ln>
                <a:solidFill>
                  <a:srgbClr val="196B24"/>
                </a:solidFill>
                <a:effectLst/>
                <a:uLnTx/>
                <a:uFillTx/>
                <a:latin typeface="Aptos" panose="02110004020202020204"/>
                <a:ea typeface="Lato"/>
                <a:cs typeface="Lato"/>
                <a:sym typeface="Lato" panose="020F0502020204030203" pitchFamily="34" charset="0"/>
              </a:rPr>
              <a:t>opulation</a:t>
            </a:r>
            <a:endParaRPr kumimoji="0" lang="en-US" sz="1260" b="1" i="0" u="none" strike="noStrike" kern="0" cap="none" spc="0" normalizeH="0" baseline="0" noProof="0" dirty="0">
              <a:ln>
                <a:noFill/>
              </a:ln>
              <a:solidFill>
                <a:srgbClr val="196B24"/>
              </a:solidFill>
              <a:effectLst/>
              <a:uLnTx/>
              <a:uFillTx/>
              <a:latin typeface="Aptos" panose="02110004020202020204"/>
              <a:ea typeface="Lato"/>
              <a:cs typeface="Lato"/>
              <a:sym typeface="Lato" panose="020F0502020204030203" pitchFamily="34" charset="0"/>
            </a:endParaRPr>
          </a:p>
          <a:p>
            <a:pPr marL="9144" marR="0" lvl="0" indent="0" algn="l" defTabSz="822919" rtl="0" eaLnBrk="1" fontAlgn="base" latinLnBrk="0" hangingPunct="1">
              <a:lnSpc>
                <a:spcPct val="100000"/>
              </a:lnSpc>
              <a:spcBef>
                <a:spcPts val="270"/>
              </a:spcBef>
              <a:spcAft>
                <a:spcPts val="360"/>
              </a:spcAft>
              <a:buClr>
                <a:srgbClr val="000000"/>
              </a:buClr>
              <a:buSzTx/>
              <a:buFontTx/>
              <a:buNone/>
              <a:tabLst/>
              <a:defRPr/>
            </a:pPr>
            <a:r>
              <a:rPr kumimoji="0" lang="en-US" sz="1080" b="1"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rPr>
              <a:t>90 patients</a:t>
            </a:r>
            <a:endParaRPr kumimoji="0" lang="en-US" sz="1080" b="1" i="0" u="none" strike="noStrike" kern="0" cap="none" spc="0" normalizeH="0" baseline="0" noProof="0" dirty="0">
              <a:ln>
                <a:noFill/>
              </a:ln>
              <a:solidFill>
                <a:srgbClr val="231F20"/>
              </a:solidFill>
              <a:effectLst/>
              <a:uLnTx/>
              <a:uFillTx/>
              <a:latin typeface="Aptos" panose="02110004020202020204"/>
              <a:ea typeface="Lato"/>
              <a:cs typeface="Lato"/>
            </a:endParaRP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810" b="0"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rPr>
              <a:t>Epithelial ovarian, primary peritoneal, or fallopian tube cancer</a:t>
            </a: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900" b="1"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rPr>
              <a:t>Platinum-sensitive ovarian cancer with progression </a:t>
            </a:r>
            <a:br>
              <a:rPr kumimoji="0" lang="en-US" sz="900" b="1"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rPr>
            </a:br>
            <a:r>
              <a:rPr kumimoji="0" lang="en-US" sz="900" b="1"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rPr>
              <a:t>while on a PARP inhibitor</a:t>
            </a: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810" b="0"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rPr>
              <a:t>ECOG performance status 0 or 1</a:t>
            </a: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810" b="0"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rPr>
              <a:t>1 to 3 prior lines of therapy</a:t>
            </a: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810" b="0" i="0" u="none" strike="noStrike" kern="0" cap="none" spc="0" normalizeH="0" baseline="0" noProof="0" dirty="0">
                <a:ln>
                  <a:noFill/>
                </a:ln>
                <a:solidFill>
                  <a:srgbClr val="231F20"/>
                </a:solidFill>
                <a:effectLst/>
                <a:uLnTx/>
                <a:uFillTx/>
                <a:latin typeface="Aptos" panose="02110004020202020204"/>
                <a:ea typeface="Lato"/>
                <a:cs typeface="Lato"/>
                <a:sym typeface="Lato" panose="020F0502020204030203" pitchFamily="34" charset="0"/>
              </a:rPr>
              <a:t>Suitable for bevacizumab</a:t>
            </a:r>
          </a:p>
          <a:p>
            <a:pPr marL="172594" marR="129538" lvl="0" indent="-154306" algn="l" defTabSz="822919" rtl="0" eaLnBrk="1" fontAlgn="base" latinLnBrk="0" hangingPunct="1">
              <a:lnSpc>
                <a:spcPct val="100000"/>
              </a:lnSpc>
              <a:spcBef>
                <a:spcPts val="9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endParaRPr kumimoji="0" lang="en-US" sz="810" b="0" i="0" u="none" strike="noStrike" kern="0" cap="none" spc="0" normalizeH="0" baseline="0" noProof="0" dirty="0">
              <a:ln>
                <a:noFill/>
              </a:ln>
              <a:solidFill>
                <a:srgbClr val="000000"/>
              </a:solidFill>
              <a:effectLst/>
              <a:uLnTx/>
              <a:uFillTx/>
              <a:latin typeface="Aptos" panose="02110004020202020204"/>
              <a:ea typeface="Lato"/>
              <a:cs typeface="Lato"/>
            </a:endParaRPr>
          </a:p>
        </p:txBody>
      </p:sp>
      <p:sp>
        <p:nvSpPr>
          <p:cNvPr id="7" name="Title 6">
            <a:extLst>
              <a:ext uri="{FF2B5EF4-FFF2-40B4-BE49-F238E27FC236}">
                <a16:creationId xmlns:a16="http://schemas.microsoft.com/office/drawing/2014/main" id="{9BA8E08F-5170-F8D2-53C6-70C5C85D73AE}"/>
              </a:ext>
            </a:extLst>
          </p:cNvPr>
          <p:cNvSpPr>
            <a:spLocks noGrp="1"/>
          </p:cNvSpPr>
          <p:nvPr>
            <p:ph type="title"/>
          </p:nvPr>
        </p:nvSpPr>
        <p:spPr>
          <a:xfrm>
            <a:off x="954926" y="606993"/>
            <a:ext cx="10541674" cy="781050"/>
          </a:xfrm>
        </p:spPr>
        <p:txBody>
          <a:bodyPr>
            <a:noAutofit/>
          </a:bodyPr>
          <a:lstStyle/>
          <a:p>
            <a:r>
              <a:rPr lang="en-US" sz="3200" dirty="0" err="1">
                <a:solidFill>
                  <a:schemeClr val="tx1"/>
                </a:solidFill>
                <a:latin typeface="+mn-lt"/>
              </a:rPr>
              <a:t>Relacorilant</a:t>
            </a:r>
            <a:r>
              <a:rPr lang="en-US" sz="3200" dirty="0">
                <a:solidFill>
                  <a:schemeClr val="tx1"/>
                </a:solidFill>
                <a:latin typeface="+mn-lt"/>
              </a:rPr>
              <a:t> in Combination With Chemotherapy: </a:t>
            </a:r>
            <a:br>
              <a:rPr lang="en-US" sz="3200" dirty="0">
                <a:solidFill>
                  <a:schemeClr val="tx1"/>
                </a:solidFill>
                <a:latin typeface="+mn-lt"/>
              </a:rPr>
            </a:br>
            <a:r>
              <a:rPr lang="en-US" sz="3200" u="sng" dirty="0">
                <a:solidFill>
                  <a:schemeClr val="tx1"/>
                </a:solidFill>
                <a:latin typeface="+mn-lt"/>
              </a:rPr>
              <a:t>BELLA</a:t>
            </a:r>
            <a:r>
              <a:rPr lang="en-US" sz="3200" dirty="0">
                <a:solidFill>
                  <a:schemeClr val="tx1"/>
                </a:solidFill>
                <a:latin typeface="+mn-lt"/>
              </a:rPr>
              <a:t> Arm B </a:t>
            </a:r>
            <a:br>
              <a:rPr lang="en-US" sz="3200" dirty="0">
                <a:solidFill>
                  <a:schemeClr val="tx1"/>
                </a:solidFill>
                <a:latin typeface="+mn-lt"/>
                <a:cs typeface="Lato" panose="020F0502020204030203" pitchFamily="34" charset="0"/>
              </a:rPr>
            </a:br>
            <a:r>
              <a:rPr lang="en-US" sz="3200" dirty="0">
                <a:solidFill>
                  <a:schemeClr val="tx1"/>
                </a:solidFill>
                <a:latin typeface="+mn-lt"/>
              </a:rPr>
              <a:t>Phase 2 Trial in Platinum-Sensitive Ovarian Cancer (PSOC)</a:t>
            </a:r>
          </a:p>
        </p:txBody>
      </p:sp>
      <p:cxnSp>
        <p:nvCxnSpPr>
          <p:cNvPr id="120" name="Straight Connector 119">
            <a:extLst>
              <a:ext uri="{FF2B5EF4-FFF2-40B4-BE49-F238E27FC236}">
                <a16:creationId xmlns:a16="http://schemas.microsoft.com/office/drawing/2014/main" id="{77E98CA3-F089-39E8-C12C-D999F6AF3039}"/>
              </a:ext>
            </a:extLst>
          </p:cNvPr>
          <p:cNvCxnSpPr>
            <a:cxnSpLocks/>
          </p:cNvCxnSpPr>
          <p:nvPr/>
        </p:nvCxnSpPr>
        <p:spPr>
          <a:xfrm>
            <a:off x="4167213" y="2017587"/>
            <a:ext cx="0" cy="289251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BD6DAFA8-9480-F853-915A-1CDB9087BAAC}"/>
              </a:ext>
            </a:extLst>
          </p:cNvPr>
          <p:cNvGrpSpPr/>
          <p:nvPr/>
        </p:nvGrpSpPr>
        <p:grpSpPr>
          <a:xfrm>
            <a:off x="5482691" y="2420566"/>
            <a:ext cx="2612706" cy="1913935"/>
            <a:chOff x="5554761" y="1865336"/>
            <a:chExt cx="2903007" cy="2300400"/>
          </a:xfrm>
        </p:grpSpPr>
        <p:cxnSp>
          <p:nvCxnSpPr>
            <p:cNvPr id="170" name="Straight Connector 169">
              <a:extLst>
                <a:ext uri="{FF2B5EF4-FFF2-40B4-BE49-F238E27FC236}">
                  <a16:creationId xmlns:a16="http://schemas.microsoft.com/office/drawing/2014/main" id="{07A08975-2CDD-A638-2913-2D7E00E5F1B3}"/>
                </a:ext>
              </a:extLst>
            </p:cNvPr>
            <p:cNvCxnSpPr>
              <a:cxnSpLocks/>
            </p:cNvCxnSpPr>
            <p:nvPr/>
          </p:nvCxnSpPr>
          <p:spPr>
            <a:xfrm flipV="1">
              <a:off x="5554761" y="1865336"/>
              <a:ext cx="0" cy="2300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02662636-ADBF-5279-5702-EF86A12800D1}"/>
                </a:ext>
              </a:extLst>
            </p:cNvPr>
            <p:cNvCxnSpPr>
              <a:cxnSpLocks/>
            </p:cNvCxnSpPr>
            <p:nvPr/>
          </p:nvCxnSpPr>
          <p:spPr>
            <a:xfrm flipV="1">
              <a:off x="6386336" y="1865336"/>
              <a:ext cx="0" cy="2300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D03D2003-6383-415A-C6BF-01A9A22BCB02}"/>
                </a:ext>
              </a:extLst>
            </p:cNvPr>
            <p:cNvCxnSpPr>
              <a:cxnSpLocks/>
            </p:cNvCxnSpPr>
            <p:nvPr/>
          </p:nvCxnSpPr>
          <p:spPr>
            <a:xfrm flipV="1">
              <a:off x="7216857" y="1865336"/>
              <a:ext cx="8026" cy="2300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990028D-6F7F-9CE8-CB98-3C20A530C575}"/>
                </a:ext>
              </a:extLst>
            </p:cNvPr>
            <p:cNvCxnSpPr>
              <a:cxnSpLocks/>
            </p:cNvCxnSpPr>
            <p:nvPr/>
          </p:nvCxnSpPr>
          <p:spPr>
            <a:xfrm flipV="1">
              <a:off x="8457768" y="1865336"/>
              <a:ext cx="0" cy="2300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8" name="Straight Connector 27">
            <a:extLst>
              <a:ext uri="{FF2B5EF4-FFF2-40B4-BE49-F238E27FC236}">
                <a16:creationId xmlns:a16="http://schemas.microsoft.com/office/drawing/2014/main" id="{5195EE3E-275F-BE86-0A2D-28EA7D0AAADB}"/>
              </a:ext>
            </a:extLst>
          </p:cNvPr>
          <p:cNvCxnSpPr>
            <a:cxnSpLocks/>
          </p:cNvCxnSpPr>
          <p:nvPr/>
        </p:nvCxnSpPr>
        <p:spPr>
          <a:xfrm>
            <a:off x="9600583" y="2017587"/>
            <a:ext cx="0" cy="289251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Content Placeholder 15">
            <a:extLst>
              <a:ext uri="{FF2B5EF4-FFF2-40B4-BE49-F238E27FC236}">
                <a16:creationId xmlns:a16="http://schemas.microsoft.com/office/drawing/2014/main" id="{CB36A29B-BFE5-AD70-B4E1-B446CE720EEB}"/>
              </a:ext>
            </a:extLst>
          </p:cNvPr>
          <p:cNvSpPr txBox="1">
            <a:spLocks/>
          </p:cNvSpPr>
          <p:nvPr/>
        </p:nvSpPr>
        <p:spPr>
          <a:xfrm>
            <a:off x="5095437" y="5249199"/>
            <a:ext cx="1532471" cy="193899"/>
          </a:xfrm>
          <a:prstGeom prst="rect">
            <a:avLst/>
          </a:prstGeom>
        </p:spPr>
        <p:txBody>
          <a:bodyPr vert="horz" wrap="none" lIns="0" tIns="0" rIns="0" bIns="0" rtlCol="0">
            <a:spAutoFit/>
          </a:bodyPr>
          <a:lstStyle>
            <a:defPPr marR="0" lvl="0" algn="l" rtl="0">
              <a:lnSpc>
                <a:spcPct val="100000"/>
              </a:lnSpc>
              <a:spcBef>
                <a:spcPts val="0"/>
              </a:spcBef>
              <a:spcAft>
                <a:spcPts val="0"/>
              </a:spcAft>
            </a:defPPr>
            <a:lvl1pPr marL="0" marR="0" lvl="0" indent="0" algn="l" rtl="0">
              <a:lnSpc>
                <a:spcPct val="100000"/>
              </a:lnSpc>
              <a:spcBef>
                <a:spcPts val="600"/>
              </a:spcBef>
              <a:spcAft>
                <a:spcPts val="600"/>
              </a:spcAft>
              <a:buClr>
                <a:srgbClr val="000000"/>
              </a:buClr>
              <a:buFont typeface="Lato" panose="020F0502020204030203" pitchFamily="34" charset="0"/>
              <a:defRPr sz="1600" b="0" i="0" u="none" strike="noStrike" cap="none">
                <a:solidFill>
                  <a:srgbClr val="000000"/>
                </a:solidFill>
                <a:latin typeface="+mn-lt"/>
                <a:ea typeface="Lato" panose="020F0502020204030203" pitchFamily="34" charset="0"/>
                <a:cs typeface="Lato" panose="020F0502020204030203" pitchFamily="34" charset="0"/>
                <a:sym typeface="Lato" panose="020F0502020204030203" pitchFamily="34" charset="0"/>
              </a:defRPr>
            </a:lvl1pPr>
            <a:lvl2pPr marL="216000" marR="0" lvl="1" indent="-216000" algn="l" rtl="0">
              <a:lnSpc>
                <a:spcPct val="100000"/>
              </a:lnSpc>
              <a:spcBef>
                <a:spcPts val="600"/>
              </a:spcBef>
              <a:spcAft>
                <a:spcPts val="300"/>
              </a:spcAft>
              <a:buClr>
                <a:srgbClr val="000000"/>
              </a:buClr>
              <a:buFontTx/>
              <a:buBlip>
                <a:blip>
                  <a:extLst>
                    <a:ext uri="{96DAC541-7B7A-43D3-8B79-37D633B846F1}">
                      <asvg:svgBlip xmlns:asvg="http://schemas.microsoft.com/office/drawing/2016/SVG/main" r:embed="rId3"/>
                    </a:ext>
                  </a:extLst>
                </a:blip>
              </a:buBlip>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Lato" panose="020F0502020204030203" pitchFamily="34" charset="0"/>
              </a:defRPr>
            </a:lvl2pPr>
            <a:lvl3pPr marL="432000" marR="0" lvl="2"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Lato" panose="020F0502020204030203" pitchFamily="34" charset="0"/>
              </a:defRPr>
            </a:lvl3pPr>
            <a:lvl4pPr marL="648000" marR="0" lvl="3"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Lato" panose="020F0502020204030203" pitchFamily="34" charset="0"/>
              </a:defRPr>
            </a:lvl4pPr>
            <a:lvl5pPr marL="864000" marR="0" lvl="4"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a:solidFill>
                  <a:srgbClr val="000000"/>
                </a:solidFill>
                <a:latin typeface="+mn-lt"/>
                <a:ea typeface="Lato" panose="020F0502020204030203" pitchFamily="34" charset="0"/>
                <a:cs typeface="Lato" panose="020F0502020204030203" pitchFamily="34" charset="0"/>
                <a:sym typeface="Lato" panose="020F0502020204030203" pitchFamily="34" charset="0"/>
              </a:defRPr>
            </a:lvl5pPr>
            <a:lvl6pPr marR="0" lvl="5" algn="l" rtl="0">
              <a:lnSpc>
                <a:spcPct val="100000"/>
              </a:lnSpc>
              <a:spcBef>
                <a:spcPts val="0"/>
              </a:spcBef>
              <a:spcAft>
                <a:spcPts val="0"/>
              </a:spcAft>
              <a:buClr>
                <a:srgbClr val="000000"/>
              </a:buClr>
              <a:buFont typeface="Lato" panose="020F0502020204030203" pitchFamily="34" charset="0"/>
              <a:defRPr sz="1400" b="0" i="0" u="none" strike="noStrike" cap="none">
                <a:solidFill>
                  <a:srgbClr val="00000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6pPr>
            <a:lvl7pPr marR="0" lvl="6" algn="l" rtl="0">
              <a:lnSpc>
                <a:spcPct val="100000"/>
              </a:lnSpc>
              <a:spcBef>
                <a:spcPts val="0"/>
              </a:spcBef>
              <a:spcAft>
                <a:spcPts val="0"/>
              </a:spcAft>
              <a:buClr>
                <a:srgbClr val="000000"/>
              </a:buClr>
              <a:buFont typeface="Lato" panose="020F0502020204030203" pitchFamily="34" charset="0"/>
              <a:defRPr sz="1400" b="0" i="0" u="none" strike="noStrike" cap="none">
                <a:solidFill>
                  <a:srgbClr val="00000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7pPr>
            <a:lvl8pPr marR="0" lvl="7" algn="l" rtl="0">
              <a:lnSpc>
                <a:spcPct val="100000"/>
              </a:lnSpc>
              <a:spcBef>
                <a:spcPts val="0"/>
              </a:spcBef>
              <a:spcAft>
                <a:spcPts val="0"/>
              </a:spcAft>
              <a:buClr>
                <a:srgbClr val="000000"/>
              </a:buClr>
              <a:buFont typeface="Lato" panose="020F0502020204030203" pitchFamily="34" charset="0"/>
              <a:defRPr sz="1400" b="0" i="0" u="none" strike="noStrike" cap="none">
                <a:solidFill>
                  <a:srgbClr val="00000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8pPr>
            <a:lvl9pPr marR="0" lvl="8" algn="l" rtl="0">
              <a:lnSpc>
                <a:spcPct val="100000"/>
              </a:lnSpc>
              <a:spcBef>
                <a:spcPts val="0"/>
              </a:spcBef>
              <a:spcAft>
                <a:spcPts val="0"/>
              </a:spcAft>
              <a:buClr>
                <a:srgbClr val="000000"/>
              </a:buClr>
              <a:buFont typeface="Lato" panose="020F0502020204030203" pitchFamily="34" charset="0"/>
              <a:defRPr sz="1400" b="0" i="0" u="none" strike="noStrike" cap="none">
                <a:solidFill>
                  <a:srgbClr val="00000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9pPr>
          </a:lstStyle>
          <a:p>
            <a:pPr marL="0" marR="0" lvl="0" indent="0" algn="l" defTabSz="914400" rtl="0" eaLnBrk="0" fontAlgn="base" latinLnBrk="0" hangingPunct="0">
              <a:lnSpc>
                <a:spcPct val="100000"/>
              </a:lnSpc>
              <a:spcBef>
                <a:spcPts val="600"/>
              </a:spcBef>
              <a:spcAft>
                <a:spcPts val="600"/>
              </a:spcAft>
              <a:buClr>
                <a:srgbClr val="000000"/>
              </a:buClr>
              <a:buSzTx/>
              <a:buFont typeface="Lato" panose="020F0502020204030203" pitchFamily="34" charset="0"/>
              <a:buNone/>
              <a:tabLst/>
              <a:defRPr/>
            </a:pPr>
            <a:r>
              <a:rPr kumimoji="0" lang="en-US" sz="1260" b="1" i="0" u="none" strike="noStrike" kern="1200" cap="none" spc="0" normalizeH="0" baseline="0" noProof="0" dirty="0">
                <a:ln>
                  <a:noFill/>
                </a:ln>
                <a:solidFill>
                  <a:prstClr val="whit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Enrollment ongoing</a:t>
            </a:r>
            <a:endParaRPr kumimoji="0" lang="en-US" sz="1260" b="1" i="0" u="none" strike="noStrike" kern="0" cap="none" spc="0" normalizeH="0" baseline="0" noProof="0" dirty="0">
              <a:ln>
                <a:noFill/>
              </a:ln>
              <a:solidFill>
                <a:prstClr val="whit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30" name="Graphic 29">
            <a:extLst>
              <a:ext uri="{FF2B5EF4-FFF2-40B4-BE49-F238E27FC236}">
                <a16:creationId xmlns:a16="http://schemas.microsoft.com/office/drawing/2014/main" id="{901FD856-0F44-B2FE-5977-77D579A46D3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515851" y="5140408"/>
            <a:ext cx="411480" cy="411480"/>
          </a:xfrm>
          <a:prstGeom prst="rect">
            <a:avLst/>
          </a:prstGeom>
        </p:spPr>
      </p:pic>
      <p:grpSp>
        <p:nvGrpSpPr>
          <p:cNvPr id="24" name="Group 23">
            <a:extLst>
              <a:ext uri="{FF2B5EF4-FFF2-40B4-BE49-F238E27FC236}">
                <a16:creationId xmlns:a16="http://schemas.microsoft.com/office/drawing/2014/main" id="{A1B48E55-4E93-8647-E8FE-D5B52F1CD5E2}"/>
              </a:ext>
            </a:extLst>
          </p:cNvPr>
          <p:cNvGrpSpPr/>
          <p:nvPr/>
        </p:nvGrpSpPr>
        <p:grpSpPr>
          <a:xfrm>
            <a:off x="4303901" y="4095647"/>
            <a:ext cx="5297264" cy="825229"/>
            <a:chOff x="4244994" y="3875789"/>
            <a:chExt cx="5885849" cy="916921"/>
          </a:xfrm>
        </p:grpSpPr>
        <p:sp>
          <p:nvSpPr>
            <p:cNvPr id="46" name="Rectangle 45">
              <a:extLst>
                <a:ext uri="{FF2B5EF4-FFF2-40B4-BE49-F238E27FC236}">
                  <a16:creationId xmlns:a16="http://schemas.microsoft.com/office/drawing/2014/main" id="{6EC79681-BF07-3152-C3AE-0FE778920C5A}"/>
                </a:ext>
              </a:extLst>
            </p:cNvPr>
            <p:cNvSpPr/>
            <p:nvPr/>
          </p:nvSpPr>
          <p:spPr>
            <a:xfrm>
              <a:off x="8628731" y="4529532"/>
              <a:ext cx="1502112" cy="26317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0" marR="0" lvl="0" indent="0" algn="ctr" defTabSz="822919" rtl="0" eaLnBrk="1" fontAlgn="base" latinLnBrk="0" hangingPunct="1">
                <a:lnSpc>
                  <a:spcPct val="95000"/>
                </a:lnSpc>
                <a:spcBef>
                  <a:spcPct val="0"/>
                </a:spcBef>
                <a:spcAft>
                  <a:spcPct val="0"/>
                </a:spcAft>
                <a:buClr>
                  <a:srgbClr val="000000">
                    <a:lumMod val="75000"/>
                    <a:lumOff val="25000"/>
                  </a:srgbClr>
                </a:buClr>
                <a:buSzTx/>
                <a:buFontTx/>
                <a:buNone/>
                <a:tabLst/>
                <a:defRPr/>
              </a:pPr>
              <a:r>
                <a:rPr kumimoji="0" lang="en-US" sz="810" b="0" i="0" u="none" strike="noStrike" kern="0" cap="none" spc="0" normalizeH="0" baseline="0" noProof="0">
                  <a:ln>
                    <a:noFill/>
                  </a:ln>
                  <a:solidFill>
                    <a:srgbClr val="000000">
                      <a:lumMod val="85000"/>
                      <a:lumOff val="15000"/>
                    </a:srgbClr>
                  </a:solidFill>
                  <a:effectLst/>
                  <a:uLnTx/>
                  <a:uFillTx/>
                  <a:latin typeface="Aptos" panose="02110004020202020204"/>
                  <a:ea typeface="Lato" panose="020F0502020204030203" pitchFamily="34" charset="0"/>
                  <a:cs typeface="Lato" panose="020F0502020204030203" pitchFamily="34" charset="0"/>
                </a:rPr>
                <a:t>Treatment to progression</a:t>
              </a:r>
              <a:br>
                <a:rPr kumimoji="0" lang="en-US" sz="810" b="0" i="0" u="none" strike="noStrike" kern="0" cap="none" spc="0" normalizeH="0" baseline="0" noProof="0">
                  <a:ln>
                    <a:noFill/>
                  </a:ln>
                  <a:solidFill>
                    <a:srgbClr val="000000">
                      <a:lumMod val="85000"/>
                      <a:lumOff val="15000"/>
                    </a:srgbClr>
                  </a:solidFill>
                  <a:effectLst/>
                  <a:uLnTx/>
                  <a:uFillTx/>
                  <a:latin typeface="Aptos" panose="02110004020202020204"/>
                  <a:ea typeface="Lato" panose="020F0502020204030203" pitchFamily="34" charset="0"/>
                  <a:cs typeface="Lato" panose="020F0502020204030203" pitchFamily="34" charset="0"/>
                </a:rPr>
              </a:br>
              <a:r>
                <a:rPr kumimoji="0" lang="en-US" sz="810" b="0" i="0" u="none" strike="noStrike" kern="0" cap="none" spc="0" normalizeH="0" baseline="0" noProof="0">
                  <a:ln>
                    <a:noFill/>
                  </a:ln>
                  <a:solidFill>
                    <a:srgbClr val="000000">
                      <a:lumMod val="85000"/>
                      <a:lumOff val="15000"/>
                    </a:srgbClr>
                  </a:solidFill>
                  <a:effectLst/>
                  <a:uLnTx/>
                  <a:uFillTx/>
                  <a:latin typeface="Aptos" panose="02110004020202020204"/>
                  <a:ea typeface="Lato" panose="020F0502020204030203" pitchFamily="34" charset="0"/>
                  <a:cs typeface="Lato" panose="020F0502020204030203" pitchFamily="34" charset="0"/>
                </a:rPr>
                <a:t>or unmanageable toxicity</a:t>
              </a:r>
            </a:p>
          </p:txBody>
        </p:sp>
        <p:sp>
          <p:nvSpPr>
            <p:cNvPr id="50" name="object 81">
              <a:extLst>
                <a:ext uri="{FF2B5EF4-FFF2-40B4-BE49-F238E27FC236}">
                  <a16:creationId xmlns:a16="http://schemas.microsoft.com/office/drawing/2014/main" id="{6AA4FD32-33A8-2A72-2B85-93FC99017642}"/>
                </a:ext>
              </a:extLst>
            </p:cNvPr>
            <p:cNvSpPr txBox="1"/>
            <p:nvPr/>
          </p:nvSpPr>
          <p:spPr>
            <a:xfrm>
              <a:off x="4271355" y="3875789"/>
              <a:ext cx="615197" cy="123111"/>
            </a:xfrm>
            <a:prstGeom prst="rect">
              <a:avLst/>
            </a:prstGeom>
          </p:spPr>
          <p:txBody>
            <a:bodyPr vert="horz" wrap="none" lIns="0" tIns="0" rIns="0" bIns="0" rtlCol="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79"/>
                </a:spcBef>
                <a:spcAft>
                  <a:spcPct val="0"/>
                </a:spcAft>
                <a:buClr>
                  <a:srgbClr val="000000"/>
                </a:buClr>
                <a:buSzTx/>
                <a:buFontTx/>
                <a:buNone/>
                <a:tabLst/>
                <a:defRPr/>
              </a:pPr>
              <a:r>
                <a:rPr kumimoji="0" sz="720" b="0" i="0" u="none" strike="noStrike" kern="0" cap="none" spc="0" normalizeH="0" baseline="0" noProof="0">
                  <a:ln>
                    <a:noFill/>
                  </a:ln>
                  <a:solidFill>
                    <a:prstClr val="black"/>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SCREENING</a:t>
              </a:r>
            </a:p>
          </p:txBody>
        </p:sp>
        <p:sp>
          <p:nvSpPr>
            <p:cNvPr id="113" name="object 80">
              <a:extLst>
                <a:ext uri="{FF2B5EF4-FFF2-40B4-BE49-F238E27FC236}">
                  <a16:creationId xmlns:a16="http://schemas.microsoft.com/office/drawing/2014/main" id="{1B8F97E3-76BF-E8D6-6106-83A56CCDFA77}"/>
                </a:ext>
              </a:extLst>
            </p:cNvPr>
            <p:cNvSpPr txBox="1"/>
            <p:nvPr/>
          </p:nvSpPr>
          <p:spPr>
            <a:xfrm>
              <a:off x="5821350" y="4529532"/>
              <a:ext cx="2301200" cy="138500"/>
            </a:xfrm>
            <a:prstGeom prst="rect">
              <a:avLst/>
            </a:prstGeom>
          </p:spPr>
          <p:txBody>
            <a:bodyPr vert="horz" wrap="none" lIns="0" tIns="0" rIns="0" bIns="0" rtlCol="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0" marR="0" lvl="0" indent="0" algn="ctr" defTabSz="822919" rtl="0" eaLnBrk="1" fontAlgn="base" latinLnBrk="0" hangingPunct="1">
                <a:lnSpc>
                  <a:spcPct val="100000"/>
                </a:lnSpc>
                <a:spcBef>
                  <a:spcPts val="114"/>
                </a:spcBef>
                <a:spcAft>
                  <a:spcPct val="0"/>
                </a:spcAft>
                <a:buClr>
                  <a:srgbClr val="000000"/>
                </a:buClr>
                <a:buSzTx/>
                <a:buFontTx/>
                <a:buNone/>
                <a:tabLst/>
                <a:defRPr/>
              </a:pPr>
              <a:r>
                <a:rPr kumimoji="0" lang="en-US" sz="810" b="0" i="0" u="none" strike="noStrike" kern="0" cap="none" spc="0" normalizeH="0" baseline="0" noProof="0">
                  <a:ln>
                    <a:noFill/>
                  </a:ln>
                  <a:solidFill>
                    <a:srgbClr val="156168"/>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R</a:t>
              </a:r>
              <a:r>
                <a:rPr kumimoji="0" sz="810" b="0" i="0" u="none" strike="noStrike" kern="0" cap="none" spc="0" normalizeH="0" baseline="0" noProof="0">
                  <a:ln>
                    <a:noFill/>
                  </a:ln>
                  <a:solidFill>
                    <a:srgbClr val="156168"/>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elacorilant </a:t>
              </a:r>
              <a:r>
                <a:rPr kumimoji="0"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 </a:t>
              </a:r>
              <a:r>
                <a:rPr kumimoji="0" lang="en-US"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Nab-Paclitaxel </a:t>
              </a:r>
              <a:r>
                <a:rPr kumimoji="0" lang="en-US"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 Bevacizumab</a:t>
              </a:r>
              <a:endParaRPr kumimoji="0"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endParaRPr>
            </a:p>
          </p:txBody>
        </p:sp>
        <p:sp>
          <p:nvSpPr>
            <p:cNvPr id="2640" name="object 81">
              <a:extLst>
                <a:ext uri="{FF2B5EF4-FFF2-40B4-BE49-F238E27FC236}">
                  <a16:creationId xmlns:a16="http://schemas.microsoft.com/office/drawing/2014/main" id="{5FA90C47-1BA6-CCB4-5EF7-2DBFA16D0E7E}"/>
                </a:ext>
              </a:extLst>
            </p:cNvPr>
            <p:cNvSpPr txBox="1"/>
            <p:nvPr/>
          </p:nvSpPr>
          <p:spPr>
            <a:xfrm>
              <a:off x="9063555" y="3875789"/>
              <a:ext cx="613416" cy="123111"/>
            </a:xfrm>
            <a:prstGeom prst="rect">
              <a:avLst/>
            </a:prstGeom>
          </p:spPr>
          <p:txBody>
            <a:bodyPr vert="horz" wrap="none" lIns="0" tIns="0" rIns="0" bIns="0" rtlCol="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79"/>
                </a:spcBef>
                <a:spcAft>
                  <a:spcPct val="0"/>
                </a:spcAft>
                <a:buClr>
                  <a:srgbClr val="000000"/>
                </a:buClr>
                <a:buSzTx/>
                <a:buFontTx/>
                <a:buNone/>
                <a:tabLst/>
                <a:defRPr/>
              </a:pPr>
              <a:r>
                <a:rPr kumimoji="0" lang="en-US" sz="720" b="0" i="0" u="none" strike="noStrike" kern="0" cap="none" spc="0" normalizeH="0" baseline="0" noProof="0">
                  <a:ln>
                    <a:noFill/>
                  </a:ln>
                  <a:solidFill>
                    <a:prstClr val="black"/>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FOLLOW-UP</a:t>
              </a:r>
            </a:p>
          </p:txBody>
        </p:sp>
        <p:grpSp>
          <p:nvGrpSpPr>
            <p:cNvPr id="3" name="Group 2">
              <a:extLst>
                <a:ext uri="{FF2B5EF4-FFF2-40B4-BE49-F238E27FC236}">
                  <a16:creationId xmlns:a16="http://schemas.microsoft.com/office/drawing/2014/main" id="{6E8B6C4F-D723-578E-6F8F-5E9D3B4F923A}"/>
                </a:ext>
              </a:extLst>
            </p:cNvPr>
            <p:cNvGrpSpPr/>
            <p:nvPr/>
          </p:nvGrpSpPr>
          <p:grpSpPr>
            <a:xfrm>
              <a:off x="4741165" y="4209020"/>
              <a:ext cx="4461570" cy="108000"/>
              <a:chOff x="4684015" y="4089502"/>
              <a:chExt cx="4461570" cy="108000"/>
            </a:xfrm>
          </p:grpSpPr>
          <p:cxnSp>
            <p:nvCxnSpPr>
              <p:cNvPr id="4" name="Straight Connector 3">
                <a:extLst>
                  <a:ext uri="{FF2B5EF4-FFF2-40B4-BE49-F238E27FC236}">
                    <a16:creationId xmlns:a16="http://schemas.microsoft.com/office/drawing/2014/main" id="{B4839264-2067-1BA3-0018-A84FE339B5C5}"/>
                  </a:ext>
                </a:extLst>
              </p:cNvPr>
              <p:cNvCxnSpPr/>
              <p:nvPr/>
            </p:nvCxnSpPr>
            <p:spPr>
              <a:xfrm>
                <a:off x="4684015" y="4143502"/>
                <a:ext cx="446157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1DE08F1-F92C-87D1-A0B8-E3B45D04806C}"/>
                  </a:ext>
                </a:extLst>
              </p:cNvPr>
              <p:cNvCxnSpPr>
                <a:cxnSpLocks/>
              </p:cNvCxnSpPr>
              <p:nvPr/>
            </p:nvCxnSpPr>
            <p:spPr>
              <a:xfrm flipV="1">
                <a:off x="5497275" y="4089502"/>
                <a:ext cx="0" cy="10800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E234E62-AEB8-EA56-0A55-22B1C904041C}"/>
                  </a:ext>
                </a:extLst>
              </p:cNvPr>
              <p:cNvCxnSpPr>
                <a:cxnSpLocks/>
              </p:cNvCxnSpPr>
              <p:nvPr/>
            </p:nvCxnSpPr>
            <p:spPr>
              <a:xfrm flipV="1">
                <a:off x="6329186" y="4089502"/>
                <a:ext cx="0" cy="10800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C9E8DB0-A176-8F53-8590-60464EF5FEC5}"/>
                  </a:ext>
                </a:extLst>
              </p:cNvPr>
              <p:cNvCxnSpPr>
                <a:cxnSpLocks/>
              </p:cNvCxnSpPr>
              <p:nvPr/>
            </p:nvCxnSpPr>
            <p:spPr>
              <a:xfrm flipV="1">
                <a:off x="7167733" y="4089502"/>
                <a:ext cx="0" cy="10800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5AC8C2-0B9E-852F-ABC3-428B75E6D0DC}"/>
                  </a:ext>
                </a:extLst>
              </p:cNvPr>
              <p:cNvCxnSpPr>
                <a:cxnSpLocks/>
              </p:cNvCxnSpPr>
              <p:nvPr/>
            </p:nvCxnSpPr>
            <p:spPr>
              <a:xfrm flipV="1">
                <a:off x="8402400" y="4089502"/>
                <a:ext cx="0" cy="10800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E63539A-565E-0B4F-9A4D-0550987EDC86}"/>
                </a:ext>
              </a:extLst>
            </p:cNvPr>
            <p:cNvGrpSpPr/>
            <p:nvPr/>
          </p:nvGrpSpPr>
          <p:grpSpPr>
            <a:xfrm>
              <a:off x="9114146" y="4051595"/>
              <a:ext cx="498428" cy="422850"/>
              <a:chOff x="9107796" y="3932077"/>
              <a:chExt cx="498428" cy="422850"/>
            </a:xfrm>
          </p:grpSpPr>
          <p:sp>
            <p:nvSpPr>
              <p:cNvPr id="2642" name="Hexagon 2641">
                <a:extLst>
                  <a:ext uri="{FF2B5EF4-FFF2-40B4-BE49-F238E27FC236}">
                    <a16:creationId xmlns:a16="http://schemas.microsoft.com/office/drawing/2014/main" id="{87326931-D681-86E8-DE55-E44D4C73206B}"/>
                  </a:ext>
                </a:extLst>
              </p:cNvPr>
              <p:cNvSpPr/>
              <p:nvPr/>
            </p:nvSpPr>
            <p:spPr>
              <a:xfrm>
                <a:off x="9107796" y="3932077"/>
                <a:ext cx="498428" cy="422850"/>
              </a:xfrm>
              <a:prstGeom prst="hexagon">
                <a:avLst/>
              </a:prstGeom>
              <a:gradFill flip="none" rotWithShape="1">
                <a:gsLst>
                  <a:gs pos="0">
                    <a:schemeClr val="accent3"/>
                  </a:gs>
                  <a:gs pos="80000">
                    <a:schemeClr val="accent3">
                      <a:lumMod val="75000"/>
                    </a:schemeClr>
                  </a:gs>
                </a:gsLst>
                <a:lin ang="10800000" scaled="1"/>
                <a:tileRect/>
              </a:gradFill>
              <a:ln w="28575">
                <a:noFill/>
              </a:ln>
            </p:spPr>
            <p:txBody>
              <a:bodyPr vert="horz" wrap="square" lIns="64800" tIns="64800" rIns="5119200" bIns="0" rtlCol="0" anchor="t">
                <a:noAutofit/>
              </a:bodyPr>
              <a:lstStyle/>
              <a:p>
                <a:pPr marL="9144" marR="0" lvl="0" indent="0" algn="l" defTabSz="822919" rtl="0" eaLnBrk="0" fontAlgn="base" latinLnBrk="0" hangingPunct="0">
                  <a:lnSpc>
                    <a:spcPct val="100000"/>
                  </a:lnSpc>
                  <a:spcBef>
                    <a:spcPts val="270"/>
                  </a:spcBef>
                  <a:spcAft>
                    <a:spcPts val="180"/>
                  </a:spcAft>
                  <a:buClr>
                    <a:srgbClr val="000000"/>
                  </a:buClr>
                  <a:buSzTx/>
                  <a:buFontTx/>
                  <a:buNone/>
                  <a:tabLst/>
                  <a:defRPr/>
                </a:pPr>
                <a:endParaRPr kumimoji="0" lang="en-US" sz="900" b="0" i="0" u="none" strike="noStrike" kern="0" cap="none" spc="0" normalizeH="0" baseline="0" noProof="0">
                  <a:ln>
                    <a:noFill/>
                  </a:ln>
                  <a:solidFill>
                    <a:srgbClr val="231F20"/>
                  </a:solidFill>
                  <a:effectLst/>
                  <a:uLnTx/>
                  <a:uFillTx/>
                  <a:latin typeface="Calibri" panose="020F0502020204030204" pitchFamily="34" charset="0"/>
                  <a:ea typeface="Lato"/>
                  <a:cs typeface="Lato"/>
                </a:endParaRPr>
              </a:p>
            </p:txBody>
          </p:sp>
          <p:pic>
            <p:nvPicPr>
              <p:cNvPr id="2643" name="Graphic 2642">
                <a:extLst>
                  <a:ext uri="{FF2B5EF4-FFF2-40B4-BE49-F238E27FC236}">
                    <a16:creationId xmlns:a16="http://schemas.microsoft.com/office/drawing/2014/main" id="{9108ECD3-F403-D00B-6954-9EA710C5BA8E}"/>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9207903" y="3965350"/>
                <a:ext cx="333067" cy="333067"/>
              </a:xfrm>
              <a:prstGeom prst="rect">
                <a:avLst/>
              </a:prstGeom>
            </p:spPr>
          </p:pic>
        </p:grpSp>
        <p:grpSp>
          <p:nvGrpSpPr>
            <p:cNvPr id="18" name="Group 17">
              <a:extLst>
                <a:ext uri="{FF2B5EF4-FFF2-40B4-BE49-F238E27FC236}">
                  <a16:creationId xmlns:a16="http://schemas.microsoft.com/office/drawing/2014/main" id="{77EFB70D-C7E1-0F03-DE4F-3699B95F6F43}"/>
                </a:ext>
              </a:extLst>
            </p:cNvPr>
            <p:cNvGrpSpPr/>
            <p:nvPr/>
          </p:nvGrpSpPr>
          <p:grpSpPr>
            <a:xfrm>
              <a:off x="4329738" y="4051595"/>
              <a:ext cx="498428" cy="422850"/>
              <a:chOff x="4223376" y="3932077"/>
              <a:chExt cx="498428" cy="422850"/>
            </a:xfrm>
          </p:grpSpPr>
          <p:sp>
            <p:nvSpPr>
              <p:cNvPr id="67" name="Hexagon 66">
                <a:extLst>
                  <a:ext uri="{FF2B5EF4-FFF2-40B4-BE49-F238E27FC236}">
                    <a16:creationId xmlns:a16="http://schemas.microsoft.com/office/drawing/2014/main" id="{CAFD94CA-697D-E8C1-5897-C0ECAD2EB192}"/>
                  </a:ext>
                </a:extLst>
              </p:cNvPr>
              <p:cNvSpPr/>
              <p:nvPr/>
            </p:nvSpPr>
            <p:spPr>
              <a:xfrm>
                <a:off x="4223376" y="3932077"/>
                <a:ext cx="498428" cy="422850"/>
              </a:xfrm>
              <a:prstGeom prst="hexagon">
                <a:avLst/>
              </a:prstGeom>
              <a:gradFill flip="none" rotWithShape="1">
                <a:gsLst>
                  <a:gs pos="0">
                    <a:schemeClr val="accent3"/>
                  </a:gs>
                  <a:gs pos="80000">
                    <a:schemeClr val="accent3">
                      <a:lumMod val="75000"/>
                    </a:schemeClr>
                  </a:gs>
                </a:gsLst>
                <a:lin ang="0" scaled="1"/>
                <a:tileRect/>
              </a:gradFill>
              <a:ln w="28575">
                <a:noFill/>
              </a:ln>
            </p:spPr>
            <p:txBody>
              <a:bodyPr vert="horz" wrap="square" lIns="64800" tIns="64800" rIns="5119200" bIns="0" rtlCol="0" anchor="t">
                <a:noAutofit/>
              </a:bodyPr>
              <a:lstStyle/>
              <a:p>
                <a:pPr marL="9144" marR="0" lvl="0" indent="0" algn="l" defTabSz="822919" rtl="0" eaLnBrk="0" fontAlgn="base" latinLnBrk="0" hangingPunct="0">
                  <a:lnSpc>
                    <a:spcPct val="100000"/>
                  </a:lnSpc>
                  <a:spcBef>
                    <a:spcPts val="270"/>
                  </a:spcBef>
                  <a:spcAft>
                    <a:spcPts val="180"/>
                  </a:spcAft>
                  <a:buClr>
                    <a:srgbClr val="000000"/>
                  </a:buClr>
                  <a:buSzTx/>
                  <a:buFontTx/>
                  <a:buNone/>
                  <a:tabLst/>
                  <a:defRPr/>
                </a:pPr>
                <a:endParaRPr kumimoji="0" lang="en-US" sz="900" b="0" i="0" u="none" strike="noStrike" kern="0" cap="none" spc="0" normalizeH="0" baseline="0" noProof="0">
                  <a:ln>
                    <a:noFill/>
                  </a:ln>
                  <a:solidFill>
                    <a:srgbClr val="231F20"/>
                  </a:solidFill>
                  <a:effectLst/>
                  <a:uLnTx/>
                  <a:uFillTx/>
                  <a:latin typeface="Calibri" panose="020F0502020204030204" pitchFamily="34" charset="0"/>
                  <a:ea typeface="Lato"/>
                  <a:cs typeface="Lato"/>
                </a:endParaRPr>
              </a:p>
            </p:txBody>
          </p:sp>
          <p:pic>
            <p:nvPicPr>
              <p:cNvPr id="66" name="Graphic 65">
                <a:extLst>
                  <a:ext uri="{FF2B5EF4-FFF2-40B4-BE49-F238E27FC236}">
                    <a16:creationId xmlns:a16="http://schemas.microsoft.com/office/drawing/2014/main" id="{02F3FE6A-6507-0F30-E5A6-8A71AE3C837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4323483" y="3965350"/>
                <a:ext cx="333067" cy="333067"/>
              </a:xfrm>
              <a:prstGeom prst="rect">
                <a:avLst/>
              </a:prstGeom>
            </p:spPr>
          </p:pic>
        </p:grpSp>
        <p:sp>
          <p:nvSpPr>
            <p:cNvPr id="42" name="object 81">
              <a:extLst>
                <a:ext uri="{FF2B5EF4-FFF2-40B4-BE49-F238E27FC236}">
                  <a16:creationId xmlns:a16="http://schemas.microsoft.com/office/drawing/2014/main" id="{DAC4420F-3936-4AE1-D084-71E4F2AD651C}"/>
                </a:ext>
              </a:extLst>
            </p:cNvPr>
            <p:cNvSpPr txBox="1"/>
            <p:nvPr/>
          </p:nvSpPr>
          <p:spPr>
            <a:xfrm>
              <a:off x="4244994" y="4529532"/>
              <a:ext cx="667918" cy="138500"/>
            </a:xfrm>
            <a:prstGeom prst="rect">
              <a:avLst/>
            </a:prstGeom>
          </p:spPr>
          <p:txBody>
            <a:bodyPr vert="horz" wrap="none" lIns="0" tIns="0" rIns="0" bIns="0" rtlCol="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0" marR="0" lvl="0" indent="0" algn="ctr" defTabSz="822919" rtl="0" eaLnBrk="1" fontAlgn="base" latinLnBrk="0" hangingPunct="1">
                <a:lnSpc>
                  <a:spcPct val="100000"/>
                </a:lnSpc>
                <a:spcBef>
                  <a:spcPct val="0"/>
                </a:spcBef>
                <a:spcAft>
                  <a:spcPct val="0"/>
                </a:spcAft>
                <a:buClr>
                  <a:srgbClr val="000000"/>
                </a:buClr>
                <a:buSzTx/>
                <a:buFontTx/>
                <a:buNone/>
                <a:tabLst/>
                <a:defRPr/>
              </a:pPr>
              <a:r>
                <a:rPr kumimoji="0" sz="810" b="0" i="0" u="none" strike="noStrike" kern="0" cap="none" spc="0" normalizeH="0" baseline="0" noProof="0">
                  <a:ln>
                    <a:noFill/>
                  </a:ln>
                  <a:solidFill>
                    <a:srgbClr val="192025"/>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Day -28 to -1</a:t>
              </a:r>
            </a:p>
          </p:txBody>
        </p:sp>
        <p:sp>
          <p:nvSpPr>
            <p:cNvPr id="37" name="object 49">
              <a:extLst>
                <a:ext uri="{FF2B5EF4-FFF2-40B4-BE49-F238E27FC236}">
                  <a16:creationId xmlns:a16="http://schemas.microsoft.com/office/drawing/2014/main" id="{FD355827-D209-136A-1E5B-E9BB2A8344C8}"/>
                </a:ext>
              </a:extLst>
            </p:cNvPr>
            <p:cNvSpPr txBox="1"/>
            <p:nvPr/>
          </p:nvSpPr>
          <p:spPr>
            <a:xfrm>
              <a:off x="6214619" y="4112491"/>
              <a:ext cx="360088" cy="301058"/>
            </a:xfrm>
            <a:prstGeom prst="hexagon">
              <a:avLst/>
            </a:prstGeom>
            <a:solidFill>
              <a:schemeClr val="accent3">
                <a:lumMod val="75000"/>
              </a:schemeClr>
            </a:solidFill>
          </p:spPr>
          <p:txBody>
            <a:bodyPr vert="horz" wrap="none" lIns="0" tIns="0" rIns="0" bIns="0" rtlCol="0" anchor="ctr" anchorCtr="0">
              <a:no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4"/>
                </a:spcBef>
                <a:spcAft>
                  <a:spcPct val="0"/>
                </a:spcAft>
                <a:buClr>
                  <a:srgbClr val="000000"/>
                </a:buClr>
                <a:buSzTx/>
                <a:buFontTx/>
                <a:buNone/>
                <a:tabLst/>
                <a:defRPr/>
              </a:pPr>
              <a:r>
                <a:rPr kumimoji="0" sz="990" b="1" i="0" u="none" strike="noStrike" kern="0" cap="none" spc="0" normalizeH="0" baseline="0" noProof="0">
                  <a:ln>
                    <a:noFill/>
                  </a:ln>
                  <a:solidFill>
                    <a:srgbClr val="4EA72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8</a:t>
              </a:r>
            </a:p>
          </p:txBody>
        </p:sp>
        <p:sp>
          <p:nvSpPr>
            <p:cNvPr id="39" name="object 51">
              <a:extLst>
                <a:ext uri="{FF2B5EF4-FFF2-40B4-BE49-F238E27FC236}">
                  <a16:creationId xmlns:a16="http://schemas.microsoft.com/office/drawing/2014/main" id="{37EECE7F-C77A-8B26-7D58-519165FA32B7}"/>
                </a:ext>
              </a:extLst>
            </p:cNvPr>
            <p:cNvSpPr txBox="1"/>
            <p:nvPr/>
          </p:nvSpPr>
          <p:spPr>
            <a:xfrm>
              <a:off x="8277724" y="4112491"/>
              <a:ext cx="360088" cy="301058"/>
            </a:xfrm>
            <a:prstGeom prst="hexagon">
              <a:avLst/>
            </a:prstGeom>
            <a:solidFill>
              <a:schemeClr val="accent3">
                <a:lumMod val="75000"/>
              </a:schemeClr>
            </a:solidFill>
          </p:spPr>
          <p:txBody>
            <a:bodyPr vert="horz" wrap="none" lIns="0" tIns="0" rIns="0" bIns="0" rtlCol="0" anchor="ctr" anchorCtr="0">
              <a:no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4"/>
                </a:spcBef>
                <a:spcAft>
                  <a:spcPct val="0"/>
                </a:spcAft>
                <a:buClr>
                  <a:srgbClr val="000000"/>
                </a:buClr>
                <a:buSzTx/>
                <a:buFontTx/>
                <a:buNone/>
                <a:tabLst/>
                <a:defRPr/>
              </a:pPr>
              <a:r>
                <a:rPr kumimoji="0" sz="990" b="1" i="0" u="none" strike="noStrike" kern="0" cap="none" spc="0" normalizeH="0" baseline="0" noProof="0">
                  <a:ln>
                    <a:noFill/>
                  </a:ln>
                  <a:solidFill>
                    <a:srgbClr val="4EA72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28</a:t>
              </a:r>
            </a:p>
          </p:txBody>
        </p:sp>
        <p:sp>
          <p:nvSpPr>
            <p:cNvPr id="40" name="object 58">
              <a:extLst>
                <a:ext uri="{FF2B5EF4-FFF2-40B4-BE49-F238E27FC236}">
                  <a16:creationId xmlns:a16="http://schemas.microsoft.com/office/drawing/2014/main" id="{35F7CE15-D699-3D02-FB1D-34E746B50779}"/>
                </a:ext>
              </a:extLst>
            </p:cNvPr>
            <p:cNvSpPr txBox="1"/>
            <p:nvPr/>
          </p:nvSpPr>
          <p:spPr>
            <a:xfrm>
              <a:off x="5374381" y="4112491"/>
              <a:ext cx="360088" cy="301058"/>
            </a:xfrm>
            <a:prstGeom prst="hexagon">
              <a:avLst/>
            </a:prstGeom>
            <a:solidFill>
              <a:schemeClr val="accent3">
                <a:lumMod val="75000"/>
              </a:schemeClr>
            </a:solidFill>
          </p:spPr>
          <p:txBody>
            <a:bodyPr vert="horz" wrap="none" lIns="0" tIns="0" rIns="0" bIns="0" rtlCol="0" anchor="ctr" anchorCtr="0">
              <a:no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4"/>
                </a:spcBef>
                <a:spcAft>
                  <a:spcPct val="0"/>
                </a:spcAft>
                <a:buClr>
                  <a:srgbClr val="000000"/>
                </a:buClr>
                <a:buSzTx/>
                <a:buFontTx/>
                <a:buNone/>
                <a:tabLst>
                  <a:tab pos="273059" algn="l"/>
                </a:tabLst>
                <a:defRPr/>
              </a:pPr>
              <a:r>
                <a:rPr kumimoji="0" sz="990" b="1" i="0" u="none" strike="noStrike" kern="0" cap="none" spc="0" normalizeH="0" baseline="0" noProof="0">
                  <a:ln>
                    <a:noFill/>
                  </a:ln>
                  <a:solidFill>
                    <a:srgbClr val="4EA72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1</a:t>
              </a:r>
            </a:p>
          </p:txBody>
        </p:sp>
        <p:sp>
          <p:nvSpPr>
            <p:cNvPr id="2635" name="object 50">
              <a:extLst>
                <a:ext uri="{FF2B5EF4-FFF2-40B4-BE49-F238E27FC236}">
                  <a16:creationId xmlns:a16="http://schemas.microsoft.com/office/drawing/2014/main" id="{2EC128EB-1A63-A844-621E-42BBC6E3DA0D}"/>
                </a:ext>
              </a:extLst>
            </p:cNvPr>
            <p:cNvSpPr txBox="1"/>
            <p:nvPr/>
          </p:nvSpPr>
          <p:spPr>
            <a:xfrm>
              <a:off x="7038204" y="4112491"/>
              <a:ext cx="360088" cy="301058"/>
            </a:xfrm>
            <a:prstGeom prst="hexagon">
              <a:avLst/>
            </a:prstGeom>
            <a:solidFill>
              <a:schemeClr val="accent3">
                <a:lumMod val="75000"/>
              </a:schemeClr>
            </a:solidFill>
          </p:spPr>
          <p:txBody>
            <a:bodyPr vert="horz" wrap="none" lIns="0" tIns="0" rIns="0" bIns="0" rtlCol="0" anchor="ctr" anchorCtr="0">
              <a:no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4049" marR="0" lvl="0" indent="0" algn="ctr" defTabSz="822919" rtl="0" eaLnBrk="1" fontAlgn="base" latinLnBrk="0" hangingPunct="1">
                <a:lnSpc>
                  <a:spcPct val="100000"/>
                </a:lnSpc>
                <a:spcBef>
                  <a:spcPts val="34"/>
                </a:spcBef>
                <a:spcAft>
                  <a:spcPct val="0"/>
                </a:spcAft>
                <a:buClr>
                  <a:srgbClr val="000000"/>
                </a:buClr>
                <a:buSzTx/>
                <a:buFontTx/>
                <a:buNone/>
                <a:tabLst/>
                <a:defRPr/>
              </a:pPr>
              <a:r>
                <a:rPr kumimoji="0" sz="990" b="1" i="0" u="none" strike="noStrike" kern="0" cap="none" spc="0" normalizeH="0" baseline="0" noProof="0">
                  <a:ln>
                    <a:noFill/>
                  </a:ln>
                  <a:solidFill>
                    <a:srgbClr val="4EA72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15</a:t>
              </a:r>
            </a:p>
          </p:txBody>
        </p:sp>
      </p:grpSp>
      <p:pic>
        <p:nvPicPr>
          <p:cNvPr id="21" name="Picture 20" descr="A blue and black letter&#10;&#10;AI-generated content may be incorrect.">
            <a:extLst>
              <a:ext uri="{FF2B5EF4-FFF2-40B4-BE49-F238E27FC236}">
                <a16:creationId xmlns:a16="http://schemas.microsoft.com/office/drawing/2014/main" id="{53F0B0C8-329C-2684-AE5A-70FAFE869AB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95003" y="2043526"/>
            <a:ext cx="1225000" cy="267565"/>
          </a:xfrm>
          <a:prstGeom prst="rect">
            <a:avLst/>
          </a:prstGeom>
        </p:spPr>
      </p:pic>
      <p:sp>
        <p:nvSpPr>
          <p:cNvPr id="25" name="object 32">
            <a:extLst>
              <a:ext uri="{FF2B5EF4-FFF2-40B4-BE49-F238E27FC236}">
                <a16:creationId xmlns:a16="http://schemas.microsoft.com/office/drawing/2014/main" id="{14E7AEC8-C02D-8559-CCBA-83B956B6269B}"/>
              </a:ext>
            </a:extLst>
          </p:cNvPr>
          <p:cNvSpPr txBox="1"/>
          <p:nvPr/>
        </p:nvSpPr>
        <p:spPr>
          <a:xfrm>
            <a:off x="9655495" y="2328236"/>
            <a:ext cx="1256416" cy="1918248"/>
          </a:xfrm>
          <a:prstGeom prst="rect">
            <a:avLst/>
          </a:prstGeom>
          <a:noFill/>
          <a:ln w="12700">
            <a:noFill/>
          </a:ln>
        </p:spPr>
        <p:txBody>
          <a:bodyPr vert="horz" wrap="square" lIns="64800" tIns="64800" rIns="0" bIns="0" rtlCol="0" anchor="t">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9144" marR="0" lvl="0" indent="0" algn="l" defTabSz="822919" rtl="0" eaLnBrk="1" fontAlgn="base" latinLnBrk="0" hangingPunct="1">
              <a:lnSpc>
                <a:spcPct val="100000"/>
              </a:lnSpc>
              <a:spcBef>
                <a:spcPts val="270"/>
              </a:spcBef>
              <a:spcAft>
                <a:spcPts val="180"/>
              </a:spcAft>
              <a:buClr>
                <a:srgbClr val="000000"/>
              </a:buClr>
              <a:buSzTx/>
              <a:buFontTx/>
              <a:buNone/>
              <a:tabLst/>
              <a:defRPr/>
            </a:pPr>
            <a:r>
              <a:rPr kumimoji="0" lang="en-US" sz="1080" b="1"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Primary Endpoint</a:t>
            </a:r>
          </a:p>
          <a:p>
            <a:pPr marL="172594" marR="129538" lvl="0" indent="-154306" algn="l" defTabSz="822919" rtl="0" eaLnBrk="1" fontAlgn="base" latinLnBrk="0" hangingPunct="1">
              <a:lnSpc>
                <a:spcPct val="100000"/>
              </a:lnSpc>
              <a:spcBef>
                <a:spcPts val="27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Progression-free survival</a:t>
            </a:r>
          </a:p>
          <a:p>
            <a:pPr marL="172594" marR="129538" lvl="0" indent="-154306" algn="l" defTabSz="822919" rtl="0" eaLnBrk="1" fontAlgn="base" latinLnBrk="0" hangingPunct="1">
              <a:lnSpc>
                <a:spcPct val="100000"/>
              </a:lnSpc>
              <a:spcBef>
                <a:spcPts val="27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endPar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endParaRPr>
          </a:p>
          <a:p>
            <a:pPr marL="9144" marR="0" lvl="0" indent="0" algn="l" defTabSz="822919" rtl="0" eaLnBrk="1" fontAlgn="base" latinLnBrk="0" hangingPunct="1">
              <a:lnSpc>
                <a:spcPct val="100000"/>
              </a:lnSpc>
              <a:spcBef>
                <a:spcPts val="270"/>
              </a:spcBef>
              <a:spcAft>
                <a:spcPts val="180"/>
              </a:spcAft>
              <a:buClr>
                <a:srgbClr val="000000"/>
              </a:buClr>
              <a:buSzTx/>
              <a:buFontTx/>
              <a:buNone/>
              <a:tabLst/>
              <a:defRPr/>
            </a:pPr>
            <a:r>
              <a:rPr kumimoji="0" lang="en-US" sz="1080" b="1"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Secondary Endpoints</a:t>
            </a:r>
          </a:p>
          <a:p>
            <a:pPr marL="172594" marR="129538" lvl="0" indent="-154306" algn="l" defTabSz="822919" rtl="0" eaLnBrk="1" fontAlgn="base" latinLnBrk="0" hangingPunct="1">
              <a:lnSpc>
                <a:spcPct val="100000"/>
              </a:lnSpc>
              <a:spcBef>
                <a:spcPts val="27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Overall survival</a:t>
            </a:r>
          </a:p>
          <a:p>
            <a:pPr marL="172594" marR="129538" lvl="0" indent="-154306" algn="l" defTabSz="822919" rtl="0" eaLnBrk="1" fontAlgn="base" latinLnBrk="0" hangingPunct="1">
              <a:lnSpc>
                <a:spcPct val="100000"/>
              </a:lnSpc>
              <a:spcBef>
                <a:spcPts val="27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ORR, DoR, </a:t>
            </a:r>
            <a:br>
              <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br>
            <a:r>
              <a:rPr kumimoji="0" lang="en-US" sz="900" b="0" i="0" u="none" strike="noStrike" kern="0" cap="none" spc="0" normalizeH="0" baseline="0" noProof="0">
                <a:ln>
                  <a:noFill/>
                </a:ln>
                <a:solidFill>
                  <a:prstClr val="black"/>
                </a:solidFill>
                <a:effectLst/>
                <a:uLnTx/>
                <a:uFillTx/>
                <a:latin typeface="Aptos" panose="02110004020202020204"/>
                <a:ea typeface="Lato"/>
                <a:cs typeface="Lato"/>
                <a:sym typeface="Lato" panose="020F0502020204030203" pitchFamily="34" charset="0"/>
              </a:rPr>
              <a:t>BOR, CBR</a:t>
            </a:r>
          </a:p>
          <a:p>
            <a:pPr marL="172594" marR="129538" lvl="0" indent="-154306" algn="l" defTabSz="822919" rtl="0" eaLnBrk="1" fontAlgn="base" latinLnBrk="0" hangingPunct="1">
              <a:lnSpc>
                <a:spcPct val="100000"/>
              </a:lnSpc>
              <a:spcBef>
                <a:spcPts val="270"/>
              </a:spcBef>
              <a:spcAft>
                <a:spcPts val="180"/>
              </a:spcAft>
              <a:buClr>
                <a:srgbClr val="000000"/>
              </a:buClr>
              <a:buSzTx/>
              <a:buFontTx/>
              <a:buBlip>
                <a:blip>
                  <a:extLst>
                    <a:ext uri="{96DAC541-7B7A-43D3-8B79-37D633B846F1}">
                      <asvg:svgBlip xmlns:asvg="http://schemas.microsoft.com/office/drawing/2016/SVG/main" r:embed="rId3"/>
                    </a:ext>
                  </a:extLst>
                </a:blip>
              </a:buBlip>
              <a:tabLst/>
              <a:defRPr/>
            </a:pPr>
            <a:r>
              <a:rPr kumimoji="0" lang="en-US" sz="900" b="0" i="0" u="none" strike="noStrike" kern="1200" cap="none" spc="0" normalizeH="0" baseline="0" noProof="0">
                <a:ln>
                  <a:noFill/>
                </a:ln>
                <a:solidFill>
                  <a:prstClr val="black"/>
                </a:solidFill>
                <a:effectLst/>
                <a:uLnTx/>
                <a:uFillTx/>
                <a:latin typeface="Lato" panose="020F0502020204030203" pitchFamily="34" charset="0"/>
                <a:ea typeface="+mn-ea"/>
                <a:cs typeface="+mn-cs"/>
              </a:rPr>
              <a:t>Safety</a:t>
            </a:r>
          </a:p>
        </p:txBody>
      </p:sp>
      <p:grpSp>
        <p:nvGrpSpPr>
          <p:cNvPr id="26" name="Group 25">
            <a:extLst>
              <a:ext uri="{FF2B5EF4-FFF2-40B4-BE49-F238E27FC236}">
                <a16:creationId xmlns:a16="http://schemas.microsoft.com/office/drawing/2014/main" id="{25145717-92F3-314C-8C55-792ADAFFA525}"/>
              </a:ext>
            </a:extLst>
          </p:cNvPr>
          <p:cNvGrpSpPr/>
          <p:nvPr/>
        </p:nvGrpSpPr>
        <p:grpSpPr>
          <a:xfrm>
            <a:off x="4295003" y="2420346"/>
            <a:ext cx="5177790" cy="1605445"/>
            <a:chOff x="4235108" y="2044555"/>
            <a:chExt cx="5753100" cy="1783828"/>
          </a:xfrm>
        </p:grpSpPr>
        <p:grpSp>
          <p:nvGrpSpPr>
            <p:cNvPr id="33" name="Group 32">
              <a:extLst>
                <a:ext uri="{FF2B5EF4-FFF2-40B4-BE49-F238E27FC236}">
                  <a16:creationId xmlns:a16="http://schemas.microsoft.com/office/drawing/2014/main" id="{C899AEA4-9560-6A53-23A4-957EA751CB8B}"/>
                </a:ext>
              </a:extLst>
            </p:cNvPr>
            <p:cNvGrpSpPr/>
            <p:nvPr/>
          </p:nvGrpSpPr>
          <p:grpSpPr>
            <a:xfrm>
              <a:off x="4235108" y="3302457"/>
              <a:ext cx="5753100" cy="525926"/>
              <a:chOff x="4235108" y="3302457"/>
              <a:chExt cx="5753100" cy="525926"/>
            </a:xfrm>
          </p:grpSpPr>
          <p:sp>
            <p:nvSpPr>
              <p:cNvPr id="2666" name="Rectangle 2665">
                <a:extLst>
                  <a:ext uri="{FF2B5EF4-FFF2-40B4-BE49-F238E27FC236}">
                    <a16:creationId xmlns:a16="http://schemas.microsoft.com/office/drawing/2014/main" id="{D4FA9D9D-0E6B-1F91-8B19-7664BE5E43F4}"/>
                  </a:ext>
                </a:extLst>
              </p:cNvPr>
              <p:cNvSpPr/>
              <p:nvPr/>
            </p:nvSpPr>
            <p:spPr>
              <a:xfrm>
                <a:off x="4235108" y="3302457"/>
                <a:ext cx="5753100" cy="525926"/>
              </a:xfrm>
              <a:prstGeom prst="rect">
                <a:avLst/>
              </a:prstGeom>
              <a:solidFill>
                <a:schemeClr val="accent3">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67" name="Arrow: Chevron 2666">
                <a:extLst>
                  <a:ext uri="{FF2B5EF4-FFF2-40B4-BE49-F238E27FC236}">
                    <a16:creationId xmlns:a16="http://schemas.microsoft.com/office/drawing/2014/main" id="{43EF94E4-C864-D880-64F2-3332F54ACE6E}"/>
                  </a:ext>
                </a:extLst>
              </p:cNvPr>
              <p:cNvSpPr/>
              <p:nvPr/>
            </p:nvSpPr>
            <p:spPr>
              <a:xfrm>
                <a:off x="8394288" y="3403006"/>
                <a:ext cx="1190787" cy="324829"/>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68" name="Arrow: Pentagon 2667">
                <a:extLst>
                  <a:ext uri="{FF2B5EF4-FFF2-40B4-BE49-F238E27FC236}">
                    <a16:creationId xmlns:a16="http://schemas.microsoft.com/office/drawing/2014/main" id="{9D37CFCE-D060-3F3D-2412-4C509C47C2E3}"/>
                  </a:ext>
                </a:extLst>
              </p:cNvPr>
              <p:cNvSpPr/>
              <p:nvPr/>
            </p:nvSpPr>
            <p:spPr>
              <a:xfrm>
                <a:off x="5565775" y="3403006"/>
                <a:ext cx="2939046" cy="324829"/>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69" name="object 59">
                <a:extLst>
                  <a:ext uri="{FF2B5EF4-FFF2-40B4-BE49-F238E27FC236}">
                    <a16:creationId xmlns:a16="http://schemas.microsoft.com/office/drawing/2014/main" id="{7F4F326D-354D-7D07-3729-A3A6C5AAB4C1}"/>
                  </a:ext>
                </a:extLst>
              </p:cNvPr>
              <p:cNvSpPr txBox="1"/>
              <p:nvPr/>
            </p:nvSpPr>
            <p:spPr>
              <a:xfrm>
                <a:off x="4604944" y="3433830"/>
                <a:ext cx="706390" cy="263178"/>
              </a:xfrm>
              <a:prstGeom prst="rect">
                <a:avLst/>
              </a:prstGeom>
              <a:noFill/>
            </p:spPr>
            <p:txBody>
              <a:bodyPr vert="horz" wrap="none" lIns="0" tIns="0" rIns="0" bIns="0" rtlCol="0" anchor="ctr" anchorCtr="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12145" marR="0" lvl="0" indent="0" algn="l" defTabSz="822919" rtl="0" eaLnBrk="1" fontAlgn="base" latinLnBrk="0" hangingPunct="1">
                  <a:lnSpc>
                    <a:spcPct val="95000"/>
                  </a:lnSpc>
                  <a:spcBef>
                    <a:spcPts val="174"/>
                  </a:spcBef>
                  <a:spcAft>
                    <a:spcPct val="0"/>
                  </a:spcAft>
                  <a:buClr>
                    <a:srgbClr val="000000"/>
                  </a:buClr>
                  <a:buSzTx/>
                  <a:buFontTx/>
                  <a:buNone/>
                  <a:tabLst/>
                  <a:defRPr/>
                </a:pPr>
                <a:r>
                  <a:rPr kumimoji="0" lang="en-US"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Bevacizumab</a:t>
                </a:r>
                <a:br>
                  <a:rPr kumimoji="0" lang="en-US"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br>
                <a:r>
                  <a:rPr kumimoji="0"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a:t>
                </a:r>
                <a:r>
                  <a:rPr kumimoji="0" lang="en-US"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10</a:t>
                </a:r>
                <a:r>
                  <a:rPr kumimoji="0"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 mg</a:t>
                </a:r>
                <a:r>
                  <a:rPr kumimoji="0" lang="en-US"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kg IV)</a:t>
                </a:r>
                <a:endParaRPr kumimoji="0" sz="810" b="0" i="0" u="none" strike="noStrike" kern="0" cap="none" spc="0" normalizeH="0" baseline="0" noProof="0">
                  <a:ln>
                    <a:noFill/>
                  </a:ln>
                  <a:solidFill>
                    <a:srgbClr val="1E40BE"/>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endParaRPr>
              </a:p>
            </p:txBody>
          </p:sp>
          <p:cxnSp>
            <p:nvCxnSpPr>
              <p:cNvPr id="2670" name="Straight Arrow Connector 2669">
                <a:extLst>
                  <a:ext uri="{FF2B5EF4-FFF2-40B4-BE49-F238E27FC236}">
                    <a16:creationId xmlns:a16="http://schemas.microsoft.com/office/drawing/2014/main" id="{4FDB02B0-EA65-23AB-CE16-63A83727D8BB}"/>
                  </a:ext>
                </a:extLst>
              </p:cNvPr>
              <p:cNvCxnSpPr>
                <a:cxnSpLocks/>
              </p:cNvCxnSpPr>
              <p:nvPr/>
            </p:nvCxnSpPr>
            <p:spPr>
              <a:xfrm>
                <a:off x="5788870" y="3565420"/>
                <a:ext cx="1292806"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671" name="Straight Arrow Connector 2670">
                <a:extLst>
                  <a:ext uri="{FF2B5EF4-FFF2-40B4-BE49-F238E27FC236}">
                    <a16:creationId xmlns:a16="http://schemas.microsoft.com/office/drawing/2014/main" id="{78B6C775-07AF-0C6D-9266-88E47557AFDF}"/>
                  </a:ext>
                </a:extLst>
              </p:cNvPr>
              <p:cNvCxnSpPr>
                <a:cxnSpLocks/>
              </p:cNvCxnSpPr>
              <p:nvPr/>
            </p:nvCxnSpPr>
            <p:spPr>
              <a:xfrm>
                <a:off x="7349210" y="3565420"/>
                <a:ext cx="1488212"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2672" name="Graphic 2671">
                <a:extLst>
                  <a:ext uri="{FF2B5EF4-FFF2-40B4-BE49-F238E27FC236}">
                    <a16:creationId xmlns:a16="http://schemas.microsoft.com/office/drawing/2014/main" id="{23C2140B-370F-63E8-85B7-E0C71DBC5986}"/>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887152" y="3451437"/>
                <a:ext cx="175279" cy="227967"/>
              </a:xfrm>
              <a:prstGeom prst="rect">
                <a:avLst/>
              </a:prstGeom>
            </p:spPr>
          </p:pic>
          <p:pic>
            <p:nvPicPr>
              <p:cNvPr id="2673" name="Graphic 2672">
                <a:extLst>
                  <a:ext uri="{FF2B5EF4-FFF2-40B4-BE49-F238E27FC236}">
                    <a16:creationId xmlns:a16="http://schemas.microsoft.com/office/drawing/2014/main" id="{D36CDF5E-90A5-00BB-CAB7-DA8869CE97FE}"/>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7124202" y="3451437"/>
                <a:ext cx="175279" cy="227967"/>
              </a:xfrm>
              <a:prstGeom prst="rect">
                <a:avLst/>
              </a:prstGeom>
            </p:spPr>
          </p:pic>
          <p:pic>
            <p:nvPicPr>
              <p:cNvPr id="2674" name="Graphic 2673">
                <a:extLst>
                  <a:ext uri="{FF2B5EF4-FFF2-40B4-BE49-F238E27FC236}">
                    <a16:creationId xmlns:a16="http://schemas.microsoft.com/office/drawing/2014/main" id="{8397C665-A929-D856-13DA-D41385F4BEB2}"/>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571064" y="3451437"/>
                <a:ext cx="175279" cy="227967"/>
              </a:xfrm>
              <a:prstGeom prst="rect">
                <a:avLst/>
              </a:prstGeom>
            </p:spPr>
          </p:pic>
          <p:grpSp>
            <p:nvGrpSpPr>
              <p:cNvPr id="2675" name="Group 2674">
                <a:extLst>
                  <a:ext uri="{FF2B5EF4-FFF2-40B4-BE49-F238E27FC236}">
                    <a16:creationId xmlns:a16="http://schemas.microsoft.com/office/drawing/2014/main" id="{387474FA-FE0F-82F4-D974-0E6E1D277E4F}"/>
                  </a:ext>
                </a:extLst>
              </p:cNvPr>
              <p:cNvGrpSpPr/>
              <p:nvPr/>
            </p:nvGrpSpPr>
            <p:grpSpPr>
              <a:xfrm>
                <a:off x="4323254" y="3356373"/>
                <a:ext cx="176985" cy="418095"/>
                <a:chOff x="4552526" y="3253088"/>
                <a:chExt cx="176970" cy="418064"/>
              </a:xfrm>
              <a:solidFill>
                <a:schemeClr val="accent3"/>
              </a:solidFill>
            </p:grpSpPr>
            <p:sp>
              <p:nvSpPr>
                <p:cNvPr id="2676" name="Freeform: Shape 2675">
                  <a:extLst>
                    <a:ext uri="{FF2B5EF4-FFF2-40B4-BE49-F238E27FC236}">
                      <a16:creationId xmlns:a16="http://schemas.microsoft.com/office/drawing/2014/main" id="{D8912485-564C-42A1-D4FC-B4F987BCF4B8}"/>
                    </a:ext>
                  </a:extLst>
                </p:cNvPr>
                <p:cNvSpPr/>
                <p:nvPr/>
              </p:nvSpPr>
              <p:spPr>
                <a:xfrm>
                  <a:off x="4552526" y="3352478"/>
                  <a:ext cx="176970" cy="318674"/>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77" name="Freeform: Shape 2676">
                  <a:extLst>
                    <a:ext uri="{FF2B5EF4-FFF2-40B4-BE49-F238E27FC236}">
                      <a16:creationId xmlns:a16="http://schemas.microsoft.com/office/drawing/2014/main" id="{4690E6A1-00AC-30FA-3592-C05A81A3B91F}"/>
                    </a:ext>
                  </a:extLst>
                </p:cNvPr>
                <p:cNvSpPr/>
                <p:nvPr/>
              </p:nvSpPr>
              <p:spPr>
                <a:xfrm>
                  <a:off x="4589252" y="3253088"/>
                  <a:ext cx="103518" cy="93595"/>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grpSp>
          <p:nvGrpSpPr>
            <p:cNvPr id="47" name="Group 46">
              <a:extLst>
                <a:ext uri="{FF2B5EF4-FFF2-40B4-BE49-F238E27FC236}">
                  <a16:creationId xmlns:a16="http://schemas.microsoft.com/office/drawing/2014/main" id="{AF9345BD-5AFD-C3E2-3003-6ECA0BFC6BC1}"/>
                </a:ext>
              </a:extLst>
            </p:cNvPr>
            <p:cNvGrpSpPr/>
            <p:nvPr/>
          </p:nvGrpSpPr>
          <p:grpSpPr>
            <a:xfrm>
              <a:off x="4235108" y="2044555"/>
              <a:ext cx="5753100" cy="525926"/>
              <a:chOff x="4235108" y="2044555"/>
              <a:chExt cx="5753100" cy="525926"/>
            </a:xfrm>
          </p:grpSpPr>
          <p:sp>
            <p:nvSpPr>
              <p:cNvPr id="2641" name="Rectangle 2640">
                <a:extLst>
                  <a:ext uri="{FF2B5EF4-FFF2-40B4-BE49-F238E27FC236}">
                    <a16:creationId xmlns:a16="http://schemas.microsoft.com/office/drawing/2014/main" id="{73EE4D1F-8F12-8BC4-0EAF-8DEA43226F3F}"/>
                  </a:ext>
                </a:extLst>
              </p:cNvPr>
              <p:cNvSpPr/>
              <p:nvPr/>
            </p:nvSpPr>
            <p:spPr>
              <a:xfrm>
                <a:off x="4235108" y="2044555"/>
                <a:ext cx="5753100" cy="525926"/>
              </a:xfrm>
              <a:prstGeom prst="rect">
                <a:avLst/>
              </a:prstGeom>
              <a:solidFill>
                <a:srgbClr val="156168">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44" name="TextBox 2643">
                <a:extLst>
                  <a:ext uri="{FF2B5EF4-FFF2-40B4-BE49-F238E27FC236}">
                    <a16:creationId xmlns:a16="http://schemas.microsoft.com/office/drawing/2014/main" id="{6B3901DA-5903-AAA3-5A80-314125BB98DA}"/>
                  </a:ext>
                </a:extLst>
              </p:cNvPr>
              <p:cNvSpPr txBox="1"/>
              <p:nvPr/>
            </p:nvSpPr>
            <p:spPr>
              <a:xfrm>
                <a:off x="4604944" y="2169018"/>
                <a:ext cx="674330" cy="276999"/>
              </a:xfrm>
              <a:prstGeom prst="rect">
                <a:avLst/>
              </a:prstGeom>
              <a:noFill/>
            </p:spPr>
            <p:txBody>
              <a:bodyPr wrap="none" lIns="0" tIns="0" rIns="0" bIns="0" anchor="ctr" anchorCtr="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12145" marR="0" lvl="0" indent="0" algn="l" defTabSz="822919" rtl="0" eaLnBrk="1" fontAlgn="base" latinLnBrk="0" hangingPunct="1">
                  <a:lnSpc>
                    <a:spcPct val="100000"/>
                  </a:lnSpc>
                  <a:spcBef>
                    <a:spcPts val="204"/>
                  </a:spcBef>
                  <a:spcAft>
                    <a:spcPct val="0"/>
                  </a:spcAft>
                  <a:buClr>
                    <a:srgbClr val="000000"/>
                  </a:buClr>
                  <a:buSzTx/>
                  <a:buFontTx/>
                  <a:buNone/>
                  <a:tabLst/>
                  <a:defRPr/>
                </a:pPr>
                <a:r>
                  <a:rPr kumimoji="0" lang="en-US" sz="810" b="0" i="0" u="none" strike="noStrike" kern="0" cap="none" spc="0" normalizeH="0" baseline="0" noProof="0">
                    <a:ln>
                      <a:noFill/>
                    </a:ln>
                    <a:solidFill>
                      <a:srgbClr val="156168"/>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Relacorilant</a:t>
                </a:r>
                <a:br>
                  <a:rPr kumimoji="0" lang="en-US" sz="810" b="0" i="0" u="none" strike="noStrike" kern="0" cap="none" spc="0" normalizeH="0" baseline="0" noProof="0">
                    <a:ln>
                      <a:noFill/>
                    </a:ln>
                    <a:solidFill>
                      <a:srgbClr val="156168"/>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br>
                <a:r>
                  <a:rPr kumimoji="0" lang="en-US" sz="810" b="0" i="0" u="none" strike="noStrike" kern="0" cap="none" spc="0" normalizeH="0" baseline="0" noProof="0">
                    <a:ln>
                      <a:noFill/>
                    </a:ln>
                    <a:solidFill>
                      <a:srgbClr val="156168"/>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150 mg PO)</a:t>
                </a:r>
              </a:p>
            </p:txBody>
          </p:sp>
          <p:sp>
            <p:nvSpPr>
              <p:cNvPr id="2645" name="Arrow: Pentagon 2644">
                <a:extLst>
                  <a:ext uri="{FF2B5EF4-FFF2-40B4-BE49-F238E27FC236}">
                    <a16:creationId xmlns:a16="http://schemas.microsoft.com/office/drawing/2014/main" id="{6BE32332-27DD-7AD7-C3EB-878B0378BEE3}"/>
                  </a:ext>
                </a:extLst>
              </p:cNvPr>
              <p:cNvSpPr/>
              <p:nvPr/>
            </p:nvSpPr>
            <p:spPr>
              <a:xfrm>
                <a:off x="5565775" y="2145104"/>
                <a:ext cx="2939046" cy="324829"/>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46" name="Arrow: Chevron 2645">
                <a:extLst>
                  <a:ext uri="{FF2B5EF4-FFF2-40B4-BE49-F238E27FC236}">
                    <a16:creationId xmlns:a16="http://schemas.microsoft.com/office/drawing/2014/main" id="{80D108DC-7AC6-EF0F-A3D5-BB7C74EBF8CA}"/>
                  </a:ext>
                </a:extLst>
              </p:cNvPr>
              <p:cNvSpPr/>
              <p:nvPr/>
            </p:nvSpPr>
            <p:spPr>
              <a:xfrm>
                <a:off x="8394288" y="2145104"/>
                <a:ext cx="1190787" cy="324829"/>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2647" name="Straight Arrow Connector 2646">
                <a:extLst>
                  <a:ext uri="{FF2B5EF4-FFF2-40B4-BE49-F238E27FC236}">
                    <a16:creationId xmlns:a16="http://schemas.microsoft.com/office/drawing/2014/main" id="{D7E5DAB9-72E8-EF47-792D-626DC679CFCC}"/>
                  </a:ext>
                </a:extLst>
              </p:cNvPr>
              <p:cNvCxnSpPr>
                <a:cxnSpLocks/>
              </p:cNvCxnSpPr>
              <p:nvPr/>
            </p:nvCxnSpPr>
            <p:spPr>
              <a:xfrm>
                <a:off x="5906489" y="2307518"/>
                <a:ext cx="219106" cy="0"/>
              </a:xfrm>
              <a:prstGeom prst="straightConnector1">
                <a:avLst/>
              </a:prstGeom>
              <a:ln>
                <a:solidFill>
                  <a:srgbClr val="156168"/>
                </a:solidFill>
                <a:tailEnd type="triangle"/>
              </a:ln>
            </p:spPr>
            <p:style>
              <a:lnRef idx="1">
                <a:schemeClr val="accent1"/>
              </a:lnRef>
              <a:fillRef idx="0">
                <a:schemeClr val="accent1"/>
              </a:fillRef>
              <a:effectRef idx="0">
                <a:schemeClr val="accent1"/>
              </a:effectRef>
              <a:fontRef idx="minor">
                <a:schemeClr val="tx1"/>
              </a:fontRef>
            </p:style>
          </p:cxnSp>
          <p:cxnSp>
            <p:nvCxnSpPr>
              <p:cNvPr id="2648" name="Straight Arrow Connector 2647">
                <a:extLst>
                  <a:ext uri="{FF2B5EF4-FFF2-40B4-BE49-F238E27FC236}">
                    <a16:creationId xmlns:a16="http://schemas.microsoft.com/office/drawing/2014/main" id="{04265D74-4D55-FC3A-0AD8-CB8BB0E38EBA}"/>
                  </a:ext>
                </a:extLst>
              </p:cNvPr>
              <p:cNvCxnSpPr>
                <a:cxnSpLocks/>
              </p:cNvCxnSpPr>
              <p:nvPr/>
            </p:nvCxnSpPr>
            <p:spPr>
              <a:xfrm>
                <a:off x="7501137" y="2307518"/>
                <a:ext cx="663069" cy="0"/>
              </a:xfrm>
              <a:prstGeom prst="straightConnector1">
                <a:avLst/>
              </a:prstGeom>
              <a:ln>
                <a:solidFill>
                  <a:srgbClr val="156168"/>
                </a:solidFill>
                <a:tailEnd type="triangle"/>
              </a:ln>
            </p:spPr>
            <p:style>
              <a:lnRef idx="1">
                <a:schemeClr val="accent1"/>
              </a:lnRef>
              <a:fillRef idx="0">
                <a:schemeClr val="accent1"/>
              </a:fillRef>
              <a:effectRef idx="0">
                <a:schemeClr val="accent1"/>
              </a:effectRef>
              <a:fontRef idx="minor">
                <a:schemeClr val="tx1"/>
              </a:fontRef>
            </p:style>
          </p:cxnSp>
          <p:cxnSp>
            <p:nvCxnSpPr>
              <p:cNvPr id="2649" name="Straight Arrow Connector 2648">
                <a:extLst>
                  <a:ext uri="{FF2B5EF4-FFF2-40B4-BE49-F238E27FC236}">
                    <a16:creationId xmlns:a16="http://schemas.microsoft.com/office/drawing/2014/main" id="{19351739-521E-BA5F-BDB6-23925C587297}"/>
                  </a:ext>
                </a:extLst>
              </p:cNvPr>
              <p:cNvCxnSpPr>
                <a:cxnSpLocks/>
              </p:cNvCxnSpPr>
              <p:nvPr/>
            </p:nvCxnSpPr>
            <p:spPr>
              <a:xfrm>
                <a:off x="8401057" y="2307518"/>
                <a:ext cx="473068" cy="0"/>
              </a:xfrm>
              <a:prstGeom prst="straightConnector1">
                <a:avLst/>
              </a:prstGeom>
              <a:ln>
                <a:solidFill>
                  <a:srgbClr val="156168"/>
                </a:solidFill>
                <a:tailEnd type="triangle"/>
              </a:ln>
            </p:spPr>
            <p:style>
              <a:lnRef idx="1">
                <a:schemeClr val="accent1"/>
              </a:lnRef>
              <a:fillRef idx="0">
                <a:schemeClr val="accent1"/>
              </a:fillRef>
              <a:effectRef idx="0">
                <a:schemeClr val="accent1"/>
              </a:effectRef>
              <a:fontRef idx="minor">
                <a:schemeClr val="tx1"/>
              </a:fontRef>
            </p:style>
          </p:cxnSp>
          <p:cxnSp>
            <p:nvCxnSpPr>
              <p:cNvPr id="2650" name="Straight Arrow Connector 2649">
                <a:extLst>
                  <a:ext uri="{FF2B5EF4-FFF2-40B4-BE49-F238E27FC236}">
                    <a16:creationId xmlns:a16="http://schemas.microsoft.com/office/drawing/2014/main" id="{81D7DB2D-4E35-3B1C-DDBC-2EF3CF6798BB}"/>
                  </a:ext>
                </a:extLst>
              </p:cNvPr>
              <p:cNvCxnSpPr>
                <a:cxnSpLocks/>
              </p:cNvCxnSpPr>
              <p:nvPr/>
            </p:nvCxnSpPr>
            <p:spPr>
              <a:xfrm>
                <a:off x="6653215" y="2307518"/>
                <a:ext cx="288381" cy="0"/>
              </a:xfrm>
              <a:prstGeom prst="straightConnector1">
                <a:avLst/>
              </a:prstGeom>
              <a:ln>
                <a:solidFill>
                  <a:srgbClr val="156168"/>
                </a:solidFill>
                <a:tailEnd type="triangle"/>
              </a:ln>
            </p:spPr>
            <p:style>
              <a:lnRef idx="1">
                <a:schemeClr val="accent1"/>
              </a:lnRef>
              <a:fillRef idx="0">
                <a:schemeClr val="accent1"/>
              </a:fillRef>
              <a:effectRef idx="0">
                <a:schemeClr val="accent1"/>
              </a:effectRef>
              <a:fontRef idx="minor">
                <a:schemeClr val="tx1"/>
              </a:fontRef>
            </p:style>
          </p:cxnSp>
          <p:grpSp>
            <p:nvGrpSpPr>
              <p:cNvPr id="2651" name="Group 2650">
                <a:extLst>
                  <a:ext uri="{FF2B5EF4-FFF2-40B4-BE49-F238E27FC236}">
                    <a16:creationId xmlns:a16="http://schemas.microsoft.com/office/drawing/2014/main" id="{A6DCCF40-070F-6511-27F0-0D4D0CCF1473}"/>
                  </a:ext>
                </a:extLst>
              </p:cNvPr>
              <p:cNvGrpSpPr/>
              <p:nvPr/>
            </p:nvGrpSpPr>
            <p:grpSpPr>
              <a:xfrm>
                <a:off x="5571064" y="2193535"/>
                <a:ext cx="326341" cy="227967"/>
                <a:chOff x="3895725" y="2255044"/>
                <a:chExt cx="282931" cy="197643"/>
              </a:xfrm>
            </p:grpSpPr>
            <p:pic>
              <p:nvPicPr>
                <p:cNvPr id="2664" name="Graphic 2663">
                  <a:extLst>
                    <a:ext uri="{FF2B5EF4-FFF2-40B4-BE49-F238E27FC236}">
                      <a16:creationId xmlns:a16="http://schemas.microsoft.com/office/drawing/2014/main" id="{CB7ECD63-CB09-93A9-D086-4F20691E381A}"/>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895725" y="2255044"/>
                  <a:ext cx="151963" cy="197643"/>
                </a:xfrm>
                <a:prstGeom prst="rect">
                  <a:avLst/>
                </a:prstGeom>
              </p:spPr>
            </p:pic>
            <p:pic>
              <p:nvPicPr>
                <p:cNvPr id="2665" name="Graphic 2664">
                  <a:extLst>
                    <a:ext uri="{FF2B5EF4-FFF2-40B4-BE49-F238E27FC236}">
                      <a16:creationId xmlns:a16="http://schemas.microsoft.com/office/drawing/2014/main" id="{25121B5E-9441-B5D7-FD5E-8A10C7082218}"/>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026693" y="2255044"/>
                  <a:ext cx="151963" cy="197643"/>
                </a:xfrm>
                <a:prstGeom prst="rect">
                  <a:avLst/>
                </a:prstGeom>
              </p:spPr>
            </p:pic>
          </p:grpSp>
          <p:pic>
            <p:nvPicPr>
              <p:cNvPr id="2652" name="Graphic 2651">
                <a:extLst>
                  <a:ext uri="{FF2B5EF4-FFF2-40B4-BE49-F238E27FC236}">
                    <a16:creationId xmlns:a16="http://schemas.microsoft.com/office/drawing/2014/main" id="{AB5A09EE-B579-A622-C94B-2EE0818BCD05}"/>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964898" y="2193535"/>
                <a:ext cx="175279" cy="227967"/>
              </a:xfrm>
              <a:prstGeom prst="rect">
                <a:avLst/>
              </a:prstGeom>
            </p:spPr>
          </p:pic>
          <p:pic>
            <p:nvPicPr>
              <p:cNvPr id="2653" name="Graphic 2652">
                <a:extLst>
                  <a:ext uri="{FF2B5EF4-FFF2-40B4-BE49-F238E27FC236}">
                    <a16:creationId xmlns:a16="http://schemas.microsoft.com/office/drawing/2014/main" id="{0AAE3512-A96C-CCF3-260F-9FC20C22A9AE}"/>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124202" y="2193535"/>
                <a:ext cx="175279" cy="227967"/>
              </a:xfrm>
              <a:prstGeom prst="rect">
                <a:avLst/>
              </a:prstGeom>
            </p:spPr>
          </p:pic>
          <p:pic>
            <p:nvPicPr>
              <p:cNvPr id="2654" name="Graphic 2653">
                <a:extLst>
                  <a:ext uri="{FF2B5EF4-FFF2-40B4-BE49-F238E27FC236}">
                    <a16:creationId xmlns:a16="http://schemas.microsoft.com/office/drawing/2014/main" id="{B8A364C5-C20A-6C9F-5D47-7D4AFD24CCE5}"/>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283504" y="2193535"/>
                <a:ext cx="175279" cy="227967"/>
              </a:xfrm>
              <a:prstGeom prst="rect">
                <a:avLst/>
              </a:prstGeom>
            </p:spPr>
          </p:pic>
          <p:pic>
            <p:nvPicPr>
              <p:cNvPr id="2655" name="Graphic 2654">
                <a:extLst>
                  <a:ext uri="{FF2B5EF4-FFF2-40B4-BE49-F238E27FC236}">
                    <a16:creationId xmlns:a16="http://schemas.microsoft.com/office/drawing/2014/main" id="{371BAB35-E806-E8CA-D79D-17E181FA400E}"/>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206559" y="2193535"/>
                <a:ext cx="175279" cy="227967"/>
              </a:xfrm>
              <a:prstGeom prst="rect">
                <a:avLst/>
              </a:prstGeom>
            </p:spPr>
          </p:pic>
          <p:pic>
            <p:nvPicPr>
              <p:cNvPr id="2656" name="Graphic 2655">
                <a:extLst>
                  <a:ext uri="{FF2B5EF4-FFF2-40B4-BE49-F238E27FC236}">
                    <a16:creationId xmlns:a16="http://schemas.microsoft.com/office/drawing/2014/main" id="{DD8EB91E-B024-28CC-D579-E7D48DE45DB7}"/>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887152" y="2193535"/>
                <a:ext cx="175279" cy="227967"/>
              </a:xfrm>
              <a:prstGeom prst="rect">
                <a:avLst/>
              </a:prstGeom>
            </p:spPr>
          </p:pic>
          <p:grpSp>
            <p:nvGrpSpPr>
              <p:cNvPr id="2657" name="Group 2656">
                <a:extLst>
                  <a:ext uri="{FF2B5EF4-FFF2-40B4-BE49-F238E27FC236}">
                    <a16:creationId xmlns:a16="http://schemas.microsoft.com/office/drawing/2014/main" id="{593F556E-1EC1-B3A9-264D-930E885F0BCF}"/>
                  </a:ext>
                </a:extLst>
              </p:cNvPr>
              <p:cNvGrpSpPr/>
              <p:nvPr/>
            </p:nvGrpSpPr>
            <p:grpSpPr>
              <a:xfrm>
                <a:off x="4323254" y="2098471"/>
                <a:ext cx="176985" cy="418095"/>
                <a:chOff x="4552526" y="3253088"/>
                <a:chExt cx="176970" cy="418064"/>
              </a:xfrm>
              <a:solidFill>
                <a:srgbClr val="156168"/>
              </a:solidFill>
            </p:grpSpPr>
            <p:sp>
              <p:nvSpPr>
                <p:cNvPr id="2662" name="Freeform: Shape 2661">
                  <a:extLst>
                    <a:ext uri="{FF2B5EF4-FFF2-40B4-BE49-F238E27FC236}">
                      <a16:creationId xmlns:a16="http://schemas.microsoft.com/office/drawing/2014/main" id="{8FBF4285-A38C-212E-4C60-6B942A40B92C}"/>
                    </a:ext>
                  </a:extLst>
                </p:cNvPr>
                <p:cNvSpPr/>
                <p:nvPr/>
              </p:nvSpPr>
              <p:spPr>
                <a:xfrm>
                  <a:off x="4552526" y="3352478"/>
                  <a:ext cx="176970" cy="318674"/>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63" name="Freeform: Shape 2662">
                  <a:extLst>
                    <a:ext uri="{FF2B5EF4-FFF2-40B4-BE49-F238E27FC236}">
                      <a16:creationId xmlns:a16="http://schemas.microsoft.com/office/drawing/2014/main" id="{782D194B-96C1-0DB5-4152-1173A08340B4}"/>
                    </a:ext>
                  </a:extLst>
                </p:cNvPr>
                <p:cNvSpPr/>
                <p:nvPr/>
              </p:nvSpPr>
              <p:spPr>
                <a:xfrm>
                  <a:off x="4589252" y="3253088"/>
                  <a:ext cx="103518" cy="93595"/>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658" name="Group 2657">
                <a:extLst>
                  <a:ext uri="{FF2B5EF4-FFF2-40B4-BE49-F238E27FC236}">
                    <a16:creationId xmlns:a16="http://schemas.microsoft.com/office/drawing/2014/main" id="{D195F614-D54B-8FDA-BFFA-9F80437E65A6}"/>
                  </a:ext>
                </a:extLst>
              </p:cNvPr>
              <p:cNvGrpSpPr/>
              <p:nvPr/>
            </p:nvGrpSpPr>
            <p:grpSpPr>
              <a:xfrm>
                <a:off x="6134679" y="2193535"/>
                <a:ext cx="493885" cy="227967"/>
                <a:chOff x="6151531" y="1823965"/>
                <a:chExt cx="493885" cy="227967"/>
              </a:xfrm>
            </p:grpSpPr>
            <p:pic>
              <p:nvPicPr>
                <p:cNvPr id="2659" name="Graphic 2658">
                  <a:extLst>
                    <a:ext uri="{FF2B5EF4-FFF2-40B4-BE49-F238E27FC236}">
                      <a16:creationId xmlns:a16="http://schemas.microsoft.com/office/drawing/2014/main" id="{19D4B654-485B-0EC8-13B9-F22CC056A47E}"/>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151531" y="1823965"/>
                  <a:ext cx="175279" cy="227967"/>
                </a:xfrm>
                <a:prstGeom prst="rect">
                  <a:avLst/>
                </a:prstGeom>
              </p:spPr>
            </p:pic>
            <p:pic>
              <p:nvPicPr>
                <p:cNvPr id="2660" name="Graphic 2659">
                  <a:extLst>
                    <a:ext uri="{FF2B5EF4-FFF2-40B4-BE49-F238E27FC236}">
                      <a16:creationId xmlns:a16="http://schemas.microsoft.com/office/drawing/2014/main" id="{A01F6B46-7D8D-DE28-0685-A383B6E725B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310835" y="1823965"/>
                  <a:ext cx="175279" cy="227967"/>
                </a:xfrm>
                <a:prstGeom prst="rect">
                  <a:avLst/>
                </a:prstGeom>
              </p:spPr>
            </p:pic>
            <p:pic>
              <p:nvPicPr>
                <p:cNvPr id="2661" name="Graphic 2660">
                  <a:extLst>
                    <a:ext uri="{FF2B5EF4-FFF2-40B4-BE49-F238E27FC236}">
                      <a16:creationId xmlns:a16="http://schemas.microsoft.com/office/drawing/2014/main" id="{89272F01-812E-3823-60AB-E9384DCCFD32}"/>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470137" y="1823965"/>
                  <a:ext cx="175279" cy="227967"/>
                </a:xfrm>
                <a:prstGeom prst="rect">
                  <a:avLst/>
                </a:prstGeom>
              </p:spPr>
            </p:pic>
          </p:grpSp>
        </p:grpSp>
        <p:grpSp>
          <p:nvGrpSpPr>
            <p:cNvPr id="53" name="Group 52">
              <a:extLst>
                <a:ext uri="{FF2B5EF4-FFF2-40B4-BE49-F238E27FC236}">
                  <a16:creationId xmlns:a16="http://schemas.microsoft.com/office/drawing/2014/main" id="{CA286A68-46E7-A94A-5B3A-379BC338A246}"/>
                </a:ext>
              </a:extLst>
            </p:cNvPr>
            <p:cNvGrpSpPr/>
            <p:nvPr/>
          </p:nvGrpSpPr>
          <p:grpSpPr>
            <a:xfrm>
              <a:off x="4235108" y="2673506"/>
              <a:ext cx="5753100" cy="525926"/>
              <a:chOff x="4235108" y="2673506"/>
              <a:chExt cx="5753100" cy="525926"/>
            </a:xfrm>
          </p:grpSpPr>
          <p:sp>
            <p:nvSpPr>
              <p:cNvPr id="55" name="Rectangle 54">
                <a:extLst>
                  <a:ext uri="{FF2B5EF4-FFF2-40B4-BE49-F238E27FC236}">
                    <a16:creationId xmlns:a16="http://schemas.microsoft.com/office/drawing/2014/main" id="{A50A5C13-7E06-DB5B-DC45-072457C5A5FC}"/>
                  </a:ext>
                </a:extLst>
              </p:cNvPr>
              <p:cNvSpPr/>
              <p:nvPr/>
            </p:nvSpPr>
            <p:spPr>
              <a:xfrm>
                <a:off x="4235108" y="2673506"/>
                <a:ext cx="5753100" cy="525926"/>
              </a:xfrm>
              <a:prstGeom prst="rect">
                <a:avLst/>
              </a:prstGeom>
              <a:solidFill>
                <a:srgbClr val="8C3177">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6" name="Arrow: Chevron 55">
                <a:extLst>
                  <a:ext uri="{FF2B5EF4-FFF2-40B4-BE49-F238E27FC236}">
                    <a16:creationId xmlns:a16="http://schemas.microsoft.com/office/drawing/2014/main" id="{C63BC448-4256-F89E-3702-38CCAF8DDFB9}"/>
                  </a:ext>
                </a:extLst>
              </p:cNvPr>
              <p:cNvSpPr/>
              <p:nvPr/>
            </p:nvSpPr>
            <p:spPr>
              <a:xfrm>
                <a:off x="8394288" y="2774055"/>
                <a:ext cx="1190787" cy="324829"/>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7" name="Arrow: Pentagon 56">
                <a:extLst>
                  <a:ext uri="{FF2B5EF4-FFF2-40B4-BE49-F238E27FC236}">
                    <a16:creationId xmlns:a16="http://schemas.microsoft.com/office/drawing/2014/main" id="{B43E8E68-55C5-84A5-1F5C-E22C06CC1370}"/>
                  </a:ext>
                </a:extLst>
              </p:cNvPr>
              <p:cNvSpPr/>
              <p:nvPr/>
            </p:nvSpPr>
            <p:spPr>
              <a:xfrm>
                <a:off x="5565775" y="2774055"/>
                <a:ext cx="2939046" cy="324829"/>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8" name="object 59">
                <a:extLst>
                  <a:ext uri="{FF2B5EF4-FFF2-40B4-BE49-F238E27FC236}">
                    <a16:creationId xmlns:a16="http://schemas.microsoft.com/office/drawing/2014/main" id="{4765F4F1-992A-E110-5758-28563F21E4CE}"/>
                  </a:ext>
                </a:extLst>
              </p:cNvPr>
              <p:cNvSpPr txBox="1"/>
              <p:nvPr/>
            </p:nvSpPr>
            <p:spPr>
              <a:xfrm>
                <a:off x="4604944" y="2797969"/>
                <a:ext cx="754480" cy="276999"/>
              </a:xfrm>
              <a:prstGeom prst="rect">
                <a:avLst/>
              </a:prstGeom>
              <a:noFill/>
            </p:spPr>
            <p:txBody>
              <a:bodyPr vert="horz" wrap="none" lIns="0" tIns="0" rIns="0" bIns="0" rtlCol="0" anchor="ctr" anchorCtr="0">
                <a:spAutoFit/>
              </a:bodyPr>
              <a:ls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12145" marR="0" lvl="0" indent="0" algn="l" defTabSz="822919" rtl="0" eaLnBrk="1" fontAlgn="base" latinLnBrk="0" hangingPunct="1">
                  <a:lnSpc>
                    <a:spcPct val="100000"/>
                  </a:lnSpc>
                  <a:spcBef>
                    <a:spcPts val="174"/>
                  </a:spcBef>
                  <a:spcAft>
                    <a:spcPct val="0"/>
                  </a:spcAft>
                  <a:buClr>
                    <a:srgbClr val="000000"/>
                  </a:buClr>
                  <a:buSzTx/>
                  <a:buFontTx/>
                  <a:buNone/>
                  <a:tabLst/>
                  <a:defRPr/>
                </a:pPr>
                <a:r>
                  <a:rPr kumimoji="0" lang="en-US"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Nab-Paclitaxel</a:t>
                </a:r>
                <a:br>
                  <a:rPr kumimoji="0" lang="en-US"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br>
                <a:r>
                  <a:rPr kumimoji="0"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80 mg</a:t>
                </a:r>
                <a:r>
                  <a:rPr kumimoji="0" lang="en-US"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m</a:t>
                </a:r>
                <a:r>
                  <a:rPr kumimoji="0" lang="en-US" sz="810" b="0" i="0" u="none" strike="noStrike" kern="0" cap="none" spc="0" normalizeH="0" baseline="32407"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2</a:t>
                </a:r>
                <a:r>
                  <a:rPr kumimoji="0" lang="en-US"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rPr>
                  <a:t> IV)</a:t>
                </a:r>
                <a:endParaRPr kumimoji="0" sz="810" b="0" i="0" u="none" strike="noStrike" kern="0" cap="none" spc="0" normalizeH="0" baseline="0" noProof="0">
                  <a:ln>
                    <a:noFill/>
                  </a:ln>
                  <a:solidFill>
                    <a:srgbClr val="8C3177"/>
                  </a:solidFill>
                  <a:effectLst/>
                  <a:uLnTx/>
                  <a:uFillTx/>
                  <a:latin typeface="Aptos" panose="02110004020202020204"/>
                  <a:ea typeface="Lato" panose="020F0502020204030203" pitchFamily="34" charset="0"/>
                  <a:cs typeface="Lato" panose="020F0502020204030203" pitchFamily="34" charset="0"/>
                  <a:sym typeface="Lato" panose="020F0502020204030203" pitchFamily="34" charset="0"/>
                </a:endParaRPr>
              </a:p>
            </p:txBody>
          </p:sp>
          <p:cxnSp>
            <p:nvCxnSpPr>
              <p:cNvPr id="71" name="Straight Arrow Connector 70">
                <a:extLst>
                  <a:ext uri="{FF2B5EF4-FFF2-40B4-BE49-F238E27FC236}">
                    <a16:creationId xmlns:a16="http://schemas.microsoft.com/office/drawing/2014/main" id="{A926BBC3-7CB4-08C6-A012-42823171633B}"/>
                  </a:ext>
                </a:extLst>
              </p:cNvPr>
              <p:cNvCxnSpPr>
                <a:cxnSpLocks/>
              </p:cNvCxnSpPr>
              <p:nvPr/>
            </p:nvCxnSpPr>
            <p:spPr>
              <a:xfrm>
                <a:off x="5782452" y="2936469"/>
                <a:ext cx="446898" cy="0"/>
              </a:xfrm>
              <a:prstGeom prst="straightConnector1">
                <a:avLst/>
              </a:prstGeom>
              <a:ln>
                <a:solidFill>
                  <a:srgbClr val="8C3177"/>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CA28AD69-9F75-F2D3-670D-018DE0D22F2B}"/>
                  </a:ext>
                </a:extLst>
              </p:cNvPr>
              <p:cNvCxnSpPr>
                <a:cxnSpLocks/>
              </p:cNvCxnSpPr>
              <p:nvPr/>
            </p:nvCxnSpPr>
            <p:spPr>
              <a:xfrm>
                <a:off x="7350622" y="2936469"/>
                <a:ext cx="1486800" cy="0"/>
              </a:xfrm>
              <a:prstGeom prst="straightConnector1">
                <a:avLst/>
              </a:prstGeom>
              <a:ln>
                <a:solidFill>
                  <a:srgbClr val="8C3177"/>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BC285C26-0001-D41D-F111-D0EC4303E032}"/>
                  </a:ext>
                </a:extLst>
              </p:cNvPr>
              <p:cNvCxnSpPr>
                <a:cxnSpLocks/>
              </p:cNvCxnSpPr>
              <p:nvPr/>
            </p:nvCxnSpPr>
            <p:spPr>
              <a:xfrm>
                <a:off x="6496050" y="2936469"/>
                <a:ext cx="580303" cy="0"/>
              </a:xfrm>
              <a:prstGeom prst="straightConnector1">
                <a:avLst/>
              </a:prstGeom>
              <a:ln>
                <a:solidFill>
                  <a:srgbClr val="8C3177"/>
                </a:solidFill>
                <a:tailEnd type="triangle"/>
              </a:ln>
            </p:spPr>
            <p:style>
              <a:lnRef idx="1">
                <a:schemeClr val="accent1"/>
              </a:lnRef>
              <a:fillRef idx="0">
                <a:schemeClr val="accent1"/>
              </a:fillRef>
              <a:effectRef idx="0">
                <a:schemeClr val="accent1"/>
              </a:effectRef>
              <a:fontRef idx="minor">
                <a:schemeClr val="tx1"/>
              </a:fontRef>
            </p:style>
          </p:cxnSp>
          <p:pic>
            <p:nvPicPr>
              <p:cNvPr id="175" name="Graphic 174">
                <a:extLst>
                  <a:ext uri="{FF2B5EF4-FFF2-40B4-BE49-F238E27FC236}">
                    <a16:creationId xmlns:a16="http://schemas.microsoft.com/office/drawing/2014/main" id="{5221BEBF-2E73-A39D-261C-1CFF3D19CAEA}"/>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8887152" y="2822486"/>
                <a:ext cx="175279" cy="227967"/>
              </a:xfrm>
              <a:prstGeom prst="rect">
                <a:avLst/>
              </a:prstGeom>
            </p:spPr>
          </p:pic>
          <p:pic>
            <p:nvPicPr>
              <p:cNvPr id="2632" name="Graphic 2631">
                <a:extLst>
                  <a:ext uri="{FF2B5EF4-FFF2-40B4-BE49-F238E27FC236}">
                    <a16:creationId xmlns:a16="http://schemas.microsoft.com/office/drawing/2014/main" id="{AA1CC0B3-95B9-915B-533B-A30E9456398A}"/>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7124202" y="2822486"/>
                <a:ext cx="175279" cy="227967"/>
              </a:xfrm>
              <a:prstGeom prst="rect">
                <a:avLst/>
              </a:prstGeom>
            </p:spPr>
          </p:pic>
          <p:pic>
            <p:nvPicPr>
              <p:cNvPr id="2633" name="Graphic 2632">
                <a:extLst>
                  <a:ext uri="{FF2B5EF4-FFF2-40B4-BE49-F238E27FC236}">
                    <a16:creationId xmlns:a16="http://schemas.microsoft.com/office/drawing/2014/main" id="{A0731DFC-E3B3-882E-95B3-F3AFE86C230E}"/>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571064" y="2822486"/>
                <a:ext cx="175279" cy="227967"/>
              </a:xfrm>
              <a:prstGeom prst="rect">
                <a:avLst/>
              </a:prstGeom>
            </p:spPr>
          </p:pic>
          <p:grpSp>
            <p:nvGrpSpPr>
              <p:cNvPr id="2634" name="Group 2633">
                <a:extLst>
                  <a:ext uri="{FF2B5EF4-FFF2-40B4-BE49-F238E27FC236}">
                    <a16:creationId xmlns:a16="http://schemas.microsoft.com/office/drawing/2014/main" id="{B18BC3DF-6607-5856-076D-1C4E68817696}"/>
                  </a:ext>
                </a:extLst>
              </p:cNvPr>
              <p:cNvGrpSpPr/>
              <p:nvPr/>
            </p:nvGrpSpPr>
            <p:grpSpPr>
              <a:xfrm>
                <a:off x="4323254" y="2727422"/>
                <a:ext cx="176985" cy="418095"/>
                <a:chOff x="4552526" y="3253088"/>
                <a:chExt cx="176970" cy="418064"/>
              </a:xfrm>
              <a:solidFill>
                <a:srgbClr val="8C3177"/>
              </a:solidFill>
            </p:grpSpPr>
            <p:sp>
              <p:nvSpPr>
                <p:cNvPr id="2637" name="Freeform: Shape 2636">
                  <a:extLst>
                    <a:ext uri="{FF2B5EF4-FFF2-40B4-BE49-F238E27FC236}">
                      <a16:creationId xmlns:a16="http://schemas.microsoft.com/office/drawing/2014/main" id="{9BDDABDB-C588-B6C4-E0AA-4CD4162D94CA}"/>
                    </a:ext>
                  </a:extLst>
                </p:cNvPr>
                <p:cNvSpPr/>
                <p:nvPr/>
              </p:nvSpPr>
              <p:spPr>
                <a:xfrm>
                  <a:off x="4552526" y="3352478"/>
                  <a:ext cx="176970" cy="318674"/>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39" name="Freeform: Shape 2638">
                  <a:extLst>
                    <a:ext uri="{FF2B5EF4-FFF2-40B4-BE49-F238E27FC236}">
                      <a16:creationId xmlns:a16="http://schemas.microsoft.com/office/drawing/2014/main" id="{9850E09A-4A62-A735-BB7B-0AA3A25017EF}"/>
                    </a:ext>
                  </a:extLst>
                </p:cNvPr>
                <p:cNvSpPr/>
                <p:nvPr/>
              </p:nvSpPr>
              <p:spPr>
                <a:xfrm>
                  <a:off x="4589252" y="3253088"/>
                  <a:ext cx="103518" cy="93595"/>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pic>
            <p:nvPicPr>
              <p:cNvPr id="2636" name="Graphic 2635">
                <a:extLst>
                  <a:ext uri="{FF2B5EF4-FFF2-40B4-BE49-F238E27FC236}">
                    <a16:creationId xmlns:a16="http://schemas.microsoft.com/office/drawing/2014/main" id="{6C0F2823-ED6C-3AA8-92A7-526FA212CB68}"/>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6293983" y="2822486"/>
                <a:ext cx="175279" cy="227967"/>
              </a:xfrm>
              <a:prstGeom prst="rect">
                <a:avLst/>
              </a:prstGeom>
            </p:spPr>
          </p:pic>
        </p:grpSp>
      </p:grpSp>
      <p:cxnSp>
        <p:nvCxnSpPr>
          <p:cNvPr id="2954" name="Straight Connector 2953">
            <a:extLst>
              <a:ext uri="{FF2B5EF4-FFF2-40B4-BE49-F238E27FC236}">
                <a16:creationId xmlns:a16="http://schemas.microsoft.com/office/drawing/2014/main" id="{20599770-3E72-A0D8-FBBB-D4A899218BC5}"/>
              </a:ext>
            </a:extLst>
          </p:cNvPr>
          <p:cNvCxnSpPr>
            <a:cxnSpLocks/>
          </p:cNvCxnSpPr>
          <p:nvPr/>
        </p:nvCxnSpPr>
        <p:spPr>
          <a:xfrm flipV="1">
            <a:off x="1080929" y="3512737"/>
            <a:ext cx="3013200" cy="1"/>
          </a:xfrm>
          <a:prstGeom prst="line">
            <a:avLst/>
          </a:prstGeom>
          <a:ln w="31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55" name="Straight Connector 2954">
            <a:extLst>
              <a:ext uri="{FF2B5EF4-FFF2-40B4-BE49-F238E27FC236}">
                <a16:creationId xmlns:a16="http://schemas.microsoft.com/office/drawing/2014/main" id="{82C53F35-E721-C604-A6B9-795FDA444D5B}"/>
              </a:ext>
            </a:extLst>
          </p:cNvPr>
          <p:cNvCxnSpPr>
            <a:cxnSpLocks/>
          </p:cNvCxnSpPr>
          <p:nvPr/>
        </p:nvCxnSpPr>
        <p:spPr>
          <a:xfrm flipV="1">
            <a:off x="1080929" y="4295668"/>
            <a:ext cx="3013200" cy="1"/>
          </a:xfrm>
          <a:prstGeom prst="line">
            <a:avLst/>
          </a:prstGeom>
          <a:ln w="31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956" name="Group 2955">
            <a:extLst>
              <a:ext uri="{FF2B5EF4-FFF2-40B4-BE49-F238E27FC236}">
                <a16:creationId xmlns:a16="http://schemas.microsoft.com/office/drawing/2014/main" id="{D2D4A7DD-0EF0-821F-5656-168E6B1A54D6}"/>
              </a:ext>
            </a:extLst>
          </p:cNvPr>
          <p:cNvGrpSpPr/>
          <p:nvPr/>
        </p:nvGrpSpPr>
        <p:grpSpPr>
          <a:xfrm>
            <a:off x="1157693" y="4365666"/>
            <a:ext cx="2889665" cy="562184"/>
            <a:chOff x="754680" y="4158004"/>
            <a:chExt cx="3210738" cy="624649"/>
          </a:xfrm>
          <a:solidFill>
            <a:srgbClr val="CFCFCF"/>
          </a:solidFill>
        </p:grpSpPr>
        <p:grpSp>
          <p:nvGrpSpPr>
            <p:cNvPr id="2957" name="Group 2956">
              <a:extLst>
                <a:ext uri="{FF2B5EF4-FFF2-40B4-BE49-F238E27FC236}">
                  <a16:creationId xmlns:a16="http://schemas.microsoft.com/office/drawing/2014/main" id="{2EA897F1-8E4C-BAF1-A2A0-23B34B96CF63}"/>
                </a:ext>
              </a:extLst>
            </p:cNvPr>
            <p:cNvGrpSpPr/>
            <p:nvPr/>
          </p:nvGrpSpPr>
          <p:grpSpPr>
            <a:xfrm>
              <a:off x="754680" y="4619731"/>
              <a:ext cx="3210738" cy="162922"/>
              <a:chOff x="754680" y="4619731"/>
              <a:chExt cx="3210738" cy="162922"/>
            </a:xfrm>
            <a:grpFill/>
          </p:grpSpPr>
          <p:grpSp>
            <p:nvGrpSpPr>
              <p:cNvPr id="3140" name="Group 3139">
                <a:extLst>
                  <a:ext uri="{FF2B5EF4-FFF2-40B4-BE49-F238E27FC236}">
                    <a16:creationId xmlns:a16="http://schemas.microsoft.com/office/drawing/2014/main" id="{153BD380-57EB-8FF2-03A0-FBD354BDFE71}"/>
                  </a:ext>
                </a:extLst>
              </p:cNvPr>
              <p:cNvGrpSpPr/>
              <p:nvPr/>
            </p:nvGrpSpPr>
            <p:grpSpPr>
              <a:xfrm>
                <a:off x="754680" y="4619731"/>
                <a:ext cx="68967" cy="162922"/>
                <a:chOff x="4475654" y="2372796"/>
                <a:chExt cx="176985" cy="418095"/>
              </a:xfrm>
              <a:grpFill/>
            </p:grpSpPr>
            <p:sp>
              <p:nvSpPr>
                <p:cNvPr id="3228" name="Freeform: Shape 3227">
                  <a:extLst>
                    <a:ext uri="{FF2B5EF4-FFF2-40B4-BE49-F238E27FC236}">
                      <a16:creationId xmlns:a16="http://schemas.microsoft.com/office/drawing/2014/main" id="{FA7198C0-3789-1E70-E657-B919A82A70F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9" name="Freeform: Shape 3228">
                  <a:extLst>
                    <a:ext uri="{FF2B5EF4-FFF2-40B4-BE49-F238E27FC236}">
                      <a16:creationId xmlns:a16="http://schemas.microsoft.com/office/drawing/2014/main" id="{953B0CD2-6B61-1F29-19D3-5BC1019B265C}"/>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41" name="Group 3140">
                <a:extLst>
                  <a:ext uri="{FF2B5EF4-FFF2-40B4-BE49-F238E27FC236}">
                    <a16:creationId xmlns:a16="http://schemas.microsoft.com/office/drawing/2014/main" id="{470E3ED4-B638-2920-2118-F7A80B82F776}"/>
                  </a:ext>
                </a:extLst>
              </p:cNvPr>
              <p:cNvGrpSpPr/>
              <p:nvPr/>
            </p:nvGrpSpPr>
            <p:grpSpPr>
              <a:xfrm>
                <a:off x="863017" y="4619731"/>
                <a:ext cx="68967" cy="162922"/>
                <a:chOff x="4475654" y="2372796"/>
                <a:chExt cx="176985" cy="418095"/>
              </a:xfrm>
              <a:grpFill/>
            </p:grpSpPr>
            <p:sp>
              <p:nvSpPr>
                <p:cNvPr id="3226" name="Freeform: Shape 3225">
                  <a:extLst>
                    <a:ext uri="{FF2B5EF4-FFF2-40B4-BE49-F238E27FC236}">
                      <a16:creationId xmlns:a16="http://schemas.microsoft.com/office/drawing/2014/main" id="{257BD781-09FF-DD4B-C9F7-F7D25D6FF8D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7" name="Freeform: Shape 3226">
                  <a:extLst>
                    <a:ext uri="{FF2B5EF4-FFF2-40B4-BE49-F238E27FC236}">
                      <a16:creationId xmlns:a16="http://schemas.microsoft.com/office/drawing/2014/main" id="{8F6E6EA9-63B4-81FC-F3B5-C4EEE4B608E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42" name="Group 3141">
                <a:extLst>
                  <a:ext uri="{FF2B5EF4-FFF2-40B4-BE49-F238E27FC236}">
                    <a16:creationId xmlns:a16="http://schemas.microsoft.com/office/drawing/2014/main" id="{937D8E9F-4969-1B1D-83CB-D78B6E925FE4}"/>
                  </a:ext>
                </a:extLst>
              </p:cNvPr>
              <p:cNvGrpSpPr/>
              <p:nvPr/>
            </p:nvGrpSpPr>
            <p:grpSpPr>
              <a:xfrm>
                <a:off x="971354" y="4619731"/>
                <a:ext cx="68967" cy="162922"/>
                <a:chOff x="4475654" y="2372796"/>
                <a:chExt cx="176985" cy="418095"/>
              </a:xfrm>
              <a:grpFill/>
            </p:grpSpPr>
            <p:sp>
              <p:nvSpPr>
                <p:cNvPr id="3224" name="Freeform: Shape 3223">
                  <a:extLst>
                    <a:ext uri="{FF2B5EF4-FFF2-40B4-BE49-F238E27FC236}">
                      <a16:creationId xmlns:a16="http://schemas.microsoft.com/office/drawing/2014/main" id="{843D1F9D-3AE2-2DF7-66A6-4A1A00B13D2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5" name="Freeform: Shape 3224">
                  <a:extLst>
                    <a:ext uri="{FF2B5EF4-FFF2-40B4-BE49-F238E27FC236}">
                      <a16:creationId xmlns:a16="http://schemas.microsoft.com/office/drawing/2014/main" id="{C802EA59-99D5-9440-F30E-784384D9528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43" name="Group 3142">
                <a:extLst>
                  <a:ext uri="{FF2B5EF4-FFF2-40B4-BE49-F238E27FC236}">
                    <a16:creationId xmlns:a16="http://schemas.microsoft.com/office/drawing/2014/main" id="{0412A28B-8A65-9584-042B-BB3AADE48D01}"/>
                  </a:ext>
                </a:extLst>
              </p:cNvPr>
              <p:cNvGrpSpPr/>
              <p:nvPr/>
            </p:nvGrpSpPr>
            <p:grpSpPr>
              <a:xfrm>
                <a:off x="1188028" y="4619731"/>
                <a:ext cx="68967" cy="162922"/>
                <a:chOff x="4475654" y="2372796"/>
                <a:chExt cx="176985" cy="418095"/>
              </a:xfrm>
              <a:grpFill/>
            </p:grpSpPr>
            <p:sp>
              <p:nvSpPr>
                <p:cNvPr id="3222" name="Freeform: Shape 3221">
                  <a:extLst>
                    <a:ext uri="{FF2B5EF4-FFF2-40B4-BE49-F238E27FC236}">
                      <a16:creationId xmlns:a16="http://schemas.microsoft.com/office/drawing/2014/main" id="{3B089AB6-FDDA-CBE6-B0A2-40074BE98F7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3" name="Freeform: Shape 3222">
                  <a:extLst>
                    <a:ext uri="{FF2B5EF4-FFF2-40B4-BE49-F238E27FC236}">
                      <a16:creationId xmlns:a16="http://schemas.microsoft.com/office/drawing/2014/main" id="{5119A903-491B-0C44-E465-2E08CB72E5BB}"/>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44" name="Group 3143">
                <a:extLst>
                  <a:ext uri="{FF2B5EF4-FFF2-40B4-BE49-F238E27FC236}">
                    <a16:creationId xmlns:a16="http://schemas.microsoft.com/office/drawing/2014/main" id="{4794AA27-170A-12C7-B880-9E6958FD80E7}"/>
                  </a:ext>
                </a:extLst>
              </p:cNvPr>
              <p:cNvGrpSpPr/>
              <p:nvPr/>
            </p:nvGrpSpPr>
            <p:grpSpPr>
              <a:xfrm>
                <a:off x="1079691" y="4619731"/>
                <a:ext cx="68967" cy="162922"/>
                <a:chOff x="4475654" y="2372796"/>
                <a:chExt cx="176985" cy="418095"/>
              </a:xfrm>
              <a:grpFill/>
            </p:grpSpPr>
            <p:sp>
              <p:nvSpPr>
                <p:cNvPr id="3220" name="Freeform: Shape 3219">
                  <a:extLst>
                    <a:ext uri="{FF2B5EF4-FFF2-40B4-BE49-F238E27FC236}">
                      <a16:creationId xmlns:a16="http://schemas.microsoft.com/office/drawing/2014/main" id="{B6F74B9E-B430-69E0-DE9B-CF934DEA6B3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21" name="Freeform: Shape 3220">
                  <a:extLst>
                    <a:ext uri="{FF2B5EF4-FFF2-40B4-BE49-F238E27FC236}">
                      <a16:creationId xmlns:a16="http://schemas.microsoft.com/office/drawing/2014/main" id="{2B1963DD-79C0-6AAF-FCF8-557618D48CE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45" name="Group 3144">
                <a:extLst>
                  <a:ext uri="{FF2B5EF4-FFF2-40B4-BE49-F238E27FC236}">
                    <a16:creationId xmlns:a16="http://schemas.microsoft.com/office/drawing/2014/main" id="{874A38AA-0795-535E-04CD-0C5CBEFE1AFC}"/>
                  </a:ext>
                </a:extLst>
              </p:cNvPr>
              <p:cNvGrpSpPr/>
              <p:nvPr/>
            </p:nvGrpSpPr>
            <p:grpSpPr>
              <a:xfrm>
                <a:off x="1296365" y="4619731"/>
                <a:ext cx="68967" cy="162922"/>
                <a:chOff x="4475654" y="2372796"/>
                <a:chExt cx="176985" cy="418095"/>
              </a:xfrm>
              <a:grpFill/>
            </p:grpSpPr>
            <p:sp>
              <p:nvSpPr>
                <p:cNvPr id="3218" name="Freeform: Shape 3217">
                  <a:extLst>
                    <a:ext uri="{FF2B5EF4-FFF2-40B4-BE49-F238E27FC236}">
                      <a16:creationId xmlns:a16="http://schemas.microsoft.com/office/drawing/2014/main" id="{1309DA12-335C-B5E9-69C6-31003AF611C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9" name="Freeform: Shape 3218">
                  <a:extLst>
                    <a:ext uri="{FF2B5EF4-FFF2-40B4-BE49-F238E27FC236}">
                      <a16:creationId xmlns:a16="http://schemas.microsoft.com/office/drawing/2014/main" id="{5F5193C1-1C49-D838-F20E-71D5C741009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46" name="Group 3145">
                <a:extLst>
                  <a:ext uri="{FF2B5EF4-FFF2-40B4-BE49-F238E27FC236}">
                    <a16:creationId xmlns:a16="http://schemas.microsoft.com/office/drawing/2014/main" id="{26486C98-82CB-94C4-9E23-ECEA2267B9ED}"/>
                  </a:ext>
                </a:extLst>
              </p:cNvPr>
              <p:cNvGrpSpPr/>
              <p:nvPr/>
            </p:nvGrpSpPr>
            <p:grpSpPr>
              <a:xfrm>
                <a:off x="1404702" y="4619731"/>
                <a:ext cx="68967" cy="162922"/>
                <a:chOff x="4475654" y="2372796"/>
                <a:chExt cx="176985" cy="418095"/>
              </a:xfrm>
              <a:grpFill/>
            </p:grpSpPr>
            <p:sp>
              <p:nvSpPr>
                <p:cNvPr id="3216" name="Freeform: Shape 3215">
                  <a:extLst>
                    <a:ext uri="{FF2B5EF4-FFF2-40B4-BE49-F238E27FC236}">
                      <a16:creationId xmlns:a16="http://schemas.microsoft.com/office/drawing/2014/main" id="{B5FF0D13-8544-7FA2-450B-DA01A572394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7" name="Freeform: Shape 3216">
                  <a:extLst>
                    <a:ext uri="{FF2B5EF4-FFF2-40B4-BE49-F238E27FC236}">
                      <a16:creationId xmlns:a16="http://schemas.microsoft.com/office/drawing/2014/main" id="{2C7194C6-A12C-CD52-6C93-7159D3605FF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47" name="Group 3146">
                <a:extLst>
                  <a:ext uri="{FF2B5EF4-FFF2-40B4-BE49-F238E27FC236}">
                    <a16:creationId xmlns:a16="http://schemas.microsoft.com/office/drawing/2014/main" id="{DA08344C-3667-AA32-7C18-0DA78E7EC7B0}"/>
                  </a:ext>
                </a:extLst>
              </p:cNvPr>
              <p:cNvGrpSpPr/>
              <p:nvPr/>
            </p:nvGrpSpPr>
            <p:grpSpPr>
              <a:xfrm>
                <a:off x="1513039" y="4619731"/>
                <a:ext cx="68967" cy="162922"/>
                <a:chOff x="4475654" y="2372796"/>
                <a:chExt cx="176985" cy="418095"/>
              </a:xfrm>
              <a:grpFill/>
            </p:grpSpPr>
            <p:sp>
              <p:nvSpPr>
                <p:cNvPr id="3214" name="Freeform: Shape 3213">
                  <a:extLst>
                    <a:ext uri="{FF2B5EF4-FFF2-40B4-BE49-F238E27FC236}">
                      <a16:creationId xmlns:a16="http://schemas.microsoft.com/office/drawing/2014/main" id="{3D2EBF3B-D7CA-5B2E-A938-8C7CB54A5C4B}"/>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5" name="Freeform: Shape 3214">
                  <a:extLst>
                    <a:ext uri="{FF2B5EF4-FFF2-40B4-BE49-F238E27FC236}">
                      <a16:creationId xmlns:a16="http://schemas.microsoft.com/office/drawing/2014/main" id="{BC5ABB7A-671F-F350-ECCA-29409A7B86B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48" name="Group 3147">
                <a:extLst>
                  <a:ext uri="{FF2B5EF4-FFF2-40B4-BE49-F238E27FC236}">
                    <a16:creationId xmlns:a16="http://schemas.microsoft.com/office/drawing/2014/main" id="{AD904918-E628-E003-5FEA-88D41385B637}"/>
                  </a:ext>
                </a:extLst>
              </p:cNvPr>
              <p:cNvGrpSpPr/>
              <p:nvPr/>
            </p:nvGrpSpPr>
            <p:grpSpPr>
              <a:xfrm>
                <a:off x="1621376" y="4619731"/>
                <a:ext cx="68967" cy="162922"/>
                <a:chOff x="4475654" y="2372796"/>
                <a:chExt cx="176985" cy="418095"/>
              </a:xfrm>
              <a:grpFill/>
            </p:grpSpPr>
            <p:sp>
              <p:nvSpPr>
                <p:cNvPr id="3212" name="Freeform: Shape 3211">
                  <a:extLst>
                    <a:ext uri="{FF2B5EF4-FFF2-40B4-BE49-F238E27FC236}">
                      <a16:creationId xmlns:a16="http://schemas.microsoft.com/office/drawing/2014/main" id="{9D1A5FF6-20DE-33F2-F714-2942E64D842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3" name="Freeform: Shape 3212">
                  <a:extLst>
                    <a:ext uri="{FF2B5EF4-FFF2-40B4-BE49-F238E27FC236}">
                      <a16:creationId xmlns:a16="http://schemas.microsoft.com/office/drawing/2014/main" id="{F76C6E09-334D-B6E4-D755-88FC5E7E8DCB}"/>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49" name="Group 3148">
                <a:extLst>
                  <a:ext uri="{FF2B5EF4-FFF2-40B4-BE49-F238E27FC236}">
                    <a16:creationId xmlns:a16="http://schemas.microsoft.com/office/drawing/2014/main" id="{8265BE2E-DE48-28C9-C252-23533B75686F}"/>
                  </a:ext>
                </a:extLst>
              </p:cNvPr>
              <p:cNvGrpSpPr/>
              <p:nvPr/>
            </p:nvGrpSpPr>
            <p:grpSpPr>
              <a:xfrm>
                <a:off x="1729713" y="4619731"/>
                <a:ext cx="68967" cy="162922"/>
                <a:chOff x="4475654" y="2372796"/>
                <a:chExt cx="176985" cy="418095"/>
              </a:xfrm>
              <a:grpFill/>
            </p:grpSpPr>
            <p:sp>
              <p:nvSpPr>
                <p:cNvPr id="3210" name="Freeform: Shape 3209">
                  <a:extLst>
                    <a:ext uri="{FF2B5EF4-FFF2-40B4-BE49-F238E27FC236}">
                      <a16:creationId xmlns:a16="http://schemas.microsoft.com/office/drawing/2014/main" id="{1B126D2A-6324-8574-BFF1-BCB6956C0D4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11" name="Freeform: Shape 3210">
                  <a:extLst>
                    <a:ext uri="{FF2B5EF4-FFF2-40B4-BE49-F238E27FC236}">
                      <a16:creationId xmlns:a16="http://schemas.microsoft.com/office/drawing/2014/main" id="{B7A20BEA-BC63-311D-0CF5-1FC317D5E911}"/>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50" name="Group 3149">
                <a:extLst>
                  <a:ext uri="{FF2B5EF4-FFF2-40B4-BE49-F238E27FC236}">
                    <a16:creationId xmlns:a16="http://schemas.microsoft.com/office/drawing/2014/main" id="{C3116A3C-3F1E-38A5-6356-1992BC238326}"/>
                  </a:ext>
                </a:extLst>
              </p:cNvPr>
              <p:cNvGrpSpPr/>
              <p:nvPr/>
            </p:nvGrpSpPr>
            <p:grpSpPr>
              <a:xfrm>
                <a:off x="1838050" y="4619731"/>
                <a:ext cx="68967" cy="162922"/>
                <a:chOff x="4475654" y="2372796"/>
                <a:chExt cx="176985" cy="418095"/>
              </a:xfrm>
              <a:grpFill/>
            </p:grpSpPr>
            <p:sp>
              <p:nvSpPr>
                <p:cNvPr id="3208" name="Freeform: Shape 3207">
                  <a:extLst>
                    <a:ext uri="{FF2B5EF4-FFF2-40B4-BE49-F238E27FC236}">
                      <a16:creationId xmlns:a16="http://schemas.microsoft.com/office/drawing/2014/main" id="{7E5F469F-2904-1723-D745-9139E0E0054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9" name="Freeform: Shape 3208">
                  <a:extLst>
                    <a:ext uri="{FF2B5EF4-FFF2-40B4-BE49-F238E27FC236}">
                      <a16:creationId xmlns:a16="http://schemas.microsoft.com/office/drawing/2014/main" id="{D9D2F241-EAAE-12AA-23AA-5297BC7A1E5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51" name="Group 3150">
                <a:extLst>
                  <a:ext uri="{FF2B5EF4-FFF2-40B4-BE49-F238E27FC236}">
                    <a16:creationId xmlns:a16="http://schemas.microsoft.com/office/drawing/2014/main" id="{325150A2-D0D8-7DDB-E240-9B0BF33D3E6C}"/>
                  </a:ext>
                </a:extLst>
              </p:cNvPr>
              <p:cNvGrpSpPr/>
              <p:nvPr/>
            </p:nvGrpSpPr>
            <p:grpSpPr>
              <a:xfrm>
                <a:off x="1946387" y="4619731"/>
                <a:ext cx="68967" cy="162922"/>
                <a:chOff x="4475654" y="2372796"/>
                <a:chExt cx="176985" cy="418095"/>
              </a:xfrm>
              <a:grpFill/>
            </p:grpSpPr>
            <p:sp>
              <p:nvSpPr>
                <p:cNvPr id="3206" name="Freeform: Shape 3205">
                  <a:extLst>
                    <a:ext uri="{FF2B5EF4-FFF2-40B4-BE49-F238E27FC236}">
                      <a16:creationId xmlns:a16="http://schemas.microsoft.com/office/drawing/2014/main" id="{ABDF7821-CC93-6B43-845E-7A407D3ADC6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7" name="Freeform: Shape 3206">
                  <a:extLst>
                    <a:ext uri="{FF2B5EF4-FFF2-40B4-BE49-F238E27FC236}">
                      <a16:creationId xmlns:a16="http://schemas.microsoft.com/office/drawing/2014/main" id="{7772D862-38CF-A687-1C3B-941A8600E331}"/>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52" name="Group 3151">
                <a:extLst>
                  <a:ext uri="{FF2B5EF4-FFF2-40B4-BE49-F238E27FC236}">
                    <a16:creationId xmlns:a16="http://schemas.microsoft.com/office/drawing/2014/main" id="{3A87ADE6-0E1F-1410-601A-FF3451276CB4}"/>
                  </a:ext>
                </a:extLst>
              </p:cNvPr>
              <p:cNvGrpSpPr/>
              <p:nvPr/>
            </p:nvGrpSpPr>
            <p:grpSpPr>
              <a:xfrm>
                <a:off x="2054724" y="4619731"/>
                <a:ext cx="68967" cy="162922"/>
                <a:chOff x="4475654" y="2372796"/>
                <a:chExt cx="176985" cy="418095"/>
              </a:xfrm>
              <a:grpFill/>
            </p:grpSpPr>
            <p:sp>
              <p:nvSpPr>
                <p:cNvPr id="3204" name="Freeform: Shape 3203">
                  <a:extLst>
                    <a:ext uri="{FF2B5EF4-FFF2-40B4-BE49-F238E27FC236}">
                      <a16:creationId xmlns:a16="http://schemas.microsoft.com/office/drawing/2014/main" id="{7C9B0F41-78FC-AAE9-A204-75E60E19380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5" name="Freeform: Shape 3204">
                  <a:extLst>
                    <a:ext uri="{FF2B5EF4-FFF2-40B4-BE49-F238E27FC236}">
                      <a16:creationId xmlns:a16="http://schemas.microsoft.com/office/drawing/2014/main" id="{4089E105-4768-C88C-4BAB-0EFBB53E5970}"/>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53" name="Group 3152">
                <a:extLst>
                  <a:ext uri="{FF2B5EF4-FFF2-40B4-BE49-F238E27FC236}">
                    <a16:creationId xmlns:a16="http://schemas.microsoft.com/office/drawing/2014/main" id="{DA2E57B0-A5EA-28BB-73EB-9F41A1CFC0C3}"/>
                  </a:ext>
                </a:extLst>
              </p:cNvPr>
              <p:cNvGrpSpPr/>
              <p:nvPr/>
            </p:nvGrpSpPr>
            <p:grpSpPr>
              <a:xfrm>
                <a:off x="2163061" y="4619731"/>
                <a:ext cx="68967" cy="162922"/>
                <a:chOff x="4475654" y="2372796"/>
                <a:chExt cx="176985" cy="418095"/>
              </a:xfrm>
              <a:grpFill/>
            </p:grpSpPr>
            <p:sp>
              <p:nvSpPr>
                <p:cNvPr id="3202" name="Freeform: Shape 3201">
                  <a:extLst>
                    <a:ext uri="{FF2B5EF4-FFF2-40B4-BE49-F238E27FC236}">
                      <a16:creationId xmlns:a16="http://schemas.microsoft.com/office/drawing/2014/main" id="{8EB5A971-2A6A-165D-0580-91B719F52EC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3" name="Freeform: Shape 3202">
                  <a:extLst>
                    <a:ext uri="{FF2B5EF4-FFF2-40B4-BE49-F238E27FC236}">
                      <a16:creationId xmlns:a16="http://schemas.microsoft.com/office/drawing/2014/main" id="{B18C89FD-00B1-6A18-40E1-FA2D08CB2B0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54" name="Group 3153">
                <a:extLst>
                  <a:ext uri="{FF2B5EF4-FFF2-40B4-BE49-F238E27FC236}">
                    <a16:creationId xmlns:a16="http://schemas.microsoft.com/office/drawing/2014/main" id="{47548D4B-F3ED-0531-3CDE-A39948490ED5}"/>
                  </a:ext>
                </a:extLst>
              </p:cNvPr>
              <p:cNvGrpSpPr/>
              <p:nvPr/>
            </p:nvGrpSpPr>
            <p:grpSpPr>
              <a:xfrm>
                <a:off x="2271398" y="4619731"/>
                <a:ext cx="68967" cy="162922"/>
                <a:chOff x="4475654" y="2372796"/>
                <a:chExt cx="176985" cy="418095"/>
              </a:xfrm>
              <a:grpFill/>
            </p:grpSpPr>
            <p:sp>
              <p:nvSpPr>
                <p:cNvPr id="3200" name="Freeform: Shape 3199">
                  <a:extLst>
                    <a:ext uri="{FF2B5EF4-FFF2-40B4-BE49-F238E27FC236}">
                      <a16:creationId xmlns:a16="http://schemas.microsoft.com/office/drawing/2014/main" id="{61FB4580-F43B-F352-9A5B-01578FEBF78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01" name="Freeform: Shape 3200">
                  <a:extLst>
                    <a:ext uri="{FF2B5EF4-FFF2-40B4-BE49-F238E27FC236}">
                      <a16:creationId xmlns:a16="http://schemas.microsoft.com/office/drawing/2014/main" id="{8D840457-91BB-461D-E693-B6CF1A9E6590}"/>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55" name="Group 3154">
                <a:extLst>
                  <a:ext uri="{FF2B5EF4-FFF2-40B4-BE49-F238E27FC236}">
                    <a16:creationId xmlns:a16="http://schemas.microsoft.com/office/drawing/2014/main" id="{2920A3D9-946E-C0C6-4A1F-9CB711F9F41F}"/>
                  </a:ext>
                </a:extLst>
              </p:cNvPr>
              <p:cNvGrpSpPr/>
              <p:nvPr/>
            </p:nvGrpSpPr>
            <p:grpSpPr>
              <a:xfrm>
                <a:off x="2379735" y="4619731"/>
                <a:ext cx="68967" cy="162922"/>
                <a:chOff x="4475654" y="2372796"/>
                <a:chExt cx="176985" cy="418095"/>
              </a:xfrm>
              <a:grpFill/>
            </p:grpSpPr>
            <p:sp>
              <p:nvSpPr>
                <p:cNvPr id="3198" name="Freeform: Shape 3197">
                  <a:extLst>
                    <a:ext uri="{FF2B5EF4-FFF2-40B4-BE49-F238E27FC236}">
                      <a16:creationId xmlns:a16="http://schemas.microsoft.com/office/drawing/2014/main" id="{6AAAB528-5B9A-F829-2A38-07BEB5E0ED7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9" name="Freeform: Shape 3198">
                  <a:extLst>
                    <a:ext uri="{FF2B5EF4-FFF2-40B4-BE49-F238E27FC236}">
                      <a16:creationId xmlns:a16="http://schemas.microsoft.com/office/drawing/2014/main" id="{BD1482CE-E154-8135-CC05-CD97E69CE251}"/>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56" name="Group 3155">
                <a:extLst>
                  <a:ext uri="{FF2B5EF4-FFF2-40B4-BE49-F238E27FC236}">
                    <a16:creationId xmlns:a16="http://schemas.microsoft.com/office/drawing/2014/main" id="{87115966-8ACD-6466-4DA6-075B8C7B31DF}"/>
                  </a:ext>
                </a:extLst>
              </p:cNvPr>
              <p:cNvGrpSpPr/>
              <p:nvPr/>
            </p:nvGrpSpPr>
            <p:grpSpPr>
              <a:xfrm>
                <a:off x="2488072" y="4619731"/>
                <a:ext cx="68967" cy="162922"/>
                <a:chOff x="4475654" y="2372796"/>
                <a:chExt cx="176985" cy="418095"/>
              </a:xfrm>
              <a:grpFill/>
            </p:grpSpPr>
            <p:sp>
              <p:nvSpPr>
                <p:cNvPr id="3196" name="Freeform: Shape 3195">
                  <a:extLst>
                    <a:ext uri="{FF2B5EF4-FFF2-40B4-BE49-F238E27FC236}">
                      <a16:creationId xmlns:a16="http://schemas.microsoft.com/office/drawing/2014/main" id="{8F4F2455-A5CB-8225-D523-D6F2DE2D2AAB}"/>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7" name="Freeform: Shape 3196">
                  <a:extLst>
                    <a:ext uri="{FF2B5EF4-FFF2-40B4-BE49-F238E27FC236}">
                      <a16:creationId xmlns:a16="http://schemas.microsoft.com/office/drawing/2014/main" id="{559531F6-EDFF-E629-17E5-74F198D4B1D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57" name="Group 3156">
                <a:extLst>
                  <a:ext uri="{FF2B5EF4-FFF2-40B4-BE49-F238E27FC236}">
                    <a16:creationId xmlns:a16="http://schemas.microsoft.com/office/drawing/2014/main" id="{FFE1B7A6-9DEF-FDC3-50DC-2F0872D464C1}"/>
                  </a:ext>
                </a:extLst>
              </p:cNvPr>
              <p:cNvGrpSpPr/>
              <p:nvPr/>
            </p:nvGrpSpPr>
            <p:grpSpPr>
              <a:xfrm>
                <a:off x="2596409" y="4619731"/>
                <a:ext cx="68967" cy="162922"/>
                <a:chOff x="4475654" y="2372796"/>
                <a:chExt cx="176985" cy="418095"/>
              </a:xfrm>
              <a:grpFill/>
            </p:grpSpPr>
            <p:sp>
              <p:nvSpPr>
                <p:cNvPr id="3194" name="Freeform: Shape 3193">
                  <a:extLst>
                    <a:ext uri="{FF2B5EF4-FFF2-40B4-BE49-F238E27FC236}">
                      <a16:creationId xmlns:a16="http://schemas.microsoft.com/office/drawing/2014/main" id="{9C76B0DD-5F5D-0F63-E179-734B4F89153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5" name="Freeform: Shape 3194">
                  <a:extLst>
                    <a:ext uri="{FF2B5EF4-FFF2-40B4-BE49-F238E27FC236}">
                      <a16:creationId xmlns:a16="http://schemas.microsoft.com/office/drawing/2014/main" id="{C80A37E8-677D-EC1A-B33C-0AB83FCD612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58" name="Group 3157">
                <a:extLst>
                  <a:ext uri="{FF2B5EF4-FFF2-40B4-BE49-F238E27FC236}">
                    <a16:creationId xmlns:a16="http://schemas.microsoft.com/office/drawing/2014/main" id="{D97C005C-25B7-BEA2-809D-8C8DF834FF42}"/>
                  </a:ext>
                </a:extLst>
              </p:cNvPr>
              <p:cNvGrpSpPr/>
              <p:nvPr/>
            </p:nvGrpSpPr>
            <p:grpSpPr>
              <a:xfrm>
                <a:off x="2813083" y="4619731"/>
                <a:ext cx="68967" cy="162922"/>
                <a:chOff x="4475654" y="2372796"/>
                <a:chExt cx="176985" cy="418095"/>
              </a:xfrm>
              <a:grpFill/>
            </p:grpSpPr>
            <p:sp>
              <p:nvSpPr>
                <p:cNvPr id="3192" name="Freeform: Shape 3191">
                  <a:extLst>
                    <a:ext uri="{FF2B5EF4-FFF2-40B4-BE49-F238E27FC236}">
                      <a16:creationId xmlns:a16="http://schemas.microsoft.com/office/drawing/2014/main" id="{4F33057E-CD0A-8DC5-915C-7B66A38DE59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3" name="Freeform: Shape 3192">
                  <a:extLst>
                    <a:ext uri="{FF2B5EF4-FFF2-40B4-BE49-F238E27FC236}">
                      <a16:creationId xmlns:a16="http://schemas.microsoft.com/office/drawing/2014/main" id="{2D12D2F0-E49B-2686-0DE1-CCCDA176D7B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59" name="Group 3158">
                <a:extLst>
                  <a:ext uri="{FF2B5EF4-FFF2-40B4-BE49-F238E27FC236}">
                    <a16:creationId xmlns:a16="http://schemas.microsoft.com/office/drawing/2014/main" id="{7756F845-E1C0-9EF5-5E96-46CDB7F01A18}"/>
                  </a:ext>
                </a:extLst>
              </p:cNvPr>
              <p:cNvGrpSpPr/>
              <p:nvPr/>
            </p:nvGrpSpPr>
            <p:grpSpPr>
              <a:xfrm>
                <a:off x="2704746" y="4619731"/>
                <a:ext cx="68967" cy="162922"/>
                <a:chOff x="4475654" y="2372796"/>
                <a:chExt cx="176985" cy="418095"/>
              </a:xfrm>
              <a:grpFill/>
            </p:grpSpPr>
            <p:sp>
              <p:nvSpPr>
                <p:cNvPr id="3190" name="Freeform: Shape 3189">
                  <a:extLst>
                    <a:ext uri="{FF2B5EF4-FFF2-40B4-BE49-F238E27FC236}">
                      <a16:creationId xmlns:a16="http://schemas.microsoft.com/office/drawing/2014/main" id="{2D2A5170-B984-B184-DF7E-7137B19000F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91" name="Freeform: Shape 3190">
                  <a:extLst>
                    <a:ext uri="{FF2B5EF4-FFF2-40B4-BE49-F238E27FC236}">
                      <a16:creationId xmlns:a16="http://schemas.microsoft.com/office/drawing/2014/main" id="{DEE5FAB9-42AF-CE15-F3B4-8E801ED9E5D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60" name="Group 3159">
                <a:extLst>
                  <a:ext uri="{FF2B5EF4-FFF2-40B4-BE49-F238E27FC236}">
                    <a16:creationId xmlns:a16="http://schemas.microsoft.com/office/drawing/2014/main" id="{A556445C-692F-D90A-496D-9CD51B303803}"/>
                  </a:ext>
                </a:extLst>
              </p:cNvPr>
              <p:cNvGrpSpPr/>
              <p:nvPr/>
            </p:nvGrpSpPr>
            <p:grpSpPr>
              <a:xfrm>
                <a:off x="2921420" y="4619731"/>
                <a:ext cx="68967" cy="162922"/>
                <a:chOff x="4475654" y="2372796"/>
                <a:chExt cx="176985" cy="418095"/>
              </a:xfrm>
              <a:grpFill/>
            </p:grpSpPr>
            <p:sp>
              <p:nvSpPr>
                <p:cNvPr id="3188" name="Freeform: Shape 3187">
                  <a:extLst>
                    <a:ext uri="{FF2B5EF4-FFF2-40B4-BE49-F238E27FC236}">
                      <a16:creationId xmlns:a16="http://schemas.microsoft.com/office/drawing/2014/main" id="{62BF219F-377B-F771-58D7-8513E9AA1BFA}"/>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9" name="Freeform: Shape 3188">
                  <a:extLst>
                    <a:ext uri="{FF2B5EF4-FFF2-40B4-BE49-F238E27FC236}">
                      <a16:creationId xmlns:a16="http://schemas.microsoft.com/office/drawing/2014/main" id="{235D4A4C-7FEF-BC7C-CE2F-5FAAD25BEA0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61" name="Group 3160">
                <a:extLst>
                  <a:ext uri="{FF2B5EF4-FFF2-40B4-BE49-F238E27FC236}">
                    <a16:creationId xmlns:a16="http://schemas.microsoft.com/office/drawing/2014/main" id="{A3C7B667-4EE4-D8DC-B937-8D0F638BE67B}"/>
                  </a:ext>
                </a:extLst>
              </p:cNvPr>
              <p:cNvGrpSpPr/>
              <p:nvPr/>
            </p:nvGrpSpPr>
            <p:grpSpPr>
              <a:xfrm>
                <a:off x="3029757" y="4619731"/>
                <a:ext cx="68967" cy="162922"/>
                <a:chOff x="4475654" y="2372796"/>
                <a:chExt cx="176985" cy="418095"/>
              </a:xfrm>
              <a:grpFill/>
            </p:grpSpPr>
            <p:sp>
              <p:nvSpPr>
                <p:cNvPr id="3186" name="Freeform: Shape 3185">
                  <a:extLst>
                    <a:ext uri="{FF2B5EF4-FFF2-40B4-BE49-F238E27FC236}">
                      <a16:creationId xmlns:a16="http://schemas.microsoft.com/office/drawing/2014/main" id="{84D317C6-389D-A123-4919-16B8CF991F6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7" name="Freeform: Shape 3186">
                  <a:extLst>
                    <a:ext uri="{FF2B5EF4-FFF2-40B4-BE49-F238E27FC236}">
                      <a16:creationId xmlns:a16="http://schemas.microsoft.com/office/drawing/2014/main" id="{48E65389-F5C0-EFB3-257B-F4DE1655322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62" name="Group 3161">
                <a:extLst>
                  <a:ext uri="{FF2B5EF4-FFF2-40B4-BE49-F238E27FC236}">
                    <a16:creationId xmlns:a16="http://schemas.microsoft.com/office/drawing/2014/main" id="{B1113D8D-1247-AF8E-ECB2-F3BE9FE70A6D}"/>
                  </a:ext>
                </a:extLst>
              </p:cNvPr>
              <p:cNvGrpSpPr/>
              <p:nvPr/>
            </p:nvGrpSpPr>
            <p:grpSpPr>
              <a:xfrm>
                <a:off x="3138094" y="4619731"/>
                <a:ext cx="68967" cy="162922"/>
                <a:chOff x="4475654" y="2372796"/>
                <a:chExt cx="176985" cy="418095"/>
              </a:xfrm>
              <a:grpFill/>
            </p:grpSpPr>
            <p:sp>
              <p:nvSpPr>
                <p:cNvPr id="3184" name="Freeform: Shape 3183">
                  <a:extLst>
                    <a:ext uri="{FF2B5EF4-FFF2-40B4-BE49-F238E27FC236}">
                      <a16:creationId xmlns:a16="http://schemas.microsoft.com/office/drawing/2014/main" id="{C0591958-9B0A-45E9-7841-B6C3F51FBC8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5" name="Freeform: Shape 3184">
                  <a:extLst>
                    <a:ext uri="{FF2B5EF4-FFF2-40B4-BE49-F238E27FC236}">
                      <a16:creationId xmlns:a16="http://schemas.microsoft.com/office/drawing/2014/main" id="{7F52A5F2-8809-0BB2-15A8-13BF88C9867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63" name="Group 3162">
                <a:extLst>
                  <a:ext uri="{FF2B5EF4-FFF2-40B4-BE49-F238E27FC236}">
                    <a16:creationId xmlns:a16="http://schemas.microsoft.com/office/drawing/2014/main" id="{2E1D347E-6674-33D0-0B7A-0857494CD064}"/>
                  </a:ext>
                </a:extLst>
              </p:cNvPr>
              <p:cNvGrpSpPr/>
              <p:nvPr/>
            </p:nvGrpSpPr>
            <p:grpSpPr>
              <a:xfrm>
                <a:off x="3246431" y="4619731"/>
                <a:ext cx="68967" cy="162922"/>
                <a:chOff x="4475654" y="2372796"/>
                <a:chExt cx="176985" cy="418095"/>
              </a:xfrm>
              <a:grpFill/>
            </p:grpSpPr>
            <p:sp>
              <p:nvSpPr>
                <p:cNvPr id="3182" name="Freeform: Shape 3181">
                  <a:extLst>
                    <a:ext uri="{FF2B5EF4-FFF2-40B4-BE49-F238E27FC236}">
                      <a16:creationId xmlns:a16="http://schemas.microsoft.com/office/drawing/2014/main" id="{13C625A5-E6E3-8FFA-8142-D8536A3CA01B}"/>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3" name="Freeform: Shape 3182">
                  <a:extLst>
                    <a:ext uri="{FF2B5EF4-FFF2-40B4-BE49-F238E27FC236}">
                      <a16:creationId xmlns:a16="http://schemas.microsoft.com/office/drawing/2014/main" id="{CC48764D-1CC5-C417-B44A-B6DBBF8A228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64" name="Group 3163">
                <a:extLst>
                  <a:ext uri="{FF2B5EF4-FFF2-40B4-BE49-F238E27FC236}">
                    <a16:creationId xmlns:a16="http://schemas.microsoft.com/office/drawing/2014/main" id="{A10320A2-05AA-A102-4107-1DDFAA204276}"/>
                  </a:ext>
                </a:extLst>
              </p:cNvPr>
              <p:cNvGrpSpPr/>
              <p:nvPr/>
            </p:nvGrpSpPr>
            <p:grpSpPr>
              <a:xfrm>
                <a:off x="3354768" y="4619731"/>
                <a:ext cx="68967" cy="162922"/>
                <a:chOff x="4475654" y="2372796"/>
                <a:chExt cx="176985" cy="418095"/>
              </a:xfrm>
              <a:grpFill/>
            </p:grpSpPr>
            <p:sp>
              <p:nvSpPr>
                <p:cNvPr id="3180" name="Freeform: Shape 3179">
                  <a:extLst>
                    <a:ext uri="{FF2B5EF4-FFF2-40B4-BE49-F238E27FC236}">
                      <a16:creationId xmlns:a16="http://schemas.microsoft.com/office/drawing/2014/main" id="{8D1BB1D1-F6CB-1E12-F0F4-481259AC5BC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81" name="Freeform: Shape 3180">
                  <a:extLst>
                    <a:ext uri="{FF2B5EF4-FFF2-40B4-BE49-F238E27FC236}">
                      <a16:creationId xmlns:a16="http://schemas.microsoft.com/office/drawing/2014/main" id="{AA7A1CB6-0394-2E4C-190F-B77CFC54C09F}"/>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65" name="Group 3164">
                <a:extLst>
                  <a:ext uri="{FF2B5EF4-FFF2-40B4-BE49-F238E27FC236}">
                    <a16:creationId xmlns:a16="http://schemas.microsoft.com/office/drawing/2014/main" id="{95127BAA-8BD3-A06C-F083-E53AD623937F}"/>
                  </a:ext>
                </a:extLst>
              </p:cNvPr>
              <p:cNvGrpSpPr/>
              <p:nvPr/>
            </p:nvGrpSpPr>
            <p:grpSpPr>
              <a:xfrm>
                <a:off x="3463105" y="4619731"/>
                <a:ext cx="68967" cy="162922"/>
                <a:chOff x="4475654" y="2372796"/>
                <a:chExt cx="176985" cy="418095"/>
              </a:xfrm>
              <a:grpFill/>
            </p:grpSpPr>
            <p:sp>
              <p:nvSpPr>
                <p:cNvPr id="3178" name="Freeform: Shape 3177">
                  <a:extLst>
                    <a:ext uri="{FF2B5EF4-FFF2-40B4-BE49-F238E27FC236}">
                      <a16:creationId xmlns:a16="http://schemas.microsoft.com/office/drawing/2014/main" id="{B62675F0-AC48-B85B-B849-84B8BE15489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9" name="Freeform: Shape 3178">
                  <a:extLst>
                    <a:ext uri="{FF2B5EF4-FFF2-40B4-BE49-F238E27FC236}">
                      <a16:creationId xmlns:a16="http://schemas.microsoft.com/office/drawing/2014/main" id="{BEB27E55-DEB5-8B45-093F-4CB5CE605950}"/>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66" name="Group 3165">
                <a:extLst>
                  <a:ext uri="{FF2B5EF4-FFF2-40B4-BE49-F238E27FC236}">
                    <a16:creationId xmlns:a16="http://schemas.microsoft.com/office/drawing/2014/main" id="{ABE4799B-F287-ED9B-7B71-5DD5CA5E2BF2}"/>
                  </a:ext>
                </a:extLst>
              </p:cNvPr>
              <p:cNvGrpSpPr/>
              <p:nvPr/>
            </p:nvGrpSpPr>
            <p:grpSpPr>
              <a:xfrm>
                <a:off x="3571442" y="4619731"/>
                <a:ext cx="68967" cy="162922"/>
                <a:chOff x="4475654" y="2372796"/>
                <a:chExt cx="176985" cy="418095"/>
              </a:xfrm>
              <a:grpFill/>
            </p:grpSpPr>
            <p:sp>
              <p:nvSpPr>
                <p:cNvPr id="3176" name="Freeform: Shape 3175">
                  <a:extLst>
                    <a:ext uri="{FF2B5EF4-FFF2-40B4-BE49-F238E27FC236}">
                      <a16:creationId xmlns:a16="http://schemas.microsoft.com/office/drawing/2014/main" id="{C30DDEEE-B05A-4372-77BD-0B0F8B69C78B}"/>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7" name="Freeform: Shape 3176">
                  <a:extLst>
                    <a:ext uri="{FF2B5EF4-FFF2-40B4-BE49-F238E27FC236}">
                      <a16:creationId xmlns:a16="http://schemas.microsoft.com/office/drawing/2014/main" id="{7D525C33-092E-7D7C-1BB1-6F52CFD8A5D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67" name="Group 3166">
                <a:extLst>
                  <a:ext uri="{FF2B5EF4-FFF2-40B4-BE49-F238E27FC236}">
                    <a16:creationId xmlns:a16="http://schemas.microsoft.com/office/drawing/2014/main" id="{9BD81B41-3B10-5414-428E-D6AF9B42EEE4}"/>
                  </a:ext>
                </a:extLst>
              </p:cNvPr>
              <p:cNvGrpSpPr/>
              <p:nvPr/>
            </p:nvGrpSpPr>
            <p:grpSpPr>
              <a:xfrm>
                <a:off x="3679779" y="4619731"/>
                <a:ext cx="68967" cy="162922"/>
                <a:chOff x="4475654" y="2372796"/>
                <a:chExt cx="176985" cy="418095"/>
              </a:xfrm>
              <a:grpFill/>
            </p:grpSpPr>
            <p:sp>
              <p:nvSpPr>
                <p:cNvPr id="3174" name="Freeform: Shape 3173">
                  <a:extLst>
                    <a:ext uri="{FF2B5EF4-FFF2-40B4-BE49-F238E27FC236}">
                      <a16:creationId xmlns:a16="http://schemas.microsoft.com/office/drawing/2014/main" id="{71AFC5BC-C37F-F1A8-57C3-C4B7734B334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5" name="Freeform: Shape 3174">
                  <a:extLst>
                    <a:ext uri="{FF2B5EF4-FFF2-40B4-BE49-F238E27FC236}">
                      <a16:creationId xmlns:a16="http://schemas.microsoft.com/office/drawing/2014/main" id="{4503B5CB-FF6B-CAFE-1FEE-9B2C161C4FF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68" name="Group 3167">
                <a:extLst>
                  <a:ext uri="{FF2B5EF4-FFF2-40B4-BE49-F238E27FC236}">
                    <a16:creationId xmlns:a16="http://schemas.microsoft.com/office/drawing/2014/main" id="{DF6BC36E-ACD8-6128-C8C0-37AC642EF23F}"/>
                  </a:ext>
                </a:extLst>
              </p:cNvPr>
              <p:cNvGrpSpPr/>
              <p:nvPr/>
            </p:nvGrpSpPr>
            <p:grpSpPr>
              <a:xfrm>
                <a:off x="3788116" y="4619731"/>
                <a:ext cx="68967" cy="162922"/>
                <a:chOff x="4475654" y="2372796"/>
                <a:chExt cx="176985" cy="418095"/>
              </a:xfrm>
              <a:grpFill/>
            </p:grpSpPr>
            <p:sp>
              <p:nvSpPr>
                <p:cNvPr id="3172" name="Freeform: Shape 3171">
                  <a:extLst>
                    <a:ext uri="{FF2B5EF4-FFF2-40B4-BE49-F238E27FC236}">
                      <a16:creationId xmlns:a16="http://schemas.microsoft.com/office/drawing/2014/main" id="{4C87CB37-9C1A-05A2-DBFC-371FD14A233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3" name="Freeform: Shape 3172">
                  <a:extLst>
                    <a:ext uri="{FF2B5EF4-FFF2-40B4-BE49-F238E27FC236}">
                      <a16:creationId xmlns:a16="http://schemas.microsoft.com/office/drawing/2014/main" id="{72E89656-2827-19ED-951C-E6E357707C6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169" name="Group 3168">
                <a:extLst>
                  <a:ext uri="{FF2B5EF4-FFF2-40B4-BE49-F238E27FC236}">
                    <a16:creationId xmlns:a16="http://schemas.microsoft.com/office/drawing/2014/main" id="{80E52C6B-AB8B-DDE0-C0A1-7F3A1C38B270}"/>
                  </a:ext>
                </a:extLst>
              </p:cNvPr>
              <p:cNvGrpSpPr/>
              <p:nvPr/>
            </p:nvGrpSpPr>
            <p:grpSpPr>
              <a:xfrm>
                <a:off x="3896451" y="4619731"/>
                <a:ext cx="68967" cy="162922"/>
                <a:chOff x="4475654" y="2372796"/>
                <a:chExt cx="176985" cy="418095"/>
              </a:xfrm>
              <a:grpFill/>
            </p:grpSpPr>
            <p:sp>
              <p:nvSpPr>
                <p:cNvPr id="3170" name="Freeform: Shape 3169">
                  <a:extLst>
                    <a:ext uri="{FF2B5EF4-FFF2-40B4-BE49-F238E27FC236}">
                      <a16:creationId xmlns:a16="http://schemas.microsoft.com/office/drawing/2014/main" id="{CCB263A0-1D43-66A5-360B-0FDCCFE5EAFE}"/>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71" name="Freeform: Shape 3170">
                  <a:extLst>
                    <a:ext uri="{FF2B5EF4-FFF2-40B4-BE49-F238E27FC236}">
                      <a16:creationId xmlns:a16="http://schemas.microsoft.com/office/drawing/2014/main" id="{939FEBEE-26D4-9130-8765-51A2B9AE2BFB}"/>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grpSp>
          <p:nvGrpSpPr>
            <p:cNvPr id="2958" name="Group 2957">
              <a:extLst>
                <a:ext uri="{FF2B5EF4-FFF2-40B4-BE49-F238E27FC236}">
                  <a16:creationId xmlns:a16="http://schemas.microsoft.com/office/drawing/2014/main" id="{AB9A947A-1753-6849-4626-DB4BD0166B37}"/>
                </a:ext>
              </a:extLst>
            </p:cNvPr>
            <p:cNvGrpSpPr/>
            <p:nvPr/>
          </p:nvGrpSpPr>
          <p:grpSpPr>
            <a:xfrm>
              <a:off x="754680" y="4388868"/>
              <a:ext cx="3210738" cy="162922"/>
              <a:chOff x="754680" y="4619731"/>
              <a:chExt cx="3210738" cy="162922"/>
            </a:xfrm>
            <a:grpFill/>
          </p:grpSpPr>
          <p:grpSp>
            <p:nvGrpSpPr>
              <p:cNvPr id="3050" name="Group 3049">
                <a:extLst>
                  <a:ext uri="{FF2B5EF4-FFF2-40B4-BE49-F238E27FC236}">
                    <a16:creationId xmlns:a16="http://schemas.microsoft.com/office/drawing/2014/main" id="{0D33CE29-5B3E-7772-E8EC-EF26B429413F}"/>
                  </a:ext>
                </a:extLst>
              </p:cNvPr>
              <p:cNvGrpSpPr/>
              <p:nvPr/>
            </p:nvGrpSpPr>
            <p:grpSpPr>
              <a:xfrm>
                <a:off x="754680" y="4619731"/>
                <a:ext cx="68967" cy="162922"/>
                <a:chOff x="4475654" y="2372796"/>
                <a:chExt cx="176985" cy="418095"/>
              </a:xfrm>
              <a:grpFill/>
            </p:grpSpPr>
            <p:sp>
              <p:nvSpPr>
                <p:cNvPr id="3138" name="Freeform: Shape 3137">
                  <a:extLst>
                    <a:ext uri="{FF2B5EF4-FFF2-40B4-BE49-F238E27FC236}">
                      <a16:creationId xmlns:a16="http://schemas.microsoft.com/office/drawing/2014/main" id="{369CE1CB-CCF4-5B86-A65A-C8A478134A3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9" name="Freeform: Shape 3138">
                  <a:extLst>
                    <a:ext uri="{FF2B5EF4-FFF2-40B4-BE49-F238E27FC236}">
                      <a16:creationId xmlns:a16="http://schemas.microsoft.com/office/drawing/2014/main" id="{A9985C08-D05F-F8B0-61ED-826748E793C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51" name="Group 3050">
                <a:extLst>
                  <a:ext uri="{FF2B5EF4-FFF2-40B4-BE49-F238E27FC236}">
                    <a16:creationId xmlns:a16="http://schemas.microsoft.com/office/drawing/2014/main" id="{8A6BDFD8-8446-67B5-8E1B-03D7F19EA297}"/>
                  </a:ext>
                </a:extLst>
              </p:cNvPr>
              <p:cNvGrpSpPr/>
              <p:nvPr/>
            </p:nvGrpSpPr>
            <p:grpSpPr>
              <a:xfrm>
                <a:off x="863017" y="4619731"/>
                <a:ext cx="68967" cy="162922"/>
                <a:chOff x="4475654" y="2372796"/>
                <a:chExt cx="176985" cy="418095"/>
              </a:xfrm>
              <a:grpFill/>
            </p:grpSpPr>
            <p:sp>
              <p:nvSpPr>
                <p:cNvPr id="3136" name="Freeform: Shape 3135">
                  <a:extLst>
                    <a:ext uri="{FF2B5EF4-FFF2-40B4-BE49-F238E27FC236}">
                      <a16:creationId xmlns:a16="http://schemas.microsoft.com/office/drawing/2014/main" id="{57E198E2-0D2F-9CF7-8604-EB556927BA3A}"/>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7" name="Freeform: Shape 3136">
                  <a:extLst>
                    <a:ext uri="{FF2B5EF4-FFF2-40B4-BE49-F238E27FC236}">
                      <a16:creationId xmlns:a16="http://schemas.microsoft.com/office/drawing/2014/main" id="{476288B8-C886-2915-41D9-22C35D15DB5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52" name="Group 3051">
                <a:extLst>
                  <a:ext uri="{FF2B5EF4-FFF2-40B4-BE49-F238E27FC236}">
                    <a16:creationId xmlns:a16="http://schemas.microsoft.com/office/drawing/2014/main" id="{F75D5F8B-4D3E-D80F-1CF7-03EC0A7FA344}"/>
                  </a:ext>
                </a:extLst>
              </p:cNvPr>
              <p:cNvGrpSpPr/>
              <p:nvPr/>
            </p:nvGrpSpPr>
            <p:grpSpPr>
              <a:xfrm>
                <a:off x="971354" y="4619731"/>
                <a:ext cx="68967" cy="162922"/>
                <a:chOff x="4475654" y="2372796"/>
                <a:chExt cx="176985" cy="418095"/>
              </a:xfrm>
              <a:grpFill/>
            </p:grpSpPr>
            <p:sp>
              <p:nvSpPr>
                <p:cNvPr id="3134" name="Freeform: Shape 3133">
                  <a:extLst>
                    <a:ext uri="{FF2B5EF4-FFF2-40B4-BE49-F238E27FC236}">
                      <a16:creationId xmlns:a16="http://schemas.microsoft.com/office/drawing/2014/main" id="{6ABEF80B-2109-FF8F-3F43-93279B5150D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5" name="Freeform: Shape 3134">
                  <a:extLst>
                    <a:ext uri="{FF2B5EF4-FFF2-40B4-BE49-F238E27FC236}">
                      <a16:creationId xmlns:a16="http://schemas.microsoft.com/office/drawing/2014/main" id="{79C957FB-BA5F-2626-B9A9-91E8CA8569B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53" name="Group 3052">
                <a:extLst>
                  <a:ext uri="{FF2B5EF4-FFF2-40B4-BE49-F238E27FC236}">
                    <a16:creationId xmlns:a16="http://schemas.microsoft.com/office/drawing/2014/main" id="{DBF07AB3-EEFE-253F-D3DA-3CF22D4F3D88}"/>
                  </a:ext>
                </a:extLst>
              </p:cNvPr>
              <p:cNvGrpSpPr/>
              <p:nvPr/>
            </p:nvGrpSpPr>
            <p:grpSpPr>
              <a:xfrm>
                <a:off x="1188028" y="4619731"/>
                <a:ext cx="68967" cy="162922"/>
                <a:chOff x="4475654" y="2372796"/>
                <a:chExt cx="176985" cy="418095"/>
              </a:xfrm>
              <a:grpFill/>
            </p:grpSpPr>
            <p:sp>
              <p:nvSpPr>
                <p:cNvPr id="3132" name="Freeform: Shape 3131">
                  <a:extLst>
                    <a:ext uri="{FF2B5EF4-FFF2-40B4-BE49-F238E27FC236}">
                      <a16:creationId xmlns:a16="http://schemas.microsoft.com/office/drawing/2014/main" id="{07E68BD1-987C-9E91-1E3A-83449CDB031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3" name="Freeform: Shape 3132">
                  <a:extLst>
                    <a:ext uri="{FF2B5EF4-FFF2-40B4-BE49-F238E27FC236}">
                      <a16:creationId xmlns:a16="http://schemas.microsoft.com/office/drawing/2014/main" id="{25900759-7E7C-E3A8-1E1C-2A487A917B6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54" name="Group 3053">
                <a:extLst>
                  <a:ext uri="{FF2B5EF4-FFF2-40B4-BE49-F238E27FC236}">
                    <a16:creationId xmlns:a16="http://schemas.microsoft.com/office/drawing/2014/main" id="{91AAC6A0-BBC2-DD36-F54E-09E89479B57D}"/>
                  </a:ext>
                </a:extLst>
              </p:cNvPr>
              <p:cNvGrpSpPr/>
              <p:nvPr/>
            </p:nvGrpSpPr>
            <p:grpSpPr>
              <a:xfrm>
                <a:off x="1079691" y="4619731"/>
                <a:ext cx="68967" cy="162922"/>
                <a:chOff x="4475654" y="2372796"/>
                <a:chExt cx="176985" cy="418095"/>
              </a:xfrm>
              <a:grpFill/>
            </p:grpSpPr>
            <p:sp>
              <p:nvSpPr>
                <p:cNvPr id="3130" name="Freeform: Shape 3129">
                  <a:extLst>
                    <a:ext uri="{FF2B5EF4-FFF2-40B4-BE49-F238E27FC236}">
                      <a16:creationId xmlns:a16="http://schemas.microsoft.com/office/drawing/2014/main" id="{E14FF529-829B-554A-5E98-311301119A0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31" name="Freeform: Shape 3130">
                  <a:extLst>
                    <a:ext uri="{FF2B5EF4-FFF2-40B4-BE49-F238E27FC236}">
                      <a16:creationId xmlns:a16="http://schemas.microsoft.com/office/drawing/2014/main" id="{A823A6BF-ECC1-CDF7-2B8D-FABC1DEBA5C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55" name="Group 3054">
                <a:extLst>
                  <a:ext uri="{FF2B5EF4-FFF2-40B4-BE49-F238E27FC236}">
                    <a16:creationId xmlns:a16="http://schemas.microsoft.com/office/drawing/2014/main" id="{B3507959-736F-551E-C062-7199F58D208E}"/>
                  </a:ext>
                </a:extLst>
              </p:cNvPr>
              <p:cNvGrpSpPr/>
              <p:nvPr/>
            </p:nvGrpSpPr>
            <p:grpSpPr>
              <a:xfrm>
                <a:off x="1296365" y="4619731"/>
                <a:ext cx="68967" cy="162922"/>
                <a:chOff x="4475654" y="2372796"/>
                <a:chExt cx="176985" cy="418095"/>
              </a:xfrm>
              <a:grpFill/>
            </p:grpSpPr>
            <p:sp>
              <p:nvSpPr>
                <p:cNvPr id="3128" name="Freeform: Shape 3127">
                  <a:extLst>
                    <a:ext uri="{FF2B5EF4-FFF2-40B4-BE49-F238E27FC236}">
                      <a16:creationId xmlns:a16="http://schemas.microsoft.com/office/drawing/2014/main" id="{D49A017F-145C-838D-6B25-FC0E6DBF35DB}"/>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9" name="Freeform: Shape 3128">
                  <a:extLst>
                    <a:ext uri="{FF2B5EF4-FFF2-40B4-BE49-F238E27FC236}">
                      <a16:creationId xmlns:a16="http://schemas.microsoft.com/office/drawing/2014/main" id="{168A99C6-CDF6-112D-CA65-A3A98951DC0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56" name="Group 3055">
                <a:extLst>
                  <a:ext uri="{FF2B5EF4-FFF2-40B4-BE49-F238E27FC236}">
                    <a16:creationId xmlns:a16="http://schemas.microsoft.com/office/drawing/2014/main" id="{2937BFAA-53BB-CA8A-C920-5EAD07DFBE62}"/>
                  </a:ext>
                </a:extLst>
              </p:cNvPr>
              <p:cNvGrpSpPr/>
              <p:nvPr/>
            </p:nvGrpSpPr>
            <p:grpSpPr>
              <a:xfrm>
                <a:off x="1404702" y="4619731"/>
                <a:ext cx="68967" cy="162922"/>
                <a:chOff x="4475654" y="2372796"/>
                <a:chExt cx="176985" cy="418095"/>
              </a:xfrm>
              <a:grpFill/>
            </p:grpSpPr>
            <p:sp>
              <p:nvSpPr>
                <p:cNvPr id="3126" name="Freeform: Shape 3125">
                  <a:extLst>
                    <a:ext uri="{FF2B5EF4-FFF2-40B4-BE49-F238E27FC236}">
                      <a16:creationId xmlns:a16="http://schemas.microsoft.com/office/drawing/2014/main" id="{EE4606C2-4DD4-6083-8B8E-36912A20CDDA}"/>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7" name="Freeform: Shape 3126">
                  <a:extLst>
                    <a:ext uri="{FF2B5EF4-FFF2-40B4-BE49-F238E27FC236}">
                      <a16:creationId xmlns:a16="http://schemas.microsoft.com/office/drawing/2014/main" id="{1F410D26-068D-0295-94D0-A0FEB3CE30E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57" name="Group 3056">
                <a:extLst>
                  <a:ext uri="{FF2B5EF4-FFF2-40B4-BE49-F238E27FC236}">
                    <a16:creationId xmlns:a16="http://schemas.microsoft.com/office/drawing/2014/main" id="{6BC41252-2B40-6D85-BD91-78B8603A2EBB}"/>
                  </a:ext>
                </a:extLst>
              </p:cNvPr>
              <p:cNvGrpSpPr/>
              <p:nvPr/>
            </p:nvGrpSpPr>
            <p:grpSpPr>
              <a:xfrm>
                <a:off x="1513039" y="4619731"/>
                <a:ext cx="68967" cy="162922"/>
                <a:chOff x="4475654" y="2372796"/>
                <a:chExt cx="176985" cy="418095"/>
              </a:xfrm>
              <a:grpFill/>
            </p:grpSpPr>
            <p:sp>
              <p:nvSpPr>
                <p:cNvPr id="3124" name="Freeform: Shape 3123">
                  <a:extLst>
                    <a:ext uri="{FF2B5EF4-FFF2-40B4-BE49-F238E27FC236}">
                      <a16:creationId xmlns:a16="http://schemas.microsoft.com/office/drawing/2014/main" id="{9588C479-B0B8-80EA-88E9-F15CE2CA7EB2}"/>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5" name="Freeform: Shape 3124">
                  <a:extLst>
                    <a:ext uri="{FF2B5EF4-FFF2-40B4-BE49-F238E27FC236}">
                      <a16:creationId xmlns:a16="http://schemas.microsoft.com/office/drawing/2014/main" id="{D09BC49A-98AF-29C2-646F-2BA543D040D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58" name="Group 3057">
                <a:extLst>
                  <a:ext uri="{FF2B5EF4-FFF2-40B4-BE49-F238E27FC236}">
                    <a16:creationId xmlns:a16="http://schemas.microsoft.com/office/drawing/2014/main" id="{F8F21BF2-8361-4133-FFFC-7956011CA129}"/>
                  </a:ext>
                </a:extLst>
              </p:cNvPr>
              <p:cNvGrpSpPr/>
              <p:nvPr/>
            </p:nvGrpSpPr>
            <p:grpSpPr>
              <a:xfrm>
                <a:off x="1621376" y="4619731"/>
                <a:ext cx="68967" cy="162922"/>
                <a:chOff x="4475654" y="2372796"/>
                <a:chExt cx="176985" cy="418095"/>
              </a:xfrm>
              <a:grpFill/>
            </p:grpSpPr>
            <p:sp>
              <p:nvSpPr>
                <p:cNvPr id="3122" name="Freeform: Shape 3121">
                  <a:extLst>
                    <a:ext uri="{FF2B5EF4-FFF2-40B4-BE49-F238E27FC236}">
                      <a16:creationId xmlns:a16="http://schemas.microsoft.com/office/drawing/2014/main" id="{74B5C8CC-DF64-889F-CD72-94786E8C22D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3" name="Freeform: Shape 3122">
                  <a:extLst>
                    <a:ext uri="{FF2B5EF4-FFF2-40B4-BE49-F238E27FC236}">
                      <a16:creationId xmlns:a16="http://schemas.microsoft.com/office/drawing/2014/main" id="{DC2EC383-B769-87B5-036C-0E02A8FA8F2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59" name="Group 3058">
                <a:extLst>
                  <a:ext uri="{FF2B5EF4-FFF2-40B4-BE49-F238E27FC236}">
                    <a16:creationId xmlns:a16="http://schemas.microsoft.com/office/drawing/2014/main" id="{EB0D276E-6CA3-2C08-4ED7-B58E34366BAE}"/>
                  </a:ext>
                </a:extLst>
              </p:cNvPr>
              <p:cNvGrpSpPr/>
              <p:nvPr/>
            </p:nvGrpSpPr>
            <p:grpSpPr>
              <a:xfrm>
                <a:off x="1729713" y="4619731"/>
                <a:ext cx="68967" cy="162922"/>
                <a:chOff x="4475654" y="2372796"/>
                <a:chExt cx="176985" cy="418095"/>
              </a:xfrm>
              <a:grpFill/>
            </p:grpSpPr>
            <p:sp>
              <p:nvSpPr>
                <p:cNvPr id="3120" name="Freeform: Shape 3119">
                  <a:extLst>
                    <a:ext uri="{FF2B5EF4-FFF2-40B4-BE49-F238E27FC236}">
                      <a16:creationId xmlns:a16="http://schemas.microsoft.com/office/drawing/2014/main" id="{62CC3667-20CC-B32B-0100-B2A673F3F16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21" name="Freeform: Shape 3120">
                  <a:extLst>
                    <a:ext uri="{FF2B5EF4-FFF2-40B4-BE49-F238E27FC236}">
                      <a16:creationId xmlns:a16="http://schemas.microsoft.com/office/drawing/2014/main" id="{323E2A4D-921E-0FDB-74BE-0822387D5EF6}"/>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60" name="Group 3059">
                <a:extLst>
                  <a:ext uri="{FF2B5EF4-FFF2-40B4-BE49-F238E27FC236}">
                    <a16:creationId xmlns:a16="http://schemas.microsoft.com/office/drawing/2014/main" id="{7F8A9665-3209-0571-27C0-F68E315DD9DC}"/>
                  </a:ext>
                </a:extLst>
              </p:cNvPr>
              <p:cNvGrpSpPr/>
              <p:nvPr/>
            </p:nvGrpSpPr>
            <p:grpSpPr>
              <a:xfrm>
                <a:off x="1838050" y="4619731"/>
                <a:ext cx="68967" cy="162922"/>
                <a:chOff x="4475654" y="2372796"/>
                <a:chExt cx="176985" cy="418095"/>
              </a:xfrm>
              <a:grpFill/>
            </p:grpSpPr>
            <p:sp>
              <p:nvSpPr>
                <p:cNvPr id="3118" name="Freeform: Shape 3117">
                  <a:extLst>
                    <a:ext uri="{FF2B5EF4-FFF2-40B4-BE49-F238E27FC236}">
                      <a16:creationId xmlns:a16="http://schemas.microsoft.com/office/drawing/2014/main" id="{6D2E51C6-826A-9A5C-65B5-C67DA8ACDFB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9" name="Freeform: Shape 3118">
                  <a:extLst>
                    <a:ext uri="{FF2B5EF4-FFF2-40B4-BE49-F238E27FC236}">
                      <a16:creationId xmlns:a16="http://schemas.microsoft.com/office/drawing/2014/main" id="{AB5908BB-C9A8-A1A9-0C0B-DD32F761432B}"/>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61" name="Group 3060">
                <a:extLst>
                  <a:ext uri="{FF2B5EF4-FFF2-40B4-BE49-F238E27FC236}">
                    <a16:creationId xmlns:a16="http://schemas.microsoft.com/office/drawing/2014/main" id="{3E0A60D8-EE22-72EF-29D5-E412014BE136}"/>
                  </a:ext>
                </a:extLst>
              </p:cNvPr>
              <p:cNvGrpSpPr/>
              <p:nvPr/>
            </p:nvGrpSpPr>
            <p:grpSpPr>
              <a:xfrm>
                <a:off x="1946387" y="4619731"/>
                <a:ext cx="68967" cy="162922"/>
                <a:chOff x="4475654" y="2372796"/>
                <a:chExt cx="176985" cy="418095"/>
              </a:xfrm>
              <a:grpFill/>
            </p:grpSpPr>
            <p:sp>
              <p:nvSpPr>
                <p:cNvPr id="3116" name="Freeform: Shape 3115">
                  <a:extLst>
                    <a:ext uri="{FF2B5EF4-FFF2-40B4-BE49-F238E27FC236}">
                      <a16:creationId xmlns:a16="http://schemas.microsoft.com/office/drawing/2014/main" id="{F032CD7A-DE63-0AF2-EEC3-80B30E560E8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7" name="Freeform: Shape 3116">
                  <a:extLst>
                    <a:ext uri="{FF2B5EF4-FFF2-40B4-BE49-F238E27FC236}">
                      <a16:creationId xmlns:a16="http://schemas.microsoft.com/office/drawing/2014/main" id="{0C870AB4-A00D-55AF-4391-2E240EC702C6}"/>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62" name="Group 3061">
                <a:extLst>
                  <a:ext uri="{FF2B5EF4-FFF2-40B4-BE49-F238E27FC236}">
                    <a16:creationId xmlns:a16="http://schemas.microsoft.com/office/drawing/2014/main" id="{833D8AC6-D537-5C4B-33FD-06116EA3A109}"/>
                  </a:ext>
                </a:extLst>
              </p:cNvPr>
              <p:cNvGrpSpPr/>
              <p:nvPr/>
            </p:nvGrpSpPr>
            <p:grpSpPr>
              <a:xfrm>
                <a:off x="2054724" y="4619731"/>
                <a:ext cx="68967" cy="162922"/>
                <a:chOff x="4475654" y="2372796"/>
                <a:chExt cx="176985" cy="418095"/>
              </a:xfrm>
              <a:grpFill/>
            </p:grpSpPr>
            <p:sp>
              <p:nvSpPr>
                <p:cNvPr id="3114" name="Freeform: Shape 3113">
                  <a:extLst>
                    <a:ext uri="{FF2B5EF4-FFF2-40B4-BE49-F238E27FC236}">
                      <a16:creationId xmlns:a16="http://schemas.microsoft.com/office/drawing/2014/main" id="{B1E402F3-372A-A683-AE27-E989A4AB328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5" name="Freeform: Shape 3114">
                  <a:extLst>
                    <a:ext uri="{FF2B5EF4-FFF2-40B4-BE49-F238E27FC236}">
                      <a16:creationId xmlns:a16="http://schemas.microsoft.com/office/drawing/2014/main" id="{708385B2-0F83-0F83-C5A9-884229E74D1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63" name="Group 3062">
                <a:extLst>
                  <a:ext uri="{FF2B5EF4-FFF2-40B4-BE49-F238E27FC236}">
                    <a16:creationId xmlns:a16="http://schemas.microsoft.com/office/drawing/2014/main" id="{12B0E310-8549-3601-B077-A0A9251E1F87}"/>
                  </a:ext>
                </a:extLst>
              </p:cNvPr>
              <p:cNvGrpSpPr/>
              <p:nvPr/>
            </p:nvGrpSpPr>
            <p:grpSpPr>
              <a:xfrm>
                <a:off x="2163061" y="4619731"/>
                <a:ext cx="68967" cy="162922"/>
                <a:chOff x="4475654" y="2372796"/>
                <a:chExt cx="176985" cy="418095"/>
              </a:xfrm>
              <a:grpFill/>
            </p:grpSpPr>
            <p:sp>
              <p:nvSpPr>
                <p:cNvPr id="3112" name="Freeform: Shape 3111">
                  <a:extLst>
                    <a:ext uri="{FF2B5EF4-FFF2-40B4-BE49-F238E27FC236}">
                      <a16:creationId xmlns:a16="http://schemas.microsoft.com/office/drawing/2014/main" id="{1FFB0BB3-1AB2-815C-4692-129F2AFD7E2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3" name="Freeform: Shape 3112">
                  <a:extLst>
                    <a:ext uri="{FF2B5EF4-FFF2-40B4-BE49-F238E27FC236}">
                      <a16:creationId xmlns:a16="http://schemas.microsoft.com/office/drawing/2014/main" id="{61B44790-5289-88C3-648E-20096A65A62B}"/>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64" name="Group 3063">
                <a:extLst>
                  <a:ext uri="{FF2B5EF4-FFF2-40B4-BE49-F238E27FC236}">
                    <a16:creationId xmlns:a16="http://schemas.microsoft.com/office/drawing/2014/main" id="{246838DC-7B38-18F8-A368-C0A9B4ADF147}"/>
                  </a:ext>
                </a:extLst>
              </p:cNvPr>
              <p:cNvGrpSpPr/>
              <p:nvPr/>
            </p:nvGrpSpPr>
            <p:grpSpPr>
              <a:xfrm>
                <a:off x="2271398" y="4619731"/>
                <a:ext cx="68967" cy="162922"/>
                <a:chOff x="4475654" y="2372796"/>
                <a:chExt cx="176985" cy="418095"/>
              </a:xfrm>
              <a:grpFill/>
            </p:grpSpPr>
            <p:sp>
              <p:nvSpPr>
                <p:cNvPr id="3110" name="Freeform: Shape 3109">
                  <a:extLst>
                    <a:ext uri="{FF2B5EF4-FFF2-40B4-BE49-F238E27FC236}">
                      <a16:creationId xmlns:a16="http://schemas.microsoft.com/office/drawing/2014/main" id="{C697F7ED-3A78-FB5D-4D2A-2698297A4D5A}"/>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11" name="Freeform: Shape 3110">
                  <a:extLst>
                    <a:ext uri="{FF2B5EF4-FFF2-40B4-BE49-F238E27FC236}">
                      <a16:creationId xmlns:a16="http://schemas.microsoft.com/office/drawing/2014/main" id="{CE4C5BA9-9580-5BFA-C92E-8F762ABCDAB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65" name="Group 3064">
                <a:extLst>
                  <a:ext uri="{FF2B5EF4-FFF2-40B4-BE49-F238E27FC236}">
                    <a16:creationId xmlns:a16="http://schemas.microsoft.com/office/drawing/2014/main" id="{5159774F-0389-4EFF-AC54-AC87E1C62D17}"/>
                  </a:ext>
                </a:extLst>
              </p:cNvPr>
              <p:cNvGrpSpPr/>
              <p:nvPr/>
            </p:nvGrpSpPr>
            <p:grpSpPr>
              <a:xfrm>
                <a:off x="2379735" y="4619731"/>
                <a:ext cx="68967" cy="162922"/>
                <a:chOff x="4475654" y="2372796"/>
                <a:chExt cx="176985" cy="418095"/>
              </a:xfrm>
              <a:grpFill/>
            </p:grpSpPr>
            <p:sp>
              <p:nvSpPr>
                <p:cNvPr id="3108" name="Freeform: Shape 3107">
                  <a:extLst>
                    <a:ext uri="{FF2B5EF4-FFF2-40B4-BE49-F238E27FC236}">
                      <a16:creationId xmlns:a16="http://schemas.microsoft.com/office/drawing/2014/main" id="{4612A9BE-9081-FBF3-A11A-756B44E4E172}"/>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9" name="Freeform: Shape 3108">
                  <a:extLst>
                    <a:ext uri="{FF2B5EF4-FFF2-40B4-BE49-F238E27FC236}">
                      <a16:creationId xmlns:a16="http://schemas.microsoft.com/office/drawing/2014/main" id="{0C1B5E72-9E2F-05B5-3F75-51D622F70F6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66" name="Group 3065">
                <a:extLst>
                  <a:ext uri="{FF2B5EF4-FFF2-40B4-BE49-F238E27FC236}">
                    <a16:creationId xmlns:a16="http://schemas.microsoft.com/office/drawing/2014/main" id="{FFBE2E5A-F82C-86EA-20B7-BC639ED9904E}"/>
                  </a:ext>
                </a:extLst>
              </p:cNvPr>
              <p:cNvGrpSpPr/>
              <p:nvPr/>
            </p:nvGrpSpPr>
            <p:grpSpPr>
              <a:xfrm>
                <a:off x="2488072" y="4619731"/>
                <a:ext cx="68967" cy="162922"/>
                <a:chOff x="4475654" y="2372796"/>
                <a:chExt cx="176985" cy="418095"/>
              </a:xfrm>
              <a:grpFill/>
            </p:grpSpPr>
            <p:sp>
              <p:nvSpPr>
                <p:cNvPr id="3106" name="Freeform: Shape 3105">
                  <a:extLst>
                    <a:ext uri="{FF2B5EF4-FFF2-40B4-BE49-F238E27FC236}">
                      <a16:creationId xmlns:a16="http://schemas.microsoft.com/office/drawing/2014/main" id="{E01621D1-EEC1-8A61-8992-26F98C2E0B8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7" name="Freeform: Shape 3106">
                  <a:extLst>
                    <a:ext uri="{FF2B5EF4-FFF2-40B4-BE49-F238E27FC236}">
                      <a16:creationId xmlns:a16="http://schemas.microsoft.com/office/drawing/2014/main" id="{540A6FC1-4619-3759-C003-DD856949371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67" name="Group 3066">
                <a:extLst>
                  <a:ext uri="{FF2B5EF4-FFF2-40B4-BE49-F238E27FC236}">
                    <a16:creationId xmlns:a16="http://schemas.microsoft.com/office/drawing/2014/main" id="{3C1C46BD-519E-33E4-2032-2CE02746D64B}"/>
                  </a:ext>
                </a:extLst>
              </p:cNvPr>
              <p:cNvGrpSpPr/>
              <p:nvPr/>
            </p:nvGrpSpPr>
            <p:grpSpPr>
              <a:xfrm>
                <a:off x="2596409" y="4619731"/>
                <a:ext cx="68967" cy="162922"/>
                <a:chOff x="4475654" y="2372796"/>
                <a:chExt cx="176985" cy="418095"/>
              </a:xfrm>
              <a:grpFill/>
            </p:grpSpPr>
            <p:sp>
              <p:nvSpPr>
                <p:cNvPr id="3104" name="Freeform: Shape 3103">
                  <a:extLst>
                    <a:ext uri="{FF2B5EF4-FFF2-40B4-BE49-F238E27FC236}">
                      <a16:creationId xmlns:a16="http://schemas.microsoft.com/office/drawing/2014/main" id="{EC9EBC61-B4E7-431C-B430-9D15F5CFF79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5" name="Freeform: Shape 3104">
                  <a:extLst>
                    <a:ext uri="{FF2B5EF4-FFF2-40B4-BE49-F238E27FC236}">
                      <a16:creationId xmlns:a16="http://schemas.microsoft.com/office/drawing/2014/main" id="{1E5727FD-11C8-F52F-C77A-6F4A1A5323D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68" name="Group 3067">
                <a:extLst>
                  <a:ext uri="{FF2B5EF4-FFF2-40B4-BE49-F238E27FC236}">
                    <a16:creationId xmlns:a16="http://schemas.microsoft.com/office/drawing/2014/main" id="{A4AD705A-BF60-B951-6629-6220412ADD90}"/>
                  </a:ext>
                </a:extLst>
              </p:cNvPr>
              <p:cNvGrpSpPr/>
              <p:nvPr/>
            </p:nvGrpSpPr>
            <p:grpSpPr>
              <a:xfrm>
                <a:off x="2813083" y="4619731"/>
                <a:ext cx="68967" cy="162922"/>
                <a:chOff x="4475654" y="2372796"/>
                <a:chExt cx="176985" cy="418095"/>
              </a:xfrm>
              <a:grpFill/>
            </p:grpSpPr>
            <p:sp>
              <p:nvSpPr>
                <p:cNvPr id="3102" name="Freeform: Shape 3101">
                  <a:extLst>
                    <a:ext uri="{FF2B5EF4-FFF2-40B4-BE49-F238E27FC236}">
                      <a16:creationId xmlns:a16="http://schemas.microsoft.com/office/drawing/2014/main" id="{704807AE-247E-AC6B-ABB5-34AC996B7A0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3" name="Freeform: Shape 3102">
                  <a:extLst>
                    <a:ext uri="{FF2B5EF4-FFF2-40B4-BE49-F238E27FC236}">
                      <a16:creationId xmlns:a16="http://schemas.microsoft.com/office/drawing/2014/main" id="{5FCAA754-D239-335D-A08A-7BE1488946CC}"/>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69" name="Group 3068">
                <a:extLst>
                  <a:ext uri="{FF2B5EF4-FFF2-40B4-BE49-F238E27FC236}">
                    <a16:creationId xmlns:a16="http://schemas.microsoft.com/office/drawing/2014/main" id="{BCD6B1E7-4A43-602B-C152-38888A9B8CA5}"/>
                  </a:ext>
                </a:extLst>
              </p:cNvPr>
              <p:cNvGrpSpPr/>
              <p:nvPr/>
            </p:nvGrpSpPr>
            <p:grpSpPr>
              <a:xfrm>
                <a:off x="2704746" y="4619731"/>
                <a:ext cx="68967" cy="162922"/>
                <a:chOff x="4475654" y="2372796"/>
                <a:chExt cx="176985" cy="418095"/>
              </a:xfrm>
              <a:grpFill/>
            </p:grpSpPr>
            <p:sp>
              <p:nvSpPr>
                <p:cNvPr id="3100" name="Freeform: Shape 3099">
                  <a:extLst>
                    <a:ext uri="{FF2B5EF4-FFF2-40B4-BE49-F238E27FC236}">
                      <a16:creationId xmlns:a16="http://schemas.microsoft.com/office/drawing/2014/main" id="{40063B02-E56C-EF90-D677-80AF96687B9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01" name="Freeform: Shape 3100">
                  <a:extLst>
                    <a:ext uri="{FF2B5EF4-FFF2-40B4-BE49-F238E27FC236}">
                      <a16:creationId xmlns:a16="http://schemas.microsoft.com/office/drawing/2014/main" id="{D9E38AFA-F233-8149-E5CF-08DDBBFDDE4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70" name="Group 3069">
                <a:extLst>
                  <a:ext uri="{FF2B5EF4-FFF2-40B4-BE49-F238E27FC236}">
                    <a16:creationId xmlns:a16="http://schemas.microsoft.com/office/drawing/2014/main" id="{02DE0B6F-6549-59BA-A93D-3148ECF3C0DC}"/>
                  </a:ext>
                </a:extLst>
              </p:cNvPr>
              <p:cNvGrpSpPr/>
              <p:nvPr/>
            </p:nvGrpSpPr>
            <p:grpSpPr>
              <a:xfrm>
                <a:off x="2921420" y="4619731"/>
                <a:ext cx="68967" cy="162922"/>
                <a:chOff x="4475654" y="2372796"/>
                <a:chExt cx="176985" cy="418095"/>
              </a:xfrm>
              <a:grpFill/>
            </p:grpSpPr>
            <p:sp>
              <p:nvSpPr>
                <p:cNvPr id="3098" name="Freeform: Shape 3097">
                  <a:extLst>
                    <a:ext uri="{FF2B5EF4-FFF2-40B4-BE49-F238E27FC236}">
                      <a16:creationId xmlns:a16="http://schemas.microsoft.com/office/drawing/2014/main" id="{92CEC508-CB4C-D227-BEE1-39A59486D71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9" name="Freeform: Shape 3098">
                  <a:extLst>
                    <a:ext uri="{FF2B5EF4-FFF2-40B4-BE49-F238E27FC236}">
                      <a16:creationId xmlns:a16="http://schemas.microsoft.com/office/drawing/2014/main" id="{528CF7BF-4E00-ADA3-97C4-15B3D6C72BB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71" name="Group 3070">
                <a:extLst>
                  <a:ext uri="{FF2B5EF4-FFF2-40B4-BE49-F238E27FC236}">
                    <a16:creationId xmlns:a16="http://schemas.microsoft.com/office/drawing/2014/main" id="{82D0BE0D-A6C1-D74E-13D5-77C877FF133D}"/>
                  </a:ext>
                </a:extLst>
              </p:cNvPr>
              <p:cNvGrpSpPr/>
              <p:nvPr/>
            </p:nvGrpSpPr>
            <p:grpSpPr>
              <a:xfrm>
                <a:off x="3029757" y="4619731"/>
                <a:ext cx="68967" cy="162922"/>
                <a:chOff x="4475654" y="2372796"/>
                <a:chExt cx="176985" cy="418095"/>
              </a:xfrm>
              <a:grpFill/>
            </p:grpSpPr>
            <p:sp>
              <p:nvSpPr>
                <p:cNvPr id="3096" name="Freeform: Shape 3095">
                  <a:extLst>
                    <a:ext uri="{FF2B5EF4-FFF2-40B4-BE49-F238E27FC236}">
                      <a16:creationId xmlns:a16="http://schemas.microsoft.com/office/drawing/2014/main" id="{6A69DDDD-7DBA-F02C-6004-43C11524850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7" name="Freeform: Shape 3096">
                  <a:extLst>
                    <a:ext uri="{FF2B5EF4-FFF2-40B4-BE49-F238E27FC236}">
                      <a16:creationId xmlns:a16="http://schemas.microsoft.com/office/drawing/2014/main" id="{D01C1119-524C-6DCF-29B3-155AB91A1ABB}"/>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72" name="Group 3071">
                <a:extLst>
                  <a:ext uri="{FF2B5EF4-FFF2-40B4-BE49-F238E27FC236}">
                    <a16:creationId xmlns:a16="http://schemas.microsoft.com/office/drawing/2014/main" id="{EC474751-BC5A-9E2D-0C01-5C24317A597F}"/>
                  </a:ext>
                </a:extLst>
              </p:cNvPr>
              <p:cNvGrpSpPr/>
              <p:nvPr/>
            </p:nvGrpSpPr>
            <p:grpSpPr>
              <a:xfrm>
                <a:off x="3138094" y="4619731"/>
                <a:ext cx="68967" cy="162922"/>
                <a:chOff x="4475654" y="2372796"/>
                <a:chExt cx="176985" cy="418095"/>
              </a:xfrm>
              <a:grpFill/>
            </p:grpSpPr>
            <p:sp>
              <p:nvSpPr>
                <p:cNvPr id="3094" name="Freeform: Shape 3093">
                  <a:extLst>
                    <a:ext uri="{FF2B5EF4-FFF2-40B4-BE49-F238E27FC236}">
                      <a16:creationId xmlns:a16="http://schemas.microsoft.com/office/drawing/2014/main" id="{0B0F9779-054C-3D68-2178-1A10581316F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5" name="Freeform: Shape 3094">
                  <a:extLst>
                    <a:ext uri="{FF2B5EF4-FFF2-40B4-BE49-F238E27FC236}">
                      <a16:creationId xmlns:a16="http://schemas.microsoft.com/office/drawing/2014/main" id="{1B6ADD02-6CB7-FC53-CA6F-CF9308221C2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73" name="Group 3072">
                <a:extLst>
                  <a:ext uri="{FF2B5EF4-FFF2-40B4-BE49-F238E27FC236}">
                    <a16:creationId xmlns:a16="http://schemas.microsoft.com/office/drawing/2014/main" id="{38CA74C7-5E69-2F79-48FB-B9D47A5C8F1E}"/>
                  </a:ext>
                </a:extLst>
              </p:cNvPr>
              <p:cNvGrpSpPr/>
              <p:nvPr/>
            </p:nvGrpSpPr>
            <p:grpSpPr>
              <a:xfrm>
                <a:off x="3246431" y="4619731"/>
                <a:ext cx="68967" cy="162922"/>
                <a:chOff x="4475654" y="2372796"/>
                <a:chExt cx="176985" cy="418095"/>
              </a:xfrm>
              <a:grpFill/>
            </p:grpSpPr>
            <p:sp>
              <p:nvSpPr>
                <p:cNvPr id="3092" name="Freeform: Shape 3091">
                  <a:extLst>
                    <a:ext uri="{FF2B5EF4-FFF2-40B4-BE49-F238E27FC236}">
                      <a16:creationId xmlns:a16="http://schemas.microsoft.com/office/drawing/2014/main" id="{8BE82A4F-D63E-19D3-B3D6-E95E4E056F8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3" name="Freeform: Shape 3092">
                  <a:extLst>
                    <a:ext uri="{FF2B5EF4-FFF2-40B4-BE49-F238E27FC236}">
                      <a16:creationId xmlns:a16="http://schemas.microsoft.com/office/drawing/2014/main" id="{D1B50E3F-FC27-C30E-DC55-24D0B06BFE50}"/>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74" name="Group 3073">
                <a:extLst>
                  <a:ext uri="{FF2B5EF4-FFF2-40B4-BE49-F238E27FC236}">
                    <a16:creationId xmlns:a16="http://schemas.microsoft.com/office/drawing/2014/main" id="{4040EE2B-85E9-7EA8-A0BC-294A09DD4397}"/>
                  </a:ext>
                </a:extLst>
              </p:cNvPr>
              <p:cNvGrpSpPr/>
              <p:nvPr/>
            </p:nvGrpSpPr>
            <p:grpSpPr>
              <a:xfrm>
                <a:off x="3354768" y="4619731"/>
                <a:ext cx="68967" cy="162922"/>
                <a:chOff x="4475654" y="2372796"/>
                <a:chExt cx="176985" cy="418095"/>
              </a:xfrm>
              <a:grpFill/>
            </p:grpSpPr>
            <p:sp>
              <p:nvSpPr>
                <p:cNvPr id="3090" name="Freeform: Shape 3089">
                  <a:extLst>
                    <a:ext uri="{FF2B5EF4-FFF2-40B4-BE49-F238E27FC236}">
                      <a16:creationId xmlns:a16="http://schemas.microsoft.com/office/drawing/2014/main" id="{17D444AC-B347-A0C0-7840-49D6CE85B8A9}"/>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91" name="Freeform: Shape 3090">
                  <a:extLst>
                    <a:ext uri="{FF2B5EF4-FFF2-40B4-BE49-F238E27FC236}">
                      <a16:creationId xmlns:a16="http://schemas.microsoft.com/office/drawing/2014/main" id="{636BADAD-7985-0DFE-40F3-9B1035597290}"/>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75" name="Group 3074">
                <a:extLst>
                  <a:ext uri="{FF2B5EF4-FFF2-40B4-BE49-F238E27FC236}">
                    <a16:creationId xmlns:a16="http://schemas.microsoft.com/office/drawing/2014/main" id="{AF8C19BC-E409-1617-BB62-EFE2D44A53F3}"/>
                  </a:ext>
                </a:extLst>
              </p:cNvPr>
              <p:cNvGrpSpPr/>
              <p:nvPr/>
            </p:nvGrpSpPr>
            <p:grpSpPr>
              <a:xfrm>
                <a:off x="3463105" y="4619731"/>
                <a:ext cx="68967" cy="162922"/>
                <a:chOff x="4475654" y="2372796"/>
                <a:chExt cx="176985" cy="418095"/>
              </a:xfrm>
              <a:grpFill/>
            </p:grpSpPr>
            <p:sp>
              <p:nvSpPr>
                <p:cNvPr id="3088" name="Freeform: Shape 3087">
                  <a:extLst>
                    <a:ext uri="{FF2B5EF4-FFF2-40B4-BE49-F238E27FC236}">
                      <a16:creationId xmlns:a16="http://schemas.microsoft.com/office/drawing/2014/main" id="{69850E39-D0E9-541E-091A-8D8025FD508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9" name="Freeform: Shape 3088">
                  <a:extLst>
                    <a:ext uri="{FF2B5EF4-FFF2-40B4-BE49-F238E27FC236}">
                      <a16:creationId xmlns:a16="http://schemas.microsoft.com/office/drawing/2014/main" id="{64AE33C6-AE7C-B37F-3053-2474C3A201A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76" name="Group 3075">
                <a:extLst>
                  <a:ext uri="{FF2B5EF4-FFF2-40B4-BE49-F238E27FC236}">
                    <a16:creationId xmlns:a16="http://schemas.microsoft.com/office/drawing/2014/main" id="{B90C30D3-32C9-24F3-355B-4246BA2587BD}"/>
                  </a:ext>
                </a:extLst>
              </p:cNvPr>
              <p:cNvGrpSpPr/>
              <p:nvPr/>
            </p:nvGrpSpPr>
            <p:grpSpPr>
              <a:xfrm>
                <a:off x="3571442" y="4619731"/>
                <a:ext cx="68967" cy="162922"/>
                <a:chOff x="4475654" y="2372796"/>
                <a:chExt cx="176985" cy="418095"/>
              </a:xfrm>
              <a:grpFill/>
            </p:grpSpPr>
            <p:sp>
              <p:nvSpPr>
                <p:cNvPr id="3086" name="Freeform: Shape 3085">
                  <a:extLst>
                    <a:ext uri="{FF2B5EF4-FFF2-40B4-BE49-F238E27FC236}">
                      <a16:creationId xmlns:a16="http://schemas.microsoft.com/office/drawing/2014/main" id="{8244950D-A70E-30D0-1117-18C99BBAF91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7" name="Freeform: Shape 3086">
                  <a:extLst>
                    <a:ext uri="{FF2B5EF4-FFF2-40B4-BE49-F238E27FC236}">
                      <a16:creationId xmlns:a16="http://schemas.microsoft.com/office/drawing/2014/main" id="{A0F1077D-7F44-6919-52DC-CF08FD5CEA3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77" name="Group 3076">
                <a:extLst>
                  <a:ext uri="{FF2B5EF4-FFF2-40B4-BE49-F238E27FC236}">
                    <a16:creationId xmlns:a16="http://schemas.microsoft.com/office/drawing/2014/main" id="{532C8CF1-E9C6-3949-2BF9-F5D28D87835A}"/>
                  </a:ext>
                </a:extLst>
              </p:cNvPr>
              <p:cNvGrpSpPr/>
              <p:nvPr/>
            </p:nvGrpSpPr>
            <p:grpSpPr>
              <a:xfrm>
                <a:off x="3679779" y="4619731"/>
                <a:ext cx="68967" cy="162922"/>
                <a:chOff x="4475654" y="2372796"/>
                <a:chExt cx="176985" cy="418095"/>
              </a:xfrm>
              <a:grpFill/>
            </p:grpSpPr>
            <p:sp>
              <p:nvSpPr>
                <p:cNvPr id="3084" name="Freeform: Shape 3083">
                  <a:extLst>
                    <a:ext uri="{FF2B5EF4-FFF2-40B4-BE49-F238E27FC236}">
                      <a16:creationId xmlns:a16="http://schemas.microsoft.com/office/drawing/2014/main" id="{DC1F7F74-6E62-342B-7EF6-217256551A0E}"/>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5" name="Freeform: Shape 3084">
                  <a:extLst>
                    <a:ext uri="{FF2B5EF4-FFF2-40B4-BE49-F238E27FC236}">
                      <a16:creationId xmlns:a16="http://schemas.microsoft.com/office/drawing/2014/main" id="{D8740F3D-7E2B-94CC-C92D-9AA4298085C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78" name="Group 3077">
                <a:extLst>
                  <a:ext uri="{FF2B5EF4-FFF2-40B4-BE49-F238E27FC236}">
                    <a16:creationId xmlns:a16="http://schemas.microsoft.com/office/drawing/2014/main" id="{D067E7E9-B1CF-5A39-19C0-C00D887EE0D3}"/>
                  </a:ext>
                </a:extLst>
              </p:cNvPr>
              <p:cNvGrpSpPr/>
              <p:nvPr/>
            </p:nvGrpSpPr>
            <p:grpSpPr>
              <a:xfrm>
                <a:off x="3788116" y="4619731"/>
                <a:ext cx="68967" cy="162922"/>
                <a:chOff x="4475654" y="2372796"/>
                <a:chExt cx="176985" cy="418095"/>
              </a:xfrm>
              <a:grpFill/>
            </p:grpSpPr>
            <p:sp>
              <p:nvSpPr>
                <p:cNvPr id="3082" name="Freeform: Shape 3081">
                  <a:extLst>
                    <a:ext uri="{FF2B5EF4-FFF2-40B4-BE49-F238E27FC236}">
                      <a16:creationId xmlns:a16="http://schemas.microsoft.com/office/drawing/2014/main" id="{2A657960-A747-1613-B005-865F6C0C795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3" name="Freeform: Shape 3082">
                  <a:extLst>
                    <a:ext uri="{FF2B5EF4-FFF2-40B4-BE49-F238E27FC236}">
                      <a16:creationId xmlns:a16="http://schemas.microsoft.com/office/drawing/2014/main" id="{59F787AD-2236-65AE-E95B-A28EBE86E25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079" name="Group 3078">
                <a:extLst>
                  <a:ext uri="{FF2B5EF4-FFF2-40B4-BE49-F238E27FC236}">
                    <a16:creationId xmlns:a16="http://schemas.microsoft.com/office/drawing/2014/main" id="{183416F1-471D-09A5-1C6C-B5CA5E14C17B}"/>
                  </a:ext>
                </a:extLst>
              </p:cNvPr>
              <p:cNvGrpSpPr/>
              <p:nvPr/>
            </p:nvGrpSpPr>
            <p:grpSpPr>
              <a:xfrm>
                <a:off x="3896451" y="4619731"/>
                <a:ext cx="68967" cy="162922"/>
                <a:chOff x="4475654" y="2372796"/>
                <a:chExt cx="176985" cy="418095"/>
              </a:xfrm>
              <a:grpFill/>
            </p:grpSpPr>
            <p:sp>
              <p:nvSpPr>
                <p:cNvPr id="3080" name="Freeform: Shape 3079">
                  <a:extLst>
                    <a:ext uri="{FF2B5EF4-FFF2-40B4-BE49-F238E27FC236}">
                      <a16:creationId xmlns:a16="http://schemas.microsoft.com/office/drawing/2014/main" id="{13F1BD1F-2492-F701-DEAF-EE212B994D6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81" name="Freeform: Shape 3080">
                  <a:extLst>
                    <a:ext uri="{FF2B5EF4-FFF2-40B4-BE49-F238E27FC236}">
                      <a16:creationId xmlns:a16="http://schemas.microsoft.com/office/drawing/2014/main" id="{AFC09A7A-D8D9-6C41-0A37-024C14BE8F5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grpSp>
          <p:nvGrpSpPr>
            <p:cNvPr id="2959" name="Group 2958">
              <a:extLst>
                <a:ext uri="{FF2B5EF4-FFF2-40B4-BE49-F238E27FC236}">
                  <a16:creationId xmlns:a16="http://schemas.microsoft.com/office/drawing/2014/main" id="{F6231C94-6DC7-B4C2-CA47-3096098FE28D}"/>
                </a:ext>
              </a:extLst>
            </p:cNvPr>
            <p:cNvGrpSpPr/>
            <p:nvPr/>
          </p:nvGrpSpPr>
          <p:grpSpPr>
            <a:xfrm>
              <a:off x="754680" y="4158004"/>
              <a:ext cx="3210738" cy="162922"/>
              <a:chOff x="754680" y="4619731"/>
              <a:chExt cx="3210738" cy="162922"/>
            </a:xfrm>
            <a:grpFill/>
          </p:grpSpPr>
          <p:grpSp>
            <p:nvGrpSpPr>
              <p:cNvPr id="2960" name="Group 2959">
                <a:extLst>
                  <a:ext uri="{FF2B5EF4-FFF2-40B4-BE49-F238E27FC236}">
                    <a16:creationId xmlns:a16="http://schemas.microsoft.com/office/drawing/2014/main" id="{0ED75A6A-5C62-F25E-9C4E-CDB52DEEE36C}"/>
                  </a:ext>
                </a:extLst>
              </p:cNvPr>
              <p:cNvGrpSpPr/>
              <p:nvPr/>
            </p:nvGrpSpPr>
            <p:grpSpPr>
              <a:xfrm>
                <a:off x="754680" y="4619731"/>
                <a:ext cx="68967" cy="162922"/>
                <a:chOff x="4475654" y="2372796"/>
                <a:chExt cx="176985" cy="418095"/>
              </a:xfrm>
              <a:grpFill/>
            </p:grpSpPr>
            <p:sp>
              <p:nvSpPr>
                <p:cNvPr id="3048" name="Freeform: Shape 3047">
                  <a:extLst>
                    <a:ext uri="{FF2B5EF4-FFF2-40B4-BE49-F238E27FC236}">
                      <a16:creationId xmlns:a16="http://schemas.microsoft.com/office/drawing/2014/main" id="{40659D57-EB1E-0068-BDBD-B872F182A04A}"/>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9" name="Freeform: Shape 3048">
                  <a:extLst>
                    <a:ext uri="{FF2B5EF4-FFF2-40B4-BE49-F238E27FC236}">
                      <a16:creationId xmlns:a16="http://schemas.microsoft.com/office/drawing/2014/main" id="{9B97DC59-E317-A024-38F1-872391CBDBC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61" name="Group 2960">
                <a:extLst>
                  <a:ext uri="{FF2B5EF4-FFF2-40B4-BE49-F238E27FC236}">
                    <a16:creationId xmlns:a16="http://schemas.microsoft.com/office/drawing/2014/main" id="{0080DD9A-4341-A162-23E1-BE1E55A674E2}"/>
                  </a:ext>
                </a:extLst>
              </p:cNvPr>
              <p:cNvGrpSpPr/>
              <p:nvPr/>
            </p:nvGrpSpPr>
            <p:grpSpPr>
              <a:xfrm>
                <a:off x="863017" y="4619731"/>
                <a:ext cx="68967" cy="162922"/>
                <a:chOff x="4475654" y="2372796"/>
                <a:chExt cx="176985" cy="418095"/>
              </a:xfrm>
              <a:grpFill/>
            </p:grpSpPr>
            <p:sp>
              <p:nvSpPr>
                <p:cNvPr id="3046" name="Freeform: Shape 3045">
                  <a:extLst>
                    <a:ext uri="{FF2B5EF4-FFF2-40B4-BE49-F238E27FC236}">
                      <a16:creationId xmlns:a16="http://schemas.microsoft.com/office/drawing/2014/main" id="{4C647827-ADE5-D879-5334-3163ADEC22F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7" name="Freeform: Shape 3046">
                  <a:extLst>
                    <a:ext uri="{FF2B5EF4-FFF2-40B4-BE49-F238E27FC236}">
                      <a16:creationId xmlns:a16="http://schemas.microsoft.com/office/drawing/2014/main" id="{E69D6051-F731-96DB-E746-BF2C22C0E83B}"/>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62" name="Group 2961">
                <a:extLst>
                  <a:ext uri="{FF2B5EF4-FFF2-40B4-BE49-F238E27FC236}">
                    <a16:creationId xmlns:a16="http://schemas.microsoft.com/office/drawing/2014/main" id="{866A817B-09CB-C4E1-67FC-23E7F43BF7A9}"/>
                  </a:ext>
                </a:extLst>
              </p:cNvPr>
              <p:cNvGrpSpPr/>
              <p:nvPr/>
            </p:nvGrpSpPr>
            <p:grpSpPr>
              <a:xfrm>
                <a:off x="971354" y="4619731"/>
                <a:ext cx="68967" cy="162922"/>
                <a:chOff x="4475654" y="2372796"/>
                <a:chExt cx="176985" cy="418095"/>
              </a:xfrm>
              <a:grpFill/>
            </p:grpSpPr>
            <p:sp>
              <p:nvSpPr>
                <p:cNvPr id="3044" name="Freeform: Shape 3043">
                  <a:extLst>
                    <a:ext uri="{FF2B5EF4-FFF2-40B4-BE49-F238E27FC236}">
                      <a16:creationId xmlns:a16="http://schemas.microsoft.com/office/drawing/2014/main" id="{E2CF51B8-5C00-CA36-1819-252ED492E5C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5" name="Freeform: Shape 3044">
                  <a:extLst>
                    <a:ext uri="{FF2B5EF4-FFF2-40B4-BE49-F238E27FC236}">
                      <a16:creationId xmlns:a16="http://schemas.microsoft.com/office/drawing/2014/main" id="{F40E4792-F520-6811-D309-B83D1B6E456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63" name="Group 2962">
                <a:extLst>
                  <a:ext uri="{FF2B5EF4-FFF2-40B4-BE49-F238E27FC236}">
                    <a16:creationId xmlns:a16="http://schemas.microsoft.com/office/drawing/2014/main" id="{CBC7A8E5-7900-BBDE-2C17-A0FEE3D61B0B}"/>
                  </a:ext>
                </a:extLst>
              </p:cNvPr>
              <p:cNvGrpSpPr/>
              <p:nvPr/>
            </p:nvGrpSpPr>
            <p:grpSpPr>
              <a:xfrm>
                <a:off x="1188028" y="4619731"/>
                <a:ext cx="68967" cy="162922"/>
                <a:chOff x="4475654" y="2372796"/>
                <a:chExt cx="176985" cy="418095"/>
              </a:xfrm>
              <a:grpFill/>
            </p:grpSpPr>
            <p:sp>
              <p:nvSpPr>
                <p:cNvPr id="3042" name="Freeform: Shape 3041">
                  <a:extLst>
                    <a:ext uri="{FF2B5EF4-FFF2-40B4-BE49-F238E27FC236}">
                      <a16:creationId xmlns:a16="http://schemas.microsoft.com/office/drawing/2014/main" id="{169AF365-BCC0-06CC-0D85-3B38EDF4272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3" name="Freeform: Shape 3042">
                  <a:extLst>
                    <a:ext uri="{FF2B5EF4-FFF2-40B4-BE49-F238E27FC236}">
                      <a16:creationId xmlns:a16="http://schemas.microsoft.com/office/drawing/2014/main" id="{446061BE-BEAB-91F2-6E9D-A661DC80E7F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64" name="Group 2963">
                <a:extLst>
                  <a:ext uri="{FF2B5EF4-FFF2-40B4-BE49-F238E27FC236}">
                    <a16:creationId xmlns:a16="http://schemas.microsoft.com/office/drawing/2014/main" id="{6F4D0A9C-53FE-1B6D-F294-B1C93943B8FA}"/>
                  </a:ext>
                </a:extLst>
              </p:cNvPr>
              <p:cNvGrpSpPr/>
              <p:nvPr/>
            </p:nvGrpSpPr>
            <p:grpSpPr>
              <a:xfrm>
                <a:off x="1079691" y="4619731"/>
                <a:ext cx="68967" cy="162922"/>
                <a:chOff x="4475654" y="2372796"/>
                <a:chExt cx="176985" cy="418095"/>
              </a:xfrm>
              <a:grpFill/>
            </p:grpSpPr>
            <p:sp>
              <p:nvSpPr>
                <p:cNvPr id="3040" name="Freeform: Shape 3039">
                  <a:extLst>
                    <a:ext uri="{FF2B5EF4-FFF2-40B4-BE49-F238E27FC236}">
                      <a16:creationId xmlns:a16="http://schemas.microsoft.com/office/drawing/2014/main" id="{C126DC7B-7494-1514-B1DC-1D7A7A27D8B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41" name="Freeform: Shape 3040">
                  <a:extLst>
                    <a:ext uri="{FF2B5EF4-FFF2-40B4-BE49-F238E27FC236}">
                      <a16:creationId xmlns:a16="http://schemas.microsoft.com/office/drawing/2014/main" id="{B31F3519-0C79-903E-3978-6936D2447A2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65" name="Group 2964">
                <a:extLst>
                  <a:ext uri="{FF2B5EF4-FFF2-40B4-BE49-F238E27FC236}">
                    <a16:creationId xmlns:a16="http://schemas.microsoft.com/office/drawing/2014/main" id="{805EB6CB-8B7A-1FC0-C0AA-89A16ACEEDDD}"/>
                  </a:ext>
                </a:extLst>
              </p:cNvPr>
              <p:cNvGrpSpPr/>
              <p:nvPr/>
            </p:nvGrpSpPr>
            <p:grpSpPr>
              <a:xfrm>
                <a:off x="1296365" y="4619731"/>
                <a:ext cx="68967" cy="162922"/>
                <a:chOff x="4475654" y="2372796"/>
                <a:chExt cx="176985" cy="418095"/>
              </a:xfrm>
              <a:grpFill/>
            </p:grpSpPr>
            <p:sp>
              <p:nvSpPr>
                <p:cNvPr id="3038" name="Freeform: Shape 3037">
                  <a:extLst>
                    <a:ext uri="{FF2B5EF4-FFF2-40B4-BE49-F238E27FC236}">
                      <a16:creationId xmlns:a16="http://schemas.microsoft.com/office/drawing/2014/main" id="{9E80803D-2793-2A8A-0F3E-C2C1843BB76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9" name="Freeform: Shape 3038">
                  <a:extLst>
                    <a:ext uri="{FF2B5EF4-FFF2-40B4-BE49-F238E27FC236}">
                      <a16:creationId xmlns:a16="http://schemas.microsoft.com/office/drawing/2014/main" id="{7E87173D-5DA5-657D-6A5B-F2AC766146C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66" name="Group 2965">
                <a:extLst>
                  <a:ext uri="{FF2B5EF4-FFF2-40B4-BE49-F238E27FC236}">
                    <a16:creationId xmlns:a16="http://schemas.microsoft.com/office/drawing/2014/main" id="{BF5C157E-9FBE-8343-8650-9F41BD5629CB}"/>
                  </a:ext>
                </a:extLst>
              </p:cNvPr>
              <p:cNvGrpSpPr/>
              <p:nvPr/>
            </p:nvGrpSpPr>
            <p:grpSpPr>
              <a:xfrm>
                <a:off x="1404702" y="4619731"/>
                <a:ext cx="68967" cy="162922"/>
                <a:chOff x="4475654" y="2372796"/>
                <a:chExt cx="176985" cy="418095"/>
              </a:xfrm>
              <a:grpFill/>
            </p:grpSpPr>
            <p:sp>
              <p:nvSpPr>
                <p:cNvPr id="3036" name="Freeform: Shape 3035">
                  <a:extLst>
                    <a:ext uri="{FF2B5EF4-FFF2-40B4-BE49-F238E27FC236}">
                      <a16:creationId xmlns:a16="http://schemas.microsoft.com/office/drawing/2014/main" id="{138081B9-F75B-FB99-0341-E8BF7FC51BF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7" name="Freeform: Shape 3036">
                  <a:extLst>
                    <a:ext uri="{FF2B5EF4-FFF2-40B4-BE49-F238E27FC236}">
                      <a16:creationId xmlns:a16="http://schemas.microsoft.com/office/drawing/2014/main" id="{1A07393F-715E-D714-69DA-DF38875CB01A}"/>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67" name="Group 2966">
                <a:extLst>
                  <a:ext uri="{FF2B5EF4-FFF2-40B4-BE49-F238E27FC236}">
                    <a16:creationId xmlns:a16="http://schemas.microsoft.com/office/drawing/2014/main" id="{241C9BDA-A7D9-1925-3581-793D2486B0B6}"/>
                  </a:ext>
                </a:extLst>
              </p:cNvPr>
              <p:cNvGrpSpPr/>
              <p:nvPr/>
            </p:nvGrpSpPr>
            <p:grpSpPr>
              <a:xfrm>
                <a:off x="1513039" y="4619731"/>
                <a:ext cx="68967" cy="162922"/>
                <a:chOff x="4475654" y="2372796"/>
                <a:chExt cx="176985" cy="418095"/>
              </a:xfrm>
              <a:grpFill/>
            </p:grpSpPr>
            <p:sp>
              <p:nvSpPr>
                <p:cNvPr id="3034" name="Freeform: Shape 3033">
                  <a:extLst>
                    <a:ext uri="{FF2B5EF4-FFF2-40B4-BE49-F238E27FC236}">
                      <a16:creationId xmlns:a16="http://schemas.microsoft.com/office/drawing/2014/main" id="{E6A69F88-F4DC-64D1-BA45-3F5D29ACA27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5" name="Freeform: Shape 3034">
                  <a:extLst>
                    <a:ext uri="{FF2B5EF4-FFF2-40B4-BE49-F238E27FC236}">
                      <a16:creationId xmlns:a16="http://schemas.microsoft.com/office/drawing/2014/main" id="{CED61AC1-85F0-0277-F51C-BFE0C353A1E1}"/>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68" name="Group 2967">
                <a:extLst>
                  <a:ext uri="{FF2B5EF4-FFF2-40B4-BE49-F238E27FC236}">
                    <a16:creationId xmlns:a16="http://schemas.microsoft.com/office/drawing/2014/main" id="{83FCA621-3239-2DC3-8CB8-BAE4CFBAE1A5}"/>
                  </a:ext>
                </a:extLst>
              </p:cNvPr>
              <p:cNvGrpSpPr/>
              <p:nvPr/>
            </p:nvGrpSpPr>
            <p:grpSpPr>
              <a:xfrm>
                <a:off x="1621376" y="4619731"/>
                <a:ext cx="68967" cy="162922"/>
                <a:chOff x="4475654" y="2372796"/>
                <a:chExt cx="176985" cy="418095"/>
              </a:xfrm>
              <a:grpFill/>
            </p:grpSpPr>
            <p:sp>
              <p:nvSpPr>
                <p:cNvPr id="3032" name="Freeform: Shape 3031">
                  <a:extLst>
                    <a:ext uri="{FF2B5EF4-FFF2-40B4-BE49-F238E27FC236}">
                      <a16:creationId xmlns:a16="http://schemas.microsoft.com/office/drawing/2014/main" id="{9ADF243E-2FAC-C614-15C3-E0B71240664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3" name="Freeform: Shape 3032">
                  <a:extLst>
                    <a:ext uri="{FF2B5EF4-FFF2-40B4-BE49-F238E27FC236}">
                      <a16:creationId xmlns:a16="http://schemas.microsoft.com/office/drawing/2014/main" id="{FE7FDD03-8A9C-490E-71C6-9EF77A9344D5}"/>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69" name="Group 2968">
                <a:extLst>
                  <a:ext uri="{FF2B5EF4-FFF2-40B4-BE49-F238E27FC236}">
                    <a16:creationId xmlns:a16="http://schemas.microsoft.com/office/drawing/2014/main" id="{CE0F7478-3C6C-89C1-B7BB-CEF4261BC6E0}"/>
                  </a:ext>
                </a:extLst>
              </p:cNvPr>
              <p:cNvGrpSpPr/>
              <p:nvPr/>
            </p:nvGrpSpPr>
            <p:grpSpPr>
              <a:xfrm>
                <a:off x="1729713" y="4619731"/>
                <a:ext cx="68967" cy="162922"/>
                <a:chOff x="4475654" y="2372796"/>
                <a:chExt cx="176985" cy="418095"/>
              </a:xfrm>
              <a:grpFill/>
            </p:grpSpPr>
            <p:sp>
              <p:nvSpPr>
                <p:cNvPr id="3030" name="Freeform: Shape 3029">
                  <a:extLst>
                    <a:ext uri="{FF2B5EF4-FFF2-40B4-BE49-F238E27FC236}">
                      <a16:creationId xmlns:a16="http://schemas.microsoft.com/office/drawing/2014/main" id="{1937CFD3-18E7-54A7-49D8-22F6C2A9376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31" name="Freeform: Shape 3030">
                  <a:extLst>
                    <a:ext uri="{FF2B5EF4-FFF2-40B4-BE49-F238E27FC236}">
                      <a16:creationId xmlns:a16="http://schemas.microsoft.com/office/drawing/2014/main" id="{88001B1B-ED94-63AA-F17B-C08DC675926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70" name="Group 2969">
                <a:extLst>
                  <a:ext uri="{FF2B5EF4-FFF2-40B4-BE49-F238E27FC236}">
                    <a16:creationId xmlns:a16="http://schemas.microsoft.com/office/drawing/2014/main" id="{8882ADCB-020A-7B2A-B159-E732FB2B4F7A}"/>
                  </a:ext>
                </a:extLst>
              </p:cNvPr>
              <p:cNvGrpSpPr/>
              <p:nvPr/>
            </p:nvGrpSpPr>
            <p:grpSpPr>
              <a:xfrm>
                <a:off x="1838050" y="4619731"/>
                <a:ext cx="68967" cy="162922"/>
                <a:chOff x="4475654" y="2372796"/>
                <a:chExt cx="176985" cy="418095"/>
              </a:xfrm>
              <a:grpFill/>
            </p:grpSpPr>
            <p:sp>
              <p:nvSpPr>
                <p:cNvPr id="3028" name="Freeform: Shape 3027">
                  <a:extLst>
                    <a:ext uri="{FF2B5EF4-FFF2-40B4-BE49-F238E27FC236}">
                      <a16:creationId xmlns:a16="http://schemas.microsoft.com/office/drawing/2014/main" id="{8BD03A30-E5BE-18A1-AFFC-F644BB9B054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9" name="Freeform: Shape 3028">
                  <a:extLst>
                    <a:ext uri="{FF2B5EF4-FFF2-40B4-BE49-F238E27FC236}">
                      <a16:creationId xmlns:a16="http://schemas.microsoft.com/office/drawing/2014/main" id="{2381C0E0-AA0E-A015-04D6-8D3429C7DEEB}"/>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71" name="Group 2970">
                <a:extLst>
                  <a:ext uri="{FF2B5EF4-FFF2-40B4-BE49-F238E27FC236}">
                    <a16:creationId xmlns:a16="http://schemas.microsoft.com/office/drawing/2014/main" id="{0D99B291-3589-CA58-D4A7-30CFE18872D8}"/>
                  </a:ext>
                </a:extLst>
              </p:cNvPr>
              <p:cNvGrpSpPr/>
              <p:nvPr/>
            </p:nvGrpSpPr>
            <p:grpSpPr>
              <a:xfrm>
                <a:off x="1946387" y="4619731"/>
                <a:ext cx="68967" cy="162922"/>
                <a:chOff x="4475654" y="2372796"/>
                <a:chExt cx="176985" cy="418095"/>
              </a:xfrm>
              <a:grpFill/>
            </p:grpSpPr>
            <p:sp>
              <p:nvSpPr>
                <p:cNvPr id="3026" name="Freeform: Shape 3025">
                  <a:extLst>
                    <a:ext uri="{FF2B5EF4-FFF2-40B4-BE49-F238E27FC236}">
                      <a16:creationId xmlns:a16="http://schemas.microsoft.com/office/drawing/2014/main" id="{C5326BD9-0A3F-E294-E258-A5AE62CB0251}"/>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7" name="Freeform: Shape 3026">
                  <a:extLst>
                    <a:ext uri="{FF2B5EF4-FFF2-40B4-BE49-F238E27FC236}">
                      <a16:creationId xmlns:a16="http://schemas.microsoft.com/office/drawing/2014/main" id="{420E1EB8-630A-1FC8-5D48-5BD4AFB4055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72" name="Group 2971">
                <a:extLst>
                  <a:ext uri="{FF2B5EF4-FFF2-40B4-BE49-F238E27FC236}">
                    <a16:creationId xmlns:a16="http://schemas.microsoft.com/office/drawing/2014/main" id="{874BE6A2-D560-7A53-A1DC-23B36533EEE9}"/>
                  </a:ext>
                </a:extLst>
              </p:cNvPr>
              <p:cNvGrpSpPr/>
              <p:nvPr/>
            </p:nvGrpSpPr>
            <p:grpSpPr>
              <a:xfrm>
                <a:off x="2054724" y="4619731"/>
                <a:ext cx="68967" cy="162922"/>
                <a:chOff x="4475654" y="2372796"/>
                <a:chExt cx="176985" cy="418095"/>
              </a:xfrm>
              <a:grpFill/>
            </p:grpSpPr>
            <p:sp>
              <p:nvSpPr>
                <p:cNvPr id="3024" name="Freeform: Shape 3023">
                  <a:extLst>
                    <a:ext uri="{FF2B5EF4-FFF2-40B4-BE49-F238E27FC236}">
                      <a16:creationId xmlns:a16="http://schemas.microsoft.com/office/drawing/2014/main" id="{E7E8BF39-BA85-8AD0-7EE3-EDF345B15C9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5" name="Freeform: Shape 3024">
                  <a:extLst>
                    <a:ext uri="{FF2B5EF4-FFF2-40B4-BE49-F238E27FC236}">
                      <a16:creationId xmlns:a16="http://schemas.microsoft.com/office/drawing/2014/main" id="{47DE1A90-EA43-2C5A-B820-9BD51934C5A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73" name="Group 2972">
                <a:extLst>
                  <a:ext uri="{FF2B5EF4-FFF2-40B4-BE49-F238E27FC236}">
                    <a16:creationId xmlns:a16="http://schemas.microsoft.com/office/drawing/2014/main" id="{3DF0B016-95A1-F410-03EB-2C1E2221BE88}"/>
                  </a:ext>
                </a:extLst>
              </p:cNvPr>
              <p:cNvGrpSpPr/>
              <p:nvPr/>
            </p:nvGrpSpPr>
            <p:grpSpPr>
              <a:xfrm>
                <a:off x="2163061" y="4619731"/>
                <a:ext cx="68967" cy="162922"/>
                <a:chOff x="4475654" y="2372796"/>
                <a:chExt cx="176985" cy="418095"/>
              </a:xfrm>
              <a:grpFill/>
            </p:grpSpPr>
            <p:sp>
              <p:nvSpPr>
                <p:cNvPr id="3022" name="Freeform: Shape 3021">
                  <a:extLst>
                    <a:ext uri="{FF2B5EF4-FFF2-40B4-BE49-F238E27FC236}">
                      <a16:creationId xmlns:a16="http://schemas.microsoft.com/office/drawing/2014/main" id="{E97E33DF-1ED9-532F-4775-F8F3BFCBD85F}"/>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3" name="Freeform: Shape 3022">
                  <a:extLst>
                    <a:ext uri="{FF2B5EF4-FFF2-40B4-BE49-F238E27FC236}">
                      <a16:creationId xmlns:a16="http://schemas.microsoft.com/office/drawing/2014/main" id="{CB46CA4E-C7E3-6F5A-E487-BDD0F355E77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74" name="Group 2973">
                <a:extLst>
                  <a:ext uri="{FF2B5EF4-FFF2-40B4-BE49-F238E27FC236}">
                    <a16:creationId xmlns:a16="http://schemas.microsoft.com/office/drawing/2014/main" id="{0D72C3B4-29E7-C325-BA39-3DD8C86D5D65}"/>
                  </a:ext>
                </a:extLst>
              </p:cNvPr>
              <p:cNvGrpSpPr/>
              <p:nvPr/>
            </p:nvGrpSpPr>
            <p:grpSpPr>
              <a:xfrm>
                <a:off x="2271398" y="4619731"/>
                <a:ext cx="68967" cy="162922"/>
                <a:chOff x="4475654" y="2372796"/>
                <a:chExt cx="176985" cy="418095"/>
              </a:xfrm>
              <a:grpFill/>
            </p:grpSpPr>
            <p:sp>
              <p:nvSpPr>
                <p:cNvPr id="3020" name="Freeform: Shape 3019">
                  <a:extLst>
                    <a:ext uri="{FF2B5EF4-FFF2-40B4-BE49-F238E27FC236}">
                      <a16:creationId xmlns:a16="http://schemas.microsoft.com/office/drawing/2014/main" id="{CBA9670F-BF1B-076A-4DC6-D1BB132FBE1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21" name="Freeform: Shape 3020">
                  <a:extLst>
                    <a:ext uri="{FF2B5EF4-FFF2-40B4-BE49-F238E27FC236}">
                      <a16:creationId xmlns:a16="http://schemas.microsoft.com/office/drawing/2014/main" id="{A83B74EE-67E5-07A0-076B-BD892919E86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75" name="Group 2974">
                <a:extLst>
                  <a:ext uri="{FF2B5EF4-FFF2-40B4-BE49-F238E27FC236}">
                    <a16:creationId xmlns:a16="http://schemas.microsoft.com/office/drawing/2014/main" id="{0346AACA-74EF-3ACB-738C-D775AC5B8F3E}"/>
                  </a:ext>
                </a:extLst>
              </p:cNvPr>
              <p:cNvGrpSpPr/>
              <p:nvPr/>
            </p:nvGrpSpPr>
            <p:grpSpPr>
              <a:xfrm>
                <a:off x="2379735" y="4619731"/>
                <a:ext cx="68967" cy="162922"/>
                <a:chOff x="4475654" y="2372796"/>
                <a:chExt cx="176985" cy="418095"/>
              </a:xfrm>
              <a:grpFill/>
            </p:grpSpPr>
            <p:sp>
              <p:nvSpPr>
                <p:cNvPr id="3018" name="Freeform: Shape 3017">
                  <a:extLst>
                    <a:ext uri="{FF2B5EF4-FFF2-40B4-BE49-F238E27FC236}">
                      <a16:creationId xmlns:a16="http://schemas.microsoft.com/office/drawing/2014/main" id="{33664B63-4D8A-6121-6067-7FF56F68F938}"/>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9" name="Freeform: Shape 3018">
                  <a:extLst>
                    <a:ext uri="{FF2B5EF4-FFF2-40B4-BE49-F238E27FC236}">
                      <a16:creationId xmlns:a16="http://schemas.microsoft.com/office/drawing/2014/main" id="{3DF7CF78-1090-FF66-E180-DE6E3A7FA7E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76" name="Group 2975">
                <a:extLst>
                  <a:ext uri="{FF2B5EF4-FFF2-40B4-BE49-F238E27FC236}">
                    <a16:creationId xmlns:a16="http://schemas.microsoft.com/office/drawing/2014/main" id="{C3CF22DC-64F6-0E90-EB7E-D06F5D41EA71}"/>
                  </a:ext>
                </a:extLst>
              </p:cNvPr>
              <p:cNvGrpSpPr/>
              <p:nvPr/>
            </p:nvGrpSpPr>
            <p:grpSpPr>
              <a:xfrm>
                <a:off x="2488072" y="4619731"/>
                <a:ext cx="68967" cy="162922"/>
                <a:chOff x="4475654" y="2372796"/>
                <a:chExt cx="176985" cy="418095"/>
              </a:xfrm>
              <a:grpFill/>
            </p:grpSpPr>
            <p:sp>
              <p:nvSpPr>
                <p:cNvPr id="3016" name="Freeform: Shape 3015">
                  <a:extLst>
                    <a:ext uri="{FF2B5EF4-FFF2-40B4-BE49-F238E27FC236}">
                      <a16:creationId xmlns:a16="http://schemas.microsoft.com/office/drawing/2014/main" id="{0B32FA5C-A034-B6E6-6AE8-487B14E0B58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7" name="Freeform: Shape 3016">
                  <a:extLst>
                    <a:ext uri="{FF2B5EF4-FFF2-40B4-BE49-F238E27FC236}">
                      <a16:creationId xmlns:a16="http://schemas.microsoft.com/office/drawing/2014/main" id="{68719217-2F65-C2D9-0D20-A3F08B5260B3}"/>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77" name="Group 2976">
                <a:extLst>
                  <a:ext uri="{FF2B5EF4-FFF2-40B4-BE49-F238E27FC236}">
                    <a16:creationId xmlns:a16="http://schemas.microsoft.com/office/drawing/2014/main" id="{EB8290B1-3DFF-E03E-48B9-B39096B2CFC1}"/>
                  </a:ext>
                </a:extLst>
              </p:cNvPr>
              <p:cNvGrpSpPr/>
              <p:nvPr/>
            </p:nvGrpSpPr>
            <p:grpSpPr>
              <a:xfrm>
                <a:off x="2596409" y="4619731"/>
                <a:ext cx="68967" cy="162922"/>
                <a:chOff x="4475654" y="2372796"/>
                <a:chExt cx="176985" cy="418095"/>
              </a:xfrm>
              <a:grpFill/>
            </p:grpSpPr>
            <p:sp>
              <p:nvSpPr>
                <p:cNvPr id="3014" name="Freeform: Shape 3013">
                  <a:extLst>
                    <a:ext uri="{FF2B5EF4-FFF2-40B4-BE49-F238E27FC236}">
                      <a16:creationId xmlns:a16="http://schemas.microsoft.com/office/drawing/2014/main" id="{0552A0C9-C6F0-1A8C-75AC-BDE9BF752D70}"/>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5" name="Freeform: Shape 3014">
                  <a:extLst>
                    <a:ext uri="{FF2B5EF4-FFF2-40B4-BE49-F238E27FC236}">
                      <a16:creationId xmlns:a16="http://schemas.microsoft.com/office/drawing/2014/main" id="{BB86EF9E-8003-EECA-51B5-B428B428F0E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78" name="Group 2977">
                <a:extLst>
                  <a:ext uri="{FF2B5EF4-FFF2-40B4-BE49-F238E27FC236}">
                    <a16:creationId xmlns:a16="http://schemas.microsoft.com/office/drawing/2014/main" id="{CDBCCD9A-AF2C-37B7-4D93-E4914872D9B9}"/>
                  </a:ext>
                </a:extLst>
              </p:cNvPr>
              <p:cNvGrpSpPr/>
              <p:nvPr/>
            </p:nvGrpSpPr>
            <p:grpSpPr>
              <a:xfrm>
                <a:off x="2813083" y="4619731"/>
                <a:ext cx="68967" cy="162922"/>
                <a:chOff x="4475654" y="2372796"/>
                <a:chExt cx="176985" cy="418095"/>
              </a:xfrm>
              <a:grpFill/>
            </p:grpSpPr>
            <p:sp>
              <p:nvSpPr>
                <p:cNvPr id="3012" name="Freeform: Shape 3011">
                  <a:extLst>
                    <a:ext uri="{FF2B5EF4-FFF2-40B4-BE49-F238E27FC236}">
                      <a16:creationId xmlns:a16="http://schemas.microsoft.com/office/drawing/2014/main" id="{9F12620D-2848-87FD-015F-7516A1554FDD}"/>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3" name="Freeform: Shape 3012">
                  <a:extLst>
                    <a:ext uri="{FF2B5EF4-FFF2-40B4-BE49-F238E27FC236}">
                      <a16:creationId xmlns:a16="http://schemas.microsoft.com/office/drawing/2014/main" id="{513BAE8C-7AA8-F5D3-CFAC-F574779B390C}"/>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79" name="Group 2978">
                <a:extLst>
                  <a:ext uri="{FF2B5EF4-FFF2-40B4-BE49-F238E27FC236}">
                    <a16:creationId xmlns:a16="http://schemas.microsoft.com/office/drawing/2014/main" id="{A1327C26-1BB9-A2D0-38D2-DBBF666128EF}"/>
                  </a:ext>
                </a:extLst>
              </p:cNvPr>
              <p:cNvGrpSpPr/>
              <p:nvPr/>
            </p:nvGrpSpPr>
            <p:grpSpPr>
              <a:xfrm>
                <a:off x="2704746" y="4619731"/>
                <a:ext cx="68967" cy="162922"/>
                <a:chOff x="4475654" y="2372796"/>
                <a:chExt cx="176985" cy="418095"/>
              </a:xfrm>
              <a:grpFill/>
            </p:grpSpPr>
            <p:sp>
              <p:nvSpPr>
                <p:cNvPr id="3010" name="Freeform: Shape 3009">
                  <a:extLst>
                    <a:ext uri="{FF2B5EF4-FFF2-40B4-BE49-F238E27FC236}">
                      <a16:creationId xmlns:a16="http://schemas.microsoft.com/office/drawing/2014/main" id="{10DAFB0D-4639-E519-4E0F-028583964F6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11" name="Freeform: Shape 3010">
                  <a:extLst>
                    <a:ext uri="{FF2B5EF4-FFF2-40B4-BE49-F238E27FC236}">
                      <a16:creationId xmlns:a16="http://schemas.microsoft.com/office/drawing/2014/main" id="{E33CB8C3-6A45-7EDC-E08C-118858429397}"/>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80" name="Group 2979">
                <a:extLst>
                  <a:ext uri="{FF2B5EF4-FFF2-40B4-BE49-F238E27FC236}">
                    <a16:creationId xmlns:a16="http://schemas.microsoft.com/office/drawing/2014/main" id="{04C83AA4-A57A-CE81-48B4-D301D4A4D0A7}"/>
                  </a:ext>
                </a:extLst>
              </p:cNvPr>
              <p:cNvGrpSpPr/>
              <p:nvPr/>
            </p:nvGrpSpPr>
            <p:grpSpPr>
              <a:xfrm>
                <a:off x="2921420" y="4619731"/>
                <a:ext cx="68967" cy="162922"/>
                <a:chOff x="4475654" y="2372796"/>
                <a:chExt cx="176985" cy="418095"/>
              </a:xfrm>
              <a:grpFill/>
            </p:grpSpPr>
            <p:sp>
              <p:nvSpPr>
                <p:cNvPr id="3008" name="Freeform: Shape 3007">
                  <a:extLst>
                    <a:ext uri="{FF2B5EF4-FFF2-40B4-BE49-F238E27FC236}">
                      <a16:creationId xmlns:a16="http://schemas.microsoft.com/office/drawing/2014/main" id="{98904C59-B6B0-84B1-3AD1-CCEEA3FB3401}"/>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9" name="Freeform: Shape 3008">
                  <a:extLst>
                    <a:ext uri="{FF2B5EF4-FFF2-40B4-BE49-F238E27FC236}">
                      <a16:creationId xmlns:a16="http://schemas.microsoft.com/office/drawing/2014/main" id="{0B0D071C-A42B-53CB-685A-DFE2F9AE859D}"/>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81" name="Group 2980">
                <a:extLst>
                  <a:ext uri="{FF2B5EF4-FFF2-40B4-BE49-F238E27FC236}">
                    <a16:creationId xmlns:a16="http://schemas.microsoft.com/office/drawing/2014/main" id="{1678100A-022A-701C-619A-3C8E6DDC78A4}"/>
                  </a:ext>
                </a:extLst>
              </p:cNvPr>
              <p:cNvGrpSpPr/>
              <p:nvPr/>
            </p:nvGrpSpPr>
            <p:grpSpPr>
              <a:xfrm>
                <a:off x="3029757" y="4619731"/>
                <a:ext cx="68967" cy="162922"/>
                <a:chOff x="4475654" y="2372796"/>
                <a:chExt cx="176985" cy="418095"/>
              </a:xfrm>
              <a:grpFill/>
            </p:grpSpPr>
            <p:sp>
              <p:nvSpPr>
                <p:cNvPr id="3006" name="Freeform: Shape 3005">
                  <a:extLst>
                    <a:ext uri="{FF2B5EF4-FFF2-40B4-BE49-F238E27FC236}">
                      <a16:creationId xmlns:a16="http://schemas.microsoft.com/office/drawing/2014/main" id="{D9835600-16B2-4E8E-9361-B0287F7701DE}"/>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7" name="Freeform: Shape 3006">
                  <a:extLst>
                    <a:ext uri="{FF2B5EF4-FFF2-40B4-BE49-F238E27FC236}">
                      <a16:creationId xmlns:a16="http://schemas.microsoft.com/office/drawing/2014/main" id="{E9067EE7-E7CB-FFF5-22CD-10B330A52D6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82" name="Group 2981">
                <a:extLst>
                  <a:ext uri="{FF2B5EF4-FFF2-40B4-BE49-F238E27FC236}">
                    <a16:creationId xmlns:a16="http://schemas.microsoft.com/office/drawing/2014/main" id="{7755D5C8-D136-D18C-66BA-31D0252E5F43}"/>
                  </a:ext>
                </a:extLst>
              </p:cNvPr>
              <p:cNvGrpSpPr/>
              <p:nvPr/>
            </p:nvGrpSpPr>
            <p:grpSpPr>
              <a:xfrm>
                <a:off x="3138094" y="4619731"/>
                <a:ext cx="68967" cy="162922"/>
                <a:chOff x="4475654" y="2372796"/>
                <a:chExt cx="176985" cy="418095"/>
              </a:xfrm>
              <a:grpFill/>
            </p:grpSpPr>
            <p:sp>
              <p:nvSpPr>
                <p:cNvPr id="3004" name="Freeform: Shape 3003">
                  <a:extLst>
                    <a:ext uri="{FF2B5EF4-FFF2-40B4-BE49-F238E27FC236}">
                      <a16:creationId xmlns:a16="http://schemas.microsoft.com/office/drawing/2014/main" id="{38416591-78FE-758A-B743-DC932F134D9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5" name="Freeform: Shape 3004">
                  <a:extLst>
                    <a:ext uri="{FF2B5EF4-FFF2-40B4-BE49-F238E27FC236}">
                      <a16:creationId xmlns:a16="http://schemas.microsoft.com/office/drawing/2014/main" id="{E24BC3BE-E577-AF07-11F6-C9A4C15C936C}"/>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83" name="Group 2982">
                <a:extLst>
                  <a:ext uri="{FF2B5EF4-FFF2-40B4-BE49-F238E27FC236}">
                    <a16:creationId xmlns:a16="http://schemas.microsoft.com/office/drawing/2014/main" id="{F8359683-2AAF-1393-5242-FAB3B6030D65}"/>
                  </a:ext>
                </a:extLst>
              </p:cNvPr>
              <p:cNvGrpSpPr/>
              <p:nvPr/>
            </p:nvGrpSpPr>
            <p:grpSpPr>
              <a:xfrm>
                <a:off x="3246431" y="4619731"/>
                <a:ext cx="68967" cy="162922"/>
                <a:chOff x="4475654" y="2372796"/>
                <a:chExt cx="176985" cy="418095"/>
              </a:xfrm>
              <a:grpFill/>
            </p:grpSpPr>
            <p:sp>
              <p:nvSpPr>
                <p:cNvPr id="3002" name="Freeform: Shape 3001">
                  <a:extLst>
                    <a:ext uri="{FF2B5EF4-FFF2-40B4-BE49-F238E27FC236}">
                      <a16:creationId xmlns:a16="http://schemas.microsoft.com/office/drawing/2014/main" id="{130DD729-DA11-2094-59AD-4E61361B0927}"/>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3" name="Freeform: Shape 3002">
                  <a:extLst>
                    <a:ext uri="{FF2B5EF4-FFF2-40B4-BE49-F238E27FC236}">
                      <a16:creationId xmlns:a16="http://schemas.microsoft.com/office/drawing/2014/main" id="{27CAFC02-0C9C-1479-1941-CF979533F1A0}"/>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84" name="Group 2983">
                <a:extLst>
                  <a:ext uri="{FF2B5EF4-FFF2-40B4-BE49-F238E27FC236}">
                    <a16:creationId xmlns:a16="http://schemas.microsoft.com/office/drawing/2014/main" id="{3DCBA810-543A-2DEC-763F-52F823B3BA20}"/>
                  </a:ext>
                </a:extLst>
              </p:cNvPr>
              <p:cNvGrpSpPr/>
              <p:nvPr/>
            </p:nvGrpSpPr>
            <p:grpSpPr>
              <a:xfrm>
                <a:off x="3354768" y="4619731"/>
                <a:ext cx="68967" cy="162922"/>
                <a:chOff x="4475654" y="2372796"/>
                <a:chExt cx="176985" cy="418095"/>
              </a:xfrm>
              <a:grpFill/>
            </p:grpSpPr>
            <p:sp>
              <p:nvSpPr>
                <p:cNvPr id="3000" name="Freeform: Shape 2999">
                  <a:extLst>
                    <a:ext uri="{FF2B5EF4-FFF2-40B4-BE49-F238E27FC236}">
                      <a16:creationId xmlns:a16="http://schemas.microsoft.com/office/drawing/2014/main" id="{96C5E676-2EAD-19BA-7D99-CE45FBB31DC6}"/>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01" name="Freeform: Shape 3000">
                  <a:extLst>
                    <a:ext uri="{FF2B5EF4-FFF2-40B4-BE49-F238E27FC236}">
                      <a16:creationId xmlns:a16="http://schemas.microsoft.com/office/drawing/2014/main" id="{81CDDE41-52BD-8377-3F5D-E67D3A847C1E}"/>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85" name="Group 2984">
                <a:extLst>
                  <a:ext uri="{FF2B5EF4-FFF2-40B4-BE49-F238E27FC236}">
                    <a16:creationId xmlns:a16="http://schemas.microsoft.com/office/drawing/2014/main" id="{BFF25D96-E597-69C2-C66C-C9E75EF51ACA}"/>
                  </a:ext>
                </a:extLst>
              </p:cNvPr>
              <p:cNvGrpSpPr/>
              <p:nvPr/>
            </p:nvGrpSpPr>
            <p:grpSpPr>
              <a:xfrm>
                <a:off x="3463105" y="4619731"/>
                <a:ext cx="68967" cy="162922"/>
                <a:chOff x="4475654" y="2372796"/>
                <a:chExt cx="176985" cy="418095"/>
              </a:xfrm>
              <a:grpFill/>
            </p:grpSpPr>
            <p:sp>
              <p:nvSpPr>
                <p:cNvPr id="2998" name="Freeform: Shape 2997">
                  <a:extLst>
                    <a:ext uri="{FF2B5EF4-FFF2-40B4-BE49-F238E27FC236}">
                      <a16:creationId xmlns:a16="http://schemas.microsoft.com/office/drawing/2014/main" id="{BF60D4A7-576E-ABEE-D092-8CD12542ADBC}"/>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9" name="Freeform: Shape 2998">
                  <a:extLst>
                    <a:ext uri="{FF2B5EF4-FFF2-40B4-BE49-F238E27FC236}">
                      <a16:creationId xmlns:a16="http://schemas.microsoft.com/office/drawing/2014/main" id="{955E445C-50DA-3180-4C46-4B06C2A7BB88}"/>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86" name="Group 2985">
                <a:extLst>
                  <a:ext uri="{FF2B5EF4-FFF2-40B4-BE49-F238E27FC236}">
                    <a16:creationId xmlns:a16="http://schemas.microsoft.com/office/drawing/2014/main" id="{24D3FA9D-4469-963D-23C7-F0774E85F028}"/>
                  </a:ext>
                </a:extLst>
              </p:cNvPr>
              <p:cNvGrpSpPr/>
              <p:nvPr/>
            </p:nvGrpSpPr>
            <p:grpSpPr>
              <a:xfrm>
                <a:off x="3571442" y="4619731"/>
                <a:ext cx="68967" cy="162922"/>
                <a:chOff x="4475654" y="2372796"/>
                <a:chExt cx="176985" cy="418095"/>
              </a:xfrm>
              <a:grpFill/>
            </p:grpSpPr>
            <p:sp>
              <p:nvSpPr>
                <p:cNvPr id="2996" name="Freeform: Shape 2995">
                  <a:extLst>
                    <a:ext uri="{FF2B5EF4-FFF2-40B4-BE49-F238E27FC236}">
                      <a16:creationId xmlns:a16="http://schemas.microsoft.com/office/drawing/2014/main" id="{9DEFA67D-D806-135D-4016-B2CF1B5F375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7" name="Freeform: Shape 2996">
                  <a:extLst>
                    <a:ext uri="{FF2B5EF4-FFF2-40B4-BE49-F238E27FC236}">
                      <a16:creationId xmlns:a16="http://schemas.microsoft.com/office/drawing/2014/main" id="{DB17048E-32C7-63AD-0EA6-30650A9C3984}"/>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87" name="Group 2986">
                <a:extLst>
                  <a:ext uri="{FF2B5EF4-FFF2-40B4-BE49-F238E27FC236}">
                    <a16:creationId xmlns:a16="http://schemas.microsoft.com/office/drawing/2014/main" id="{4FB771CD-BC60-CB0A-F507-2F32449A36C7}"/>
                  </a:ext>
                </a:extLst>
              </p:cNvPr>
              <p:cNvGrpSpPr/>
              <p:nvPr/>
            </p:nvGrpSpPr>
            <p:grpSpPr>
              <a:xfrm>
                <a:off x="3679779" y="4619731"/>
                <a:ext cx="68967" cy="162922"/>
                <a:chOff x="4475654" y="2372796"/>
                <a:chExt cx="176985" cy="418095"/>
              </a:xfrm>
              <a:grpFill/>
            </p:grpSpPr>
            <p:sp>
              <p:nvSpPr>
                <p:cNvPr id="2994" name="Freeform: Shape 2993">
                  <a:extLst>
                    <a:ext uri="{FF2B5EF4-FFF2-40B4-BE49-F238E27FC236}">
                      <a16:creationId xmlns:a16="http://schemas.microsoft.com/office/drawing/2014/main" id="{21D99D33-210B-F140-94D1-5BFD1C7E13C4}"/>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5" name="Freeform: Shape 2994">
                  <a:extLst>
                    <a:ext uri="{FF2B5EF4-FFF2-40B4-BE49-F238E27FC236}">
                      <a16:creationId xmlns:a16="http://schemas.microsoft.com/office/drawing/2014/main" id="{79B727AA-8FEE-D8EF-A46A-EE5BC4F22BA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88" name="Group 2987">
                <a:extLst>
                  <a:ext uri="{FF2B5EF4-FFF2-40B4-BE49-F238E27FC236}">
                    <a16:creationId xmlns:a16="http://schemas.microsoft.com/office/drawing/2014/main" id="{E779AE70-9931-818B-0AA6-4903B6D56FE2}"/>
                  </a:ext>
                </a:extLst>
              </p:cNvPr>
              <p:cNvGrpSpPr/>
              <p:nvPr/>
            </p:nvGrpSpPr>
            <p:grpSpPr>
              <a:xfrm>
                <a:off x="3788116" y="4619731"/>
                <a:ext cx="68967" cy="162922"/>
                <a:chOff x="4475654" y="2372796"/>
                <a:chExt cx="176985" cy="418095"/>
              </a:xfrm>
              <a:grpFill/>
            </p:grpSpPr>
            <p:sp>
              <p:nvSpPr>
                <p:cNvPr id="2992" name="Freeform: Shape 2991">
                  <a:extLst>
                    <a:ext uri="{FF2B5EF4-FFF2-40B4-BE49-F238E27FC236}">
                      <a16:creationId xmlns:a16="http://schemas.microsoft.com/office/drawing/2014/main" id="{BA1D9A2F-4473-62CE-AA46-17D674A45A23}"/>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3" name="Freeform: Shape 2992">
                  <a:extLst>
                    <a:ext uri="{FF2B5EF4-FFF2-40B4-BE49-F238E27FC236}">
                      <a16:creationId xmlns:a16="http://schemas.microsoft.com/office/drawing/2014/main" id="{E4642520-DD46-8D13-C99B-ECD51ED34992}"/>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989" name="Group 2988">
                <a:extLst>
                  <a:ext uri="{FF2B5EF4-FFF2-40B4-BE49-F238E27FC236}">
                    <a16:creationId xmlns:a16="http://schemas.microsoft.com/office/drawing/2014/main" id="{E3F61BE8-0B73-C6A4-6A5F-4C65ABFF7D60}"/>
                  </a:ext>
                </a:extLst>
              </p:cNvPr>
              <p:cNvGrpSpPr/>
              <p:nvPr/>
            </p:nvGrpSpPr>
            <p:grpSpPr>
              <a:xfrm>
                <a:off x="3896451" y="4619731"/>
                <a:ext cx="68967" cy="162922"/>
                <a:chOff x="4475654" y="2372796"/>
                <a:chExt cx="176985" cy="418095"/>
              </a:xfrm>
              <a:grpFill/>
            </p:grpSpPr>
            <p:sp>
              <p:nvSpPr>
                <p:cNvPr id="2990" name="Freeform: Shape 2989">
                  <a:extLst>
                    <a:ext uri="{FF2B5EF4-FFF2-40B4-BE49-F238E27FC236}">
                      <a16:creationId xmlns:a16="http://schemas.microsoft.com/office/drawing/2014/main" id="{AAAAB76A-5F04-1B1A-6206-5A600F35BCD5}"/>
                    </a:ext>
                  </a:extLst>
                </p:cNvPr>
                <p:cNvSpPr/>
                <p:nvPr/>
              </p:nvSpPr>
              <p:spPr>
                <a:xfrm>
                  <a:off x="4475654" y="2472193"/>
                  <a:ext cx="176985" cy="318698"/>
                </a:xfrm>
                <a:custGeom>
                  <a:avLst/>
                  <a:gdLst>
                    <a:gd name="connsiteX0" fmla="*/ 1406227 w 2486893"/>
                    <a:gd name="connsiteY0" fmla="*/ 0 h 4952962"/>
                    <a:gd name="connsiteX1" fmla="*/ 1080649 w 2486893"/>
                    <a:gd name="connsiteY1" fmla="*/ 0 h 4952962"/>
                    <a:gd name="connsiteX2" fmla="*/ 0 w 2486893"/>
                    <a:gd name="connsiteY2" fmla="*/ 1046016 h 4952962"/>
                    <a:gd name="connsiteX3" fmla="*/ 0 w 2486893"/>
                    <a:gd name="connsiteY3" fmla="*/ 2286000 h 4952962"/>
                    <a:gd name="connsiteX4" fmla="*/ 290951 w 2486893"/>
                    <a:gd name="connsiteY4" fmla="*/ 2570007 h 4952962"/>
                    <a:gd name="connsiteX5" fmla="*/ 540336 w 2486893"/>
                    <a:gd name="connsiteY5" fmla="*/ 2424543 h 4952962"/>
                    <a:gd name="connsiteX6" fmla="*/ 540336 w 2486893"/>
                    <a:gd name="connsiteY6" fmla="*/ 4585831 h 4952962"/>
                    <a:gd name="connsiteX7" fmla="*/ 907479 w 2486893"/>
                    <a:gd name="connsiteY7" fmla="*/ 4952962 h 4952962"/>
                    <a:gd name="connsiteX8" fmla="*/ 1240001 w 2486893"/>
                    <a:gd name="connsiteY8" fmla="*/ 4738249 h 4952962"/>
                    <a:gd name="connsiteX9" fmla="*/ 1565579 w 2486893"/>
                    <a:gd name="connsiteY9" fmla="*/ 4952962 h 4952962"/>
                    <a:gd name="connsiteX10" fmla="*/ 1932722 w 2486893"/>
                    <a:gd name="connsiteY10" fmla="*/ 4585831 h 4952962"/>
                    <a:gd name="connsiteX11" fmla="*/ 1932699 w 2486893"/>
                    <a:gd name="connsiteY11" fmla="*/ 2396825 h 4952962"/>
                    <a:gd name="connsiteX12" fmla="*/ 2195943 w 2486893"/>
                    <a:gd name="connsiteY12" fmla="*/ 2570019 h 4952962"/>
                    <a:gd name="connsiteX13" fmla="*/ 2486894 w 2486893"/>
                    <a:gd name="connsiteY13" fmla="*/ 2286012 h 4952962"/>
                    <a:gd name="connsiteX14" fmla="*/ 2486894 w 2486893"/>
                    <a:gd name="connsiteY14" fmla="*/ 1073746 h 4952962"/>
                    <a:gd name="connsiteX15" fmla="*/ 1406244 w 2486893"/>
                    <a:gd name="connsiteY15" fmla="*/ 11 h 495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6893" h="4952962">
                      <a:moveTo>
                        <a:pt x="1406227" y="0"/>
                      </a:moveTo>
                      <a:lnTo>
                        <a:pt x="1080649" y="0"/>
                      </a:lnTo>
                      <a:cubicBezTo>
                        <a:pt x="491833" y="0"/>
                        <a:pt x="13830" y="471065"/>
                        <a:pt x="0" y="1046016"/>
                      </a:cubicBezTo>
                      <a:lnTo>
                        <a:pt x="0" y="2286000"/>
                      </a:lnTo>
                      <a:cubicBezTo>
                        <a:pt x="6921" y="2445328"/>
                        <a:pt x="131622" y="2570007"/>
                        <a:pt x="290951" y="2570007"/>
                      </a:cubicBezTo>
                      <a:cubicBezTo>
                        <a:pt x="394872" y="2570007"/>
                        <a:pt x="491844" y="2514600"/>
                        <a:pt x="540336" y="2424543"/>
                      </a:cubicBezTo>
                      <a:lnTo>
                        <a:pt x="540336" y="4585831"/>
                      </a:lnTo>
                      <a:cubicBezTo>
                        <a:pt x="540336" y="4786712"/>
                        <a:pt x="706585" y="4952962"/>
                        <a:pt x="907479" y="4952962"/>
                      </a:cubicBezTo>
                      <a:cubicBezTo>
                        <a:pt x="1052943" y="4952962"/>
                        <a:pt x="1184565" y="4862951"/>
                        <a:pt x="1240001" y="4738249"/>
                      </a:cubicBezTo>
                      <a:cubicBezTo>
                        <a:pt x="1295408" y="4862951"/>
                        <a:pt x="1420115" y="4952962"/>
                        <a:pt x="1565579" y="4952962"/>
                      </a:cubicBezTo>
                      <a:cubicBezTo>
                        <a:pt x="1766472" y="4952962"/>
                        <a:pt x="1932722" y="4786712"/>
                        <a:pt x="1932722" y="4585831"/>
                      </a:cubicBezTo>
                      <a:lnTo>
                        <a:pt x="1932699" y="2396825"/>
                      </a:lnTo>
                      <a:cubicBezTo>
                        <a:pt x="1981185" y="2493803"/>
                        <a:pt x="2078163" y="2570019"/>
                        <a:pt x="2195943" y="2570019"/>
                      </a:cubicBezTo>
                      <a:cubicBezTo>
                        <a:pt x="2355271" y="2570019"/>
                        <a:pt x="2479950" y="2445340"/>
                        <a:pt x="2486894" y="2286012"/>
                      </a:cubicBezTo>
                      <a:lnTo>
                        <a:pt x="2486894" y="1073746"/>
                      </a:lnTo>
                      <a:cubicBezTo>
                        <a:pt x="2486894" y="484929"/>
                        <a:pt x="2001964" y="11"/>
                        <a:pt x="1406244" y="11"/>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91" name="Freeform: Shape 2990">
                  <a:extLst>
                    <a:ext uri="{FF2B5EF4-FFF2-40B4-BE49-F238E27FC236}">
                      <a16:creationId xmlns:a16="http://schemas.microsoft.com/office/drawing/2014/main" id="{0FD7CE9A-0D36-8416-53A4-28C3153DD989}"/>
                    </a:ext>
                  </a:extLst>
                </p:cNvPr>
                <p:cNvSpPr/>
                <p:nvPr/>
              </p:nvSpPr>
              <p:spPr>
                <a:xfrm>
                  <a:off x="4512383" y="2372796"/>
                  <a:ext cx="103527" cy="93602"/>
                </a:xfrm>
                <a:custGeom>
                  <a:avLst/>
                  <a:gdLst>
                    <a:gd name="connsiteX0" fmla="*/ 1454696 w 1454696"/>
                    <a:gd name="connsiteY0" fmla="*/ 727348 h 1454696"/>
                    <a:gd name="connsiteX1" fmla="*/ 727348 w 1454696"/>
                    <a:gd name="connsiteY1" fmla="*/ 1454696 h 1454696"/>
                    <a:gd name="connsiteX2" fmla="*/ 0 w 1454696"/>
                    <a:gd name="connsiteY2" fmla="*/ 727348 h 1454696"/>
                    <a:gd name="connsiteX3" fmla="*/ 727348 w 1454696"/>
                    <a:gd name="connsiteY3" fmla="*/ 0 h 1454696"/>
                    <a:gd name="connsiteX4" fmla="*/ 1454696 w 1454696"/>
                    <a:gd name="connsiteY4" fmla="*/ 727348 h 145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696" h="1454696">
                      <a:moveTo>
                        <a:pt x="1454696" y="727348"/>
                      </a:moveTo>
                      <a:cubicBezTo>
                        <a:pt x="1454696" y="1129073"/>
                        <a:pt x="1129033" y="1454696"/>
                        <a:pt x="727348" y="1454696"/>
                      </a:cubicBezTo>
                      <a:cubicBezTo>
                        <a:pt x="325624" y="1454696"/>
                        <a:pt x="0" y="1129055"/>
                        <a:pt x="0" y="727348"/>
                      </a:cubicBezTo>
                      <a:cubicBezTo>
                        <a:pt x="0" y="325646"/>
                        <a:pt x="325641" y="0"/>
                        <a:pt x="727348" y="0"/>
                      </a:cubicBezTo>
                      <a:cubicBezTo>
                        <a:pt x="1129050" y="0"/>
                        <a:pt x="1454696" y="325664"/>
                        <a:pt x="1454696" y="727348"/>
                      </a:cubicBezTo>
                      <a:close/>
                    </a:path>
                  </a:pathLst>
                </a:custGeom>
                <a:grpFill/>
                <a:ln w="5715"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grpSp>
      <p:grpSp>
        <p:nvGrpSpPr>
          <p:cNvPr id="4924" name="Group 4923">
            <a:extLst>
              <a:ext uri="{FF2B5EF4-FFF2-40B4-BE49-F238E27FC236}">
                <a16:creationId xmlns:a16="http://schemas.microsoft.com/office/drawing/2014/main" id="{89C1ECA6-6658-B1D1-66C7-083E507C0C15}"/>
              </a:ext>
            </a:extLst>
          </p:cNvPr>
          <p:cNvGrpSpPr/>
          <p:nvPr/>
        </p:nvGrpSpPr>
        <p:grpSpPr>
          <a:xfrm>
            <a:off x="1217609" y="3582735"/>
            <a:ext cx="989423" cy="641520"/>
            <a:chOff x="815781" y="3336098"/>
            <a:chExt cx="1099359" cy="712800"/>
          </a:xfrm>
        </p:grpSpPr>
        <p:sp>
          <p:nvSpPr>
            <p:cNvPr id="3231" name="Freeform: Shape 3230">
              <a:extLst>
                <a:ext uri="{FF2B5EF4-FFF2-40B4-BE49-F238E27FC236}">
                  <a16:creationId xmlns:a16="http://schemas.microsoft.com/office/drawing/2014/main" id="{C857DD5A-A8BC-9C25-B414-C7E305F6FD9B}"/>
                </a:ext>
              </a:extLst>
            </p:cNvPr>
            <p:cNvSpPr/>
            <p:nvPr/>
          </p:nvSpPr>
          <p:spPr>
            <a:xfrm>
              <a:off x="1589406" y="3648548"/>
              <a:ext cx="187051" cy="131423"/>
            </a:xfrm>
            <a:custGeom>
              <a:avLst/>
              <a:gdLst>
                <a:gd name="connsiteX0" fmla="*/ 1479095 w 1797323"/>
                <a:gd name="connsiteY0" fmla="*/ 3705 h 1262816"/>
                <a:gd name="connsiteX1" fmla="*/ 1505961 w 1797323"/>
                <a:gd name="connsiteY1" fmla="*/ 19567 h 1262816"/>
                <a:gd name="connsiteX2" fmla="*/ 1520232 w 1797323"/>
                <a:gd name="connsiteY2" fmla="*/ 19073 h 1262816"/>
                <a:gd name="connsiteX3" fmla="*/ 1529919 w 1797323"/>
                <a:gd name="connsiteY3" fmla="*/ 24287 h 1262816"/>
                <a:gd name="connsiteX4" fmla="*/ 1533486 w 1797323"/>
                <a:gd name="connsiteY4" fmla="*/ 32245 h 1262816"/>
                <a:gd name="connsiteX5" fmla="*/ 1541445 w 1797323"/>
                <a:gd name="connsiteY5" fmla="*/ 37460 h 1262816"/>
                <a:gd name="connsiteX6" fmla="*/ 1542241 w 1797323"/>
                <a:gd name="connsiteY6" fmla="*/ 44677 h 1262816"/>
                <a:gd name="connsiteX7" fmla="*/ 1549348 w 1797323"/>
                <a:gd name="connsiteY7" fmla="*/ 53898 h 1262816"/>
                <a:gd name="connsiteX8" fmla="*/ 1551791 w 1797323"/>
                <a:gd name="connsiteY8" fmla="*/ 64272 h 1262816"/>
                <a:gd name="connsiteX9" fmla="*/ 1556072 w 1797323"/>
                <a:gd name="connsiteY9" fmla="*/ 69266 h 1262816"/>
                <a:gd name="connsiteX10" fmla="*/ 1556264 w 1797323"/>
                <a:gd name="connsiteY10" fmla="*/ 78212 h 1262816"/>
                <a:gd name="connsiteX11" fmla="*/ 1567022 w 1797323"/>
                <a:gd name="connsiteY11" fmla="*/ 104009 h 1262816"/>
                <a:gd name="connsiteX12" fmla="*/ 1568641 w 1797323"/>
                <a:gd name="connsiteY12" fmla="*/ 118032 h 1262816"/>
                <a:gd name="connsiteX13" fmla="*/ 1579207 w 1797323"/>
                <a:gd name="connsiteY13" fmla="*/ 135760 h 1262816"/>
                <a:gd name="connsiteX14" fmla="*/ 1581238 w 1797323"/>
                <a:gd name="connsiteY14" fmla="*/ 151842 h 1262816"/>
                <a:gd name="connsiteX15" fmla="*/ 1587028 w 1797323"/>
                <a:gd name="connsiteY15" fmla="*/ 158730 h 1262816"/>
                <a:gd name="connsiteX16" fmla="*/ 1586809 w 1797323"/>
                <a:gd name="connsiteY16" fmla="*/ 172946 h 1262816"/>
                <a:gd name="connsiteX17" fmla="*/ 1590952 w 1797323"/>
                <a:gd name="connsiteY17" fmla="*/ 181508 h 1262816"/>
                <a:gd name="connsiteX18" fmla="*/ 1604783 w 1797323"/>
                <a:gd name="connsiteY18" fmla="*/ 188753 h 1262816"/>
                <a:gd name="connsiteX19" fmla="*/ 1621579 w 1797323"/>
                <a:gd name="connsiteY19" fmla="*/ 188533 h 1262816"/>
                <a:gd name="connsiteX20" fmla="*/ 1633104 w 1797323"/>
                <a:gd name="connsiteY20" fmla="*/ 196684 h 1262816"/>
                <a:gd name="connsiteX21" fmla="*/ 1643148 w 1797323"/>
                <a:gd name="connsiteY21" fmla="*/ 195586 h 1262816"/>
                <a:gd name="connsiteX22" fmla="*/ 1662935 w 1797323"/>
                <a:gd name="connsiteY22" fmla="*/ 215894 h 1262816"/>
                <a:gd name="connsiteX23" fmla="*/ 1676876 w 1797323"/>
                <a:gd name="connsiteY23" fmla="*/ 220257 h 1262816"/>
                <a:gd name="connsiteX24" fmla="*/ 1676437 w 1797323"/>
                <a:gd name="connsiteY24" fmla="*/ 230905 h 1262816"/>
                <a:gd name="connsiteX25" fmla="*/ 1682529 w 1797323"/>
                <a:gd name="connsiteY25" fmla="*/ 243529 h 1262816"/>
                <a:gd name="connsiteX26" fmla="*/ 1680691 w 1797323"/>
                <a:gd name="connsiteY26" fmla="*/ 255686 h 1262816"/>
                <a:gd name="connsiteX27" fmla="*/ 1689994 w 1797323"/>
                <a:gd name="connsiteY27" fmla="*/ 270286 h 1262816"/>
                <a:gd name="connsiteX28" fmla="*/ 1714692 w 1797323"/>
                <a:gd name="connsiteY28" fmla="*/ 272372 h 1262816"/>
                <a:gd name="connsiteX29" fmla="*/ 1731844 w 1797323"/>
                <a:gd name="connsiteY29" fmla="*/ 269819 h 1262816"/>
                <a:gd name="connsiteX30" fmla="*/ 1738815 w 1797323"/>
                <a:gd name="connsiteY30" fmla="*/ 261010 h 1262816"/>
                <a:gd name="connsiteX31" fmla="*/ 1750094 w 1797323"/>
                <a:gd name="connsiteY31" fmla="*/ 253655 h 1262816"/>
                <a:gd name="connsiteX32" fmla="*/ 1763020 w 1797323"/>
                <a:gd name="connsiteY32" fmla="*/ 252064 h 1262816"/>
                <a:gd name="connsiteX33" fmla="*/ 1783410 w 1797323"/>
                <a:gd name="connsiteY33" fmla="*/ 242184 h 1262816"/>
                <a:gd name="connsiteX34" fmla="*/ 1796198 w 1797323"/>
                <a:gd name="connsiteY34" fmla="*/ 242569 h 1262816"/>
                <a:gd name="connsiteX35" fmla="*/ 1797021 w 1797323"/>
                <a:gd name="connsiteY35" fmla="*/ 246877 h 1262816"/>
                <a:gd name="connsiteX36" fmla="*/ 1794607 w 1797323"/>
                <a:gd name="connsiteY36" fmla="*/ 258238 h 1262816"/>
                <a:gd name="connsiteX37" fmla="*/ 1797323 w 1797323"/>
                <a:gd name="connsiteY37" fmla="*/ 272070 h 1262816"/>
                <a:gd name="connsiteX38" fmla="*/ 1792548 w 1797323"/>
                <a:gd name="connsiteY38" fmla="*/ 280248 h 1262816"/>
                <a:gd name="connsiteX39" fmla="*/ 1783382 w 1797323"/>
                <a:gd name="connsiteY39" fmla="*/ 288536 h 1262816"/>
                <a:gd name="connsiteX40" fmla="*/ 1773640 w 1797323"/>
                <a:gd name="connsiteY40" fmla="*/ 322867 h 1262816"/>
                <a:gd name="connsiteX41" fmla="*/ 1773201 w 1797323"/>
                <a:gd name="connsiteY41" fmla="*/ 332581 h 1262816"/>
                <a:gd name="connsiteX42" fmla="*/ 1762196 w 1797323"/>
                <a:gd name="connsiteY42" fmla="*/ 350858 h 1262816"/>
                <a:gd name="connsiteX43" fmla="*/ 1759260 w 1797323"/>
                <a:gd name="connsiteY43" fmla="*/ 359805 h 1262816"/>
                <a:gd name="connsiteX44" fmla="*/ 1752756 w 1797323"/>
                <a:gd name="connsiteY44" fmla="*/ 367214 h 1262816"/>
                <a:gd name="connsiteX45" fmla="*/ 1748365 w 1797323"/>
                <a:gd name="connsiteY45" fmla="*/ 382253 h 1262816"/>
                <a:gd name="connsiteX46" fmla="*/ 1742904 w 1797323"/>
                <a:gd name="connsiteY46" fmla="*/ 384092 h 1262816"/>
                <a:gd name="connsiteX47" fmla="*/ 1714720 w 1797323"/>
                <a:gd name="connsiteY47" fmla="*/ 373993 h 1262816"/>
                <a:gd name="connsiteX48" fmla="*/ 1702783 w 1797323"/>
                <a:gd name="connsiteY48" fmla="*/ 386727 h 1262816"/>
                <a:gd name="connsiteX49" fmla="*/ 1688979 w 1797323"/>
                <a:gd name="connsiteY49" fmla="*/ 392709 h 1262816"/>
                <a:gd name="connsiteX50" fmla="*/ 1696416 w 1797323"/>
                <a:gd name="connsiteY50" fmla="*/ 421634 h 1262816"/>
                <a:gd name="connsiteX51" fmla="*/ 1694961 w 1797323"/>
                <a:gd name="connsiteY51" fmla="*/ 443396 h 1262816"/>
                <a:gd name="connsiteX52" fmla="*/ 1696800 w 1797323"/>
                <a:gd name="connsiteY52" fmla="*/ 452397 h 1262816"/>
                <a:gd name="connsiteX53" fmla="*/ 1691503 w 1797323"/>
                <a:gd name="connsiteY53" fmla="*/ 470043 h 1262816"/>
                <a:gd name="connsiteX54" fmla="*/ 1673912 w 1797323"/>
                <a:gd name="connsiteY54" fmla="*/ 478331 h 1262816"/>
                <a:gd name="connsiteX55" fmla="*/ 1676327 w 1797323"/>
                <a:gd name="connsiteY55" fmla="*/ 482887 h 1262816"/>
                <a:gd name="connsiteX56" fmla="*/ 1677892 w 1797323"/>
                <a:gd name="connsiteY56" fmla="*/ 491614 h 1262816"/>
                <a:gd name="connsiteX57" fmla="*/ 1674654 w 1797323"/>
                <a:gd name="connsiteY57" fmla="*/ 485548 h 1262816"/>
                <a:gd name="connsiteX58" fmla="*/ 1670893 w 1797323"/>
                <a:gd name="connsiteY58" fmla="*/ 482887 h 1262816"/>
                <a:gd name="connsiteX59" fmla="*/ 1667820 w 1797323"/>
                <a:gd name="connsiteY59" fmla="*/ 480746 h 1262816"/>
                <a:gd name="connsiteX60" fmla="*/ 1665597 w 1797323"/>
                <a:gd name="connsiteY60" fmla="*/ 472349 h 1262816"/>
                <a:gd name="connsiteX61" fmla="*/ 1657199 w 1797323"/>
                <a:gd name="connsiteY61" fmla="*/ 469165 h 1262816"/>
                <a:gd name="connsiteX62" fmla="*/ 1652452 w 1797323"/>
                <a:gd name="connsiteY62" fmla="*/ 482914 h 1262816"/>
                <a:gd name="connsiteX63" fmla="*/ 1649790 w 1797323"/>
                <a:gd name="connsiteY63" fmla="*/ 490598 h 1262816"/>
                <a:gd name="connsiteX64" fmla="*/ 1641008 w 1797323"/>
                <a:gd name="connsiteY64" fmla="*/ 492190 h 1262816"/>
                <a:gd name="connsiteX65" fmla="*/ 1639307 w 1797323"/>
                <a:gd name="connsiteY65" fmla="*/ 492519 h 1262816"/>
                <a:gd name="connsiteX66" fmla="*/ 1633818 w 1797323"/>
                <a:gd name="connsiteY66" fmla="*/ 499380 h 1262816"/>
                <a:gd name="connsiteX67" fmla="*/ 1627781 w 1797323"/>
                <a:gd name="connsiteY67" fmla="*/ 506954 h 1262816"/>
                <a:gd name="connsiteX68" fmla="*/ 1609257 w 1797323"/>
                <a:gd name="connsiteY68" fmla="*/ 506817 h 1262816"/>
                <a:gd name="connsiteX69" fmla="*/ 1605689 w 1797323"/>
                <a:gd name="connsiteY69" fmla="*/ 508683 h 1262816"/>
                <a:gd name="connsiteX70" fmla="*/ 1604152 w 1797323"/>
                <a:gd name="connsiteY70" fmla="*/ 509451 h 1262816"/>
                <a:gd name="connsiteX71" fmla="*/ 1604097 w 1797323"/>
                <a:gd name="connsiteY71" fmla="*/ 516367 h 1262816"/>
                <a:gd name="connsiteX72" fmla="*/ 1607253 w 1797323"/>
                <a:gd name="connsiteY72" fmla="*/ 521142 h 1262816"/>
                <a:gd name="connsiteX73" fmla="*/ 1608488 w 1797323"/>
                <a:gd name="connsiteY73" fmla="*/ 522981 h 1262816"/>
                <a:gd name="connsiteX74" fmla="*/ 1606348 w 1797323"/>
                <a:gd name="connsiteY74" fmla="*/ 529759 h 1262816"/>
                <a:gd name="connsiteX75" fmla="*/ 1604317 w 1797323"/>
                <a:gd name="connsiteY75" fmla="*/ 531515 h 1262816"/>
                <a:gd name="connsiteX76" fmla="*/ 1579646 w 1797323"/>
                <a:gd name="connsiteY76" fmla="*/ 528497 h 1262816"/>
                <a:gd name="connsiteX77" fmla="*/ 1575831 w 1797323"/>
                <a:gd name="connsiteY77" fmla="*/ 526219 h 1262816"/>
                <a:gd name="connsiteX78" fmla="*/ 1573937 w 1797323"/>
                <a:gd name="connsiteY78" fmla="*/ 522981 h 1262816"/>
                <a:gd name="connsiteX79" fmla="*/ 1572950 w 1797323"/>
                <a:gd name="connsiteY79" fmla="*/ 521142 h 1262816"/>
                <a:gd name="connsiteX80" fmla="*/ 1571523 w 1797323"/>
                <a:gd name="connsiteY80" fmla="*/ 518480 h 1262816"/>
                <a:gd name="connsiteX81" fmla="*/ 1568394 w 1797323"/>
                <a:gd name="connsiteY81" fmla="*/ 517026 h 1262816"/>
                <a:gd name="connsiteX82" fmla="*/ 1561835 w 1797323"/>
                <a:gd name="connsiteY82" fmla="*/ 521142 h 1262816"/>
                <a:gd name="connsiteX83" fmla="*/ 1558899 w 1797323"/>
                <a:gd name="connsiteY83" fmla="*/ 522981 h 1262816"/>
                <a:gd name="connsiteX84" fmla="*/ 1556456 w 1797323"/>
                <a:gd name="connsiteY84" fmla="*/ 533162 h 1262816"/>
                <a:gd name="connsiteX85" fmla="*/ 1541747 w 1797323"/>
                <a:gd name="connsiteY85" fmla="*/ 551055 h 1262816"/>
                <a:gd name="connsiteX86" fmla="*/ 1532965 w 1797323"/>
                <a:gd name="connsiteY86" fmla="*/ 552921 h 1262816"/>
                <a:gd name="connsiteX87" fmla="*/ 1524485 w 1797323"/>
                <a:gd name="connsiteY87" fmla="*/ 560852 h 1262816"/>
                <a:gd name="connsiteX88" fmla="*/ 1518860 w 1797323"/>
                <a:gd name="connsiteY88" fmla="*/ 561868 h 1262816"/>
                <a:gd name="connsiteX89" fmla="*/ 1507224 w 1797323"/>
                <a:gd name="connsiteY89" fmla="*/ 570045 h 1262816"/>
                <a:gd name="connsiteX90" fmla="*/ 1494929 w 1797323"/>
                <a:gd name="connsiteY90" fmla="*/ 580803 h 1262816"/>
                <a:gd name="connsiteX91" fmla="*/ 1493310 w 1797323"/>
                <a:gd name="connsiteY91" fmla="*/ 585963 h 1262816"/>
                <a:gd name="connsiteX92" fmla="*/ 1490456 w 1797323"/>
                <a:gd name="connsiteY92" fmla="*/ 592906 h 1262816"/>
                <a:gd name="connsiteX93" fmla="*/ 1488590 w 1797323"/>
                <a:gd name="connsiteY93" fmla="*/ 591671 h 1262816"/>
                <a:gd name="connsiteX94" fmla="*/ 1471740 w 1797323"/>
                <a:gd name="connsiteY94" fmla="*/ 593427 h 1262816"/>
                <a:gd name="connsiteX95" fmla="*/ 1451021 w 1797323"/>
                <a:gd name="connsiteY95" fmla="*/ 600754 h 1262816"/>
                <a:gd name="connsiteX96" fmla="*/ 1434527 w 1797323"/>
                <a:gd name="connsiteY96" fmla="*/ 609948 h 1262816"/>
                <a:gd name="connsiteX97" fmla="*/ 1413177 w 1797323"/>
                <a:gd name="connsiteY97" fmla="*/ 627566 h 1262816"/>
                <a:gd name="connsiteX98" fmla="*/ 1402776 w 1797323"/>
                <a:gd name="connsiteY98" fmla="*/ 630201 h 1262816"/>
                <a:gd name="connsiteX99" fmla="*/ 1402501 w 1797323"/>
                <a:gd name="connsiteY99" fmla="*/ 627154 h 1262816"/>
                <a:gd name="connsiteX100" fmla="*/ 1409801 w 1797323"/>
                <a:gd name="connsiteY100" fmla="*/ 621227 h 1262816"/>
                <a:gd name="connsiteX101" fmla="*/ 1412601 w 1797323"/>
                <a:gd name="connsiteY101" fmla="*/ 615217 h 1262816"/>
                <a:gd name="connsiteX102" fmla="*/ 1411640 w 1797323"/>
                <a:gd name="connsiteY102" fmla="*/ 611210 h 1262816"/>
                <a:gd name="connsiteX103" fmla="*/ 1406892 w 1797323"/>
                <a:gd name="connsiteY103" fmla="*/ 606270 h 1262816"/>
                <a:gd name="connsiteX104" fmla="*/ 1406947 w 1797323"/>
                <a:gd name="connsiteY104" fmla="*/ 600782 h 1262816"/>
                <a:gd name="connsiteX105" fmla="*/ 1421272 w 1797323"/>
                <a:gd name="connsiteY105" fmla="*/ 582889 h 1262816"/>
                <a:gd name="connsiteX106" fmla="*/ 1428544 w 1797323"/>
                <a:gd name="connsiteY106" fmla="*/ 566368 h 1262816"/>
                <a:gd name="connsiteX107" fmla="*/ 1426404 w 1797323"/>
                <a:gd name="connsiteY107" fmla="*/ 560331 h 1262816"/>
                <a:gd name="connsiteX108" fmla="*/ 1420394 w 1797323"/>
                <a:gd name="connsiteY108" fmla="*/ 554869 h 1262816"/>
                <a:gd name="connsiteX109" fmla="*/ 1401568 w 1797323"/>
                <a:gd name="connsiteY109" fmla="*/ 552592 h 1262816"/>
                <a:gd name="connsiteX110" fmla="*/ 1391469 w 1797323"/>
                <a:gd name="connsiteY110" fmla="*/ 558958 h 1262816"/>
                <a:gd name="connsiteX111" fmla="*/ 1374866 w 1797323"/>
                <a:gd name="connsiteY111" fmla="*/ 578937 h 1262816"/>
                <a:gd name="connsiteX112" fmla="*/ 1350771 w 1797323"/>
                <a:gd name="connsiteY112" fmla="*/ 593948 h 1262816"/>
                <a:gd name="connsiteX113" fmla="*/ 1343170 w 1797323"/>
                <a:gd name="connsiteY113" fmla="*/ 607560 h 1262816"/>
                <a:gd name="connsiteX114" fmla="*/ 1337763 w 1797323"/>
                <a:gd name="connsiteY114" fmla="*/ 613323 h 1262816"/>
                <a:gd name="connsiteX115" fmla="*/ 1318772 w 1797323"/>
                <a:gd name="connsiteY115" fmla="*/ 619882 h 1262816"/>
                <a:gd name="connsiteX116" fmla="*/ 1305902 w 1797323"/>
                <a:gd name="connsiteY116" fmla="*/ 618674 h 1262816"/>
                <a:gd name="connsiteX117" fmla="*/ 1297916 w 1797323"/>
                <a:gd name="connsiteY117" fmla="*/ 626386 h 1262816"/>
                <a:gd name="connsiteX118" fmla="*/ 1295336 w 1797323"/>
                <a:gd name="connsiteY118" fmla="*/ 636046 h 1262816"/>
                <a:gd name="connsiteX119" fmla="*/ 1298273 w 1797323"/>
                <a:gd name="connsiteY119" fmla="*/ 645404 h 1262816"/>
                <a:gd name="connsiteX120" fmla="*/ 1310321 w 1797323"/>
                <a:gd name="connsiteY120" fmla="*/ 655256 h 1262816"/>
                <a:gd name="connsiteX121" fmla="*/ 1330984 w 1797323"/>
                <a:gd name="connsiteY121" fmla="*/ 659372 h 1262816"/>
                <a:gd name="connsiteX122" fmla="*/ 1335623 w 1797323"/>
                <a:gd name="connsiteY122" fmla="*/ 669609 h 1262816"/>
                <a:gd name="connsiteX123" fmla="*/ 1336803 w 1797323"/>
                <a:gd name="connsiteY123" fmla="*/ 683989 h 1262816"/>
                <a:gd name="connsiteX124" fmla="*/ 1343115 w 1797323"/>
                <a:gd name="connsiteY124" fmla="*/ 690658 h 1262816"/>
                <a:gd name="connsiteX125" fmla="*/ 1357357 w 1797323"/>
                <a:gd name="connsiteY125" fmla="*/ 690493 h 1262816"/>
                <a:gd name="connsiteX126" fmla="*/ 1375278 w 1797323"/>
                <a:gd name="connsiteY126" fmla="*/ 674932 h 1262816"/>
                <a:gd name="connsiteX127" fmla="*/ 1388341 w 1797323"/>
                <a:gd name="connsiteY127" fmla="*/ 669993 h 1262816"/>
                <a:gd name="connsiteX128" fmla="*/ 1394817 w 1797323"/>
                <a:gd name="connsiteY128" fmla="*/ 671722 h 1262816"/>
                <a:gd name="connsiteX129" fmla="*/ 1408813 w 1797323"/>
                <a:gd name="connsiteY129" fmla="*/ 680037 h 1262816"/>
                <a:gd name="connsiteX130" fmla="*/ 1427062 w 1797323"/>
                <a:gd name="connsiteY130" fmla="*/ 680723 h 1262816"/>
                <a:gd name="connsiteX131" fmla="*/ 1438863 w 1797323"/>
                <a:gd name="connsiteY131" fmla="*/ 687556 h 1262816"/>
                <a:gd name="connsiteX132" fmla="*/ 1437848 w 1797323"/>
                <a:gd name="connsiteY132" fmla="*/ 696338 h 1262816"/>
                <a:gd name="connsiteX133" fmla="*/ 1435131 w 1797323"/>
                <a:gd name="connsiteY133" fmla="*/ 700647 h 1262816"/>
                <a:gd name="connsiteX134" fmla="*/ 1420586 w 1797323"/>
                <a:gd name="connsiteY134" fmla="*/ 701937 h 1262816"/>
                <a:gd name="connsiteX135" fmla="*/ 1396793 w 1797323"/>
                <a:gd name="connsiteY135" fmla="*/ 711597 h 1262816"/>
                <a:gd name="connsiteX136" fmla="*/ 1381836 w 1797323"/>
                <a:gd name="connsiteY136" fmla="*/ 729187 h 1262816"/>
                <a:gd name="connsiteX137" fmla="*/ 1371409 w 1797323"/>
                <a:gd name="connsiteY137" fmla="*/ 731136 h 1262816"/>
                <a:gd name="connsiteX138" fmla="*/ 1366825 w 1797323"/>
                <a:gd name="connsiteY138" fmla="*/ 740631 h 1262816"/>
                <a:gd name="connsiteX139" fmla="*/ 1353104 w 1797323"/>
                <a:gd name="connsiteY139" fmla="*/ 754819 h 1262816"/>
                <a:gd name="connsiteX140" fmla="*/ 1343801 w 1797323"/>
                <a:gd name="connsiteY140" fmla="*/ 773370 h 1262816"/>
                <a:gd name="connsiteX141" fmla="*/ 1348000 w 1797323"/>
                <a:gd name="connsiteY141" fmla="*/ 782207 h 1262816"/>
                <a:gd name="connsiteX142" fmla="*/ 1372231 w 1797323"/>
                <a:gd name="connsiteY142" fmla="*/ 799332 h 1262816"/>
                <a:gd name="connsiteX143" fmla="*/ 1391853 w 1797323"/>
                <a:gd name="connsiteY143" fmla="*/ 852571 h 1262816"/>
                <a:gd name="connsiteX144" fmla="*/ 1416085 w 1797323"/>
                <a:gd name="connsiteY144" fmla="*/ 880810 h 1262816"/>
                <a:gd name="connsiteX145" fmla="*/ 1414137 w 1797323"/>
                <a:gd name="connsiteY145" fmla="*/ 892116 h 1262816"/>
                <a:gd name="connsiteX146" fmla="*/ 1392375 w 1797323"/>
                <a:gd name="connsiteY146" fmla="*/ 884514 h 1262816"/>
                <a:gd name="connsiteX147" fmla="*/ 1413616 w 1797323"/>
                <a:gd name="connsiteY147" fmla="*/ 901694 h 1262816"/>
                <a:gd name="connsiteX148" fmla="*/ 1417293 w 1797323"/>
                <a:gd name="connsiteY148" fmla="*/ 907594 h 1262816"/>
                <a:gd name="connsiteX149" fmla="*/ 1417211 w 1797323"/>
                <a:gd name="connsiteY149" fmla="*/ 914016 h 1262816"/>
                <a:gd name="connsiteX150" fmla="*/ 1380821 w 1797323"/>
                <a:gd name="connsiteY150" fmla="*/ 935915 h 1262816"/>
                <a:gd name="connsiteX151" fmla="*/ 1386941 w 1797323"/>
                <a:gd name="connsiteY151" fmla="*/ 940196 h 1262816"/>
                <a:gd name="connsiteX152" fmla="*/ 1402913 w 1797323"/>
                <a:gd name="connsiteY152" fmla="*/ 938248 h 1262816"/>
                <a:gd name="connsiteX153" fmla="*/ 1415591 w 1797323"/>
                <a:gd name="connsiteY153" fmla="*/ 945136 h 1262816"/>
                <a:gd name="connsiteX154" fmla="*/ 1420339 w 1797323"/>
                <a:gd name="connsiteY154" fmla="*/ 945328 h 1262816"/>
                <a:gd name="connsiteX155" fmla="*/ 1422425 w 1797323"/>
                <a:gd name="connsiteY155" fmla="*/ 951832 h 1262816"/>
                <a:gd name="connsiteX156" fmla="*/ 1421300 w 1797323"/>
                <a:gd name="connsiteY156" fmla="*/ 957568 h 1262816"/>
                <a:gd name="connsiteX157" fmla="*/ 1422342 w 1797323"/>
                <a:gd name="connsiteY157" fmla="*/ 969643 h 1262816"/>
                <a:gd name="connsiteX158" fmla="*/ 1419873 w 1797323"/>
                <a:gd name="connsiteY158" fmla="*/ 973704 h 1262816"/>
                <a:gd name="connsiteX159" fmla="*/ 1412601 w 1797323"/>
                <a:gd name="connsiteY159" fmla="*/ 975790 h 1262816"/>
                <a:gd name="connsiteX160" fmla="*/ 1409060 w 1797323"/>
                <a:gd name="connsiteY160" fmla="*/ 1003013 h 1262816"/>
                <a:gd name="connsiteX161" fmla="*/ 1404011 w 1797323"/>
                <a:gd name="connsiteY161" fmla="*/ 1006992 h 1262816"/>
                <a:gd name="connsiteX162" fmla="*/ 1398632 w 1797323"/>
                <a:gd name="connsiteY162" fmla="*/ 1006992 h 1262816"/>
                <a:gd name="connsiteX163" fmla="*/ 1395229 w 1797323"/>
                <a:gd name="connsiteY163" fmla="*/ 1009462 h 1262816"/>
                <a:gd name="connsiteX164" fmla="*/ 1375278 w 1797323"/>
                <a:gd name="connsiteY164" fmla="*/ 1044590 h 1262816"/>
                <a:gd name="connsiteX165" fmla="*/ 1376430 w 1797323"/>
                <a:gd name="connsiteY165" fmla="*/ 1048980 h 1262816"/>
                <a:gd name="connsiteX166" fmla="*/ 1372451 w 1797323"/>
                <a:gd name="connsiteY166" fmla="*/ 1048349 h 1262816"/>
                <a:gd name="connsiteX167" fmla="*/ 1366249 w 1797323"/>
                <a:gd name="connsiteY167" fmla="*/ 1054908 h 1262816"/>
                <a:gd name="connsiteX168" fmla="*/ 1356891 w 1797323"/>
                <a:gd name="connsiteY168" fmla="*/ 1057680 h 1262816"/>
                <a:gd name="connsiteX169" fmla="*/ 1357796 w 1797323"/>
                <a:gd name="connsiteY169" fmla="*/ 1064870 h 1262816"/>
                <a:gd name="connsiteX170" fmla="*/ 1351403 w 1797323"/>
                <a:gd name="connsiteY170" fmla="*/ 1094536 h 1262816"/>
                <a:gd name="connsiteX171" fmla="*/ 1344597 w 1797323"/>
                <a:gd name="connsiteY171" fmla="*/ 1098240 h 1262816"/>
                <a:gd name="connsiteX172" fmla="*/ 1341523 w 1797323"/>
                <a:gd name="connsiteY172" fmla="*/ 1103592 h 1262816"/>
                <a:gd name="connsiteX173" fmla="*/ 1334690 w 1797323"/>
                <a:gd name="connsiteY173" fmla="*/ 1107050 h 1262816"/>
                <a:gd name="connsiteX174" fmla="*/ 1324975 w 1797323"/>
                <a:gd name="connsiteY174" fmla="*/ 1122226 h 1262816"/>
                <a:gd name="connsiteX175" fmla="*/ 1309030 w 1797323"/>
                <a:gd name="connsiteY175" fmla="*/ 1128922 h 1262816"/>
                <a:gd name="connsiteX176" fmla="*/ 1304228 w 1797323"/>
                <a:gd name="connsiteY176" fmla="*/ 1139240 h 1262816"/>
                <a:gd name="connsiteX177" fmla="*/ 1288503 w 1797323"/>
                <a:gd name="connsiteY177" fmla="*/ 1153867 h 1262816"/>
                <a:gd name="connsiteX178" fmla="*/ 1280161 w 1797323"/>
                <a:gd name="connsiteY178" fmla="*/ 1157572 h 1262816"/>
                <a:gd name="connsiteX179" fmla="*/ 1278294 w 1797323"/>
                <a:gd name="connsiteY179" fmla="*/ 1161085 h 1262816"/>
                <a:gd name="connsiteX180" fmla="*/ 1273025 w 1797323"/>
                <a:gd name="connsiteY180" fmla="*/ 1161222 h 1262816"/>
                <a:gd name="connsiteX181" fmla="*/ 1257602 w 1797323"/>
                <a:gd name="connsiteY181" fmla="*/ 1177633 h 1262816"/>
                <a:gd name="connsiteX182" fmla="*/ 1245253 w 1797323"/>
                <a:gd name="connsiteY182" fmla="*/ 1182079 h 1262816"/>
                <a:gd name="connsiteX183" fmla="*/ 1232355 w 1797323"/>
                <a:gd name="connsiteY183" fmla="*/ 1184082 h 1262816"/>
                <a:gd name="connsiteX184" fmla="*/ 1223984 w 1797323"/>
                <a:gd name="connsiteY184" fmla="*/ 1183451 h 1262816"/>
                <a:gd name="connsiteX185" fmla="*/ 1215065 w 1797323"/>
                <a:gd name="connsiteY185" fmla="*/ 1186771 h 1262816"/>
                <a:gd name="connsiteX186" fmla="*/ 1207793 w 1797323"/>
                <a:gd name="connsiteY186" fmla="*/ 1186634 h 1262816"/>
                <a:gd name="connsiteX187" fmla="*/ 1201893 w 1797323"/>
                <a:gd name="connsiteY187" fmla="*/ 1190422 h 1262816"/>
                <a:gd name="connsiteX188" fmla="*/ 1195609 w 1797323"/>
                <a:gd name="connsiteY188" fmla="*/ 1190422 h 1262816"/>
                <a:gd name="connsiteX189" fmla="*/ 1189818 w 1797323"/>
                <a:gd name="connsiteY189" fmla="*/ 1192068 h 1262816"/>
                <a:gd name="connsiteX190" fmla="*/ 1181009 w 1797323"/>
                <a:gd name="connsiteY190" fmla="*/ 1185592 h 1262816"/>
                <a:gd name="connsiteX191" fmla="*/ 1178320 w 1797323"/>
                <a:gd name="connsiteY191" fmla="*/ 1185482 h 1262816"/>
                <a:gd name="connsiteX192" fmla="*/ 1174972 w 1797323"/>
                <a:gd name="connsiteY192" fmla="*/ 1201454 h 1262816"/>
                <a:gd name="connsiteX193" fmla="*/ 1167672 w 1797323"/>
                <a:gd name="connsiteY193" fmla="*/ 1207134 h 1262816"/>
                <a:gd name="connsiteX194" fmla="*/ 1161497 w 1797323"/>
                <a:gd name="connsiteY194" fmla="*/ 1203594 h 1262816"/>
                <a:gd name="connsiteX195" fmla="*/ 1157490 w 1797323"/>
                <a:gd name="connsiteY195" fmla="*/ 1210427 h 1262816"/>
                <a:gd name="connsiteX196" fmla="*/ 1152990 w 1797323"/>
                <a:gd name="connsiteY196" fmla="*/ 1210729 h 1262816"/>
                <a:gd name="connsiteX197" fmla="*/ 1147693 w 1797323"/>
                <a:gd name="connsiteY197" fmla="*/ 1214160 h 1262816"/>
                <a:gd name="connsiteX198" fmla="*/ 1142836 w 1797323"/>
                <a:gd name="connsiteY198" fmla="*/ 1213446 h 1262816"/>
                <a:gd name="connsiteX199" fmla="*/ 1138747 w 1797323"/>
                <a:gd name="connsiteY199" fmla="*/ 1216136 h 1262816"/>
                <a:gd name="connsiteX200" fmla="*/ 1132270 w 1797323"/>
                <a:gd name="connsiteY200" fmla="*/ 1215340 h 1262816"/>
                <a:gd name="connsiteX201" fmla="*/ 1127084 w 1797323"/>
                <a:gd name="connsiteY201" fmla="*/ 1219621 h 1262816"/>
                <a:gd name="connsiteX202" fmla="*/ 1123543 w 1797323"/>
                <a:gd name="connsiteY202" fmla="*/ 1218029 h 1262816"/>
                <a:gd name="connsiteX203" fmla="*/ 1117534 w 1797323"/>
                <a:gd name="connsiteY203" fmla="*/ 1222749 h 1262816"/>
                <a:gd name="connsiteX204" fmla="*/ 1102632 w 1797323"/>
                <a:gd name="connsiteY204" fmla="*/ 1224039 h 1262816"/>
                <a:gd name="connsiteX205" fmla="*/ 1093630 w 1797323"/>
                <a:gd name="connsiteY205" fmla="*/ 1228293 h 1262816"/>
                <a:gd name="connsiteX206" fmla="*/ 1086083 w 1797323"/>
                <a:gd name="connsiteY206" fmla="*/ 1239407 h 1262816"/>
                <a:gd name="connsiteX207" fmla="*/ 1077137 w 1797323"/>
                <a:gd name="connsiteY207" fmla="*/ 1241795 h 1262816"/>
                <a:gd name="connsiteX208" fmla="*/ 1081913 w 1797323"/>
                <a:gd name="connsiteY208" fmla="*/ 1246597 h 1262816"/>
                <a:gd name="connsiteX209" fmla="*/ 1085452 w 1797323"/>
                <a:gd name="connsiteY209" fmla="*/ 1255022 h 1262816"/>
                <a:gd name="connsiteX210" fmla="*/ 1083531 w 1797323"/>
                <a:gd name="connsiteY210" fmla="*/ 1259935 h 1262816"/>
                <a:gd name="connsiteX211" fmla="*/ 1077604 w 1797323"/>
                <a:gd name="connsiteY211" fmla="*/ 1262816 h 1262816"/>
                <a:gd name="connsiteX212" fmla="*/ 1070414 w 1797323"/>
                <a:gd name="connsiteY212" fmla="*/ 1261691 h 1262816"/>
                <a:gd name="connsiteX213" fmla="*/ 1067999 w 1797323"/>
                <a:gd name="connsiteY213" fmla="*/ 1258727 h 1262816"/>
                <a:gd name="connsiteX214" fmla="*/ 1061989 w 1797323"/>
                <a:gd name="connsiteY214" fmla="*/ 1241164 h 1262816"/>
                <a:gd name="connsiteX215" fmla="*/ 1064266 w 1797323"/>
                <a:gd name="connsiteY215" fmla="*/ 1231339 h 1262816"/>
                <a:gd name="connsiteX216" fmla="*/ 1067697 w 1797323"/>
                <a:gd name="connsiteY216" fmla="*/ 1226015 h 1262816"/>
                <a:gd name="connsiteX217" fmla="*/ 1062181 w 1797323"/>
                <a:gd name="connsiteY217" fmla="*/ 1223161 h 1262816"/>
                <a:gd name="connsiteX218" fmla="*/ 1058805 w 1797323"/>
                <a:gd name="connsiteY218" fmla="*/ 1218715 h 1262816"/>
                <a:gd name="connsiteX219" fmla="*/ 1056033 w 1797323"/>
                <a:gd name="connsiteY219" fmla="*/ 1223381 h 1262816"/>
                <a:gd name="connsiteX220" fmla="*/ 1047307 w 1797323"/>
                <a:gd name="connsiteY220" fmla="*/ 1225850 h 1262816"/>
                <a:gd name="connsiteX221" fmla="*/ 1044946 w 1797323"/>
                <a:gd name="connsiteY221" fmla="*/ 1225192 h 1262816"/>
                <a:gd name="connsiteX222" fmla="*/ 1043492 w 1797323"/>
                <a:gd name="connsiteY222" fmla="*/ 1221075 h 1262816"/>
                <a:gd name="connsiteX223" fmla="*/ 1030457 w 1797323"/>
                <a:gd name="connsiteY223" fmla="*/ 1216959 h 1262816"/>
                <a:gd name="connsiteX224" fmla="*/ 1025901 w 1797323"/>
                <a:gd name="connsiteY224" fmla="*/ 1220472 h 1262816"/>
                <a:gd name="connsiteX225" fmla="*/ 1023377 w 1797323"/>
                <a:gd name="connsiteY225" fmla="*/ 1219292 h 1262816"/>
                <a:gd name="connsiteX226" fmla="*/ 1012893 w 1797323"/>
                <a:gd name="connsiteY226" fmla="*/ 1222338 h 1262816"/>
                <a:gd name="connsiteX227" fmla="*/ 1006581 w 1797323"/>
                <a:gd name="connsiteY227" fmla="*/ 1219264 h 1262816"/>
                <a:gd name="connsiteX228" fmla="*/ 993903 w 1797323"/>
                <a:gd name="connsiteY228" fmla="*/ 1219950 h 1262816"/>
                <a:gd name="connsiteX229" fmla="*/ 982596 w 1797323"/>
                <a:gd name="connsiteY229" fmla="*/ 1210263 h 1262816"/>
                <a:gd name="connsiteX230" fmla="*/ 975077 w 1797323"/>
                <a:gd name="connsiteY230" fmla="*/ 1206558 h 1262816"/>
                <a:gd name="connsiteX231" fmla="*/ 970329 w 1797323"/>
                <a:gd name="connsiteY231" fmla="*/ 1194016 h 1262816"/>
                <a:gd name="connsiteX232" fmla="*/ 971427 w 1797323"/>
                <a:gd name="connsiteY232" fmla="*/ 1190257 h 1262816"/>
                <a:gd name="connsiteX233" fmla="*/ 974830 w 1797323"/>
                <a:gd name="connsiteY233" fmla="*/ 1187156 h 1262816"/>
                <a:gd name="connsiteX234" fmla="*/ 974830 w 1797323"/>
                <a:gd name="connsiteY234" fmla="*/ 1181448 h 1262816"/>
                <a:gd name="connsiteX235" fmla="*/ 969533 w 1797323"/>
                <a:gd name="connsiteY235" fmla="*/ 1178731 h 1262816"/>
                <a:gd name="connsiteX236" fmla="*/ 962865 w 1797323"/>
                <a:gd name="connsiteY236" fmla="*/ 1179938 h 1262816"/>
                <a:gd name="connsiteX237" fmla="*/ 956965 w 1797323"/>
                <a:gd name="connsiteY237" fmla="*/ 1176865 h 1262816"/>
                <a:gd name="connsiteX238" fmla="*/ 949912 w 1797323"/>
                <a:gd name="connsiteY238" fmla="*/ 1177880 h 1262816"/>
                <a:gd name="connsiteX239" fmla="*/ 941103 w 1797323"/>
                <a:gd name="connsiteY239" fmla="*/ 1172940 h 1262816"/>
                <a:gd name="connsiteX240" fmla="*/ 933061 w 1797323"/>
                <a:gd name="connsiteY240" fmla="*/ 1164954 h 1262816"/>
                <a:gd name="connsiteX241" fmla="*/ 920822 w 1797323"/>
                <a:gd name="connsiteY241" fmla="*/ 1171102 h 1262816"/>
                <a:gd name="connsiteX242" fmla="*/ 918928 w 1797323"/>
                <a:gd name="connsiteY242" fmla="*/ 1177798 h 1262816"/>
                <a:gd name="connsiteX243" fmla="*/ 916019 w 1797323"/>
                <a:gd name="connsiteY243" fmla="*/ 1180817 h 1262816"/>
                <a:gd name="connsiteX244" fmla="*/ 906085 w 1797323"/>
                <a:gd name="connsiteY244" fmla="*/ 1185097 h 1262816"/>
                <a:gd name="connsiteX245" fmla="*/ 901529 w 1797323"/>
                <a:gd name="connsiteY245" fmla="*/ 1182298 h 1262816"/>
                <a:gd name="connsiteX246" fmla="*/ 898401 w 1797323"/>
                <a:gd name="connsiteY246" fmla="*/ 1182847 h 1262816"/>
                <a:gd name="connsiteX247" fmla="*/ 893901 w 1797323"/>
                <a:gd name="connsiteY247" fmla="*/ 1190751 h 1262816"/>
                <a:gd name="connsiteX248" fmla="*/ 885228 w 1797323"/>
                <a:gd name="connsiteY248" fmla="*/ 1184192 h 1262816"/>
                <a:gd name="connsiteX249" fmla="*/ 880398 w 1797323"/>
                <a:gd name="connsiteY249" fmla="*/ 1187705 h 1262816"/>
                <a:gd name="connsiteX250" fmla="*/ 875212 w 1797323"/>
                <a:gd name="connsiteY250" fmla="*/ 1183451 h 1262816"/>
                <a:gd name="connsiteX251" fmla="*/ 866073 w 1797323"/>
                <a:gd name="connsiteY251" fmla="*/ 1192699 h 1262816"/>
                <a:gd name="connsiteX252" fmla="*/ 850596 w 1797323"/>
                <a:gd name="connsiteY252" fmla="*/ 1184137 h 1262816"/>
                <a:gd name="connsiteX253" fmla="*/ 843378 w 1797323"/>
                <a:gd name="connsiteY253" fmla="*/ 1193358 h 1262816"/>
                <a:gd name="connsiteX254" fmla="*/ 839975 w 1797323"/>
                <a:gd name="connsiteY254" fmla="*/ 1195252 h 1262816"/>
                <a:gd name="connsiteX255" fmla="*/ 836764 w 1797323"/>
                <a:gd name="connsiteY255" fmla="*/ 1193825 h 1262816"/>
                <a:gd name="connsiteX256" fmla="*/ 831934 w 1797323"/>
                <a:gd name="connsiteY256" fmla="*/ 1195361 h 1262816"/>
                <a:gd name="connsiteX257" fmla="*/ 828119 w 1797323"/>
                <a:gd name="connsiteY257" fmla="*/ 1192617 h 1262816"/>
                <a:gd name="connsiteX258" fmla="*/ 823235 w 1797323"/>
                <a:gd name="connsiteY258" fmla="*/ 1199779 h 1262816"/>
                <a:gd name="connsiteX259" fmla="*/ 824442 w 1797323"/>
                <a:gd name="connsiteY259" fmla="*/ 1208644 h 1262816"/>
                <a:gd name="connsiteX260" fmla="*/ 828449 w 1797323"/>
                <a:gd name="connsiteY260" fmla="*/ 1212815 h 1262816"/>
                <a:gd name="connsiteX261" fmla="*/ 830205 w 1797323"/>
                <a:gd name="connsiteY261" fmla="*/ 1219923 h 1262816"/>
                <a:gd name="connsiteX262" fmla="*/ 828038 w 1797323"/>
                <a:gd name="connsiteY262" fmla="*/ 1228156 h 1262816"/>
                <a:gd name="connsiteX263" fmla="*/ 831028 w 1797323"/>
                <a:gd name="connsiteY263" fmla="*/ 1234275 h 1262816"/>
                <a:gd name="connsiteX264" fmla="*/ 827955 w 1797323"/>
                <a:gd name="connsiteY264" fmla="*/ 1234769 h 1262816"/>
                <a:gd name="connsiteX265" fmla="*/ 821533 w 1797323"/>
                <a:gd name="connsiteY265" fmla="*/ 1231778 h 1262816"/>
                <a:gd name="connsiteX266" fmla="*/ 814535 w 1797323"/>
                <a:gd name="connsiteY266" fmla="*/ 1233315 h 1262816"/>
                <a:gd name="connsiteX267" fmla="*/ 812532 w 1797323"/>
                <a:gd name="connsiteY267" fmla="*/ 1222969 h 1262816"/>
                <a:gd name="connsiteX268" fmla="*/ 810639 w 1797323"/>
                <a:gd name="connsiteY268" fmla="*/ 1221789 h 1262816"/>
                <a:gd name="connsiteX269" fmla="*/ 808333 w 1797323"/>
                <a:gd name="connsiteY269" fmla="*/ 1216273 h 1262816"/>
                <a:gd name="connsiteX270" fmla="*/ 794914 w 1797323"/>
                <a:gd name="connsiteY270" fmla="*/ 1224423 h 1262816"/>
                <a:gd name="connsiteX271" fmla="*/ 783196 w 1797323"/>
                <a:gd name="connsiteY271" fmla="*/ 1223655 h 1262816"/>
                <a:gd name="connsiteX272" fmla="*/ 781137 w 1797323"/>
                <a:gd name="connsiteY272" fmla="*/ 1222118 h 1262816"/>
                <a:gd name="connsiteX273" fmla="*/ 780561 w 1797323"/>
                <a:gd name="connsiteY273" fmla="*/ 1218221 h 1262816"/>
                <a:gd name="connsiteX274" fmla="*/ 776527 w 1797323"/>
                <a:gd name="connsiteY274" fmla="*/ 1215367 h 1262816"/>
                <a:gd name="connsiteX275" fmla="*/ 775018 w 1797323"/>
                <a:gd name="connsiteY275" fmla="*/ 1206668 h 1262816"/>
                <a:gd name="connsiteX276" fmla="*/ 754380 w 1797323"/>
                <a:gd name="connsiteY276" fmla="*/ 1203237 h 1262816"/>
                <a:gd name="connsiteX277" fmla="*/ 755450 w 1797323"/>
                <a:gd name="connsiteY277" fmla="*/ 1196322 h 1262816"/>
                <a:gd name="connsiteX278" fmla="*/ 758305 w 1797323"/>
                <a:gd name="connsiteY278" fmla="*/ 1191272 h 1262816"/>
                <a:gd name="connsiteX279" fmla="*/ 757921 w 1797323"/>
                <a:gd name="connsiteY279" fmla="*/ 1184356 h 1262816"/>
                <a:gd name="connsiteX280" fmla="*/ 762476 w 1797323"/>
                <a:gd name="connsiteY280" fmla="*/ 1177084 h 1262816"/>
                <a:gd name="connsiteX281" fmla="*/ 759704 w 1797323"/>
                <a:gd name="connsiteY281" fmla="*/ 1172803 h 1262816"/>
                <a:gd name="connsiteX282" fmla="*/ 753584 w 1797323"/>
                <a:gd name="connsiteY282" fmla="*/ 1172913 h 1262816"/>
                <a:gd name="connsiteX283" fmla="*/ 745187 w 1797323"/>
                <a:gd name="connsiteY283" fmla="*/ 1169098 h 1262816"/>
                <a:gd name="connsiteX284" fmla="*/ 743101 w 1797323"/>
                <a:gd name="connsiteY284" fmla="*/ 1155624 h 1262816"/>
                <a:gd name="connsiteX285" fmla="*/ 738875 w 1797323"/>
                <a:gd name="connsiteY285" fmla="*/ 1148022 h 1262816"/>
                <a:gd name="connsiteX286" fmla="*/ 742607 w 1797323"/>
                <a:gd name="connsiteY286" fmla="*/ 1140420 h 1262816"/>
                <a:gd name="connsiteX287" fmla="*/ 724001 w 1797323"/>
                <a:gd name="connsiteY287" fmla="*/ 1140777 h 1262816"/>
                <a:gd name="connsiteX288" fmla="*/ 709127 w 1797323"/>
                <a:gd name="connsiteY288" fmla="*/ 1147665 h 1262816"/>
                <a:gd name="connsiteX289" fmla="*/ 705806 w 1797323"/>
                <a:gd name="connsiteY289" fmla="*/ 1146568 h 1262816"/>
                <a:gd name="connsiteX290" fmla="*/ 710582 w 1797323"/>
                <a:gd name="connsiteY290" fmla="*/ 1136716 h 1262816"/>
                <a:gd name="connsiteX291" fmla="*/ 708797 w 1797323"/>
                <a:gd name="connsiteY291" fmla="*/ 1131090 h 1262816"/>
                <a:gd name="connsiteX292" fmla="*/ 705120 w 1797323"/>
                <a:gd name="connsiteY292" fmla="*/ 1127989 h 1262816"/>
                <a:gd name="connsiteX293" fmla="*/ 705724 w 1797323"/>
                <a:gd name="connsiteY293" fmla="*/ 1120908 h 1262816"/>
                <a:gd name="connsiteX294" fmla="*/ 711268 w 1797323"/>
                <a:gd name="connsiteY294" fmla="*/ 1116600 h 1262816"/>
                <a:gd name="connsiteX295" fmla="*/ 710169 w 1797323"/>
                <a:gd name="connsiteY295" fmla="*/ 1110837 h 1262816"/>
                <a:gd name="connsiteX296" fmla="*/ 713024 w 1797323"/>
                <a:gd name="connsiteY296" fmla="*/ 1104744 h 1262816"/>
                <a:gd name="connsiteX297" fmla="*/ 719967 w 1797323"/>
                <a:gd name="connsiteY297" fmla="*/ 1100957 h 1262816"/>
                <a:gd name="connsiteX298" fmla="*/ 723864 w 1797323"/>
                <a:gd name="connsiteY298" fmla="*/ 1092642 h 1262816"/>
                <a:gd name="connsiteX299" fmla="*/ 729106 w 1797323"/>
                <a:gd name="connsiteY299" fmla="*/ 1092285 h 1262816"/>
                <a:gd name="connsiteX300" fmla="*/ 732782 w 1797323"/>
                <a:gd name="connsiteY300" fmla="*/ 1085973 h 1262816"/>
                <a:gd name="connsiteX301" fmla="*/ 737997 w 1797323"/>
                <a:gd name="connsiteY301" fmla="*/ 1083010 h 1262816"/>
                <a:gd name="connsiteX302" fmla="*/ 736185 w 1797323"/>
                <a:gd name="connsiteY302" fmla="*/ 1076259 h 1262816"/>
                <a:gd name="connsiteX303" fmla="*/ 738820 w 1797323"/>
                <a:gd name="connsiteY303" fmla="*/ 1073212 h 1262816"/>
                <a:gd name="connsiteX304" fmla="*/ 740659 w 1797323"/>
                <a:gd name="connsiteY304" fmla="*/ 1057268 h 1262816"/>
                <a:gd name="connsiteX305" fmla="*/ 737887 w 1797323"/>
                <a:gd name="connsiteY305" fmla="*/ 1028124 h 1262816"/>
                <a:gd name="connsiteX306" fmla="*/ 732892 w 1797323"/>
                <a:gd name="connsiteY306" fmla="*/ 1025846 h 1262816"/>
                <a:gd name="connsiteX307" fmla="*/ 727816 w 1797323"/>
                <a:gd name="connsiteY307" fmla="*/ 1027767 h 1262816"/>
                <a:gd name="connsiteX308" fmla="*/ 721449 w 1797323"/>
                <a:gd name="connsiteY308" fmla="*/ 1008063 h 1262816"/>
                <a:gd name="connsiteX309" fmla="*/ 716509 w 1797323"/>
                <a:gd name="connsiteY309" fmla="*/ 1002465 h 1262816"/>
                <a:gd name="connsiteX310" fmla="*/ 711487 w 1797323"/>
                <a:gd name="connsiteY310" fmla="*/ 1000571 h 1262816"/>
                <a:gd name="connsiteX311" fmla="*/ 708358 w 1797323"/>
                <a:gd name="connsiteY311" fmla="*/ 996125 h 1262816"/>
                <a:gd name="connsiteX312" fmla="*/ 704763 w 1797323"/>
                <a:gd name="connsiteY312" fmla="*/ 996647 h 1262816"/>
                <a:gd name="connsiteX313" fmla="*/ 702952 w 1797323"/>
                <a:gd name="connsiteY313" fmla="*/ 1002766 h 1262816"/>
                <a:gd name="connsiteX314" fmla="*/ 698946 w 1797323"/>
                <a:gd name="connsiteY314" fmla="*/ 1006252 h 1262816"/>
                <a:gd name="connsiteX315" fmla="*/ 692689 w 1797323"/>
                <a:gd name="connsiteY315" fmla="*/ 1001916 h 1262816"/>
                <a:gd name="connsiteX316" fmla="*/ 683989 w 1797323"/>
                <a:gd name="connsiteY316" fmla="*/ 1001120 h 1262816"/>
                <a:gd name="connsiteX317" fmla="*/ 678528 w 1797323"/>
                <a:gd name="connsiteY317" fmla="*/ 998623 h 1262816"/>
                <a:gd name="connsiteX318" fmla="*/ 669856 w 1797323"/>
                <a:gd name="connsiteY318" fmla="*/ 1000214 h 1262816"/>
                <a:gd name="connsiteX319" fmla="*/ 670103 w 1797323"/>
                <a:gd name="connsiteY319" fmla="*/ 995412 h 1262816"/>
                <a:gd name="connsiteX320" fmla="*/ 676579 w 1797323"/>
                <a:gd name="connsiteY320" fmla="*/ 985916 h 1262816"/>
                <a:gd name="connsiteX321" fmla="*/ 673039 w 1797323"/>
                <a:gd name="connsiteY321" fmla="*/ 979083 h 1262816"/>
                <a:gd name="connsiteX322" fmla="*/ 664724 w 1797323"/>
                <a:gd name="connsiteY322" fmla="*/ 981278 h 1262816"/>
                <a:gd name="connsiteX323" fmla="*/ 664285 w 1797323"/>
                <a:gd name="connsiteY323" fmla="*/ 977217 h 1262816"/>
                <a:gd name="connsiteX324" fmla="*/ 668841 w 1797323"/>
                <a:gd name="connsiteY324" fmla="*/ 971893 h 1262816"/>
                <a:gd name="connsiteX325" fmla="*/ 660909 w 1797323"/>
                <a:gd name="connsiteY325" fmla="*/ 965471 h 1262816"/>
                <a:gd name="connsiteX326" fmla="*/ 649686 w 1797323"/>
                <a:gd name="connsiteY326" fmla="*/ 972167 h 1262816"/>
                <a:gd name="connsiteX327" fmla="*/ 637610 w 1797323"/>
                <a:gd name="connsiteY327" fmla="*/ 976394 h 1262816"/>
                <a:gd name="connsiteX328" fmla="*/ 625206 w 1797323"/>
                <a:gd name="connsiteY328" fmla="*/ 973814 h 1262816"/>
                <a:gd name="connsiteX329" fmla="*/ 620239 w 1797323"/>
                <a:gd name="connsiteY329" fmla="*/ 970548 h 1262816"/>
                <a:gd name="connsiteX330" fmla="*/ 614284 w 1797323"/>
                <a:gd name="connsiteY330" fmla="*/ 972442 h 1262816"/>
                <a:gd name="connsiteX331" fmla="*/ 602758 w 1797323"/>
                <a:gd name="connsiteY331" fmla="*/ 980922 h 1262816"/>
                <a:gd name="connsiteX332" fmla="*/ 596583 w 1797323"/>
                <a:gd name="connsiteY332" fmla="*/ 987837 h 1262816"/>
                <a:gd name="connsiteX333" fmla="*/ 580118 w 1797323"/>
                <a:gd name="connsiteY333" fmla="*/ 992503 h 1262816"/>
                <a:gd name="connsiteX334" fmla="*/ 576797 w 1797323"/>
                <a:gd name="connsiteY334" fmla="*/ 1000653 h 1262816"/>
                <a:gd name="connsiteX335" fmla="*/ 564118 w 1797323"/>
                <a:gd name="connsiteY335" fmla="*/ 1008145 h 1262816"/>
                <a:gd name="connsiteX336" fmla="*/ 560249 w 1797323"/>
                <a:gd name="connsiteY336" fmla="*/ 1015829 h 1262816"/>
                <a:gd name="connsiteX337" fmla="*/ 554212 w 1797323"/>
                <a:gd name="connsiteY337" fmla="*/ 1019013 h 1262816"/>
                <a:gd name="connsiteX338" fmla="*/ 549738 w 1797323"/>
                <a:gd name="connsiteY338" fmla="*/ 1018546 h 1262816"/>
                <a:gd name="connsiteX339" fmla="*/ 548558 w 1797323"/>
                <a:gd name="connsiteY339" fmla="*/ 1018436 h 1262816"/>
                <a:gd name="connsiteX340" fmla="*/ 540764 w 1797323"/>
                <a:gd name="connsiteY340" fmla="*/ 1021839 h 1262816"/>
                <a:gd name="connsiteX341" fmla="*/ 531104 w 1797323"/>
                <a:gd name="connsiteY341" fmla="*/ 1021208 h 1262816"/>
                <a:gd name="connsiteX342" fmla="*/ 528525 w 1797323"/>
                <a:gd name="connsiteY342" fmla="*/ 1016214 h 1262816"/>
                <a:gd name="connsiteX343" fmla="*/ 522871 w 1797323"/>
                <a:gd name="connsiteY343" fmla="*/ 1012810 h 1262816"/>
                <a:gd name="connsiteX344" fmla="*/ 518151 w 1797323"/>
                <a:gd name="connsiteY344" fmla="*/ 1014896 h 1262816"/>
                <a:gd name="connsiteX345" fmla="*/ 513706 w 1797323"/>
                <a:gd name="connsiteY345" fmla="*/ 1016845 h 1262816"/>
                <a:gd name="connsiteX346" fmla="*/ 504430 w 1797323"/>
                <a:gd name="connsiteY346" fmla="*/ 1011493 h 1262816"/>
                <a:gd name="connsiteX347" fmla="*/ 489089 w 1797323"/>
                <a:gd name="connsiteY347" fmla="*/ 1008447 h 1262816"/>
                <a:gd name="connsiteX348" fmla="*/ 476713 w 1797323"/>
                <a:gd name="connsiteY348" fmla="*/ 1006005 h 1262816"/>
                <a:gd name="connsiteX349" fmla="*/ 470647 w 1797323"/>
                <a:gd name="connsiteY349" fmla="*/ 1008941 h 1262816"/>
                <a:gd name="connsiteX350" fmla="*/ 458408 w 1797323"/>
                <a:gd name="connsiteY350" fmla="*/ 1024282 h 1262816"/>
                <a:gd name="connsiteX351" fmla="*/ 456926 w 1797323"/>
                <a:gd name="connsiteY351" fmla="*/ 1035835 h 1262816"/>
                <a:gd name="connsiteX352" fmla="*/ 453962 w 1797323"/>
                <a:gd name="connsiteY352" fmla="*/ 1038195 h 1262816"/>
                <a:gd name="connsiteX353" fmla="*/ 451136 w 1797323"/>
                <a:gd name="connsiteY353" fmla="*/ 1037290 h 1262816"/>
                <a:gd name="connsiteX354" fmla="*/ 446937 w 1797323"/>
                <a:gd name="connsiteY354" fmla="*/ 1028974 h 1262816"/>
                <a:gd name="connsiteX355" fmla="*/ 449626 w 1797323"/>
                <a:gd name="connsiteY355" fmla="*/ 1018217 h 1262816"/>
                <a:gd name="connsiteX356" fmla="*/ 447101 w 1797323"/>
                <a:gd name="connsiteY356" fmla="*/ 1011603 h 1262816"/>
                <a:gd name="connsiteX357" fmla="*/ 441695 w 1797323"/>
                <a:gd name="connsiteY357" fmla="*/ 1009984 h 1262816"/>
                <a:gd name="connsiteX358" fmla="*/ 428851 w 1797323"/>
                <a:gd name="connsiteY358" fmla="*/ 1014951 h 1262816"/>
                <a:gd name="connsiteX359" fmla="*/ 427946 w 1797323"/>
                <a:gd name="connsiteY359" fmla="*/ 1017064 h 1262816"/>
                <a:gd name="connsiteX360" fmla="*/ 419658 w 1797323"/>
                <a:gd name="connsiteY360" fmla="*/ 1015308 h 1262816"/>
                <a:gd name="connsiteX361" fmla="*/ 417847 w 1797323"/>
                <a:gd name="connsiteY361" fmla="*/ 1016900 h 1262816"/>
                <a:gd name="connsiteX362" fmla="*/ 415212 w 1797323"/>
                <a:gd name="connsiteY362" fmla="*/ 1019205 h 1262816"/>
                <a:gd name="connsiteX363" fmla="*/ 400476 w 1797323"/>
                <a:gd name="connsiteY363" fmla="*/ 1018903 h 1262816"/>
                <a:gd name="connsiteX364" fmla="*/ 382583 w 1797323"/>
                <a:gd name="connsiteY364" fmla="*/ 1009709 h 1262816"/>
                <a:gd name="connsiteX365" fmla="*/ 377314 w 1797323"/>
                <a:gd name="connsiteY365" fmla="*/ 1015665 h 1262816"/>
                <a:gd name="connsiteX366" fmla="*/ 371852 w 1797323"/>
                <a:gd name="connsiteY366" fmla="*/ 1012810 h 1262816"/>
                <a:gd name="connsiteX367" fmla="*/ 369740 w 1797323"/>
                <a:gd name="connsiteY367" fmla="*/ 1008721 h 1262816"/>
                <a:gd name="connsiteX368" fmla="*/ 367791 w 1797323"/>
                <a:gd name="connsiteY368" fmla="*/ 1010889 h 1262816"/>
                <a:gd name="connsiteX369" fmla="*/ 368066 w 1797323"/>
                <a:gd name="connsiteY369" fmla="*/ 1015280 h 1262816"/>
                <a:gd name="connsiteX370" fmla="*/ 366172 w 1797323"/>
                <a:gd name="connsiteY370" fmla="*/ 1015939 h 1262816"/>
                <a:gd name="connsiteX371" fmla="*/ 360875 w 1797323"/>
                <a:gd name="connsiteY371" fmla="*/ 1007542 h 1262816"/>
                <a:gd name="connsiteX372" fmla="*/ 356347 w 1797323"/>
                <a:gd name="connsiteY372" fmla="*/ 1001202 h 1262816"/>
                <a:gd name="connsiteX373" fmla="*/ 354179 w 1797323"/>
                <a:gd name="connsiteY373" fmla="*/ 1003041 h 1262816"/>
                <a:gd name="connsiteX374" fmla="*/ 349624 w 1797323"/>
                <a:gd name="connsiteY374" fmla="*/ 1002025 h 1262816"/>
                <a:gd name="connsiteX375" fmla="*/ 345233 w 1797323"/>
                <a:gd name="connsiteY375" fmla="*/ 1003480 h 1262816"/>
                <a:gd name="connsiteX376" fmla="*/ 339854 w 1797323"/>
                <a:gd name="connsiteY376" fmla="*/ 1001476 h 1262816"/>
                <a:gd name="connsiteX377" fmla="*/ 339223 w 1797323"/>
                <a:gd name="connsiteY377" fmla="*/ 998101 h 1262816"/>
                <a:gd name="connsiteX378" fmla="*/ 341226 w 1797323"/>
                <a:gd name="connsiteY378" fmla="*/ 993491 h 1262816"/>
                <a:gd name="connsiteX379" fmla="*/ 339360 w 1797323"/>
                <a:gd name="connsiteY379" fmla="*/ 990801 h 1262816"/>
                <a:gd name="connsiteX380" fmla="*/ 331429 w 1797323"/>
                <a:gd name="connsiteY380" fmla="*/ 993683 h 1262816"/>
                <a:gd name="connsiteX381" fmla="*/ 324623 w 1797323"/>
                <a:gd name="connsiteY381" fmla="*/ 989155 h 1262816"/>
                <a:gd name="connsiteX382" fmla="*/ 319437 w 1797323"/>
                <a:gd name="connsiteY382" fmla="*/ 988331 h 1262816"/>
                <a:gd name="connsiteX383" fmla="*/ 317735 w 1797323"/>
                <a:gd name="connsiteY383" fmla="*/ 984681 h 1262816"/>
                <a:gd name="connsiteX384" fmla="*/ 313564 w 1797323"/>
                <a:gd name="connsiteY384" fmla="*/ 982760 h 1262816"/>
                <a:gd name="connsiteX385" fmla="*/ 311643 w 1797323"/>
                <a:gd name="connsiteY385" fmla="*/ 972030 h 1262816"/>
                <a:gd name="connsiteX386" fmla="*/ 308843 w 1797323"/>
                <a:gd name="connsiteY386" fmla="*/ 969999 h 1262816"/>
                <a:gd name="connsiteX387" fmla="*/ 303520 w 1797323"/>
                <a:gd name="connsiteY387" fmla="*/ 969204 h 1262816"/>
                <a:gd name="connsiteX388" fmla="*/ 293860 w 1797323"/>
                <a:gd name="connsiteY388" fmla="*/ 973128 h 1262816"/>
                <a:gd name="connsiteX389" fmla="*/ 283898 w 1797323"/>
                <a:gd name="connsiteY389" fmla="*/ 960120 h 1262816"/>
                <a:gd name="connsiteX390" fmla="*/ 271219 w 1797323"/>
                <a:gd name="connsiteY390" fmla="*/ 955702 h 1262816"/>
                <a:gd name="connsiteX391" fmla="*/ 264112 w 1797323"/>
                <a:gd name="connsiteY391" fmla="*/ 948018 h 1262816"/>
                <a:gd name="connsiteX392" fmla="*/ 253354 w 1797323"/>
                <a:gd name="connsiteY392" fmla="*/ 943133 h 1262816"/>
                <a:gd name="connsiteX393" fmla="*/ 250088 w 1797323"/>
                <a:gd name="connsiteY393" fmla="*/ 934543 h 1262816"/>
                <a:gd name="connsiteX394" fmla="*/ 236641 w 1797323"/>
                <a:gd name="connsiteY394" fmla="*/ 931058 h 1262816"/>
                <a:gd name="connsiteX395" fmla="*/ 230906 w 1797323"/>
                <a:gd name="connsiteY395" fmla="*/ 932183 h 1262816"/>
                <a:gd name="connsiteX396" fmla="*/ 229671 w 1797323"/>
                <a:gd name="connsiteY396" fmla="*/ 938467 h 1262816"/>
                <a:gd name="connsiteX397" fmla="*/ 224045 w 1797323"/>
                <a:gd name="connsiteY397" fmla="*/ 945383 h 1262816"/>
                <a:gd name="connsiteX398" fmla="*/ 221767 w 1797323"/>
                <a:gd name="connsiteY398" fmla="*/ 944423 h 1262816"/>
                <a:gd name="connsiteX399" fmla="*/ 219242 w 1797323"/>
                <a:gd name="connsiteY399" fmla="*/ 939044 h 1262816"/>
                <a:gd name="connsiteX400" fmla="*/ 218474 w 1797323"/>
                <a:gd name="connsiteY400" fmla="*/ 937178 h 1262816"/>
                <a:gd name="connsiteX401" fmla="*/ 213946 w 1797323"/>
                <a:gd name="connsiteY401" fmla="*/ 935202 h 1262816"/>
                <a:gd name="connsiteX402" fmla="*/ 208018 w 1797323"/>
                <a:gd name="connsiteY402" fmla="*/ 930893 h 1262816"/>
                <a:gd name="connsiteX403" fmla="*/ 195147 w 1797323"/>
                <a:gd name="connsiteY403" fmla="*/ 926118 h 1262816"/>
                <a:gd name="connsiteX404" fmla="*/ 194681 w 1797323"/>
                <a:gd name="connsiteY404" fmla="*/ 923099 h 1262816"/>
                <a:gd name="connsiteX405" fmla="*/ 196026 w 1797323"/>
                <a:gd name="connsiteY405" fmla="*/ 921617 h 1262816"/>
                <a:gd name="connsiteX406" fmla="*/ 195861 w 1797323"/>
                <a:gd name="connsiteY406" fmla="*/ 920273 h 1262816"/>
                <a:gd name="connsiteX407" fmla="*/ 194077 w 1797323"/>
                <a:gd name="connsiteY407" fmla="*/ 918709 h 1262816"/>
                <a:gd name="connsiteX408" fmla="*/ 190976 w 1797323"/>
                <a:gd name="connsiteY408" fmla="*/ 918709 h 1262816"/>
                <a:gd name="connsiteX409" fmla="*/ 188534 w 1797323"/>
                <a:gd name="connsiteY409" fmla="*/ 916184 h 1262816"/>
                <a:gd name="connsiteX410" fmla="*/ 187353 w 1797323"/>
                <a:gd name="connsiteY410" fmla="*/ 916129 h 1262816"/>
                <a:gd name="connsiteX411" fmla="*/ 183100 w 1797323"/>
                <a:gd name="connsiteY411" fmla="*/ 912561 h 1262816"/>
                <a:gd name="connsiteX412" fmla="*/ 176513 w 1797323"/>
                <a:gd name="connsiteY412" fmla="*/ 913632 h 1262816"/>
                <a:gd name="connsiteX413" fmla="*/ 171738 w 1797323"/>
                <a:gd name="connsiteY413" fmla="*/ 909625 h 1262816"/>
                <a:gd name="connsiteX414" fmla="*/ 162106 w 1797323"/>
                <a:gd name="connsiteY414" fmla="*/ 897001 h 1262816"/>
                <a:gd name="connsiteX415" fmla="*/ 156041 w 1797323"/>
                <a:gd name="connsiteY415" fmla="*/ 902462 h 1262816"/>
                <a:gd name="connsiteX416" fmla="*/ 152803 w 1797323"/>
                <a:gd name="connsiteY416" fmla="*/ 900377 h 1262816"/>
                <a:gd name="connsiteX417" fmla="*/ 151732 w 1797323"/>
                <a:gd name="connsiteY417" fmla="*/ 894915 h 1262816"/>
                <a:gd name="connsiteX418" fmla="*/ 153928 w 1797323"/>
                <a:gd name="connsiteY418" fmla="*/ 891046 h 1262816"/>
                <a:gd name="connsiteX419" fmla="*/ 150855 w 1797323"/>
                <a:gd name="connsiteY419" fmla="*/ 885448 h 1262816"/>
                <a:gd name="connsiteX420" fmla="*/ 152556 w 1797323"/>
                <a:gd name="connsiteY420" fmla="*/ 879493 h 1262816"/>
                <a:gd name="connsiteX421" fmla="*/ 149482 w 1797323"/>
                <a:gd name="connsiteY421" fmla="*/ 873592 h 1262816"/>
                <a:gd name="connsiteX422" fmla="*/ 143884 w 1797323"/>
                <a:gd name="connsiteY422" fmla="*/ 869009 h 1262816"/>
                <a:gd name="connsiteX423" fmla="*/ 141716 w 1797323"/>
                <a:gd name="connsiteY423" fmla="*/ 859212 h 1262816"/>
                <a:gd name="connsiteX424" fmla="*/ 151596 w 1797323"/>
                <a:gd name="connsiteY424" fmla="*/ 853559 h 1262816"/>
                <a:gd name="connsiteX425" fmla="*/ 153818 w 1797323"/>
                <a:gd name="connsiteY425" fmla="*/ 861655 h 1262816"/>
                <a:gd name="connsiteX426" fmla="*/ 158209 w 1797323"/>
                <a:gd name="connsiteY426" fmla="*/ 865057 h 1262816"/>
                <a:gd name="connsiteX427" fmla="*/ 166826 w 1797323"/>
                <a:gd name="connsiteY427" fmla="*/ 859130 h 1262816"/>
                <a:gd name="connsiteX428" fmla="*/ 174620 w 1797323"/>
                <a:gd name="connsiteY428" fmla="*/ 856193 h 1262816"/>
                <a:gd name="connsiteX429" fmla="*/ 175690 w 1797323"/>
                <a:gd name="connsiteY429" fmla="*/ 853367 h 1262816"/>
                <a:gd name="connsiteX430" fmla="*/ 170394 w 1797323"/>
                <a:gd name="connsiteY430" fmla="*/ 843762 h 1262816"/>
                <a:gd name="connsiteX431" fmla="*/ 170723 w 1797323"/>
                <a:gd name="connsiteY431" fmla="*/ 836709 h 1262816"/>
                <a:gd name="connsiteX432" fmla="*/ 163698 w 1797323"/>
                <a:gd name="connsiteY432" fmla="*/ 835858 h 1262816"/>
                <a:gd name="connsiteX433" fmla="*/ 157852 w 1797323"/>
                <a:gd name="connsiteY433" fmla="*/ 829135 h 1262816"/>
                <a:gd name="connsiteX434" fmla="*/ 157029 w 1797323"/>
                <a:gd name="connsiteY434" fmla="*/ 822384 h 1262816"/>
                <a:gd name="connsiteX435" fmla="*/ 161310 w 1797323"/>
                <a:gd name="connsiteY435" fmla="*/ 819502 h 1262816"/>
                <a:gd name="connsiteX436" fmla="*/ 157111 w 1797323"/>
                <a:gd name="connsiteY436" fmla="*/ 807400 h 1262816"/>
                <a:gd name="connsiteX437" fmla="*/ 171162 w 1797323"/>
                <a:gd name="connsiteY437" fmla="*/ 806384 h 1262816"/>
                <a:gd name="connsiteX438" fmla="*/ 175717 w 1797323"/>
                <a:gd name="connsiteY438" fmla="*/ 797658 h 1262816"/>
                <a:gd name="connsiteX439" fmla="*/ 175334 w 1797323"/>
                <a:gd name="connsiteY439" fmla="*/ 791291 h 1262816"/>
                <a:gd name="connsiteX440" fmla="*/ 180246 w 1797323"/>
                <a:gd name="connsiteY440" fmla="*/ 791291 h 1262816"/>
                <a:gd name="connsiteX441" fmla="*/ 185377 w 1797323"/>
                <a:gd name="connsiteY441" fmla="*/ 784732 h 1262816"/>
                <a:gd name="connsiteX442" fmla="*/ 190016 w 1797323"/>
                <a:gd name="connsiteY442" fmla="*/ 782893 h 1262816"/>
                <a:gd name="connsiteX443" fmla="*/ 193693 w 1797323"/>
                <a:gd name="connsiteY443" fmla="*/ 776444 h 1262816"/>
                <a:gd name="connsiteX444" fmla="*/ 198194 w 1797323"/>
                <a:gd name="connsiteY444" fmla="*/ 754901 h 1262816"/>
                <a:gd name="connsiteX445" fmla="*/ 195257 w 1797323"/>
                <a:gd name="connsiteY445" fmla="*/ 752020 h 1262816"/>
                <a:gd name="connsiteX446" fmla="*/ 189604 w 1797323"/>
                <a:gd name="connsiteY446" fmla="*/ 755725 h 1262816"/>
                <a:gd name="connsiteX447" fmla="*/ 186393 w 1797323"/>
                <a:gd name="connsiteY447" fmla="*/ 750620 h 1262816"/>
                <a:gd name="connsiteX448" fmla="*/ 179944 w 1797323"/>
                <a:gd name="connsiteY448" fmla="*/ 747080 h 1262816"/>
                <a:gd name="connsiteX449" fmla="*/ 176020 w 1797323"/>
                <a:gd name="connsiteY449" fmla="*/ 740823 h 1262816"/>
                <a:gd name="connsiteX450" fmla="*/ 169214 w 1797323"/>
                <a:gd name="connsiteY450" fmla="*/ 736130 h 1262816"/>
                <a:gd name="connsiteX451" fmla="*/ 151403 w 1797323"/>
                <a:gd name="connsiteY451" fmla="*/ 738161 h 1262816"/>
                <a:gd name="connsiteX452" fmla="*/ 127775 w 1797323"/>
                <a:gd name="connsiteY452" fmla="*/ 753667 h 1262816"/>
                <a:gd name="connsiteX453" fmla="*/ 119844 w 1797323"/>
                <a:gd name="connsiteY453" fmla="*/ 754956 h 1262816"/>
                <a:gd name="connsiteX454" fmla="*/ 106040 w 1797323"/>
                <a:gd name="connsiteY454" fmla="*/ 752294 h 1262816"/>
                <a:gd name="connsiteX455" fmla="*/ 93389 w 1797323"/>
                <a:gd name="connsiteY455" fmla="*/ 747135 h 1262816"/>
                <a:gd name="connsiteX456" fmla="*/ 88559 w 1797323"/>
                <a:gd name="connsiteY456" fmla="*/ 742991 h 1262816"/>
                <a:gd name="connsiteX457" fmla="*/ 87434 w 1797323"/>
                <a:gd name="connsiteY457" fmla="*/ 738710 h 1262816"/>
                <a:gd name="connsiteX458" fmla="*/ 81863 w 1797323"/>
                <a:gd name="connsiteY458" fmla="*/ 741235 h 1262816"/>
                <a:gd name="connsiteX459" fmla="*/ 76209 w 1797323"/>
                <a:gd name="connsiteY459" fmla="*/ 740933 h 1262816"/>
                <a:gd name="connsiteX460" fmla="*/ 74426 w 1797323"/>
                <a:gd name="connsiteY460" fmla="*/ 735554 h 1262816"/>
                <a:gd name="connsiteX461" fmla="*/ 69815 w 1797323"/>
                <a:gd name="connsiteY461" fmla="*/ 731932 h 1262816"/>
                <a:gd name="connsiteX462" fmla="*/ 71874 w 1797323"/>
                <a:gd name="connsiteY462" fmla="*/ 727403 h 1262816"/>
                <a:gd name="connsiteX463" fmla="*/ 71654 w 1797323"/>
                <a:gd name="connsiteY463" fmla="*/ 721119 h 1262816"/>
                <a:gd name="connsiteX464" fmla="*/ 69843 w 1797323"/>
                <a:gd name="connsiteY464" fmla="*/ 714560 h 1262816"/>
                <a:gd name="connsiteX465" fmla="*/ 66632 w 1797323"/>
                <a:gd name="connsiteY465" fmla="*/ 710636 h 1262816"/>
                <a:gd name="connsiteX466" fmla="*/ 61637 w 1797323"/>
                <a:gd name="connsiteY466" fmla="*/ 707672 h 1262816"/>
                <a:gd name="connsiteX467" fmla="*/ 55298 w 1797323"/>
                <a:gd name="connsiteY467" fmla="*/ 708331 h 1262816"/>
                <a:gd name="connsiteX468" fmla="*/ 53047 w 1797323"/>
                <a:gd name="connsiteY468" fmla="*/ 700976 h 1262816"/>
                <a:gd name="connsiteX469" fmla="*/ 45363 w 1797323"/>
                <a:gd name="connsiteY469" fmla="*/ 698232 h 1262816"/>
                <a:gd name="connsiteX470" fmla="*/ 39052 w 1797323"/>
                <a:gd name="connsiteY470" fmla="*/ 700153 h 1262816"/>
                <a:gd name="connsiteX471" fmla="*/ 36582 w 1797323"/>
                <a:gd name="connsiteY471" fmla="*/ 697079 h 1262816"/>
                <a:gd name="connsiteX472" fmla="*/ 28898 w 1797323"/>
                <a:gd name="connsiteY472" fmla="*/ 697518 h 1262816"/>
                <a:gd name="connsiteX473" fmla="*/ 26208 w 1797323"/>
                <a:gd name="connsiteY473" fmla="*/ 694088 h 1262816"/>
                <a:gd name="connsiteX474" fmla="*/ 27389 w 1797323"/>
                <a:gd name="connsiteY474" fmla="*/ 690136 h 1262816"/>
                <a:gd name="connsiteX475" fmla="*/ 38475 w 1797323"/>
                <a:gd name="connsiteY475" fmla="*/ 690026 h 1262816"/>
                <a:gd name="connsiteX476" fmla="*/ 43909 w 1797323"/>
                <a:gd name="connsiteY476" fmla="*/ 686706 h 1262816"/>
                <a:gd name="connsiteX477" fmla="*/ 45034 w 1797323"/>
                <a:gd name="connsiteY477" fmla="*/ 683001 h 1262816"/>
                <a:gd name="connsiteX478" fmla="*/ 39656 w 1797323"/>
                <a:gd name="connsiteY478" fmla="*/ 675975 h 1262816"/>
                <a:gd name="connsiteX479" fmla="*/ 40452 w 1797323"/>
                <a:gd name="connsiteY479" fmla="*/ 669526 h 1262816"/>
                <a:gd name="connsiteX480" fmla="*/ 35868 w 1797323"/>
                <a:gd name="connsiteY480" fmla="*/ 655146 h 1262816"/>
                <a:gd name="connsiteX481" fmla="*/ 36389 w 1797323"/>
                <a:gd name="connsiteY481" fmla="*/ 643922 h 1262816"/>
                <a:gd name="connsiteX482" fmla="*/ 21516 w 1797323"/>
                <a:gd name="connsiteY482" fmla="*/ 637144 h 1262816"/>
                <a:gd name="connsiteX483" fmla="*/ 16713 w 1797323"/>
                <a:gd name="connsiteY483" fmla="*/ 637391 h 1262816"/>
                <a:gd name="connsiteX484" fmla="*/ 12761 w 1797323"/>
                <a:gd name="connsiteY484" fmla="*/ 641150 h 1262816"/>
                <a:gd name="connsiteX485" fmla="*/ 7931 w 1797323"/>
                <a:gd name="connsiteY485" fmla="*/ 639559 h 1262816"/>
                <a:gd name="connsiteX486" fmla="*/ 4583 w 1797323"/>
                <a:gd name="connsiteY486" fmla="*/ 629542 h 1262816"/>
                <a:gd name="connsiteX487" fmla="*/ 6559 w 1797323"/>
                <a:gd name="connsiteY487" fmla="*/ 623889 h 1262816"/>
                <a:gd name="connsiteX488" fmla="*/ 0 w 1797323"/>
                <a:gd name="connsiteY488" fmla="*/ 614695 h 1262816"/>
                <a:gd name="connsiteX489" fmla="*/ 2223 w 1797323"/>
                <a:gd name="connsiteY489" fmla="*/ 606380 h 1262816"/>
                <a:gd name="connsiteX490" fmla="*/ 7081 w 1797323"/>
                <a:gd name="connsiteY490" fmla="*/ 606243 h 1262816"/>
                <a:gd name="connsiteX491" fmla="*/ 9441 w 1797323"/>
                <a:gd name="connsiteY491" fmla="*/ 603251 h 1262816"/>
                <a:gd name="connsiteX492" fmla="*/ 10099 w 1797323"/>
                <a:gd name="connsiteY492" fmla="*/ 599135 h 1262816"/>
                <a:gd name="connsiteX493" fmla="*/ 7931 w 1797323"/>
                <a:gd name="connsiteY493" fmla="*/ 593619 h 1262816"/>
                <a:gd name="connsiteX494" fmla="*/ 12487 w 1797323"/>
                <a:gd name="connsiteY494" fmla="*/ 583575 h 1262816"/>
                <a:gd name="connsiteX495" fmla="*/ 22723 w 1797323"/>
                <a:gd name="connsiteY495" fmla="*/ 581956 h 1262816"/>
                <a:gd name="connsiteX496" fmla="*/ 33426 w 1797323"/>
                <a:gd name="connsiteY496" fmla="*/ 572982 h 1262816"/>
                <a:gd name="connsiteX497" fmla="*/ 37926 w 1797323"/>
                <a:gd name="connsiteY497" fmla="*/ 572817 h 1262816"/>
                <a:gd name="connsiteX498" fmla="*/ 36088 w 1797323"/>
                <a:gd name="connsiteY498" fmla="*/ 568783 h 1262816"/>
                <a:gd name="connsiteX499" fmla="*/ 37048 w 1797323"/>
                <a:gd name="connsiteY499" fmla="*/ 566478 h 1262816"/>
                <a:gd name="connsiteX500" fmla="*/ 45281 w 1797323"/>
                <a:gd name="connsiteY500" fmla="*/ 568536 h 1262816"/>
                <a:gd name="connsiteX501" fmla="*/ 58509 w 1797323"/>
                <a:gd name="connsiteY501" fmla="*/ 561099 h 1262816"/>
                <a:gd name="connsiteX502" fmla="*/ 62159 w 1797323"/>
                <a:gd name="connsiteY502" fmla="*/ 567548 h 1262816"/>
                <a:gd name="connsiteX503" fmla="*/ 61198 w 1797323"/>
                <a:gd name="connsiteY503" fmla="*/ 571390 h 1262816"/>
                <a:gd name="connsiteX504" fmla="*/ 62515 w 1797323"/>
                <a:gd name="connsiteY504" fmla="*/ 574382 h 1262816"/>
                <a:gd name="connsiteX505" fmla="*/ 68224 w 1797323"/>
                <a:gd name="connsiteY505" fmla="*/ 574162 h 1262816"/>
                <a:gd name="connsiteX506" fmla="*/ 71352 w 1797323"/>
                <a:gd name="connsiteY506" fmla="*/ 571061 h 1262816"/>
                <a:gd name="connsiteX507" fmla="*/ 79228 w 1797323"/>
                <a:gd name="connsiteY507" fmla="*/ 568948 h 1262816"/>
                <a:gd name="connsiteX508" fmla="*/ 82466 w 1797323"/>
                <a:gd name="connsiteY508" fmla="*/ 571088 h 1262816"/>
                <a:gd name="connsiteX509" fmla="*/ 86144 w 1797323"/>
                <a:gd name="connsiteY509" fmla="*/ 567850 h 1262816"/>
                <a:gd name="connsiteX510" fmla="*/ 90150 w 1797323"/>
                <a:gd name="connsiteY510" fmla="*/ 556763 h 1262816"/>
                <a:gd name="connsiteX511" fmla="*/ 96408 w 1797323"/>
                <a:gd name="connsiteY511" fmla="*/ 546746 h 1262816"/>
                <a:gd name="connsiteX512" fmla="*/ 101485 w 1797323"/>
                <a:gd name="connsiteY512" fmla="*/ 545182 h 1262816"/>
                <a:gd name="connsiteX513" fmla="*/ 118993 w 1797323"/>
                <a:gd name="connsiteY513" fmla="*/ 547158 h 1262816"/>
                <a:gd name="connsiteX514" fmla="*/ 127089 w 1797323"/>
                <a:gd name="connsiteY514" fmla="*/ 544359 h 1262816"/>
                <a:gd name="connsiteX515" fmla="*/ 133346 w 1797323"/>
                <a:gd name="connsiteY515" fmla="*/ 545045 h 1262816"/>
                <a:gd name="connsiteX516" fmla="*/ 140673 w 1797323"/>
                <a:gd name="connsiteY516" fmla="*/ 536648 h 1262816"/>
                <a:gd name="connsiteX517" fmla="*/ 142813 w 1797323"/>
                <a:gd name="connsiteY517" fmla="*/ 530665 h 1262816"/>
                <a:gd name="connsiteX518" fmla="*/ 156919 w 1797323"/>
                <a:gd name="connsiteY518" fmla="*/ 522844 h 1262816"/>
                <a:gd name="connsiteX519" fmla="*/ 160212 w 1797323"/>
                <a:gd name="connsiteY519" fmla="*/ 521005 h 1262816"/>
                <a:gd name="connsiteX520" fmla="*/ 171683 w 1797323"/>
                <a:gd name="connsiteY520" fmla="*/ 514638 h 1262816"/>
                <a:gd name="connsiteX521" fmla="*/ 179011 w 1797323"/>
                <a:gd name="connsiteY521" fmla="*/ 515791 h 1262816"/>
                <a:gd name="connsiteX522" fmla="*/ 183347 w 1797323"/>
                <a:gd name="connsiteY522" fmla="*/ 508519 h 1262816"/>
                <a:gd name="connsiteX523" fmla="*/ 184088 w 1797323"/>
                <a:gd name="connsiteY523" fmla="*/ 507228 h 1262816"/>
                <a:gd name="connsiteX524" fmla="*/ 195395 w 1797323"/>
                <a:gd name="connsiteY524" fmla="*/ 505472 h 1262816"/>
                <a:gd name="connsiteX525" fmla="*/ 195888 w 1797323"/>
                <a:gd name="connsiteY525" fmla="*/ 499188 h 1262816"/>
                <a:gd name="connsiteX526" fmla="*/ 195586 w 1797323"/>
                <a:gd name="connsiteY526" fmla="*/ 491998 h 1262816"/>
                <a:gd name="connsiteX527" fmla="*/ 195230 w 1797323"/>
                <a:gd name="connsiteY527" fmla="*/ 482750 h 1262816"/>
                <a:gd name="connsiteX528" fmla="*/ 195120 w 1797323"/>
                <a:gd name="connsiteY528" fmla="*/ 479950 h 1262816"/>
                <a:gd name="connsiteX529" fmla="*/ 203325 w 1797323"/>
                <a:gd name="connsiteY529" fmla="*/ 472650 h 1262816"/>
                <a:gd name="connsiteX530" fmla="*/ 202392 w 1797323"/>
                <a:gd name="connsiteY530" fmla="*/ 466284 h 1262816"/>
                <a:gd name="connsiteX531" fmla="*/ 210433 w 1797323"/>
                <a:gd name="connsiteY531" fmla="*/ 460768 h 1262816"/>
                <a:gd name="connsiteX532" fmla="*/ 209610 w 1797323"/>
                <a:gd name="connsiteY532" fmla="*/ 447348 h 1262816"/>
                <a:gd name="connsiteX533" fmla="*/ 200746 w 1797323"/>
                <a:gd name="connsiteY533" fmla="*/ 420344 h 1262816"/>
                <a:gd name="connsiteX534" fmla="*/ 199181 w 1797323"/>
                <a:gd name="connsiteY534" fmla="*/ 407309 h 1262816"/>
                <a:gd name="connsiteX535" fmla="*/ 201459 w 1797323"/>
                <a:gd name="connsiteY535" fmla="*/ 397182 h 1262816"/>
                <a:gd name="connsiteX536" fmla="*/ 196519 w 1797323"/>
                <a:gd name="connsiteY536" fmla="*/ 393505 h 1262816"/>
                <a:gd name="connsiteX537" fmla="*/ 189302 w 1797323"/>
                <a:gd name="connsiteY537" fmla="*/ 393505 h 1262816"/>
                <a:gd name="connsiteX538" fmla="*/ 187381 w 1797323"/>
                <a:gd name="connsiteY538" fmla="*/ 388675 h 1262816"/>
                <a:gd name="connsiteX539" fmla="*/ 192348 w 1797323"/>
                <a:gd name="connsiteY539" fmla="*/ 384449 h 1262816"/>
                <a:gd name="connsiteX540" fmla="*/ 237218 w 1797323"/>
                <a:gd name="connsiteY540" fmla="*/ 371962 h 1262816"/>
                <a:gd name="connsiteX541" fmla="*/ 246219 w 1797323"/>
                <a:gd name="connsiteY541" fmla="*/ 378631 h 1262816"/>
                <a:gd name="connsiteX542" fmla="*/ 254424 w 1797323"/>
                <a:gd name="connsiteY542" fmla="*/ 377012 h 1262816"/>
                <a:gd name="connsiteX543" fmla="*/ 262465 w 1797323"/>
                <a:gd name="connsiteY543" fmla="*/ 379317 h 1262816"/>
                <a:gd name="connsiteX544" fmla="*/ 264633 w 1797323"/>
                <a:gd name="connsiteY544" fmla="*/ 369355 h 1262816"/>
                <a:gd name="connsiteX545" fmla="*/ 257169 w 1797323"/>
                <a:gd name="connsiteY545" fmla="*/ 364031 h 1262816"/>
                <a:gd name="connsiteX546" fmla="*/ 256345 w 1797323"/>
                <a:gd name="connsiteY546" fmla="*/ 359750 h 1262816"/>
                <a:gd name="connsiteX547" fmla="*/ 278410 w 1797323"/>
                <a:gd name="connsiteY547" fmla="*/ 293311 h 1262816"/>
                <a:gd name="connsiteX548" fmla="*/ 282690 w 1797323"/>
                <a:gd name="connsiteY548" fmla="*/ 292652 h 1262816"/>
                <a:gd name="connsiteX549" fmla="*/ 306429 w 1797323"/>
                <a:gd name="connsiteY549" fmla="*/ 302421 h 1262816"/>
                <a:gd name="connsiteX550" fmla="*/ 325364 w 1797323"/>
                <a:gd name="connsiteY550" fmla="*/ 302037 h 1262816"/>
                <a:gd name="connsiteX551" fmla="*/ 330551 w 1797323"/>
                <a:gd name="connsiteY551" fmla="*/ 308020 h 1262816"/>
                <a:gd name="connsiteX552" fmla="*/ 342543 w 1797323"/>
                <a:gd name="connsiteY552" fmla="*/ 299924 h 1262816"/>
                <a:gd name="connsiteX553" fmla="*/ 350475 w 1797323"/>
                <a:gd name="connsiteY553" fmla="*/ 298305 h 1262816"/>
                <a:gd name="connsiteX554" fmla="*/ 355963 w 1797323"/>
                <a:gd name="connsiteY554" fmla="*/ 289002 h 1262816"/>
                <a:gd name="connsiteX555" fmla="*/ 352231 w 1797323"/>
                <a:gd name="connsiteY555" fmla="*/ 260626 h 1262816"/>
                <a:gd name="connsiteX556" fmla="*/ 357665 w 1797323"/>
                <a:gd name="connsiteY556" fmla="*/ 242569 h 1262816"/>
                <a:gd name="connsiteX557" fmla="*/ 381869 w 1797323"/>
                <a:gd name="connsiteY557" fmla="*/ 233567 h 1262816"/>
                <a:gd name="connsiteX558" fmla="*/ 387083 w 1797323"/>
                <a:gd name="connsiteY558" fmla="*/ 225828 h 1262816"/>
                <a:gd name="connsiteX559" fmla="*/ 387386 w 1797323"/>
                <a:gd name="connsiteY559" fmla="*/ 214439 h 1262816"/>
                <a:gd name="connsiteX560" fmla="*/ 390733 w 1797323"/>
                <a:gd name="connsiteY560" fmla="*/ 209637 h 1262816"/>
                <a:gd name="connsiteX561" fmla="*/ 397923 w 1797323"/>
                <a:gd name="connsiteY561" fmla="*/ 207469 h 1262816"/>
                <a:gd name="connsiteX562" fmla="*/ 403741 w 1797323"/>
                <a:gd name="connsiteY562" fmla="*/ 209115 h 1262816"/>
                <a:gd name="connsiteX563" fmla="*/ 418835 w 1797323"/>
                <a:gd name="connsiteY563" fmla="*/ 205356 h 1262816"/>
                <a:gd name="connsiteX564" fmla="*/ 420701 w 1797323"/>
                <a:gd name="connsiteY564" fmla="*/ 211366 h 1262816"/>
                <a:gd name="connsiteX565" fmla="*/ 418039 w 1797323"/>
                <a:gd name="connsiteY565" fmla="*/ 218665 h 1262816"/>
                <a:gd name="connsiteX566" fmla="*/ 425175 w 1797323"/>
                <a:gd name="connsiteY566" fmla="*/ 225856 h 1262816"/>
                <a:gd name="connsiteX567" fmla="*/ 425010 w 1797323"/>
                <a:gd name="connsiteY567" fmla="*/ 233018 h 1262816"/>
                <a:gd name="connsiteX568" fmla="*/ 438676 w 1797323"/>
                <a:gd name="connsiteY568" fmla="*/ 240895 h 1262816"/>
                <a:gd name="connsiteX569" fmla="*/ 443067 w 1797323"/>
                <a:gd name="connsiteY569" fmla="*/ 249814 h 1262816"/>
                <a:gd name="connsiteX570" fmla="*/ 455334 w 1797323"/>
                <a:gd name="connsiteY570" fmla="*/ 258156 h 1262816"/>
                <a:gd name="connsiteX571" fmla="*/ 469302 w 1797323"/>
                <a:gd name="connsiteY571" fmla="*/ 257964 h 1262816"/>
                <a:gd name="connsiteX572" fmla="*/ 475999 w 1797323"/>
                <a:gd name="connsiteY572" fmla="*/ 264935 h 1262816"/>
                <a:gd name="connsiteX573" fmla="*/ 483299 w 1797323"/>
                <a:gd name="connsiteY573" fmla="*/ 264441 h 1262816"/>
                <a:gd name="connsiteX574" fmla="*/ 489034 w 1797323"/>
                <a:gd name="connsiteY574" fmla="*/ 270670 h 1262816"/>
                <a:gd name="connsiteX575" fmla="*/ 492547 w 1797323"/>
                <a:gd name="connsiteY575" fmla="*/ 274485 h 1262816"/>
                <a:gd name="connsiteX576" fmla="*/ 498722 w 1797323"/>
                <a:gd name="connsiteY576" fmla="*/ 292350 h 1262816"/>
                <a:gd name="connsiteX577" fmla="*/ 509617 w 1797323"/>
                <a:gd name="connsiteY577" fmla="*/ 305276 h 1262816"/>
                <a:gd name="connsiteX578" fmla="*/ 513211 w 1797323"/>
                <a:gd name="connsiteY578" fmla="*/ 316198 h 1262816"/>
                <a:gd name="connsiteX579" fmla="*/ 513211 w 1797323"/>
                <a:gd name="connsiteY579" fmla="*/ 322757 h 1262816"/>
                <a:gd name="connsiteX580" fmla="*/ 510110 w 1797323"/>
                <a:gd name="connsiteY580" fmla="*/ 332197 h 1262816"/>
                <a:gd name="connsiteX581" fmla="*/ 512333 w 1797323"/>
                <a:gd name="connsiteY581" fmla="*/ 342900 h 1262816"/>
                <a:gd name="connsiteX582" fmla="*/ 505253 w 1797323"/>
                <a:gd name="connsiteY582" fmla="*/ 354234 h 1262816"/>
                <a:gd name="connsiteX583" fmla="*/ 503167 w 1797323"/>
                <a:gd name="connsiteY583" fmla="*/ 362055 h 1262816"/>
                <a:gd name="connsiteX584" fmla="*/ 509534 w 1797323"/>
                <a:gd name="connsiteY584" fmla="*/ 376490 h 1262816"/>
                <a:gd name="connsiteX585" fmla="*/ 518124 w 1797323"/>
                <a:gd name="connsiteY585" fmla="*/ 378192 h 1262816"/>
                <a:gd name="connsiteX586" fmla="*/ 528525 w 1797323"/>
                <a:gd name="connsiteY586" fmla="*/ 380250 h 1262816"/>
                <a:gd name="connsiteX587" fmla="*/ 549738 w 1797323"/>
                <a:gd name="connsiteY587" fmla="*/ 384449 h 1262816"/>
                <a:gd name="connsiteX588" fmla="*/ 553470 w 1797323"/>
                <a:gd name="connsiteY588" fmla="*/ 385107 h 1262816"/>
                <a:gd name="connsiteX589" fmla="*/ 566533 w 1797323"/>
                <a:gd name="connsiteY589" fmla="*/ 384037 h 1262816"/>
                <a:gd name="connsiteX590" fmla="*/ 587527 w 1797323"/>
                <a:gd name="connsiteY590" fmla="*/ 387824 h 1262816"/>
                <a:gd name="connsiteX591" fmla="*/ 605722 w 1797323"/>
                <a:gd name="connsiteY591" fmla="*/ 398472 h 1262816"/>
                <a:gd name="connsiteX592" fmla="*/ 622819 w 1797323"/>
                <a:gd name="connsiteY592" fmla="*/ 413127 h 1262816"/>
                <a:gd name="connsiteX593" fmla="*/ 630777 w 1797323"/>
                <a:gd name="connsiteY593" fmla="*/ 416282 h 1262816"/>
                <a:gd name="connsiteX594" fmla="*/ 641644 w 1797323"/>
                <a:gd name="connsiteY594" fmla="*/ 415459 h 1262816"/>
                <a:gd name="connsiteX595" fmla="*/ 640245 w 1797323"/>
                <a:gd name="connsiteY595" fmla="*/ 425174 h 1262816"/>
                <a:gd name="connsiteX596" fmla="*/ 646091 w 1797323"/>
                <a:gd name="connsiteY596" fmla="*/ 428522 h 1262816"/>
                <a:gd name="connsiteX597" fmla="*/ 653143 w 1797323"/>
                <a:gd name="connsiteY597" fmla="*/ 447266 h 1262816"/>
                <a:gd name="connsiteX598" fmla="*/ 657205 w 1797323"/>
                <a:gd name="connsiteY598" fmla="*/ 457447 h 1262816"/>
                <a:gd name="connsiteX599" fmla="*/ 668923 w 1797323"/>
                <a:gd name="connsiteY599" fmla="*/ 470400 h 1262816"/>
                <a:gd name="connsiteX600" fmla="*/ 672408 w 1797323"/>
                <a:gd name="connsiteY600" fmla="*/ 477865 h 1262816"/>
                <a:gd name="connsiteX601" fmla="*/ 695131 w 1797323"/>
                <a:gd name="connsiteY601" fmla="*/ 476438 h 1262816"/>
                <a:gd name="connsiteX602" fmla="*/ 724111 w 1797323"/>
                <a:gd name="connsiteY602" fmla="*/ 481789 h 1262816"/>
                <a:gd name="connsiteX603" fmla="*/ 733963 w 1797323"/>
                <a:gd name="connsiteY603" fmla="*/ 482667 h 1262816"/>
                <a:gd name="connsiteX604" fmla="*/ 760637 w 1797323"/>
                <a:gd name="connsiteY604" fmla="*/ 485082 h 1262816"/>
                <a:gd name="connsiteX605" fmla="*/ 774908 w 1797323"/>
                <a:gd name="connsiteY605" fmla="*/ 482667 h 1262816"/>
                <a:gd name="connsiteX606" fmla="*/ 787175 w 1797323"/>
                <a:gd name="connsiteY606" fmla="*/ 480581 h 1262816"/>
                <a:gd name="connsiteX607" fmla="*/ 801967 w 1797323"/>
                <a:gd name="connsiteY607" fmla="*/ 481240 h 1262816"/>
                <a:gd name="connsiteX608" fmla="*/ 807757 w 1797323"/>
                <a:gd name="connsiteY608" fmla="*/ 482667 h 1262816"/>
                <a:gd name="connsiteX609" fmla="*/ 828257 w 1797323"/>
                <a:gd name="connsiteY609" fmla="*/ 487717 h 1262816"/>
                <a:gd name="connsiteX610" fmla="*/ 832401 w 1797323"/>
                <a:gd name="connsiteY610" fmla="*/ 491943 h 1262816"/>
                <a:gd name="connsiteX611" fmla="*/ 839234 w 1797323"/>
                <a:gd name="connsiteY611" fmla="*/ 498447 h 1262816"/>
                <a:gd name="connsiteX612" fmla="*/ 856962 w 1797323"/>
                <a:gd name="connsiteY612" fmla="*/ 502289 h 1262816"/>
                <a:gd name="connsiteX613" fmla="*/ 878477 w 1797323"/>
                <a:gd name="connsiteY613" fmla="*/ 512717 h 1262816"/>
                <a:gd name="connsiteX614" fmla="*/ 891650 w 1797323"/>
                <a:gd name="connsiteY614" fmla="*/ 515599 h 1262816"/>
                <a:gd name="connsiteX615" fmla="*/ 908034 w 1797323"/>
                <a:gd name="connsiteY615" fmla="*/ 513403 h 1262816"/>
                <a:gd name="connsiteX616" fmla="*/ 911217 w 1797323"/>
                <a:gd name="connsiteY616" fmla="*/ 520785 h 1262816"/>
                <a:gd name="connsiteX617" fmla="*/ 922908 w 1797323"/>
                <a:gd name="connsiteY617" fmla="*/ 523146 h 1262816"/>
                <a:gd name="connsiteX618" fmla="*/ 945987 w 1797323"/>
                <a:gd name="connsiteY618" fmla="*/ 509506 h 1262816"/>
                <a:gd name="connsiteX619" fmla="*/ 990746 w 1797323"/>
                <a:gd name="connsiteY619" fmla="*/ 491943 h 1262816"/>
                <a:gd name="connsiteX620" fmla="*/ 994479 w 1797323"/>
                <a:gd name="connsiteY620" fmla="*/ 490488 h 1262816"/>
                <a:gd name="connsiteX621" fmla="*/ 1036851 w 1797323"/>
                <a:gd name="connsiteY621" fmla="*/ 491778 h 1262816"/>
                <a:gd name="connsiteX622" fmla="*/ 1053619 w 1797323"/>
                <a:gd name="connsiteY622" fmla="*/ 489583 h 1262816"/>
                <a:gd name="connsiteX623" fmla="*/ 1070386 w 1797323"/>
                <a:gd name="connsiteY623" fmla="*/ 482695 h 1262816"/>
                <a:gd name="connsiteX624" fmla="*/ 1080567 w 1797323"/>
                <a:gd name="connsiteY624" fmla="*/ 478496 h 1262816"/>
                <a:gd name="connsiteX625" fmla="*/ 1100189 w 1797323"/>
                <a:gd name="connsiteY625" fmla="*/ 455910 h 1262816"/>
                <a:gd name="connsiteX626" fmla="*/ 1117725 w 1797323"/>
                <a:gd name="connsiteY626" fmla="*/ 447266 h 1262816"/>
                <a:gd name="connsiteX627" fmla="*/ 1128236 w 1797323"/>
                <a:gd name="connsiteY627" fmla="*/ 438786 h 1262816"/>
                <a:gd name="connsiteX628" fmla="*/ 1126589 w 1797323"/>
                <a:gd name="connsiteY628" fmla="*/ 431596 h 1262816"/>
                <a:gd name="connsiteX629" fmla="*/ 1117972 w 1797323"/>
                <a:gd name="connsiteY629" fmla="*/ 422567 h 1262816"/>
                <a:gd name="connsiteX630" fmla="*/ 1112786 w 1797323"/>
                <a:gd name="connsiteY630" fmla="*/ 412413 h 1262816"/>
                <a:gd name="connsiteX631" fmla="*/ 1117780 w 1797323"/>
                <a:gd name="connsiteY631" fmla="*/ 397923 h 1262816"/>
                <a:gd name="connsiteX632" fmla="*/ 1124394 w 1797323"/>
                <a:gd name="connsiteY632" fmla="*/ 385931 h 1262816"/>
                <a:gd name="connsiteX633" fmla="*/ 1130102 w 1797323"/>
                <a:gd name="connsiteY633" fmla="*/ 382363 h 1262816"/>
                <a:gd name="connsiteX634" fmla="*/ 1142067 w 1797323"/>
                <a:gd name="connsiteY634" fmla="*/ 382994 h 1262816"/>
                <a:gd name="connsiteX635" fmla="*/ 1154389 w 1797323"/>
                <a:gd name="connsiteY635" fmla="*/ 392435 h 1262816"/>
                <a:gd name="connsiteX636" fmla="*/ 1176892 w 1797323"/>
                <a:gd name="connsiteY636" fmla="*/ 396304 h 1262816"/>
                <a:gd name="connsiteX637" fmla="*/ 1190861 w 1797323"/>
                <a:gd name="connsiteY637" fmla="*/ 387989 h 1262816"/>
                <a:gd name="connsiteX638" fmla="*/ 1201290 w 1797323"/>
                <a:gd name="connsiteY638" fmla="*/ 377698 h 1262816"/>
                <a:gd name="connsiteX639" fmla="*/ 1204665 w 1797323"/>
                <a:gd name="connsiteY639" fmla="*/ 370618 h 1262816"/>
                <a:gd name="connsiteX640" fmla="*/ 1208809 w 1797323"/>
                <a:gd name="connsiteY640" fmla="*/ 368504 h 1262816"/>
                <a:gd name="connsiteX641" fmla="*/ 1227854 w 1797323"/>
                <a:gd name="connsiteY641" fmla="*/ 369684 h 1262816"/>
                <a:gd name="connsiteX642" fmla="*/ 1238145 w 1797323"/>
                <a:gd name="connsiteY642" fmla="*/ 366528 h 1262816"/>
                <a:gd name="connsiteX643" fmla="*/ 1254172 w 1797323"/>
                <a:gd name="connsiteY643" fmla="*/ 355085 h 1262816"/>
                <a:gd name="connsiteX644" fmla="*/ 1256011 w 1797323"/>
                <a:gd name="connsiteY644" fmla="*/ 344464 h 1262816"/>
                <a:gd name="connsiteX645" fmla="*/ 1264628 w 1797323"/>
                <a:gd name="connsiteY645" fmla="*/ 331895 h 1262816"/>
                <a:gd name="connsiteX646" fmla="*/ 1272257 w 1797323"/>
                <a:gd name="connsiteY646" fmla="*/ 328245 h 1262816"/>
                <a:gd name="connsiteX647" fmla="*/ 1285813 w 1797323"/>
                <a:gd name="connsiteY647" fmla="*/ 328575 h 1262816"/>
                <a:gd name="connsiteX648" fmla="*/ 1290918 w 1797323"/>
                <a:gd name="connsiteY648" fmla="*/ 319135 h 1262816"/>
                <a:gd name="connsiteX649" fmla="*/ 1298190 w 1797323"/>
                <a:gd name="connsiteY649" fmla="*/ 321549 h 1262816"/>
                <a:gd name="connsiteX650" fmla="*/ 1314629 w 1797323"/>
                <a:gd name="connsiteY650" fmla="*/ 312905 h 1262816"/>
                <a:gd name="connsiteX651" fmla="*/ 1328432 w 1797323"/>
                <a:gd name="connsiteY651" fmla="*/ 314195 h 1262816"/>
                <a:gd name="connsiteX652" fmla="*/ 1331808 w 1797323"/>
                <a:gd name="connsiteY652" fmla="*/ 311423 h 1262816"/>
                <a:gd name="connsiteX653" fmla="*/ 1339108 w 1797323"/>
                <a:gd name="connsiteY653" fmla="*/ 315924 h 1262816"/>
                <a:gd name="connsiteX654" fmla="*/ 1357083 w 1797323"/>
                <a:gd name="connsiteY654" fmla="*/ 317817 h 1262816"/>
                <a:gd name="connsiteX655" fmla="*/ 1362133 w 1797323"/>
                <a:gd name="connsiteY655" fmla="*/ 314003 h 1262816"/>
                <a:gd name="connsiteX656" fmla="*/ 1362709 w 1797323"/>
                <a:gd name="connsiteY656" fmla="*/ 306895 h 1262816"/>
                <a:gd name="connsiteX657" fmla="*/ 1357110 w 1797323"/>
                <a:gd name="connsiteY657" fmla="*/ 294655 h 1262816"/>
                <a:gd name="connsiteX658" fmla="*/ 1351732 w 1797323"/>
                <a:gd name="connsiteY658" fmla="*/ 288590 h 1262816"/>
                <a:gd name="connsiteX659" fmla="*/ 1345310 w 1797323"/>
                <a:gd name="connsiteY659" fmla="*/ 280632 h 1262816"/>
                <a:gd name="connsiteX660" fmla="*/ 1340315 w 1797323"/>
                <a:gd name="connsiteY660" fmla="*/ 278409 h 1262816"/>
                <a:gd name="connsiteX661" fmla="*/ 1338340 w 1797323"/>
                <a:gd name="connsiteY661" fmla="*/ 272701 h 1262816"/>
                <a:gd name="connsiteX662" fmla="*/ 1328872 w 1797323"/>
                <a:gd name="connsiteY662" fmla="*/ 267514 h 1262816"/>
                <a:gd name="connsiteX663" fmla="*/ 1322944 w 1797323"/>
                <a:gd name="connsiteY663" fmla="*/ 258842 h 1262816"/>
                <a:gd name="connsiteX664" fmla="*/ 1311638 w 1797323"/>
                <a:gd name="connsiteY664" fmla="*/ 255576 h 1262816"/>
                <a:gd name="connsiteX665" fmla="*/ 1300002 w 1797323"/>
                <a:gd name="connsiteY665" fmla="*/ 257333 h 1262816"/>
                <a:gd name="connsiteX666" fmla="*/ 1287378 w 1797323"/>
                <a:gd name="connsiteY666" fmla="*/ 272317 h 1262816"/>
                <a:gd name="connsiteX667" fmla="*/ 1278294 w 1797323"/>
                <a:gd name="connsiteY667" fmla="*/ 265044 h 1262816"/>
                <a:gd name="connsiteX668" fmla="*/ 1270857 w 1797323"/>
                <a:gd name="connsiteY668" fmla="*/ 262218 h 1262816"/>
                <a:gd name="connsiteX669" fmla="*/ 1253898 w 1797323"/>
                <a:gd name="connsiteY669" fmla="*/ 263535 h 1262816"/>
                <a:gd name="connsiteX670" fmla="*/ 1245253 w 1797323"/>
                <a:gd name="connsiteY670" fmla="*/ 270917 h 1262816"/>
                <a:gd name="connsiteX671" fmla="*/ 1235209 w 1797323"/>
                <a:gd name="connsiteY671" fmla="*/ 261696 h 1262816"/>
                <a:gd name="connsiteX672" fmla="*/ 1233919 w 1797323"/>
                <a:gd name="connsiteY672" fmla="*/ 252338 h 1262816"/>
                <a:gd name="connsiteX673" fmla="*/ 1241301 w 1797323"/>
                <a:gd name="connsiteY673" fmla="*/ 246493 h 1262816"/>
                <a:gd name="connsiteX674" fmla="*/ 1241603 w 1797323"/>
                <a:gd name="connsiteY674" fmla="*/ 234692 h 1262816"/>
                <a:gd name="connsiteX675" fmla="*/ 1248683 w 1797323"/>
                <a:gd name="connsiteY675" fmla="*/ 223057 h 1262816"/>
                <a:gd name="connsiteX676" fmla="*/ 1249616 w 1797323"/>
                <a:gd name="connsiteY676" fmla="*/ 217486 h 1262816"/>
                <a:gd name="connsiteX677" fmla="*/ 1268607 w 1797323"/>
                <a:gd name="connsiteY677" fmla="*/ 175168 h 1262816"/>
                <a:gd name="connsiteX678" fmla="*/ 1280627 w 1797323"/>
                <a:gd name="connsiteY678" fmla="*/ 182908 h 1262816"/>
                <a:gd name="connsiteX679" fmla="*/ 1299892 w 1797323"/>
                <a:gd name="connsiteY679" fmla="*/ 188862 h 1262816"/>
                <a:gd name="connsiteX680" fmla="*/ 1308893 w 1797323"/>
                <a:gd name="connsiteY680" fmla="*/ 184362 h 1262816"/>
                <a:gd name="connsiteX681" fmla="*/ 1323328 w 1797323"/>
                <a:gd name="connsiteY681" fmla="*/ 171958 h 1262816"/>
                <a:gd name="connsiteX682" fmla="*/ 1340398 w 1797323"/>
                <a:gd name="connsiteY682" fmla="*/ 165865 h 1262816"/>
                <a:gd name="connsiteX683" fmla="*/ 1345255 w 1797323"/>
                <a:gd name="connsiteY683" fmla="*/ 156672 h 1262816"/>
                <a:gd name="connsiteX684" fmla="*/ 1341989 w 1797323"/>
                <a:gd name="connsiteY684" fmla="*/ 149948 h 1262816"/>
                <a:gd name="connsiteX685" fmla="*/ 1343718 w 1797323"/>
                <a:gd name="connsiteY685" fmla="*/ 142676 h 1262816"/>
                <a:gd name="connsiteX686" fmla="*/ 1357055 w 1797323"/>
                <a:gd name="connsiteY686" fmla="*/ 118279 h 1262816"/>
                <a:gd name="connsiteX687" fmla="*/ 1366660 w 1797323"/>
                <a:gd name="connsiteY687" fmla="*/ 94020 h 1262816"/>
                <a:gd name="connsiteX688" fmla="*/ 1382935 w 1797323"/>
                <a:gd name="connsiteY688" fmla="*/ 78487 h 1262816"/>
                <a:gd name="connsiteX689" fmla="*/ 1386804 w 1797323"/>
                <a:gd name="connsiteY689" fmla="*/ 69211 h 1262816"/>
                <a:gd name="connsiteX690" fmla="*/ 1383593 w 1797323"/>
                <a:gd name="connsiteY690" fmla="*/ 48464 h 1262816"/>
                <a:gd name="connsiteX691" fmla="*/ 1378242 w 1797323"/>
                <a:gd name="connsiteY691" fmla="*/ 44979 h 1262816"/>
                <a:gd name="connsiteX692" fmla="*/ 1368280 w 1797323"/>
                <a:gd name="connsiteY692" fmla="*/ 45089 h 1262816"/>
                <a:gd name="connsiteX693" fmla="*/ 1366853 w 1797323"/>
                <a:gd name="connsiteY693" fmla="*/ 41302 h 1262816"/>
                <a:gd name="connsiteX694" fmla="*/ 1368197 w 1797323"/>
                <a:gd name="connsiteY694" fmla="*/ 36417 h 1262816"/>
                <a:gd name="connsiteX695" fmla="*/ 1392128 w 1797323"/>
                <a:gd name="connsiteY695" fmla="*/ 13118 h 1262816"/>
                <a:gd name="connsiteX696" fmla="*/ 1432085 w 1797323"/>
                <a:gd name="connsiteY696" fmla="*/ 3320 h 1262816"/>
                <a:gd name="connsiteX697" fmla="*/ 1448633 w 1797323"/>
                <a:gd name="connsiteY697" fmla="*/ 3677 h 1262816"/>
                <a:gd name="connsiteX698" fmla="*/ 1464275 w 1797323"/>
                <a:gd name="connsiteY698" fmla="*/ 0 h 1262816"/>
                <a:gd name="connsiteX699" fmla="*/ 1478930 w 1797323"/>
                <a:gd name="connsiteY699" fmla="*/ 3513 h 126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Lst>
              <a:rect l="l" t="t" r="r" b="b"/>
              <a:pathLst>
                <a:path w="1797323" h="1262816">
                  <a:moveTo>
                    <a:pt x="1479095" y="3705"/>
                  </a:moveTo>
                  <a:lnTo>
                    <a:pt x="1505961" y="19567"/>
                  </a:lnTo>
                  <a:lnTo>
                    <a:pt x="1520232" y="19073"/>
                  </a:lnTo>
                  <a:lnTo>
                    <a:pt x="1529919" y="24287"/>
                  </a:lnTo>
                  <a:lnTo>
                    <a:pt x="1533486" y="32245"/>
                  </a:lnTo>
                  <a:lnTo>
                    <a:pt x="1541445" y="37460"/>
                  </a:lnTo>
                  <a:lnTo>
                    <a:pt x="1542241" y="44677"/>
                  </a:lnTo>
                  <a:lnTo>
                    <a:pt x="1549348" y="53898"/>
                  </a:lnTo>
                  <a:lnTo>
                    <a:pt x="1551791" y="64272"/>
                  </a:lnTo>
                  <a:lnTo>
                    <a:pt x="1556072" y="69266"/>
                  </a:lnTo>
                  <a:lnTo>
                    <a:pt x="1556264" y="78212"/>
                  </a:lnTo>
                  <a:lnTo>
                    <a:pt x="1567022" y="104009"/>
                  </a:lnTo>
                  <a:lnTo>
                    <a:pt x="1568641" y="118032"/>
                  </a:lnTo>
                  <a:lnTo>
                    <a:pt x="1579207" y="135760"/>
                  </a:lnTo>
                  <a:lnTo>
                    <a:pt x="1581238" y="151842"/>
                  </a:lnTo>
                  <a:lnTo>
                    <a:pt x="1587028" y="158730"/>
                  </a:lnTo>
                  <a:lnTo>
                    <a:pt x="1586809" y="172946"/>
                  </a:lnTo>
                  <a:lnTo>
                    <a:pt x="1590952" y="181508"/>
                  </a:lnTo>
                  <a:lnTo>
                    <a:pt x="1604783" y="188753"/>
                  </a:lnTo>
                  <a:lnTo>
                    <a:pt x="1621579" y="188533"/>
                  </a:lnTo>
                  <a:lnTo>
                    <a:pt x="1633104" y="196684"/>
                  </a:lnTo>
                  <a:lnTo>
                    <a:pt x="1643148" y="195586"/>
                  </a:lnTo>
                  <a:lnTo>
                    <a:pt x="1662935" y="215894"/>
                  </a:lnTo>
                  <a:lnTo>
                    <a:pt x="1676876" y="220257"/>
                  </a:lnTo>
                  <a:lnTo>
                    <a:pt x="1676437" y="230905"/>
                  </a:lnTo>
                  <a:lnTo>
                    <a:pt x="1682529" y="243529"/>
                  </a:lnTo>
                  <a:lnTo>
                    <a:pt x="1680691" y="255686"/>
                  </a:lnTo>
                  <a:lnTo>
                    <a:pt x="1689994" y="270286"/>
                  </a:lnTo>
                  <a:lnTo>
                    <a:pt x="1714692" y="272372"/>
                  </a:lnTo>
                  <a:lnTo>
                    <a:pt x="1731844" y="269819"/>
                  </a:lnTo>
                  <a:lnTo>
                    <a:pt x="1738815" y="261010"/>
                  </a:lnTo>
                  <a:lnTo>
                    <a:pt x="1750094" y="253655"/>
                  </a:lnTo>
                  <a:lnTo>
                    <a:pt x="1763020" y="252064"/>
                  </a:lnTo>
                  <a:lnTo>
                    <a:pt x="1783410" y="242184"/>
                  </a:lnTo>
                  <a:lnTo>
                    <a:pt x="1796198" y="242569"/>
                  </a:lnTo>
                  <a:lnTo>
                    <a:pt x="1797021" y="246877"/>
                  </a:lnTo>
                  <a:lnTo>
                    <a:pt x="1794607" y="258238"/>
                  </a:lnTo>
                  <a:lnTo>
                    <a:pt x="1797323" y="272070"/>
                  </a:lnTo>
                  <a:lnTo>
                    <a:pt x="1792548" y="280248"/>
                  </a:lnTo>
                  <a:lnTo>
                    <a:pt x="1783382" y="288536"/>
                  </a:lnTo>
                  <a:lnTo>
                    <a:pt x="1773640" y="322867"/>
                  </a:lnTo>
                  <a:lnTo>
                    <a:pt x="1773201" y="332581"/>
                  </a:lnTo>
                  <a:lnTo>
                    <a:pt x="1762196" y="350858"/>
                  </a:lnTo>
                  <a:lnTo>
                    <a:pt x="1759260" y="359805"/>
                  </a:lnTo>
                  <a:lnTo>
                    <a:pt x="1752756" y="367214"/>
                  </a:lnTo>
                  <a:lnTo>
                    <a:pt x="1748365" y="382253"/>
                  </a:lnTo>
                  <a:lnTo>
                    <a:pt x="1742904" y="384092"/>
                  </a:lnTo>
                  <a:lnTo>
                    <a:pt x="1714720" y="373993"/>
                  </a:lnTo>
                  <a:lnTo>
                    <a:pt x="1702783" y="386727"/>
                  </a:lnTo>
                  <a:lnTo>
                    <a:pt x="1688979" y="392709"/>
                  </a:lnTo>
                  <a:lnTo>
                    <a:pt x="1696416" y="421634"/>
                  </a:lnTo>
                  <a:lnTo>
                    <a:pt x="1694961" y="443396"/>
                  </a:lnTo>
                  <a:lnTo>
                    <a:pt x="1696800" y="452397"/>
                  </a:lnTo>
                  <a:lnTo>
                    <a:pt x="1691503" y="470043"/>
                  </a:lnTo>
                  <a:lnTo>
                    <a:pt x="1673912" y="478331"/>
                  </a:lnTo>
                  <a:lnTo>
                    <a:pt x="1676327" y="482887"/>
                  </a:lnTo>
                  <a:lnTo>
                    <a:pt x="1677892" y="491614"/>
                  </a:lnTo>
                  <a:lnTo>
                    <a:pt x="1674654" y="485548"/>
                  </a:lnTo>
                  <a:lnTo>
                    <a:pt x="1670893" y="482887"/>
                  </a:lnTo>
                  <a:lnTo>
                    <a:pt x="1667820" y="480746"/>
                  </a:lnTo>
                  <a:lnTo>
                    <a:pt x="1665597" y="472349"/>
                  </a:lnTo>
                  <a:lnTo>
                    <a:pt x="1657199" y="469165"/>
                  </a:lnTo>
                  <a:lnTo>
                    <a:pt x="1652452" y="482914"/>
                  </a:lnTo>
                  <a:lnTo>
                    <a:pt x="1649790" y="490598"/>
                  </a:lnTo>
                  <a:lnTo>
                    <a:pt x="1641008" y="492190"/>
                  </a:lnTo>
                  <a:lnTo>
                    <a:pt x="1639307" y="492519"/>
                  </a:lnTo>
                  <a:lnTo>
                    <a:pt x="1633818" y="499380"/>
                  </a:lnTo>
                  <a:lnTo>
                    <a:pt x="1627781" y="506954"/>
                  </a:lnTo>
                  <a:lnTo>
                    <a:pt x="1609257" y="506817"/>
                  </a:lnTo>
                  <a:lnTo>
                    <a:pt x="1605689" y="508683"/>
                  </a:lnTo>
                  <a:lnTo>
                    <a:pt x="1604152" y="509451"/>
                  </a:lnTo>
                  <a:lnTo>
                    <a:pt x="1604097" y="516367"/>
                  </a:lnTo>
                  <a:lnTo>
                    <a:pt x="1607253" y="521142"/>
                  </a:lnTo>
                  <a:lnTo>
                    <a:pt x="1608488" y="522981"/>
                  </a:lnTo>
                  <a:lnTo>
                    <a:pt x="1606348" y="529759"/>
                  </a:lnTo>
                  <a:lnTo>
                    <a:pt x="1604317" y="531515"/>
                  </a:lnTo>
                  <a:lnTo>
                    <a:pt x="1579646" y="528497"/>
                  </a:lnTo>
                  <a:lnTo>
                    <a:pt x="1575831" y="526219"/>
                  </a:lnTo>
                  <a:lnTo>
                    <a:pt x="1573937" y="522981"/>
                  </a:lnTo>
                  <a:lnTo>
                    <a:pt x="1572950" y="521142"/>
                  </a:lnTo>
                  <a:lnTo>
                    <a:pt x="1571523" y="518480"/>
                  </a:lnTo>
                  <a:lnTo>
                    <a:pt x="1568394" y="517026"/>
                  </a:lnTo>
                  <a:lnTo>
                    <a:pt x="1561835" y="521142"/>
                  </a:lnTo>
                  <a:lnTo>
                    <a:pt x="1558899" y="522981"/>
                  </a:lnTo>
                  <a:lnTo>
                    <a:pt x="1556456" y="533162"/>
                  </a:lnTo>
                  <a:lnTo>
                    <a:pt x="1541747" y="551055"/>
                  </a:lnTo>
                  <a:lnTo>
                    <a:pt x="1532965" y="552921"/>
                  </a:lnTo>
                  <a:lnTo>
                    <a:pt x="1524485" y="560852"/>
                  </a:lnTo>
                  <a:lnTo>
                    <a:pt x="1518860" y="561868"/>
                  </a:lnTo>
                  <a:lnTo>
                    <a:pt x="1507224" y="570045"/>
                  </a:lnTo>
                  <a:lnTo>
                    <a:pt x="1494929" y="580803"/>
                  </a:lnTo>
                  <a:lnTo>
                    <a:pt x="1493310" y="585963"/>
                  </a:lnTo>
                  <a:lnTo>
                    <a:pt x="1490456" y="592906"/>
                  </a:lnTo>
                  <a:lnTo>
                    <a:pt x="1488590" y="591671"/>
                  </a:lnTo>
                  <a:lnTo>
                    <a:pt x="1471740" y="593427"/>
                  </a:lnTo>
                  <a:lnTo>
                    <a:pt x="1451021" y="600754"/>
                  </a:lnTo>
                  <a:lnTo>
                    <a:pt x="1434527" y="609948"/>
                  </a:lnTo>
                  <a:lnTo>
                    <a:pt x="1413177" y="627566"/>
                  </a:lnTo>
                  <a:lnTo>
                    <a:pt x="1402776" y="630201"/>
                  </a:lnTo>
                  <a:lnTo>
                    <a:pt x="1402501" y="627154"/>
                  </a:lnTo>
                  <a:lnTo>
                    <a:pt x="1409801" y="621227"/>
                  </a:lnTo>
                  <a:lnTo>
                    <a:pt x="1412601" y="615217"/>
                  </a:lnTo>
                  <a:lnTo>
                    <a:pt x="1411640" y="611210"/>
                  </a:lnTo>
                  <a:lnTo>
                    <a:pt x="1406892" y="606270"/>
                  </a:lnTo>
                  <a:lnTo>
                    <a:pt x="1406947" y="600782"/>
                  </a:lnTo>
                  <a:lnTo>
                    <a:pt x="1421272" y="582889"/>
                  </a:lnTo>
                  <a:lnTo>
                    <a:pt x="1428544" y="566368"/>
                  </a:lnTo>
                  <a:lnTo>
                    <a:pt x="1426404" y="560331"/>
                  </a:lnTo>
                  <a:lnTo>
                    <a:pt x="1420394" y="554869"/>
                  </a:lnTo>
                  <a:lnTo>
                    <a:pt x="1401568" y="552592"/>
                  </a:lnTo>
                  <a:lnTo>
                    <a:pt x="1391469" y="558958"/>
                  </a:lnTo>
                  <a:lnTo>
                    <a:pt x="1374866" y="578937"/>
                  </a:lnTo>
                  <a:lnTo>
                    <a:pt x="1350771" y="593948"/>
                  </a:lnTo>
                  <a:lnTo>
                    <a:pt x="1343170" y="607560"/>
                  </a:lnTo>
                  <a:lnTo>
                    <a:pt x="1337763" y="613323"/>
                  </a:lnTo>
                  <a:lnTo>
                    <a:pt x="1318772" y="619882"/>
                  </a:lnTo>
                  <a:lnTo>
                    <a:pt x="1305902" y="618674"/>
                  </a:lnTo>
                  <a:lnTo>
                    <a:pt x="1297916" y="626386"/>
                  </a:lnTo>
                  <a:lnTo>
                    <a:pt x="1295336" y="636046"/>
                  </a:lnTo>
                  <a:lnTo>
                    <a:pt x="1298273" y="645404"/>
                  </a:lnTo>
                  <a:lnTo>
                    <a:pt x="1310321" y="655256"/>
                  </a:lnTo>
                  <a:lnTo>
                    <a:pt x="1330984" y="659372"/>
                  </a:lnTo>
                  <a:lnTo>
                    <a:pt x="1335623" y="669609"/>
                  </a:lnTo>
                  <a:lnTo>
                    <a:pt x="1336803" y="683989"/>
                  </a:lnTo>
                  <a:lnTo>
                    <a:pt x="1343115" y="690658"/>
                  </a:lnTo>
                  <a:lnTo>
                    <a:pt x="1357357" y="690493"/>
                  </a:lnTo>
                  <a:lnTo>
                    <a:pt x="1375278" y="674932"/>
                  </a:lnTo>
                  <a:lnTo>
                    <a:pt x="1388341" y="669993"/>
                  </a:lnTo>
                  <a:lnTo>
                    <a:pt x="1394817" y="671722"/>
                  </a:lnTo>
                  <a:lnTo>
                    <a:pt x="1408813" y="680037"/>
                  </a:lnTo>
                  <a:lnTo>
                    <a:pt x="1427062" y="680723"/>
                  </a:lnTo>
                  <a:lnTo>
                    <a:pt x="1438863" y="687556"/>
                  </a:lnTo>
                  <a:lnTo>
                    <a:pt x="1437848" y="696338"/>
                  </a:lnTo>
                  <a:lnTo>
                    <a:pt x="1435131" y="700647"/>
                  </a:lnTo>
                  <a:lnTo>
                    <a:pt x="1420586" y="701937"/>
                  </a:lnTo>
                  <a:lnTo>
                    <a:pt x="1396793" y="711597"/>
                  </a:lnTo>
                  <a:lnTo>
                    <a:pt x="1381836" y="729187"/>
                  </a:lnTo>
                  <a:lnTo>
                    <a:pt x="1371409" y="731136"/>
                  </a:lnTo>
                  <a:lnTo>
                    <a:pt x="1366825" y="740631"/>
                  </a:lnTo>
                  <a:lnTo>
                    <a:pt x="1353104" y="754819"/>
                  </a:lnTo>
                  <a:lnTo>
                    <a:pt x="1343801" y="773370"/>
                  </a:lnTo>
                  <a:lnTo>
                    <a:pt x="1348000" y="782207"/>
                  </a:lnTo>
                  <a:lnTo>
                    <a:pt x="1372231" y="799332"/>
                  </a:lnTo>
                  <a:lnTo>
                    <a:pt x="1391853" y="852571"/>
                  </a:lnTo>
                  <a:lnTo>
                    <a:pt x="1416085" y="880810"/>
                  </a:lnTo>
                  <a:lnTo>
                    <a:pt x="1414137" y="892116"/>
                  </a:lnTo>
                  <a:lnTo>
                    <a:pt x="1392375" y="884514"/>
                  </a:lnTo>
                  <a:lnTo>
                    <a:pt x="1413616" y="901694"/>
                  </a:lnTo>
                  <a:lnTo>
                    <a:pt x="1417293" y="907594"/>
                  </a:lnTo>
                  <a:lnTo>
                    <a:pt x="1417211" y="914016"/>
                  </a:lnTo>
                  <a:lnTo>
                    <a:pt x="1380821" y="935915"/>
                  </a:lnTo>
                  <a:lnTo>
                    <a:pt x="1386941" y="940196"/>
                  </a:lnTo>
                  <a:lnTo>
                    <a:pt x="1402913" y="938248"/>
                  </a:lnTo>
                  <a:lnTo>
                    <a:pt x="1415591" y="945136"/>
                  </a:lnTo>
                  <a:lnTo>
                    <a:pt x="1420339" y="945328"/>
                  </a:lnTo>
                  <a:lnTo>
                    <a:pt x="1422425" y="951832"/>
                  </a:lnTo>
                  <a:lnTo>
                    <a:pt x="1421300" y="957568"/>
                  </a:lnTo>
                  <a:lnTo>
                    <a:pt x="1422342" y="969643"/>
                  </a:lnTo>
                  <a:lnTo>
                    <a:pt x="1419873" y="973704"/>
                  </a:lnTo>
                  <a:lnTo>
                    <a:pt x="1412601" y="975790"/>
                  </a:lnTo>
                  <a:lnTo>
                    <a:pt x="1409060" y="1003013"/>
                  </a:lnTo>
                  <a:lnTo>
                    <a:pt x="1404011" y="1006992"/>
                  </a:lnTo>
                  <a:lnTo>
                    <a:pt x="1398632" y="1006992"/>
                  </a:lnTo>
                  <a:cubicBezTo>
                    <a:pt x="1398632" y="1006992"/>
                    <a:pt x="1395229" y="1009462"/>
                    <a:pt x="1395229" y="1009462"/>
                  </a:cubicBezTo>
                  <a:lnTo>
                    <a:pt x="1375278" y="1044590"/>
                  </a:lnTo>
                  <a:lnTo>
                    <a:pt x="1376430" y="1048980"/>
                  </a:lnTo>
                  <a:lnTo>
                    <a:pt x="1372451" y="1048349"/>
                  </a:lnTo>
                  <a:lnTo>
                    <a:pt x="1366249" y="1054908"/>
                  </a:lnTo>
                  <a:lnTo>
                    <a:pt x="1356891" y="1057680"/>
                  </a:lnTo>
                  <a:lnTo>
                    <a:pt x="1357796" y="1064870"/>
                  </a:lnTo>
                  <a:lnTo>
                    <a:pt x="1351403" y="1094536"/>
                  </a:lnTo>
                  <a:lnTo>
                    <a:pt x="1344597" y="1098240"/>
                  </a:lnTo>
                  <a:lnTo>
                    <a:pt x="1341523" y="1103592"/>
                  </a:lnTo>
                  <a:lnTo>
                    <a:pt x="1334690" y="1107050"/>
                  </a:lnTo>
                  <a:lnTo>
                    <a:pt x="1324975" y="1122226"/>
                  </a:lnTo>
                  <a:lnTo>
                    <a:pt x="1309030" y="1128922"/>
                  </a:lnTo>
                  <a:lnTo>
                    <a:pt x="1304228" y="1139240"/>
                  </a:lnTo>
                  <a:lnTo>
                    <a:pt x="1288503" y="1153867"/>
                  </a:lnTo>
                  <a:lnTo>
                    <a:pt x="1280161" y="1157572"/>
                  </a:lnTo>
                  <a:lnTo>
                    <a:pt x="1278294" y="1161085"/>
                  </a:lnTo>
                  <a:lnTo>
                    <a:pt x="1273025" y="1161222"/>
                  </a:lnTo>
                  <a:lnTo>
                    <a:pt x="1257602" y="1177633"/>
                  </a:lnTo>
                  <a:lnTo>
                    <a:pt x="1245253" y="1182079"/>
                  </a:lnTo>
                  <a:lnTo>
                    <a:pt x="1232355" y="1184082"/>
                  </a:lnTo>
                  <a:lnTo>
                    <a:pt x="1223984" y="1183451"/>
                  </a:lnTo>
                  <a:lnTo>
                    <a:pt x="1215065" y="1186771"/>
                  </a:lnTo>
                  <a:lnTo>
                    <a:pt x="1207793" y="1186634"/>
                  </a:lnTo>
                  <a:lnTo>
                    <a:pt x="1201893" y="1190422"/>
                  </a:lnTo>
                  <a:lnTo>
                    <a:pt x="1195609" y="1190422"/>
                  </a:lnTo>
                  <a:cubicBezTo>
                    <a:pt x="1195609" y="1190422"/>
                    <a:pt x="1189818" y="1192068"/>
                    <a:pt x="1189818" y="1192068"/>
                  </a:cubicBezTo>
                  <a:lnTo>
                    <a:pt x="1181009" y="1185592"/>
                  </a:lnTo>
                  <a:lnTo>
                    <a:pt x="1178320" y="1185482"/>
                  </a:lnTo>
                  <a:lnTo>
                    <a:pt x="1174972" y="1201454"/>
                  </a:lnTo>
                  <a:lnTo>
                    <a:pt x="1167672" y="1207134"/>
                  </a:lnTo>
                  <a:lnTo>
                    <a:pt x="1161497" y="1203594"/>
                  </a:lnTo>
                  <a:lnTo>
                    <a:pt x="1157490" y="1210427"/>
                  </a:lnTo>
                  <a:lnTo>
                    <a:pt x="1152990" y="1210729"/>
                  </a:lnTo>
                  <a:lnTo>
                    <a:pt x="1147693" y="1214160"/>
                  </a:lnTo>
                  <a:lnTo>
                    <a:pt x="1142836" y="1213446"/>
                  </a:lnTo>
                  <a:lnTo>
                    <a:pt x="1138747" y="1216136"/>
                  </a:lnTo>
                  <a:lnTo>
                    <a:pt x="1132270" y="1215340"/>
                  </a:lnTo>
                  <a:lnTo>
                    <a:pt x="1127084" y="1219621"/>
                  </a:lnTo>
                  <a:lnTo>
                    <a:pt x="1123543" y="1218029"/>
                  </a:lnTo>
                  <a:lnTo>
                    <a:pt x="1117534" y="1222749"/>
                  </a:lnTo>
                  <a:lnTo>
                    <a:pt x="1102632" y="1224039"/>
                  </a:lnTo>
                  <a:lnTo>
                    <a:pt x="1093630" y="1228293"/>
                  </a:lnTo>
                  <a:lnTo>
                    <a:pt x="1086083" y="1239407"/>
                  </a:lnTo>
                  <a:lnTo>
                    <a:pt x="1077137" y="1241795"/>
                  </a:lnTo>
                  <a:lnTo>
                    <a:pt x="1081913" y="1246597"/>
                  </a:lnTo>
                  <a:lnTo>
                    <a:pt x="1085452" y="1255022"/>
                  </a:lnTo>
                  <a:lnTo>
                    <a:pt x="1083531" y="1259935"/>
                  </a:lnTo>
                  <a:lnTo>
                    <a:pt x="1077604" y="1262816"/>
                  </a:lnTo>
                  <a:lnTo>
                    <a:pt x="1070414" y="1261691"/>
                  </a:lnTo>
                  <a:lnTo>
                    <a:pt x="1067999" y="1258727"/>
                  </a:lnTo>
                  <a:lnTo>
                    <a:pt x="1061989" y="1241164"/>
                  </a:lnTo>
                  <a:lnTo>
                    <a:pt x="1064266" y="1231339"/>
                  </a:lnTo>
                  <a:lnTo>
                    <a:pt x="1067697" y="1226015"/>
                  </a:lnTo>
                  <a:lnTo>
                    <a:pt x="1062181" y="1223161"/>
                  </a:lnTo>
                  <a:lnTo>
                    <a:pt x="1058805" y="1218715"/>
                  </a:lnTo>
                  <a:lnTo>
                    <a:pt x="1056033" y="1223381"/>
                  </a:lnTo>
                  <a:lnTo>
                    <a:pt x="1047307" y="1225850"/>
                  </a:lnTo>
                  <a:lnTo>
                    <a:pt x="1044946" y="1225192"/>
                  </a:lnTo>
                  <a:lnTo>
                    <a:pt x="1043492" y="1221075"/>
                  </a:lnTo>
                  <a:lnTo>
                    <a:pt x="1030457" y="1216959"/>
                  </a:lnTo>
                  <a:lnTo>
                    <a:pt x="1025901" y="1220472"/>
                  </a:lnTo>
                  <a:lnTo>
                    <a:pt x="1023377" y="1219292"/>
                  </a:lnTo>
                  <a:lnTo>
                    <a:pt x="1012893" y="1222338"/>
                  </a:lnTo>
                  <a:lnTo>
                    <a:pt x="1006581" y="1219264"/>
                  </a:lnTo>
                  <a:lnTo>
                    <a:pt x="993903" y="1219950"/>
                  </a:lnTo>
                  <a:lnTo>
                    <a:pt x="982596" y="1210263"/>
                  </a:lnTo>
                  <a:lnTo>
                    <a:pt x="975077" y="1206558"/>
                  </a:lnTo>
                  <a:lnTo>
                    <a:pt x="970329" y="1194016"/>
                  </a:lnTo>
                  <a:lnTo>
                    <a:pt x="971427" y="1190257"/>
                  </a:lnTo>
                  <a:lnTo>
                    <a:pt x="974830" y="1187156"/>
                  </a:lnTo>
                  <a:lnTo>
                    <a:pt x="974830" y="1181448"/>
                  </a:lnTo>
                  <a:lnTo>
                    <a:pt x="969533" y="1178731"/>
                  </a:lnTo>
                  <a:lnTo>
                    <a:pt x="962865" y="1179938"/>
                  </a:lnTo>
                  <a:lnTo>
                    <a:pt x="956965" y="1176865"/>
                  </a:lnTo>
                  <a:lnTo>
                    <a:pt x="949912" y="1177880"/>
                  </a:lnTo>
                  <a:lnTo>
                    <a:pt x="941103" y="1172940"/>
                  </a:lnTo>
                  <a:lnTo>
                    <a:pt x="933061" y="1164954"/>
                  </a:lnTo>
                  <a:lnTo>
                    <a:pt x="920822" y="1171102"/>
                  </a:lnTo>
                  <a:lnTo>
                    <a:pt x="918928" y="1177798"/>
                  </a:lnTo>
                  <a:lnTo>
                    <a:pt x="916019" y="1180817"/>
                  </a:lnTo>
                  <a:lnTo>
                    <a:pt x="906085" y="1185097"/>
                  </a:lnTo>
                  <a:lnTo>
                    <a:pt x="901529" y="1182298"/>
                  </a:lnTo>
                  <a:lnTo>
                    <a:pt x="898401" y="1182847"/>
                  </a:lnTo>
                  <a:lnTo>
                    <a:pt x="893901" y="1190751"/>
                  </a:lnTo>
                  <a:lnTo>
                    <a:pt x="885228" y="1184192"/>
                  </a:lnTo>
                  <a:lnTo>
                    <a:pt x="880398" y="1187705"/>
                  </a:lnTo>
                  <a:lnTo>
                    <a:pt x="875212" y="1183451"/>
                  </a:lnTo>
                  <a:lnTo>
                    <a:pt x="866073" y="1192699"/>
                  </a:lnTo>
                  <a:lnTo>
                    <a:pt x="850596" y="1184137"/>
                  </a:lnTo>
                  <a:lnTo>
                    <a:pt x="843378" y="1193358"/>
                  </a:lnTo>
                  <a:lnTo>
                    <a:pt x="839975" y="1195252"/>
                  </a:lnTo>
                  <a:lnTo>
                    <a:pt x="836764" y="1193825"/>
                  </a:lnTo>
                  <a:lnTo>
                    <a:pt x="831934" y="1195361"/>
                  </a:lnTo>
                  <a:lnTo>
                    <a:pt x="828119" y="1192617"/>
                  </a:lnTo>
                  <a:lnTo>
                    <a:pt x="823235" y="1199779"/>
                  </a:lnTo>
                  <a:lnTo>
                    <a:pt x="824442" y="1208644"/>
                  </a:lnTo>
                  <a:lnTo>
                    <a:pt x="828449" y="1212815"/>
                  </a:lnTo>
                  <a:lnTo>
                    <a:pt x="830205" y="1219923"/>
                  </a:lnTo>
                  <a:lnTo>
                    <a:pt x="828038" y="1228156"/>
                  </a:lnTo>
                  <a:lnTo>
                    <a:pt x="831028" y="1234275"/>
                  </a:lnTo>
                  <a:lnTo>
                    <a:pt x="827955" y="1234769"/>
                  </a:lnTo>
                  <a:lnTo>
                    <a:pt x="821533" y="1231778"/>
                  </a:lnTo>
                  <a:lnTo>
                    <a:pt x="814535" y="1233315"/>
                  </a:lnTo>
                  <a:lnTo>
                    <a:pt x="812532" y="1222969"/>
                  </a:lnTo>
                  <a:lnTo>
                    <a:pt x="810639" y="1221789"/>
                  </a:lnTo>
                  <a:lnTo>
                    <a:pt x="808333" y="1216273"/>
                  </a:lnTo>
                  <a:lnTo>
                    <a:pt x="794914" y="1224423"/>
                  </a:lnTo>
                  <a:lnTo>
                    <a:pt x="783196" y="1223655"/>
                  </a:lnTo>
                  <a:lnTo>
                    <a:pt x="781137" y="1222118"/>
                  </a:lnTo>
                  <a:lnTo>
                    <a:pt x="780561" y="1218221"/>
                  </a:lnTo>
                  <a:lnTo>
                    <a:pt x="776527" y="1215367"/>
                  </a:lnTo>
                  <a:lnTo>
                    <a:pt x="775018" y="1206668"/>
                  </a:lnTo>
                  <a:lnTo>
                    <a:pt x="754380" y="1203237"/>
                  </a:lnTo>
                  <a:lnTo>
                    <a:pt x="755450" y="1196322"/>
                  </a:lnTo>
                  <a:lnTo>
                    <a:pt x="758305" y="1191272"/>
                  </a:lnTo>
                  <a:lnTo>
                    <a:pt x="757921" y="1184356"/>
                  </a:lnTo>
                  <a:lnTo>
                    <a:pt x="762476" y="1177084"/>
                  </a:lnTo>
                  <a:lnTo>
                    <a:pt x="759704" y="1172803"/>
                  </a:lnTo>
                  <a:lnTo>
                    <a:pt x="753584" y="1172913"/>
                  </a:lnTo>
                  <a:lnTo>
                    <a:pt x="745187" y="1169098"/>
                  </a:lnTo>
                  <a:lnTo>
                    <a:pt x="743101" y="1155624"/>
                  </a:lnTo>
                  <a:lnTo>
                    <a:pt x="738875" y="1148022"/>
                  </a:lnTo>
                  <a:lnTo>
                    <a:pt x="742607" y="1140420"/>
                  </a:lnTo>
                  <a:lnTo>
                    <a:pt x="724001" y="1140777"/>
                  </a:lnTo>
                  <a:lnTo>
                    <a:pt x="709127" y="1147665"/>
                  </a:lnTo>
                  <a:lnTo>
                    <a:pt x="705806" y="1146568"/>
                  </a:lnTo>
                  <a:lnTo>
                    <a:pt x="710582" y="1136716"/>
                  </a:lnTo>
                  <a:lnTo>
                    <a:pt x="708797" y="1131090"/>
                  </a:lnTo>
                  <a:lnTo>
                    <a:pt x="705120" y="1127989"/>
                  </a:lnTo>
                  <a:lnTo>
                    <a:pt x="705724" y="1120908"/>
                  </a:lnTo>
                  <a:lnTo>
                    <a:pt x="711268" y="1116600"/>
                  </a:lnTo>
                  <a:lnTo>
                    <a:pt x="710169" y="1110837"/>
                  </a:lnTo>
                  <a:lnTo>
                    <a:pt x="713024" y="1104744"/>
                  </a:lnTo>
                  <a:lnTo>
                    <a:pt x="719967" y="1100957"/>
                  </a:lnTo>
                  <a:lnTo>
                    <a:pt x="723864" y="1092642"/>
                  </a:lnTo>
                  <a:lnTo>
                    <a:pt x="729106" y="1092285"/>
                  </a:lnTo>
                  <a:lnTo>
                    <a:pt x="732782" y="1085973"/>
                  </a:lnTo>
                  <a:lnTo>
                    <a:pt x="737997" y="1083010"/>
                  </a:lnTo>
                  <a:lnTo>
                    <a:pt x="736185" y="1076259"/>
                  </a:lnTo>
                  <a:lnTo>
                    <a:pt x="738820" y="1073212"/>
                  </a:lnTo>
                  <a:lnTo>
                    <a:pt x="740659" y="1057268"/>
                  </a:lnTo>
                  <a:lnTo>
                    <a:pt x="737887" y="1028124"/>
                  </a:lnTo>
                  <a:lnTo>
                    <a:pt x="732892" y="1025846"/>
                  </a:lnTo>
                  <a:lnTo>
                    <a:pt x="727816" y="1027767"/>
                  </a:lnTo>
                  <a:lnTo>
                    <a:pt x="721449" y="1008063"/>
                  </a:lnTo>
                  <a:lnTo>
                    <a:pt x="716509" y="1002465"/>
                  </a:lnTo>
                  <a:lnTo>
                    <a:pt x="711487" y="1000571"/>
                  </a:lnTo>
                  <a:lnTo>
                    <a:pt x="708358" y="996125"/>
                  </a:lnTo>
                  <a:lnTo>
                    <a:pt x="704763" y="996647"/>
                  </a:lnTo>
                  <a:lnTo>
                    <a:pt x="702952" y="1002766"/>
                  </a:lnTo>
                  <a:lnTo>
                    <a:pt x="698946" y="1006252"/>
                  </a:lnTo>
                  <a:lnTo>
                    <a:pt x="692689" y="1001916"/>
                  </a:lnTo>
                  <a:lnTo>
                    <a:pt x="683989" y="1001120"/>
                  </a:lnTo>
                  <a:lnTo>
                    <a:pt x="678528" y="998623"/>
                  </a:lnTo>
                  <a:lnTo>
                    <a:pt x="669856" y="1000214"/>
                  </a:lnTo>
                  <a:lnTo>
                    <a:pt x="670103" y="995412"/>
                  </a:lnTo>
                  <a:lnTo>
                    <a:pt x="676579" y="985916"/>
                  </a:lnTo>
                  <a:lnTo>
                    <a:pt x="673039" y="979083"/>
                  </a:lnTo>
                  <a:lnTo>
                    <a:pt x="664724" y="981278"/>
                  </a:lnTo>
                  <a:lnTo>
                    <a:pt x="664285" y="977217"/>
                  </a:lnTo>
                  <a:lnTo>
                    <a:pt x="668841" y="971893"/>
                  </a:lnTo>
                  <a:lnTo>
                    <a:pt x="660909" y="965471"/>
                  </a:lnTo>
                  <a:lnTo>
                    <a:pt x="649686" y="972167"/>
                  </a:lnTo>
                  <a:lnTo>
                    <a:pt x="637610" y="976394"/>
                  </a:lnTo>
                  <a:lnTo>
                    <a:pt x="625206" y="973814"/>
                  </a:lnTo>
                  <a:lnTo>
                    <a:pt x="620239" y="970548"/>
                  </a:lnTo>
                  <a:lnTo>
                    <a:pt x="614284" y="972442"/>
                  </a:lnTo>
                  <a:lnTo>
                    <a:pt x="602758" y="980922"/>
                  </a:lnTo>
                  <a:lnTo>
                    <a:pt x="596583" y="987837"/>
                  </a:lnTo>
                  <a:lnTo>
                    <a:pt x="580118" y="992503"/>
                  </a:lnTo>
                  <a:lnTo>
                    <a:pt x="576797" y="1000653"/>
                  </a:lnTo>
                  <a:lnTo>
                    <a:pt x="564118" y="1008145"/>
                  </a:lnTo>
                  <a:lnTo>
                    <a:pt x="560249" y="1015829"/>
                  </a:lnTo>
                  <a:lnTo>
                    <a:pt x="554212" y="1019013"/>
                  </a:lnTo>
                  <a:lnTo>
                    <a:pt x="549738" y="1018546"/>
                  </a:lnTo>
                  <a:lnTo>
                    <a:pt x="548558" y="1018436"/>
                  </a:lnTo>
                  <a:lnTo>
                    <a:pt x="540764" y="1021839"/>
                  </a:lnTo>
                  <a:lnTo>
                    <a:pt x="531104" y="1021208"/>
                  </a:lnTo>
                  <a:lnTo>
                    <a:pt x="528525" y="1016214"/>
                  </a:lnTo>
                  <a:lnTo>
                    <a:pt x="522871" y="1012810"/>
                  </a:lnTo>
                  <a:lnTo>
                    <a:pt x="518151" y="1014896"/>
                  </a:lnTo>
                  <a:lnTo>
                    <a:pt x="513706" y="1016845"/>
                  </a:lnTo>
                  <a:lnTo>
                    <a:pt x="504430" y="1011493"/>
                  </a:lnTo>
                  <a:lnTo>
                    <a:pt x="489089" y="1008447"/>
                  </a:lnTo>
                  <a:lnTo>
                    <a:pt x="476713" y="1006005"/>
                  </a:lnTo>
                  <a:lnTo>
                    <a:pt x="470647" y="1008941"/>
                  </a:lnTo>
                  <a:lnTo>
                    <a:pt x="458408" y="1024282"/>
                  </a:lnTo>
                  <a:lnTo>
                    <a:pt x="456926" y="1035835"/>
                  </a:lnTo>
                  <a:lnTo>
                    <a:pt x="453962" y="1038195"/>
                  </a:lnTo>
                  <a:lnTo>
                    <a:pt x="451136" y="1037290"/>
                  </a:lnTo>
                  <a:lnTo>
                    <a:pt x="446937" y="1028974"/>
                  </a:lnTo>
                  <a:lnTo>
                    <a:pt x="449626" y="1018217"/>
                  </a:lnTo>
                  <a:lnTo>
                    <a:pt x="447101" y="1011603"/>
                  </a:lnTo>
                  <a:lnTo>
                    <a:pt x="441695" y="1009984"/>
                  </a:lnTo>
                  <a:lnTo>
                    <a:pt x="428851" y="1014951"/>
                  </a:lnTo>
                  <a:lnTo>
                    <a:pt x="427946" y="1017064"/>
                  </a:lnTo>
                  <a:lnTo>
                    <a:pt x="419658" y="1015308"/>
                  </a:lnTo>
                  <a:lnTo>
                    <a:pt x="417847" y="1016900"/>
                  </a:lnTo>
                  <a:lnTo>
                    <a:pt x="415212" y="1019205"/>
                  </a:lnTo>
                  <a:lnTo>
                    <a:pt x="400476" y="1018903"/>
                  </a:lnTo>
                  <a:lnTo>
                    <a:pt x="382583" y="1009709"/>
                  </a:lnTo>
                  <a:lnTo>
                    <a:pt x="377314" y="1015665"/>
                  </a:lnTo>
                  <a:lnTo>
                    <a:pt x="371852" y="1012810"/>
                  </a:lnTo>
                  <a:lnTo>
                    <a:pt x="369740" y="1008721"/>
                  </a:lnTo>
                  <a:lnTo>
                    <a:pt x="367791" y="1010889"/>
                  </a:lnTo>
                  <a:lnTo>
                    <a:pt x="368066" y="1015280"/>
                  </a:lnTo>
                  <a:lnTo>
                    <a:pt x="366172" y="1015939"/>
                  </a:lnTo>
                  <a:lnTo>
                    <a:pt x="360875" y="1007542"/>
                  </a:lnTo>
                  <a:lnTo>
                    <a:pt x="356347" y="1001202"/>
                  </a:lnTo>
                  <a:lnTo>
                    <a:pt x="354179" y="1003041"/>
                  </a:lnTo>
                  <a:lnTo>
                    <a:pt x="349624" y="1002025"/>
                  </a:lnTo>
                  <a:lnTo>
                    <a:pt x="345233" y="1003480"/>
                  </a:lnTo>
                  <a:lnTo>
                    <a:pt x="339854" y="1001476"/>
                  </a:lnTo>
                  <a:lnTo>
                    <a:pt x="339223" y="998101"/>
                  </a:lnTo>
                  <a:lnTo>
                    <a:pt x="341226" y="993491"/>
                  </a:lnTo>
                  <a:lnTo>
                    <a:pt x="339360" y="990801"/>
                  </a:lnTo>
                  <a:lnTo>
                    <a:pt x="331429" y="993683"/>
                  </a:lnTo>
                  <a:lnTo>
                    <a:pt x="324623" y="989155"/>
                  </a:lnTo>
                  <a:lnTo>
                    <a:pt x="319437" y="988331"/>
                  </a:lnTo>
                  <a:lnTo>
                    <a:pt x="317735" y="984681"/>
                  </a:lnTo>
                  <a:lnTo>
                    <a:pt x="313564" y="982760"/>
                  </a:lnTo>
                  <a:lnTo>
                    <a:pt x="311643" y="972030"/>
                  </a:lnTo>
                  <a:lnTo>
                    <a:pt x="308843" y="969999"/>
                  </a:lnTo>
                  <a:lnTo>
                    <a:pt x="303520" y="969204"/>
                  </a:lnTo>
                  <a:lnTo>
                    <a:pt x="293860" y="973128"/>
                  </a:lnTo>
                  <a:lnTo>
                    <a:pt x="283898" y="960120"/>
                  </a:lnTo>
                  <a:lnTo>
                    <a:pt x="271219" y="955702"/>
                  </a:lnTo>
                  <a:lnTo>
                    <a:pt x="264112" y="948018"/>
                  </a:lnTo>
                  <a:lnTo>
                    <a:pt x="253354" y="943133"/>
                  </a:lnTo>
                  <a:lnTo>
                    <a:pt x="250088" y="934543"/>
                  </a:lnTo>
                  <a:lnTo>
                    <a:pt x="236641" y="931058"/>
                  </a:lnTo>
                  <a:lnTo>
                    <a:pt x="230906" y="932183"/>
                  </a:lnTo>
                  <a:lnTo>
                    <a:pt x="229671" y="938467"/>
                  </a:lnTo>
                  <a:lnTo>
                    <a:pt x="224045" y="945383"/>
                  </a:lnTo>
                  <a:lnTo>
                    <a:pt x="221767" y="944423"/>
                  </a:lnTo>
                  <a:lnTo>
                    <a:pt x="219242" y="939044"/>
                  </a:lnTo>
                  <a:lnTo>
                    <a:pt x="218474" y="937178"/>
                  </a:lnTo>
                  <a:lnTo>
                    <a:pt x="213946" y="935202"/>
                  </a:lnTo>
                  <a:lnTo>
                    <a:pt x="208018" y="930893"/>
                  </a:lnTo>
                  <a:lnTo>
                    <a:pt x="195147" y="926118"/>
                  </a:lnTo>
                  <a:lnTo>
                    <a:pt x="194681" y="923099"/>
                  </a:lnTo>
                  <a:lnTo>
                    <a:pt x="196026" y="921617"/>
                  </a:lnTo>
                  <a:lnTo>
                    <a:pt x="195861" y="920273"/>
                  </a:lnTo>
                  <a:lnTo>
                    <a:pt x="194077" y="918709"/>
                  </a:lnTo>
                  <a:lnTo>
                    <a:pt x="190976" y="918709"/>
                  </a:lnTo>
                  <a:lnTo>
                    <a:pt x="188534" y="916184"/>
                  </a:lnTo>
                  <a:lnTo>
                    <a:pt x="187353" y="916129"/>
                  </a:lnTo>
                  <a:lnTo>
                    <a:pt x="183100" y="912561"/>
                  </a:lnTo>
                  <a:lnTo>
                    <a:pt x="176513" y="913632"/>
                  </a:lnTo>
                  <a:lnTo>
                    <a:pt x="171738" y="909625"/>
                  </a:lnTo>
                  <a:lnTo>
                    <a:pt x="162106" y="897001"/>
                  </a:lnTo>
                  <a:lnTo>
                    <a:pt x="156041" y="902462"/>
                  </a:lnTo>
                  <a:lnTo>
                    <a:pt x="152803" y="900377"/>
                  </a:lnTo>
                  <a:lnTo>
                    <a:pt x="151732" y="894915"/>
                  </a:lnTo>
                  <a:lnTo>
                    <a:pt x="153928" y="891046"/>
                  </a:lnTo>
                  <a:lnTo>
                    <a:pt x="150855" y="885448"/>
                  </a:lnTo>
                  <a:lnTo>
                    <a:pt x="152556" y="879493"/>
                  </a:lnTo>
                  <a:lnTo>
                    <a:pt x="149482" y="873592"/>
                  </a:lnTo>
                  <a:lnTo>
                    <a:pt x="143884" y="869009"/>
                  </a:lnTo>
                  <a:lnTo>
                    <a:pt x="141716" y="859212"/>
                  </a:lnTo>
                  <a:lnTo>
                    <a:pt x="151596" y="853559"/>
                  </a:lnTo>
                  <a:lnTo>
                    <a:pt x="153818" y="861655"/>
                  </a:lnTo>
                  <a:lnTo>
                    <a:pt x="158209" y="865057"/>
                  </a:lnTo>
                  <a:lnTo>
                    <a:pt x="166826" y="859130"/>
                  </a:lnTo>
                  <a:lnTo>
                    <a:pt x="174620" y="856193"/>
                  </a:lnTo>
                  <a:lnTo>
                    <a:pt x="175690" y="853367"/>
                  </a:lnTo>
                  <a:lnTo>
                    <a:pt x="170394" y="843762"/>
                  </a:lnTo>
                  <a:lnTo>
                    <a:pt x="170723" y="836709"/>
                  </a:lnTo>
                  <a:lnTo>
                    <a:pt x="163698" y="835858"/>
                  </a:lnTo>
                  <a:lnTo>
                    <a:pt x="157852" y="829135"/>
                  </a:lnTo>
                  <a:lnTo>
                    <a:pt x="157029" y="822384"/>
                  </a:lnTo>
                  <a:lnTo>
                    <a:pt x="161310" y="819502"/>
                  </a:lnTo>
                  <a:lnTo>
                    <a:pt x="157111" y="807400"/>
                  </a:lnTo>
                  <a:lnTo>
                    <a:pt x="171162" y="806384"/>
                  </a:lnTo>
                  <a:lnTo>
                    <a:pt x="175717" y="797658"/>
                  </a:lnTo>
                  <a:lnTo>
                    <a:pt x="175334" y="791291"/>
                  </a:lnTo>
                  <a:lnTo>
                    <a:pt x="180246" y="791291"/>
                  </a:lnTo>
                  <a:cubicBezTo>
                    <a:pt x="180246" y="791291"/>
                    <a:pt x="185377" y="784732"/>
                    <a:pt x="185377" y="784732"/>
                  </a:cubicBezTo>
                  <a:lnTo>
                    <a:pt x="190016" y="782893"/>
                  </a:lnTo>
                  <a:lnTo>
                    <a:pt x="193693" y="776444"/>
                  </a:lnTo>
                  <a:lnTo>
                    <a:pt x="198194" y="754901"/>
                  </a:lnTo>
                  <a:lnTo>
                    <a:pt x="195257" y="752020"/>
                  </a:lnTo>
                  <a:lnTo>
                    <a:pt x="189604" y="755725"/>
                  </a:lnTo>
                  <a:lnTo>
                    <a:pt x="186393" y="750620"/>
                  </a:lnTo>
                  <a:lnTo>
                    <a:pt x="179944" y="747080"/>
                  </a:lnTo>
                  <a:lnTo>
                    <a:pt x="176020" y="740823"/>
                  </a:lnTo>
                  <a:lnTo>
                    <a:pt x="169214" y="736130"/>
                  </a:lnTo>
                  <a:lnTo>
                    <a:pt x="151403" y="738161"/>
                  </a:lnTo>
                  <a:lnTo>
                    <a:pt x="127775" y="753667"/>
                  </a:lnTo>
                  <a:lnTo>
                    <a:pt x="119844" y="754956"/>
                  </a:lnTo>
                  <a:lnTo>
                    <a:pt x="106040" y="752294"/>
                  </a:lnTo>
                  <a:lnTo>
                    <a:pt x="93389" y="747135"/>
                  </a:lnTo>
                  <a:lnTo>
                    <a:pt x="88559" y="742991"/>
                  </a:lnTo>
                  <a:lnTo>
                    <a:pt x="87434" y="738710"/>
                  </a:lnTo>
                  <a:lnTo>
                    <a:pt x="81863" y="741235"/>
                  </a:lnTo>
                  <a:lnTo>
                    <a:pt x="76209" y="740933"/>
                  </a:lnTo>
                  <a:lnTo>
                    <a:pt x="74426" y="735554"/>
                  </a:lnTo>
                  <a:lnTo>
                    <a:pt x="69815" y="731932"/>
                  </a:lnTo>
                  <a:lnTo>
                    <a:pt x="71874" y="727403"/>
                  </a:lnTo>
                  <a:lnTo>
                    <a:pt x="71654" y="721119"/>
                  </a:lnTo>
                  <a:lnTo>
                    <a:pt x="69843" y="714560"/>
                  </a:lnTo>
                  <a:lnTo>
                    <a:pt x="66632" y="710636"/>
                  </a:lnTo>
                  <a:lnTo>
                    <a:pt x="61637" y="707672"/>
                  </a:lnTo>
                  <a:lnTo>
                    <a:pt x="55298" y="708331"/>
                  </a:lnTo>
                  <a:lnTo>
                    <a:pt x="53047" y="700976"/>
                  </a:lnTo>
                  <a:lnTo>
                    <a:pt x="45363" y="698232"/>
                  </a:lnTo>
                  <a:lnTo>
                    <a:pt x="39052" y="700153"/>
                  </a:lnTo>
                  <a:lnTo>
                    <a:pt x="36582" y="697079"/>
                  </a:lnTo>
                  <a:lnTo>
                    <a:pt x="28898" y="697518"/>
                  </a:lnTo>
                  <a:lnTo>
                    <a:pt x="26208" y="694088"/>
                  </a:lnTo>
                  <a:lnTo>
                    <a:pt x="27389" y="690136"/>
                  </a:lnTo>
                  <a:lnTo>
                    <a:pt x="38475" y="690026"/>
                  </a:lnTo>
                  <a:lnTo>
                    <a:pt x="43909" y="686706"/>
                  </a:lnTo>
                  <a:lnTo>
                    <a:pt x="45034" y="683001"/>
                  </a:lnTo>
                  <a:lnTo>
                    <a:pt x="39656" y="675975"/>
                  </a:lnTo>
                  <a:lnTo>
                    <a:pt x="40452" y="669526"/>
                  </a:lnTo>
                  <a:lnTo>
                    <a:pt x="35868" y="655146"/>
                  </a:lnTo>
                  <a:lnTo>
                    <a:pt x="36389" y="643922"/>
                  </a:lnTo>
                  <a:lnTo>
                    <a:pt x="21516" y="637144"/>
                  </a:lnTo>
                  <a:lnTo>
                    <a:pt x="16713" y="637391"/>
                  </a:lnTo>
                  <a:lnTo>
                    <a:pt x="12761" y="641150"/>
                  </a:lnTo>
                  <a:lnTo>
                    <a:pt x="7931" y="639559"/>
                  </a:lnTo>
                  <a:lnTo>
                    <a:pt x="4583" y="629542"/>
                  </a:lnTo>
                  <a:lnTo>
                    <a:pt x="6559" y="623889"/>
                  </a:lnTo>
                  <a:lnTo>
                    <a:pt x="0" y="614695"/>
                  </a:lnTo>
                  <a:lnTo>
                    <a:pt x="2223" y="606380"/>
                  </a:lnTo>
                  <a:lnTo>
                    <a:pt x="7081" y="606243"/>
                  </a:lnTo>
                  <a:lnTo>
                    <a:pt x="9441" y="603251"/>
                  </a:lnTo>
                  <a:lnTo>
                    <a:pt x="10099" y="599135"/>
                  </a:lnTo>
                  <a:lnTo>
                    <a:pt x="7931" y="593619"/>
                  </a:lnTo>
                  <a:lnTo>
                    <a:pt x="12487" y="583575"/>
                  </a:lnTo>
                  <a:lnTo>
                    <a:pt x="22723" y="581956"/>
                  </a:lnTo>
                  <a:lnTo>
                    <a:pt x="33426" y="572982"/>
                  </a:lnTo>
                  <a:lnTo>
                    <a:pt x="37926" y="572817"/>
                  </a:lnTo>
                  <a:lnTo>
                    <a:pt x="36088" y="568783"/>
                  </a:lnTo>
                  <a:lnTo>
                    <a:pt x="37048" y="566478"/>
                  </a:lnTo>
                  <a:lnTo>
                    <a:pt x="45281" y="568536"/>
                  </a:lnTo>
                  <a:lnTo>
                    <a:pt x="58509" y="561099"/>
                  </a:lnTo>
                  <a:lnTo>
                    <a:pt x="62159" y="567548"/>
                  </a:lnTo>
                  <a:lnTo>
                    <a:pt x="61198" y="571390"/>
                  </a:lnTo>
                  <a:lnTo>
                    <a:pt x="62515" y="574382"/>
                  </a:lnTo>
                  <a:lnTo>
                    <a:pt x="68224" y="574162"/>
                  </a:lnTo>
                  <a:lnTo>
                    <a:pt x="71352" y="571061"/>
                  </a:lnTo>
                  <a:lnTo>
                    <a:pt x="79228" y="568948"/>
                  </a:lnTo>
                  <a:lnTo>
                    <a:pt x="82466" y="571088"/>
                  </a:lnTo>
                  <a:lnTo>
                    <a:pt x="86144" y="567850"/>
                  </a:lnTo>
                  <a:lnTo>
                    <a:pt x="90150" y="556763"/>
                  </a:lnTo>
                  <a:lnTo>
                    <a:pt x="96408" y="546746"/>
                  </a:lnTo>
                  <a:lnTo>
                    <a:pt x="101485" y="545182"/>
                  </a:lnTo>
                  <a:lnTo>
                    <a:pt x="118993" y="547158"/>
                  </a:lnTo>
                  <a:lnTo>
                    <a:pt x="127089" y="544359"/>
                  </a:lnTo>
                  <a:lnTo>
                    <a:pt x="133346" y="545045"/>
                  </a:lnTo>
                  <a:lnTo>
                    <a:pt x="140673" y="536648"/>
                  </a:lnTo>
                  <a:lnTo>
                    <a:pt x="142813" y="530665"/>
                  </a:lnTo>
                  <a:lnTo>
                    <a:pt x="156919" y="522844"/>
                  </a:lnTo>
                  <a:lnTo>
                    <a:pt x="160212" y="521005"/>
                  </a:lnTo>
                  <a:lnTo>
                    <a:pt x="171683" y="514638"/>
                  </a:lnTo>
                  <a:lnTo>
                    <a:pt x="179011" y="515791"/>
                  </a:lnTo>
                  <a:lnTo>
                    <a:pt x="183347" y="508519"/>
                  </a:lnTo>
                  <a:lnTo>
                    <a:pt x="184088" y="507228"/>
                  </a:lnTo>
                  <a:lnTo>
                    <a:pt x="195395" y="505472"/>
                  </a:lnTo>
                  <a:lnTo>
                    <a:pt x="195888" y="499188"/>
                  </a:lnTo>
                  <a:lnTo>
                    <a:pt x="195586" y="491998"/>
                  </a:lnTo>
                  <a:lnTo>
                    <a:pt x="195230" y="482750"/>
                  </a:lnTo>
                  <a:lnTo>
                    <a:pt x="195120" y="479950"/>
                  </a:lnTo>
                  <a:lnTo>
                    <a:pt x="203325" y="472650"/>
                  </a:lnTo>
                  <a:lnTo>
                    <a:pt x="202392" y="466284"/>
                  </a:lnTo>
                  <a:lnTo>
                    <a:pt x="210433" y="460768"/>
                  </a:lnTo>
                  <a:lnTo>
                    <a:pt x="209610" y="447348"/>
                  </a:lnTo>
                  <a:lnTo>
                    <a:pt x="200746" y="420344"/>
                  </a:lnTo>
                  <a:lnTo>
                    <a:pt x="199181" y="407309"/>
                  </a:lnTo>
                  <a:lnTo>
                    <a:pt x="201459" y="397182"/>
                  </a:lnTo>
                  <a:lnTo>
                    <a:pt x="196519" y="393505"/>
                  </a:lnTo>
                  <a:lnTo>
                    <a:pt x="189302" y="393505"/>
                  </a:lnTo>
                  <a:cubicBezTo>
                    <a:pt x="189302" y="393505"/>
                    <a:pt x="187381" y="388675"/>
                    <a:pt x="187381" y="388675"/>
                  </a:cubicBezTo>
                  <a:lnTo>
                    <a:pt x="192348" y="384449"/>
                  </a:lnTo>
                  <a:lnTo>
                    <a:pt x="237218" y="371962"/>
                  </a:lnTo>
                  <a:lnTo>
                    <a:pt x="246219" y="378631"/>
                  </a:lnTo>
                  <a:lnTo>
                    <a:pt x="254424" y="377012"/>
                  </a:lnTo>
                  <a:lnTo>
                    <a:pt x="262465" y="379317"/>
                  </a:lnTo>
                  <a:lnTo>
                    <a:pt x="264633" y="369355"/>
                  </a:lnTo>
                  <a:lnTo>
                    <a:pt x="257169" y="364031"/>
                  </a:lnTo>
                  <a:lnTo>
                    <a:pt x="256345" y="359750"/>
                  </a:lnTo>
                  <a:lnTo>
                    <a:pt x="278410" y="293311"/>
                  </a:lnTo>
                  <a:lnTo>
                    <a:pt x="282690" y="292652"/>
                  </a:lnTo>
                  <a:lnTo>
                    <a:pt x="306429" y="302421"/>
                  </a:lnTo>
                  <a:lnTo>
                    <a:pt x="325364" y="302037"/>
                  </a:lnTo>
                  <a:lnTo>
                    <a:pt x="330551" y="308020"/>
                  </a:lnTo>
                  <a:lnTo>
                    <a:pt x="342543" y="299924"/>
                  </a:lnTo>
                  <a:lnTo>
                    <a:pt x="350475" y="298305"/>
                  </a:lnTo>
                  <a:lnTo>
                    <a:pt x="355963" y="289002"/>
                  </a:lnTo>
                  <a:lnTo>
                    <a:pt x="352231" y="260626"/>
                  </a:lnTo>
                  <a:lnTo>
                    <a:pt x="357665" y="242569"/>
                  </a:lnTo>
                  <a:lnTo>
                    <a:pt x="381869" y="233567"/>
                  </a:lnTo>
                  <a:lnTo>
                    <a:pt x="387083" y="225828"/>
                  </a:lnTo>
                  <a:lnTo>
                    <a:pt x="387386" y="214439"/>
                  </a:lnTo>
                  <a:lnTo>
                    <a:pt x="390733" y="209637"/>
                  </a:lnTo>
                  <a:lnTo>
                    <a:pt x="397923" y="207469"/>
                  </a:lnTo>
                  <a:lnTo>
                    <a:pt x="403741" y="209115"/>
                  </a:lnTo>
                  <a:lnTo>
                    <a:pt x="418835" y="205356"/>
                  </a:lnTo>
                  <a:lnTo>
                    <a:pt x="420701" y="211366"/>
                  </a:lnTo>
                  <a:lnTo>
                    <a:pt x="418039" y="218665"/>
                  </a:lnTo>
                  <a:lnTo>
                    <a:pt x="425175" y="225856"/>
                  </a:lnTo>
                  <a:lnTo>
                    <a:pt x="425010" y="233018"/>
                  </a:lnTo>
                  <a:lnTo>
                    <a:pt x="438676" y="240895"/>
                  </a:lnTo>
                  <a:lnTo>
                    <a:pt x="443067" y="249814"/>
                  </a:lnTo>
                  <a:lnTo>
                    <a:pt x="455334" y="258156"/>
                  </a:lnTo>
                  <a:lnTo>
                    <a:pt x="469302" y="257964"/>
                  </a:lnTo>
                  <a:lnTo>
                    <a:pt x="475999" y="264935"/>
                  </a:lnTo>
                  <a:lnTo>
                    <a:pt x="483299" y="264441"/>
                  </a:lnTo>
                  <a:lnTo>
                    <a:pt x="489034" y="270670"/>
                  </a:lnTo>
                  <a:lnTo>
                    <a:pt x="492547" y="274485"/>
                  </a:lnTo>
                  <a:lnTo>
                    <a:pt x="498722" y="292350"/>
                  </a:lnTo>
                  <a:lnTo>
                    <a:pt x="509617" y="305276"/>
                  </a:lnTo>
                  <a:lnTo>
                    <a:pt x="513211" y="316198"/>
                  </a:lnTo>
                  <a:lnTo>
                    <a:pt x="513211" y="322757"/>
                  </a:lnTo>
                  <a:cubicBezTo>
                    <a:pt x="513211" y="322757"/>
                    <a:pt x="510110" y="332197"/>
                    <a:pt x="510110" y="332197"/>
                  </a:cubicBezTo>
                  <a:lnTo>
                    <a:pt x="512333" y="342900"/>
                  </a:lnTo>
                  <a:lnTo>
                    <a:pt x="505253" y="354234"/>
                  </a:lnTo>
                  <a:lnTo>
                    <a:pt x="503167" y="362055"/>
                  </a:lnTo>
                  <a:lnTo>
                    <a:pt x="509534" y="376490"/>
                  </a:lnTo>
                  <a:lnTo>
                    <a:pt x="518124" y="378192"/>
                  </a:lnTo>
                  <a:lnTo>
                    <a:pt x="528525" y="380250"/>
                  </a:lnTo>
                  <a:lnTo>
                    <a:pt x="549738" y="384449"/>
                  </a:lnTo>
                  <a:lnTo>
                    <a:pt x="553470" y="385107"/>
                  </a:lnTo>
                  <a:lnTo>
                    <a:pt x="566533" y="384037"/>
                  </a:lnTo>
                  <a:lnTo>
                    <a:pt x="587527" y="387824"/>
                  </a:lnTo>
                  <a:lnTo>
                    <a:pt x="605722" y="398472"/>
                  </a:lnTo>
                  <a:lnTo>
                    <a:pt x="622819" y="413127"/>
                  </a:lnTo>
                  <a:lnTo>
                    <a:pt x="630777" y="416282"/>
                  </a:lnTo>
                  <a:lnTo>
                    <a:pt x="641644" y="415459"/>
                  </a:lnTo>
                  <a:lnTo>
                    <a:pt x="640245" y="425174"/>
                  </a:lnTo>
                  <a:lnTo>
                    <a:pt x="646091" y="428522"/>
                  </a:lnTo>
                  <a:lnTo>
                    <a:pt x="653143" y="447266"/>
                  </a:lnTo>
                  <a:lnTo>
                    <a:pt x="657205" y="457447"/>
                  </a:lnTo>
                  <a:lnTo>
                    <a:pt x="668923" y="470400"/>
                  </a:lnTo>
                  <a:lnTo>
                    <a:pt x="672408" y="477865"/>
                  </a:lnTo>
                  <a:lnTo>
                    <a:pt x="695131" y="476438"/>
                  </a:lnTo>
                  <a:lnTo>
                    <a:pt x="724111" y="481789"/>
                  </a:lnTo>
                  <a:lnTo>
                    <a:pt x="733963" y="482667"/>
                  </a:lnTo>
                  <a:lnTo>
                    <a:pt x="760637" y="485082"/>
                  </a:lnTo>
                  <a:lnTo>
                    <a:pt x="774908" y="482667"/>
                  </a:lnTo>
                  <a:lnTo>
                    <a:pt x="787175" y="480581"/>
                  </a:lnTo>
                  <a:lnTo>
                    <a:pt x="801967" y="481240"/>
                  </a:lnTo>
                  <a:lnTo>
                    <a:pt x="807757" y="482667"/>
                  </a:lnTo>
                  <a:lnTo>
                    <a:pt x="828257" y="487717"/>
                  </a:lnTo>
                  <a:lnTo>
                    <a:pt x="832401" y="491943"/>
                  </a:lnTo>
                  <a:lnTo>
                    <a:pt x="839234" y="498447"/>
                  </a:lnTo>
                  <a:lnTo>
                    <a:pt x="856962" y="502289"/>
                  </a:lnTo>
                  <a:lnTo>
                    <a:pt x="878477" y="512717"/>
                  </a:lnTo>
                  <a:lnTo>
                    <a:pt x="891650" y="515599"/>
                  </a:lnTo>
                  <a:lnTo>
                    <a:pt x="908034" y="513403"/>
                  </a:lnTo>
                  <a:lnTo>
                    <a:pt x="911217" y="520785"/>
                  </a:lnTo>
                  <a:lnTo>
                    <a:pt x="922908" y="523146"/>
                  </a:lnTo>
                  <a:lnTo>
                    <a:pt x="945987" y="509506"/>
                  </a:lnTo>
                  <a:lnTo>
                    <a:pt x="990746" y="491943"/>
                  </a:lnTo>
                  <a:lnTo>
                    <a:pt x="994479" y="490488"/>
                  </a:lnTo>
                  <a:lnTo>
                    <a:pt x="1036851" y="491778"/>
                  </a:lnTo>
                  <a:lnTo>
                    <a:pt x="1053619" y="489583"/>
                  </a:lnTo>
                  <a:lnTo>
                    <a:pt x="1070386" y="482695"/>
                  </a:lnTo>
                  <a:lnTo>
                    <a:pt x="1080567" y="478496"/>
                  </a:lnTo>
                  <a:lnTo>
                    <a:pt x="1100189" y="455910"/>
                  </a:lnTo>
                  <a:lnTo>
                    <a:pt x="1117725" y="447266"/>
                  </a:lnTo>
                  <a:lnTo>
                    <a:pt x="1128236" y="438786"/>
                  </a:lnTo>
                  <a:lnTo>
                    <a:pt x="1126589" y="431596"/>
                  </a:lnTo>
                  <a:lnTo>
                    <a:pt x="1117972" y="422567"/>
                  </a:lnTo>
                  <a:lnTo>
                    <a:pt x="1112786" y="412413"/>
                  </a:lnTo>
                  <a:lnTo>
                    <a:pt x="1117780" y="397923"/>
                  </a:lnTo>
                  <a:lnTo>
                    <a:pt x="1124394" y="385931"/>
                  </a:lnTo>
                  <a:lnTo>
                    <a:pt x="1130102" y="382363"/>
                  </a:lnTo>
                  <a:lnTo>
                    <a:pt x="1142067" y="382994"/>
                  </a:lnTo>
                  <a:lnTo>
                    <a:pt x="1154389" y="392435"/>
                  </a:lnTo>
                  <a:lnTo>
                    <a:pt x="1176892" y="396304"/>
                  </a:lnTo>
                  <a:lnTo>
                    <a:pt x="1190861" y="387989"/>
                  </a:lnTo>
                  <a:lnTo>
                    <a:pt x="1201290" y="377698"/>
                  </a:lnTo>
                  <a:lnTo>
                    <a:pt x="1204665" y="370618"/>
                  </a:lnTo>
                  <a:lnTo>
                    <a:pt x="1208809" y="368504"/>
                  </a:lnTo>
                  <a:lnTo>
                    <a:pt x="1227854" y="369684"/>
                  </a:lnTo>
                  <a:lnTo>
                    <a:pt x="1238145" y="366528"/>
                  </a:lnTo>
                  <a:lnTo>
                    <a:pt x="1254172" y="355085"/>
                  </a:lnTo>
                  <a:lnTo>
                    <a:pt x="1256011" y="344464"/>
                  </a:lnTo>
                  <a:lnTo>
                    <a:pt x="1264628" y="331895"/>
                  </a:lnTo>
                  <a:lnTo>
                    <a:pt x="1272257" y="328245"/>
                  </a:lnTo>
                  <a:lnTo>
                    <a:pt x="1285813" y="328575"/>
                  </a:lnTo>
                  <a:lnTo>
                    <a:pt x="1290918" y="319135"/>
                  </a:lnTo>
                  <a:lnTo>
                    <a:pt x="1298190" y="321549"/>
                  </a:lnTo>
                  <a:lnTo>
                    <a:pt x="1314629" y="312905"/>
                  </a:lnTo>
                  <a:lnTo>
                    <a:pt x="1328432" y="314195"/>
                  </a:lnTo>
                  <a:lnTo>
                    <a:pt x="1331808" y="311423"/>
                  </a:lnTo>
                  <a:lnTo>
                    <a:pt x="1339108" y="315924"/>
                  </a:lnTo>
                  <a:lnTo>
                    <a:pt x="1357083" y="317817"/>
                  </a:lnTo>
                  <a:lnTo>
                    <a:pt x="1362133" y="314003"/>
                  </a:lnTo>
                  <a:lnTo>
                    <a:pt x="1362709" y="306895"/>
                  </a:lnTo>
                  <a:lnTo>
                    <a:pt x="1357110" y="294655"/>
                  </a:lnTo>
                  <a:lnTo>
                    <a:pt x="1351732" y="288590"/>
                  </a:lnTo>
                  <a:lnTo>
                    <a:pt x="1345310" y="280632"/>
                  </a:lnTo>
                  <a:lnTo>
                    <a:pt x="1340315" y="278409"/>
                  </a:lnTo>
                  <a:lnTo>
                    <a:pt x="1338340" y="272701"/>
                  </a:lnTo>
                  <a:lnTo>
                    <a:pt x="1328872" y="267514"/>
                  </a:lnTo>
                  <a:lnTo>
                    <a:pt x="1322944" y="258842"/>
                  </a:lnTo>
                  <a:lnTo>
                    <a:pt x="1311638" y="255576"/>
                  </a:lnTo>
                  <a:lnTo>
                    <a:pt x="1300002" y="257333"/>
                  </a:lnTo>
                  <a:lnTo>
                    <a:pt x="1287378" y="272317"/>
                  </a:lnTo>
                  <a:lnTo>
                    <a:pt x="1278294" y="265044"/>
                  </a:lnTo>
                  <a:lnTo>
                    <a:pt x="1270857" y="262218"/>
                  </a:lnTo>
                  <a:lnTo>
                    <a:pt x="1253898" y="263535"/>
                  </a:lnTo>
                  <a:lnTo>
                    <a:pt x="1245253" y="270917"/>
                  </a:lnTo>
                  <a:lnTo>
                    <a:pt x="1235209" y="261696"/>
                  </a:lnTo>
                  <a:lnTo>
                    <a:pt x="1233919" y="252338"/>
                  </a:lnTo>
                  <a:lnTo>
                    <a:pt x="1241301" y="246493"/>
                  </a:lnTo>
                  <a:lnTo>
                    <a:pt x="1241603" y="234692"/>
                  </a:lnTo>
                  <a:lnTo>
                    <a:pt x="1248683" y="223057"/>
                  </a:lnTo>
                  <a:lnTo>
                    <a:pt x="1249616" y="217486"/>
                  </a:lnTo>
                  <a:lnTo>
                    <a:pt x="1268607" y="175168"/>
                  </a:lnTo>
                  <a:lnTo>
                    <a:pt x="1280627" y="182908"/>
                  </a:lnTo>
                  <a:lnTo>
                    <a:pt x="1299892" y="188862"/>
                  </a:lnTo>
                  <a:lnTo>
                    <a:pt x="1308893" y="184362"/>
                  </a:lnTo>
                  <a:lnTo>
                    <a:pt x="1323328" y="171958"/>
                  </a:lnTo>
                  <a:lnTo>
                    <a:pt x="1340398" y="165865"/>
                  </a:lnTo>
                  <a:lnTo>
                    <a:pt x="1345255" y="156672"/>
                  </a:lnTo>
                  <a:lnTo>
                    <a:pt x="1341989" y="149948"/>
                  </a:lnTo>
                  <a:lnTo>
                    <a:pt x="1343718" y="142676"/>
                  </a:lnTo>
                  <a:lnTo>
                    <a:pt x="1357055" y="118279"/>
                  </a:lnTo>
                  <a:lnTo>
                    <a:pt x="1366660" y="94020"/>
                  </a:lnTo>
                  <a:lnTo>
                    <a:pt x="1382935" y="78487"/>
                  </a:lnTo>
                  <a:lnTo>
                    <a:pt x="1386804" y="69211"/>
                  </a:lnTo>
                  <a:lnTo>
                    <a:pt x="1383593" y="48464"/>
                  </a:lnTo>
                  <a:lnTo>
                    <a:pt x="1378242" y="44979"/>
                  </a:lnTo>
                  <a:lnTo>
                    <a:pt x="1368280" y="45089"/>
                  </a:lnTo>
                  <a:lnTo>
                    <a:pt x="1366853" y="41302"/>
                  </a:lnTo>
                  <a:lnTo>
                    <a:pt x="1368197" y="36417"/>
                  </a:lnTo>
                  <a:lnTo>
                    <a:pt x="1392128" y="13118"/>
                  </a:lnTo>
                  <a:lnTo>
                    <a:pt x="1432085" y="3320"/>
                  </a:lnTo>
                  <a:lnTo>
                    <a:pt x="1448633" y="3677"/>
                  </a:lnTo>
                  <a:lnTo>
                    <a:pt x="1464275" y="0"/>
                  </a:lnTo>
                  <a:lnTo>
                    <a:pt x="1478930" y="35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2" name="Freeform: Shape 3231">
              <a:extLst>
                <a:ext uri="{FF2B5EF4-FFF2-40B4-BE49-F238E27FC236}">
                  <a16:creationId xmlns:a16="http://schemas.microsoft.com/office/drawing/2014/main" id="{38E591A3-FCE5-F6EE-DC16-D30351AA6DAE}"/>
                </a:ext>
              </a:extLst>
            </p:cNvPr>
            <p:cNvSpPr/>
            <p:nvPr/>
          </p:nvSpPr>
          <p:spPr>
            <a:xfrm>
              <a:off x="1736578" y="3741932"/>
              <a:ext cx="677" cy="457"/>
            </a:xfrm>
            <a:custGeom>
              <a:avLst/>
              <a:gdLst>
                <a:gd name="connsiteX0" fmla="*/ 6504 w 6504"/>
                <a:gd name="connsiteY0" fmla="*/ 1756 h 4390"/>
                <a:gd name="connsiteX1" fmla="*/ 5516 w 6504"/>
                <a:gd name="connsiteY1" fmla="*/ 4391 h 4390"/>
                <a:gd name="connsiteX2" fmla="*/ 2662 w 6504"/>
                <a:gd name="connsiteY2" fmla="*/ 3513 h 4390"/>
                <a:gd name="connsiteX3" fmla="*/ 0 w 6504"/>
                <a:gd name="connsiteY3" fmla="*/ 686 h 4390"/>
                <a:gd name="connsiteX4" fmla="*/ 1509 w 6504"/>
                <a:gd name="connsiteY4" fmla="*/ 0 h 4390"/>
                <a:gd name="connsiteX5" fmla="*/ 3266 w 6504"/>
                <a:gd name="connsiteY5" fmla="*/ 1647 h 4390"/>
                <a:gd name="connsiteX6" fmla="*/ 6504 w 6504"/>
                <a:gd name="connsiteY6" fmla="*/ 1784 h 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4" h="4390">
                  <a:moveTo>
                    <a:pt x="6504" y="1756"/>
                  </a:moveTo>
                  <a:lnTo>
                    <a:pt x="5516" y="4391"/>
                  </a:lnTo>
                  <a:lnTo>
                    <a:pt x="2662" y="3513"/>
                  </a:lnTo>
                  <a:lnTo>
                    <a:pt x="0" y="686"/>
                  </a:lnTo>
                  <a:lnTo>
                    <a:pt x="1509" y="0"/>
                  </a:lnTo>
                  <a:lnTo>
                    <a:pt x="3266" y="1647"/>
                  </a:lnTo>
                  <a:lnTo>
                    <a:pt x="6504"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3" name="Freeform: Shape 3232">
              <a:extLst>
                <a:ext uri="{FF2B5EF4-FFF2-40B4-BE49-F238E27FC236}">
                  <a16:creationId xmlns:a16="http://schemas.microsoft.com/office/drawing/2014/main" id="{C6791D3C-3AC3-73C5-52A0-95070D7F02B9}"/>
                </a:ext>
              </a:extLst>
            </p:cNvPr>
            <p:cNvSpPr/>
            <p:nvPr/>
          </p:nvSpPr>
          <p:spPr>
            <a:xfrm>
              <a:off x="1735204" y="3711647"/>
              <a:ext cx="400" cy="488"/>
            </a:xfrm>
            <a:custGeom>
              <a:avLst/>
              <a:gdLst>
                <a:gd name="connsiteX0" fmla="*/ 3842 w 3841"/>
                <a:gd name="connsiteY0" fmla="*/ 2086 h 4692"/>
                <a:gd name="connsiteX1" fmla="*/ 2360 w 3841"/>
                <a:gd name="connsiteY1" fmla="*/ 4693 h 4692"/>
                <a:gd name="connsiteX2" fmla="*/ 0 w 3841"/>
                <a:gd name="connsiteY2" fmla="*/ 2141 h 4692"/>
                <a:gd name="connsiteX3" fmla="*/ 1619 w 3841"/>
                <a:gd name="connsiteY3" fmla="*/ 0 h 4692"/>
                <a:gd name="connsiteX4" fmla="*/ 3842 w 3841"/>
                <a:gd name="connsiteY4" fmla="*/ 2086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1" h="4692">
                  <a:moveTo>
                    <a:pt x="3842" y="2086"/>
                  </a:moveTo>
                  <a:lnTo>
                    <a:pt x="2360" y="4693"/>
                  </a:lnTo>
                  <a:lnTo>
                    <a:pt x="0" y="2141"/>
                  </a:lnTo>
                  <a:lnTo>
                    <a:pt x="1619" y="0"/>
                  </a:lnTo>
                  <a:lnTo>
                    <a:pt x="3842"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4" name="Freeform: Shape 3233">
              <a:extLst>
                <a:ext uri="{FF2B5EF4-FFF2-40B4-BE49-F238E27FC236}">
                  <a16:creationId xmlns:a16="http://schemas.microsoft.com/office/drawing/2014/main" id="{A53FD9D2-6C8B-9B97-F891-5ED04F69EC2F}"/>
                </a:ext>
              </a:extLst>
            </p:cNvPr>
            <p:cNvSpPr/>
            <p:nvPr/>
          </p:nvSpPr>
          <p:spPr>
            <a:xfrm>
              <a:off x="1738383" y="3745274"/>
              <a:ext cx="431" cy="368"/>
            </a:xfrm>
            <a:custGeom>
              <a:avLst/>
              <a:gdLst>
                <a:gd name="connsiteX0" fmla="*/ 4144 w 4143"/>
                <a:gd name="connsiteY0" fmla="*/ 1893 h 3539"/>
                <a:gd name="connsiteX1" fmla="*/ 2333 w 4143"/>
                <a:gd name="connsiteY1" fmla="*/ 3540 h 3539"/>
                <a:gd name="connsiteX2" fmla="*/ 0 w 4143"/>
                <a:gd name="connsiteY2" fmla="*/ 2881 h 3539"/>
                <a:gd name="connsiteX3" fmla="*/ 631 w 4143"/>
                <a:gd name="connsiteY3" fmla="*/ 0 h 3539"/>
                <a:gd name="connsiteX4" fmla="*/ 4116 w 4143"/>
                <a:gd name="connsiteY4" fmla="*/ 1893 h 3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 h="3539">
                  <a:moveTo>
                    <a:pt x="4144" y="1893"/>
                  </a:moveTo>
                  <a:lnTo>
                    <a:pt x="2333" y="3540"/>
                  </a:lnTo>
                  <a:lnTo>
                    <a:pt x="0" y="2881"/>
                  </a:lnTo>
                  <a:lnTo>
                    <a:pt x="631" y="0"/>
                  </a:lnTo>
                  <a:lnTo>
                    <a:pt x="4116" y="1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5" name="Freeform: Shape 3234">
              <a:extLst>
                <a:ext uri="{FF2B5EF4-FFF2-40B4-BE49-F238E27FC236}">
                  <a16:creationId xmlns:a16="http://schemas.microsoft.com/office/drawing/2014/main" id="{C00CD7D7-0CDE-06B4-5DE7-CD57C29460C4}"/>
                </a:ext>
              </a:extLst>
            </p:cNvPr>
            <p:cNvSpPr/>
            <p:nvPr/>
          </p:nvSpPr>
          <p:spPr>
            <a:xfrm>
              <a:off x="1738443" y="3712641"/>
              <a:ext cx="365" cy="474"/>
            </a:xfrm>
            <a:custGeom>
              <a:avLst/>
              <a:gdLst>
                <a:gd name="connsiteX0" fmla="*/ 3513 w 3512"/>
                <a:gd name="connsiteY0" fmla="*/ 3540 h 4555"/>
                <a:gd name="connsiteX1" fmla="*/ 1921 w 3512"/>
                <a:gd name="connsiteY1" fmla="*/ 4555 h 4555"/>
                <a:gd name="connsiteX2" fmla="*/ 0 w 3512"/>
                <a:gd name="connsiteY2" fmla="*/ 2113 h 4555"/>
                <a:gd name="connsiteX3" fmla="*/ 3266 w 3512"/>
                <a:gd name="connsiteY3" fmla="*/ 0 h 4555"/>
                <a:gd name="connsiteX4" fmla="*/ 3513 w 3512"/>
                <a:gd name="connsiteY4" fmla="*/ 3540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4555">
                  <a:moveTo>
                    <a:pt x="3513" y="3540"/>
                  </a:moveTo>
                  <a:lnTo>
                    <a:pt x="1921" y="4555"/>
                  </a:lnTo>
                  <a:lnTo>
                    <a:pt x="0" y="2113"/>
                  </a:lnTo>
                  <a:lnTo>
                    <a:pt x="3266" y="0"/>
                  </a:lnTo>
                  <a:lnTo>
                    <a:pt x="3513"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6" name="Freeform: Shape 3235">
              <a:extLst>
                <a:ext uri="{FF2B5EF4-FFF2-40B4-BE49-F238E27FC236}">
                  <a16:creationId xmlns:a16="http://schemas.microsoft.com/office/drawing/2014/main" id="{8D46AD41-6CA3-2F23-E5CD-5776A02BCB0A}"/>
                </a:ext>
              </a:extLst>
            </p:cNvPr>
            <p:cNvSpPr/>
            <p:nvPr/>
          </p:nvSpPr>
          <p:spPr>
            <a:xfrm>
              <a:off x="1083791" y="3350376"/>
              <a:ext cx="92858" cy="122815"/>
            </a:xfrm>
            <a:custGeom>
              <a:avLst/>
              <a:gdLst>
                <a:gd name="connsiteX0" fmla="*/ 433050 w 892253"/>
                <a:gd name="connsiteY0" fmla="*/ 33892 h 1180102"/>
                <a:gd name="connsiteX1" fmla="*/ 445564 w 892253"/>
                <a:gd name="connsiteY1" fmla="*/ 2305 h 1180102"/>
                <a:gd name="connsiteX2" fmla="*/ 503332 w 892253"/>
                <a:gd name="connsiteY2" fmla="*/ 0 h 1180102"/>
                <a:gd name="connsiteX3" fmla="*/ 523338 w 892253"/>
                <a:gd name="connsiteY3" fmla="*/ 54474 h 1180102"/>
                <a:gd name="connsiteX4" fmla="*/ 536867 w 892253"/>
                <a:gd name="connsiteY4" fmla="*/ 71626 h 1180102"/>
                <a:gd name="connsiteX5" fmla="*/ 539035 w 892253"/>
                <a:gd name="connsiteY5" fmla="*/ 61939 h 1180102"/>
                <a:gd name="connsiteX6" fmla="*/ 538075 w 892253"/>
                <a:gd name="connsiteY6" fmla="*/ 26428 h 1180102"/>
                <a:gd name="connsiteX7" fmla="*/ 550753 w 892253"/>
                <a:gd name="connsiteY7" fmla="*/ 8315 h 1180102"/>
                <a:gd name="connsiteX8" fmla="*/ 578224 w 892253"/>
                <a:gd name="connsiteY8" fmla="*/ 5818 h 1180102"/>
                <a:gd name="connsiteX9" fmla="*/ 594827 w 892253"/>
                <a:gd name="connsiteY9" fmla="*/ 30462 h 1180102"/>
                <a:gd name="connsiteX10" fmla="*/ 609728 w 892253"/>
                <a:gd name="connsiteY10" fmla="*/ 9578 h 1180102"/>
                <a:gd name="connsiteX11" fmla="*/ 636842 w 892253"/>
                <a:gd name="connsiteY11" fmla="*/ 3595 h 1180102"/>
                <a:gd name="connsiteX12" fmla="*/ 714999 w 892253"/>
                <a:gd name="connsiteY12" fmla="*/ 62652 h 1180102"/>
                <a:gd name="connsiteX13" fmla="*/ 709785 w 892253"/>
                <a:gd name="connsiteY13" fmla="*/ 91275 h 1180102"/>
                <a:gd name="connsiteX14" fmla="*/ 710554 w 892253"/>
                <a:gd name="connsiteY14" fmla="*/ 100386 h 1180102"/>
                <a:gd name="connsiteX15" fmla="*/ 782536 w 892253"/>
                <a:gd name="connsiteY15" fmla="*/ 61802 h 1180102"/>
                <a:gd name="connsiteX16" fmla="*/ 800018 w 892253"/>
                <a:gd name="connsiteY16" fmla="*/ 77966 h 1180102"/>
                <a:gd name="connsiteX17" fmla="*/ 819036 w 892253"/>
                <a:gd name="connsiteY17" fmla="*/ 75907 h 1180102"/>
                <a:gd name="connsiteX18" fmla="*/ 841731 w 892253"/>
                <a:gd name="connsiteY18" fmla="*/ 141276 h 1180102"/>
                <a:gd name="connsiteX19" fmla="*/ 880426 w 892253"/>
                <a:gd name="connsiteY19" fmla="*/ 151046 h 1180102"/>
                <a:gd name="connsiteX20" fmla="*/ 889015 w 892253"/>
                <a:gd name="connsiteY20" fmla="*/ 164027 h 1180102"/>
                <a:gd name="connsiteX21" fmla="*/ 892254 w 892253"/>
                <a:gd name="connsiteY21" fmla="*/ 185268 h 1180102"/>
                <a:gd name="connsiteX22" fmla="*/ 887369 w 892253"/>
                <a:gd name="connsiteY22" fmla="*/ 212765 h 1180102"/>
                <a:gd name="connsiteX23" fmla="*/ 869805 w 892253"/>
                <a:gd name="connsiteY23" fmla="*/ 239687 h 1180102"/>
                <a:gd name="connsiteX24" fmla="*/ 810913 w 892253"/>
                <a:gd name="connsiteY24" fmla="*/ 302147 h 1180102"/>
                <a:gd name="connsiteX25" fmla="*/ 715933 w 892253"/>
                <a:gd name="connsiteY25" fmla="*/ 336341 h 1180102"/>
                <a:gd name="connsiteX26" fmla="*/ 708084 w 892253"/>
                <a:gd name="connsiteY26" fmla="*/ 360683 h 1180102"/>
                <a:gd name="connsiteX27" fmla="*/ 667688 w 892253"/>
                <a:gd name="connsiteY27" fmla="*/ 398362 h 1180102"/>
                <a:gd name="connsiteX28" fmla="*/ 666892 w 892253"/>
                <a:gd name="connsiteY28" fmla="*/ 403165 h 1180102"/>
                <a:gd name="connsiteX29" fmla="*/ 781878 w 892253"/>
                <a:gd name="connsiteY29" fmla="*/ 350804 h 1180102"/>
                <a:gd name="connsiteX30" fmla="*/ 792087 w 892253"/>
                <a:gd name="connsiteY30" fmla="*/ 349788 h 1180102"/>
                <a:gd name="connsiteX31" fmla="*/ 794776 w 892253"/>
                <a:gd name="connsiteY31" fmla="*/ 358652 h 1180102"/>
                <a:gd name="connsiteX32" fmla="*/ 787778 w 892253"/>
                <a:gd name="connsiteY32" fmla="*/ 381704 h 1180102"/>
                <a:gd name="connsiteX33" fmla="*/ 755615 w 892253"/>
                <a:gd name="connsiteY33" fmla="*/ 408544 h 1180102"/>
                <a:gd name="connsiteX34" fmla="*/ 732426 w 892253"/>
                <a:gd name="connsiteY34" fmla="*/ 447046 h 1180102"/>
                <a:gd name="connsiteX35" fmla="*/ 702431 w 892253"/>
                <a:gd name="connsiteY35" fmla="*/ 475148 h 1180102"/>
                <a:gd name="connsiteX36" fmla="*/ 670514 w 892253"/>
                <a:gd name="connsiteY36" fmla="*/ 520703 h 1180102"/>
                <a:gd name="connsiteX37" fmla="*/ 648725 w 892253"/>
                <a:gd name="connsiteY37" fmla="*/ 562856 h 1180102"/>
                <a:gd name="connsiteX38" fmla="*/ 627484 w 892253"/>
                <a:gd name="connsiteY38" fmla="*/ 563130 h 1180102"/>
                <a:gd name="connsiteX39" fmla="*/ 624959 w 892253"/>
                <a:gd name="connsiteY39" fmla="*/ 587609 h 1180102"/>
                <a:gd name="connsiteX40" fmla="*/ 616342 w 892253"/>
                <a:gd name="connsiteY40" fmla="*/ 602209 h 1180102"/>
                <a:gd name="connsiteX41" fmla="*/ 610991 w 892253"/>
                <a:gd name="connsiteY41" fmla="*/ 633055 h 1180102"/>
                <a:gd name="connsiteX42" fmla="*/ 590436 w 892253"/>
                <a:gd name="connsiteY42" fmla="*/ 674164 h 1180102"/>
                <a:gd name="connsiteX43" fmla="*/ 559864 w 892253"/>
                <a:gd name="connsiteY43" fmla="*/ 682068 h 1180102"/>
                <a:gd name="connsiteX44" fmla="*/ 541889 w 892253"/>
                <a:gd name="connsiteY44" fmla="*/ 662803 h 1180102"/>
                <a:gd name="connsiteX45" fmla="*/ 515928 w 892253"/>
                <a:gd name="connsiteY45" fmla="*/ 654597 h 1180102"/>
                <a:gd name="connsiteX46" fmla="*/ 531845 w 892253"/>
                <a:gd name="connsiteY46" fmla="*/ 674658 h 1180102"/>
                <a:gd name="connsiteX47" fmla="*/ 537498 w 892253"/>
                <a:gd name="connsiteY47" fmla="*/ 699549 h 1180102"/>
                <a:gd name="connsiteX48" fmla="*/ 529979 w 892253"/>
                <a:gd name="connsiteY48" fmla="*/ 712557 h 1180102"/>
                <a:gd name="connsiteX49" fmla="*/ 494111 w 892253"/>
                <a:gd name="connsiteY49" fmla="*/ 719637 h 1180102"/>
                <a:gd name="connsiteX50" fmla="*/ 483408 w 892253"/>
                <a:gd name="connsiteY50" fmla="*/ 729983 h 1180102"/>
                <a:gd name="connsiteX51" fmla="*/ 460191 w 892253"/>
                <a:gd name="connsiteY51" fmla="*/ 724001 h 1180102"/>
                <a:gd name="connsiteX52" fmla="*/ 439993 w 892253"/>
                <a:gd name="connsiteY52" fmla="*/ 735143 h 1180102"/>
                <a:gd name="connsiteX53" fmla="*/ 426601 w 892253"/>
                <a:gd name="connsiteY53" fmla="*/ 723534 h 1180102"/>
                <a:gd name="connsiteX54" fmla="*/ 423967 w 892253"/>
                <a:gd name="connsiteY54" fmla="*/ 742936 h 1180102"/>
                <a:gd name="connsiteX55" fmla="*/ 491751 w 892253"/>
                <a:gd name="connsiteY55" fmla="*/ 758195 h 1180102"/>
                <a:gd name="connsiteX56" fmla="*/ 495950 w 892253"/>
                <a:gd name="connsiteY56" fmla="*/ 770846 h 1180102"/>
                <a:gd name="connsiteX57" fmla="*/ 479017 w 892253"/>
                <a:gd name="connsiteY57" fmla="*/ 782838 h 1180102"/>
                <a:gd name="connsiteX58" fmla="*/ 456733 w 892253"/>
                <a:gd name="connsiteY58" fmla="*/ 766043 h 1180102"/>
                <a:gd name="connsiteX59" fmla="*/ 444988 w 892253"/>
                <a:gd name="connsiteY59" fmla="*/ 769474 h 1180102"/>
                <a:gd name="connsiteX60" fmla="*/ 446387 w 892253"/>
                <a:gd name="connsiteY60" fmla="*/ 787202 h 1180102"/>
                <a:gd name="connsiteX61" fmla="*/ 463457 w 892253"/>
                <a:gd name="connsiteY61" fmla="*/ 796478 h 1180102"/>
                <a:gd name="connsiteX62" fmla="*/ 492492 w 892253"/>
                <a:gd name="connsiteY62" fmla="*/ 845573 h 1180102"/>
                <a:gd name="connsiteX63" fmla="*/ 488979 w 892253"/>
                <a:gd name="connsiteY63" fmla="*/ 856962 h 1180102"/>
                <a:gd name="connsiteX64" fmla="*/ 473858 w 892253"/>
                <a:gd name="connsiteY64" fmla="*/ 868817 h 1180102"/>
                <a:gd name="connsiteX65" fmla="*/ 475422 w 892253"/>
                <a:gd name="connsiteY65" fmla="*/ 896507 h 1180102"/>
                <a:gd name="connsiteX66" fmla="*/ 462908 w 892253"/>
                <a:gd name="connsiteY66" fmla="*/ 912314 h 1180102"/>
                <a:gd name="connsiteX67" fmla="*/ 462195 w 892253"/>
                <a:gd name="connsiteY67" fmla="*/ 931250 h 1180102"/>
                <a:gd name="connsiteX68" fmla="*/ 459094 w 892253"/>
                <a:gd name="connsiteY68" fmla="*/ 940581 h 1180102"/>
                <a:gd name="connsiteX69" fmla="*/ 430718 w 892253"/>
                <a:gd name="connsiteY69" fmla="*/ 952573 h 1180102"/>
                <a:gd name="connsiteX70" fmla="*/ 397512 w 892253"/>
                <a:gd name="connsiteY70" fmla="*/ 952820 h 1180102"/>
                <a:gd name="connsiteX71" fmla="*/ 399515 w 892253"/>
                <a:gd name="connsiteY71" fmla="*/ 998348 h 1180102"/>
                <a:gd name="connsiteX72" fmla="*/ 390184 w 892253"/>
                <a:gd name="connsiteY72" fmla="*/ 1021290 h 1180102"/>
                <a:gd name="connsiteX73" fmla="*/ 378466 w 892253"/>
                <a:gd name="connsiteY73" fmla="*/ 1031691 h 1180102"/>
                <a:gd name="connsiteX74" fmla="*/ 342214 w 892253"/>
                <a:gd name="connsiteY74" fmla="*/ 1037509 h 1180102"/>
                <a:gd name="connsiteX75" fmla="*/ 295643 w 892253"/>
                <a:gd name="connsiteY75" fmla="*/ 1013826 h 1180102"/>
                <a:gd name="connsiteX76" fmla="*/ 293118 w 892253"/>
                <a:gd name="connsiteY76" fmla="*/ 1045824 h 1180102"/>
                <a:gd name="connsiteX77" fmla="*/ 311615 w 892253"/>
                <a:gd name="connsiteY77" fmla="*/ 1042367 h 1180102"/>
                <a:gd name="connsiteX78" fmla="*/ 361452 w 892253"/>
                <a:gd name="connsiteY78" fmla="*/ 1053261 h 1180102"/>
                <a:gd name="connsiteX79" fmla="*/ 363867 w 892253"/>
                <a:gd name="connsiteY79" fmla="*/ 1065913 h 1180102"/>
                <a:gd name="connsiteX80" fmla="*/ 354673 w 892253"/>
                <a:gd name="connsiteY80" fmla="*/ 1092505 h 1180102"/>
                <a:gd name="connsiteX81" fmla="*/ 362467 w 892253"/>
                <a:gd name="connsiteY81" fmla="*/ 1104278 h 1180102"/>
                <a:gd name="connsiteX82" fmla="*/ 377121 w 892253"/>
                <a:gd name="connsiteY82" fmla="*/ 1084711 h 1180102"/>
                <a:gd name="connsiteX83" fmla="*/ 390733 w 892253"/>
                <a:gd name="connsiteY83" fmla="*/ 1077576 h 1180102"/>
                <a:gd name="connsiteX84" fmla="*/ 398692 w 892253"/>
                <a:gd name="connsiteY84" fmla="*/ 1083284 h 1180102"/>
                <a:gd name="connsiteX85" fmla="*/ 402808 w 892253"/>
                <a:gd name="connsiteY85" fmla="*/ 1099832 h 1180102"/>
                <a:gd name="connsiteX86" fmla="*/ 400420 w 892253"/>
                <a:gd name="connsiteY86" fmla="*/ 1119701 h 1180102"/>
                <a:gd name="connsiteX87" fmla="*/ 390678 w 892253"/>
                <a:gd name="connsiteY87" fmla="*/ 1136524 h 1180102"/>
                <a:gd name="connsiteX88" fmla="*/ 376628 w 892253"/>
                <a:gd name="connsiteY88" fmla="*/ 1136880 h 1180102"/>
                <a:gd name="connsiteX89" fmla="*/ 357747 w 892253"/>
                <a:gd name="connsiteY89" fmla="*/ 1160728 h 1180102"/>
                <a:gd name="connsiteX90" fmla="*/ 319985 w 892253"/>
                <a:gd name="connsiteY90" fmla="*/ 1180103 h 1180102"/>
                <a:gd name="connsiteX91" fmla="*/ 314607 w 892253"/>
                <a:gd name="connsiteY91" fmla="*/ 1171952 h 1180102"/>
                <a:gd name="connsiteX92" fmla="*/ 312493 w 892253"/>
                <a:gd name="connsiteY92" fmla="*/ 1150986 h 1180102"/>
                <a:gd name="connsiteX93" fmla="*/ 302696 w 892253"/>
                <a:gd name="connsiteY93" fmla="*/ 1140503 h 1180102"/>
                <a:gd name="connsiteX94" fmla="*/ 282663 w 892253"/>
                <a:gd name="connsiteY94" fmla="*/ 1136496 h 1180102"/>
                <a:gd name="connsiteX95" fmla="*/ 272920 w 892253"/>
                <a:gd name="connsiteY95" fmla="*/ 1148983 h 1180102"/>
                <a:gd name="connsiteX96" fmla="*/ 263096 w 892253"/>
                <a:gd name="connsiteY96" fmla="*/ 1151809 h 1180102"/>
                <a:gd name="connsiteX97" fmla="*/ 246932 w 892253"/>
                <a:gd name="connsiteY97" fmla="*/ 1132517 h 1180102"/>
                <a:gd name="connsiteX98" fmla="*/ 237903 w 892253"/>
                <a:gd name="connsiteY98" fmla="*/ 1146074 h 1180102"/>
                <a:gd name="connsiteX99" fmla="*/ 219160 w 892253"/>
                <a:gd name="connsiteY99" fmla="*/ 1136963 h 1180102"/>
                <a:gd name="connsiteX100" fmla="*/ 207716 w 892253"/>
                <a:gd name="connsiteY100" fmla="*/ 1144482 h 1180102"/>
                <a:gd name="connsiteX101" fmla="*/ 198468 w 892253"/>
                <a:gd name="connsiteY101" fmla="*/ 1138362 h 1180102"/>
                <a:gd name="connsiteX102" fmla="*/ 196629 w 892253"/>
                <a:gd name="connsiteY102" fmla="*/ 1158615 h 1180102"/>
                <a:gd name="connsiteX103" fmla="*/ 189219 w 892253"/>
                <a:gd name="connsiteY103" fmla="*/ 1164735 h 1180102"/>
                <a:gd name="connsiteX104" fmla="*/ 162161 w 892253"/>
                <a:gd name="connsiteY104" fmla="*/ 1155898 h 1180102"/>
                <a:gd name="connsiteX105" fmla="*/ 152857 w 892253"/>
                <a:gd name="connsiteY105" fmla="*/ 1143714 h 1180102"/>
                <a:gd name="connsiteX106" fmla="*/ 140426 w 892253"/>
                <a:gd name="connsiteY106" fmla="*/ 1153154 h 1180102"/>
                <a:gd name="connsiteX107" fmla="*/ 123548 w 892253"/>
                <a:gd name="connsiteY107" fmla="*/ 1140009 h 1180102"/>
                <a:gd name="connsiteX108" fmla="*/ 115809 w 892253"/>
                <a:gd name="connsiteY108" fmla="*/ 1152468 h 1180102"/>
                <a:gd name="connsiteX109" fmla="*/ 101759 w 892253"/>
                <a:gd name="connsiteY109" fmla="*/ 1150272 h 1180102"/>
                <a:gd name="connsiteX110" fmla="*/ 90589 w 892253"/>
                <a:gd name="connsiteY110" fmla="*/ 1119975 h 1180102"/>
                <a:gd name="connsiteX111" fmla="*/ 86281 w 892253"/>
                <a:gd name="connsiteY111" fmla="*/ 1139817 h 1180102"/>
                <a:gd name="connsiteX112" fmla="*/ 76978 w 892253"/>
                <a:gd name="connsiteY112" fmla="*/ 1145333 h 1180102"/>
                <a:gd name="connsiteX113" fmla="*/ 66522 w 892253"/>
                <a:gd name="connsiteY113" fmla="*/ 1133313 h 1180102"/>
                <a:gd name="connsiteX114" fmla="*/ 63942 w 892253"/>
                <a:gd name="connsiteY114" fmla="*/ 1114020 h 1180102"/>
                <a:gd name="connsiteX115" fmla="*/ 65891 w 892253"/>
                <a:gd name="connsiteY115" fmla="*/ 1099146 h 1180102"/>
                <a:gd name="connsiteX116" fmla="*/ 74508 w 892253"/>
                <a:gd name="connsiteY116" fmla="*/ 1082379 h 1180102"/>
                <a:gd name="connsiteX117" fmla="*/ 93498 w 892253"/>
                <a:gd name="connsiteY117" fmla="*/ 1064788 h 1180102"/>
                <a:gd name="connsiteX118" fmla="*/ 119158 w 892253"/>
                <a:gd name="connsiteY118" fmla="*/ 1060177 h 1180102"/>
                <a:gd name="connsiteX119" fmla="*/ 127610 w 892253"/>
                <a:gd name="connsiteY119" fmla="*/ 1047087 h 1180102"/>
                <a:gd name="connsiteX120" fmla="*/ 126540 w 892253"/>
                <a:gd name="connsiteY120" fmla="*/ 1032240 h 1180102"/>
                <a:gd name="connsiteX121" fmla="*/ 117044 w 892253"/>
                <a:gd name="connsiteY121" fmla="*/ 1022470 h 1180102"/>
                <a:gd name="connsiteX122" fmla="*/ 106506 w 892253"/>
                <a:gd name="connsiteY122" fmla="*/ 993875 h 1180102"/>
                <a:gd name="connsiteX123" fmla="*/ 106342 w 892253"/>
                <a:gd name="connsiteY123" fmla="*/ 979111 h 1180102"/>
                <a:gd name="connsiteX124" fmla="*/ 111336 w 892253"/>
                <a:gd name="connsiteY124" fmla="*/ 965718 h 1180102"/>
                <a:gd name="connsiteX125" fmla="*/ 128872 w 892253"/>
                <a:gd name="connsiteY125" fmla="*/ 957870 h 1180102"/>
                <a:gd name="connsiteX126" fmla="*/ 152748 w 892253"/>
                <a:gd name="connsiteY126" fmla="*/ 966844 h 1180102"/>
                <a:gd name="connsiteX127" fmla="*/ 163862 w 892253"/>
                <a:gd name="connsiteY127" fmla="*/ 982568 h 1180102"/>
                <a:gd name="connsiteX128" fmla="*/ 177254 w 892253"/>
                <a:gd name="connsiteY128" fmla="*/ 1014841 h 1180102"/>
                <a:gd name="connsiteX129" fmla="*/ 204478 w 892253"/>
                <a:gd name="connsiteY129" fmla="*/ 1030841 h 1180102"/>
                <a:gd name="connsiteX130" fmla="*/ 232524 w 892253"/>
                <a:gd name="connsiteY130" fmla="*/ 1019671 h 1180102"/>
                <a:gd name="connsiteX131" fmla="*/ 253573 w 892253"/>
                <a:gd name="connsiteY131" fmla="*/ 982129 h 1180102"/>
                <a:gd name="connsiteX132" fmla="*/ 260708 w 892253"/>
                <a:gd name="connsiteY132" fmla="*/ 956690 h 1180102"/>
                <a:gd name="connsiteX133" fmla="*/ 258211 w 892253"/>
                <a:gd name="connsiteY133" fmla="*/ 952052 h 1180102"/>
                <a:gd name="connsiteX134" fmla="*/ 243803 w 892253"/>
                <a:gd name="connsiteY134" fmla="*/ 986630 h 1180102"/>
                <a:gd name="connsiteX135" fmla="*/ 231646 w 892253"/>
                <a:gd name="connsiteY135" fmla="*/ 1003452 h 1180102"/>
                <a:gd name="connsiteX136" fmla="*/ 195806 w 892253"/>
                <a:gd name="connsiteY136" fmla="*/ 1010176 h 1180102"/>
                <a:gd name="connsiteX137" fmla="*/ 184252 w 892253"/>
                <a:gd name="connsiteY137" fmla="*/ 956937 h 1180102"/>
                <a:gd name="connsiteX138" fmla="*/ 192622 w 892253"/>
                <a:gd name="connsiteY138" fmla="*/ 929329 h 1180102"/>
                <a:gd name="connsiteX139" fmla="*/ 194104 w 892253"/>
                <a:gd name="connsiteY139" fmla="*/ 898922 h 1180102"/>
                <a:gd name="connsiteX140" fmla="*/ 175910 w 892253"/>
                <a:gd name="connsiteY140" fmla="*/ 923099 h 1180102"/>
                <a:gd name="connsiteX141" fmla="*/ 167869 w 892253"/>
                <a:gd name="connsiteY141" fmla="*/ 921014 h 1180102"/>
                <a:gd name="connsiteX142" fmla="*/ 162133 w 892253"/>
                <a:gd name="connsiteY142" fmla="*/ 904493 h 1180102"/>
                <a:gd name="connsiteX143" fmla="*/ 143088 w 892253"/>
                <a:gd name="connsiteY143" fmla="*/ 919587 h 1180102"/>
                <a:gd name="connsiteX144" fmla="*/ 125552 w 892253"/>
                <a:gd name="connsiteY144" fmla="*/ 909954 h 1180102"/>
                <a:gd name="connsiteX145" fmla="*/ 126155 w 892253"/>
                <a:gd name="connsiteY145" fmla="*/ 876639 h 1180102"/>
                <a:gd name="connsiteX146" fmla="*/ 143829 w 892253"/>
                <a:gd name="connsiteY146" fmla="*/ 834349 h 1180102"/>
                <a:gd name="connsiteX147" fmla="*/ 194296 w 892253"/>
                <a:gd name="connsiteY147" fmla="*/ 808360 h 1180102"/>
                <a:gd name="connsiteX148" fmla="*/ 228051 w 892253"/>
                <a:gd name="connsiteY148" fmla="*/ 818432 h 1180102"/>
                <a:gd name="connsiteX149" fmla="*/ 262492 w 892253"/>
                <a:gd name="connsiteY149" fmla="*/ 844475 h 1180102"/>
                <a:gd name="connsiteX150" fmla="*/ 264358 w 892253"/>
                <a:gd name="connsiteY150" fmla="*/ 839947 h 1180102"/>
                <a:gd name="connsiteX151" fmla="*/ 265154 w 892253"/>
                <a:gd name="connsiteY151" fmla="*/ 823975 h 1180102"/>
                <a:gd name="connsiteX152" fmla="*/ 270314 w 892253"/>
                <a:gd name="connsiteY152" fmla="*/ 814508 h 1180102"/>
                <a:gd name="connsiteX153" fmla="*/ 209363 w 892253"/>
                <a:gd name="connsiteY153" fmla="*/ 785116 h 1180102"/>
                <a:gd name="connsiteX154" fmla="*/ 209363 w 892253"/>
                <a:gd name="connsiteY154" fmla="*/ 777707 h 1180102"/>
                <a:gd name="connsiteX155" fmla="*/ 218940 w 892253"/>
                <a:gd name="connsiteY155" fmla="*/ 768156 h 1180102"/>
                <a:gd name="connsiteX156" fmla="*/ 190976 w 892253"/>
                <a:gd name="connsiteY156" fmla="*/ 696914 h 1180102"/>
                <a:gd name="connsiteX157" fmla="*/ 156013 w 892253"/>
                <a:gd name="connsiteY157" fmla="*/ 663461 h 1180102"/>
                <a:gd name="connsiteX158" fmla="*/ 150827 w 892253"/>
                <a:gd name="connsiteY158" fmla="*/ 618098 h 1180102"/>
                <a:gd name="connsiteX159" fmla="*/ 154394 w 892253"/>
                <a:gd name="connsiteY159" fmla="*/ 589420 h 1180102"/>
                <a:gd name="connsiteX160" fmla="*/ 227887 w 892253"/>
                <a:gd name="connsiteY160" fmla="*/ 591012 h 1180102"/>
                <a:gd name="connsiteX161" fmla="*/ 273277 w 892253"/>
                <a:gd name="connsiteY161" fmla="*/ 648615 h 1180102"/>
                <a:gd name="connsiteX162" fmla="*/ 294875 w 892253"/>
                <a:gd name="connsiteY162" fmla="*/ 691069 h 1180102"/>
                <a:gd name="connsiteX163" fmla="*/ 318339 w 892253"/>
                <a:gd name="connsiteY163" fmla="*/ 697189 h 1180102"/>
                <a:gd name="connsiteX164" fmla="*/ 317790 w 892253"/>
                <a:gd name="connsiteY164" fmla="*/ 690109 h 1180102"/>
                <a:gd name="connsiteX165" fmla="*/ 300117 w 892253"/>
                <a:gd name="connsiteY165" fmla="*/ 673588 h 1180102"/>
                <a:gd name="connsiteX166" fmla="*/ 289276 w 892253"/>
                <a:gd name="connsiteY166" fmla="*/ 640903 h 1180102"/>
                <a:gd name="connsiteX167" fmla="*/ 272948 w 892253"/>
                <a:gd name="connsiteY167" fmla="*/ 616095 h 1180102"/>
                <a:gd name="connsiteX168" fmla="*/ 267240 w 892253"/>
                <a:gd name="connsiteY168" fmla="*/ 590875 h 1180102"/>
                <a:gd name="connsiteX169" fmla="*/ 335298 w 892253"/>
                <a:gd name="connsiteY169" fmla="*/ 541670 h 1180102"/>
                <a:gd name="connsiteX170" fmla="*/ 370425 w 892253"/>
                <a:gd name="connsiteY170" fmla="*/ 531845 h 1180102"/>
                <a:gd name="connsiteX171" fmla="*/ 375585 w 892253"/>
                <a:gd name="connsiteY171" fmla="*/ 511839 h 1180102"/>
                <a:gd name="connsiteX172" fmla="*/ 392572 w 892253"/>
                <a:gd name="connsiteY172" fmla="*/ 490900 h 1180102"/>
                <a:gd name="connsiteX173" fmla="*/ 378768 w 892253"/>
                <a:gd name="connsiteY173" fmla="*/ 460960 h 1180102"/>
                <a:gd name="connsiteX174" fmla="*/ 388071 w 892253"/>
                <a:gd name="connsiteY174" fmla="*/ 417133 h 1180102"/>
                <a:gd name="connsiteX175" fmla="*/ 369794 w 892253"/>
                <a:gd name="connsiteY175" fmla="*/ 437386 h 1180102"/>
                <a:gd name="connsiteX176" fmla="*/ 351517 w 892253"/>
                <a:gd name="connsiteY176" fmla="*/ 483600 h 1180102"/>
                <a:gd name="connsiteX177" fmla="*/ 313454 w 892253"/>
                <a:gd name="connsiteY177" fmla="*/ 514830 h 1180102"/>
                <a:gd name="connsiteX178" fmla="*/ 258211 w 892253"/>
                <a:gd name="connsiteY178" fmla="*/ 532449 h 1180102"/>
                <a:gd name="connsiteX179" fmla="*/ 248661 w 892253"/>
                <a:gd name="connsiteY179" fmla="*/ 512607 h 1180102"/>
                <a:gd name="connsiteX180" fmla="*/ 238534 w 892253"/>
                <a:gd name="connsiteY180" fmla="*/ 506103 h 1180102"/>
                <a:gd name="connsiteX181" fmla="*/ 222810 w 892253"/>
                <a:gd name="connsiteY181" fmla="*/ 536044 h 1180102"/>
                <a:gd name="connsiteX182" fmla="*/ 189027 w 892253"/>
                <a:gd name="connsiteY182" fmla="*/ 540435 h 1180102"/>
                <a:gd name="connsiteX183" fmla="*/ 154285 w 892253"/>
                <a:gd name="connsiteY183" fmla="*/ 511619 h 1180102"/>
                <a:gd name="connsiteX184" fmla="*/ 166030 w 892253"/>
                <a:gd name="connsiteY184" fmla="*/ 465927 h 1180102"/>
                <a:gd name="connsiteX185" fmla="*/ 124756 w 892253"/>
                <a:gd name="connsiteY185" fmla="*/ 516340 h 1180102"/>
                <a:gd name="connsiteX186" fmla="*/ 92840 w 892253"/>
                <a:gd name="connsiteY186" fmla="*/ 499160 h 1180102"/>
                <a:gd name="connsiteX187" fmla="*/ 87159 w 892253"/>
                <a:gd name="connsiteY187" fmla="*/ 482283 h 1180102"/>
                <a:gd name="connsiteX188" fmla="*/ 103789 w 892253"/>
                <a:gd name="connsiteY188" fmla="*/ 454867 h 1180102"/>
                <a:gd name="connsiteX189" fmla="*/ 147094 w 892253"/>
                <a:gd name="connsiteY189" fmla="*/ 448720 h 1180102"/>
                <a:gd name="connsiteX190" fmla="*/ 156974 w 892253"/>
                <a:gd name="connsiteY190" fmla="*/ 427095 h 1180102"/>
                <a:gd name="connsiteX191" fmla="*/ 136803 w 892253"/>
                <a:gd name="connsiteY191" fmla="*/ 439335 h 1180102"/>
                <a:gd name="connsiteX192" fmla="*/ 53322 w 892253"/>
                <a:gd name="connsiteY192" fmla="*/ 446360 h 1180102"/>
                <a:gd name="connsiteX193" fmla="*/ 45720 w 892253"/>
                <a:gd name="connsiteY193" fmla="*/ 428028 h 1180102"/>
                <a:gd name="connsiteX194" fmla="*/ 54804 w 892253"/>
                <a:gd name="connsiteY194" fmla="*/ 402616 h 1180102"/>
                <a:gd name="connsiteX195" fmla="*/ 56615 w 892253"/>
                <a:gd name="connsiteY195" fmla="*/ 381348 h 1180102"/>
                <a:gd name="connsiteX196" fmla="*/ 34853 w 892253"/>
                <a:gd name="connsiteY196" fmla="*/ 369218 h 1180102"/>
                <a:gd name="connsiteX197" fmla="*/ 41549 w 892253"/>
                <a:gd name="connsiteY197" fmla="*/ 337384 h 1180102"/>
                <a:gd name="connsiteX198" fmla="*/ 39710 w 892253"/>
                <a:gd name="connsiteY198" fmla="*/ 325035 h 1180102"/>
                <a:gd name="connsiteX199" fmla="*/ 23903 w 892253"/>
                <a:gd name="connsiteY199" fmla="*/ 336314 h 1180102"/>
                <a:gd name="connsiteX200" fmla="*/ 10538 w 892253"/>
                <a:gd name="connsiteY200" fmla="*/ 345754 h 1180102"/>
                <a:gd name="connsiteX201" fmla="*/ 0 w 892253"/>
                <a:gd name="connsiteY201" fmla="*/ 326681 h 1180102"/>
                <a:gd name="connsiteX202" fmla="*/ 3815 w 892253"/>
                <a:gd name="connsiteY202" fmla="*/ 309365 h 1180102"/>
                <a:gd name="connsiteX203" fmla="*/ 23930 w 892253"/>
                <a:gd name="connsiteY203" fmla="*/ 284199 h 1180102"/>
                <a:gd name="connsiteX204" fmla="*/ 39216 w 892253"/>
                <a:gd name="connsiteY204" fmla="*/ 265730 h 1180102"/>
                <a:gd name="connsiteX205" fmla="*/ 101045 w 892253"/>
                <a:gd name="connsiteY205" fmla="*/ 231866 h 1180102"/>
                <a:gd name="connsiteX206" fmla="*/ 132248 w 892253"/>
                <a:gd name="connsiteY206" fmla="*/ 252448 h 1180102"/>
                <a:gd name="connsiteX207" fmla="*/ 149866 w 892253"/>
                <a:gd name="connsiteY207" fmla="*/ 248853 h 1180102"/>
                <a:gd name="connsiteX208" fmla="*/ 152336 w 892253"/>
                <a:gd name="connsiteY208" fmla="*/ 237958 h 1180102"/>
                <a:gd name="connsiteX209" fmla="*/ 150196 w 892253"/>
                <a:gd name="connsiteY209" fmla="*/ 206701 h 1180102"/>
                <a:gd name="connsiteX210" fmla="*/ 151074 w 892253"/>
                <a:gd name="connsiteY210" fmla="*/ 196272 h 1180102"/>
                <a:gd name="connsiteX211" fmla="*/ 171848 w 892253"/>
                <a:gd name="connsiteY211" fmla="*/ 159828 h 1180102"/>
                <a:gd name="connsiteX212" fmla="*/ 203517 w 892253"/>
                <a:gd name="connsiteY212" fmla="*/ 155135 h 1180102"/>
                <a:gd name="connsiteX213" fmla="*/ 220916 w 892253"/>
                <a:gd name="connsiteY213" fmla="*/ 176266 h 1180102"/>
                <a:gd name="connsiteX214" fmla="*/ 261696 w 892253"/>
                <a:gd name="connsiteY214" fmla="*/ 191415 h 1180102"/>
                <a:gd name="connsiteX215" fmla="*/ 271192 w 892253"/>
                <a:gd name="connsiteY215" fmla="*/ 124289 h 1180102"/>
                <a:gd name="connsiteX216" fmla="*/ 282745 w 892253"/>
                <a:gd name="connsiteY216" fmla="*/ 91275 h 1180102"/>
                <a:gd name="connsiteX217" fmla="*/ 353960 w 892253"/>
                <a:gd name="connsiteY217" fmla="*/ 39737 h 1180102"/>
                <a:gd name="connsiteX218" fmla="*/ 394081 w 892253"/>
                <a:gd name="connsiteY218" fmla="*/ 40780 h 1180102"/>
                <a:gd name="connsiteX219" fmla="*/ 418286 w 892253"/>
                <a:gd name="connsiteY219" fmla="*/ 57713 h 1180102"/>
                <a:gd name="connsiteX220" fmla="*/ 447211 w 892253"/>
                <a:gd name="connsiteY220" fmla="*/ 100963 h 1180102"/>
                <a:gd name="connsiteX221" fmla="*/ 433160 w 892253"/>
                <a:gd name="connsiteY221" fmla="*/ 34112 h 118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892253" h="1180102">
                  <a:moveTo>
                    <a:pt x="433050" y="33892"/>
                  </a:moveTo>
                  <a:lnTo>
                    <a:pt x="445564" y="2305"/>
                  </a:lnTo>
                  <a:lnTo>
                    <a:pt x="503332" y="0"/>
                  </a:lnTo>
                  <a:lnTo>
                    <a:pt x="523338" y="54474"/>
                  </a:lnTo>
                  <a:lnTo>
                    <a:pt x="536867" y="71626"/>
                  </a:lnTo>
                  <a:lnTo>
                    <a:pt x="539035" y="61939"/>
                  </a:lnTo>
                  <a:lnTo>
                    <a:pt x="538075" y="26428"/>
                  </a:lnTo>
                  <a:lnTo>
                    <a:pt x="550753" y="8315"/>
                  </a:lnTo>
                  <a:lnTo>
                    <a:pt x="578224" y="5818"/>
                  </a:lnTo>
                  <a:lnTo>
                    <a:pt x="594827" y="30462"/>
                  </a:lnTo>
                  <a:lnTo>
                    <a:pt x="609728" y="9578"/>
                  </a:lnTo>
                  <a:lnTo>
                    <a:pt x="636842" y="3595"/>
                  </a:lnTo>
                  <a:lnTo>
                    <a:pt x="714999" y="62652"/>
                  </a:lnTo>
                  <a:lnTo>
                    <a:pt x="709785" y="91275"/>
                  </a:lnTo>
                  <a:lnTo>
                    <a:pt x="710554" y="100386"/>
                  </a:lnTo>
                  <a:lnTo>
                    <a:pt x="782536" y="61802"/>
                  </a:lnTo>
                  <a:lnTo>
                    <a:pt x="800018" y="77966"/>
                  </a:lnTo>
                  <a:lnTo>
                    <a:pt x="819036" y="75907"/>
                  </a:lnTo>
                  <a:lnTo>
                    <a:pt x="841731" y="141276"/>
                  </a:lnTo>
                  <a:lnTo>
                    <a:pt x="880426" y="151046"/>
                  </a:lnTo>
                  <a:lnTo>
                    <a:pt x="889015" y="164027"/>
                  </a:lnTo>
                  <a:lnTo>
                    <a:pt x="892254" y="185268"/>
                  </a:lnTo>
                  <a:lnTo>
                    <a:pt x="887369" y="212765"/>
                  </a:lnTo>
                  <a:lnTo>
                    <a:pt x="869805" y="239687"/>
                  </a:lnTo>
                  <a:lnTo>
                    <a:pt x="810913" y="302147"/>
                  </a:lnTo>
                  <a:lnTo>
                    <a:pt x="715933" y="336341"/>
                  </a:lnTo>
                  <a:lnTo>
                    <a:pt x="708084" y="360683"/>
                  </a:lnTo>
                  <a:lnTo>
                    <a:pt x="667688" y="398362"/>
                  </a:lnTo>
                  <a:lnTo>
                    <a:pt x="666892" y="403165"/>
                  </a:lnTo>
                  <a:lnTo>
                    <a:pt x="781878" y="350804"/>
                  </a:lnTo>
                  <a:lnTo>
                    <a:pt x="792087" y="349788"/>
                  </a:lnTo>
                  <a:lnTo>
                    <a:pt x="794776" y="358652"/>
                  </a:lnTo>
                  <a:lnTo>
                    <a:pt x="787778" y="381704"/>
                  </a:lnTo>
                  <a:lnTo>
                    <a:pt x="755615" y="408544"/>
                  </a:lnTo>
                  <a:lnTo>
                    <a:pt x="732426" y="447046"/>
                  </a:lnTo>
                  <a:lnTo>
                    <a:pt x="702431" y="475148"/>
                  </a:lnTo>
                  <a:lnTo>
                    <a:pt x="670514" y="520703"/>
                  </a:lnTo>
                  <a:lnTo>
                    <a:pt x="648725" y="562856"/>
                  </a:lnTo>
                  <a:lnTo>
                    <a:pt x="627484" y="563130"/>
                  </a:lnTo>
                  <a:lnTo>
                    <a:pt x="624959" y="587609"/>
                  </a:lnTo>
                  <a:lnTo>
                    <a:pt x="616342" y="602209"/>
                  </a:lnTo>
                  <a:lnTo>
                    <a:pt x="610991" y="633055"/>
                  </a:lnTo>
                  <a:lnTo>
                    <a:pt x="590436" y="674164"/>
                  </a:lnTo>
                  <a:lnTo>
                    <a:pt x="559864" y="682068"/>
                  </a:lnTo>
                  <a:lnTo>
                    <a:pt x="541889" y="662803"/>
                  </a:lnTo>
                  <a:lnTo>
                    <a:pt x="515928" y="654597"/>
                  </a:lnTo>
                  <a:lnTo>
                    <a:pt x="531845" y="674658"/>
                  </a:lnTo>
                  <a:lnTo>
                    <a:pt x="537498" y="699549"/>
                  </a:lnTo>
                  <a:lnTo>
                    <a:pt x="529979" y="712557"/>
                  </a:lnTo>
                  <a:lnTo>
                    <a:pt x="494111" y="719637"/>
                  </a:lnTo>
                  <a:lnTo>
                    <a:pt x="483408" y="729983"/>
                  </a:lnTo>
                  <a:lnTo>
                    <a:pt x="460191" y="724001"/>
                  </a:lnTo>
                  <a:lnTo>
                    <a:pt x="439993" y="735143"/>
                  </a:lnTo>
                  <a:lnTo>
                    <a:pt x="426601" y="723534"/>
                  </a:lnTo>
                  <a:lnTo>
                    <a:pt x="423967" y="742936"/>
                  </a:lnTo>
                  <a:lnTo>
                    <a:pt x="491751" y="758195"/>
                  </a:lnTo>
                  <a:lnTo>
                    <a:pt x="495950" y="770846"/>
                  </a:lnTo>
                  <a:lnTo>
                    <a:pt x="479017" y="782838"/>
                  </a:lnTo>
                  <a:lnTo>
                    <a:pt x="456733" y="766043"/>
                  </a:lnTo>
                  <a:lnTo>
                    <a:pt x="444988" y="769474"/>
                  </a:lnTo>
                  <a:lnTo>
                    <a:pt x="446387" y="787202"/>
                  </a:lnTo>
                  <a:lnTo>
                    <a:pt x="463457" y="796478"/>
                  </a:lnTo>
                  <a:lnTo>
                    <a:pt x="492492" y="845573"/>
                  </a:lnTo>
                  <a:lnTo>
                    <a:pt x="488979" y="856962"/>
                  </a:lnTo>
                  <a:lnTo>
                    <a:pt x="473858" y="868817"/>
                  </a:lnTo>
                  <a:lnTo>
                    <a:pt x="475422" y="896507"/>
                  </a:lnTo>
                  <a:lnTo>
                    <a:pt x="462908" y="912314"/>
                  </a:lnTo>
                  <a:lnTo>
                    <a:pt x="462195" y="931250"/>
                  </a:lnTo>
                  <a:lnTo>
                    <a:pt x="459094" y="940581"/>
                  </a:lnTo>
                  <a:lnTo>
                    <a:pt x="430718" y="952573"/>
                  </a:lnTo>
                  <a:lnTo>
                    <a:pt x="397512" y="952820"/>
                  </a:lnTo>
                  <a:lnTo>
                    <a:pt x="399515" y="998348"/>
                  </a:lnTo>
                  <a:lnTo>
                    <a:pt x="390184" y="1021290"/>
                  </a:lnTo>
                  <a:lnTo>
                    <a:pt x="378466" y="1031691"/>
                  </a:lnTo>
                  <a:lnTo>
                    <a:pt x="342214" y="1037509"/>
                  </a:lnTo>
                  <a:lnTo>
                    <a:pt x="295643" y="1013826"/>
                  </a:lnTo>
                  <a:lnTo>
                    <a:pt x="293118" y="1045824"/>
                  </a:lnTo>
                  <a:lnTo>
                    <a:pt x="311615" y="1042367"/>
                  </a:lnTo>
                  <a:lnTo>
                    <a:pt x="361452" y="1053261"/>
                  </a:lnTo>
                  <a:lnTo>
                    <a:pt x="363867" y="1065913"/>
                  </a:lnTo>
                  <a:lnTo>
                    <a:pt x="354673" y="1092505"/>
                  </a:lnTo>
                  <a:lnTo>
                    <a:pt x="362467" y="1104278"/>
                  </a:lnTo>
                  <a:lnTo>
                    <a:pt x="377121" y="1084711"/>
                  </a:lnTo>
                  <a:lnTo>
                    <a:pt x="390733" y="1077576"/>
                  </a:lnTo>
                  <a:lnTo>
                    <a:pt x="398692" y="1083284"/>
                  </a:lnTo>
                  <a:lnTo>
                    <a:pt x="402808" y="1099832"/>
                  </a:lnTo>
                  <a:lnTo>
                    <a:pt x="400420" y="1119701"/>
                  </a:lnTo>
                  <a:lnTo>
                    <a:pt x="390678" y="1136524"/>
                  </a:lnTo>
                  <a:lnTo>
                    <a:pt x="376628" y="1136880"/>
                  </a:lnTo>
                  <a:lnTo>
                    <a:pt x="357747" y="1160728"/>
                  </a:lnTo>
                  <a:lnTo>
                    <a:pt x="319985" y="1180103"/>
                  </a:lnTo>
                  <a:lnTo>
                    <a:pt x="314607" y="1171952"/>
                  </a:lnTo>
                  <a:lnTo>
                    <a:pt x="312493" y="1150986"/>
                  </a:lnTo>
                  <a:lnTo>
                    <a:pt x="302696" y="1140503"/>
                  </a:lnTo>
                  <a:lnTo>
                    <a:pt x="282663" y="1136496"/>
                  </a:lnTo>
                  <a:lnTo>
                    <a:pt x="272920" y="1148983"/>
                  </a:lnTo>
                  <a:lnTo>
                    <a:pt x="263096" y="1151809"/>
                  </a:lnTo>
                  <a:lnTo>
                    <a:pt x="246932" y="1132517"/>
                  </a:lnTo>
                  <a:lnTo>
                    <a:pt x="237903" y="1146074"/>
                  </a:lnTo>
                  <a:lnTo>
                    <a:pt x="219160" y="1136963"/>
                  </a:lnTo>
                  <a:lnTo>
                    <a:pt x="207716" y="1144482"/>
                  </a:lnTo>
                  <a:lnTo>
                    <a:pt x="198468" y="1138362"/>
                  </a:lnTo>
                  <a:lnTo>
                    <a:pt x="196629" y="1158615"/>
                  </a:lnTo>
                  <a:lnTo>
                    <a:pt x="189219" y="1164735"/>
                  </a:lnTo>
                  <a:lnTo>
                    <a:pt x="162161" y="1155898"/>
                  </a:lnTo>
                  <a:lnTo>
                    <a:pt x="152857" y="1143714"/>
                  </a:lnTo>
                  <a:lnTo>
                    <a:pt x="140426" y="1153154"/>
                  </a:lnTo>
                  <a:lnTo>
                    <a:pt x="123548" y="1140009"/>
                  </a:lnTo>
                  <a:lnTo>
                    <a:pt x="115809" y="1152468"/>
                  </a:lnTo>
                  <a:lnTo>
                    <a:pt x="101759" y="1150272"/>
                  </a:lnTo>
                  <a:lnTo>
                    <a:pt x="90589" y="1119975"/>
                  </a:lnTo>
                  <a:lnTo>
                    <a:pt x="86281" y="1139817"/>
                  </a:lnTo>
                  <a:lnTo>
                    <a:pt x="76978" y="1145333"/>
                  </a:lnTo>
                  <a:lnTo>
                    <a:pt x="66522" y="1133313"/>
                  </a:lnTo>
                  <a:lnTo>
                    <a:pt x="63942" y="1114020"/>
                  </a:lnTo>
                  <a:lnTo>
                    <a:pt x="65891" y="1099146"/>
                  </a:lnTo>
                  <a:lnTo>
                    <a:pt x="74508" y="1082379"/>
                  </a:lnTo>
                  <a:lnTo>
                    <a:pt x="93498" y="1064788"/>
                  </a:lnTo>
                  <a:lnTo>
                    <a:pt x="119158" y="1060177"/>
                  </a:lnTo>
                  <a:lnTo>
                    <a:pt x="127610" y="1047087"/>
                  </a:lnTo>
                  <a:lnTo>
                    <a:pt x="126540" y="1032240"/>
                  </a:lnTo>
                  <a:lnTo>
                    <a:pt x="117044" y="1022470"/>
                  </a:lnTo>
                  <a:lnTo>
                    <a:pt x="106506" y="993875"/>
                  </a:lnTo>
                  <a:lnTo>
                    <a:pt x="106342" y="979111"/>
                  </a:lnTo>
                  <a:lnTo>
                    <a:pt x="111336" y="965718"/>
                  </a:lnTo>
                  <a:lnTo>
                    <a:pt x="128872" y="957870"/>
                  </a:lnTo>
                  <a:lnTo>
                    <a:pt x="152748" y="966844"/>
                  </a:lnTo>
                  <a:lnTo>
                    <a:pt x="163862" y="982568"/>
                  </a:lnTo>
                  <a:lnTo>
                    <a:pt x="177254" y="1014841"/>
                  </a:lnTo>
                  <a:lnTo>
                    <a:pt x="204478" y="1030841"/>
                  </a:lnTo>
                  <a:lnTo>
                    <a:pt x="232524" y="1019671"/>
                  </a:lnTo>
                  <a:lnTo>
                    <a:pt x="253573" y="982129"/>
                  </a:lnTo>
                  <a:lnTo>
                    <a:pt x="260708" y="956690"/>
                  </a:lnTo>
                  <a:lnTo>
                    <a:pt x="258211" y="952052"/>
                  </a:lnTo>
                  <a:lnTo>
                    <a:pt x="243803" y="986630"/>
                  </a:lnTo>
                  <a:lnTo>
                    <a:pt x="231646" y="1003452"/>
                  </a:lnTo>
                  <a:lnTo>
                    <a:pt x="195806" y="1010176"/>
                  </a:lnTo>
                  <a:lnTo>
                    <a:pt x="184252" y="956937"/>
                  </a:lnTo>
                  <a:lnTo>
                    <a:pt x="192622" y="929329"/>
                  </a:lnTo>
                  <a:lnTo>
                    <a:pt x="194104" y="898922"/>
                  </a:lnTo>
                  <a:lnTo>
                    <a:pt x="175910" y="923099"/>
                  </a:lnTo>
                  <a:lnTo>
                    <a:pt x="167869" y="921014"/>
                  </a:lnTo>
                  <a:lnTo>
                    <a:pt x="162133" y="904493"/>
                  </a:lnTo>
                  <a:lnTo>
                    <a:pt x="143088" y="919587"/>
                  </a:lnTo>
                  <a:lnTo>
                    <a:pt x="125552" y="909954"/>
                  </a:lnTo>
                  <a:lnTo>
                    <a:pt x="126155" y="876639"/>
                  </a:lnTo>
                  <a:lnTo>
                    <a:pt x="143829" y="834349"/>
                  </a:lnTo>
                  <a:lnTo>
                    <a:pt x="194296" y="808360"/>
                  </a:lnTo>
                  <a:lnTo>
                    <a:pt x="228051" y="818432"/>
                  </a:lnTo>
                  <a:lnTo>
                    <a:pt x="262492" y="844475"/>
                  </a:lnTo>
                  <a:lnTo>
                    <a:pt x="264358" y="839947"/>
                  </a:lnTo>
                  <a:lnTo>
                    <a:pt x="265154" y="823975"/>
                  </a:lnTo>
                  <a:lnTo>
                    <a:pt x="270314" y="814508"/>
                  </a:lnTo>
                  <a:lnTo>
                    <a:pt x="209363" y="785116"/>
                  </a:lnTo>
                  <a:lnTo>
                    <a:pt x="209363" y="777707"/>
                  </a:lnTo>
                  <a:cubicBezTo>
                    <a:pt x="209363" y="777707"/>
                    <a:pt x="218940" y="768156"/>
                    <a:pt x="218940" y="768156"/>
                  </a:cubicBezTo>
                  <a:lnTo>
                    <a:pt x="190976" y="696914"/>
                  </a:lnTo>
                  <a:lnTo>
                    <a:pt x="156013" y="663461"/>
                  </a:lnTo>
                  <a:lnTo>
                    <a:pt x="150827" y="618098"/>
                  </a:lnTo>
                  <a:lnTo>
                    <a:pt x="154394" y="589420"/>
                  </a:lnTo>
                  <a:lnTo>
                    <a:pt x="227887" y="591012"/>
                  </a:lnTo>
                  <a:lnTo>
                    <a:pt x="273277" y="648615"/>
                  </a:lnTo>
                  <a:lnTo>
                    <a:pt x="294875" y="691069"/>
                  </a:lnTo>
                  <a:lnTo>
                    <a:pt x="318339" y="697189"/>
                  </a:lnTo>
                  <a:lnTo>
                    <a:pt x="317790" y="690109"/>
                  </a:lnTo>
                  <a:lnTo>
                    <a:pt x="300117" y="673588"/>
                  </a:lnTo>
                  <a:lnTo>
                    <a:pt x="289276" y="640903"/>
                  </a:lnTo>
                  <a:lnTo>
                    <a:pt x="272948" y="616095"/>
                  </a:lnTo>
                  <a:lnTo>
                    <a:pt x="267240" y="590875"/>
                  </a:lnTo>
                  <a:lnTo>
                    <a:pt x="335298" y="541670"/>
                  </a:lnTo>
                  <a:lnTo>
                    <a:pt x="370425" y="531845"/>
                  </a:lnTo>
                  <a:lnTo>
                    <a:pt x="375585" y="511839"/>
                  </a:lnTo>
                  <a:lnTo>
                    <a:pt x="392572" y="490900"/>
                  </a:lnTo>
                  <a:lnTo>
                    <a:pt x="378768" y="460960"/>
                  </a:lnTo>
                  <a:lnTo>
                    <a:pt x="388071" y="417133"/>
                  </a:lnTo>
                  <a:lnTo>
                    <a:pt x="369794" y="437386"/>
                  </a:lnTo>
                  <a:lnTo>
                    <a:pt x="351517" y="483600"/>
                  </a:lnTo>
                  <a:lnTo>
                    <a:pt x="313454" y="514830"/>
                  </a:lnTo>
                  <a:lnTo>
                    <a:pt x="258211" y="532449"/>
                  </a:lnTo>
                  <a:lnTo>
                    <a:pt x="248661" y="512607"/>
                  </a:lnTo>
                  <a:lnTo>
                    <a:pt x="238534" y="506103"/>
                  </a:lnTo>
                  <a:lnTo>
                    <a:pt x="222810" y="536044"/>
                  </a:lnTo>
                  <a:lnTo>
                    <a:pt x="189027" y="540435"/>
                  </a:lnTo>
                  <a:lnTo>
                    <a:pt x="154285" y="511619"/>
                  </a:lnTo>
                  <a:lnTo>
                    <a:pt x="166030" y="465927"/>
                  </a:lnTo>
                  <a:lnTo>
                    <a:pt x="124756" y="516340"/>
                  </a:lnTo>
                  <a:lnTo>
                    <a:pt x="92840" y="499160"/>
                  </a:lnTo>
                  <a:lnTo>
                    <a:pt x="87159" y="482283"/>
                  </a:lnTo>
                  <a:lnTo>
                    <a:pt x="103789" y="454867"/>
                  </a:lnTo>
                  <a:lnTo>
                    <a:pt x="147094" y="448720"/>
                  </a:lnTo>
                  <a:lnTo>
                    <a:pt x="156974" y="427095"/>
                  </a:lnTo>
                  <a:lnTo>
                    <a:pt x="136803" y="439335"/>
                  </a:lnTo>
                  <a:lnTo>
                    <a:pt x="53322" y="446360"/>
                  </a:lnTo>
                  <a:lnTo>
                    <a:pt x="45720" y="428028"/>
                  </a:lnTo>
                  <a:lnTo>
                    <a:pt x="54804" y="402616"/>
                  </a:lnTo>
                  <a:lnTo>
                    <a:pt x="56615" y="381348"/>
                  </a:lnTo>
                  <a:lnTo>
                    <a:pt x="34853" y="369218"/>
                  </a:lnTo>
                  <a:lnTo>
                    <a:pt x="41549" y="337384"/>
                  </a:lnTo>
                  <a:lnTo>
                    <a:pt x="39710" y="325035"/>
                  </a:lnTo>
                  <a:lnTo>
                    <a:pt x="23903" y="336314"/>
                  </a:lnTo>
                  <a:lnTo>
                    <a:pt x="10538" y="345754"/>
                  </a:lnTo>
                  <a:lnTo>
                    <a:pt x="0" y="326681"/>
                  </a:lnTo>
                  <a:lnTo>
                    <a:pt x="3815" y="309365"/>
                  </a:lnTo>
                  <a:lnTo>
                    <a:pt x="23930" y="284199"/>
                  </a:lnTo>
                  <a:lnTo>
                    <a:pt x="39216" y="265730"/>
                  </a:lnTo>
                  <a:lnTo>
                    <a:pt x="101045" y="231866"/>
                  </a:lnTo>
                  <a:lnTo>
                    <a:pt x="132248" y="252448"/>
                  </a:lnTo>
                  <a:lnTo>
                    <a:pt x="149866" y="248853"/>
                  </a:lnTo>
                  <a:lnTo>
                    <a:pt x="152336" y="237958"/>
                  </a:lnTo>
                  <a:lnTo>
                    <a:pt x="150196" y="206701"/>
                  </a:lnTo>
                  <a:lnTo>
                    <a:pt x="151074" y="196272"/>
                  </a:lnTo>
                  <a:lnTo>
                    <a:pt x="171848" y="159828"/>
                  </a:lnTo>
                  <a:lnTo>
                    <a:pt x="203517" y="155135"/>
                  </a:lnTo>
                  <a:lnTo>
                    <a:pt x="220916" y="176266"/>
                  </a:lnTo>
                  <a:lnTo>
                    <a:pt x="261696" y="191415"/>
                  </a:lnTo>
                  <a:lnTo>
                    <a:pt x="271192" y="124289"/>
                  </a:lnTo>
                  <a:lnTo>
                    <a:pt x="282745" y="91275"/>
                  </a:lnTo>
                  <a:lnTo>
                    <a:pt x="353960" y="39737"/>
                  </a:lnTo>
                  <a:lnTo>
                    <a:pt x="394081" y="40780"/>
                  </a:lnTo>
                  <a:lnTo>
                    <a:pt x="418286" y="57713"/>
                  </a:lnTo>
                  <a:lnTo>
                    <a:pt x="447211" y="100963"/>
                  </a:lnTo>
                  <a:lnTo>
                    <a:pt x="433160" y="341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7" name="Freeform: Shape 3236">
              <a:extLst>
                <a:ext uri="{FF2B5EF4-FFF2-40B4-BE49-F238E27FC236}">
                  <a16:creationId xmlns:a16="http://schemas.microsoft.com/office/drawing/2014/main" id="{CCAE17A8-586A-5549-39E5-044BCF02AC13}"/>
                </a:ext>
              </a:extLst>
            </p:cNvPr>
            <p:cNvSpPr/>
            <p:nvPr/>
          </p:nvSpPr>
          <p:spPr>
            <a:xfrm>
              <a:off x="1068621" y="3390646"/>
              <a:ext cx="34944" cy="55076"/>
            </a:xfrm>
            <a:custGeom>
              <a:avLst/>
              <a:gdLst>
                <a:gd name="connsiteX0" fmla="*/ 77252 w 335764"/>
                <a:gd name="connsiteY0" fmla="*/ 14490 h 529210"/>
                <a:gd name="connsiteX1" fmla="*/ 79777 w 335764"/>
                <a:gd name="connsiteY1" fmla="*/ 0 h 529210"/>
                <a:gd name="connsiteX2" fmla="*/ 97697 w 335764"/>
                <a:gd name="connsiteY2" fmla="*/ 357 h 529210"/>
                <a:gd name="connsiteX3" fmla="*/ 136666 w 335764"/>
                <a:gd name="connsiteY3" fmla="*/ 40314 h 529210"/>
                <a:gd name="connsiteX4" fmla="*/ 169598 w 335764"/>
                <a:gd name="connsiteY4" fmla="*/ 125305 h 529210"/>
                <a:gd name="connsiteX5" fmla="*/ 174592 w 335764"/>
                <a:gd name="connsiteY5" fmla="*/ 138038 h 529210"/>
                <a:gd name="connsiteX6" fmla="*/ 184088 w 335764"/>
                <a:gd name="connsiteY6" fmla="*/ 146106 h 529210"/>
                <a:gd name="connsiteX7" fmla="*/ 214961 w 335764"/>
                <a:gd name="connsiteY7" fmla="*/ 161584 h 529210"/>
                <a:gd name="connsiteX8" fmla="*/ 222727 w 335764"/>
                <a:gd name="connsiteY8" fmla="*/ 201980 h 529210"/>
                <a:gd name="connsiteX9" fmla="*/ 234610 w 335764"/>
                <a:gd name="connsiteY9" fmla="*/ 219352 h 529210"/>
                <a:gd name="connsiteX10" fmla="*/ 238013 w 335764"/>
                <a:gd name="connsiteY10" fmla="*/ 215126 h 529210"/>
                <a:gd name="connsiteX11" fmla="*/ 237739 w 335764"/>
                <a:gd name="connsiteY11" fmla="*/ 193336 h 529210"/>
                <a:gd name="connsiteX12" fmla="*/ 240181 w 335764"/>
                <a:gd name="connsiteY12" fmla="*/ 178517 h 529210"/>
                <a:gd name="connsiteX13" fmla="*/ 258348 w 335764"/>
                <a:gd name="connsiteY13" fmla="*/ 178407 h 529210"/>
                <a:gd name="connsiteX14" fmla="*/ 262602 w 335764"/>
                <a:gd name="connsiteY14" fmla="*/ 197315 h 529210"/>
                <a:gd name="connsiteX15" fmla="*/ 261641 w 335764"/>
                <a:gd name="connsiteY15" fmla="*/ 224264 h 529210"/>
                <a:gd name="connsiteX16" fmla="*/ 272070 w 335764"/>
                <a:gd name="connsiteY16" fmla="*/ 235461 h 529210"/>
                <a:gd name="connsiteX17" fmla="*/ 278958 w 335764"/>
                <a:gd name="connsiteY17" fmla="*/ 258046 h 529210"/>
                <a:gd name="connsiteX18" fmla="*/ 278162 w 335764"/>
                <a:gd name="connsiteY18" fmla="*/ 308679 h 529210"/>
                <a:gd name="connsiteX19" fmla="*/ 294107 w 335764"/>
                <a:gd name="connsiteY19" fmla="*/ 304123 h 529210"/>
                <a:gd name="connsiteX20" fmla="*/ 311423 w 335764"/>
                <a:gd name="connsiteY20" fmla="*/ 321028 h 529210"/>
                <a:gd name="connsiteX21" fmla="*/ 320781 w 335764"/>
                <a:gd name="connsiteY21" fmla="*/ 315814 h 529210"/>
                <a:gd name="connsiteX22" fmla="*/ 335765 w 335764"/>
                <a:gd name="connsiteY22" fmla="*/ 358433 h 529210"/>
                <a:gd name="connsiteX23" fmla="*/ 328191 w 335764"/>
                <a:gd name="connsiteY23" fmla="*/ 377176 h 529210"/>
                <a:gd name="connsiteX24" fmla="*/ 284584 w 335764"/>
                <a:gd name="connsiteY24" fmla="*/ 407995 h 529210"/>
                <a:gd name="connsiteX25" fmla="*/ 264331 w 335764"/>
                <a:gd name="connsiteY25" fmla="*/ 452535 h 529210"/>
                <a:gd name="connsiteX26" fmla="*/ 256811 w 335764"/>
                <a:gd name="connsiteY26" fmla="*/ 445948 h 529210"/>
                <a:gd name="connsiteX27" fmla="*/ 249868 w 335764"/>
                <a:gd name="connsiteY27" fmla="*/ 420811 h 529210"/>
                <a:gd name="connsiteX28" fmla="*/ 248030 w 335764"/>
                <a:gd name="connsiteY28" fmla="*/ 439335 h 529210"/>
                <a:gd name="connsiteX29" fmla="*/ 249347 w 335764"/>
                <a:gd name="connsiteY29" fmla="*/ 486564 h 529210"/>
                <a:gd name="connsiteX30" fmla="*/ 244325 w 335764"/>
                <a:gd name="connsiteY30" fmla="*/ 498611 h 529210"/>
                <a:gd name="connsiteX31" fmla="*/ 234089 w 335764"/>
                <a:gd name="connsiteY31" fmla="*/ 478441 h 529210"/>
                <a:gd name="connsiteX32" fmla="*/ 231619 w 335764"/>
                <a:gd name="connsiteY32" fmla="*/ 503579 h 529210"/>
                <a:gd name="connsiteX33" fmla="*/ 225197 w 335764"/>
                <a:gd name="connsiteY33" fmla="*/ 523310 h 529210"/>
                <a:gd name="connsiteX34" fmla="*/ 215921 w 335764"/>
                <a:gd name="connsiteY34" fmla="*/ 516532 h 529210"/>
                <a:gd name="connsiteX35" fmla="*/ 195723 w 335764"/>
                <a:gd name="connsiteY35" fmla="*/ 477645 h 529210"/>
                <a:gd name="connsiteX36" fmla="*/ 195147 w 335764"/>
                <a:gd name="connsiteY36" fmla="*/ 486152 h 529210"/>
                <a:gd name="connsiteX37" fmla="*/ 199977 w 335764"/>
                <a:gd name="connsiteY37" fmla="*/ 515269 h 529210"/>
                <a:gd name="connsiteX38" fmla="*/ 184060 w 335764"/>
                <a:gd name="connsiteY38" fmla="*/ 518233 h 529210"/>
                <a:gd name="connsiteX39" fmla="*/ 175251 w 335764"/>
                <a:gd name="connsiteY39" fmla="*/ 529210 h 529210"/>
                <a:gd name="connsiteX40" fmla="*/ 169570 w 335764"/>
                <a:gd name="connsiteY40" fmla="*/ 527619 h 529210"/>
                <a:gd name="connsiteX41" fmla="*/ 128543 w 335764"/>
                <a:gd name="connsiteY41" fmla="*/ 515407 h 529210"/>
                <a:gd name="connsiteX42" fmla="*/ 117346 w 335764"/>
                <a:gd name="connsiteY42" fmla="*/ 495895 h 529210"/>
                <a:gd name="connsiteX43" fmla="*/ 115068 w 335764"/>
                <a:gd name="connsiteY43" fmla="*/ 472376 h 529210"/>
                <a:gd name="connsiteX44" fmla="*/ 96325 w 335764"/>
                <a:gd name="connsiteY44" fmla="*/ 462277 h 529210"/>
                <a:gd name="connsiteX45" fmla="*/ 80463 w 335764"/>
                <a:gd name="connsiteY45" fmla="*/ 419219 h 529210"/>
                <a:gd name="connsiteX46" fmla="*/ 94322 w 335764"/>
                <a:gd name="connsiteY46" fmla="*/ 384888 h 529210"/>
                <a:gd name="connsiteX47" fmla="*/ 117730 w 335764"/>
                <a:gd name="connsiteY47" fmla="*/ 373334 h 529210"/>
                <a:gd name="connsiteX48" fmla="*/ 119789 w 335764"/>
                <a:gd name="connsiteY48" fmla="*/ 357335 h 529210"/>
                <a:gd name="connsiteX49" fmla="*/ 117264 w 335764"/>
                <a:gd name="connsiteY49" fmla="*/ 342433 h 529210"/>
                <a:gd name="connsiteX50" fmla="*/ 104366 w 335764"/>
                <a:gd name="connsiteY50" fmla="*/ 337274 h 529210"/>
                <a:gd name="connsiteX51" fmla="*/ 79667 w 335764"/>
                <a:gd name="connsiteY51" fmla="*/ 358268 h 529210"/>
                <a:gd name="connsiteX52" fmla="*/ 64409 w 335764"/>
                <a:gd name="connsiteY52" fmla="*/ 344958 h 529210"/>
                <a:gd name="connsiteX53" fmla="*/ 39875 w 335764"/>
                <a:gd name="connsiteY53" fmla="*/ 354344 h 529210"/>
                <a:gd name="connsiteX54" fmla="*/ 30983 w 335764"/>
                <a:gd name="connsiteY54" fmla="*/ 343147 h 529210"/>
                <a:gd name="connsiteX55" fmla="*/ 29035 w 335764"/>
                <a:gd name="connsiteY55" fmla="*/ 332142 h 529210"/>
                <a:gd name="connsiteX56" fmla="*/ 41713 w 335764"/>
                <a:gd name="connsiteY56" fmla="*/ 302449 h 529210"/>
                <a:gd name="connsiteX57" fmla="*/ 16274 w 335764"/>
                <a:gd name="connsiteY57" fmla="*/ 292981 h 529210"/>
                <a:gd name="connsiteX58" fmla="*/ 4638 w 335764"/>
                <a:gd name="connsiteY58" fmla="*/ 270588 h 529210"/>
                <a:gd name="connsiteX59" fmla="*/ 0 w 335764"/>
                <a:gd name="connsiteY59" fmla="*/ 238205 h 529210"/>
                <a:gd name="connsiteX60" fmla="*/ 4226 w 335764"/>
                <a:gd name="connsiteY60" fmla="*/ 225225 h 529210"/>
                <a:gd name="connsiteX61" fmla="*/ 28431 w 335764"/>
                <a:gd name="connsiteY61" fmla="*/ 235543 h 529210"/>
                <a:gd name="connsiteX62" fmla="*/ 50276 w 335764"/>
                <a:gd name="connsiteY62" fmla="*/ 230631 h 529210"/>
                <a:gd name="connsiteX63" fmla="*/ 48574 w 335764"/>
                <a:gd name="connsiteY63" fmla="*/ 222398 h 529210"/>
                <a:gd name="connsiteX64" fmla="*/ 18799 w 335764"/>
                <a:gd name="connsiteY64" fmla="*/ 205548 h 529210"/>
                <a:gd name="connsiteX65" fmla="*/ 15368 w 335764"/>
                <a:gd name="connsiteY65" fmla="*/ 192019 h 529210"/>
                <a:gd name="connsiteX66" fmla="*/ 21872 w 335764"/>
                <a:gd name="connsiteY66" fmla="*/ 175745 h 529210"/>
                <a:gd name="connsiteX67" fmla="*/ 24424 w 335764"/>
                <a:gd name="connsiteY67" fmla="*/ 149647 h 529210"/>
                <a:gd name="connsiteX68" fmla="*/ 29638 w 335764"/>
                <a:gd name="connsiteY68" fmla="*/ 128845 h 529210"/>
                <a:gd name="connsiteX69" fmla="*/ 54776 w 335764"/>
                <a:gd name="connsiteY69" fmla="*/ 130876 h 529210"/>
                <a:gd name="connsiteX70" fmla="*/ 52636 w 335764"/>
                <a:gd name="connsiteY70" fmla="*/ 113833 h 529210"/>
                <a:gd name="connsiteX71" fmla="*/ 41192 w 335764"/>
                <a:gd name="connsiteY71" fmla="*/ 92785 h 529210"/>
                <a:gd name="connsiteX72" fmla="*/ 45116 w 335764"/>
                <a:gd name="connsiteY72" fmla="*/ 67949 h 529210"/>
                <a:gd name="connsiteX73" fmla="*/ 65781 w 335764"/>
                <a:gd name="connsiteY73" fmla="*/ 65644 h 529210"/>
                <a:gd name="connsiteX74" fmla="*/ 93828 w 335764"/>
                <a:gd name="connsiteY74" fmla="*/ 39216 h 529210"/>
                <a:gd name="connsiteX75" fmla="*/ 92455 w 335764"/>
                <a:gd name="connsiteY75" fmla="*/ 28733 h 529210"/>
                <a:gd name="connsiteX76" fmla="*/ 77197 w 335764"/>
                <a:gd name="connsiteY76" fmla="*/ 14600 h 5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35764" h="529210">
                  <a:moveTo>
                    <a:pt x="77252" y="14490"/>
                  </a:moveTo>
                  <a:lnTo>
                    <a:pt x="79777" y="0"/>
                  </a:lnTo>
                  <a:lnTo>
                    <a:pt x="97697" y="357"/>
                  </a:lnTo>
                  <a:lnTo>
                    <a:pt x="136666" y="40314"/>
                  </a:lnTo>
                  <a:lnTo>
                    <a:pt x="169598" y="125305"/>
                  </a:lnTo>
                  <a:lnTo>
                    <a:pt x="174592" y="138038"/>
                  </a:lnTo>
                  <a:lnTo>
                    <a:pt x="184088" y="146106"/>
                  </a:lnTo>
                  <a:lnTo>
                    <a:pt x="214961" y="161584"/>
                  </a:lnTo>
                  <a:lnTo>
                    <a:pt x="222727" y="201980"/>
                  </a:lnTo>
                  <a:lnTo>
                    <a:pt x="234610" y="219352"/>
                  </a:lnTo>
                  <a:lnTo>
                    <a:pt x="238013" y="215126"/>
                  </a:lnTo>
                  <a:lnTo>
                    <a:pt x="237739" y="193336"/>
                  </a:lnTo>
                  <a:lnTo>
                    <a:pt x="240181" y="178517"/>
                  </a:lnTo>
                  <a:lnTo>
                    <a:pt x="258348" y="178407"/>
                  </a:lnTo>
                  <a:lnTo>
                    <a:pt x="262602" y="197315"/>
                  </a:lnTo>
                  <a:lnTo>
                    <a:pt x="261641" y="224264"/>
                  </a:lnTo>
                  <a:lnTo>
                    <a:pt x="272070" y="235461"/>
                  </a:lnTo>
                  <a:lnTo>
                    <a:pt x="278958" y="258046"/>
                  </a:lnTo>
                  <a:lnTo>
                    <a:pt x="278162" y="308679"/>
                  </a:lnTo>
                  <a:lnTo>
                    <a:pt x="294107" y="304123"/>
                  </a:lnTo>
                  <a:lnTo>
                    <a:pt x="311423" y="321028"/>
                  </a:lnTo>
                  <a:lnTo>
                    <a:pt x="320781" y="315814"/>
                  </a:lnTo>
                  <a:lnTo>
                    <a:pt x="335765" y="358433"/>
                  </a:lnTo>
                  <a:lnTo>
                    <a:pt x="328191" y="377176"/>
                  </a:lnTo>
                  <a:lnTo>
                    <a:pt x="284584" y="407995"/>
                  </a:lnTo>
                  <a:lnTo>
                    <a:pt x="264331" y="452535"/>
                  </a:lnTo>
                  <a:lnTo>
                    <a:pt x="256811" y="445948"/>
                  </a:lnTo>
                  <a:lnTo>
                    <a:pt x="249868" y="420811"/>
                  </a:lnTo>
                  <a:lnTo>
                    <a:pt x="248030" y="439335"/>
                  </a:lnTo>
                  <a:lnTo>
                    <a:pt x="249347" y="486564"/>
                  </a:lnTo>
                  <a:lnTo>
                    <a:pt x="244325" y="498611"/>
                  </a:lnTo>
                  <a:lnTo>
                    <a:pt x="234089" y="478441"/>
                  </a:lnTo>
                  <a:lnTo>
                    <a:pt x="231619" y="503579"/>
                  </a:lnTo>
                  <a:lnTo>
                    <a:pt x="225197" y="523310"/>
                  </a:lnTo>
                  <a:lnTo>
                    <a:pt x="215921" y="516532"/>
                  </a:lnTo>
                  <a:lnTo>
                    <a:pt x="195723" y="477645"/>
                  </a:lnTo>
                  <a:lnTo>
                    <a:pt x="195147" y="486152"/>
                  </a:lnTo>
                  <a:lnTo>
                    <a:pt x="199977" y="515269"/>
                  </a:lnTo>
                  <a:lnTo>
                    <a:pt x="184060" y="518233"/>
                  </a:lnTo>
                  <a:lnTo>
                    <a:pt x="175251" y="529210"/>
                  </a:lnTo>
                  <a:lnTo>
                    <a:pt x="169570" y="527619"/>
                  </a:lnTo>
                  <a:lnTo>
                    <a:pt x="128543" y="515407"/>
                  </a:lnTo>
                  <a:lnTo>
                    <a:pt x="117346" y="495895"/>
                  </a:lnTo>
                  <a:lnTo>
                    <a:pt x="115068" y="472376"/>
                  </a:lnTo>
                  <a:lnTo>
                    <a:pt x="96325" y="462277"/>
                  </a:lnTo>
                  <a:lnTo>
                    <a:pt x="80463" y="419219"/>
                  </a:lnTo>
                  <a:lnTo>
                    <a:pt x="94322" y="384888"/>
                  </a:lnTo>
                  <a:lnTo>
                    <a:pt x="117730" y="373334"/>
                  </a:lnTo>
                  <a:lnTo>
                    <a:pt x="119789" y="357335"/>
                  </a:lnTo>
                  <a:lnTo>
                    <a:pt x="117264" y="342433"/>
                  </a:lnTo>
                  <a:lnTo>
                    <a:pt x="104366" y="337274"/>
                  </a:lnTo>
                  <a:lnTo>
                    <a:pt x="79667" y="358268"/>
                  </a:lnTo>
                  <a:lnTo>
                    <a:pt x="64409" y="344958"/>
                  </a:lnTo>
                  <a:lnTo>
                    <a:pt x="39875" y="354344"/>
                  </a:lnTo>
                  <a:lnTo>
                    <a:pt x="30983" y="343147"/>
                  </a:lnTo>
                  <a:lnTo>
                    <a:pt x="29035" y="332142"/>
                  </a:lnTo>
                  <a:lnTo>
                    <a:pt x="41713" y="302449"/>
                  </a:lnTo>
                  <a:lnTo>
                    <a:pt x="16274" y="292981"/>
                  </a:lnTo>
                  <a:lnTo>
                    <a:pt x="4638" y="270588"/>
                  </a:lnTo>
                  <a:lnTo>
                    <a:pt x="0" y="238205"/>
                  </a:lnTo>
                  <a:lnTo>
                    <a:pt x="4226" y="225225"/>
                  </a:lnTo>
                  <a:lnTo>
                    <a:pt x="28431" y="235543"/>
                  </a:lnTo>
                  <a:lnTo>
                    <a:pt x="50276" y="230631"/>
                  </a:lnTo>
                  <a:lnTo>
                    <a:pt x="48574" y="222398"/>
                  </a:lnTo>
                  <a:lnTo>
                    <a:pt x="18799" y="205548"/>
                  </a:lnTo>
                  <a:lnTo>
                    <a:pt x="15368" y="192019"/>
                  </a:lnTo>
                  <a:lnTo>
                    <a:pt x="21872" y="175745"/>
                  </a:lnTo>
                  <a:lnTo>
                    <a:pt x="24424" y="149647"/>
                  </a:lnTo>
                  <a:lnTo>
                    <a:pt x="29638" y="128845"/>
                  </a:lnTo>
                  <a:lnTo>
                    <a:pt x="54776" y="130876"/>
                  </a:lnTo>
                  <a:lnTo>
                    <a:pt x="52636" y="113833"/>
                  </a:lnTo>
                  <a:lnTo>
                    <a:pt x="41192" y="92785"/>
                  </a:lnTo>
                  <a:lnTo>
                    <a:pt x="45116" y="67949"/>
                  </a:lnTo>
                  <a:lnTo>
                    <a:pt x="65781" y="65644"/>
                  </a:lnTo>
                  <a:lnTo>
                    <a:pt x="93828" y="39216"/>
                  </a:lnTo>
                  <a:lnTo>
                    <a:pt x="92455" y="28733"/>
                  </a:lnTo>
                  <a:lnTo>
                    <a:pt x="77197" y="146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8" name="Freeform: Shape 3237">
              <a:extLst>
                <a:ext uri="{FF2B5EF4-FFF2-40B4-BE49-F238E27FC236}">
                  <a16:creationId xmlns:a16="http://schemas.microsoft.com/office/drawing/2014/main" id="{914CA7D8-325E-7510-4138-F1445B6240E7}"/>
                </a:ext>
              </a:extLst>
            </p:cNvPr>
            <p:cNvSpPr/>
            <p:nvPr/>
          </p:nvSpPr>
          <p:spPr>
            <a:xfrm>
              <a:off x="1141783" y="3336098"/>
              <a:ext cx="186605" cy="277175"/>
            </a:xfrm>
            <a:custGeom>
              <a:avLst/>
              <a:gdLst>
                <a:gd name="connsiteX0" fmla="*/ 1250220 w 1793041"/>
                <a:gd name="connsiteY0" fmla="*/ 5132 h 2663313"/>
                <a:gd name="connsiteX1" fmla="*/ 1289518 w 1793041"/>
                <a:gd name="connsiteY1" fmla="*/ 34139 h 2663313"/>
                <a:gd name="connsiteX2" fmla="*/ 1311308 w 1793041"/>
                <a:gd name="connsiteY2" fmla="*/ 21954 h 2663313"/>
                <a:gd name="connsiteX3" fmla="*/ 1343334 w 1793041"/>
                <a:gd name="connsiteY3" fmla="*/ 33618 h 2663313"/>
                <a:gd name="connsiteX4" fmla="*/ 1368691 w 1793041"/>
                <a:gd name="connsiteY4" fmla="*/ 85430 h 2663313"/>
                <a:gd name="connsiteX5" fmla="*/ 1347505 w 1793041"/>
                <a:gd name="connsiteY5" fmla="*/ 107522 h 2663313"/>
                <a:gd name="connsiteX6" fmla="*/ 1228073 w 1793041"/>
                <a:gd name="connsiteY6" fmla="*/ 115974 h 2663313"/>
                <a:gd name="connsiteX7" fmla="*/ 1173791 w 1793041"/>
                <a:gd name="connsiteY7" fmla="*/ 150552 h 2663313"/>
                <a:gd name="connsiteX8" fmla="*/ 1190641 w 1793041"/>
                <a:gd name="connsiteY8" fmla="*/ 170393 h 2663313"/>
                <a:gd name="connsiteX9" fmla="*/ 1217508 w 1793041"/>
                <a:gd name="connsiteY9" fmla="*/ 140234 h 2663313"/>
                <a:gd name="connsiteX10" fmla="*/ 1257273 w 1793041"/>
                <a:gd name="connsiteY10" fmla="*/ 125332 h 2663313"/>
                <a:gd name="connsiteX11" fmla="*/ 1344980 w 1793041"/>
                <a:gd name="connsiteY11" fmla="*/ 134333 h 2663313"/>
                <a:gd name="connsiteX12" fmla="*/ 1409362 w 1793041"/>
                <a:gd name="connsiteY12" fmla="*/ 112105 h 2663313"/>
                <a:gd name="connsiteX13" fmla="*/ 1419625 w 1793041"/>
                <a:gd name="connsiteY13" fmla="*/ 138313 h 2663313"/>
                <a:gd name="connsiteX14" fmla="*/ 1420366 w 1793041"/>
                <a:gd name="connsiteY14" fmla="*/ 175086 h 2663313"/>
                <a:gd name="connsiteX15" fmla="*/ 1422534 w 1793041"/>
                <a:gd name="connsiteY15" fmla="*/ 184966 h 2663313"/>
                <a:gd name="connsiteX16" fmla="*/ 1451706 w 1793041"/>
                <a:gd name="connsiteY16" fmla="*/ 177199 h 2663313"/>
                <a:gd name="connsiteX17" fmla="*/ 1465894 w 1793041"/>
                <a:gd name="connsiteY17" fmla="*/ 197178 h 2663313"/>
                <a:gd name="connsiteX18" fmla="*/ 1506757 w 1793041"/>
                <a:gd name="connsiteY18" fmla="*/ 204560 h 2663313"/>
                <a:gd name="connsiteX19" fmla="*/ 1532828 w 1793041"/>
                <a:gd name="connsiteY19" fmla="*/ 254314 h 2663313"/>
                <a:gd name="connsiteX20" fmla="*/ 1503711 w 1793041"/>
                <a:gd name="connsiteY20" fmla="*/ 320232 h 2663313"/>
                <a:gd name="connsiteX21" fmla="*/ 1429862 w 1793041"/>
                <a:gd name="connsiteY21" fmla="*/ 351846 h 2663313"/>
                <a:gd name="connsiteX22" fmla="*/ 1259002 w 1793041"/>
                <a:gd name="connsiteY22" fmla="*/ 358625 h 2663313"/>
                <a:gd name="connsiteX23" fmla="*/ 1179362 w 1793041"/>
                <a:gd name="connsiteY23" fmla="*/ 447458 h 2663313"/>
                <a:gd name="connsiteX24" fmla="*/ 1183698 w 1793041"/>
                <a:gd name="connsiteY24" fmla="*/ 458737 h 2663313"/>
                <a:gd name="connsiteX25" fmla="*/ 1216849 w 1793041"/>
                <a:gd name="connsiteY25" fmla="*/ 427616 h 2663313"/>
                <a:gd name="connsiteX26" fmla="*/ 1255846 w 1793041"/>
                <a:gd name="connsiteY26" fmla="*/ 408077 h 2663313"/>
                <a:gd name="connsiteX27" fmla="*/ 1345255 w 1793041"/>
                <a:gd name="connsiteY27" fmla="*/ 385272 h 2663313"/>
                <a:gd name="connsiteX28" fmla="*/ 1403708 w 1793041"/>
                <a:gd name="connsiteY28" fmla="*/ 391776 h 2663313"/>
                <a:gd name="connsiteX29" fmla="*/ 1410816 w 1793041"/>
                <a:gd name="connsiteY29" fmla="*/ 419521 h 2663313"/>
                <a:gd name="connsiteX30" fmla="*/ 1406261 w 1793041"/>
                <a:gd name="connsiteY30" fmla="*/ 441942 h 2663313"/>
                <a:gd name="connsiteX31" fmla="*/ 1370310 w 1793041"/>
                <a:gd name="connsiteY31" fmla="*/ 475312 h 2663313"/>
                <a:gd name="connsiteX32" fmla="*/ 1365151 w 1793041"/>
                <a:gd name="connsiteY32" fmla="*/ 489446 h 2663313"/>
                <a:gd name="connsiteX33" fmla="*/ 1368389 w 1793041"/>
                <a:gd name="connsiteY33" fmla="*/ 501109 h 2663313"/>
                <a:gd name="connsiteX34" fmla="*/ 1443062 w 1793041"/>
                <a:gd name="connsiteY34" fmla="*/ 453578 h 2663313"/>
                <a:gd name="connsiteX35" fmla="*/ 1454945 w 1793041"/>
                <a:gd name="connsiteY35" fmla="*/ 407199 h 2663313"/>
                <a:gd name="connsiteX36" fmla="*/ 1465922 w 1793041"/>
                <a:gd name="connsiteY36" fmla="*/ 389800 h 2663313"/>
                <a:gd name="connsiteX37" fmla="*/ 1506784 w 1793041"/>
                <a:gd name="connsiteY37" fmla="*/ 387413 h 2663313"/>
                <a:gd name="connsiteX38" fmla="*/ 1516362 w 1793041"/>
                <a:gd name="connsiteY38" fmla="*/ 423665 h 2663313"/>
                <a:gd name="connsiteX39" fmla="*/ 1515154 w 1793041"/>
                <a:gd name="connsiteY39" fmla="*/ 461316 h 2663313"/>
                <a:gd name="connsiteX40" fmla="*/ 1507855 w 1793041"/>
                <a:gd name="connsiteY40" fmla="*/ 501850 h 2663313"/>
                <a:gd name="connsiteX41" fmla="*/ 1459802 w 1793041"/>
                <a:gd name="connsiteY41" fmla="*/ 599986 h 2663313"/>
                <a:gd name="connsiteX42" fmla="*/ 1450060 w 1793041"/>
                <a:gd name="connsiteY42" fmla="*/ 629954 h 2663313"/>
                <a:gd name="connsiteX43" fmla="*/ 1450416 w 1793041"/>
                <a:gd name="connsiteY43" fmla="*/ 642550 h 2663313"/>
                <a:gd name="connsiteX44" fmla="*/ 1471602 w 1793041"/>
                <a:gd name="connsiteY44" fmla="*/ 605804 h 2663313"/>
                <a:gd name="connsiteX45" fmla="*/ 1526543 w 1793041"/>
                <a:gd name="connsiteY45" fmla="*/ 535385 h 2663313"/>
                <a:gd name="connsiteX46" fmla="*/ 1556209 w 1793041"/>
                <a:gd name="connsiteY46" fmla="*/ 463073 h 2663313"/>
                <a:gd name="connsiteX47" fmla="*/ 1566912 w 1793041"/>
                <a:gd name="connsiteY47" fmla="*/ 474352 h 2663313"/>
                <a:gd name="connsiteX48" fmla="*/ 1575008 w 1793041"/>
                <a:gd name="connsiteY48" fmla="*/ 509040 h 2663313"/>
                <a:gd name="connsiteX49" fmla="*/ 1596084 w 1793041"/>
                <a:gd name="connsiteY49" fmla="*/ 500752 h 2663313"/>
                <a:gd name="connsiteX50" fmla="*/ 1624899 w 1793041"/>
                <a:gd name="connsiteY50" fmla="*/ 514227 h 2663313"/>
                <a:gd name="connsiteX51" fmla="*/ 1662578 w 1793041"/>
                <a:gd name="connsiteY51" fmla="*/ 454291 h 2663313"/>
                <a:gd name="connsiteX52" fmla="*/ 1735494 w 1793041"/>
                <a:gd name="connsiteY52" fmla="*/ 446607 h 2663313"/>
                <a:gd name="connsiteX53" fmla="*/ 1782723 w 1793041"/>
                <a:gd name="connsiteY53" fmla="*/ 484451 h 2663313"/>
                <a:gd name="connsiteX54" fmla="*/ 1793042 w 1793041"/>
                <a:gd name="connsiteY54" fmla="*/ 516916 h 2663313"/>
                <a:gd name="connsiteX55" fmla="*/ 1784068 w 1793041"/>
                <a:gd name="connsiteY55" fmla="*/ 545539 h 2663313"/>
                <a:gd name="connsiteX56" fmla="*/ 1748694 w 1793041"/>
                <a:gd name="connsiteY56" fmla="*/ 586237 h 2663313"/>
                <a:gd name="connsiteX57" fmla="*/ 1721690 w 1793041"/>
                <a:gd name="connsiteY57" fmla="*/ 599876 h 2663313"/>
                <a:gd name="connsiteX58" fmla="*/ 1715515 w 1793041"/>
                <a:gd name="connsiteY58" fmla="*/ 627401 h 2663313"/>
                <a:gd name="connsiteX59" fmla="*/ 1708380 w 1793041"/>
                <a:gd name="connsiteY59" fmla="*/ 637775 h 2663313"/>
                <a:gd name="connsiteX60" fmla="*/ 1676821 w 1793041"/>
                <a:gd name="connsiteY60" fmla="*/ 657314 h 2663313"/>
                <a:gd name="connsiteX61" fmla="*/ 1632473 w 1793041"/>
                <a:gd name="connsiteY61" fmla="*/ 646557 h 2663313"/>
                <a:gd name="connsiteX62" fmla="*/ 1608735 w 1793041"/>
                <a:gd name="connsiteY62" fmla="*/ 665904 h 2663313"/>
                <a:gd name="connsiteX63" fmla="*/ 1590184 w 1793041"/>
                <a:gd name="connsiteY63" fmla="*/ 667002 h 2663313"/>
                <a:gd name="connsiteX64" fmla="*/ 1591199 w 1793041"/>
                <a:gd name="connsiteY64" fmla="*/ 675207 h 2663313"/>
                <a:gd name="connsiteX65" fmla="*/ 1611946 w 1793041"/>
                <a:gd name="connsiteY65" fmla="*/ 682864 h 2663313"/>
                <a:gd name="connsiteX66" fmla="*/ 1642929 w 1793041"/>
                <a:gd name="connsiteY66" fmla="*/ 678830 h 2663313"/>
                <a:gd name="connsiteX67" fmla="*/ 1655635 w 1793041"/>
                <a:gd name="connsiteY67" fmla="*/ 704022 h 2663313"/>
                <a:gd name="connsiteX68" fmla="*/ 1641941 w 1793041"/>
                <a:gd name="connsiteY68" fmla="*/ 734731 h 2663313"/>
                <a:gd name="connsiteX69" fmla="*/ 1586643 w 1793041"/>
                <a:gd name="connsiteY69" fmla="*/ 731794 h 2663313"/>
                <a:gd name="connsiteX70" fmla="*/ 1569217 w 1793041"/>
                <a:gd name="connsiteY70" fmla="*/ 753282 h 2663313"/>
                <a:gd name="connsiteX71" fmla="*/ 1560792 w 1793041"/>
                <a:gd name="connsiteY71" fmla="*/ 737777 h 2663313"/>
                <a:gd name="connsiteX72" fmla="*/ 1543229 w 1793041"/>
                <a:gd name="connsiteY72" fmla="*/ 773371 h 2663313"/>
                <a:gd name="connsiteX73" fmla="*/ 1539743 w 1793041"/>
                <a:gd name="connsiteY73" fmla="*/ 802707 h 2663313"/>
                <a:gd name="connsiteX74" fmla="*/ 1546714 w 1793041"/>
                <a:gd name="connsiteY74" fmla="*/ 802872 h 2663313"/>
                <a:gd name="connsiteX75" fmla="*/ 1560024 w 1793041"/>
                <a:gd name="connsiteY75" fmla="*/ 777103 h 2663313"/>
                <a:gd name="connsiteX76" fmla="*/ 1578164 w 1793041"/>
                <a:gd name="connsiteY76" fmla="*/ 763134 h 2663313"/>
                <a:gd name="connsiteX77" fmla="*/ 1612659 w 1793041"/>
                <a:gd name="connsiteY77" fmla="*/ 757728 h 2663313"/>
                <a:gd name="connsiteX78" fmla="*/ 1619383 w 1793041"/>
                <a:gd name="connsiteY78" fmla="*/ 773535 h 2663313"/>
                <a:gd name="connsiteX79" fmla="*/ 1605963 w 1793041"/>
                <a:gd name="connsiteY79" fmla="*/ 813355 h 2663313"/>
                <a:gd name="connsiteX80" fmla="*/ 1579920 w 1793041"/>
                <a:gd name="connsiteY80" fmla="*/ 814782 h 2663313"/>
                <a:gd name="connsiteX81" fmla="*/ 1567104 w 1793041"/>
                <a:gd name="connsiteY81" fmla="*/ 833196 h 2663313"/>
                <a:gd name="connsiteX82" fmla="*/ 1562960 w 1793041"/>
                <a:gd name="connsiteY82" fmla="*/ 871068 h 2663313"/>
                <a:gd name="connsiteX83" fmla="*/ 1571742 w 1793041"/>
                <a:gd name="connsiteY83" fmla="*/ 895245 h 2663313"/>
                <a:gd name="connsiteX84" fmla="*/ 1574733 w 1793041"/>
                <a:gd name="connsiteY84" fmla="*/ 916184 h 2663313"/>
                <a:gd name="connsiteX85" fmla="*/ 1568366 w 1793041"/>
                <a:gd name="connsiteY85" fmla="*/ 969725 h 2663313"/>
                <a:gd name="connsiteX86" fmla="*/ 1561094 w 1793041"/>
                <a:gd name="connsiteY86" fmla="*/ 973430 h 2663313"/>
                <a:gd name="connsiteX87" fmla="*/ 1530632 w 1793041"/>
                <a:gd name="connsiteY87" fmla="*/ 957842 h 2663313"/>
                <a:gd name="connsiteX88" fmla="*/ 1520341 w 1793041"/>
                <a:gd name="connsiteY88" fmla="*/ 967749 h 2663313"/>
                <a:gd name="connsiteX89" fmla="*/ 1512437 w 1793041"/>
                <a:gd name="connsiteY89" fmla="*/ 1059738 h 2663313"/>
                <a:gd name="connsiteX90" fmla="*/ 1503354 w 1793041"/>
                <a:gd name="connsiteY90" fmla="*/ 1090584 h 2663313"/>
                <a:gd name="connsiteX91" fmla="*/ 1498305 w 1793041"/>
                <a:gd name="connsiteY91" fmla="*/ 1125080 h 2663313"/>
                <a:gd name="connsiteX92" fmla="*/ 1507059 w 1793041"/>
                <a:gd name="connsiteY92" fmla="*/ 1128483 h 2663313"/>
                <a:gd name="connsiteX93" fmla="*/ 1515648 w 1793041"/>
                <a:gd name="connsiteY93" fmla="*/ 1106556 h 2663313"/>
                <a:gd name="connsiteX94" fmla="*/ 1526708 w 1793041"/>
                <a:gd name="connsiteY94" fmla="*/ 1090584 h 2663313"/>
                <a:gd name="connsiteX95" fmla="*/ 1565320 w 1793041"/>
                <a:gd name="connsiteY95" fmla="*/ 1103784 h 2663313"/>
                <a:gd name="connsiteX96" fmla="*/ 1571605 w 1793041"/>
                <a:gd name="connsiteY96" fmla="*/ 1132544 h 2663313"/>
                <a:gd name="connsiteX97" fmla="*/ 1559640 w 1793041"/>
                <a:gd name="connsiteY97" fmla="*/ 1142094 h 2663313"/>
                <a:gd name="connsiteX98" fmla="*/ 1544958 w 1793041"/>
                <a:gd name="connsiteY98" fmla="*/ 1135563 h 2663313"/>
                <a:gd name="connsiteX99" fmla="*/ 1543009 w 1793041"/>
                <a:gd name="connsiteY99" fmla="*/ 1142232 h 2663313"/>
                <a:gd name="connsiteX100" fmla="*/ 1549403 w 1793041"/>
                <a:gd name="connsiteY100" fmla="*/ 1165037 h 2663313"/>
                <a:gd name="connsiteX101" fmla="*/ 1565787 w 1793041"/>
                <a:gd name="connsiteY101" fmla="*/ 1183616 h 2663313"/>
                <a:gd name="connsiteX102" fmla="*/ 1574925 w 1793041"/>
                <a:gd name="connsiteY102" fmla="*/ 1185948 h 2663313"/>
                <a:gd name="connsiteX103" fmla="*/ 1584613 w 1793041"/>
                <a:gd name="connsiteY103" fmla="*/ 1178237 h 2663313"/>
                <a:gd name="connsiteX104" fmla="*/ 1594355 w 1793041"/>
                <a:gd name="connsiteY104" fmla="*/ 1183122 h 2663313"/>
                <a:gd name="connsiteX105" fmla="*/ 1599185 w 1793041"/>
                <a:gd name="connsiteY105" fmla="*/ 1199862 h 2663313"/>
                <a:gd name="connsiteX106" fmla="*/ 1598910 w 1793041"/>
                <a:gd name="connsiteY106" fmla="*/ 1218084 h 2663313"/>
                <a:gd name="connsiteX107" fmla="*/ 1582033 w 1793041"/>
                <a:gd name="connsiteY107" fmla="*/ 1239956 h 2663313"/>
                <a:gd name="connsiteX108" fmla="*/ 1553712 w 1793041"/>
                <a:gd name="connsiteY108" fmla="*/ 1225302 h 2663313"/>
                <a:gd name="connsiteX109" fmla="*/ 1533294 w 1793041"/>
                <a:gd name="connsiteY109" fmla="*/ 1223573 h 2663313"/>
                <a:gd name="connsiteX110" fmla="*/ 1515264 w 1793041"/>
                <a:gd name="connsiteY110" fmla="*/ 1243963 h 2663313"/>
                <a:gd name="connsiteX111" fmla="*/ 1508980 w 1793041"/>
                <a:gd name="connsiteY111" fmla="*/ 1263941 h 2663313"/>
                <a:gd name="connsiteX112" fmla="*/ 1485900 w 1793041"/>
                <a:gd name="connsiteY112" fmla="*/ 1239078 h 2663313"/>
                <a:gd name="connsiteX113" fmla="*/ 1476570 w 1793041"/>
                <a:gd name="connsiteY113" fmla="*/ 1255434 h 2663313"/>
                <a:gd name="connsiteX114" fmla="*/ 1480521 w 1793041"/>
                <a:gd name="connsiteY114" fmla="*/ 1265451 h 2663313"/>
                <a:gd name="connsiteX115" fmla="*/ 1493639 w 1793041"/>
                <a:gd name="connsiteY115" fmla="*/ 1274589 h 2663313"/>
                <a:gd name="connsiteX116" fmla="*/ 1503628 w 1793041"/>
                <a:gd name="connsiteY116" fmla="*/ 1303871 h 2663313"/>
                <a:gd name="connsiteX117" fmla="*/ 1513700 w 1793041"/>
                <a:gd name="connsiteY117" fmla="*/ 1299233 h 2663313"/>
                <a:gd name="connsiteX118" fmla="*/ 1521247 w 1793041"/>
                <a:gd name="connsiteY118" fmla="*/ 1282877 h 2663313"/>
                <a:gd name="connsiteX119" fmla="*/ 1526296 w 1793041"/>
                <a:gd name="connsiteY119" fmla="*/ 1300331 h 2663313"/>
                <a:gd name="connsiteX120" fmla="*/ 1538591 w 1793041"/>
                <a:gd name="connsiteY120" fmla="*/ 1297751 h 2663313"/>
                <a:gd name="connsiteX121" fmla="*/ 1548937 w 1793041"/>
                <a:gd name="connsiteY121" fmla="*/ 1315946 h 2663313"/>
                <a:gd name="connsiteX122" fmla="*/ 1551352 w 1793041"/>
                <a:gd name="connsiteY122" fmla="*/ 1329777 h 2663313"/>
                <a:gd name="connsiteX123" fmla="*/ 1547839 w 1793041"/>
                <a:gd name="connsiteY123" fmla="*/ 1346517 h 2663313"/>
                <a:gd name="connsiteX124" fmla="*/ 1557663 w 1793041"/>
                <a:gd name="connsiteY124" fmla="*/ 1365892 h 2663313"/>
                <a:gd name="connsiteX125" fmla="*/ 1563591 w 1793041"/>
                <a:gd name="connsiteY125" fmla="*/ 1391661 h 2663313"/>
                <a:gd name="connsiteX126" fmla="*/ 1565018 w 1793041"/>
                <a:gd name="connsiteY126" fmla="*/ 1414192 h 2663313"/>
                <a:gd name="connsiteX127" fmla="*/ 1563125 w 1793041"/>
                <a:gd name="connsiteY127" fmla="*/ 1426376 h 2663313"/>
                <a:gd name="connsiteX128" fmla="*/ 1553712 w 1793041"/>
                <a:gd name="connsiteY128" fmla="*/ 1434225 h 2663313"/>
                <a:gd name="connsiteX129" fmla="*/ 1541116 w 1793041"/>
                <a:gd name="connsiteY129" fmla="*/ 1422232 h 2663313"/>
                <a:gd name="connsiteX130" fmla="*/ 1521082 w 1793041"/>
                <a:gd name="connsiteY130" fmla="*/ 1420531 h 2663313"/>
                <a:gd name="connsiteX131" fmla="*/ 1519820 w 1793041"/>
                <a:gd name="connsiteY131" fmla="*/ 1424894 h 2663313"/>
                <a:gd name="connsiteX132" fmla="*/ 1525336 w 1793041"/>
                <a:gd name="connsiteY132" fmla="*/ 1440098 h 2663313"/>
                <a:gd name="connsiteX133" fmla="*/ 1531867 w 1793041"/>
                <a:gd name="connsiteY133" fmla="*/ 1484994 h 2663313"/>
                <a:gd name="connsiteX134" fmla="*/ 1535298 w 1793041"/>
                <a:gd name="connsiteY134" fmla="*/ 1464851 h 2663313"/>
                <a:gd name="connsiteX135" fmla="*/ 1542735 w 1793041"/>
                <a:gd name="connsiteY135" fmla="*/ 1459857 h 2663313"/>
                <a:gd name="connsiteX136" fmla="*/ 1550336 w 1793041"/>
                <a:gd name="connsiteY136" fmla="*/ 1471383 h 2663313"/>
                <a:gd name="connsiteX137" fmla="*/ 1549870 w 1793041"/>
                <a:gd name="connsiteY137" fmla="*/ 1488589 h 2663313"/>
                <a:gd name="connsiteX138" fmla="*/ 1552065 w 1793041"/>
                <a:gd name="connsiteY138" fmla="*/ 1496905 h 2663313"/>
                <a:gd name="connsiteX139" fmla="*/ 1578959 w 1793041"/>
                <a:gd name="connsiteY139" fmla="*/ 1501378 h 2663313"/>
                <a:gd name="connsiteX140" fmla="*/ 1580277 w 1793041"/>
                <a:gd name="connsiteY140" fmla="*/ 1508239 h 2663313"/>
                <a:gd name="connsiteX141" fmla="*/ 1569931 w 1793041"/>
                <a:gd name="connsiteY141" fmla="*/ 1529644 h 2663313"/>
                <a:gd name="connsiteX142" fmla="*/ 1562109 w 1793041"/>
                <a:gd name="connsiteY142" fmla="*/ 1537410 h 2663313"/>
                <a:gd name="connsiteX143" fmla="*/ 1546988 w 1793041"/>
                <a:gd name="connsiteY143" fmla="*/ 1535874 h 2663313"/>
                <a:gd name="connsiteX144" fmla="*/ 1534858 w 1793041"/>
                <a:gd name="connsiteY144" fmla="*/ 1524238 h 2663313"/>
                <a:gd name="connsiteX145" fmla="*/ 1533569 w 1793041"/>
                <a:gd name="connsiteY145" fmla="*/ 1528519 h 2663313"/>
                <a:gd name="connsiteX146" fmla="*/ 1534310 w 1793041"/>
                <a:gd name="connsiteY146" fmla="*/ 1541774 h 2663313"/>
                <a:gd name="connsiteX147" fmla="*/ 1531538 w 1793041"/>
                <a:gd name="connsiteY147" fmla="*/ 1546878 h 2663313"/>
                <a:gd name="connsiteX148" fmla="*/ 1514414 w 1793041"/>
                <a:gd name="connsiteY148" fmla="*/ 1553767 h 2663313"/>
                <a:gd name="connsiteX149" fmla="*/ 1491828 w 1793041"/>
                <a:gd name="connsiteY149" fmla="*/ 1541308 h 2663313"/>
                <a:gd name="connsiteX150" fmla="*/ 1486230 w 1793041"/>
                <a:gd name="connsiteY150" fmla="*/ 1553163 h 2663313"/>
                <a:gd name="connsiteX151" fmla="*/ 1491361 w 1793041"/>
                <a:gd name="connsiteY151" fmla="*/ 1567241 h 2663313"/>
                <a:gd name="connsiteX152" fmla="*/ 1503601 w 1793041"/>
                <a:gd name="connsiteY152" fmla="*/ 1565347 h 2663313"/>
                <a:gd name="connsiteX153" fmla="*/ 1535105 w 1793041"/>
                <a:gd name="connsiteY153" fmla="*/ 1583103 h 2663313"/>
                <a:gd name="connsiteX154" fmla="*/ 1535517 w 1793041"/>
                <a:gd name="connsiteY154" fmla="*/ 1596495 h 2663313"/>
                <a:gd name="connsiteX155" fmla="*/ 1528272 w 1793041"/>
                <a:gd name="connsiteY155" fmla="*/ 1620179 h 2663313"/>
                <a:gd name="connsiteX156" fmla="*/ 1506483 w 1793041"/>
                <a:gd name="connsiteY156" fmla="*/ 1623746 h 2663313"/>
                <a:gd name="connsiteX157" fmla="*/ 1476652 w 1793041"/>
                <a:gd name="connsiteY157" fmla="*/ 1641118 h 2663313"/>
                <a:gd name="connsiteX158" fmla="*/ 1438945 w 1793041"/>
                <a:gd name="connsiteY158" fmla="*/ 1616227 h 2663313"/>
                <a:gd name="connsiteX159" fmla="*/ 1425690 w 1793041"/>
                <a:gd name="connsiteY159" fmla="*/ 1592214 h 2663313"/>
                <a:gd name="connsiteX160" fmla="*/ 1410624 w 1793041"/>
                <a:gd name="connsiteY160" fmla="*/ 1615239 h 2663313"/>
                <a:gd name="connsiteX161" fmla="*/ 1392567 w 1793041"/>
                <a:gd name="connsiteY161" fmla="*/ 1626024 h 2663313"/>
                <a:gd name="connsiteX162" fmla="*/ 1377775 w 1793041"/>
                <a:gd name="connsiteY162" fmla="*/ 1641831 h 2663313"/>
                <a:gd name="connsiteX163" fmla="*/ 1363011 w 1793041"/>
                <a:gd name="connsiteY163" fmla="*/ 1641502 h 2663313"/>
                <a:gd name="connsiteX164" fmla="*/ 1358702 w 1793041"/>
                <a:gd name="connsiteY164" fmla="*/ 1647649 h 2663313"/>
                <a:gd name="connsiteX165" fmla="*/ 1361556 w 1793041"/>
                <a:gd name="connsiteY165" fmla="*/ 1653275 h 2663313"/>
                <a:gd name="connsiteX166" fmla="*/ 1377006 w 1793041"/>
                <a:gd name="connsiteY166" fmla="*/ 1655004 h 2663313"/>
                <a:gd name="connsiteX167" fmla="*/ 1398138 w 1793041"/>
                <a:gd name="connsiteY167" fmla="*/ 1632528 h 2663313"/>
                <a:gd name="connsiteX168" fmla="*/ 1430191 w 1793041"/>
                <a:gd name="connsiteY168" fmla="*/ 1634202 h 2663313"/>
                <a:gd name="connsiteX169" fmla="*/ 1448550 w 1793041"/>
                <a:gd name="connsiteY169" fmla="*/ 1645646 h 2663313"/>
                <a:gd name="connsiteX170" fmla="*/ 1463918 w 1793041"/>
                <a:gd name="connsiteY170" fmla="*/ 1666502 h 2663313"/>
                <a:gd name="connsiteX171" fmla="*/ 1486312 w 1793041"/>
                <a:gd name="connsiteY171" fmla="*/ 1681376 h 2663313"/>
                <a:gd name="connsiteX172" fmla="*/ 1487711 w 1793041"/>
                <a:gd name="connsiteY172" fmla="*/ 1688265 h 2663313"/>
                <a:gd name="connsiteX173" fmla="*/ 1486833 w 1793041"/>
                <a:gd name="connsiteY173" fmla="*/ 1696113 h 2663313"/>
                <a:gd name="connsiteX174" fmla="*/ 1478875 w 1793041"/>
                <a:gd name="connsiteY174" fmla="*/ 1706816 h 2663313"/>
                <a:gd name="connsiteX175" fmla="*/ 1480576 w 1793041"/>
                <a:gd name="connsiteY175" fmla="*/ 1719412 h 2663313"/>
                <a:gd name="connsiteX176" fmla="*/ 1476515 w 1793041"/>
                <a:gd name="connsiteY176" fmla="*/ 1732228 h 2663313"/>
                <a:gd name="connsiteX177" fmla="*/ 1481564 w 1793041"/>
                <a:gd name="connsiteY177" fmla="*/ 1746910 h 2663313"/>
                <a:gd name="connsiteX178" fmla="*/ 1477997 w 1793041"/>
                <a:gd name="connsiteY178" fmla="*/ 1751795 h 2663313"/>
                <a:gd name="connsiteX179" fmla="*/ 1467513 w 1793041"/>
                <a:gd name="connsiteY179" fmla="*/ 1748502 h 2663313"/>
                <a:gd name="connsiteX180" fmla="*/ 1426569 w 1793041"/>
                <a:gd name="connsiteY180" fmla="*/ 1714116 h 2663313"/>
                <a:gd name="connsiteX181" fmla="*/ 1419708 w 1793041"/>
                <a:gd name="connsiteY181" fmla="*/ 1698034 h 2663313"/>
                <a:gd name="connsiteX182" fmla="*/ 1415097 w 1793041"/>
                <a:gd name="connsiteY182" fmla="*/ 1676052 h 2663313"/>
                <a:gd name="connsiteX183" fmla="*/ 1407139 w 1793041"/>
                <a:gd name="connsiteY183" fmla="*/ 1667381 h 2663313"/>
                <a:gd name="connsiteX184" fmla="*/ 1401211 w 1793041"/>
                <a:gd name="connsiteY184" fmla="*/ 1667765 h 2663313"/>
                <a:gd name="connsiteX185" fmla="*/ 1366413 w 1793041"/>
                <a:gd name="connsiteY185" fmla="*/ 1699022 h 2663313"/>
                <a:gd name="connsiteX186" fmla="*/ 1401458 w 1793041"/>
                <a:gd name="connsiteY186" fmla="*/ 1684258 h 2663313"/>
                <a:gd name="connsiteX187" fmla="*/ 1406617 w 1793041"/>
                <a:gd name="connsiteY187" fmla="*/ 1714555 h 2663313"/>
                <a:gd name="connsiteX188" fmla="*/ 1394488 w 1793041"/>
                <a:gd name="connsiteY188" fmla="*/ 1728414 h 2663313"/>
                <a:gd name="connsiteX189" fmla="*/ 1392512 w 1793041"/>
                <a:gd name="connsiteY189" fmla="*/ 1740845 h 2663313"/>
                <a:gd name="connsiteX190" fmla="*/ 1413039 w 1793041"/>
                <a:gd name="connsiteY190" fmla="*/ 1733902 h 2663313"/>
                <a:gd name="connsiteX191" fmla="*/ 1464385 w 1793041"/>
                <a:gd name="connsiteY191" fmla="*/ 1774271 h 2663313"/>
                <a:gd name="connsiteX192" fmla="*/ 1466333 w 1793041"/>
                <a:gd name="connsiteY192" fmla="*/ 1794194 h 2663313"/>
                <a:gd name="connsiteX193" fmla="*/ 1481345 w 1793041"/>
                <a:gd name="connsiteY193" fmla="*/ 1800369 h 2663313"/>
                <a:gd name="connsiteX194" fmla="*/ 1478052 w 1793041"/>
                <a:gd name="connsiteY194" fmla="*/ 1816039 h 2663313"/>
                <a:gd name="connsiteX195" fmla="*/ 1479396 w 1793041"/>
                <a:gd name="connsiteY195" fmla="*/ 1826248 h 2663313"/>
                <a:gd name="connsiteX196" fmla="*/ 1495807 w 1793041"/>
                <a:gd name="connsiteY196" fmla="*/ 1817987 h 2663313"/>
                <a:gd name="connsiteX197" fmla="*/ 1497316 w 1793041"/>
                <a:gd name="connsiteY197" fmla="*/ 1906134 h 2663313"/>
                <a:gd name="connsiteX198" fmla="*/ 1492349 w 1793041"/>
                <a:gd name="connsiteY198" fmla="*/ 1909565 h 2663313"/>
                <a:gd name="connsiteX199" fmla="*/ 1483650 w 1793041"/>
                <a:gd name="connsiteY199" fmla="*/ 1906409 h 2663313"/>
                <a:gd name="connsiteX200" fmla="*/ 1474841 w 1793041"/>
                <a:gd name="connsiteY200" fmla="*/ 1887363 h 2663313"/>
                <a:gd name="connsiteX201" fmla="*/ 1467047 w 1793041"/>
                <a:gd name="connsiteY201" fmla="*/ 1906189 h 2663313"/>
                <a:gd name="connsiteX202" fmla="*/ 1448495 w 1793041"/>
                <a:gd name="connsiteY202" fmla="*/ 1904186 h 2663313"/>
                <a:gd name="connsiteX203" fmla="*/ 1432030 w 1793041"/>
                <a:gd name="connsiteY203" fmla="*/ 1889147 h 2663313"/>
                <a:gd name="connsiteX204" fmla="*/ 1421162 w 1793041"/>
                <a:gd name="connsiteY204" fmla="*/ 1855749 h 2663313"/>
                <a:gd name="connsiteX205" fmla="*/ 1410103 w 1793041"/>
                <a:gd name="connsiteY205" fmla="*/ 1834728 h 2663313"/>
                <a:gd name="connsiteX206" fmla="*/ 1397232 w 1793041"/>
                <a:gd name="connsiteY206" fmla="*/ 1829980 h 2663313"/>
                <a:gd name="connsiteX207" fmla="*/ 1376128 w 1793041"/>
                <a:gd name="connsiteY207" fmla="*/ 1812417 h 2663313"/>
                <a:gd name="connsiteX208" fmla="*/ 1346215 w 1793041"/>
                <a:gd name="connsiteY208" fmla="*/ 1808382 h 2663313"/>
                <a:gd name="connsiteX209" fmla="*/ 1322285 w 1793041"/>
                <a:gd name="connsiteY209" fmla="*/ 1782010 h 2663313"/>
                <a:gd name="connsiteX210" fmla="*/ 1314958 w 1793041"/>
                <a:gd name="connsiteY210" fmla="*/ 1779924 h 2663313"/>
                <a:gd name="connsiteX211" fmla="*/ 1313421 w 1793041"/>
                <a:gd name="connsiteY211" fmla="*/ 1782723 h 2663313"/>
                <a:gd name="connsiteX212" fmla="*/ 1337050 w 1793041"/>
                <a:gd name="connsiteY212" fmla="*/ 1815051 h 2663313"/>
                <a:gd name="connsiteX213" fmla="*/ 1373960 w 1793041"/>
                <a:gd name="connsiteY213" fmla="*/ 1819716 h 2663313"/>
                <a:gd name="connsiteX214" fmla="*/ 1382907 w 1793041"/>
                <a:gd name="connsiteY214" fmla="*/ 1833740 h 2663313"/>
                <a:gd name="connsiteX215" fmla="*/ 1371024 w 1793041"/>
                <a:gd name="connsiteY215" fmla="*/ 1854048 h 2663313"/>
                <a:gd name="connsiteX216" fmla="*/ 1352335 w 1793041"/>
                <a:gd name="connsiteY216" fmla="*/ 1864778 h 2663313"/>
                <a:gd name="connsiteX217" fmla="*/ 1319404 w 1793041"/>
                <a:gd name="connsiteY217" fmla="*/ 1863708 h 2663313"/>
                <a:gd name="connsiteX218" fmla="*/ 1315123 w 1793041"/>
                <a:gd name="connsiteY218" fmla="*/ 1870568 h 2663313"/>
                <a:gd name="connsiteX219" fmla="*/ 1310924 w 1793041"/>
                <a:gd name="connsiteY219" fmla="*/ 1888681 h 2663313"/>
                <a:gd name="connsiteX220" fmla="*/ 1303157 w 1793041"/>
                <a:gd name="connsiteY220" fmla="*/ 1905860 h 2663313"/>
                <a:gd name="connsiteX221" fmla="*/ 1304612 w 1793041"/>
                <a:gd name="connsiteY221" fmla="*/ 1909976 h 2663313"/>
                <a:gd name="connsiteX222" fmla="*/ 1313586 w 1793041"/>
                <a:gd name="connsiteY222" fmla="*/ 1911156 h 2663313"/>
                <a:gd name="connsiteX223" fmla="*/ 1327197 w 1793041"/>
                <a:gd name="connsiteY223" fmla="*/ 1877347 h 2663313"/>
                <a:gd name="connsiteX224" fmla="*/ 1340535 w 1793041"/>
                <a:gd name="connsiteY224" fmla="*/ 1876715 h 2663313"/>
                <a:gd name="connsiteX225" fmla="*/ 1378433 w 1793041"/>
                <a:gd name="connsiteY225" fmla="*/ 1858823 h 2663313"/>
                <a:gd name="connsiteX226" fmla="*/ 1388148 w 1793041"/>
                <a:gd name="connsiteY226" fmla="*/ 1871474 h 2663313"/>
                <a:gd name="connsiteX227" fmla="*/ 1389438 w 1793041"/>
                <a:gd name="connsiteY227" fmla="*/ 1881161 h 2663313"/>
                <a:gd name="connsiteX228" fmla="*/ 1386310 w 1793041"/>
                <a:gd name="connsiteY228" fmla="*/ 1891809 h 2663313"/>
                <a:gd name="connsiteX229" fmla="*/ 1367539 w 1793041"/>
                <a:gd name="connsiteY229" fmla="*/ 1904652 h 2663313"/>
                <a:gd name="connsiteX230" fmla="*/ 1354256 w 1793041"/>
                <a:gd name="connsiteY230" fmla="*/ 1906628 h 2663313"/>
                <a:gd name="connsiteX231" fmla="*/ 1351320 w 1793041"/>
                <a:gd name="connsiteY231" fmla="*/ 1918072 h 2663313"/>
                <a:gd name="connsiteX232" fmla="*/ 1313970 w 1793041"/>
                <a:gd name="connsiteY232" fmla="*/ 1942194 h 2663313"/>
                <a:gd name="connsiteX233" fmla="*/ 1331780 w 1793041"/>
                <a:gd name="connsiteY233" fmla="*/ 1947930 h 2663313"/>
                <a:gd name="connsiteX234" fmla="*/ 1346215 w 1793041"/>
                <a:gd name="connsiteY234" fmla="*/ 1931986 h 2663313"/>
                <a:gd name="connsiteX235" fmla="*/ 1365892 w 1793041"/>
                <a:gd name="connsiteY235" fmla="*/ 1929955 h 2663313"/>
                <a:gd name="connsiteX236" fmla="*/ 1393582 w 1793041"/>
                <a:gd name="connsiteY236" fmla="*/ 1915163 h 2663313"/>
                <a:gd name="connsiteX237" fmla="*/ 1400882 w 1793041"/>
                <a:gd name="connsiteY237" fmla="*/ 1921969 h 2663313"/>
                <a:gd name="connsiteX238" fmla="*/ 1435103 w 1793041"/>
                <a:gd name="connsiteY238" fmla="*/ 1934812 h 2663313"/>
                <a:gd name="connsiteX239" fmla="*/ 1474484 w 1793041"/>
                <a:gd name="connsiteY239" fmla="*/ 1941728 h 2663313"/>
                <a:gd name="connsiteX240" fmla="*/ 1476021 w 1793041"/>
                <a:gd name="connsiteY240" fmla="*/ 1947656 h 2663313"/>
                <a:gd name="connsiteX241" fmla="*/ 1464275 w 1793041"/>
                <a:gd name="connsiteY241" fmla="*/ 1955806 h 2663313"/>
                <a:gd name="connsiteX242" fmla="*/ 1450416 w 1793041"/>
                <a:gd name="connsiteY242" fmla="*/ 1975757 h 2663313"/>
                <a:gd name="connsiteX243" fmla="*/ 1403215 w 1793041"/>
                <a:gd name="connsiteY243" fmla="*/ 2012915 h 2663313"/>
                <a:gd name="connsiteX244" fmla="*/ 1392896 w 1793041"/>
                <a:gd name="connsiteY244" fmla="*/ 2027789 h 2663313"/>
                <a:gd name="connsiteX245" fmla="*/ 1363889 w 1793041"/>
                <a:gd name="connsiteY245" fmla="*/ 2051912 h 2663313"/>
                <a:gd name="connsiteX246" fmla="*/ 1324645 w 1793041"/>
                <a:gd name="connsiteY246" fmla="*/ 2069804 h 2663313"/>
                <a:gd name="connsiteX247" fmla="*/ 1310567 w 1793041"/>
                <a:gd name="connsiteY247" fmla="*/ 2071725 h 2663313"/>
                <a:gd name="connsiteX248" fmla="*/ 1273519 w 1793041"/>
                <a:gd name="connsiteY248" fmla="*/ 2090332 h 2663313"/>
                <a:gd name="connsiteX249" fmla="*/ 1258892 w 1793041"/>
                <a:gd name="connsiteY249" fmla="*/ 2086078 h 2663313"/>
                <a:gd name="connsiteX250" fmla="*/ 1249205 w 1793041"/>
                <a:gd name="connsiteY250" fmla="*/ 2098729 h 2663313"/>
                <a:gd name="connsiteX251" fmla="*/ 1241548 w 1793041"/>
                <a:gd name="connsiteY251" fmla="*/ 2098180 h 2663313"/>
                <a:gd name="connsiteX252" fmla="*/ 1234166 w 1793041"/>
                <a:gd name="connsiteY252" fmla="*/ 2103916 h 2663313"/>
                <a:gd name="connsiteX253" fmla="*/ 1211992 w 1793041"/>
                <a:gd name="connsiteY253" fmla="*/ 2105425 h 2663313"/>
                <a:gd name="connsiteX254" fmla="*/ 1198655 w 1793041"/>
                <a:gd name="connsiteY254" fmla="*/ 2097439 h 2663313"/>
                <a:gd name="connsiteX255" fmla="*/ 1192151 w 1793041"/>
                <a:gd name="connsiteY255" fmla="*/ 2084816 h 2663313"/>
                <a:gd name="connsiteX256" fmla="*/ 1180679 w 1793041"/>
                <a:gd name="connsiteY256" fmla="*/ 2072686 h 2663313"/>
                <a:gd name="connsiteX257" fmla="*/ 1181311 w 1793041"/>
                <a:gd name="connsiteY257" fmla="*/ 2078559 h 2663313"/>
                <a:gd name="connsiteX258" fmla="*/ 1189818 w 1793041"/>
                <a:gd name="connsiteY258" fmla="*/ 2097851 h 2663313"/>
                <a:gd name="connsiteX259" fmla="*/ 1189049 w 1793041"/>
                <a:gd name="connsiteY259" fmla="*/ 2116101 h 2663313"/>
                <a:gd name="connsiteX260" fmla="*/ 1161908 w 1793041"/>
                <a:gd name="connsiteY260" fmla="*/ 2140058 h 2663313"/>
                <a:gd name="connsiteX261" fmla="*/ 1147199 w 1793041"/>
                <a:gd name="connsiteY261" fmla="*/ 2181772 h 2663313"/>
                <a:gd name="connsiteX262" fmla="*/ 1131255 w 1793041"/>
                <a:gd name="connsiteY262" fmla="*/ 2212151 h 2663313"/>
                <a:gd name="connsiteX263" fmla="*/ 1123406 w 1793041"/>
                <a:gd name="connsiteY263" fmla="*/ 2219725 h 2663313"/>
                <a:gd name="connsiteX264" fmla="*/ 1115612 w 1793041"/>
                <a:gd name="connsiteY264" fmla="*/ 2234600 h 2663313"/>
                <a:gd name="connsiteX265" fmla="*/ 1094947 w 1793041"/>
                <a:gd name="connsiteY265" fmla="*/ 2244753 h 2663313"/>
                <a:gd name="connsiteX266" fmla="*/ 1071841 w 1793041"/>
                <a:gd name="connsiteY266" fmla="*/ 2268272 h 2663313"/>
                <a:gd name="connsiteX267" fmla="*/ 1062867 w 1793041"/>
                <a:gd name="connsiteY267" fmla="*/ 2268546 h 2663313"/>
                <a:gd name="connsiteX268" fmla="*/ 1047224 w 1793041"/>
                <a:gd name="connsiteY268" fmla="*/ 2292916 h 2663313"/>
                <a:gd name="connsiteX269" fmla="*/ 1046236 w 1793041"/>
                <a:gd name="connsiteY269" fmla="*/ 2289924 h 2663313"/>
                <a:gd name="connsiteX270" fmla="*/ 1047801 w 1793041"/>
                <a:gd name="connsiteY270" fmla="*/ 2279716 h 2663313"/>
                <a:gd name="connsiteX271" fmla="*/ 1046456 w 1793041"/>
                <a:gd name="connsiteY271" fmla="*/ 2276697 h 2663313"/>
                <a:gd name="connsiteX272" fmla="*/ 1033612 w 1793041"/>
                <a:gd name="connsiteY272" fmla="*/ 2289513 h 2663313"/>
                <a:gd name="connsiteX273" fmla="*/ 1025654 w 1793041"/>
                <a:gd name="connsiteY273" fmla="*/ 2288223 h 2663313"/>
                <a:gd name="connsiteX274" fmla="*/ 1027493 w 1793041"/>
                <a:gd name="connsiteY274" fmla="*/ 2267998 h 2663313"/>
                <a:gd name="connsiteX275" fmla="*/ 1033969 w 1793041"/>
                <a:gd name="connsiteY275" fmla="*/ 2249007 h 2663313"/>
                <a:gd name="connsiteX276" fmla="*/ 1026121 w 1793041"/>
                <a:gd name="connsiteY276" fmla="*/ 2243710 h 2663313"/>
                <a:gd name="connsiteX277" fmla="*/ 1019232 w 1793041"/>
                <a:gd name="connsiteY277" fmla="*/ 2270687 h 2663313"/>
                <a:gd name="connsiteX278" fmla="*/ 1012234 w 1793041"/>
                <a:gd name="connsiteY278" fmla="*/ 2287153 h 2663313"/>
                <a:gd name="connsiteX279" fmla="*/ 998129 w 1793041"/>
                <a:gd name="connsiteY279" fmla="*/ 2294013 h 2663313"/>
                <a:gd name="connsiteX280" fmla="*/ 971509 w 1793041"/>
                <a:gd name="connsiteY280" fmla="*/ 2293547 h 2663313"/>
                <a:gd name="connsiteX281" fmla="*/ 965938 w 1793041"/>
                <a:gd name="connsiteY281" fmla="*/ 2300243 h 2663313"/>
                <a:gd name="connsiteX282" fmla="*/ 962508 w 1793041"/>
                <a:gd name="connsiteY282" fmla="*/ 2317093 h 2663313"/>
                <a:gd name="connsiteX283" fmla="*/ 954906 w 1793041"/>
                <a:gd name="connsiteY283" fmla="*/ 2328948 h 2663313"/>
                <a:gd name="connsiteX284" fmla="*/ 940663 w 1793041"/>
                <a:gd name="connsiteY284" fmla="*/ 2328345 h 2663313"/>
                <a:gd name="connsiteX285" fmla="*/ 931552 w 1793041"/>
                <a:gd name="connsiteY285" fmla="*/ 2334711 h 2663313"/>
                <a:gd name="connsiteX286" fmla="*/ 931881 w 1793041"/>
                <a:gd name="connsiteY286" fmla="*/ 2341984 h 2663313"/>
                <a:gd name="connsiteX287" fmla="*/ 940855 w 1793041"/>
                <a:gd name="connsiteY287" fmla="*/ 2347527 h 2663313"/>
                <a:gd name="connsiteX288" fmla="*/ 947003 w 1793041"/>
                <a:gd name="connsiteY288" fmla="*/ 2362017 h 2663313"/>
                <a:gd name="connsiteX289" fmla="*/ 948018 w 1793041"/>
                <a:gd name="connsiteY289" fmla="*/ 2364569 h 2663313"/>
                <a:gd name="connsiteX290" fmla="*/ 939346 w 1793041"/>
                <a:gd name="connsiteY290" fmla="*/ 2385892 h 2663313"/>
                <a:gd name="connsiteX291" fmla="*/ 942392 w 1793041"/>
                <a:gd name="connsiteY291" fmla="*/ 2404801 h 2663313"/>
                <a:gd name="connsiteX292" fmla="*/ 942502 w 1793041"/>
                <a:gd name="connsiteY292" fmla="*/ 2419840 h 2663313"/>
                <a:gd name="connsiteX293" fmla="*/ 940800 w 1793041"/>
                <a:gd name="connsiteY293" fmla="*/ 2425410 h 2663313"/>
                <a:gd name="connsiteX294" fmla="*/ 933226 w 1793041"/>
                <a:gd name="connsiteY294" fmla="*/ 2441794 h 2663313"/>
                <a:gd name="connsiteX295" fmla="*/ 924993 w 1793041"/>
                <a:gd name="connsiteY295" fmla="*/ 2445224 h 2663313"/>
                <a:gd name="connsiteX296" fmla="*/ 923511 w 1793041"/>
                <a:gd name="connsiteY296" fmla="*/ 2459632 h 2663313"/>
                <a:gd name="connsiteX297" fmla="*/ 915278 w 1793041"/>
                <a:gd name="connsiteY297" fmla="*/ 2465697 h 2663313"/>
                <a:gd name="connsiteX298" fmla="*/ 913028 w 1793041"/>
                <a:gd name="connsiteY298" fmla="*/ 2475027 h 2663313"/>
                <a:gd name="connsiteX299" fmla="*/ 905866 w 1793041"/>
                <a:gd name="connsiteY299" fmla="*/ 2484660 h 2663313"/>
                <a:gd name="connsiteX300" fmla="*/ 896480 w 1793041"/>
                <a:gd name="connsiteY300" fmla="*/ 2491027 h 2663313"/>
                <a:gd name="connsiteX301" fmla="*/ 886683 w 1793041"/>
                <a:gd name="connsiteY301" fmla="*/ 2491301 h 2663313"/>
                <a:gd name="connsiteX302" fmla="*/ 889619 w 1793041"/>
                <a:gd name="connsiteY302" fmla="*/ 2502470 h 2663313"/>
                <a:gd name="connsiteX303" fmla="*/ 888192 w 1793041"/>
                <a:gd name="connsiteY303" fmla="*/ 2511774 h 2663313"/>
                <a:gd name="connsiteX304" fmla="*/ 891211 w 1793041"/>
                <a:gd name="connsiteY304" fmla="*/ 2520418 h 2663313"/>
                <a:gd name="connsiteX305" fmla="*/ 893955 w 1793041"/>
                <a:gd name="connsiteY305" fmla="*/ 2539326 h 2663313"/>
                <a:gd name="connsiteX306" fmla="*/ 885887 w 1793041"/>
                <a:gd name="connsiteY306" fmla="*/ 2574096 h 2663313"/>
                <a:gd name="connsiteX307" fmla="*/ 880563 w 1793041"/>
                <a:gd name="connsiteY307" fmla="*/ 2588532 h 2663313"/>
                <a:gd name="connsiteX308" fmla="*/ 875925 w 1793041"/>
                <a:gd name="connsiteY308" fmla="*/ 2612654 h 2663313"/>
                <a:gd name="connsiteX309" fmla="*/ 863988 w 1793041"/>
                <a:gd name="connsiteY309" fmla="*/ 2629120 h 2663313"/>
                <a:gd name="connsiteX310" fmla="*/ 867610 w 1793041"/>
                <a:gd name="connsiteY310" fmla="*/ 2641743 h 2663313"/>
                <a:gd name="connsiteX311" fmla="*/ 867034 w 1793041"/>
                <a:gd name="connsiteY311" fmla="*/ 2650443 h 2663313"/>
                <a:gd name="connsiteX312" fmla="*/ 853202 w 1793041"/>
                <a:gd name="connsiteY312" fmla="*/ 2662161 h 2663313"/>
                <a:gd name="connsiteX313" fmla="*/ 840606 w 1793041"/>
                <a:gd name="connsiteY313" fmla="*/ 2663314 h 2663313"/>
                <a:gd name="connsiteX314" fmla="*/ 807098 w 1793041"/>
                <a:gd name="connsiteY314" fmla="*/ 2647040 h 2663313"/>
                <a:gd name="connsiteX315" fmla="*/ 804272 w 1793041"/>
                <a:gd name="connsiteY315" fmla="*/ 2640399 h 2663313"/>
                <a:gd name="connsiteX316" fmla="*/ 803503 w 1793041"/>
                <a:gd name="connsiteY316" fmla="*/ 2624948 h 2663313"/>
                <a:gd name="connsiteX317" fmla="*/ 797987 w 1793041"/>
                <a:gd name="connsiteY317" fmla="*/ 2621573 h 2663313"/>
                <a:gd name="connsiteX318" fmla="*/ 788163 w 1793041"/>
                <a:gd name="connsiteY318" fmla="*/ 2622067 h 2663313"/>
                <a:gd name="connsiteX319" fmla="*/ 779024 w 1793041"/>
                <a:gd name="connsiteY319" fmla="*/ 2614822 h 2663313"/>
                <a:gd name="connsiteX320" fmla="*/ 769666 w 1793041"/>
                <a:gd name="connsiteY320" fmla="*/ 2611995 h 2663313"/>
                <a:gd name="connsiteX321" fmla="*/ 766290 w 1793041"/>
                <a:gd name="connsiteY321" fmla="*/ 2602363 h 2663313"/>
                <a:gd name="connsiteX322" fmla="*/ 757152 w 1793041"/>
                <a:gd name="connsiteY322" fmla="*/ 2606479 h 2663313"/>
                <a:gd name="connsiteX323" fmla="*/ 752953 w 1793041"/>
                <a:gd name="connsiteY323" fmla="*/ 2606095 h 2663313"/>
                <a:gd name="connsiteX324" fmla="*/ 743458 w 1793041"/>
                <a:gd name="connsiteY324" fmla="*/ 2605519 h 2663313"/>
                <a:gd name="connsiteX325" fmla="*/ 729270 w 1793041"/>
                <a:gd name="connsiteY325" fmla="*/ 2610678 h 2663313"/>
                <a:gd name="connsiteX326" fmla="*/ 722519 w 1793041"/>
                <a:gd name="connsiteY326" fmla="*/ 2607879 h 2663313"/>
                <a:gd name="connsiteX327" fmla="*/ 706986 w 1793041"/>
                <a:gd name="connsiteY327" fmla="*/ 2576402 h 2663313"/>
                <a:gd name="connsiteX328" fmla="*/ 693621 w 1793041"/>
                <a:gd name="connsiteY328" fmla="*/ 2563531 h 2663313"/>
                <a:gd name="connsiteX329" fmla="*/ 690328 w 1793041"/>
                <a:gd name="connsiteY329" fmla="*/ 2552142 h 2663313"/>
                <a:gd name="connsiteX330" fmla="*/ 684785 w 1793041"/>
                <a:gd name="connsiteY330" fmla="*/ 2548218 h 2663313"/>
                <a:gd name="connsiteX331" fmla="*/ 680613 w 1793041"/>
                <a:gd name="connsiteY331" fmla="*/ 2524123 h 2663313"/>
                <a:gd name="connsiteX332" fmla="*/ 664806 w 1793041"/>
                <a:gd name="connsiteY332" fmla="*/ 2511609 h 2663313"/>
                <a:gd name="connsiteX333" fmla="*/ 653061 w 1793041"/>
                <a:gd name="connsiteY333" fmla="*/ 2480379 h 2663313"/>
                <a:gd name="connsiteX334" fmla="*/ 635579 w 1793041"/>
                <a:gd name="connsiteY334" fmla="*/ 2457491 h 2663313"/>
                <a:gd name="connsiteX335" fmla="*/ 624767 w 1793041"/>
                <a:gd name="connsiteY335" fmla="*/ 2430762 h 2663313"/>
                <a:gd name="connsiteX336" fmla="*/ 623093 w 1793041"/>
                <a:gd name="connsiteY336" fmla="*/ 2405789 h 2663313"/>
                <a:gd name="connsiteX337" fmla="*/ 619909 w 1793041"/>
                <a:gd name="connsiteY337" fmla="*/ 2391875 h 2663313"/>
                <a:gd name="connsiteX338" fmla="*/ 627539 w 1793041"/>
                <a:gd name="connsiteY338" fmla="*/ 2375876 h 2663313"/>
                <a:gd name="connsiteX339" fmla="*/ 627895 w 1793041"/>
                <a:gd name="connsiteY339" fmla="*/ 2386387 h 2663313"/>
                <a:gd name="connsiteX340" fmla="*/ 629542 w 1793041"/>
                <a:gd name="connsiteY340" fmla="*/ 2387951 h 2663313"/>
                <a:gd name="connsiteX341" fmla="*/ 642221 w 1793041"/>
                <a:gd name="connsiteY341" fmla="*/ 2377056 h 2663313"/>
                <a:gd name="connsiteX342" fmla="*/ 642934 w 1793041"/>
                <a:gd name="connsiteY342" fmla="*/ 2372473 h 2663313"/>
                <a:gd name="connsiteX343" fmla="*/ 639723 w 1793041"/>
                <a:gd name="connsiteY343" fmla="*/ 2368247 h 2663313"/>
                <a:gd name="connsiteX344" fmla="*/ 644937 w 1793041"/>
                <a:gd name="connsiteY344" fmla="*/ 2362017 h 2663313"/>
                <a:gd name="connsiteX345" fmla="*/ 649877 w 1793041"/>
                <a:gd name="connsiteY345" fmla="*/ 2358998 h 2663313"/>
                <a:gd name="connsiteX346" fmla="*/ 654762 w 1793041"/>
                <a:gd name="connsiteY346" fmla="*/ 2362017 h 2663313"/>
                <a:gd name="connsiteX347" fmla="*/ 661980 w 1793041"/>
                <a:gd name="connsiteY347" fmla="*/ 2366463 h 2663313"/>
                <a:gd name="connsiteX348" fmla="*/ 661294 w 1793041"/>
                <a:gd name="connsiteY348" fmla="*/ 2362017 h 2663313"/>
                <a:gd name="connsiteX349" fmla="*/ 660855 w 1793041"/>
                <a:gd name="connsiteY349" fmla="*/ 2359108 h 2663313"/>
                <a:gd name="connsiteX350" fmla="*/ 648697 w 1793041"/>
                <a:gd name="connsiteY350" fmla="*/ 2349860 h 2663313"/>
                <a:gd name="connsiteX351" fmla="*/ 636348 w 1793041"/>
                <a:gd name="connsiteY351" fmla="*/ 2358779 h 2663313"/>
                <a:gd name="connsiteX352" fmla="*/ 629816 w 1793041"/>
                <a:gd name="connsiteY352" fmla="*/ 2358038 h 2663313"/>
                <a:gd name="connsiteX353" fmla="*/ 627621 w 1793041"/>
                <a:gd name="connsiteY353" fmla="*/ 2362045 h 2663313"/>
                <a:gd name="connsiteX354" fmla="*/ 614942 w 1793041"/>
                <a:gd name="connsiteY354" fmla="*/ 2384932 h 2663313"/>
                <a:gd name="connsiteX355" fmla="*/ 606984 w 1793041"/>
                <a:gd name="connsiteY355" fmla="*/ 2391683 h 2663313"/>
                <a:gd name="connsiteX356" fmla="*/ 603993 w 1793041"/>
                <a:gd name="connsiteY356" fmla="*/ 2381090 h 2663313"/>
                <a:gd name="connsiteX357" fmla="*/ 604651 w 1793041"/>
                <a:gd name="connsiteY357" fmla="*/ 2362045 h 2663313"/>
                <a:gd name="connsiteX358" fmla="*/ 604761 w 1793041"/>
                <a:gd name="connsiteY358" fmla="*/ 2348131 h 2663313"/>
                <a:gd name="connsiteX359" fmla="*/ 601523 w 1793041"/>
                <a:gd name="connsiteY359" fmla="*/ 2327412 h 2663313"/>
                <a:gd name="connsiteX360" fmla="*/ 588240 w 1793041"/>
                <a:gd name="connsiteY360" fmla="*/ 2308586 h 2663313"/>
                <a:gd name="connsiteX361" fmla="*/ 585276 w 1793041"/>
                <a:gd name="connsiteY361" fmla="*/ 2314898 h 2663313"/>
                <a:gd name="connsiteX362" fmla="*/ 585002 w 1793041"/>
                <a:gd name="connsiteY362" fmla="*/ 2305704 h 2663313"/>
                <a:gd name="connsiteX363" fmla="*/ 574875 w 1793041"/>
                <a:gd name="connsiteY363" fmla="*/ 2297663 h 2663313"/>
                <a:gd name="connsiteX364" fmla="*/ 562142 w 1793041"/>
                <a:gd name="connsiteY364" fmla="*/ 2255648 h 2663313"/>
                <a:gd name="connsiteX365" fmla="*/ 560468 w 1793041"/>
                <a:gd name="connsiteY365" fmla="*/ 2231004 h 2663313"/>
                <a:gd name="connsiteX366" fmla="*/ 564502 w 1793041"/>
                <a:gd name="connsiteY366" fmla="*/ 2208391 h 2663313"/>
                <a:gd name="connsiteX367" fmla="*/ 553964 w 1793041"/>
                <a:gd name="connsiteY367" fmla="*/ 2181772 h 2663313"/>
                <a:gd name="connsiteX368" fmla="*/ 556955 w 1793041"/>
                <a:gd name="connsiteY368" fmla="*/ 2137836 h 2663313"/>
                <a:gd name="connsiteX369" fmla="*/ 564337 w 1793041"/>
                <a:gd name="connsiteY369" fmla="*/ 2110200 h 2663313"/>
                <a:gd name="connsiteX370" fmla="*/ 570457 w 1793041"/>
                <a:gd name="connsiteY370" fmla="*/ 2113795 h 2663313"/>
                <a:gd name="connsiteX371" fmla="*/ 581929 w 1793041"/>
                <a:gd name="connsiteY371" fmla="*/ 2098537 h 2663313"/>
                <a:gd name="connsiteX372" fmla="*/ 580968 w 1793041"/>
                <a:gd name="connsiteY372" fmla="*/ 2090880 h 2663313"/>
                <a:gd name="connsiteX373" fmla="*/ 574903 w 1793041"/>
                <a:gd name="connsiteY373" fmla="*/ 2083059 h 2663313"/>
                <a:gd name="connsiteX374" fmla="*/ 579184 w 1793041"/>
                <a:gd name="connsiteY374" fmla="*/ 2073976 h 2663313"/>
                <a:gd name="connsiteX375" fmla="*/ 578992 w 1793041"/>
                <a:gd name="connsiteY375" fmla="*/ 2063849 h 2663313"/>
                <a:gd name="connsiteX376" fmla="*/ 580693 w 1793041"/>
                <a:gd name="connsiteY376" fmla="*/ 2058909 h 2663313"/>
                <a:gd name="connsiteX377" fmla="*/ 596775 w 1793041"/>
                <a:gd name="connsiteY377" fmla="*/ 2057702 h 2663313"/>
                <a:gd name="connsiteX378" fmla="*/ 616369 w 1793041"/>
                <a:gd name="connsiteY378" fmla="*/ 2069256 h 2663313"/>
                <a:gd name="connsiteX379" fmla="*/ 627978 w 1793041"/>
                <a:gd name="connsiteY379" fmla="*/ 2068432 h 2663313"/>
                <a:gd name="connsiteX380" fmla="*/ 634125 w 1793041"/>
                <a:gd name="connsiteY380" fmla="*/ 2061736 h 2663313"/>
                <a:gd name="connsiteX381" fmla="*/ 635332 w 1793041"/>
                <a:gd name="connsiteY381" fmla="*/ 2056275 h 2663313"/>
                <a:gd name="connsiteX382" fmla="*/ 632917 w 1793041"/>
                <a:gd name="connsiteY382" fmla="*/ 2045572 h 2663313"/>
                <a:gd name="connsiteX383" fmla="*/ 635470 w 1793041"/>
                <a:gd name="connsiteY383" fmla="*/ 2031329 h 2663313"/>
                <a:gd name="connsiteX384" fmla="*/ 653033 w 1793041"/>
                <a:gd name="connsiteY384" fmla="*/ 2018102 h 2663313"/>
                <a:gd name="connsiteX385" fmla="*/ 650865 w 1793041"/>
                <a:gd name="connsiteY385" fmla="*/ 2013875 h 2663313"/>
                <a:gd name="connsiteX386" fmla="*/ 641809 w 1793041"/>
                <a:gd name="connsiteY386" fmla="*/ 2014918 h 2663313"/>
                <a:gd name="connsiteX387" fmla="*/ 638763 w 1793041"/>
                <a:gd name="connsiteY387" fmla="*/ 2009402 h 2663313"/>
                <a:gd name="connsiteX388" fmla="*/ 643099 w 1793041"/>
                <a:gd name="connsiteY388" fmla="*/ 1982947 h 2663313"/>
                <a:gd name="connsiteX389" fmla="*/ 651277 w 1793041"/>
                <a:gd name="connsiteY389" fmla="*/ 1968046 h 2663313"/>
                <a:gd name="connsiteX390" fmla="*/ 651908 w 1793041"/>
                <a:gd name="connsiteY390" fmla="*/ 1959484 h 2663313"/>
                <a:gd name="connsiteX391" fmla="*/ 646859 w 1793041"/>
                <a:gd name="connsiteY391" fmla="*/ 1951086 h 2663313"/>
                <a:gd name="connsiteX392" fmla="*/ 599739 w 1793041"/>
                <a:gd name="connsiteY392" fmla="*/ 1943704 h 2663313"/>
                <a:gd name="connsiteX393" fmla="*/ 577126 w 1793041"/>
                <a:gd name="connsiteY393" fmla="*/ 1923753 h 2663313"/>
                <a:gd name="connsiteX394" fmla="*/ 549985 w 1793041"/>
                <a:gd name="connsiteY394" fmla="*/ 1911513 h 2663313"/>
                <a:gd name="connsiteX395" fmla="*/ 539804 w 1793041"/>
                <a:gd name="connsiteY395" fmla="*/ 1890794 h 2663313"/>
                <a:gd name="connsiteX396" fmla="*/ 550314 w 1793041"/>
                <a:gd name="connsiteY396" fmla="*/ 1878856 h 2663313"/>
                <a:gd name="connsiteX397" fmla="*/ 578800 w 1793041"/>
                <a:gd name="connsiteY397" fmla="*/ 1883412 h 2663313"/>
                <a:gd name="connsiteX398" fmla="*/ 614586 w 1793041"/>
                <a:gd name="connsiteY398" fmla="*/ 1906930 h 2663313"/>
                <a:gd name="connsiteX399" fmla="*/ 617467 w 1793041"/>
                <a:gd name="connsiteY399" fmla="*/ 1906930 h 2663313"/>
                <a:gd name="connsiteX400" fmla="*/ 619882 w 1793041"/>
                <a:gd name="connsiteY400" fmla="*/ 1900124 h 2663313"/>
                <a:gd name="connsiteX401" fmla="*/ 625453 w 1793041"/>
                <a:gd name="connsiteY401" fmla="*/ 1909373 h 2663313"/>
                <a:gd name="connsiteX402" fmla="*/ 637583 w 1793041"/>
                <a:gd name="connsiteY402" fmla="*/ 1910278 h 2663313"/>
                <a:gd name="connsiteX403" fmla="*/ 634811 w 1793041"/>
                <a:gd name="connsiteY403" fmla="*/ 1899027 h 2663313"/>
                <a:gd name="connsiteX404" fmla="*/ 634646 w 1793041"/>
                <a:gd name="connsiteY404" fmla="*/ 1877539 h 2663313"/>
                <a:gd name="connsiteX405" fmla="*/ 627319 w 1793041"/>
                <a:gd name="connsiteY405" fmla="*/ 1868236 h 2663313"/>
                <a:gd name="connsiteX406" fmla="*/ 623724 w 1793041"/>
                <a:gd name="connsiteY406" fmla="*/ 1854926 h 2663313"/>
                <a:gd name="connsiteX407" fmla="*/ 613214 w 1793041"/>
                <a:gd name="connsiteY407" fmla="*/ 1847599 h 2663313"/>
                <a:gd name="connsiteX408" fmla="*/ 610250 w 1793041"/>
                <a:gd name="connsiteY408" fmla="*/ 1837609 h 2663313"/>
                <a:gd name="connsiteX409" fmla="*/ 603965 w 1793041"/>
                <a:gd name="connsiteY409" fmla="*/ 1835524 h 2663313"/>
                <a:gd name="connsiteX410" fmla="*/ 603252 w 1793041"/>
                <a:gd name="connsiteY410" fmla="*/ 1826467 h 2663313"/>
                <a:gd name="connsiteX411" fmla="*/ 598010 w 1793041"/>
                <a:gd name="connsiteY411" fmla="*/ 1828004 h 2663313"/>
                <a:gd name="connsiteX412" fmla="*/ 586402 w 1793041"/>
                <a:gd name="connsiteY412" fmla="*/ 1843372 h 2663313"/>
                <a:gd name="connsiteX413" fmla="*/ 580501 w 1793041"/>
                <a:gd name="connsiteY413" fmla="*/ 1842521 h 2663313"/>
                <a:gd name="connsiteX414" fmla="*/ 577702 w 1793041"/>
                <a:gd name="connsiteY414" fmla="*/ 1836292 h 2663313"/>
                <a:gd name="connsiteX415" fmla="*/ 579267 w 1793041"/>
                <a:gd name="connsiteY415" fmla="*/ 1827016 h 2663313"/>
                <a:gd name="connsiteX416" fmla="*/ 583575 w 1793041"/>
                <a:gd name="connsiteY416" fmla="*/ 1819963 h 2663313"/>
                <a:gd name="connsiteX417" fmla="*/ 604706 w 1793041"/>
                <a:gd name="connsiteY417" fmla="*/ 1808273 h 2663313"/>
                <a:gd name="connsiteX418" fmla="*/ 606215 w 1793041"/>
                <a:gd name="connsiteY418" fmla="*/ 1802345 h 2663313"/>
                <a:gd name="connsiteX419" fmla="*/ 589311 w 1793041"/>
                <a:gd name="connsiteY419" fmla="*/ 1800479 h 2663313"/>
                <a:gd name="connsiteX420" fmla="*/ 570814 w 1793041"/>
                <a:gd name="connsiteY420" fmla="*/ 1806379 h 2663313"/>
                <a:gd name="connsiteX421" fmla="*/ 569305 w 1793041"/>
                <a:gd name="connsiteY421" fmla="*/ 1799765 h 2663313"/>
                <a:gd name="connsiteX422" fmla="*/ 572515 w 1793041"/>
                <a:gd name="connsiteY422" fmla="*/ 1784809 h 2663313"/>
                <a:gd name="connsiteX423" fmla="*/ 566204 w 1793041"/>
                <a:gd name="connsiteY423" fmla="*/ 1776000 h 2663313"/>
                <a:gd name="connsiteX424" fmla="*/ 544880 w 1793041"/>
                <a:gd name="connsiteY424" fmla="*/ 1819716 h 2663313"/>
                <a:gd name="connsiteX425" fmla="*/ 525972 w 1793041"/>
                <a:gd name="connsiteY425" fmla="*/ 1825452 h 2663313"/>
                <a:gd name="connsiteX426" fmla="*/ 504731 w 1793041"/>
                <a:gd name="connsiteY426" fmla="*/ 1811401 h 2663313"/>
                <a:gd name="connsiteX427" fmla="*/ 501987 w 1793041"/>
                <a:gd name="connsiteY427" fmla="*/ 1796198 h 2663313"/>
                <a:gd name="connsiteX428" fmla="*/ 505884 w 1793041"/>
                <a:gd name="connsiteY428" fmla="*/ 1782696 h 2663313"/>
                <a:gd name="connsiteX429" fmla="*/ 501219 w 1793041"/>
                <a:gd name="connsiteY429" fmla="*/ 1784480 h 2663313"/>
                <a:gd name="connsiteX430" fmla="*/ 498749 w 1793041"/>
                <a:gd name="connsiteY430" fmla="*/ 1779924 h 2663313"/>
                <a:gd name="connsiteX431" fmla="*/ 507338 w 1793041"/>
                <a:gd name="connsiteY431" fmla="*/ 1774847 h 2663313"/>
                <a:gd name="connsiteX432" fmla="*/ 508628 w 1793041"/>
                <a:gd name="connsiteY432" fmla="*/ 1762580 h 2663313"/>
                <a:gd name="connsiteX433" fmla="*/ 513102 w 1793041"/>
                <a:gd name="connsiteY433" fmla="*/ 1748145 h 2663313"/>
                <a:gd name="connsiteX434" fmla="*/ 507009 w 1793041"/>
                <a:gd name="connsiteY434" fmla="*/ 1744632 h 2663313"/>
                <a:gd name="connsiteX435" fmla="*/ 506131 w 1793041"/>
                <a:gd name="connsiteY435" fmla="*/ 1712387 h 2663313"/>
                <a:gd name="connsiteX436" fmla="*/ 493452 w 1793041"/>
                <a:gd name="connsiteY436" fmla="*/ 1711838 h 2663313"/>
                <a:gd name="connsiteX437" fmla="*/ 489638 w 1793041"/>
                <a:gd name="connsiteY437" fmla="*/ 1696635 h 2663313"/>
                <a:gd name="connsiteX438" fmla="*/ 499627 w 1793041"/>
                <a:gd name="connsiteY438" fmla="*/ 1695043 h 2663313"/>
                <a:gd name="connsiteX439" fmla="*/ 508683 w 1793041"/>
                <a:gd name="connsiteY439" fmla="*/ 1685795 h 2663313"/>
                <a:gd name="connsiteX440" fmla="*/ 522404 w 1793041"/>
                <a:gd name="connsiteY440" fmla="*/ 1686206 h 2663313"/>
                <a:gd name="connsiteX441" fmla="*/ 525314 w 1793041"/>
                <a:gd name="connsiteY441" fmla="*/ 1678934 h 2663313"/>
                <a:gd name="connsiteX442" fmla="*/ 504869 w 1793041"/>
                <a:gd name="connsiteY442" fmla="*/ 1668917 h 2663313"/>
                <a:gd name="connsiteX443" fmla="*/ 504237 w 1793041"/>
                <a:gd name="connsiteY443" fmla="*/ 1660410 h 2663313"/>
                <a:gd name="connsiteX444" fmla="*/ 506927 w 1793041"/>
                <a:gd name="connsiteY444" fmla="*/ 1638538 h 2663313"/>
                <a:gd name="connsiteX445" fmla="*/ 501301 w 1793041"/>
                <a:gd name="connsiteY445" fmla="*/ 1623307 h 2663313"/>
                <a:gd name="connsiteX446" fmla="*/ 495648 w 1793041"/>
                <a:gd name="connsiteY446" fmla="*/ 1626765 h 2663313"/>
                <a:gd name="connsiteX447" fmla="*/ 492327 w 1793041"/>
                <a:gd name="connsiteY447" fmla="*/ 1622127 h 2663313"/>
                <a:gd name="connsiteX448" fmla="*/ 491723 w 1793041"/>
                <a:gd name="connsiteY448" fmla="*/ 1614059 h 2663313"/>
                <a:gd name="connsiteX449" fmla="*/ 495126 w 1793041"/>
                <a:gd name="connsiteY449" fmla="*/ 1620288 h 2663313"/>
                <a:gd name="connsiteX450" fmla="*/ 497981 w 1793041"/>
                <a:gd name="connsiteY450" fmla="*/ 1614498 h 2663313"/>
                <a:gd name="connsiteX451" fmla="*/ 494605 w 1793041"/>
                <a:gd name="connsiteY451" fmla="*/ 1587220 h 2663313"/>
                <a:gd name="connsiteX452" fmla="*/ 483930 w 1793041"/>
                <a:gd name="connsiteY452" fmla="*/ 1546851 h 2663313"/>
                <a:gd name="connsiteX453" fmla="*/ 476932 w 1793041"/>
                <a:gd name="connsiteY453" fmla="*/ 1539688 h 2663313"/>
                <a:gd name="connsiteX454" fmla="*/ 477233 w 1793041"/>
                <a:gd name="connsiteY454" fmla="*/ 1526488 h 2663313"/>
                <a:gd name="connsiteX455" fmla="*/ 471662 w 1793041"/>
                <a:gd name="connsiteY455" fmla="*/ 1515539 h 2663313"/>
                <a:gd name="connsiteX456" fmla="*/ 474791 w 1793041"/>
                <a:gd name="connsiteY456" fmla="*/ 1510489 h 2663313"/>
                <a:gd name="connsiteX457" fmla="*/ 474846 w 1793041"/>
                <a:gd name="connsiteY457" fmla="*/ 1504891 h 2663313"/>
                <a:gd name="connsiteX458" fmla="*/ 464445 w 1793041"/>
                <a:gd name="connsiteY458" fmla="*/ 1490648 h 2663313"/>
                <a:gd name="connsiteX459" fmla="*/ 459286 w 1793041"/>
                <a:gd name="connsiteY459" fmla="*/ 1471849 h 2663313"/>
                <a:gd name="connsiteX460" fmla="*/ 432337 w 1793041"/>
                <a:gd name="connsiteY460" fmla="*/ 1446163 h 2663313"/>
                <a:gd name="connsiteX461" fmla="*/ 424653 w 1793041"/>
                <a:gd name="connsiteY461" fmla="*/ 1422425 h 2663313"/>
                <a:gd name="connsiteX462" fmla="*/ 422101 w 1793041"/>
                <a:gd name="connsiteY462" fmla="*/ 1393307 h 2663313"/>
                <a:gd name="connsiteX463" fmla="*/ 414416 w 1793041"/>
                <a:gd name="connsiteY463" fmla="*/ 1376924 h 2663313"/>
                <a:gd name="connsiteX464" fmla="*/ 342516 w 1793041"/>
                <a:gd name="connsiteY464" fmla="*/ 1322971 h 2663313"/>
                <a:gd name="connsiteX465" fmla="*/ 317872 w 1793041"/>
                <a:gd name="connsiteY465" fmla="*/ 1321242 h 2663313"/>
                <a:gd name="connsiteX466" fmla="*/ 277641 w 1793041"/>
                <a:gd name="connsiteY466" fmla="*/ 1299782 h 2663313"/>
                <a:gd name="connsiteX467" fmla="*/ 257717 w 1793041"/>
                <a:gd name="connsiteY467" fmla="*/ 1323273 h 2663313"/>
                <a:gd name="connsiteX468" fmla="*/ 244901 w 1793041"/>
                <a:gd name="connsiteY468" fmla="*/ 1306094 h 2663313"/>
                <a:gd name="connsiteX469" fmla="*/ 226926 w 1793041"/>
                <a:gd name="connsiteY469" fmla="*/ 1326209 h 2663313"/>
                <a:gd name="connsiteX470" fmla="*/ 213973 w 1793041"/>
                <a:gd name="connsiteY470" fmla="*/ 1331204 h 2663313"/>
                <a:gd name="connsiteX471" fmla="*/ 207716 w 1793041"/>
                <a:gd name="connsiteY471" fmla="*/ 1327993 h 2663313"/>
                <a:gd name="connsiteX472" fmla="*/ 200334 w 1793041"/>
                <a:gd name="connsiteY472" fmla="*/ 1309744 h 2663313"/>
                <a:gd name="connsiteX473" fmla="*/ 183374 w 1793041"/>
                <a:gd name="connsiteY473" fmla="*/ 1320968 h 2663313"/>
                <a:gd name="connsiteX474" fmla="*/ 173989 w 1793041"/>
                <a:gd name="connsiteY474" fmla="*/ 1317922 h 2663313"/>
                <a:gd name="connsiteX475" fmla="*/ 173001 w 1793041"/>
                <a:gd name="connsiteY475" fmla="*/ 1322312 h 2663313"/>
                <a:gd name="connsiteX476" fmla="*/ 175278 w 1793041"/>
                <a:gd name="connsiteY476" fmla="*/ 1339437 h 2663313"/>
                <a:gd name="connsiteX477" fmla="*/ 173193 w 1793041"/>
                <a:gd name="connsiteY477" fmla="*/ 1345365 h 2663313"/>
                <a:gd name="connsiteX478" fmla="*/ 128351 w 1793041"/>
                <a:gd name="connsiteY478" fmla="*/ 1327938 h 2663313"/>
                <a:gd name="connsiteX479" fmla="*/ 102390 w 1793041"/>
                <a:gd name="connsiteY479" fmla="*/ 1288283 h 2663313"/>
                <a:gd name="connsiteX480" fmla="*/ 111995 w 1793041"/>
                <a:gd name="connsiteY480" fmla="*/ 1272009 h 2663313"/>
                <a:gd name="connsiteX481" fmla="*/ 132248 w 1793041"/>
                <a:gd name="connsiteY481" fmla="*/ 1263447 h 2663313"/>
                <a:gd name="connsiteX482" fmla="*/ 132248 w 1793041"/>
                <a:gd name="connsiteY482" fmla="*/ 1255653 h 2663313"/>
                <a:gd name="connsiteX483" fmla="*/ 99261 w 1793041"/>
                <a:gd name="connsiteY483" fmla="*/ 1253897 h 2663313"/>
                <a:gd name="connsiteX484" fmla="*/ 85403 w 1793041"/>
                <a:gd name="connsiteY484" fmla="*/ 1242838 h 2663313"/>
                <a:gd name="connsiteX485" fmla="*/ 78267 w 1793041"/>
                <a:gd name="connsiteY485" fmla="*/ 1227552 h 2663313"/>
                <a:gd name="connsiteX486" fmla="*/ 61527 w 1793041"/>
                <a:gd name="connsiteY486" fmla="*/ 1233836 h 2663313"/>
                <a:gd name="connsiteX487" fmla="*/ 50248 w 1793041"/>
                <a:gd name="connsiteY487" fmla="*/ 1206421 h 2663313"/>
                <a:gd name="connsiteX488" fmla="*/ 59414 w 1793041"/>
                <a:gd name="connsiteY488" fmla="*/ 1189241 h 2663313"/>
                <a:gd name="connsiteX489" fmla="*/ 109415 w 1793041"/>
                <a:gd name="connsiteY489" fmla="*/ 1187320 h 2663313"/>
                <a:gd name="connsiteX490" fmla="*/ 128763 w 1793041"/>
                <a:gd name="connsiteY490" fmla="*/ 1166656 h 2663313"/>
                <a:gd name="connsiteX491" fmla="*/ 175580 w 1793041"/>
                <a:gd name="connsiteY491" fmla="*/ 1169867 h 2663313"/>
                <a:gd name="connsiteX492" fmla="*/ 188177 w 1793041"/>
                <a:gd name="connsiteY492" fmla="*/ 1139734 h 2663313"/>
                <a:gd name="connsiteX493" fmla="*/ 175471 w 1793041"/>
                <a:gd name="connsiteY493" fmla="*/ 1123543 h 2663313"/>
                <a:gd name="connsiteX494" fmla="*/ 138011 w 1793041"/>
                <a:gd name="connsiteY494" fmla="*/ 1142753 h 2663313"/>
                <a:gd name="connsiteX495" fmla="*/ 120941 w 1793041"/>
                <a:gd name="connsiteY495" fmla="*/ 1132627 h 2663313"/>
                <a:gd name="connsiteX496" fmla="*/ 111226 w 1793041"/>
                <a:gd name="connsiteY496" fmla="*/ 1144866 h 2663313"/>
                <a:gd name="connsiteX497" fmla="*/ 84470 w 1793041"/>
                <a:gd name="connsiteY497" fmla="*/ 1141902 h 2663313"/>
                <a:gd name="connsiteX498" fmla="*/ 78322 w 1793041"/>
                <a:gd name="connsiteY498" fmla="*/ 1122528 h 2663313"/>
                <a:gd name="connsiteX499" fmla="*/ 64546 w 1793041"/>
                <a:gd name="connsiteY499" fmla="*/ 1105925 h 2663313"/>
                <a:gd name="connsiteX500" fmla="*/ 44183 w 1793041"/>
                <a:gd name="connsiteY500" fmla="*/ 1106364 h 2663313"/>
                <a:gd name="connsiteX501" fmla="*/ 13996 w 1793041"/>
                <a:gd name="connsiteY501" fmla="*/ 1081885 h 2663313"/>
                <a:gd name="connsiteX502" fmla="*/ 1811 w 1793041"/>
                <a:gd name="connsiteY502" fmla="*/ 1060753 h 2663313"/>
                <a:gd name="connsiteX503" fmla="*/ 0 w 1793041"/>
                <a:gd name="connsiteY503" fmla="*/ 1035780 h 2663313"/>
                <a:gd name="connsiteX504" fmla="*/ 15862 w 1793041"/>
                <a:gd name="connsiteY504" fmla="*/ 999501 h 2663313"/>
                <a:gd name="connsiteX505" fmla="*/ 52060 w 1793041"/>
                <a:gd name="connsiteY505" fmla="*/ 988249 h 2663313"/>
                <a:gd name="connsiteX506" fmla="*/ 92977 w 1793041"/>
                <a:gd name="connsiteY506" fmla="*/ 962837 h 2663313"/>
                <a:gd name="connsiteX507" fmla="*/ 111967 w 1793041"/>
                <a:gd name="connsiteY507" fmla="*/ 935174 h 2663313"/>
                <a:gd name="connsiteX508" fmla="*/ 126594 w 1793041"/>
                <a:gd name="connsiteY508" fmla="*/ 923923 h 2663313"/>
                <a:gd name="connsiteX509" fmla="*/ 196958 w 1793041"/>
                <a:gd name="connsiteY509" fmla="*/ 904960 h 2663313"/>
                <a:gd name="connsiteX510" fmla="*/ 217787 w 1793041"/>
                <a:gd name="connsiteY510" fmla="*/ 876913 h 2663313"/>
                <a:gd name="connsiteX511" fmla="*/ 233128 w 1793041"/>
                <a:gd name="connsiteY511" fmla="*/ 836160 h 2663313"/>
                <a:gd name="connsiteX512" fmla="*/ 232222 w 1793041"/>
                <a:gd name="connsiteY512" fmla="*/ 802433 h 2663313"/>
                <a:gd name="connsiteX513" fmla="*/ 236010 w 1793041"/>
                <a:gd name="connsiteY513" fmla="*/ 781933 h 2663313"/>
                <a:gd name="connsiteX514" fmla="*/ 237793 w 1793041"/>
                <a:gd name="connsiteY514" fmla="*/ 755780 h 2663313"/>
                <a:gd name="connsiteX515" fmla="*/ 202063 w 1793041"/>
                <a:gd name="connsiteY515" fmla="*/ 762970 h 2663313"/>
                <a:gd name="connsiteX516" fmla="*/ 174263 w 1793041"/>
                <a:gd name="connsiteY516" fmla="*/ 756081 h 2663313"/>
                <a:gd name="connsiteX517" fmla="*/ 160843 w 1793041"/>
                <a:gd name="connsiteY517" fmla="*/ 740357 h 2663313"/>
                <a:gd name="connsiteX518" fmla="*/ 158209 w 1793041"/>
                <a:gd name="connsiteY518" fmla="*/ 721531 h 2663313"/>
                <a:gd name="connsiteX519" fmla="*/ 179395 w 1793041"/>
                <a:gd name="connsiteY519" fmla="*/ 671749 h 2663313"/>
                <a:gd name="connsiteX520" fmla="*/ 212354 w 1793041"/>
                <a:gd name="connsiteY520" fmla="*/ 636156 h 2663313"/>
                <a:gd name="connsiteX521" fmla="*/ 229259 w 1793041"/>
                <a:gd name="connsiteY521" fmla="*/ 598449 h 2663313"/>
                <a:gd name="connsiteX522" fmla="*/ 244792 w 1793041"/>
                <a:gd name="connsiteY522" fmla="*/ 579047 h 2663313"/>
                <a:gd name="connsiteX523" fmla="*/ 261669 w 1793041"/>
                <a:gd name="connsiteY523" fmla="*/ 579349 h 2663313"/>
                <a:gd name="connsiteX524" fmla="*/ 274896 w 1793041"/>
                <a:gd name="connsiteY524" fmla="*/ 557312 h 2663313"/>
                <a:gd name="connsiteX525" fmla="*/ 303025 w 1793041"/>
                <a:gd name="connsiteY525" fmla="*/ 567795 h 2663313"/>
                <a:gd name="connsiteX526" fmla="*/ 316665 w 1793041"/>
                <a:gd name="connsiteY526" fmla="*/ 558465 h 2663313"/>
                <a:gd name="connsiteX527" fmla="*/ 325501 w 1793041"/>
                <a:gd name="connsiteY527" fmla="*/ 495401 h 2663313"/>
                <a:gd name="connsiteX528" fmla="*/ 322263 w 1793041"/>
                <a:gd name="connsiteY528" fmla="*/ 447869 h 2663313"/>
                <a:gd name="connsiteX529" fmla="*/ 340211 w 1793041"/>
                <a:gd name="connsiteY529" fmla="*/ 421359 h 2663313"/>
                <a:gd name="connsiteX530" fmla="*/ 377533 w 1793041"/>
                <a:gd name="connsiteY530" fmla="*/ 424598 h 2663313"/>
                <a:gd name="connsiteX531" fmla="*/ 401710 w 1793041"/>
                <a:gd name="connsiteY531" fmla="*/ 462277 h 2663313"/>
                <a:gd name="connsiteX532" fmla="*/ 401985 w 1793041"/>
                <a:gd name="connsiteY532" fmla="*/ 448912 h 2663313"/>
                <a:gd name="connsiteX533" fmla="*/ 389608 w 1793041"/>
                <a:gd name="connsiteY533" fmla="*/ 398417 h 2663313"/>
                <a:gd name="connsiteX534" fmla="*/ 419356 w 1793041"/>
                <a:gd name="connsiteY534" fmla="*/ 360518 h 2663313"/>
                <a:gd name="connsiteX535" fmla="*/ 484506 w 1793041"/>
                <a:gd name="connsiteY535" fmla="*/ 344519 h 2663313"/>
                <a:gd name="connsiteX536" fmla="*/ 510028 w 1793041"/>
                <a:gd name="connsiteY536" fmla="*/ 323278 h 2663313"/>
                <a:gd name="connsiteX537" fmla="*/ 521472 w 1793041"/>
                <a:gd name="connsiteY537" fmla="*/ 336945 h 2663313"/>
                <a:gd name="connsiteX538" fmla="*/ 531571 w 1793041"/>
                <a:gd name="connsiteY538" fmla="*/ 378027 h 2663313"/>
                <a:gd name="connsiteX539" fmla="*/ 533409 w 1793041"/>
                <a:gd name="connsiteY539" fmla="*/ 411425 h 2663313"/>
                <a:gd name="connsiteX540" fmla="*/ 530473 w 1793041"/>
                <a:gd name="connsiteY540" fmla="*/ 450449 h 2663313"/>
                <a:gd name="connsiteX541" fmla="*/ 531433 w 1793041"/>
                <a:gd name="connsiteY541" fmla="*/ 462469 h 2663313"/>
                <a:gd name="connsiteX542" fmla="*/ 546801 w 1793041"/>
                <a:gd name="connsiteY542" fmla="*/ 441256 h 2663313"/>
                <a:gd name="connsiteX543" fmla="*/ 560166 w 1793041"/>
                <a:gd name="connsiteY543" fmla="*/ 404619 h 2663313"/>
                <a:gd name="connsiteX544" fmla="*/ 611622 w 1793041"/>
                <a:gd name="connsiteY544" fmla="*/ 441969 h 2663313"/>
                <a:gd name="connsiteX545" fmla="*/ 630640 w 1793041"/>
                <a:gd name="connsiteY545" fmla="*/ 410876 h 2663313"/>
                <a:gd name="connsiteX546" fmla="*/ 619553 w 1793041"/>
                <a:gd name="connsiteY546" fmla="*/ 345507 h 2663313"/>
                <a:gd name="connsiteX547" fmla="*/ 617714 w 1793041"/>
                <a:gd name="connsiteY547" fmla="*/ 324376 h 2663313"/>
                <a:gd name="connsiteX548" fmla="*/ 618400 w 1793041"/>
                <a:gd name="connsiteY548" fmla="*/ 308349 h 2663313"/>
                <a:gd name="connsiteX549" fmla="*/ 644169 w 1793041"/>
                <a:gd name="connsiteY549" fmla="*/ 294545 h 2663313"/>
                <a:gd name="connsiteX550" fmla="*/ 668401 w 1793041"/>
                <a:gd name="connsiteY550" fmla="*/ 309529 h 2663313"/>
                <a:gd name="connsiteX551" fmla="*/ 690795 w 1793041"/>
                <a:gd name="connsiteY551" fmla="*/ 344876 h 2663313"/>
                <a:gd name="connsiteX552" fmla="*/ 753063 w 1793041"/>
                <a:gd name="connsiteY552" fmla="*/ 410053 h 2663313"/>
                <a:gd name="connsiteX553" fmla="*/ 766922 w 1793041"/>
                <a:gd name="connsiteY553" fmla="*/ 435383 h 2663313"/>
                <a:gd name="connsiteX554" fmla="*/ 789754 w 1793041"/>
                <a:gd name="connsiteY554" fmla="*/ 441640 h 2663313"/>
                <a:gd name="connsiteX555" fmla="*/ 791209 w 1793041"/>
                <a:gd name="connsiteY555" fmla="*/ 437853 h 2663313"/>
                <a:gd name="connsiteX556" fmla="*/ 790495 w 1793041"/>
                <a:gd name="connsiteY556" fmla="*/ 426464 h 2663313"/>
                <a:gd name="connsiteX557" fmla="*/ 778640 w 1793041"/>
                <a:gd name="connsiteY557" fmla="*/ 383625 h 2663313"/>
                <a:gd name="connsiteX558" fmla="*/ 753090 w 1793041"/>
                <a:gd name="connsiteY558" fmla="*/ 351462 h 2663313"/>
                <a:gd name="connsiteX559" fmla="*/ 738189 w 1793041"/>
                <a:gd name="connsiteY559" fmla="*/ 331731 h 2663313"/>
                <a:gd name="connsiteX560" fmla="*/ 731054 w 1793041"/>
                <a:gd name="connsiteY560" fmla="*/ 295094 h 2663313"/>
                <a:gd name="connsiteX561" fmla="*/ 753090 w 1793041"/>
                <a:gd name="connsiteY561" fmla="*/ 266801 h 2663313"/>
                <a:gd name="connsiteX562" fmla="*/ 789425 w 1793041"/>
                <a:gd name="connsiteY562" fmla="*/ 294024 h 2663313"/>
                <a:gd name="connsiteX563" fmla="*/ 812450 w 1793041"/>
                <a:gd name="connsiteY563" fmla="*/ 343065 h 2663313"/>
                <a:gd name="connsiteX564" fmla="*/ 823674 w 1793041"/>
                <a:gd name="connsiteY564" fmla="*/ 350008 h 2663313"/>
                <a:gd name="connsiteX565" fmla="*/ 827461 w 1793041"/>
                <a:gd name="connsiteY565" fmla="*/ 338619 h 2663313"/>
                <a:gd name="connsiteX566" fmla="*/ 823070 w 1793041"/>
                <a:gd name="connsiteY566" fmla="*/ 317707 h 2663313"/>
                <a:gd name="connsiteX567" fmla="*/ 797932 w 1793041"/>
                <a:gd name="connsiteY567" fmla="*/ 255329 h 2663313"/>
                <a:gd name="connsiteX568" fmla="*/ 873620 w 1793041"/>
                <a:gd name="connsiteY568" fmla="*/ 239220 h 2663313"/>
                <a:gd name="connsiteX569" fmla="*/ 892665 w 1793041"/>
                <a:gd name="connsiteY569" fmla="*/ 287575 h 2663313"/>
                <a:gd name="connsiteX570" fmla="*/ 894751 w 1793041"/>
                <a:gd name="connsiteY570" fmla="*/ 254945 h 2663313"/>
                <a:gd name="connsiteX571" fmla="*/ 903780 w 1793041"/>
                <a:gd name="connsiteY571" fmla="*/ 248935 h 2663313"/>
                <a:gd name="connsiteX572" fmla="*/ 925679 w 1793041"/>
                <a:gd name="connsiteY572" fmla="*/ 276845 h 2663313"/>
                <a:gd name="connsiteX573" fmla="*/ 936876 w 1793041"/>
                <a:gd name="connsiteY573" fmla="*/ 275226 h 2663313"/>
                <a:gd name="connsiteX574" fmla="*/ 952216 w 1793041"/>
                <a:gd name="connsiteY574" fmla="*/ 318146 h 2663313"/>
                <a:gd name="connsiteX575" fmla="*/ 951668 w 1793041"/>
                <a:gd name="connsiteY575" fmla="*/ 297811 h 2663313"/>
                <a:gd name="connsiteX576" fmla="*/ 940773 w 1793041"/>
                <a:gd name="connsiteY576" fmla="*/ 250280 h 2663313"/>
                <a:gd name="connsiteX577" fmla="*/ 895821 w 1793041"/>
                <a:gd name="connsiteY577" fmla="*/ 226322 h 2663313"/>
                <a:gd name="connsiteX578" fmla="*/ 803531 w 1793041"/>
                <a:gd name="connsiteY578" fmla="*/ 209884 h 2663313"/>
                <a:gd name="connsiteX579" fmla="*/ 796395 w 1793041"/>
                <a:gd name="connsiteY579" fmla="*/ 196574 h 2663313"/>
                <a:gd name="connsiteX580" fmla="*/ 792416 w 1793041"/>
                <a:gd name="connsiteY580" fmla="*/ 167210 h 2663313"/>
                <a:gd name="connsiteX581" fmla="*/ 804601 w 1793041"/>
                <a:gd name="connsiteY581" fmla="*/ 142210 h 2663313"/>
                <a:gd name="connsiteX582" fmla="*/ 828202 w 1793041"/>
                <a:gd name="connsiteY582" fmla="*/ 142374 h 2663313"/>
                <a:gd name="connsiteX583" fmla="*/ 863905 w 1793041"/>
                <a:gd name="connsiteY583" fmla="*/ 110678 h 2663313"/>
                <a:gd name="connsiteX584" fmla="*/ 887945 w 1793041"/>
                <a:gd name="connsiteY584" fmla="*/ 139246 h 2663313"/>
                <a:gd name="connsiteX585" fmla="*/ 950268 w 1793041"/>
                <a:gd name="connsiteY585" fmla="*/ 144679 h 2663313"/>
                <a:gd name="connsiteX586" fmla="*/ 953726 w 1793041"/>
                <a:gd name="connsiteY586" fmla="*/ 154120 h 2663313"/>
                <a:gd name="connsiteX587" fmla="*/ 955016 w 1793041"/>
                <a:gd name="connsiteY587" fmla="*/ 182770 h 2663313"/>
                <a:gd name="connsiteX588" fmla="*/ 979687 w 1793041"/>
                <a:gd name="connsiteY588" fmla="*/ 211777 h 2663313"/>
                <a:gd name="connsiteX589" fmla="*/ 980593 w 1793041"/>
                <a:gd name="connsiteY589" fmla="*/ 202831 h 2663313"/>
                <a:gd name="connsiteX590" fmla="*/ 976970 w 1793041"/>
                <a:gd name="connsiteY590" fmla="*/ 179505 h 2663313"/>
                <a:gd name="connsiteX591" fmla="*/ 978809 w 1793041"/>
                <a:gd name="connsiteY591" fmla="*/ 136254 h 2663313"/>
                <a:gd name="connsiteX592" fmla="*/ 975077 w 1793041"/>
                <a:gd name="connsiteY592" fmla="*/ 99097 h 2663313"/>
                <a:gd name="connsiteX593" fmla="*/ 974583 w 1793041"/>
                <a:gd name="connsiteY593" fmla="*/ 72861 h 2663313"/>
                <a:gd name="connsiteX594" fmla="*/ 991103 w 1793041"/>
                <a:gd name="connsiteY594" fmla="*/ 59743 h 2663313"/>
                <a:gd name="connsiteX595" fmla="*/ 1001641 w 1793041"/>
                <a:gd name="connsiteY595" fmla="*/ 35621 h 2663313"/>
                <a:gd name="connsiteX596" fmla="*/ 1026587 w 1793041"/>
                <a:gd name="connsiteY596" fmla="*/ 47421 h 2663313"/>
                <a:gd name="connsiteX597" fmla="*/ 1042202 w 1793041"/>
                <a:gd name="connsiteY597" fmla="*/ 24781 h 2663313"/>
                <a:gd name="connsiteX598" fmla="*/ 1086934 w 1793041"/>
                <a:gd name="connsiteY598" fmla="*/ 11060 h 2663313"/>
                <a:gd name="connsiteX599" fmla="*/ 1112237 w 1793041"/>
                <a:gd name="connsiteY599" fmla="*/ 20637 h 2663313"/>
                <a:gd name="connsiteX600" fmla="*/ 1144592 w 1793041"/>
                <a:gd name="connsiteY600" fmla="*/ 0 h 2663313"/>
                <a:gd name="connsiteX601" fmla="*/ 1250275 w 1793041"/>
                <a:gd name="connsiteY601" fmla="*/ 4912 h 26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Lst>
              <a:rect l="l" t="t" r="r" b="b"/>
              <a:pathLst>
                <a:path w="1793041" h="2663313">
                  <a:moveTo>
                    <a:pt x="1250220" y="5132"/>
                  </a:moveTo>
                  <a:lnTo>
                    <a:pt x="1289518" y="34139"/>
                  </a:lnTo>
                  <a:lnTo>
                    <a:pt x="1311308" y="21954"/>
                  </a:lnTo>
                  <a:lnTo>
                    <a:pt x="1343334" y="33618"/>
                  </a:lnTo>
                  <a:lnTo>
                    <a:pt x="1368691" y="85430"/>
                  </a:lnTo>
                  <a:lnTo>
                    <a:pt x="1347505" y="107522"/>
                  </a:lnTo>
                  <a:lnTo>
                    <a:pt x="1228073" y="115974"/>
                  </a:lnTo>
                  <a:lnTo>
                    <a:pt x="1173791" y="150552"/>
                  </a:lnTo>
                  <a:lnTo>
                    <a:pt x="1190641" y="170393"/>
                  </a:lnTo>
                  <a:lnTo>
                    <a:pt x="1217508" y="140234"/>
                  </a:lnTo>
                  <a:lnTo>
                    <a:pt x="1257273" y="125332"/>
                  </a:lnTo>
                  <a:lnTo>
                    <a:pt x="1344980" y="134333"/>
                  </a:lnTo>
                  <a:lnTo>
                    <a:pt x="1409362" y="112105"/>
                  </a:lnTo>
                  <a:lnTo>
                    <a:pt x="1419625" y="138313"/>
                  </a:lnTo>
                  <a:lnTo>
                    <a:pt x="1420366" y="175086"/>
                  </a:lnTo>
                  <a:lnTo>
                    <a:pt x="1422534" y="184966"/>
                  </a:lnTo>
                  <a:lnTo>
                    <a:pt x="1451706" y="177199"/>
                  </a:lnTo>
                  <a:lnTo>
                    <a:pt x="1465894" y="197178"/>
                  </a:lnTo>
                  <a:lnTo>
                    <a:pt x="1506757" y="204560"/>
                  </a:lnTo>
                  <a:lnTo>
                    <a:pt x="1532828" y="254314"/>
                  </a:lnTo>
                  <a:lnTo>
                    <a:pt x="1503711" y="320232"/>
                  </a:lnTo>
                  <a:lnTo>
                    <a:pt x="1429862" y="351846"/>
                  </a:lnTo>
                  <a:lnTo>
                    <a:pt x="1259002" y="358625"/>
                  </a:lnTo>
                  <a:lnTo>
                    <a:pt x="1179362" y="447458"/>
                  </a:lnTo>
                  <a:lnTo>
                    <a:pt x="1183698" y="458737"/>
                  </a:lnTo>
                  <a:lnTo>
                    <a:pt x="1216849" y="427616"/>
                  </a:lnTo>
                  <a:lnTo>
                    <a:pt x="1255846" y="408077"/>
                  </a:lnTo>
                  <a:lnTo>
                    <a:pt x="1345255" y="385272"/>
                  </a:lnTo>
                  <a:lnTo>
                    <a:pt x="1403708" y="391776"/>
                  </a:lnTo>
                  <a:lnTo>
                    <a:pt x="1410816" y="419521"/>
                  </a:lnTo>
                  <a:lnTo>
                    <a:pt x="1406261" y="441942"/>
                  </a:lnTo>
                  <a:lnTo>
                    <a:pt x="1370310" y="475312"/>
                  </a:lnTo>
                  <a:lnTo>
                    <a:pt x="1365151" y="489446"/>
                  </a:lnTo>
                  <a:lnTo>
                    <a:pt x="1368389" y="501109"/>
                  </a:lnTo>
                  <a:lnTo>
                    <a:pt x="1443062" y="453578"/>
                  </a:lnTo>
                  <a:lnTo>
                    <a:pt x="1454945" y="407199"/>
                  </a:lnTo>
                  <a:lnTo>
                    <a:pt x="1465922" y="389800"/>
                  </a:lnTo>
                  <a:lnTo>
                    <a:pt x="1506784" y="387413"/>
                  </a:lnTo>
                  <a:lnTo>
                    <a:pt x="1516362" y="423665"/>
                  </a:lnTo>
                  <a:lnTo>
                    <a:pt x="1515154" y="461316"/>
                  </a:lnTo>
                  <a:lnTo>
                    <a:pt x="1507855" y="501850"/>
                  </a:lnTo>
                  <a:lnTo>
                    <a:pt x="1459802" y="599986"/>
                  </a:lnTo>
                  <a:lnTo>
                    <a:pt x="1450060" y="629954"/>
                  </a:lnTo>
                  <a:lnTo>
                    <a:pt x="1450416" y="642550"/>
                  </a:lnTo>
                  <a:lnTo>
                    <a:pt x="1471602" y="605804"/>
                  </a:lnTo>
                  <a:lnTo>
                    <a:pt x="1526543" y="535385"/>
                  </a:lnTo>
                  <a:lnTo>
                    <a:pt x="1556209" y="463073"/>
                  </a:lnTo>
                  <a:lnTo>
                    <a:pt x="1566912" y="474352"/>
                  </a:lnTo>
                  <a:lnTo>
                    <a:pt x="1575008" y="509040"/>
                  </a:lnTo>
                  <a:lnTo>
                    <a:pt x="1596084" y="500752"/>
                  </a:lnTo>
                  <a:lnTo>
                    <a:pt x="1624899" y="514227"/>
                  </a:lnTo>
                  <a:lnTo>
                    <a:pt x="1662578" y="454291"/>
                  </a:lnTo>
                  <a:lnTo>
                    <a:pt x="1735494" y="446607"/>
                  </a:lnTo>
                  <a:lnTo>
                    <a:pt x="1782723" y="484451"/>
                  </a:lnTo>
                  <a:lnTo>
                    <a:pt x="1793042" y="516916"/>
                  </a:lnTo>
                  <a:lnTo>
                    <a:pt x="1784068" y="545539"/>
                  </a:lnTo>
                  <a:lnTo>
                    <a:pt x="1748694" y="586237"/>
                  </a:lnTo>
                  <a:lnTo>
                    <a:pt x="1721690" y="599876"/>
                  </a:lnTo>
                  <a:lnTo>
                    <a:pt x="1715515" y="627401"/>
                  </a:lnTo>
                  <a:lnTo>
                    <a:pt x="1708380" y="637775"/>
                  </a:lnTo>
                  <a:lnTo>
                    <a:pt x="1676821" y="657314"/>
                  </a:lnTo>
                  <a:lnTo>
                    <a:pt x="1632473" y="646557"/>
                  </a:lnTo>
                  <a:lnTo>
                    <a:pt x="1608735" y="665904"/>
                  </a:lnTo>
                  <a:lnTo>
                    <a:pt x="1590184" y="667002"/>
                  </a:lnTo>
                  <a:lnTo>
                    <a:pt x="1591199" y="675207"/>
                  </a:lnTo>
                  <a:lnTo>
                    <a:pt x="1611946" y="682864"/>
                  </a:lnTo>
                  <a:lnTo>
                    <a:pt x="1642929" y="678830"/>
                  </a:lnTo>
                  <a:lnTo>
                    <a:pt x="1655635" y="704022"/>
                  </a:lnTo>
                  <a:lnTo>
                    <a:pt x="1641941" y="734731"/>
                  </a:lnTo>
                  <a:lnTo>
                    <a:pt x="1586643" y="731794"/>
                  </a:lnTo>
                  <a:lnTo>
                    <a:pt x="1569217" y="753282"/>
                  </a:lnTo>
                  <a:lnTo>
                    <a:pt x="1560792" y="737777"/>
                  </a:lnTo>
                  <a:lnTo>
                    <a:pt x="1543229" y="773371"/>
                  </a:lnTo>
                  <a:lnTo>
                    <a:pt x="1539743" y="802707"/>
                  </a:lnTo>
                  <a:lnTo>
                    <a:pt x="1546714" y="802872"/>
                  </a:lnTo>
                  <a:lnTo>
                    <a:pt x="1560024" y="777103"/>
                  </a:lnTo>
                  <a:lnTo>
                    <a:pt x="1578164" y="763134"/>
                  </a:lnTo>
                  <a:lnTo>
                    <a:pt x="1612659" y="757728"/>
                  </a:lnTo>
                  <a:lnTo>
                    <a:pt x="1619383" y="773535"/>
                  </a:lnTo>
                  <a:lnTo>
                    <a:pt x="1605963" y="813355"/>
                  </a:lnTo>
                  <a:lnTo>
                    <a:pt x="1579920" y="814782"/>
                  </a:lnTo>
                  <a:lnTo>
                    <a:pt x="1567104" y="833196"/>
                  </a:lnTo>
                  <a:lnTo>
                    <a:pt x="1562960" y="871068"/>
                  </a:lnTo>
                  <a:lnTo>
                    <a:pt x="1571742" y="895245"/>
                  </a:lnTo>
                  <a:lnTo>
                    <a:pt x="1574733" y="916184"/>
                  </a:lnTo>
                  <a:lnTo>
                    <a:pt x="1568366" y="969725"/>
                  </a:lnTo>
                  <a:lnTo>
                    <a:pt x="1561094" y="973430"/>
                  </a:lnTo>
                  <a:lnTo>
                    <a:pt x="1530632" y="957842"/>
                  </a:lnTo>
                  <a:lnTo>
                    <a:pt x="1520341" y="967749"/>
                  </a:lnTo>
                  <a:lnTo>
                    <a:pt x="1512437" y="1059738"/>
                  </a:lnTo>
                  <a:lnTo>
                    <a:pt x="1503354" y="1090584"/>
                  </a:lnTo>
                  <a:lnTo>
                    <a:pt x="1498305" y="1125080"/>
                  </a:lnTo>
                  <a:lnTo>
                    <a:pt x="1507059" y="1128483"/>
                  </a:lnTo>
                  <a:lnTo>
                    <a:pt x="1515648" y="1106556"/>
                  </a:lnTo>
                  <a:lnTo>
                    <a:pt x="1526708" y="1090584"/>
                  </a:lnTo>
                  <a:lnTo>
                    <a:pt x="1565320" y="1103784"/>
                  </a:lnTo>
                  <a:lnTo>
                    <a:pt x="1571605" y="1132544"/>
                  </a:lnTo>
                  <a:lnTo>
                    <a:pt x="1559640" y="1142094"/>
                  </a:lnTo>
                  <a:lnTo>
                    <a:pt x="1544958" y="1135563"/>
                  </a:lnTo>
                  <a:lnTo>
                    <a:pt x="1543009" y="1142232"/>
                  </a:lnTo>
                  <a:lnTo>
                    <a:pt x="1549403" y="1165037"/>
                  </a:lnTo>
                  <a:lnTo>
                    <a:pt x="1565787" y="1183616"/>
                  </a:lnTo>
                  <a:lnTo>
                    <a:pt x="1574925" y="1185948"/>
                  </a:lnTo>
                  <a:lnTo>
                    <a:pt x="1584613" y="1178237"/>
                  </a:lnTo>
                  <a:lnTo>
                    <a:pt x="1594355" y="1183122"/>
                  </a:lnTo>
                  <a:lnTo>
                    <a:pt x="1599185" y="1199862"/>
                  </a:lnTo>
                  <a:lnTo>
                    <a:pt x="1598910" y="1218084"/>
                  </a:lnTo>
                  <a:lnTo>
                    <a:pt x="1582033" y="1239956"/>
                  </a:lnTo>
                  <a:lnTo>
                    <a:pt x="1553712" y="1225302"/>
                  </a:lnTo>
                  <a:lnTo>
                    <a:pt x="1533294" y="1223573"/>
                  </a:lnTo>
                  <a:lnTo>
                    <a:pt x="1515264" y="1243963"/>
                  </a:lnTo>
                  <a:lnTo>
                    <a:pt x="1508980" y="1263941"/>
                  </a:lnTo>
                  <a:lnTo>
                    <a:pt x="1485900" y="1239078"/>
                  </a:lnTo>
                  <a:lnTo>
                    <a:pt x="1476570" y="1255434"/>
                  </a:lnTo>
                  <a:lnTo>
                    <a:pt x="1480521" y="1265451"/>
                  </a:lnTo>
                  <a:lnTo>
                    <a:pt x="1493639" y="1274589"/>
                  </a:lnTo>
                  <a:lnTo>
                    <a:pt x="1503628" y="1303871"/>
                  </a:lnTo>
                  <a:lnTo>
                    <a:pt x="1513700" y="1299233"/>
                  </a:lnTo>
                  <a:lnTo>
                    <a:pt x="1521247" y="1282877"/>
                  </a:lnTo>
                  <a:lnTo>
                    <a:pt x="1526296" y="1300331"/>
                  </a:lnTo>
                  <a:lnTo>
                    <a:pt x="1538591" y="1297751"/>
                  </a:lnTo>
                  <a:lnTo>
                    <a:pt x="1548937" y="1315946"/>
                  </a:lnTo>
                  <a:lnTo>
                    <a:pt x="1551352" y="1329777"/>
                  </a:lnTo>
                  <a:lnTo>
                    <a:pt x="1547839" y="1346517"/>
                  </a:lnTo>
                  <a:lnTo>
                    <a:pt x="1557663" y="1365892"/>
                  </a:lnTo>
                  <a:lnTo>
                    <a:pt x="1563591" y="1391661"/>
                  </a:lnTo>
                  <a:lnTo>
                    <a:pt x="1565018" y="1414192"/>
                  </a:lnTo>
                  <a:lnTo>
                    <a:pt x="1563125" y="1426376"/>
                  </a:lnTo>
                  <a:lnTo>
                    <a:pt x="1553712" y="1434225"/>
                  </a:lnTo>
                  <a:lnTo>
                    <a:pt x="1541116" y="1422232"/>
                  </a:lnTo>
                  <a:lnTo>
                    <a:pt x="1521082" y="1420531"/>
                  </a:lnTo>
                  <a:lnTo>
                    <a:pt x="1519820" y="1424894"/>
                  </a:lnTo>
                  <a:lnTo>
                    <a:pt x="1525336" y="1440098"/>
                  </a:lnTo>
                  <a:lnTo>
                    <a:pt x="1531867" y="1484994"/>
                  </a:lnTo>
                  <a:lnTo>
                    <a:pt x="1535298" y="1464851"/>
                  </a:lnTo>
                  <a:lnTo>
                    <a:pt x="1542735" y="1459857"/>
                  </a:lnTo>
                  <a:lnTo>
                    <a:pt x="1550336" y="1471383"/>
                  </a:lnTo>
                  <a:lnTo>
                    <a:pt x="1549870" y="1488589"/>
                  </a:lnTo>
                  <a:lnTo>
                    <a:pt x="1552065" y="1496905"/>
                  </a:lnTo>
                  <a:lnTo>
                    <a:pt x="1578959" y="1501378"/>
                  </a:lnTo>
                  <a:lnTo>
                    <a:pt x="1580277" y="1508239"/>
                  </a:lnTo>
                  <a:lnTo>
                    <a:pt x="1569931" y="1529644"/>
                  </a:lnTo>
                  <a:lnTo>
                    <a:pt x="1562109" y="1537410"/>
                  </a:lnTo>
                  <a:lnTo>
                    <a:pt x="1546988" y="1535874"/>
                  </a:lnTo>
                  <a:lnTo>
                    <a:pt x="1534858" y="1524238"/>
                  </a:lnTo>
                  <a:lnTo>
                    <a:pt x="1533569" y="1528519"/>
                  </a:lnTo>
                  <a:lnTo>
                    <a:pt x="1534310" y="1541774"/>
                  </a:lnTo>
                  <a:lnTo>
                    <a:pt x="1531538" y="1546878"/>
                  </a:lnTo>
                  <a:lnTo>
                    <a:pt x="1514414" y="1553767"/>
                  </a:lnTo>
                  <a:lnTo>
                    <a:pt x="1491828" y="1541308"/>
                  </a:lnTo>
                  <a:lnTo>
                    <a:pt x="1486230" y="1553163"/>
                  </a:lnTo>
                  <a:lnTo>
                    <a:pt x="1491361" y="1567241"/>
                  </a:lnTo>
                  <a:lnTo>
                    <a:pt x="1503601" y="1565347"/>
                  </a:lnTo>
                  <a:lnTo>
                    <a:pt x="1535105" y="1583103"/>
                  </a:lnTo>
                  <a:lnTo>
                    <a:pt x="1535517" y="1596495"/>
                  </a:lnTo>
                  <a:lnTo>
                    <a:pt x="1528272" y="1620179"/>
                  </a:lnTo>
                  <a:lnTo>
                    <a:pt x="1506483" y="1623746"/>
                  </a:lnTo>
                  <a:lnTo>
                    <a:pt x="1476652" y="1641118"/>
                  </a:lnTo>
                  <a:lnTo>
                    <a:pt x="1438945" y="1616227"/>
                  </a:lnTo>
                  <a:lnTo>
                    <a:pt x="1425690" y="1592214"/>
                  </a:lnTo>
                  <a:lnTo>
                    <a:pt x="1410624" y="1615239"/>
                  </a:lnTo>
                  <a:lnTo>
                    <a:pt x="1392567" y="1626024"/>
                  </a:lnTo>
                  <a:lnTo>
                    <a:pt x="1377775" y="1641831"/>
                  </a:lnTo>
                  <a:lnTo>
                    <a:pt x="1363011" y="1641502"/>
                  </a:lnTo>
                  <a:lnTo>
                    <a:pt x="1358702" y="1647649"/>
                  </a:lnTo>
                  <a:lnTo>
                    <a:pt x="1361556" y="1653275"/>
                  </a:lnTo>
                  <a:lnTo>
                    <a:pt x="1377006" y="1655004"/>
                  </a:lnTo>
                  <a:lnTo>
                    <a:pt x="1398138" y="1632528"/>
                  </a:lnTo>
                  <a:lnTo>
                    <a:pt x="1430191" y="1634202"/>
                  </a:lnTo>
                  <a:lnTo>
                    <a:pt x="1448550" y="1645646"/>
                  </a:lnTo>
                  <a:lnTo>
                    <a:pt x="1463918" y="1666502"/>
                  </a:lnTo>
                  <a:lnTo>
                    <a:pt x="1486312" y="1681376"/>
                  </a:lnTo>
                  <a:lnTo>
                    <a:pt x="1487711" y="1688265"/>
                  </a:lnTo>
                  <a:lnTo>
                    <a:pt x="1486833" y="1696113"/>
                  </a:lnTo>
                  <a:lnTo>
                    <a:pt x="1478875" y="1706816"/>
                  </a:lnTo>
                  <a:lnTo>
                    <a:pt x="1480576" y="1719412"/>
                  </a:lnTo>
                  <a:lnTo>
                    <a:pt x="1476515" y="1732228"/>
                  </a:lnTo>
                  <a:lnTo>
                    <a:pt x="1481564" y="1746910"/>
                  </a:lnTo>
                  <a:lnTo>
                    <a:pt x="1477997" y="1751795"/>
                  </a:lnTo>
                  <a:lnTo>
                    <a:pt x="1467513" y="1748502"/>
                  </a:lnTo>
                  <a:lnTo>
                    <a:pt x="1426569" y="1714116"/>
                  </a:lnTo>
                  <a:lnTo>
                    <a:pt x="1419708" y="1698034"/>
                  </a:lnTo>
                  <a:lnTo>
                    <a:pt x="1415097" y="1676052"/>
                  </a:lnTo>
                  <a:lnTo>
                    <a:pt x="1407139" y="1667381"/>
                  </a:lnTo>
                  <a:lnTo>
                    <a:pt x="1401211" y="1667765"/>
                  </a:lnTo>
                  <a:lnTo>
                    <a:pt x="1366413" y="1699022"/>
                  </a:lnTo>
                  <a:lnTo>
                    <a:pt x="1401458" y="1684258"/>
                  </a:lnTo>
                  <a:lnTo>
                    <a:pt x="1406617" y="1714555"/>
                  </a:lnTo>
                  <a:lnTo>
                    <a:pt x="1394488" y="1728414"/>
                  </a:lnTo>
                  <a:lnTo>
                    <a:pt x="1392512" y="1740845"/>
                  </a:lnTo>
                  <a:lnTo>
                    <a:pt x="1413039" y="1733902"/>
                  </a:lnTo>
                  <a:lnTo>
                    <a:pt x="1464385" y="1774271"/>
                  </a:lnTo>
                  <a:lnTo>
                    <a:pt x="1466333" y="1794194"/>
                  </a:lnTo>
                  <a:lnTo>
                    <a:pt x="1481345" y="1800369"/>
                  </a:lnTo>
                  <a:lnTo>
                    <a:pt x="1478052" y="1816039"/>
                  </a:lnTo>
                  <a:lnTo>
                    <a:pt x="1479396" y="1826248"/>
                  </a:lnTo>
                  <a:lnTo>
                    <a:pt x="1495807" y="1817987"/>
                  </a:lnTo>
                  <a:lnTo>
                    <a:pt x="1497316" y="1906134"/>
                  </a:lnTo>
                  <a:lnTo>
                    <a:pt x="1492349" y="1909565"/>
                  </a:lnTo>
                  <a:lnTo>
                    <a:pt x="1483650" y="1906409"/>
                  </a:lnTo>
                  <a:lnTo>
                    <a:pt x="1474841" y="1887363"/>
                  </a:lnTo>
                  <a:lnTo>
                    <a:pt x="1467047" y="1906189"/>
                  </a:lnTo>
                  <a:lnTo>
                    <a:pt x="1448495" y="1904186"/>
                  </a:lnTo>
                  <a:lnTo>
                    <a:pt x="1432030" y="1889147"/>
                  </a:lnTo>
                  <a:lnTo>
                    <a:pt x="1421162" y="1855749"/>
                  </a:lnTo>
                  <a:lnTo>
                    <a:pt x="1410103" y="1834728"/>
                  </a:lnTo>
                  <a:lnTo>
                    <a:pt x="1397232" y="1829980"/>
                  </a:lnTo>
                  <a:lnTo>
                    <a:pt x="1376128" y="1812417"/>
                  </a:lnTo>
                  <a:lnTo>
                    <a:pt x="1346215" y="1808382"/>
                  </a:lnTo>
                  <a:lnTo>
                    <a:pt x="1322285" y="1782010"/>
                  </a:lnTo>
                  <a:lnTo>
                    <a:pt x="1314958" y="1779924"/>
                  </a:lnTo>
                  <a:lnTo>
                    <a:pt x="1313421" y="1782723"/>
                  </a:lnTo>
                  <a:lnTo>
                    <a:pt x="1337050" y="1815051"/>
                  </a:lnTo>
                  <a:lnTo>
                    <a:pt x="1373960" y="1819716"/>
                  </a:lnTo>
                  <a:lnTo>
                    <a:pt x="1382907" y="1833740"/>
                  </a:lnTo>
                  <a:lnTo>
                    <a:pt x="1371024" y="1854048"/>
                  </a:lnTo>
                  <a:lnTo>
                    <a:pt x="1352335" y="1864778"/>
                  </a:lnTo>
                  <a:lnTo>
                    <a:pt x="1319404" y="1863708"/>
                  </a:lnTo>
                  <a:lnTo>
                    <a:pt x="1315123" y="1870568"/>
                  </a:lnTo>
                  <a:lnTo>
                    <a:pt x="1310924" y="1888681"/>
                  </a:lnTo>
                  <a:lnTo>
                    <a:pt x="1303157" y="1905860"/>
                  </a:lnTo>
                  <a:lnTo>
                    <a:pt x="1304612" y="1909976"/>
                  </a:lnTo>
                  <a:lnTo>
                    <a:pt x="1313586" y="1911156"/>
                  </a:lnTo>
                  <a:lnTo>
                    <a:pt x="1327197" y="1877347"/>
                  </a:lnTo>
                  <a:lnTo>
                    <a:pt x="1340535" y="1876715"/>
                  </a:lnTo>
                  <a:lnTo>
                    <a:pt x="1378433" y="1858823"/>
                  </a:lnTo>
                  <a:lnTo>
                    <a:pt x="1388148" y="1871474"/>
                  </a:lnTo>
                  <a:lnTo>
                    <a:pt x="1389438" y="1881161"/>
                  </a:lnTo>
                  <a:lnTo>
                    <a:pt x="1386310" y="1891809"/>
                  </a:lnTo>
                  <a:lnTo>
                    <a:pt x="1367539" y="1904652"/>
                  </a:lnTo>
                  <a:lnTo>
                    <a:pt x="1354256" y="1906628"/>
                  </a:lnTo>
                  <a:lnTo>
                    <a:pt x="1351320" y="1918072"/>
                  </a:lnTo>
                  <a:lnTo>
                    <a:pt x="1313970" y="1942194"/>
                  </a:lnTo>
                  <a:lnTo>
                    <a:pt x="1331780" y="1947930"/>
                  </a:lnTo>
                  <a:lnTo>
                    <a:pt x="1346215" y="1931986"/>
                  </a:lnTo>
                  <a:lnTo>
                    <a:pt x="1365892" y="1929955"/>
                  </a:lnTo>
                  <a:lnTo>
                    <a:pt x="1393582" y="1915163"/>
                  </a:lnTo>
                  <a:lnTo>
                    <a:pt x="1400882" y="1921969"/>
                  </a:lnTo>
                  <a:lnTo>
                    <a:pt x="1435103" y="1934812"/>
                  </a:lnTo>
                  <a:lnTo>
                    <a:pt x="1474484" y="1941728"/>
                  </a:lnTo>
                  <a:lnTo>
                    <a:pt x="1476021" y="1947656"/>
                  </a:lnTo>
                  <a:lnTo>
                    <a:pt x="1464275" y="1955806"/>
                  </a:lnTo>
                  <a:lnTo>
                    <a:pt x="1450416" y="1975757"/>
                  </a:lnTo>
                  <a:lnTo>
                    <a:pt x="1403215" y="2012915"/>
                  </a:lnTo>
                  <a:lnTo>
                    <a:pt x="1392896" y="2027789"/>
                  </a:lnTo>
                  <a:lnTo>
                    <a:pt x="1363889" y="2051912"/>
                  </a:lnTo>
                  <a:lnTo>
                    <a:pt x="1324645" y="2069804"/>
                  </a:lnTo>
                  <a:lnTo>
                    <a:pt x="1310567" y="2071725"/>
                  </a:lnTo>
                  <a:lnTo>
                    <a:pt x="1273519" y="2090332"/>
                  </a:lnTo>
                  <a:lnTo>
                    <a:pt x="1258892" y="2086078"/>
                  </a:lnTo>
                  <a:lnTo>
                    <a:pt x="1249205" y="2098729"/>
                  </a:lnTo>
                  <a:lnTo>
                    <a:pt x="1241548" y="2098180"/>
                  </a:lnTo>
                  <a:lnTo>
                    <a:pt x="1234166" y="2103916"/>
                  </a:lnTo>
                  <a:lnTo>
                    <a:pt x="1211992" y="2105425"/>
                  </a:lnTo>
                  <a:lnTo>
                    <a:pt x="1198655" y="2097439"/>
                  </a:lnTo>
                  <a:lnTo>
                    <a:pt x="1192151" y="2084816"/>
                  </a:lnTo>
                  <a:lnTo>
                    <a:pt x="1180679" y="2072686"/>
                  </a:lnTo>
                  <a:lnTo>
                    <a:pt x="1181311" y="2078559"/>
                  </a:lnTo>
                  <a:lnTo>
                    <a:pt x="1189818" y="2097851"/>
                  </a:lnTo>
                  <a:lnTo>
                    <a:pt x="1189049" y="2116101"/>
                  </a:lnTo>
                  <a:lnTo>
                    <a:pt x="1161908" y="2140058"/>
                  </a:lnTo>
                  <a:lnTo>
                    <a:pt x="1147199" y="2181772"/>
                  </a:lnTo>
                  <a:lnTo>
                    <a:pt x="1131255" y="2212151"/>
                  </a:lnTo>
                  <a:lnTo>
                    <a:pt x="1123406" y="2219725"/>
                  </a:lnTo>
                  <a:lnTo>
                    <a:pt x="1115612" y="2234600"/>
                  </a:lnTo>
                  <a:lnTo>
                    <a:pt x="1094947" y="2244753"/>
                  </a:lnTo>
                  <a:lnTo>
                    <a:pt x="1071841" y="2268272"/>
                  </a:lnTo>
                  <a:lnTo>
                    <a:pt x="1062867" y="2268546"/>
                  </a:lnTo>
                  <a:lnTo>
                    <a:pt x="1047224" y="2292916"/>
                  </a:lnTo>
                  <a:lnTo>
                    <a:pt x="1046236" y="2289924"/>
                  </a:lnTo>
                  <a:lnTo>
                    <a:pt x="1047801" y="2279716"/>
                  </a:lnTo>
                  <a:lnTo>
                    <a:pt x="1046456" y="2276697"/>
                  </a:lnTo>
                  <a:lnTo>
                    <a:pt x="1033612" y="2289513"/>
                  </a:lnTo>
                  <a:lnTo>
                    <a:pt x="1025654" y="2288223"/>
                  </a:lnTo>
                  <a:lnTo>
                    <a:pt x="1027493" y="2267998"/>
                  </a:lnTo>
                  <a:lnTo>
                    <a:pt x="1033969" y="2249007"/>
                  </a:lnTo>
                  <a:lnTo>
                    <a:pt x="1026121" y="2243710"/>
                  </a:lnTo>
                  <a:lnTo>
                    <a:pt x="1019232" y="2270687"/>
                  </a:lnTo>
                  <a:lnTo>
                    <a:pt x="1012234" y="2287153"/>
                  </a:lnTo>
                  <a:lnTo>
                    <a:pt x="998129" y="2294013"/>
                  </a:lnTo>
                  <a:lnTo>
                    <a:pt x="971509" y="2293547"/>
                  </a:lnTo>
                  <a:lnTo>
                    <a:pt x="965938" y="2300243"/>
                  </a:lnTo>
                  <a:lnTo>
                    <a:pt x="962508" y="2317093"/>
                  </a:lnTo>
                  <a:lnTo>
                    <a:pt x="954906" y="2328948"/>
                  </a:lnTo>
                  <a:lnTo>
                    <a:pt x="940663" y="2328345"/>
                  </a:lnTo>
                  <a:lnTo>
                    <a:pt x="931552" y="2334711"/>
                  </a:lnTo>
                  <a:lnTo>
                    <a:pt x="931881" y="2341984"/>
                  </a:lnTo>
                  <a:lnTo>
                    <a:pt x="940855" y="2347527"/>
                  </a:lnTo>
                  <a:lnTo>
                    <a:pt x="947003" y="2362017"/>
                  </a:lnTo>
                  <a:lnTo>
                    <a:pt x="948018" y="2364569"/>
                  </a:lnTo>
                  <a:lnTo>
                    <a:pt x="939346" y="2385892"/>
                  </a:lnTo>
                  <a:lnTo>
                    <a:pt x="942392" y="2404801"/>
                  </a:lnTo>
                  <a:lnTo>
                    <a:pt x="942502" y="2419840"/>
                  </a:lnTo>
                  <a:lnTo>
                    <a:pt x="940800" y="2425410"/>
                  </a:lnTo>
                  <a:lnTo>
                    <a:pt x="933226" y="2441794"/>
                  </a:lnTo>
                  <a:lnTo>
                    <a:pt x="924993" y="2445224"/>
                  </a:lnTo>
                  <a:lnTo>
                    <a:pt x="923511" y="2459632"/>
                  </a:lnTo>
                  <a:lnTo>
                    <a:pt x="915278" y="2465697"/>
                  </a:lnTo>
                  <a:lnTo>
                    <a:pt x="913028" y="2475027"/>
                  </a:lnTo>
                  <a:lnTo>
                    <a:pt x="905866" y="2484660"/>
                  </a:lnTo>
                  <a:lnTo>
                    <a:pt x="896480" y="2491027"/>
                  </a:lnTo>
                  <a:lnTo>
                    <a:pt x="886683" y="2491301"/>
                  </a:lnTo>
                  <a:lnTo>
                    <a:pt x="889619" y="2502470"/>
                  </a:lnTo>
                  <a:lnTo>
                    <a:pt x="888192" y="2511774"/>
                  </a:lnTo>
                  <a:lnTo>
                    <a:pt x="891211" y="2520418"/>
                  </a:lnTo>
                  <a:lnTo>
                    <a:pt x="893955" y="2539326"/>
                  </a:lnTo>
                  <a:lnTo>
                    <a:pt x="885887" y="2574096"/>
                  </a:lnTo>
                  <a:lnTo>
                    <a:pt x="880563" y="2588532"/>
                  </a:lnTo>
                  <a:lnTo>
                    <a:pt x="875925" y="2612654"/>
                  </a:lnTo>
                  <a:lnTo>
                    <a:pt x="863988" y="2629120"/>
                  </a:lnTo>
                  <a:lnTo>
                    <a:pt x="867610" y="2641743"/>
                  </a:lnTo>
                  <a:lnTo>
                    <a:pt x="867034" y="2650443"/>
                  </a:lnTo>
                  <a:lnTo>
                    <a:pt x="853202" y="2662161"/>
                  </a:lnTo>
                  <a:lnTo>
                    <a:pt x="840606" y="2663314"/>
                  </a:lnTo>
                  <a:lnTo>
                    <a:pt x="807098" y="2647040"/>
                  </a:lnTo>
                  <a:lnTo>
                    <a:pt x="804272" y="2640399"/>
                  </a:lnTo>
                  <a:lnTo>
                    <a:pt x="803503" y="2624948"/>
                  </a:lnTo>
                  <a:lnTo>
                    <a:pt x="797987" y="2621573"/>
                  </a:lnTo>
                  <a:lnTo>
                    <a:pt x="788163" y="2622067"/>
                  </a:lnTo>
                  <a:lnTo>
                    <a:pt x="779024" y="2614822"/>
                  </a:lnTo>
                  <a:lnTo>
                    <a:pt x="769666" y="2611995"/>
                  </a:lnTo>
                  <a:lnTo>
                    <a:pt x="766290" y="2602363"/>
                  </a:lnTo>
                  <a:lnTo>
                    <a:pt x="757152" y="2606479"/>
                  </a:lnTo>
                  <a:lnTo>
                    <a:pt x="752953" y="2606095"/>
                  </a:lnTo>
                  <a:lnTo>
                    <a:pt x="743458" y="2605519"/>
                  </a:lnTo>
                  <a:lnTo>
                    <a:pt x="729270" y="2610678"/>
                  </a:lnTo>
                  <a:lnTo>
                    <a:pt x="722519" y="2607879"/>
                  </a:lnTo>
                  <a:lnTo>
                    <a:pt x="706986" y="2576402"/>
                  </a:lnTo>
                  <a:lnTo>
                    <a:pt x="693621" y="2563531"/>
                  </a:lnTo>
                  <a:lnTo>
                    <a:pt x="690328" y="2552142"/>
                  </a:lnTo>
                  <a:lnTo>
                    <a:pt x="684785" y="2548218"/>
                  </a:lnTo>
                  <a:lnTo>
                    <a:pt x="680613" y="2524123"/>
                  </a:lnTo>
                  <a:lnTo>
                    <a:pt x="664806" y="2511609"/>
                  </a:lnTo>
                  <a:lnTo>
                    <a:pt x="653061" y="2480379"/>
                  </a:lnTo>
                  <a:lnTo>
                    <a:pt x="635579" y="2457491"/>
                  </a:lnTo>
                  <a:lnTo>
                    <a:pt x="624767" y="2430762"/>
                  </a:lnTo>
                  <a:lnTo>
                    <a:pt x="623093" y="2405789"/>
                  </a:lnTo>
                  <a:lnTo>
                    <a:pt x="619909" y="2391875"/>
                  </a:lnTo>
                  <a:lnTo>
                    <a:pt x="627539" y="2375876"/>
                  </a:lnTo>
                  <a:lnTo>
                    <a:pt x="627895" y="2386387"/>
                  </a:lnTo>
                  <a:lnTo>
                    <a:pt x="629542" y="2387951"/>
                  </a:lnTo>
                  <a:lnTo>
                    <a:pt x="642221" y="2377056"/>
                  </a:lnTo>
                  <a:lnTo>
                    <a:pt x="642934" y="2372473"/>
                  </a:lnTo>
                  <a:lnTo>
                    <a:pt x="639723" y="2368247"/>
                  </a:lnTo>
                  <a:lnTo>
                    <a:pt x="644937" y="2362017"/>
                  </a:lnTo>
                  <a:lnTo>
                    <a:pt x="649877" y="2358998"/>
                  </a:lnTo>
                  <a:lnTo>
                    <a:pt x="654762" y="2362017"/>
                  </a:lnTo>
                  <a:lnTo>
                    <a:pt x="661980" y="2366463"/>
                  </a:lnTo>
                  <a:lnTo>
                    <a:pt x="661294" y="2362017"/>
                  </a:lnTo>
                  <a:lnTo>
                    <a:pt x="660855" y="2359108"/>
                  </a:lnTo>
                  <a:lnTo>
                    <a:pt x="648697" y="2349860"/>
                  </a:lnTo>
                  <a:lnTo>
                    <a:pt x="636348" y="2358779"/>
                  </a:lnTo>
                  <a:lnTo>
                    <a:pt x="629816" y="2358038"/>
                  </a:lnTo>
                  <a:lnTo>
                    <a:pt x="627621" y="2362045"/>
                  </a:lnTo>
                  <a:lnTo>
                    <a:pt x="614942" y="2384932"/>
                  </a:lnTo>
                  <a:lnTo>
                    <a:pt x="606984" y="2391683"/>
                  </a:lnTo>
                  <a:lnTo>
                    <a:pt x="603993" y="2381090"/>
                  </a:lnTo>
                  <a:lnTo>
                    <a:pt x="604651" y="2362045"/>
                  </a:lnTo>
                  <a:lnTo>
                    <a:pt x="604761" y="2348131"/>
                  </a:lnTo>
                  <a:lnTo>
                    <a:pt x="601523" y="2327412"/>
                  </a:lnTo>
                  <a:lnTo>
                    <a:pt x="588240" y="2308586"/>
                  </a:lnTo>
                  <a:lnTo>
                    <a:pt x="585276" y="2314898"/>
                  </a:lnTo>
                  <a:lnTo>
                    <a:pt x="585002" y="2305704"/>
                  </a:lnTo>
                  <a:lnTo>
                    <a:pt x="574875" y="2297663"/>
                  </a:lnTo>
                  <a:lnTo>
                    <a:pt x="562142" y="2255648"/>
                  </a:lnTo>
                  <a:lnTo>
                    <a:pt x="560468" y="2231004"/>
                  </a:lnTo>
                  <a:lnTo>
                    <a:pt x="564502" y="2208391"/>
                  </a:lnTo>
                  <a:lnTo>
                    <a:pt x="553964" y="2181772"/>
                  </a:lnTo>
                  <a:lnTo>
                    <a:pt x="556955" y="2137836"/>
                  </a:lnTo>
                  <a:lnTo>
                    <a:pt x="564337" y="2110200"/>
                  </a:lnTo>
                  <a:lnTo>
                    <a:pt x="570457" y="2113795"/>
                  </a:lnTo>
                  <a:lnTo>
                    <a:pt x="581929" y="2098537"/>
                  </a:lnTo>
                  <a:lnTo>
                    <a:pt x="580968" y="2090880"/>
                  </a:lnTo>
                  <a:lnTo>
                    <a:pt x="574903" y="2083059"/>
                  </a:lnTo>
                  <a:lnTo>
                    <a:pt x="579184" y="2073976"/>
                  </a:lnTo>
                  <a:lnTo>
                    <a:pt x="578992" y="2063849"/>
                  </a:lnTo>
                  <a:lnTo>
                    <a:pt x="580693" y="2058909"/>
                  </a:lnTo>
                  <a:lnTo>
                    <a:pt x="596775" y="2057702"/>
                  </a:lnTo>
                  <a:lnTo>
                    <a:pt x="616369" y="2069256"/>
                  </a:lnTo>
                  <a:lnTo>
                    <a:pt x="627978" y="2068432"/>
                  </a:lnTo>
                  <a:lnTo>
                    <a:pt x="634125" y="2061736"/>
                  </a:lnTo>
                  <a:lnTo>
                    <a:pt x="635332" y="2056275"/>
                  </a:lnTo>
                  <a:lnTo>
                    <a:pt x="632917" y="2045572"/>
                  </a:lnTo>
                  <a:lnTo>
                    <a:pt x="635470" y="2031329"/>
                  </a:lnTo>
                  <a:lnTo>
                    <a:pt x="653033" y="2018102"/>
                  </a:lnTo>
                  <a:lnTo>
                    <a:pt x="650865" y="2013875"/>
                  </a:lnTo>
                  <a:lnTo>
                    <a:pt x="641809" y="2014918"/>
                  </a:lnTo>
                  <a:lnTo>
                    <a:pt x="638763" y="2009402"/>
                  </a:lnTo>
                  <a:lnTo>
                    <a:pt x="643099" y="1982947"/>
                  </a:lnTo>
                  <a:lnTo>
                    <a:pt x="651277" y="1968046"/>
                  </a:lnTo>
                  <a:lnTo>
                    <a:pt x="651908" y="1959484"/>
                  </a:lnTo>
                  <a:lnTo>
                    <a:pt x="646859" y="1951086"/>
                  </a:lnTo>
                  <a:lnTo>
                    <a:pt x="599739" y="1943704"/>
                  </a:lnTo>
                  <a:lnTo>
                    <a:pt x="577126" y="1923753"/>
                  </a:lnTo>
                  <a:lnTo>
                    <a:pt x="549985" y="1911513"/>
                  </a:lnTo>
                  <a:lnTo>
                    <a:pt x="539804" y="1890794"/>
                  </a:lnTo>
                  <a:lnTo>
                    <a:pt x="550314" y="1878856"/>
                  </a:lnTo>
                  <a:lnTo>
                    <a:pt x="578800" y="1883412"/>
                  </a:lnTo>
                  <a:lnTo>
                    <a:pt x="614586" y="1906930"/>
                  </a:lnTo>
                  <a:lnTo>
                    <a:pt x="617467" y="1906930"/>
                  </a:lnTo>
                  <a:cubicBezTo>
                    <a:pt x="617467" y="1906930"/>
                    <a:pt x="619882" y="1900124"/>
                    <a:pt x="619882" y="1900124"/>
                  </a:cubicBezTo>
                  <a:lnTo>
                    <a:pt x="625453" y="1909373"/>
                  </a:lnTo>
                  <a:lnTo>
                    <a:pt x="637583" y="1910278"/>
                  </a:lnTo>
                  <a:lnTo>
                    <a:pt x="634811" y="1899027"/>
                  </a:lnTo>
                  <a:lnTo>
                    <a:pt x="634646" y="1877539"/>
                  </a:lnTo>
                  <a:lnTo>
                    <a:pt x="627319" y="1868236"/>
                  </a:lnTo>
                  <a:lnTo>
                    <a:pt x="623724" y="1854926"/>
                  </a:lnTo>
                  <a:lnTo>
                    <a:pt x="613214" y="1847599"/>
                  </a:lnTo>
                  <a:lnTo>
                    <a:pt x="610250" y="1837609"/>
                  </a:lnTo>
                  <a:lnTo>
                    <a:pt x="603965" y="1835524"/>
                  </a:lnTo>
                  <a:lnTo>
                    <a:pt x="603252" y="1826467"/>
                  </a:lnTo>
                  <a:lnTo>
                    <a:pt x="598010" y="1828004"/>
                  </a:lnTo>
                  <a:lnTo>
                    <a:pt x="586402" y="1843372"/>
                  </a:lnTo>
                  <a:lnTo>
                    <a:pt x="580501" y="1842521"/>
                  </a:lnTo>
                  <a:lnTo>
                    <a:pt x="577702" y="1836292"/>
                  </a:lnTo>
                  <a:lnTo>
                    <a:pt x="579267" y="1827016"/>
                  </a:lnTo>
                  <a:lnTo>
                    <a:pt x="583575" y="1819963"/>
                  </a:lnTo>
                  <a:lnTo>
                    <a:pt x="604706" y="1808273"/>
                  </a:lnTo>
                  <a:lnTo>
                    <a:pt x="606215" y="1802345"/>
                  </a:lnTo>
                  <a:lnTo>
                    <a:pt x="589311" y="1800479"/>
                  </a:lnTo>
                  <a:lnTo>
                    <a:pt x="570814" y="1806379"/>
                  </a:lnTo>
                  <a:lnTo>
                    <a:pt x="569305" y="1799765"/>
                  </a:lnTo>
                  <a:lnTo>
                    <a:pt x="572515" y="1784809"/>
                  </a:lnTo>
                  <a:lnTo>
                    <a:pt x="566204" y="1776000"/>
                  </a:lnTo>
                  <a:lnTo>
                    <a:pt x="544880" y="1819716"/>
                  </a:lnTo>
                  <a:lnTo>
                    <a:pt x="525972" y="1825452"/>
                  </a:lnTo>
                  <a:lnTo>
                    <a:pt x="504731" y="1811401"/>
                  </a:lnTo>
                  <a:lnTo>
                    <a:pt x="501987" y="1796198"/>
                  </a:lnTo>
                  <a:lnTo>
                    <a:pt x="505884" y="1782696"/>
                  </a:lnTo>
                  <a:lnTo>
                    <a:pt x="501219" y="1784480"/>
                  </a:lnTo>
                  <a:lnTo>
                    <a:pt x="498749" y="1779924"/>
                  </a:lnTo>
                  <a:lnTo>
                    <a:pt x="507338" y="1774847"/>
                  </a:lnTo>
                  <a:lnTo>
                    <a:pt x="508628" y="1762580"/>
                  </a:lnTo>
                  <a:lnTo>
                    <a:pt x="513102" y="1748145"/>
                  </a:lnTo>
                  <a:lnTo>
                    <a:pt x="507009" y="1744632"/>
                  </a:lnTo>
                  <a:lnTo>
                    <a:pt x="506131" y="1712387"/>
                  </a:lnTo>
                  <a:lnTo>
                    <a:pt x="493452" y="1711838"/>
                  </a:lnTo>
                  <a:lnTo>
                    <a:pt x="489638" y="1696635"/>
                  </a:lnTo>
                  <a:lnTo>
                    <a:pt x="499627" y="1695043"/>
                  </a:lnTo>
                  <a:lnTo>
                    <a:pt x="508683" y="1685795"/>
                  </a:lnTo>
                  <a:lnTo>
                    <a:pt x="522404" y="1686206"/>
                  </a:lnTo>
                  <a:lnTo>
                    <a:pt x="525314" y="1678934"/>
                  </a:lnTo>
                  <a:lnTo>
                    <a:pt x="504869" y="1668917"/>
                  </a:lnTo>
                  <a:lnTo>
                    <a:pt x="504237" y="1660410"/>
                  </a:lnTo>
                  <a:lnTo>
                    <a:pt x="506927" y="1638538"/>
                  </a:lnTo>
                  <a:lnTo>
                    <a:pt x="501301" y="1623307"/>
                  </a:lnTo>
                  <a:lnTo>
                    <a:pt x="495648" y="1626765"/>
                  </a:lnTo>
                  <a:lnTo>
                    <a:pt x="492327" y="1622127"/>
                  </a:lnTo>
                  <a:lnTo>
                    <a:pt x="491723" y="1614059"/>
                  </a:lnTo>
                  <a:lnTo>
                    <a:pt x="495126" y="1620288"/>
                  </a:lnTo>
                  <a:lnTo>
                    <a:pt x="497981" y="1614498"/>
                  </a:lnTo>
                  <a:lnTo>
                    <a:pt x="494605" y="1587220"/>
                  </a:lnTo>
                  <a:lnTo>
                    <a:pt x="483930" y="1546851"/>
                  </a:lnTo>
                  <a:lnTo>
                    <a:pt x="476932" y="1539688"/>
                  </a:lnTo>
                  <a:lnTo>
                    <a:pt x="477233" y="1526488"/>
                  </a:lnTo>
                  <a:lnTo>
                    <a:pt x="471662" y="1515539"/>
                  </a:lnTo>
                  <a:lnTo>
                    <a:pt x="474791" y="1510489"/>
                  </a:lnTo>
                  <a:lnTo>
                    <a:pt x="474846" y="1504891"/>
                  </a:lnTo>
                  <a:lnTo>
                    <a:pt x="464445" y="1490648"/>
                  </a:lnTo>
                  <a:lnTo>
                    <a:pt x="459286" y="1471849"/>
                  </a:lnTo>
                  <a:lnTo>
                    <a:pt x="432337" y="1446163"/>
                  </a:lnTo>
                  <a:lnTo>
                    <a:pt x="424653" y="1422425"/>
                  </a:lnTo>
                  <a:lnTo>
                    <a:pt x="422101" y="1393307"/>
                  </a:lnTo>
                  <a:lnTo>
                    <a:pt x="414416" y="1376924"/>
                  </a:lnTo>
                  <a:lnTo>
                    <a:pt x="342516" y="1322971"/>
                  </a:lnTo>
                  <a:lnTo>
                    <a:pt x="317872" y="1321242"/>
                  </a:lnTo>
                  <a:lnTo>
                    <a:pt x="277641" y="1299782"/>
                  </a:lnTo>
                  <a:lnTo>
                    <a:pt x="257717" y="1323273"/>
                  </a:lnTo>
                  <a:lnTo>
                    <a:pt x="244901" y="1306094"/>
                  </a:lnTo>
                  <a:lnTo>
                    <a:pt x="226926" y="1326209"/>
                  </a:lnTo>
                  <a:lnTo>
                    <a:pt x="213973" y="1331204"/>
                  </a:lnTo>
                  <a:lnTo>
                    <a:pt x="207716" y="1327993"/>
                  </a:lnTo>
                  <a:lnTo>
                    <a:pt x="200334" y="1309744"/>
                  </a:lnTo>
                  <a:lnTo>
                    <a:pt x="183374" y="1320968"/>
                  </a:lnTo>
                  <a:lnTo>
                    <a:pt x="173989" y="1317922"/>
                  </a:lnTo>
                  <a:lnTo>
                    <a:pt x="173001" y="1322312"/>
                  </a:lnTo>
                  <a:lnTo>
                    <a:pt x="175278" y="1339437"/>
                  </a:lnTo>
                  <a:lnTo>
                    <a:pt x="173193" y="1345365"/>
                  </a:lnTo>
                  <a:lnTo>
                    <a:pt x="128351" y="1327938"/>
                  </a:lnTo>
                  <a:lnTo>
                    <a:pt x="102390" y="1288283"/>
                  </a:lnTo>
                  <a:lnTo>
                    <a:pt x="111995" y="1272009"/>
                  </a:lnTo>
                  <a:lnTo>
                    <a:pt x="132248" y="1263447"/>
                  </a:lnTo>
                  <a:lnTo>
                    <a:pt x="132248" y="1255653"/>
                  </a:lnTo>
                  <a:cubicBezTo>
                    <a:pt x="132248" y="1255653"/>
                    <a:pt x="99261" y="1253897"/>
                    <a:pt x="99261" y="1253897"/>
                  </a:cubicBezTo>
                  <a:lnTo>
                    <a:pt x="85403" y="1242838"/>
                  </a:lnTo>
                  <a:lnTo>
                    <a:pt x="78267" y="1227552"/>
                  </a:lnTo>
                  <a:lnTo>
                    <a:pt x="61527" y="1233836"/>
                  </a:lnTo>
                  <a:lnTo>
                    <a:pt x="50248" y="1206421"/>
                  </a:lnTo>
                  <a:lnTo>
                    <a:pt x="59414" y="1189241"/>
                  </a:lnTo>
                  <a:lnTo>
                    <a:pt x="109415" y="1187320"/>
                  </a:lnTo>
                  <a:lnTo>
                    <a:pt x="128763" y="1166656"/>
                  </a:lnTo>
                  <a:lnTo>
                    <a:pt x="175580" y="1169867"/>
                  </a:lnTo>
                  <a:lnTo>
                    <a:pt x="188177" y="1139734"/>
                  </a:lnTo>
                  <a:lnTo>
                    <a:pt x="175471" y="1123543"/>
                  </a:lnTo>
                  <a:lnTo>
                    <a:pt x="138011" y="1142753"/>
                  </a:lnTo>
                  <a:lnTo>
                    <a:pt x="120941" y="1132627"/>
                  </a:lnTo>
                  <a:lnTo>
                    <a:pt x="111226" y="1144866"/>
                  </a:lnTo>
                  <a:lnTo>
                    <a:pt x="84470" y="1141902"/>
                  </a:lnTo>
                  <a:lnTo>
                    <a:pt x="78322" y="1122528"/>
                  </a:lnTo>
                  <a:lnTo>
                    <a:pt x="64546" y="1105925"/>
                  </a:lnTo>
                  <a:lnTo>
                    <a:pt x="44183" y="1106364"/>
                  </a:lnTo>
                  <a:lnTo>
                    <a:pt x="13996" y="1081885"/>
                  </a:lnTo>
                  <a:lnTo>
                    <a:pt x="1811" y="1060753"/>
                  </a:lnTo>
                  <a:lnTo>
                    <a:pt x="0" y="1035780"/>
                  </a:lnTo>
                  <a:lnTo>
                    <a:pt x="15862" y="999501"/>
                  </a:lnTo>
                  <a:lnTo>
                    <a:pt x="52060" y="988249"/>
                  </a:lnTo>
                  <a:lnTo>
                    <a:pt x="92977" y="962837"/>
                  </a:lnTo>
                  <a:lnTo>
                    <a:pt x="111967" y="935174"/>
                  </a:lnTo>
                  <a:lnTo>
                    <a:pt x="126594" y="923923"/>
                  </a:lnTo>
                  <a:lnTo>
                    <a:pt x="196958" y="904960"/>
                  </a:lnTo>
                  <a:lnTo>
                    <a:pt x="217787" y="876913"/>
                  </a:lnTo>
                  <a:lnTo>
                    <a:pt x="233128" y="836160"/>
                  </a:lnTo>
                  <a:lnTo>
                    <a:pt x="232222" y="802433"/>
                  </a:lnTo>
                  <a:lnTo>
                    <a:pt x="236010" y="781933"/>
                  </a:lnTo>
                  <a:lnTo>
                    <a:pt x="237793" y="755780"/>
                  </a:lnTo>
                  <a:lnTo>
                    <a:pt x="202063" y="762970"/>
                  </a:lnTo>
                  <a:lnTo>
                    <a:pt x="174263" y="756081"/>
                  </a:lnTo>
                  <a:lnTo>
                    <a:pt x="160843" y="740357"/>
                  </a:lnTo>
                  <a:lnTo>
                    <a:pt x="158209" y="721531"/>
                  </a:lnTo>
                  <a:lnTo>
                    <a:pt x="179395" y="671749"/>
                  </a:lnTo>
                  <a:lnTo>
                    <a:pt x="212354" y="636156"/>
                  </a:lnTo>
                  <a:lnTo>
                    <a:pt x="229259" y="598449"/>
                  </a:lnTo>
                  <a:lnTo>
                    <a:pt x="244792" y="579047"/>
                  </a:lnTo>
                  <a:lnTo>
                    <a:pt x="261669" y="579349"/>
                  </a:lnTo>
                  <a:lnTo>
                    <a:pt x="274896" y="557312"/>
                  </a:lnTo>
                  <a:lnTo>
                    <a:pt x="303025" y="567795"/>
                  </a:lnTo>
                  <a:lnTo>
                    <a:pt x="316665" y="558465"/>
                  </a:lnTo>
                  <a:lnTo>
                    <a:pt x="325501" y="495401"/>
                  </a:lnTo>
                  <a:lnTo>
                    <a:pt x="322263" y="447869"/>
                  </a:lnTo>
                  <a:lnTo>
                    <a:pt x="340211" y="421359"/>
                  </a:lnTo>
                  <a:lnTo>
                    <a:pt x="377533" y="424598"/>
                  </a:lnTo>
                  <a:lnTo>
                    <a:pt x="401710" y="462277"/>
                  </a:lnTo>
                  <a:lnTo>
                    <a:pt x="401985" y="448912"/>
                  </a:lnTo>
                  <a:lnTo>
                    <a:pt x="389608" y="398417"/>
                  </a:lnTo>
                  <a:lnTo>
                    <a:pt x="419356" y="360518"/>
                  </a:lnTo>
                  <a:lnTo>
                    <a:pt x="484506" y="344519"/>
                  </a:lnTo>
                  <a:lnTo>
                    <a:pt x="510028" y="323278"/>
                  </a:lnTo>
                  <a:lnTo>
                    <a:pt x="521472" y="336945"/>
                  </a:lnTo>
                  <a:lnTo>
                    <a:pt x="531571" y="378027"/>
                  </a:lnTo>
                  <a:lnTo>
                    <a:pt x="533409" y="411425"/>
                  </a:lnTo>
                  <a:lnTo>
                    <a:pt x="530473" y="450449"/>
                  </a:lnTo>
                  <a:lnTo>
                    <a:pt x="531433" y="462469"/>
                  </a:lnTo>
                  <a:lnTo>
                    <a:pt x="546801" y="441256"/>
                  </a:lnTo>
                  <a:lnTo>
                    <a:pt x="560166" y="404619"/>
                  </a:lnTo>
                  <a:lnTo>
                    <a:pt x="611622" y="441969"/>
                  </a:lnTo>
                  <a:lnTo>
                    <a:pt x="630640" y="410876"/>
                  </a:lnTo>
                  <a:lnTo>
                    <a:pt x="619553" y="345507"/>
                  </a:lnTo>
                  <a:lnTo>
                    <a:pt x="617714" y="324376"/>
                  </a:lnTo>
                  <a:lnTo>
                    <a:pt x="618400" y="308349"/>
                  </a:lnTo>
                  <a:lnTo>
                    <a:pt x="644169" y="294545"/>
                  </a:lnTo>
                  <a:lnTo>
                    <a:pt x="668401" y="309529"/>
                  </a:lnTo>
                  <a:lnTo>
                    <a:pt x="690795" y="344876"/>
                  </a:lnTo>
                  <a:lnTo>
                    <a:pt x="753063" y="410053"/>
                  </a:lnTo>
                  <a:lnTo>
                    <a:pt x="766922" y="435383"/>
                  </a:lnTo>
                  <a:lnTo>
                    <a:pt x="789754" y="441640"/>
                  </a:lnTo>
                  <a:lnTo>
                    <a:pt x="791209" y="437853"/>
                  </a:lnTo>
                  <a:lnTo>
                    <a:pt x="790495" y="426464"/>
                  </a:lnTo>
                  <a:lnTo>
                    <a:pt x="778640" y="383625"/>
                  </a:lnTo>
                  <a:lnTo>
                    <a:pt x="753090" y="351462"/>
                  </a:lnTo>
                  <a:lnTo>
                    <a:pt x="738189" y="331731"/>
                  </a:lnTo>
                  <a:lnTo>
                    <a:pt x="731054" y="295094"/>
                  </a:lnTo>
                  <a:lnTo>
                    <a:pt x="753090" y="266801"/>
                  </a:lnTo>
                  <a:lnTo>
                    <a:pt x="789425" y="294024"/>
                  </a:lnTo>
                  <a:lnTo>
                    <a:pt x="812450" y="343065"/>
                  </a:lnTo>
                  <a:lnTo>
                    <a:pt x="823674" y="350008"/>
                  </a:lnTo>
                  <a:lnTo>
                    <a:pt x="827461" y="338619"/>
                  </a:lnTo>
                  <a:lnTo>
                    <a:pt x="823070" y="317707"/>
                  </a:lnTo>
                  <a:lnTo>
                    <a:pt x="797932" y="255329"/>
                  </a:lnTo>
                  <a:lnTo>
                    <a:pt x="873620" y="239220"/>
                  </a:lnTo>
                  <a:lnTo>
                    <a:pt x="892665" y="287575"/>
                  </a:lnTo>
                  <a:lnTo>
                    <a:pt x="894751" y="254945"/>
                  </a:lnTo>
                  <a:lnTo>
                    <a:pt x="903780" y="248935"/>
                  </a:lnTo>
                  <a:lnTo>
                    <a:pt x="925679" y="276845"/>
                  </a:lnTo>
                  <a:lnTo>
                    <a:pt x="936876" y="275226"/>
                  </a:lnTo>
                  <a:lnTo>
                    <a:pt x="952216" y="318146"/>
                  </a:lnTo>
                  <a:lnTo>
                    <a:pt x="951668" y="297811"/>
                  </a:lnTo>
                  <a:lnTo>
                    <a:pt x="940773" y="250280"/>
                  </a:lnTo>
                  <a:lnTo>
                    <a:pt x="895821" y="226322"/>
                  </a:lnTo>
                  <a:lnTo>
                    <a:pt x="803531" y="209884"/>
                  </a:lnTo>
                  <a:lnTo>
                    <a:pt x="796395" y="196574"/>
                  </a:lnTo>
                  <a:lnTo>
                    <a:pt x="792416" y="167210"/>
                  </a:lnTo>
                  <a:lnTo>
                    <a:pt x="804601" y="142210"/>
                  </a:lnTo>
                  <a:lnTo>
                    <a:pt x="828202" y="142374"/>
                  </a:lnTo>
                  <a:lnTo>
                    <a:pt x="863905" y="110678"/>
                  </a:lnTo>
                  <a:lnTo>
                    <a:pt x="887945" y="139246"/>
                  </a:lnTo>
                  <a:lnTo>
                    <a:pt x="950268" y="144679"/>
                  </a:lnTo>
                  <a:lnTo>
                    <a:pt x="953726" y="154120"/>
                  </a:lnTo>
                  <a:lnTo>
                    <a:pt x="955016" y="182770"/>
                  </a:lnTo>
                  <a:lnTo>
                    <a:pt x="979687" y="211777"/>
                  </a:lnTo>
                  <a:lnTo>
                    <a:pt x="980593" y="202831"/>
                  </a:lnTo>
                  <a:lnTo>
                    <a:pt x="976970" y="179505"/>
                  </a:lnTo>
                  <a:lnTo>
                    <a:pt x="978809" y="136254"/>
                  </a:lnTo>
                  <a:lnTo>
                    <a:pt x="975077" y="99097"/>
                  </a:lnTo>
                  <a:lnTo>
                    <a:pt x="974583" y="72861"/>
                  </a:lnTo>
                  <a:lnTo>
                    <a:pt x="991103" y="59743"/>
                  </a:lnTo>
                  <a:lnTo>
                    <a:pt x="1001641" y="35621"/>
                  </a:lnTo>
                  <a:lnTo>
                    <a:pt x="1026587" y="47421"/>
                  </a:lnTo>
                  <a:lnTo>
                    <a:pt x="1042202" y="24781"/>
                  </a:lnTo>
                  <a:lnTo>
                    <a:pt x="1086934" y="11060"/>
                  </a:lnTo>
                  <a:lnTo>
                    <a:pt x="1112237" y="20637"/>
                  </a:lnTo>
                  <a:lnTo>
                    <a:pt x="1144592" y="0"/>
                  </a:lnTo>
                  <a:lnTo>
                    <a:pt x="1250275" y="49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39" name="Freeform: Shape 3238">
              <a:extLst>
                <a:ext uri="{FF2B5EF4-FFF2-40B4-BE49-F238E27FC236}">
                  <a16:creationId xmlns:a16="http://schemas.microsoft.com/office/drawing/2014/main" id="{AEF734B6-1BC3-33C7-9DB1-3B48F18E08BD}"/>
                </a:ext>
              </a:extLst>
            </p:cNvPr>
            <p:cNvSpPr/>
            <p:nvPr/>
          </p:nvSpPr>
          <p:spPr>
            <a:xfrm>
              <a:off x="1198302" y="3370294"/>
              <a:ext cx="5798" cy="8660"/>
            </a:xfrm>
            <a:custGeom>
              <a:avLst/>
              <a:gdLst>
                <a:gd name="connsiteX0" fmla="*/ 55627 w 55709"/>
                <a:gd name="connsiteY0" fmla="*/ 79118 h 83207"/>
                <a:gd name="connsiteX1" fmla="*/ 50358 w 55709"/>
                <a:gd name="connsiteY1" fmla="*/ 83207 h 83207"/>
                <a:gd name="connsiteX2" fmla="*/ 41905 w 55709"/>
                <a:gd name="connsiteY2" fmla="*/ 79365 h 83207"/>
                <a:gd name="connsiteX3" fmla="*/ 5324 w 55709"/>
                <a:gd name="connsiteY3" fmla="*/ 48711 h 83207"/>
                <a:gd name="connsiteX4" fmla="*/ 0 w 55709"/>
                <a:gd name="connsiteY4" fmla="*/ 24342 h 83207"/>
                <a:gd name="connsiteX5" fmla="*/ 384 w 55709"/>
                <a:gd name="connsiteY5" fmla="*/ 21049 h 83207"/>
                <a:gd name="connsiteX6" fmla="*/ 11115 w 55709"/>
                <a:gd name="connsiteY6" fmla="*/ 0 h 83207"/>
                <a:gd name="connsiteX7" fmla="*/ 21268 w 55709"/>
                <a:gd name="connsiteY7" fmla="*/ 10236 h 83207"/>
                <a:gd name="connsiteX8" fmla="*/ 27169 w 55709"/>
                <a:gd name="connsiteY8" fmla="*/ 32575 h 83207"/>
                <a:gd name="connsiteX9" fmla="*/ 41905 w 55709"/>
                <a:gd name="connsiteY9" fmla="*/ 44485 h 83207"/>
                <a:gd name="connsiteX10" fmla="*/ 55709 w 55709"/>
                <a:gd name="connsiteY10" fmla="*/ 71736 h 83207"/>
                <a:gd name="connsiteX11" fmla="*/ 55627 w 55709"/>
                <a:gd name="connsiteY11" fmla="*/ 79146 h 83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709" h="83207">
                  <a:moveTo>
                    <a:pt x="55627" y="79118"/>
                  </a:moveTo>
                  <a:lnTo>
                    <a:pt x="50358" y="83207"/>
                  </a:lnTo>
                  <a:lnTo>
                    <a:pt x="41905" y="79365"/>
                  </a:lnTo>
                  <a:lnTo>
                    <a:pt x="5324" y="48711"/>
                  </a:lnTo>
                  <a:lnTo>
                    <a:pt x="0" y="24342"/>
                  </a:lnTo>
                  <a:lnTo>
                    <a:pt x="384" y="21049"/>
                  </a:lnTo>
                  <a:lnTo>
                    <a:pt x="11115" y="0"/>
                  </a:lnTo>
                  <a:lnTo>
                    <a:pt x="21268" y="10236"/>
                  </a:lnTo>
                  <a:lnTo>
                    <a:pt x="27169" y="32575"/>
                  </a:lnTo>
                  <a:lnTo>
                    <a:pt x="41905" y="44485"/>
                  </a:lnTo>
                  <a:lnTo>
                    <a:pt x="55709" y="71736"/>
                  </a:lnTo>
                  <a:lnTo>
                    <a:pt x="55627" y="791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0" name="Freeform: Shape 3239">
              <a:extLst>
                <a:ext uri="{FF2B5EF4-FFF2-40B4-BE49-F238E27FC236}">
                  <a16:creationId xmlns:a16="http://schemas.microsoft.com/office/drawing/2014/main" id="{10DF91EC-6CC6-CAE0-BA2F-EC3BDBC6A582}"/>
                </a:ext>
              </a:extLst>
            </p:cNvPr>
            <p:cNvSpPr/>
            <p:nvPr/>
          </p:nvSpPr>
          <p:spPr>
            <a:xfrm>
              <a:off x="1237072" y="3345083"/>
              <a:ext cx="6343" cy="5901"/>
            </a:xfrm>
            <a:custGeom>
              <a:avLst/>
              <a:gdLst>
                <a:gd name="connsiteX0" fmla="*/ 60896 w 60950"/>
                <a:gd name="connsiteY0" fmla="*/ 50495 h 56697"/>
                <a:gd name="connsiteX1" fmla="*/ 59057 w 60950"/>
                <a:gd name="connsiteY1" fmla="*/ 56697 h 56697"/>
                <a:gd name="connsiteX2" fmla="*/ 53459 w 60950"/>
                <a:gd name="connsiteY2" fmla="*/ 53788 h 56697"/>
                <a:gd name="connsiteX3" fmla="*/ 10511 w 60950"/>
                <a:gd name="connsiteY3" fmla="*/ 21954 h 56697"/>
                <a:gd name="connsiteX4" fmla="*/ 1235 w 60950"/>
                <a:gd name="connsiteY4" fmla="*/ 21213 h 56697"/>
                <a:gd name="connsiteX5" fmla="*/ 0 w 60950"/>
                <a:gd name="connsiteY5" fmla="*/ 11307 h 56697"/>
                <a:gd name="connsiteX6" fmla="*/ 1509 w 60950"/>
                <a:gd name="connsiteY6" fmla="*/ 1043 h 56697"/>
                <a:gd name="connsiteX7" fmla="*/ 10538 w 60950"/>
                <a:gd name="connsiteY7" fmla="*/ 0 h 56697"/>
                <a:gd name="connsiteX8" fmla="*/ 53486 w 60950"/>
                <a:gd name="connsiteY8" fmla="*/ 39490 h 56697"/>
                <a:gd name="connsiteX9" fmla="*/ 59002 w 60950"/>
                <a:gd name="connsiteY9" fmla="*/ 40917 h 56697"/>
                <a:gd name="connsiteX10" fmla="*/ 60951 w 60950"/>
                <a:gd name="connsiteY10" fmla="*/ 50468 h 5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50" h="56697">
                  <a:moveTo>
                    <a:pt x="60896" y="50495"/>
                  </a:moveTo>
                  <a:lnTo>
                    <a:pt x="59057" y="56697"/>
                  </a:lnTo>
                  <a:lnTo>
                    <a:pt x="53459" y="53788"/>
                  </a:lnTo>
                  <a:lnTo>
                    <a:pt x="10511" y="21954"/>
                  </a:lnTo>
                  <a:lnTo>
                    <a:pt x="1235" y="21213"/>
                  </a:lnTo>
                  <a:lnTo>
                    <a:pt x="0" y="11307"/>
                  </a:lnTo>
                  <a:lnTo>
                    <a:pt x="1509" y="1043"/>
                  </a:lnTo>
                  <a:lnTo>
                    <a:pt x="10538" y="0"/>
                  </a:lnTo>
                  <a:lnTo>
                    <a:pt x="53486" y="39490"/>
                  </a:lnTo>
                  <a:lnTo>
                    <a:pt x="59002" y="40917"/>
                  </a:lnTo>
                  <a:lnTo>
                    <a:pt x="60951" y="504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1" name="Freeform: Shape 3240">
              <a:extLst>
                <a:ext uri="{FF2B5EF4-FFF2-40B4-BE49-F238E27FC236}">
                  <a16:creationId xmlns:a16="http://schemas.microsoft.com/office/drawing/2014/main" id="{783F0F3C-12F7-C2D6-90FA-ADC8DAA56B8E}"/>
                </a:ext>
              </a:extLst>
            </p:cNvPr>
            <p:cNvSpPr/>
            <p:nvPr/>
          </p:nvSpPr>
          <p:spPr>
            <a:xfrm>
              <a:off x="1219119" y="3352700"/>
              <a:ext cx="4866" cy="5863"/>
            </a:xfrm>
            <a:custGeom>
              <a:avLst/>
              <a:gdLst>
                <a:gd name="connsiteX0" fmla="*/ 9934 w 46762"/>
                <a:gd name="connsiteY0" fmla="*/ 55901 h 56340"/>
                <a:gd name="connsiteX1" fmla="*/ 7821 w 46762"/>
                <a:gd name="connsiteY1" fmla="*/ 56340 h 56340"/>
                <a:gd name="connsiteX2" fmla="*/ 0 w 46762"/>
                <a:gd name="connsiteY2" fmla="*/ 25714 h 56340"/>
                <a:gd name="connsiteX3" fmla="*/ 3952 w 46762"/>
                <a:gd name="connsiteY3" fmla="*/ 8288 h 56340"/>
                <a:gd name="connsiteX4" fmla="*/ 7821 w 46762"/>
                <a:gd name="connsiteY4" fmla="*/ 5434 h 56340"/>
                <a:gd name="connsiteX5" fmla="*/ 9934 w 46762"/>
                <a:gd name="connsiteY5" fmla="*/ 4610 h 56340"/>
                <a:gd name="connsiteX6" fmla="*/ 21598 w 46762"/>
                <a:gd name="connsiteY6" fmla="*/ 0 h 56340"/>
                <a:gd name="connsiteX7" fmla="*/ 42756 w 46762"/>
                <a:gd name="connsiteY7" fmla="*/ 22750 h 56340"/>
                <a:gd name="connsiteX8" fmla="*/ 46763 w 46762"/>
                <a:gd name="connsiteY8" fmla="*/ 42729 h 56340"/>
                <a:gd name="connsiteX9" fmla="*/ 45446 w 46762"/>
                <a:gd name="connsiteY9" fmla="*/ 48684 h 56340"/>
                <a:gd name="connsiteX10" fmla="*/ 9934 w 46762"/>
                <a:gd name="connsiteY10" fmla="*/ 55929 h 5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62" h="56340">
                  <a:moveTo>
                    <a:pt x="9934" y="55901"/>
                  </a:moveTo>
                  <a:lnTo>
                    <a:pt x="7821" y="56340"/>
                  </a:lnTo>
                  <a:lnTo>
                    <a:pt x="0" y="25714"/>
                  </a:lnTo>
                  <a:lnTo>
                    <a:pt x="3952" y="8288"/>
                  </a:lnTo>
                  <a:lnTo>
                    <a:pt x="7821" y="5434"/>
                  </a:lnTo>
                  <a:lnTo>
                    <a:pt x="9934" y="4610"/>
                  </a:lnTo>
                  <a:lnTo>
                    <a:pt x="21598" y="0"/>
                  </a:lnTo>
                  <a:lnTo>
                    <a:pt x="42756" y="22750"/>
                  </a:lnTo>
                  <a:lnTo>
                    <a:pt x="46763" y="42729"/>
                  </a:lnTo>
                  <a:lnTo>
                    <a:pt x="45446" y="48684"/>
                  </a:lnTo>
                  <a:lnTo>
                    <a:pt x="9934" y="559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2" name="Freeform: Shape 3241">
              <a:extLst>
                <a:ext uri="{FF2B5EF4-FFF2-40B4-BE49-F238E27FC236}">
                  <a16:creationId xmlns:a16="http://schemas.microsoft.com/office/drawing/2014/main" id="{B48C0015-9A40-496F-AA0D-B930C7A59DD1}"/>
                </a:ext>
              </a:extLst>
            </p:cNvPr>
            <p:cNvSpPr/>
            <p:nvPr/>
          </p:nvSpPr>
          <p:spPr>
            <a:xfrm>
              <a:off x="1304223" y="3373889"/>
              <a:ext cx="2934" cy="6814"/>
            </a:xfrm>
            <a:custGeom>
              <a:avLst/>
              <a:gdLst>
                <a:gd name="connsiteX0" fmla="*/ 28184 w 28183"/>
                <a:gd name="connsiteY0" fmla="*/ 58371 h 65478"/>
                <a:gd name="connsiteX1" fmla="*/ 27937 w 28183"/>
                <a:gd name="connsiteY1" fmla="*/ 65479 h 65478"/>
                <a:gd name="connsiteX2" fmla="*/ 15588 w 28183"/>
                <a:gd name="connsiteY2" fmla="*/ 63777 h 65478"/>
                <a:gd name="connsiteX3" fmla="*/ 960 w 28183"/>
                <a:gd name="connsiteY3" fmla="*/ 26126 h 65478"/>
                <a:gd name="connsiteX4" fmla="*/ 0 w 28183"/>
                <a:gd name="connsiteY4" fmla="*/ 17234 h 65478"/>
                <a:gd name="connsiteX5" fmla="*/ 1537 w 28183"/>
                <a:gd name="connsiteY5" fmla="*/ 8151 h 65478"/>
                <a:gd name="connsiteX6" fmla="*/ 9386 w 28183"/>
                <a:gd name="connsiteY6" fmla="*/ 0 h 65478"/>
                <a:gd name="connsiteX7" fmla="*/ 13886 w 28183"/>
                <a:gd name="connsiteY7" fmla="*/ 8151 h 65478"/>
                <a:gd name="connsiteX8" fmla="*/ 28184 w 28183"/>
                <a:gd name="connsiteY8" fmla="*/ 58399 h 6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83" h="65478">
                  <a:moveTo>
                    <a:pt x="28184" y="58371"/>
                  </a:moveTo>
                  <a:lnTo>
                    <a:pt x="27937" y="65479"/>
                  </a:lnTo>
                  <a:lnTo>
                    <a:pt x="15588" y="63777"/>
                  </a:lnTo>
                  <a:lnTo>
                    <a:pt x="960" y="26126"/>
                  </a:lnTo>
                  <a:lnTo>
                    <a:pt x="0" y="17234"/>
                  </a:lnTo>
                  <a:lnTo>
                    <a:pt x="1537" y="8151"/>
                  </a:lnTo>
                  <a:lnTo>
                    <a:pt x="9386" y="0"/>
                  </a:lnTo>
                  <a:lnTo>
                    <a:pt x="13886" y="8151"/>
                  </a:lnTo>
                  <a:lnTo>
                    <a:pt x="28184" y="583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3" name="Freeform: Shape 3242">
              <a:extLst>
                <a:ext uri="{FF2B5EF4-FFF2-40B4-BE49-F238E27FC236}">
                  <a16:creationId xmlns:a16="http://schemas.microsoft.com/office/drawing/2014/main" id="{B22387BB-DDCD-545C-6646-72E85460A5CA}"/>
                </a:ext>
              </a:extLst>
            </p:cNvPr>
            <p:cNvSpPr/>
            <p:nvPr/>
          </p:nvSpPr>
          <p:spPr>
            <a:xfrm>
              <a:off x="1308818" y="3382708"/>
              <a:ext cx="2376" cy="3684"/>
            </a:xfrm>
            <a:custGeom>
              <a:avLst/>
              <a:gdLst>
                <a:gd name="connsiteX0" fmla="*/ 22833 w 22832"/>
                <a:gd name="connsiteY0" fmla="*/ 34853 h 35401"/>
                <a:gd name="connsiteX1" fmla="*/ 18881 w 22832"/>
                <a:gd name="connsiteY1" fmla="*/ 35401 h 35401"/>
                <a:gd name="connsiteX2" fmla="*/ 13447 w 22832"/>
                <a:gd name="connsiteY2" fmla="*/ 31889 h 35401"/>
                <a:gd name="connsiteX3" fmla="*/ 412 w 22832"/>
                <a:gd name="connsiteY3" fmla="*/ 9934 h 35401"/>
                <a:gd name="connsiteX4" fmla="*/ 0 w 22832"/>
                <a:gd name="connsiteY4" fmla="*/ 6641 h 35401"/>
                <a:gd name="connsiteX5" fmla="*/ 522 w 22832"/>
                <a:gd name="connsiteY5" fmla="*/ 2717 h 35401"/>
                <a:gd name="connsiteX6" fmla="*/ 6065 w 22832"/>
                <a:gd name="connsiteY6" fmla="*/ 0 h 35401"/>
                <a:gd name="connsiteX7" fmla="*/ 14161 w 22832"/>
                <a:gd name="connsiteY7" fmla="*/ 3815 h 35401"/>
                <a:gd name="connsiteX8" fmla="*/ 18689 w 22832"/>
                <a:gd name="connsiteY8" fmla="*/ 15670 h 35401"/>
                <a:gd name="connsiteX9" fmla="*/ 21159 w 22832"/>
                <a:gd name="connsiteY9" fmla="*/ 18250 h 35401"/>
                <a:gd name="connsiteX10" fmla="*/ 22805 w 22832"/>
                <a:gd name="connsiteY10" fmla="*/ 34853 h 3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32" h="35401">
                  <a:moveTo>
                    <a:pt x="22833" y="34853"/>
                  </a:moveTo>
                  <a:lnTo>
                    <a:pt x="18881" y="35401"/>
                  </a:lnTo>
                  <a:lnTo>
                    <a:pt x="13447" y="31889"/>
                  </a:lnTo>
                  <a:lnTo>
                    <a:pt x="412" y="9934"/>
                  </a:lnTo>
                  <a:lnTo>
                    <a:pt x="0" y="6641"/>
                  </a:lnTo>
                  <a:lnTo>
                    <a:pt x="522" y="2717"/>
                  </a:lnTo>
                  <a:lnTo>
                    <a:pt x="6065" y="0"/>
                  </a:lnTo>
                  <a:lnTo>
                    <a:pt x="14161" y="3815"/>
                  </a:lnTo>
                  <a:lnTo>
                    <a:pt x="18689" y="15670"/>
                  </a:lnTo>
                  <a:lnTo>
                    <a:pt x="21159" y="18250"/>
                  </a:lnTo>
                  <a:lnTo>
                    <a:pt x="22805" y="348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4" name="Freeform: Shape 3243">
              <a:extLst>
                <a:ext uri="{FF2B5EF4-FFF2-40B4-BE49-F238E27FC236}">
                  <a16:creationId xmlns:a16="http://schemas.microsoft.com/office/drawing/2014/main" id="{9DFD059E-A4C8-31B0-B1CB-8164538758A6}"/>
                </a:ext>
              </a:extLst>
            </p:cNvPr>
            <p:cNvSpPr/>
            <p:nvPr/>
          </p:nvSpPr>
          <p:spPr>
            <a:xfrm>
              <a:off x="1213707" y="3357358"/>
              <a:ext cx="3050" cy="3239"/>
            </a:xfrm>
            <a:custGeom>
              <a:avLst/>
              <a:gdLst>
                <a:gd name="connsiteX0" fmla="*/ 29309 w 29308"/>
                <a:gd name="connsiteY0" fmla="*/ 27388 h 31120"/>
                <a:gd name="connsiteX1" fmla="*/ 19539 w 29308"/>
                <a:gd name="connsiteY1" fmla="*/ 31120 h 31120"/>
                <a:gd name="connsiteX2" fmla="*/ 4418 w 29308"/>
                <a:gd name="connsiteY2" fmla="*/ 27278 h 31120"/>
                <a:gd name="connsiteX3" fmla="*/ 1784 w 29308"/>
                <a:gd name="connsiteY3" fmla="*/ 25001 h 31120"/>
                <a:gd name="connsiteX4" fmla="*/ 0 w 29308"/>
                <a:gd name="connsiteY4" fmla="*/ 8892 h 31120"/>
                <a:gd name="connsiteX5" fmla="*/ 1207 w 29308"/>
                <a:gd name="connsiteY5" fmla="*/ 2689 h 31120"/>
                <a:gd name="connsiteX6" fmla="*/ 7821 w 29308"/>
                <a:gd name="connsiteY6" fmla="*/ 0 h 31120"/>
                <a:gd name="connsiteX7" fmla="*/ 19265 w 29308"/>
                <a:gd name="connsiteY7" fmla="*/ 8178 h 31120"/>
                <a:gd name="connsiteX8" fmla="*/ 29254 w 29308"/>
                <a:gd name="connsiteY8" fmla="*/ 18936 h 31120"/>
                <a:gd name="connsiteX9" fmla="*/ 29309 w 29308"/>
                <a:gd name="connsiteY9" fmla="*/ 27443 h 3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308" h="31120">
                  <a:moveTo>
                    <a:pt x="29309" y="27388"/>
                  </a:moveTo>
                  <a:lnTo>
                    <a:pt x="19539" y="31120"/>
                  </a:lnTo>
                  <a:lnTo>
                    <a:pt x="4418" y="27278"/>
                  </a:lnTo>
                  <a:lnTo>
                    <a:pt x="1784" y="25001"/>
                  </a:lnTo>
                  <a:lnTo>
                    <a:pt x="0" y="8892"/>
                  </a:lnTo>
                  <a:lnTo>
                    <a:pt x="1207" y="2689"/>
                  </a:lnTo>
                  <a:lnTo>
                    <a:pt x="7821" y="0"/>
                  </a:lnTo>
                  <a:lnTo>
                    <a:pt x="19265" y="8178"/>
                  </a:lnTo>
                  <a:lnTo>
                    <a:pt x="29254" y="18936"/>
                  </a:lnTo>
                  <a:lnTo>
                    <a:pt x="29309" y="274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5" name="Freeform: Shape 3244">
              <a:extLst>
                <a:ext uri="{FF2B5EF4-FFF2-40B4-BE49-F238E27FC236}">
                  <a16:creationId xmlns:a16="http://schemas.microsoft.com/office/drawing/2014/main" id="{0EF9E626-78F3-5020-56F8-94106FC2D193}"/>
                </a:ext>
              </a:extLst>
            </p:cNvPr>
            <p:cNvSpPr/>
            <p:nvPr/>
          </p:nvSpPr>
          <p:spPr>
            <a:xfrm>
              <a:off x="1212256" y="3365932"/>
              <a:ext cx="2291" cy="3853"/>
            </a:xfrm>
            <a:custGeom>
              <a:avLst/>
              <a:gdLst>
                <a:gd name="connsiteX0" fmla="*/ 22009 w 22009"/>
                <a:gd name="connsiteY0" fmla="*/ 20225 h 37020"/>
                <a:gd name="connsiteX1" fmla="*/ 18936 w 22009"/>
                <a:gd name="connsiteY1" fmla="*/ 37021 h 37020"/>
                <a:gd name="connsiteX2" fmla="*/ 14902 w 22009"/>
                <a:gd name="connsiteY2" fmla="*/ 31669 h 37020"/>
                <a:gd name="connsiteX3" fmla="*/ 10072 w 22009"/>
                <a:gd name="connsiteY3" fmla="*/ 18332 h 37020"/>
                <a:gd name="connsiteX4" fmla="*/ 494 w 22009"/>
                <a:gd name="connsiteY4" fmla="*/ 8782 h 37020"/>
                <a:gd name="connsiteX5" fmla="*/ 0 w 22009"/>
                <a:gd name="connsiteY5" fmla="*/ 4226 h 37020"/>
                <a:gd name="connsiteX6" fmla="*/ 768 w 22009"/>
                <a:gd name="connsiteY6" fmla="*/ 0 h 37020"/>
                <a:gd name="connsiteX7" fmla="*/ 12404 w 22009"/>
                <a:gd name="connsiteY7" fmla="*/ 4803 h 37020"/>
                <a:gd name="connsiteX8" fmla="*/ 18551 w 22009"/>
                <a:gd name="connsiteY8" fmla="*/ 10566 h 37020"/>
                <a:gd name="connsiteX9" fmla="*/ 21954 w 22009"/>
                <a:gd name="connsiteY9" fmla="*/ 20225 h 3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09" h="37020">
                  <a:moveTo>
                    <a:pt x="22009" y="20225"/>
                  </a:moveTo>
                  <a:lnTo>
                    <a:pt x="18936" y="37021"/>
                  </a:lnTo>
                  <a:lnTo>
                    <a:pt x="14902" y="31669"/>
                  </a:lnTo>
                  <a:lnTo>
                    <a:pt x="10072" y="18332"/>
                  </a:lnTo>
                  <a:lnTo>
                    <a:pt x="494" y="8782"/>
                  </a:lnTo>
                  <a:lnTo>
                    <a:pt x="0" y="4226"/>
                  </a:lnTo>
                  <a:lnTo>
                    <a:pt x="768" y="0"/>
                  </a:lnTo>
                  <a:lnTo>
                    <a:pt x="12404" y="4803"/>
                  </a:lnTo>
                  <a:lnTo>
                    <a:pt x="18551" y="10566"/>
                  </a:lnTo>
                  <a:lnTo>
                    <a:pt x="21954" y="202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6" name="Freeform: Shape 3245">
              <a:extLst>
                <a:ext uri="{FF2B5EF4-FFF2-40B4-BE49-F238E27FC236}">
                  <a16:creationId xmlns:a16="http://schemas.microsoft.com/office/drawing/2014/main" id="{86074DCA-11AF-A2FC-BF55-5B159CC0852E}"/>
                </a:ext>
              </a:extLst>
            </p:cNvPr>
            <p:cNvSpPr/>
            <p:nvPr/>
          </p:nvSpPr>
          <p:spPr>
            <a:xfrm>
              <a:off x="1309267" y="3373461"/>
              <a:ext cx="1314" cy="5729"/>
            </a:xfrm>
            <a:custGeom>
              <a:avLst/>
              <a:gdLst>
                <a:gd name="connsiteX0" fmla="*/ 12624 w 12623"/>
                <a:gd name="connsiteY0" fmla="*/ 44046 h 55050"/>
                <a:gd name="connsiteX1" fmla="*/ 12404 w 12623"/>
                <a:gd name="connsiteY1" fmla="*/ 55051 h 55050"/>
                <a:gd name="connsiteX2" fmla="*/ 8535 w 12623"/>
                <a:gd name="connsiteY2" fmla="*/ 53431 h 55050"/>
                <a:gd name="connsiteX3" fmla="*/ 8068 w 12623"/>
                <a:gd name="connsiteY3" fmla="*/ 44320 h 55050"/>
                <a:gd name="connsiteX4" fmla="*/ 3540 w 12623"/>
                <a:gd name="connsiteY4" fmla="*/ 27525 h 55050"/>
                <a:gd name="connsiteX5" fmla="*/ 1290 w 12623"/>
                <a:gd name="connsiteY5" fmla="*/ 27306 h 55050"/>
                <a:gd name="connsiteX6" fmla="*/ 0 w 12623"/>
                <a:gd name="connsiteY6" fmla="*/ 16548 h 55050"/>
                <a:gd name="connsiteX7" fmla="*/ 247 w 12623"/>
                <a:gd name="connsiteY7" fmla="*/ 0 h 55050"/>
                <a:gd name="connsiteX8" fmla="*/ 2360 w 12623"/>
                <a:gd name="connsiteY8" fmla="*/ 1372 h 55050"/>
                <a:gd name="connsiteX9" fmla="*/ 5296 w 12623"/>
                <a:gd name="connsiteY9" fmla="*/ 21598 h 55050"/>
                <a:gd name="connsiteX10" fmla="*/ 9550 w 12623"/>
                <a:gd name="connsiteY10" fmla="*/ 37652 h 55050"/>
                <a:gd name="connsiteX11" fmla="*/ 12624 w 12623"/>
                <a:gd name="connsiteY11" fmla="*/ 44073 h 5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23" h="55050">
                  <a:moveTo>
                    <a:pt x="12624" y="44046"/>
                  </a:moveTo>
                  <a:lnTo>
                    <a:pt x="12404" y="55051"/>
                  </a:lnTo>
                  <a:lnTo>
                    <a:pt x="8535" y="53431"/>
                  </a:lnTo>
                  <a:lnTo>
                    <a:pt x="8068" y="44320"/>
                  </a:lnTo>
                  <a:lnTo>
                    <a:pt x="3540" y="27525"/>
                  </a:lnTo>
                  <a:lnTo>
                    <a:pt x="1290" y="27306"/>
                  </a:lnTo>
                  <a:lnTo>
                    <a:pt x="0" y="16548"/>
                  </a:lnTo>
                  <a:lnTo>
                    <a:pt x="247" y="0"/>
                  </a:lnTo>
                  <a:lnTo>
                    <a:pt x="2360" y="1372"/>
                  </a:lnTo>
                  <a:lnTo>
                    <a:pt x="5296" y="21598"/>
                  </a:lnTo>
                  <a:lnTo>
                    <a:pt x="9550" y="37652"/>
                  </a:lnTo>
                  <a:lnTo>
                    <a:pt x="12624" y="440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7" name="Freeform: Shape 3246">
              <a:extLst>
                <a:ext uri="{FF2B5EF4-FFF2-40B4-BE49-F238E27FC236}">
                  <a16:creationId xmlns:a16="http://schemas.microsoft.com/office/drawing/2014/main" id="{90A84304-F508-FCDE-A734-8EEF5FA110EE}"/>
                </a:ext>
              </a:extLst>
            </p:cNvPr>
            <p:cNvSpPr/>
            <p:nvPr/>
          </p:nvSpPr>
          <p:spPr>
            <a:xfrm>
              <a:off x="1240273" y="3342769"/>
              <a:ext cx="1962" cy="3478"/>
            </a:xfrm>
            <a:custGeom>
              <a:avLst/>
              <a:gdLst>
                <a:gd name="connsiteX0" fmla="*/ 18826 w 18853"/>
                <a:gd name="connsiteY0" fmla="*/ 32685 h 33425"/>
                <a:gd name="connsiteX1" fmla="*/ 15286 w 18853"/>
                <a:gd name="connsiteY1" fmla="*/ 33426 h 33425"/>
                <a:gd name="connsiteX2" fmla="*/ 439 w 18853"/>
                <a:gd name="connsiteY2" fmla="*/ 22448 h 33425"/>
                <a:gd name="connsiteX3" fmla="*/ 0 w 18853"/>
                <a:gd name="connsiteY3" fmla="*/ 18497 h 33425"/>
                <a:gd name="connsiteX4" fmla="*/ 2360 w 18853"/>
                <a:gd name="connsiteY4" fmla="*/ 961 h 33425"/>
                <a:gd name="connsiteX5" fmla="*/ 8508 w 18853"/>
                <a:gd name="connsiteY5" fmla="*/ 0 h 33425"/>
                <a:gd name="connsiteX6" fmla="*/ 13831 w 18853"/>
                <a:gd name="connsiteY6" fmla="*/ 4665 h 33425"/>
                <a:gd name="connsiteX7" fmla="*/ 14710 w 18853"/>
                <a:gd name="connsiteY7" fmla="*/ 15176 h 33425"/>
                <a:gd name="connsiteX8" fmla="*/ 18854 w 18853"/>
                <a:gd name="connsiteY8" fmla="*/ 23491 h 33425"/>
                <a:gd name="connsiteX9" fmla="*/ 18854 w 18853"/>
                <a:gd name="connsiteY9" fmla="*/ 32630 h 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53" h="33425">
                  <a:moveTo>
                    <a:pt x="18826" y="32685"/>
                  </a:moveTo>
                  <a:lnTo>
                    <a:pt x="15286" y="33426"/>
                  </a:lnTo>
                  <a:lnTo>
                    <a:pt x="439" y="22448"/>
                  </a:lnTo>
                  <a:lnTo>
                    <a:pt x="0" y="18497"/>
                  </a:lnTo>
                  <a:lnTo>
                    <a:pt x="2360" y="961"/>
                  </a:lnTo>
                  <a:lnTo>
                    <a:pt x="8508" y="0"/>
                  </a:lnTo>
                  <a:lnTo>
                    <a:pt x="13831" y="4665"/>
                  </a:lnTo>
                  <a:lnTo>
                    <a:pt x="14710" y="15176"/>
                  </a:lnTo>
                  <a:lnTo>
                    <a:pt x="18854" y="23491"/>
                  </a:lnTo>
                  <a:lnTo>
                    <a:pt x="18854" y="326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8" name="Freeform: Shape 3247">
              <a:extLst>
                <a:ext uri="{FF2B5EF4-FFF2-40B4-BE49-F238E27FC236}">
                  <a16:creationId xmlns:a16="http://schemas.microsoft.com/office/drawing/2014/main" id="{7FDBDF90-AB24-1A29-6D53-1BDC6AA97436}"/>
                </a:ext>
              </a:extLst>
            </p:cNvPr>
            <p:cNvSpPr/>
            <p:nvPr/>
          </p:nvSpPr>
          <p:spPr>
            <a:xfrm>
              <a:off x="1217953" y="3356490"/>
              <a:ext cx="1145" cy="2402"/>
            </a:xfrm>
            <a:custGeom>
              <a:avLst/>
              <a:gdLst>
                <a:gd name="connsiteX0" fmla="*/ 11005 w 11004"/>
                <a:gd name="connsiteY0" fmla="*/ 14161 h 23079"/>
                <a:gd name="connsiteX1" fmla="*/ 10867 w 11004"/>
                <a:gd name="connsiteY1" fmla="*/ 23080 h 23079"/>
                <a:gd name="connsiteX2" fmla="*/ 8068 w 11004"/>
                <a:gd name="connsiteY2" fmla="*/ 22174 h 23079"/>
                <a:gd name="connsiteX3" fmla="*/ 521 w 11004"/>
                <a:gd name="connsiteY3" fmla="*/ 9056 h 23079"/>
                <a:gd name="connsiteX4" fmla="*/ 0 w 11004"/>
                <a:gd name="connsiteY4" fmla="*/ 4144 h 23079"/>
                <a:gd name="connsiteX5" fmla="*/ 604 w 11004"/>
                <a:gd name="connsiteY5" fmla="*/ 0 h 23079"/>
                <a:gd name="connsiteX6" fmla="*/ 10977 w 11004"/>
                <a:gd name="connsiteY6" fmla="*/ 14161 h 2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04" h="23079">
                  <a:moveTo>
                    <a:pt x="11005" y="14161"/>
                  </a:moveTo>
                  <a:lnTo>
                    <a:pt x="10867" y="23080"/>
                  </a:lnTo>
                  <a:lnTo>
                    <a:pt x="8068" y="22174"/>
                  </a:lnTo>
                  <a:lnTo>
                    <a:pt x="521" y="9056"/>
                  </a:lnTo>
                  <a:lnTo>
                    <a:pt x="0" y="4144"/>
                  </a:lnTo>
                  <a:lnTo>
                    <a:pt x="604" y="0"/>
                  </a:lnTo>
                  <a:lnTo>
                    <a:pt x="10977" y="141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49" name="Freeform: Shape 3248">
              <a:extLst>
                <a:ext uri="{FF2B5EF4-FFF2-40B4-BE49-F238E27FC236}">
                  <a16:creationId xmlns:a16="http://schemas.microsoft.com/office/drawing/2014/main" id="{963F0A5F-C643-2F0D-9741-DEB219F12BE8}"/>
                </a:ext>
              </a:extLst>
            </p:cNvPr>
            <p:cNvSpPr/>
            <p:nvPr/>
          </p:nvSpPr>
          <p:spPr>
            <a:xfrm>
              <a:off x="1201680" y="3371367"/>
              <a:ext cx="1051" cy="2125"/>
            </a:xfrm>
            <a:custGeom>
              <a:avLst/>
              <a:gdLst>
                <a:gd name="connsiteX0" fmla="*/ 9632 w 10098"/>
                <a:gd name="connsiteY0" fmla="*/ 6669 h 20417"/>
                <a:gd name="connsiteX1" fmla="*/ 10099 w 10098"/>
                <a:gd name="connsiteY1" fmla="*/ 20418 h 20417"/>
                <a:gd name="connsiteX2" fmla="*/ 2607 w 10098"/>
                <a:gd name="connsiteY2" fmla="*/ 18908 h 20417"/>
                <a:gd name="connsiteX3" fmla="*/ 0 w 10098"/>
                <a:gd name="connsiteY3" fmla="*/ 8370 h 20417"/>
                <a:gd name="connsiteX4" fmla="*/ 2250 w 10098"/>
                <a:gd name="connsiteY4" fmla="*/ 0 h 20417"/>
                <a:gd name="connsiteX5" fmla="*/ 9632 w 10098"/>
                <a:gd name="connsiteY5" fmla="*/ 6669 h 2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8" h="20417">
                  <a:moveTo>
                    <a:pt x="9632" y="6669"/>
                  </a:moveTo>
                  <a:lnTo>
                    <a:pt x="10099" y="20418"/>
                  </a:lnTo>
                  <a:lnTo>
                    <a:pt x="2607" y="18908"/>
                  </a:lnTo>
                  <a:lnTo>
                    <a:pt x="0" y="8370"/>
                  </a:lnTo>
                  <a:lnTo>
                    <a:pt x="2250" y="0"/>
                  </a:lnTo>
                  <a:lnTo>
                    <a:pt x="9632" y="66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0" name="Freeform: Shape 3249">
              <a:extLst>
                <a:ext uri="{FF2B5EF4-FFF2-40B4-BE49-F238E27FC236}">
                  <a16:creationId xmlns:a16="http://schemas.microsoft.com/office/drawing/2014/main" id="{774B9CB7-6B9F-9C0F-940C-67BAE2A2BED1}"/>
                </a:ext>
              </a:extLst>
            </p:cNvPr>
            <p:cNvSpPr/>
            <p:nvPr/>
          </p:nvSpPr>
          <p:spPr>
            <a:xfrm>
              <a:off x="1234336" y="3347462"/>
              <a:ext cx="971" cy="1285"/>
            </a:xfrm>
            <a:custGeom>
              <a:avLst/>
              <a:gdLst>
                <a:gd name="connsiteX0" fmla="*/ 6751 w 9330"/>
                <a:gd name="connsiteY0" fmla="*/ 11993 h 12349"/>
                <a:gd name="connsiteX1" fmla="*/ 494 w 9330"/>
                <a:gd name="connsiteY1" fmla="*/ 12349 h 12349"/>
                <a:gd name="connsiteX2" fmla="*/ 0 w 9330"/>
                <a:gd name="connsiteY2" fmla="*/ 6175 h 12349"/>
                <a:gd name="connsiteX3" fmla="*/ 741 w 9330"/>
                <a:gd name="connsiteY3" fmla="*/ 0 h 12349"/>
                <a:gd name="connsiteX4" fmla="*/ 6723 w 9330"/>
                <a:gd name="connsiteY4" fmla="*/ 1400 h 12349"/>
                <a:gd name="connsiteX5" fmla="*/ 9138 w 9330"/>
                <a:gd name="connsiteY5" fmla="*/ 1948 h 12349"/>
                <a:gd name="connsiteX6" fmla="*/ 9331 w 9330"/>
                <a:gd name="connsiteY6" fmla="*/ 11828 h 12349"/>
                <a:gd name="connsiteX7" fmla="*/ 6723 w 9330"/>
                <a:gd name="connsiteY7" fmla="*/ 11965 h 12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30" h="12349">
                  <a:moveTo>
                    <a:pt x="6751" y="11993"/>
                  </a:moveTo>
                  <a:lnTo>
                    <a:pt x="494" y="12349"/>
                  </a:lnTo>
                  <a:lnTo>
                    <a:pt x="0" y="6175"/>
                  </a:lnTo>
                  <a:lnTo>
                    <a:pt x="741" y="0"/>
                  </a:lnTo>
                  <a:lnTo>
                    <a:pt x="6723" y="1400"/>
                  </a:lnTo>
                  <a:lnTo>
                    <a:pt x="9138" y="1948"/>
                  </a:lnTo>
                  <a:lnTo>
                    <a:pt x="9331" y="11828"/>
                  </a:lnTo>
                  <a:lnTo>
                    <a:pt x="6723" y="119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1" name="Freeform: Shape 3250">
              <a:extLst>
                <a:ext uri="{FF2B5EF4-FFF2-40B4-BE49-F238E27FC236}">
                  <a16:creationId xmlns:a16="http://schemas.microsoft.com/office/drawing/2014/main" id="{A8140226-DFCA-D46E-0C27-F0597AEC18A1}"/>
                </a:ext>
              </a:extLst>
            </p:cNvPr>
            <p:cNvSpPr/>
            <p:nvPr/>
          </p:nvSpPr>
          <p:spPr>
            <a:xfrm>
              <a:off x="1208517" y="3359034"/>
              <a:ext cx="537" cy="1825"/>
            </a:xfrm>
            <a:custGeom>
              <a:avLst/>
              <a:gdLst>
                <a:gd name="connsiteX0" fmla="*/ 5159 w 5159"/>
                <a:gd name="connsiteY0" fmla="*/ 12047 h 17536"/>
                <a:gd name="connsiteX1" fmla="*/ 1345 w 5159"/>
                <a:gd name="connsiteY1" fmla="*/ 17536 h 17536"/>
                <a:gd name="connsiteX2" fmla="*/ 0 w 5159"/>
                <a:gd name="connsiteY2" fmla="*/ 6394 h 17536"/>
                <a:gd name="connsiteX3" fmla="*/ 4885 w 5159"/>
                <a:gd name="connsiteY3" fmla="*/ 0 h 17536"/>
                <a:gd name="connsiteX4" fmla="*/ 5159 w 5159"/>
                <a:gd name="connsiteY4" fmla="*/ 12047 h 17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9" h="17536">
                  <a:moveTo>
                    <a:pt x="5159" y="12047"/>
                  </a:moveTo>
                  <a:lnTo>
                    <a:pt x="1345" y="17536"/>
                  </a:lnTo>
                  <a:lnTo>
                    <a:pt x="0" y="6394"/>
                  </a:lnTo>
                  <a:lnTo>
                    <a:pt x="4885" y="0"/>
                  </a:lnTo>
                  <a:lnTo>
                    <a:pt x="5159" y="120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2" name="Freeform: Shape 3251">
              <a:extLst>
                <a:ext uri="{FF2B5EF4-FFF2-40B4-BE49-F238E27FC236}">
                  <a16:creationId xmlns:a16="http://schemas.microsoft.com/office/drawing/2014/main" id="{F72D57F7-8D2D-4995-AE64-AC1198FD2C36}"/>
                </a:ext>
              </a:extLst>
            </p:cNvPr>
            <p:cNvSpPr/>
            <p:nvPr/>
          </p:nvSpPr>
          <p:spPr>
            <a:xfrm>
              <a:off x="1222497" y="3350353"/>
              <a:ext cx="425" cy="2313"/>
            </a:xfrm>
            <a:custGeom>
              <a:avLst/>
              <a:gdLst>
                <a:gd name="connsiteX0" fmla="*/ 4089 w 4088"/>
                <a:gd name="connsiteY0" fmla="*/ 0 h 22228"/>
                <a:gd name="connsiteX1" fmla="*/ 4089 w 4088"/>
                <a:gd name="connsiteY1" fmla="*/ 22229 h 22228"/>
                <a:gd name="connsiteX2" fmla="*/ 0 w 4088"/>
                <a:gd name="connsiteY2" fmla="*/ 11773 h 22228"/>
                <a:gd name="connsiteX3" fmla="*/ 467 w 4088"/>
                <a:gd name="connsiteY3" fmla="*/ 4418 h 22228"/>
                <a:gd name="connsiteX4" fmla="*/ 4089 w 4088"/>
                <a:gd name="connsiteY4" fmla="*/ 0 h 22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22228">
                  <a:moveTo>
                    <a:pt x="4089" y="0"/>
                  </a:moveTo>
                  <a:lnTo>
                    <a:pt x="4089" y="22229"/>
                  </a:lnTo>
                  <a:cubicBezTo>
                    <a:pt x="4089" y="22229"/>
                    <a:pt x="0" y="11773"/>
                    <a:pt x="0" y="11773"/>
                  </a:cubicBezTo>
                  <a:lnTo>
                    <a:pt x="467" y="4418"/>
                  </a:lnTo>
                  <a:lnTo>
                    <a:pt x="4089"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3" name="Freeform: Shape 3252">
              <a:extLst>
                <a:ext uri="{FF2B5EF4-FFF2-40B4-BE49-F238E27FC236}">
                  <a16:creationId xmlns:a16="http://schemas.microsoft.com/office/drawing/2014/main" id="{21B95CEB-5038-CD77-355B-1D9A49BD0B27}"/>
                </a:ext>
              </a:extLst>
            </p:cNvPr>
            <p:cNvSpPr/>
            <p:nvPr/>
          </p:nvSpPr>
          <p:spPr>
            <a:xfrm>
              <a:off x="1750355" y="3734160"/>
              <a:ext cx="2339" cy="1371"/>
            </a:xfrm>
            <a:custGeom>
              <a:avLst/>
              <a:gdLst>
                <a:gd name="connsiteX0" fmla="*/ 13255 w 22476"/>
                <a:gd name="connsiteY0" fmla="*/ 11608 h 13172"/>
                <a:gd name="connsiteX1" fmla="*/ 9166 w 22476"/>
                <a:gd name="connsiteY1" fmla="*/ 12075 h 13172"/>
                <a:gd name="connsiteX2" fmla="*/ 4857 w 22476"/>
                <a:gd name="connsiteY2" fmla="*/ 11663 h 13172"/>
                <a:gd name="connsiteX3" fmla="*/ 3184 w 22476"/>
                <a:gd name="connsiteY3" fmla="*/ 13172 h 13172"/>
                <a:gd name="connsiteX4" fmla="*/ 0 w 22476"/>
                <a:gd name="connsiteY4" fmla="*/ 9907 h 13172"/>
                <a:gd name="connsiteX5" fmla="*/ 0 w 22476"/>
                <a:gd name="connsiteY5" fmla="*/ 8178 h 13172"/>
                <a:gd name="connsiteX6" fmla="*/ 4446 w 22476"/>
                <a:gd name="connsiteY6" fmla="*/ 3540 h 13172"/>
                <a:gd name="connsiteX7" fmla="*/ 10236 w 22476"/>
                <a:gd name="connsiteY7" fmla="*/ 1784 h 13172"/>
                <a:gd name="connsiteX8" fmla="*/ 17728 w 22476"/>
                <a:gd name="connsiteY8" fmla="*/ 0 h 13172"/>
                <a:gd name="connsiteX9" fmla="*/ 22037 w 22476"/>
                <a:gd name="connsiteY9" fmla="*/ 2278 h 13172"/>
                <a:gd name="connsiteX10" fmla="*/ 22476 w 22476"/>
                <a:gd name="connsiteY10" fmla="*/ 4226 h 13172"/>
                <a:gd name="connsiteX11" fmla="*/ 19732 w 22476"/>
                <a:gd name="connsiteY11" fmla="*/ 9166 h 13172"/>
                <a:gd name="connsiteX12" fmla="*/ 14353 w 22476"/>
                <a:gd name="connsiteY12" fmla="*/ 10620 h 13172"/>
                <a:gd name="connsiteX13" fmla="*/ 13200 w 22476"/>
                <a:gd name="connsiteY13" fmla="*/ 11581 h 1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76" h="13172">
                  <a:moveTo>
                    <a:pt x="13255" y="11608"/>
                  </a:moveTo>
                  <a:lnTo>
                    <a:pt x="9166" y="12075"/>
                  </a:lnTo>
                  <a:lnTo>
                    <a:pt x="4857" y="11663"/>
                  </a:lnTo>
                  <a:lnTo>
                    <a:pt x="3184" y="13172"/>
                  </a:lnTo>
                  <a:lnTo>
                    <a:pt x="0" y="9907"/>
                  </a:lnTo>
                  <a:lnTo>
                    <a:pt x="0" y="8178"/>
                  </a:lnTo>
                  <a:cubicBezTo>
                    <a:pt x="0" y="8178"/>
                    <a:pt x="4446" y="3540"/>
                    <a:pt x="4446" y="3540"/>
                  </a:cubicBezTo>
                  <a:lnTo>
                    <a:pt x="10236" y="1784"/>
                  </a:lnTo>
                  <a:lnTo>
                    <a:pt x="17728" y="0"/>
                  </a:lnTo>
                  <a:lnTo>
                    <a:pt x="22037" y="2278"/>
                  </a:lnTo>
                  <a:lnTo>
                    <a:pt x="22476" y="4226"/>
                  </a:lnTo>
                  <a:lnTo>
                    <a:pt x="19732" y="9166"/>
                  </a:lnTo>
                  <a:lnTo>
                    <a:pt x="14353" y="10620"/>
                  </a:lnTo>
                  <a:lnTo>
                    <a:pt x="13200" y="115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4" name="Freeform: Shape 3253">
              <a:extLst>
                <a:ext uri="{FF2B5EF4-FFF2-40B4-BE49-F238E27FC236}">
                  <a16:creationId xmlns:a16="http://schemas.microsoft.com/office/drawing/2014/main" id="{B759E9B1-CD51-9BFA-BBC9-046EB0499507}"/>
                </a:ext>
              </a:extLst>
            </p:cNvPr>
            <p:cNvSpPr/>
            <p:nvPr/>
          </p:nvSpPr>
          <p:spPr>
            <a:xfrm>
              <a:off x="1750013" y="3728346"/>
              <a:ext cx="882" cy="511"/>
            </a:xfrm>
            <a:custGeom>
              <a:avLst/>
              <a:gdLst>
                <a:gd name="connsiteX0" fmla="*/ 8453 w 8480"/>
                <a:gd name="connsiteY0" fmla="*/ 1509 h 4912"/>
                <a:gd name="connsiteX1" fmla="*/ 6175 w 8480"/>
                <a:gd name="connsiteY1" fmla="*/ 3897 h 4912"/>
                <a:gd name="connsiteX2" fmla="*/ 2882 w 8480"/>
                <a:gd name="connsiteY2" fmla="*/ 4912 h 4912"/>
                <a:gd name="connsiteX3" fmla="*/ 0 w 8480"/>
                <a:gd name="connsiteY3" fmla="*/ 1921 h 4912"/>
                <a:gd name="connsiteX4" fmla="*/ 1811 w 8480"/>
                <a:gd name="connsiteY4" fmla="*/ 137 h 4912"/>
                <a:gd name="connsiteX5" fmla="*/ 3375 w 8480"/>
                <a:gd name="connsiteY5" fmla="*/ 1866 h 4912"/>
                <a:gd name="connsiteX6" fmla="*/ 6339 w 8480"/>
                <a:gd name="connsiteY6" fmla="*/ 0 h 4912"/>
                <a:gd name="connsiteX7" fmla="*/ 8480 w 8480"/>
                <a:gd name="connsiteY7" fmla="*/ 1509 h 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80" h="4912">
                  <a:moveTo>
                    <a:pt x="8453" y="1509"/>
                  </a:moveTo>
                  <a:lnTo>
                    <a:pt x="6175" y="3897"/>
                  </a:lnTo>
                  <a:lnTo>
                    <a:pt x="2882" y="4912"/>
                  </a:lnTo>
                  <a:lnTo>
                    <a:pt x="0" y="1921"/>
                  </a:lnTo>
                  <a:lnTo>
                    <a:pt x="1811" y="137"/>
                  </a:lnTo>
                  <a:lnTo>
                    <a:pt x="3375" y="1866"/>
                  </a:lnTo>
                  <a:lnTo>
                    <a:pt x="6339" y="0"/>
                  </a:lnTo>
                  <a:lnTo>
                    <a:pt x="8480" y="15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5" name="Freeform: Shape 3254">
              <a:extLst>
                <a:ext uri="{FF2B5EF4-FFF2-40B4-BE49-F238E27FC236}">
                  <a16:creationId xmlns:a16="http://schemas.microsoft.com/office/drawing/2014/main" id="{ECC501F7-6B45-5970-21D6-B3FD2E78F2A7}"/>
                </a:ext>
              </a:extLst>
            </p:cNvPr>
            <p:cNvSpPr/>
            <p:nvPr/>
          </p:nvSpPr>
          <p:spPr>
            <a:xfrm>
              <a:off x="1751361" y="3731724"/>
              <a:ext cx="460" cy="451"/>
            </a:xfrm>
            <a:custGeom>
              <a:avLst/>
              <a:gdLst>
                <a:gd name="connsiteX0" fmla="*/ 4391 w 4418"/>
                <a:gd name="connsiteY0" fmla="*/ 1756 h 4335"/>
                <a:gd name="connsiteX1" fmla="*/ 659 w 4418"/>
                <a:gd name="connsiteY1" fmla="*/ 4336 h 4335"/>
                <a:gd name="connsiteX2" fmla="*/ 0 w 4418"/>
                <a:gd name="connsiteY2" fmla="*/ 2772 h 4335"/>
                <a:gd name="connsiteX3" fmla="*/ 2662 w 4418"/>
                <a:gd name="connsiteY3" fmla="*/ 0 h 4335"/>
                <a:gd name="connsiteX4" fmla="*/ 4419 w 4418"/>
                <a:gd name="connsiteY4" fmla="*/ 1756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4335">
                  <a:moveTo>
                    <a:pt x="4391" y="1756"/>
                  </a:moveTo>
                  <a:lnTo>
                    <a:pt x="659" y="4336"/>
                  </a:lnTo>
                  <a:lnTo>
                    <a:pt x="0" y="2772"/>
                  </a:lnTo>
                  <a:lnTo>
                    <a:pt x="2662" y="0"/>
                  </a:lnTo>
                  <a:lnTo>
                    <a:pt x="4419"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6" name="Freeform: Shape 3255">
              <a:extLst>
                <a:ext uri="{FF2B5EF4-FFF2-40B4-BE49-F238E27FC236}">
                  <a16:creationId xmlns:a16="http://schemas.microsoft.com/office/drawing/2014/main" id="{37DA0FA7-6FAA-97CB-221F-8B2663B1A979}"/>
                </a:ext>
              </a:extLst>
            </p:cNvPr>
            <p:cNvSpPr/>
            <p:nvPr/>
          </p:nvSpPr>
          <p:spPr>
            <a:xfrm>
              <a:off x="1749895" y="3729134"/>
              <a:ext cx="357" cy="540"/>
            </a:xfrm>
            <a:custGeom>
              <a:avLst/>
              <a:gdLst>
                <a:gd name="connsiteX0" fmla="*/ 3403 w 3430"/>
                <a:gd name="connsiteY0" fmla="*/ 3320 h 5186"/>
                <a:gd name="connsiteX1" fmla="*/ 1948 w 3430"/>
                <a:gd name="connsiteY1" fmla="*/ 5187 h 5186"/>
                <a:gd name="connsiteX2" fmla="*/ 0 w 3430"/>
                <a:gd name="connsiteY2" fmla="*/ 714 h 5186"/>
                <a:gd name="connsiteX3" fmla="*/ 1674 w 3430"/>
                <a:gd name="connsiteY3" fmla="*/ 0 h 5186"/>
                <a:gd name="connsiteX4" fmla="*/ 3430 w 3430"/>
                <a:gd name="connsiteY4" fmla="*/ 3320 h 5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5186">
                  <a:moveTo>
                    <a:pt x="3403" y="3320"/>
                  </a:moveTo>
                  <a:lnTo>
                    <a:pt x="1948" y="5187"/>
                  </a:lnTo>
                  <a:lnTo>
                    <a:pt x="0" y="714"/>
                  </a:lnTo>
                  <a:lnTo>
                    <a:pt x="1674" y="0"/>
                  </a:lnTo>
                  <a:lnTo>
                    <a:pt x="3430" y="33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7" name="Freeform: Shape 3256">
              <a:extLst>
                <a:ext uri="{FF2B5EF4-FFF2-40B4-BE49-F238E27FC236}">
                  <a16:creationId xmlns:a16="http://schemas.microsoft.com/office/drawing/2014/main" id="{ADDDA50A-4993-61CF-B248-ADC2062B25DC}"/>
                </a:ext>
              </a:extLst>
            </p:cNvPr>
            <p:cNvSpPr/>
            <p:nvPr/>
          </p:nvSpPr>
          <p:spPr>
            <a:xfrm>
              <a:off x="1749504" y="3729668"/>
              <a:ext cx="388" cy="457"/>
            </a:xfrm>
            <a:custGeom>
              <a:avLst/>
              <a:gdLst>
                <a:gd name="connsiteX0" fmla="*/ 3733 w 3732"/>
                <a:gd name="connsiteY0" fmla="*/ 2772 h 4390"/>
                <a:gd name="connsiteX1" fmla="*/ 2662 w 3732"/>
                <a:gd name="connsiteY1" fmla="*/ 4391 h 4390"/>
                <a:gd name="connsiteX2" fmla="*/ 1016 w 3732"/>
                <a:gd name="connsiteY2" fmla="*/ 3924 h 4390"/>
                <a:gd name="connsiteX3" fmla="*/ 0 w 3732"/>
                <a:gd name="connsiteY3" fmla="*/ 1400 h 4390"/>
                <a:gd name="connsiteX4" fmla="*/ 440 w 3732"/>
                <a:gd name="connsiteY4" fmla="*/ 0 h 4390"/>
                <a:gd name="connsiteX5" fmla="*/ 3733 w 3732"/>
                <a:gd name="connsiteY5" fmla="*/ 2772 h 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2" h="4390">
                  <a:moveTo>
                    <a:pt x="3733" y="2772"/>
                  </a:moveTo>
                  <a:lnTo>
                    <a:pt x="2662" y="4391"/>
                  </a:lnTo>
                  <a:lnTo>
                    <a:pt x="1016" y="3924"/>
                  </a:lnTo>
                  <a:lnTo>
                    <a:pt x="0" y="1400"/>
                  </a:lnTo>
                  <a:lnTo>
                    <a:pt x="440" y="0"/>
                  </a:lnTo>
                  <a:lnTo>
                    <a:pt x="3733"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8" name="Freeform: Shape 3257">
              <a:extLst>
                <a:ext uri="{FF2B5EF4-FFF2-40B4-BE49-F238E27FC236}">
                  <a16:creationId xmlns:a16="http://schemas.microsoft.com/office/drawing/2014/main" id="{4499A047-8145-BF1E-46E2-03E4631169BC}"/>
                </a:ext>
              </a:extLst>
            </p:cNvPr>
            <p:cNvSpPr/>
            <p:nvPr/>
          </p:nvSpPr>
          <p:spPr>
            <a:xfrm>
              <a:off x="1754991" y="3730045"/>
              <a:ext cx="374" cy="446"/>
            </a:xfrm>
            <a:custGeom>
              <a:avLst/>
              <a:gdLst>
                <a:gd name="connsiteX0" fmla="*/ 3403 w 3595"/>
                <a:gd name="connsiteY0" fmla="*/ 3540 h 4281"/>
                <a:gd name="connsiteX1" fmla="*/ 906 w 3595"/>
                <a:gd name="connsiteY1" fmla="*/ 4281 h 4281"/>
                <a:gd name="connsiteX2" fmla="*/ 0 w 3595"/>
                <a:gd name="connsiteY2" fmla="*/ 3266 h 4281"/>
                <a:gd name="connsiteX3" fmla="*/ 2388 w 3595"/>
                <a:gd name="connsiteY3" fmla="*/ 0 h 4281"/>
                <a:gd name="connsiteX4" fmla="*/ 3595 w 3595"/>
                <a:gd name="connsiteY4" fmla="*/ 549 h 4281"/>
                <a:gd name="connsiteX5" fmla="*/ 3403 w 3595"/>
                <a:gd name="connsiteY5" fmla="*/ 3568 h 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5" h="4281">
                  <a:moveTo>
                    <a:pt x="3403" y="3540"/>
                  </a:moveTo>
                  <a:lnTo>
                    <a:pt x="906" y="4281"/>
                  </a:lnTo>
                  <a:lnTo>
                    <a:pt x="0" y="3266"/>
                  </a:lnTo>
                  <a:lnTo>
                    <a:pt x="2388" y="0"/>
                  </a:lnTo>
                  <a:lnTo>
                    <a:pt x="3595" y="549"/>
                  </a:lnTo>
                  <a:lnTo>
                    <a:pt x="3403" y="35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59" name="Freeform: Shape 3258">
              <a:extLst>
                <a:ext uri="{FF2B5EF4-FFF2-40B4-BE49-F238E27FC236}">
                  <a16:creationId xmlns:a16="http://schemas.microsoft.com/office/drawing/2014/main" id="{DB97AC84-F08B-41FA-BDA7-71D90489A19B}"/>
                </a:ext>
              </a:extLst>
            </p:cNvPr>
            <p:cNvSpPr/>
            <p:nvPr/>
          </p:nvSpPr>
          <p:spPr>
            <a:xfrm>
              <a:off x="1748762" y="3718738"/>
              <a:ext cx="403" cy="400"/>
            </a:xfrm>
            <a:custGeom>
              <a:avLst/>
              <a:gdLst>
                <a:gd name="connsiteX0" fmla="*/ 3128 w 3869"/>
                <a:gd name="connsiteY0" fmla="*/ 0 h 3842"/>
                <a:gd name="connsiteX1" fmla="*/ 3869 w 3869"/>
                <a:gd name="connsiteY1" fmla="*/ 3842 h 3842"/>
                <a:gd name="connsiteX2" fmla="*/ 0 w 3869"/>
                <a:gd name="connsiteY2" fmla="*/ 3238 h 3842"/>
                <a:gd name="connsiteX3" fmla="*/ 795 w 3869"/>
                <a:gd name="connsiteY3" fmla="*/ 1372 h 3842"/>
                <a:gd name="connsiteX4" fmla="*/ 3101 w 3869"/>
                <a:gd name="connsiteY4" fmla="*/ 0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3842">
                  <a:moveTo>
                    <a:pt x="3128" y="0"/>
                  </a:moveTo>
                  <a:lnTo>
                    <a:pt x="3869" y="3842"/>
                  </a:lnTo>
                  <a:lnTo>
                    <a:pt x="0" y="3238"/>
                  </a:lnTo>
                  <a:lnTo>
                    <a:pt x="795" y="1372"/>
                  </a:lnTo>
                  <a:lnTo>
                    <a:pt x="3101"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0" name="Freeform: Shape 3259">
              <a:extLst>
                <a:ext uri="{FF2B5EF4-FFF2-40B4-BE49-F238E27FC236}">
                  <a16:creationId xmlns:a16="http://schemas.microsoft.com/office/drawing/2014/main" id="{0F67F1F3-017E-4F5A-07CB-FFB0C51E2B69}"/>
                </a:ext>
              </a:extLst>
            </p:cNvPr>
            <p:cNvSpPr/>
            <p:nvPr/>
          </p:nvSpPr>
          <p:spPr>
            <a:xfrm>
              <a:off x="1750835" y="3722976"/>
              <a:ext cx="288" cy="531"/>
            </a:xfrm>
            <a:custGeom>
              <a:avLst/>
              <a:gdLst>
                <a:gd name="connsiteX0" fmla="*/ 2772 w 2771"/>
                <a:gd name="connsiteY0" fmla="*/ 3485 h 5104"/>
                <a:gd name="connsiteX1" fmla="*/ 2195 w 2771"/>
                <a:gd name="connsiteY1" fmla="*/ 5104 h 5104"/>
                <a:gd name="connsiteX2" fmla="*/ 631 w 2771"/>
                <a:gd name="connsiteY2" fmla="*/ 4199 h 5104"/>
                <a:gd name="connsiteX3" fmla="*/ 0 w 2771"/>
                <a:gd name="connsiteY3" fmla="*/ 0 h 5104"/>
                <a:gd name="connsiteX4" fmla="*/ 1427 w 2771"/>
                <a:gd name="connsiteY4" fmla="*/ 0 h 5104"/>
                <a:gd name="connsiteX5" fmla="*/ 2772 w 2771"/>
                <a:gd name="connsiteY5" fmla="*/ 3485 h 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 h="5104">
                  <a:moveTo>
                    <a:pt x="2772" y="3485"/>
                  </a:moveTo>
                  <a:lnTo>
                    <a:pt x="2195" y="5104"/>
                  </a:lnTo>
                  <a:lnTo>
                    <a:pt x="631" y="4199"/>
                  </a:lnTo>
                  <a:lnTo>
                    <a:pt x="0" y="0"/>
                  </a:lnTo>
                  <a:lnTo>
                    <a:pt x="1427" y="0"/>
                  </a:lnTo>
                  <a:lnTo>
                    <a:pt x="2772"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1" name="Freeform: Shape 3260">
              <a:extLst>
                <a:ext uri="{FF2B5EF4-FFF2-40B4-BE49-F238E27FC236}">
                  <a16:creationId xmlns:a16="http://schemas.microsoft.com/office/drawing/2014/main" id="{D00E5B98-35E0-5993-861E-8FB9CB753424}"/>
                </a:ext>
              </a:extLst>
            </p:cNvPr>
            <p:cNvSpPr/>
            <p:nvPr/>
          </p:nvSpPr>
          <p:spPr>
            <a:xfrm>
              <a:off x="1751401" y="3720091"/>
              <a:ext cx="394" cy="377"/>
            </a:xfrm>
            <a:custGeom>
              <a:avLst/>
              <a:gdLst>
                <a:gd name="connsiteX0" fmla="*/ 3375 w 3786"/>
                <a:gd name="connsiteY0" fmla="*/ 3348 h 3622"/>
                <a:gd name="connsiteX1" fmla="*/ 960 w 3786"/>
                <a:gd name="connsiteY1" fmla="*/ 3622 h 3622"/>
                <a:gd name="connsiteX2" fmla="*/ 0 w 3786"/>
                <a:gd name="connsiteY2" fmla="*/ 2058 h 3622"/>
                <a:gd name="connsiteX3" fmla="*/ 384 w 3786"/>
                <a:gd name="connsiteY3" fmla="*/ 0 h 3622"/>
                <a:gd name="connsiteX4" fmla="*/ 3787 w 3786"/>
                <a:gd name="connsiteY4" fmla="*/ 1784 h 3622"/>
                <a:gd name="connsiteX5" fmla="*/ 3375 w 3786"/>
                <a:gd name="connsiteY5" fmla="*/ 3375 h 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6" h="3622">
                  <a:moveTo>
                    <a:pt x="3375" y="3348"/>
                  </a:moveTo>
                  <a:lnTo>
                    <a:pt x="960" y="3622"/>
                  </a:lnTo>
                  <a:lnTo>
                    <a:pt x="0" y="2058"/>
                  </a:lnTo>
                  <a:lnTo>
                    <a:pt x="384" y="0"/>
                  </a:lnTo>
                  <a:lnTo>
                    <a:pt x="3787" y="1784"/>
                  </a:lnTo>
                  <a:lnTo>
                    <a:pt x="3375" y="33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2" name="Freeform: Shape 3261">
              <a:extLst>
                <a:ext uri="{FF2B5EF4-FFF2-40B4-BE49-F238E27FC236}">
                  <a16:creationId xmlns:a16="http://schemas.microsoft.com/office/drawing/2014/main" id="{28D01E69-4BA7-2152-3382-1AB9B8A47F43}"/>
                </a:ext>
              </a:extLst>
            </p:cNvPr>
            <p:cNvSpPr/>
            <p:nvPr/>
          </p:nvSpPr>
          <p:spPr>
            <a:xfrm>
              <a:off x="1750147" y="3730025"/>
              <a:ext cx="403" cy="322"/>
            </a:xfrm>
            <a:custGeom>
              <a:avLst/>
              <a:gdLst>
                <a:gd name="connsiteX0" fmla="*/ 3870 w 3869"/>
                <a:gd name="connsiteY0" fmla="*/ 2031 h 3101"/>
                <a:gd name="connsiteX1" fmla="*/ 1455 w 3869"/>
                <a:gd name="connsiteY1" fmla="*/ 3101 h 3101"/>
                <a:gd name="connsiteX2" fmla="*/ 0 w 3869"/>
                <a:gd name="connsiteY2" fmla="*/ 2826 h 3101"/>
                <a:gd name="connsiteX3" fmla="*/ 192 w 3869"/>
                <a:gd name="connsiteY3" fmla="*/ 878 h 3101"/>
                <a:gd name="connsiteX4" fmla="*/ 1455 w 3869"/>
                <a:gd name="connsiteY4" fmla="*/ 0 h 3101"/>
                <a:gd name="connsiteX5" fmla="*/ 2744 w 3869"/>
                <a:gd name="connsiteY5" fmla="*/ 0 h 3101"/>
                <a:gd name="connsiteX6" fmla="*/ 3870 w 3869"/>
                <a:gd name="connsiteY6" fmla="*/ 2031 h 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9" h="3101">
                  <a:moveTo>
                    <a:pt x="3870" y="2031"/>
                  </a:moveTo>
                  <a:lnTo>
                    <a:pt x="1455" y="3101"/>
                  </a:lnTo>
                  <a:lnTo>
                    <a:pt x="0" y="2826"/>
                  </a:lnTo>
                  <a:lnTo>
                    <a:pt x="192" y="878"/>
                  </a:lnTo>
                  <a:lnTo>
                    <a:pt x="1455" y="0"/>
                  </a:lnTo>
                  <a:lnTo>
                    <a:pt x="2744" y="0"/>
                  </a:lnTo>
                  <a:lnTo>
                    <a:pt x="387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3" name="Freeform: Shape 3262">
              <a:extLst>
                <a:ext uri="{FF2B5EF4-FFF2-40B4-BE49-F238E27FC236}">
                  <a16:creationId xmlns:a16="http://schemas.microsoft.com/office/drawing/2014/main" id="{FBECE5FE-D116-BE90-A6A5-0761ED2015C5}"/>
                </a:ext>
              </a:extLst>
            </p:cNvPr>
            <p:cNvSpPr/>
            <p:nvPr/>
          </p:nvSpPr>
          <p:spPr>
            <a:xfrm>
              <a:off x="1745638" y="3717447"/>
              <a:ext cx="374" cy="340"/>
            </a:xfrm>
            <a:custGeom>
              <a:avLst/>
              <a:gdLst>
                <a:gd name="connsiteX0" fmla="*/ 2553 w 3595"/>
                <a:gd name="connsiteY0" fmla="*/ 3266 h 3265"/>
                <a:gd name="connsiteX1" fmla="*/ 0 w 3595"/>
                <a:gd name="connsiteY1" fmla="*/ 3266 h 3265"/>
                <a:gd name="connsiteX2" fmla="*/ 55 w 3595"/>
                <a:gd name="connsiteY2" fmla="*/ 878 h 3265"/>
                <a:gd name="connsiteX3" fmla="*/ 2443 w 3595"/>
                <a:gd name="connsiteY3" fmla="*/ 0 h 3265"/>
                <a:gd name="connsiteX4" fmla="*/ 3595 w 3595"/>
                <a:gd name="connsiteY4" fmla="*/ 1262 h 3265"/>
                <a:gd name="connsiteX5" fmla="*/ 2553 w 3595"/>
                <a:gd name="connsiteY5" fmla="*/ 3266 h 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5" h="3265">
                  <a:moveTo>
                    <a:pt x="2553" y="3266"/>
                  </a:moveTo>
                  <a:lnTo>
                    <a:pt x="0" y="3266"/>
                  </a:lnTo>
                  <a:lnTo>
                    <a:pt x="55" y="878"/>
                  </a:lnTo>
                  <a:lnTo>
                    <a:pt x="2443" y="0"/>
                  </a:lnTo>
                  <a:lnTo>
                    <a:pt x="3595" y="1262"/>
                  </a:lnTo>
                  <a:lnTo>
                    <a:pt x="2553"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3264" name="Graphic 33">
              <a:extLst>
                <a:ext uri="{FF2B5EF4-FFF2-40B4-BE49-F238E27FC236}">
                  <a16:creationId xmlns:a16="http://schemas.microsoft.com/office/drawing/2014/main" id="{70443C4B-4511-DE2C-01AA-3B449AE2429B}"/>
                </a:ext>
              </a:extLst>
            </p:cNvPr>
            <p:cNvGrpSpPr/>
            <p:nvPr/>
          </p:nvGrpSpPr>
          <p:grpSpPr>
            <a:xfrm>
              <a:off x="1744838" y="3697380"/>
              <a:ext cx="19326" cy="33927"/>
              <a:chOff x="-2629179" y="3474939"/>
              <a:chExt cx="185706" cy="325995"/>
            </a:xfrm>
            <a:solidFill>
              <a:schemeClr val="accent3"/>
            </a:solidFill>
          </p:grpSpPr>
          <p:sp>
            <p:nvSpPr>
              <p:cNvPr id="4922" name="Freeform: Shape 4921">
                <a:extLst>
                  <a:ext uri="{FF2B5EF4-FFF2-40B4-BE49-F238E27FC236}">
                    <a16:creationId xmlns:a16="http://schemas.microsoft.com/office/drawing/2014/main" id="{AAC672FC-43E2-2273-1AF0-CDEE0844E81E}"/>
                  </a:ext>
                </a:extLst>
              </p:cNvPr>
              <p:cNvSpPr/>
              <p:nvPr/>
            </p:nvSpPr>
            <p:spPr>
              <a:xfrm>
                <a:off x="-2575775" y="3644399"/>
                <a:ext cx="98602" cy="156534"/>
              </a:xfrm>
              <a:custGeom>
                <a:avLst/>
                <a:gdLst>
                  <a:gd name="connsiteX0" fmla="*/ 64271 w 98602"/>
                  <a:gd name="connsiteY0" fmla="*/ 55 h 156534"/>
                  <a:gd name="connsiteX1" fmla="*/ 76813 w 98602"/>
                  <a:gd name="connsiteY1" fmla="*/ 25220 h 156534"/>
                  <a:gd name="connsiteX2" fmla="*/ 92593 w 98602"/>
                  <a:gd name="connsiteY2" fmla="*/ 52279 h 156534"/>
                  <a:gd name="connsiteX3" fmla="*/ 96270 w 98602"/>
                  <a:gd name="connsiteY3" fmla="*/ 69870 h 156534"/>
                  <a:gd name="connsiteX4" fmla="*/ 95556 w 98602"/>
                  <a:gd name="connsiteY4" fmla="*/ 91879 h 156534"/>
                  <a:gd name="connsiteX5" fmla="*/ 98602 w 98602"/>
                  <a:gd name="connsiteY5" fmla="*/ 98685 h 156534"/>
                  <a:gd name="connsiteX6" fmla="*/ 95721 w 98602"/>
                  <a:gd name="connsiteY6" fmla="*/ 113257 h 156534"/>
                  <a:gd name="connsiteX7" fmla="*/ 88531 w 98602"/>
                  <a:gd name="connsiteY7" fmla="*/ 126128 h 156534"/>
                  <a:gd name="connsiteX8" fmla="*/ 82494 w 98602"/>
                  <a:gd name="connsiteY8" fmla="*/ 129613 h 156534"/>
                  <a:gd name="connsiteX9" fmla="*/ 73986 w 98602"/>
                  <a:gd name="connsiteY9" fmla="*/ 129256 h 156534"/>
                  <a:gd name="connsiteX10" fmla="*/ 68964 w 98602"/>
                  <a:gd name="connsiteY10" fmla="*/ 131589 h 156534"/>
                  <a:gd name="connsiteX11" fmla="*/ 68827 w 98602"/>
                  <a:gd name="connsiteY11" fmla="*/ 135294 h 156534"/>
                  <a:gd name="connsiteX12" fmla="*/ 72916 w 98602"/>
                  <a:gd name="connsiteY12" fmla="*/ 137105 h 156534"/>
                  <a:gd name="connsiteX13" fmla="*/ 72065 w 98602"/>
                  <a:gd name="connsiteY13" fmla="*/ 139904 h 156534"/>
                  <a:gd name="connsiteX14" fmla="*/ 68086 w 98602"/>
                  <a:gd name="connsiteY14" fmla="*/ 139520 h 156534"/>
                  <a:gd name="connsiteX15" fmla="*/ 65561 w 98602"/>
                  <a:gd name="connsiteY15" fmla="*/ 140069 h 156534"/>
                  <a:gd name="connsiteX16" fmla="*/ 63723 w 98602"/>
                  <a:gd name="connsiteY16" fmla="*/ 137572 h 156534"/>
                  <a:gd name="connsiteX17" fmla="*/ 61390 w 98602"/>
                  <a:gd name="connsiteY17" fmla="*/ 136721 h 156534"/>
                  <a:gd name="connsiteX18" fmla="*/ 51894 w 98602"/>
                  <a:gd name="connsiteY18" fmla="*/ 141057 h 156534"/>
                  <a:gd name="connsiteX19" fmla="*/ 47833 w 98602"/>
                  <a:gd name="connsiteY19" fmla="*/ 136666 h 156534"/>
                  <a:gd name="connsiteX20" fmla="*/ 45281 w 98602"/>
                  <a:gd name="connsiteY20" fmla="*/ 135843 h 156534"/>
                  <a:gd name="connsiteX21" fmla="*/ 44046 w 98602"/>
                  <a:gd name="connsiteY21" fmla="*/ 136803 h 156534"/>
                  <a:gd name="connsiteX22" fmla="*/ 44814 w 98602"/>
                  <a:gd name="connsiteY22" fmla="*/ 139849 h 156534"/>
                  <a:gd name="connsiteX23" fmla="*/ 43333 w 98602"/>
                  <a:gd name="connsiteY23" fmla="*/ 142566 h 156534"/>
                  <a:gd name="connsiteX24" fmla="*/ 39710 w 98602"/>
                  <a:gd name="connsiteY24" fmla="*/ 140481 h 156534"/>
                  <a:gd name="connsiteX25" fmla="*/ 37762 w 98602"/>
                  <a:gd name="connsiteY25" fmla="*/ 141414 h 156534"/>
                  <a:gd name="connsiteX26" fmla="*/ 35813 w 98602"/>
                  <a:gd name="connsiteY26" fmla="*/ 151376 h 156534"/>
                  <a:gd name="connsiteX27" fmla="*/ 29089 w 98602"/>
                  <a:gd name="connsiteY27" fmla="*/ 152254 h 156534"/>
                  <a:gd name="connsiteX28" fmla="*/ 31038 w 98602"/>
                  <a:gd name="connsiteY28" fmla="*/ 145914 h 156534"/>
                  <a:gd name="connsiteX29" fmla="*/ 30077 w 98602"/>
                  <a:gd name="connsiteY29" fmla="*/ 144131 h 156534"/>
                  <a:gd name="connsiteX30" fmla="*/ 25138 w 98602"/>
                  <a:gd name="connsiteY30" fmla="*/ 147177 h 156534"/>
                  <a:gd name="connsiteX31" fmla="*/ 20692 w 98602"/>
                  <a:gd name="connsiteY31" fmla="*/ 154037 h 156534"/>
                  <a:gd name="connsiteX32" fmla="*/ 17508 w 98602"/>
                  <a:gd name="connsiteY32" fmla="*/ 153050 h 156534"/>
                  <a:gd name="connsiteX33" fmla="*/ 14517 w 98602"/>
                  <a:gd name="connsiteY33" fmla="*/ 156535 h 156534"/>
                  <a:gd name="connsiteX34" fmla="*/ 11471 w 98602"/>
                  <a:gd name="connsiteY34" fmla="*/ 156013 h 156534"/>
                  <a:gd name="connsiteX35" fmla="*/ 7766 w 98602"/>
                  <a:gd name="connsiteY35" fmla="*/ 151321 h 156534"/>
                  <a:gd name="connsiteX36" fmla="*/ 3238 w 98602"/>
                  <a:gd name="connsiteY36" fmla="*/ 153406 h 156534"/>
                  <a:gd name="connsiteX37" fmla="*/ 82 w 98602"/>
                  <a:gd name="connsiteY37" fmla="*/ 152967 h 156534"/>
                  <a:gd name="connsiteX38" fmla="*/ 3375 w 98602"/>
                  <a:gd name="connsiteY38" fmla="*/ 145393 h 156534"/>
                  <a:gd name="connsiteX39" fmla="*/ 7766 w 98602"/>
                  <a:gd name="connsiteY39" fmla="*/ 143143 h 156534"/>
                  <a:gd name="connsiteX40" fmla="*/ 4693 w 98602"/>
                  <a:gd name="connsiteY40" fmla="*/ 134553 h 156534"/>
                  <a:gd name="connsiteX41" fmla="*/ 6285 w 98602"/>
                  <a:gd name="connsiteY41" fmla="*/ 129805 h 156534"/>
                  <a:gd name="connsiteX42" fmla="*/ 6531 w 98602"/>
                  <a:gd name="connsiteY42" fmla="*/ 122588 h 156534"/>
                  <a:gd name="connsiteX43" fmla="*/ 9961 w 98602"/>
                  <a:gd name="connsiteY43" fmla="*/ 114959 h 156534"/>
                  <a:gd name="connsiteX44" fmla="*/ 11005 w 98602"/>
                  <a:gd name="connsiteY44" fmla="*/ 108400 h 156534"/>
                  <a:gd name="connsiteX45" fmla="*/ 14023 w 98602"/>
                  <a:gd name="connsiteY45" fmla="*/ 101265 h 156534"/>
                  <a:gd name="connsiteX46" fmla="*/ 10922 w 98602"/>
                  <a:gd name="connsiteY46" fmla="*/ 89080 h 156534"/>
                  <a:gd name="connsiteX47" fmla="*/ 8507 w 98602"/>
                  <a:gd name="connsiteY47" fmla="*/ 75056 h 156534"/>
                  <a:gd name="connsiteX48" fmla="*/ 0 w 98602"/>
                  <a:gd name="connsiteY48" fmla="*/ 68690 h 156534"/>
                  <a:gd name="connsiteX49" fmla="*/ 1591 w 98602"/>
                  <a:gd name="connsiteY49" fmla="*/ 65314 h 156534"/>
                  <a:gd name="connsiteX50" fmla="*/ 5598 w 98602"/>
                  <a:gd name="connsiteY50" fmla="*/ 62598 h 156534"/>
                  <a:gd name="connsiteX51" fmla="*/ 16822 w 98602"/>
                  <a:gd name="connsiteY51" fmla="*/ 59359 h 156534"/>
                  <a:gd name="connsiteX52" fmla="*/ 16164 w 98602"/>
                  <a:gd name="connsiteY52" fmla="*/ 53404 h 156534"/>
                  <a:gd name="connsiteX53" fmla="*/ 16438 w 98602"/>
                  <a:gd name="connsiteY53" fmla="*/ 48464 h 156534"/>
                  <a:gd name="connsiteX54" fmla="*/ 14133 w 98602"/>
                  <a:gd name="connsiteY54" fmla="*/ 42399 h 156534"/>
                  <a:gd name="connsiteX55" fmla="*/ 12459 w 98602"/>
                  <a:gd name="connsiteY55" fmla="*/ 41164 h 156534"/>
                  <a:gd name="connsiteX56" fmla="*/ 8919 w 98602"/>
                  <a:gd name="connsiteY56" fmla="*/ 43497 h 156534"/>
                  <a:gd name="connsiteX57" fmla="*/ 8013 w 98602"/>
                  <a:gd name="connsiteY57" fmla="*/ 40643 h 156534"/>
                  <a:gd name="connsiteX58" fmla="*/ 10538 w 98602"/>
                  <a:gd name="connsiteY58" fmla="*/ 40780 h 156534"/>
                  <a:gd name="connsiteX59" fmla="*/ 11060 w 98602"/>
                  <a:gd name="connsiteY59" fmla="*/ 40012 h 156534"/>
                  <a:gd name="connsiteX60" fmla="*/ 6778 w 98602"/>
                  <a:gd name="connsiteY60" fmla="*/ 36691 h 156534"/>
                  <a:gd name="connsiteX61" fmla="*/ 4857 w 98602"/>
                  <a:gd name="connsiteY61" fmla="*/ 33563 h 156534"/>
                  <a:gd name="connsiteX62" fmla="*/ 11389 w 98602"/>
                  <a:gd name="connsiteY62" fmla="*/ 31395 h 156534"/>
                  <a:gd name="connsiteX63" fmla="*/ 14545 w 98602"/>
                  <a:gd name="connsiteY63" fmla="*/ 29254 h 156534"/>
                  <a:gd name="connsiteX64" fmla="*/ 14846 w 98602"/>
                  <a:gd name="connsiteY64" fmla="*/ 25714 h 156534"/>
                  <a:gd name="connsiteX65" fmla="*/ 28239 w 98602"/>
                  <a:gd name="connsiteY65" fmla="*/ 11718 h 156534"/>
                  <a:gd name="connsiteX66" fmla="*/ 41082 w 98602"/>
                  <a:gd name="connsiteY66" fmla="*/ 10758 h 156534"/>
                  <a:gd name="connsiteX67" fmla="*/ 56779 w 98602"/>
                  <a:gd name="connsiteY67" fmla="*/ 10895 h 156534"/>
                  <a:gd name="connsiteX68" fmla="*/ 61280 w 98602"/>
                  <a:gd name="connsiteY68" fmla="*/ 7712 h 156534"/>
                  <a:gd name="connsiteX69" fmla="*/ 64409 w 98602"/>
                  <a:gd name="connsiteY69" fmla="*/ 0 h 15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8602" h="156534">
                    <a:moveTo>
                      <a:pt x="64271" y="55"/>
                    </a:moveTo>
                    <a:lnTo>
                      <a:pt x="76813" y="25220"/>
                    </a:lnTo>
                    <a:lnTo>
                      <a:pt x="92593" y="52279"/>
                    </a:lnTo>
                    <a:lnTo>
                      <a:pt x="96270" y="69870"/>
                    </a:lnTo>
                    <a:lnTo>
                      <a:pt x="95556" y="91879"/>
                    </a:lnTo>
                    <a:lnTo>
                      <a:pt x="98602" y="98685"/>
                    </a:lnTo>
                    <a:lnTo>
                      <a:pt x="95721" y="113257"/>
                    </a:lnTo>
                    <a:lnTo>
                      <a:pt x="88531" y="126128"/>
                    </a:lnTo>
                    <a:lnTo>
                      <a:pt x="82494" y="129613"/>
                    </a:lnTo>
                    <a:lnTo>
                      <a:pt x="73986" y="129256"/>
                    </a:lnTo>
                    <a:lnTo>
                      <a:pt x="68964" y="131589"/>
                    </a:lnTo>
                    <a:lnTo>
                      <a:pt x="68827" y="135294"/>
                    </a:lnTo>
                    <a:lnTo>
                      <a:pt x="72916" y="137105"/>
                    </a:lnTo>
                    <a:lnTo>
                      <a:pt x="72065" y="139904"/>
                    </a:lnTo>
                    <a:lnTo>
                      <a:pt x="68086" y="139520"/>
                    </a:lnTo>
                    <a:lnTo>
                      <a:pt x="65561" y="140069"/>
                    </a:lnTo>
                    <a:lnTo>
                      <a:pt x="63723" y="137572"/>
                    </a:lnTo>
                    <a:lnTo>
                      <a:pt x="61390" y="136721"/>
                    </a:lnTo>
                    <a:lnTo>
                      <a:pt x="51894" y="141057"/>
                    </a:lnTo>
                    <a:lnTo>
                      <a:pt x="47833" y="136666"/>
                    </a:lnTo>
                    <a:lnTo>
                      <a:pt x="45281" y="135843"/>
                    </a:lnTo>
                    <a:lnTo>
                      <a:pt x="44046" y="136803"/>
                    </a:lnTo>
                    <a:lnTo>
                      <a:pt x="44814" y="139849"/>
                    </a:lnTo>
                    <a:lnTo>
                      <a:pt x="43333" y="142566"/>
                    </a:lnTo>
                    <a:lnTo>
                      <a:pt x="39710" y="140481"/>
                    </a:lnTo>
                    <a:lnTo>
                      <a:pt x="37762" y="141414"/>
                    </a:lnTo>
                    <a:lnTo>
                      <a:pt x="35813" y="151376"/>
                    </a:lnTo>
                    <a:lnTo>
                      <a:pt x="29089" y="152254"/>
                    </a:lnTo>
                    <a:lnTo>
                      <a:pt x="31038" y="145914"/>
                    </a:lnTo>
                    <a:lnTo>
                      <a:pt x="30077" y="144131"/>
                    </a:lnTo>
                    <a:lnTo>
                      <a:pt x="25138" y="147177"/>
                    </a:lnTo>
                    <a:lnTo>
                      <a:pt x="20692" y="154037"/>
                    </a:lnTo>
                    <a:lnTo>
                      <a:pt x="17508" y="153050"/>
                    </a:lnTo>
                    <a:lnTo>
                      <a:pt x="14517" y="156535"/>
                    </a:lnTo>
                    <a:lnTo>
                      <a:pt x="11471" y="156013"/>
                    </a:lnTo>
                    <a:lnTo>
                      <a:pt x="7766" y="151321"/>
                    </a:lnTo>
                    <a:lnTo>
                      <a:pt x="3238" y="153406"/>
                    </a:lnTo>
                    <a:lnTo>
                      <a:pt x="82" y="152967"/>
                    </a:lnTo>
                    <a:lnTo>
                      <a:pt x="3375" y="145393"/>
                    </a:lnTo>
                    <a:lnTo>
                      <a:pt x="7766" y="143143"/>
                    </a:lnTo>
                    <a:lnTo>
                      <a:pt x="4693" y="134553"/>
                    </a:lnTo>
                    <a:lnTo>
                      <a:pt x="6285" y="129805"/>
                    </a:lnTo>
                    <a:lnTo>
                      <a:pt x="6531" y="122588"/>
                    </a:lnTo>
                    <a:lnTo>
                      <a:pt x="9961" y="114959"/>
                    </a:lnTo>
                    <a:lnTo>
                      <a:pt x="11005" y="108400"/>
                    </a:lnTo>
                    <a:lnTo>
                      <a:pt x="14023" y="101265"/>
                    </a:lnTo>
                    <a:lnTo>
                      <a:pt x="10922" y="89080"/>
                    </a:lnTo>
                    <a:lnTo>
                      <a:pt x="8507" y="75056"/>
                    </a:lnTo>
                    <a:lnTo>
                      <a:pt x="0" y="68690"/>
                    </a:lnTo>
                    <a:lnTo>
                      <a:pt x="1591" y="65314"/>
                    </a:lnTo>
                    <a:lnTo>
                      <a:pt x="5598" y="62598"/>
                    </a:lnTo>
                    <a:lnTo>
                      <a:pt x="16822" y="59359"/>
                    </a:lnTo>
                    <a:lnTo>
                      <a:pt x="16164" y="53404"/>
                    </a:lnTo>
                    <a:lnTo>
                      <a:pt x="16438" y="48464"/>
                    </a:lnTo>
                    <a:lnTo>
                      <a:pt x="14133" y="42399"/>
                    </a:lnTo>
                    <a:lnTo>
                      <a:pt x="12459" y="41164"/>
                    </a:lnTo>
                    <a:lnTo>
                      <a:pt x="8919" y="43497"/>
                    </a:lnTo>
                    <a:lnTo>
                      <a:pt x="8013" y="40643"/>
                    </a:lnTo>
                    <a:lnTo>
                      <a:pt x="10538" y="40780"/>
                    </a:lnTo>
                    <a:lnTo>
                      <a:pt x="11060" y="40012"/>
                    </a:lnTo>
                    <a:lnTo>
                      <a:pt x="6778" y="36691"/>
                    </a:lnTo>
                    <a:lnTo>
                      <a:pt x="4857" y="33563"/>
                    </a:lnTo>
                    <a:lnTo>
                      <a:pt x="11389" y="31395"/>
                    </a:lnTo>
                    <a:lnTo>
                      <a:pt x="14545" y="29254"/>
                    </a:lnTo>
                    <a:lnTo>
                      <a:pt x="14846" y="25714"/>
                    </a:lnTo>
                    <a:lnTo>
                      <a:pt x="28239" y="11718"/>
                    </a:lnTo>
                    <a:lnTo>
                      <a:pt x="41082" y="10758"/>
                    </a:lnTo>
                    <a:lnTo>
                      <a:pt x="56779" y="10895"/>
                    </a:lnTo>
                    <a:lnTo>
                      <a:pt x="61280" y="7712"/>
                    </a:lnTo>
                    <a:lnTo>
                      <a:pt x="64409"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23" name="Freeform: Shape 4922">
                <a:extLst>
                  <a:ext uri="{FF2B5EF4-FFF2-40B4-BE49-F238E27FC236}">
                    <a16:creationId xmlns:a16="http://schemas.microsoft.com/office/drawing/2014/main" id="{9FC8C3F7-9330-BB3C-C71D-6F86679F8D52}"/>
                  </a:ext>
                </a:extLst>
              </p:cNvPr>
              <p:cNvSpPr/>
              <p:nvPr/>
            </p:nvSpPr>
            <p:spPr>
              <a:xfrm>
                <a:off x="-2629179" y="3474939"/>
                <a:ext cx="185706" cy="201486"/>
              </a:xfrm>
              <a:custGeom>
                <a:avLst/>
                <a:gdLst>
                  <a:gd name="connsiteX0" fmla="*/ 184499 w 185706"/>
                  <a:gd name="connsiteY0" fmla="*/ 22476 h 201486"/>
                  <a:gd name="connsiteX1" fmla="*/ 185706 w 185706"/>
                  <a:gd name="connsiteY1" fmla="*/ 27662 h 201486"/>
                  <a:gd name="connsiteX2" fmla="*/ 178379 w 185706"/>
                  <a:gd name="connsiteY2" fmla="*/ 26043 h 201486"/>
                  <a:gd name="connsiteX3" fmla="*/ 174482 w 185706"/>
                  <a:gd name="connsiteY3" fmla="*/ 30215 h 201486"/>
                  <a:gd name="connsiteX4" fmla="*/ 166990 w 185706"/>
                  <a:gd name="connsiteY4" fmla="*/ 38228 h 201486"/>
                  <a:gd name="connsiteX5" fmla="*/ 166194 w 185706"/>
                  <a:gd name="connsiteY5" fmla="*/ 39518 h 201486"/>
                  <a:gd name="connsiteX6" fmla="*/ 158428 w 185706"/>
                  <a:gd name="connsiteY6" fmla="*/ 52004 h 201486"/>
                  <a:gd name="connsiteX7" fmla="*/ 157275 w 185706"/>
                  <a:gd name="connsiteY7" fmla="*/ 53843 h 201486"/>
                  <a:gd name="connsiteX8" fmla="*/ 155958 w 185706"/>
                  <a:gd name="connsiteY8" fmla="*/ 55956 h 201486"/>
                  <a:gd name="connsiteX9" fmla="*/ 156507 w 185706"/>
                  <a:gd name="connsiteY9" fmla="*/ 60237 h 201486"/>
                  <a:gd name="connsiteX10" fmla="*/ 159663 w 185706"/>
                  <a:gd name="connsiteY10" fmla="*/ 64107 h 201486"/>
                  <a:gd name="connsiteX11" fmla="*/ 157797 w 185706"/>
                  <a:gd name="connsiteY11" fmla="*/ 71269 h 201486"/>
                  <a:gd name="connsiteX12" fmla="*/ 157577 w 185706"/>
                  <a:gd name="connsiteY12" fmla="*/ 83756 h 201486"/>
                  <a:gd name="connsiteX13" fmla="*/ 143252 w 185706"/>
                  <a:gd name="connsiteY13" fmla="*/ 90507 h 201486"/>
                  <a:gd name="connsiteX14" fmla="*/ 139547 w 185706"/>
                  <a:gd name="connsiteY14" fmla="*/ 97258 h 201486"/>
                  <a:gd name="connsiteX15" fmla="*/ 126402 w 185706"/>
                  <a:gd name="connsiteY15" fmla="*/ 105216 h 201486"/>
                  <a:gd name="connsiteX16" fmla="*/ 125633 w 185706"/>
                  <a:gd name="connsiteY16" fmla="*/ 109415 h 201486"/>
                  <a:gd name="connsiteX17" fmla="*/ 115947 w 185706"/>
                  <a:gd name="connsiteY17" fmla="*/ 116523 h 201486"/>
                  <a:gd name="connsiteX18" fmla="*/ 105628 w 185706"/>
                  <a:gd name="connsiteY18" fmla="*/ 117044 h 201486"/>
                  <a:gd name="connsiteX19" fmla="*/ 102499 w 185706"/>
                  <a:gd name="connsiteY19" fmla="*/ 121408 h 201486"/>
                  <a:gd name="connsiteX20" fmla="*/ 94266 w 185706"/>
                  <a:gd name="connsiteY20" fmla="*/ 125332 h 201486"/>
                  <a:gd name="connsiteX21" fmla="*/ 92428 w 185706"/>
                  <a:gd name="connsiteY21" fmla="*/ 128763 h 201486"/>
                  <a:gd name="connsiteX22" fmla="*/ 93910 w 185706"/>
                  <a:gd name="connsiteY22" fmla="*/ 132934 h 201486"/>
                  <a:gd name="connsiteX23" fmla="*/ 92620 w 185706"/>
                  <a:gd name="connsiteY23" fmla="*/ 138450 h 201486"/>
                  <a:gd name="connsiteX24" fmla="*/ 89052 w 185706"/>
                  <a:gd name="connsiteY24" fmla="*/ 140453 h 201486"/>
                  <a:gd name="connsiteX25" fmla="*/ 89162 w 185706"/>
                  <a:gd name="connsiteY25" fmla="*/ 143911 h 201486"/>
                  <a:gd name="connsiteX26" fmla="*/ 89354 w 185706"/>
                  <a:gd name="connsiteY26" fmla="*/ 147698 h 201486"/>
                  <a:gd name="connsiteX27" fmla="*/ 94376 w 185706"/>
                  <a:gd name="connsiteY27" fmla="*/ 149454 h 201486"/>
                  <a:gd name="connsiteX28" fmla="*/ 99755 w 185706"/>
                  <a:gd name="connsiteY28" fmla="*/ 151046 h 201486"/>
                  <a:gd name="connsiteX29" fmla="*/ 106342 w 185706"/>
                  <a:gd name="connsiteY29" fmla="*/ 159499 h 201486"/>
                  <a:gd name="connsiteX30" fmla="*/ 116385 w 185706"/>
                  <a:gd name="connsiteY30" fmla="*/ 166030 h 201486"/>
                  <a:gd name="connsiteX31" fmla="*/ 117758 w 185706"/>
                  <a:gd name="connsiteY31" fmla="*/ 169543 h 201486"/>
                  <a:gd name="connsiteX32" fmla="*/ 114629 w 185706"/>
                  <a:gd name="connsiteY32" fmla="*/ 177254 h 201486"/>
                  <a:gd name="connsiteX33" fmla="*/ 110128 w 185706"/>
                  <a:gd name="connsiteY33" fmla="*/ 180438 h 201486"/>
                  <a:gd name="connsiteX34" fmla="*/ 94431 w 185706"/>
                  <a:gd name="connsiteY34" fmla="*/ 180300 h 201486"/>
                  <a:gd name="connsiteX35" fmla="*/ 81588 w 185706"/>
                  <a:gd name="connsiteY35" fmla="*/ 181261 h 201486"/>
                  <a:gd name="connsiteX36" fmla="*/ 68195 w 185706"/>
                  <a:gd name="connsiteY36" fmla="*/ 195257 h 201486"/>
                  <a:gd name="connsiteX37" fmla="*/ 67894 w 185706"/>
                  <a:gd name="connsiteY37" fmla="*/ 198797 h 201486"/>
                  <a:gd name="connsiteX38" fmla="*/ 65122 w 185706"/>
                  <a:gd name="connsiteY38" fmla="*/ 200416 h 201486"/>
                  <a:gd name="connsiteX39" fmla="*/ 58371 w 185706"/>
                  <a:gd name="connsiteY39" fmla="*/ 197617 h 201486"/>
                  <a:gd name="connsiteX40" fmla="*/ 54529 w 185706"/>
                  <a:gd name="connsiteY40" fmla="*/ 198385 h 201486"/>
                  <a:gd name="connsiteX41" fmla="*/ 51785 w 185706"/>
                  <a:gd name="connsiteY41" fmla="*/ 200937 h 201486"/>
                  <a:gd name="connsiteX42" fmla="*/ 49287 w 185706"/>
                  <a:gd name="connsiteY42" fmla="*/ 198385 h 201486"/>
                  <a:gd name="connsiteX43" fmla="*/ 45665 w 185706"/>
                  <a:gd name="connsiteY43" fmla="*/ 197782 h 201486"/>
                  <a:gd name="connsiteX44" fmla="*/ 41686 w 185706"/>
                  <a:gd name="connsiteY44" fmla="*/ 192952 h 201486"/>
                  <a:gd name="connsiteX45" fmla="*/ 38777 w 185706"/>
                  <a:gd name="connsiteY45" fmla="*/ 192293 h 201486"/>
                  <a:gd name="connsiteX46" fmla="*/ 36663 w 185706"/>
                  <a:gd name="connsiteY46" fmla="*/ 199208 h 201486"/>
                  <a:gd name="connsiteX47" fmla="*/ 32382 w 185706"/>
                  <a:gd name="connsiteY47" fmla="*/ 201486 h 201486"/>
                  <a:gd name="connsiteX48" fmla="*/ 31422 w 185706"/>
                  <a:gd name="connsiteY48" fmla="*/ 197343 h 201486"/>
                  <a:gd name="connsiteX49" fmla="*/ 28266 w 185706"/>
                  <a:gd name="connsiteY49" fmla="*/ 198413 h 201486"/>
                  <a:gd name="connsiteX50" fmla="*/ 20911 w 185706"/>
                  <a:gd name="connsiteY50" fmla="*/ 195174 h 201486"/>
                  <a:gd name="connsiteX51" fmla="*/ 23217 w 185706"/>
                  <a:gd name="connsiteY51" fmla="*/ 189905 h 201486"/>
                  <a:gd name="connsiteX52" fmla="*/ 11141 w 185706"/>
                  <a:gd name="connsiteY52" fmla="*/ 188122 h 201486"/>
                  <a:gd name="connsiteX53" fmla="*/ 19374 w 185706"/>
                  <a:gd name="connsiteY53" fmla="*/ 172177 h 201486"/>
                  <a:gd name="connsiteX54" fmla="*/ 28321 w 185706"/>
                  <a:gd name="connsiteY54" fmla="*/ 167430 h 201486"/>
                  <a:gd name="connsiteX55" fmla="*/ 23683 w 185706"/>
                  <a:gd name="connsiteY55" fmla="*/ 160843 h 201486"/>
                  <a:gd name="connsiteX56" fmla="*/ 30571 w 185706"/>
                  <a:gd name="connsiteY56" fmla="*/ 144432 h 201486"/>
                  <a:gd name="connsiteX57" fmla="*/ 30296 w 185706"/>
                  <a:gd name="connsiteY57" fmla="*/ 135870 h 201486"/>
                  <a:gd name="connsiteX58" fmla="*/ 14353 w 185706"/>
                  <a:gd name="connsiteY58" fmla="*/ 128241 h 201486"/>
                  <a:gd name="connsiteX59" fmla="*/ 8672 w 185706"/>
                  <a:gd name="connsiteY59" fmla="*/ 131260 h 201486"/>
                  <a:gd name="connsiteX60" fmla="*/ 5022 w 185706"/>
                  <a:gd name="connsiteY60" fmla="*/ 124756 h 201486"/>
                  <a:gd name="connsiteX61" fmla="*/ 109 w 185706"/>
                  <a:gd name="connsiteY61" fmla="*/ 120777 h 201486"/>
                  <a:gd name="connsiteX62" fmla="*/ 0 w 185706"/>
                  <a:gd name="connsiteY62" fmla="*/ 116797 h 201486"/>
                  <a:gd name="connsiteX63" fmla="*/ 1619 w 185706"/>
                  <a:gd name="connsiteY63" fmla="*/ 111638 h 201486"/>
                  <a:gd name="connsiteX64" fmla="*/ 13913 w 185706"/>
                  <a:gd name="connsiteY64" fmla="*/ 100880 h 201486"/>
                  <a:gd name="connsiteX65" fmla="*/ 25549 w 185706"/>
                  <a:gd name="connsiteY65" fmla="*/ 92702 h 201486"/>
                  <a:gd name="connsiteX66" fmla="*/ 31175 w 185706"/>
                  <a:gd name="connsiteY66" fmla="*/ 91687 h 201486"/>
                  <a:gd name="connsiteX67" fmla="*/ 39655 w 185706"/>
                  <a:gd name="connsiteY67" fmla="*/ 83756 h 201486"/>
                  <a:gd name="connsiteX68" fmla="*/ 48437 w 185706"/>
                  <a:gd name="connsiteY68" fmla="*/ 81890 h 201486"/>
                  <a:gd name="connsiteX69" fmla="*/ 63146 w 185706"/>
                  <a:gd name="connsiteY69" fmla="*/ 63997 h 201486"/>
                  <a:gd name="connsiteX70" fmla="*/ 65588 w 185706"/>
                  <a:gd name="connsiteY70" fmla="*/ 53816 h 201486"/>
                  <a:gd name="connsiteX71" fmla="*/ 68525 w 185706"/>
                  <a:gd name="connsiteY71" fmla="*/ 51977 h 201486"/>
                  <a:gd name="connsiteX72" fmla="*/ 75084 w 185706"/>
                  <a:gd name="connsiteY72" fmla="*/ 47861 h 201486"/>
                  <a:gd name="connsiteX73" fmla="*/ 78212 w 185706"/>
                  <a:gd name="connsiteY73" fmla="*/ 49315 h 201486"/>
                  <a:gd name="connsiteX74" fmla="*/ 79640 w 185706"/>
                  <a:gd name="connsiteY74" fmla="*/ 51977 h 201486"/>
                  <a:gd name="connsiteX75" fmla="*/ 80627 w 185706"/>
                  <a:gd name="connsiteY75" fmla="*/ 53816 h 201486"/>
                  <a:gd name="connsiteX76" fmla="*/ 82521 w 185706"/>
                  <a:gd name="connsiteY76" fmla="*/ 57054 h 201486"/>
                  <a:gd name="connsiteX77" fmla="*/ 86336 w 185706"/>
                  <a:gd name="connsiteY77" fmla="*/ 59332 h 201486"/>
                  <a:gd name="connsiteX78" fmla="*/ 111007 w 185706"/>
                  <a:gd name="connsiteY78" fmla="*/ 62350 h 201486"/>
                  <a:gd name="connsiteX79" fmla="*/ 113037 w 185706"/>
                  <a:gd name="connsiteY79" fmla="*/ 60594 h 201486"/>
                  <a:gd name="connsiteX80" fmla="*/ 115178 w 185706"/>
                  <a:gd name="connsiteY80" fmla="*/ 53816 h 201486"/>
                  <a:gd name="connsiteX81" fmla="*/ 113943 w 185706"/>
                  <a:gd name="connsiteY81" fmla="*/ 51977 h 201486"/>
                  <a:gd name="connsiteX82" fmla="*/ 110787 w 185706"/>
                  <a:gd name="connsiteY82" fmla="*/ 47202 h 201486"/>
                  <a:gd name="connsiteX83" fmla="*/ 110842 w 185706"/>
                  <a:gd name="connsiteY83" fmla="*/ 40286 h 201486"/>
                  <a:gd name="connsiteX84" fmla="*/ 112379 w 185706"/>
                  <a:gd name="connsiteY84" fmla="*/ 39518 h 201486"/>
                  <a:gd name="connsiteX85" fmla="*/ 115947 w 185706"/>
                  <a:gd name="connsiteY85" fmla="*/ 37652 h 201486"/>
                  <a:gd name="connsiteX86" fmla="*/ 134471 w 185706"/>
                  <a:gd name="connsiteY86" fmla="*/ 37789 h 201486"/>
                  <a:gd name="connsiteX87" fmla="*/ 140508 w 185706"/>
                  <a:gd name="connsiteY87" fmla="*/ 30215 h 201486"/>
                  <a:gd name="connsiteX88" fmla="*/ 145997 w 185706"/>
                  <a:gd name="connsiteY88" fmla="*/ 23354 h 201486"/>
                  <a:gd name="connsiteX89" fmla="*/ 147698 w 185706"/>
                  <a:gd name="connsiteY89" fmla="*/ 23025 h 201486"/>
                  <a:gd name="connsiteX90" fmla="*/ 156480 w 185706"/>
                  <a:gd name="connsiteY90" fmla="*/ 21433 h 201486"/>
                  <a:gd name="connsiteX91" fmla="*/ 159142 w 185706"/>
                  <a:gd name="connsiteY91" fmla="*/ 13749 h 201486"/>
                  <a:gd name="connsiteX92" fmla="*/ 163889 w 185706"/>
                  <a:gd name="connsiteY92" fmla="*/ 0 h 201486"/>
                  <a:gd name="connsiteX93" fmla="*/ 172286 w 185706"/>
                  <a:gd name="connsiteY93" fmla="*/ 3183 h 201486"/>
                  <a:gd name="connsiteX94" fmla="*/ 174509 w 185706"/>
                  <a:gd name="connsiteY94" fmla="*/ 11581 h 201486"/>
                  <a:gd name="connsiteX95" fmla="*/ 177583 w 185706"/>
                  <a:gd name="connsiteY95" fmla="*/ 13721 h 201486"/>
                  <a:gd name="connsiteX96" fmla="*/ 181343 w 185706"/>
                  <a:gd name="connsiteY96" fmla="*/ 16383 h 201486"/>
                  <a:gd name="connsiteX97" fmla="*/ 184582 w 185706"/>
                  <a:gd name="connsiteY97" fmla="*/ 22449 h 20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85706" h="201486">
                    <a:moveTo>
                      <a:pt x="184499" y="22476"/>
                    </a:moveTo>
                    <a:lnTo>
                      <a:pt x="185706" y="27662"/>
                    </a:lnTo>
                    <a:lnTo>
                      <a:pt x="178379" y="26043"/>
                    </a:lnTo>
                    <a:lnTo>
                      <a:pt x="174482" y="30215"/>
                    </a:lnTo>
                    <a:lnTo>
                      <a:pt x="166990" y="38228"/>
                    </a:lnTo>
                    <a:lnTo>
                      <a:pt x="166194" y="39518"/>
                    </a:lnTo>
                    <a:lnTo>
                      <a:pt x="158428" y="52004"/>
                    </a:lnTo>
                    <a:lnTo>
                      <a:pt x="157275" y="53843"/>
                    </a:lnTo>
                    <a:lnTo>
                      <a:pt x="155958" y="55956"/>
                    </a:lnTo>
                    <a:lnTo>
                      <a:pt x="156507" y="60237"/>
                    </a:lnTo>
                    <a:lnTo>
                      <a:pt x="159663" y="64107"/>
                    </a:lnTo>
                    <a:lnTo>
                      <a:pt x="157797" y="71269"/>
                    </a:lnTo>
                    <a:lnTo>
                      <a:pt x="157577" y="83756"/>
                    </a:lnTo>
                    <a:lnTo>
                      <a:pt x="143252" y="90507"/>
                    </a:lnTo>
                    <a:lnTo>
                      <a:pt x="139547" y="97258"/>
                    </a:lnTo>
                    <a:lnTo>
                      <a:pt x="126402" y="105216"/>
                    </a:lnTo>
                    <a:lnTo>
                      <a:pt x="125633" y="109415"/>
                    </a:lnTo>
                    <a:lnTo>
                      <a:pt x="115947" y="116523"/>
                    </a:lnTo>
                    <a:lnTo>
                      <a:pt x="105628" y="117044"/>
                    </a:lnTo>
                    <a:lnTo>
                      <a:pt x="102499" y="121408"/>
                    </a:lnTo>
                    <a:lnTo>
                      <a:pt x="94266" y="125332"/>
                    </a:lnTo>
                    <a:lnTo>
                      <a:pt x="92428" y="128763"/>
                    </a:lnTo>
                    <a:lnTo>
                      <a:pt x="93910" y="132934"/>
                    </a:lnTo>
                    <a:lnTo>
                      <a:pt x="92620" y="138450"/>
                    </a:lnTo>
                    <a:lnTo>
                      <a:pt x="89052" y="140453"/>
                    </a:lnTo>
                    <a:lnTo>
                      <a:pt x="89162" y="143911"/>
                    </a:lnTo>
                    <a:lnTo>
                      <a:pt x="89354" y="147698"/>
                    </a:lnTo>
                    <a:lnTo>
                      <a:pt x="94376" y="149454"/>
                    </a:lnTo>
                    <a:lnTo>
                      <a:pt x="99755" y="151046"/>
                    </a:lnTo>
                    <a:lnTo>
                      <a:pt x="106342" y="159499"/>
                    </a:lnTo>
                    <a:lnTo>
                      <a:pt x="116385" y="166030"/>
                    </a:lnTo>
                    <a:lnTo>
                      <a:pt x="117758" y="169543"/>
                    </a:lnTo>
                    <a:lnTo>
                      <a:pt x="114629" y="177254"/>
                    </a:lnTo>
                    <a:lnTo>
                      <a:pt x="110128" y="180438"/>
                    </a:lnTo>
                    <a:lnTo>
                      <a:pt x="94431" y="180300"/>
                    </a:lnTo>
                    <a:lnTo>
                      <a:pt x="81588" y="181261"/>
                    </a:lnTo>
                    <a:lnTo>
                      <a:pt x="68195" y="195257"/>
                    </a:lnTo>
                    <a:lnTo>
                      <a:pt x="67894" y="198797"/>
                    </a:lnTo>
                    <a:lnTo>
                      <a:pt x="65122" y="200416"/>
                    </a:lnTo>
                    <a:lnTo>
                      <a:pt x="58371" y="197617"/>
                    </a:lnTo>
                    <a:lnTo>
                      <a:pt x="54529" y="198385"/>
                    </a:lnTo>
                    <a:lnTo>
                      <a:pt x="51785" y="200937"/>
                    </a:lnTo>
                    <a:lnTo>
                      <a:pt x="49287" y="198385"/>
                    </a:lnTo>
                    <a:lnTo>
                      <a:pt x="45665" y="197782"/>
                    </a:lnTo>
                    <a:lnTo>
                      <a:pt x="41686" y="192952"/>
                    </a:lnTo>
                    <a:lnTo>
                      <a:pt x="38777" y="192293"/>
                    </a:lnTo>
                    <a:lnTo>
                      <a:pt x="36663" y="199208"/>
                    </a:lnTo>
                    <a:lnTo>
                      <a:pt x="32382" y="201486"/>
                    </a:lnTo>
                    <a:lnTo>
                      <a:pt x="31422" y="197343"/>
                    </a:lnTo>
                    <a:lnTo>
                      <a:pt x="28266" y="198413"/>
                    </a:lnTo>
                    <a:lnTo>
                      <a:pt x="20911" y="195174"/>
                    </a:lnTo>
                    <a:lnTo>
                      <a:pt x="23217" y="189905"/>
                    </a:lnTo>
                    <a:lnTo>
                      <a:pt x="11141" y="188122"/>
                    </a:lnTo>
                    <a:lnTo>
                      <a:pt x="19374" y="172177"/>
                    </a:lnTo>
                    <a:lnTo>
                      <a:pt x="28321" y="167430"/>
                    </a:lnTo>
                    <a:lnTo>
                      <a:pt x="23683" y="160843"/>
                    </a:lnTo>
                    <a:lnTo>
                      <a:pt x="30571" y="144432"/>
                    </a:lnTo>
                    <a:lnTo>
                      <a:pt x="30296" y="135870"/>
                    </a:lnTo>
                    <a:lnTo>
                      <a:pt x="14353" y="128241"/>
                    </a:lnTo>
                    <a:lnTo>
                      <a:pt x="8672" y="131260"/>
                    </a:lnTo>
                    <a:lnTo>
                      <a:pt x="5022" y="124756"/>
                    </a:lnTo>
                    <a:lnTo>
                      <a:pt x="109" y="120777"/>
                    </a:lnTo>
                    <a:lnTo>
                      <a:pt x="0" y="116797"/>
                    </a:lnTo>
                    <a:lnTo>
                      <a:pt x="1619" y="111638"/>
                    </a:lnTo>
                    <a:lnTo>
                      <a:pt x="13913" y="100880"/>
                    </a:lnTo>
                    <a:lnTo>
                      <a:pt x="25549" y="92702"/>
                    </a:lnTo>
                    <a:lnTo>
                      <a:pt x="31175" y="91687"/>
                    </a:lnTo>
                    <a:lnTo>
                      <a:pt x="39655" y="83756"/>
                    </a:lnTo>
                    <a:lnTo>
                      <a:pt x="48437" y="81890"/>
                    </a:lnTo>
                    <a:lnTo>
                      <a:pt x="63146" y="63997"/>
                    </a:lnTo>
                    <a:lnTo>
                      <a:pt x="65588" y="53816"/>
                    </a:lnTo>
                    <a:lnTo>
                      <a:pt x="68525" y="51977"/>
                    </a:lnTo>
                    <a:lnTo>
                      <a:pt x="75084" y="47861"/>
                    </a:lnTo>
                    <a:lnTo>
                      <a:pt x="78212" y="49315"/>
                    </a:lnTo>
                    <a:lnTo>
                      <a:pt x="79640" y="51977"/>
                    </a:lnTo>
                    <a:lnTo>
                      <a:pt x="80627" y="53816"/>
                    </a:lnTo>
                    <a:lnTo>
                      <a:pt x="82521" y="57054"/>
                    </a:lnTo>
                    <a:lnTo>
                      <a:pt x="86336" y="59332"/>
                    </a:lnTo>
                    <a:lnTo>
                      <a:pt x="111007" y="62350"/>
                    </a:lnTo>
                    <a:lnTo>
                      <a:pt x="113037" y="60594"/>
                    </a:lnTo>
                    <a:lnTo>
                      <a:pt x="115178" y="53816"/>
                    </a:lnTo>
                    <a:lnTo>
                      <a:pt x="113943" y="51977"/>
                    </a:lnTo>
                    <a:lnTo>
                      <a:pt x="110787" y="47202"/>
                    </a:lnTo>
                    <a:lnTo>
                      <a:pt x="110842" y="40286"/>
                    </a:lnTo>
                    <a:lnTo>
                      <a:pt x="112379" y="39518"/>
                    </a:lnTo>
                    <a:lnTo>
                      <a:pt x="115947" y="37652"/>
                    </a:lnTo>
                    <a:lnTo>
                      <a:pt x="134471" y="37789"/>
                    </a:lnTo>
                    <a:lnTo>
                      <a:pt x="140508" y="30215"/>
                    </a:lnTo>
                    <a:lnTo>
                      <a:pt x="145997" y="23354"/>
                    </a:lnTo>
                    <a:lnTo>
                      <a:pt x="147698" y="23025"/>
                    </a:lnTo>
                    <a:lnTo>
                      <a:pt x="156480" y="21433"/>
                    </a:lnTo>
                    <a:lnTo>
                      <a:pt x="159142" y="13749"/>
                    </a:lnTo>
                    <a:lnTo>
                      <a:pt x="163889" y="0"/>
                    </a:lnTo>
                    <a:lnTo>
                      <a:pt x="172286" y="3183"/>
                    </a:lnTo>
                    <a:lnTo>
                      <a:pt x="174509" y="11581"/>
                    </a:lnTo>
                    <a:lnTo>
                      <a:pt x="177583" y="13721"/>
                    </a:lnTo>
                    <a:lnTo>
                      <a:pt x="181343" y="16383"/>
                    </a:lnTo>
                    <a:lnTo>
                      <a:pt x="184582" y="2244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sp>
          <p:nvSpPr>
            <p:cNvPr id="3265" name="Freeform: Shape 3264">
              <a:extLst>
                <a:ext uri="{FF2B5EF4-FFF2-40B4-BE49-F238E27FC236}">
                  <a16:creationId xmlns:a16="http://schemas.microsoft.com/office/drawing/2014/main" id="{0D143CC1-F25E-961E-8D98-343F2F798C58}"/>
                </a:ext>
              </a:extLst>
            </p:cNvPr>
            <p:cNvSpPr/>
            <p:nvPr/>
          </p:nvSpPr>
          <p:spPr>
            <a:xfrm>
              <a:off x="1747665" y="3718264"/>
              <a:ext cx="345" cy="571"/>
            </a:xfrm>
            <a:custGeom>
              <a:avLst/>
              <a:gdLst>
                <a:gd name="connsiteX0" fmla="*/ 3320 w 3320"/>
                <a:gd name="connsiteY0" fmla="*/ 2196 h 5488"/>
                <a:gd name="connsiteX1" fmla="*/ 1592 w 3320"/>
                <a:gd name="connsiteY1" fmla="*/ 5489 h 5488"/>
                <a:gd name="connsiteX2" fmla="*/ 0 w 3320"/>
                <a:gd name="connsiteY2" fmla="*/ 2799 h 5488"/>
                <a:gd name="connsiteX3" fmla="*/ 2388 w 3320"/>
                <a:gd name="connsiteY3" fmla="*/ 0 h 5488"/>
                <a:gd name="connsiteX4" fmla="*/ 3293 w 3320"/>
                <a:gd name="connsiteY4" fmla="*/ 2168 h 5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0" h="5488">
                  <a:moveTo>
                    <a:pt x="3320" y="2196"/>
                  </a:moveTo>
                  <a:lnTo>
                    <a:pt x="1592" y="5489"/>
                  </a:lnTo>
                  <a:lnTo>
                    <a:pt x="0" y="2799"/>
                  </a:lnTo>
                  <a:lnTo>
                    <a:pt x="2388" y="0"/>
                  </a:lnTo>
                  <a:lnTo>
                    <a:pt x="3293"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6" name="Freeform: Shape 3265">
              <a:extLst>
                <a:ext uri="{FF2B5EF4-FFF2-40B4-BE49-F238E27FC236}">
                  <a16:creationId xmlns:a16="http://schemas.microsoft.com/office/drawing/2014/main" id="{AD2BFD08-C7E6-BACB-D2D4-164E9FEF590A}"/>
                </a:ext>
              </a:extLst>
            </p:cNvPr>
            <p:cNvSpPr/>
            <p:nvPr/>
          </p:nvSpPr>
          <p:spPr>
            <a:xfrm>
              <a:off x="1746217" y="3711109"/>
              <a:ext cx="417" cy="474"/>
            </a:xfrm>
            <a:custGeom>
              <a:avLst/>
              <a:gdLst>
                <a:gd name="connsiteX0" fmla="*/ 3979 w 4006"/>
                <a:gd name="connsiteY0" fmla="*/ 1948 h 4555"/>
                <a:gd name="connsiteX1" fmla="*/ 2086 w 4006"/>
                <a:gd name="connsiteY1" fmla="*/ 4555 h 4555"/>
                <a:gd name="connsiteX2" fmla="*/ 0 w 4006"/>
                <a:gd name="connsiteY2" fmla="*/ 2552 h 4555"/>
                <a:gd name="connsiteX3" fmla="*/ 2251 w 4006"/>
                <a:gd name="connsiteY3" fmla="*/ 0 h 4555"/>
                <a:gd name="connsiteX4" fmla="*/ 4007 w 4006"/>
                <a:gd name="connsiteY4" fmla="*/ 1948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4555">
                  <a:moveTo>
                    <a:pt x="3979" y="1948"/>
                  </a:moveTo>
                  <a:lnTo>
                    <a:pt x="2086" y="4555"/>
                  </a:lnTo>
                  <a:lnTo>
                    <a:pt x="0" y="2552"/>
                  </a:lnTo>
                  <a:lnTo>
                    <a:pt x="2251" y="0"/>
                  </a:lnTo>
                  <a:lnTo>
                    <a:pt x="4007" y="1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7" name="Freeform: Shape 3266">
              <a:extLst>
                <a:ext uri="{FF2B5EF4-FFF2-40B4-BE49-F238E27FC236}">
                  <a16:creationId xmlns:a16="http://schemas.microsoft.com/office/drawing/2014/main" id="{6FF30737-DE02-FEBA-4CD8-9592B642E550}"/>
                </a:ext>
              </a:extLst>
            </p:cNvPr>
            <p:cNvSpPr/>
            <p:nvPr/>
          </p:nvSpPr>
          <p:spPr>
            <a:xfrm>
              <a:off x="1754360" y="3712018"/>
              <a:ext cx="405" cy="471"/>
            </a:xfrm>
            <a:custGeom>
              <a:avLst/>
              <a:gdLst>
                <a:gd name="connsiteX0" fmla="*/ 3897 w 3897"/>
                <a:gd name="connsiteY0" fmla="*/ 2799 h 4528"/>
                <a:gd name="connsiteX1" fmla="*/ 1729 w 3897"/>
                <a:gd name="connsiteY1" fmla="*/ 4528 h 4528"/>
                <a:gd name="connsiteX2" fmla="*/ 0 w 3897"/>
                <a:gd name="connsiteY2" fmla="*/ 2525 h 4528"/>
                <a:gd name="connsiteX3" fmla="*/ 2854 w 3897"/>
                <a:gd name="connsiteY3" fmla="*/ 0 h 4528"/>
                <a:gd name="connsiteX4" fmla="*/ 3897 w 3897"/>
                <a:gd name="connsiteY4" fmla="*/ 2827 h 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7" h="4528">
                  <a:moveTo>
                    <a:pt x="3897" y="2799"/>
                  </a:moveTo>
                  <a:lnTo>
                    <a:pt x="1729" y="4528"/>
                  </a:lnTo>
                  <a:lnTo>
                    <a:pt x="0" y="2525"/>
                  </a:lnTo>
                  <a:lnTo>
                    <a:pt x="2854" y="0"/>
                  </a:lnTo>
                  <a:lnTo>
                    <a:pt x="3897" y="2827"/>
                  </a:lnTo>
                </a:path>
              </a:pathLst>
            </a:custGeom>
            <a:solidFill>
              <a:srgbClr val="156168"/>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8" name="Freeform: Shape 3267">
              <a:extLst>
                <a:ext uri="{FF2B5EF4-FFF2-40B4-BE49-F238E27FC236}">
                  <a16:creationId xmlns:a16="http://schemas.microsoft.com/office/drawing/2014/main" id="{BD782DD4-07C9-2DA3-1D9C-0DDC3FCBC237}"/>
                </a:ext>
              </a:extLst>
            </p:cNvPr>
            <p:cNvSpPr/>
            <p:nvPr/>
          </p:nvSpPr>
          <p:spPr>
            <a:xfrm>
              <a:off x="1760883" y="3703461"/>
              <a:ext cx="38074" cy="39810"/>
            </a:xfrm>
            <a:custGeom>
              <a:avLst/>
              <a:gdLst>
                <a:gd name="connsiteX0" fmla="*/ 347510 w 365842"/>
                <a:gd name="connsiteY0" fmla="*/ 5818 h 382527"/>
                <a:gd name="connsiteX1" fmla="*/ 346934 w 365842"/>
                <a:gd name="connsiteY1" fmla="*/ 22558 h 382527"/>
                <a:gd name="connsiteX2" fmla="*/ 348334 w 365842"/>
                <a:gd name="connsiteY2" fmla="*/ 32081 h 382527"/>
                <a:gd name="connsiteX3" fmla="*/ 358351 w 365842"/>
                <a:gd name="connsiteY3" fmla="*/ 46626 h 382527"/>
                <a:gd name="connsiteX4" fmla="*/ 363427 w 365842"/>
                <a:gd name="connsiteY4" fmla="*/ 61308 h 382527"/>
                <a:gd name="connsiteX5" fmla="*/ 365843 w 365842"/>
                <a:gd name="connsiteY5" fmla="*/ 75935 h 382527"/>
                <a:gd name="connsiteX6" fmla="*/ 360985 w 365842"/>
                <a:gd name="connsiteY6" fmla="*/ 92291 h 382527"/>
                <a:gd name="connsiteX7" fmla="*/ 354948 w 365842"/>
                <a:gd name="connsiteY7" fmla="*/ 97066 h 382527"/>
                <a:gd name="connsiteX8" fmla="*/ 350612 w 365842"/>
                <a:gd name="connsiteY8" fmla="*/ 107933 h 382527"/>
                <a:gd name="connsiteX9" fmla="*/ 349925 w 365842"/>
                <a:gd name="connsiteY9" fmla="*/ 121682 h 382527"/>
                <a:gd name="connsiteX10" fmla="*/ 344657 w 365842"/>
                <a:gd name="connsiteY10" fmla="*/ 119514 h 382527"/>
                <a:gd name="connsiteX11" fmla="*/ 339168 w 365842"/>
                <a:gd name="connsiteY11" fmla="*/ 120557 h 382527"/>
                <a:gd name="connsiteX12" fmla="*/ 333871 w 365842"/>
                <a:gd name="connsiteY12" fmla="*/ 128982 h 382527"/>
                <a:gd name="connsiteX13" fmla="*/ 333103 w 365842"/>
                <a:gd name="connsiteY13" fmla="*/ 135952 h 382527"/>
                <a:gd name="connsiteX14" fmla="*/ 336231 w 365842"/>
                <a:gd name="connsiteY14" fmla="*/ 153269 h 382527"/>
                <a:gd name="connsiteX15" fmla="*/ 335381 w 365842"/>
                <a:gd name="connsiteY15" fmla="*/ 165591 h 382527"/>
                <a:gd name="connsiteX16" fmla="*/ 333981 w 365842"/>
                <a:gd name="connsiteY16" fmla="*/ 171409 h 382527"/>
                <a:gd name="connsiteX17" fmla="*/ 329810 w 365842"/>
                <a:gd name="connsiteY17" fmla="*/ 175745 h 382527"/>
                <a:gd name="connsiteX18" fmla="*/ 326873 w 365842"/>
                <a:gd name="connsiteY18" fmla="*/ 183209 h 382527"/>
                <a:gd name="connsiteX19" fmla="*/ 323114 w 365842"/>
                <a:gd name="connsiteY19" fmla="*/ 199977 h 382527"/>
                <a:gd name="connsiteX20" fmla="*/ 330194 w 365842"/>
                <a:gd name="connsiteY20" fmla="*/ 217348 h 382527"/>
                <a:gd name="connsiteX21" fmla="*/ 320287 w 365842"/>
                <a:gd name="connsiteY21" fmla="*/ 224072 h 382527"/>
                <a:gd name="connsiteX22" fmla="*/ 316061 w 365842"/>
                <a:gd name="connsiteY22" fmla="*/ 237382 h 382527"/>
                <a:gd name="connsiteX23" fmla="*/ 302751 w 365842"/>
                <a:gd name="connsiteY23" fmla="*/ 246520 h 382527"/>
                <a:gd name="connsiteX24" fmla="*/ 300802 w 365842"/>
                <a:gd name="connsiteY24" fmla="*/ 244929 h 382527"/>
                <a:gd name="connsiteX25" fmla="*/ 300857 w 365842"/>
                <a:gd name="connsiteY25" fmla="*/ 233046 h 382527"/>
                <a:gd name="connsiteX26" fmla="*/ 307663 w 365842"/>
                <a:gd name="connsiteY26" fmla="*/ 223358 h 382527"/>
                <a:gd name="connsiteX27" fmla="*/ 305276 w 365842"/>
                <a:gd name="connsiteY27" fmla="*/ 220394 h 382527"/>
                <a:gd name="connsiteX28" fmla="*/ 299979 w 365842"/>
                <a:gd name="connsiteY28" fmla="*/ 221355 h 382527"/>
                <a:gd name="connsiteX29" fmla="*/ 295835 w 365842"/>
                <a:gd name="connsiteY29" fmla="*/ 229944 h 382527"/>
                <a:gd name="connsiteX30" fmla="*/ 296329 w 365842"/>
                <a:gd name="connsiteY30" fmla="*/ 236558 h 382527"/>
                <a:gd name="connsiteX31" fmla="*/ 288206 w 365842"/>
                <a:gd name="connsiteY31" fmla="*/ 233073 h 382527"/>
                <a:gd name="connsiteX32" fmla="*/ 282059 w 365842"/>
                <a:gd name="connsiteY32" fmla="*/ 235598 h 382527"/>
                <a:gd name="connsiteX33" fmla="*/ 279480 w 365842"/>
                <a:gd name="connsiteY33" fmla="*/ 240922 h 382527"/>
                <a:gd name="connsiteX34" fmla="*/ 279480 w 365842"/>
                <a:gd name="connsiteY34" fmla="*/ 249072 h 382527"/>
                <a:gd name="connsiteX35" fmla="*/ 276022 w 365842"/>
                <a:gd name="connsiteY35" fmla="*/ 254890 h 382527"/>
                <a:gd name="connsiteX36" fmla="*/ 272728 w 365842"/>
                <a:gd name="connsiteY36" fmla="*/ 256894 h 382527"/>
                <a:gd name="connsiteX37" fmla="*/ 269627 w 365842"/>
                <a:gd name="connsiteY37" fmla="*/ 254040 h 382527"/>
                <a:gd name="connsiteX38" fmla="*/ 269901 w 365842"/>
                <a:gd name="connsiteY38" fmla="*/ 246465 h 382527"/>
                <a:gd name="connsiteX39" fmla="*/ 272152 w 365842"/>
                <a:gd name="connsiteY39" fmla="*/ 241910 h 382527"/>
                <a:gd name="connsiteX40" fmla="*/ 269325 w 365842"/>
                <a:gd name="connsiteY40" fmla="*/ 239906 h 382527"/>
                <a:gd name="connsiteX41" fmla="*/ 263068 w 365842"/>
                <a:gd name="connsiteY41" fmla="*/ 241718 h 382527"/>
                <a:gd name="connsiteX42" fmla="*/ 250664 w 365842"/>
                <a:gd name="connsiteY42" fmla="*/ 257360 h 382527"/>
                <a:gd name="connsiteX43" fmla="*/ 233896 w 365842"/>
                <a:gd name="connsiteY43" fmla="*/ 255631 h 382527"/>
                <a:gd name="connsiteX44" fmla="*/ 222371 w 365842"/>
                <a:gd name="connsiteY44" fmla="*/ 257717 h 382527"/>
                <a:gd name="connsiteX45" fmla="*/ 221986 w 365842"/>
                <a:gd name="connsiteY45" fmla="*/ 256564 h 382527"/>
                <a:gd name="connsiteX46" fmla="*/ 225609 w 365842"/>
                <a:gd name="connsiteY46" fmla="*/ 253326 h 382527"/>
                <a:gd name="connsiteX47" fmla="*/ 225416 w 365842"/>
                <a:gd name="connsiteY47" fmla="*/ 252174 h 382527"/>
                <a:gd name="connsiteX48" fmla="*/ 217156 w 365842"/>
                <a:gd name="connsiteY48" fmla="*/ 249923 h 382527"/>
                <a:gd name="connsiteX49" fmla="*/ 214412 w 365842"/>
                <a:gd name="connsiteY49" fmla="*/ 252887 h 382527"/>
                <a:gd name="connsiteX50" fmla="*/ 212738 w 365842"/>
                <a:gd name="connsiteY50" fmla="*/ 244133 h 382527"/>
                <a:gd name="connsiteX51" fmla="*/ 209664 w 365842"/>
                <a:gd name="connsiteY51" fmla="*/ 242870 h 382527"/>
                <a:gd name="connsiteX52" fmla="*/ 204944 w 365842"/>
                <a:gd name="connsiteY52" fmla="*/ 251405 h 382527"/>
                <a:gd name="connsiteX53" fmla="*/ 204478 w 365842"/>
                <a:gd name="connsiteY53" fmla="*/ 255823 h 382527"/>
                <a:gd name="connsiteX54" fmla="*/ 213616 w 365842"/>
                <a:gd name="connsiteY54" fmla="*/ 263343 h 382527"/>
                <a:gd name="connsiteX55" fmla="*/ 213890 w 365842"/>
                <a:gd name="connsiteY55" fmla="*/ 268090 h 382527"/>
                <a:gd name="connsiteX56" fmla="*/ 207140 w 365842"/>
                <a:gd name="connsiteY56" fmla="*/ 268667 h 382527"/>
                <a:gd name="connsiteX57" fmla="*/ 198440 w 365842"/>
                <a:gd name="connsiteY57" fmla="*/ 273085 h 382527"/>
                <a:gd name="connsiteX58" fmla="*/ 183593 w 365842"/>
                <a:gd name="connsiteY58" fmla="*/ 296768 h 382527"/>
                <a:gd name="connsiteX59" fmla="*/ 171957 w 365842"/>
                <a:gd name="connsiteY59" fmla="*/ 294847 h 382527"/>
                <a:gd name="connsiteX60" fmla="*/ 169296 w 365842"/>
                <a:gd name="connsiteY60" fmla="*/ 289167 h 382527"/>
                <a:gd name="connsiteX61" fmla="*/ 165097 w 365842"/>
                <a:gd name="connsiteY61" fmla="*/ 286367 h 382527"/>
                <a:gd name="connsiteX62" fmla="*/ 161584 w 365842"/>
                <a:gd name="connsiteY62" fmla="*/ 282580 h 382527"/>
                <a:gd name="connsiteX63" fmla="*/ 163834 w 365842"/>
                <a:gd name="connsiteY63" fmla="*/ 273936 h 382527"/>
                <a:gd name="connsiteX64" fmla="*/ 161337 w 365842"/>
                <a:gd name="connsiteY64" fmla="*/ 269600 h 382527"/>
                <a:gd name="connsiteX65" fmla="*/ 171381 w 365842"/>
                <a:gd name="connsiteY65" fmla="*/ 260653 h 382527"/>
                <a:gd name="connsiteX66" fmla="*/ 171957 w 365842"/>
                <a:gd name="connsiteY66" fmla="*/ 256317 h 382527"/>
                <a:gd name="connsiteX67" fmla="*/ 168198 w 365842"/>
                <a:gd name="connsiteY67" fmla="*/ 254396 h 382527"/>
                <a:gd name="connsiteX68" fmla="*/ 159032 w 365842"/>
                <a:gd name="connsiteY68" fmla="*/ 256509 h 382527"/>
                <a:gd name="connsiteX69" fmla="*/ 148521 w 365842"/>
                <a:gd name="connsiteY69" fmla="*/ 252064 h 382527"/>
                <a:gd name="connsiteX70" fmla="*/ 140151 w 365842"/>
                <a:gd name="connsiteY70" fmla="*/ 253298 h 382527"/>
                <a:gd name="connsiteX71" fmla="*/ 127500 w 365842"/>
                <a:gd name="connsiteY71" fmla="*/ 262821 h 382527"/>
                <a:gd name="connsiteX72" fmla="*/ 123329 w 365842"/>
                <a:gd name="connsiteY72" fmla="*/ 263562 h 382527"/>
                <a:gd name="connsiteX73" fmla="*/ 119377 w 365842"/>
                <a:gd name="connsiteY73" fmla="*/ 261724 h 382527"/>
                <a:gd name="connsiteX74" fmla="*/ 104064 w 365842"/>
                <a:gd name="connsiteY74" fmla="*/ 268996 h 382527"/>
                <a:gd name="connsiteX75" fmla="*/ 101073 w 365842"/>
                <a:gd name="connsiteY75" fmla="*/ 277613 h 382527"/>
                <a:gd name="connsiteX76" fmla="*/ 103240 w 365842"/>
                <a:gd name="connsiteY76" fmla="*/ 281043 h 382527"/>
                <a:gd name="connsiteX77" fmla="*/ 105793 w 365842"/>
                <a:gd name="connsiteY77" fmla="*/ 281510 h 382527"/>
                <a:gd name="connsiteX78" fmla="*/ 116688 w 365842"/>
                <a:gd name="connsiteY78" fmla="*/ 278903 h 382527"/>
                <a:gd name="connsiteX79" fmla="*/ 120173 w 365842"/>
                <a:gd name="connsiteY79" fmla="*/ 269957 h 382527"/>
                <a:gd name="connsiteX80" fmla="*/ 133620 w 365842"/>
                <a:gd name="connsiteY80" fmla="*/ 266060 h 382527"/>
                <a:gd name="connsiteX81" fmla="*/ 146738 w 365842"/>
                <a:gd name="connsiteY81" fmla="*/ 273058 h 382527"/>
                <a:gd name="connsiteX82" fmla="*/ 149317 w 365842"/>
                <a:gd name="connsiteY82" fmla="*/ 285846 h 382527"/>
                <a:gd name="connsiteX83" fmla="*/ 140810 w 365842"/>
                <a:gd name="connsiteY83" fmla="*/ 292954 h 382527"/>
                <a:gd name="connsiteX84" fmla="*/ 134526 w 365842"/>
                <a:gd name="connsiteY84" fmla="*/ 304507 h 382527"/>
                <a:gd name="connsiteX85" fmla="*/ 122533 w 365842"/>
                <a:gd name="connsiteY85" fmla="*/ 296741 h 382527"/>
                <a:gd name="connsiteX86" fmla="*/ 109580 w 365842"/>
                <a:gd name="connsiteY86" fmla="*/ 301406 h 382527"/>
                <a:gd name="connsiteX87" fmla="*/ 100743 w 365842"/>
                <a:gd name="connsiteY87" fmla="*/ 315896 h 382527"/>
                <a:gd name="connsiteX88" fmla="*/ 99234 w 365842"/>
                <a:gd name="connsiteY88" fmla="*/ 323415 h 382527"/>
                <a:gd name="connsiteX89" fmla="*/ 90452 w 365842"/>
                <a:gd name="connsiteY89" fmla="*/ 321577 h 382527"/>
                <a:gd name="connsiteX90" fmla="*/ 90562 w 365842"/>
                <a:gd name="connsiteY90" fmla="*/ 317927 h 382527"/>
                <a:gd name="connsiteX91" fmla="*/ 85018 w 365842"/>
                <a:gd name="connsiteY91" fmla="*/ 313893 h 382527"/>
                <a:gd name="connsiteX92" fmla="*/ 85512 w 365842"/>
                <a:gd name="connsiteY92" fmla="*/ 306456 h 382527"/>
                <a:gd name="connsiteX93" fmla="*/ 82247 w 365842"/>
                <a:gd name="connsiteY93" fmla="*/ 302778 h 382527"/>
                <a:gd name="connsiteX94" fmla="*/ 81643 w 365842"/>
                <a:gd name="connsiteY94" fmla="*/ 299265 h 382527"/>
                <a:gd name="connsiteX95" fmla="*/ 89437 w 365842"/>
                <a:gd name="connsiteY95" fmla="*/ 289880 h 382527"/>
                <a:gd name="connsiteX96" fmla="*/ 92208 w 365842"/>
                <a:gd name="connsiteY96" fmla="*/ 281455 h 382527"/>
                <a:gd name="connsiteX97" fmla="*/ 100057 w 365842"/>
                <a:gd name="connsiteY97" fmla="*/ 274210 h 382527"/>
                <a:gd name="connsiteX98" fmla="*/ 99426 w 365842"/>
                <a:gd name="connsiteY98" fmla="*/ 270725 h 382527"/>
                <a:gd name="connsiteX99" fmla="*/ 97258 w 365842"/>
                <a:gd name="connsiteY99" fmla="*/ 271850 h 382527"/>
                <a:gd name="connsiteX100" fmla="*/ 93471 w 365842"/>
                <a:gd name="connsiteY100" fmla="*/ 270039 h 382527"/>
                <a:gd name="connsiteX101" fmla="*/ 85266 w 365842"/>
                <a:gd name="connsiteY101" fmla="*/ 275911 h 382527"/>
                <a:gd name="connsiteX102" fmla="*/ 82630 w 365842"/>
                <a:gd name="connsiteY102" fmla="*/ 272344 h 382527"/>
                <a:gd name="connsiteX103" fmla="*/ 83701 w 365842"/>
                <a:gd name="connsiteY103" fmla="*/ 268118 h 382527"/>
                <a:gd name="connsiteX104" fmla="*/ 81067 w 365842"/>
                <a:gd name="connsiteY104" fmla="*/ 268173 h 382527"/>
                <a:gd name="connsiteX105" fmla="*/ 77197 w 365842"/>
                <a:gd name="connsiteY105" fmla="*/ 276268 h 382527"/>
                <a:gd name="connsiteX106" fmla="*/ 78761 w 365842"/>
                <a:gd name="connsiteY106" fmla="*/ 281181 h 382527"/>
                <a:gd name="connsiteX107" fmla="*/ 81670 w 365842"/>
                <a:gd name="connsiteY107" fmla="*/ 283184 h 382527"/>
                <a:gd name="connsiteX108" fmla="*/ 81067 w 365842"/>
                <a:gd name="connsiteY108" fmla="*/ 284803 h 382527"/>
                <a:gd name="connsiteX109" fmla="*/ 72944 w 365842"/>
                <a:gd name="connsiteY109" fmla="*/ 283843 h 382527"/>
                <a:gd name="connsiteX110" fmla="*/ 64189 w 365842"/>
                <a:gd name="connsiteY110" fmla="*/ 278766 h 382527"/>
                <a:gd name="connsiteX111" fmla="*/ 48492 w 365842"/>
                <a:gd name="connsiteY111" fmla="*/ 281702 h 382527"/>
                <a:gd name="connsiteX112" fmla="*/ 42482 w 365842"/>
                <a:gd name="connsiteY112" fmla="*/ 279424 h 382527"/>
                <a:gd name="connsiteX113" fmla="*/ 41713 w 365842"/>
                <a:gd name="connsiteY113" fmla="*/ 286779 h 382527"/>
                <a:gd name="connsiteX114" fmla="*/ 44403 w 365842"/>
                <a:gd name="connsiteY114" fmla="*/ 292295 h 382527"/>
                <a:gd name="connsiteX115" fmla="*/ 52498 w 365842"/>
                <a:gd name="connsiteY115" fmla="*/ 294408 h 382527"/>
                <a:gd name="connsiteX116" fmla="*/ 58700 w 365842"/>
                <a:gd name="connsiteY116" fmla="*/ 291472 h 382527"/>
                <a:gd name="connsiteX117" fmla="*/ 61719 w 365842"/>
                <a:gd name="connsiteY117" fmla="*/ 293777 h 382527"/>
                <a:gd name="connsiteX118" fmla="*/ 61857 w 365842"/>
                <a:gd name="connsiteY118" fmla="*/ 299540 h 382527"/>
                <a:gd name="connsiteX119" fmla="*/ 58014 w 365842"/>
                <a:gd name="connsiteY119" fmla="*/ 304233 h 382527"/>
                <a:gd name="connsiteX120" fmla="*/ 65643 w 365842"/>
                <a:gd name="connsiteY120" fmla="*/ 306950 h 382527"/>
                <a:gd name="connsiteX121" fmla="*/ 69925 w 365842"/>
                <a:gd name="connsiteY121" fmla="*/ 319107 h 382527"/>
                <a:gd name="connsiteX122" fmla="*/ 63284 w 365842"/>
                <a:gd name="connsiteY122" fmla="*/ 329069 h 382527"/>
                <a:gd name="connsiteX123" fmla="*/ 55572 w 365842"/>
                <a:gd name="connsiteY123" fmla="*/ 350858 h 382527"/>
                <a:gd name="connsiteX124" fmla="*/ 54474 w 365842"/>
                <a:gd name="connsiteY124" fmla="*/ 362275 h 382527"/>
                <a:gd name="connsiteX125" fmla="*/ 50715 w 365842"/>
                <a:gd name="connsiteY125" fmla="*/ 369986 h 382527"/>
                <a:gd name="connsiteX126" fmla="*/ 43470 w 365842"/>
                <a:gd name="connsiteY126" fmla="*/ 370068 h 382527"/>
                <a:gd name="connsiteX127" fmla="*/ 41741 w 365842"/>
                <a:gd name="connsiteY127" fmla="*/ 377423 h 382527"/>
                <a:gd name="connsiteX128" fmla="*/ 32849 w 365842"/>
                <a:gd name="connsiteY128" fmla="*/ 382528 h 382527"/>
                <a:gd name="connsiteX129" fmla="*/ 34578 w 365842"/>
                <a:gd name="connsiteY129" fmla="*/ 372291 h 382527"/>
                <a:gd name="connsiteX130" fmla="*/ 31121 w 365842"/>
                <a:gd name="connsiteY130" fmla="*/ 365595 h 382527"/>
                <a:gd name="connsiteX131" fmla="*/ 27937 w 365842"/>
                <a:gd name="connsiteY131" fmla="*/ 367955 h 382527"/>
                <a:gd name="connsiteX132" fmla="*/ 30380 w 365842"/>
                <a:gd name="connsiteY132" fmla="*/ 375145 h 382527"/>
                <a:gd name="connsiteX133" fmla="*/ 29007 w 365842"/>
                <a:gd name="connsiteY133" fmla="*/ 378246 h 382527"/>
                <a:gd name="connsiteX134" fmla="*/ 17701 w 365842"/>
                <a:gd name="connsiteY134" fmla="*/ 373225 h 382527"/>
                <a:gd name="connsiteX135" fmla="*/ 16905 w 365842"/>
                <a:gd name="connsiteY135" fmla="*/ 370755 h 382527"/>
                <a:gd name="connsiteX136" fmla="*/ 20198 w 365842"/>
                <a:gd name="connsiteY136" fmla="*/ 368422 h 382527"/>
                <a:gd name="connsiteX137" fmla="*/ 21021 w 365842"/>
                <a:gd name="connsiteY137" fmla="*/ 363482 h 382527"/>
                <a:gd name="connsiteX138" fmla="*/ 17673 w 365842"/>
                <a:gd name="connsiteY138" fmla="*/ 356951 h 382527"/>
                <a:gd name="connsiteX139" fmla="*/ 17262 w 365842"/>
                <a:gd name="connsiteY139" fmla="*/ 348498 h 382527"/>
                <a:gd name="connsiteX140" fmla="*/ 11910 w 365842"/>
                <a:gd name="connsiteY140" fmla="*/ 340402 h 382527"/>
                <a:gd name="connsiteX141" fmla="*/ 11746 w 365842"/>
                <a:gd name="connsiteY141" fmla="*/ 337439 h 382527"/>
                <a:gd name="connsiteX142" fmla="*/ 14243 w 365842"/>
                <a:gd name="connsiteY142" fmla="*/ 331621 h 382527"/>
                <a:gd name="connsiteX143" fmla="*/ 19320 w 365842"/>
                <a:gd name="connsiteY143" fmla="*/ 333240 h 382527"/>
                <a:gd name="connsiteX144" fmla="*/ 23903 w 365842"/>
                <a:gd name="connsiteY144" fmla="*/ 331923 h 382527"/>
                <a:gd name="connsiteX145" fmla="*/ 23162 w 365842"/>
                <a:gd name="connsiteY145" fmla="*/ 335792 h 382527"/>
                <a:gd name="connsiteX146" fmla="*/ 18826 w 365842"/>
                <a:gd name="connsiteY146" fmla="*/ 337082 h 382527"/>
                <a:gd name="connsiteX147" fmla="*/ 16081 w 365842"/>
                <a:gd name="connsiteY147" fmla="*/ 340869 h 382527"/>
                <a:gd name="connsiteX148" fmla="*/ 19100 w 365842"/>
                <a:gd name="connsiteY148" fmla="*/ 345095 h 382527"/>
                <a:gd name="connsiteX149" fmla="*/ 21845 w 365842"/>
                <a:gd name="connsiteY149" fmla="*/ 344794 h 382527"/>
                <a:gd name="connsiteX150" fmla="*/ 29364 w 365842"/>
                <a:gd name="connsiteY150" fmla="*/ 330057 h 382527"/>
                <a:gd name="connsiteX151" fmla="*/ 27882 w 365842"/>
                <a:gd name="connsiteY151" fmla="*/ 327120 h 382527"/>
                <a:gd name="connsiteX152" fmla="*/ 29309 w 365842"/>
                <a:gd name="connsiteY152" fmla="*/ 323059 h 382527"/>
                <a:gd name="connsiteX153" fmla="*/ 23519 w 365842"/>
                <a:gd name="connsiteY153" fmla="*/ 311670 h 382527"/>
                <a:gd name="connsiteX154" fmla="*/ 20198 w 365842"/>
                <a:gd name="connsiteY154" fmla="*/ 309475 h 382527"/>
                <a:gd name="connsiteX155" fmla="*/ 17152 w 365842"/>
                <a:gd name="connsiteY155" fmla="*/ 311313 h 382527"/>
                <a:gd name="connsiteX156" fmla="*/ 16603 w 365842"/>
                <a:gd name="connsiteY156" fmla="*/ 318997 h 382527"/>
                <a:gd name="connsiteX157" fmla="*/ 21433 w 365842"/>
                <a:gd name="connsiteY157" fmla="*/ 320973 h 382527"/>
                <a:gd name="connsiteX158" fmla="*/ 21570 w 365842"/>
                <a:gd name="connsiteY158" fmla="*/ 325611 h 382527"/>
                <a:gd name="connsiteX159" fmla="*/ 17756 w 365842"/>
                <a:gd name="connsiteY159" fmla="*/ 327779 h 382527"/>
                <a:gd name="connsiteX160" fmla="*/ 16740 w 365842"/>
                <a:gd name="connsiteY160" fmla="*/ 323635 h 382527"/>
                <a:gd name="connsiteX161" fmla="*/ 14353 w 365842"/>
                <a:gd name="connsiteY161" fmla="*/ 323141 h 382527"/>
                <a:gd name="connsiteX162" fmla="*/ 6504 w 365842"/>
                <a:gd name="connsiteY162" fmla="*/ 327038 h 382527"/>
                <a:gd name="connsiteX163" fmla="*/ 1701 w 365842"/>
                <a:gd name="connsiteY163" fmla="*/ 317158 h 382527"/>
                <a:gd name="connsiteX164" fmla="*/ 3266 w 365842"/>
                <a:gd name="connsiteY164" fmla="*/ 310599 h 382527"/>
                <a:gd name="connsiteX165" fmla="*/ 0 w 365842"/>
                <a:gd name="connsiteY165" fmla="*/ 306319 h 382527"/>
                <a:gd name="connsiteX166" fmla="*/ 549 w 365842"/>
                <a:gd name="connsiteY166" fmla="*/ 302504 h 382527"/>
                <a:gd name="connsiteX167" fmla="*/ 6257 w 365842"/>
                <a:gd name="connsiteY167" fmla="*/ 302421 h 382527"/>
                <a:gd name="connsiteX168" fmla="*/ 7986 w 365842"/>
                <a:gd name="connsiteY168" fmla="*/ 296302 h 382527"/>
                <a:gd name="connsiteX169" fmla="*/ 12761 w 365842"/>
                <a:gd name="connsiteY169" fmla="*/ 297921 h 382527"/>
                <a:gd name="connsiteX170" fmla="*/ 17756 w 365842"/>
                <a:gd name="connsiteY170" fmla="*/ 292981 h 382527"/>
                <a:gd name="connsiteX171" fmla="*/ 23299 w 365842"/>
                <a:gd name="connsiteY171" fmla="*/ 292679 h 382527"/>
                <a:gd name="connsiteX172" fmla="*/ 26345 w 365842"/>
                <a:gd name="connsiteY172" fmla="*/ 285599 h 382527"/>
                <a:gd name="connsiteX173" fmla="*/ 38063 w 365842"/>
                <a:gd name="connsiteY173" fmla="*/ 282169 h 382527"/>
                <a:gd name="connsiteX174" fmla="*/ 39875 w 365842"/>
                <a:gd name="connsiteY174" fmla="*/ 266883 h 382527"/>
                <a:gd name="connsiteX175" fmla="*/ 53075 w 365842"/>
                <a:gd name="connsiteY175" fmla="*/ 263645 h 382527"/>
                <a:gd name="connsiteX176" fmla="*/ 58893 w 365842"/>
                <a:gd name="connsiteY176" fmla="*/ 256921 h 382527"/>
                <a:gd name="connsiteX177" fmla="*/ 66357 w 365842"/>
                <a:gd name="connsiteY177" fmla="*/ 253518 h 382527"/>
                <a:gd name="connsiteX178" fmla="*/ 88065 w 365842"/>
                <a:gd name="connsiteY178" fmla="*/ 233814 h 382527"/>
                <a:gd name="connsiteX179" fmla="*/ 93690 w 365842"/>
                <a:gd name="connsiteY179" fmla="*/ 226569 h 382527"/>
                <a:gd name="connsiteX180" fmla="*/ 102335 w 365842"/>
                <a:gd name="connsiteY180" fmla="*/ 223057 h 382527"/>
                <a:gd name="connsiteX181" fmla="*/ 111172 w 365842"/>
                <a:gd name="connsiteY181" fmla="*/ 226624 h 382527"/>
                <a:gd name="connsiteX182" fmla="*/ 130628 w 365842"/>
                <a:gd name="connsiteY182" fmla="*/ 224868 h 382527"/>
                <a:gd name="connsiteX183" fmla="*/ 164383 w 365842"/>
                <a:gd name="connsiteY183" fmla="*/ 216745 h 382527"/>
                <a:gd name="connsiteX184" fmla="*/ 166744 w 365842"/>
                <a:gd name="connsiteY184" fmla="*/ 218391 h 382527"/>
                <a:gd name="connsiteX185" fmla="*/ 167485 w 365842"/>
                <a:gd name="connsiteY185" fmla="*/ 224429 h 382527"/>
                <a:gd name="connsiteX186" fmla="*/ 172067 w 365842"/>
                <a:gd name="connsiteY186" fmla="*/ 222562 h 382527"/>
                <a:gd name="connsiteX187" fmla="*/ 175114 w 365842"/>
                <a:gd name="connsiteY187" fmla="*/ 225526 h 382527"/>
                <a:gd name="connsiteX188" fmla="*/ 178873 w 365842"/>
                <a:gd name="connsiteY188" fmla="*/ 225773 h 382527"/>
                <a:gd name="connsiteX189" fmla="*/ 190125 w 365842"/>
                <a:gd name="connsiteY189" fmla="*/ 217815 h 382527"/>
                <a:gd name="connsiteX190" fmla="*/ 188725 w 365842"/>
                <a:gd name="connsiteY190" fmla="*/ 205987 h 382527"/>
                <a:gd name="connsiteX191" fmla="*/ 209554 w 365842"/>
                <a:gd name="connsiteY191" fmla="*/ 178078 h 382527"/>
                <a:gd name="connsiteX192" fmla="*/ 210625 w 365842"/>
                <a:gd name="connsiteY192" fmla="*/ 172314 h 382527"/>
                <a:gd name="connsiteX193" fmla="*/ 208814 w 365842"/>
                <a:gd name="connsiteY193" fmla="*/ 164109 h 382527"/>
                <a:gd name="connsiteX194" fmla="*/ 211832 w 365842"/>
                <a:gd name="connsiteY194" fmla="*/ 157495 h 382527"/>
                <a:gd name="connsiteX195" fmla="*/ 223770 w 365842"/>
                <a:gd name="connsiteY195" fmla="*/ 152391 h 382527"/>
                <a:gd name="connsiteX196" fmla="*/ 227447 w 365842"/>
                <a:gd name="connsiteY196" fmla="*/ 152995 h 382527"/>
                <a:gd name="connsiteX197" fmla="*/ 224346 w 365842"/>
                <a:gd name="connsiteY197" fmla="*/ 159416 h 382527"/>
                <a:gd name="connsiteX198" fmla="*/ 215756 w 365842"/>
                <a:gd name="connsiteY198" fmla="*/ 163752 h 382527"/>
                <a:gd name="connsiteX199" fmla="*/ 214631 w 365842"/>
                <a:gd name="connsiteY199" fmla="*/ 166277 h 382527"/>
                <a:gd name="connsiteX200" fmla="*/ 219105 w 365842"/>
                <a:gd name="connsiteY200" fmla="*/ 168994 h 382527"/>
                <a:gd name="connsiteX201" fmla="*/ 219159 w 365842"/>
                <a:gd name="connsiteY201" fmla="*/ 177721 h 382527"/>
                <a:gd name="connsiteX202" fmla="*/ 226405 w 365842"/>
                <a:gd name="connsiteY202" fmla="*/ 179559 h 382527"/>
                <a:gd name="connsiteX203" fmla="*/ 232579 w 365842"/>
                <a:gd name="connsiteY203" fmla="*/ 172918 h 382527"/>
                <a:gd name="connsiteX204" fmla="*/ 254040 w 365842"/>
                <a:gd name="connsiteY204" fmla="*/ 164246 h 382527"/>
                <a:gd name="connsiteX205" fmla="*/ 261284 w 365842"/>
                <a:gd name="connsiteY205" fmla="*/ 158840 h 382527"/>
                <a:gd name="connsiteX206" fmla="*/ 267980 w 365842"/>
                <a:gd name="connsiteY206" fmla="*/ 150442 h 382527"/>
                <a:gd name="connsiteX207" fmla="*/ 272783 w 365842"/>
                <a:gd name="connsiteY207" fmla="*/ 140728 h 382527"/>
                <a:gd name="connsiteX208" fmla="*/ 286504 w 365842"/>
                <a:gd name="connsiteY208" fmla="*/ 130958 h 382527"/>
                <a:gd name="connsiteX209" fmla="*/ 292295 w 365842"/>
                <a:gd name="connsiteY209" fmla="*/ 114025 h 382527"/>
                <a:gd name="connsiteX210" fmla="*/ 299595 w 365842"/>
                <a:gd name="connsiteY210" fmla="*/ 101951 h 382527"/>
                <a:gd name="connsiteX211" fmla="*/ 307334 w 365842"/>
                <a:gd name="connsiteY211" fmla="*/ 76154 h 382527"/>
                <a:gd name="connsiteX212" fmla="*/ 305824 w 365842"/>
                <a:gd name="connsiteY212" fmla="*/ 64957 h 382527"/>
                <a:gd name="connsiteX213" fmla="*/ 298442 w 365842"/>
                <a:gd name="connsiteY213" fmla="*/ 61554 h 382527"/>
                <a:gd name="connsiteX214" fmla="*/ 303135 w 365842"/>
                <a:gd name="connsiteY214" fmla="*/ 57109 h 382527"/>
                <a:gd name="connsiteX215" fmla="*/ 306099 w 365842"/>
                <a:gd name="connsiteY215" fmla="*/ 49397 h 382527"/>
                <a:gd name="connsiteX216" fmla="*/ 303492 w 365842"/>
                <a:gd name="connsiteY216" fmla="*/ 33837 h 382527"/>
                <a:gd name="connsiteX217" fmla="*/ 313591 w 365842"/>
                <a:gd name="connsiteY217" fmla="*/ 25824 h 382527"/>
                <a:gd name="connsiteX218" fmla="*/ 316857 w 365842"/>
                <a:gd name="connsiteY218" fmla="*/ 11060 h 382527"/>
                <a:gd name="connsiteX219" fmla="*/ 323937 w 365842"/>
                <a:gd name="connsiteY219" fmla="*/ 13227 h 382527"/>
                <a:gd name="connsiteX220" fmla="*/ 327916 w 365842"/>
                <a:gd name="connsiteY220" fmla="*/ 24918 h 382527"/>
                <a:gd name="connsiteX221" fmla="*/ 332554 w 365842"/>
                <a:gd name="connsiteY221" fmla="*/ 20610 h 382527"/>
                <a:gd name="connsiteX222" fmla="*/ 337604 w 365842"/>
                <a:gd name="connsiteY222" fmla="*/ 23656 h 382527"/>
                <a:gd name="connsiteX223" fmla="*/ 340348 w 365842"/>
                <a:gd name="connsiteY223" fmla="*/ 22832 h 382527"/>
                <a:gd name="connsiteX224" fmla="*/ 342900 w 365842"/>
                <a:gd name="connsiteY224" fmla="*/ 15423 h 382527"/>
                <a:gd name="connsiteX225" fmla="*/ 341857 w 365842"/>
                <a:gd name="connsiteY225" fmla="*/ 11142 h 382527"/>
                <a:gd name="connsiteX226" fmla="*/ 331621 w 365842"/>
                <a:gd name="connsiteY226" fmla="*/ 13749 h 382527"/>
                <a:gd name="connsiteX227" fmla="*/ 329590 w 365842"/>
                <a:gd name="connsiteY227" fmla="*/ 12459 h 382527"/>
                <a:gd name="connsiteX228" fmla="*/ 330496 w 365842"/>
                <a:gd name="connsiteY228" fmla="*/ 4994 h 382527"/>
                <a:gd name="connsiteX229" fmla="*/ 333240 w 365842"/>
                <a:gd name="connsiteY229" fmla="*/ 0 h 382527"/>
                <a:gd name="connsiteX230" fmla="*/ 347647 w 365842"/>
                <a:gd name="connsiteY230" fmla="*/ 5681 h 38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365842" h="382527">
                  <a:moveTo>
                    <a:pt x="347510" y="5818"/>
                  </a:moveTo>
                  <a:lnTo>
                    <a:pt x="346934" y="22558"/>
                  </a:lnTo>
                  <a:lnTo>
                    <a:pt x="348334" y="32081"/>
                  </a:lnTo>
                  <a:lnTo>
                    <a:pt x="358351" y="46626"/>
                  </a:lnTo>
                  <a:lnTo>
                    <a:pt x="363427" y="61308"/>
                  </a:lnTo>
                  <a:lnTo>
                    <a:pt x="365843" y="75935"/>
                  </a:lnTo>
                  <a:lnTo>
                    <a:pt x="360985" y="92291"/>
                  </a:lnTo>
                  <a:lnTo>
                    <a:pt x="354948" y="97066"/>
                  </a:lnTo>
                  <a:lnTo>
                    <a:pt x="350612" y="107933"/>
                  </a:lnTo>
                  <a:lnTo>
                    <a:pt x="349925" y="121682"/>
                  </a:lnTo>
                  <a:lnTo>
                    <a:pt x="344657" y="119514"/>
                  </a:lnTo>
                  <a:lnTo>
                    <a:pt x="339168" y="120557"/>
                  </a:lnTo>
                  <a:lnTo>
                    <a:pt x="333871" y="128982"/>
                  </a:lnTo>
                  <a:lnTo>
                    <a:pt x="333103" y="135952"/>
                  </a:lnTo>
                  <a:lnTo>
                    <a:pt x="336231" y="153269"/>
                  </a:lnTo>
                  <a:lnTo>
                    <a:pt x="335381" y="165591"/>
                  </a:lnTo>
                  <a:lnTo>
                    <a:pt x="333981" y="171409"/>
                  </a:lnTo>
                  <a:lnTo>
                    <a:pt x="329810" y="175745"/>
                  </a:lnTo>
                  <a:lnTo>
                    <a:pt x="326873" y="183209"/>
                  </a:lnTo>
                  <a:lnTo>
                    <a:pt x="323114" y="199977"/>
                  </a:lnTo>
                  <a:lnTo>
                    <a:pt x="330194" y="217348"/>
                  </a:lnTo>
                  <a:lnTo>
                    <a:pt x="320287" y="224072"/>
                  </a:lnTo>
                  <a:lnTo>
                    <a:pt x="316061" y="237382"/>
                  </a:lnTo>
                  <a:lnTo>
                    <a:pt x="302751" y="246520"/>
                  </a:lnTo>
                  <a:lnTo>
                    <a:pt x="300802" y="244929"/>
                  </a:lnTo>
                  <a:lnTo>
                    <a:pt x="300857" y="233046"/>
                  </a:lnTo>
                  <a:lnTo>
                    <a:pt x="307663" y="223358"/>
                  </a:lnTo>
                  <a:lnTo>
                    <a:pt x="305276" y="220394"/>
                  </a:lnTo>
                  <a:lnTo>
                    <a:pt x="299979" y="221355"/>
                  </a:lnTo>
                  <a:lnTo>
                    <a:pt x="295835" y="229944"/>
                  </a:lnTo>
                  <a:lnTo>
                    <a:pt x="296329" y="236558"/>
                  </a:lnTo>
                  <a:lnTo>
                    <a:pt x="288206" y="233073"/>
                  </a:lnTo>
                  <a:lnTo>
                    <a:pt x="282059" y="235598"/>
                  </a:lnTo>
                  <a:lnTo>
                    <a:pt x="279480" y="240922"/>
                  </a:lnTo>
                  <a:lnTo>
                    <a:pt x="279480" y="249072"/>
                  </a:lnTo>
                  <a:cubicBezTo>
                    <a:pt x="279480" y="249072"/>
                    <a:pt x="276022" y="254890"/>
                    <a:pt x="276022" y="254890"/>
                  </a:cubicBezTo>
                  <a:lnTo>
                    <a:pt x="272728" y="256894"/>
                  </a:lnTo>
                  <a:lnTo>
                    <a:pt x="269627" y="254040"/>
                  </a:lnTo>
                  <a:lnTo>
                    <a:pt x="269901" y="246465"/>
                  </a:lnTo>
                  <a:lnTo>
                    <a:pt x="272152" y="241910"/>
                  </a:lnTo>
                  <a:lnTo>
                    <a:pt x="269325" y="239906"/>
                  </a:lnTo>
                  <a:lnTo>
                    <a:pt x="263068" y="241718"/>
                  </a:lnTo>
                  <a:lnTo>
                    <a:pt x="250664" y="257360"/>
                  </a:lnTo>
                  <a:lnTo>
                    <a:pt x="233896" y="255631"/>
                  </a:lnTo>
                  <a:lnTo>
                    <a:pt x="222371" y="257717"/>
                  </a:lnTo>
                  <a:lnTo>
                    <a:pt x="221986" y="256564"/>
                  </a:lnTo>
                  <a:lnTo>
                    <a:pt x="225609" y="253326"/>
                  </a:lnTo>
                  <a:lnTo>
                    <a:pt x="225416" y="252174"/>
                  </a:lnTo>
                  <a:lnTo>
                    <a:pt x="217156" y="249923"/>
                  </a:lnTo>
                  <a:lnTo>
                    <a:pt x="214412" y="252887"/>
                  </a:lnTo>
                  <a:lnTo>
                    <a:pt x="212738" y="244133"/>
                  </a:lnTo>
                  <a:lnTo>
                    <a:pt x="209664" y="242870"/>
                  </a:lnTo>
                  <a:lnTo>
                    <a:pt x="204944" y="251405"/>
                  </a:lnTo>
                  <a:lnTo>
                    <a:pt x="204478" y="255823"/>
                  </a:lnTo>
                  <a:lnTo>
                    <a:pt x="213616" y="263343"/>
                  </a:lnTo>
                  <a:lnTo>
                    <a:pt x="213890" y="268090"/>
                  </a:lnTo>
                  <a:lnTo>
                    <a:pt x="207140" y="268667"/>
                  </a:lnTo>
                  <a:lnTo>
                    <a:pt x="198440" y="273085"/>
                  </a:lnTo>
                  <a:lnTo>
                    <a:pt x="183593" y="296768"/>
                  </a:lnTo>
                  <a:lnTo>
                    <a:pt x="171957" y="294847"/>
                  </a:lnTo>
                  <a:lnTo>
                    <a:pt x="169296" y="289167"/>
                  </a:lnTo>
                  <a:lnTo>
                    <a:pt x="165097" y="286367"/>
                  </a:lnTo>
                  <a:lnTo>
                    <a:pt x="161584" y="282580"/>
                  </a:lnTo>
                  <a:lnTo>
                    <a:pt x="163834" y="273936"/>
                  </a:lnTo>
                  <a:lnTo>
                    <a:pt x="161337" y="269600"/>
                  </a:lnTo>
                  <a:lnTo>
                    <a:pt x="171381" y="260653"/>
                  </a:lnTo>
                  <a:lnTo>
                    <a:pt x="171957" y="256317"/>
                  </a:lnTo>
                  <a:lnTo>
                    <a:pt x="168198" y="254396"/>
                  </a:lnTo>
                  <a:lnTo>
                    <a:pt x="159032" y="256509"/>
                  </a:lnTo>
                  <a:lnTo>
                    <a:pt x="148521" y="252064"/>
                  </a:lnTo>
                  <a:lnTo>
                    <a:pt x="140151" y="253298"/>
                  </a:lnTo>
                  <a:lnTo>
                    <a:pt x="127500" y="262821"/>
                  </a:lnTo>
                  <a:lnTo>
                    <a:pt x="123329" y="263562"/>
                  </a:lnTo>
                  <a:lnTo>
                    <a:pt x="119377" y="261724"/>
                  </a:lnTo>
                  <a:lnTo>
                    <a:pt x="104064" y="268996"/>
                  </a:lnTo>
                  <a:lnTo>
                    <a:pt x="101073" y="277613"/>
                  </a:lnTo>
                  <a:lnTo>
                    <a:pt x="103240" y="281043"/>
                  </a:lnTo>
                  <a:lnTo>
                    <a:pt x="105793" y="281510"/>
                  </a:lnTo>
                  <a:lnTo>
                    <a:pt x="116688" y="278903"/>
                  </a:lnTo>
                  <a:lnTo>
                    <a:pt x="120173" y="269957"/>
                  </a:lnTo>
                  <a:lnTo>
                    <a:pt x="133620" y="266060"/>
                  </a:lnTo>
                  <a:lnTo>
                    <a:pt x="146738" y="273058"/>
                  </a:lnTo>
                  <a:lnTo>
                    <a:pt x="149317" y="285846"/>
                  </a:lnTo>
                  <a:lnTo>
                    <a:pt x="140810" y="292954"/>
                  </a:lnTo>
                  <a:lnTo>
                    <a:pt x="134526" y="304507"/>
                  </a:lnTo>
                  <a:lnTo>
                    <a:pt x="122533" y="296741"/>
                  </a:lnTo>
                  <a:lnTo>
                    <a:pt x="109580" y="301406"/>
                  </a:lnTo>
                  <a:lnTo>
                    <a:pt x="100743" y="315896"/>
                  </a:lnTo>
                  <a:lnTo>
                    <a:pt x="99234" y="323415"/>
                  </a:lnTo>
                  <a:lnTo>
                    <a:pt x="90452" y="321577"/>
                  </a:lnTo>
                  <a:lnTo>
                    <a:pt x="90562" y="317927"/>
                  </a:lnTo>
                  <a:lnTo>
                    <a:pt x="85018" y="313893"/>
                  </a:lnTo>
                  <a:lnTo>
                    <a:pt x="85512" y="306456"/>
                  </a:lnTo>
                  <a:lnTo>
                    <a:pt x="82247" y="302778"/>
                  </a:lnTo>
                  <a:lnTo>
                    <a:pt x="81643" y="299265"/>
                  </a:lnTo>
                  <a:lnTo>
                    <a:pt x="89437" y="289880"/>
                  </a:lnTo>
                  <a:lnTo>
                    <a:pt x="92208" y="281455"/>
                  </a:lnTo>
                  <a:lnTo>
                    <a:pt x="100057" y="274210"/>
                  </a:lnTo>
                  <a:lnTo>
                    <a:pt x="99426" y="270725"/>
                  </a:lnTo>
                  <a:lnTo>
                    <a:pt x="97258" y="271850"/>
                  </a:lnTo>
                  <a:lnTo>
                    <a:pt x="93471" y="270039"/>
                  </a:lnTo>
                  <a:lnTo>
                    <a:pt x="85266" y="275911"/>
                  </a:lnTo>
                  <a:lnTo>
                    <a:pt x="82630" y="272344"/>
                  </a:lnTo>
                  <a:lnTo>
                    <a:pt x="83701" y="268118"/>
                  </a:lnTo>
                  <a:lnTo>
                    <a:pt x="81067" y="268173"/>
                  </a:lnTo>
                  <a:lnTo>
                    <a:pt x="77197" y="276268"/>
                  </a:lnTo>
                  <a:lnTo>
                    <a:pt x="78761" y="281181"/>
                  </a:lnTo>
                  <a:lnTo>
                    <a:pt x="81670" y="283184"/>
                  </a:lnTo>
                  <a:lnTo>
                    <a:pt x="81067" y="284803"/>
                  </a:lnTo>
                  <a:lnTo>
                    <a:pt x="72944" y="283843"/>
                  </a:lnTo>
                  <a:lnTo>
                    <a:pt x="64189" y="278766"/>
                  </a:lnTo>
                  <a:lnTo>
                    <a:pt x="48492" y="281702"/>
                  </a:lnTo>
                  <a:lnTo>
                    <a:pt x="42482" y="279424"/>
                  </a:lnTo>
                  <a:lnTo>
                    <a:pt x="41713" y="286779"/>
                  </a:lnTo>
                  <a:lnTo>
                    <a:pt x="44403" y="292295"/>
                  </a:lnTo>
                  <a:lnTo>
                    <a:pt x="52498" y="294408"/>
                  </a:lnTo>
                  <a:lnTo>
                    <a:pt x="58700" y="291472"/>
                  </a:lnTo>
                  <a:lnTo>
                    <a:pt x="61719" y="293777"/>
                  </a:lnTo>
                  <a:lnTo>
                    <a:pt x="61857" y="299540"/>
                  </a:lnTo>
                  <a:lnTo>
                    <a:pt x="58014" y="304233"/>
                  </a:lnTo>
                  <a:lnTo>
                    <a:pt x="65643" y="306950"/>
                  </a:lnTo>
                  <a:lnTo>
                    <a:pt x="69925" y="319107"/>
                  </a:lnTo>
                  <a:lnTo>
                    <a:pt x="63284" y="329069"/>
                  </a:lnTo>
                  <a:lnTo>
                    <a:pt x="55572" y="350858"/>
                  </a:lnTo>
                  <a:lnTo>
                    <a:pt x="54474" y="362275"/>
                  </a:lnTo>
                  <a:lnTo>
                    <a:pt x="50715" y="369986"/>
                  </a:lnTo>
                  <a:lnTo>
                    <a:pt x="43470" y="370068"/>
                  </a:lnTo>
                  <a:lnTo>
                    <a:pt x="41741" y="377423"/>
                  </a:lnTo>
                  <a:lnTo>
                    <a:pt x="32849" y="382528"/>
                  </a:lnTo>
                  <a:lnTo>
                    <a:pt x="34578" y="372291"/>
                  </a:lnTo>
                  <a:lnTo>
                    <a:pt x="31121" y="365595"/>
                  </a:lnTo>
                  <a:lnTo>
                    <a:pt x="27937" y="367955"/>
                  </a:lnTo>
                  <a:lnTo>
                    <a:pt x="30380" y="375145"/>
                  </a:lnTo>
                  <a:lnTo>
                    <a:pt x="29007" y="378246"/>
                  </a:lnTo>
                  <a:lnTo>
                    <a:pt x="17701" y="373225"/>
                  </a:lnTo>
                  <a:lnTo>
                    <a:pt x="16905" y="370755"/>
                  </a:lnTo>
                  <a:lnTo>
                    <a:pt x="20198" y="368422"/>
                  </a:lnTo>
                  <a:lnTo>
                    <a:pt x="21021" y="363482"/>
                  </a:lnTo>
                  <a:lnTo>
                    <a:pt x="17673" y="356951"/>
                  </a:lnTo>
                  <a:lnTo>
                    <a:pt x="17262" y="348498"/>
                  </a:lnTo>
                  <a:lnTo>
                    <a:pt x="11910" y="340402"/>
                  </a:lnTo>
                  <a:lnTo>
                    <a:pt x="11746" y="337439"/>
                  </a:lnTo>
                  <a:lnTo>
                    <a:pt x="14243" y="331621"/>
                  </a:lnTo>
                  <a:lnTo>
                    <a:pt x="19320" y="333240"/>
                  </a:lnTo>
                  <a:lnTo>
                    <a:pt x="23903" y="331923"/>
                  </a:lnTo>
                  <a:lnTo>
                    <a:pt x="23162" y="335792"/>
                  </a:lnTo>
                  <a:lnTo>
                    <a:pt x="18826" y="337082"/>
                  </a:lnTo>
                  <a:lnTo>
                    <a:pt x="16081" y="340869"/>
                  </a:lnTo>
                  <a:lnTo>
                    <a:pt x="19100" y="345095"/>
                  </a:lnTo>
                  <a:lnTo>
                    <a:pt x="21845" y="344794"/>
                  </a:lnTo>
                  <a:lnTo>
                    <a:pt x="29364" y="330057"/>
                  </a:lnTo>
                  <a:lnTo>
                    <a:pt x="27882" y="327120"/>
                  </a:lnTo>
                  <a:lnTo>
                    <a:pt x="29309" y="323059"/>
                  </a:lnTo>
                  <a:lnTo>
                    <a:pt x="23519" y="311670"/>
                  </a:lnTo>
                  <a:lnTo>
                    <a:pt x="20198" y="309475"/>
                  </a:lnTo>
                  <a:lnTo>
                    <a:pt x="17152" y="311313"/>
                  </a:lnTo>
                  <a:lnTo>
                    <a:pt x="16603" y="318997"/>
                  </a:lnTo>
                  <a:lnTo>
                    <a:pt x="21433" y="320973"/>
                  </a:lnTo>
                  <a:lnTo>
                    <a:pt x="21570" y="325611"/>
                  </a:lnTo>
                  <a:lnTo>
                    <a:pt x="17756" y="327779"/>
                  </a:lnTo>
                  <a:lnTo>
                    <a:pt x="16740" y="323635"/>
                  </a:lnTo>
                  <a:lnTo>
                    <a:pt x="14353" y="323141"/>
                  </a:lnTo>
                  <a:lnTo>
                    <a:pt x="6504" y="327038"/>
                  </a:lnTo>
                  <a:lnTo>
                    <a:pt x="1701" y="317158"/>
                  </a:lnTo>
                  <a:lnTo>
                    <a:pt x="3266" y="310599"/>
                  </a:lnTo>
                  <a:lnTo>
                    <a:pt x="0" y="306319"/>
                  </a:lnTo>
                  <a:lnTo>
                    <a:pt x="549" y="302504"/>
                  </a:lnTo>
                  <a:lnTo>
                    <a:pt x="6257" y="302421"/>
                  </a:lnTo>
                  <a:lnTo>
                    <a:pt x="7986" y="296302"/>
                  </a:lnTo>
                  <a:lnTo>
                    <a:pt x="12761" y="297921"/>
                  </a:lnTo>
                  <a:lnTo>
                    <a:pt x="17756" y="292981"/>
                  </a:lnTo>
                  <a:lnTo>
                    <a:pt x="23299" y="292679"/>
                  </a:lnTo>
                  <a:lnTo>
                    <a:pt x="26345" y="285599"/>
                  </a:lnTo>
                  <a:lnTo>
                    <a:pt x="38063" y="282169"/>
                  </a:lnTo>
                  <a:lnTo>
                    <a:pt x="39875" y="266883"/>
                  </a:lnTo>
                  <a:lnTo>
                    <a:pt x="53075" y="263645"/>
                  </a:lnTo>
                  <a:lnTo>
                    <a:pt x="58893" y="256921"/>
                  </a:lnTo>
                  <a:lnTo>
                    <a:pt x="66357" y="253518"/>
                  </a:lnTo>
                  <a:lnTo>
                    <a:pt x="88065" y="233814"/>
                  </a:lnTo>
                  <a:lnTo>
                    <a:pt x="93690" y="226569"/>
                  </a:lnTo>
                  <a:lnTo>
                    <a:pt x="102335" y="223057"/>
                  </a:lnTo>
                  <a:lnTo>
                    <a:pt x="111172" y="226624"/>
                  </a:lnTo>
                  <a:lnTo>
                    <a:pt x="130628" y="224868"/>
                  </a:lnTo>
                  <a:lnTo>
                    <a:pt x="164383" y="216745"/>
                  </a:lnTo>
                  <a:lnTo>
                    <a:pt x="166744" y="218391"/>
                  </a:lnTo>
                  <a:lnTo>
                    <a:pt x="167485" y="224429"/>
                  </a:lnTo>
                  <a:lnTo>
                    <a:pt x="172067" y="222562"/>
                  </a:lnTo>
                  <a:lnTo>
                    <a:pt x="175114" y="225526"/>
                  </a:lnTo>
                  <a:lnTo>
                    <a:pt x="178873" y="225773"/>
                  </a:lnTo>
                  <a:lnTo>
                    <a:pt x="190125" y="217815"/>
                  </a:lnTo>
                  <a:lnTo>
                    <a:pt x="188725" y="205987"/>
                  </a:lnTo>
                  <a:lnTo>
                    <a:pt x="209554" y="178078"/>
                  </a:lnTo>
                  <a:lnTo>
                    <a:pt x="210625" y="172314"/>
                  </a:lnTo>
                  <a:lnTo>
                    <a:pt x="208814" y="164109"/>
                  </a:lnTo>
                  <a:lnTo>
                    <a:pt x="211832" y="157495"/>
                  </a:lnTo>
                  <a:lnTo>
                    <a:pt x="223770" y="152391"/>
                  </a:lnTo>
                  <a:lnTo>
                    <a:pt x="227447" y="152995"/>
                  </a:lnTo>
                  <a:lnTo>
                    <a:pt x="224346" y="159416"/>
                  </a:lnTo>
                  <a:lnTo>
                    <a:pt x="215756" y="163752"/>
                  </a:lnTo>
                  <a:lnTo>
                    <a:pt x="214631" y="166277"/>
                  </a:lnTo>
                  <a:lnTo>
                    <a:pt x="219105" y="168994"/>
                  </a:lnTo>
                  <a:lnTo>
                    <a:pt x="219159" y="177721"/>
                  </a:lnTo>
                  <a:lnTo>
                    <a:pt x="226405" y="179559"/>
                  </a:lnTo>
                  <a:lnTo>
                    <a:pt x="232579" y="172918"/>
                  </a:lnTo>
                  <a:lnTo>
                    <a:pt x="254040" y="164246"/>
                  </a:lnTo>
                  <a:lnTo>
                    <a:pt x="261284" y="158840"/>
                  </a:lnTo>
                  <a:lnTo>
                    <a:pt x="267980" y="150442"/>
                  </a:lnTo>
                  <a:lnTo>
                    <a:pt x="272783" y="140728"/>
                  </a:lnTo>
                  <a:lnTo>
                    <a:pt x="286504" y="130958"/>
                  </a:lnTo>
                  <a:lnTo>
                    <a:pt x="292295" y="114025"/>
                  </a:lnTo>
                  <a:lnTo>
                    <a:pt x="299595" y="101951"/>
                  </a:lnTo>
                  <a:lnTo>
                    <a:pt x="307334" y="76154"/>
                  </a:lnTo>
                  <a:lnTo>
                    <a:pt x="305824" y="64957"/>
                  </a:lnTo>
                  <a:lnTo>
                    <a:pt x="298442" y="61554"/>
                  </a:lnTo>
                  <a:lnTo>
                    <a:pt x="303135" y="57109"/>
                  </a:lnTo>
                  <a:lnTo>
                    <a:pt x="306099" y="49397"/>
                  </a:lnTo>
                  <a:lnTo>
                    <a:pt x="303492" y="33837"/>
                  </a:lnTo>
                  <a:lnTo>
                    <a:pt x="313591" y="25824"/>
                  </a:lnTo>
                  <a:lnTo>
                    <a:pt x="316857" y="11060"/>
                  </a:lnTo>
                  <a:lnTo>
                    <a:pt x="323937" y="13227"/>
                  </a:lnTo>
                  <a:lnTo>
                    <a:pt x="327916" y="24918"/>
                  </a:lnTo>
                  <a:lnTo>
                    <a:pt x="332554" y="20610"/>
                  </a:lnTo>
                  <a:lnTo>
                    <a:pt x="337604" y="23656"/>
                  </a:lnTo>
                  <a:lnTo>
                    <a:pt x="340348" y="22832"/>
                  </a:lnTo>
                  <a:lnTo>
                    <a:pt x="342900" y="15423"/>
                  </a:lnTo>
                  <a:lnTo>
                    <a:pt x="341857" y="11142"/>
                  </a:lnTo>
                  <a:lnTo>
                    <a:pt x="331621" y="13749"/>
                  </a:lnTo>
                  <a:lnTo>
                    <a:pt x="329590" y="12459"/>
                  </a:lnTo>
                  <a:lnTo>
                    <a:pt x="330496" y="4994"/>
                  </a:lnTo>
                  <a:lnTo>
                    <a:pt x="333240" y="0"/>
                  </a:lnTo>
                  <a:lnTo>
                    <a:pt x="347647" y="56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69" name="Freeform: Shape 3268">
              <a:extLst>
                <a:ext uri="{FF2B5EF4-FFF2-40B4-BE49-F238E27FC236}">
                  <a16:creationId xmlns:a16="http://schemas.microsoft.com/office/drawing/2014/main" id="{532C6C93-457B-A4E1-CC64-7A7BF703103C}"/>
                </a:ext>
              </a:extLst>
            </p:cNvPr>
            <p:cNvSpPr/>
            <p:nvPr/>
          </p:nvSpPr>
          <p:spPr>
            <a:xfrm>
              <a:off x="1792236" y="3686956"/>
              <a:ext cx="17319" cy="16914"/>
            </a:xfrm>
            <a:custGeom>
              <a:avLst/>
              <a:gdLst>
                <a:gd name="connsiteX0" fmla="*/ 106479 w 166413"/>
                <a:gd name="connsiteY0" fmla="*/ 45665 h 162517"/>
                <a:gd name="connsiteX1" fmla="*/ 137187 w 166413"/>
                <a:gd name="connsiteY1" fmla="*/ 59963 h 162517"/>
                <a:gd name="connsiteX2" fmla="*/ 145585 w 166413"/>
                <a:gd name="connsiteY2" fmla="*/ 59497 h 162517"/>
                <a:gd name="connsiteX3" fmla="*/ 156699 w 166413"/>
                <a:gd name="connsiteY3" fmla="*/ 53980 h 162517"/>
                <a:gd name="connsiteX4" fmla="*/ 155985 w 166413"/>
                <a:gd name="connsiteY4" fmla="*/ 70583 h 162517"/>
                <a:gd name="connsiteX5" fmla="*/ 161337 w 166413"/>
                <a:gd name="connsiteY5" fmla="*/ 84689 h 162517"/>
                <a:gd name="connsiteX6" fmla="*/ 166414 w 166413"/>
                <a:gd name="connsiteY6" fmla="*/ 88037 h 162517"/>
                <a:gd name="connsiteX7" fmla="*/ 151101 w 166413"/>
                <a:gd name="connsiteY7" fmla="*/ 98246 h 162517"/>
                <a:gd name="connsiteX8" fmla="*/ 130162 w 166413"/>
                <a:gd name="connsiteY8" fmla="*/ 100386 h 162517"/>
                <a:gd name="connsiteX9" fmla="*/ 121819 w 166413"/>
                <a:gd name="connsiteY9" fmla="*/ 104036 h 162517"/>
                <a:gd name="connsiteX10" fmla="*/ 112818 w 166413"/>
                <a:gd name="connsiteY10" fmla="*/ 113861 h 162517"/>
                <a:gd name="connsiteX11" fmla="*/ 106753 w 166413"/>
                <a:gd name="connsiteY11" fmla="*/ 120502 h 162517"/>
                <a:gd name="connsiteX12" fmla="*/ 105765 w 166413"/>
                <a:gd name="connsiteY12" fmla="*/ 123137 h 162517"/>
                <a:gd name="connsiteX13" fmla="*/ 99672 w 166413"/>
                <a:gd name="connsiteY13" fmla="*/ 139136 h 162517"/>
                <a:gd name="connsiteX14" fmla="*/ 71105 w 166413"/>
                <a:gd name="connsiteY14" fmla="*/ 123137 h 162517"/>
                <a:gd name="connsiteX15" fmla="*/ 57136 w 166413"/>
                <a:gd name="connsiteY15" fmla="*/ 115288 h 162517"/>
                <a:gd name="connsiteX16" fmla="*/ 50193 w 166413"/>
                <a:gd name="connsiteY16" fmla="*/ 115370 h 162517"/>
                <a:gd name="connsiteX17" fmla="*/ 37953 w 166413"/>
                <a:gd name="connsiteY17" fmla="*/ 123137 h 162517"/>
                <a:gd name="connsiteX18" fmla="*/ 34386 w 166413"/>
                <a:gd name="connsiteY18" fmla="*/ 125387 h 162517"/>
                <a:gd name="connsiteX19" fmla="*/ 31861 w 166413"/>
                <a:gd name="connsiteY19" fmla="*/ 123137 h 162517"/>
                <a:gd name="connsiteX20" fmla="*/ 25824 w 166413"/>
                <a:gd name="connsiteY20" fmla="*/ 118005 h 162517"/>
                <a:gd name="connsiteX21" fmla="*/ 20994 w 166413"/>
                <a:gd name="connsiteY21" fmla="*/ 117401 h 162517"/>
                <a:gd name="connsiteX22" fmla="*/ 14764 w 166413"/>
                <a:gd name="connsiteY22" fmla="*/ 123137 h 162517"/>
                <a:gd name="connsiteX23" fmla="*/ 14819 w 166413"/>
                <a:gd name="connsiteY23" fmla="*/ 128927 h 162517"/>
                <a:gd name="connsiteX24" fmla="*/ 20061 w 166413"/>
                <a:gd name="connsiteY24" fmla="*/ 133345 h 162517"/>
                <a:gd name="connsiteX25" fmla="*/ 27113 w 166413"/>
                <a:gd name="connsiteY25" fmla="*/ 135678 h 162517"/>
                <a:gd name="connsiteX26" fmla="*/ 37404 w 166413"/>
                <a:gd name="connsiteY26" fmla="*/ 146683 h 162517"/>
                <a:gd name="connsiteX27" fmla="*/ 33041 w 166413"/>
                <a:gd name="connsiteY27" fmla="*/ 149564 h 162517"/>
                <a:gd name="connsiteX28" fmla="*/ 24095 w 166413"/>
                <a:gd name="connsiteY28" fmla="*/ 147973 h 162517"/>
                <a:gd name="connsiteX29" fmla="*/ 19567 w 166413"/>
                <a:gd name="connsiteY29" fmla="*/ 152117 h 162517"/>
                <a:gd name="connsiteX30" fmla="*/ 17783 w 166413"/>
                <a:gd name="connsiteY30" fmla="*/ 153955 h 162517"/>
                <a:gd name="connsiteX31" fmla="*/ 16795 w 166413"/>
                <a:gd name="connsiteY31" fmla="*/ 157605 h 162517"/>
                <a:gd name="connsiteX32" fmla="*/ 9879 w 166413"/>
                <a:gd name="connsiteY32" fmla="*/ 162517 h 162517"/>
                <a:gd name="connsiteX33" fmla="*/ 6092 w 166413"/>
                <a:gd name="connsiteY33" fmla="*/ 160788 h 162517"/>
                <a:gd name="connsiteX34" fmla="*/ 4445 w 166413"/>
                <a:gd name="connsiteY34" fmla="*/ 156398 h 162517"/>
                <a:gd name="connsiteX35" fmla="*/ 5269 w 166413"/>
                <a:gd name="connsiteY35" fmla="*/ 153955 h 162517"/>
                <a:gd name="connsiteX36" fmla="*/ 5680 w 166413"/>
                <a:gd name="connsiteY36" fmla="*/ 152117 h 162517"/>
                <a:gd name="connsiteX37" fmla="*/ 7602 w 166413"/>
                <a:gd name="connsiteY37" fmla="*/ 141441 h 162517"/>
                <a:gd name="connsiteX38" fmla="*/ 0 w 166413"/>
                <a:gd name="connsiteY38" fmla="*/ 128241 h 162517"/>
                <a:gd name="connsiteX39" fmla="*/ 384 w 166413"/>
                <a:gd name="connsiteY39" fmla="*/ 123137 h 162517"/>
                <a:gd name="connsiteX40" fmla="*/ 878 w 166413"/>
                <a:gd name="connsiteY40" fmla="*/ 116688 h 162517"/>
                <a:gd name="connsiteX41" fmla="*/ 3814 w 166413"/>
                <a:gd name="connsiteY41" fmla="*/ 113861 h 162517"/>
                <a:gd name="connsiteX42" fmla="*/ 16631 w 166413"/>
                <a:gd name="connsiteY42" fmla="*/ 101539 h 162517"/>
                <a:gd name="connsiteX43" fmla="*/ 17453 w 166413"/>
                <a:gd name="connsiteY43" fmla="*/ 87269 h 162517"/>
                <a:gd name="connsiteX44" fmla="*/ 21103 w 166413"/>
                <a:gd name="connsiteY44" fmla="*/ 86610 h 162517"/>
                <a:gd name="connsiteX45" fmla="*/ 36472 w 166413"/>
                <a:gd name="connsiteY45" fmla="*/ 91522 h 162517"/>
                <a:gd name="connsiteX46" fmla="*/ 44457 w 166413"/>
                <a:gd name="connsiteY46" fmla="*/ 85430 h 162517"/>
                <a:gd name="connsiteX47" fmla="*/ 45692 w 166413"/>
                <a:gd name="connsiteY47" fmla="*/ 70803 h 162517"/>
                <a:gd name="connsiteX48" fmla="*/ 52306 w 166413"/>
                <a:gd name="connsiteY48" fmla="*/ 57136 h 162517"/>
                <a:gd name="connsiteX49" fmla="*/ 55846 w 166413"/>
                <a:gd name="connsiteY49" fmla="*/ 37624 h 162517"/>
                <a:gd name="connsiteX50" fmla="*/ 52965 w 166413"/>
                <a:gd name="connsiteY50" fmla="*/ 7245 h 162517"/>
                <a:gd name="connsiteX51" fmla="*/ 55956 w 166413"/>
                <a:gd name="connsiteY51" fmla="*/ 631 h 162517"/>
                <a:gd name="connsiteX52" fmla="*/ 61417 w 166413"/>
                <a:gd name="connsiteY52" fmla="*/ 0 h 162517"/>
                <a:gd name="connsiteX53" fmla="*/ 87982 w 166413"/>
                <a:gd name="connsiteY53" fmla="*/ 29584 h 162517"/>
                <a:gd name="connsiteX54" fmla="*/ 106533 w 166413"/>
                <a:gd name="connsiteY54" fmla="*/ 45638 h 16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66413" h="162517">
                  <a:moveTo>
                    <a:pt x="106479" y="45665"/>
                  </a:moveTo>
                  <a:lnTo>
                    <a:pt x="137187" y="59963"/>
                  </a:lnTo>
                  <a:lnTo>
                    <a:pt x="145585" y="59497"/>
                  </a:lnTo>
                  <a:lnTo>
                    <a:pt x="156699" y="53980"/>
                  </a:lnTo>
                  <a:lnTo>
                    <a:pt x="155985" y="70583"/>
                  </a:lnTo>
                  <a:lnTo>
                    <a:pt x="161337" y="84689"/>
                  </a:lnTo>
                  <a:lnTo>
                    <a:pt x="166414" y="88037"/>
                  </a:lnTo>
                  <a:lnTo>
                    <a:pt x="151101" y="98246"/>
                  </a:lnTo>
                  <a:lnTo>
                    <a:pt x="130162" y="100386"/>
                  </a:lnTo>
                  <a:lnTo>
                    <a:pt x="121819" y="104036"/>
                  </a:lnTo>
                  <a:lnTo>
                    <a:pt x="112818" y="113861"/>
                  </a:lnTo>
                  <a:lnTo>
                    <a:pt x="106753" y="120502"/>
                  </a:lnTo>
                  <a:lnTo>
                    <a:pt x="105765" y="123137"/>
                  </a:lnTo>
                  <a:lnTo>
                    <a:pt x="99672" y="139136"/>
                  </a:lnTo>
                  <a:lnTo>
                    <a:pt x="71105" y="123137"/>
                  </a:lnTo>
                  <a:lnTo>
                    <a:pt x="57136" y="115288"/>
                  </a:lnTo>
                  <a:lnTo>
                    <a:pt x="50193" y="115370"/>
                  </a:lnTo>
                  <a:lnTo>
                    <a:pt x="37953" y="123137"/>
                  </a:lnTo>
                  <a:lnTo>
                    <a:pt x="34386" y="125387"/>
                  </a:lnTo>
                  <a:lnTo>
                    <a:pt x="31861" y="123137"/>
                  </a:lnTo>
                  <a:lnTo>
                    <a:pt x="25824" y="118005"/>
                  </a:lnTo>
                  <a:lnTo>
                    <a:pt x="20994" y="117401"/>
                  </a:lnTo>
                  <a:lnTo>
                    <a:pt x="14764" y="123137"/>
                  </a:lnTo>
                  <a:lnTo>
                    <a:pt x="14819" y="128927"/>
                  </a:lnTo>
                  <a:lnTo>
                    <a:pt x="20061" y="133345"/>
                  </a:lnTo>
                  <a:lnTo>
                    <a:pt x="27113" y="135678"/>
                  </a:lnTo>
                  <a:lnTo>
                    <a:pt x="37404" y="146683"/>
                  </a:lnTo>
                  <a:lnTo>
                    <a:pt x="33041" y="149564"/>
                  </a:lnTo>
                  <a:lnTo>
                    <a:pt x="24095" y="147973"/>
                  </a:lnTo>
                  <a:lnTo>
                    <a:pt x="19567" y="152117"/>
                  </a:lnTo>
                  <a:lnTo>
                    <a:pt x="17783" y="153955"/>
                  </a:lnTo>
                  <a:lnTo>
                    <a:pt x="16795" y="157605"/>
                  </a:lnTo>
                  <a:lnTo>
                    <a:pt x="9879" y="162517"/>
                  </a:lnTo>
                  <a:lnTo>
                    <a:pt x="6092" y="160788"/>
                  </a:lnTo>
                  <a:lnTo>
                    <a:pt x="4445" y="156398"/>
                  </a:lnTo>
                  <a:lnTo>
                    <a:pt x="5269" y="153955"/>
                  </a:lnTo>
                  <a:lnTo>
                    <a:pt x="5680" y="152117"/>
                  </a:lnTo>
                  <a:lnTo>
                    <a:pt x="7602" y="141441"/>
                  </a:lnTo>
                  <a:lnTo>
                    <a:pt x="0" y="128241"/>
                  </a:lnTo>
                  <a:lnTo>
                    <a:pt x="384" y="123137"/>
                  </a:lnTo>
                  <a:lnTo>
                    <a:pt x="878" y="116688"/>
                  </a:lnTo>
                  <a:lnTo>
                    <a:pt x="3814" y="113861"/>
                  </a:lnTo>
                  <a:lnTo>
                    <a:pt x="16631" y="101539"/>
                  </a:lnTo>
                  <a:lnTo>
                    <a:pt x="17453" y="87269"/>
                  </a:lnTo>
                  <a:lnTo>
                    <a:pt x="21103" y="86610"/>
                  </a:lnTo>
                  <a:lnTo>
                    <a:pt x="36472" y="91522"/>
                  </a:lnTo>
                  <a:lnTo>
                    <a:pt x="44457" y="85430"/>
                  </a:lnTo>
                  <a:lnTo>
                    <a:pt x="45692" y="70803"/>
                  </a:lnTo>
                  <a:lnTo>
                    <a:pt x="52306" y="57136"/>
                  </a:lnTo>
                  <a:lnTo>
                    <a:pt x="55846" y="37624"/>
                  </a:lnTo>
                  <a:lnTo>
                    <a:pt x="52965" y="7245"/>
                  </a:lnTo>
                  <a:lnTo>
                    <a:pt x="55956" y="631"/>
                  </a:lnTo>
                  <a:lnTo>
                    <a:pt x="61417" y="0"/>
                  </a:lnTo>
                  <a:lnTo>
                    <a:pt x="87982" y="29584"/>
                  </a:lnTo>
                  <a:lnTo>
                    <a:pt x="106533" y="456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0" name="Freeform: Shape 3269">
              <a:extLst>
                <a:ext uri="{FF2B5EF4-FFF2-40B4-BE49-F238E27FC236}">
                  <a16:creationId xmlns:a16="http://schemas.microsoft.com/office/drawing/2014/main" id="{C89B4137-7EE1-6DF3-6886-0B3CD4B0B0D8}"/>
                </a:ext>
              </a:extLst>
            </p:cNvPr>
            <p:cNvSpPr/>
            <p:nvPr/>
          </p:nvSpPr>
          <p:spPr>
            <a:xfrm>
              <a:off x="1787230" y="3716165"/>
              <a:ext cx="1111" cy="2025"/>
            </a:xfrm>
            <a:custGeom>
              <a:avLst/>
              <a:gdLst>
                <a:gd name="connsiteX0" fmla="*/ 6806 w 10675"/>
                <a:gd name="connsiteY0" fmla="*/ 7657 h 19456"/>
                <a:gd name="connsiteX1" fmla="*/ 7602 w 10675"/>
                <a:gd name="connsiteY1" fmla="*/ 9578 h 19456"/>
                <a:gd name="connsiteX2" fmla="*/ 10675 w 10675"/>
                <a:gd name="connsiteY2" fmla="*/ 9001 h 19456"/>
                <a:gd name="connsiteX3" fmla="*/ 8672 w 10675"/>
                <a:gd name="connsiteY3" fmla="*/ 15039 h 19456"/>
                <a:gd name="connsiteX4" fmla="*/ 4473 w 10675"/>
                <a:gd name="connsiteY4" fmla="*/ 18524 h 19456"/>
                <a:gd name="connsiteX5" fmla="*/ 1207 w 10675"/>
                <a:gd name="connsiteY5" fmla="*/ 19457 h 19456"/>
                <a:gd name="connsiteX6" fmla="*/ 0 w 10675"/>
                <a:gd name="connsiteY6" fmla="*/ 18853 h 19456"/>
                <a:gd name="connsiteX7" fmla="*/ 2168 w 10675"/>
                <a:gd name="connsiteY7" fmla="*/ 17015 h 19456"/>
                <a:gd name="connsiteX8" fmla="*/ 3678 w 10675"/>
                <a:gd name="connsiteY8" fmla="*/ 13804 h 19456"/>
                <a:gd name="connsiteX9" fmla="*/ 2113 w 10675"/>
                <a:gd name="connsiteY9" fmla="*/ 12102 h 19456"/>
                <a:gd name="connsiteX10" fmla="*/ 878 w 10675"/>
                <a:gd name="connsiteY10" fmla="*/ 13255 h 19456"/>
                <a:gd name="connsiteX11" fmla="*/ 384 w 10675"/>
                <a:gd name="connsiteY11" fmla="*/ 11334 h 19456"/>
                <a:gd name="connsiteX12" fmla="*/ 1180 w 10675"/>
                <a:gd name="connsiteY12" fmla="*/ 8452 h 19456"/>
                <a:gd name="connsiteX13" fmla="*/ 3540 w 10675"/>
                <a:gd name="connsiteY13" fmla="*/ 4665 h 19456"/>
                <a:gd name="connsiteX14" fmla="*/ 6476 w 10675"/>
                <a:gd name="connsiteY14" fmla="*/ 2333 h 19456"/>
                <a:gd name="connsiteX15" fmla="*/ 7629 w 10675"/>
                <a:gd name="connsiteY15" fmla="*/ 0 h 19456"/>
                <a:gd name="connsiteX16" fmla="*/ 9193 w 10675"/>
                <a:gd name="connsiteY16" fmla="*/ 0 h 19456"/>
                <a:gd name="connsiteX17" fmla="*/ 8453 w 10675"/>
                <a:gd name="connsiteY17" fmla="*/ 4281 h 19456"/>
                <a:gd name="connsiteX18" fmla="*/ 6778 w 10675"/>
                <a:gd name="connsiteY18" fmla="*/ 7657 h 1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675" h="19456">
                  <a:moveTo>
                    <a:pt x="6806" y="7657"/>
                  </a:moveTo>
                  <a:lnTo>
                    <a:pt x="7602" y="9578"/>
                  </a:lnTo>
                  <a:lnTo>
                    <a:pt x="10675" y="9001"/>
                  </a:lnTo>
                  <a:lnTo>
                    <a:pt x="8672" y="15039"/>
                  </a:lnTo>
                  <a:lnTo>
                    <a:pt x="4473" y="18524"/>
                  </a:lnTo>
                  <a:lnTo>
                    <a:pt x="1207" y="19457"/>
                  </a:lnTo>
                  <a:lnTo>
                    <a:pt x="0" y="18853"/>
                  </a:lnTo>
                  <a:lnTo>
                    <a:pt x="2168" y="17015"/>
                  </a:lnTo>
                  <a:lnTo>
                    <a:pt x="3678" y="13804"/>
                  </a:lnTo>
                  <a:lnTo>
                    <a:pt x="2113" y="12102"/>
                  </a:lnTo>
                  <a:lnTo>
                    <a:pt x="878" y="13255"/>
                  </a:lnTo>
                  <a:lnTo>
                    <a:pt x="384" y="11334"/>
                  </a:lnTo>
                  <a:lnTo>
                    <a:pt x="1180" y="8452"/>
                  </a:lnTo>
                  <a:lnTo>
                    <a:pt x="3540" y="4665"/>
                  </a:lnTo>
                  <a:lnTo>
                    <a:pt x="6476" y="2333"/>
                  </a:lnTo>
                  <a:lnTo>
                    <a:pt x="7629" y="0"/>
                  </a:lnTo>
                  <a:lnTo>
                    <a:pt x="9193" y="0"/>
                  </a:lnTo>
                  <a:cubicBezTo>
                    <a:pt x="9193" y="0"/>
                    <a:pt x="8453" y="4281"/>
                    <a:pt x="8453" y="4281"/>
                  </a:cubicBezTo>
                  <a:lnTo>
                    <a:pt x="6778" y="76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1" name="Freeform: Shape 3270">
              <a:extLst>
                <a:ext uri="{FF2B5EF4-FFF2-40B4-BE49-F238E27FC236}">
                  <a16:creationId xmlns:a16="http://schemas.microsoft.com/office/drawing/2014/main" id="{F29F7A6B-5D27-2EA5-C8EB-DC02C89D2F12}"/>
                </a:ext>
              </a:extLst>
            </p:cNvPr>
            <p:cNvSpPr/>
            <p:nvPr/>
          </p:nvSpPr>
          <p:spPr>
            <a:xfrm>
              <a:off x="1776431" y="3730334"/>
              <a:ext cx="1045" cy="1488"/>
            </a:xfrm>
            <a:custGeom>
              <a:avLst/>
              <a:gdLst>
                <a:gd name="connsiteX0" fmla="*/ 7355 w 10043"/>
                <a:gd name="connsiteY0" fmla="*/ 11993 h 14297"/>
                <a:gd name="connsiteX1" fmla="*/ 1921 w 10043"/>
                <a:gd name="connsiteY1" fmla="*/ 14298 h 14297"/>
                <a:gd name="connsiteX2" fmla="*/ 0 w 10043"/>
                <a:gd name="connsiteY2" fmla="*/ 10977 h 14297"/>
                <a:gd name="connsiteX3" fmla="*/ 5160 w 10043"/>
                <a:gd name="connsiteY3" fmla="*/ 3870 h 14297"/>
                <a:gd name="connsiteX4" fmla="*/ 9440 w 10043"/>
                <a:gd name="connsiteY4" fmla="*/ 0 h 14297"/>
                <a:gd name="connsiteX5" fmla="*/ 10044 w 10043"/>
                <a:gd name="connsiteY5" fmla="*/ 1070 h 14297"/>
                <a:gd name="connsiteX6" fmla="*/ 6641 w 10043"/>
                <a:gd name="connsiteY6" fmla="*/ 7218 h 14297"/>
                <a:gd name="connsiteX7" fmla="*/ 7355 w 10043"/>
                <a:gd name="connsiteY7" fmla="*/ 11993 h 1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3" h="14297">
                  <a:moveTo>
                    <a:pt x="7355" y="11993"/>
                  </a:moveTo>
                  <a:lnTo>
                    <a:pt x="1921" y="14298"/>
                  </a:lnTo>
                  <a:lnTo>
                    <a:pt x="0" y="10977"/>
                  </a:lnTo>
                  <a:lnTo>
                    <a:pt x="5160" y="3870"/>
                  </a:lnTo>
                  <a:lnTo>
                    <a:pt x="9440" y="0"/>
                  </a:lnTo>
                  <a:lnTo>
                    <a:pt x="10044" y="1070"/>
                  </a:lnTo>
                  <a:lnTo>
                    <a:pt x="6641" y="7218"/>
                  </a:lnTo>
                  <a:lnTo>
                    <a:pt x="7355" y="119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2" name="Freeform: Shape 3271">
              <a:extLst>
                <a:ext uri="{FF2B5EF4-FFF2-40B4-BE49-F238E27FC236}">
                  <a16:creationId xmlns:a16="http://schemas.microsoft.com/office/drawing/2014/main" id="{5504633E-3FA7-2B57-BB1D-A1F208897588}"/>
                </a:ext>
              </a:extLst>
            </p:cNvPr>
            <p:cNvSpPr/>
            <p:nvPr/>
          </p:nvSpPr>
          <p:spPr>
            <a:xfrm>
              <a:off x="1764719" y="3744125"/>
              <a:ext cx="699" cy="1665"/>
            </a:xfrm>
            <a:custGeom>
              <a:avLst/>
              <a:gdLst>
                <a:gd name="connsiteX0" fmla="*/ 3266 w 6723"/>
                <a:gd name="connsiteY0" fmla="*/ 15066 h 15999"/>
                <a:gd name="connsiteX1" fmla="*/ 823 w 6723"/>
                <a:gd name="connsiteY1" fmla="*/ 15999 h 15999"/>
                <a:gd name="connsiteX2" fmla="*/ 0 w 6723"/>
                <a:gd name="connsiteY2" fmla="*/ 12294 h 15999"/>
                <a:gd name="connsiteX3" fmla="*/ 2937 w 6723"/>
                <a:gd name="connsiteY3" fmla="*/ 8013 h 15999"/>
                <a:gd name="connsiteX4" fmla="*/ 2634 w 6723"/>
                <a:gd name="connsiteY4" fmla="*/ 5049 h 15999"/>
                <a:gd name="connsiteX5" fmla="*/ 5242 w 6723"/>
                <a:gd name="connsiteY5" fmla="*/ 0 h 15999"/>
                <a:gd name="connsiteX6" fmla="*/ 6723 w 6723"/>
                <a:gd name="connsiteY6" fmla="*/ 1043 h 15999"/>
                <a:gd name="connsiteX7" fmla="*/ 6449 w 6723"/>
                <a:gd name="connsiteY7" fmla="*/ 4199 h 15999"/>
                <a:gd name="connsiteX8" fmla="*/ 5132 w 6723"/>
                <a:gd name="connsiteY8" fmla="*/ 8590 h 15999"/>
                <a:gd name="connsiteX9" fmla="*/ 3705 w 6723"/>
                <a:gd name="connsiteY9" fmla="*/ 10181 h 15999"/>
                <a:gd name="connsiteX10" fmla="*/ 3266 w 6723"/>
                <a:gd name="connsiteY10" fmla="*/ 15011 h 1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23" h="15999">
                  <a:moveTo>
                    <a:pt x="3266" y="15066"/>
                  </a:moveTo>
                  <a:lnTo>
                    <a:pt x="823" y="15999"/>
                  </a:lnTo>
                  <a:lnTo>
                    <a:pt x="0" y="12294"/>
                  </a:lnTo>
                  <a:lnTo>
                    <a:pt x="2937" y="8013"/>
                  </a:lnTo>
                  <a:lnTo>
                    <a:pt x="2634" y="5049"/>
                  </a:lnTo>
                  <a:lnTo>
                    <a:pt x="5242" y="0"/>
                  </a:lnTo>
                  <a:lnTo>
                    <a:pt x="6723" y="1043"/>
                  </a:lnTo>
                  <a:lnTo>
                    <a:pt x="6449" y="4199"/>
                  </a:lnTo>
                  <a:lnTo>
                    <a:pt x="5132" y="8590"/>
                  </a:lnTo>
                  <a:lnTo>
                    <a:pt x="3705" y="10181"/>
                  </a:lnTo>
                  <a:lnTo>
                    <a:pt x="3266" y="150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3" name="Freeform: Shape 3272">
              <a:extLst>
                <a:ext uri="{FF2B5EF4-FFF2-40B4-BE49-F238E27FC236}">
                  <a16:creationId xmlns:a16="http://schemas.microsoft.com/office/drawing/2014/main" id="{C170891C-FF46-A015-2E5C-3D36D0DF56A0}"/>
                </a:ext>
              </a:extLst>
            </p:cNvPr>
            <p:cNvSpPr/>
            <p:nvPr/>
          </p:nvSpPr>
          <p:spPr>
            <a:xfrm>
              <a:off x="1763253" y="3745381"/>
              <a:ext cx="925" cy="817"/>
            </a:xfrm>
            <a:custGeom>
              <a:avLst/>
              <a:gdLst>
                <a:gd name="connsiteX0" fmla="*/ 6916 w 8891"/>
                <a:gd name="connsiteY0" fmla="*/ 7135 h 7848"/>
                <a:gd name="connsiteX1" fmla="*/ 2277 w 8891"/>
                <a:gd name="connsiteY1" fmla="*/ 7849 h 7848"/>
                <a:gd name="connsiteX2" fmla="*/ 0 w 8891"/>
                <a:gd name="connsiteY2" fmla="*/ 3128 h 7848"/>
                <a:gd name="connsiteX3" fmla="*/ 2908 w 8891"/>
                <a:gd name="connsiteY3" fmla="*/ 0 h 7848"/>
                <a:gd name="connsiteX4" fmla="*/ 8891 w 8891"/>
                <a:gd name="connsiteY4" fmla="*/ 2634 h 7848"/>
                <a:gd name="connsiteX5" fmla="*/ 8672 w 8891"/>
                <a:gd name="connsiteY5" fmla="*/ 4885 h 7848"/>
                <a:gd name="connsiteX6" fmla="*/ 6916 w 8891"/>
                <a:gd name="connsiteY6" fmla="*/ 7135 h 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91" h="7848">
                  <a:moveTo>
                    <a:pt x="6916" y="7135"/>
                  </a:moveTo>
                  <a:lnTo>
                    <a:pt x="2277" y="7849"/>
                  </a:lnTo>
                  <a:lnTo>
                    <a:pt x="0" y="3128"/>
                  </a:lnTo>
                  <a:lnTo>
                    <a:pt x="2908" y="0"/>
                  </a:lnTo>
                  <a:lnTo>
                    <a:pt x="8891" y="2634"/>
                  </a:lnTo>
                  <a:lnTo>
                    <a:pt x="8672" y="4885"/>
                  </a:lnTo>
                  <a:lnTo>
                    <a:pt x="6916" y="71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4" name="Freeform: Shape 3273">
              <a:extLst>
                <a:ext uri="{FF2B5EF4-FFF2-40B4-BE49-F238E27FC236}">
                  <a16:creationId xmlns:a16="http://schemas.microsoft.com/office/drawing/2014/main" id="{022DAD91-4754-CF6B-30E7-FBA6A5239965}"/>
                </a:ext>
              </a:extLst>
            </p:cNvPr>
            <p:cNvSpPr/>
            <p:nvPr/>
          </p:nvSpPr>
          <p:spPr>
            <a:xfrm>
              <a:off x="1757973" y="3736831"/>
              <a:ext cx="817" cy="911"/>
            </a:xfrm>
            <a:custGeom>
              <a:avLst/>
              <a:gdLst>
                <a:gd name="connsiteX0" fmla="*/ 6586 w 7848"/>
                <a:gd name="connsiteY0" fmla="*/ 6339 h 8754"/>
                <a:gd name="connsiteX1" fmla="*/ 2881 w 7848"/>
                <a:gd name="connsiteY1" fmla="*/ 8754 h 8754"/>
                <a:gd name="connsiteX2" fmla="*/ 686 w 7848"/>
                <a:gd name="connsiteY2" fmla="*/ 7492 h 8754"/>
                <a:gd name="connsiteX3" fmla="*/ 0 w 7848"/>
                <a:gd name="connsiteY3" fmla="*/ 4171 h 8754"/>
                <a:gd name="connsiteX4" fmla="*/ 2908 w 7848"/>
                <a:gd name="connsiteY4" fmla="*/ 2772 h 8754"/>
                <a:gd name="connsiteX5" fmla="*/ 7848 w 7848"/>
                <a:gd name="connsiteY5" fmla="*/ 0 h 8754"/>
                <a:gd name="connsiteX6" fmla="*/ 6614 w 7848"/>
                <a:gd name="connsiteY6" fmla="*/ 6339 h 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8" h="8754">
                  <a:moveTo>
                    <a:pt x="6586" y="6339"/>
                  </a:moveTo>
                  <a:lnTo>
                    <a:pt x="2881" y="8754"/>
                  </a:lnTo>
                  <a:lnTo>
                    <a:pt x="686" y="7492"/>
                  </a:lnTo>
                  <a:lnTo>
                    <a:pt x="0" y="4171"/>
                  </a:lnTo>
                  <a:lnTo>
                    <a:pt x="2908" y="2772"/>
                  </a:lnTo>
                  <a:lnTo>
                    <a:pt x="7848" y="0"/>
                  </a:lnTo>
                  <a:lnTo>
                    <a:pt x="6614" y="63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5" name="Freeform: Shape 3274">
              <a:extLst>
                <a:ext uri="{FF2B5EF4-FFF2-40B4-BE49-F238E27FC236}">
                  <a16:creationId xmlns:a16="http://schemas.microsoft.com/office/drawing/2014/main" id="{E037B20E-E7B1-6738-E123-1320B2A56D8B}"/>
                </a:ext>
              </a:extLst>
            </p:cNvPr>
            <p:cNvSpPr/>
            <p:nvPr/>
          </p:nvSpPr>
          <p:spPr>
            <a:xfrm>
              <a:off x="1759903" y="3730022"/>
              <a:ext cx="589" cy="1208"/>
            </a:xfrm>
            <a:custGeom>
              <a:avLst/>
              <a:gdLst>
                <a:gd name="connsiteX0" fmla="*/ 5653 w 5652"/>
                <a:gd name="connsiteY0" fmla="*/ 3705 h 11608"/>
                <a:gd name="connsiteX1" fmla="*/ 1784 w 5652"/>
                <a:gd name="connsiteY1" fmla="*/ 11608 h 11608"/>
                <a:gd name="connsiteX2" fmla="*/ 0 w 5652"/>
                <a:gd name="connsiteY2" fmla="*/ 10209 h 11608"/>
                <a:gd name="connsiteX3" fmla="*/ 1152 w 5652"/>
                <a:gd name="connsiteY3" fmla="*/ 2305 h 11608"/>
                <a:gd name="connsiteX4" fmla="*/ 5049 w 5652"/>
                <a:gd name="connsiteY4" fmla="*/ 0 h 11608"/>
                <a:gd name="connsiteX5" fmla="*/ 5653 w 5652"/>
                <a:gd name="connsiteY5" fmla="*/ 3705 h 11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2" h="11608">
                  <a:moveTo>
                    <a:pt x="5653" y="3705"/>
                  </a:moveTo>
                  <a:lnTo>
                    <a:pt x="1784" y="11608"/>
                  </a:lnTo>
                  <a:lnTo>
                    <a:pt x="0" y="10209"/>
                  </a:lnTo>
                  <a:lnTo>
                    <a:pt x="1152" y="2305"/>
                  </a:lnTo>
                  <a:lnTo>
                    <a:pt x="5049" y="0"/>
                  </a:lnTo>
                  <a:lnTo>
                    <a:pt x="5653"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6" name="Freeform: Shape 3275">
              <a:extLst>
                <a:ext uri="{FF2B5EF4-FFF2-40B4-BE49-F238E27FC236}">
                  <a16:creationId xmlns:a16="http://schemas.microsoft.com/office/drawing/2014/main" id="{366D459C-0D26-3451-DE4C-8C227B75B7D5}"/>
                </a:ext>
              </a:extLst>
            </p:cNvPr>
            <p:cNvSpPr/>
            <p:nvPr/>
          </p:nvSpPr>
          <p:spPr>
            <a:xfrm>
              <a:off x="1771830" y="3723782"/>
              <a:ext cx="646" cy="693"/>
            </a:xfrm>
            <a:custGeom>
              <a:avLst/>
              <a:gdLst>
                <a:gd name="connsiteX0" fmla="*/ 4418 w 6202"/>
                <a:gd name="connsiteY0" fmla="*/ 6614 h 6668"/>
                <a:gd name="connsiteX1" fmla="*/ 2277 w 6202"/>
                <a:gd name="connsiteY1" fmla="*/ 6668 h 6668"/>
                <a:gd name="connsiteX2" fmla="*/ 192 w 6202"/>
                <a:gd name="connsiteY2" fmla="*/ 4940 h 6668"/>
                <a:gd name="connsiteX3" fmla="*/ 0 w 6202"/>
                <a:gd name="connsiteY3" fmla="*/ 3348 h 6668"/>
                <a:gd name="connsiteX4" fmla="*/ 1400 w 6202"/>
                <a:gd name="connsiteY4" fmla="*/ 823 h 6668"/>
                <a:gd name="connsiteX5" fmla="*/ 3046 w 6202"/>
                <a:gd name="connsiteY5" fmla="*/ 0 h 6668"/>
                <a:gd name="connsiteX6" fmla="*/ 6202 w 6202"/>
                <a:gd name="connsiteY6" fmla="*/ 2991 h 6668"/>
                <a:gd name="connsiteX7" fmla="*/ 4418 w 6202"/>
                <a:gd name="connsiteY7" fmla="*/ 6614 h 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02" h="6668">
                  <a:moveTo>
                    <a:pt x="4418" y="6614"/>
                  </a:moveTo>
                  <a:lnTo>
                    <a:pt x="2277" y="6668"/>
                  </a:lnTo>
                  <a:lnTo>
                    <a:pt x="192" y="4940"/>
                  </a:lnTo>
                  <a:lnTo>
                    <a:pt x="0" y="3348"/>
                  </a:lnTo>
                  <a:lnTo>
                    <a:pt x="1400" y="823"/>
                  </a:lnTo>
                  <a:lnTo>
                    <a:pt x="3046" y="0"/>
                  </a:lnTo>
                  <a:lnTo>
                    <a:pt x="6202" y="2991"/>
                  </a:lnTo>
                  <a:lnTo>
                    <a:pt x="4418" y="66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7" name="Freeform: Shape 3276">
              <a:extLst>
                <a:ext uri="{FF2B5EF4-FFF2-40B4-BE49-F238E27FC236}">
                  <a16:creationId xmlns:a16="http://schemas.microsoft.com/office/drawing/2014/main" id="{B5B65163-1FFB-C2BA-220D-CC9B4F379042}"/>
                </a:ext>
              </a:extLst>
            </p:cNvPr>
            <p:cNvSpPr/>
            <p:nvPr/>
          </p:nvSpPr>
          <p:spPr>
            <a:xfrm>
              <a:off x="1758804" y="3736054"/>
              <a:ext cx="583" cy="725"/>
            </a:xfrm>
            <a:custGeom>
              <a:avLst/>
              <a:gdLst>
                <a:gd name="connsiteX0" fmla="*/ 5296 w 5598"/>
                <a:gd name="connsiteY0" fmla="*/ 6861 h 6970"/>
                <a:gd name="connsiteX1" fmla="*/ 604 w 5598"/>
                <a:gd name="connsiteY1" fmla="*/ 6970 h 6970"/>
                <a:gd name="connsiteX2" fmla="*/ 0 w 5598"/>
                <a:gd name="connsiteY2" fmla="*/ 4857 h 6970"/>
                <a:gd name="connsiteX3" fmla="*/ 4995 w 5598"/>
                <a:gd name="connsiteY3" fmla="*/ 0 h 6970"/>
                <a:gd name="connsiteX4" fmla="*/ 5598 w 5598"/>
                <a:gd name="connsiteY4" fmla="*/ 3567 h 6970"/>
                <a:gd name="connsiteX5" fmla="*/ 5324 w 5598"/>
                <a:gd name="connsiteY5" fmla="*/ 6861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8" h="6970">
                  <a:moveTo>
                    <a:pt x="5296" y="6861"/>
                  </a:moveTo>
                  <a:lnTo>
                    <a:pt x="604" y="6970"/>
                  </a:lnTo>
                  <a:lnTo>
                    <a:pt x="0" y="4857"/>
                  </a:lnTo>
                  <a:lnTo>
                    <a:pt x="4995" y="0"/>
                  </a:lnTo>
                  <a:lnTo>
                    <a:pt x="5598" y="3567"/>
                  </a:lnTo>
                  <a:lnTo>
                    <a:pt x="5324" y="68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8" name="Freeform: Shape 3277">
              <a:extLst>
                <a:ext uri="{FF2B5EF4-FFF2-40B4-BE49-F238E27FC236}">
                  <a16:creationId xmlns:a16="http://schemas.microsoft.com/office/drawing/2014/main" id="{921F1B3B-5C02-570E-84AB-57C45914847C}"/>
                </a:ext>
              </a:extLst>
            </p:cNvPr>
            <p:cNvSpPr/>
            <p:nvPr/>
          </p:nvSpPr>
          <p:spPr>
            <a:xfrm>
              <a:off x="1759560" y="3731424"/>
              <a:ext cx="466" cy="848"/>
            </a:xfrm>
            <a:custGeom>
              <a:avLst/>
              <a:gdLst>
                <a:gd name="connsiteX0" fmla="*/ 3266 w 4473"/>
                <a:gd name="connsiteY0" fmla="*/ 6367 h 8150"/>
                <a:gd name="connsiteX1" fmla="*/ 1345 w 4473"/>
                <a:gd name="connsiteY1" fmla="*/ 8151 h 8150"/>
                <a:gd name="connsiteX2" fmla="*/ 0 w 4473"/>
                <a:gd name="connsiteY2" fmla="*/ 6065 h 8150"/>
                <a:gd name="connsiteX3" fmla="*/ 823 w 4473"/>
                <a:gd name="connsiteY3" fmla="*/ 961 h 8150"/>
                <a:gd name="connsiteX4" fmla="*/ 2525 w 4473"/>
                <a:gd name="connsiteY4" fmla="*/ 0 h 8150"/>
                <a:gd name="connsiteX5" fmla="*/ 4474 w 4473"/>
                <a:gd name="connsiteY5" fmla="*/ 1345 h 8150"/>
                <a:gd name="connsiteX6" fmla="*/ 3266 w 4473"/>
                <a:gd name="connsiteY6" fmla="*/ 6394 h 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3" h="8150">
                  <a:moveTo>
                    <a:pt x="3266" y="6367"/>
                  </a:moveTo>
                  <a:lnTo>
                    <a:pt x="1345" y="8151"/>
                  </a:lnTo>
                  <a:lnTo>
                    <a:pt x="0" y="6065"/>
                  </a:lnTo>
                  <a:lnTo>
                    <a:pt x="823" y="961"/>
                  </a:lnTo>
                  <a:lnTo>
                    <a:pt x="2525" y="0"/>
                  </a:lnTo>
                  <a:lnTo>
                    <a:pt x="4474" y="1345"/>
                  </a:lnTo>
                  <a:lnTo>
                    <a:pt x="3266" y="63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79" name="Freeform: Shape 3278">
              <a:extLst>
                <a:ext uri="{FF2B5EF4-FFF2-40B4-BE49-F238E27FC236}">
                  <a16:creationId xmlns:a16="http://schemas.microsoft.com/office/drawing/2014/main" id="{61066064-73CA-99B0-360E-8678D675CFA4}"/>
                </a:ext>
              </a:extLst>
            </p:cNvPr>
            <p:cNvSpPr/>
            <p:nvPr/>
          </p:nvSpPr>
          <p:spPr>
            <a:xfrm>
              <a:off x="1760195" y="3734914"/>
              <a:ext cx="491" cy="571"/>
            </a:xfrm>
            <a:custGeom>
              <a:avLst/>
              <a:gdLst>
                <a:gd name="connsiteX0" fmla="*/ 4720 w 4720"/>
                <a:gd name="connsiteY0" fmla="*/ 1756 h 5488"/>
                <a:gd name="connsiteX1" fmla="*/ 2662 w 4720"/>
                <a:gd name="connsiteY1" fmla="*/ 5489 h 5488"/>
                <a:gd name="connsiteX2" fmla="*/ 0 w 4720"/>
                <a:gd name="connsiteY2" fmla="*/ 5324 h 5488"/>
                <a:gd name="connsiteX3" fmla="*/ 1948 w 4720"/>
                <a:gd name="connsiteY3" fmla="*/ 2442 h 5488"/>
                <a:gd name="connsiteX4" fmla="*/ 1866 w 4720"/>
                <a:gd name="connsiteY4" fmla="*/ 412 h 5488"/>
                <a:gd name="connsiteX5" fmla="*/ 3924 w 4720"/>
                <a:gd name="connsiteY5" fmla="*/ 0 h 5488"/>
                <a:gd name="connsiteX6" fmla="*/ 4693 w 4720"/>
                <a:gd name="connsiteY6" fmla="*/ 1756 h 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0" h="5488">
                  <a:moveTo>
                    <a:pt x="4720" y="1756"/>
                  </a:moveTo>
                  <a:lnTo>
                    <a:pt x="2662" y="5489"/>
                  </a:lnTo>
                  <a:lnTo>
                    <a:pt x="0" y="5324"/>
                  </a:lnTo>
                  <a:lnTo>
                    <a:pt x="1948" y="2442"/>
                  </a:lnTo>
                  <a:lnTo>
                    <a:pt x="1866" y="412"/>
                  </a:lnTo>
                  <a:lnTo>
                    <a:pt x="3924" y="0"/>
                  </a:lnTo>
                  <a:lnTo>
                    <a:pt x="4693"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 name="Freeform: Shape 3279">
              <a:extLst>
                <a:ext uri="{FF2B5EF4-FFF2-40B4-BE49-F238E27FC236}">
                  <a16:creationId xmlns:a16="http://schemas.microsoft.com/office/drawing/2014/main" id="{3977B249-EA46-C6F3-CF15-AB2FED76B479}"/>
                </a:ext>
              </a:extLst>
            </p:cNvPr>
            <p:cNvSpPr/>
            <p:nvPr/>
          </p:nvSpPr>
          <p:spPr>
            <a:xfrm>
              <a:off x="1771116" y="3724552"/>
              <a:ext cx="634" cy="437"/>
            </a:xfrm>
            <a:custGeom>
              <a:avLst/>
              <a:gdLst>
                <a:gd name="connsiteX0" fmla="*/ 6092 w 6092"/>
                <a:gd name="connsiteY0" fmla="*/ 1811 h 4198"/>
                <a:gd name="connsiteX1" fmla="*/ 1811 w 6092"/>
                <a:gd name="connsiteY1" fmla="*/ 4199 h 4198"/>
                <a:gd name="connsiteX2" fmla="*/ 0 w 6092"/>
                <a:gd name="connsiteY2" fmla="*/ 2333 h 4198"/>
                <a:gd name="connsiteX3" fmla="*/ 2058 w 6092"/>
                <a:gd name="connsiteY3" fmla="*/ 274 h 4198"/>
                <a:gd name="connsiteX4" fmla="*/ 3869 w 6092"/>
                <a:gd name="connsiteY4" fmla="*/ 0 h 4198"/>
                <a:gd name="connsiteX5" fmla="*/ 6065 w 6092"/>
                <a:gd name="connsiteY5" fmla="*/ 1839 h 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2" h="4198">
                  <a:moveTo>
                    <a:pt x="6092" y="1811"/>
                  </a:moveTo>
                  <a:lnTo>
                    <a:pt x="1811" y="4199"/>
                  </a:lnTo>
                  <a:lnTo>
                    <a:pt x="0" y="2333"/>
                  </a:lnTo>
                  <a:lnTo>
                    <a:pt x="2058" y="274"/>
                  </a:lnTo>
                  <a:lnTo>
                    <a:pt x="3869" y="0"/>
                  </a:lnTo>
                  <a:lnTo>
                    <a:pt x="6065"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 name="Freeform: Shape 3280">
              <a:extLst>
                <a:ext uri="{FF2B5EF4-FFF2-40B4-BE49-F238E27FC236}">
                  <a16:creationId xmlns:a16="http://schemas.microsoft.com/office/drawing/2014/main" id="{533A0A5B-CA44-84A3-DA57-50C2DF576D0D}"/>
                </a:ext>
              </a:extLst>
            </p:cNvPr>
            <p:cNvSpPr/>
            <p:nvPr/>
          </p:nvSpPr>
          <p:spPr>
            <a:xfrm>
              <a:off x="1774874" y="3730516"/>
              <a:ext cx="560" cy="348"/>
            </a:xfrm>
            <a:custGeom>
              <a:avLst/>
              <a:gdLst>
                <a:gd name="connsiteX0" fmla="*/ 4912 w 5378"/>
                <a:gd name="connsiteY0" fmla="*/ 3293 h 3347"/>
                <a:gd name="connsiteX1" fmla="*/ 2552 w 5378"/>
                <a:gd name="connsiteY1" fmla="*/ 3348 h 3347"/>
                <a:gd name="connsiteX2" fmla="*/ 0 w 5378"/>
                <a:gd name="connsiteY2" fmla="*/ 2141 h 3347"/>
                <a:gd name="connsiteX3" fmla="*/ 686 w 5378"/>
                <a:gd name="connsiteY3" fmla="*/ 1125 h 3347"/>
                <a:gd name="connsiteX4" fmla="*/ 4473 w 5378"/>
                <a:gd name="connsiteY4" fmla="*/ 0 h 3347"/>
                <a:gd name="connsiteX5" fmla="*/ 5379 w 5378"/>
                <a:gd name="connsiteY5" fmla="*/ 2141 h 3347"/>
                <a:gd name="connsiteX6" fmla="*/ 4885 w 5378"/>
                <a:gd name="connsiteY6" fmla="*/ 3293 h 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8" h="3347">
                  <a:moveTo>
                    <a:pt x="4912" y="3293"/>
                  </a:moveTo>
                  <a:lnTo>
                    <a:pt x="2552" y="3348"/>
                  </a:lnTo>
                  <a:lnTo>
                    <a:pt x="0" y="2141"/>
                  </a:lnTo>
                  <a:lnTo>
                    <a:pt x="686" y="1125"/>
                  </a:lnTo>
                  <a:lnTo>
                    <a:pt x="4473" y="0"/>
                  </a:lnTo>
                  <a:lnTo>
                    <a:pt x="5379" y="2141"/>
                  </a:lnTo>
                  <a:lnTo>
                    <a:pt x="4885" y="32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 name="Freeform: Shape 3281">
              <a:extLst>
                <a:ext uri="{FF2B5EF4-FFF2-40B4-BE49-F238E27FC236}">
                  <a16:creationId xmlns:a16="http://schemas.microsoft.com/office/drawing/2014/main" id="{B1734085-AAF2-6300-FD73-76B6A0C7F478}"/>
                </a:ext>
              </a:extLst>
            </p:cNvPr>
            <p:cNvSpPr/>
            <p:nvPr/>
          </p:nvSpPr>
          <p:spPr>
            <a:xfrm>
              <a:off x="1761486" y="3740241"/>
              <a:ext cx="425" cy="437"/>
            </a:xfrm>
            <a:custGeom>
              <a:avLst/>
              <a:gdLst>
                <a:gd name="connsiteX0" fmla="*/ 4089 w 4088"/>
                <a:gd name="connsiteY0" fmla="*/ 2470 h 4198"/>
                <a:gd name="connsiteX1" fmla="*/ 2525 w 4088"/>
                <a:gd name="connsiteY1" fmla="*/ 4199 h 4198"/>
                <a:gd name="connsiteX2" fmla="*/ 0 w 4088"/>
                <a:gd name="connsiteY2" fmla="*/ 2085 h 4198"/>
                <a:gd name="connsiteX3" fmla="*/ 686 w 4088"/>
                <a:gd name="connsiteY3" fmla="*/ 0 h 4198"/>
                <a:gd name="connsiteX4" fmla="*/ 4062 w 4088"/>
                <a:gd name="connsiteY4" fmla="*/ 2497 h 4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4198">
                  <a:moveTo>
                    <a:pt x="4089" y="2470"/>
                  </a:moveTo>
                  <a:lnTo>
                    <a:pt x="2525" y="4199"/>
                  </a:lnTo>
                  <a:lnTo>
                    <a:pt x="0" y="2085"/>
                  </a:lnTo>
                  <a:lnTo>
                    <a:pt x="686" y="0"/>
                  </a:lnTo>
                  <a:lnTo>
                    <a:pt x="4062"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 name="Freeform: Shape 3282">
              <a:extLst>
                <a:ext uri="{FF2B5EF4-FFF2-40B4-BE49-F238E27FC236}">
                  <a16:creationId xmlns:a16="http://schemas.microsoft.com/office/drawing/2014/main" id="{1B97362B-4449-1F9C-21D9-4E8061A2C6AA}"/>
                </a:ext>
              </a:extLst>
            </p:cNvPr>
            <p:cNvSpPr/>
            <p:nvPr/>
          </p:nvSpPr>
          <p:spPr>
            <a:xfrm>
              <a:off x="1763153" y="3737514"/>
              <a:ext cx="451" cy="405"/>
            </a:xfrm>
            <a:custGeom>
              <a:avLst/>
              <a:gdLst>
                <a:gd name="connsiteX0" fmla="*/ 4336 w 4336"/>
                <a:gd name="connsiteY0" fmla="*/ 2086 h 3897"/>
                <a:gd name="connsiteX1" fmla="*/ 2882 w 4336"/>
                <a:gd name="connsiteY1" fmla="*/ 3897 h 3897"/>
                <a:gd name="connsiteX2" fmla="*/ 0 w 4336"/>
                <a:gd name="connsiteY2" fmla="*/ 2717 h 3897"/>
                <a:gd name="connsiteX3" fmla="*/ 3293 w 4336"/>
                <a:gd name="connsiteY3" fmla="*/ 0 h 3897"/>
                <a:gd name="connsiteX4" fmla="*/ 4309 w 4336"/>
                <a:gd name="connsiteY4" fmla="*/ 2086 h 3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3897">
                  <a:moveTo>
                    <a:pt x="4336" y="2086"/>
                  </a:moveTo>
                  <a:lnTo>
                    <a:pt x="2882" y="3897"/>
                  </a:lnTo>
                  <a:lnTo>
                    <a:pt x="0" y="2717"/>
                  </a:lnTo>
                  <a:lnTo>
                    <a:pt x="3293" y="0"/>
                  </a:lnTo>
                  <a:lnTo>
                    <a:pt x="4309"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 name="Freeform: Shape 3283">
              <a:extLst>
                <a:ext uri="{FF2B5EF4-FFF2-40B4-BE49-F238E27FC236}">
                  <a16:creationId xmlns:a16="http://schemas.microsoft.com/office/drawing/2014/main" id="{ED38F594-A37D-C0CB-3146-AB37D05298DF}"/>
                </a:ext>
              </a:extLst>
            </p:cNvPr>
            <p:cNvSpPr/>
            <p:nvPr/>
          </p:nvSpPr>
          <p:spPr>
            <a:xfrm>
              <a:off x="1762585" y="3745251"/>
              <a:ext cx="463" cy="374"/>
            </a:xfrm>
            <a:custGeom>
              <a:avLst/>
              <a:gdLst>
                <a:gd name="connsiteX0" fmla="*/ 4446 w 4446"/>
                <a:gd name="connsiteY0" fmla="*/ 1949 h 3595"/>
                <a:gd name="connsiteX1" fmla="*/ 1345 w 4446"/>
                <a:gd name="connsiteY1" fmla="*/ 3595 h 3595"/>
                <a:gd name="connsiteX2" fmla="*/ 0 w 4446"/>
                <a:gd name="connsiteY2" fmla="*/ 1729 h 3595"/>
                <a:gd name="connsiteX3" fmla="*/ 2141 w 4446"/>
                <a:gd name="connsiteY3" fmla="*/ 0 h 3595"/>
                <a:gd name="connsiteX4" fmla="*/ 4446 w 4446"/>
                <a:gd name="connsiteY4" fmla="*/ 1949 h 3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6" h="3595">
                  <a:moveTo>
                    <a:pt x="4446" y="1949"/>
                  </a:moveTo>
                  <a:lnTo>
                    <a:pt x="1345" y="3595"/>
                  </a:lnTo>
                  <a:lnTo>
                    <a:pt x="0" y="1729"/>
                  </a:lnTo>
                  <a:lnTo>
                    <a:pt x="2141" y="0"/>
                  </a:lnTo>
                  <a:lnTo>
                    <a:pt x="4446" y="19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 name="Freeform: Shape 3284">
              <a:extLst>
                <a:ext uri="{FF2B5EF4-FFF2-40B4-BE49-F238E27FC236}">
                  <a16:creationId xmlns:a16="http://schemas.microsoft.com/office/drawing/2014/main" id="{33142F81-8BDF-393C-A9C5-90B8AA24F950}"/>
                </a:ext>
              </a:extLst>
            </p:cNvPr>
            <p:cNvSpPr/>
            <p:nvPr/>
          </p:nvSpPr>
          <p:spPr>
            <a:xfrm>
              <a:off x="1790717" y="3729559"/>
              <a:ext cx="342" cy="497"/>
            </a:xfrm>
            <a:custGeom>
              <a:avLst/>
              <a:gdLst>
                <a:gd name="connsiteX0" fmla="*/ 3293 w 3293"/>
                <a:gd name="connsiteY0" fmla="*/ 2195 h 4775"/>
                <a:gd name="connsiteX1" fmla="*/ 3128 w 3293"/>
                <a:gd name="connsiteY1" fmla="*/ 4775 h 4775"/>
                <a:gd name="connsiteX2" fmla="*/ 357 w 3293"/>
                <a:gd name="connsiteY2" fmla="*/ 3952 h 4775"/>
                <a:gd name="connsiteX3" fmla="*/ 0 w 3293"/>
                <a:gd name="connsiteY3" fmla="*/ 1756 h 4775"/>
                <a:gd name="connsiteX4" fmla="*/ 686 w 3293"/>
                <a:gd name="connsiteY4" fmla="*/ 0 h 4775"/>
                <a:gd name="connsiteX5" fmla="*/ 3266 w 3293"/>
                <a:gd name="connsiteY5" fmla="*/ 2195 h 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93" h="4775">
                  <a:moveTo>
                    <a:pt x="3293" y="2195"/>
                  </a:moveTo>
                  <a:lnTo>
                    <a:pt x="3128" y="4775"/>
                  </a:lnTo>
                  <a:lnTo>
                    <a:pt x="357" y="3952"/>
                  </a:lnTo>
                  <a:lnTo>
                    <a:pt x="0" y="1756"/>
                  </a:lnTo>
                  <a:lnTo>
                    <a:pt x="686" y="0"/>
                  </a:lnTo>
                  <a:lnTo>
                    <a:pt x="3266" y="21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 name="Freeform: Shape 3285">
              <a:extLst>
                <a:ext uri="{FF2B5EF4-FFF2-40B4-BE49-F238E27FC236}">
                  <a16:creationId xmlns:a16="http://schemas.microsoft.com/office/drawing/2014/main" id="{8C8B7554-8962-5CD7-CF21-F8E44664AD6E}"/>
                </a:ext>
              </a:extLst>
            </p:cNvPr>
            <p:cNvSpPr/>
            <p:nvPr/>
          </p:nvSpPr>
          <p:spPr>
            <a:xfrm>
              <a:off x="1761029" y="3740820"/>
              <a:ext cx="299" cy="477"/>
            </a:xfrm>
            <a:custGeom>
              <a:avLst/>
              <a:gdLst>
                <a:gd name="connsiteX0" fmla="*/ 2882 w 2881"/>
                <a:gd name="connsiteY0" fmla="*/ 3183 h 4583"/>
                <a:gd name="connsiteX1" fmla="*/ 1948 w 2881"/>
                <a:gd name="connsiteY1" fmla="*/ 4583 h 4583"/>
                <a:gd name="connsiteX2" fmla="*/ 0 w 2881"/>
                <a:gd name="connsiteY2" fmla="*/ 3266 h 4583"/>
                <a:gd name="connsiteX3" fmla="*/ 1866 w 2881"/>
                <a:gd name="connsiteY3" fmla="*/ 82 h 4583"/>
                <a:gd name="connsiteX4" fmla="*/ 2882 w 2881"/>
                <a:gd name="connsiteY4" fmla="*/ 0 h 4583"/>
                <a:gd name="connsiteX5" fmla="*/ 2882 w 2881"/>
                <a:gd name="connsiteY5" fmla="*/ 3183 h 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 h="4583">
                  <a:moveTo>
                    <a:pt x="2882" y="3183"/>
                  </a:moveTo>
                  <a:lnTo>
                    <a:pt x="1948" y="4583"/>
                  </a:lnTo>
                  <a:lnTo>
                    <a:pt x="0" y="3266"/>
                  </a:lnTo>
                  <a:lnTo>
                    <a:pt x="1866" y="82"/>
                  </a:lnTo>
                  <a:lnTo>
                    <a:pt x="2882" y="0"/>
                  </a:lnTo>
                  <a:lnTo>
                    <a:pt x="2882" y="31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 name="Freeform: Shape 3286">
              <a:extLst>
                <a:ext uri="{FF2B5EF4-FFF2-40B4-BE49-F238E27FC236}">
                  <a16:creationId xmlns:a16="http://schemas.microsoft.com/office/drawing/2014/main" id="{5E262719-F6CF-22E5-EF75-E1C139DC2B09}"/>
                </a:ext>
              </a:extLst>
            </p:cNvPr>
            <p:cNvSpPr/>
            <p:nvPr/>
          </p:nvSpPr>
          <p:spPr>
            <a:xfrm>
              <a:off x="1769948" y="3732430"/>
              <a:ext cx="322" cy="425"/>
            </a:xfrm>
            <a:custGeom>
              <a:avLst/>
              <a:gdLst>
                <a:gd name="connsiteX0" fmla="*/ 3046 w 3100"/>
                <a:gd name="connsiteY0" fmla="*/ 0 h 4088"/>
                <a:gd name="connsiteX1" fmla="*/ 3101 w 3100"/>
                <a:gd name="connsiteY1" fmla="*/ 4089 h 4088"/>
                <a:gd name="connsiteX2" fmla="*/ 0 w 3100"/>
                <a:gd name="connsiteY2" fmla="*/ 2882 h 4088"/>
                <a:gd name="connsiteX3" fmla="*/ 686 w 3100"/>
                <a:gd name="connsiteY3" fmla="*/ 878 h 4088"/>
                <a:gd name="connsiteX4" fmla="*/ 3046 w 3100"/>
                <a:gd name="connsiteY4" fmla="*/ 27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 h="4088">
                  <a:moveTo>
                    <a:pt x="3046" y="0"/>
                  </a:moveTo>
                  <a:lnTo>
                    <a:pt x="3101" y="4089"/>
                  </a:lnTo>
                  <a:lnTo>
                    <a:pt x="0" y="2882"/>
                  </a:lnTo>
                  <a:lnTo>
                    <a:pt x="686" y="878"/>
                  </a:lnTo>
                  <a:lnTo>
                    <a:pt x="3046"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 name="Freeform: Shape 3287">
              <a:extLst>
                <a:ext uri="{FF2B5EF4-FFF2-40B4-BE49-F238E27FC236}">
                  <a16:creationId xmlns:a16="http://schemas.microsoft.com/office/drawing/2014/main" id="{368251C3-6305-A10F-A86B-71C48E188356}"/>
                </a:ext>
              </a:extLst>
            </p:cNvPr>
            <p:cNvSpPr/>
            <p:nvPr/>
          </p:nvSpPr>
          <p:spPr>
            <a:xfrm>
              <a:off x="1761100" y="3733132"/>
              <a:ext cx="291" cy="443"/>
            </a:xfrm>
            <a:custGeom>
              <a:avLst/>
              <a:gdLst>
                <a:gd name="connsiteX0" fmla="*/ 2799 w 2799"/>
                <a:gd name="connsiteY0" fmla="*/ 3815 h 4253"/>
                <a:gd name="connsiteX1" fmla="*/ 192 w 2799"/>
                <a:gd name="connsiteY1" fmla="*/ 4253 h 4253"/>
                <a:gd name="connsiteX2" fmla="*/ 0 w 2799"/>
                <a:gd name="connsiteY2" fmla="*/ 1180 h 4253"/>
                <a:gd name="connsiteX3" fmla="*/ 2662 w 2799"/>
                <a:gd name="connsiteY3" fmla="*/ 0 h 4253"/>
                <a:gd name="connsiteX4" fmla="*/ 2799 w 2799"/>
                <a:gd name="connsiteY4" fmla="*/ 3842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9" h="4253">
                  <a:moveTo>
                    <a:pt x="2799" y="3815"/>
                  </a:moveTo>
                  <a:lnTo>
                    <a:pt x="192" y="4253"/>
                  </a:lnTo>
                  <a:lnTo>
                    <a:pt x="0" y="1180"/>
                  </a:lnTo>
                  <a:lnTo>
                    <a:pt x="2662" y="0"/>
                  </a:lnTo>
                  <a:lnTo>
                    <a:pt x="2799" y="38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 name="Freeform: Shape 3288">
              <a:extLst>
                <a:ext uri="{FF2B5EF4-FFF2-40B4-BE49-F238E27FC236}">
                  <a16:creationId xmlns:a16="http://schemas.microsoft.com/office/drawing/2014/main" id="{87C9AA45-39F6-CEDF-F508-0F15BF9CC17C}"/>
                </a:ext>
              </a:extLst>
            </p:cNvPr>
            <p:cNvSpPr/>
            <p:nvPr/>
          </p:nvSpPr>
          <p:spPr>
            <a:xfrm>
              <a:off x="1768436" y="3734680"/>
              <a:ext cx="394" cy="311"/>
            </a:xfrm>
            <a:custGeom>
              <a:avLst/>
              <a:gdLst>
                <a:gd name="connsiteX0" fmla="*/ 3430 w 3787"/>
                <a:gd name="connsiteY0" fmla="*/ 2415 h 2991"/>
                <a:gd name="connsiteX1" fmla="*/ 0 w 3787"/>
                <a:gd name="connsiteY1" fmla="*/ 2992 h 2991"/>
                <a:gd name="connsiteX2" fmla="*/ 741 w 3787"/>
                <a:gd name="connsiteY2" fmla="*/ 110 h 2991"/>
                <a:gd name="connsiteX3" fmla="*/ 3787 w 3787"/>
                <a:gd name="connsiteY3" fmla="*/ 0 h 2991"/>
                <a:gd name="connsiteX4" fmla="*/ 3430 w 3787"/>
                <a:gd name="connsiteY4" fmla="*/ 2415 h 2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2991">
                  <a:moveTo>
                    <a:pt x="3430" y="2415"/>
                  </a:moveTo>
                  <a:lnTo>
                    <a:pt x="0" y="2992"/>
                  </a:lnTo>
                  <a:lnTo>
                    <a:pt x="741" y="110"/>
                  </a:lnTo>
                  <a:lnTo>
                    <a:pt x="3787" y="0"/>
                  </a:lnTo>
                  <a:lnTo>
                    <a:pt x="3430"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 name="Freeform: Shape 3289">
              <a:extLst>
                <a:ext uri="{FF2B5EF4-FFF2-40B4-BE49-F238E27FC236}">
                  <a16:creationId xmlns:a16="http://schemas.microsoft.com/office/drawing/2014/main" id="{FB57B0BB-AEB5-5EF9-A396-E66A7632F2F3}"/>
                </a:ext>
              </a:extLst>
            </p:cNvPr>
            <p:cNvSpPr/>
            <p:nvPr/>
          </p:nvSpPr>
          <p:spPr>
            <a:xfrm>
              <a:off x="1632932" y="3655739"/>
              <a:ext cx="98313" cy="47279"/>
            </a:xfrm>
            <a:custGeom>
              <a:avLst/>
              <a:gdLst>
                <a:gd name="connsiteX0" fmla="*/ 850568 w 944669"/>
                <a:gd name="connsiteY0" fmla="*/ 106314 h 454291"/>
                <a:gd name="connsiteX1" fmla="*/ 831577 w 944669"/>
                <a:gd name="connsiteY1" fmla="*/ 148631 h 454291"/>
                <a:gd name="connsiteX2" fmla="*/ 830644 w 944669"/>
                <a:gd name="connsiteY2" fmla="*/ 154202 h 454291"/>
                <a:gd name="connsiteX3" fmla="*/ 823563 w 944669"/>
                <a:gd name="connsiteY3" fmla="*/ 165838 h 454291"/>
                <a:gd name="connsiteX4" fmla="*/ 823262 w 944669"/>
                <a:gd name="connsiteY4" fmla="*/ 177639 h 454291"/>
                <a:gd name="connsiteX5" fmla="*/ 815880 w 944669"/>
                <a:gd name="connsiteY5" fmla="*/ 183484 h 454291"/>
                <a:gd name="connsiteX6" fmla="*/ 817170 w 944669"/>
                <a:gd name="connsiteY6" fmla="*/ 192842 h 454291"/>
                <a:gd name="connsiteX7" fmla="*/ 827214 w 944669"/>
                <a:gd name="connsiteY7" fmla="*/ 202063 h 454291"/>
                <a:gd name="connsiteX8" fmla="*/ 835858 w 944669"/>
                <a:gd name="connsiteY8" fmla="*/ 194681 h 454291"/>
                <a:gd name="connsiteX9" fmla="*/ 852818 w 944669"/>
                <a:gd name="connsiteY9" fmla="*/ 193363 h 454291"/>
                <a:gd name="connsiteX10" fmla="*/ 860255 w 944669"/>
                <a:gd name="connsiteY10" fmla="*/ 196190 h 454291"/>
                <a:gd name="connsiteX11" fmla="*/ 869339 w 944669"/>
                <a:gd name="connsiteY11" fmla="*/ 203462 h 454291"/>
                <a:gd name="connsiteX12" fmla="*/ 881962 w 944669"/>
                <a:gd name="connsiteY12" fmla="*/ 188479 h 454291"/>
                <a:gd name="connsiteX13" fmla="*/ 893598 w 944669"/>
                <a:gd name="connsiteY13" fmla="*/ 186722 h 454291"/>
                <a:gd name="connsiteX14" fmla="*/ 904905 w 944669"/>
                <a:gd name="connsiteY14" fmla="*/ 189988 h 454291"/>
                <a:gd name="connsiteX15" fmla="*/ 910832 w 944669"/>
                <a:gd name="connsiteY15" fmla="*/ 198660 h 454291"/>
                <a:gd name="connsiteX16" fmla="*/ 920300 w 944669"/>
                <a:gd name="connsiteY16" fmla="*/ 203847 h 454291"/>
                <a:gd name="connsiteX17" fmla="*/ 922276 w 944669"/>
                <a:gd name="connsiteY17" fmla="*/ 209555 h 454291"/>
                <a:gd name="connsiteX18" fmla="*/ 927271 w 944669"/>
                <a:gd name="connsiteY18" fmla="*/ 211778 h 454291"/>
                <a:gd name="connsiteX19" fmla="*/ 933692 w 944669"/>
                <a:gd name="connsiteY19" fmla="*/ 219736 h 454291"/>
                <a:gd name="connsiteX20" fmla="*/ 939071 w 944669"/>
                <a:gd name="connsiteY20" fmla="*/ 225801 h 454291"/>
                <a:gd name="connsiteX21" fmla="*/ 944670 w 944669"/>
                <a:gd name="connsiteY21" fmla="*/ 238041 h 454291"/>
                <a:gd name="connsiteX22" fmla="*/ 944093 w 944669"/>
                <a:gd name="connsiteY22" fmla="*/ 245148 h 454291"/>
                <a:gd name="connsiteX23" fmla="*/ 939044 w 944669"/>
                <a:gd name="connsiteY23" fmla="*/ 248963 h 454291"/>
                <a:gd name="connsiteX24" fmla="*/ 921068 w 944669"/>
                <a:gd name="connsiteY24" fmla="*/ 247069 h 454291"/>
                <a:gd name="connsiteX25" fmla="*/ 913769 w 944669"/>
                <a:gd name="connsiteY25" fmla="*/ 242569 h 454291"/>
                <a:gd name="connsiteX26" fmla="*/ 910393 w 944669"/>
                <a:gd name="connsiteY26" fmla="*/ 245340 h 454291"/>
                <a:gd name="connsiteX27" fmla="*/ 896589 w 944669"/>
                <a:gd name="connsiteY27" fmla="*/ 244051 h 454291"/>
                <a:gd name="connsiteX28" fmla="*/ 880151 w 944669"/>
                <a:gd name="connsiteY28" fmla="*/ 252695 h 454291"/>
                <a:gd name="connsiteX29" fmla="*/ 872879 w 944669"/>
                <a:gd name="connsiteY29" fmla="*/ 250280 h 454291"/>
                <a:gd name="connsiteX30" fmla="*/ 867774 w 944669"/>
                <a:gd name="connsiteY30" fmla="*/ 259720 h 454291"/>
                <a:gd name="connsiteX31" fmla="*/ 854218 w 944669"/>
                <a:gd name="connsiteY31" fmla="*/ 259391 h 454291"/>
                <a:gd name="connsiteX32" fmla="*/ 846588 w 944669"/>
                <a:gd name="connsiteY32" fmla="*/ 263041 h 454291"/>
                <a:gd name="connsiteX33" fmla="*/ 837971 w 944669"/>
                <a:gd name="connsiteY33" fmla="*/ 275610 h 454291"/>
                <a:gd name="connsiteX34" fmla="*/ 836132 w 944669"/>
                <a:gd name="connsiteY34" fmla="*/ 286230 h 454291"/>
                <a:gd name="connsiteX35" fmla="*/ 820106 w 944669"/>
                <a:gd name="connsiteY35" fmla="*/ 297674 h 454291"/>
                <a:gd name="connsiteX36" fmla="*/ 809815 w 944669"/>
                <a:gd name="connsiteY36" fmla="*/ 300830 h 454291"/>
                <a:gd name="connsiteX37" fmla="*/ 790769 w 944669"/>
                <a:gd name="connsiteY37" fmla="*/ 299650 h 454291"/>
                <a:gd name="connsiteX38" fmla="*/ 786625 w 944669"/>
                <a:gd name="connsiteY38" fmla="*/ 301763 h 454291"/>
                <a:gd name="connsiteX39" fmla="*/ 783250 w 944669"/>
                <a:gd name="connsiteY39" fmla="*/ 308843 h 454291"/>
                <a:gd name="connsiteX40" fmla="*/ 772821 w 944669"/>
                <a:gd name="connsiteY40" fmla="*/ 319135 h 454291"/>
                <a:gd name="connsiteX41" fmla="*/ 758853 w 944669"/>
                <a:gd name="connsiteY41" fmla="*/ 327450 h 454291"/>
                <a:gd name="connsiteX42" fmla="*/ 736350 w 944669"/>
                <a:gd name="connsiteY42" fmla="*/ 323580 h 454291"/>
                <a:gd name="connsiteX43" fmla="*/ 724028 w 944669"/>
                <a:gd name="connsiteY43" fmla="*/ 314140 h 454291"/>
                <a:gd name="connsiteX44" fmla="*/ 712063 w 944669"/>
                <a:gd name="connsiteY44" fmla="*/ 313509 h 454291"/>
                <a:gd name="connsiteX45" fmla="*/ 706355 w 944669"/>
                <a:gd name="connsiteY45" fmla="*/ 317076 h 454291"/>
                <a:gd name="connsiteX46" fmla="*/ 699741 w 944669"/>
                <a:gd name="connsiteY46" fmla="*/ 329069 h 454291"/>
                <a:gd name="connsiteX47" fmla="*/ 694746 w 944669"/>
                <a:gd name="connsiteY47" fmla="*/ 343559 h 454291"/>
                <a:gd name="connsiteX48" fmla="*/ 699933 w 944669"/>
                <a:gd name="connsiteY48" fmla="*/ 353713 h 454291"/>
                <a:gd name="connsiteX49" fmla="*/ 708550 w 944669"/>
                <a:gd name="connsiteY49" fmla="*/ 362741 h 454291"/>
                <a:gd name="connsiteX50" fmla="*/ 710197 w 944669"/>
                <a:gd name="connsiteY50" fmla="*/ 369931 h 454291"/>
                <a:gd name="connsiteX51" fmla="*/ 699686 w 944669"/>
                <a:gd name="connsiteY51" fmla="*/ 378411 h 454291"/>
                <a:gd name="connsiteX52" fmla="*/ 682150 w 944669"/>
                <a:gd name="connsiteY52" fmla="*/ 387056 h 454291"/>
                <a:gd name="connsiteX53" fmla="*/ 662528 w 944669"/>
                <a:gd name="connsiteY53" fmla="*/ 409641 h 454291"/>
                <a:gd name="connsiteX54" fmla="*/ 652347 w 944669"/>
                <a:gd name="connsiteY54" fmla="*/ 413840 h 454291"/>
                <a:gd name="connsiteX55" fmla="*/ 635579 w 944669"/>
                <a:gd name="connsiteY55" fmla="*/ 420728 h 454291"/>
                <a:gd name="connsiteX56" fmla="*/ 618812 w 944669"/>
                <a:gd name="connsiteY56" fmla="*/ 422924 h 454291"/>
                <a:gd name="connsiteX57" fmla="*/ 576440 w 944669"/>
                <a:gd name="connsiteY57" fmla="*/ 421634 h 454291"/>
                <a:gd name="connsiteX58" fmla="*/ 572707 w 944669"/>
                <a:gd name="connsiteY58" fmla="*/ 423089 h 454291"/>
                <a:gd name="connsiteX59" fmla="*/ 527948 w 944669"/>
                <a:gd name="connsiteY59" fmla="*/ 440652 h 454291"/>
                <a:gd name="connsiteX60" fmla="*/ 504868 w 944669"/>
                <a:gd name="connsiteY60" fmla="*/ 454291 h 454291"/>
                <a:gd name="connsiteX61" fmla="*/ 493178 w 944669"/>
                <a:gd name="connsiteY61" fmla="*/ 451931 h 454291"/>
                <a:gd name="connsiteX62" fmla="*/ 489995 w 944669"/>
                <a:gd name="connsiteY62" fmla="*/ 444549 h 454291"/>
                <a:gd name="connsiteX63" fmla="*/ 473611 w 944669"/>
                <a:gd name="connsiteY63" fmla="*/ 446744 h 454291"/>
                <a:gd name="connsiteX64" fmla="*/ 460438 w 944669"/>
                <a:gd name="connsiteY64" fmla="*/ 443863 h 454291"/>
                <a:gd name="connsiteX65" fmla="*/ 438923 w 944669"/>
                <a:gd name="connsiteY65" fmla="*/ 433435 h 454291"/>
                <a:gd name="connsiteX66" fmla="*/ 421195 w 944669"/>
                <a:gd name="connsiteY66" fmla="*/ 429592 h 454291"/>
                <a:gd name="connsiteX67" fmla="*/ 414362 w 944669"/>
                <a:gd name="connsiteY67" fmla="*/ 423089 h 454291"/>
                <a:gd name="connsiteX68" fmla="*/ 410218 w 944669"/>
                <a:gd name="connsiteY68" fmla="*/ 418862 h 454291"/>
                <a:gd name="connsiteX69" fmla="*/ 389718 w 944669"/>
                <a:gd name="connsiteY69" fmla="*/ 413813 h 454291"/>
                <a:gd name="connsiteX70" fmla="*/ 383927 w 944669"/>
                <a:gd name="connsiteY70" fmla="*/ 412386 h 454291"/>
                <a:gd name="connsiteX71" fmla="*/ 369136 w 944669"/>
                <a:gd name="connsiteY71" fmla="*/ 411727 h 454291"/>
                <a:gd name="connsiteX72" fmla="*/ 356869 w 944669"/>
                <a:gd name="connsiteY72" fmla="*/ 413813 h 454291"/>
                <a:gd name="connsiteX73" fmla="*/ 342598 w 944669"/>
                <a:gd name="connsiteY73" fmla="*/ 416228 h 454291"/>
                <a:gd name="connsiteX74" fmla="*/ 315923 w 944669"/>
                <a:gd name="connsiteY74" fmla="*/ 413813 h 454291"/>
                <a:gd name="connsiteX75" fmla="*/ 306072 w 944669"/>
                <a:gd name="connsiteY75" fmla="*/ 412935 h 454291"/>
                <a:gd name="connsiteX76" fmla="*/ 277092 w 944669"/>
                <a:gd name="connsiteY76" fmla="*/ 407583 h 454291"/>
                <a:gd name="connsiteX77" fmla="*/ 254369 w 944669"/>
                <a:gd name="connsiteY77" fmla="*/ 409010 h 454291"/>
                <a:gd name="connsiteX78" fmla="*/ 250883 w 944669"/>
                <a:gd name="connsiteY78" fmla="*/ 401546 h 454291"/>
                <a:gd name="connsiteX79" fmla="*/ 239165 w 944669"/>
                <a:gd name="connsiteY79" fmla="*/ 388593 h 454291"/>
                <a:gd name="connsiteX80" fmla="*/ 235104 w 944669"/>
                <a:gd name="connsiteY80" fmla="*/ 378411 h 454291"/>
                <a:gd name="connsiteX81" fmla="*/ 228051 w 944669"/>
                <a:gd name="connsiteY81" fmla="*/ 359668 h 454291"/>
                <a:gd name="connsiteX82" fmla="*/ 222206 w 944669"/>
                <a:gd name="connsiteY82" fmla="*/ 356320 h 454291"/>
                <a:gd name="connsiteX83" fmla="*/ 223605 w 944669"/>
                <a:gd name="connsiteY83" fmla="*/ 346605 h 454291"/>
                <a:gd name="connsiteX84" fmla="*/ 212738 w 944669"/>
                <a:gd name="connsiteY84" fmla="*/ 347428 h 454291"/>
                <a:gd name="connsiteX85" fmla="*/ 204779 w 944669"/>
                <a:gd name="connsiteY85" fmla="*/ 344272 h 454291"/>
                <a:gd name="connsiteX86" fmla="*/ 187682 w 944669"/>
                <a:gd name="connsiteY86" fmla="*/ 329618 h 454291"/>
                <a:gd name="connsiteX87" fmla="*/ 169488 w 944669"/>
                <a:gd name="connsiteY87" fmla="*/ 318970 h 454291"/>
                <a:gd name="connsiteX88" fmla="*/ 148494 w 944669"/>
                <a:gd name="connsiteY88" fmla="*/ 315183 h 454291"/>
                <a:gd name="connsiteX89" fmla="*/ 135431 w 944669"/>
                <a:gd name="connsiteY89" fmla="*/ 316253 h 454291"/>
                <a:gd name="connsiteX90" fmla="*/ 131699 w 944669"/>
                <a:gd name="connsiteY90" fmla="*/ 315594 h 454291"/>
                <a:gd name="connsiteX91" fmla="*/ 110485 w 944669"/>
                <a:gd name="connsiteY91" fmla="*/ 311396 h 454291"/>
                <a:gd name="connsiteX92" fmla="*/ 100084 w 944669"/>
                <a:gd name="connsiteY92" fmla="*/ 309338 h 454291"/>
                <a:gd name="connsiteX93" fmla="*/ 91495 w 944669"/>
                <a:gd name="connsiteY93" fmla="*/ 307636 h 454291"/>
                <a:gd name="connsiteX94" fmla="*/ 85128 w 944669"/>
                <a:gd name="connsiteY94" fmla="*/ 293201 h 454291"/>
                <a:gd name="connsiteX95" fmla="*/ 87214 w 944669"/>
                <a:gd name="connsiteY95" fmla="*/ 285380 h 454291"/>
                <a:gd name="connsiteX96" fmla="*/ 94294 w 944669"/>
                <a:gd name="connsiteY96" fmla="*/ 274046 h 454291"/>
                <a:gd name="connsiteX97" fmla="*/ 92071 w 944669"/>
                <a:gd name="connsiteY97" fmla="*/ 263343 h 454291"/>
                <a:gd name="connsiteX98" fmla="*/ 95145 w 944669"/>
                <a:gd name="connsiteY98" fmla="*/ 253902 h 454291"/>
                <a:gd name="connsiteX99" fmla="*/ 95145 w 944669"/>
                <a:gd name="connsiteY99" fmla="*/ 247344 h 454291"/>
                <a:gd name="connsiteX100" fmla="*/ 91577 w 944669"/>
                <a:gd name="connsiteY100" fmla="*/ 236421 h 454291"/>
                <a:gd name="connsiteX101" fmla="*/ 80682 w 944669"/>
                <a:gd name="connsiteY101" fmla="*/ 223496 h 454291"/>
                <a:gd name="connsiteX102" fmla="*/ 74507 w 944669"/>
                <a:gd name="connsiteY102" fmla="*/ 205630 h 454291"/>
                <a:gd name="connsiteX103" fmla="*/ 70995 w 944669"/>
                <a:gd name="connsiteY103" fmla="*/ 201816 h 454291"/>
                <a:gd name="connsiteX104" fmla="*/ 65259 w 944669"/>
                <a:gd name="connsiteY104" fmla="*/ 195586 h 454291"/>
                <a:gd name="connsiteX105" fmla="*/ 57959 w 944669"/>
                <a:gd name="connsiteY105" fmla="*/ 196080 h 454291"/>
                <a:gd name="connsiteX106" fmla="*/ 51263 w 944669"/>
                <a:gd name="connsiteY106" fmla="*/ 189110 h 454291"/>
                <a:gd name="connsiteX107" fmla="*/ 37295 w 944669"/>
                <a:gd name="connsiteY107" fmla="*/ 189302 h 454291"/>
                <a:gd name="connsiteX108" fmla="*/ 25028 w 944669"/>
                <a:gd name="connsiteY108" fmla="*/ 180959 h 454291"/>
                <a:gd name="connsiteX109" fmla="*/ 20637 w 944669"/>
                <a:gd name="connsiteY109" fmla="*/ 172040 h 454291"/>
                <a:gd name="connsiteX110" fmla="*/ 6971 w 944669"/>
                <a:gd name="connsiteY110" fmla="*/ 164164 h 454291"/>
                <a:gd name="connsiteX111" fmla="*/ 7135 w 944669"/>
                <a:gd name="connsiteY111" fmla="*/ 157002 h 454291"/>
                <a:gd name="connsiteX112" fmla="*/ 0 w 944669"/>
                <a:gd name="connsiteY112" fmla="*/ 149811 h 454291"/>
                <a:gd name="connsiteX113" fmla="*/ 2662 w 944669"/>
                <a:gd name="connsiteY113" fmla="*/ 142512 h 454291"/>
                <a:gd name="connsiteX114" fmla="*/ 796 w 944669"/>
                <a:gd name="connsiteY114" fmla="*/ 136502 h 454291"/>
                <a:gd name="connsiteX115" fmla="*/ 9358 w 944669"/>
                <a:gd name="connsiteY115" fmla="*/ 133153 h 454291"/>
                <a:gd name="connsiteX116" fmla="*/ 10126 w 944669"/>
                <a:gd name="connsiteY116" fmla="*/ 127363 h 454291"/>
                <a:gd name="connsiteX117" fmla="*/ 13776 w 944669"/>
                <a:gd name="connsiteY117" fmla="*/ 122945 h 454291"/>
                <a:gd name="connsiteX118" fmla="*/ 29117 w 944669"/>
                <a:gd name="connsiteY118" fmla="*/ 123686 h 454291"/>
                <a:gd name="connsiteX119" fmla="*/ 32547 w 944669"/>
                <a:gd name="connsiteY119" fmla="*/ 121024 h 454291"/>
                <a:gd name="connsiteX120" fmla="*/ 38996 w 944669"/>
                <a:gd name="connsiteY120" fmla="*/ 121079 h 454291"/>
                <a:gd name="connsiteX121" fmla="*/ 42619 w 944669"/>
                <a:gd name="connsiteY121" fmla="*/ 116166 h 454291"/>
                <a:gd name="connsiteX122" fmla="*/ 46323 w 944669"/>
                <a:gd name="connsiteY122" fmla="*/ 116989 h 454291"/>
                <a:gd name="connsiteX123" fmla="*/ 55270 w 944669"/>
                <a:gd name="connsiteY123" fmla="*/ 112160 h 454291"/>
                <a:gd name="connsiteX124" fmla="*/ 56395 w 944669"/>
                <a:gd name="connsiteY124" fmla="*/ 109223 h 454291"/>
                <a:gd name="connsiteX125" fmla="*/ 53925 w 944669"/>
                <a:gd name="connsiteY125" fmla="*/ 104091 h 454291"/>
                <a:gd name="connsiteX126" fmla="*/ 55215 w 944669"/>
                <a:gd name="connsiteY126" fmla="*/ 101978 h 454291"/>
                <a:gd name="connsiteX127" fmla="*/ 63201 w 944669"/>
                <a:gd name="connsiteY127" fmla="*/ 100222 h 454291"/>
                <a:gd name="connsiteX128" fmla="*/ 67263 w 944669"/>
                <a:gd name="connsiteY128" fmla="*/ 95117 h 454291"/>
                <a:gd name="connsiteX129" fmla="*/ 70995 w 944669"/>
                <a:gd name="connsiteY129" fmla="*/ 93581 h 454291"/>
                <a:gd name="connsiteX130" fmla="*/ 84140 w 944669"/>
                <a:gd name="connsiteY130" fmla="*/ 88202 h 454291"/>
                <a:gd name="connsiteX131" fmla="*/ 92894 w 944669"/>
                <a:gd name="connsiteY131" fmla="*/ 80024 h 454291"/>
                <a:gd name="connsiteX132" fmla="*/ 100057 w 944669"/>
                <a:gd name="connsiteY132" fmla="*/ 78597 h 454291"/>
                <a:gd name="connsiteX133" fmla="*/ 106067 w 944669"/>
                <a:gd name="connsiteY133" fmla="*/ 77389 h 454291"/>
                <a:gd name="connsiteX134" fmla="*/ 110431 w 944669"/>
                <a:gd name="connsiteY134" fmla="*/ 73081 h 454291"/>
                <a:gd name="connsiteX135" fmla="*/ 116688 w 944669"/>
                <a:gd name="connsiteY135" fmla="*/ 66851 h 454291"/>
                <a:gd name="connsiteX136" fmla="*/ 129503 w 944669"/>
                <a:gd name="connsiteY136" fmla="*/ 66769 h 454291"/>
                <a:gd name="connsiteX137" fmla="*/ 131644 w 944669"/>
                <a:gd name="connsiteY137" fmla="*/ 63531 h 454291"/>
                <a:gd name="connsiteX138" fmla="*/ 134416 w 944669"/>
                <a:gd name="connsiteY138" fmla="*/ 59359 h 454291"/>
                <a:gd name="connsiteX139" fmla="*/ 142511 w 944669"/>
                <a:gd name="connsiteY139" fmla="*/ 66000 h 454291"/>
                <a:gd name="connsiteX140" fmla="*/ 152226 w 944669"/>
                <a:gd name="connsiteY140" fmla="*/ 64189 h 454291"/>
                <a:gd name="connsiteX141" fmla="*/ 153488 w 944669"/>
                <a:gd name="connsiteY141" fmla="*/ 70474 h 454291"/>
                <a:gd name="connsiteX142" fmla="*/ 156425 w 944669"/>
                <a:gd name="connsiteY142" fmla="*/ 72861 h 454291"/>
                <a:gd name="connsiteX143" fmla="*/ 189439 w 944669"/>
                <a:gd name="connsiteY143" fmla="*/ 73520 h 454291"/>
                <a:gd name="connsiteX144" fmla="*/ 192128 w 944669"/>
                <a:gd name="connsiteY144" fmla="*/ 77362 h 454291"/>
                <a:gd name="connsiteX145" fmla="*/ 195037 w 944669"/>
                <a:gd name="connsiteY145" fmla="*/ 88998 h 454291"/>
                <a:gd name="connsiteX146" fmla="*/ 201843 w 944669"/>
                <a:gd name="connsiteY146" fmla="*/ 97203 h 454291"/>
                <a:gd name="connsiteX147" fmla="*/ 209829 w 944669"/>
                <a:gd name="connsiteY147" fmla="*/ 97093 h 454291"/>
                <a:gd name="connsiteX148" fmla="*/ 215839 w 944669"/>
                <a:gd name="connsiteY148" fmla="*/ 101265 h 454291"/>
                <a:gd name="connsiteX149" fmla="*/ 224594 w 944669"/>
                <a:gd name="connsiteY149" fmla="*/ 102500 h 454291"/>
                <a:gd name="connsiteX150" fmla="*/ 236861 w 944669"/>
                <a:gd name="connsiteY150" fmla="*/ 98219 h 454291"/>
                <a:gd name="connsiteX151" fmla="*/ 246685 w 944669"/>
                <a:gd name="connsiteY151" fmla="*/ 99399 h 454291"/>
                <a:gd name="connsiteX152" fmla="*/ 253875 w 944669"/>
                <a:gd name="connsiteY152" fmla="*/ 103076 h 454291"/>
                <a:gd name="connsiteX153" fmla="*/ 259226 w 944669"/>
                <a:gd name="connsiteY153" fmla="*/ 101429 h 454291"/>
                <a:gd name="connsiteX154" fmla="*/ 269024 w 944669"/>
                <a:gd name="connsiteY154" fmla="*/ 103241 h 454291"/>
                <a:gd name="connsiteX155" fmla="*/ 276817 w 944669"/>
                <a:gd name="connsiteY155" fmla="*/ 109223 h 454291"/>
                <a:gd name="connsiteX156" fmla="*/ 281263 w 944669"/>
                <a:gd name="connsiteY156" fmla="*/ 109552 h 454291"/>
                <a:gd name="connsiteX157" fmla="*/ 289386 w 944669"/>
                <a:gd name="connsiteY157" fmla="*/ 102116 h 454291"/>
                <a:gd name="connsiteX158" fmla="*/ 297509 w 944669"/>
                <a:gd name="connsiteY158" fmla="*/ 99755 h 454291"/>
                <a:gd name="connsiteX159" fmla="*/ 306923 w 944669"/>
                <a:gd name="connsiteY159" fmla="*/ 87571 h 454291"/>
                <a:gd name="connsiteX160" fmla="*/ 308459 w 944669"/>
                <a:gd name="connsiteY160" fmla="*/ 74782 h 454291"/>
                <a:gd name="connsiteX161" fmla="*/ 301159 w 944669"/>
                <a:gd name="connsiteY161" fmla="*/ 68059 h 454291"/>
                <a:gd name="connsiteX162" fmla="*/ 299211 w 944669"/>
                <a:gd name="connsiteY162" fmla="*/ 58865 h 454291"/>
                <a:gd name="connsiteX163" fmla="*/ 296109 w 944669"/>
                <a:gd name="connsiteY163" fmla="*/ 53487 h 454291"/>
                <a:gd name="connsiteX164" fmla="*/ 298442 w 944669"/>
                <a:gd name="connsiteY164" fmla="*/ 39875 h 454291"/>
                <a:gd name="connsiteX165" fmla="*/ 301324 w 944669"/>
                <a:gd name="connsiteY165" fmla="*/ 33728 h 454291"/>
                <a:gd name="connsiteX166" fmla="*/ 306593 w 944669"/>
                <a:gd name="connsiteY166" fmla="*/ 30023 h 454291"/>
                <a:gd name="connsiteX167" fmla="*/ 310737 w 944669"/>
                <a:gd name="connsiteY167" fmla="*/ 19155 h 454291"/>
                <a:gd name="connsiteX168" fmla="*/ 320836 w 944669"/>
                <a:gd name="connsiteY168" fmla="*/ 13118 h 454291"/>
                <a:gd name="connsiteX169" fmla="*/ 327889 w 944669"/>
                <a:gd name="connsiteY169" fmla="*/ 0 h 454291"/>
                <a:gd name="connsiteX170" fmla="*/ 358131 w 944669"/>
                <a:gd name="connsiteY170" fmla="*/ 16850 h 454291"/>
                <a:gd name="connsiteX171" fmla="*/ 375283 w 944669"/>
                <a:gd name="connsiteY171" fmla="*/ 18469 h 454291"/>
                <a:gd name="connsiteX172" fmla="*/ 398088 w 944669"/>
                <a:gd name="connsiteY172" fmla="*/ 30133 h 454291"/>
                <a:gd name="connsiteX173" fmla="*/ 420207 w 944669"/>
                <a:gd name="connsiteY173" fmla="*/ 35456 h 454291"/>
                <a:gd name="connsiteX174" fmla="*/ 423198 w 944669"/>
                <a:gd name="connsiteY174" fmla="*/ 39573 h 454291"/>
                <a:gd name="connsiteX175" fmla="*/ 424570 w 944669"/>
                <a:gd name="connsiteY175" fmla="*/ 58371 h 454291"/>
                <a:gd name="connsiteX176" fmla="*/ 427726 w 944669"/>
                <a:gd name="connsiteY176" fmla="*/ 71681 h 454291"/>
                <a:gd name="connsiteX177" fmla="*/ 444329 w 944669"/>
                <a:gd name="connsiteY177" fmla="*/ 84223 h 454291"/>
                <a:gd name="connsiteX178" fmla="*/ 466668 w 944669"/>
                <a:gd name="connsiteY178" fmla="*/ 92209 h 454291"/>
                <a:gd name="connsiteX179" fmla="*/ 479374 w 944669"/>
                <a:gd name="connsiteY179" fmla="*/ 91495 h 454291"/>
                <a:gd name="connsiteX180" fmla="*/ 489171 w 944669"/>
                <a:gd name="connsiteY180" fmla="*/ 85540 h 454291"/>
                <a:gd name="connsiteX181" fmla="*/ 516559 w 944669"/>
                <a:gd name="connsiteY181" fmla="*/ 77801 h 454291"/>
                <a:gd name="connsiteX182" fmla="*/ 534397 w 944669"/>
                <a:gd name="connsiteY182" fmla="*/ 80353 h 454291"/>
                <a:gd name="connsiteX183" fmla="*/ 543344 w 944669"/>
                <a:gd name="connsiteY183" fmla="*/ 85183 h 454291"/>
                <a:gd name="connsiteX184" fmla="*/ 555583 w 944669"/>
                <a:gd name="connsiteY184" fmla="*/ 84525 h 454291"/>
                <a:gd name="connsiteX185" fmla="*/ 562746 w 944669"/>
                <a:gd name="connsiteY185" fmla="*/ 88806 h 454291"/>
                <a:gd name="connsiteX186" fmla="*/ 570265 w 944669"/>
                <a:gd name="connsiteY186" fmla="*/ 98465 h 454291"/>
                <a:gd name="connsiteX187" fmla="*/ 591972 w 944669"/>
                <a:gd name="connsiteY187" fmla="*/ 103652 h 454291"/>
                <a:gd name="connsiteX188" fmla="*/ 595375 w 944669"/>
                <a:gd name="connsiteY188" fmla="*/ 116496 h 454291"/>
                <a:gd name="connsiteX189" fmla="*/ 610826 w 944669"/>
                <a:gd name="connsiteY189" fmla="*/ 129064 h 454291"/>
                <a:gd name="connsiteX190" fmla="*/ 629487 w 944669"/>
                <a:gd name="connsiteY190" fmla="*/ 128927 h 454291"/>
                <a:gd name="connsiteX191" fmla="*/ 641891 w 944669"/>
                <a:gd name="connsiteY191" fmla="*/ 134580 h 454291"/>
                <a:gd name="connsiteX192" fmla="*/ 658028 w 944669"/>
                <a:gd name="connsiteY192" fmla="*/ 136831 h 454291"/>
                <a:gd name="connsiteX193" fmla="*/ 665437 w 944669"/>
                <a:gd name="connsiteY193" fmla="*/ 134306 h 454291"/>
                <a:gd name="connsiteX194" fmla="*/ 675646 w 944669"/>
                <a:gd name="connsiteY194" fmla="*/ 137545 h 454291"/>
                <a:gd name="connsiteX195" fmla="*/ 694060 w 944669"/>
                <a:gd name="connsiteY195" fmla="*/ 128571 h 454291"/>
                <a:gd name="connsiteX196" fmla="*/ 710883 w 944669"/>
                <a:gd name="connsiteY196" fmla="*/ 126430 h 454291"/>
                <a:gd name="connsiteX197" fmla="*/ 726251 w 944669"/>
                <a:gd name="connsiteY197" fmla="*/ 120667 h 454291"/>
                <a:gd name="connsiteX198" fmla="*/ 735966 w 944669"/>
                <a:gd name="connsiteY198" fmla="*/ 121133 h 454291"/>
                <a:gd name="connsiteX199" fmla="*/ 742799 w 944669"/>
                <a:gd name="connsiteY199" fmla="*/ 117044 h 454291"/>
                <a:gd name="connsiteX200" fmla="*/ 748205 w 944669"/>
                <a:gd name="connsiteY200" fmla="*/ 107275 h 454291"/>
                <a:gd name="connsiteX201" fmla="*/ 757536 w 944669"/>
                <a:gd name="connsiteY201" fmla="*/ 99646 h 454291"/>
                <a:gd name="connsiteX202" fmla="*/ 777954 w 944669"/>
                <a:gd name="connsiteY202" fmla="*/ 88010 h 454291"/>
                <a:gd name="connsiteX203" fmla="*/ 798234 w 944669"/>
                <a:gd name="connsiteY203" fmla="*/ 90782 h 454291"/>
                <a:gd name="connsiteX204" fmla="*/ 812092 w 944669"/>
                <a:gd name="connsiteY204" fmla="*/ 103350 h 454291"/>
                <a:gd name="connsiteX205" fmla="*/ 822603 w 944669"/>
                <a:gd name="connsiteY205" fmla="*/ 103872 h 454291"/>
                <a:gd name="connsiteX206" fmla="*/ 835831 w 944669"/>
                <a:gd name="connsiteY206" fmla="*/ 98630 h 454291"/>
                <a:gd name="connsiteX207" fmla="*/ 846122 w 944669"/>
                <a:gd name="connsiteY207" fmla="*/ 102143 h 454291"/>
                <a:gd name="connsiteX208" fmla="*/ 850595 w 944669"/>
                <a:gd name="connsiteY208" fmla="*/ 106314 h 45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944669" h="454291">
                  <a:moveTo>
                    <a:pt x="850568" y="106314"/>
                  </a:moveTo>
                  <a:lnTo>
                    <a:pt x="831577" y="148631"/>
                  </a:lnTo>
                  <a:lnTo>
                    <a:pt x="830644" y="154202"/>
                  </a:lnTo>
                  <a:lnTo>
                    <a:pt x="823563" y="165838"/>
                  </a:lnTo>
                  <a:lnTo>
                    <a:pt x="823262" y="177639"/>
                  </a:lnTo>
                  <a:lnTo>
                    <a:pt x="815880" y="183484"/>
                  </a:lnTo>
                  <a:lnTo>
                    <a:pt x="817170" y="192842"/>
                  </a:lnTo>
                  <a:lnTo>
                    <a:pt x="827214" y="202063"/>
                  </a:lnTo>
                  <a:lnTo>
                    <a:pt x="835858" y="194681"/>
                  </a:lnTo>
                  <a:lnTo>
                    <a:pt x="852818" y="193363"/>
                  </a:lnTo>
                  <a:lnTo>
                    <a:pt x="860255" y="196190"/>
                  </a:lnTo>
                  <a:lnTo>
                    <a:pt x="869339" y="203462"/>
                  </a:lnTo>
                  <a:lnTo>
                    <a:pt x="881962" y="188479"/>
                  </a:lnTo>
                  <a:lnTo>
                    <a:pt x="893598" y="186722"/>
                  </a:lnTo>
                  <a:lnTo>
                    <a:pt x="904905" y="189988"/>
                  </a:lnTo>
                  <a:lnTo>
                    <a:pt x="910832" y="198660"/>
                  </a:lnTo>
                  <a:lnTo>
                    <a:pt x="920300" y="203847"/>
                  </a:lnTo>
                  <a:lnTo>
                    <a:pt x="922276" y="209555"/>
                  </a:lnTo>
                  <a:lnTo>
                    <a:pt x="927271" y="211778"/>
                  </a:lnTo>
                  <a:lnTo>
                    <a:pt x="933692" y="219736"/>
                  </a:lnTo>
                  <a:lnTo>
                    <a:pt x="939071" y="225801"/>
                  </a:lnTo>
                  <a:lnTo>
                    <a:pt x="944670" y="238041"/>
                  </a:lnTo>
                  <a:lnTo>
                    <a:pt x="944093" y="245148"/>
                  </a:lnTo>
                  <a:lnTo>
                    <a:pt x="939044" y="248963"/>
                  </a:lnTo>
                  <a:lnTo>
                    <a:pt x="921068" y="247069"/>
                  </a:lnTo>
                  <a:lnTo>
                    <a:pt x="913769" y="242569"/>
                  </a:lnTo>
                  <a:lnTo>
                    <a:pt x="910393" y="245340"/>
                  </a:lnTo>
                  <a:lnTo>
                    <a:pt x="896589" y="244051"/>
                  </a:lnTo>
                  <a:lnTo>
                    <a:pt x="880151" y="252695"/>
                  </a:lnTo>
                  <a:lnTo>
                    <a:pt x="872879" y="250280"/>
                  </a:lnTo>
                  <a:lnTo>
                    <a:pt x="867774" y="259720"/>
                  </a:lnTo>
                  <a:lnTo>
                    <a:pt x="854218" y="259391"/>
                  </a:lnTo>
                  <a:lnTo>
                    <a:pt x="846588" y="263041"/>
                  </a:lnTo>
                  <a:lnTo>
                    <a:pt x="837971" y="275610"/>
                  </a:lnTo>
                  <a:lnTo>
                    <a:pt x="836132" y="286230"/>
                  </a:lnTo>
                  <a:lnTo>
                    <a:pt x="820106" y="297674"/>
                  </a:lnTo>
                  <a:lnTo>
                    <a:pt x="809815" y="300830"/>
                  </a:lnTo>
                  <a:lnTo>
                    <a:pt x="790769" y="299650"/>
                  </a:lnTo>
                  <a:lnTo>
                    <a:pt x="786625" y="301763"/>
                  </a:lnTo>
                  <a:lnTo>
                    <a:pt x="783250" y="308843"/>
                  </a:lnTo>
                  <a:lnTo>
                    <a:pt x="772821" y="319135"/>
                  </a:lnTo>
                  <a:lnTo>
                    <a:pt x="758853" y="327450"/>
                  </a:lnTo>
                  <a:lnTo>
                    <a:pt x="736350" y="323580"/>
                  </a:lnTo>
                  <a:lnTo>
                    <a:pt x="724028" y="314140"/>
                  </a:lnTo>
                  <a:lnTo>
                    <a:pt x="712063" y="313509"/>
                  </a:lnTo>
                  <a:lnTo>
                    <a:pt x="706355" y="317076"/>
                  </a:lnTo>
                  <a:lnTo>
                    <a:pt x="699741" y="329069"/>
                  </a:lnTo>
                  <a:lnTo>
                    <a:pt x="694746" y="343559"/>
                  </a:lnTo>
                  <a:lnTo>
                    <a:pt x="699933" y="353713"/>
                  </a:lnTo>
                  <a:lnTo>
                    <a:pt x="708550" y="362741"/>
                  </a:lnTo>
                  <a:lnTo>
                    <a:pt x="710197" y="369931"/>
                  </a:lnTo>
                  <a:lnTo>
                    <a:pt x="699686" y="378411"/>
                  </a:lnTo>
                  <a:lnTo>
                    <a:pt x="682150" y="387056"/>
                  </a:lnTo>
                  <a:lnTo>
                    <a:pt x="662528" y="409641"/>
                  </a:lnTo>
                  <a:lnTo>
                    <a:pt x="652347" y="413840"/>
                  </a:lnTo>
                  <a:lnTo>
                    <a:pt x="635579" y="420728"/>
                  </a:lnTo>
                  <a:lnTo>
                    <a:pt x="618812" y="422924"/>
                  </a:lnTo>
                  <a:lnTo>
                    <a:pt x="576440" y="421634"/>
                  </a:lnTo>
                  <a:lnTo>
                    <a:pt x="572707" y="423089"/>
                  </a:lnTo>
                  <a:lnTo>
                    <a:pt x="527948" y="440652"/>
                  </a:lnTo>
                  <a:lnTo>
                    <a:pt x="504868" y="454291"/>
                  </a:lnTo>
                  <a:lnTo>
                    <a:pt x="493178" y="451931"/>
                  </a:lnTo>
                  <a:lnTo>
                    <a:pt x="489995" y="444549"/>
                  </a:lnTo>
                  <a:lnTo>
                    <a:pt x="473611" y="446744"/>
                  </a:lnTo>
                  <a:lnTo>
                    <a:pt x="460438" y="443863"/>
                  </a:lnTo>
                  <a:lnTo>
                    <a:pt x="438923" y="433435"/>
                  </a:lnTo>
                  <a:lnTo>
                    <a:pt x="421195" y="429592"/>
                  </a:lnTo>
                  <a:lnTo>
                    <a:pt x="414362" y="423089"/>
                  </a:lnTo>
                  <a:lnTo>
                    <a:pt x="410218" y="418862"/>
                  </a:lnTo>
                  <a:lnTo>
                    <a:pt x="389718" y="413813"/>
                  </a:lnTo>
                  <a:lnTo>
                    <a:pt x="383927" y="412386"/>
                  </a:lnTo>
                  <a:lnTo>
                    <a:pt x="369136" y="411727"/>
                  </a:lnTo>
                  <a:lnTo>
                    <a:pt x="356869" y="413813"/>
                  </a:lnTo>
                  <a:lnTo>
                    <a:pt x="342598" y="416228"/>
                  </a:lnTo>
                  <a:lnTo>
                    <a:pt x="315923" y="413813"/>
                  </a:lnTo>
                  <a:lnTo>
                    <a:pt x="306072" y="412935"/>
                  </a:lnTo>
                  <a:lnTo>
                    <a:pt x="277092" y="407583"/>
                  </a:lnTo>
                  <a:lnTo>
                    <a:pt x="254369" y="409010"/>
                  </a:lnTo>
                  <a:lnTo>
                    <a:pt x="250883" y="401546"/>
                  </a:lnTo>
                  <a:lnTo>
                    <a:pt x="239165" y="388593"/>
                  </a:lnTo>
                  <a:lnTo>
                    <a:pt x="235104" y="378411"/>
                  </a:lnTo>
                  <a:lnTo>
                    <a:pt x="228051" y="359668"/>
                  </a:lnTo>
                  <a:lnTo>
                    <a:pt x="222206" y="356320"/>
                  </a:lnTo>
                  <a:lnTo>
                    <a:pt x="223605" y="346605"/>
                  </a:lnTo>
                  <a:lnTo>
                    <a:pt x="212738" y="347428"/>
                  </a:lnTo>
                  <a:lnTo>
                    <a:pt x="204779" y="344272"/>
                  </a:lnTo>
                  <a:lnTo>
                    <a:pt x="187682" y="329618"/>
                  </a:lnTo>
                  <a:lnTo>
                    <a:pt x="169488" y="318970"/>
                  </a:lnTo>
                  <a:lnTo>
                    <a:pt x="148494" y="315183"/>
                  </a:lnTo>
                  <a:lnTo>
                    <a:pt x="135431" y="316253"/>
                  </a:lnTo>
                  <a:lnTo>
                    <a:pt x="131699" y="315594"/>
                  </a:lnTo>
                  <a:lnTo>
                    <a:pt x="110485" y="311396"/>
                  </a:lnTo>
                  <a:lnTo>
                    <a:pt x="100084" y="309338"/>
                  </a:lnTo>
                  <a:lnTo>
                    <a:pt x="91495" y="307636"/>
                  </a:lnTo>
                  <a:lnTo>
                    <a:pt x="85128" y="293201"/>
                  </a:lnTo>
                  <a:lnTo>
                    <a:pt x="87214" y="285380"/>
                  </a:lnTo>
                  <a:lnTo>
                    <a:pt x="94294" y="274046"/>
                  </a:lnTo>
                  <a:lnTo>
                    <a:pt x="92071" y="263343"/>
                  </a:lnTo>
                  <a:lnTo>
                    <a:pt x="95145" y="253902"/>
                  </a:lnTo>
                  <a:lnTo>
                    <a:pt x="95145" y="247344"/>
                  </a:lnTo>
                  <a:cubicBezTo>
                    <a:pt x="95145" y="247344"/>
                    <a:pt x="91577" y="236421"/>
                    <a:pt x="91577" y="236421"/>
                  </a:cubicBezTo>
                  <a:lnTo>
                    <a:pt x="80682" y="223496"/>
                  </a:lnTo>
                  <a:lnTo>
                    <a:pt x="74507" y="205630"/>
                  </a:lnTo>
                  <a:lnTo>
                    <a:pt x="70995" y="201816"/>
                  </a:lnTo>
                  <a:lnTo>
                    <a:pt x="65259" y="195586"/>
                  </a:lnTo>
                  <a:lnTo>
                    <a:pt x="57959" y="196080"/>
                  </a:lnTo>
                  <a:lnTo>
                    <a:pt x="51263" y="189110"/>
                  </a:lnTo>
                  <a:lnTo>
                    <a:pt x="37295" y="189302"/>
                  </a:lnTo>
                  <a:lnTo>
                    <a:pt x="25028" y="180959"/>
                  </a:lnTo>
                  <a:lnTo>
                    <a:pt x="20637" y="172040"/>
                  </a:lnTo>
                  <a:lnTo>
                    <a:pt x="6971" y="164164"/>
                  </a:lnTo>
                  <a:lnTo>
                    <a:pt x="7135" y="157002"/>
                  </a:lnTo>
                  <a:lnTo>
                    <a:pt x="0" y="149811"/>
                  </a:lnTo>
                  <a:lnTo>
                    <a:pt x="2662" y="142512"/>
                  </a:lnTo>
                  <a:lnTo>
                    <a:pt x="796" y="136502"/>
                  </a:lnTo>
                  <a:lnTo>
                    <a:pt x="9358" y="133153"/>
                  </a:lnTo>
                  <a:lnTo>
                    <a:pt x="10126" y="127363"/>
                  </a:lnTo>
                  <a:lnTo>
                    <a:pt x="13776" y="122945"/>
                  </a:lnTo>
                  <a:lnTo>
                    <a:pt x="29117" y="123686"/>
                  </a:lnTo>
                  <a:lnTo>
                    <a:pt x="32547" y="121024"/>
                  </a:lnTo>
                  <a:lnTo>
                    <a:pt x="38996" y="121079"/>
                  </a:lnTo>
                  <a:lnTo>
                    <a:pt x="42619" y="116166"/>
                  </a:lnTo>
                  <a:lnTo>
                    <a:pt x="46323" y="116989"/>
                  </a:lnTo>
                  <a:lnTo>
                    <a:pt x="55270" y="112160"/>
                  </a:lnTo>
                  <a:lnTo>
                    <a:pt x="56395" y="109223"/>
                  </a:lnTo>
                  <a:lnTo>
                    <a:pt x="53925" y="104091"/>
                  </a:lnTo>
                  <a:lnTo>
                    <a:pt x="55215" y="101978"/>
                  </a:lnTo>
                  <a:lnTo>
                    <a:pt x="63201" y="100222"/>
                  </a:lnTo>
                  <a:lnTo>
                    <a:pt x="67263" y="95117"/>
                  </a:lnTo>
                  <a:lnTo>
                    <a:pt x="70995" y="93581"/>
                  </a:lnTo>
                  <a:lnTo>
                    <a:pt x="84140" y="88202"/>
                  </a:lnTo>
                  <a:lnTo>
                    <a:pt x="92894" y="80024"/>
                  </a:lnTo>
                  <a:lnTo>
                    <a:pt x="100057" y="78597"/>
                  </a:lnTo>
                  <a:lnTo>
                    <a:pt x="106067" y="77389"/>
                  </a:lnTo>
                  <a:lnTo>
                    <a:pt x="110431" y="73081"/>
                  </a:lnTo>
                  <a:lnTo>
                    <a:pt x="116688" y="66851"/>
                  </a:lnTo>
                  <a:lnTo>
                    <a:pt x="129503" y="66769"/>
                  </a:lnTo>
                  <a:lnTo>
                    <a:pt x="131644" y="63531"/>
                  </a:lnTo>
                  <a:lnTo>
                    <a:pt x="134416" y="59359"/>
                  </a:lnTo>
                  <a:lnTo>
                    <a:pt x="142511" y="66000"/>
                  </a:lnTo>
                  <a:lnTo>
                    <a:pt x="152226" y="64189"/>
                  </a:lnTo>
                  <a:lnTo>
                    <a:pt x="153488" y="70474"/>
                  </a:lnTo>
                  <a:lnTo>
                    <a:pt x="156425" y="72861"/>
                  </a:lnTo>
                  <a:lnTo>
                    <a:pt x="189439" y="73520"/>
                  </a:lnTo>
                  <a:lnTo>
                    <a:pt x="192128" y="77362"/>
                  </a:lnTo>
                  <a:lnTo>
                    <a:pt x="195037" y="88998"/>
                  </a:lnTo>
                  <a:lnTo>
                    <a:pt x="201843" y="97203"/>
                  </a:lnTo>
                  <a:lnTo>
                    <a:pt x="209829" y="97093"/>
                  </a:lnTo>
                  <a:lnTo>
                    <a:pt x="215839" y="101265"/>
                  </a:lnTo>
                  <a:lnTo>
                    <a:pt x="224594" y="102500"/>
                  </a:lnTo>
                  <a:lnTo>
                    <a:pt x="236861" y="98219"/>
                  </a:lnTo>
                  <a:lnTo>
                    <a:pt x="246685" y="99399"/>
                  </a:lnTo>
                  <a:lnTo>
                    <a:pt x="253875" y="103076"/>
                  </a:lnTo>
                  <a:lnTo>
                    <a:pt x="259226" y="101429"/>
                  </a:lnTo>
                  <a:lnTo>
                    <a:pt x="269024" y="103241"/>
                  </a:lnTo>
                  <a:lnTo>
                    <a:pt x="276817" y="109223"/>
                  </a:lnTo>
                  <a:lnTo>
                    <a:pt x="281263" y="109552"/>
                  </a:lnTo>
                  <a:lnTo>
                    <a:pt x="289386" y="102116"/>
                  </a:lnTo>
                  <a:lnTo>
                    <a:pt x="297509" y="99755"/>
                  </a:lnTo>
                  <a:lnTo>
                    <a:pt x="306923" y="87571"/>
                  </a:lnTo>
                  <a:lnTo>
                    <a:pt x="308459" y="74782"/>
                  </a:lnTo>
                  <a:lnTo>
                    <a:pt x="301159" y="68059"/>
                  </a:lnTo>
                  <a:lnTo>
                    <a:pt x="299211" y="58865"/>
                  </a:lnTo>
                  <a:lnTo>
                    <a:pt x="296109" y="53487"/>
                  </a:lnTo>
                  <a:lnTo>
                    <a:pt x="298442" y="39875"/>
                  </a:lnTo>
                  <a:lnTo>
                    <a:pt x="301324" y="33728"/>
                  </a:lnTo>
                  <a:lnTo>
                    <a:pt x="306593" y="30023"/>
                  </a:lnTo>
                  <a:lnTo>
                    <a:pt x="310737" y="19155"/>
                  </a:lnTo>
                  <a:lnTo>
                    <a:pt x="320836" y="13118"/>
                  </a:lnTo>
                  <a:lnTo>
                    <a:pt x="327889" y="0"/>
                  </a:lnTo>
                  <a:lnTo>
                    <a:pt x="358131" y="16850"/>
                  </a:lnTo>
                  <a:lnTo>
                    <a:pt x="375283" y="18469"/>
                  </a:lnTo>
                  <a:lnTo>
                    <a:pt x="398088" y="30133"/>
                  </a:lnTo>
                  <a:lnTo>
                    <a:pt x="420207" y="35456"/>
                  </a:lnTo>
                  <a:lnTo>
                    <a:pt x="423198" y="39573"/>
                  </a:lnTo>
                  <a:lnTo>
                    <a:pt x="424570" y="58371"/>
                  </a:lnTo>
                  <a:lnTo>
                    <a:pt x="427726" y="71681"/>
                  </a:lnTo>
                  <a:lnTo>
                    <a:pt x="444329" y="84223"/>
                  </a:lnTo>
                  <a:lnTo>
                    <a:pt x="466668" y="92209"/>
                  </a:lnTo>
                  <a:lnTo>
                    <a:pt x="479374" y="91495"/>
                  </a:lnTo>
                  <a:lnTo>
                    <a:pt x="489171" y="85540"/>
                  </a:lnTo>
                  <a:lnTo>
                    <a:pt x="516559" y="77801"/>
                  </a:lnTo>
                  <a:lnTo>
                    <a:pt x="534397" y="80353"/>
                  </a:lnTo>
                  <a:lnTo>
                    <a:pt x="543344" y="85183"/>
                  </a:lnTo>
                  <a:lnTo>
                    <a:pt x="555583" y="84525"/>
                  </a:lnTo>
                  <a:lnTo>
                    <a:pt x="562746" y="88806"/>
                  </a:lnTo>
                  <a:lnTo>
                    <a:pt x="570265" y="98465"/>
                  </a:lnTo>
                  <a:lnTo>
                    <a:pt x="591972" y="103652"/>
                  </a:lnTo>
                  <a:lnTo>
                    <a:pt x="595375" y="116496"/>
                  </a:lnTo>
                  <a:lnTo>
                    <a:pt x="610826" y="129064"/>
                  </a:lnTo>
                  <a:lnTo>
                    <a:pt x="629487" y="128927"/>
                  </a:lnTo>
                  <a:lnTo>
                    <a:pt x="641891" y="134580"/>
                  </a:lnTo>
                  <a:lnTo>
                    <a:pt x="658028" y="136831"/>
                  </a:lnTo>
                  <a:lnTo>
                    <a:pt x="665437" y="134306"/>
                  </a:lnTo>
                  <a:lnTo>
                    <a:pt x="675646" y="137545"/>
                  </a:lnTo>
                  <a:lnTo>
                    <a:pt x="694060" y="128571"/>
                  </a:lnTo>
                  <a:lnTo>
                    <a:pt x="710883" y="126430"/>
                  </a:lnTo>
                  <a:lnTo>
                    <a:pt x="726251" y="120667"/>
                  </a:lnTo>
                  <a:lnTo>
                    <a:pt x="735966" y="121133"/>
                  </a:lnTo>
                  <a:lnTo>
                    <a:pt x="742799" y="117044"/>
                  </a:lnTo>
                  <a:lnTo>
                    <a:pt x="748205" y="107275"/>
                  </a:lnTo>
                  <a:lnTo>
                    <a:pt x="757536" y="99646"/>
                  </a:lnTo>
                  <a:lnTo>
                    <a:pt x="777954" y="88010"/>
                  </a:lnTo>
                  <a:lnTo>
                    <a:pt x="798234" y="90782"/>
                  </a:lnTo>
                  <a:lnTo>
                    <a:pt x="812092" y="103350"/>
                  </a:lnTo>
                  <a:lnTo>
                    <a:pt x="822603" y="103872"/>
                  </a:lnTo>
                  <a:lnTo>
                    <a:pt x="835831" y="98630"/>
                  </a:lnTo>
                  <a:lnTo>
                    <a:pt x="846122" y="102143"/>
                  </a:lnTo>
                  <a:lnTo>
                    <a:pt x="850595" y="1063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 name="Freeform: Shape 3290">
              <a:extLst>
                <a:ext uri="{FF2B5EF4-FFF2-40B4-BE49-F238E27FC236}">
                  <a16:creationId xmlns:a16="http://schemas.microsoft.com/office/drawing/2014/main" id="{27177818-15D7-6E8D-DCD7-EEB5611E5D96}"/>
                </a:ext>
              </a:extLst>
            </p:cNvPr>
            <p:cNvSpPr/>
            <p:nvPr/>
          </p:nvSpPr>
          <p:spPr>
            <a:xfrm>
              <a:off x="1447953" y="3452495"/>
              <a:ext cx="467176" cy="252099"/>
            </a:xfrm>
            <a:custGeom>
              <a:avLst/>
              <a:gdLst>
                <a:gd name="connsiteX0" fmla="*/ 2283887 w 4488985"/>
                <a:gd name="connsiteY0" fmla="*/ 81286 h 2422364"/>
                <a:gd name="connsiteX1" fmla="*/ 2314843 w 4488985"/>
                <a:gd name="connsiteY1" fmla="*/ 93635 h 2422364"/>
                <a:gd name="connsiteX2" fmla="*/ 2337702 w 4488985"/>
                <a:gd name="connsiteY2" fmla="*/ 91714 h 2422364"/>
                <a:gd name="connsiteX3" fmla="*/ 2348927 w 4488985"/>
                <a:gd name="connsiteY3" fmla="*/ 104640 h 2422364"/>
                <a:gd name="connsiteX4" fmla="*/ 2347170 w 4488985"/>
                <a:gd name="connsiteY4" fmla="*/ 120749 h 2422364"/>
                <a:gd name="connsiteX5" fmla="*/ 2336001 w 4488985"/>
                <a:gd name="connsiteY5" fmla="*/ 145036 h 2422364"/>
                <a:gd name="connsiteX6" fmla="*/ 2336961 w 4488985"/>
                <a:gd name="connsiteY6" fmla="*/ 157715 h 2422364"/>
                <a:gd name="connsiteX7" fmla="*/ 2363993 w 4488985"/>
                <a:gd name="connsiteY7" fmla="*/ 153708 h 2422364"/>
                <a:gd name="connsiteX8" fmla="*/ 2382132 w 4488985"/>
                <a:gd name="connsiteY8" fmla="*/ 130272 h 2422364"/>
                <a:gd name="connsiteX9" fmla="*/ 2464571 w 4488985"/>
                <a:gd name="connsiteY9" fmla="*/ 128680 h 2422364"/>
                <a:gd name="connsiteX10" fmla="*/ 2502086 w 4488985"/>
                <a:gd name="connsiteY10" fmla="*/ 151650 h 2422364"/>
                <a:gd name="connsiteX11" fmla="*/ 2514572 w 4488985"/>
                <a:gd name="connsiteY11" fmla="*/ 198715 h 2422364"/>
                <a:gd name="connsiteX12" fmla="*/ 2528376 w 4488985"/>
                <a:gd name="connsiteY12" fmla="*/ 201322 h 2422364"/>
                <a:gd name="connsiteX13" fmla="*/ 2541110 w 4488985"/>
                <a:gd name="connsiteY13" fmla="*/ 240401 h 2422364"/>
                <a:gd name="connsiteX14" fmla="*/ 2535676 w 4488985"/>
                <a:gd name="connsiteY14" fmla="*/ 299842 h 2422364"/>
                <a:gd name="connsiteX15" fmla="*/ 2515753 w 4488985"/>
                <a:gd name="connsiteY15" fmla="*/ 337000 h 2422364"/>
                <a:gd name="connsiteX16" fmla="*/ 2435783 w 4488985"/>
                <a:gd name="connsiteY16" fmla="*/ 407226 h 2422364"/>
                <a:gd name="connsiteX17" fmla="*/ 2421678 w 4488985"/>
                <a:gd name="connsiteY17" fmla="*/ 430690 h 2422364"/>
                <a:gd name="connsiteX18" fmla="*/ 2400876 w 4488985"/>
                <a:gd name="connsiteY18" fmla="*/ 450120 h 2422364"/>
                <a:gd name="connsiteX19" fmla="*/ 2378373 w 4488985"/>
                <a:gd name="connsiteY19" fmla="*/ 479539 h 2422364"/>
                <a:gd name="connsiteX20" fmla="*/ 2345469 w 4488985"/>
                <a:gd name="connsiteY20" fmla="*/ 491092 h 2422364"/>
                <a:gd name="connsiteX21" fmla="*/ 2334766 w 4488985"/>
                <a:gd name="connsiteY21" fmla="*/ 516367 h 2422364"/>
                <a:gd name="connsiteX22" fmla="*/ 2315858 w 4488985"/>
                <a:gd name="connsiteY22" fmla="*/ 535166 h 2422364"/>
                <a:gd name="connsiteX23" fmla="*/ 2312098 w 4488985"/>
                <a:gd name="connsiteY23" fmla="*/ 547240 h 2422364"/>
                <a:gd name="connsiteX24" fmla="*/ 2312812 w 4488985"/>
                <a:gd name="connsiteY24" fmla="*/ 555034 h 2422364"/>
                <a:gd name="connsiteX25" fmla="*/ 2327110 w 4488985"/>
                <a:gd name="connsiteY25" fmla="*/ 537581 h 2422364"/>
                <a:gd name="connsiteX26" fmla="*/ 2374284 w 4488985"/>
                <a:gd name="connsiteY26" fmla="*/ 533080 h 2422364"/>
                <a:gd name="connsiteX27" fmla="*/ 2389652 w 4488985"/>
                <a:gd name="connsiteY27" fmla="*/ 520237 h 2422364"/>
                <a:gd name="connsiteX28" fmla="*/ 2424971 w 4488985"/>
                <a:gd name="connsiteY28" fmla="*/ 505445 h 2422364"/>
                <a:gd name="connsiteX29" fmla="*/ 2446130 w 4488985"/>
                <a:gd name="connsiteY29" fmla="*/ 481322 h 2422364"/>
                <a:gd name="connsiteX30" fmla="*/ 2444319 w 4488985"/>
                <a:gd name="connsiteY30" fmla="*/ 475532 h 2422364"/>
                <a:gd name="connsiteX31" fmla="*/ 2427523 w 4488985"/>
                <a:gd name="connsiteY31" fmla="*/ 480636 h 2422364"/>
                <a:gd name="connsiteX32" fmla="*/ 2424258 w 4488985"/>
                <a:gd name="connsiteY32" fmla="*/ 476575 h 2422364"/>
                <a:gd name="connsiteX33" fmla="*/ 2436524 w 4488985"/>
                <a:gd name="connsiteY33" fmla="*/ 451574 h 2422364"/>
                <a:gd name="connsiteX34" fmla="*/ 2465971 w 4488985"/>
                <a:gd name="connsiteY34" fmla="*/ 452205 h 2422364"/>
                <a:gd name="connsiteX35" fmla="*/ 2475768 w 4488985"/>
                <a:gd name="connsiteY35" fmla="*/ 468397 h 2422364"/>
                <a:gd name="connsiteX36" fmla="*/ 2497777 w 4488985"/>
                <a:gd name="connsiteY36" fmla="*/ 478660 h 2422364"/>
                <a:gd name="connsiteX37" fmla="*/ 2511444 w 4488985"/>
                <a:gd name="connsiteY37" fmla="*/ 475065 h 2422364"/>
                <a:gd name="connsiteX38" fmla="*/ 2518881 w 4488985"/>
                <a:gd name="connsiteY38" fmla="*/ 463622 h 2422364"/>
                <a:gd name="connsiteX39" fmla="*/ 2526428 w 4488985"/>
                <a:gd name="connsiteY39" fmla="*/ 478633 h 2422364"/>
                <a:gd name="connsiteX40" fmla="*/ 2529419 w 4488985"/>
                <a:gd name="connsiteY40" fmla="*/ 506844 h 2422364"/>
                <a:gd name="connsiteX41" fmla="*/ 2535374 w 4488985"/>
                <a:gd name="connsiteY41" fmla="*/ 517684 h 2422364"/>
                <a:gd name="connsiteX42" fmla="*/ 2542976 w 4488985"/>
                <a:gd name="connsiteY42" fmla="*/ 499023 h 2422364"/>
                <a:gd name="connsiteX43" fmla="*/ 2593471 w 4488985"/>
                <a:gd name="connsiteY43" fmla="*/ 481926 h 2422364"/>
                <a:gd name="connsiteX44" fmla="*/ 2677227 w 4488985"/>
                <a:gd name="connsiteY44" fmla="*/ 495126 h 2422364"/>
                <a:gd name="connsiteX45" fmla="*/ 2684719 w 4488985"/>
                <a:gd name="connsiteY45" fmla="*/ 505225 h 2422364"/>
                <a:gd name="connsiteX46" fmla="*/ 2680959 w 4488985"/>
                <a:gd name="connsiteY46" fmla="*/ 520785 h 2422364"/>
                <a:gd name="connsiteX47" fmla="*/ 2685241 w 4488985"/>
                <a:gd name="connsiteY47" fmla="*/ 532449 h 2422364"/>
                <a:gd name="connsiteX48" fmla="*/ 2707222 w 4488985"/>
                <a:gd name="connsiteY48" fmla="*/ 542163 h 2422364"/>
                <a:gd name="connsiteX49" fmla="*/ 2725115 w 4488985"/>
                <a:gd name="connsiteY49" fmla="*/ 538843 h 2422364"/>
                <a:gd name="connsiteX50" fmla="*/ 2739303 w 4488985"/>
                <a:gd name="connsiteY50" fmla="*/ 552729 h 2422364"/>
                <a:gd name="connsiteX51" fmla="*/ 2757910 w 4488985"/>
                <a:gd name="connsiteY51" fmla="*/ 558108 h 2422364"/>
                <a:gd name="connsiteX52" fmla="*/ 2792707 w 4488985"/>
                <a:gd name="connsiteY52" fmla="*/ 550616 h 2422364"/>
                <a:gd name="connsiteX53" fmla="*/ 2820452 w 4488985"/>
                <a:gd name="connsiteY53" fmla="*/ 554623 h 2422364"/>
                <a:gd name="connsiteX54" fmla="*/ 2828246 w 4488985"/>
                <a:gd name="connsiteY54" fmla="*/ 538376 h 2422364"/>
                <a:gd name="connsiteX55" fmla="*/ 2826022 w 4488985"/>
                <a:gd name="connsiteY55" fmla="*/ 510632 h 2422364"/>
                <a:gd name="connsiteX56" fmla="*/ 2829728 w 4488985"/>
                <a:gd name="connsiteY56" fmla="*/ 487964 h 2422364"/>
                <a:gd name="connsiteX57" fmla="*/ 2834805 w 4488985"/>
                <a:gd name="connsiteY57" fmla="*/ 480115 h 2422364"/>
                <a:gd name="connsiteX58" fmla="*/ 2840183 w 4488985"/>
                <a:gd name="connsiteY58" fmla="*/ 482063 h 2422364"/>
                <a:gd name="connsiteX59" fmla="*/ 2842132 w 4488985"/>
                <a:gd name="connsiteY59" fmla="*/ 475312 h 2422364"/>
                <a:gd name="connsiteX60" fmla="*/ 2845480 w 4488985"/>
                <a:gd name="connsiteY60" fmla="*/ 482036 h 2422364"/>
                <a:gd name="connsiteX61" fmla="*/ 2857939 w 4488985"/>
                <a:gd name="connsiteY61" fmla="*/ 475367 h 2422364"/>
                <a:gd name="connsiteX62" fmla="*/ 2883406 w 4488985"/>
                <a:gd name="connsiteY62" fmla="*/ 494550 h 2422364"/>
                <a:gd name="connsiteX63" fmla="*/ 2908379 w 4488985"/>
                <a:gd name="connsiteY63" fmla="*/ 500340 h 2422364"/>
                <a:gd name="connsiteX64" fmla="*/ 2918561 w 4488985"/>
                <a:gd name="connsiteY64" fmla="*/ 509424 h 2422364"/>
                <a:gd name="connsiteX65" fmla="*/ 2935987 w 4488985"/>
                <a:gd name="connsiteY65" fmla="*/ 501411 h 2422364"/>
                <a:gd name="connsiteX66" fmla="*/ 2953248 w 4488985"/>
                <a:gd name="connsiteY66" fmla="*/ 502975 h 2422364"/>
                <a:gd name="connsiteX67" fmla="*/ 2995675 w 4488985"/>
                <a:gd name="connsiteY67" fmla="*/ 547487 h 2422364"/>
                <a:gd name="connsiteX68" fmla="*/ 3000039 w 4488985"/>
                <a:gd name="connsiteY68" fmla="*/ 581654 h 2422364"/>
                <a:gd name="connsiteX69" fmla="*/ 2994523 w 4488985"/>
                <a:gd name="connsiteY69" fmla="*/ 599931 h 2422364"/>
                <a:gd name="connsiteX70" fmla="*/ 3000066 w 4488985"/>
                <a:gd name="connsiteY70" fmla="*/ 615107 h 2422364"/>
                <a:gd name="connsiteX71" fmla="*/ 3000450 w 4488985"/>
                <a:gd name="connsiteY71" fmla="*/ 628883 h 2422364"/>
                <a:gd name="connsiteX72" fmla="*/ 2986427 w 4488985"/>
                <a:gd name="connsiteY72" fmla="*/ 646365 h 2422364"/>
                <a:gd name="connsiteX73" fmla="*/ 2981844 w 4488985"/>
                <a:gd name="connsiteY73" fmla="*/ 667605 h 2422364"/>
                <a:gd name="connsiteX74" fmla="*/ 3011482 w 4488985"/>
                <a:gd name="connsiteY74" fmla="*/ 725702 h 2422364"/>
                <a:gd name="connsiteX75" fmla="*/ 3028964 w 4488985"/>
                <a:gd name="connsiteY75" fmla="*/ 748754 h 2422364"/>
                <a:gd name="connsiteX76" fmla="*/ 3048475 w 4488985"/>
                <a:gd name="connsiteY76" fmla="*/ 762942 h 2422364"/>
                <a:gd name="connsiteX77" fmla="*/ 3057532 w 4488985"/>
                <a:gd name="connsiteY77" fmla="*/ 761296 h 2422364"/>
                <a:gd name="connsiteX78" fmla="*/ 3066423 w 4488985"/>
                <a:gd name="connsiteY78" fmla="*/ 748452 h 2422364"/>
                <a:gd name="connsiteX79" fmla="*/ 3085688 w 4488985"/>
                <a:gd name="connsiteY79" fmla="*/ 686129 h 2422364"/>
                <a:gd name="connsiteX80" fmla="*/ 3097873 w 4488985"/>
                <a:gd name="connsiteY80" fmla="*/ 664614 h 2422364"/>
                <a:gd name="connsiteX81" fmla="*/ 3112857 w 4488985"/>
                <a:gd name="connsiteY81" fmla="*/ 687447 h 2422364"/>
                <a:gd name="connsiteX82" fmla="*/ 3136814 w 4488985"/>
                <a:gd name="connsiteY82" fmla="*/ 705367 h 2422364"/>
                <a:gd name="connsiteX83" fmla="*/ 3158275 w 4488985"/>
                <a:gd name="connsiteY83" fmla="*/ 704489 h 2422364"/>
                <a:gd name="connsiteX84" fmla="*/ 3180394 w 4488985"/>
                <a:gd name="connsiteY84" fmla="*/ 693621 h 2422364"/>
                <a:gd name="connsiteX85" fmla="*/ 3190301 w 4488985"/>
                <a:gd name="connsiteY85" fmla="*/ 688654 h 2422364"/>
                <a:gd name="connsiteX86" fmla="*/ 3199055 w 4488985"/>
                <a:gd name="connsiteY86" fmla="*/ 691069 h 2422364"/>
                <a:gd name="connsiteX87" fmla="*/ 3223946 w 4488985"/>
                <a:gd name="connsiteY87" fmla="*/ 699329 h 2422364"/>
                <a:gd name="connsiteX88" fmla="*/ 3232371 w 4488985"/>
                <a:gd name="connsiteY88" fmla="*/ 692661 h 2422364"/>
                <a:gd name="connsiteX89" fmla="*/ 3246778 w 4488985"/>
                <a:gd name="connsiteY89" fmla="*/ 692386 h 2422364"/>
                <a:gd name="connsiteX90" fmla="*/ 3248864 w 4488985"/>
                <a:gd name="connsiteY90" fmla="*/ 698945 h 2422364"/>
                <a:gd name="connsiteX91" fmla="*/ 3239863 w 4488985"/>
                <a:gd name="connsiteY91" fmla="*/ 702650 h 2422364"/>
                <a:gd name="connsiteX92" fmla="*/ 3237832 w 4488985"/>
                <a:gd name="connsiteY92" fmla="*/ 707974 h 2422364"/>
                <a:gd name="connsiteX93" fmla="*/ 3243156 w 4488985"/>
                <a:gd name="connsiteY93" fmla="*/ 718046 h 2422364"/>
                <a:gd name="connsiteX94" fmla="*/ 3251883 w 4488985"/>
                <a:gd name="connsiteY94" fmla="*/ 721311 h 2422364"/>
                <a:gd name="connsiteX95" fmla="*/ 3255588 w 4488985"/>
                <a:gd name="connsiteY95" fmla="*/ 717963 h 2422364"/>
                <a:gd name="connsiteX96" fmla="*/ 3258140 w 4488985"/>
                <a:gd name="connsiteY96" fmla="*/ 698012 h 2422364"/>
                <a:gd name="connsiteX97" fmla="*/ 3274551 w 4488985"/>
                <a:gd name="connsiteY97" fmla="*/ 684126 h 2422364"/>
                <a:gd name="connsiteX98" fmla="*/ 3292361 w 4488985"/>
                <a:gd name="connsiteY98" fmla="*/ 702101 h 2422364"/>
                <a:gd name="connsiteX99" fmla="*/ 3306357 w 4488985"/>
                <a:gd name="connsiteY99" fmla="*/ 699384 h 2422364"/>
                <a:gd name="connsiteX100" fmla="*/ 3309046 w 4488985"/>
                <a:gd name="connsiteY100" fmla="*/ 691398 h 2422364"/>
                <a:gd name="connsiteX101" fmla="*/ 3306165 w 4488985"/>
                <a:gd name="connsiteY101" fmla="*/ 659784 h 2422364"/>
                <a:gd name="connsiteX102" fmla="*/ 3309211 w 4488985"/>
                <a:gd name="connsiteY102" fmla="*/ 636705 h 2422364"/>
                <a:gd name="connsiteX103" fmla="*/ 3293404 w 4488985"/>
                <a:gd name="connsiteY103" fmla="*/ 632835 h 2422364"/>
                <a:gd name="connsiteX104" fmla="*/ 3291566 w 4488985"/>
                <a:gd name="connsiteY104" fmla="*/ 629103 h 2422364"/>
                <a:gd name="connsiteX105" fmla="*/ 3291949 w 4488985"/>
                <a:gd name="connsiteY105" fmla="*/ 623285 h 2422364"/>
                <a:gd name="connsiteX106" fmla="*/ 3304711 w 4488985"/>
                <a:gd name="connsiteY106" fmla="*/ 604843 h 2422364"/>
                <a:gd name="connsiteX107" fmla="*/ 3339811 w 4488985"/>
                <a:gd name="connsiteY107" fmla="*/ 598229 h 2422364"/>
                <a:gd name="connsiteX108" fmla="*/ 3343515 w 4488985"/>
                <a:gd name="connsiteY108" fmla="*/ 588240 h 2422364"/>
                <a:gd name="connsiteX109" fmla="*/ 3341539 w 4488985"/>
                <a:gd name="connsiteY109" fmla="*/ 570814 h 2422364"/>
                <a:gd name="connsiteX110" fmla="*/ 3348153 w 4488985"/>
                <a:gd name="connsiteY110" fmla="*/ 568207 h 2422364"/>
                <a:gd name="connsiteX111" fmla="*/ 3369064 w 4488985"/>
                <a:gd name="connsiteY111" fmla="*/ 578333 h 2422364"/>
                <a:gd name="connsiteX112" fmla="*/ 3466871 w 4488985"/>
                <a:gd name="connsiteY112" fmla="*/ 595485 h 2422364"/>
                <a:gd name="connsiteX113" fmla="*/ 3520934 w 4488985"/>
                <a:gd name="connsiteY113" fmla="*/ 620403 h 2422364"/>
                <a:gd name="connsiteX114" fmla="*/ 3558970 w 4488985"/>
                <a:gd name="connsiteY114" fmla="*/ 620458 h 2422364"/>
                <a:gd name="connsiteX115" fmla="*/ 3582434 w 4488985"/>
                <a:gd name="connsiteY115" fmla="*/ 629487 h 2422364"/>
                <a:gd name="connsiteX116" fmla="*/ 3598817 w 4488985"/>
                <a:gd name="connsiteY116" fmla="*/ 642907 h 2422364"/>
                <a:gd name="connsiteX117" fmla="*/ 3605952 w 4488985"/>
                <a:gd name="connsiteY117" fmla="*/ 660223 h 2422364"/>
                <a:gd name="connsiteX118" fmla="*/ 3598213 w 4488985"/>
                <a:gd name="connsiteY118" fmla="*/ 670158 h 2422364"/>
                <a:gd name="connsiteX119" fmla="*/ 3586742 w 4488985"/>
                <a:gd name="connsiteY119" fmla="*/ 667331 h 2422364"/>
                <a:gd name="connsiteX120" fmla="*/ 3584162 w 4488985"/>
                <a:gd name="connsiteY120" fmla="*/ 671804 h 2422364"/>
                <a:gd name="connsiteX121" fmla="*/ 3584684 w 4488985"/>
                <a:gd name="connsiteY121" fmla="*/ 677101 h 2422364"/>
                <a:gd name="connsiteX122" fmla="*/ 3605239 w 4488985"/>
                <a:gd name="connsiteY122" fmla="*/ 683687 h 2422364"/>
                <a:gd name="connsiteX123" fmla="*/ 3630569 w 4488985"/>
                <a:gd name="connsiteY123" fmla="*/ 706849 h 2422364"/>
                <a:gd name="connsiteX124" fmla="*/ 3649449 w 4488985"/>
                <a:gd name="connsiteY124" fmla="*/ 713737 h 2422364"/>
                <a:gd name="connsiteX125" fmla="*/ 3669565 w 4488985"/>
                <a:gd name="connsiteY125" fmla="*/ 748809 h 2422364"/>
                <a:gd name="connsiteX126" fmla="*/ 3680817 w 4488985"/>
                <a:gd name="connsiteY126" fmla="*/ 757097 h 2422364"/>
                <a:gd name="connsiteX127" fmla="*/ 3718139 w 4488985"/>
                <a:gd name="connsiteY127" fmla="*/ 754270 h 2422364"/>
                <a:gd name="connsiteX128" fmla="*/ 3778130 w 4488985"/>
                <a:gd name="connsiteY128" fmla="*/ 737036 h 2422364"/>
                <a:gd name="connsiteX129" fmla="*/ 3805243 w 4488985"/>
                <a:gd name="connsiteY129" fmla="*/ 735444 h 2422364"/>
                <a:gd name="connsiteX130" fmla="*/ 3842840 w 4488985"/>
                <a:gd name="connsiteY130" fmla="*/ 742470 h 2422364"/>
                <a:gd name="connsiteX131" fmla="*/ 3867923 w 4488985"/>
                <a:gd name="connsiteY131" fmla="*/ 754435 h 2422364"/>
                <a:gd name="connsiteX132" fmla="*/ 3892045 w 4488985"/>
                <a:gd name="connsiteY132" fmla="*/ 777844 h 2422364"/>
                <a:gd name="connsiteX133" fmla="*/ 3899482 w 4488985"/>
                <a:gd name="connsiteY133" fmla="*/ 793486 h 2422364"/>
                <a:gd name="connsiteX134" fmla="*/ 3901568 w 4488985"/>
                <a:gd name="connsiteY134" fmla="*/ 812504 h 2422364"/>
                <a:gd name="connsiteX135" fmla="*/ 3897808 w 4488985"/>
                <a:gd name="connsiteY135" fmla="*/ 846863 h 2422364"/>
                <a:gd name="connsiteX136" fmla="*/ 3926102 w 4488985"/>
                <a:gd name="connsiteY136" fmla="*/ 865552 h 2422364"/>
                <a:gd name="connsiteX137" fmla="*/ 3933182 w 4488985"/>
                <a:gd name="connsiteY137" fmla="*/ 881743 h 2422364"/>
                <a:gd name="connsiteX138" fmla="*/ 3943665 w 4488985"/>
                <a:gd name="connsiteY138" fmla="*/ 869476 h 2422364"/>
                <a:gd name="connsiteX139" fmla="*/ 3953161 w 4488985"/>
                <a:gd name="connsiteY139" fmla="*/ 874937 h 2422364"/>
                <a:gd name="connsiteX140" fmla="*/ 3973002 w 4488985"/>
                <a:gd name="connsiteY140" fmla="*/ 861545 h 2422364"/>
                <a:gd name="connsiteX141" fmla="*/ 4018036 w 4488985"/>
                <a:gd name="connsiteY141" fmla="*/ 854767 h 2422364"/>
                <a:gd name="connsiteX142" fmla="*/ 4044354 w 4488985"/>
                <a:gd name="connsiteY142" fmla="*/ 868241 h 2422364"/>
                <a:gd name="connsiteX143" fmla="*/ 4102780 w 4488985"/>
                <a:gd name="connsiteY143" fmla="*/ 874004 h 2422364"/>
                <a:gd name="connsiteX144" fmla="*/ 4125366 w 4488985"/>
                <a:gd name="connsiteY144" fmla="*/ 854574 h 2422364"/>
                <a:gd name="connsiteX145" fmla="*/ 4136672 w 4488985"/>
                <a:gd name="connsiteY145" fmla="*/ 838136 h 2422364"/>
                <a:gd name="connsiteX146" fmla="*/ 4148445 w 4488985"/>
                <a:gd name="connsiteY146" fmla="*/ 832785 h 2422364"/>
                <a:gd name="connsiteX147" fmla="*/ 4170783 w 4488985"/>
                <a:gd name="connsiteY147" fmla="*/ 840963 h 2422364"/>
                <a:gd name="connsiteX148" fmla="*/ 4175422 w 4488985"/>
                <a:gd name="connsiteY148" fmla="*/ 850403 h 2422364"/>
                <a:gd name="connsiteX149" fmla="*/ 4172568 w 4488985"/>
                <a:gd name="connsiteY149" fmla="*/ 861902 h 2422364"/>
                <a:gd name="connsiteX150" fmla="*/ 4167710 w 4488985"/>
                <a:gd name="connsiteY150" fmla="*/ 866759 h 2422364"/>
                <a:gd name="connsiteX151" fmla="*/ 4139416 w 4488985"/>
                <a:gd name="connsiteY151" fmla="*/ 858718 h 2422364"/>
                <a:gd name="connsiteX152" fmla="*/ 4146003 w 4488985"/>
                <a:gd name="connsiteY152" fmla="*/ 891897 h 2422364"/>
                <a:gd name="connsiteX153" fmla="*/ 4172951 w 4488985"/>
                <a:gd name="connsiteY153" fmla="*/ 909460 h 2422364"/>
                <a:gd name="connsiteX154" fmla="*/ 4184725 w 4488985"/>
                <a:gd name="connsiteY154" fmla="*/ 931085 h 2422364"/>
                <a:gd name="connsiteX155" fmla="*/ 4199462 w 4488985"/>
                <a:gd name="connsiteY155" fmla="*/ 931085 h 2422364"/>
                <a:gd name="connsiteX156" fmla="*/ 4222624 w 4488985"/>
                <a:gd name="connsiteY156" fmla="*/ 908225 h 2422364"/>
                <a:gd name="connsiteX157" fmla="*/ 4215845 w 4488985"/>
                <a:gd name="connsiteY157" fmla="*/ 875733 h 2422364"/>
                <a:gd name="connsiteX158" fmla="*/ 4206213 w 4488985"/>
                <a:gd name="connsiteY158" fmla="*/ 862752 h 2422364"/>
                <a:gd name="connsiteX159" fmla="*/ 4210878 w 4488985"/>
                <a:gd name="connsiteY159" fmla="*/ 849196 h 2422364"/>
                <a:gd name="connsiteX160" fmla="*/ 4213815 w 4488985"/>
                <a:gd name="connsiteY160" fmla="*/ 828888 h 2422364"/>
                <a:gd name="connsiteX161" fmla="*/ 4218480 w 4488985"/>
                <a:gd name="connsiteY161" fmla="*/ 823481 h 2422364"/>
                <a:gd name="connsiteX162" fmla="*/ 4310139 w 4488985"/>
                <a:gd name="connsiteY162" fmla="*/ 845710 h 2422364"/>
                <a:gd name="connsiteX163" fmla="*/ 4373533 w 4488985"/>
                <a:gd name="connsiteY163" fmla="*/ 844036 h 2422364"/>
                <a:gd name="connsiteX164" fmla="*/ 4400207 w 4488985"/>
                <a:gd name="connsiteY164" fmla="*/ 862615 h 2422364"/>
                <a:gd name="connsiteX165" fmla="*/ 4454297 w 4488985"/>
                <a:gd name="connsiteY165" fmla="*/ 884185 h 2422364"/>
                <a:gd name="connsiteX166" fmla="*/ 4472574 w 4488985"/>
                <a:gd name="connsiteY166" fmla="*/ 898867 h 2422364"/>
                <a:gd name="connsiteX167" fmla="*/ 4487174 w 4488985"/>
                <a:gd name="connsiteY167" fmla="*/ 926036 h 2422364"/>
                <a:gd name="connsiteX168" fmla="*/ 4488985 w 4488985"/>
                <a:gd name="connsiteY168" fmla="*/ 1039403 h 2422364"/>
                <a:gd name="connsiteX169" fmla="*/ 4486570 w 4488985"/>
                <a:gd name="connsiteY169" fmla="*/ 1212184 h 2422364"/>
                <a:gd name="connsiteX170" fmla="*/ 4473754 w 4488985"/>
                <a:gd name="connsiteY170" fmla="*/ 1230214 h 2422364"/>
                <a:gd name="connsiteX171" fmla="*/ 4454160 w 4488985"/>
                <a:gd name="connsiteY171" fmla="*/ 1240148 h 2422364"/>
                <a:gd name="connsiteX172" fmla="*/ 4424961 w 4488985"/>
                <a:gd name="connsiteY172" fmla="*/ 1237761 h 2422364"/>
                <a:gd name="connsiteX173" fmla="*/ 4412611 w 4488985"/>
                <a:gd name="connsiteY173" fmla="*/ 1226646 h 2422364"/>
                <a:gd name="connsiteX174" fmla="*/ 4403775 w 4488985"/>
                <a:gd name="connsiteY174" fmla="*/ 1231586 h 2422364"/>
                <a:gd name="connsiteX175" fmla="*/ 4383439 w 4488985"/>
                <a:gd name="connsiteY175" fmla="*/ 1234687 h 2422364"/>
                <a:gd name="connsiteX176" fmla="*/ 4385909 w 4488985"/>
                <a:gd name="connsiteY176" fmla="*/ 1241164 h 2422364"/>
                <a:gd name="connsiteX177" fmla="*/ 4392688 w 4488985"/>
                <a:gd name="connsiteY177" fmla="*/ 1244841 h 2422364"/>
                <a:gd name="connsiteX178" fmla="*/ 4412419 w 4488985"/>
                <a:gd name="connsiteY178" fmla="*/ 1238694 h 2422364"/>
                <a:gd name="connsiteX179" fmla="*/ 4416563 w 4488985"/>
                <a:gd name="connsiteY179" fmla="*/ 1254254 h 2422364"/>
                <a:gd name="connsiteX180" fmla="*/ 4422545 w 4488985"/>
                <a:gd name="connsiteY180" fmla="*/ 1264024 h 2422364"/>
                <a:gd name="connsiteX181" fmla="*/ 4431684 w 4488985"/>
                <a:gd name="connsiteY181" fmla="*/ 1269979 h 2422364"/>
                <a:gd name="connsiteX182" fmla="*/ 4442414 w 4488985"/>
                <a:gd name="connsiteY182" fmla="*/ 1271351 h 2422364"/>
                <a:gd name="connsiteX183" fmla="*/ 4449467 w 4488985"/>
                <a:gd name="connsiteY183" fmla="*/ 1287871 h 2422364"/>
                <a:gd name="connsiteX184" fmla="*/ 4450565 w 4488985"/>
                <a:gd name="connsiteY184" fmla="*/ 1292701 h 2422364"/>
                <a:gd name="connsiteX185" fmla="*/ 4457151 w 4488985"/>
                <a:gd name="connsiteY185" fmla="*/ 1321764 h 2422364"/>
                <a:gd name="connsiteX186" fmla="*/ 4461405 w 4488985"/>
                <a:gd name="connsiteY186" fmla="*/ 1329722 h 2422364"/>
                <a:gd name="connsiteX187" fmla="*/ 4465576 w 4488985"/>
                <a:gd name="connsiteY187" fmla="*/ 1336336 h 2422364"/>
                <a:gd name="connsiteX188" fmla="*/ 4469912 w 4488985"/>
                <a:gd name="connsiteY188" fmla="*/ 1343142 h 2422364"/>
                <a:gd name="connsiteX189" fmla="*/ 4469912 w 4488985"/>
                <a:gd name="connsiteY189" fmla="*/ 1353954 h 2422364"/>
                <a:gd name="connsiteX190" fmla="*/ 4476224 w 4488985"/>
                <a:gd name="connsiteY190" fmla="*/ 1368856 h 2422364"/>
                <a:gd name="connsiteX191" fmla="*/ 4472876 w 4488985"/>
                <a:gd name="connsiteY191" fmla="*/ 1380107 h 2422364"/>
                <a:gd name="connsiteX192" fmla="*/ 4462475 w 4488985"/>
                <a:gd name="connsiteY192" fmla="*/ 1394213 h 2422364"/>
                <a:gd name="connsiteX193" fmla="*/ 4431547 w 4488985"/>
                <a:gd name="connsiteY193" fmla="*/ 1382550 h 2422364"/>
                <a:gd name="connsiteX194" fmla="*/ 4404433 w 4488985"/>
                <a:gd name="connsiteY194" fmla="*/ 1382193 h 2422364"/>
                <a:gd name="connsiteX195" fmla="*/ 4362308 w 4488985"/>
                <a:gd name="connsiteY195" fmla="*/ 1403900 h 2422364"/>
                <a:gd name="connsiteX196" fmla="*/ 4333137 w 4488985"/>
                <a:gd name="connsiteY196" fmla="*/ 1423906 h 2422364"/>
                <a:gd name="connsiteX197" fmla="*/ 4317027 w 4488985"/>
                <a:gd name="connsiteY197" fmla="*/ 1426788 h 2422364"/>
                <a:gd name="connsiteX198" fmla="*/ 4307971 w 4488985"/>
                <a:gd name="connsiteY198" fmla="*/ 1434609 h 2422364"/>
                <a:gd name="connsiteX199" fmla="*/ 4300726 w 4488985"/>
                <a:gd name="connsiteY199" fmla="*/ 1434445 h 2422364"/>
                <a:gd name="connsiteX200" fmla="*/ 4290710 w 4488985"/>
                <a:gd name="connsiteY200" fmla="*/ 1449072 h 2422364"/>
                <a:gd name="connsiteX201" fmla="*/ 4279458 w 4488985"/>
                <a:gd name="connsiteY201" fmla="*/ 1451541 h 2422364"/>
                <a:gd name="connsiteX202" fmla="*/ 4278168 w 4488985"/>
                <a:gd name="connsiteY202" fmla="*/ 1460570 h 2422364"/>
                <a:gd name="connsiteX203" fmla="*/ 4267081 w 4488985"/>
                <a:gd name="connsiteY203" fmla="*/ 1465620 h 2422364"/>
                <a:gd name="connsiteX204" fmla="*/ 4264858 w 4488985"/>
                <a:gd name="connsiteY204" fmla="*/ 1473276 h 2422364"/>
                <a:gd name="connsiteX205" fmla="*/ 4260028 w 4488985"/>
                <a:gd name="connsiteY205" fmla="*/ 1475938 h 2422364"/>
                <a:gd name="connsiteX206" fmla="*/ 4255583 w 4488985"/>
                <a:gd name="connsiteY206" fmla="*/ 1483759 h 2422364"/>
                <a:gd name="connsiteX207" fmla="*/ 4245648 w 4488985"/>
                <a:gd name="connsiteY207" fmla="*/ 1488096 h 2422364"/>
                <a:gd name="connsiteX208" fmla="*/ 4216805 w 4488985"/>
                <a:gd name="connsiteY208" fmla="*/ 1512547 h 2422364"/>
                <a:gd name="connsiteX209" fmla="*/ 4204923 w 4488985"/>
                <a:gd name="connsiteY209" fmla="*/ 1537685 h 2422364"/>
                <a:gd name="connsiteX210" fmla="*/ 4195071 w 4488985"/>
                <a:gd name="connsiteY210" fmla="*/ 1531702 h 2422364"/>
                <a:gd name="connsiteX211" fmla="*/ 4182090 w 4488985"/>
                <a:gd name="connsiteY211" fmla="*/ 1510407 h 2422364"/>
                <a:gd name="connsiteX212" fmla="*/ 4168039 w 4488985"/>
                <a:gd name="connsiteY212" fmla="*/ 1503656 h 2422364"/>
                <a:gd name="connsiteX213" fmla="*/ 4147979 w 4488985"/>
                <a:gd name="connsiteY213" fmla="*/ 1501625 h 2422364"/>
                <a:gd name="connsiteX214" fmla="*/ 4110272 w 4488985"/>
                <a:gd name="connsiteY214" fmla="*/ 1515758 h 2422364"/>
                <a:gd name="connsiteX215" fmla="*/ 4085079 w 4488985"/>
                <a:gd name="connsiteY215" fmla="*/ 1544738 h 2422364"/>
                <a:gd name="connsiteX216" fmla="*/ 4082198 w 4488985"/>
                <a:gd name="connsiteY216" fmla="*/ 1541774 h 2422364"/>
                <a:gd name="connsiteX217" fmla="*/ 4086232 w 4488985"/>
                <a:gd name="connsiteY217" fmla="*/ 1516554 h 2422364"/>
                <a:gd name="connsiteX218" fmla="*/ 4084695 w 4488985"/>
                <a:gd name="connsiteY218" fmla="*/ 1510901 h 2422364"/>
                <a:gd name="connsiteX219" fmla="*/ 4056786 w 4488985"/>
                <a:gd name="connsiteY219" fmla="*/ 1529699 h 2422364"/>
                <a:gd name="connsiteX220" fmla="*/ 4047372 w 4488985"/>
                <a:gd name="connsiteY220" fmla="*/ 1545369 h 2422364"/>
                <a:gd name="connsiteX221" fmla="*/ 4031840 w 4488985"/>
                <a:gd name="connsiteY221" fmla="*/ 1532471 h 2422364"/>
                <a:gd name="connsiteX222" fmla="*/ 4015484 w 4488985"/>
                <a:gd name="connsiteY222" fmla="*/ 1537164 h 2422364"/>
                <a:gd name="connsiteX223" fmla="*/ 4004644 w 4488985"/>
                <a:gd name="connsiteY223" fmla="*/ 1545287 h 2422364"/>
                <a:gd name="connsiteX224" fmla="*/ 3997509 w 4488985"/>
                <a:gd name="connsiteY224" fmla="*/ 1562192 h 2422364"/>
                <a:gd name="connsiteX225" fmla="*/ 3997509 w 4488985"/>
                <a:gd name="connsiteY225" fmla="*/ 1575392 h 2422364"/>
                <a:gd name="connsiteX226" fmla="*/ 3992679 w 4488985"/>
                <a:gd name="connsiteY226" fmla="*/ 1585957 h 2422364"/>
                <a:gd name="connsiteX227" fmla="*/ 3989138 w 4488985"/>
                <a:gd name="connsiteY227" fmla="*/ 1588345 h 2422364"/>
                <a:gd name="connsiteX228" fmla="*/ 3987108 w 4488985"/>
                <a:gd name="connsiteY228" fmla="*/ 1598855 h 2422364"/>
                <a:gd name="connsiteX229" fmla="*/ 3969818 w 4488985"/>
                <a:gd name="connsiteY229" fmla="*/ 1619465 h 2422364"/>
                <a:gd name="connsiteX230" fmla="*/ 3964852 w 4488985"/>
                <a:gd name="connsiteY230" fmla="*/ 1629893 h 2422364"/>
                <a:gd name="connsiteX231" fmla="*/ 3961119 w 4488985"/>
                <a:gd name="connsiteY231" fmla="*/ 1646222 h 2422364"/>
                <a:gd name="connsiteX232" fmla="*/ 3963260 w 4488985"/>
                <a:gd name="connsiteY232" fmla="*/ 1656293 h 2422364"/>
                <a:gd name="connsiteX233" fmla="*/ 3967459 w 4488985"/>
                <a:gd name="connsiteY233" fmla="*/ 1660684 h 2422364"/>
                <a:gd name="connsiteX234" fmla="*/ 3972645 w 4488985"/>
                <a:gd name="connsiteY234" fmla="*/ 1661343 h 2422364"/>
                <a:gd name="connsiteX235" fmla="*/ 3980577 w 4488985"/>
                <a:gd name="connsiteY235" fmla="*/ 1655223 h 2422364"/>
                <a:gd name="connsiteX236" fmla="*/ 3995779 w 4488985"/>
                <a:gd name="connsiteY236" fmla="*/ 1665048 h 2422364"/>
                <a:gd name="connsiteX237" fmla="*/ 3992185 w 4488985"/>
                <a:gd name="connsiteY237" fmla="*/ 1677150 h 2422364"/>
                <a:gd name="connsiteX238" fmla="*/ 3984336 w 4488985"/>
                <a:gd name="connsiteY238" fmla="*/ 1688621 h 2422364"/>
                <a:gd name="connsiteX239" fmla="*/ 3983787 w 4488985"/>
                <a:gd name="connsiteY239" fmla="*/ 1709094 h 2422364"/>
                <a:gd name="connsiteX240" fmla="*/ 3987163 w 4488985"/>
                <a:gd name="connsiteY240" fmla="*/ 1719577 h 2422364"/>
                <a:gd name="connsiteX241" fmla="*/ 3996191 w 4488985"/>
                <a:gd name="connsiteY241" fmla="*/ 1723721 h 2422364"/>
                <a:gd name="connsiteX242" fmla="*/ 3997646 w 4488985"/>
                <a:gd name="connsiteY242" fmla="*/ 1748667 h 2422364"/>
                <a:gd name="connsiteX243" fmla="*/ 3990154 w 4488985"/>
                <a:gd name="connsiteY243" fmla="*/ 1755912 h 2422364"/>
                <a:gd name="connsiteX244" fmla="*/ 3976597 w 4488985"/>
                <a:gd name="connsiteY244" fmla="*/ 1748310 h 2422364"/>
                <a:gd name="connsiteX245" fmla="*/ 3963287 w 4488985"/>
                <a:gd name="connsiteY245" fmla="*/ 1755665 h 2422364"/>
                <a:gd name="connsiteX246" fmla="*/ 3954561 w 4488985"/>
                <a:gd name="connsiteY246" fmla="*/ 1775972 h 2422364"/>
                <a:gd name="connsiteX247" fmla="*/ 3952776 w 4488985"/>
                <a:gd name="connsiteY247" fmla="*/ 1787224 h 2422364"/>
                <a:gd name="connsiteX248" fmla="*/ 3955219 w 4488985"/>
                <a:gd name="connsiteY248" fmla="*/ 1803141 h 2422364"/>
                <a:gd name="connsiteX249" fmla="*/ 3961613 w 4488985"/>
                <a:gd name="connsiteY249" fmla="*/ 1816780 h 2422364"/>
                <a:gd name="connsiteX250" fmla="*/ 3960680 w 4488985"/>
                <a:gd name="connsiteY250" fmla="*/ 1824272 h 2422364"/>
                <a:gd name="connsiteX251" fmla="*/ 3948605 w 4488985"/>
                <a:gd name="connsiteY251" fmla="*/ 1835057 h 2422364"/>
                <a:gd name="connsiteX252" fmla="*/ 3925114 w 4488985"/>
                <a:gd name="connsiteY252" fmla="*/ 1834398 h 2422364"/>
                <a:gd name="connsiteX253" fmla="*/ 3904230 w 4488985"/>
                <a:gd name="connsiteY253" fmla="*/ 1851688 h 2422364"/>
                <a:gd name="connsiteX254" fmla="*/ 3900361 w 4488985"/>
                <a:gd name="connsiteY254" fmla="*/ 1858521 h 2422364"/>
                <a:gd name="connsiteX255" fmla="*/ 3897507 w 4488985"/>
                <a:gd name="connsiteY255" fmla="*/ 1870623 h 2422364"/>
                <a:gd name="connsiteX256" fmla="*/ 3899729 w 4488985"/>
                <a:gd name="connsiteY256" fmla="*/ 1901881 h 2422364"/>
                <a:gd name="connsiteX257" fmla="*/ 3888176 w 4488985"/>
                <a:gd name="connsiteY257" fmla="*/ 1900015 h 2422364"/>
                <a:gd name="connsiteX258" fmla="*/ 3865014 w 4488985"/>
                <a:gd name="connsiteY258" fmla="*/ 1913297 h 2422364"/>
                <a:gd name="connsiteX259" fmla="*/ 3857220 w 4488985"/>
                <a:gd name="connsiteY259" fmla="*/ 1911349 h 2422364"/>
                <a:gd name="connsiteX260" fmla="*/ 3858647 w 4488985"/>
                <a:gd name="connsiteY260" fmla="*/ 1919389 h 2422364"/>
                <a:gd name="connsiteX261" fmla="*/ 3856891 w 4488985"/>
                <a:gd name="connsiteY261" fmla="*/ 1931656 h 2422364"/>
                <a:gd name="connsiteX262" fmla="*/ 3857632 w 4488985"/>
                <a:gd name="connsiteY262" fmla="*/ 1943402 h 2422364"/>
                <a:gd name="connsiteX263" fmla="*/ 3849700 w 4488985"/>
                <a:gd name="connsiteY263" fmla="*/ 1960719 h 2422364"/>
                <a:gd name="connsiteX264" fmla="*/ 3838943 w 4488985"/>
                <a:gd name="connsiteY264" fmla="*/ 1976196 h 2422364"/>
                <a:gd name="connsiteX265" fmla="*/ 3807246 w 4488985"/>
                <a:gd name="connsiteY265" fmla="*/ 2005505 h 2422364"/>
                <a:gd name="connsiteX266" fmla="*/ 3799013 w 4488985"/>
                <a:gd name="connsiteY266" fmla="*/ 1987311 h 2422364"/>
                <a:gd name="connsiteX267" fmla="*/ 3796709 w 4488985"/>
                <a:gd name="connsiteY267" fmla="*/ 1955175 h 2422364"/>
                <a:gd name="connsiteX268" fmla="*/ 3787295 w 4488985"/>
                <a:gd name="connsiteY268" fmla="*/ 1915273 h 2422364"/>
                <a:gd name="connsiteX269" fmla="*/ 3771845 w 4488985"/>
                <a:gd name="connsiteY269" fmla="*/ 1813404 h 2422364"/>
                <a:gd name="connsiteX270" fmla="*/ 3770445 w 4488985"/>
                <a:gd name="connsiteY270" fmla="*/ 1790737 h 2422364"/>
                <a:gd name="connsiteX271" fmla="*/ 3773080 w 4488985"/>
                <a:gd name="connsiteY271" fmla="*/ 1764336 h 2422364"/>
                <a:gd name="connsiteX272" fmla="*/ 3783646 w 4488985"/>
                <a:gd name="connsiteY272" fmla="*/ 1722980 h 2422364"/>
                <a:gd name="connsiteX273" fmla="*/ 3803898 w 4488985"/>
                <a:gd name="connsiteY273" fmla="*/ 1698775 h 2422364"/>
                <a:gd name="connsiteX274" fmla="*/ 3809579 w 4488985"/>
                <a:gd name="connsiteY274" fmla="*/ 1688210 h 2422364"/>
                <a:gd name="connsiteX275" fmla="*/ 3811363 w 4488985"/>
                <a:gd name="connsiteY275" fmla="*/ 1678605 h 2422364"/>
                <a:gd name="connsiteX276" fmla="*/ 3810732 w 4488985"/>
                <a:gd name="connsiteY276" fmla="*/ 1662084 h 2422364"/>
                <a:gd name="connsiteX277" fmla="*/ 3823191 w 4488985"/>
                <a:gd name="connsiteY277" fmla="*/ 1661700 h 2422364"/>
                <a:gd name="connsiteX278" fmla="*/ 3834086 w 4488985"/>
                <a:gd name="connsiteY278" fmla="*/ 1651326 h 2422364"/>
                <a:gd name="connsiteX279" fmla="*/ 3852417 w 4488985"/>
                <a:gd name="connsiteY279" fmla="*/ 1645344 h 2422364"/>
                <a:gd name="connsiteX280" fmla="*/ 3875168 w 4488985"/>
                <a:gd name="connsiteY280" fmla="*/ 1624185 h 2422364"/>
                <a:gd name="connsiteX281" fmla="*/ 3890316 w 4488985"/>
                <a:gd name="connsiteY281" fmla="*/ 1604344 h 2422364"/>
                <a:gd name="connsiteX282" fmla="*/ 3897918 w 4488985"/>
                <a:gd name="connsiteY282" fmla="*/ 1587549 h 2422364"/>
                <a:gd name="connsiteX283" fmla="*/ 3916387 w 4488985"/>
                <a:gd name="connsiteY283" fmla="*/ 1563920 h 2422364"/>
                <a:gd name="connsiteX284" fmla="*/ 3928023 w 4488985"/>
                <a:gd name="connsiteY284" fmla="*/ 1556236 h 2422364"/>
                <a:gd name="connsiteX285" fmla="*/ 3954011 w 4488985"/>
                <a:gd name="connsiteY285" fmla="*/ 1526955 h 2422364"/>
                <a:gd name="connsiteX286" fmla="*/ 3961092 w 4488985"/>
                <a:gd name="connsiteY286" fmla="*/ 1511614 h 2422364"/>
                <a:gd name="connsiteX287" fmla="*/ 3989496 w 4488985"/>
                <a:gd name="connsiteY287" fmla="*/ 1491197 h 2422364"/>
                <a:gd name="connsiteX288" fmla="*/ 4008349 w 4488985"/>
                <a:gd name="connsiteY288" fmla="*/ 1484720 h 2422364"/>
                <a:gd name="connsiteX289" fmla="*/ 4007114 w 4488985"/>
                <a:gd name="connsiteY289" fmla="*/ 1474758 h 2422364"/>
                <a:gd name="connsiteX290" fmla="*/ 4017322 w 4488985"/>
                <a:gd name="connsiteY290" fmla="*/ 1457853 h 2422364"/>
                <a:gd name="connsiteX291" fmla="*/ 4013837 w 4488985"/>
                <a:gd name="connsiteY291" fmla="*/ 1445504 h 2422364"/>
                <a:gd name="connsiteX292" fmla="*/ 4020039 w 4488985"/>
                <a:gd name="connsiteY292" fmla="*/ 1430410 h 2422364"/>
                <a:gd name="connsiteX293" fmla="*/ 4024238 w 4488985"/>
                <a:gd name="connsiteY293" fmla="*/ 1400607 h 2422364"/>
                <a:gd name="connsiteX294" fmla="*/ 4034749 w 4488985"/>
                <a:gd name="connsiteY294" fmla="*/ 1388971 h 2422364"/>
                <a:gd name="connsiteX295" fmla="*/ 4046220 w 4488985"/>
                <a:gd name="connsiteY295" fmla="*/ 1386776 h 2422364"/>
                <a:gd name="connsiteX296" fmla="*/ 4046988 w 4488985"/>
                <a:gd name="connsiteY296" fmla="*/ 1383702 h 2422364"/>
                <a:gd name="connsiteX297" fmla="*/ 4032882 w 4488985"/>
                <a:gd name="connsiteY297" fmla="*/ 1373219 h 2422364"/>
                <a:gd name="connsiteX298" fmla="*/ 3999787 w 4488985"/>
                <a:gd name="connsiteY298" fmla="*/ 1382989 h 2422364"/>
                <a:gd name="connsiteX299" fmla="*/ 3993365 w 4488985"/>
                <a:gd name="connsiteY299" fmla="*/ 1402775 h 2422364"/>
                <a:gd name="connsiteX300" fmla="*/ 3991114 w 4488985"/>
                <a:gd name="connsiteY300" fmla="*/ 1422397 h 2422364"/>
                <a:gd name="connsiteX301" fmla="*/ 3996191 w 4488985"/>
                <a:gd name="connsiteY301" fmla="*/ 1432825 h 2422364"/>
                <a:gd name="connsiteX302" fmla="*/ 3994957 w 4488985"/>
                <a:gd name="connsiteY302" fmla="*/ 1438945 h 2422364"/>
                <a:gd name="connsiteX303" fmla="*/ 3990483 w 4488985"/>
                <a:gd name="connsiteY303" fmla="*/ 1441799 h 2422364"/>
                <a:gd name="connsiteX304" fmla="*/ 3983293 w 4488985"/>
                <a:gd name="connsiteY304" fmla="*/ 1435076 h 2422364"/>
                <a:gd name="connsiteX305" fmla="*/ 3972508 w 4488985"/>
                <a:gd name="connsiteY305" fmla="*/ 1437710 h 2422364"/>
                <a:gd name="connsiteX306" fmla="*/ 3932798 w 4488985"/>
                <a:gd name="connsiteY306" fmla="*/ 1478957 h 2422364"/>
                <a:gd name="connsiteX307" fmla="*/ 3924126 w 4488985"/>
                <a:gd name="connsiteY307" fmla="*/ 1491224 h 2422364"/>
                <a:gd name="connsiteX308" fmla="*/ 3909170 w 4488985"/>
                <a:gd name="connsiteY308" fmla="*/ 1499018 h 2422364"/>
                <a:gd name="connsiteX309" fmla="*/ 3907139 w 4488985"/>
                <a:gd name="connsiteY309" fmla="*/ 1494792 h 2422364"/>
                <a:gd name="connsiteX310" fmla="*/ 3910185 w 4488985"/>
                <a:gd name="connsiteY310" fmla="*/ 1478298 h 2422364"/>
                <a:gd name="connsiteX311" fmla="*/ 3899592 w 4488985"/>
                <a:gd name="connsiteY311" fmla="*/ 1475829 h 2422364"/>
                <a:gd name="connsiteX312" fmla="*/ 3897287 w 4488985"/>
                <a:gd name="connsiteY312" fmla="*/ 1459857 h 2422364"/>
                <a:gd name="connsiteX313" fmla="*/ 3908730 w 4488985"/>
                <a:gd name="connsiteY313" fmla="*/ 1441635 h 2422364"/>
                <a:gd name="connsiteX314" fmla="*/ 3911502 w 4488985"/>
                <a:gd name="connsiteY314" fmla="*/ 1431590 h 2422364"/>
                <a:gd name="connsiteX315" fmla="*/ 3910295 w 4488985"/>
                <a:gd name="connsiteY315" fmla="*/ 1423165 h 2422364"/>
                <a:gd name="connsiteX316" fmla="*/ 3891579 w 4488985"/>
                <a:gd name="connsiteY316" fmla="*/ 1433841 h 2422364"/>
                <a:gd name="connsiteX317" fmla="*/ 3876979 w 4488985"/>
                <a:gd name="connsiteY317" fmla="*/ 1421107 h 2422364"/>
                <a:gd name="connsiteX318" fmla="*/ 3844212 w 4488985"/>
                <a:gd name="connsiteY318" fmla="*/ 1430712 h 2422364"/>
                <a:gd name="connsiteX319" fmla="*/ 3830490 w 4488985"/>
                <a:gd name="connsiteY319" fmla="*/ 1429971 h 2422364"/>
                <a:gd name="connsiteX320" fmla="*/ 3808180 w 4488985"/>
                <a:gd name="connsiteY320" fmla="*/ 1443418 h 2422364"/>
                <a:gd name="connsiteX321" fmla="*/ 3800002 w 4488985"/>
                <a:gd name="connsiteY321" fmla="*/ 1464385 h 2422364"/>
                <a:gd name="connsiteX322" fmla="*/ 3783782 w 4488985"/>
                <a:gd name="connsiteY322" fmla="*/ 1480082 h 2422364"/>
                <a:gd name="connsiteX323" fmla="*/ 3776428 w 4488985"/>
                <a:gd name="connsiteY323" fmla="*/ 1496136 h 2422364"/>
                <a:gd name="connsiteX324" fmla="*/ 3741575 w 4488985"/>
                <a:gd name="connsiteY324" fmla="*/ 1528656 h 2422364"/>
                <a:gd name="connsiteX325" fmla="*/ 3736993 w 4488985"/>
                <a:gd name="connsiteY325" fmla="*/ 1540594 h 2422364"/>
                <a:gd name="connsiteX326" fmla="*/ 3732382 w 4488985"/>
                <a:gd name="connsiteY326" fmla="*/ 1546302 h 2422364"/>
                <a:gd name="connsiteX327" fmla="*/ 3730296 w 4488985"/>
                <a:gd name="connsiteY327" fmla="*/ 1564552 h 2422364"/>
                <a:gd name="connsiteX328" fmla="*/ 3752991 w 4488985"/>
                <a:gd name="connsiteY328" fmla="*/ 1567927 h 2422364"/>
                <a:gd name="connsiteX329" fmla="*/ 3758261 w 4488985"/>
                <a:gd name="connsiteY329" fmla="*/ 1576928 h 2422364"/>
                <a:gd name="connsiteX330" fmla="*/ 3757438 w 4488985"/>
                <a:gd name="connsiteY330" fmla="*/ 1581319 h 2422364"/>
                <a:gd name="connsiteX331" fmla="*/ 3754309 w 4488985"/>
                <a:gd name="connsiteY331" fmla="*/ 1583762 h 2422364"/>
                <a:gd name="connsiteX332" fmla="*/ 3738145 w 4488985"/>
                <a:gd name="connsiteY332" fmla="*/ 1583679 h 2422364"/>
                <a:gd name="connsiteX333" fmla="*/ 3726344 w 4488985"/>
                <a:gd name="connsiteY333" fmla="*/ 1589909 h 2422364"/>
                <a:gd name="connsiteX334" fmla="*/ 3709193 w 4488985"/>
                <a:gd name="connsiteY334" fmla="*/ 1583158 h 2422364"/>
                <a:gd name="connsiteX335" fmla="*/ 3691382 w 4488985"/>
                <a:gd name="connsiteY335" fmla="*/ 1597209 h 2422364"/>
                <a:gd name="connsiteX336" fmla="*/ 3677194 w 4488985"/>
                <a:gd name="connsiteY336" fmla="*/ 1593504 h 2422364"/>
                <a:gd name="connsiteX337" fmla="*/ 3665805 w 4488985"/>
                <a:gd name="connsiteY337" fmla="*/ 1600255 h 2422364"/>
                <a:gd name="connsiteX338" fmla="*/ 3650053 w 4488985"/>
                <a:gd name="connsiteY338" fmla="*/ 1602066 h 2422364"/>
                <a:gd name="connsiteX339" fmla="*/ 3643823 w 4488985"/>
                <a:gd name="connsiteY339" fmla="*/ 1589854 h 2422364"/>
                <a:gd name="connsiteX340" fmla="*/ 3651261 w 4488985"/>
                <a:gd name="connsiteY340" fmla="*/ 1585546 h 2422364"/>
                <a:gd name="connsiteX341" fmla="*/ 3665997 w 4488985"/>
                <a:gd name="connsiteY341" fmla="*/ 1585189 h 2422364"/>
                <a:gd name="connsiteX342" fmla="*/ 3668659 w 4488985"/>
                <a:gd name="connsiteY342" fmla="*/ 1580716 h 2422364"/>
                <a:gd name="connsiteX343" fmla="*/ 3659329 w 4488985"/>
                <a:gd name="connsiteY343" fmla="*/ 1575145 h 2422364"/>
                <a:gd name="connsiteX344" fmla="*/ 3647528 w 4488985"/>
                <a:gd name="connsiteY344" fmla="*/ 1561780 h 2422364"/>
                <a:gd name="connsiteX345" fmla="*/ 3637731 w 4488985"/>
                <a:gd name="connsiteY345" fmla="*/ 1562301 h 2422364"/>
                <a:gd name="connsiteX346" fmla="*/ 3630953 w 4488985"/>
                <a:gd name="connsiteY346" fmla="*/ 1566720 h 2422364"/>
                <a:gd name="connsiteX347" fmla="*/ 3623873 w 4488985"/>
                <a:gd name="connsiteY347" fmla="*/ 1561149 h 2422364"/>
                <a:gd name="connsiteX348" fmla="*/ 3596814 w 4488985"/>
                <a:gd name="connsiteY348" fmla="*/ 1551845 h 2422364"/>
                <a:gd name="connsiteX349" fmla="*/ 3583778 w 4488985"/>
                <a:gd name="connsiteY349" fmla="*/ 1557060 h 2422364"/>
                <a:gd name="connsiteX350" fmla="*/ 3580650 w 4488985"/>
                <a:gd name="connsiteY350" fmla="*/ 1566034 h 2422364"/>
                <a:gd name="connsiteX351" fmla="*/ 3572526 w 4488985"/>
                <a:gd name="connsiteY351" fmla="*/ 1567653 h 2422364"/>
                <a:gd name="connsiteX352" fmla="*/ 3571731 w 4488985"/>
                <a:gd name="connsiteY352" fmla="*/ 1570781 h 2422364"/>
                <a:gd name="connsiteX353" fmla="*/ 3574063 w 4488985"/>
                <a:gd name="connsiteY353" fmla="*/ 1575858 h 2422364"/>
                <a:gd name="connsiteX354" fmla="*/ 3570935 w 4488985"/>
                <a:gd name="connsiteY354" fmla="*/ 1579481 h 2422364"/>
                <a:gd name="connsiteX355" fmla="*/ 3563937 w 4488985"/>
                <a:gd name="connsiteY355" fmla="*/ 1579042 h 2422364"/>
                <a:gd name="connsiteX356" fmla="*/ 3554497 w 4488985"/>
                <a:gd name="connsiteY356" fmla="*/ 1572044 h 2422364"/>
                <a:gd name="connsiteX357" fmla="*/ 3534025 w 4488985"/>
                <a:gd name="connsiteY357" fmla="*/ 1577862 h 2422364"/>
                <a:gd name="connsiteX358" fmla="*/ 3505154 w 4488985"/>
                <a:gd name="connsiteY358" fmla="*/ 1569272 h 2422364"/>
                <a:gd name="connsiteX359" fmla="*/ 3500324 w 4488985"/>
                <a:gd name="connsiteY359" fmla="*/ 1572428 h 2422364"/>
                <a:gd name="connsiteX360" fmla="*/ 3496922 w 4488985"/>
                <a:gd name="connsiteY360" fmla="*/ 1582115 h 2422364"/>
                <a:gd name="connsiteX361" fmla="*/ 3492942 w 4488985"/>
                <a:gd name="connsiteY361" fmla="*/ 1584091 h 2422364"/>
                <a:gd name="connsiteX362" fmla="*/ 3487700 w 4488985"/>
                <a:gd name="connsiteY362" fmla="*/ 1581319 h 2422364"/>
                <a:gd name="connsiteX363" fmla="*/ 3485615 w 4488985"/>
                <a:gd name="connsiteY363" fmla="*/ 1572812 h 2422364"/>
                <a:gd name="connsiteX364" fmla="*/ 3480867 w 4488985"/>
                <a:gd name="connsiteY364" fmla="*/ 1571577 h 2422364"/>
                <a:gd name="connsiteX365" fmla="*/ 3404795 w 4488985"/>
                <a:gd name="connsiteY365" fmla="*/ 1575172 h 2422364"/>
                <a:gd name="connsiteX366" fmla="*/ 3379026 w 4488985"/>
                <a:gd name="connsiteY366" fmla="*/ 1588948 h 2422364"/>
                <a:gd name="connsiteX367" fmla="*/ 3358691 w 4488985"/>
                <a:gd name="connsiteY367" fmla="*/ 1615733 h 2422364"/>
                <a:gd name="connsiteX368" fmla="*/ 3337697 w 4488985"/>
                <a:gd name="connsiteY368" fmla="*/ 1633132 h 2422364"/>
                <a:gd name="connsiteX369" fmla="*/ 3325321 w 4488985"/>
                <a:gd name="connsiteY369" fmla="*/ 1659230 h 2422364"/>
                <a:gd name="connsiteX370" fmla="*/ 3314481 w 4488985"/>
                <a:gd name="connsiteY370" fmla="*/ 1666694 h 2422364"/>
                <a:gd name="connsiteX371" fmla="*/ 3305095 w 4488985"/>
                <a:gd name="connsiteY371" fmla="*/ 1679318 h 2422364"/>
                <a:gd name="connsiteX372" fmla="*/ 3287586 w 4488985"/>
                <a:gd name="connsiteY372" fmla="*/ 1693177 h 2422364"/>
                <a:gd name="connsiteX373" fmla="*/ 3267828 w 4488985"/>
                <a:gd name="connsiteY373" fmla="*/ 1714390 h 2422364"/>
                <a:gd name="connsiteX374" fmla="*/ 3244610 w 4488985"/>
                <a:gd name="connsiteY374" fmla="*/ 1750835 h 2422364"/>
                <a:gd name="connsiteX375" fmla="*/ 3209593 w 4488985"/>
                <a:gd name="connsiteY375" fmla="*/ 1781379 h 2422364"/>
                <a:gd name="connsiteX376" fmla="*/ 3201059 w 4488985"/>
                <a:gd name="connsiteY376" fmla="*/ 1792328 h 2422364"/>
                <a:gd name="connsiteX377" fmla="*/ 3199384 w 4488985"/>
                <a:gd name="connsiteY377" fmla="*/ 1794469 h 2422364"/>
                <a:gd name="connsiteX378" fmla="*/ 3180723 w 4488985"/>
                <a:gd name="connsiteY378" fmla="*/ 1809124 h 2422364"/>
                <a:gd name="connsiteX379" fmla="*/ 3179790 w 4488985"/>
                <a:gd name="connsiteY379" fmla="*/ 1809865 h 2422364"/>
                <a:gd name="connsiteX380" fmla="*/ 3173561 w 4488985"/>
                <a:gd name="connsiteY380" fmla="*/ 1819222 h 2422364"/>
                <a:gd name="connsiteX381" fmla="*/ 3176442 w 4488985"/>
                <a:gd name="connsiteY381" fmla="*/ 1825123 h 2422364"/>
                <a:gd name="connsiteX382" fmla="*/ 3180723 w 4488985"/>
                <a:gd name="connsiteY382" fmla="*/ 1827428 h 2422364"/>
                <a:gd name="connsiteX383" fmla="*/ 3188188 w 4488985"/>
                <a:gd name="connsiteY383" fmla="*/ 1831435 h 2422364"/>
                <a:gd name="connsiteX384" fmla="*/ 3199384 w 4488985"/>
                <a:gd name="connsiteY384" fmla="*/ 1832203 h 2422364"/>
                <a:gd name="connsiteX385" fmla="*/ 3217936 w 4488985"/>
                <a:gd name="connsiteY385" fmla="*/ 1832834 h 2422364"/>
                <a:gd name="connsiteX386" fmla="*/ 3218375 w 4488985"/>
                <a:gd name="connsiteY386" fmla="*/ 1852099 h 2422364"/>
                <a:gd name="connsiteX387" fmla="*/ 3216893 w 4488985"/>
                <a:gd name="connsiteY387" fmla="*/ 1863680 h 2422364"/>
                <a:gd name="connsiteX388" fmla="*/ 3218567 w 4488985"/>
                <a:gd name="connsiteY388" fmla="*/ 1869361 h 2422364"/>
                <a:gd name="connsiteX389" fmla="*/ 3228529 w 4488985"/>
                <a:gd name="connsiteY389" fmla="*/ 1868483 h 2422364"/>
                <a:gd name="connsiteX390" fmla="*/ 3236515 w 4488985"/>
                <a:gd name="connsiteY390" fmla="*/ 1861540 h 2422364"/>
                <a:gd name="connsiteX391" fmla="*/ 3244391 w 4488985"/>
                <a:gd name="connsiteY391" fmla="*/ 1864586 h 2422364"/>
                <a:gd name="connsiteX392" fmla="*/ 3236268 w 4488985"/>
                <a:gd name="connsiteY392" fmla="*/ 1878527 h 2422364"/>
                <a:gd name="connsiteX393" fmla="*/ 3238217 w 4488985"/>
                <a:gd name="connsiteY393" fmla="*/ 1883247 h 2422364"/>
                <a:gd name="connsiteX394" fmla="*/ 3252459 w 4488985"/>
                <a:gd name="connsiteY394" fmla="*/ 1880777 h 2422364"/>
                <a:gd name="connsiteX395" fmla="*/ 3268212 w 4488985"/>
                <a:gd name="connsiteY395" fmla="*/ 1866232 h 2422364"/>
                <a:gd name="connsiteX396" fmla="*/ 3269254 w 4488985"/>
                <a:gd name="connsiteY396" fmla="*/ 1870815 h 2422364"/>
                <a:gd name="connsiteX397" fmla="*/ 3265522 w 4488985"/>
                <a:gd name="connsiteY397" fmla="*/ 1881051 h 2422364"/>
                <a:gd name="connsiteX398" fmla="*/ 3268788 w 4488985"/>
                <a:gd name="connsiteY398" fmla="*/ 1881436 h 2422364"/>
                <a:gd name="connsiteX399" fmla="*/ 3274029 w 4488985"/>
                <a:gd name="connsiteY399" fmla="*/ 1869964 h 2422364"/>
                <a:gd name="connsiteX400" fmla="*/ 3275127 w 4488985"/>
                <a:gd name="connsiteY400" fmla="*/ 1855337 h 2422364"/>
                <a:gd name="connsiteX401" fmla="*/ 3277514 w 4488985"/>
                <a:gd name="connsiteY401" fmla="*/ 1849437 h 2422364"/>
                <a:gd name="connsiteX402" fmla="*/ 3307729 w 4488985"/>
                <a:gd name="connsiteY402" fmla="*/ 1850480 h 2422364"/>
                <a:gd name="connsiteX403" fmla="*/ 3319201 w 4488985"/>
                <a:gd name="connsiteY403" fmla="*/ 1862171 h 2422364"/>
                <a:gd name="connsiteX404" fmla="*/ 3327077 w 4488985"/>
                <a:gd name="connsiteY404" fmla="*/ 1875673 h 2422364"/>
                <a:gd name="connsiteX405" fmla="*/ 3352654 w 4488985"/>
                <a:gd name="connsiteY405" fmla="*/ 1897462 h 2422364"/>
                <a:gd name="connsiteX406" fmla="*/ 3352983 w 4488985"/>
                <a:gd name="connsiteY406" fmla="*/ 1901606 h 2422364"/>
                <a:gd name="connsiteX407" fmla="*/ 3351117 w 4488985"/>
                <a:gd name="connsiteY407" fmla="*/ 1905448 h 2422364"/>
                <a:gd name="connsiteX408" fmla="*/ 3342033 w 4488985"/>
                <a:gd name="connsiteY408" fmla="*/ 1910855 h 2422364"/>
                <a:gd name="connsiteX409" fmla="*/ 3348427 w 4488985"/>
                <a:gd name="connsiteY409" fmla="*/ 1924439 h 2422364"/>
                <a:gd name="connsiteX410" fmla="*/ 3347824 w 4488985"/>
                <a:gd name="connsiteY410" fmla="*/ 1938819 h 2422364"/>
                <a:gd name="connsiteX411" fmla="*/ 3354739 w 4488985"/>
                <a:gd name="connsiteY411" fmla="*/ 1951690 h 2422364"/>
                <a:gd name="connsiteX412" fmla="*/ 3351172 w 4488985"/>
                <a:gd name="connsiteY412" fmla="*/ 1963600 h 2422364"/>
                <a:gd name="connsiteX413" fmla="*/ 3337916 w 4488985"/>
                <a:gd name="connsiteY413" fmla="*/ 1982096 h 2422364"/>
                <a:gd name="connsiteX414" fmla="*/ 3327625 w 4488985"/>
                <a:gd name="connsiteY414" fmla="*/ 2016510 h 2422364"/>
                <a:gd name="connsiteX415" fmla="*/ 3327625 w 4488985"/>
                <a:gd name="connsiteY415" fmla="*/ 2036845 h 2422364"/>
                <a:gd name="connsiteX416" fmla="*/ 3330096 w 4488985"/>
                <a:gd name="connsiteY416" fmla="*/ 2049140 h 2422364"/>
                <a:gd name="connsiteX417" fmla="*/ 3326994 w 4488985"/>
                <a:gd name="connsiteY417" fmla="*/ 2057839 h 2422364"/>
                <a:gd name="connsiteX418" fmla="*/ 3327379 w 4488985"/>
                <a:gd name="connsiteY418" fmla="*/ 2072960 h 2422364"/>
                <a:gd name="connsiteX419" fmla="*/ 3323839 w 4488985"/>
                <a:gd name="connsiteY419" fmla="*/ 2086984 h 2422364"/>
                <a:gd name="connsiteX420" fmla="*/ 3322604 w 4488985"/>
                <a:gd name="connsiteY420" fmla="*/ 2100239 h 2422364"/>
                <a:gd name="connsiteX421" fmla="*/ 3316511 w 4488985"/>
                <a:gd name="connsiteY421" fmla="*/ 2121150 h 2422364"/>
                <a:gd name="connsiteX422" fmla="*/ 3293185 w 4488985"/>
                <a:gd name="connsiteY422" fmla="*/ 2149993 h 2422364"/>
                <a:gd name="connsiteX423" fmla="*/ 3283580 w 4488985"/>
                <a:gd name="connsiteY423" fmla="*/ 2169944 h 2422364"/>
                <a:gd name="connsiteX424" fmla="*/ 3270873 w 4488985"/>
                <a:gd name="connsiteY424" fmla="*/ 2186272 h 2422364"/>
                <a:gd name="connsiteX425" fmla="*/ 3262723 w 4488985"/>
                <a:gd name="connsiteY425" fmla="*/ 2206635 h 2422364"/>
                <a:gd name="connsiteX426" fmla="*/ 3246340 w 4488985"/>
                <a:gd name="connsiteY426" fmla="*/ 2233941 h 2422364"/>
                <a:gd name="connsiteX427" fmla="*/ 3219939 w 4488985"/>
                <a:gd name="connsiteY427" fmla="*/ 2262399 h 2422364"/>
                <a:gd name="connsiteX428" fmla="*/ 3199384 w 4488985"/>
                <a:gd name="connsiteY428" fmla="*/ 2290281 h 2422364"/>
                <a:gd name="connsiteX429" fmla="*/ 3190960 w 4488985"/>
                <a:gd name="connsiteY429" fmla="*/ 2297746 h 2422364"/>
                <a:gd name="connsiteX430" fmla="*/ 3180723 w 4488985"/>
                <a:gd name="connsiteY430" fmla="*/ 2316050 h 2422364"/>
                <a:gd name="connsiteX431" fmla="*/ 3168676 w 4488985"/>
                <a:gd name="connsiteY431" fmla="*/ 2331638 h 2422364"/>
                <a:gd name="connsiteX432" fmla="*/ 3133988 w 4488985"/>
                <a:gd name="connsiteY432" fmla="*/ 2356227 h 2422364"/>
                <a:gd name="connsiteX433" fmla="*/ 3110031 w 4488985"/>
                <a:gd name="connsiteY433" fmla="*/ 2363417 h 2422364"/>
                <a:gd name="connsiteX434" fmla="*/ 3098834 w 4488985"/>
                <a:gd name="connsiteY434" fmla="*/ 2357818 h 2422364"/>
                <a:gd name="connsiteX435" fmla="*/ 3089201 w 4488985"/>
                <a:gd name="connsiteY435" fmla="*/ 2356117 h 2422364"/>
                <a:gd name="connsiteX436" fmla="*/ 3086731 w 4488985"/>
                <a:gd name="connsiteY436" fmla="*/ 2343658 h 2422364"/>
                <a:gd name="connsiteX437" fmla="*/ 3077483 w 4488985"/>
                <a:gd name="connsiteY437" fmla="*/ 2347170 h 2422364"/>
                <a:gd name="connsiteX438" fmla="*/ 3076248 w 4488985"/>
                <a:gd name="connsiteY438" fmla="*/ 2341408 h 2422364"/>
                <a:gd name="connsiteX439" fmla="*/ 3073559 w 4488985"/>
                <a:gd name="connsiteY439" fmla="*/ 2340694 h 2422364"/>
                <a:gd name="connsiteX440" fmla="*/ 3062142 w 4488985"/>
                <a:gd name="connsiteY440" fmla="*/ 2353016 h 2422364"/>
                <a:gd name="connsiteX441" fmla="*/ 3054321 w 4488985"/>
                <a:gd name="connsiteY441" fmla="*/ 2365255 h 2422364"/>
                <a:gd name="connsiteX442" fmla="*/ 3041834 w 4488985"/>
                <a:gd name="connsiteY442" fmla="*/ 2366930 h 2422364"/>
                <a:gd name="connsiteX443" fmla="*/ 3042658 w 4488985"/>
                <a:gd name="connsiteY443" fmla="*/ 2372583 h 2422364"/>
                <a:gd name="connsiteX444" fmla="*/ 3040901 w 4488985"/>
                <a:gd name="connsiteY444" fmla="*/ 2376178 h 2422364"/>
                <a:gd name="connsiteX445" fmla="*/ 3038651 w 4488985"/>
                <a:gd name="connsiteY445" fmla="*/ 2380816 h 2422364"/>
                <a:gd name="connsiteX446" fmla="*/ 3037443 w 4488985"/>
                <a:gd name="connsiteY446" fmla="*/ 2375629 h 2422364"/>
                <a:gd name="connsiteX447" fmla="*/ 3035880 w 4488985"/>
                <a:gd name="connsiteY447" fmla="*/ 2366902 h 2422364"/>
                <a:gd name="connsiteX448" fmla="*/ 3033464 w 4488985"/>
                <a:gd name="connsiteY448" fmla="*/ 2362347 h 2422364"/>
                <a:gd name="connsiteX449" fmla="*/ 3051055 w 4488985"/>
                <a:gd name="connsiteY449" fmla="*/ 2354059 h 2422364"/>
                <a:gd name="connsiteX450" fmla="*/ 3056352 w 4488985"/>
                <a:gd name="connsiteY450" fmla="*/ 2336413 h 2422364"/>
                <a:gd name="connsiteX451" fmla="*/ 3054513 w 4488985"/>
                <a:gd name="connsiteY451" fmla="*/ 2327412 h 2422364"/>
                <a:gd name="connsiteX452" fmla="*/ 3055967 w 4488985"/>
                <a:gd name="connsiteY452" fmla="*/ 2305649 h 2422364"/>
                <a:gd name="connsiteX453" fmla="*/ 3048530 w 4488985"/>
                <a:gd name="connsiteY453" fmla="*/ 2276725 h 2422364"/>
                <a:gd name="connsiteX454" fmla="*/ 3062334 w 4488985"/>
                <a:gd name="connsiteY454" fmla="*/ 2270742 h 2422364"/>
                <a:gd name="connsiteX455" fmla="*/ 3074272 w 4488985"/>
                <a:gd name="connsiteY455" fmla="*/ 2258008 h 2422364"/>
                <a:gd name="connsiteX456" fmla="*/ 3102456 w 4488985"/>
                <a:gd name="connsiteY456" fmla="*/ 2268107 h 2422364"/>
                <a:gd name="connsiteX457" fmla="*/ 3107917 w 4488985"/>
                <a:gd name="connsiteY457" fmla="*/ 2266269 h 2422364"/>
                <a:gd name="connsiteX458" fmla="*/ 3112308 w 4488985"/>
                <a:gd name="connsiteY458" fmla="*/ 2251230 h 2422364"/>
                <a:gd name="connsiteX459" fmla="*/ 3118812 w 4488985"/>
                <a:gd name="connsiteY459" fmla="*/ 2243820 h 2422364"/>
                <a:gd name="connsiteX460" fmla="*/ 3121748 w 4488985"/>
                <a:gd name="connsiteY460" fmla="*/ 2234874 h 2422364"/>
                <a:gd name="connsiteX461" fmla="*/ 3132753 w 4488985"/>
                <a:gd name="connsiteY461" fmla="*/ 2216597 h 2422364"/>
                <a:gd name="connsiteX462" fmla="*/ 3133192 w 4488985"/>
                <a:gd name="connsiteY462" fmla="*/ 2206882 h 2422364"/>
                <a:gd name="connsiteX463" fmla="*/ 3142935 w 4488985"/>
                <a:gd name="connsiteY463" fmla="*/ 2172551 h 2422364"/>
                <a:gd name="connsiteX464" fmla="*/ 3152100 w 4488985"/>
                <a:gd name="connsiteY464" fmla="*/ 2164263 h 2422364"/>
                <a:gd name="connsiteX465" fmla="*/ 3156875 w 4488985"/>
                <a:gd name="connsiteY465" fmla="*/ 2156085 h 2422364"/>
                <a:gd name="connsiteX466" fmla="*/ 3154158 w 4488985"/>
                <a:gd name="connsiteY466" fmla="*/ 2142254 h 2422364"/>
                <a:gd name="connsiteX467" fmla="*/ 3156574 w 4488985"/>
                <a:gd name="connsiteY467" fmla="*/ 2130893 h 2422364"/>
                <a:gd name="connsiteX468" fmla="*/ 3155750 w 4488985"/>
                <a:gd name="connsiteY468" fmla="*/ 2126584 h 2422364"/>
                <a:gd name="connsiteX469" fmla="*/ 3142962 w 4488985"/>
                <a:gd name="connsiteY469" fmla="*/ 2126200 h 2422364"/>
                <a:gd name="connsiteX470" fmla="*/ 3122571 w 4488985"/>
                <a:gd name="connsiteY470" fmla="*/ 2136079 h 2422364"/>
                <a:gd name="connsiteX471" fmla="*/ 3109646 w 4488985"/>
                <a:gd name="connsiteY471" fmla="*/ 2137671 h 2422364"/>
                <a:gd name="connsiteX472" fmla="*/ 3098367 w 4488985"/>
                <a:gd name="connsiteY472" fmla="*/ 2145025 h 2422364"/>
                <a:gd name="connsiteX473" fmla="*/ 3091397 w 4488985"/>
                <a:gd name="connsiteY473" fmla="*/ 2153835 h 2422364"/>
                <a:gd name="connsiteX474" fmla="*/ 3074245 w 4488985"/>
                <a:gd name="connsiteY474" fmla="*/ 2156387 h 2422364"/>
                <a:gd name="connsiteX475" fmla="*/ 3049546 w 4488985"/>
                <a:gd name="connsiteY475" fmla="*/ 2154301 h 2422364"/>
                <a:gd name="connsiteX476" fmla="*/ 3040243 w 4488985"/>
                <a:gd name="connsiteY476" fmla="*/ 2139702 h 2422364"/>
                <a:gd name="connsiteX477" fmla="*/ 3042082 w 4488985"/>
                <a:gd name="connsiteY477" fmla="*/ 2127544 h 2422364"/>
                <a:gd name="connsiteX478" fmla="*/ 3035989 w 4488985"/>
                <a:gd name="connsiteY478" fmla="*/ 2114921 h 2422364"/>
                <a:gd name="connsiteX479" fmla="*/ 3036428 w 4488985"/>
                <a:gd name="connsiteY479" fmla="*/ 2104273 h 2422364"/>
                <a:gd name="connsiteX480" fmla="*/ 3022487 w 4488985"/>
                <a:gd name="connsiteY480" fmla="*/ 2099909 h 2422364"/>
                <a:gd name="connsiteX481" fmla="*/ 3002701 w 4488985"/>
                <a:gd name="connsiteY481" fmla="*/ 2079601 h 2422364"/>
                <a:gd name="connsiteX482" fmla="*/ 2992657 w 4488985"/>
                <a:gd name="connsiteY482" fmla="*/ 2080699 h 2422364"/>
                <a:gd name="connsiteX483" fmla="*/ 2981130 w 4488985"/>
                <a:gd name="connsiteY483" fmla="*/ 2072549 h 2422364"/>
                <a:gd name="connsiteX484" fmla="*/ 2964335 w 4488985"/>
                <a:gd name="connsiteY484" fmla="*/ 2072768 h 2422364"/>
                <a:gd name="connsiteX485" fmla="*/ 2950504 w 4488985"/>
                <a:gd name="connsiteY485" fmla="*/ 2065523 h 2422364"/>
                <a:gd name="connsiteX486" fmla="*/ 2946360 w 4488985"/>
                <a:gd name="connsiteY486" fmla="*/ 2056961 h 2422364"/>
                <a:gd name="connsiteX487" fmla="*/ 2946580 w 4488985"/>
                <a:gd name="connsiteY487" fmla="*/ 2042746 h 2422364"/>
                <a:gd name="connsiteX488" fmla="*/ 2940789 w 4488985"/>
                <a:gd name="connsiteY488" fmla="*/ 2035857 h 2422364"/>
                <a:gd name="connsiteX489" fmla="*/ 2938758 w 4488985"/>
                <a:gd name="connsiteY489" fmla="*/ 2019776 h 2422364"/>
                <a:gd name="connsiteX490" fmla="*/ 2928193 w 4488985"/>
                <a:gd name="connsiteY490" fmla="*/ 2002047 h 2422364"/>
                <a:gd name="connsiteX491" fmla="*/ 2926574 w 4488985"/>
                <a:gd name="connsiteY491" fmla="*/ 1988024 h 2422364"/>
                <a:gd name="connsiteX492" fmla="*/ 2915817 w 4488985"/>
                <a:gd name="connsiteY492" fmla="*/ 1962228 h 2422364"/>
                <a:gd name="connsiteX493" fmla="*/ 2915624 w 4488985"/>
                <a:gd name="connsiteY493" fmla="*/ 1953281 h 2422364"/>
                <a:gd name="connsiteX494" fmla="*/ 2911343 w 4488985"/>
                <a:gd name="connsiteY494" fmla="*/ 1948287 h 2422364"/>
                <a:gd name="connsiteX495" fmla="*/ 2908901 w 4488985"/>
                <a:gd name="connsiteY495" fmla="*/ 1937913 h 2422364"/>
                <a:gd name="connsiteX496" fmla="*/ 2901793 w 4488985"/>
                <a:gd name="connsiteY496" fmla="*/ 1928692 h 2422364"/>
                <a:gd name="connsiteX497" fmla="*/ 2900997 w 4488985"/>
                <a:gd name="connsiteY497" fmla="*/ 1921475 h 2422364"/>
                <a:gd name="connsiteX498" fmla="*/ 2893039 w 4488985"/>
                <a:gd name="connsiteY498" fmla="*/ 1916261 h 2422364"/>
                <a:gd name="connsiteX499" fmla="*/ 2889471 w 4488985"/>
                <a:gd name="connsiteY499" fmla="*/ 1908303 h 2422364"/>
                <a:gd name="connsiteX500" fmla="*/ 2879784 w 4488985"/>
                <a:gd name="connsiteY500" fmla="*/ 1903088 h 2422364"/>
                <a:gd name="connsiteX501" fmla="*/ 2865513 w 4488985"/>
                <a:gd name="connsiteY501" fmla="*/ 1903582 h 2422364"/>
                <a:gd name="connsiteX502" fmla="*/ 2838647 w 4488985"/>
                <a:gd name="connsiteY502" fmla="*/ 1887720 h 2422364"/>
                <a:gd name="connsiteX503" fmla="*/ 2823992 w 4488985"/>
                <a:gd name="connsiteY503" fmla="*/ 1884208 h 2422364"/>
                <a:gd name="connsiteX504" fmla="*/ 2808349 w 4488985"/>
                <a:gd name="connsiteY504" fmla="*/ 1887885 h 2422364"/>
                <a:gd name="connsiteX505" fmla="*/ 2791801 w 4488985"/>
                <a:gd name="connsiteY505" fmla="*/ 1887528 h 2422364"/>
                <a:gd name="connsiteX506" fmla="*/ 2751845 w 4488985"/>
                <a:gd name="connsiteY506" fmla="*/ 1897325 h 2422364"/>
                <a:gd name="connsiteX507" fmla="*/ 2727914 w 4488985"/>
                <a:gd name="connsiteY507" fmla="*/ 1920624 h 2422364"/>
                <a:gd name="connsiteX508" fmla="*/ 2726569 w 4488985"/>
                <a:gd name="connsiteY508" fmla="*/ 1925509 h 2422364"/>
                <a:gd name="connsiteX509" fmla="*/ 2727996 w 4488985"/>
                <a:gd name="connsiteY509" fmla="*/ 1929296 h 2422364"/>
                <a:gd name="connsiteX510" fmla="*/ 2737958 w 4488985"/>
                <a:gd name="connsiteY510" fmla="*/ 1929187 h 2422364"/>
                <a:gd name="connsiteX511" fmla="*/ 2743310 w 4488985"/>
                <a:gd name="connsiteY511" fmla="*/ 1932672 h 2422364"/>
                <a:gd name="connsiteX512" fmla="*/ 2746520 w 4488985"/>
                <a:gd name="connsiteY512" fmla="*/ 1953419 h 2422364"/>
                <a:gd name="connsiteX513" fmla="*/ 2742651 w 4488985"/>
                <a:gd name="connsiteY513" fmla="*/ 1962694 h 2422364"/>
                <a:gd name="connsiteX514" fmla="*/ 2726378 w 4488985"/>
                <a:gd name="connsiteY514" fmla="*/ 1978227 h 2422364"/>
                <a:gd name="connsiteX515" fmla="*/ 2716773 w 4488985"/>
                <a:gd name="connsiteY515" fmla="*/ 2002487 h 2422364"/>
                <a:gd name="connsiteX516" fmla="*/ 2703435 w 4488985"/>
                <a:gd name="connsiteY516" fmla="*/ 2026884 h 2422364"/>
                <a:gd name="connsiteX517" fmla="*/ 2701706 w 4488985"/>
                <a:gd name="connsiteY517" fmla="*/ 2034156 h 2422364"/>
                <a:gd name="connsiteX518" fmla="*/ 2704972 w 4488985"/>
                <a:gd name="connsiteY518" fmla="*/ 2040879 h 2422364"/>
                <a:gd name="connsiteX519" fmla="*/ 2700114 w 4488985"/>
                <a:gd name="connsiteY519" fmla="*/ 2050073 h 2422364"/>
                <a:gd name="connsiteX520" fmla="*/ 2683045 w 4488985"/>
                <a:gd name="connsiteY520" fmla="*/ 2056165 h 2422364"/>
                <a:gd name="connsiteX521" fmla="*/ 2668610 w 4488985"/>
                <a:gd name="connsiteY521" fmla="*/ 2068569 h 2422364"/>
                <a:gd name="connsiteX522" fmla="*/ 2659609 w 4488985"/>
                <a:gd name="connsiteY522" fmla="*/ 2073070 h 2422364"/>
                <a:gd name="connsiteX523" fmla="*/ 2640344 w 4488985"/>
                <a:gd name="connsiteY523" fmla="*/ 2067115 h 2422364"/>
                <a:gd name="connsiteX524" fmla="*/ 2628324 w 4488985"/>
                <a:gd name="connsiteY524" fmla="*/ 2059376 h 2422364"/>
                <a:gd name="connsiteX525" fmla="*/ 2623850 w 4488985"/>
                <a:gd name="connsiteY525" fmla="*/ 2055205 h 2422364"/>
                <a:gd name="connsiteX526" fmla="*/ 2613559 w 4488985"/>
                <a:gd name="connsiteY526" fmla="*/ 2051692 h 2422364"/>
                <a:gd name="connsiteX527" fmla="*/ 2600331 w 4488985"/>
                <a:gd name="connsiteY527" fmla="*/ 2056933 h 2422364"/>
                <a:gd name="connsiteX528" fmla="*/ 2589821 w 4488985"/>
                <a:gd name="connsiteY528" fmla="*/ 2056412 h 2422364"/>
                <a:gd name="connsiteX529" fmla="*/ 2575962 w 4488985"/>
                <a:gd name="connsiteY529" fmla="*/ 2043843 h 2422364"/>
                <a:gd name="connsiteX530" fmla="*/ 2555682 w 4488985"/>
                <a:gd name="connsiteY530" fmla="*/ 2041072 h 2422364"/>
                <a:gd name="connsiteX531" fmla="*/ 2535264 w 4488985"/>
                <a:gd name="connsiteY531" fmla="*/ 2052707 h 2422364"/>
                <a:gd name="connsiteX532" fmla="*/ 2525934 w 4488985"/>
                <a:gd name="connsiteY532" fmla="*/ 2060336 h 2422364"/>
                <a:gd name="connsiteX533" fmla="*/ 2520528 w 4488985"/>
                <a:gd name="connsiteY533" fmla="*/ 2070106 h 2422364"/>
                <a:gd name="connsiteX534" fmla="*/ 2513694 w 4488985"/>
                <a:gd name="connsiteY534" fmla="*/ 2074195 h 2422364"/>
                <a:gd name="connsiteX535" fmla="*/ 2503980 w 4488985"/>
                <a:gd name="connsiteY535" fmla="*/ 2073729 h 2422364"/>
                <a:gd name="connsiteX536" fmla="*/ 2488611 w 4488985"/>
                <a:gd name="connsiteY536" fmla="*/ 2079492 h 2422364"/>
                <a:gd name="connsiteX537" fmla="*/ 2471789 w 4488985"/>
                <a:gd name="connsiteY537" fmla="*/ 2081632 h 2422364"/>
                <a:gd name="connsiteX538" fmla="*/ 2453375 w 4488985"/>
                <a:gd name="connsiteY538" fmla="*/ 2090606 h 2422364"/>
                <a:gd name="connsiteX539" fmla="*/ 2443166 w 4488985"/>
                <a:gd name="connsiteY539" fmla="*/ 2087368 h 2422364"/>
                <a:gd name="connsiteX540" fmla="*/ 2435756 w 4488985"/>
                <a:gd name="connsiteY540" fmla="*/ 2089892 h 2422364"/>
                <a:gd name="connsiteX541" fmla="*/ 2419620 w 4488985"/>
                <a:gd name="connsiteY541" fmla="*/ 2087642 h 2422364"/>
                <a:gd name="connsiteX542" fmla="*/ 2407216 w 4488985"/>
                <a:gd name="connsiteY542" fmla="*/ 2081989 h 2422364"/>
                <a:gd name="connsiteX543" fmla="*/ 2388554 w 4488985"/>
                <a:gd name="connsiteY543" fmla="*/ 2082126 h 2422364"/>
                <a:gd name="connsiteX544" fmla="*/ 2373104 w 4488985"/>
                <a:gd name="connsiteY544" fmla="*/ 2069557 h 2422364"/>
                <a:gd name="connsiteX545" fmla="*/ 2369701 w 4488985"/>
                <a:gd name="connsiteY545" fmla="*/ 2056714 h 2422364"/>
                <a:gd name="connsiteX546" fmla="*/ 2347993 w 4488985"/>
                <a:gd name="connsiteY546" fmla="*/ 2051527 h 2422364"/>
                <a:gd name="connsiteX547" fmla="*/ 2340474 w 4488985"/>
                <a:gd name="connsiteY547" fmla="*/ 2041867 h 2422364"/>
                <a:gd name="connsiteX548" fmla="*/ 2333312 w 4488985"/>
                <a:gd name="connsiteY548" fmla="*/ 2037586 h 2422364"/>
                <a:gd name="connsiteX549" fmla="*/ 2321072 w 4488985"/>
                <a:gd name="connsiteY549" fmla="*/ 2038245 h 2422364"/>
                <a:gd name="connsiteX550" fmla="*/ 2312126 w 4488985"/>
                <a:gd name="connsiteY550" fmla="*/ 2033415 h 2422364"/>
                <a:gd name="connsiteX551" fmla="*/ 2294288 w 4488985"/>
                <a:gd name="connsiteY551" fmla="*/ 2030863 h 2422364"/>
                <a:gd name="connsiteX552" fmla="*/ 2266899 w 4488985"/>
                <a:gd name="connsiteY552" fmla="*/ 2038602 h 2422364"/>
                <a:gd name="connsiteX553" fmla="*/ 2257103 w 4488985"/>
                <a:gd name="connsiteY553" fmla="*/ 2044557 h 2422364"/>
                <a:gd name="connsiteX554" fmla="*/ 2244396 w 4488985"/>
                <a:gd name="connsiteY554" fmla="*/ 2045270 h 2422364"/>
                <a:gd name="connsiteX555" fmla="*/ 2222058 w 4488985"/>
                <a:gd name="connsiteY555" fmla="*/ 2037285 h 2422364"/>
                <a:gd name="connsiteX556" fmla="*/ 2205455 w 4488985"/>
                <a:gd name="connsiteY556" fmla="*/ 2024743 h 2422364"/>
                <a:gd name="connsiteX557" fmla="*/ 2202299 w 4488985"/>
                <a:gd name="connsiteY557" fmla="*/ 2011433 h 2422364"/>
                <a:gd name="connsiteX558" fmla="*/ 2200927 w 4488985"/>
                <a:gd name="connsiteY558" fmla="*/ 1992635 h 2422364"/>
                <a:gd name="connsiteX559" fmla="*/ 2197935 w 4488985"/>
                <a:gd name="connsiteY559" fmla="*/ 1988518 h 2422364"/>
                <a:gd name="connsiteX560" fmla="*/ 2175816 w 4488985"/>
                <a:gd name="connsiteY560" fmla="*/ 1983194 h 2422364"/>
                <a:gd name="connsiteX561" fmla="*/ 2153011 w 4488985"/>
                <a:gd name="connsiteY561" fmla="*/ 1971531 h 2422364"/>
                <a:gd name="connsiteX562" fmla="*/ 2135859 w 4488985"/>
                <a:gd name="connsiteY562" fmla="*/ 1969912 h 2422364"/>
                <a:gd name="connsiteX563" fmla="*/ 2105618 w 4488985"/>
                <a:gd name="connsiteY563" fmla="*/ 1953062 h 2422364"/>
                <a:gd name="connsiteX564" fmla="*/ 2098564 w 4488985"/>
                <a:gd name="connsiteY564" fmla="*/ 1966180 h 2422364"/>
                <a:gd name="connsiteX565" fmla="*/ 2088466 w 4488985"/>
                <a:gd name="connsiteY565" fmla="*/ 1972217 h 2422364"/>
                <a:gd name="connsiteX566" fmla="*/ 2084322 w 4488985"/>
                <a:gd name="connsiteY566" fmla="*/ 1983085 h 2422364"/>
                <a:gd name="connsiteX567" fmla="*/ 2079052 w 4488985"/>
                <a:gd name="connsiteY567" fmla="*/ 1986789 h 2422364"/>
                <a:gd name="connsiteX568" fmla="*/ 2076171 w 4488985"/>
                <a:gd name="connsiteY568" fmla="*/ 1992937 h 2422364"/>
                <a:gd name="connsiteX569" fmla="*/ 2073838 w 4488985"/>
                <a:gd name="connsiteY569" fmla="*/ 2006548 h 2422364"/>
                <a:gd name="connsiteX570" fmla="*/ 2076939 w 4488985"/>
                <a:gd name="connsiteY570" fmla="*/ 2011927 h 2422364"/>
                <a:gd name="connsiteX571" fmla="*/ 2078887 w 4488985"/>
                <a:gd name="connsiteY571" fmla="*/ 2021121 h 2422364"/>
                <a:gd name="connsiteX572" fmla="*/ 2086188 w 4488985"/>
                <a:gd name="connsiteY572" fmla="*/ 2027844 h 2422364"/>
                <a:gd name="connsiteX573" fmla="*/ 2084651 w 4488985"/>
                <a:gd name="connsiteY573" fmla="*/ 2040632 h 2422364"/>
                <a:gd name="connsiteX574" fmla="*/ 2075238 w 4488985"/>
                <a:gd name="connsiteY574" fmla="*/ 2052817 h 2422364"/>
                <a:gd name="connsiteX575" fmla="*/ 2067115 w 4488985"/>
                <a:gd name="connsiteY575" fmla="*/ 2055177 h 2422364"/>
                <a:gd name="connsiteX576" fmla="*/ 2058991 w 4488985"/>
                <a:gd name="connsiteY576" fmla="*/ 2062614 h 2422364"/>
                <a:gd name="connsiteX577" fmla="*/ 2054546 w 4488985"/>
                <a:gd name="connsiteY577" fmla="*/ 2062285 h 2422364"/>
                <a:gd name="connsiteX578" fmla="*/ 2046752 w 4488985"/>
                <a:gd name="connsiteY578" fmla="*/ 2056302 h 2422364"/>
                <a:gd name="connsiteX579" fmla="*/ 2036955 w 4488985"/>
                <a:gd name="connsiteY579" fmla="*/ 2054491 h 2422364"/>
                <a:gd name="connsiteX580" fmla="*/ 2031603 w 4488985"/>
                <a:gd name="connsiteY580" fmla="*/ 2056138 h 2422364"/>
                <a:gd name="connsiteX581" fmla="*/ 2024413 w 4488985"/>
                <a:gd name="connsiteY581" fmla="*/ 2052460 h 2422364"/>
                <a:gd name="connsiteX582" fmla="*/ 2014589 w 4488985"/>
                <a:gd name="connsiteY582" fmla="*/ 2051280 h 2422364"/>
                <a:gd name="connsiteX583" fmla="*/ 2002322 w 4488985"/>
                <a:gd name="connsiteY583" fmla="*/ 2055561 h 2422364"/>
                <a:gd name="connsiteX584" fmla="*/ 1993568 w 4488985"/>
                <a:gd name="connsiteY584" fmla="*/ 2054326 h 2422364"/>
                <a:gd name="connsiteX585" fmla="*/ 1987558 w 4488985"/>
                <a:gd name="connsiteY585" fmla="*/ 2050155 h 2422364"/>
                <a:gd name="connsiteX586" fmla="*/ 1979571 w 4488985"/>
                <a:gd name="connsiteY586" fmla="*/ 2050265 h 2422364"/>
                <a:gd name="connsiteX587" fmla="*/ 1972766 w 4488985"/>
                <a:gd name="connsiteY587" fmla="*/ 2042060 h 2422364"/>
                <a:gd name="connsiteX588" fmla="*/ 1969856 w 4488985"/>
                <a:gd name="connsiteY588" fmla="*/ 2030424 h 2422364"/>
                <a:gd name="connsiteX589" fmla="*/ 1967167 w 4488985"/>
                <a:gd name="connsiteY589" fmla="*/ 2026582 h 2422364"/>
                <a:gd name="connsiteX590" fmla="*/ 1934153 w 4488985"/>
                <a:gd name="connsiteY590" fmla="*/ 2025923 h 2422364"/>
                <a:gd name="connsiteX591" fmla="*/ 1931217 w 4488985"/>
                <a:gd name="connsiteY591" fmla="*/ 2023536 h 2422364"/>
                <a:gd name="connsiteX592" fmla="*/ 1929955 w 4488985"/>
                <a:gd name="connsiteY592" fmla="*/ 2017251 h 2422364"/>
                <a:gd name="connsiteX593" fmla="*/ 1920240 w 4488985"/>
                <a:gd name="connsiteY593" fmla="*/ 2019062 h 2422364"/>
                <a:gd name="connsiteX594" fmla="*/ 1912144 w 4488985"/>
                <a:gd name="connsiteY594" fmla="*/ 2012421 h 2422364"/>
                <a:gd name="connsiteX595" fmla="*/ 1909373 w 4488985"/>
                <a:gd name="connsiteY595" fmla="*/ 2016592 h 2422364"/>
                <a:gd name="connsiteX596" fmla="*/ 1907232 w 4488985"/>
                <a:gd name="connsiteY596" fmla="*/ 2019830 h 2422364"/>
                <a:gd name="connsiteX597" fmla="*/ 1894416 w 4488985"/>
                <a:gd name="connsiteY597" fmla="*/ 2019913 h 2422364"/>
                <a:gd name="connsiteX598" fmla="*/ 1888159 w 4488985"/>
                <a:gd name="connsiteY598" fmla="*/ 2026143 h 2422364"/>
                <a:gd name="connsiteX599" fmla="*/ 1883796 w 4488985"/>
                <a:gd name="connsiteY599" fmla="*/ 2030451 h 2422364"/>
                <a:gd name="connsiteX600" fmla="*/ 1877786 w 4488985"/>
                <a:gd name="connsiteY600" fmla="*/ 2031659 h 2422364"/>
                <a:gd name="connsiteX601" fmla="*/ 1870623 w 4488985"/>
                <a:gd name="connsiteY601" fmla="*/ 2033086 h 2422364"/>
                <a:gd name="connsiteX602" fmla="*/ 1861869 w 4488985"/>
                <a:gd name="connsiteY602" fmla="*/ 2041264 h 2422364"/>
                <a:gd name="connsiteX603" fmla="*/ 1848723 w 4488985"/>
                <a:gd name="connsiteY603" fmla="*/ 2046642 h 2422364"/>
                <a:gd name="connsiteX604" fmla="*/ 1844991 w 4488985"/>
                <a:gd name="connsiteY604" fmla="*/ 2048179 h 2422364"/>
                <a:gd name="connsiteX605" fmla="*/ 1840929 w 4488985"/>
                <a:gd name="connsiteY605" fmla="*/ 2053284 h 2422364"/>
                <a:gd name="connsiteX606" fmla="*/ 1832944 w 4488985"/>
                <a:gd name="connsiteY606" fmla="*/ 2055040 h 2422364"/>
                <a:gd name="connsiteX607" fmla="*/ 1831654 w 4488985"/>
                <a:gd name="connsiteY607" fmla="*/ 2057153 h 2422364"/>
                <a:gd name="connsiteX608" fmla="*/ 1834124 w 4488985"/>
                <a:gd name="connsiteY608" fmla="*/ 2062285 h 2422364"/>
                <a:gd name="connsiteX609" fmla="*/ 1832999 w 4488985"/>
                <a:gd name="connsiteY609" fmla="*/ 2065221 h 2422364"/>
                <a:gd name="connsiteX610" fmla="*/ 1824052 w 4488985"/>
                <a:gd name="connsiteY610" fmla="*/ 2070051 h 2422364"/>
                <a:gd name="connsiteX611" fmla="*/ 1820347 w 4488985"/>
                <a:gd name="connsiteY611" fmla="*/ 2069228 h 2422364"/>
                <a:gd name="connsiteX612" fmla="*/ 1816725 w 4488985"/>
                <a:gd name="connsiteY612" fmla="*/ 2074140 h 2422364"/>
                <a:gd name="connsiteX613" fmla="*/ 1810276 w 4488985"/>
                <a:gd name="connsiteY613" fmla="*/ 2074085 h 2422364"/>
                <a:gd name="connsiteX614" fmla="*/ 1806845 w 4488985"/>
                <a:gd name="connsiteY614" fmla="*/ 2076748 h 2422364"/>
                <a:gd name="connsiteX615" fmla="*/ 1791505 w 4488985"/>
                <a:gd name="connsiteY615" fmla="*/ 2076007 h 2422364"/>
                <a:gd name="connsiteX616" fmla="*/ 1787855 w 4488985"/>
                <a:gd name="connsiteY616" fmla="*/ 2080425 h 2422364"/>
                <a:gd name="connsiteX617" fmla="*/ 1787087 w 4488985"/>
                <a:gd name="connsiteY617" fmla="*/ 2086215 h 2422364"/>
                <a:gd name="connsiteX618" fmla="*/ 1778524 w 4488985"/>
                <a:gd name="connsiteY618" fmla="*/ 2089563 h 2422364"/>
                <a:gd name="connsiteX619" fmla="*/ 1763430 w 4488985"/>
                <a:gd name="connsiteY619" fmla="*/ 2093323 h 2422364"/>
                <a:gd name="connsiteX620" fmla="*/ 1747239 w 4488985"/>
                <a:gd name="connsiteY620" fmla="*/ 2074497 h 2422364"/>
                <a:gd name="connsiteX621" fmla="*/ 1744769 w 4488985"/>
                <a:gd name="connsiteY621" fmla="*/ 2063822 h 2422364"/>
                <a:gd name="connsiteX622" fmla="*/ 1728002 w 4488985"/>
                <a:gd name="connsiteY622" fmla="*/ 2074497 h 2422364"/>
                <a:gd name="connsiteX623" fmla="*/ 1704758 w 4488985"/>
                <a:gd name="connsiteY623" fmla="*/ 2069530 h 2422364"/>
                <a:gd name="connsiteX624" fmla="*/ 1694000 w 4488985"/>
                <a:gd name="connsiteY624" fmla="*/ 2051170 h 2422364"/>
                <a:gd name="connsiteX625" fmla="*/ 1676793 w 4488985"/>
                <a:gd name="connsiteY625" fmla="*/ 2040440 h 2422364"/>
                <a:gd name="connsiteX626" fmla="*/ 1670728 w 4488985"/>
                <a:gd name="connsiteY626" fmla="*/ 2026993 h 2422364"/>
                <a:gd name="connsiteX627" fmla="*/ 1663428 w 4488985"/>
                <a:gd name="connsiteY627" fmla="*/ 2016592 h 2422364"/>
                <a:gd name="connsiteX628" fmla="*/ 1649432 w 4488985"/>
                <a:gd name="connsiteY628" fmla="*/ 2007564 h 2422364"/>
                <a:gd name="connsiteX629" fmla="*/ 1639333 w 4488985"/>
                <a:gd name="connsiteY629" fmla="*/ 2007344 h 2422364"/>
                <a:gd name="connsiteX630" fmla="*/ 1620617 w 4488985"/>
                <a:gd name="connsiteY630" fmla="*/ 2016675 h 2422364"/>
                <a:gd name="connsiteX631" fmla="*/ 1596687 w 4488985"/>
                <a:gd name="connsiteY631" fmla="*/ 2016812 h 2422364"/>
                <a:gd name="connsiteX632" fmla="*/ 1582417 w 4488985"/>
                <a:gd name="connsiteY632" fmla="*/ 2006384 h 2422364"/>
                <a:gd name="connsiteX633" fmla="*/ 1578575 w 4488985"/>
                <a:gd name="connsiteY633" fmla="*/ 1997657 h 2422364"/>
                <a:gd name="connsiteX634" fmla="*/ 1569464 w 4488985"/>
                <a:gd name="connsiteY634" fmla="*/ 1994171 h 2422364"/>
                <a:gd name="connsiteX635" fmla="*/ 1563097 w 4488985"/>
                <a:gd name="connsiteY635" fmla="*/ 1998398 h 2422364"/>
                <a:gd name="connsiteX636" fmla="*/ 1557636 w 4488985"/>
                <a:gd name="connsiteY636" fmla="*/ 2009594 h 2422364"/>
                <a:gd name="connsiteX637" fmla="*/ 1549677 w 4488985"/>
                <a:gd name="connsiteY637" fmla="*/ 2011735 h 2422364"/>
                <a:gd name="connsiteX638" fmla="*/ 1523799 w 4488985"/>
                <a:gd name="connsiteY638" fmla="*/ 1962091 h 2422364"/>
                <a:gd name="connsiteX639" fmla="*/ 1491389 w 4488985"/>
                <a:gd name="connsiteY639" fmla="*/ 1904872 h 2422364"/>
                <a:gd name="connsiteX640" fmla="*/ 1482277 w 4488985"/>
                <a:gd name="connsiteY640" fmla="*/ 1892825 h 2422364"/>
                <a:gd name="connsiteX641" fmla="*/ 1446931 w 4488985"/>
                <a:gd name="connsiteY641" fmla="*/ 1858630 h 2422364"/>
                <a:gd name="connsiteX642" fmla="*/ 1446821 w 4488985"/>
                <a:gd name="connsiteY642" fmla="*/ 1854130 h 2422364"/>
                <a:gd name="connsiteX643" fmla="*/ 1453133 w 4488985"/>
                <a:gd name="connsiteY643" fmla="*/ 1849053 h 2422364"/>
                <a:gd name="connsiteX644" fmla="*/ 1453627 w 4488985"/>
                <a:gd name="connsiteY644" fmla="*/ 1842000 h 2422364"/>
                <a:gd name="connsiteX645" fmla="*/ 1438835 w 4488985"/>
                <a:gd name="connsiteY645" fmla="*/ 1844909 h 2422364"/>
                <a:gd name="connsiteX646" fmla="*/ 1419213 w 4488985"/>
                <a:gd name="connsiteY646" fmla="*/ 1854624 h 2422364"/>
                <a:gd name="connsiteX647" fmla="*/ 1410239 w 4488985"/>
                <a:gd name="connsiteY647" fmla="*/ 1864997 h 2422364"/>
                <a:gd name="connsiteX648" fmla="*/ 1389246 w 4488985"/>
                <a:gd name="connsiteY648" fmla="*/ 1876990 h 2422364"/>
                <a:gd name="connsiteX649" fmla="*/ 1382632 w 4488985"/>
                <a:gd name="connsiteY649" fmla="*/ 1884399 h 2422364"/>
                <a:gd name="connsiteX650" fmla="*/ 1368526 w 4488985"/>
                <a:gd name="connsiteY650" fmla="*/ 1880612 h 2422364"/>
                <a:gd name="connsiteX651" fmla="*/ 1355271 w 4488985"/>
                <a:gd name="connsiteY651" fmla="*/ 1885470 h 2422364"/>
                <a:gd name="connsiteX652" fmla="*/ 1352417 w 4488985"/>
                <a:gd name="connsiteY652" fmla="*/ 1882698 h 2422364"/>
                <a:gd name="connsiteX653" fmla="*/ 1351978 w 4488985"/>
                <a:gd name="connsiteY653" fmla="*/ 1878060 h 2422364"/>
                <a:gd name="connsiteX654" fmla="*/ 1360815 w 4488985"/>
                <a:gd name="connsiteY654" fmla="*/ 1865711 h 2422364"/>
                <a:gd name="connsiteX655" fmla="*/ 1360870 w 4488985"/>
                <a:gd name="connsiteY655" fmla="*/ 1860991 h 2422364"/>
                <a:gd name="connsiteX656" fmla="*/ 1349920 w 4488985"/>
                <a:gd name="connsiteY656" fmla="*/ 1862033 h 2422364"/>
                <a:gd name="connsiteX657" fmla="*/ 1333838 w 4488985"/>
                <a:gd name="connsiteY657" fmla="*/ 1856024 h 2422364"/>
                <a:gd name="connsiteX658" fmla="*/ 1330490 w 4488985"/>
                <a:gd name="connsiteY658" fmla="*/ 1862143 h 2422364"/>
                <a:gd name="connsiteX659" fmla="*/ 1328075 w 4488985"/>
                <a:gd name="connsiteY659" fmla="*/ 1862774 h 2422364"/>
                <a:gd name="connsiteX660" fmla="*/ 1322752 w 4488985"/>
                <a:gd name="connsiteY660" fmla="*/ 1851633 h 2422364"/>
                <a:gd name="connsiteX661" fmla="*/ 1317922 w 4488985"/>
                <a:gd name="connsiteY661" fmla="*/ 1846364 h 2422364"/>
                <a:gd name="connsiteX662" fmla="*/ 1314052 w 4488985"/>
                <a:gd name="connsiteY662" fmla="*/ 1850864 h 2422364"/>
                <a:gd name="connsiteX663" fmla="*/ 1301511 w 4488985"/>
                <a:gd name="connsiteY663" fmla="*/ 1854240 h 2422364"/>
                <a:gd name="connsiteX664" fmla="*/ 1289106 w 4488985"/>
                <a:gd name="connsiteY664" fmla="*/ 1852154 h 2422364"/>
                <a:gd name="connsiteX665" fmla="*/ 1286911 w 4488985"/>
                <a:gd name="connsiteY665" fmla="*/ 1846117 h 2422364"/>
                <a:gd name="connsiteX666" fmla="*/ 1289380 w 4488985"/>
                <a:gd name="connsiteY666" fmla="*/ 1838789 h 2422364"/>
                <a:gd name="connsiteX667" fmla="*/ 1290012 w 4488985"/>
                <a:gd name="connsiteY667" fmla="*/ 1828827 h 2422364"/>
                <a:gd name="connsiteX668" fmla="*/ 1282437 w 4488985"/>
                <a:gd name="connsiteY668" fmla="*/ 1806050 h 2422364"/>
                <a:gd name="connsiteX669" fmla="*/ 1277635 w 4488985"/>
                <a:gd name="connsiteY669" fmla="*/ 1798283 h 2422364"/>
                <a:gd name="connsiteX670" fmla="*/ 1269293 w 4488985"/>
                <a:gd name="connsiteY670" fmla="*/ 1797104 h 2422364"/>
                <a:gd name="connsiteX671" fmla="*/ 1258370 w 4488985"/>
                <a:gd name="connsiteY671" fmla="*/ 1801247 h 2422364"/>
                <a:gd name="connsiteX672" fmla="*/ 1244978 w 4488985"/>
                <a:gd name="connsiteY672" fmla="*/ 1794057 h 2422364"/>
                <a:gd name="connsiteX673" fmla="*/ 1226454 w 4488985"/>
                <a:gd name="connsiteY673" fmla="*/ 1790517 h 2422364"/>
                <a:gd name="connsiteX674" fmla="*/ 1204719 w 4488985"/>
                <a:gd name="connsiteY674" fmla="*/ 1802098 h 2422364"/>
                <a:gd name="connsiteX675" fmla="*/ 1196760 w 4488985"/>
                <a:gd name="connsiteY675" fmla="*/ 1812581 h 2422364"/>
                <a:gd name="connsiteX676" fmla="*/ 1142918 w 4488985"/>
                <a:gd name="connsiteY676" fmla="*/ 1828114 h 2422364"/>
                <a:gd name="connsiteX677" fmla="*/ 1122555 w 4488985"/>
                <a:gd name="connsiteY677" fmla="*/ 1829706 h 2422364"/>
                <a:gd name="connsiteX678" fmla="*/ 1109711 w 4488985"/>
                <a:gd name="connsiteY678" fmla="*/ 1842165 h 2422364"/>
                <a:gd name="connsiteX679" fmla="*/ 1095331 w 4488985"/>
                <a:gd name="connsiteY679" fmla="*/ 1841945 h 2422364"/>
                <a:gd name="connsiteX680" fmla="*/ 1059354 w 4488985"/>
                <a:gd name="connsiteY680" fmla="*/ 1850288 h 2422364"/>
                <a:gd name="connsiteX681" fmla="*/ 1034929 w 4488985"/>
                <a:gd name="connsiteY681" fmla="*/ 1862912 h 2422364"/>
                <a:gd name="connsiteX682" fmla="*/ 1028261 w 4488985"/>
                <a:gd name="connsiteY682" fmla="*/ 1859893 h 2422364"/>
                <a:gd name="connsiteX683" fmla="*/ 1015390 w 4488985"/>
                <a:gd name="connsiteY683" fmla="*/ 1862253 h 2422364"/>
                <a:gd name="connsiteX684" fmla="*/ 1002190 w 4488985"/>
                <a:gd name="connsiteY684" fmla="*/ 1859070 h 2422364"/>
                <a:gd name="connsiteX685" fmla="*/ 995384 w 4488985"/>
                <a:gd name="connsiteY685" fmla="*/ 1863351 h 2422364"/>
                <a:gd name="connsiteX686" fmla="*/ 991323 w 4488985"/>
                <a:gd name="connsiteY686" fmla="*/ 1878719 h 2422364"/>
                <a:gd name="connsiteX687" fmla="*/ 1000488 w 4488985"/>
                <a:gd name="connsiteY687" fmla="*/ 1884894 h 2422364"/>
                <a:gd name="connsiteX688" fmla="*/ 997360 w 4488985"/>
                <a:gd name="connsiteY688" fmla="*/ 1889696 h 2422364"/>
                <a:gd name="connsiteX689" fmla="*/ 997360 w 4488985"/>
                <a:gd name="connsiteY689" fmla="*/ 1894471 h 2422364"/>
                <a:gd name="connsiteX690" fmla="*/ 1012755 w 4488985"/>
                <a:gd name="connsiteY690" fmla="*/ 1901195 h 2422364"/>
                <a:gd name="connsiteX691" fmla="*/ 1020193 w 4488985"/>
                <a:gd name="connsiteY691" fmla="*/ 1908549 h 2422364"/>
                <a:gd name="connsiteX692" fmla="*/ 1017284 w 4488985"/>
                <a:gd name="connsiteY692" fmla="*/ 1911184 h 2422364"/>
                <a:gd name="connsiteX693" fmla="*/ 1003260 w 4488985"/>
                <a:gd name="connsiteY693" fmla="*/ 1910141 h 2422364"/>
                <a:gd name="connsiteX694" fmla="*/ 990911 w 4488985"/>
                <a:gd name="connsiteY694" fmla="*/ 1914285 h 2422364"/>
                <a:gd name="connsiteX695" fmla="*/ 983721 w 4488985"/>
                <a:gd name="connsiteY695" fmla="*/ 1925427 h 2422364"/>
                <a:gd name="connsiteX696" fmla="*/ 987865 w 4488985"/>
                <a:gd name="connsiteY696" fmla="*/ 1936678 h 2422364"/>
                <a:gd name="connsiteX697" fmla="*/ 988002 w 4488985"/>
                <a:gd name="connsiteY697" fmla="*/ 1943484 h 2422364"/>
                <a:gd name="connsiteX698" fmla="*/ 965005 w 4488985"/>
                <a:gd name="connsiteY698" fmla="*/ 1961405 h 2422364"/>
                <a:gd name="connsiteX699" fmla="*/ 976092 w 4488985"/>
                <a:gd name="connsiteY699" fmla="*/ 1975099 h 2422364"/>
                <a:gd name="connsiteX700" fmla="*/ 1004632 w 4488985"/>
                <a:gd name="connsiteY700" fmla="*/ 1990137 h 2422364"/>
                <a:gd name="connsiteX701" fmla="*/ 1001860 w 4488985"/>
                <a:gd name="connsiteY701" fmla="*/ 2012257 h 2422364"/>
                <a:gd name="connsiteX702" fmla="*/ 991075 w 4488985"/>
                <a:gd name="connsiteY702" fmla="*/ 2019501 h 2422364"/>
                <a:gd name="connsiteX703" fmla="*/ 973183 w 4488985"/>
                <a:gd name="connsiteY703" fmla="*/ 2020434 h 2422364"/>
                <a:gd name="connsiteX704" fmla="*/ 962837 w 4488985"/>
                <a:gd name="connsiteY704" fmla="*/ 2015796 h 2422364"/>
                <a:gd name="connsiteX705" fmla="*/ 954385 w 4488985"/>
                <a:gd name="connsiteY705" fmla="*/ 2024139 h 2422364"/>
                <a:gd name="connsiteX706" fmla="*/ 946810 w 4488985"/>
                <a:gd name="connsiteY706" fmla="*/ 2026005 h 2422364"/>
                <a:gd name="connsiteX707" fmla="*/ 924773 w 4488985"/>
                <a:gd name="connsiteY707" fmla="*/ 2016483 h 2422364"/>
                <a:gd name="connsiteX708" fmla="*/ 916568 w 4488985"/>
                <a:gd name="connsiteY708" fmla="*/ 2004600 h 2422364"/>
                <a:gd name="connsiteX709" fmla="*/ 907155 w 4488985"/>
                <a:gd name="connsiteY709" fmla="*/ 2000675 h 2422364"/>
                <a:gd name="connsiteX710" fmla="*/ 897001 w 4488985"/>
                <a:gd name="connsiteY710" fmla="*/ 2001718 h 2422364"/>
                <a:gd name="connsiteX711" fmla="*/ 887753 w 4488985"/>
                <a:gd name="connsiteY711" fmla="*/ 2009594 h 2422364"/>
                <a:gd name="connsiteX712" fmla="*/ 874800 w 4488985"/>
                <a:gd name="connsiteY712" fmla="*/ 2003118 h 2422364"/>
                <a:gd name="connsiteX713" fmla="*/ 857621 w 4488985"/>
                <a:gd name="connsiteY713" fmla="*/ 2004929 h 2422364"/>
                <a:gd name="connsiteX714" fmla="*/ 843186 w 4488985"/>
                <a:gd name="connsiteY714" fmla="*/ 2018568 h 2422364"/>
                <a:gd name="connsiteX715" fmla="*/ 833223 w 4488985"/>
                <a:gd name="connsiteY715" fmla="*/ 2023892 h 2422364"/>
                <a:gd name="connsiteX716" fmla="*/ 822685 w 4488985"/>
                <a:gd name="connsiteY716" fmla="*/ 2020133 h 2422364"/>
                <a:gd name="connsiteX717" fmla="*/ 814535 w 4488985"/>
                <a:gd name="connsiteY717" fmla="*/ 2012640 h 2422364"/>
                <a:gd name="connsiteX718" fmla="*/ 808635 w 4488985"/>
                <a:gd name="connsiteY718" fmla="*/ 2012311 h 2422364"/>
                <a:gd name="connsiteX719" fmla="*/ 805012 w 4488985"/>
                <a:gd name="connsiteY719" fmla="*/ 2015138 h 2422364"/>
                <a:gd name="connsiteX720" fmla="*/ 802460 w 4488985"/>
                <a:gd name="connsiteY720" fmla="*/ 2023124 h 2422364"/>
                <a:gd name="connsiteX721" fmla="*/ 799743 w 4488985"/>
                <a:gd name="connsiteY721" fmla="*/ 2024578 h 2422364"/>
                <a:gd name="connsiteX722" fmla="*/ 792608 w 4488985"/>
                <a:gd name="connsiteY722" fmla="*/ 2008744 h 2422364"/>
                <a:gd name="connsiteX723" fmla="*/ 766811 w 4488985"/>
                <a:gd name="connsiteY723" fmla="*/ 1984676 h 2422364"/>
                <a:gd name="connsiteX724" fmla="*/ 744034 w 4488985"/>
                <a:gd name="connsiteY724" fmla="*/ 1983386 h 2422364"/>
                <a:gd name="connsiteX725" fmla="*/ 731383 w 4488985"/>
                <a:gd name="connsiteY725" fmla="*/ 1972985 h 2422364"/>
                <a:gd name="connsiteX726" fmla="*/ 722079 w 4488985"/>
                <a:gd name="connsiteY726" fmla="*/ 1975538 h 2422364"/>
                <a:gd name="connsiteX727" fmla="*/ 714670 w 4488985"/>
                <a:gd name="connsiteY727" fmla="*/ 1981795 h 2422364"/>
                <a:gd name="connsiteX728" fmla="*/ 709099 w 4488985"/>
                <a:gd name="connsiteY728" fmla="*/ 1982289 h 2422364"/>
                <a:gd name="connsiteX729" fmla="*/ 702266 w 4488985"/>
                <a:gd name="connsiteY729" fmla="*/ 1975291 h 2422364"/>
                <a:gd name="connsiteX730" fmla="*/ 691892 w 4488985"/>
                <a:gd name="connsiteY730" fmla="*/ 1972766 h 2422364"/>
                <a:gd name="connsiteX731" fmla="*/ 681931 w 4488985"/>
                <a:gd name="connsiteY731" fmla="*/ 1979572 h 2422364"/>
                <a:gd name="connsiteX732" fmla="*/ 673094 w 4488985"/>
                <a:gd name="connsiteY732" fmla="*/ 1991482 h 2422364"/>
                <a:gd name="connsiteX733" fmla="*/ 651194 w 4488985"/>
                <a:gd name="connsiteY733" fmla="*/ 2001718 h 2422364"/>
                <a:gd name="connsiteX734" fmla="*/ 643153 w 4488985"/>
                <a:gd name="connsiteY734" fmla="*/ 2015193 h 2422364"/>
                <a:gd name="connsiteX735" fmla="*/ 626962 w 4488985"/>
                <a:gd name="connsiteY735" fmla="*/ 2024167 h 2422364"/>
                <a:gd name="connsiteX736" fmla="*/ 630941 w 4488985"/>
                <a:gd name="connsiteY736" fmla="*/ 2047987 h 2422364"/>
                <a:gd name="connsiteX737" fmla="*/ 625700 w 4488985"/>
                <a:gd name="connsiteY737" fmla="*/ 2056522 h 2422364"/>
                <a:gd name="connsiteX738" fmla="*/ 616589 w 4488985"/>
                <a:gd name="connsiteY738" fmla="*/ 2058031 h 2422364"/>
                <a:gd name="connsiteX739" fmla="*/ 601275 w 4488985"/>
                <a:gd name="connsiteY739" fmla="*/ 2037998 h 2422364"/>
                <a:gd name="connsiteX740" fmla="*/ 592384 w 4488985"/>
                <a:gd name="connsiteY740" fmla="*/ 2034787 h 2422364"/>
                <a:gd name="connsiteX741" fmla="*/ 588185 w 4488985"/>
                <a:gd name="connsiteY741" fmla="*/ 2039507 h 2422364"/>
                <a:gd name="connsiteX742" fmla="*/ 583794 w 4488985"/>
                <a:gd name="connsiteY742" fmla="*/ 2052433 h 2422364"/>
                <a:gd name="connsiteX743" fmla="*/ 574875 w 4488985"/>
                <a:gd name="connsiteY743" fmla="*/ 2063547 h 2422364"/>
                <a:gd name="connsiteX744" fmla="*/ 572735 w 4488985"/>
                <a:gd name="connsiteY744" fmla="*/ 2080315 h 2422364"/>
                <a:gd name="connsiteX745" fmla="*/ 577125 w 4488985"/>
                <a:gd name="connsiteY745" fmla="*/ 2092253 h 2422364"/>
                <a:gd name="connsiteX746" fmla="*/ 570237 w 4488985"/>
                <a:gd name="connsiteY746" fmla="*/ 2104602 h 2422364"/>
                <a:gd name="connsiteX747" fmla="*/ 565929 w 4488985"/>
                <a:gd name="connsiteY747" fmla="*/ 2120080 h 2422364"/>
                <a:gd name="connsiteX748" fmla="*/ 579458 w 4488985"/>
                <a:gd name="connsiteY748" fmla="*/ 2133609 h 2422364"/>
                <a:gd name="connsiteX749" fmla="*/ 580830 w 4488985"/>
                <a:gd name="connsiteY749" fmla="*/ 2145273 h 2422364"/>
                <a:gd name="connsiteX750" fmla="*/ 585276 w 4488985"/>
                <a:gd name="connsiteY750" fmla="*/ 2153094 h 2422364"/>
                <a:gd name="connsiteX751" fmla="*/ 606764 w 4488985"/>
                <a:gd name="connsiteY751" fmla="*/ 2153341 h 2422364"/>
                <a:gd name="connsiteX752" fmla="*/ 624135 w 4488985"/>
                <a:gd name="connsiteY752" fmla="*/ 2169505 h 2422364"/>
                <a:gd name="connsiteX753" fmla="*/ 634948 w 4488985"/>
                <a:gd name="connsiteY753" fmla="*/ 2194423 h 2422364"/>
                <a:gd name="connsiteX754" fmla="*/ 632258 w 4488985"/>
                <a:gd name="connsiteY754" fmla="*/ 2197908 h 2422364"/>
                <a:gd name="connsiteX755" fmla="*/ 625508 w 4488985"/>
                <a:gd name="connsiteY755" fmla="*/ 2197414 h 2422364"/>
                <a:gd name="connsiteX756" fmla="*/ 624053 w 4488985"/>
                <a:gd name="connsiteY756" fmla="*/ 2200186 h 2422364"/>
                <a:gd name="connsiteX757" fmla="*/ 642907 w 4488985"/>
                <a:gd name="connsiteY757" fmla="*/ 2214292 h 2422364"/>
                <a:gd name="connsiteX758" fmla="*/ 633905 w 4488985"/>
                <a:gd name="connsiteY758" fmla="*/ 2229907 h 2422364"/>
                <a:gd name="connsiteX759" fmla="*/ 632231 w 4488985"/>
                <a:gd name="connsiteY759" fmla="*/ 2229440 h 2422364"/>
                <a:gd name="connsiteX760" fmla="*/ 634124 w 4488985"/>
                <a:gd name="connsiteY760" fmla="*/ 2224747 h 2422364"/>
                <a:gd name="connsiteX761" fmla="*/ 627922 w 4488985"/>
                <a:gd name="connsiteY761" fmla="*/ 2225790 h 2422364"/>
                <a:gd name="connsiteX762" fmla="*/ 628307 w 4488985"/>
                <a:gd name="connsiteY762" fmla="*/ 2233804 h 2422364"/>
                <a:gd name="connsiteX763" fmla="*/ 622270 w 4488985"/>
                <a:gd name="connsiteY763" fmla="*/ 2231334 h 2422364"/>
                <a:gd name="connsiteX764" fmla="*/ 618208 w 4488985"/>
                <a:gd name="connsiteY764" fmla="*/ 2237975 h 2422364"/>
                <a:gd name="connsiteX765" fmla="*/ 615683 w 4488985"/>
                <a:gd name="connsiteY765" fmla="*/ 2236767 h 2422364"/>
                <a:gd name="connsiteX766" fmla="*/ 601605 w 4488985"/>
                <a:gd name="connsiteY766" fmla="*/ 2243601 h 2422364"/>
                <a:gd name="connsiteX767" fmla="*/ 596665 w 4488985"/>
                <a:gd name="connsiteY767" fmla="*/ 2242421 h 2422364"/>
                <a:gd name="connsiteX768" fmla="*/ 580666 w 4488985"/>
                <a:gd name="connsiteY768" fmla="*/ 2276121 h 2422364"/>
                <a:gd name="connsiteX769" fmla="*/ 576165 w 4488985"/>
                <a:gd name="connsiteY769" fmla="*/ 2279963 h 2422364"/>
                <a:gd name="connsiteX770" fmla="*/ 571555 w 4488985"/>
                <a:gd name="connsiteY770" fmla="*/ 2283915 h 2422364"/>
                <a:gd name="connsiteX771" fmla="*/ 569359 w 4488985"/>
                <a:gd name="connsiteY771" fmla="*/ 2291406 h 2422364"/>
                <a:gd name="connsiteX772" fmla="*/ 570622 w 4488985"/>
                <a:gd name="connsiteY772" fmla="*/ 2294645 h 2422364"/>
                <a:gd name="connsiteX773" fmla="*/ 576165 w 4488985"/>
                <a:gd name="connsiteY773" fmla="*/ 2296785 h 2422364"/>
                <a:gd name="connsiteX774" fmla="*/ 577592 w 4488985"/>
                <a:gd name="connsiteY774" fmla="*/ 2297361 h 2422364"/>
                <a:gd name="connsiteX775" fmla="*/ 584864 w 4488985"/>
                <a:gd name="connsiteY775" fmla="*/ 2304168 h 2422364"/>
                <a:gd name="connsiteX776" fmla="*/ 592137 w 4488985"/>
                <a:gd name="connsiteY776" fmla="*/ 2318822 h 2422364"/>
                <a:gd name="connsiteX777" fmla="*/ 597296 w 4488985"/>
                <a:gd name="connsiteY777" fmla="*/ 2317038 h 2422364"/>
                <a:gd name="connsiteX778" fmla="*/ 593262 w 4488985"/>
                <a:gd name="connsiteY778" fmla="*/ 2331446 h 2422364"/>
                <a:gd name="connsiteX779" fmla="*/ 592494 w 4488985"/>
                <a:gd name="connsiteY779" fmla="*/ 2334300 h 2422364"/>
                <a:gd name="connsiteX780" fmla="*/ 593866 w 4488985"/>
                <a:gd name="connsiteY780" fmla="*/ 2340886 h 2422364"/>
                <a:gd name="connsiteX781" fmla="*/ 591863 w 4488985"/>
                <a:gd name="connsiteY781" fmla="*/ 2350464 h 2422364"/>
                <a:gd name="connsiteX782" fmla="*/ 597571 w 4488985"/>
                <a:gd name="connsiteY782" fmla="*/ 2357846 h 2422364"/>
                <a:gd name="connsiteX783" fmla="*/ 600397 w 4488985"/>
                <a:gd name="connsiteY783" fmla="*/ 2366875 h 2422364"/>
                <a:gd name="connsiteX784" fmla="*/ 610469 w 4488985"/>
                <a:gd name="connsiteY784" fmla="*/ 2379471 h 2422364"/>
                <a:gd name="connsiteX785" fmla="*/ 618619 w 4488985"/>
                <a:gd name="connsiteY785" fmla="*/ 2393714 h 2422364"/>
                <a:gd name="connsiteX786" fmla="*/ 622544 w 4488985"/>
                <a:gd name="connsiteY786" fmla="*/ 2396650 h 2422364"/>
                <a:gd name="connsiteX787" fmla="*/ 624273 w 4488985"/>
                <a:gd name="connsiteY787" fmla="*/ 2398763 h 2422364"/>
                <a:gd name="connsiteX788" fmla="*/ 619607 w 4488985"/>
                <a:gd name="connsiteY788" fmla="*/ 2405295 h 2422364"/>
                <a:gd name="connsiteX789" fmla="*/ 619251 w 4488985"/>
                <a:gd name="connsiteY789" fmla="*/ 2405542 h 2422364"/>
                <a:gd name="connsiteX790" fmla="*/ 618729 w 4488985"/>
                <a:gd name="connsiteY790" fmla="*/ 2406996 h 2422364"/>
                <a:gd name="connsiteX791" fmla="*/ 609097 w 4488985"/>
                <a:gd name="connsiteY791" fmla="*/ 2412704 h 2422364"/>
                <a:gd name="connsiteX792" fmla="*/ 601660 w 4488985"/>
                <a:gd name="connsiteY792" fmla="*/ 2422364 h 2422364"/>
                <a:gd name="connsiteX793" fmla="*/ 588432 w 4488985"/>
                <a:gd name="connsiteY793" fmla="*/ 2419401 h 2422364"/>
                <a:gd name="connsiteX794" fmla="*/ 576083 w 4488985"/>
                <a:gd name="connsiteY794" fmla="*/ 2405130 h 2422364"/>
                <a:gd name="connsiteX795" fmla="*/ 571198 w 4488985"/>
                <a:gd name="connsiteY795" fmla="*/ 2399504 h 2422364"/>
                <a:gd name="connsiteX796" fmla="*/ 560769 w 4488985"/>
                <a:gd name="connsiteY796" fmla="*/ 2395827 h 2422364"/>
                <a:gd name="connsiteX797" fmla="*/ 554924 w 4488985"/>
                <a:gd name="connsiteY797" fmla="*/ 2392671 h 2422364"/>
                <a:gd name="connsiteX798" fmla="*/ 537964 w 4488985"/>
                <a:gd name="connsiteY798" fmla="*/ 2383368 h 2422364"/>
                <a:gd name="connsiteX799" fmla="*/ 540763 w 4488985"/>
                <a:gd name="connsiteY799" fmla="*/ 2378950 h 2422364"/>
                <a:gd name="connsiteX800" fmla="*/ 540763 w 4488985"/>
                <a:gd name="connsiteY800" fmla="*/ 2376178 h 2422364"/>
                <a:gd name="connsiteX801" fmla="*/ 540763 w 4488985"/>
                <a:gd name="connsiteY801" fmla="*/ 2372583 h 2422364"/>
                <a:gd name="connsiteX802" fmla="*/ 537388 w 4488985"/>
                <a:gd name="connsiteY802" fmla="*/ 2371979 h 2422364"/>
                <a:gd name="connsiteX803" fmla="*/ 529347 w 4488985"/>
                <a:gd name="connsiteY803" fmla="*/ 2370607 h 2422364"/>
                <a:gd name="connsiteX804" fmla="*/ 526027 w 4488985"/>
                <a:gd name="connsiteY804" fmla="*/ 2366902 h 2422364"/>
                <a:gd name="connsiteX805" fmla="*/ 523886 w 4488985"/>
                <a:gd name="connsiteY805" fmla="*/ 2364515 h 2422364"/>
                <a:gd name="connsiteX806" fmla="*/ 517245 w 4488985"/>
                <a:gd name="connsiteY806" fmla="*/ 2362511 h 2422364"/>
                <a:gd name="connsiteX807" fmla="*/ 513568 w 4488985"/>
                <a:gd name="connsiteY807" fmla="*/ 2366820 h 2422364"/>
                <a:gd name="connsiteX808" fmla="*/ 510384 w 4488985"/>
                <a:gd name="connsiteY808" fmla="*/ 2362676 h 2422364"/>
                <a:gd name="connsiteX809" fmla="*/ 506323 w 4488985"/>
                <a:gd name="connsiteY809" fmla="*/ 2362045 h 2422364"/>
                <a:gd name="connsiteX810" fmla="*/ 496306 w 4488985"/>
                <a:gd name="connsiteY810" fmla="*/ 2366079 h 2422364"/>
                <a:gd name="connsiteX811" fmla="*/ 496306 w 4488985"/>
                <a:gd name="connsiteY811" fmla="*/ 2366875 h 2422364"/>
                <a:gd name="connsiteX812" fmla="*/ 494303 w 4488985"/>
                <a:gd name="connsiteY812" fmla="*/ 2366875 h 2422364"/>
                <a:gd name="connsiteX813" fmla="*/ 487552 w 4488985"/>
                <a:gd name="connsiteY813" fmla="*/ 2369482 h 2422364"/>
                <a:gd name="connsiteX814" fmla="*/ 483929 w 4488985"/>
                <a:gd name="connsiteY814" fmla="*/ 2368082 h 2422364"/>
                <a:gd name="connsiteX815" fmla="*/ 483133 w 4488985"/>
                <a:gd name="connsiteY815" fmla="*/ 2366875 h 2422364"/>
                <a:gd name="connsiteX816" fmla="*/ 481267 w 4488985"/>
                <a:gd name="connsiteY816" fmla="*/ 2361194 h 2422364"/>
                <a:gd name="connsiteX817" fmla="*/ 467848 w 4488985"/>
                <a:gd name="connsiteY817" fmla="*/ 2355184 h 2422364"/>
                <a:gd name="connsiteX818" fmla="*/ 465954 w 4488985"/>
                <a:gd name="connsiteY818" fmla="*/ 2354333 h 2422364"/>
                <a:gd name="connsiteX819" fmla="*/ 455581 w 4488985"/>
                <a:gd name="connsiteY819" fmla="*/ 2345524 h 2422364"/>
                <a:gd name="connsiteX820" fmla="*/ 449351 w 4488985"/>
                <a:gd name="connsiteY820" fmla="*/ 2345716 h 2422364"/>
                <a:gd name="connsiteX821" fmla="*/ 444604 w 4488985"/>
                <a:gd name="connsiteY821" fmla="*/ 2343576 h 2422364"/>
                <a:gd name="connsiteX822" fmla="*/ 442765 w 4488985"/>
                <a:gd name="connsiteY822" fmla="*/ 2342752 h 2422364"/>
                <a:gd name="connsiteX823" fmla="*/ 420344 w 4488985"/>
                <a:gd name="connsiteY823" fmla="*/ 2342835 h 2422364"/>
                <a:gd name="connsiteX824" fmla="*/ 394383 w 4488985"/>
                <a:gd name="connsiteY824" fmla="*/ 2331501 h 2422364"/>
                <a:gd name="connsiteX825" fmla="*/ 390788 w 4488985"/>
                <a:gd name="connsiteY825" fmla="*/ 2329936 h 2422364"/>
                <a:gd name="connsiteX826" fmla="*/ 376819 w 4488985"/>
                <a:gd name="connsiteY826" fmla="*/ 2329415 h 2422364"/>
                <a:gd name="connsiteX827" fmla="*/ 375529 w 4488985"/>
                <a:gd name="connsiteY827" fmla="*/ 2331473 h 2422364"/>
                <a:gd name="connsiteX828" fmla="*/ 372346 w 4488985"/>
                <a:gd name="connsiteY828" fmla="*/ 2336605 h 2422364"/>
                <a:gd name="connsiteX829" fmla="*/ 367105 w 4488985"/>
                <a:gd name="connsiteY829" fmla="*/ 2331473 h 2422364"/>
                <a:gd name="connsiteX830" fmla="*/ 335874 w 4488985"/>
                <a:gd name="connsiteY830" fmla="*/ 2300710 h 2422364"/>
                <a:gd name="connsiteX831" fmla="*/ 320342 w 4488985"/>
                <a:gd name="connsiteY831" fmla="*/ 2294453 h 2422364"/>
                <a:gd name="connsiteX832" fmla="*/ 308706 w 4488985"/>
                <a:gd name="connsiteY832" fmla="*/ 2283530 h 2422364"/>
                <a:gd name="connsiteX833" fmla="*/ 299457 w 4488985"/>
                <a:gd name="connsiteY833" fmla="*/ 2282570 h 2422364"/>
                <a:gd name="connsiteX834" fmla="*/ 290566 w 4488985"/>
                <a:gd name="connsiteY834" fmla="*/ 2271483 h 2422364"/>
                <a:gd name="connsiteX835" fmla="*/ 276351 w 4488985"/>
                <a:gd name="connsiteY835" fmla="*/ 2263222 h 2422364"/>
                <a:gd name="connsiteX836" fmla="*/ 279644 w 4488985"/>
                <a:gd name="connsiteY836" fmla="*/ 2258941 h 2422364"/>
                <a:gd name="connsiteX837" fmla="*/ 279973 w 4488985"/>
                <a:gd name="connsiteY837" fmla="*/ 2253508 h 2422364"/>
                <a:gd name="connsiteX838" fmla="*/ 291225 w 4488985"/>
                <a:gd name="connsiteY838" fmla="*/ 2256197 h 2422364"/>
                <a:gd name="connsiteX839" fmla="*/ 298607 w 4488985"/>
                <a:gd name="connsiteY839" fmla="*/ 2253617 h 2422364"/>
                <a:gd name="connsiteX840" fmla="*/ 302531 w 4488985"/>
                <a:gd name="connsiteY840" fmla="*/ 2243409 h 2422364"/>
                <a:gd name="connsiteX841" fmla="*/ 311862 w 4488985"/>
                <a:gd name="connsiteY841" fmla="*/ 2229605 h 2422364"/>
                <a:gd name="connsiteX842" fmla="*/ 317570 w 4488985"/>
                <a:gd name="connsiteY842" fmla="*/ 2226394 h 2422364"/>
                <a:gd name="connsiteX843" fmla="*/ 319518 w 4488985"/>
                <a:gd name="connsiteY843" fmla="*/ 2217420 h 2422364"/>
                <a:gd name="connsiteX844" fmla="*/ 310187 w 4488985"/>
                <a:gd name="connsiteY844" fmla="*/ 2208666 h 2422364"/>
                <a:gd name="connsiteX845" fmla="*/ 308541 w 4488985"/>
                <a:gd name="connsiteY845" fmla="*/ 2201476 h 2422364"/>
                <a:gd name="connsiteX846" fmla="*/ 320452 w 4488985"/>
                <a:gd name="connsiteY846" fmla="*/ 2198265 h 2422364"/>
                <a:gd name="connsiteX847" fmla="*/ 328218 w 4488985"/>
                <a:gd name="connsiteY847" fmla="*/ 2199445 h 2422364"/>
                <a:gd name="connsiteX848" fmla="*/ 326900 w 4488985"/>
                <a:gd name="connsiteY848" fmla="*/ 2194807 h 2422364"/>
                <a:gd name="connsiteX849" fmla="*/ 327971 w 4488985"/>
                <a:gd name="connsiteY849" fmla="*/ 2192447 h 2422364"/>
                <a:gd name="connsiteX850" fmla="*/ 350035 w 4488985"/>
                <a:gd name="connsiteY850" fmla="*/ 2181525 h 2422364"/>
                <a:gd name="connsiteX851" fmla="*/ 348800 w 4488985"/>
                <a:gd name="connsiteY851" fmla="*/ 2175981 h 2422364"/>
                <a:gd name="connsiteX852" fmla="*/ 346193 w 4488985"/>
                <a:gd name="connsiteY852" fmla="*/ 2174197 h 2422364"/>
                <a:gd name="connsiteX853" fmla="*/ 331237 w 4488985"/>
                <a:gd name="connsiteY853" fmla="*/ 2179768 h 2422364"/>
                <a:gd name="connsiteX854" fmla="*/ 319957 w 4488985"/>
                <a:gd name="connsiteY854" fmla="*/ 2180509 h 2422364"/>
                <a:gd name="connsiteX855" fmla="*/ 321988 w 4488985"/>
                <a:gd name="connsiteY855" fmla="*/ 2174472 h 2422364"/>
                <a:gd name="connsiteX856" fmla="*/ 320726 w 4488985"/>
                <a:gd name="connsiteY856" fmla="*/ 2170191 h 2422364"/>
                <a:gd name="connsiteX857" fmla="*/ 322564 w 4488985"/>
                <a:gd name="connsiteY857" fmla="*/ 2162123 h 2422364"/>
                <a:gd name="connsiteX858" fmla="*/ 326873 w 4488985"/>
                <a:gd name="connsiteY858" fmla="*/ 2157869 h 2422364"/>
                <a:gd name="connsiteX859" fmla="*/ 334996 w 4488985"/>
                <a:gd name="connsiteY859" fmla="*/ 2155097 h 2422364"/>
                <a:gd name="connsiteX860" fmla="*/ 339579 w 4488985"/>
                <a:gd name="connsiteY860" fmla="*/ 2148346 h 2422364"/>
                <a:gd name="connsiteX861" fmla="*/ 359832 w 4488985"/>
                <a:gd name="connsiteY861" fmla="*/ 2149554 h 2422364"/>
                <a:gd name="connsiteX862" fmla="*/ 365485 w 4488985"/>
                <a:gd name="connsiteY862" fmla="*/ 2146919 h 2422364"/>
                <a:gd name="connsiteX863" fmla="*/ 371303 w 4488985"/>
                <a:gd name="connsiteY863" fmla="*/ 2131057 h 2422364"/>
                <a:gd name="connsiteX864" fmla="*/ 363427 w 4488985"/>
                <a:gd name="connsiteY864" fmla="*/ 2112176 h 2422364"/>
                <a:gd name="connsiteX865" fmla="*/ 366171 w 4488985"/>
                <a:gd name="connsiteY865" fmla="*/ 2106413 h 2422364"/>
                <a:gd name="connsiteX866" fmla="*/ 370672 w 4488985"/>
                <a:gd name="connsiteY866" fmla="*/ 2105974 h 2422364"/>
                <a:gd name="connsiteX867" fmla="*/ 371907 w 4488985"/>
                <a:gd name="connsiteY867" fmla="*/ 2103587 h 2422364"/>
                <a:gd name="connsiteX868" fmla="*/ 366555 w 4488985"/>
                <a:gd name="connsiteY868" fmla="*/ 2101419 h 2422364"/>
                <a:gd name="connsiteX869" fmla="*/ 364058 w 4488985"/>
                <a:gd name="connsiteY869" fmla="*/ 2097439 h 2422364"/>
                <a:gd name="connsiteX870" fmla="*/ 370370 w 4488985"/>
                <a:gd name="connsiteY870" fmla="*/ 2094009 h 2422364"/>
                <a:gd name="connsiteX871" fmla="*/ 377039 w 4488985"/>
                <a:gd name="connsiteY871" fmla="*/ 2086325 h 2422364"/>
                <a:gd name="connsiteX872" fmla="*/ 376984 w 4488985"/>
                <a:gd name="connsiteY872" fmla="*/ 2082154 h 2422364"/>
                <a:gd name="connsiteX873" fmla="*/ 373801 w 4488985"/>
                <a:gd name="connsiteY873" fmla="*/ 2076555 h 2422364"/>
                <a:gd name="connsiteX874" fmla="*/ 374514 w 4488985"/>
                <a:gd name="connsiteY874" fmla="*/ 2071808 h 2422364"/>
                <a:gd name="connsiteX875" fmla="*/ 365733 w 4488985"/>
                <a:gd name="connsiteY875" fmla="*/ 2071643 h 2422364"/>
                <a:gd name="connsiteX876" fmla="*/ 359173 w 4488985"/>
                <a:gd name="connsiteY876" fmla="*/ 2064755 h 2422364"/>
                <a:gd name="connsiteX877" fmla="*/ 351956 w 4488985"/>
                <a:gd name="connsiteY877" fmla="*/ 2063355 h 2422364"/>
                <a:gd name="connsiteX878" fmla="*/ 347455 w 4488985"/>
                <a:gd name="connsiteY878" fmla="*/ 2058992 h 2422364"/>
                <a:gd name="connsiteX879" fmla="*/ 341116 w 4488985"/>
                <a:gd name="connsiteY879" fmla="*/ 2060666 h 2422364"/>
                <a:gd name="connsiteX880" fmla="*/ 321192 w 4488985"/>
                <a:gd name="connsiteY880" fmla="*/ 2049140 h 2422364"/>
                <a:gd name="connsiteX881" fmla="*/ 317488 w 4488985"/>
                <a:gd name="connsiteY881" fmla="*/ 2054601 h 2422364"/>
                <a:gd name="connsiteX882" fmla="*/ 314277 w 4488985"/>
                <a:gd name="connsiteY882" fmla="*/ 2054903 h 2422364"/>
                <a:gd name="connsiteX883" fmla="*/ 305632 w 4488985"/>
                <a:gd name="connsiteY883" fmla="*/ 2047713 h 2422364"/>
                <a:gd name="connsiteX884" fmla="*/ 301406 w 4488985"/>
                <a:gd name="connsiteY884" fmla="*/ 2038464 h 2422364"/>
                <a:gd name="connsiteX885" fmla="*/ 296603 w 4488985"/>
                <a:gd name="connsiteY885" fmla="*/ 2033360 h 2422364"/>
                <a:gd name="connsiteX886" fmla="*/ 273359 w 4488985"/>
                <a:gd name="connsiteY886" fmla="*/ 2041291 h 2422364"/>
                <a:gd name="connsiteX887" fmla="*/ 263782 w 4488985"/>
                <a:gd name="connsiteY887" fmla="*/ 2038300 h 2422364"/>
                <a:gd name="connsiteX888" fmla="*/ 255823 w 4488985"/>
                <a:gd name="connsiteY888" fmla="*/ 2032098 h 2422364"/>
                <a:gd name="connsiteX889" fmla="*/ 243693 w 4488985"/>
                <a:gd name="connsiteY889" fmla="*/ 2035556 h 2422364"/>
                <a:gd name="connsiteX890" fmla="*/ 237437 w 4488985"/>
                <a:gd name="connsiteY890" fmla="*/ 2026307 h 2422364"/>
                <a:gd name="connsiteX891" fmla="*/ 238452 w 4488985"/>
                <a:gd name="connsiteY891" fmla="*/ 2017937 h 2422364"/>
                <a:gd name="connsiteX892" fmla="*/ 235378 w 4488985"/>
                <a:gd name="connsiteY892" fmla="*/ 2005039 h 2422364"/>
                <a:gd name="connsiteX893" fmla="*/ 230603 w 4488985"/>
                <a:gd name="connsiteY893" fmla="*/ 2002404 h 2422364"/>
                <a:gd name="connsiteX894" fmla="*/ 228298 w 4488985"/>
                <a:gd name="connsiteY894" fmla="*/ 1996888 h 2422364"/>
                <a:gd name="connsiteX895" fmla="*/ 218473 w 4488985"/>
                <a:gd name="connsiteY895" fmla="*/ 1997849 h 2422364"/>
                <a:gd name="connsiteX896" fmla="*/ 204203 w 4488985"/>
                <a:gd name="connsiteY896" fmla="*/ 1993623 h 2422364"/>
                <a:gd name="connsiteX897" fmla="*/ 203133 w 4488985"/>
                <a:gd name="connsiteY897" fmla="*/ 1981438 h 2422364"/>
                <a:gd name="connsiteX898" fmla="*/ 199483 w 4488985"/>
                <a:gd name="connsiteY898" fmla="*/ 1974906 h 2422364"/>
                <a:gd name="connsiteX899" fmla="*/ 206261 w 4488985"/>
                <a:gd name="connsiteY899" fmla="*/ 1971998 h 2422364"/>
                <a:gd name="connsiteX900" fmla="*/ 206947 w 4488985"/>
                <a:gd name="connsiteY900" fmla="*/ 1968183 h 2422364"/>
                <a:gd name="connsiteX901" fmla="*/ 199318 w 4488985"/>
                <a:gd name="connsiteY901" fmla="*/ 1958852 h 2422364"/>
                <a:gd name="connsiteX902" fmla="*/ 197205 w 4488985"/>
                <a:gd name="connsiteY902" fmla="*/ 1950372 h 2422364"/>
                <a:gd name="connsiteX903" fmla="*/ 189988 w 4488985"/>
                <a:gd name="connsiteY903" fmla="*/ 1942496 h 2422364"/>
                <a:gd name="connsiteX904" fmla="*/ 172122 w 4488985"/>
                <a:gd name="connsiteY904" fmla="*/ 1941563 h 2422364"/>
                <a:gd name="connsiteX905" fmla="*/ 159663 w 4488985"/>
                <a:gd name="connsiteY905" fmla="*/ 1946585 h 2422364"/>
                <a:gd name="connsiteX906" fmla="*/ 149097 w 4488985"/>
                <a:gd name="connsiteY906" fmla="*/ 1943676 h 2422364"/>
                <a:gd name="connsiteX907" fmla="*/ 145393 w 4488985"/>
                <a:gd name="connsiteY907" fmla="*/ 1952403 h 2422364"/>
                <a:gd name="connsiteX908" fmla="*/ 141798 w 4488985"/>
                <a:gd name="connsiteY908" fmla="*/ 1955587 h 2422364"/>
                <a:gd name="connsiteX909" fmla="*/ 130409 w 4488985"/>
                <a:gd name="connsiteY909" fmla="*/ 1953638 h 2422364"/>
                <a:gd name="connsiteX910" fmla="*/ 126347 w 4488985"/>
                <a:gd name="connsiteY910" fmla="*/ 1944198 h 2422364"/>
                <a:gd name="connsiteX911" fmla="*/ 123109 w 4488985"/>
                <a:gd name="connsiteY911" fmla="*/ 1927705 h 2422364"/>
                <a:gd name="connsiteX912" fmla="*/ 123219 w 4488985"/>
                <a:gd name="connsiteY912" fmla="*/ 1920130 h 2422364"/>
                <a:gd name="connsiteX913" fmla="*/ 116468 w 4488985"/>
                <a:gd name="connsiteY913" fmla="*/ 1910223 h 2422364"/>
                <a:gd name="connsiteX914" fmla="*/ 118691 w 4488985"/>
                <a:gd name="connsiteY914" fmla="*/ 1903143 h 2422364"/>
                <a:gd name="connsiteX915" fmla="*/ 125908 w 4488985"/>
                <a:gd name="connsiteY915" fmla="*/ 1900152 h 2422364"/>
                <a:gd name="connsiteX916" fmla="*/ 133290 w 4488985"/>
                <a:gd name="connsiteY916" fmla="*/ 1904954 h 2422364"/>
                <a:gd name="connsiteX917" fmla="*/ 139877 w 4488985"/>
                <a:gd name="connsiteY917" fmla="*/ 1905668 h 2422364"/>
                <a:gd name="connsiteX918" fmla="*/ 149537 w 4488985"/>
                <a:gd name="connsiteY918" fmla="*/ 1900289 h 2422364"/>
                <a:gd name="connsiteX919" fmla="*/ 157440 w 4488985"/>
                <a:gd name="connsiteY919" fmla="*/ 1889861 h 2422364"/>
                <a:gd name="connsiteX920" fmla="*/ 151320 w 4488985"/>
                <a:gd name="connsiteY920" fmla="*/ 1883137 h 2422364"/>
                <a:gd name="connsiteX921" fmla="*/ 149399 w 4488985"/>
                <a:gd name="connsiteY921" fmla="*/ 1875371 h 2422364"/>
                <a:gd name="connsiteX922" fmla="*/ 140700 w 4488985"/>
                <a:gd name="connsiteY922" fmla="*/ 1870815 h 2422364"/>
                <a:gd name="connsiteX923" fmla="*/ 131232 w 4488985"/>
                <a:gd name="connsiteY923" fmla="*/ 1870321 h 2422364"/>
                <a:gd name="connsiteX924" fmla="*/ 131149 w 4488985"/>
                <a:gd name="connsiteY924" fmla="*/ 1858301 h 2422364"/>
                <a:gd name="connsiteX925" fmla="*/ 118087 w 4488985"/>
                <a:gd name="connsiteY925" fmla="*/ 1849108 h 2422364"/>
                <a:gd name="connsiteX926" fmla="*/ 111062 w 4488985"/>
                <a:gd name="connsiteY926" fmla="*/ 1835798 h 2422364"/>
                <a:gd name="connsiteX927" fmla="*/ 109442 w 4488985"/>
                <a:gd name="connsiteY927" fmla="*/ 1828361 h 2422364"/>
                <a:gd name="connsiteX928" fmla="*/ 102417 w 4488985"/>
                <a:gd name="connsiteY928" fmla="*/ 1821034 h 2422364"/>
                <a:gd name="connsiteX929" fmla="*/ 102884 w 4488985"/>
                <a:gd name="connsiteY929" fmla="*/ 1815573 h 2422364"/>
                <a:gd name="connsiteX930" fmla="*/ 107083 w 4488985"/>
                <a:gd name="connsiteY930" fmla="*/ 1807587 h 2422364"/>
                <a:gd name="connsiteX931" fmla="*/ 103130 w 4488985"/>
                <a:gd name="connsiteY931" fmla="*/ 1796088 h 2422364"/>
                <a:gd name="connsiteX932" fmla="*/ 105051 w 4488985"/>
                <a:gd name="connsiteY932" fmla="*/ 1787745 h 2422364"/>
                <a:gd name="connsiteX933" fmla="*/ 104311 w 4488985"/>
                <a:gd name="connsiteY933" fmla="*/ 1780363 h 2422364"/>
                <a:gd name="connsiteX934" fmla="*/ 99261 w 4488985"/>
                <a:gd name="connsiteY934" fmla="*/ 1778058 h 2422364"/>
                <a:gd name="connsiteX935" fmla="*/ 91989 w 4488985"/>
                <a:gd name="connsiteY935" fmla="*/ 1769468 h 2422364"/>
                <a:gd name="connsiteX936" fmla="*/ 84469 w 4488985"/>
                <a:gd name="connsiteY936" fmla="*/ 1766422 h 2422364"/>
                <a:gd name="connsiteX937" fmla="*/ 75331 w 4488985"/>
                <a:gd name="connsiteY937" fmla="*/ 1766916 h 2422364"/>
                <a:gd name="connsiteX938" fmla="*/ 63064 w 4488985"/>
                <a:gd name="connsiteY938" fmla="*/ 1773503 h 2422364"/>
                <a:gd name="connsiteX939" fmla="*/ 60265 w 4488985"/>
                <a:gd name="connsiteY939" fmla="*/ 1769798 h 2422364"/>
                <a:gd name="connsiteX940" fmla="*/ 60758 w 4488985"/>
                <a:gd name="connsiteY940" fmla="*/ 1763239 h 2422364"/>
                <a:gd name="connsiteX941" fmla="*/ 59002 w 4488985"/>
                <a:gd name="connsiteY941" fmla="*/ 1760467 h 2422364"/>
                <a:gd name="connsiteX942" fmla="*/ 50385 w 4488985"/>
                <a:gd name="connsiteY942" fmla="*/ 1757503 h 2422364"/>
                <a:gd name="connsiteX943" fmla="*/ 42262 w 4488985"/>
                <a:gd name="connsiteY943" fmla="*/ 1760165 h 2422364"/>
                <a:gd name="connsiteX944" fmla="*/ 37185 w 4488985"/>
                <a:gd name="connsiteY944" fmla="*/ 1754265 h 2422364"/>
                <a:gd name="connsiteX945" fmla="*/ 28184 w 4488985"/>
                <a:gd name="connsiteY945" fmla="*/ 1754539 h 2422364"/>
                <a:gd name="connsiteX946" fmla="*/ 23628 w 4488985"/>
                <a:gd name="connsiteY946" fmla="*/ 1749600 h 2422364"/>
                <a:gd name="connsiteX947" fmla="*/ 25604 w 4488985"/>
                <a:gd name="connsiteY947" fmla="*/ 1743672 h 2422364"/>
                <a:gd name="connsiteX948" fmla="*/ 22421 w 4488985"/>
                <a:gd name="connsiteY948" fmla="*/ 1728551 h 2422364"/>
                <a:gd name="connsiteX949" fmla="*/ 15340 w 4488985"/>
                <a:gd name="connsiteY949" fmla="*/ 1713238 h 2422364"/>
                <a:gd name="connsiteX950" fmla="*/ 9550 w 4488985"/>
                <a:gd name="connsiteY950" fmla="*/ 1713073 h 2422364"/>
                <a:gd name="connsiteX951" fmla="*/ 14764 w 4488985"/>
                <a:gd name="connsiteY951" fmla="*/ 1690844 h 2422364"/>
                <a:gd name="connsiteX952" fmla="*/ 9989 w 4488985"/>
                <a:gd name="connsiteY952" fmla="*/ 1685164 h 2422364"/>
                <a:gd name="connsiteX953" fmla="*/ 5763 w 4488985"/>
                <a:gd name="connsiteY953" fmla="*/ 1682062 h 2422364"/>
                <a:gd name="connsiteX954" fmla="*/ 5186 w 4488985"/>
                <a:gd name="connsiteY954" fmla="*/ 1676738 h 2422364"/>
                <a:gd name="connsiteX955" fmla="*/ 0 w 4488985"/>
                <a:gd name="connsiteY955" fmla="*/ 1677095 h 2422364"/>
                <a:gd name="connsiteX956" fmla="*/ 1536 w 4488985"/>
                <a:gd name="connsiteY956" fmla="*/ 1669164 h 2422364"/>
                <a:gd name="connsiteX957" fmla="*/ 5680 w 4488985"/>
                <a:gd name="connsiteY957" fmla="*/ 1661480 h 2422364"/>
                <a:gd name="connsiteX958" fmla="*/ 11416 w 4488985"/>
                <a:gd name="connsiteY958" fmla="*/ 1657034 h 2422364"/>
                <a:gd name="connsiteX959" fmla="*/ 5269 w 4488985"/>
                <a:gd name="connsiteY959" fmla="*/ 1640157 h 2422364"/>
                <a:gd name="connsiteX960" fmla="*/ 5022 w 4488985"/>
                <a:gd name="connsiteY960" fmla="*/ 1627314 h 2422364"/>
                <a:gd name="connsiteX961" fmla="*/ 164 w 4488985"/>
                <a:gd name="connsiteY961" fmla="*/ 1606347 h 2422364"/>
                <a:gd name="connsiteX962" fmla="*/ 10483 w 4488985"/>
                <a:gd name="connsiteY962" fmla="*/ 1596138 h 2422364"/>
                <a:gd name="connsiteX963" fmla="*/ 16932 w 4488985"/>
                <a:gd name="connsiteY963" fmla="*/ 1580002 h 2422364"/>
                <a:gd name="connsiteX964" fmla="*/ 23903 w 4488985"/>
                <a:gd name="connsiteY964" fmla="*/ 1575282 h 2422364"/>
                <a:gd name="connsiteX965" fmla="*/ 24424 w 4488985"/>
                <a:gd name="connsiteY965" fmla="*/ 1571522 h 2422364"/>
                <a:gd name="connsiteX966" fmla="*/ 20308 w 4488985"/>
                <a:gd name="connsiteY966" fmla="*/ 1567214 h 2422364"/>
                <a:gd name="connsiteX967" fmla="*/ 22531 w 4488985"/>
                <a:gd name="connsiteY967" fmla="*/ 1551214 h 2422364"/>
                <a:gd name="connsiteX968" fmla="*/ 29364 w 4488985"/>
                <a:gd name="connsiteY968" fmla="*/ 1554206 h 2422364"/>
                <a:gd name="connsiteX969" fmla="*/ 35126 w 4488985"/>
                <a:gd name="connsiteY969" fmla="*/ 1547372 h 2422364"/>
                <a:gd name="connsiteX970" fmla="*/ 46653 w 4488985"/>
                <a:gd name="connsiteY970" fmla="*/ 1546741 h 2422364"/>
                <a:gd name="connsiteX971" fmla="*/ 55242 w 4488985"/>
                <a:gd name="connsiteY971" fmla="*/ 1537712 h 2422364"/>
                <a:gd name="connsiteX972" fmla="*/ 79612 w 4488985"/>
                <a:gd name="connsiteY972" fmla="*/ 1544052 h 2422364"/>
                <a:gd name="connsiteX973" fmla="*/ 83179 w 4488985"/>
                <a:gd name="connsiteY973" fmla="*/ 1540237 h 2422364"/>
                <a:gd name="connsiteX974" fmla="*/ 72751 w 4488985"/>
                <a:gd name="connsiteY974" fmla="*/ 1527311 h 2422364"/>
                <a:gd name="connsiteX975" fmla="*/ 52416 w 4488985"/>
                <a:gd name="connsiteY975" fmla="*/ 1525885 h 2422364"/>
                <a:gd name="connsiteX976" fmla="*/ 37157 w 4488985"/>
                <a:gd name="connsiteY976" fmla="*/ 1517075 h 2422364"/>
                <a:gd name="connsiteX977" fmla="*/ 35456 w 4488985"/>
                <a:gd name="connsiteY977" fmla="*/ 1509583 h 2422364"/>
                <a:gd name="connsiteX978" fmla="*/ 37350 w 4488985"/>
                <a:gd name="connsiteY978" fmla="*/ 1496246 h 2422364"/>
                <a:gd name="connsiteX979" fmla="*/ 17701 w 4488985"/>
                <a:gd name="connsiteY979" fmla="*/ 1506427 h 2422364"/>
                <a:gd name="connsiteX980" fmla="*/ 13255 w 4488985"/>
                <a:gd name="connsiteY980" fmla="*/ 1503766 h 2422364"/>
                <a:gd name="connsiteX981" fmla="*/ 14408 w 4488985"/>
                <a:gd name="connsiteY981" fmla="*/ 1502668 h 2422364"/>
                <a:gd name="connsiteX982" fmla="*/ 18771 w 4488985"/>
                <a:gd name="connsiteY982" fmla="*/ 1496548 h 2422364"/>
                <a:gd name="connsiteX983" fmla="*/ 33673 w 4488985"/>
                <a:gd name="connsiteY983" fmla="*/ 1480274 h 2422364"/>
                <a:gd name="connsiteX984" fmla="*/ 38283 w 4488985"/>
                <a:gd name="connsiteY984" fmla="*/ 1478710 h 2422364"/>
                <a:gd name="connsiteX985" fmla="*/ 41110 w 4488985"/>
                <a:gd name="connsiteY985" fmla="*/ 1472645 h 2422364"/>
                <a:gd name="connsiteX986" fmla="*/ 43634 w 4488985"/>
                <a:gd name="connsiteY986" fmla="*/ 1468885 h 2422364"/>
                <a:gd name="connsiteX987" fmla="*/ 53376 w 4488985"/>
                <a:gd name="connsiteY987" fmla="*/ 1462025 h 2422364"/>
                <a:gd name="connsiteX988" fmla="*/ 82082 w 4488985"/>
                <a:gd name="connsiteY988" fmla="*/ 1424181 h 2422364"/>
                <a:gd name="connsiteX989" fmla="*/ 112544 w 4488985"/>
                <a:gd name="connsiteY989" fmla="*/ 1384910 h 2422364"/>
                <a:gd name="connsiteX990" fmla="*/ 123246 w 4488985"/>
                <a:gd name="connsiteY990" fmla="*/ 1357302 h 2422364"/>
                <a:gd name="connsiteX991" fmla="*/ 112790 w 4488985"/>
                <a:gd name="connsiteY991" fmla="*/ 1336171 h 2422364"/>
                <a:gd name="connsiteX992" fmla="*/ 99343 w 4488985"/>
                <a:gd name="connsiteY992" fmla="*/ 1325661 h 2422364"/>
                <a:gd name="connsiteX993" fmla="*/ 91549 w 4488985"/>
                <a:gd name="connsiteY993" fmla="*/ 1319568 h 2422364"/>
                <a:gd name="connsiteX994" fmla="*/ 89052 w 4488985"/>
                <a:gd name="connsiteY994" fmla="*/ 1316467 h 2422364"/>
                <a:gd name="connsiteX995" fmla="*/ 77032 w 4488985"/>
                <a:gd name="connsiteY995" fmla="*/ 1301538 h 2422364"/>
                <a:gd name="connsiteX996" fmla="*/ 86912 w 4488985"/>
                <a:gd name="connsiteY996" fmla="*/ 1293333 h 2422364"/>
                <a:gd name="connsiteX997" fmla="*/ 90808 w 4488985"/>
                <a:gd name="connsiteY997" fmla="*/ 1285319 h 2422364"/>
                <a:gd name="connsiteX998" fmla="*/ 92675 w 4488985"/>
                <a:gd name="connsiteY998" fmla="*/ 1274123 h 2422364"/>
                <a:gd name="connsiteX999" fmla="*/ 80326 w 4488985"/>
                <a:gd name="connsiteY999" fmla="*/ 1256120 h 2422364"/>
                <a:gd name="connsiteX1000" fmla="*/ 78596 w 4488985"/>
                <a:gd name="connsiteY1000" fmla="*/ 1235785 h 2422364"/>
                <a:gd name="connsiteX1001" fmla="*/ 67949 w 4488985"/>
                <a:gd name="connsiteY1001" fmla="*/ 1224204 h 2422364"/>
                <a:gd name="connsiteX1002" fmla="*/ 67894 w 4488985"/>
                <a:gd name="connsiteY1002" fmla="*/ 1214462 h 2422364"/>
                <a:gd name="connsiteX1003" fmla="*/ 72587 w 4488985"/>
                <a:gd name="connsiteY1003" fmla="*/ 1205652 h 2422364"/>
                <a:gd name="connsiteX1004" fmla="*/ 68058 w 4488985"/>
                <a:gd name="connsiteY1004" fmla="*/ 1197913 h 2422364"/>
                <a:gd name="connsiteX1005" fmla="*/ 70638 w 4488985"/>
                <a:gd name="connsiteY1005" fmla="*/ 1182051 h 2422364"/>
                <a:gd name="connsiteX1006" fmla="*/ 73108 w 4488985"/>
                <a:gd name="connsiteY1006" fmla="*/ 1177743 h 2422364"/>
                <a:gd name="connsiteX1007" fmla="*/ 70693 w 4488985"/>
                <a:gd name="connsiteY1007" fmla="*/ 1171843 h 2422364"/>
                <a:gd name="connsiteX1008" fmla="*/ 81368 w 4488985"/>
                <a:gd name="connsiteY1008" fmla="*/ 1166491 h 2422364"/>
                <a:gd name="connsiteX1009" fmla="*/ 75605 w 4488985"/>
                <a:gd name="connsiteY1009" fmla="*/ 1137676 h 2422364"/>
                <a:gd name="connsiteX1010" fmla="*/ 65286 w 4488985"/>
                <a:gd name="connsiteY1010" fmla="*/ 1114459 h 2422364"/>
                <a:gd name="connsiteX1011" fmla="*/ 52142 w 4488985"/>
                <a:gd name="connsiteY1011" fmla="*/ 1086330 h 2422364"/>
                <a:gd name="connsiteX1012" fmla="*/ 51044 w 4488985"/>
                <a:gd name="connsiteY1012" fmla="*/ 1076149 h 2422364"/>
                <a:gd name="connsiteX1013" fmla="*/ 73328 w 4488985"/>
                <a:gd name="connsiteY1013" fmla="*/ 1036165 h 2422364"/>
                <a:gd name="connsiteX1014" fmla="*/ 76566 w 4488985"/>
                <a:gd name="connsiteY1014" fmla="*/ 1022416 h 2422364"/>
                <a:gd name="connsiteX1015" fmla="*/ 57575 w 4488985"/>
                <a:gd name="connsiteY1015" fmla="*/ 990499 h 2422364"/>
                <a:gd name="connsiteX1016" fmla="*/ 36718 w 4488985"/>
                <a:gd name="connsiteY1016" fmla="*/ 972415 h 2422364"/>
                <a:gd name="connsiteX1017" fmla="*/ 33398 w 4488985"/>
                <a:gd name="connsiteY1017" fmla="*/ 953040 h 2422364"/>
                <a:gd name="connsiteX1018" fmla="*/ 40506 w 4488985"/>
                <a:gd name="connsiteY1018" fmla="*/ 928725 h 2422364"/>
                <a:gd name="connsiteX1019" fmla="*/ 37404 w 4488985"/>
                <a:gd name="connsiteY1019" fmla="*/ 920849 h 2422364"/>
                <a:gd name="connsiteX1020" fmla="*/ 46378 w 4488985"/>
                <a:gd name="connsiteY1020" fmla="*/ 910887 h 2422364"/>
                <a:gd name="connsiteX1021" fmla="*/ 53019 w 4488985"/>
                <a:gd name="connsiteY1021" fmla="*/ 909186 h 2422364"/>
                <a:gd name="connsiteX1022" fmla="*/ 59414 w 4488985"/>
                <a:gd name="connsiteY1022" fmla="*/ 889509 h 2422364"/>
                <a:gd name="connsiteX1023" fmla="*/ 77993 w 4488985"/>
                <a:gd name="connsiteY1023" fmla="*/ 879026 h 2422364"/>
                <a:gd name="connsiteX1024" fmla="*/ 82548 w 4488985"/>
                <a:gd name="connsiteY1024" fmla="*/ 870189 h 2422364"/>
                <a:gd name="connsiteX1025" fmla="*/ 82905 w 4488985"/>
                <a:gd name="connsiteY1025" fmla="*/ 860722 h 2422364"/>
                <a:gd name="connsiteX1026" fmla="*/ 93443 w 4488985"/>
                <a:gd name="connsiteY1026" fmla="*/ 869586 h 2422364"/>
                <a:gd name="connsiteX1027" fmla="*/ 102499 w 4488985"/>
                <a:gd name="connsiteY1027" fmla="*/ 869723 h 2422364"/>
                <a:gd name="connsiteX1028" fmla="*/ 104942 w 4488985"/>
                <a:gd name="connsiteY1028" fmla="*/ 864454 h 2422364"/>
                <a:gd name="connsiteX1029" fmla="*/ 103323 w 4488985"/>
                <a:gd name="connsiteY1029" fmla="*/ 851693 h 2422364"/>
                <a:gd name="connsiteX1030" fmla="*/ 124591 w 4488985"/>
                <a:gd name="connsiteY1030" fmla="*/ 856687 h 2422364"/>
                <a:gd name="connsiteX1031" fmla="*/ 139739 w 4488985"/>
                <a:gd name="connsiteY1031" fmla="*/ 839398 h 2422364"/>
                <a:gd name="connsiteX1032" fmla="*/ 164218 w 4488985"/>
                <a:gd name="connsiteY1032" fmla="*/ 853641 h 2422364"/>
                <a:gd name="connsiteX1033" fmla="*/ 166085 w 4488985"/>
                <a:gd name="connsiteY1033" fmla="*/ 858444 h 2422364"/>
                <a:gd name="connsiteX1034" fmla="*/ 161859 w 4488985"/>
                <a:gd name="connsiteY1034" fmla="*/ 865222 h 2422364"/>
                <a:gd name="connsiteX1035" fmla="*/ 144734 w 4488985"/>
                <a:gd name="connsiteY1035" fmla="*/ 860584 h 2422364"/>
                <a:gd name="connsiteX1036" fmla="*/ 143390 w 4488985"/>
                <a:gd name="connsiteY1036" fmla="*/ 864783 h 2422364"/>
                <a:gd name="connsiteX1037" fmla="*/ 153186 w 4488985"/>
                <a:gd name="connsiteY1037" fmla="*/ 875541 h 2422364"/>
                <a:gd name="connsiteX1038" fmla="*/ 162215 w 4488985"/>
                <a:gd name="connsiteY1038" fmla="*/ 879053 h 2422364"/>
                <a:gd name="connsiteX1039" fmla="*/ 166496 w 4488985"/>
                <a:gd name="connsiteY1039" fmla="*/ 886408 h 2422364"/>
                <a:gd name="connsiteX1040" fmla="*/ 176513 w 4488985"/>
                <a:gd name="connsiteY1040" fmla="*/ 884816 h 2422364"/>
                <a:gd name="connsiteX1041" fmla="*/ 181508 w 4488985"/>
                <a:gd name="connsiteY1041" fmla="*/ 896727 h 2422364"/>
                <a:gd name="connsiteX1042" fmla="*/ 199565 w 4488985"/>
                <a:gd name="connsiteY1042" fmla="*/ 886079 h 2422364"/>
                <a:gd name="connsiteX1043" fmla="*/ 210130 w 4488985"/>
                <a:gd name="connsiteY1043" fmla="*/ 893406 h 2422364"/>
                <a:gd name="connsiteX1044" fmla="*/ 246657 w 4488985"/>
                <a:gd name="connsiteY1044" fmla="*/ 900157 h 2422364"/>
                <a:gd name="connsiteX1045" fmla="*/ 264001 w 4488985"/>
                <a:gd name="connsiteY1045" fmla="*/ 909076 h 2422364"/>
                <a:gd name="connsiteX1046" fmla="*/ 302805 w 4488985"/>
                <a:gd name="connsiteY1046" fmla="*/ 941157 h 2422364"/>
                <a:gd name="connsiteX1047" fmla="*/ 326352 w 4488985"/>
                <a:gd name="connsiteY1047" fmla="*/ 966871 h 2422364"/>
                <a:gd name="connsiteX1048" fmla="*/ 359283 w 4488985"/>
                <a:gd name="connsiteY1048" fmla="*/ 990143 h 2422364"/>
                <a:gd name="connsiteX1049" fmla="*/ 369410 w 4488985"/>
                <a:gd name="connsiteY1049" fmla="*/ 991405 h 2422364"/>
                <a:gd name="connsiteX1050" fmla="*/ 384448 w 4488985"/>
                <a:gd name="connsiteY1050" fmla="*/ 1011823 h 2422364"/>
                <a:gd name="connsiteX1051" fmla="*/ 397155 w 4488985"/>
                <a:gd name="connsiteY1051" fmla="*/ 1018958 h 2422364"/>
                <a:gd name="connsiteX1052" fmla="*/ 400640 w 4488985"/>
                <a:gd name="connsiteY1052" fmla="*/ 1024776 h 2422364"/>
                <a:gd name="connsiteX1053" fmla="*/ 404784 w 4488985"/>
                <a:gd name="connsiteY1053" fmla="*/ 1048679 h 2422364"/>
                <a:gd name="connsiteX1054" fmla="*/ 410025 w 4488985"/>
                <a:gd name="connsiteY1054" fmla="*/ 1063498 h 2422364"/>
                <a:gd name="connsiteX1055" fmla="*/ 409559 w 4488985"/>
                <a:gd name="connsiteY1055" fmla="*/ 1074667 h 2422364"/>
                <a:gd name="connsiteX1056" fmla="*/ 405168 w 4488985"/>
                <a:gd name="connsiteY1056" fmla="*/ 1087099 h 2422364"/>
                <a:gd name="connsiteX1057" fmla="*/ 384174 w 4488985"/>
                <a:gd name="connsiteY1057" fmla="*/ 1116024 h 2422364"/>
                <a:gd name="connsiteX1058" fmla="*/ 372511 w 4488985"/>
                <a:gd name="connsiteY1058" fmla="*/ 1126123 h 2422364"/>
                <a:gd name="connsiteX1059" fmla="*/ 346523 w 4488985"/>
                <a:gd name="connsiteY1059" fmla="*/ 1137676 h 2422364"/>
                <a:gd name="connsiteX1060" fmla="*/ 325062 w 4488985"/>
                <a:gd name="connsiteY1060" fmla="*/ 1141408 h 2422364"/>
                <a:gd name="connsiteX1061" fmla="*/ 243227 w 4488985"/>
                <a:gd name="connsiteY1061" fmla="*/ 1118548 h 2422364"/>
                <a:gd name="connsiteX1062" fmla="*/ 224182 w 4488985"/>
                <a:gd name="connsiteY1062" fmla="*/ 1105705 h 2422364"/>
                <a:gd name="connsiteX1063" fmla="*/ 210844 w 4488985"/>
                <a:gd name="connsiteY1063" fmla="*/ 1104360 h 2422364"/>
                <a:gd name="connsiteX1064" fmla="*/ 188286 w 4488985"/>
                <a:gd name="connsiteY1064" fmla="*/ 1090227 h 2422364"/>
                <a:gd name="connsiteX1065" fmla="*/ 179559 w 4488985"/>
                <a:gd name="connsiteY1065" fmla="*/ 1090584 h 2422364"/>
                <a:gd name="connsiteX1066" fmla="*/ 158730 w 4488985"/>
                <a:gd name="connsiteY1066" fmla="*/ 1068849 h 2422364"/>
                <a:gd name="connsiteX1067" fmla="*/ 151375 w 4488985"/>
                <a:gd name="connsiteY1067" fmla="*/ 1068245 h 2422364"/>
                <a:gd name="connsiteX1068" fmla="*/ 155244 w 4488985"/>
                <a:gd name="connsiteY1068" fmla="*/ 1083010 h 2422364"/>
                <a:gd name="connsiteX1069" fmla="*/ 169103 w 4488985"/>
                <a:gd name="connsiteY1069" fmla="*/ 1097637 h 2422364"/>
                <a:gd name="connsiteX1070" fmla="*/ 170833 w 4488985"/>
                <a:gd name="connsiteY1070" fmla="*/ 1108038 h 2422364"/>
                <a:gd name="connsiteX1071" fmla="*/ 180190 w 4488985"/>
                <a:gd name="connsiteY1071" fmla="*/ 1114597 h 2422364"/>
                <a:gd name="connsiteX1072" fmla="*/ 187380 w 4488985"/>
                <a:gd name="connsiteY1072" fmla="*/ 1126864 h 2422364"/>
                <a:gd name="connsiteX1073" fmla="*/ 206453 w 4488985"/>
                <a:gd name="connsiteY1073" fmla="*/ 1138746 h 2422364"/>
                <a:gd name="connsiteX1074" fmla="*/ 220806 w 4488985"/>
                <a:gd name="connsiteY1074" fmla="*/ 1160124 h 2422364"/>
                <a:gd name="connsiteX1075" fmla="*/ 221217 w 4488985"/>
                <a:gd name="connsiteY1075" fmla="*/ 1164515 h 2422364"/>
                <a:gd name="connsiteX1076" fmla="*/ 217622 w 4488985"/>
                <a:gd name="connsiteY1076" fmla="*/ 1168824 h 2422364"/>
                <a:gd name="connsiteX1077" fmla="*/ 210954 w 4488985"/>
                <a:gd name="connsiteY1077" fmla="*/ 1192864 h 2422364"/>
                <a:gd name="connsiteX1078" fmla="*/ 221245 w 4488985"/>
                <a:gd name="connsiteY1078" fmla="*/ 1228924 h 2422364"/>
                <a:gd name="connsiteX1079" fmla="*/ 222397 w 4488985"/>
                <a:gd name="connsiteY1079" fmla="*/ 1250275 h 2422364"/>
                <a:gd name="connsiteX1080" fmla="*/ 236284 w 4488985"/>
                <a:gd name="connsiteY1080" fmla="*/ 1263667 h 2422364"/>
                <a:gd name="connsiteX1081" fmla="*/ 250911 w 4488985"/>
                <a:gd name="connsiteY1081" fmla="*/ 1262597 h 2422364"/>
                <a:gd name="connsiteX1082" fmla="*/ 256701 w 4488985"/>
                <a:gd name="connsiteY1082" fmla="*/ 1272119 h 2422364"/>
                <a:gd name="connsiteX1083" fmla="*/ 257882 w 4488985"/>
                <a:gd name="connsiteY1083" fmla="*/ 1274068 h 2422364"/>
                <a:gd name="connsiteX1084" fmla="*/ 264825 w 4488985"/>
                <a:gd name="connsiteY1084" fmla="*/ 1285429 h 2422364"/>
                <a:gd name="connsiteX1085" fmla="*/ 292844 w 4488985"/>
                <a:gd name="connsiteY1085" fmla="*/ 1297504 h 2422364"/>
                <a:gd name="connsiteX1086" fmla="*/ 312301 w 4488985"/>
                <a:gd name="connsiteY1086" fmla="*/ 1287460 h 2422364"/>
                <a:gd name="connsiteX1087" fmla="*/ 311697 w 4488985"/>
                <a:gd name="connsiteY1087" fmla="*/ 1274068 h 2422364"/>
                <a:gd name="connsiteX1088" fmla="*/ 310792 w 4488985"/>
                <a:gd name="connsiteY1088" fmla="*/ 1264216 h 2422364"/>
                <a:gd name="connsiteX1089" fmla="*/ 305715 w 4488985"/>
                <a:gd name="connsiteY1089" fmla="*/ 1257767 h 2422364"/>
                <a:gd name="connsiteX1090" fmla="*/ 287328 w 4488985"/>
                <a:gd name="connsiteY1090" fmla="*/ 1255818 h 2422364"/>
                <a:gd name="connsiteX1091" fmla="*/ 272755 w 4488985"/>
                <a:gd name="connsiteY1091" fmla="*/ 1235977 h 2422364"/>
                <a:gd name="connsiteX1092" fmla="*/ 271109 w 4488985"/>
                <a:gd name="connsiteY1092" fmla="*/ 1224753 h 2422364"/>
                <a:gd name="connsiteX1093" fmla="*/ 283815 w 4488985"/>
                <a:gd name="connsiteY1093" fmla="*/ 1209659 h 2422364"/>
                <a:gd name="connsiteX1094" fmla="*/ 302641 w 4488985"/>
                <a:gd name="connsiteY1094" fmla="*/ 1215916 h 2422364"/>
                <a:gd name="connsiteX1095" fmla="*/ 315320 w 4488985"/>
                <a:gd name="connsiteY1095" fmla="*/ 1228156 h 2422364"/>
                <a:gd name="connsiteX1096" fmla="*/ 318393 w 4488985"/>
                <a:gd name="connsiteY1096" fmla="*/ 1236251 h 2422364"/>
                <a:gd name="connsiteX1097" fmla="*/ 331950 w 4488985"/>
                <a:gd name="connsiteY1097" fmla="*/ 1233836 h 2422364"/>
                <a:gd name="connsiteX1098" fmla="*/ 360326 w 4488985"/>
                <a:gd name="connsiteY1098" fmla="*/ 1246323 h 2422364"/>
                <a:gd name="connsiteX1099" fmla="*/ 370206 w 4488985"/>
                <a:gd name="connsiteY1099" fmla="*/ 1237239 h 2422364"/>
                <a:gd name="connsiteX1100" fmla="*/ 376298 w 4488985"/>
                <a:gd name="connsiteY1100" fmla="*/ 1243496 h 2422364"/>
                <a:gd name="connsiteX1101" fmla="*/ 382830 w 4488985"/>
                <a:gd name="connsiteY1101" fmla="*/ 1229802 h 2422364"/>
                <a:gd name="connsiteX1102" fmla="*/ 377945 w 4488985"/>
                <a:gd name="connsiteY1102" fmla="*/ 1214324 h 2422364"/>
                <a:gd name="connsiteX1103" fmla="*/ 366364 w 4488985"/>
                <a:gd name="connsiteY1103" fmla="*/ 1192974 h 2422364"/>
                <a:gd name="connsiteX1104" fmla="*/ 365869 w 4488985"/>
                <a:gd name="connsiteY1104" fmla="*/ 1182024 h 2422364"/>
                <a:gd name="connsiteX1105" fmla="*/ 370508 w 4488985"/>
                <a:gd name="connsiteY1105" fmla="*/ 1172364 h 2422364"/>
                <a:gd name="connsiteX1106" fmla="*/ 394301 w 4488985"/>
                <a:gd name="connsiteY1106" fmla="*/ 1148598 h 2422364"/>
                <a:gd name="connsiteX1107" fmla="*/ 416227 w 4488985"/>
                <a:gd name="connsiteY1107" fmla="*/ 1135892 h 2422364"/>
                <a:gd name="connsiteX1108" fmla="*/ 436343 w 4488985"/>
                <a:gd name="connsiteY1108" fmla="*/ 1112895 h 2422364"/>
                <a:gd name="connsiteX1109" fmla="*/ 467903 w 4488985"/>
                <a:gd name="connsiteY1109" fmla="*/ 1118466 h 2422364"/>
                <a:gd name="connsiteX1110" fmla="*/ 491284 w 4488985"/>
                <a:gd name="connsiteY1110" fmla="*/ 1141189 h 2422364"/>
                <a:gd name="connsiteX1111" fmla="*/ 496251 w 4488985"/>
                <a:gd name="connsiteY1111" fmla="*/ 1116957 h 2422364"/>
                <a:gd name="connsiteX1112" fmla="*/ 502810 w 4488985"/>
                <a:gd name="connsiteY1112" fmla="*/ 1095963 h 2422364"/>
                <a:gd name="connsiteX1113" fmla="*/ 501328 w 4488985"/>
                <a:gd name="connsiteY1113" fmla="*/ 1074804 h 2422364"/>
                <a:gd name="connsiteX1114" fmla="*/ 496251 w 4488985"/>
                <a:gd name="connsiteY1114" fmla="*/ 1066681 h 2422364"/>
                <a:gd name="connsiteX1115" fmla="*/ 495126 w 4488985"/>
                <a:gd name="connsiteY1115" fmla="*/ 1064870 h 2422364"/>
                <a:gd name="connsiteX1116" fmla="*/ 486701 w 4488985"/>
                <a:gd name="connsiteY1116" fmla="*/ 1059134 h 2422364"/>
                <a:gd name="connsiteX1117" fmla="*/ 484725 w 4488985"/>
                <a:gd name="connsiteY1117" fmla="*/ 1052877 h 2422364"/>
                <a:gd name="connsiteX1118" fmla="*/ 486646 w 4488985"/>
                <a:gd name="connsiteY1118" fmla="*/ 1037701 h 2422364"/>
                <a:gd name="connsiteX1119" fmla="*/ 494358 w 4488985"/>
                <a:gd name="connsiteY1119" fmla="*/ 1010368 h 2422364"/>
                <a:gd name="connsiteX1120" fmla="*/ 495318 w 4488985"/>
                <a:gd name="connsiteY1120" fmla="*/ 980044 h 2422364"/>
                <a:gd name="connsiteX1121" fmla="*/ 477947 w 4488985"/>
                <a:gd name="connsiteY1121" fmla="*/ 952354 h 2422364"/>
                <a:gd name="connsiteX1122" fmla="*/ 477151 w 4488985"/>
                <a:gd name="connsiteY1122" fmla="*/ 946865 h 2422364"/>
                <a:gd name="connsiteX1123" fmla="*/ 496251 w 4488985"/>
                <a:gd name="connsiteY1123" fmla="*/ 950570 h 2422364"/>
                <a:gd name="connsiteX1124" fmla="*/ 537333 w 4488985"/>
                <a:gd name="connsiteY1124" fmla="*/ 958528 h 2422364"/>
                <a:gd name="connsiteX1125" fmla="*/ 539007 w 4488985"/>
                <a:gd name="connsiteY1125" fmla="*/ 958858 h 2422364"/>
                <a:gd name="connsiteX1126" fmla="*/ 560605 w 4488985"/>
                <a:gd name="connsiteY1126" fmla="*/ 984133 h 2422364"/>
                <a:gd name="connsiteX1127" fmla="*/ 565874 w 4488985"/>
                <a:gd name="connsiteY1127" fmla="*/ 998568 h 2422364"/>
                <a:gd name="connsiteX1128" fmla="*/ 565051 w 4488985"/>
                <a:gd name="connsiteY1128" fmla="*/ 1007651 h 2422364"/>
                <a:gd name="connsiteX1129" fmla="*/ 537360 w 4488985"/>
                <a:gd name="connsiteY1129" fmla="*/ 1016104 h 2422364"/>
                <a:gd name="connsiteX1130" fmla="*/ 534452 w 4488985"/>
                <a:gd name="connsiteY1130" fmla="*/ 1016982 h 2422364"/>
                <a:gd name="connsiteX1131" fmla="*/ 519358 w 4488985"/>
                <a:gd name="connsiteY1131" fmla="*/ 1043739 h 2422364"/>
                <a:gd name="connsiteX1132" fmla="*/ 521883 w 4488985"/>
                <a:gd name="connsiteY1132" fmla="*/ 1050380 h 2422364"/>
                <a:gd name="connsiteX1133" fmla="*/ 534836 w 4488985"/>
                <a:gd name="connsiteY1133" fmla="*/ 1061687 h 2422364"/>
                <a:gd name="connsiteX1134" fmla="*/ 537333 w 4488985"/>
                <a:gd name="connsiteY1134" fmla="*/ 1066516 h 2422364"/>
                <a:gd name="connsiteX1135" fmla="*/ 543508 w 4488985"/>
                <a:gd name="connsiteY1135" fmla="*/ 1078427 h 2422364"/>
                <a:gd name="connsiteX1136" fmla="*/ 550588 w 4488985"/>
                <a:gd name="connsiteY1136" fmla="*/ 1083504 h 2422364"/>
                <a:gd name="connsiteX1137" fmla="*/ 576193 w 4488985"/>
                <a:gd name="connsiteY1137" fmla="*/ 1080430 h 2422364"/>
                <a:gd name="connsiteX1138" fmla="*/ 593976 w 4488985"/>
                <a:gd name="connsiteY1138" fmla="*/ 1076835 h 2422364"/>
                <a:gd name="connsiteX1139" fmla="*/ 598092 w 4488985"/>
                <a:gd name="connsiteY1139" fmla="*/ 1068822 h 2422364"/>
                <a:gd name="connsiteX1140" fmla="*/ 600699 w 4488985"/>
                <a:gd name="connsiteY1140" fmla="*/ 1051313 h 2422364"/>
                <a:gd name="connsiteX1141" fmla="*/ 607752 w 4488985"/>
                <a:gd name="connsiteY1141" fmla="*/ 1027191 h 2422364"/>
                <a:gd name="connsiteX1142" fmla="*/ 626550 w 4488985"/>
                <a:gd name="connsiteY1142" fmla="*/ 1020714 h 2422364"/>
                <a:gd name="connsiteX1143" fmla="*/ 634701 w 4488985"/>
                <a:gd name="connsiteY1143" fmla="*/ 1006965 h 2422364"/>
                <a:gd name="connsiteX1144" fmla="*/ 663489 w 4488985"/>
                <a:gd name="connsiteY1144" fmla="*/ 993875 h 2422364"/>
                <a:gd name="connsiteX1145" fmla="*/ 700756 w 4488985"/>
                <a:gd name="connsiteY1145" fmla="*/ 957705 h 2422364"/>
                <a:gd name="connsiteX1146" fmla="*/ 708989 w 4488985"/>
                <a:gd name="connsiteY1146" fmla="*/ 960230 h 2422364"/>
                <a:gd name="connsiteX1147" fmla="*/ 727513 w 4488985"/>
                <a:gd name="connsiteY1147" fmla="*/ 954906 h 2422364"/>
                <a:gd name="connsiteX1148" fmla="*/ 733469 w 4488985"/>
                <a:gd name="connsiteY1148" fmla="*/ 965554 h 2422364"/>
                <a:gd name="connsiteX1149" fmla="*/ 737530 w 4488985"/>
                <a:gd name="connsiteY1149" fmla="*/ 966459 h 2422364"/>
                <a:gd name="connsiteX1150" fmla="*/ 742881 w 4488985"/>
                <a:gd name="connsiteY1150" fmla="*/ 958803 h 2422364"/>
                <a:gd name="connsiteX1151" fmla="*/ 741866 w 4488985"/>
                <a:gd name="connsiteY1151" fmla="*/ 943462 h 2422364"/>
                <a:gd name="connsiteX1152" fmla="*/ 770434 w 4488985"/>
                <a:gd name="connsiteY1152" fmla="*/ 923539 h 2422364"/>
                <a:gd name="connsiteX1153" fmla="*/ 779545 w 4488985"/>
                <a:gd name="connsiteY1153" fmla="*/ 929549 h 2422364"/>
                <a:gd name="connsiteX1154" fmla="*/ 778365 w 4488985"/>
                <a:gd name="connsiteY1154" fmla="*/ 946481 h 2422364"/>
                <a:gd name="connsiteX1155" fmla="*/ 781109 w 4488985"/>
                <a:gd name="connsiteY1155" fmla="*/ 964099 h 2422364"/>
                <a:gd name="connsiteX1156" fmla="*/ 767443 w 4488985"/>
                <a:gd name="connsiteY1156" fmla="*/ 968435 h 2422364"/>
                <a:gd name="connsiteX1157" fmla="*/ 765604 w 4488985"/>
                <a:gd name="connsiteY1157" fmla="*/ 972003 h 2422364"/>
                <a:gd name="connsiteX1158" fmla="*/ 767443 w 4488985"/>
                <a:gd name="connsiteY1158" fmla="*/ 975900 h 2422364"/>
                <a:gd name="connsiteX1159" fmla="*/ 781466 w 4488985"/>
                <a:gd name="connsiteY1159" fmla="*/ 978644 h 2422364"/>
                <a:gd name="connsiteX1160" fmla="*/ 793513 w 4488985"/>
                <a:gd name="connsiteY1160" fmla="*/ 972360 h 2422364"/>
                <a:gd name="connsiteX1161" fmla="*/ 806466 w 4488985"/>
                <a:gd name="connsiteY1161" fmla="*/ 979275 h 2422364"/>
                <a:gd name="connsiteX1162" fmla="*/ 814809 w 4488985"/>
                <a:gd name="connsiteY1162" fmla="*/ 962810 h 2422364"/>
                <a:gd name="connsiteX1163" fmla="*/ 827515 w 4488985"/>
                <a:gd name="connsiteY1163" fmla="*/ 951338 h 2422364"/>
                <a:gd name="connsiteX1164" fmla="*/ 844969 w 4488985"/>
                <a:gd name="connsiteY1164" fmla="*/ 945218 h 2422364"/>
                <a:gd name="connsiteX1165" fmla="*/ 878697 w 4488985"/>
                <a:gd name="connsiteY1165" fmla="*/ 951338 h 2422364"/>
                <a:gd name="connsiteX1166" fmla="*/ 893955 w 4488985"/>
                <a:gd name="connsiteY1166" fmla="*/ 934378 h 2422364"/>
                <a:gd name="connsiteX1167" fmla="*/ 928725 w 4488985"/>
                <a:gd name="connsiteY1167" fmla="*/ 919065 h 2422364"/>
                <a:gd name="connsiteX1168" fmla="*/ 941513 w 4488985"/>
                <a:gd name="connsiteY1168" fmla="*/ 934735 h 2422364"/>
                <a:gd name="connsiteX1169" fmla="*/ 936244 w 4488985"/>
                <a:gd name="connsiteY1169" fmla="*/ 948951 h 2422364"/>
                <a:gd name="connsiteX1170" fmla="*/ 936821 w 4488985"/>
                <a:gd name="connsiteY1170" fmla="*/ 960202 h 2422364"/>
                <a:gd name="connsiteX1171" fmla="*/ 951201 w 4488985"/>
                <a:gd name="connsiteY1171" fmla="*/ 965718 h 2422364"/>
                <a:gd name="connsiteX1172" fmla="*/ 955482 w 4488985"/>
                <a:gd name="connsiteY1172" fmla="*/ 960449 h 2422364"/>
                <a:gd name="connsiteX1173" fmla="*/ 958336 w 4488985"/>
                <a:gd name="connsiteY1173" fmla="*/ 943215 h 2422364"/>
                <a:gd name="connsiteX1174" fmla="*/ 973979 w 4488985"/>
                <a:gd name="connsiteY1174" fmla="*/ 938275 h 2422364"/>
                <a:gd name="connsiteX1175" fmla="*/ 986603 w 4488985"/>
                <a:gd name="connsiteY1175" fmla="*/ 922551 h 2422364"/>
                <a:gd name="connsiteX1176" fmla="*/ 985752 w 4488985"/>
                <a:gd name="connsiteY1176" fmla="*/ 908884 h 2422364"/>
                <a:gd name="connsiteX1177" fmla="*/ 978424 w 4488985"/>
                <a:gd name="connsiteY1177" fmla="*/ 898236 h 2422364"/>
                <a:gd name="connsiteX1178" fmla="*/ 968545 w 4488985"/>
                <a:gd name="connsiteY1178" fmla="*/ 868817 h 2422364"/>
                <a:gd name="connsiteX1179" fmla="*/ 970685 w 4488985"/>
                <a:gd name="connsiteY1179" fmla="*/ 862615 h 2422364"/>
                <a:gd name="connsiteX1180" fmla="*/ 988084 w 4488985"/>
                <a:gd name="connsiteY1180" fmla="*/ 845299 h 2422364"/>
                <a:gd name="connsiteX1181" fmla="*/ 1053728 w 4488985"/>
                <a:gd name="connsiteY1181" fmla="*/ 859404 h 2422364"/>
                <a:gd name="connsiteX1182" fmla="*/ 1085370 w 4488985"/>
                <a:gd name="connsiteY1182" fmla="*/ 873867 h 2422364"/>
                <a:gd name="connsiteX1183" fmla="*/ 1123378 w 4488985"/>
                <a:gd name="connsiteY1183" fmla="*/ 903889 h 2422364"/>
                <a:gd name="connsiteX1184" fmla="*/ 1159603 w 4488985"/>
                <a:gd name="connsiteY1184" fmla="*/ 925130 h 2422364"/>
                <a:gd name="connsiteX1185" fmla="*/ 1166107 w 4488985"/>
                <a:gd name="connsiteY1185" fmla="*/ 928917 h 2422364"/>
                <a:gd name="connsiteX1186" fmla="*/ 1175382 w 4488985"/>
                <a:gd name="connsiteY1186" fmla="*/ 942529 h 2422364"/>
                <a:gd name="connsiteX1187" fmla="*/ 1198380 w 4488985"/>
                <a:gd name="connsiteY1187" fmla="*/ 963825 h 2422364"/>
                <a:gd name="connsiteX1188" fmla="*/ 1201920 w 4488985"/>
                <a:gd name="connsiteY1188" fmla="*/ 972030 h 2422364"/>
                <a:gd name="connsiteX1189" fmla="*/ 1203868 w 4488985"/>
                <a:gd name="connsiteY1189" fmla="*/ 976586 h 2422364"/>
                <a:gd name="connsiteX1190" fmla="*/ 1206365 w 4488985"/>
                <a:gd name="connsiteY1190" fmla="*/ 976778 h 2422364"/>
                <a:gd name="connsiteX1191" fmla="*/ 1213171 w 4488985"/>
                <a:gd name="connsiteY1191" fmla="*/ 968051 h 2422364"/>
                <a:gd name="connsiteX1192" fmla="*/ 1225192 w 4488985"/>
                <a:gd name="connsiteY1192" fmla="*/ 937013 h 2422364"/>
                <a:gd name="connsiteX1193" fmla="*/ 1226097 w 4488985"/>
                <a:gd name="connsiteY1193" fmla="*/ 926255 h 2422364"/>
                <a:gd name="connsiteX1194" fmla="*/ 1208836 w 4488985"/>
                <a:gd name="connsiteY1194" fmla="*/ 913906 h 2422364"/>
                <a:gd name="connsiteX1195" fmla="*/ 1201893 w 4488985"/>
                <a:gd name="connsiteY1195" fmla="*/ 898785 h 2422364"/>
                <a:gd name="connsiteX1196" fmla="*/ 1199121 w 4488985"/>
                <a:gd name="connsiteY1196" fmla="*/ 892802 h 2422364"/>
                <a:gd name="connsiteX1197" fmla="*/ 1195416 w 4488985"/>
                <a:gd name="connsiteY1197" fmla="*/ 873784 h 2422364"/>
                <a:gd name="connsiteX1198" fmla="*/ 1178539 w 4488985"/>
                <a:gd name="connsiteY1198" fmla="*/ 866018 h 2422364"/>
                <a:gd name="connsiteX1199" fmla="*/ 1171843 w 4488985"/>
                <a:gd name="connsiteY1199" fmla="*/ 883142 h 2422364"/>
                <a:gd name="connsiteX1200" fmla="*/ 1167479 w 4488985"/>
                <a:gd name="connsiteY1200" fmla="*/ 882621 h 2422364"/>
                <a:gd name="connsiteX1201" fmla="*/ 1168000 w 4488985"/>
                <a:gd name="connsiteY1201" fmla="*/ 875157 h 2422364"/>
                <a:gd name="connsiteX1202" fmla="*/ 1173352 w 4488985"/>
                <a:gd name="connsiteY1202" fmla="*/ 863823 h 2422364"/>
                <a:gd name="connsiteX1203" fmla="*/ 1169098 w 4488985"/>
                <a:gd name="connsiteY1203" fmla="*/ 859926 h 2422364"/>
                <a:gd name="connsiteX1204" fmla="*/ 1162786 w 4488985"/>
                <a:gd name="connsiteY1204" fmla="*/ 862505 h 2422364"/>
                <a:gd name="connsiteX1205" fmla="*/ 1161661 w 4488985"/>
                <a:gd name="connsiteY1205" fmla="*/ 848592 h 2422364"/>
                <a:gd name="connsiteX1206" fmla="*/ 1164707 w 4488985"/>
                <a:gd name="connsiteY1206" fmla="*/ 836023 h 2422364"/>
                <a:gd name="connsiteX1207" fmla="*/ 1176068 w 4488985"/>
                <a:gd name="connsiteY1207" fmla="*/ 827763 h 2422364"/>
                <a:gd name="connsiteX1208" fmla="*/ 1172309 w 4488985"/>
                <a:gd name="connsiteY1208" fmla="*/ 808333 h 2422364"/>
                <a:gd name="connsiteX1209" fmla="*/ 1175218 w 4488985"/>
                <a:gd name="connsiteY1209" fmla="*/ 770105 h 2422364"/>
                <a:gd name="connsiteX1210" fmla="*/ 1171184 w 4488985"/>
                <a:gd name="connsiteY1210" fmla="*/ 760088 h 2422364"/>
                <a:gd name="connsiteX1211" fmla="*/ 1159548 w 4488985"/>
                <a:gd name="connsiteY1211" fmla="*/ 759155 h 2422364"/>
                <a:gd name="connsiteX1212" fmla="*/ 1158725 w 4488985"/>
                <a:gd name="connsiteY1212" fmla="*/ 739863 h 2422364"/>
                <a:gd name="connsiteX1213" fmla="*/ 1159575 w 4488985"/>
                <a:gd name="connsiteY1213" fmla="*/ 737887 h 2422364"/>
                <a:gd name="connsiteX1214" fmla="*/ 1169345 w 4488985"/>
                <a:gd name="connsiteY1214" fmla="*/ 716042 h 2422364"/>
                <a:gd name="connsiteX1215" fmla="*/ 1202853 w 4488985"/>
                <a:gd name="connsiteY1215" fmla="*/ 678857 h 2422364"/>
                <a:gd name="connsiteX1216" fmla="*/ 1211580 w 4488985"/>
                <a:gd name="connsiteY1216" fmla="*/ 656244 h 2422364"/>
                <a:gd name="connsiteX1217" fmla="*/ 1224176 w 4488985"/>
                <a:gd name="connsiteY1217" fmla="*/ 589475 h 2422364"/>
                <a:gd name="connsiteX1218" fmla="*/ 1235894 w 4488985"/>
                <a:gd name="connsiteY1218" fmla="*/ 564008 h 2422364"/>
                <a:gd name="connsiteX1219" fmla="*/ 1300275 w 4488985"/>
                <a:gd name="connsiteY1219" fmla="*/ 565929 h 2422364"/>
                <a:gd name="connsiteX1220" fmla="*/ 1332192 w 4488985"/>
                <a:gd name="connsiteY1220" fmla="*/ 592219 h 2422364"/>
                <a:gd name="connsiteX1221" fmla="*/ 1332795 w 4488985"/>
                <a:gd name="connsiteY1221" fmla="*/ 634509 h 2422364"/>
                <a:gd name="connsiteX1222" fmla="*/ 1312899 w 4488985"/>
                <a:gd name="connsiteY1222" fmla="*/ 702019 h 2422364"/>
                <a:gd name="connsiteX1223" fmla="*/ 1317867 w 4488985"/>
                <a:gd name="connsiteY1223" fmla="*/ 717634 h 2422364"/>
                <a:gd name="connsiteX1224" fmla="*/ 1329200 w 4488985"/>
                <a:gd name="connsiteY1224" fmla="*/ 734786 h 2422364"/>
                <a:gd name="connsiteX1225" fmla="*/ 1335128 w 4488985"/>
                <a:gd name="connsiteY1225" fmla="*/ 759731 h 2422364"/>
                <a:gd name="connsiteX1226" fmla="*/ 1334250 w 4488985"/>
                <a:gd name="connsiteY1226" fmla="*/ 788876 h 2422364"/>
                <a:gd name="connsiteX1227" fmla="*/ 1328871 w 4488985"/>
                <a:gd name="connsiteY1227" fmla="*/ 815084 h 2422364"/>
                <a:gd name="connsiteX1228" fmla="*/ 1331259 w 4488985"/>
                <a:gd name="connsiteY1228" fmla="*/ 852214 h 2422364"/>
                <a:gd name="connsiteX1229" fmla="*/ 1330655 w 4488985"/>
                <a:gd name="connsiteY1229" fmla="*/ 911985 h 2422364"/>
                <a:gd name="connsiteX1230" fmla="*/ 1334991 w 4488985"/>
                <a:gd name="connsiteY1230" fmla="*/ 925295 h 2422364"/>
                <a:gd name="connsiteX1231" fmla="*/ 1351731 w 4488985"/>
                <a:gd name="connsiteY1231" fmla="*/ 945520 h 2422364"/>
                <a:gd name="connsiteX1232" fmla="*/ 1355079 w 4488985"/>
                <a:gd name="connsiteY1232" fmla="*/ 956306 h 2422364"/>
                <a:gd name="connsiteX1233" fmla="*/ 1347203 w 4488985"/>
                <a:gd name="connsiteY1233" fmla="*/ 981718 h 2422364"/>
                <a:gd name="connsiteX1234" fmla="*/ 1345365 w 4488985"/>
                <a:gd name="connsiteY1234" fmla="*/ 1009819 h 2422364"/>
                <a:gd name="connsiteX1235" fmla="*/ 1329722 w 4488985"/>
                <a:gd name="connsiteY1235" fmla="*/ 1033695 h 2422364"/>
                <a:gd name="connsiteX1236" fmla="*/ 1312625 w 4488985"/>
                <a:gd name="connsiteY1236" fmla="*/ 1068794 h 2422364"/>
                <a:gd name="connsiteX1237" fmla="*/ 1302718 w 4488985"/>
                <a:gd name="connsiteY1237" fmla="*/ 1080101 h 2422364"/>
                <a:gd name="connsiteX1238" fmla="*/ 1296022 w 4488985"/>
                <a:gd name="connsiteY1238" fmla="*/ 1098680 h 2422364"/>
                <a:gd name="connsiteX1239" fmla="*/ 1272010 w 4488985"/>
                <a:gd name="connsiteY1239" fmla="*/ 1106281 h 2422364"/>
                <a:gd name="connsiteX1240" fmla="*/ 1254281 w 4488985"/>
                <a:gd name="connsiteY1240" fmla="*/ 1090200 h 2422364"/>
                <a:gd name="connsiteX1241" fmla="*/ 1253266 w 4488985"/>
                <a:gd name="connsiteY1241" fmla="*/ 1092889 h 2422364"/>
                <a:gd name="connsiteX1242" fmla="*/ 1254803 w 4488985"/>
                <a:gd name="connsiteY1242" fmla="*/ 1102192 h 2422364"/>
                <a:gd name="connsiteX1243" fmla="*/ 1253073 w 4488985"/>
                <a:gd name="connsiteY1243" fmla="*/ 1106172 h 2422364"/>
                <a:gd name="connsiteX1244" fmla="*/ 1238858 w 4488985"/>
                <a:gd name="connsiteY1244" fmla="*/ 1097747 h 2422364"/>
                <a:gd name="connsiteX1245" fmla="*/ 1234962 w 4488985"/>
                <a:gd name="connsiteY1245" fmla="*/ 1099969 h 2422364"/>
                <a:gd name="connsiteX1246" fmla="*/ 1241657 w 4488985"/>
                <a:gd name="connsiteY1246" fmla="*/ 1110151 h 2422364"/>
                <a:gd name="connsiteX1247" fmla="*/ 1268112 w 4488985"/>
                <a:gd name="connsiteY1247" fmla="*/ 1119811 h 2422364"/>
                <a:gd name="connsiteX1248" fmla="*/ 1318058 w 4488985"/>
                <a:gd name="connsiteY1248" fmla="*/ 1123323 h 2422364"/>
                <a:gd name="connsiteX1249" fmla="*/ 1330079 w 4488985"/>
                <a:gd name="connsiteY1249" fmla="*/ 1104031 h 2422364"/>
                <a:gd name="connsiteX1250" fmla="*/ 1363339 w 4488985"/>
                <a:gd name="connsiteY1250" fmla="*/ 1074969 h 2422364"/>
                <a:gd name="connsiteX1251" fmla="*/ 1375140 w 4488985"/>
                <a:gd name="connsiteY1251" fmla="*/ 1044068 h 2422364"/>
                <a:gd name="connsiteX1252" fmla="*/ 1391441 w 4488985"/>
                <a:gd name="connsiteY1252" fmla="*/ 1016900 h 2422364"/>
                <a:gd name="connsiteX1253" fmla="*/ 1393691 w 4488985"/>
                <a:gd name="connsiteY1253" fmla="*/ 1005703 h 2422364"/>
                <a:gd name="connsiteX1254" fmla="*/ 1393472 w 4488985"/>
                <a:gd name="connsiteY1254" fmla="*/ 994808 h 2422364"/>
                <a:gd name="connsiteX1255" fmla="*/ 1385294 w 4488985"/>
                <a:gd name="connsiteY1255" fmla="*/ 962727 h 2422364"/>
                <a:gd name="connsiteX1256" fmla="*/ 1388175 w 4488985"/>
                <a:gd name="connsiteY1256" fmla="*/ 944862 h 2422364"/>
                <a:gd name="connsiteX1257" fmla="*/ 1391798 w 4488985"/>
                <a:gd name="connsiteY1257" fmla="*/ 940690 h 2422364"/>
                <a:gd name="connsiteX1258" fmla="*/ 1429422 w 4488985"/>
                <a:gd name="connsiteY1258" fmla="*/ 919532 h 2422364"/>
                <a:gd name="connsiteX1259" fmla="*/ 1444488 w 4488985"/>
                <a:gd name="connsiteY1259" fmla="*/ 920630 h 2422364"/>
                <a:gd name="connsiteX1260" fmla="*/ 1463671 w 4488985"/>
                <a:gd name="connsiteY1260" fmla="*/ 954192 h 2422364"/>
                <a:gd name="connsiteX1261" fmla="*/ 1466772 w 4488985"/>
                <a:gd name="connsiteY1261" fmla="*/ 979248 h 2422364"/>
                <a:gd name="connsiteX1262" fmla="*/ 1466772 w 4488985"/>
                <a:gd name="connsiteY1262" fmla="*/ 1008200 h 2422364"/>
                <a:gd name="connsiteX1263" fmla="*/ 1468583 w 4488985"/>
                <a:gd name="connsiteY1263" fmla="*/ 1013936 h 2422364"/>
                <a:gd name="connsiteX1264" fmla="*/ 1478408 w 4488985"/>
                <a:gd name="connsiteY1264" fmla="*/ 1029606 h 2422364"/>
                <a:gd name="connsiteX1265" fmla="*/ 1502338 w 4488985"/>
                <a:gd name="connsiteY1265" fmla="*/ 1026971 h 2422364"/>
                <a:gd name="connsiteX1266" fmla="*/ 1476158 w 4488985"/>
                <a:gd name="connsiteY1266" fmla="*/ 1008008 h 2422364"/>
                <a:gd name="connsiteX1267" fmla="*/ 1475417 w 4488985"/>
                <a:gd name="connsiteY1267" fmla="*/ 999720 h 2422364"/>
                <a:gd name="connsiteX1268" fmla="*/ 1477228 w 4488985"/>
                <a:gd name="connsiteY1268" fmla="*/ 988798 h 2422364"/>
                <a:gd name="connsiteX1269" fmla="*/ 1487683 w 4488985"/>
                <a:gd name="connsiteY1269" fmla="*/ 968271 h 2422364"/>
                <a:gd name="connsiteX1270" fmla="*/ 1469900 w 4488985"/>
                <a:gd name="connsiteY1270" fmla="*/ 919258 h 2422364"/>
                <a:gd name="connsiteX1271" fmla="*/ 1450197 w 4488985"/>
                <a:gd name="connsiteY1271" fmla="*/ 904356 h 2422364"/>
                <a:gd name="connsiteX1272" fmla="*/ 1429971 w 4488985"/>
                <a:gd name="connsiteY1272" fmla="*/ 896233 h 2422364"/>
                <a:gd name="connsiteX1273" fmla="*/ 1379174 w 4488985"/>
                <a:gd name="connsiteY1273" fmla="*/ 905536 h 2422364"/>
                <a:gd name="connsiteX1274" fmla="*/ 1369185 w 4488985"/>
                <a:gd name="connsiteY1274" fmla="*/ 896041 h 2422364"/>
                <a:gd name="connsiteX1275" fmla="*/ 1362379 w 4488985"/>
                <a:gd name="connsiteY1275" fmla="*/ 842993 h 2422364"/>
                <a:gd name="connsiteX1276" fmla="*/ 1366852 w 4488985"/>
                <a:gd name="connsiteY1276" fmla="*/ 818871 h 2422364"/>
                <a:gd name="connsiteX1277" fmla="*/ 1376293 w 4488985"/>
                <a:gd name="connsiteY1277" fmla="*/ 794090 h 2422364"/>
                <a:gd name="connsiteX1278" fmla="*/ 1377473 w 4488985"/>
                <a:gd name="connsiteY1278" fmla="*/ 779655 h 2422364"/>
                <a:gd name="connsiteX1279" fmla="*/ 1349069 w 4488985"/>
                <a:gd name="connsiteY1279" fmla="*/ 701470 h 2422364"/>
                <a:gd name="connsiteX1280" fmla="*/ 1363093 w 4488985"/>
                <a:gd name="connsiteY1280" fmla="*/ 668182 h 2422364"/>
                <a:gd name="connsiteX1281" fmla="*/ 1389356 w 4488985"/>
                <a:gd name="connsiteY1281" fmla="*/ 646721 h 2422364"/>
                <a:gd name="connsiteX1282" fmla="*/ 1397314 w 4488985"/>
                <a:gd name="connsiteY1282" fmla="*/ 635085 h 2422364"/>
                <a:gd name="connsiteX1283" fmla="*/ 1400772 w 4488985"/>
                <a:gd name="connsiteY1283" fmla="*/ 614366 h 2422364"/>
                <a:gd name="connsiteX1284" fmla="*/ 1398906 w 4488985"/>
                <a:gd name="connsiteY1284" fmla="*/ 585249 h 2422364"/>
                <a:gd name="connsiteX1285" fmla="*/ 1400360 w 4488985"/>
                <a:gd name="connsiteY1285" fmla="*/ 574656 h 2422364"/>
                <a:gd name="connsiteX1286" fmla="*/ 1409005 w 4488985"/>
                <a:gd name="connsiteY1286" fmla="*/ 576989 h 2422364"/>
                <a:gd name="connsiteX1287" fmla="*/ 1416497 w 4488985"/>
                <a:gd name="connsiteY1287" fmla="*/ 601166 h 2422364"/>
                <a:gd name="connsiteX1288" fmla="*/ 1417485 w 4488985"/>
                <a:gd name="connsiteY1288" fmla="*/ 624685 h 2422364"/>
                <a:gd name="connsiteX1289" fmla="*/ 1411447 w 4488985"/>
                <a:gd name="connsiteY1289" fmla="*/ 669224 h 2422364"/>
                <a:gd name="connsiteX1290" fmla="*/ 1413011 w 4488985"/>
                <a:gd name="connsiteY1290" fmla="*/ 704846 h 2422364"/>
                <a:gd name="connsiteX1291" fmla="*/ 1422397 w 4488985"/>
                <a:gd name="connsiteY1291" fmla="*/ 719116 h 2422364"/>
                <a:gd name="connsiteX1292" fmla="*/ 1474044 w 4488985"/>
                <a:gd name="connsiteY1292" fmla="*/ 731300 h 2422364"/>
                <a:gd name="connsiteX1293" fmla="*/ 1489604 w 4488985"/>
                <a:gd name="connsiteY1293" fmla="*/ 744583 h 2422364"/>
                <a:gd name="connsiteX1294" fmla="*/ 1497426 w 4488985"/>
                <a:gd name="connsiteY1294" fmla="*/ 744226 h 2422364"/>
                <a:gd name="connsiteX1295" fmla="*/ 1497536 w 4488985"/>
                <a:gd name="connsiteY1295" fmla="*/ 736021 h 2422364"/>
                <a:gd name="connsiteX1296" fmla="*/ 1492596 w 4488985"/>
                <a:gd name="connsiteY1296" fmla="*/ 722875 h 2422364"/>
                <a:gd name="connsiteX1297" fmla="*/ 1450471 w 4488985"/>
                <a:gd name="connsiteY1297" fmla="*/ 697930 h 2422364"/>
                <a:gd name="connsiteX1298" fmla="*/ 1437930 w 4488985"/>
                <a:gd name="connsiteY1298" fmla="*/ 669334 h 2422364"/>
                <a:gd name="connsiteX1299" fmla="*/ 1443391 w 4488985"/>
                <a:gd name="connsiteY1299" fmla="*/ 653664 h 2422364"/>
                <a:gd name="connsiteX1300" fmla="*/ 1450553 w 4488985"/>
                <a:gd name="connsiteY1300" fmla="*/ 648752 h 2422364"/>
                <a:gd name="connsiteX1301" fmla="*/ 1477914 w 4488985"/>
                <a:gd name="connsiteY1301" fmla="*/ 663900 h 2422364"/>
                <a:gd name="connsiteX1302" fmla="*/ 1490922 w 4488985"/>
                <a:gd name="connsiteY1302" fmla="*/ 656573 h 2422364"/>
                <a:gd name="connsiteX1303" fmla="*/ 1491772 w 4488985"/>
                <a:gd name="connsiteY1303" fmla="*/ 651990 h 2422364"/>
                <a:gd name="connsiteX1304" fmla="*/ 1490428 w 4488985"/>
                <a:gd name="connsiteY1304" fmla="*/ 647105 h 2422364"/>
                <a:gd name="connsiteX1305" fmla="*/ 1478792 w 4488985"/>
                <a:gd name="connsiteY1305" fmla="*/ 639147 h 2422364"/>
                <a:gd name="connsiteX1306" fmla="*/ 1473386 w 4488985"/>
                <a:gd name="connsiteY1306" fmla="*/ 625672 h 2422364"/>
                <a:gd name="connsiteX1307" fmla="*/ 1462628 w 4488985"/>
                <a:gd name="connsiteY1307" fmla="*/ 619251 h 2422364"/>
                <a:gd name="connsiteX1308" fmla="*/ 1465510 w 4488985"/>
                <a:gd name="connsiteY1308" fmla="*/ 610963 h 2422364"/>
                <a:gd name="connsiteX1309" fmla="*/ 1480301 w 4488985"/>
                <a:gd name="connsiteY1309" fmla="*/ 596171 h 2422364"/>
                <a:gd name="connsiteX1310" fmla="*/ 1491827 w 4488985"/>
                <a:gd name="connsiteY1310" fmla="*/ 599190 h 2422364"/>
                <a:gd name="connsiteX1311" fmla="*/ 1500060 w 4488985"/>
                <a:gd name="connsiteY1311" fmla="*/ 615573 h 2422364"/>
                <a:gd name="connsiteX1312" fmla="*/ 1540841 w 4488985"/>
                <a:gd name="connsiteY1312" fmla="*/ 623614 h 2422364"/>
                <a:gd name="connsiteX1313" fmla="*/ 1566171 w 4488985"/>
                <a:gd name="connsiteY1313" fmla="*/ 643346 h 2422364"/>
                <a:gd name="connsiteX1314" fmla="*/ 1594382 w 4488985"/>
                <a:gd name="connsiteY1314" fmla="*/ 675344 h 2422364"/>
                <a:gd name="connsiteX1315" fmla="*/ 1627478 w 4488985"/>
                <a:gd name="connsiteY1315" fmla="*/ 674137 h 2422364"/>
                <a:gd name="connsiteX1316" fmla="*/ 1636507 w 4488985"/>
                <a:gd name="connsiteY1316" fmla="*/ 678445 h 2422364"/>
                <a:gd name="connsiteX1317" fmla="*/ 1639032 w 4488985"/>
                <a:gd name="connsiteY1317" fmla="*/ 685745 h 2422364"/>
                <a:gd name="connsiteX1318" fmla="*/ 1637715 w 4488985"/>
                <a:gd name="connsiteY1318" fmla="*/ 694829 h 2422364"/>
                <a:gd name="connsiteX1319" fmla="*/ 1632583 w 4488985"/>
                <a:gd name="connsiteY1319" fmla="*/ 706272 h 2422364"/>
                <a:gd name="connsiteX1320" fmla="*/ 1619108 w 4488985"/>
                <a:gd name="connsiteY1320" fmla="*/ 721805 h 2422364"/>
                <a:gd name="connsiteX1321" fmla="*/ 1616748 w 4488985"/>
                <a:gd name="connsiteY1321" fmla="*/ 741839 h 2422364"/>
                <a:gd name="connsiteX1322" fmla="*/ 1620727 w 4488985"/>
                <a:gd name="connsiteY1322" fmla="*/ 765879 h 2422364"/>
                <a:gd name="connsiteX1323" fmla="*/ 1629207 w 4488985"/>
                <a:gd name="connsiteY1323" fmla="*/ 755176 h 2422364"/>
                <a:gd name="connsiteX1324" fmla="*/ 1638647 w 4488985"/>
                <a:gd name="connsiteY1324" fmla="*/ 756411 h 2422364"/>
                <a:gd name="connsiteX1325" fmla="*/ 1636562 w 4488985"/>
                <a:gd name="connsiteY1325" fmla="*/ 786708 h 2422364"/>
                <a:gd name="connsiteX1326" fmla="*/ 1631073 w 4488985"/>
                <a:gd name="connsiteY1326" fmla="*/ 815743 h 2422364"/>
                <a:gd name="connsiteX1327" fmla="*/ 1635903 w 4488985"/>
                <a:gd name="connsiteY1327" fmla="*/ 825704 h 2422364"/>
                <a:gd name="connsiteX1328" fmla="*/ 1647018 w 4488985"/>
                <a:gd name="connsiteY1328" fmla="*/ 832208 h 2422364"/>
                <a:gd name="connsiteX1329" fmla="*/ 1646167 w 4488985"/>
                <a:gd name="connsiteY1329" fmla="*/ 825677 h 2422364"/>
                <a:gd name="connsiteX1330" fmla="*/ 1638208 w 4488985"/>
                <a:gd name="connsiteY1330" fmla="*/ 812587 h 2422364"/>
                <a:gd name="connsiteX1331" fmla="*/ 1647841 w 4488985"/>
                <a:gd name="connsiteY1331" fmla="*/ 794886 h 2422364"/>
                <a:gd name="connsiteX1332" fmla="*/ 1646002 w 4488985"/>
                <a:gd name="connsiteY1332" fmla="*/ 787284 h 2422364"/>
                <a:gd name="connsiteX1333" fmla="*/ 1641556 w 4488985"/>
                <a:gd name="connsiteY1333" fmla="*/ 786022 h 2422364"/>
                <a:gd name="connsiteX1334" fmla="*/ 1644054 w 4488985"/>
                <a:gd name="connsiteY1334" fmla="*/ 771175 h 2422364"/>
                <a:gd name="connsiteX1335" fmla="*/ 1653933 w 4488985"/>
                <a:gd name="connsiteY1335" fmla="*/ 778804 h 2422364"/>
                <a:gd name="connsiteX1336" fmla="*/ 1645179 w 4488985"/>
                <a:gd name="connsiteY1336" fmla="*/ 727815 h 2422364"/>
                <a:gd name="connsiteX1337" fmla="*/ 1649927 w 4488985"/>
                <a:gd name="connsiteY1337" fmla="*/ 679406 h 2422364"/>
                <a:gd name="connsiteX1338" fmla="*/ 1643697 w 4488985"/>
                <a:gd name="connsiteY1338" fmla="*/ 667880 h 2422364"/>
                <a:gd name="connsiteX1339" fmla="*/ 1627560 w 4488985"/>
                <a:gd name="connsiteY1339" fmla="*/ 656326 h 2422364"/>
                <a:gd name="connsiteX1340" fmla="*/ 1612604 w 4488985"/>
                <a:gd name="connsiteY1340" fmla="*/ 628746 h 2422364"/>
                <a:gd name="connsiteX1341" fmla="*/ 1588262 w 4488985"/>
                <a:gd name="connsiteY1341" fmla="*/ 616424 h 2422364"/>
                <a:gd name="connsiteX1342" fmla="*/ 1576242 w 4488985"/>
                <a:gd name="connsiteY1342" fmla="*/ 603746 h 2422364"/>
                <a:gd name="connsiteX1343" fmla="*/ 1571961 w 4488985"/>
                <a:gd name="connsiteY1343" fmla="*/ 585743 h 2422364"/>
                <a:gd name="connsiteX1344" fmla="*/ 1571302 w 4488985"/>
                <a:gd name="connsiteY1344" fmla="*/ 561264 h 2422364"/>
                <a:gd name="connsiteX1345" fmla="*/ 1566664 w 4488985"/>
                <a:gd name="connsiteY1345" fmla="*/ 534809 h 2422364"/>
                <a:gd name="connsiteX1346" fmla="*/ 1566500 w 4488985"/>
                <a:gd name="connsiteY1346" fmla="*/ 512360 h 2422364"/>
                <a:gd name="connsiteX1347" fmla="*/ 1572098 w 4488985"/>
                <a:gd name="connsiteY1347" fmla="*/ 499215 h 2422364"/>
                <a:gd name="connsiteX1348" fmla="*/ 1592049 w 4488985"/>
                <a:gd name="connsiteY1348" fmla="*/ 491641 h 2422364"/>
                <a:gd name="connsiteX1349" fmla="*/ 1704017 w 4488985"/>
                <a:gd name="connsiteY1349" fmla="*/ 478249 h 2422364"/>
                <a:gd name="connsiteX1350" fmla="*/ 1750395 w 4488985"/>
                <a:gd name="connsiteY1350" fmla="*/ 454703 h 2422364"/>
                <a:gd name="connsiteX1351" fmla="*/ 1743809 w 4488985"/>
                <a:gd name="connsiteY1351" fmla="*/ 428687 h 2422364"/>
                <a:gd name="connsiteX1352" fmla="*/ 1730471 w 4488985"/>
                <a:gd name="connsiteY1352" fmla="*/ 412139 h 2422364"/>
                <a:gd name="connsiteX1353" fmla="*/ 1738375 w 4488985"/>
                <a:gd name="connsiteY1353" fmla="*/ 398500 h 2422364"/>
                <a:gd name="connsiteX1354" fmla="*/ 1738018 w 4488985"/>
                <a:gd name="connsiteY1354" fmla="*/ 390843 h 2422364"/>
                <a:gd name="connsiteX1355" fmla="*/ 1733024 w 4488985"/>
                <a:gd name="connsiteY1355" fmla="*/ 387138 h 2422364"/>
                <a:gd name="connsiteX1356" fmla="*/ 1720757 w 4488985"/>
                <a:gd name="connsiteY1356" fmla="*/ 392599 h 2422364"/>
                <a:gd name="connsiteX1357" fmla="*/ 1720839 w 4488985"/>
                <a:gd name="connsiteY1357" fmla="*/ 380469 h 2422364"/>
                <a:gd name="connsiteX1358" fmla="*/ 1725395 w 4488985"/>
                <a:gd name="connsiteY1358" fmla="*/ 366391 h 2422364"/>
                <a:gd name="connsiteX1359" fmla="*/ 1734615 w 4488985"/>
                <a:gd name="connsiteY1359" fmla="*/ 363839 h 2422364"/>
                <a:gd name="connsiteX1360" fmla="*/ 1738787 w 4488985"/>
                <a:gd name="connsiteY1360" fmla="*/ 346523 h 2422364"/>
                <a:gd name="connsiteX1361" fmla="*/ 1759644 w 4488985"/>
                <a:gd name="connsiteY1361" fmla="*/ 345480 h 2422364"/>
                <a:gd name="connsiteX1362" fmla="*/ 1763568 w 4488985"/>
                <a:gd name="connsiteY1362" fmla="*/ 326379 h 2422364"/>
                <a:gd name="connsiteX1363" fmla="*/ 1790956 w 4488985"/>
                <a:gd name="connsiteY1363" fmla="*/ 320013 h 2422364"/>
                <a:gd name="connsiteX1364" fmla="*/ 1818536 w 4488985"/>
                <a:gd name="connsiteY1364" fmla="*/ 286697 h 2422364"/>
                <a:gd name="connsiteX1365" fmla="*/ 1830447 w 4488985"/>
                <a:gd name="connsiteY1365" fmla="*/ 285791 h 2422364"/>
                <a:gd name="connsiteX1366" fmla="*/ 1848806 w 4488985"/>
                <a:gd name="connsiteY1366" fmla="*/ 271713 h 2422364"/>
                <a:gd name="connsiteX1367" fmla="*/ 1935114 w 4488985"/>
                <a:gd name="connsiteY1367" fmla="*/ 242102 h 2422364"/>
                <a:gd name="connsiteX1368" fmla="*/ 1938489 w 4488985"/>
                <a:gd name="connsiteY1368" fmla="*/ 236284 h 2422364"/>
                <a:gd name="connsiteX1369" fmla="*/ 1939066 w 4488985"/>
                <a:gd name="connsiteY1369" fmla="*/ 220065 h 2422364"/>
                <a:gd name="connsiteX1370" fmla="*/ 1942386 w 4488985"/>
                <a:gd name="connsiteY1370" fmla="*/ 214302 h 2422364"/>
                <a:gd name="connsiteX1371" fmla="*/ 1975455 w 4488985"/>
                <a:gd name="connsiteY1371" fmla="*/ 209829 h 2422364"/>
                <a:gd name="connsiteX1372" fmla="*/ 2008030 w 4488985"/>
                <a:gd name="connsiteY1372" fmla="*/ 191278 h 2422364"/>
                <a:gd name="connsiteX1373" fmla="*/ 2024468 w 4488985"/>
                <a:gd name="connsiteY1373" fmla="*/ 197864 h 2422364"/>
                <a:gd name="connsiteX1374" fmla="*/ 2016482 w 4488985"/>
                <a:gd name="connsiteY1374" fmla="*/ 225362 h 2422364"/>
                <a:gd name="connsiteX1375" fmla="*/ 2017608 w 4488985"/>
                <a:gd name="connsiteY1375" fmla="*/ 232936 h 2422364"/>
                <a:gd name="connsiteX1376" fmla="*/ 2041373 w 4488985"/>
                <a:gd name="connsiteY1376" fmla="*/ 228326 h 2422364"/>
                <a:gd name="connsiteX1377" fmla="*/ 2051225 w 4488985"/>
                <a:gd name="connsiteY1377" fmla="*/ 218007 h 2422364"/>
                <a:gd name="connsiteX1378" fmla="*/ 2064809 w 4488985"/>
                <a:gd name="connsiteY1378" fmla="*/ 223550 h 2422364"/>
                <a:gd name="connsiteX1379" fmla="*/ 2080672 w 4488985"/>
                <a:gd name="connsiteY1379" fmla="*/ 204286 h 2422364"/>
                <a:gd name="connsiteX1380" fmla="*/ 2096012 w 4488985"/>
                <a:gd name="connsiteY1380" fmla="*/ 195806 h 2422364"/>
                <a:gd name="connsiteX1381" fmla="*/ 2121946 w 4488985"/>
                <a:gd name="connsiteY1381" fmla="*/ 203133 h 2422364"/>
                <a:gd name="connsiteX1382" fmla="*/ 2122687 w 4488985"/>
                <a:gd name="connsiteY1382" fmla="*/ 195915 h 2422364"/>
                <a:gd name="connsiteX1383" fmla="*/ 2114399 w 4488985"/>
                <a:gd name="connsiteY1383" fmla="*/ 181371 h 2422364"/>
                <a:gd name="connsiteX1384" fmla="*/ 2112862 w 4488985"/>
                <a:gd name="connsiteY1384" fmla="*/ 172452 h 2422364"/>
                <a:gd name="connsiteX1385" fmla="*/ 2163604 w 4488985"/>
                <a:gd name="connsiteY1385" fmla="*/ 154669 h 2422364"/>
                <a:gd name="connsiteX1386" fmla="*/ 2169971 w 4488985"/>
                <a:gd name="connsiteY1386" fmla="*/ 137572 h 2422364"/>
                <a:gd name="connsiteX1387" fmla="*/ 2169806 w 4488985"/>
                <a:gd name="connsiteY1387" fmla="*/ 113614 h 2422364"/>
                <a:gd name="connsiteX1388" fmla="*/ 2172167 w 4488985"/>
                <a:gd name="connsiteY1388" fmla="*/ 101045 h 2422364"/>
                <a:gd name="connsiteX1389" fmla="*/ 2197552 w 4488985"/>
                <a:gd name="connsiteY1389" fmla="*/ 51071 h 2422364"/>
                <a:gd name="connsiteX1390" fmla="*/ 2239155 w 4488985"/>
                <a:gd name="connsiteY1390" fmla="*/ 8590 h 2422364"/>
                <a:gd name="connsiteX1391" fmla="*/ 2256691 w 4488985"/>
                <a:gd name="connsiteY1391" fmla="*/ 0 h 2422364"/>
                <a:gd name="connsiteX1392" fmla="*/ 2271812 w 4488985"/>
                <a:gd name="connsiteY1392" fmla="*/ 2772 h 2422364"/>
                <a:gd name="connsiteX1393" fmla="*/ 2305018 w 4488985"/>
                <a:gd name="connsiteY1393" fmla="*/ 21954 h 2422364"/>
                <a:gd name="connsiteX1394" fmla="*/ 2309903 w 4488985"/>
                <a:gd name="connsiteY1394" fmla="*/ 34496 h 2422364"/>
                <a:gd name="connsiteX1395" fmla="*/ 2285698 w 4488985"/>
                <a:gd name="connsiteY1395" fmla="*/ 71928 h 2422364"/>
                <a:gd name="connsiteX1396" fmla="*/ 2284381 w 4488985"/>
                <a:gd name="connsiteY1396" fmla="*/ 81176 h 2422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Lst>
              <a:rect l="l" t="t" r="r" b="b"/>
              <a:pathLst>
                <a:path w="4488985" h="2422364">
                  <a:moveTo>
                    <a:pt x="2283887" y="81286"/>
                  </a:moveTo>
                  <a:lnTo>
                    <a:pt x="2314843" y="93635"/>
                  </a:lnTo>
                  <a:lnTo>
                    <a:pt x="2337702" y="91714"/>
                  </a:lnTo>
                  <a:lnTo>
                    <a:pt x="2348927" y="104640"/>
                  </a:lnTo>
                  <a:lnTo>
                    <a:pt x="2347170" y="120749"/>
                  </a:lnTo>
                  <a:lnTo>
                    <a:pt x="2336001" y="145036"/>
                  </a:lnTo>
                  <a:lnTo>
                    <a:pt x="2336961" y="157715"/>
                  </a:lnTo>
                  <a:lnTo>
                    <a:pt x="2363993" y="153708"/>
                  </a:lnTo>
                  <a:lnTo>
                    <a:pt x="2382132" y="130272"/>
                  </a:lnTo>
                  <a:lnTo>
                    <a:pt x="2464571" y="128680"/>
                  </a:lnTo>
                  <a:lnTo>
                    <a:pt x="2502086" y="151650"/>
                  </a:lnTo>
                  <a:lnTo>
                    <a:pt x="2514572" y="198715"/>
                  </a:lnTo>
                  <a:lnTo>
                    <a:pt x="2528376" y="201322"/>
                  </a:lnTo>
                  <a:lnTo>
                    <a:pt x="2541110" y="240401"/>
                  </a:lnTo>
                  <a:lnTo>
                    <a:pt x="2535676" y="299842"/>
                  </a:lnTo>
                  <a:lnTo>
                    <a:pt x="2515753" y="337000"/>
                  </a:lnTo>
                  <a:lnTo>
                    <a:pt x="2435783" y="407226"/>
                  </a:lnTo>
                  <a:lnTo>
                    <a:pt x="2421678" y="430690"/>
                  </a:lnTo>
                  <a:lnTo>
                    <a:pt x="2400876" y="450120"/>
                  </a:lnTo>
                  <a:lnTo>
                    <a:pt x="2378373" y="479539"/>
                  </a:lnTo>
                  <a:lnTo>
                    <a:pt x="2345469" y="491092"/>
                  </a:lnTo>
                  <a:lnTo>
                    <a:pt x="2334766" y="516367"/>
                  </a:lnTo>
                  <a:lnTo>
                    <a:pt x="2315858" y="535166"/>
                  </a:lnTo>
                  <a:lnTo>
                    <a:pt x="2312098" y="547240"/>
                  </a:lnTo>
                  <a:lnTo>
                    <a:pt x="2312812" y="555034"/>
                  </a:lnTo>
                  <a:lnTo>
                    <a:pt x="2327110" y="537581"/>
                  </a:lnTo>
                  <a:lnTo>
                    <a:pt x="2374284" y="533080"/>
                  </a:lnTo>
                  <a:lnTo>
                    <a:pt x="2389652" y="520237"/>
                  </a:lnTo>
                  <a:lnTo>
                    <a:pt x="2424971" y="505445"/>
                  </a:lnTo>
                  <a:lnTo>
                    <a:pt x="2446130" y="481322"/>
                  </a:lnTo>
                  <a:lnTo>
                    <a:pt x="2444319" y="475532"/>
                  </a:lnTo>
                  <a:lnTo>
                    <a:pt x="2427523" y="480636"/>
                  </a:lnTo>
                  <a:lnTo>
                    <a:pt x="2424258" y="476575"/>
                  </a:lnTo>
                  <a:lnTo>
                    <a:pt x="2436524" y="451574"/>
                  </a:lnTo>
                  <a:lnTo>
                    <a:pt x="2465971" y="452205"/>
                  </a:lnTo>
                  <a:lnTo>
                    <a:pt x="2475768" y="468397"/>
                  </a:lnTo>
                  <a:lnTo>
                    <a:pt x="2497777" y="478660"/>
                  </a:lnTo>
                  <a:lnTo>
                    <a:pt x="2511444" y="475065"/>
                  </a:lnTo>
                  <a:lnTo>
                    <a:pt x="2518881" y="463622"/>
                  </a:lnTo>
                  <a:lnTo>
                    <a:pt x="2526428" y="478633"/>
                  </a:lnTo>
                  <a:lnTo>
                    <a:pt x="2529419" y="506844"/>
                  </a:lnTo>
                  <a:lnTo>
                    <a:pt x="2535374" y="517684"/>
                  </a:lnTo>
                  <a:lnTo>
                    <a:pt x="2542976" y="499023"/>
                  </a:lnTo>
                  <a:lnTo>
                    <a:pt x="2593471" y="481926"/>
                  </a:lnTo>
                  <a:lnTo>
                    <a:pt x="2677227" y="495126"/>
                  </a:lnTo>
                  <a:lnTo>
                    <a:pt x="2684719" y="505225"/>
                  </a:lnTo>
                  <a:lnTo>
                    <a:pt x="2680959" y="520785"/>
                  </a:lnTo>
                  <a:lnTo>
                    <a:pt x="2685241" y="532449"/>
                  </a:lnTo>
                  <a:lnTo>
                    <a:pt x="2707222" y="542163"/>
                  </a:lnTo>
                  <a:lnTo>
                    <a:pt x="2725115" y="538843"/>
                  </a:lnTo>
                  <a:lnTo>
                    <a:pt x="2739303" y="552729"/>
                  </a:lnTo>
                  <a:lnTo>
                    <a:pt x="2757910" y="558108"/>
                  </a:lnTo>
                  <a:lnTo>
                    <a:pt x="2792707" y="550616"/>
                  </a:lnTo>
                  <a:lnTo>
                    <a:pt x="2820452" y="554623"/>
                  </a:lnTo>
                  <a:lnTo>
                    <a:pt x="2828246" y="538376"/>
                  </a:lnTo>
                  <a:lnTo>
                    <a:pt x="2826022" y="510632"/>
                  </a:lnTo>
                  <a:lnTo>
                    <a:pt x="2829728" y="487964"/>
                  </a:lnTo>
                  <a:lnTo>
                    <a:pt x="2834805" y="480115"/>
                  </a:lnTo>
                  <a:lnTo>
                    <a:pt x="2840183" y="482063"/>
                  </a:lnTo>
                  <a:lnTo>
                    <a:pt x="2842132" y="475312"/>
                  </a:lnTo>
                  <a:lnTo>
                    <a:pt x="2845480" y="482036"/>
                  </a:lnTo>
                  <a:lnTo>
                    <a:pt x="2857939" y="475367"/>
                  </a:lnTo>
                  <a:lnTo>
                    <a:pt x="2883406" y="494550"/>
                  </a:lnTo>
                  <a:lnTo>
                    <a:pt x="2908379" y="500340"/>
                  </a:lnTo>
                  <a:lnTo>
                    <a:pt x="2918561" y="509424"/>
                  </a:lnTo>
                  <a:lnTo>
                    <a:pt x="2935987" y="501411"/>
                  </a:lnTo>
                  <a:lnTo>
                    <a:pt x="2953248" y="502975"/>
                  </a:lnTo>
                  <a:lnTo>
                    <a:pt x="2995675" y="547487"/>
                  </a:lnTo>
                  <a:lnTo>
                    <a:pt x="3000039" y="581654"/>
                  </a:lnTo>
                  <a:lnTo>
                    <a:pt x="2994523" y="599931"/>
                  </a:lnTo>
                  <a:lnTo>
                    <a:pt x="3000066" y="615107"/>
                  </a:lnTo>
                  <a:lnTo>
                    <a:pt x="3000450" y="628883"/>
                  </a:lnTo>
                  <a:lnTo>
                    <a:pt x="2986427" y="646365"/>
                  </a:lnTo>
                  <a:lnTo>
                    <a:pt x="2981844" y="667605"/>
                  </a:lnTo>
                  <a:lnTo>
                    <a:pt x="3011482" y="725702"/>
                  </a:lnTo>
                  <a:lnTo>
                    <a:pt x="3028964" y="748754"/>
                  </a:lnTo>
                  <a:lnTo>
                    <a:pt x="3048475" y="762942"/>
                  </a:lnTo>
                  <a:lnTo>
                    <a:pt x="3057532" y="761296"/>
                  </a:lnTo>
                  <a:lnTo>
                    <a:pt x="3066423" y="748452"/>
                  </a:lnTo>
                  <a:lnTo>
                    <a:pt x="3085688" y="686129"/>
                  </a:lnTo>
                  <a:lnTo>
                    <a:pt x="3097873" y="664614"/>
                  </a:lnTo>
                  <a:lnTo>
                    <a:pt x="3112857" y="687447"/>
                  </a:lnTo>
                  <a:lnTo>
                    <a:pt x="3136814" y="705367"/>
                  </a:lnTo>
                  <a:lnTo>
                    <a:pt x="3158275" y="704489"/>
                  </a:lnTo>
                  <a:lnTo>
                    <a:pt x="3180394" y="693621"/>
                  </a:lnTo>
                  <a:lnTo>
                    <a:pt x="3190301" y="688654"/>
                  </a:lnTo>
                  <a:lnTo>
                    <a:pt x="3199055" y="691069"/>
                  </a:lnTo>
                  <a:lnTo>
                    <a:pt x="3223946" y="699329"/>
                  </a:lnTo>
                  <a:lnTo>
                    <a:pt x="3232371" y="692661"/>
                  </a:lnTo>
                  <a:lnTo>
                    <a:pt x="3246778" y="692386"/>
                  </a:lnTo>
                  <a:lnTo>
                    <a:pt x="3248864" y="698945"/>
                  </a:lnTo>
                  <a:lnTo>
                    <a:pt x="3239863" y="702650"/>
                  </a:lnTo>
                  <a:lnTo>
                    <a:pt x="3237832" y="707974"/>
                  </a:lnTo>
                  <a:lnTo>
                    <a:pt x="3243156" y="718046"/>
                  </a:lnTo>
                  <a:lnTo>
                    <a:pt x="3251883" y="721311"/>
                  </a:lnTo>
                  <a:lnTo>
                    <a:pt x="3255588" y="717963"/>
                  </a:lnTo>
                  <a:lnTo>
                    <a:pt x="3258140" y="698012"/>
                  </a:lnTo>
                  <a:lnTo>
                    <a:pt x="3274551" y="684126"/>
                  </a:lnTo>
                  <a:lnTo>
                    <a:pt x="3292361" y="702101"/>
                  </a:lnTo>
                  <a:lnTo>
                    <a:pt x="3306357" y="699384"/>
                  </a:lnTo>
                  <a:lnTo>
                    <a:pt x="3309046" y="691398"/>
                  </a:lnTo>
                  <a:lnTo>
                    <a:pt x="3306165" y="659784"/>
                  </a:lnTo>
                  <a:lnTo>
                    <a:pt x="3309211" y="636705"/>
                  </a:lnTo>
                  <a:lnTo>
                    <a:pt x="3293404" y="632835"/>
                  </a:lnTo>
                  <a:lnTo>
                    <a:pt x="3291566" y="629103"/>
                  </a:lnTo>
                  <a:lnTo>
                    <a:pt x="3291949" y="623285"/>
                  </a:lnTo>
                  <a:lnTo>
                    <a:pt x="3304711" y="604843"/>
                  </a:lnTo>
                  <a:lnTo>
                    <a:pt x="3339811" y="598229"/>
                  </a:lnTo>
                  <a:lnTo>
                    <a:pt x="3343515" y="588240"/>
                  </a:lnTo>
                  <a:lnTo>
                    <a:pt x="3341539" y="570814"/>
                  </a:lnTo>
                  <a:lnTo>
                    <a:pt x="3348153" y="568207"/>
                  </a:lnTo>
                  <a:lnTo>
                    <a:pt x="3369064" y="578333"/>
                  </a:lnTo>
                  <a:lnTo>
                    <a:pt x="3466871" y="595485"/>
                  </a:lnTo>
                  <a:lnTo>
                    <a:pt x="3520934" y="620403"/>
                  </a:lnTo>
                  <a:lnTo>
                    <a:pt x="3558970" y="620458"/>
                  </a:lnTo>
                  <a:lnTo>
                    <a:pt x="3582434" y="629487"/>
                  </a:lnTo>
                  <a:lnTo>
                    <a:pt x="3598817" y="642907"/>
                  </a:lnTo>
                  <a:lnTo>
                    <a:pt x="3605952" y="660223"/>
                  </a:lnTo>
                  <a:lnTo>
                    <a:pt x="3598213" y="670158"/>
                  </a:lnTo>
                  <a:lnTo>
                    <a:pt x="3586742" y="667331"/>
                  </a:lnTo>
                  <a:lnTo>
                    <a:pt x="3584162" y="671804"/>
                  </a:lnTo>
                  <a:lnTo>
                    <a:pt x="3584684" y="677101"/>
                  </a:lnTo>
                  <a:lnTo>
                    <a:pt x="3605239" y="683687"/>
                  </a:lnTo>
                  <a:lnTo>
                    <a:pt x="3630569" y="706849"/>
                  </a:lnTo>
                  <a:lnTo>
                    <a:pt x="3649449" y="713737"/>
                  </a:lnTo>
                  <a:lnTo>
                    <a:pt x="3669565" y="748809"/>
                  </a:lnTo>
                  <a:lnTo>
                    <a:pt x="3680817" y="757097"/>
                  </a:lnTo>
                  <a:lnTo>
                    <a:pt x="3718139" y="754270"/>
                  </a:lnTo>
                  <a:lnTo>
                    <a:pt x="3778130" y="737036"/>
                  </a:lnTo>
                  <a:lnTo>
                    <a:pt x="3805243" y="735444"/>
                  </a:lnTo>
                  <a:lnTo>
                    <a:pt x="3842840" y="742470"/>
                  </a:lnTo>
                  <a:lnTo>
                    <a:pt x="3867923" y="754435"/>
                  </a:lnTo>
                  <a:lnTo>
                    <a:pt x="3892045" y="777844"/>
                  </a:lnTo>
                  <a:lnTo>
                    <a:pt x="3899482" y="793486"/>
                  </a:lnTo>
                  <a:lnTo>
                    <a:pt x="3901568" y="812504"/>
                  </a:lnTo>
                  <a:lnTo>
                    <a:pt x="3897808" y="846863"/>
                  </a:lnTo>
                  <a:lnTo>
                    <a:pt x="3926102" y="865552"/>
                  </a:lnTo>
                  <a:lnTo>
                    <a:pt x="3933182" y="881743"/>
                  </a:lnTo>
                  <a:lnTo>
                    <a:pt x="3943665" y="869476"/>
                  </a:lnTo>
                  <a:lnTo>
                    <a:pt x="3953161" y="874937"/>
                  </a:lnTo>
                  <a:lnTo>
                    <a:pt x="3973002" y="861545"/>
                  </a:lnTo>
                  <a:lnTo>
                    <a:pt x="4018036" y="854767"/>
                  </a:lnTo>
                  <a:lnTo>
                    <a:pt x="4044354" y="868241"/>
                  </a:lnTo>
                  <a:lnTo>
                    <a:pt x="4102780" y="874004"/>
                  </a:lnTo>
                  <a:lnTo>
                    <a:pt x="4125366" y="854574"/>
                  </a:lnTo>
                  <a:lnTo>
                    <a:pt x="4136672" y="838136"/>
                  </a:lnTo>
                  <a:lnTo>
                    <a:pt x="4148445" y="832785"/>
                  </a:lnTo>
                  <a:lnTo>
                    <a:pt x="4170783" y="840963"/>
                  </a:lnTo>
                  <a:lnTo>
                    <a:pt x="4175422" y="850403"/>
                  </a:lnTo>
                  <a:lnTo>
                    <a:pt x="4172568" y="861902"/>
                  </a:lnTo>
                  <a:lnTo>
                    <a:pt x="4167710" y="866759"/>
                  </a:lnTo>
                  <a:lnTo>
                    <a:pt x="4139416" y="858718"/>
                  </a:lnTo>
                  <a:lnTo>
                    <a:pt x="4146003" y="891897"/>
                  </a:lnTo>
                  <a:lnTo>
                    <a:pt x="4172951" y="909460"/>
                  </a:lnTo>
                  <a:lnTo>
                    <a:pt x="4184725" y="931085"/>
                  </a:lnTo>
                  <a:lnTo>
                    <a:pt x="4199462" y="931085"/>
                  </a:lnTo>
                  <a:lnTo>
                    <a:pt x="4222624" y="908225"/>
                  </a:lnTo>
                  <a:lnTo>
                    <a:pt x="4215845" y="875733"/>
                  </a:lnTo>
                  <a:lnTo>
                    <a:pt x="4206213" y="862752"/>
                  </a:lnTo>
                  <a:lnTo>
                    <a:pt x="4210878" y="849196"/>
                  </a:lnTo>
                  <a:lnTo>
                    <a:pt x="4213815" y="828888"/>
                  </a:lnTo>
                  <a:lnTo>
                    <a:pt x="4218480" y="823481"/>
                  </a:lnTo>
                  <a:lnTo>
                    <a:pt x="4310139" y="845710"/>
                  </a:lnTo>
                  <a:lnTo>
                    <a:pt x="4373533" y="844036"/>
                  </a:lnTo>
                  <a:lnTo>
                    <a:pt x="4400207" y="862615"/>
                  </a:lnTo>
                  <a:lnTo>
                    <a:pt x="4454297" y="884185"/>
                  </a:lnTo>
                  <a:lnTo>
                    <a:pt x="4472574" y="898867"/>
                  </a:lnTo>
                  <a:lnTo>
                    <a:pt x="4487174" y="926036"/>
                  </a:lnTo>
                  <a:lnTo>
                    <a:pt x="4488985" y="1039403"/>
                  </a:lnTo>
                  <a:lnTo>
                    <a:pt x="4486570" y="1212184"/>
                  </a:lnTo>
                  <a:lnTo>
                    <a:pt x="4473754" y="1230214"/>
                  </a:lnTo>
                  <a:lnTo>
                    <a:pt x="4454160" y="1240148"/>
                  </a:lnTo>
                  <a:lnTo>
                    <a:pt x="4424961" y="1237761"/>
                  </a:lnTo>
                  <a:lnTo>
                    <a:pt x="4412611" y="1226646"/>
                  </a:lnTo>
                  <a:lnTo>
                    <a:pt x="4403775" y="1231586"/>
                  </a:lnTo>
                  <a:lnTo>
                    <a:pt x="4383439" y="1234687"/>
                  </a:lnTo>
                  <a:lnTo>
                    <a:pt x="4385909" y="1241164"/>
                  </a:lnTo>
                  <a:lnTo>
                    <a:pt x="4392688" y="1244841"/>
                  </a:lnTo>
                  <a:lnTo>
                    <a:pt x="4412419" y="1238694"/>
                  </a:lnTo>
                  <a:lnTo>
                    <a:pt x="4416563" y="1254254"/>
                  </a:lnTo>
                  <a:lnTo>
                    <a:pt x="4422545" y="1264024"/>
                  </a:lnTo>
                  <a:lnTo>
                    <a:pt x="4431684" y="1269979"/>
                  </a:lnTo>
                  <a:lnTo>
                    <a:pt x="4442414" y="1271351"/>
                  </a:lnTo>
                  <a:lnTo>
                    <a:pt x="4449467" y="1287871"/>
                  </a:lnTo>
                  <a:lnTo>
                    <a:pt x="4450565" y="1292701"/>
                  </a:lnTo>
                  <a:lnTo>
                    <a:pt x="4457151" y="1321764"/>
                  </a:lnTo>
                  <a:lnTo>
                    <a:pt x="4461405" y="1329722"/>
                  </a:lnTo>
                  <a:lnTo>
                    <a:pt x="4465576" y="1336336"/>
                  </a:lnTo>
                  <a:lnTo>
                    <a:pt x="4469912" y="1343142"/>
                  </a:lnTo>
                  <a:lnTo>
                    <a:pt x="4469912" y="1353954"/>
                  </a:lnTo>
                  <a:lnTo>
                    <a:pt x="4476224" y="1368856"/>
                  </a:lnTo>
                  <a:lnTo>
                    <a:pt x="4472876" y="1380107"/>
                  </a:lnTo>
                  <a:lnTo>
                    <a:pt x="4462475" y="1394213"/>
                  </a:lnTo>
                  <a:lnTo>
                    <a:pt x="4431547" y="1382550"/>
                  </a:lnTo>
                  <a:lnTo>
                    <a:pt x="4404433" y="1382193"/>
                  </a:lnTo>
                  <a:lnTo>
                    <a:pt x="4362308" y="1403900"/>
                  </a:lnTo>
                  <a:lnTo>
                    <a:pt x="4333137" y="1423906"/>
                  </a:lnTo>
                  <a:lnTo>
                    <a:pt x="4317027" y="1426788"/>
                  </a:lnTo>
                  <a:lnTo>
                    <a:pt x="4307971" y="1434609"/>
                  </a:lnTo>
                  <a:lnTo>
                    <a:pt x="4300726" y="1434445"/>
                  </a:lnTo>
                  <a:lnTo>
                    <a:pt x="4290710" y="1449072"/>
                  </a:lnTo>
                  <a:lnTo>
                    <a:pt x="4279458" y="1451541"/>
                  </a:lnTo>
                  <a:lnTo>
                    <a:pt x="4278168" y="1460570"/>
                  </a:lnTo>
                  <a:lnTo>
                    <a:pt x="4267081" y="1465620"/>
                  </a:lnTo>
                  <a:lnTo>
                    <a:pt x="4264858" y="1473276"/>
                  </a:lnTo>
                  <a:lnTo>
                    <a:pt x="4260028" y="1475938"/>
                  </a:lnTo>
                  <a:lnTo>
                    <a:pt x="4255583" y="1483759"/>
                  </a:lnTo>
                  <a:lnTo>
                    <a:pt x="4245648" y="1488096"/>
                  </a:lnTo>
                  <a:lnTo>
                    <a:pt x="4216805" y="1512547"/>
                  </a:lnTo>
                  <a:lnTo>
                    <a:pt x="4204923" y="1537685"/>
                  </a:lnTo>
                  <a:lnTo>
                    <a:pt x="4195071" y="1531702"/>
                  </a:lnTo>
                  <a:lnTo>
                    <a:pt x="4182090" y="1510407"/>
                  </a:lnTo>
                  <a:lnTo>
                    <a:pt x="4168039" y="1503656"/>
                  </a:lnTo>
                  <a:lnTo>
                    <a:pt x="4147979" y="1501625"/>
                  </a:lnTo>
                  <a:lnTo>
                    <a:pt x="4110272" y="1515758"/>
                  </a:lnTo>
                  <a:lnTo>
                    <a:pt x="4085079" y="1544738"/>
                  </a:lnTo>
                  <a:lnTo>
                    <a:pt x="4082198" y="1541774"/>
                  </a:lnTo>
                  <a:lnTo>
                    <a:pt x="4086232" y="1516554"/>
                  </a:lnTo>
                  <a:lnTo>
                    <a:pt x="4084695" y="1510901"/>
                  </a:lnTo>
                  <a:lnTo>
                    <a:pt x="4056786" y="1529699"/>
                  </a:lnTo>
                  <a:lnTo>
                    <a:pt x="4047372" y="1545369"/>
                  </a:lnTo>
                  <a:lnTo>
                    <a:pt x="4031840" y="1532471"/>
                  </a:lnTo>
                  <a:lnTo>
                    <a:pt x="4015484" y="1537164"/>
                  </a:lnTo>
                  <a:lnTo>
                    <a:pt x="4004644" y="1545287"/>
                  </a:lnTo>
                  <a:lnTo>
                    <a:pt x="3997509" y="1562192"/>
                  </a:lnTo>
                  <a:lnTo>
                    <a:pt x="3997509" y="1575392"/>
                  </a:lnTo>
                  <a:lnTo>
                    <a:pt x="3992679" y="1585957"/>
                  </a:lnTo>
                  <a:lnTo>
                    <a:pt x="3989138" y="1588345"/>
                  </a:lnTo>
                  <a:lnTo>
                    <a:pt x="3987108" y="1598855"/>
                  </a:lnTo>
                  <a:lnTo>
                    <a:pt x="3969818" y="1619465"/>
                  </a:lnTo>
                  <a:lnTo>
                    <a:pt x="3964852" y="1629893"/>
                  </a:lnTo>
                  <a:lnTo>
                    <a:pt x="3961119" y="1646222"/>
                  </a:lnTo>
                  <a:lnTo>
                    <a:pt x="3963260" y="1656293"/>
                  </a:lnTo>
                  <a:lnTo>
                    <a:pt x="3967459" y="1660684"/>
                  </a:lnTo>
                  <a:lnTo>
                    <a:pt x="3972645" y="1661343"/>
                  </a:lnTo>
                  <a:lnTo>
                    <a:pt x="3980577" y="1655223"/>
                  </a:lnTo>
                  <a:lnTo>
                    <a:pt x="3995779" y="1665048"/>
                  </a:lnTo>
                  <a:lnTo>
                    <a:pt x="3992185" y="1677150"/>
                  </a:lnTo>
                  <a:lnTo>
                    <a:pt x="3984336" y="1688621"/>
                  </a:lnTo>
                  <a:lnTo>
                    <a:pt x="3983787" y="1709094"/>
                  </a:lnTo>
                  <a:lnTo>
                    <a:pt x="3987163" y="1719577"/>
                  </a:lnTo>
                  <a:lnTo>
                    <a:pt x="3996191" y="1723721"/>
                  </a:lnTo>
                  <a:lnTo>
                    <a:pt x="3997646" y="1748667"/>
                  </a:lnTo>
                  <a:lnTo>
                    <a:pt x="3990154" y="1755912"/>
                  </a:lnTo>
                  <a:lnTo>
                    <a:pt x="3976597" y="1748310"/>
                  </a:lnTo>
                  <a:lnTo>
                    <a:pt x="3963287" y="1755665"/>
                  </a:lnTo>
                  <a:lnTo>
                    <a:pt x="3954561" y="1775972"/>
                  </a:lnTo>
                  <a:lnTo>
                    <a:pt x="3952776" y="1787224"/>
                  </a:lnTo>
                  <a:lnTo>
                    <a:pt x="3955219" y="1803141"/>
                  </a:lnTo>
                  <a:lnTo>
                    <a:pt x="3961613" y="1816780"/>
                  </a:lnTo>
                  <a:lnTo>
                    <a:pt x="3960680" y="1824272"/>
                  </a:lnTo>
                  <a:lnTo>
                    <a:pt x="3948605" y="1835057"/>
                  </a:lnTo>
                  <a:lnTo>
                    <a:pt x="3925114" y="1834398"/>
                  </a:lnTo>
                  <a:lnTo>
                    <a:pt x="3904230" y="1851688"/>
                  </a:lnTo>
                  <a:lnTo>
                    <a:pt x="3900361" y="1858521"/>
                  </a:lnTo>
                  <a:lnTo>
                    <a:pt x="3897507" y="1870623"/>
                  </a:lnTo>
                  <a:lnTo>
                    <a:pt x="3899729" y="1901881"/>
                  </a:lnTo>
                  <a:lnTo>
                    <a:pt x="3888176" y="1900015"/>
                  </a:lnTo>
                  <a:lnTo>
                    <a:pt x="3865014" y="1913297"/>
                  </a:lnTo>
                  <a:lnTo>
                    <a:pt x="3857220" y="1911349"/>
                  </a:lnTo>
                  <a:lnTo>
                    <a:pt x="3858647" y="1919389"/>
                  </a:lnTo>
                  <a:lnTo>
                    <a:pt x="3856891" y="1931656"/>
                  </a:lnTo>
                  <a:lnTo>
                    <a:pt x="3857632" y="1943402"/>
                  </a:lnTo>
                  <a:lnTo>
                    <a:pt x="3849700" y="1960719"/>
                  </a:lnTo>
                  <a:lnTo>
                    <a:pt x="3838943" y="1976196"/>
                  </a:lnTo>
                  <a:lnTo>
                    <a:pt x="3807246" y="2005505"/>
                  </a:lnTo>
                  <a:lnTo>
                    <a:pt x="3799013" y="1987311"/>
                  </a:lnTo>
                  <a:lnTo>
                    <a:pt x="3796709" y="1955175"/>
                  </a:lnTo>
                  <a:lnTo>
                    <a:pt x="3787295" y="1915273"/>
                  </a:lnTo>
                  <a:lnTo>
                    <a:pt x="3771845" y="1813404"/>
                  </a:lnTo>
                  <a:lnTo>
                    <a:pt x="3770445" y="1790737"/>
                  </a:lnTo>
                  <a:lnTo>
                    <a:pt x="3773080" y="1764336"/>
                  </a:lnTo>
                  <a:lnTo>
                    <a:pt x="3783646" y="1722980"/>
                  </a:lnTo>
                  <a:lnTo>
                    <a:pt x="3803898" y="1698775"/>
                  </a:lnTo>
                  <a:lnTo>
                    <a:pt x="3809579" y="1688210"/>
                  </a:lnTo>
                  <a:lnTo>
                    <a:pt x="3811363" y="1678605"/>
                  </a:lnTo>
                  <a:lnTo>
                    <a:pt x="3810732" y="1662084"/>
                  </a:lnTo>
                  <a:lnTo>
                    <a:pt x="3823191" y="1661700"/>
                  </a:lnTo>
                  <a:lnTo>
                    <a:pt x="3834086" y="1651326"/>
                  </a:lnTo>
                  <a:lnTo>
                    <a:pt x="3852417" y="1645344"/>
                  </a:lnTo>
                  <a:lnTo>
                    <a:pt x="3875168" y="1624185"/>
                  </a:lnTo>
                  <a:lnTo>
                    <a:pt x="3890316" y="1604344"/>
                  </a:lnTo>
                  <a:lnTo>
                    <a:pt x="3897918" y="1587549"/>
                  </a:lnTo>
                  <a:lnTo>
                    <a:pt x="3916387" y="1563920"/>
                  </a:lnTo>
                  <a:lnTo>
                    <a:pt x="3928023" y="1556236"/>
                  </a:lnTo>
                  <a:lnTo>
                    <a:pt x="3954011" y="1526955"/>
                  </a:lnTo>
                  <a:lnTo>
                    <a:pt x="3961092" y="1511614"/>
                  </a:lnTo>
                  <a:lnTo>
                    <a:pt x="3989496" y="1491197"/>
                  </a:lnTo>
                  <a:lnTo>
                    <a:pt x="4008349" y="1484720"/>
                  </a:lnTo>
                  <a:lnTo>
                    <a:pt x="4007114" y="1474758"/>
                  </a:lnTo>
                  <a:lnTo>
                    <a:pt x="4017322" y="1457853"/>
                  </a:lnTo>
                  <a:lnTo>
                    <a:pt x="4013837" y="1445504"/>
                  </a:lnTo>
                  <a:lnTo>
                    <a:pt x="4020039" y="1430410"/>
                  </a:lnTo>
                  <a:lnTo>
                    <a:pt x="4024238" y="1400607"/>
                  </a:lnTo>
                  <a:lnTo>
                    <a:pt x="4034749" y="1388971"/>
                  </a:lnTo>
                  <a:lnTo>
                    <a:pt x="4046220" y="1386776"/>
                  </a:lnTo>
                  <a:lnTo>
                    <a:pt x="4046988" y="1383702"/>
                  </a:lnTo>
                  <a:lnTo>
                    <a:pt x="4032882" y="1373219"/>
                  </a:lnTo>
                  <a:lnTo>
                    <a:pt x="3999787" y="1382989"/>
                  </a:lnTo>
                  <a:lnTo>
                    <a:pt x="3993365" y="1402775"/>
                  </a:lnTo>
                  <a:lnTo>
                    <a:pt x="3991114" y="1422397"/>
                  </a:lnTo>
                  <a:lnTo>
                    <a:pt x="3996191" y="1432825"/>
                  </a:lnTo>
                  <a:lnTo>
                    <a:pt x="3994957" y="1438945"/>
                  </a:lnTo>
                  <a:lnTo>
                    <a:pt x="3990483" y="1441799"/>
                  </a:lnTo>
                  <a:lnTo>
                    <a:pt x="3983293" y="1435076"/>
                  </a:lnTo>
                  <a:lnTo>
                    <a:pt x="3972508" y="1437710"/>
                  </a:lnTo>
                  <a:lnTo>
                    <a:pt x="3932798" y="1478957"/>
                  </a:lnTo>
                  <a:lnTo>
                    <a:pt x="3924126" y="1491224"/>
                  </a:lnTo>
                  <a:lnTo>
                    <a:pt x="3909170" y="1499018"/>
                  </a:lnTo>
                  <a:lnTo>
                    <a:pt x="3907139" y="1494792"/>
                  </a:lnTo>
                  <a:lnTo>
                    <a:pt x="3910185" y="1478298"/>
                  </a:lnTo>
                  <a:lnTo>
                    <a:pt x="3899592" y="1475829"/>
                  </a:lnTo>
                  <a:lnTo>
                    <a:pt x="3897287" y="1459857"/>
                  </a:lnTo>
                  <a:lnTo>
                    <a:pt x="3908730" y="1441635"/>
                  </a:lnTo>
                  <a:lnTo>
                    <a:pt x="3911502" y="1431590"/>
                  </a:lnTo>
                  <a:lnTo>
                    <a:pt x="3910295" y="1423165"/>
                  </a:lnTo>
                  <a:lnTo>
                    <a:pt x="3891579" y="1433841"/>
                  </a:lnTo>
                  <a:lnTo>
                    <a:pt x="3876979" y="1421107"/>
                  </a:lnTo>
                  <a:lnTo>
                    <a:pt x="3844212" y="1430712"/>
                  </a:lnTo>
                  <a:lnTo>
                    <a:pt x="3830490" y="1429971"/>
                  </a:lnTo>
                  <a:lnTo>
                    <a:pt x="3808180" y="1443418"/>
                  </a:lnTo>
                  <a:lnTo>
                    <a:pt x="3800002" y="1464385"/>
                  </a:lnTo>
                  <a:lnTo>
                    <a:pt x="3783782" y="1480082"/>
                  </a:lnTo>
                  <a:lnTo>
                    <a:pt x="3776428" y="1496136"/>
                  </a:lnTo>
                  <a:lnTo>
                    <a:pt x="3741575" y="1528656"/>
                  </a:lnTo>
                  <a:lnTo>
                    <a:pt x="3736993" y="1540594"/>
                  </a:lnTo>
                  <a:lnTo>
                    <a:pt x="3732382" y="1546302"/>
                  </a:lnTo>
                  <a:lnTo>
                    <a:pt x="3730296" y="1564552"/>
                  </a:lnTo>
                  <a:lnTo>
                    <a:pt x="3752991" y="1567927"/>
                  </a:lnTo>
                  <a:lnTo>
                    <a:pt x="3758261" y="1576928"/>
                  </a:lnTo>
                  <a:lnTo>
                    <a:pt x="3757438" y="1581319"/>
                  </a:lnTo>
                  <a:lnTo>
                    <a:pt x="3754309" y="1583762"/>
                  </a:lnTo>
                  <a:lnTo>
                    <a:pt x="3738145" y="1583679"/>
                  </a:lnTo>
                  <a:lnTo>
                    <a:pt x="3726344" y="1589909"/>
                  </a:lnTo>
                  <a:lnTo>
                    <a:pt x="3709193" y="1583158"/>
                  </a:lnTo>
                  <a:lnTo>
                    <a:pt x="3691382" y="1597209"/>
                  </a:lnTo>
                  <a:lnTo>
                    <a:pt x="3677194" y="1593504"/>
                  </a:lnTo>
                  <a:lnTo>
                    <a:pt x="3665805" y="1600255"/>
                  </a:lnTo>
                  <a:lnTo>
                    <a:pt x="3650053" y="1602066"/>
                  </a:lnTo>
                  <a:lnTo>
                    <a:pt x="3643823" y="1589854"/>
                  </a:lnTo>
                  <a:lnTo>
                    <a:pt x="3651261" y="1585546"/>
                  </a:lnTo>
                  <a:lnTo>
                    <a:pt x="3665997" y="1585189"/>
                  </a:lnTo>
                  <a:lnTo>
                    <a:pt x="3668659" y="1580716"/>
                  </a:lnTo>
                  <a:lnTo>
                    <a:pt x="3659329" y="1575145"/>
                  </a:lnTo>
                  <a:lnTo>
                    <a:pt x="3647528" y="1561780"/>
                  </a:lnTo>
                  <a:lnTo>
                    <a:pt x="3637731" y="1562301"/>
                  </a:lnTo>
                  <a:lnTo>
                    <a:pt x="3630953" y="1566720"/>
                  </a:lnTo>
                  <a:lnTo>
                    <a:pt x="3623873" y="1561149"/>
                  </a:lnTo>
                  <a:lnTo>
                    <a:pt x="3596814" y="1551845"/>
                  </a:lnTo>
                  <a:lnTo>
                    <a:pt x="3583778" y="1557060"/>
                  </a:lnTo>
                  <a:lnTo>
                    <a:pt x="3580650" y="1566034"/>
                  </a:lnTo>
                  <a:lnTo>
                    <a:pt x="3572526" y="1567653"/>
                  </a:lnTo>
                  <a:lnTo>
                    <a:pt x="3571731" y="1570781"/>
                  </a:lnTo>
                  <a:lnTo>
                    <a:pt x="3574063" y="1575858"/>
                  </a:lnTo>
                  <a:lnTo>
                    <a:pt x="3570935" y="1579481"/>
                  </a:lnTo>
                  <a:lnTo>
                    <a:pt x="3563937" y="1579042"/>
                  </a:lnTo>
                  <a:lnTo>
                    <a:pt x="3554497" y="1572044"/>
                  </a:lnTo>
                  <a:lnTo>
                    <a:pt x="3534025" y="1577862"/>
                  </a:lnTo>
                  <a:lnTo>
                    <a:pt x="3505154" y="1569272"/>
                  </a:lnTo>
                  <a:lnTo>
                    <a:pt x="3500324" y="1572428"/>
                  </a:lnTo>
                  <a:lnTo>
                    <a:pt x="3496922" y="1582115"/>
                  </a:lnTo>
                  <a:lnTo>
                    <a:pt x="3492942" y="1584091"/>
                  </a:lnTo>
                  <a:lnTo>
                    <a:pt x="3487700" y="1581319"/>
                  </a:lnTo>
                  <a:lnTo>
                    <a:pt x="3485615" y="1572812"/>
                  </a:lnTo>
                  <a:lnTo>
                    <a:pt x="3480867" y="1571577"/>
                  </a:lnTo>
                  <a:lnTo>
                    <a:pt x="3404795" y="1575172"/>
                  </a:lnTo>
                  <a:lnTo>
                    <a:pt x="3379026" y="1588948"/>
                  </a:lnTo>
                  <a:lnTo>
                    <a:pt x="3358691" y="1615733"/>
                  </a:lnTo>
                  <a:lnTo>
                    <a:pt x="3337697" y="1633132"/>
                  </a:lnTo>
                  <a:lnTo>
                    <a:pt x="3325321" y="1659230"/>
                  </a:lnTo>
                  <a:lnTo>
                    <a:pt x="3314481" y="1666694"/>
                  </a:lnTo>
                  <a:lnTo>
                    <a:pt x="3305095" y="1679318"/>
                  </a:lnTo>
                  <a:lnTo>
                    <a:pt x="3287586" y="1693177"/>
                  </a:lnTo>
                  <a:lnTo>
                    <a:pt x="3267828" y="1714390"/>
                  </a:lnTo>
                  <a:lnTo>
                    <a:pt x="3244610" y="1750835"/>
                  </a:lnTo>
                  <a:lnTo>
                    <a:pt x="3209593" y="1781379"/>
                  </a:lnTo>
                  <a:lnTo>
                    <a:pt x="3201059" y="1792328"/>
                  </a:lnTo>
                  <a:lnTo>
                    <a:pt x="3199384" y="1794469"/>
                  </a:lnTo>
                  <a:lnTo>
                    <a:pt x="3180723" y="1809124"/>
                  </a:lnTo>
                  <a:lnTo>
                    <a:pt x="3179790" y="1809865"/>
                  </a:lnTo>
                  <a:lnTo>
                    <a:pt x="3173561" y="1819222"/>
                  </a:lnTo>
                  <a:lnTo>
                    <a:pt x="3176442" y="1825123"/>
                  </a:lnTo>
                  <a:lnTo>
                    <a:pt x="3180723" y="1827428"/>
                  </a:lnTo>
                  <a:lnTo>
                    <a:pt x="3188188" y="1831435"/>
                  </a:lnTo>
                  <a:lnTo>
                    <a:pt x="3199384" y="1832203"/>
                  </a:lnTo>
                  <a:lnTo>
                    <a:pt x="3217936" y="1832834"/>
                  </a:lnTo>
                  <a:lnTo>
                    <a:pt x="3218375" y="1852099"/>
                  </a:lnTo>
                  <a:lnTo>
                    <a:pt x="3216893" y="1863680"/>
                  </a:lnTo>
                  <a:lnTo>
                    <a:pt x="3218567" y="1869361"/>
                  </a:lnTo>
                  <a:lnTo>
                    <a:pt x="3228529" y="1868483"/>
                  </a:lnTo>
                  <a:lnTo>
                    <a:pt x="3236515" y="1861540"/>
                  </a:lnTo>
                  <a:lnTo>
                    <a:pt x="3244391" y="1864586"/>
                  </a:lnTo>
                  <a:lnTo>
                    <a:pt x="3236268" y="1878527"/>
                  </a:lnTo>
                  <a:lnTo>
                    <a:pt x="3238217" y="1883247"/>
                  </a:lnTo>
                  <a:lnTo>
                    <a:pt x="3252459" y="1880777"/>
                  </a:lnTo>
                  <a:lnTo>
                    <a:pt x="3268212" y="1866232"/>
                  </a:lnTo>
                  <a:lnTo>
                    <a:pt x="3269254" y="1870815"/>
                  </a:lnTo>
                  <a:lnTo>
                    <a:pt x="3265522" y="1881051"/>
                  </a:lnTo>
                  <a:lnTo>
                    <a:pt x="3268788" y="1881436"/>
                  </a:lnTo>
                  <a:lnTo>
                    <a:pt x="3274029" y="1869964"/>
                  </a:lnTo>
                  <a:lnTo>
                    <a:pt x="3275127" y="1855337"/>
                  </a:lnTo>
                  <a:lnTo>
                    <a:pt x="3277514" y="1849437"/>
                  </a:lnTo>
                  <a:lnTo>
                    <a:pt x="3307729" y="1850480"/>
                  </a:lnTo>
                  <a:lnTo>
                    <a:pt x="3319201" y="1862171"/>
                  </a:lnTo>
                  <a:lnTo>
                    <a:pt x="3327077" y="1875673"/>
                  </a:lnTo>
                  <a:lnTo>
                    <a:pt x="3352654" y="1897462"/>
                  </a:lnTo>
                  <a:lnTo>
                    <a:pt x="3352983" y="1901606"/>
                  </a:lnTo>
                  <a:lnTo>
                    <a:pt x="3351117" y="1905448"/>
                  </a:lnTo>
                  <a:lnTo>
                    <a:pt x="3342033" y="1910855"/>
                  </a:lnTo>
                  <a:lnTo>
                    <a:pt x="3348427" y="1924439"/>
                  </a:lnTo>
                  <a:lnTo>
                    <a:pt x="3347824" y="1938819"/>
                  </a:lnTo>
                  <a:lnTo>
                    <a:pt x="3354739" y="1951690"/>
                  </a:lnTo>
                  <a:lnTo>
                    <a:pt x="3351172" y="1963600"/>
                  </a:lnTo>
                  <a:lnTo>
                    <a:pt x="3337916" y="1982096"/>
                  </a:lnTo>
                  <a:lnTo>
                    <a:pt x="3327625" y="2016510"/>
                  </a:lnTo>
                  <a:lnTo>
                    <a:pt x="3327625" y="2036845"/>
                  </a:lnTo>
                  <a:cubicBezTo>
                    <a:pt x="3327625" y="2036845"/>
                    <a:pt x="3330096" y="2049140"/>
                    <a:pt x="3330096" y="2049140"/>
                  </a:cubicBezTo>
                  <a:lnTo>
                    <a:pt x="3326994" y="2057839"/>
                  </a:lnTo>
                  <a:lnTo>
                    <a:pt x="3327379" y="2072960"/>
                  </a:lnTo>
                  <a:lnTo>
                    <a:pt x="3323839" y="2086984"/>
                  </a:lnTo>
                  <a:lnTo>
                    <a:pt x="3322604" y="2100239"/>
                  </a:lnTo>
                  <a:lnTo>
                    <a:pt x="3316511" y="2121150"/>
                  </a:lnTo>
                  <a:lnTo>
                    <a:pt x="3293185" y="2149993"/>
                  </a:lnTo>
                  <a:lnTo>
                    <a:pt x="3283580" y="2169944"/>
                  </a:lnTo>
                  <a:lnTo>
                    <a:pt x="3270873" y="2186272"/>
                  </a:lnTo>
                  <a:lnTo>
                    <a:pt x="3262723" y="2206635"/>
                  </a:lnTo>
                  <a:lnTo>
                    <a:pt x="3246340" y="2233941"/>
                  </a:lnTo>
                  <a:lnTo>
                    <a:pt x="3219939" y="2262399"/>
                  </a:lnTo>
                  <a:lnTo>
                    <a:pt x="3199384" y="2290281"/>
                  </a:lnTo>
                  <a:lnTo>
                    <a:pt x="3190960" y="2297746"/>
                  </a:lnTo>
                  <a:lnTo>
                    <a:pt x="3180723" y="2316050"/>
                  </a:lnTo>
                  <a:lnTo>
                    <a:pt x="3168676" y="2331638"/>
                  </a:lnTo>
                  <a:lnTo>
                    <a:pt x="3133988" y="2356227"/>
                  </a:lnTo>
                  <a:lnTo>
                    <a:pt x="3110031" y="2363417"/>
                  </a:lnTo>
                  <a:lnTo>
                    <a:pt x="3098834" y="2357818"/>
                  </a:lnTo>
                  <a:lnTo>
                    <a:pt x="3089201" y="2356117"/>
                  </a:lnTo>
                  <a:lnTo>
                    <a:pt x="3086731" y="2343658"/>
                  </a:lnTo>
                  <a:lnTo>
                    <a:pt x="3077483" y="2347170"/>
                  </a:lnTo>
                  <a:lnTo>
                    <a:pt x="3076248" y="2341408"/>
                  </a:lnTo>
                  <a:lnTo>
                    <a:pt x="3073559" y="2340694"/>
                  </a:lnTo>
                  <a:lnTo>
                    <a:pt x="3062142" y="2353016"/>
                  </a:lnTo>
                  <a:lnTo>
                    <a:pt x="3054321" y="2365255"/>
                  </a:lnTo>
                  <a:lnTo>
                    <a:pt x="3041834" y="2366930"/>
                  </a:lnTo>
                  <a:lnTo>
                    <a:pt x="3042658" y="2372583"/>
                  </a:lnTo>
                  <a:lnTo>
                    <a:pt x="3040901" y="2376178"/>
                  </a:lnTo>
                  <a:lnTo>
                    <a:pt x="3038651" y="2380816"/>
                  </a:lnTo>
                  <a:lnTo>
                    <a:pt x="3037443" y="2375629"/>
                  </a:lnTo>
                  <a:lnTo>
                    <a:pt x="3035880" y="2366902"/>
                  </a:lnTo>
                  <a:lnTo>
                    <a:pt x="3033464" y="2362347"/>
                  </a:lnTo>
                  <a:lnTo>
                    <a:pt x="3051055" y="2354059"/>
                  </a:lnTo>
                  <a:lnTo>
                    <a:pt x="3056352" y="2336413"/>
                  </a:lnTo>
                  <a:lnTo>
                    <a:pt x="3054513" y="2327412"/>
                  </a:lnTo>
                  <a:lnTo>
                    <a:pt x="3055967" y="2305649"/>
                  </a:lnTo>
                  <a:lnTo>
                    <a:pt x="3048530" y="2276725"/>
                  </a:lnTo>
                  <a:lnTo>
                    <a:pt x="3062334" y="2270742"/>
                  </a:lnTo>
                  <a:lnTo>
                    <a:pt x="3074272" y="2258008"/>
                  </a:lnTo>
                  <a:lnTo>
                    <a:pt x="3102456" y="2268107"/>
                  </a:lnTo>
                  <a:lnTo>
                    <a:pt x="3107917" y="2266269"/>
                  </a:lnTo>
                  <a:lnTo>
                    <a:pt x="3112308" y="2251230"/>
                  </a:lnTo>
                  <a:lnTo>
                    <a:pt x="3118812" y="2243820"/>
                  </a:lnTo>
                  <a:lnTo>
                    <a:pt x="3121748" y="2234874"/>
                  </a:lnTo>
                  <a:lnTo>
                    <a:pt x="3132753" y="2216597"/>
                  </a:lnTo>
                  <a:lnTo>
                    <a:pt x="3133192" y="2206882"/>
                  </a:lnTo>
                  <a:lnTo>
                    <a:pt x="3142935" y="2172551"/>
                  </a:lnTo>
                  <a:lnTo>
                    <a:pt x="3152100" y="2164263"/>
                  </a:lnTo>
                  <a:lnTo>
                    <a:pt x="3156875" y="2156085"/>
                  </a:lnTo>
                  <a:lnTo>
                    <a:pt x="3154158" y="2142254"/>
                  </a:lnTo>
                  <a:lnTo>
                    <a:pt x="3156574" y="2130893"/>
                  </a:lnTo>
                  <a:lnTo>
                    <a:pt x="3155750" y="2126584"/>
                  </a:lnTo>
                  <a:lnTo>
                    <a:pt x="3142962" y="2126200"/>
                  </a:lnTo>
                  <a:lnTo>
                    <a:pt x="3122571" y="2136079"/>
                  </a:lnTo>
                  <a:lnTo>
                    <a:pt x="3109646" y="2137671"/>
                  </a:lnTo>
                  <a:lnTo>
                    <a:pt x="3098367" y="2145025"/>
                  </a:lnTo>
                  <a:lnTo>
                    <a:pt x="3091397" y="2153835"/>
                  </a:lnTo>
                  <a:lnTo>
                    <a:pt x="3074245" y="2156387"/>
                  </a:lnTo>
                  <a:lnTo>
                    <a:pt x="3049546" y="2154301"/>
                  </a:lnTo>
                  <a:lnTo>
                    <a:pt x="3040243" y="2139702"/>
                  </a:lnTo>
                  <a:lnTo>
                    <a:pt x="3042082" y="2127544"/>
                  </a:lnTo>
                  <a:lnTo>
                    <a:pt x="3035989" y="2114921"/>
                  </a:lnTo>
                  <a:lnTo>
                    <a:pt x="3036428" y="2104273"/>
                  </a:lnTo>
                  <a:lnTo>
                    <a:pt x="3022487" y="2099909"/>
                  </a:lnTo>
                  <a:lnTo>
                    <a:pt x="3002701" y="2079601"/>
                  </a:lnTo>
                  <a:lnTo>
                    <a:pt x="2992657" y="2080699"/>
                  </a:lnTo>
                  <a:lnTo>
                    <a:pt x="2981130" y="2072549"/>
                  </a:lnTo>
                  <a:lnTo>
                    <a:pt x="2964335" y="2072768"/>
                  </a:lnTo>
                  <a:lnTo>
                    <a:pt x="2950504" y="2065523"/>
                  </a:lnTo>
                  <a:lnTo>
                    <a:pt x="2946360" y="2056961"/>
                  </a:lnTo>
                  <a:lnTo>
                    <a:pt x="2946580" y="2042746"/>
                  </a:lnTo>
                  <a:lnTo>
                    <a:pt x="2940789" y="2035857"/>
                  </a:lnTo>
                  <a:lnTo>
                    <a:pt x="2938758" y="2019776"/>
                  </a:lnTo>
                  <a:lnTo>
                    <a:pt x="2928193" y="2002047"/>
                  </a:lnTo>
                  <a:lnTo>
                    <a:pt x="2926574" y="1988024"/>
                  </a:lnTo>
                  <a:lnTo>
                    <a:pt x="2915817" y="1962228"/>
                  </a:lnTo>
                  <a:lnTo>
                    <a:pt x="2915624" y="1953281"/>
                  </a:lnTo>
                  <a:lnTo>
                    <a:pt x="2911343" y="1948287"/>
                  </a:lnTo>
                  <a:lnTo>
                    <a:pt x="2908901" y="1937913"/>
                  </a:lnTo>
                  <a:lnTo>
                    <a:pt x="2901793" y="1928692"/>
                  </a:lnTo>
                  <a:lnTo>
                    <a:pt x="2900997" y="1921475"/>
                  </a:lnTo>
                  <a:lnTo>
                    <a:pt x="2893039" y="1916261"/>
                  </a:lnTo>
                  <a:lnTo>
                    <a:pt x="2889471" y="1908303"/>
                  </a:lnTo>
                  <a:lnTo>
                    <a:pt x="2879784" y="1903088"/>
                  </a:lnTo>
                  <a:lnTo>
                    <a:pt x="2865513" y="1903582"/>
                  </a:lnTo>
                  <a:lnTo>
                    <a:pt x="2838647" y="1887720"/>
                  </a:lnTo>
                  <a:lnTo>
                    <a:pt x="2823992" y="1884208"/>
                  </a:lnTo>
                  <a:lnTo>
                    <a:pt x="2808349" y="1887885"/>
                  </a:lnTo>
                  <a:lnTo>
                    <a:pt x="2791801" y="1887528"/>
                  </a:lnTo>
                  <a:lnTo>
                    <a:pt x="2751845" y="1897325"/>
                  </a:lnTo>
                  <a:lnTo>
                    <a:pt x="2727914" y="1920624"/>
                  </a:lnTo>
                  <a:lnTo>
                    <a:pt x="2726569" y="1925509"/>
                  </a:lnTo>
                  <a:lnTo>
                    <a:pt x="2727996" y="1929296"/>
                  </a:lnTo>
                  <a:lnTo>
                    <a:pt x="2737958" y="1929187"/>
                  </a:lnTo>
                  <a:lnTo>
                    <a:pt x="2743310" y="1932672"/>
                  </a:lnTo>
                  <a:lnTo>
                    <a:pt x="2746520" y="1953419"/>
                  </a:lnTo>
                  <a:lnTo>
                    <a:pt x="2742651" y="1962694"/>
                  </a:lnTo>
                  <a:lnTo>
                    <a:pt x="2726378" y="1978227"/>
                  </a:lnTo>
                  <a:lnTo>
                    <a:pt x="2716773" y="2002487"/>
                  </a:lnTo>
                  <a:lnTo>
                    <a:pt x="2703435" y="2026884"/>
                  </a:lnTo>
                  <a:lnTo>
                    <a:pt x="2701706" y="2034156"/>
                  </a:lnTo>
                  <a:lnTo>
                    <a:pt x="2704972" y="2040879"/>
                  </a:lnTo>
                  <a:lnTo>
                    <a:pt x="2700114" y="2050073"/>
                  </a:lnTo>
                  <a:lnTo>
                    <a:pt x="2683045" y="2056165"/>
                  </a:lnTo>
                  <a:lnTo>
                    <a:pt x="2668610" y="2068569"/>
                  </a:lnTo>
                  <a:lnTo>
                    <a:pt x="2659609" y="2073070"/>
                  </a:lnTo>
                  <a:lnTo>
                    <a:pt x="2640344" y="2067115"/>
                  </a:lnTo>
                  <a:lnTo>
                    <a:pt x="2628324" y="2059376"/>
                  </a:lnTo>
                  <a:lnTo>
                    <a:pt x="2623850" y="2055205"/>
                  </a:lnTo>
                  <a:lnTo>
                    <a:pt x="2613559" y="2051692"/>
                  </a:lnTo>
                  <a:lnTo>
                    <a:pt x="2600331" y="2056933"/>
                  </a:lnTo>
                  <a:lnTo>
                    <a:pt x="2589821" y="2056412"/>
                  </a:lnTo>
                  <a:lnTo>
                    <a:pt x="2575962" y="2043843"/>
                  </a:lnTo>
                  <a:lnTo>
                    <a:pt x="2555682" y="2041072"/>
                  </a:lnTo>
                  <a:lnTo>
                    <a:pt x="2535264" y="2052707"/>
                  </a:lnTo>
                  <a:lnTo>
                    <a:pt x="2525934" y="2060336"/>
                  </a:lnTo>
                  <a:lnTo>
                    <a:pt x="2520528" y="2070106"/>
                  </a:lnTo>
                  <a:lnTo>
                    <a:pt x="2513694" y="2074195"/>
                  </a:lnTo>
                  <a:lnTo>
                    <a:pt x="2503980" y="2073729"/>
                  </a:lnTo>
                  <a:lnTo>
                    <a:pt x="2488611" y="2079492"/>
                  </a:lnTo>
                  <a:lnTo>
                    <a:pt x="2471789" y="2081632"/>
                  </a:lnTo>
                  <a:lnTo>
                    <a:pt x="2453375" y="2090606"/>
                  </a:lnTo>
                  <a:lnTo>
                    <a:pt x="2443166" y="2087368"/>
                  </a:lnTo>
                  <a:lnTo>
                    <a:pt x="2435756" y="2089892"/>
                  </a:lnTo>
                  <a:lnTo>
                    <a:pt x="2419620" y="2087642"/>
                  </a:lnTo>
                  <a:lnTo>
                    <a:pt x="2407216" y="2081989"/>
                  </a:lnTo>
                  <a:lnTo>
                    <a:pt x="2388554" y="2082126"/>
                  </a:lnTo>
                  <a:lnTo>
                    <a:pt x="2373104" y="2069557"/>
                  </a:lnTo>
                  <a:lnTo>
                    <a:pt x="2369701" y="2056714"/>
                  </a:lnTo>
                  <a:lnTo>
                    <a:pt x="2347993" y="2051527"/>
                  </a:lnTo>
                  <a:lnTo>
                    <a:pt x="2340474" y="2041867"/>
                  </a:lnTo>
                  <a:lnTo>
                    <a:pt x="2333312" y="2037586"/>
                  </a:lnTo>
                  <a:lnTo>
                    <a:pt x="2321072" y="2038245"/>
                  </a:lnTo>
                  <a:lnTo>
                    <a:pt x="2312126" y="2033415"/>
                  </a:lnTo>
                  <a:lnTo>
                    <a:pt x="2294288" y="2030863"/>
                  </a:lnTo>
                  <a:lnTo>
                    <a:pt x="2266899" y="2038602"/>
                  </a:lnTo>
                  <a:lnTo>
                    <a:pt x="2257103" y="2044557"/>
                  </a:lnTo>
                  <a:lnTo>
                    <a:pt x="2244396" y="2045270"/>
                  </a:lnTo>
                  <a:lnTo>
                    <a:pt x="2222058" y="2037285"/>
                  </a:lnTo>
                  <a:lnTo>
                    <a:pt x="2205455" y="2024743"/>
                  </a:lnTo>
                  <a:lnTo>
                    <a:pt x="2202299" y="2011433"/>
                  </a:lnTo>
                  <a:lnTo>
                    <a:pt x="2200927" y="1992635"/>
                  </a:lnTo>
                  <a:lnTo>
                    <a:pt x="2197935" y="1988518"/>
                  </a:lnTo>
                  <a:lnTo>
                    <a:pt x="2175816" y="1983194"/>
                  </a:lnTo>
                  <a:lnTo>
                    <a:pt x="2153011" y="1971531"/>
                  </a:lnTo>
                  <a:lnTo>
                    <a:pt x="2135859" y="1969912"/>
                  </a:lnTo>
                  <a:lnTo>
                    <a:pt x="2105618" y="1953062"/>
                  </a:lnTo>
                  <a:lnTo>
                    <a:pt x="2098564" y="1966180"/>
                  </a:lnTo>
                  <a:lnTo>
                    <a:pt x="2088466" y="1972217"/>
                  </a:lnTo>
                  <a:lnTo>
                    <a:pt x="2084322" y="1983085"/>
                  </a:lnTo>
                  <a:lnTo>
                    <a:pt x="2079052" y="1986789"/>
                  </a:lnTo>
                  <a:lnTo>
                    <a:pt x="2076171" y="1992937"/>
                  </a:lnTo>
                  <a:lnTo>
                    <a:pt x="2073838" y="2006548"/>
                  </a:lnTo>
                  <a:lnTo>
                    <a:pt x="2076939" y="2011927"/>
                  </a:lnTo>
                  <a:lnTo>
                    <a:pt x="2078887" y="2021121"/>
                  </a:lnTo>
                  <a:lnTo>
                    <a:pt x="2086188" y="2027844"/>
                  </a:lnTo>
                  <a:lnTo>
                    <a:pt x="2084651" y="2040632"/>
                  </a:lnTo>
                  <a:lnTo>
                    <a:pt x="2075238" y="2052817"/>
                  </a:lnTo>
                  <a:lnTo>
                    <a:pt x="2067115" y="2055177"/>
                  </a:lnTo>
                  <a:lnTo>
                    <a:pt x="2058991" y="2062614"/>
                  </a:lnTo>
                  <a:lnTo>
                    <a:pt x="2054546" y="2062285"/>
                  </a:lnTo>
                  <a:lnTo>
                    <a:pt x="2046752" y="2056302"/>
                  </a:lnTo>
                  <a:lnTo>
                    <a:pt x="2036955" y="2054491"/>
                  </a:lnTo>
                  <a:lnTo>
                    <a:pt x="2031603" y="2056138"/>
                  </a:lnTo>
                  <a:lnTo>
                    <a:pt x="2024413" y="2052460"/>
                  </a:lnTo>
                  <a:lnTo>
                    <a:pt x="2014589" y="2051280"/>
                  </a:lnTo>
                  <a:lnTo>
                    <a:pt x="2002322" y="2055561"/>
                  </a:lnTo>
                  <a:lnTo>
                    <a:pt x="1993568" y="2054326"/>
                  </a:lnTo>
                  <a:lnTo>
                    <a:pt x="1987558" y="2050155"/>
                  </a:lnTo>
                  <a:lnTo>
                    <a:pt x="1979571" y="2050265"/>
                  </a:lnTo>
                  <a:lnTo>
                    <a:pt x="1972766" y="2042060"/>
                  </a:lnTo>
                  <a:lnTo>
                    <a:pt x="1969856" y="2030424"/>
                  </a:lnTo>
                  <a:lnTo>
                    <a:pt x="1967167" y="2026582"/>
                  </a:lnTo>
                  <a:lnTo>
                    <a:pt x="1934153" y="2025923"/>
                  </a:lnTo>
                  <a:lnTo>
                    <a:pt x="1931217" y="2023536"/>
                  </a:lnTo>
                  <a:lnTo>
                    <a:pt x="1929955" y="2017251"/>
                  </a:lnTo>
                  <a:lnTo>
                    <a:pt x="1920240" y="2019062"/>
                  </a:lnTo>
                  <a:lnTo>
                    <a:pt x="1912144" y="2012421"/>
                  </a:lnTo>
                  <a:lnTo>
                    <a:pt x="1909373" y="2016592"/>
                  </a:lnTo>
                  <a:lnTo>
                    <a:pt x="1907232" y="2019830"/>
                  </a:lnTo>
                  <a:lnTo>
                    <a:pt x="1894416" y="2019913"/>
                  </a:lnTo>
                  <a:lnTo>
                    <a:pt x="1888159" y="2026143"/>
                  </a:lnTo>
                  <a:lnTo>
                    <a:pt x="1883796" y="2030451"/>
                  </a:lnTo>
                  <a:lnTo>
                    <a:pt x="1877786" y="2031659"/>
                  </a:lnTo>
                  <a:lnTo>
                    <a:pt x="1870623" y="2033086"/>
                  </a:lnTo>
                  <a:lnTo>
                    <a:pt x="1861869" y="2041264"/>
                  </a:lnTo>
                  <a:lnTo>
                    <a:pt x="1848723" y="2046642"/>
                  </a:lnTo>
                  <a:lnTo>
                    <a:pt x="1844991" y="2048179"/>
                  </a:lnTo>
                  <a:lnTo>
                    <a:pt x="1840929" y="2053284"/>
                  </a:lnTo>
                  <a:lnTo>
                    <a:pt x="1832944" y="2055040"/>
                  </a:lnTo>
                  <a:lnTo>
                    <a:pt x="1831654" y="2057153"/>
                  </a:lnTo>
                  <a:lnTo>
                    <a:pt x="1834124" y="2062285"/>
                  </a:lnTo>
                  <a:lnTo>
                    <a:pt x="1832999" y="2065221"/>
                  </a:lnTo>
                  <a:lnTo>
                    <a:pt x="1824052" y="2070051"/>
                  </a:lnTo>
                  <a:lnTo>
                    <a:pt x="1820347" y="2069228"/>
                  </a:lnTo>
                  <a:lnTo>
                    <a:pt x="1816725" y="2074140"/>
                  </a:lnTo>
                  <a:lnTo>
                    <a:pt x="1810276" y="2074085"/>
                  </a:lnTo>
                  <a:lnTo>
                    <a:pt x="1806845" y="2076748"/>
                  </a:lnTo>
                  <a:lnTo>
                    <a:pt x="1791505" y="2076007"/>
                  </a:lnTo>
                  <a:lnTo>
                    <a:pt x="1787855" y="2080425"/>
                  </a:lnTo>
                  <a:lnTo>
                    <a:pt x="1787087" y="2086215"/>
                  </a:lnTo>
                  <a:lnTo>
                    <a:pt x="1778524" y="2089563"/>
                  </a:lnTo>
                  <a:lnTo>
                    <a:pt x="1763430" y="2093323"/>
                  </a:lnTo>
                  <a:lnTo>
                    <a:pt x="1747239" y="2074497"/>
                  </a:lnTo>
                  <a:lnTo>
                    <a:pt x="1744769" y="2063822"/>
                  </a:lnTo>
                  <a:lnTo>
                    <a:pt x="1728002" y="2074497"/>
                  </a:lnTo>
                  <a:lnTo>
                    <a:pt x="1704758" y="2069530"/>
                  </a:lnTo>
                  <a:lnTo>
                    <a:pt x="1694000" y="2051170"/>
                  </a:lnTo>
                  <a:lnTo>
                    <a:pt x="1676793" y="2040440"/>
                  </a:lnTo>
                  <a:lnTo>
                    <a:pt x="1670728" y="2026993"/>
                  </a:lnTo>
                  <a:lnTo>
                    <a:pt x="1663428" y="2016592"/>
                  </a:lnTo>
                  <a:lnTo>
                    <a:pt x="1649432" y="2007564"/>
                  </a:lnTo>
                  <a:lnTo>
                    <a:pt x="1639333" y="2007344"/>
                  </a:lnTo>
                  <a:lnTo>
                    <a:pt x="1620617" y="2016675"/>
                  </a:lnTo>
                  <a:lnTo>
                    <a:pt x="1596687" y="2016812"/>
                  </a:lnTo>
                  <a:lnTo>
                    <a:pt x="1582417" y="2006384"/>
                  </a:lnTo>
                  <a:lnTo>
                    <a:pt x="1578575" y="1997657"/>
                  </a:lnTo>
                  <a:lnTo>
                    <a:pt x="1569464" y="1994171"/>
                  </a:lnTo>
                  <a:lnTo>
                    <a:pt x="1563097" y="1998398"/>
                  </a:lnTo>
                  <a:lnTo>
                    <a:pt x="1557636" y="2009594"/>
                  </a:lnTo>
                  <a:lnTo>
                    <a:pt x="1549677" y="2011735"/>
                  </a:lnTo>
                  <a:lnTo>
                    <a:pt x="1523799" y="1962091"/>
                  </a:lnTo>
                  <a:lnTo>
                    <a:pt x="1491389" y="1904872"/>
                  </a:lnTo>
                  <a:lnTo>
                    <a:pt x="1482277" y="1892825"/>
                  </a:lnTo>
                  <a:lnTo>
                    <a:pt x="1446931" y="1858630"/>
                  </a:lnTo>
                  <a:lnTo>
                    <a:pt x="1446821" y="1854130"/>
                  </a:lnTo>
                  <a:lnTo>
                    <a:pt x="1453133" y="1849053"/>
                  </a:lnTo>
                  <a:lnTo>
                    <a:pt x="1453627" y="1842000"/>
                  </a:lnTo>
                  <a:lnTo>
                    <a:pt x="1438835" y="1844909"/>
                  </a:lnTo>
                  <a:lnTo>
                    <a:pt x="1419213" y="1854624"/>
                  </a:lnTo>
                  <a:lnTo>
                    <a:pt x="1410239" y="1864997"/>
                  </a:lnTo>
                  <a:lnTo>
                    <a:pt x="1389246" y="1876990"/>
                  </a:lnTo>
                  <a:lnTo>
                    <a:pt x="1382632" y="1884399"/>
                  </a:lnTo>
                  <a:lnTo>
                    <a:pt x="1368526" y="1880612"/>
                  </a:lnTo>
                  <a:lnTo>
                    <a:pt x="1355271" y="1885470"/>
                  </a:lnTo>
                  <a:lnTo>
                    <a:pt x="1352417" y="1882698"/>
                  </a:lnTo>
                  <a:lnTo>
                    <a:pt x="1351978" y="1878060"/>
                  </a:lnTo>
                  <a:lnTo>
                    <a:pt x="1360815" y="1865711"/>
                  </a:lnTo>
                  <a:lnTo>
                    <a:pt x="1360870" y="1860991"/>
                  </a:lnTo>
                  <a:lnTo>
                    <a:pt x="1349920" y="1862033"/>
                  </a:lnTo>
                  <a:lnTo>
                    <a:pt x="1333838" y="1856024"/>
                  </a:lnTo>
                  <a:lnTo>
                    <a:pt x="1330490" y="1862143"/>
                  </a:lnTo>
                  <a:lnTo>
                    <a:pt x="1328075" y="1862774"/>
                  </a:lnTo>
                  <a:lnTo>
                    <a:pt x="1322752" y="1851633"/>
                  </a:lnTo>
                  <a:lnTo>
                    <a:pt x="1317922" y="1846364"/>
                  </a:lnTo>
                  <a:lnTo>
                    <a:pt x="1314052" y="1850864"/>
                  </a:lnTo>
                  <a:lnTo>
                    <a:pt x="1301511" y="1854240"/>
                  </a:lnTo>
                  <a:lnTo>
                    <a:pt x="1289106" y="1852154"/>
                  </a:lnTo>
                  <a:lnTo>
                    <a:pt x="1286911" y="1846117"/>
                  </a:lnTo>
                  <a:lnTo>
                    <a:pt x="1289380" y="1838789"/>
                  </a:lnTo>
                  <a:lnTo>
                    <a:pt x="1290012" y="1828827"/>
                  </a:lnTo>
                  <a:lnTo>
                    <a:pt x="1282437" y="1806050"/>
                  </a:lnTo>
                  <a:lnTo>
                    <a:pt x="1277635" y="1798283"/>
                  </a:lnTo>
                  <a:lnTo>
                    <a:pt x="1269293" y="1797104"/>
                  </a:lnTo>
                  <a:lnTo>
                    <a:pt x="1258370" y="1801247"/>
                  </a:lnTo>
                  <a:lnTo>
                    <a:pt x="1244978" y="1794057"/>
                  </a:lnTo>
                  <a:lnTo>
                    <a:pt x="1226454" y="1790517"/>
                  </a:lnTo>
                  <a:lnTo>
                    <a:pt x="1204719" y="1802098"/>
                  </a:lnTo>
                  <a:lnTo>
                    <a:pt x="1196760" y="1812581"/>
                  </a:lnTo>
                  <a:lnTo>
                    <a:pt x="1142918" y="1828114"/>
                  </a:lnTo>
                  <a:lnTo>
                    <a:pt x="1122555" y="1829706"/>
                  </a:lnTo>
                  <a:lnTo>
                    <a:pt x="1109711" y="1842165"/>
                  </a:lnTo>
                  <a:lnTo>
                    <a:pt x="1095331" y="1841945"/>
                  </a:lnTo>
                  <a:lnTo>
                    <a:pt x="1059354" y="1850288"/>
                  </a:lnTo>
                  <a:lnTo>
                    <a:pt x="1034929" y="1862912"/>
                  </a:lnTo>
                  <a:lnTo>
                    <a:pt x="1028261" y="1859893"/>
                  </a:lnTo>
                  <a:lnTo>
                    <a:pt x="1015390" y="1862253"/>
                  </a:lnTo>
                  <a:lnTo>
                    <a:pt x="1002190" y="1859070"/>
                  </a:lnTo>
                  <a:lnTo>
                    <a:pt x="995384" y="1863351"/>
                  </a:lnTo>
                  <a:lnTo>
                    <a:pt x="991323" y="1878719"/>
                  </a:lnTo>
                  <a:lnTo>
                    <a:pt x="1000488" y="1884894"/>
                  </a:lnTo>
                  <a:lnTo>
                    <a:pt x="997360" y="1889696"/>
                  </a:lnTo>
                  <a:lnTo>
                    <a:pt x="997360" y="1894471"/>
                  </a:lnTo>
                  <a:cubicBezTo>
                    <a:pt x="997360" y="1894471"/>
                    <a:pt x="1012755" y="1901195"/>
                    <a:pt x="1012755" y="1901195"/>
                  </a:cubicBezTo>
                  <a:lnTo>
                    <a:pt x="1020193" y="1908549"/>
                  </a:lnTo>
                  <a:lnTo>
                    <a:pt x="1017284" y="1911184"/>
                  </a:lnTo>
                  <a:lnTo>
                    <a:pt x="1003260" y="1910141"/>
                  </a:lnTo>
                  <a:lnTo>
                    <a:pt x="990911" y="1914285"/>
                  </a:lnTo>
                  <a:lnTo>
                    <a:pt x="983721" y="1925427"/>
                  </a:lnTo>
                  <a:lnTo>
                    <a:pt x="987865" y="1936678"/>
                  </a:lnTo>
                  <a:lnTo>
                    <a:pt x="988002" y="1943484"/>
                  </a:lnTo>
                  <a:lnTo>
                    <a:pt x="965005" y="1961405"/>
                  </a:lnTo>
                  <a:lnTo>
                    <a:pt x="976092" y="1975099"/>
                  </a:lnTo>
                  <a:lnTo>
                    <a:pt x="1004632" y="1990137"/>
                  </a:lnTo>
                  <a:lnTo>
                    <a:pt x="1001860" y="2012257"/>
                  </a:lnTo>
                  <a:lnTo>
                    <a:pt x="991075" y="2019501"/>
                  </a:lnTo>
                  <a:lnTo>
                    <a:pt x="973183" y="2020434"/>
                  </a:lnTo>
                  <a:lnTo>
                    <a:pt x="962837" y="2015796"/>
                  </a:lnTo>
                  <a:lnTo>
                    <a:pt x="954385" y="2024139"/>
                  </a:lnTo>
                  <a:lnTo>
                    <a:pt x="946810" y="2026005"/>
                  </a:lnTo>
                  <a:lnTo>
                    <a:pt x="924773" y="2016483"/>
                  </a:lnTo>
                  <a:lnTo>
                    <a:pt x="916568" y="2004600"/>
                  </a:lnTo>
                  <a:lnTo>
                    <a:pt x="907155" y="2000675"/>
                  </a:lnTo>
                  <a:lnTo>
                    <a:pt x="897001" y="2001718"/>
                  </a:lnTo>
                  <a:lnTo>
                    <a:pt x="887753" y="2009594"/>
                  </a:lnTo>
                  <a:lnTo>
                    <a:pt x="874800" y="2003118"/>
                  </a:lnTo>
                  <a:lnTo>
                    <a:pt x="857621" y="2004929"/>
                  </a:lnTo>
                  <a:lnTo>
                    <a:pt x="843186" y="2018568"/>
                  </a:lnTo>
                  <a:lnTo>
                    <a:pt x="833223" y="2023892"/>
                  </a:lnTo>
                  <a:lnTo>
                    <a:pt x="822685" y="2020133"/>
                  </a:lnTo>
                  <a:lnTo>
                    <a:pt x="814535" y="2012640"/>
                  </a:lnTo>
                  <a:lnTo>
                    <a:pt x="808635" y="2012311"/>
                  </a:lnTo>
                  <a:lnTo>
                    <a:pt x="805012" y="2015138"/>
                  </a:lnTo>
                  <a:lnTo>
                    <a:pt x="802460" y="2023124"/>
                  </a:lnTo>
                  <a:lnTo>
                    <a:pt x="799743" y="2024578"/>
                  </a:lnTo>
                  <a:lnTo>
                    <a:pt x="792608" y="2008744"/>
                  </a:lnTo>
                  <a:lnTo>
                    <a:pt x="766811" y="1984676"/>
                  </a:lnTo>
                  <a:lnTo>
                    <a:pt x="744034" y="1983386"/>
                  </a:lnTo>
                  <a:lnTo>
                    <a:pt x="731383" y="1972985"/>
                  </a:lnTo>
                  <a:lnTo>
                    <a:pt x="722079" y="1975538"/>
                  </a:lnTo>
                  <a:lnTo>
                    <a:pt x="714670" y="1981795"/>
                  </a:lnTo>
                  <a:lnTo>
                    <a:pt x="709099" y="1982289"/>
                  </a:lnTo>
                  <a:lnTo>
                    <a:pt x="702266" y="1975291"/>
                  </a:lnTo>
                  <a:lnTo>
                    <a:pt x="691892" y="1972766"/>
                  </a:lnTo>
                  <a:lnTo>
                    <a:pt x="681931" y="1979572"/>
                  </a:lnTo>
                  <a:lnTo>
                    <a:pt x="673094" y="1991482"/>
                  </a:lnTo>
                  <a:lnTo>
                    <a:pt x="651194" y="2001718"/>
                  </a:lnTo>
                  <a:lnTo>
                    <a:pt x="643153" y="2015193"/>
                  </a:lnTo>
                  <a:lnTo>
                    <a:pt x="626962" y="2024167"/>
                  </a:lnTo>
                  <a:lnTo>
                    <a:pt x="630941" y="2047987"/>
                  </a:lnTo>
                  <a:lnTo>
                    <a:pt x="625700" y="2056522"/>
                  </a:lnTo>
                  <a:lnTo>
                    <a:pt x="616589" y="2058031"/>
                  </a:lnTo>
                  <a:lnTo>
                    <a:pt x="601275" y="2037998"/>
                  </a:lnTo>
                  <a:lnTo>
                    <a:pt x="592384" y="2034787"/>
                  </a:lnTo>
                  <a:lnTo>
                    <a:pt x="588185" y="2039507"/>
                  </a:lnTo>
                  <a:lnTo>
                    <a:pt x="583794" y="2052433"/>
                  </a:lnTo>
                  <a:lnTo>
                    <a:pt x="574875" y="2063547"/>
                  </a:lnTo>
                  <a:lnTo>
                    <a:pt x="572735" y="2080315"/>
                  </a:lnTo>
                  <a:lnTo>
                    <a:pt x="577125" y="2092253"/>
                  </a:lnTo>
                  <a:lnTo>
                    <a:pt x="570237" y="2104602"/>
                  </a:lnTo>
                  <a:lnTo>
                    <a:pt x="565929" y="2120080"/>
                  </a:lnTo>
                  <a:lnTo>
                    <a:pt x="579458" y="2133609"/>
                  </a:lnTo>
                  <a:lnTo>
                    <a:pt x="580830" y="2145273"/>
                  </a:lnTo>
                  <a:lnTo>
                    <a:pt x="585276" y="2153094"/>
                  </a:lnTo>
                  <a:lnTo>
                    <a:pt x="606764" y="2153341"/>
                  </a:lnTo>
                  <a:lnTo>
                    <a:pt x="624135" y="2169505"/>
                  </a:lnTo>
                  <a:lnTo>
                    <a:pt x="634948" y="2194423"/>
                  </a:lnTo>
                  <a:lnTo>
                    <a:pt x="632258" y="2197908"/>
                  </a:lnTo>
                  <a:lnTo>
                    <a:pt x="625508" y="2197414"/>
                  </a:lnTo>
                  <a:lnTo>
                    <a:pt x="624053" y="2200186"/>
                  </a:lnTo>
                  <a:lnTo>
                    <a:pt x="642907" y="2214292"/>
                  </a:lnTo>
                  <a:lnTo>
                    <a:pt x="633905" y="2229907"/>
                  </a:lnTo>
                  <a:lnTo>
                    <a:pt x="632231" y="2229440"/>
                  </a:lnTo>
                  <a:lnTo>
                    <a:pt x="634124" y="2224747"/>
                  </a:lnTo>
                  <a:lnTo>
                    <a:pt x="627922" y="2225790"/>
                  </a:lnTo>
                  <a:lnTo>
                    <a:pt x="628307" y="2233804"/>
                  </a:lnTo>
                  <a:lnTo>
                    <a:pt x="622270" y="2231334"/>
                  </a:lnTo>
                  <a:lnTo>
                    <a:pt x="618208" y="2237975"/>
                  </a:lnTo>
                  <a:lnTo>
                    <a:pt x="615683" y="2236767"/>
                  </a:lnTo>
                  <a:lnTo>
                    <a:pt x="601605" y="2243601"/>
                  </a:lnTo>
                  <a:lnTo>
                    <a:pt x="596665" y="2242421"/>
                  </a:lnTo>
                  <a:lnTo>
                    <a:pt x="580666" y="2276121"/>
                  </a:lnTo>
                  <a:lnTo>
                    <a:pt x="576165" y="2279963"/>
                  </a:lnTo>
                  <a:lnTo>
                    <a:pt x="571555" y="2283915"/>
                  </a:lnTo>
                  <a:lnTo>
                    <a:pt x="569359" y="2291406"/>
                  </a:lnTo>
                  <a:lnTo>
                    <a:pt x="570622" y="2294645"/>
                  </a:lnTo>
                  <a:lnTo>
                    <a:pt x="576165" y="2296785"/>
                  </a:lnTo>
                  <a:lnTo>
                    <a:pt x="577592" y="2297361"/>
                  </a:lnTo>
                  <a:lnTo>
                    <a:pt x="584864" y="2304168"/>
                  </a:lnTo>
                  <a:lnTo>
                    <a:pt x="592137" y="2318822"/>
                  </a:lnTo>
                  <a:lnTo>
                    <a:pt x="597296" y="2317038"/>
                  </a:lnTo>
                  <a:lnTo>
                    <a:pt x="593262" y="2331446"/>
                  </a:lnTo>
                  <a:lnTo>
                    <a:pt x="592494" y="2334300"/>
                  </a:lnTo>
                  <a:lnTo>
                    <a:pt x="593866" y="2340886"/>
                  </a:lnTo>
                  <a:lnTo>
                    <a:pt x="591863" y="2350464"/>
                  </a:lnTo>
                  <a:lnTo>
                    <a:pt x="597571" y="2357846"/>
                  </a:lnTo>
                  <a:lnTo>
                    <a:pt x="600397" y="2366875"/>
                  </a:lnTo>
                  <a:lnTo>
                    <a:pt x="610469" y="2379471"/>
                  </a:lnTo>
                  <a:lnTo>
                    <a:pt x="618619" y="2393714"/>
                  </a:lnTo>
                  <a:lnTo>
                    <a:pt x="622544" y="2396650"/>
                  </a:lnTo>
                  <a:lnTo>
                    <a:pt x="624273" y="2398763"/>
                  </a:lnTo>
                  <a:lnTo>
                    <a:pt x="619607" y="2405295"/>
                  </a:lnTo>
                  <a:lnTo>
                    <a:pt x="619251" y="2405542"/>
                  </a:lnTo>
                  <a:lnTo>
                    <a:pt x="618729" y="2406996"/>
                  </a:lnTo>
                  <a:lnTo>
                    <a:pt x="609097" y="2412704"/>
                  </a:lnTo>
                  <a:lnTo>
                    <a:pt x="601660" y="2422364"/>
                  </a:lnTo>
                  <a:lnTo>
                    <a:pt x="588432" y="2419401"/>
                  </a:lnTo>
                  <a:lnTo>
                    <a:pt x="576083" y="2405130"/>
                  </a:lnTo>
                  <a:lnTo>
                    <a:pt x="571198" y="2399504"/>
                  </a:lnTo>
                  <a:lnTo>
                    <a:pt x="560769" y="2395827"/>
                  </a:lnTo>
                  <a:lnTo>
                    <a:pt x="554924" y="2392671"/>
                  </a:lnTo>
                  <a:lnTo>
                    <a:pt x="537964" y="2383368"/>
                  </a:lnTo>
                  <a:lnTo>
                    <a:pt x="540763" y="2378950"/>
                  </a:lnTo>
                  <a:lnTo>
                    <a:pt x="540763" y="2376178"/>
                  </a:lnTo>
                  <a:cubicBezTo>
                    <a:pt x="540763" y="2376178"/>
                    <a:pt x="540763" y="2372583"/>
                    <a:pt x="540763" y="2372583"/>
                  </a:cubicBezTo>
                  <a:lnTo>
                    <a:pt x="537388" y="2371979"/>
                  </a:lnTo>
                  <a:lnTo>
                    <a:pt x="529347" y="2370607"/>
                  </a:lnTo>
                  <a:lnTo>
                    <a:pt x="526027" y="2366902"/>
                  </a:lnTo>
                  <a:lnTo>
                    <a:pt x="523886" y="2364515"/>
                  </a:lnTo>
                  <a:lnTo>
                    <a:pt x="517245" y="2362511"/>
                  </a:lnTo>
                  <a:lnTo>
                    <a:pt x="513568" y="2366820"/>
                  </a:lnTo>
                  <a:lnTo>
                    <a:pt x="510384" y="2362676"/>
                  </a:lnTo>
                  <a:lnTo>
                    <a:pt x="506323" y="2362045"/>
                  </a:lnTo>
                  <a:lnTo>
                    <a:pt x="496306" y="2366079"/>
                  </a:lnTo>
                  <a:lnTo>
                    <a:pt x="496306" y="2366875"/>
                  </a:lnTo>
                  <a:lnTo>
                    <a:pt x="494303" y="2366875"/>
                  </a:lnTo>
                  <a:lnTo>
                    <a:pt x="487552" y="2369482"/>
                  </a:lnTo>
                  <a:lnTo>
                    <a:pt x="483929" y="2368082"/>
                  </a:lnTo>
                  <a:lnTo>
                    <a:pt x="483133" y="2366875"/>
                  </a:lnTo>
                  <a:lnTo>
                    <a:pt x="481267" y="2361194"/>
                  </a:lnTo>
                  <a:lnTo>
                    <a:pt x="467848" y="2355184"/>
                  </a:lnTo>
                  <a:lnTo>
                    <a:pt x="465954" y="2354333"/>
                  </a:lnTo>
                  <a:lnTo>
                    <a:pt x="455581" y="2345524"/>
                  </a:lnTo>
                  <a:lnTo>
                    <a:pt x="449351" y="2345716"/>
                  </a:lnTo>
                  <a:lnTo>
                    <a:pt x="444604" y="2343576"/>
                  </a:lnTo>
                  <a:lnTo>
                    <a:pt x="442765" y="2342752"/>
                  </a:lnTo>
                  <a:lnTo>
                    <a:pt x="420344" y="2342835"/>
                  </a:lnTo>
                  <a:lnTo>
                    <a:pt x="394383" y="2331501"/>
                  </a:lnTo>
                  <a:lnTo>
                    <a:pt x="390788" y="2329936"/>
                  </a:lnTo>
                  <a:lnTo>
                    <a:pt x="376819" y="2329415"/>
                  </a:lnTo>
                  <a:lnTo>
                    <a:pt x="375529" y="2331473"/>
                  </a:lnTo>
                  <a:lnTo>
                    <a:pt x="372346" y="2336605"/>
                  </a:lnTo>
                  <a:lnTo>
                    <a:pt x="367105" y="2331473"/>
                  </a:lnTo>
                  <a:lnTo>
                    <a:pt x="335874" y="2300710"/>
                  </a:lnTo>
                  <a:lnTo>
                    <a:pt x="320342" y="2294453"/>
                  </a:lnTo>
                  <a:lnTo>
                    <a:pt x="308706" y="2283530"/>
                  </a:lnTo>
                  <a:lnTo>
                    <a:pt x="299457" y="2282570"/>
                  </a:lnTo>
                  <a:lnTo>
                    <a:pt x="290566" y="2271483"/>
                  </a:lnTo>
                  <a:lnTo>
                    <a:pt x="276351" y="2263222"/>
                  </a:lnTo>
                  <a:lnTo>
                    <a:pt x="279644" y="2258941"/>
                  </a:lnTo>
                  <a:lnTo>
                    <a:pt x="279973" y="2253508"/>
                  </a:lnTo>
                  <a:lnTo>
                    <a:pt x="291225" y="2256197"/>
                  </a:lnTo>
                  <a:lnTo>
                    <a:pt x="298607" y="2253617"/>
                  </a:lnTo>
                  <a:lnTo>
                    <a:pt x="302531" y="2243409"/>
                  </a:lnTo>
                  <a:lnTo>
                    <a:pt x="311862" y="2229605"/>
                  </a:lnTo>
                  <a:lnTo>
                    <a:pt x="317570" y="2226394"/>
                  </a:lnTo>
                  <a:lnTo>
                    <a:pt x="319518" y="2217420"/>
                  </a:lnTo>
                  <a:lnTo>
                    <a:pt x="310187" y="2208666"/>
                  </a:lnTo>
                  <a:lnTo>
                    <a:pt x="308541" y="2201476"/>
                  </a:lnTo>
                  <a:lnTo>
                    <a:pt x="320452" y="2198265"/>
                  </a:lnTo>
                  <a:lnTo>
                    <a:pt x="328218" y="2199445"/>
                  </a:lnTo>
                  <a:lnTo>
                    <a:pt x="326900" y="2194807"/>
                  </a:lnTo>
                  <a:lnTo>
                    <a:pt x="327971" y="2192447"/>
                  </a:lnTo>
                  <a:lnTo>
                    <a:pt x="350035" y="2181525"/>
                  </a:lnTo>
                  <a:lnTo>
                    <a:pt x="348800" y="2175981"/>
                  </a:lnTo>
                  <a:lnTo>
                    <a:pt x="346193" y="2174197"/>
                  </a:lnTo>
                  <a:lnTo>
                    <a:pt x="331237" y="2179768"/>
                  </a:lnTo>
                  <a:lnTo>
                    <a:pt x="319957" y="2180509"/>
                  </a:lnTo>
                  <a:lnTo>
                    <a:pt x="321988" y="2174472"/>
                  </a:lnTo>
                  <a:lnTo>
                    <a:pt x="320726" y="2170191"/>
                  </a:lnTo>
                  <a:lnTo>
                    <a:pt x="322564" y="2162123"/>
                  </a:lnTo>
                  <a:lnTo>
                    <a:pt x="326873" y="2157869"/>
                  </a:lnTo>
                  <a:lnTo>
                    <a:pt x="334996" y="2155097"/>
                  </a:lnTo>
                  <a:lnTo>
                    <a:pt x="339579" y="2148346"/>
                  </a:lnTo>
                  <a:lnTo>
                    <a:pt x="359832" y="2149554"/>
                  </a:lnTo>
                  <a:lnTo>
                    <a:pt x="365485" y="2146919"/>
                  </a:lnTo>
                  <a:lnTo>
                    <a:pt x="371303" y="2131057"/>
                  </a:lnTo>
                  <a:lnTo>
                    <a:pt x="363427" y="2112176"/>
                  </a:lnTo>
                  <a:lnTo>
                    <a:pt x="366171" y="2106413"/>
                  </a:lnTo>
                  <a:lnTo>
                    <a:pt x="370672" y="2105974"/>
                  </a:lnTo>
                  <a:lnTo>
                    <a:pt x="371907" y="2103587"/>
                  </a:lnTo>
                  <a:lnTo>
                    <a:pt x="366555" y="2101419"/>
                  </a:lnTo>
                  <a:lnTo>
                    <a:pt x="364058" y="2097439"/>
                  </a:lnTo>
                  <a:lnTo>
                    <a:pt x="370370" y="2094009"/>
                  </a:lnTo>
                  <a:lnTo>
                    <a:pt x="377039" y="2086325"/>
                  </a:lnTo>
                  <a:lnTo>
                    <a:pt x="376984" y="2082154"/>
                  </a:lnTo>
                  <a:lnTo>
                    <a:pt x="373801" y="2076555"/>
                  </a:lnTo>
                  <a:lnTo>
                    <a:pt x="374514" y="2071808"/>
                  </a:lnTo>
                  <a:lnTo>
                    <a:pt x="365733" y="2071643"/>
                  </a:lnTo>
                  <a:lnTo>
                    <a:pt x="359173" y="2064755"/>
                  </a:lnTo>
                  <a:lnTo>
                    <a:pt x="351956" y="2063355"/>
                  </a:lnTo>
                  <a:lnTo>
                    <a:pt x="347455" y="2058992"/>
                  </a:lnTo>
                  <a:lnTo>
                    <a:pt x="341116" y="2060666"/>
                  </a:lnTo>
                  <a:lnTo>
                    <a:pt x="321192" y="2049140"/>
                  </a:lnTo>
                  <a:lnTo>
                    <a:pt x="317488" y="2054601"/>
                  </a:lnTo>
                  <a:lnTo>
                    <a:pt x="314277" y="2054903"/>
                  </a:lnTo>
                  <a:lnTo>
                    <a:pt x="305632" y="2047713"/>
                  </a:lnTo>
                  <a:lnTo>
                    <a:pt x="301406" y="2038464"/>
                  </a:lnTo>
                  <a:lnTo>
                    <a:pt x="296603" y="2033360"/>
                  </a:lnTo>
                  <a:lnTo>
                    <a:pt x="273359" y="2041291"/>
                  </a:lnTo>
                  <a:lnTo>
                    <a:pt x="263782" y="2038300"/>
                  </a:lnTo>
                  <a:lnTo>
                    <a:pt x="255823" y="2032098"/>
                  </a:lnTo>
                  <a:lnTo>
                    <a:pt x="243693" y="2035556"/>
                  </a:lnTo>
                  <a:lnTo>
                    <a:pt x="237437" y="2026307"/>
                  </a:lnTo>
                  <a:lnTo>
                    <a:pt x="238452" y="2017937"/>
                  </a:lnTo>
                  <a:lnTo>
                    <a:pt x="235378" y="2005039"/>
                  </a:lnTo>
                  <a:lnTo>
                    <a:pt x="230603" y="2002404"/>
                  </a:lnTo>
                  <a:lnTo>
                    <a:pt x="228298" y="1996888"/>
                  </a:lnTo>
                  <a:lnTo>
                    <a:pt x="218473" y="1997849"/>
                  </a:lnTo>
                  <a:lnTo>
                    <a:pt x="204203" y="1993623"/>
                  </a:lnTo>
                  <a:lnTo>
                    <a:pt x="203133" y="1981438"/>
                  </a:lnTo>
                  <a:lnTo>
                    <a:pt x="199483" y="1974906"/>
                  </a:lnTo>
                  <a:lnTo>
                    <a:pt x="206261" y="1971998"/>
                  </a:lnTo>
                  <a:lnTo>
                    <a:pt x="206947" y="1968183"/>
                  </a:lnTo>
                  <a:lnTo>
                    <a:pt x="199318" y="1958852"/>
                  </a:lnTo>
                  <a:lnTo>
                    <a:pt x="197205" y="1950372"/>
                  </a:lnTo>
                  <a:lnTo>
                    <a:pt x="189988" y="1942496"/>
                  </a:lnTo>
                  <a:lnTo>
                    <a:pt x="172122" y="1941563"/>
                  </a:lnTo>
                  <a:lnTo>
                    <a:pt x="159663" y="1946585"/>
                  </a:lnTo>
                  <a:lnTo>
                    <a:pt x="149097" y="1943676"/>
                  </a:lnTo>
                  <a:lnTo>
                    <a:pt x="145393" y="1952403"/>
                  </a:lnTo>
                  <a:lnTo>
                    <a:pt x="141798" y="1955587"/>
                  </a:lnTo>
                  <a:lnTo>
                    <a:pt x="130409" y="1953638"/>
                  </a:lnTo>
                  <a:lnTo>
                    <a:pt x="126347" y="1944198"/>
                  </a:lnTo>
                  <a:lnTo>
                    <a:pt x="123109" y="1927705"/>
                  </a:lnTo>
                  <a:lnTo>
                    <a:pt x="123219" y="1920130"/>
                  </a:lnTo>
                  <a:lnTo>
                    <a:pt x="116468" y="1910223"/>
                  </a:lnTo>
                  <a:lnTo>
                    <a:pt x="118691" y="1903143"/>
                  </a:lnTo>
                  <a:lnTo>
                    <a:pt x="125908" y="1900152"/>
                  </a:lnTo>
                  <a:lnTo>
                    <a:pt x="133290" y="1904954"/>
                  </a:lnTo>
                  <a:lnTo>
                    <a:pt x="139877" y="1905668"/>
                  </a:lnTo>
                  <a:lnTo>
                    <a:pt x="149537" y="1900289"/>
                  </a:lnTo>
                  <a:lnTo>
                    <a:pt x="157440" y="1889861"/>
                  </a:lnTo>
                  <a:lnTo>
                    <a:pt x="151320" y="1883137"/>
                  </a:lnTo>
                  <a:lnTo>
                    <a:pt x="149399" y="1875371"/>
                  </a:lnTo>
                  <a:lnTo>
                    <a:pt x="140700" y="1870815"/>
                  </a:lnTo>
                  <a:lnTo>
                    <a:pt x="131232" y="1870321"/>
                  </a:lnTo>
                  <a:lnTo>
                    <a:pt x="131149" y="1858301"/>
                  </a:lnTo>
                  <a:lnTo>
                    <a:pt x="118087" y="1849108"/>
                  </a:lnTo>
                  <a:lnTo>
                    <a:pt x="111062" y="1835798"/>
                  </a:lnTo>
                  <a:lnTo>
                    <a:pt x="109442" y="1828361"/>
                  </a:lnTo>
                  <a:lnTo>
                    <a:pt x="102417" y="1821034"/>
                  </a:lnTo>
                  <a:lnTo>
                    <a:pt x="102884" y="1815573"/>
                  </a:lnTo>
                  <a:lnTo>
                    <a:pt x="107083" y="1807587"/>
                  </a:lnTo>
                  <a:lnTo>
                    <a:pt x="103130" y="1796088"/>
                  </a:lnTo>
                  <a:lnTo>
                    <a:pt x="105051" y="1787745"/>
                  </a:lnTo>
                  <a:lnTo>
                    <a:pt x="104311" y="1780363"/>
                  </a:lnTo>
                  <a:lnTo>
                    <a:pt x="99261" y="1778058"/>
                  </a:lnTo>
                  <a:lnTo>
                    <a:pt x="91989" y="1769468"/>
                  </a:lnTo>
                  <a:lnTo>
                    <a:pt x="84469" y="1766422"/>
                  </a:lnTo>
                  <a:lnTo>
                    <a:pt x="75331" y="1766916"/>
                  </a:lnTo>
                  <a:lnTo>
                    <a:pt x="63064" y="1773503"/>
                  </a:lnTo>
                  <a:lnTo>
                    <a:pt x="60265" y="1769798"/>
                  </a:lnTo>
                  <a:lnTo>
                    <a:pt x="60758" y="1763239"/>
                  </a:lnTo>
                  <a:lnTo>
                    <a:pt x="59002" y="1760467"/>
                  </a:lnTo>
                  <a:lnTo>
                    <a:pt x="50385" y="1757503"/>
                  </a:lnTo>
                  <a:lnTo>
                    <a:pt x="42262" y="1760165"/>
                  </a:lnTo>
                  <a:lnTo>
                    <a:pt x="37185" y="1754265"/>
                  </a:lnTo>
                  <a:lnTo>
                    <a:pt x="28184" y="1754539"/>
                  </a:lnTo>
                  <a:lnTo>
                    <a:pt x="23628" y="1749600"/>
                  </a:lnTo>
                  <a:lnTo>
                    <a:pt x="25604" y="1743672"/>
                  </a:lnTo>
                  <a:lnTo>
                    <a:pt x="22421" y="1728551"/>
                  </a:lnTo>
                  <a:lnTo>
                    <a:pt x="15340" y="1713238"/>
                  </a:lnTo>
                  <a:lnTo>
                    <a:pt x="9550" y="1713073"/>
                  </a:lnTo>
                  <a:lnTo>
                    <a:pt x="14764" y="1690844"/>
                  </a:lnTo>
                  <a:lnTo>
                    <a:pt x="9989" y="1685164"/>
                  </a:lnTo>
                  <a:lnTo>
                    <a:pt x="5763" y="1682062"/>
                  </a:lnTo>
                  <a:lnTo>
                    <a:pt x="5186" y="1676738"/>
                  </a:lnTo>
                  <a:lnTo>
                    <a:pt x="0" y="1677095"/>
                  </a:lnTo>
                  <a:lnTo>
                    <a:pt x="1536" y="1669164"/>
                  </a:lnTo>
                  <a:lnTo>
                    <a:pt x="5680" y="1661480"/>
                  </a:lnTo>
                  <a:lnTo>
                    <a:pt x="11416" y="1657034"/>
                  </a:lnTo>
                  <a:lnTo>
                    <a:pt x="5269" y="1640157"/>
                  </a:lnTo>
                  <a:lnTo>
                    <a:pt x="5022" y="1627314"/>
                  </a:lnTo>
                  <a:lnTo>
                    <a:pt x="164" y="1606347"/>
                  </a:lnTo>
                  <a:lnTo>
                    <a:pt x="10483" y="1596138"/>
                  </a:lnTo>
                  <a:lnTo>
                    <a:pt x="16932" y="1580002"/>
                  </a:lnTo>
                  <a:lnTo>
                    <a:pt x="23903" y="1575282"/>
                  </a:lnTo>
                  <a:lnTo>
                    <a:pt x="24424" y="1571522"/>
                  </a:lnTo>
                  <a:lnTo>
                    <a:pt x="20308" y="1567214"/>
                  </a:lnTo>
                  <a:lnTo>
                    <a:pt x="22531" y="1551214"/>
                  </a:lnTo>
                  <a:lnTo>
                    <a:pt x="29364" y="1554206"/>
                  </a:lnTo>
                  <a:lnTo>
                    <a:pt x="35126" y="1547372"/>
                  </a:lnTo>
                  <a:lnTo>
                    <a:pt x="46653" y="1546741"/>
                  </a:lnTo>
                  <a:lnTo>
                    <a:pt x="55242" y="1537712"/>
                  </a:lnTo>
                  <a:lnTo>
                    <a:pt x="79612" y="1544052"/>
                  </a:lnTo>
                  <a:lnTo>
                    <a:pt x="83179" y="1540237"/>
                  </a:lnTo>
                  <a:lnTo>
                    <a:pt x="72751" y="1527311"/>
                  </a:lnTo>
                  <a:lnTo>
                    <a:pt x="52416" y="1525885"/>
                  </a:lnTo>
                  <a:lnTo>
                    <a:pt x="37157" y="1517075"/>
                  </a:lnTo>
                  <a:lnTo>
                    <a:pt x="35456" y="1509583"/>
                  </a:lnTo>
                  <a:lnTo>
                    <a:pt x="37350" y="1496246"/>
                  </a:lnTo>
                  <a:lnTo>
                    <a:pt x="17701" y="1506427"/>
                  </a:lnTo>
                  <a:lnTo>
                    <a:pt x="13255" y="1503766"/>
                  </a:lnTo>
                  <a:lnTo>
                    <a:pt x="14408" y="1502668"/>
                  </a:lnTo>
                  <a:lnTo>
                    <a:pt x="18771" y="1496548"/>
                  </a:lnTo>
                  <a:lnTo>
                    <a:pt x="33673" y="1480274"/>
                  </a:lnTo>
                  <a:lnTo>
                    <a:pt x="38283" y="1478710"/>
                  </a:lnTo>
                  <a:lnTo>
                    <a:pt x="41110" y="1472645"/>
                  </a:lnTo>
                  <a:lnTo>
                    <a:pt x="43634" y="1468885"/>
                  </a:lnTo>
                  <a:lnTo>
                    <a:pt x="53376" y="1462025"/>
                  </a:lnTo>
                  <a:lnTo>
                    <a:pt x="82082" y="1424181"/>
                  </a:lnTo>
                  <a:lnTo>
                    <a:pt x="112544" y="1384910"/>
                  </a:lnTo>
                  <a:lnTo>
                    <a:pt x="123246" y="1357302"/>
                  </a:lnTo>
                  <a:lnTo>
                    <a:pt x="112790" y="1336171"/>
                  </a:lnTo>
                  <a:lnTo>
                    <a:pt x="99343" y="1325661"/>
                  </a:lnTo>
                  <a:lnTo>
                    <a:pt x="91549" y="1319568"/>
                  </a:lnTo>
                  <a:lnTo>
                    <a:pt x="89052" y="1316467"/>
                  </a:lnTo>
                  <a:lnTo>
                    <a:pt x="77032" y="1301538"/>
                  </a:lnTo>
                  <a:lnTo>
                    <a:pt x="86912" y="1293333"/>
                  </a:lnTo>
                  <a:lnTo>
                    <a:pt x="90808" y="1285319"/>
                  </a:lnTo>
                  <a:lnTo>
                    <a:pt x="92675" y="1274123"/>
                  </a:lnTo>
                  <a:lnTo>
                    <a:pt x="80326" y="1256120"/>
                  </a:lnTo>
                  <a:lnTo>
                    <a:pt x="78596" y="1235785"/>
                  </a:lnTo>
                  <a:lnTo>
                    <a:pt x="67949" y="1224204"/>
                  </a:lnTo>
                  <a:lnTo>
                    <a:pt x="67894" y="1214462"/>
                  </a:lnTo>
                  <a:lnTo>
                    <a:pt x="72587" y="1205652"/>
                  </a:lnTo>
                  <a:lnTo>
                    <a:pt x="68058" y="1197913"/>
                  </a:lnTo>
                  <a:lnTo>
                    <a:pt x="70638" y="1182051"/>
                  </a:lnTo>
                  <a:lnTo>
                    <a:pt x="73108" y="1177743"/>
                  </a:lnTo>
                  <a:lnTo>
                    <a:pt x="70693" y="1171843"/>
                  </a:lnTo>
                  <a:lnTo>
                    <a:pt x="81368" y="1166491"/>
                  </a:lnTo>
                  <a:lnTo>
                    <a:pt x="75605" y="1137676"/>
                  </a:lnTo>
                  <a:lnTo>
                    <a:pt x="65286" y="1114459"/>
                  </a:lnTo>
                  <a:lnTo>
                    <a:pt x="52142" y="1086330"/>
                  </a:lnTo>
                  <a:lnTo>
                    <a:pt x="51044" y="1076149"/>
                  </a:lnTo>
                  <a:lnTo>
                    <a:pt x="73328" y="1036165"/>
                  </a:lnTo>
                  <a:lnTo>
                    <a:pt x="76566" y="1022416"/>
                  </a:lnTo>
                  <a:lnTo>
                    <a:pt x="57575" y="990499"/>
                  </a:lnTo>
                  <a:lnTo>
                    <a:pt x="36718" y="972415"/>
                  </a:lnTo>
                  <a:lnTo>
                    <a:pt x="33398" y="953040"/>
                  </a:lnTo>
                  <a:lnTo>
                    <a:pt x="40506" y="928725"/>
                  </a:lnTo>
                  <a:lnTo>
                    <a:pt x="37404" y="920849"/>
                  </a:lnTo>
                  <a:lnTo>
                    <a:pt x="46378" y="910887"/>
                  </a:lnTo>
                  <a:lnTo>
                    <a:pt x="53019" y="909186"/>
                  </a:lnTo>
                  <a:lnTo>
                    <a:pt x="59414" y="889509"/>
                  </a:lnTo>
                  <a:lnTo>
                    <a:pt x="77993" y="879026"/>
                  </a:lnTo>
                  <a:lnTo>
                    <a:pt x="82548" y="870189"/>
                  </a:lnTo>
                  <a:lnTo>
                    <a:pt x="82905" y="860722"/>
                  </a:lnTo>
                  <a:lnTo>
                    <a:pt x="93443" y="869586"/>
                  </a:lnTo>
                  <a:lnTo>
                    <a:pt x="102499" y="869723"/>
                  </a:lnTo>
                  <a:lnTo>
                    <a:pt x="104942" y="864454"/>
                  </a:lnTo>
                  <a:lnTo>
                    <a:pt x="103323" y="851693"/>
                  </a:lnTo>
                  <a:lnTo>
                    <a:pt x="124591" y="856687"/>
                  </a:lnTo>
                  <a:lnTo>
                    <a:pt x="139739" y="839398"/>
                  </a:lnTo>
                  <a:lnTo>
                    <a:pt x="164218" y="853641"/>
                  </a:lnTo>
                  <a:lnTo>
                    <a:pt x="166085" y="858444"/>
                  </a:lnTo>
                  <a:lnTo>
                    <a:pt x="161859" y="865222"/>
                  </a:lnTo>
                  <a:lnTo>
                    <a:pt x="144734" y="860584"/>
                  </a:lnTo>
                  <a:lnTo>
                    <a:pt x="143390" y="864783"/>
                  </a:lnTo>
                  <a:lnTo>
                    <a:pt x="153186" y="875541"/>
                  </a:lnTo>
                  <a:lnTo>
                    <a:pt x="162215" y="879053"/>
                  </a:lnTo>
                  <a:lnTo>
                    <a:pt x="166496" y="886408"/>
                  </a:lnTo>
                  <a:lnTo>
                    <a:pt x="176513" y="884816"/>
                  </a:lnTo>
                  <a:lnTo>
                    <a:pt x="181508" y="896727"/>
                  </a:lnTo>
                  <a:lnTo>
                    <a:pt x="199565" y="886079"/>
                  </a:lnTo>
                  <a:lnTo>
                    <a:pt x="210130" y="893406"/>
                  </a:lnTo>
                  <a:lnTo>
                    <a:pt x="246657" y="900157"/>
                  </a:lnTo>
                  <a:lnTo>
                    <a:pt x="264001" y="909076"/>
                  </a:lnTo>
                  <a:lnTo>
                    <a:pt x="302805" y="941157"/>
                  </a:lnTo>
                  <a:lnTo>
                    <a:pt x="326352" y="966871"/>
                  </a:lnTo>
                  <a:lnTo>
                    <a:pt x="359283" y="990143"/>
                  </a:lnTo>
                  <a:lnTo>
                    <a:pt x="369410" y="991405"/>
                  </a:lnTo>
                  <a:lnTo>
                    <a:pt x="384448" y="1011823"/>
                  </a:lnTo>
                  <a:lnTo>
                    <a:pt x="397155" y="1018958"/>
                  </a:lnTo>
                  <a:lnTo>
                    <a:pt x="400640" y="1024776"/>
                  </a:lnTo>
                  <a:lnTo>
                    <a:pt x="404784" y="1048679"/>
                  </a:lnTo>
                  <a:lnTo>
                    <a:pt x="410025" y="1063498"/>
                  </a:lnTo>
                  <a:lnTo>
                    <a:pt x="409559" y="1074667"/>
                  </a:lnTo>
                  <a:lnTo>
                    <a:pt x="405168" y="1087099"/>
                  </a:lnTo>
                  <a:lnTo>
                    <a:pt x="384174" y="1116024"/>
                  </a:lnTo>
                  <a:lnTo>
                    <a:pt x="372511" y="1126123"/>
                  </a:lnTo>
                  <a:lnTo>
                    <a:pt x="346523" y="1137676"/>
                  </a:lnTo>
                  <a:lnTo>
                    <a:pt x="325062" y="1141408"/>
                  </a:lnTo>
                  <a:lnTo>
                    <a:pt x="243227" y="1118548"/>
                  </a:lnTo>
                  <a:lnTo>
                    <a:pt x="224182" y="1105705"/>
                  </a:lnTo>
                  <a:lnTo>
                    <a:pt x="210844" y="1104360"/>
                  </a:lnTo>
                  <a:lnTo>
                    <a:pt x="188286" y="1090227"/>
                  </a:lnTo>
                  <a:lnTo>
                    <a:pt x="179559" y="1090584"/>
                  </a:lnTo>
                  <a:lnTo>
                    <a:pt x="158730" y="1068849"/>
                  </a:lnTo>
                  <a:lnTo>
                    <a:pt x="151375" y="1068245"/>
                  </a:lnTo>
                  <a:lnTo>
                    <a:pt x="155244" y="1083010"/>
                  </a:lnTo>
                  <a:lnTo>
                    <a:pt x="169103" y="1097637"/>
                  </a:lnTo>
                  <a:lnTo>
                    <a:pt x="170833" y="1108038"/>
                  </a:lnTo>
                  <a:lnTo>
                    <a:pt x="180190" y="1114597"/>
                  </a:lnTo>
                  <a:lnTo>
                    <a:pt x="187380" y="1126864"/>
                  </a:lnTo>
                  <a:lnTo>
                    <a:pt x="206453" y="1138746"/>
                  </a:lnTo>
                  <a:lnTo>
                    <a:pt x="220806" y="1160124"/>
                  </a:lnTo>
                  <a:lnTo>
                    <a:pt x="221217" y="1164515"/>
                  </a:lnTo>
                  <a:lnTo>
                    <a:pt x="217622" y="1168824"/>
                  </a:lnTo>
                  <a:lnTo>
                    <a:pt x="210954" y="1192864"/>
                  </a:lnTo>
                  <a:lnTo>
                    <a:pt x="221245" y="1228924"/>
                  </a:lnTo>
                  <a:lnTo>
                    <a:pt x="222397" y="1250275"/>
                  </a:lnTo>
                  <a:lnTo>
                    <a:pt x="236284" y="1263667"/>
                  </a:lnTo>
                  <a:lnTo>
                    <a:pt x="250911" y="1262597"/>
                  </a:lnTo>
                  <a:lnTo>
                    <a:pt x="256701" y="1272119"/>
                  </a:lnTo>
                  <a:lnTo>
                    <a:pt x="257882" y="1274068"/>
                  </a:lnTo>
                  <a:lnTo>
                    <a:pt x="264825" y="1285429"/>
                  </a:lnTo>
                  <a:lnTo>
                    <a:pt x="292844" y="1297504"/>
                  </a:lnTo>
                  <a:lnTo>
                    <a:pt x="312301" y="1287460"/>
                  </a:lnTo>
                  <a:lnTo>
                    <a:pt x="311697" y="1274068"/>
                  </a:lnTo>
                  <a:lnTo>
                    <a:pt x="310792" y="1264216"/>
                  </a:lnTo>
                  <a:lnTo>
                    <a:pt x="305715" y="1257767"/>
                  </a:lnTo>
                  <a:lnTo>
                    <a:pt x="287328" y="1255818"/>
                  </a:lnTo>
                  <a:lnTo>
                    <a:pt x="272755" y="1235977"/>
                  </a:lnTo>
                  <a:lnTo>
                    <a:pt x="271109" y="1224753"/>
                  </a:lnTo>
                  <a:lnTo>
                    <a:pt x="283815" y="1209659"/>
                  </a:lnTo>
                  <a:lnTo>
                    <a:pt x="302641" y="1215916"/>
                  </a:lnTo>
                  <a:lnTo>
                    <a:pt x="315320" y="1228156"/>
                  </a:lnTo>
                  <a:lnTo>
                    <a:pt x="318393" y="1236251"/>
                  </a:lnTo>
                  <a:lnTo>
                    <a:pt x="331950" y="1233836"/>
                  </a:lnTo>
                  <a:lnTo>
                    <a:pt x="360326" y="1246323"/>
                  </a:lnTo>
                  <a:lnTo>
                    <a:pt x="370206" y="1237239"/>
                  </a:lnTo>
                  <a:lnTo>
                    <a:pt x="376298" y="1243496"/>
                  </a:lnTo>
                  <a:lnTo>
                    <a:pt x="382830" y="1229802"/>
                  </a:lnTo>
                  <a:lnTo>
                    <a:pt x="377945" y="1214324"/>
                  </a:lnTo>
                  <a:lnTo>
                    <a:pt x="366364" y="1192974"/>
                  </a:lnTo>
                  <a:lnTo>
                    <a:pt x="365869" y="1182024"/>
                  </a:lnTo>
                  <a:lnTo>
                    <a:pt x="370508" y="1172364"/>
                  </a:lnTo>
                  <a:lnTo>
                    <a:pt x="394301" y="1148598"/>
                  </a:lnTo>
                  <a:lnTo>
                    <a:pt x="416227" y="1135892"/>
                  </a:lnTo>
                  <a:lnTo>
                    <a:pt x="436343" y="1112895"/>
                  </a:lnTo>
                  <a:lnTo>
                    <a:pt x="467903" y="1118466"/>
                  </a:lnTo>
                  <a:lnTo>
                    <a:pt x="491284" y="1141189"/>
                  </a:lnTo>
                  <a:lnTo>
                    <a:pt x="496251" y="1116957"/>
                  </a:lnTo>
                  <a:lnTo>
                    <a:pt x="502810" y="1095963"/>
                  </a:lnTo>
                  <a:lnTo>
                    <a:pt x="501328" y="1074804"/>
                  </a:lnTo>
                  <a:lnTo>
                    <a:pt x="496251" y="1066681"/>
                  </a:lnTo>
                  <a:lnTo>
                    <a:pt x="495126" y="1064870"/>
                  </a:lnTo>
                  <a:lnTo>
                    <a:pt x="486701" y="1059134"/>
                  </a:lnTo>
                  <a:lnTo>
                    <a:pt x="484725" y="1052877"/>
                  </a:lnTo>
                  <a:lnTo>
                    <a:pt x="486646" y="1037701"/>
                  </a:lnTo>
                  <a:lnTo>
                    <a:pt x="494358" y="1010368"/>
                  </a:lnTo>
                  <a:lnTo>
                    <a:pt x="495318" y="980044"/>
                  </a:lnTo>
                  <a:lnTo>
                    <a:pt x="477947" y="952354"/>
                  </a:lnTo>
                  <a:lnTo>
                    <a:pt x="477151" y="946865"/>
                  </a:lnTo>
                  <a:lnTo>
                    <a:pt x="496251" y="950570"/>
                  </a:lnTo>
                  <a:lnTo>
                    <a:pt x="537333" y="958528"/>
                  </a:lnTo>
                  <a:lnTo>
                    <a:pt x="539007" y="958858"/>
                  </a:lnTo>
                  <a:lnTo>
                    <a:pt x="560605" y="984133"/>
                  </a:lnTo>
                  <a:lnTo>
                    <a:pt x="565874" y="998568"/>
                  </a:lnTo>
                  <a:lnTo>
                    <a:pt x="565051" y="1007651"/>
                  </a:lnTo>
                  <a:lnTo>
                    <a:pt x="537360" y="1016104"/>
                  </a:lnTo>
                  <a:lnTo>
                    <a:pt x="534452" y="1016982"/>
                  </a:lnTo>
                  <a:lnTo>
                    <a:pt x="519358" y="1043739"/>
                  </a:lnTo>
                  <a:lnTo>
                    <a:pt x="521883" y="1050380"/>
                  </a:lnTo>
                  <a:lnTo>
                    <a:pt x="534836" y="1061687"/>
                  </a:lnTo>
                  <a:lnTo>
                    <a:pt x="537333" y="1066516"/>
                  </a:lnTo>
                  <a:lnTo>
                    <a:pt x="543508" y="1078427"/>
                  </a:lnTo>
                  <a:lnTo>
                    <a:pt x="550588" y="1083504"/>
                  </a:lnTo>
                  <a:lnTo>
                    <a:pt x="576193" y="1080430"/>
                  </a:lnTo>
                  <a:lnTo>
                    <a:pt x="593976" y="1076835"/>
                  </a:lnTo>
                  <a:lnTo>
                    <a:pt x="598092" y="1068822"/>
                  </a:lnTo>
                  <a:lnTo>
                    <a:pt x="600699" y="1051313"/>
                  </a:lnTo>
                  <a:lnTo>
                    <a:pt x="607752" y="1027191"/>
                  </a:lnTo>
                  <a:lnTo>
                    <a:pt x="626550" y="1020714"/>
                  </a:lnTo>
                  <a:lnTo>
                    <a:pt x="634701" y="1006965"/>
                  </a:lnTo>
                  <a:lnTo>
                    <a:pt x="663489" y="993875"/>
                  </a:lnTo>
                  <a:lnTo>
                    <a:pt x="700756" y="957705"/>
                  </a:lnTo>
                  <a:lnTo>
                    <a:pt x="708989" y="960230"/>
                  </a:lnTo>
                  <a:lnTo>
                    <a:pt x="727513" y="954906"/>
                  </a:lnTo>
                  <a:lnTo>
                    <a:pt x="733469" y="965554"/>
                  </a:lnTo>
                  <a:lnTo>
                    <a:pt x="737530" y="966459"/>
                  </a:lnTo>
                  <a:lnTo>
                    <a:pt x="742881" y="958803"/>
                  </a:lnTo>
                  <a:lnTo>
                    <a:pt x="741866" y="943462"/>
                  </a:lnTo>
                  <a:lnTo>
                    <a:pt x="770434" y="923539"/>
                  </a:lnTo>
                  <a:lnTo>
                    <a:pt x="779545" y="929549"/>
                  </a:lnTo>
                  <a:lnTo>
                    <a:pt x="778365" y="946481"/>
                  </a:lnTo>
                  <a:lnTo>
                    <a:pt x="781109" y="964099"/>
                  </a:lnTo>
                  <a:lnTo>
                    <a:pt x="767443" y="968435"/>
                  </a:lnTo>
                  <a:lnTo>
                    <a:pt x="765604" y="972003"/>
                  </a:lnTo>
                  <a:lnTo>
                    <a:pt x="767443" y="975900"/>
                  </a:lnTo>
                  <a:lnTo>
                    <a:pt x="781466" y="978644"/>
                  </a:lnTo>
                  <a:lnTo>
                    <a:pt x="793513" y="972360"/>
                  </a:lnTo>
                  <a:lnTo>
                    <a:pt x="806466" y="979275"/>
                  </a:lnTo>
                  <a:lnTo>
                    <a:pt x="814809" y="962810"/>
                  </a:lnTo>
                  <a:lnTo>
                    <a:pt x="827515" y="951338"/>
                  </a:lnTo>
                  <a:lnTo>
                    <a:pt x="844969" y="945218"/>
                  </a:lnTo>
                  <a:lnTo>
                    <a:pt x="878697" y="951338"/>
                  </a:lnTo>
                  <a:lnTo>
                    <a:pt x="893955" y="934378"/>
                  </a:lnTo>
                  <a:lnTo>
                    <a:pt x="928725" y="919065"/>
                  </a:lnTo>
                  <a:lnTo>
                    <a:pt x="941513" y="934735"/>
                  </a:lnTo>
                  <a:lnTo>
                    <a:pt x="936244" y="948951"/>
                  </a:lnTo>
                  <a:lnTo>
                    <a:pt x="936821" y="960202"/>
                  </a:lnTo>
                  <a:lnTo>
                    <a:pt x="951201" y="965718"/>
                  </a:lnTo>
                  <a:lnTo>
                    <a:pt x="955482" y="960449"/>
                  </a:lnTo>
                  <a:lnTo>
                    <a:pt x="958336" y="943215"/>
                  </a:lnTo>
                  <a:lnTo>
                    <a:pt x="973979" y="938275"/>
                  </a:lnTo>
                  <a:lnTo>
                    <a:pt x="986603" y="922551"/>
                  </a:lnTo>
                  <a:lnTo>
                    <a:pt x="985752" y="908884"/>
                  </a:lnTo>
                  <a:lnTo>
                    <a:pt x="978424" y="898236"/>
                  </a:lnTo>
                  <a:lnTo>
                    <a:pt x="968545" y="868817"/>
                  </a:lnTo>
                  <a:lnTo>
                    <a:pt x="970685" y="862615"/>
                  </a:lnTo>
                  <a:lnTo>
                    <a:pt x="988084" y="845299"/>
                  </a:lnTo>
                  <a:lnTo>
                    <a:pt x="1053728" y="859404"/>
                  </a:lnTo>
                  <a:lnTo>
                    <a:pt x="1085370" y="873867"/>
                  </a:lnTo>
                  <a:lnTo>
                    <a:pt x="1123378" y="903889"/>
                  </a:lnTo>
                  <a:lnTo>
                    <a:pt x="1159603" y="925130"/>
                  </a:lnTo>
                  <a:lnTo>
                    <a:pt x="1166107" y="928917"/>
                  </a:lnTo>
                  <a:lnTo>
                    <a:pt x="1175382" y="942529"/>
                  </a:lnTo>
                  <a:lnTo>
                    <a:pt x="1198380" y="963825"/>
                  </a:lnTo>
                  <a:lnTo>
                    <a:pt x="1201920" y="972030"/>
                  </a:lnTo>
                  <a:lnTo>
                    <a:pt x="1203868" y="976586"/>
                  </a:lnTo>
                  <a:lnTo>
                    <a:pt x="1206365" y="976778"/>
                  </a:lnTo>
                  <a:lnTo>
                    <a:pt x="1213171" y="968051"/>
                  </a:lnTo>
                  <a:lnTo>
                    <a:pt x="1225192" y="937013"/>
                  </a:lnTo>
                  <a:lnTo>
                    <a:pt x="1226097" y="926255"/>
                  </a:lnTo>
                  <a:lnTo>
                    <a:pt x="1208836" y="913906"/>
                  </a:lnTo>
                  <a:lnTo>
                    <a:pt x="1201893" y="898785"/>
                  </a:lnTo>
                  <a:lnTo>
                    <a:pt x="1199121" y="892802"/>
                  </a:lnTo>
                  <a:lnTo>
                    <a:pt x="1195416" y="873784"/>
                  </a:lnTo>
                  <a:lnTo>
                    <a:pt x="1178539" y="866018"/>
                  </a:lnTo>
                  <a:lnTo>
                    <a:pt x="1171843" y="883142"/>
                  </a:lnTo>
                  <a:lnTo>
                    <a:pt x="1167479" y="882621"/>
                  </a:lnTo>
                  <a:lnTo>
                    <a:pt x="1168000" y="875157"/>
                  </a:lnTo>
                  <a:lnTo>
                    <a:pt x="1173352" y="863823"/>
                  </a:lnTo>
                  <a:lnTo>
                    <a:pt x="1169098" y="859926"/>
                  </a:lnTo>
                  <a:lnTo>
                    <a:pt x="1162786" y="862505"/>
                  </a:lnTo>
                  <a:lnTo>
                    <a:pt x="1161661" y="848592"/>
                  </a:lnTo>
                  <a:lnTo>
                    <a:pt x="1164707" y="836023"/>
                  </a:lnTo>
                  <a:lnTo>
                    <a:pt x="1176068" y="827763"/>
                  </a:lnTo>
                  <a:lnTo>
                    <a:pt x="1172309" y="808333"/>
                  </a:lnTo>
                  <a:lnTo>
                    <a:pt x="1175218" y="770105"/>
                  </a:lnTo>
                  <a:lnTo>
                    <a:pt x="1171184" y="760088"/>
                  </a:lnTo>
                  <a:lnTo>
                    <a:pt x="1159548" y="759155"/>
                  </a:lnTo>
                  <a:lnTo>
                    <a:pt x="1158725" y="739863"/>
                  </a:lnTo>
                  <a:lnTo>
                    <a:pt x="1159575" y="737887"/>
                  </a:lnTo>
                  <a:lnTo>
                    <a:pt x="1169345" y="716042"/>
                  </a:lnTo>
                  <a:lnTo>
                    <a:pt x="1202853" y="678857"/>
                  </a:lnTo>
                  <a:lnTo>
                    <a:pt x="1211580" y="656244"/>
                  </a:lnTo>
                  <a:lnTo>
                    <a:pt x="1224176" y="589475"/>
                  </a:lnTo>
                  <a:lnTo>
                    <a:pt x="1235894" y="564008"/>
                  </a:lnTo>
                  <a:lnTo>
                    <a:pt x="1300275" y="565929"/>
                  </a:lnTo>
                  <a:lnTo>
                    <a:pt x="1332192" y="592219"/>
                  </a:lnTo>
                  <a:lnTo>
                    <a:pt x="1332795" y="634509"/>
                  </a:lnTo>
                  <a:lnTo>
                    <a:pt x="1312899" y="702019"/>
                  </a:lnTo>
                  <a:lnTo>
                    <a:pt x="1317867" y="717634"/>
                  </a:lnTo>
                  <a:lnTo>
                    <a:pt x="1329200" y="734786"/>
                  </a:lnTo>
                  <a:lnTo>
                    <a:pt x="1335128" y="759731"/>
                  </a:lnTo>
                  <a:lnTo>
                    <a:pt x="1334250" y="788876"/>
                  </a:lnTo>
                  <a:lnTo>
                    <a:pt x="1328871" y="815084"/>
                  </a:lnTo>
                  <a:lnTo>
                    <a:pt x="1331259" y="852214"/>
                  </a:lnTo>
                  <a:lnTo>
                    <a:pt x="1330655" y="911985"/>
                  </a:lnTo>
                  <a:lnTo>
                    <a:pt x="1334991" y="925295"/>
                  </a:lnTo>
                  <a:lnTo>
                    <a:pt x="1351731" y="945520"/>
                  </a:lnTo>
                  <a:lnTo>
                    <a:pt x="1355079" y="956306"/>
                  </a:lnTo>
                  <a:lnTo>
                    <a:pt x="1347203" y="981718"/>
                  </a:lnTo>
                  <a:lnTo>
                    <a:pt x="1345365" y="1009819"/>
                  </a:lnTo>
                  <a:lnTo>
                    <a:pt x="1329722" y="1033695"/>
                  </a:lnTo>
                  <a:lnTo>
                    <a:pt x="1312625" y="1068794"/>
                  </a:lnTo>
                  <a:lnTo>
                    <a:pt x="1302718" y="1080101"/>
                  </a:lnTo>
                  <a:lnTo>
                    <a:pt x="1296022" y="1098680"/>
                  </a:lnTo>
                  <a:lnTo>
                    <a:pt x="1272010" y="1106281"/>
                  </a:lnTo>
                  <a:lnTo>
                    <a:pt x="1254281" y="1090200"/>
                  </a:lnTo>
                  <a:lnTo>
                    <a:pt x="1253266" y="1092889"/>
                  </a:lnTo>
                  <a:lnTo>
                    <a:pt x="1254803" y="1102192"/>
                  </a:lnTo>
                  <a:lnTo>
                    <a:pt x="1253073" y="1106172"/>
                  </a:lnTo>
                  <a:lnTo>
                    <a:pt x="1238858" y="1097747"/>
                  </a:lnTo>
                  <a:lnTo>
                    <a:pt x="1234962" y="1099969"/>
                  </a:lnTo>
                  <a:lnTo>
                    <a:pt x="1241657" y="1110151"/>
                  </a:lnTo>
                  <a:lnTo>
                    <a:pt x="1268112" y="1119811"/>
                  </a:lnTo>
                  <a:lnTo>
                    <a:pt x="1318058" y="1123323"/>
                  </a:lnTo>
                  <a:lnTo>
                    <a:pt x="1330079" y="1104031"/>
                  </a:lnTo>
                  <a:lnTo>
                    <a:pt x="1363339" y="1074969"/>
                  </a:lnTo>
                  <a:lnTo>
                    <a:pt x="1375140" y="1044068"/>
                  </a:lnTo>
                  <a:lnTo>
                    <a:pt x="1391441" y="1016900"/>
                  </a:lnTo>
                  <a:lnTo>
                    <a:pt x="1393691" y="1005703"/>
                  </a:lnTo>
                  <a:lnTo>
                    <a:pt x="1393472" y="994808"/>
                  </a:lnTo>
                  <a:lnTo>
                    <a:pt x="1385294" y="962727"/>
                  </a:lnTo>
                  <a:lnTo>
                    <a:pt x="1388175" y="944862"/>
                  </a:lnTo>
                  <a:lnTo>
                    <a:pt x="1391798" y="940690"/>
                  </a:lnTo>
                  <a:lnTo>
                    <a:pt x="1429422" y="919532"/>
                  </a:lnTo>
                  <a:lnTo>
                    <a:pt x="1444488" y="920630"/>
                  </a:lnTo>
                  <a:lnTo>
                    <a:pt x="1463671" y="954192"/>
                  </a:lnTo>
                  <a:lnTo>
                    <a:pt x="1466772" y="979248"/>
                  </a:lnTo>
                  <a:lnTo>
                    <a:pt x="1466772" y="1008200"/>
                  </a:lnTo>
                  <a:cubicBezTo>
                    <a:pt x="1466772" y="1008200"/>
                    <a:pt x="1468583" y="1013936"/>
                    <a:pt x="1468583" y="1013936"/>
                  </a:cubicBezTo>
                  <a:lnTo>
                    <a:pt x="1478408" y="1029606"/>
                  </a:lnTo>
                  <a:lnTo>
                    <a:pt x="1502338" y="1026971"/>
                  </a:lnTo>
                  <a:lnTo>
                    <a:pt x="1476158" y="1008008"/>
                  </a:lnTo>
                  <a:lnTo>
                    <a:pt x="1475417" y="999720"/>
                  </a:lnTo>
                  <a:lnTo>
                    <a:pt x="1477228" y="988798"/>
                  </a:lnTo>
                  <a:lnTo>
                    <a:pt x="1487683" y="968271"/>
                  </a:lnTo>
                  <a:lnTo>
                    <a:pt x="1469900" y="919258"/>
                  </a:lnTo>
                  <a:lnTo>
                    <a:pt x="1450197" y="904356"/>
                  </a:lnTo>
                  <a:lnTo>
                    <a:pt x="1429971" y="896233"/>
                  </a:lnTo>
                  <a:lnTo>
                    <a:pt x="1379174" y="905536"/>
                  </a:lnTo>
                  <a:lnTo>
                    <a:pt x="1369185" y="896041"/>
                  </a:lnTo>
                  <a:lnTo>
                    <a:pt x="1362379" y="842993"/>
                  </a:lnTo>
                  <a:lnTo>
                    <a:pt x="1366852" y="818871"/>
                  </a:lnTo>
                  <a:lnTo>
                    <a:pt x="1376293" y="794090"/>
                  </a:lnTo>
                  <a:lnTo>
                    <a:pt x="1377473" y="779655"/>
                  </a:lnTo>
                  <a:lnTo>
                    <a:pt x="1349069" y="701470"/>
                  </a:lnTo>
                  <a:lnTo>
                    <a:pt x="1363093" y="668182"/>
                  </a:lnTo>
                  <a:lnTo>
                    <a:pt x="1389356" y="646721"/>
                  </a:lnTo>
                  <a:lnTo>
                    <a:pt x="1397314" y="635085"/>
                  </a:lnTo>
                  <a:lnTo>
                    <a:pt x="1400772" y="614366"/>
                  </a:lnTo>
                  <a:lnTo>
                    <a:pt x="1398906" y="585249"/>
                  </a:lnTo>
                  <a:lnTo>
                    <a:pt x="1400360" y="574656"/>
                  </a:lnTo>
                  <a:lnTo>
                    <a:pt x="1409005" y="576989"/>
                  </a:lnTo>
                  <a:lnTo>
                    <a:pt x="1416497" y="601166"/>
                  </a:lnTo>
                  <a:lnTo>
                    <a:pt x="1417485" y="624685"/>
                  </a:lnTo>
                  <a:lnTo>
                    <a:pt x="1411447" y="669224"/>
                  </a:lnTo>
                  <a:lnTo>
                    <a:pt x="1413011" y="704846"/>
                  </a:lnTo>
                  <a:lnTo>
                    <a:pt x="1422397" y="719116"/>
                  </a:lnTo>
                  <a:lnTo>
                    <a:pt x="1474044" y="731300"/>
                  </a:lnTo>
                  <a:lnTo>
                    <a:pt x="1489604" y="744583"/>
                  </a:lnTo>
                  <a:lnTo>
                    <a:pt x="1497426" y="744226"/>
                  </a:lnTo>
                  <a:lnTo>
                    <a:pt x="1497536" y="736021"/>
                  </a:lnTo>
                  <a:lnTo>
                    <a:pt x="1492596" y="722875"/>
                  </a:lnTo>
                  <a:lnTo>
                    <a:pt x="1450471" y="697930"/>
                  </a:lnTo>
                  <a:lnTo>
                    <a:pt x="1437930" y="669334"/>
                  </a:lnTo>
                  <a:lnTo>
                    <a:pt x="1443391" y="653664"/>
                  </a:lnTo>
                  <a:lnTo>
                    <a:pt x="1450553" y="648752"/>
                  </a:lnTo>
                  <a:lnTo>
                    <a:pt x="1477914" y="663900"/>
                  </a:lnTo>
                  <a:lnTo>
                    <a:pt x="1490922" y="656573"/>
                  </a:lnTo>
                  <a:lnTo>
                    <a:pt x="1491772" y="651990"/>
                  </a:lnTo>
                  <a:lnTo>
                    <a:pt x="1490428" y="647105"/>
                  </a:lnTo>
                  <a:lnTo>
                    <a:pt x="1478792" y="639147"/>
                  </a:lnTo>
                  <a:lnTo>
                    <a:pt x="1473386" y="625672"/>
                  </a:lnTo>
                  <a:lnTo>
                    <a:pt x="1462628" y="619251"/>
                  </a:lnTo>
                  <a:lnTo>
                    <a:pt x="1465510" y="610963"/>
                  </a:lnTo>
                  <a:lnTo>
                    <a:pt x="1480301" y="596171"/>
                  </a:lnTo>
                  <a:lnTo>
                    <a:pt x="1491827" y="599190"/>
                  </a:lnTo>
                  <a:lnTo>
                    <a:pt x="1500060" y="615573"/>
                  </a:lnTo>
                  <a:lnTo>
                    <a:pt x="1540841" y="623614"/>
                  </a:lnTo>
                  <a:lnTo>
                    <a:pt x="1566171" y="643346"/>
                  </a:lnTo>
                  <a:lnTo>
                    <a:pt x="1594382" y="675344"/>
                  </a:lnTo>
                  <a:lnTo>
                    <a:pt x="1627478" y="674137"/>
                  </a:lnTo>
                  <a:lnTo>
                    <a:pt x="1636507" y="678445"/>
                  </a:lnTo>
                  <a:lnTo>
                    <a:pt x="1639032" y="685745"/>
                  </a:lnTo>
                  <a:lnTo>
                    <a:pt x="1637715" y="694829"/>
                  </a:lnTo>
                  <a:lnTo>
                    <a:pt x="1632583" y="706272"/>
                  </a:lnTo>
                  <a:lnTo>
                    <a:pt x="1619108" y="721805"/>
                  </a:lnTo>
                  <a:lnTo>
                    <a:pt x="1616748" y="741839"/>
                  </a:lnTo>
                  <a:lnTo>
                    <a:pt x="1620727" y="765879"/>
                  </a:lnTo>
                  <a:lnTo>
                    <a:pt x="1629207" y="755176"/>
                  </a:lnTo>
                  <a:lnTo>
                    <a:pt x="1638647" y="756411"/>
                  </a:lnTo>
                  <a:lnTo>
                    <a:pt x="1636562" y="786708"/>
                  </a:lnTo>
                  <a:lnTo>
                    <a:pt x="1631073" y="815743"/>
                  </a:lnTo>
                  <a:lnTo>
                    <a:pt x="1635903" y="825704"/>
                  </a:lnTo>
                  <a:lnTo>
                    <a:pt x="1647018" y="832208"/>
                  </a:lnTo>
                  <a:lnTo>
                    <a:pt x="1646167" y="825677"/>
                  </a:lnTo>
                  <a:lnTo>
                    <a:pt x="1638208" y="812587"/>
                  </a:lnTo>
                  <a:lnTo>
                    <a:pt x="1647841" y="794886"/>
                  </a:lnTo>
                  <a:lnTo>
                    <a:pt x="1646002" y="787284"/>
                  </a:lnTo>
                  <a:lnTo>
                    <a:pt x="1641556" y="786022"/>
                  </a:lnTo>
                  <a:lnTo>
                    <a:pt x="1644054" y="771175"/>
                  </a:lnTo>
                  <a:lnTo>
                    <a:pt x="1653933" y="778804"/>
                  </a:lnTo>
                  <a:lnTo>
                    <a:pt x="1645179" y="727815"/>
                  </a:lnTo>
                  <a:lnTo>
                    <a:pt x="1649927" y="679406"/>
                  </a:lnTo>
                  <a:lnTo>
                    <a:pt x="1643697" y="667880"/>
                  </a:lnTo>
                  <a:lnTo>
                    <a:pt x="1627560" y="656326"/>
                  </a:lnTo>
                  <a:lnTo>
                    <a:pt x="1612604" y="628746"/>
                  </a:lnTo>
                  <a:lnTo>
                    <a:pt x="1588262" y="616424"/>
                  </a:lnTo>
                  <a:lnTo>
                    <a:pt x="1576242" y="603746"/>
                  </a:lnTo>
                  <a:lnTo>
                    <a:pt x="1571961" y="585743"/>
                  </a:lnTo>
                  <a:lnTo>
                    <a:pt x="1571302" y="561264"/>
                  </a:lnTo>
                  <a:lnTo>
                    <a:pt x="1566664" y="534809"/>
                  </a:lnTo>
                  <a:lnTo>
                    <a:pt x="1566500" y="512360"/>
                  </a:lnTo>
                  <a:lnTo>
                    <a:pt x="1572098" y="499215"/>
                  </a:lnTo>
                  <a:lnTo>
                    <a:pt x="1592049" y="491641"/>
                  </a:lnTo>
                  <a:lnTo>
                    <a:pt x="1704017" y="478249"/>
                  </a:lnTo>
                  <a:lnTo>
                    <a:pt x="1750395" y="454703"/>
                  </a:lnTo>
                  <a:lnTo>
                    <a:pt x="1743809" y="428687"/>
                  </a:lnTo>
                  <a:lnTo>
                    <a:pt x="1730471" y="412139"/>
                  </a:lnTo>
                  <a:lnTo>
                    <a:pt x="1738375" y="398500"/>
                  </a:lnTo>
                  <a:lnTo>
                    <a:pt x="1738018" y="390843"/>
                  </a:lnTo>
                  <a:lnTo>
                    <a:pt x="1733024" y="387138"/>
                  </a:lnTo>
                  <a:lnTo>
                    <a:pt x="1720757" y="392599"/>
                  </a:lnTo>
                  <a:lnTo>
                    <a:pt x="1720839" y="380469"/>
                  </a:lnTo>
                  <a:lnTo>
                    <a:pt x="1725395" y="366391"/>
                  </a:lnTo>
                  <a:lnTo>
                    <a:pt x="1734615" y="363839"/>
                  </a:lnTo>
                  <a:lnTo>
                    <a:pt x="1738787" y="346523"/>
                  </a:lnTo>
                  <a:lnTo>
                    <a:pt x="1759644" y="345480"/>
                  </a:lnTo>
                  <a:lnTo>
                    <a:pt x="1763568" y="326379"/>
                  </a:lnTo>
                  <a:lnTo>
                    <a:pt x="1790956" y="320013"/>
                  </a:lnTo>
                  <a:lnTo>
                    <a:pt x="1818536" y="286697"/>
                  </a:lnTo>
                  <a:lnTo>
                    <a:pt x="1830447" y="285791"/>
                  </a:lnTo>
                  <a:lnTo>
                    <a:pt x="1848806" y="271713"/>
                  </a:lnTo>
                  <a:lnTo>
                    <a:pt x="1935114" y="242102"/>
                  </a:lnTo>
                  <a:lnTo>
                    <a:pt x="1938489" y="236284"/>
                  </a:lnTo>
                  <a:lnTo>
                    <a:pt x="1939066" y="220065"/>
                  </a:lnTo>
                  <a:lnTo>
                    <a:pt x="1942386" y="214302"/>
                  </a:lnTo>
                  <a:lnTo>
                    <a:pt x="1975455" y="209829"/>
                  </a:lnTo>
                  <a:lnTo>
                    <a:pt x="2008030" y="191278"/>
                  </a:lnTo>
                  <a:lnTo>
                    <a:pt x="2024468" y="197864"/>
                  </a:lnTo>
                  <a:lnTo>
                    <a:pt x="2016482" y="225362"/>
                  </a:lnTo>
                  <a:lnTo>
                    <a:pt x="2017608" y="232936"/>
                  </a:lnTo>
                  <a:lnTo>
                    <a:pt x="2041373" y="228326"/>
                  </a:lnTo>
                  <a:lnTo>
                    <a:pt x="2051225" y="218007"/>
                  </a:lnTo>
                  <a:lnTo>
                    <a:pt x="2064809" y="223550"/>
                  </a:lnTo>
                  <a:lnTo>
                    <a:pt x="2080672" y="204286"/>
                  </a:lnTo>
                  <a:lnTo>
                    <a:pt x="2096012" y="195806"/>
                  </a:lnTo>
                  <a:lnTo>
                    <a:pt x="2121946" y="203133"/>
                  </a:lnTo>
                  <a:lnTo>
                    <a:pt x="2122687" y="195915"/>
                  </a:lnTo>
                  <a:lnTo>
                    <a:pt x="2114399" y="181371"/>
                  </a:lnTo>
                  <a:lnTo>
                    <a:pt x="2112862" y="172452"/>
                  </a:lnTo>
                  <a:lnTo>
                    <a:pt x="2163604" y="154669"/>
                  </a:lnTo>
                  <a:lnTo>
                    <a:pt x="2169971" y="137572"/>
                  </a:lnTo>
                  <a:lnTo>
                    <a:pt x="2169806" y="113614"/>
                  </a:lnTo>
                  <a:lnTo>
                    <a:pt x="2172167" y="101045"/>
                  </a:lnTo>
                  <a:lnTo>
                    <a:pt x="2197552" y="51071"/>
                  </a:lnTo>
                  <a:lnTo>
                    <a:pt x="2239155" y="8590"/>
                  </a:lnTo>
                  <a:lnTo>
                    <a:pt x="2256691" y="0"/>
                  </a:lnTo>
                  <a:lnTo>
                    <a:pt x="2271812" y="2772"/>
                  </a:lnTo>
                  <a:lnTo>
                    <a:pt x="2305018" y="21954"/>
                  </a:lnTo>
                  <a:lnTo>
                    <a:pt x="2309903" y="34496"/>
                  </a:lnTo>
                  <a:lnTo>
                    <a:pt x="2285698" y="71928"/>
                  </a:lnTo>
                  <a:lnTo>
                    <a:pt x="2284381" y="811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 name="Freeform: Shape 3291">
              <a:extLst>
                <a:ext uri="{FF2B5EF4-FFF2-40B4-BE49-F238E27FC236}">
                  <a16:creationId xmlns:a16="http://schemas.microsoft.com/office/drawing/2014/main" id="{D2115013-9AA7-D09A-106C-D44A82A11F55}"/>
                </a:ext>
              </a:extLst>
            </p:cNvPr>
            <p:cNvSpPr/>
            <p:nvPr/>
          </p:nvSpPr>
          <p:spPr>
            <a:xfrm>
              <a:off x="1797726" y="3644324"/>
              <a:ext cx="8334" cy="40364"/>
            </a:xfrm>
            <a:custGeom>
              <a:avLst/>
              <a:gdLst>
                <a:gd name="connsiteX0" fmla="*/ 36938 w 80078"/>
                <a:gd name="connsiteY0" fmla="*/ 24918 h 387851"/>
                <a:gd name="connsiteX1" fmla="*/ 42234 w 80078"/>
                <a:gd name="connsiteY1" fmla="*/ 44046 h 387851"/>
                <a:gd name="connsiteX2" fmla="*/ 42180 w 80078"/>
                <a:gd name="connsiteY2" fmla="*/ 57795 h 387851"/>
                <a:gd name="connsiteX3" fmla="*/ 44348 w 80078"/>
                <a:gd name="connsiteY3" fmla="*/ 67620 h 387851"/>
                <a:gd name="connsiteX4" fmla="*/ 49068 w 80078"/>
                <a:gd name="connsiteY4" fmla="*/ 76484 h 387851"/>
                <a:gd name="connsiteX5" fmla="*/ 48299 w 80078"/>
                <a:gd name="connsiteY5" fmla="*/ 91660 h 387851"/>
                <a:gd name="connsiteX6" fmla="*/ 47010 w 80078"/>
                <a:gd name="connsiteY6" fmla="*/ 93142 h 387851"/>
                <a:gd name="connsiteX7" fmla="*/ 47586 w 80078"/>
                <a:gd name="connsiteY7" fmla="*/ 96380 h 387851"/>
                <a:gd name="connsiteX8" fmla="*/ 43936 w 80078"/>
                <a:gd name="connsiteY8" fmla="*/ 101292 h 387851"/>
                <a:gd name="connsiteX9" fmla="*/ 43607 w 80078"/>
                <a:gd name="connsiteY9" fmla="*/ 115425 h 387851"/>
                <a:gd name="connsiteX10" fmla="*/ 48904 w 80078"/>
                <a:gd name="connsiteY10" fmla="*/ 129476 h 387851"/>
                <a:gd name="connsiteX11" fmla="*/ 46955 w 80078"/>
                <a:gd name="connsiteY11" fmla="*/ 137132 h 387851"/>
                <a:gd name="connsiteX12" fmla="*/ 50577 w 80078"/>
                <a:gd name="connsiteY12" fmla="*/ 136364 h 387851"/>
                <a:gd name="connsiteX13" fmla="*/ 52334 w 80078"/>
                <a:gd name="connsiteY13" fmla="*/ 140261 h 387851"/>
                <a:gd name="connsiteX14" fmla="*/ 52581 w 80078"/>
                <a:gd name="connsiteY14" fmla="*/ 147643 h 387851"/>
                <a:gd name="connsiteX15" fmla="*/ 56176 w 80078"/>
                <a:gd name="connsiteY15" fmla="*/ 156288 h 387851"/>
                <a:gd name="connsiteX16" fmla="*/ 62598 w 80078"/>
                <a:gd name="connsiteY16" fmla="*/ 191607 h 387851"/>
                <a:gd name="connsiteX17" fmla="*/ 72779 w 80078"/>
                <a:gd name="connsiteY17" fmla="*/ 220422 h 387851"/>
                <a:gd name="connsiteX18" fmla="*/ 80078 w 80078"/>
                <a:gd name="connsiteY18" fmla="*/ 250417 h 387851"/>
                <a:gd name="connsiteX19" fmla="*/ 78267 w 80078"/>
                <a:gd name="connsiteY19" fmla="*/ 251076 h 387851"/>
                <a:gd name="connsiteX20" fmla="*/ 70117 w 80078"/>
                <a:gd name="connsiteY20" fmla="*/ 243035 h 387851"/>
                <a:gd name="connsiteX21" fmla="*/ 57575 w 80078"/>
                <a:gd name="connsiteY21" fmla="*/ 240400 h 387851"/>
                <a:gd name="connsiteX22" fmla="*/ 46818 w 80078"/>
                <a:gd name="connsiteY22" fmla="*/ 242733 h 387851"/>
                <a:gd name="connsiteX23" fmla="*/ 40066 w 80078"/>
                <a:gd name="connsiteY23" fmla="*/ 249155 h 387851"/>
                <a:gd name="connsiteX24" fmla="*/ 38804 w 80078"/>
                <a:gd name="connsiteY24" fmla="*/ 259336 h 387851"/>
                <a:gd name="connsiteX25" fmla="*/ 28568 w 80078"/>
                <a:gd name="connsiteY25" fmla="*/ 290100 h 387851"/>
                <a:gd name="connsiteX26" fmla="*/ 26839 w 80078"/>
                <a:gd name="connsiteY26" fmla="*/ 309035 h 387851"/>
                <a:gd name="connsiteX27" fmla="*/ 29913 w 80078"/>
                <a:gd name="connsiteY27" fmla="*/ 318229 h 387851"/>
                <a:gd name="connsiteX28" fmla="*/ 39435 w 80078"/>
                <a:gd name="connsiteY28" fmla="*/ 330441 h 387851"/>
                <a:gd name="connsiteX29" fmla="*/ 44842 w 80078"/>
                <a:gd name="connsiteY29" fmla="*/ 347620 h 387851"/>
                <a:gd name="connsiteX30" fmla="*/ 54255 w 80078"/>
                <a:gd name="connsiteY30" fmla="*/ 352725 h 387851"/>
                <a:gd name="connsiteX31" fmla="*/ 57191 w 80078"/>
                <a:gd name="connsiteY31" fmla="*/ 369657 h 387851"/>
                <a:gd name="connsiteX32" fmla="*/ 52993 w 80078"/>
                <a:gd name="connsiteY32" fmla="*/ 379152 h 387851"/>
                <a:gd name="connsiteX33" fmla="*/ 47257 w 80078"/>
                <a:gd name="connsiteY33" fmla="*/ 362522 h 387851"/>
                <a:gd name="connsiteX34" fmla="*/ 34688 w 80078"/>
                <a:gd name="connsiteY34" fmla="*/ 358899 h 387851"/>
                <a:gd name="connsiteX35" fmla="*/ 29309 w 80078"/>
                <a:gd name="connsiteY35" fmla="*/ 355002 h 387851"/>
                <a:gd name="connsiteX36" fmla="*/ 23875 w 80078"/>
                <a:gd name="connsiteY36" fmla="*/ 359229 h 387851"/>
                <a:gd name="connsiteX37" fmla="*/ 16191 w 80078"/>
                <a:gd name="connsiteY37" fmla="*/ 382638 h 387851"/>
                <a:gd name="connsiteX38" fmla="*/ 12623 w 80078"/>
                <a:gd name="connsiteY38" fmla="*/ 387852 h 387851"/>
                <a:gd name="connsiteX39" fmla="*/ 8699 w 80078"/>
                <a:gd name="connsiteY39" fmla="*/ 382281 h 387851"/>
                <a:gd name="connsiteX40" fmla="*/ 5598 w 80078"/>
                <a:gd name="connsiteY40" fmla="*/ 362028 h 387851"/>
                <a:gd name="connsiteX41" fmla="*/ 11910 w 80078"/>
                <a:gd name="connsiteY41" fmla="*/ 339909 h 387851"/>
                <a:gd name="connsiteX42" fmla="*/ 10044 w 80078"/>
                <a:gd name="connsiteY42" fmla="*/ 316500 h 387851"/>
                <a:gd name="connsiteX43" fmla="*/ 15835 w 80078"/>
                <a:gd name="connsiteY43" fmla="*/ 296686 h 387851"/>
                <a:gd name="connsiteX44" fmla="*/ 14188 w 80078"/>
                <a:gd name="connsiteY44" fmla="*/ 283815 h 387851"/>
                <a:gd name="connsiteX45" fmla="*/ 6833 w 80078"/>
                <a:gd name="connsiteY45" fmla="*/ 265593 h 387851"/>
                <a:gd name="connsiteX46" fmla="*/ 10319 w 80078"/>
                <a:gd name="connsiteY46" fmla="*/ 256784 h 387851"/>
                <a:gd name="connsiteX47" fmla="*/ 14243 w 80078"/>
                <a:gd name="connsiteY47" fmla="*/ 232772 h 387851"/>
                <a:gd name="connsiteX48" fmla="*/ 15258 w 80078"/>
                <a:gd name="connsiteY48" fmla="*/ 202255 h 387851"/>
                <a:gd name="connsiteX49" fmla="*/ 12267 w 80078"/>
                <a:gd name="connsiteY49" fmla="*/ 181975 h 387851"/>
                <a:gd name="connsiteX50" fmla="*/ 17399 w 80078"/>
                <a:gd name="connsiteY50" fmla="*/ 157688 h 387851"/>
                <a:gd name="connsiteX51" fmla="*/ 12514 w 80078"/>
                <a:gd name="connsiteY51" fmla="*/ 141716 h 387851"/>
                <a:gd name="connsiteX52" fmla="*/ 5763 w 80078"/>
                <a:gd name="connsiteY52" fmla="*/ 132083 h 387851"/>
                <a:gd name="connsiteX53" fmla="*/ 1125 w 80078"/>
                <a:gd name="connsiteY53" fmla="*/ 120255 h 387851"/>
                <a:gd name="connsiteX54" fmla="*/ 0 w 80078"/>
                <a:gd name="connsiteY54" fmla="*/ 101621 h 387851"/>
                <a:gd name="connsiteX55" fmla="*/ 3403 w 80078"/>
                <a:gd name="connsiteY55" fmla="*/ 93883 h 387851"/>
                <a:gd name="connsiteX56" fmla="*/ 7821 w 80078"/>
                <a:gd name="connsiteY56" fmla="*/ 65561 h 387851"/>
                <a:gd name="connsiteX57" fmla="*/ 4116 w 80078"/>
                <a:gd name="connsiteY57" fmla="*/ 48437 h 387851"/>
                <a:gd name="connsiteX58" fmla="*/ 14791 w 80078"/>
                <a:gd name="connsiteY58" fmla="*/ 42838 h 387851"/>
                <a:gd name="connsiteX59" fmla="*/ 18469 w 80078"/>
                <a:gd name="connsiteY59" fmla="*/ 48163 h 387851"/>
                <a:gd name="connsiteX60" fmla="*/ 23134 w 80078"/>
                <a:gd name="connsiteY60" fmla="*/ 48437 h 387851"/>
                <a:gd name="connsiteX61" fmla="*/ 27278 w 80078"/>
                <a:gd name="connsiteY61" fmla="*/ 42070 h 387851"/>
                <a:gd name="connsiteX62" fmla="*/ 25577 w 80078"/>
                <a:gd name="connsiteY62" fmla="*/ 37240 h 387851"/>
                <a:gd name="connsiteX63" fmla="*/ 26839 w 80078"/>
                <a:gd name="connsiteY63" fmla="*/ 33590 h 387851"/>
                <a:gd name="connsiteX64" fmla="*/ 29254 w 80078"/>
                <a:gd name="connsiteY64" fmla="*/ 30736 h 387851"/>
                <a:gd name="connsiteX65" fmla="*/ 30435 w 80078"/>
                <a:gd name="connsiteY65" fmla="*/ 34798 h 387851"/>
                <a:gd name="connsiteX66" fmla="*/ 32520 w 80078"/>
                <a:gd name="connsiteY66" fmla="*/ 33837 h 387851"/>
                <a:gd name="connsiteX67" fmla="*/ 30489 w 80078"/>
                <a:gd name="connsiteY67" fmla="*/ 21845 h 387851"/>
                <a:gd name="connsiteX68" fmla="*/ 22778 w 80078"/>
                <a:gd name="connsiteY68" fmla="*/ 7218 h 387851"/>
                <a:gd name="connsiteX69" fmla="*/ 31807 w 80078"/>
                <a:gd name="connsiteY69" fmla="*/ 0 h 387851"/>
                <a:gd name="connsiteX70" fmla="*/ 38694 w 80078"/>
                <a:gd name="connsiteY70" fmla="*/ 12377 h 387851"/>
                <a:gd name="connsiteX71" fmla="*/ 36911 w 80078"/>
                <a:gd name="connsiteY71" fmla="*/ 25110 h 38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0078" h="387851">
                  <a:moveTo>
                    <a:pt x="36938" y="24918"/>
                  </a:moveTo>
                  <a:lnTo>
                    <a:pt x="42234" y="44046"/>
                  </a:lnTo>
                  <a:lnTo>
                    <a:pt x="42180" y="57795"/>
                  </a:lnTo>
                  <a:lnTo>
                    <a:pt x="44348" y="67620"/>
                  </a:lnTo>
                  <a:lnTo>
                    <a:pt x="49068" y="76484"/>
                  </a:lnTo>
                  <a:lnTo>
                    <a:pt x="48299" y="91660"/>
                  </a:lnTo>
                  <a:lnTo>
                    <a:pt x="47010" y="93142"/>
                  </a:lnTo>
                  <a:lnTo>
                    <a:pt x="47586" y="96380"/>
                  </a:lnTo>
                  <a:lnTo>
                    <a:pt x="43936" y="101292"/>
                  </a:lnTo>
                  <a:lnTo>
                    <a:pt x="43607" y="115425"/>
                  </a:lnTo>
                  <a:lnTo>
                    <a:pt x="48904" y="129476"/>
                  </a:lnTo>
                  <a:lnTo>
                    <a:pt x="46955" y="137132"/>
                  </a:lnTo>
                  <a:lnTo>
                    <a:pt x="50577" y="136364"/>
                  </a:lnTo>
                  <a:lnTo>
                    <a:pt x="52334" y="140261"/>
                  </a:lnTo>
                  <a:lnTo>
                    <a:pt x="52581" y="147643"/>
                  </a:lnTo>
                  <a:lnTo>
                    <a:pt x="56176" y="156288"/>
                  </a:lnTo>
                  <a:lnTo>
                    <a:pt x="62598" y="191607"/>
                  </a:lnTo>
                  <a:lnTo>
                    <a:pt x="72779" y="220422"/>
                  </a:lnTo>
                  <a:lnTo>
                    <a:pt x="80078" y="250417"/>
                  </a:lnTo>
                  <a:lnTo>
                    <a:pt x="78267" y="251076"/>
                  </a:lnTo>
                  <a:lnTo>
                    <a:pt x="70117" y="243035"/>
                  </a:lnTo>
                  <a:lnTo>
                    <a:pt x="57575" y="240400"/>
                  </a:lnTo>
                  <a:lnTo>
                    <a:pt x="46818" y="242733"/>
                  </a:lnTo>
                  <a:lnTo>
                    <a:pt x="40066" y="249155"/>
                  </a:lnTo>
                  <a:lnTo>
                    <a:pt x="38804" y="259336"/>
                  </a:lnTo>
                  <a:lnTo>
                    <a:pt x="28568" y="290100"/>
                  </a:lnTo>
                  <a:lnTo>
                    <a:pt x="26839" y="309035"/>
                  </a:lnTo>
                  <a:lnTo>
                    <a:pt x="29913" y="318229"/>
                  </a:lnTo>
                  <a:lnTo>
                    <a:pt x="39435" y="330441"/>
                  </a:lnTo>
                  <a:lnTo>
                    <a:pt x="44842" y="347620"/>
                  </a:lnTo>
                  <a:lnTo>
                    <a:pt x="54255" y="352725"/>
                  </a:lnTo>
                  <a:lnTo>
                    <a:pt x="57191" y="369657"/>
                  </a:lnTo>
                  <a:lnTo>
                    <a:pt x="52993" y="379152"/>
                  </a:lnTo>
                  <a:lnTo>
                    <a:pt x="47257" y="362522"/>
                  </a:lnTo>
                  <a:lnTo>
                    <a:pt x="34688" y="358899"/>
                  </a:lnTo>
                  <a:lnTo>
                    <a:pt x="29309" y="355002"/>
                  </a:lnTo>
                  <a:lnTo>
                    <a:pt x="23875" y="359229"/>
                  </a:lnTo>
                  <a:lnTo>
                    <a:pt x="16191" y="382638"/>
                  </a:lnTo>
                  <a:lnTo>
                    <a:pt x="12623" y="387852"/>
                  </a:lnTo>
                  <a:lnTo>
                    <a:pt x="8699" y="382281"/>
                  </a:lnTo>
                  <a:lnTo>
                    <a:pt x="5598" y="362028"/>
                  </a:lnTo>
                  <a:lnTo>
                    <a:pt x="11910" y="339909"/>
                  </a:lnTo>
                  <a:lnTo>
                    <a:pt x="10044" y="316500"/>
                  </a:lnTo>
                  <a:lnTo>
                    <a:pt x="15835" y="296686"/>
                  </a:lnTo>
                  <a:lnTo>
                    <a:pt x="14188" y="283815"/>
                  </a:lnTo>
                  <a:lnTo>
                    <a:pt x="6833" y="265593"/>
                  </a:lnTo>
                  <a:lnTo>
                    <a:pt x="10319" y="256784"/>
                  </a:lnTo>
                  <a:lnTo>
                    <a:pt x="14243" y="232772"/>
                  </a:lnTo>
                  <a:lnTo>
                    <a:pt x="15258" y="202255"/>
                  </a:lnTo>
                  <a:lnTo>
                    <a:pt x="12267" y="181975"/>
                  </a:lnTo>
                  <a:lnTo>
                    <a:pt x="17399" y="157688"/>
                  </a:lnTo>
                  <a:lnTo>
                    <a:pt x="12514" y="141716"/>
                  </a:lnTo>
                  <a:lnTo>
                    <a:pt x="5763" y="132083"/>
                  </a:lnTo>
                  <a:lnTo>
                    <a:pt x="1125" y="120255"/>
                  </a:lnTo>
                  <a:lnTo>
                    <a:pt x="0" y="101621"/>
                  </a:lnTo>
                  <a:lnTo>
                    <a:pt x="3403" y="93883"/>
                  </a:lnTo>
                  <a:lnTo>
                    <a:pt x="7821" y="65561"/>
                  </a:lnTo>
                  <a:lnTo>
                    <a:pt x="4116" y="48437"/>
                  </a:lnTo>
                  <a:lnTo>
                    <a:pt x="14791" y="42838"/>
                  </a:lnTo>
                  <a:lnTo>
                    <a:pt x="18469" y="48163"/>
                  </a:lnTo>
                  <a:lnTo>
                    <a:pt x="23134" y="48437"/>
                  </a:lnTo>
                  <a:lnTo>
                    <a:pt x="27278" y="42070"/>
                  </a:lnTo>
                  <a:lnTo>
                    <a:pt x="25577" y="37240"/>
                  </a:lnTo>
                  <a:lnTo>
                    <a:pt x="26839" y="33590"/>
                  </a:lnTo>
                  <a:lnTo>
                    <a:pt x="29254" y="30736"/>
                  </a:lnTo>
                  <a:lnTo>
                    <a:pt x="30435" y="34798"/>
                  </a:lnTo>
                  <a:lnTo>
                    <a:pt x="32520" y="33837"/>
                  </a:lnTo>
                  <a:lnTo>
                    <a:pt x="30489" y="21845"/>
                  </a:lnTo>
                  <a:lnTo>
                    <a:pt x="22778" y="7218"/>
                  </a:lnTo>
                  <a:lnTo>
                    <a:pt x="31807" y="0"/>
                  </a:lnTo>
                  <a:lnTo>
                    <a:pt x="38694" y="12377"/>
                  </a:lnTo>
                  <a:lnTo>
                    <a:pt x="36911" y="251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 name="Freeform: Shape 3292">
              <a:extLst>
                <a:ext uri="{FF2B5EF4-FFF2-40B4-BE49-F238E27FC236}">
                  <a16:creationId xmlns:a16="http://schemas.microsoft.com/office/drawing/2014/main" id="{FB29C4E1-5531-9AEC-13A8-752D508FDE5C}"/>
                </a:ext>
              </a:extLst>
            </p:cNvPr>
            <p:cNvSpPr/>
            <p:nvPr/>
          </p:nvSpPr>
          <p:spPr>
            <a:xfrm>
              <a:off x="1783468" y="3472996"/>
              <a:ext cx="25347" cy="18918"/>
            </a:xfrm>
            <a:custGeom>
              <a:avLst/>
              <a:gdLst>
                <a:gd name="connsiteX0" fmla="*/ 35895 w 243556"/>
                <a:gd name="connsiteY0" fmla="*/ 13502 h 181782"/>
                <a:gd name="connsiteX1" fmla="*/ 39902 w 243556"/>
                <a:gd name="connsiteY1" fmla="*/ 8782 h 181782"/>
                <a:gd name="connsiteX2" fmla="*/ 44348 w 243556"/>
                <a:gd name="connsiteY2" fmla="*/ 13502 h 181782"/>
                <a:gd name="connsiteX3" fmla="*/ 47037 w 243556"/>
                <a:gd name="connsiteY3" fmla="*/ 4171 h 181782"/>
                <a:gd name="connsiteX4" fmla="*/ 57191 w 243556"/>
                <a:gd name="connsiteY4" fmla="*/ 0 h 181782"/>
                <a:gd name="connsiteX5" fmla="*/ 65369 w 243556"/>
                <a:gd name="connsiteY5" fmla="*/ 13502 h 181782"/>
                <a:gd name="connsiteX6" fmla="*/ 86363 w 243556"/>
                <a:gd name="connsiteY6" fmla="*/ 29419 h 181782"/>
                <a:gd name="connsiteX7" fmla="*/ 86226 w 243556"/>
                <a:gd name="connsiteY7" fmla="*/ 39984 h 181782"/>
                <a:gd name="connsiteX8" fmla="*/ 102088 w 243556"/>
                <a:gd name="connsiteY8" fmla="*/ 49370 h 181782"/>
                <a:gd name="connsiteX9" fmla="*/ 115837 w 243556"/>
                <a:gd name="connsiteY9" fmla="*/ 67180 h 181782"/>
                <a:gd name="connsiteX10" fmla="*/ 117319 w 243556"/>
                <a:gd name="connsiteY10" fmla="*/ 64189 h 181782"/>
                <a:gd name="connsiteX11" fmla="*/ 116028 w 243556"/>
                <a:gd name="connsiteY11" fmla="*/ 52938 h 181782"/>
                <a:gd name="connsiteX12" fmla="*/ 119020 w 243556"/>
                <a:gd name="connsiteY12" fmla="*/ 14517 h 181782"/>
                <a:gd name="connsiteX13" fmla="*/ 122149 w 243556"/>
                <a:gd name="connsiteY13" fmla="*/ 16877 h 181782"/>
                <a:gd name="connsiteX14" fmla="*/ 130382 w 243556"/>
                <a:gd name="connsiteY14" fmla="*/ 19951 h 181782"/>
                <a:gd name="connsiteX15" fmla="*/ 134141 w 243556"/>
                <a:gd name="connsiteY15" fmla="*/ 19183 h 181782"/>
                <a:gd name="connsiteX16" fmla="*/ 134086 w 243556"/>
                <a:gd name="connsiteY16" fmla="*/ 7245 h 181782"/>
                <a:gd name="connsiteX17" fmla="*/ 143938 w 243556"/>
                <a:gd name="connsiteY17" fmla="*/ 13502 h 181782"/>
                <a:gd name="connsiteX18" fmla="*/ 166990 w 243556"/>
                <a:gd name="connsiteY18" fmla="*/ 41905 h 181782"/>
                <a:gd name="connsiteX19" fmla="*/ 206508 w 243556"/>
                <a:gd name="connsiteY19" fmla="*/ 46928 h 181782"/>
                <a:gd name="connsiteX20" fmla="*/ 243556 w 243556"/>
                <a:gd name="connsiteY20" fmla="*/ 79008 h 181782"/>
                <a:gd name="connsiteX21" fmla="*/ 243556 w 243556"/>
                <a:gd name="connsiteY21" fmla="*/ 83125 h 181782"/>
                <a:gd name="connsiteX22" fmla="*/ 231399 w 243556"/>
                <a:gd name="connsiteY22" fmla="*/ 94898 h 181782"/>
                <a:gd name="connsiteX23" fmla="*/ 230411 w 243556"/>
                <a:gd name="connsiteY23" fmla="*/ 99591 h 181782"/>
                <a:gd name="connsiteX24" fmla="*/ 231701 w 243556"/>
                <a:gd name="connsiteY24" fmla="*/ 109772 h 181782"/>
                <a:gd name="connsiteX25" fmla="*/ 226871 w 243556"/>
                <a:gd name="connsiteY25" fmla="*/ 126265 h 181782"/>
                <a:gd name="connsiteX26" fmla="*/ 209033 w 243556"/>
                <a:gd name="connsiteY26" fmla="*/ 140014 h 181782"/>
                <a:gd name="connsiteX27" fmla="*/ 193747 w 243556"/>
                <a:gd name="connsiteY27" fmla="*/ 134580 h 181782"/>
                <a:gd name="connsiteX28" fmla="*/ 192046 w 243556"/>
                <a:gd name="connsiteY28" fmla="*/ 140261 h 181782"/>
                <a:gd name="connsiteX29" fmla="*/ 195585 w 243556"/>
                <a:gd name="connsiteY29" fmla="*/ 145201 h 181782"/>
                <a:gd name="connsiteX30" fmla="*/ 195585 w 243556"/>
                <a:gd name="connsiteY30" fmla="*/ 149098 h 181782"/>
                <a:gd name="connsiteX31" fmla="*/ 191305 w 243556"/>
                <a:gd name="connsiteY31" fmla="*/ 153242 h 181782"/>
                <a:gd name="connsiteX32" fmla="*/ 170530 w 243556"/>
                <a:gd name="connsiteY32" fmla="*/ 154586 h 181782"/>
                <a:gd name="connsiteX33" fmla="*/ 162352 w 243556"/>
                <a:gd name="connsiteY33" fmla="*/ 163670 h 181782"/>
                <a:gd name="connsiteX34" fmla="*/ 150387 w 243556"/>
                <a:gd name="connsiteY34" fmla="*/ 153653 h 181782"/>
                <a:gd name="connsiteX35" fmla="*/ 148192 w 243556"/>
                <a:gd name="connsiteY35" fmla="*/ 142100 h 181782"/>
                <a:gd name="connsiteX36" fmla="*/ 139465 w 243556"/>
                <a:gd name="connsiteY36" fmla="*/ 148082 h 181782"/>
                <a:gd name="connsiteX37" fmla="*/ 93443 w 243556"/>
                <a:gd name="connsiteY37" fmla="*/ 163423 h 181782"/>
                <a:gd name="connsiteX38" fmla="*/ 79666 w 243556"/>
                <a:gd name="connsiteY38" fmla="*/ 145942 h 181782"/>
                <a:gd name="connsiteX39" fmla="*/ 76072 w 243556"/>
                <a:gd name="connsiteY39" fmla="*/ 152473 h 181782"/>
                <a:gd name="connsiteX40" fmla="*/ 76428 w 243556"/>
                <a:gd name="connsiteY40" fmla="*/ 164713 h 181782"/>
                <a:gd name="connsiteX41" fmla="*/ 73300 w 243556"/>
                <a:gd name="connsiteY41" fmla="*/ 174043 h 181782"/>
                <a:gd name="connsiteX42" fmla="*/ 62021 w 243556"/>
                <a:gd name="connsiteY42" fmla="*/ 181782 h 181782"/>
                <a:gd name="connsiteX43" fmla="*/ 35593 w 243556"/>
                <a:gd name="connsiteY43" fmla="*/ 167869 h 181782"/>
                <a:gd name="connsiteX44" fmla="*/ 26482 w 243556"/>
                <a:gd name="connsiteY44" fmla="*/ 148467 h 181782"/>
                <a:gd name="connsiteX45" fmla="*/ 11471 w 243556"/>
                <a:gd name="connsiteY45" fmla="*/ 133812 h 181782"/>
                <a:gd name="connsiteX46" fmla="*/ 54 w 243556"/>
                <a:gd name="connsiteY46" fmla="*/ 111117 h 181782"/>
                <a:gd name="connsiteX47" fmla="*/ 0 w 243556"/>
                <a:gd name="connsiteY47" fmla="*/ 102472 h 181782"/>
                <a:gd name="connsiteX48" fmla="*/ 5873 w 243556"/>
                <a:gd name="connsiteY48" fmla="*/ 97971 h 181782"/>
                <a:gd name="connsiteX49" fmla="*/ 8809 w 243556"/>
                <a:gd name="connsiteY49" fmla="*/ 87241 h 181782"/>
                <a:gd name="connsiteX50" fmla="*/ 6504 w 243556"/>
                <a:gd name="connsiteY50" fmla="*/ 56505 h 181782"/>
                <a:gd name="connsiteX51" fmla="*/ 16795 w 243556"/>
                <a:gd name="connsiteY51" fmla="*/ 50138 h 181782"/>
                <a:gd name="connsiteX52" fmla="*/ 17015 w 243556"/>
                <a:gd name="connsiteY52" fmla="*/ 46241 h 181782"/>
                <a:gd name="connsiteX53" fmla="*/ 14408 w 243556"/>
                <a:gd name="connsiteY53" fmla="*/ 38667 h 181782"/>
                <a:gd name="connsiteX54" fmla="*/ 14819 w 243556"/>
                <a:gd name="connsiteY54" fmla="*/ 32794 h 181782"/>
                <a:gd name="connsiteX55" fmla="*/ 33370 w 243556"/>
                <a:gd name="connsiteY55" fmla="*/ 22997 h 181782"/>
                <a:gd name="connsiteX56" fmla="*/ 35950 w 243556"/>
                <a:gd name="connsiteY56" fmla="*/ 13447 h 1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43556" h="181782">
                  <a:moveTo>
                    <a:pt x="35895" y="13502"/>
                  </a:moveTo>
                  <a:lnTo>
                    <a:pt x="39902" y="8782"/>
                  </a:lnTo>
                  <a:lnTo>
                    <a:pt x="44348" y="13502"/>
                  </a:lnTo>
                  <a:lnTo>
                    <a:pt x="47037" y="4171"/>
                  </a:lnTo>
                  <a:lnTo>
                    <a:pt x="57191" y="0"/>
                  </a:lnTo>
                  <a:lnTo>
                    <a:pt x="65369" y="13502"/>
                  </a:lnTo>
                  <a:lnTo>
                    <a:pt x="86363" y="29419"/>
                  </a:lnTo>
                  <a:lnTo>
                    <a:pt x="86226" y="39984"/>
                  </a:lnTo>
                  <a:lnTo>
                    <a:pt x="102088" y="49370"/>
                  </a:lnTo>
                  <a:lnTo>
                    <a:pt x="115837" y="67180"/>
                  </a:lnTo>
                  <a:lnTo>
                    <a:pt x="117319" y="64189"/>
                  </a:lnTo>
                  <a:lnTo>
                    <a:pt x="116028" y="52938"/>
                  </a:lnTo>
                  <a:lnTo>
                    <a:pt x="119020" y="14517"/>
                  </a:lnTo>
                  <a:lnTo>
                    <a:pt x="122149" y="16877"/>
                  </a:lnTo>
                  <a:lnTo>
                    <a:pt x="130382" y="19951"/>
                  </a:lnTo>
                  <a:lnTo>
                    <a:pt x="134141" y="19183"/>
                  </a:lnTo>
                  <a:lnTo>
                    <a:pt x="134086" y="7245"/>
                  </a:lnTo>
                  <a:lnTo>
                    <a:pt x="143938" y="13502"/>
                  </a:lnTo>
                  <a:lnTo>
                    <a:pt x="166990" y="41905"/>
                  </a:lnTo>
                  <a:lnTo>
                    <a:pt x="206508" y="46928"/>
                  </a:lnTo>
                  <a:lnTo>
                    <a:pt x="243556" y="79008"/>
                  </a:lnTo>
                  <a:lnTo>
                    <a:pt x="243556" y="83125"/>
                  </a:lnTo>
                  <a:cubicBezTo>
                    <a:pt x="243556" y="83125"/>
                    <a:pt x="231399" y="94898"/>
                    <a:pt x="231399" y="94898"/>
                  </a:cubicBezTo>
                  <a:lnTo>
                    <a:pt x="230411" y="99591"/>
                  </a:lnTo>
                  <a:lnTo>
                    <a:pt x="231701" y="109772"/>
                  </a:lnTo>
                  <a:lnTo>
                    <a:pt x="226871" y="126265"/>
                  </a:lnTo>
                  <a:lnTo>
                    <a:pt x="209033" y="140014"/>
                  </a:lnTo>
                  <a:lnTo>
                    <a:pt x="193747" y="134580"/>
                  </a:lnTo>
                  <a:lnTo>
                    <a:pt x="192046" y="140261"/>
                  </a:lnTo>
                  <a:lnTo>
                    <a:pt x="195585" y="145201"/>
                  </a:lnTo>
                  <a:lnTo>
                    <a:pt x="195585" y="149098"/>
                  </a:lnTo>
                  <a:cubicBezTo>
                    <a:pt x="195585" y="149098"/>
                    <a:pt x="191305" y="153242"/>
                    <a:pt x="191305" y="153242"/>
                  </a:cubicBezTo>
                  <a:lnTo>
                    <a:pt x="170530" y="154586"/>
                  </a:lnTo>
                  <a:lnTo>
                    <a:pt x="162352" y="163670"/>
                  </a:lnTo>
                  <a:lnTo>
                    <a:pt x="150387" y="153653"/>
                  </a:lnTo>
                  <a:lnTo>
                    <a:pt x="148192" y="142100"/>
                  </a:lnTo>
                  <a:lnTo>
                    <a:pt x="139465" y="148082"/>
                  </a:lnTo>
                  <a:lnTo>
                    <a:pt x="93443" y="163423"/>
                  </a:lnTo>
                  <a:lnTo>
                    <a:pt x="79666" y="145942"/>
                  </a:lnTo>
                  <a:lnTo>
                    <a:pt x="76072" y="152473"/>
                  </a:lnTo>
                  <a:lnTo>
                    <a:pt x="76428" y="164713"/>
                  </a:lnTo>
                  <a:lnTo>
                    <a:pt x="73300" y="174043"/>
                  </a:lnTo>
                  <a:lnTo>
                    <a:pt x="62021" y="181782"/>
                  </a:lnTo>
                  <a:lnTo>
                    <a:pt x="35593" y="167869"/>
                  </a:lnTo>
                  <a:lnTo>
                    <a:pt x="26482" y="148467"/>
                  </a:lnTo>
                  <a:lnTo>
                    <a:pt x="11471" y="133812"/>
                  </a:lnTo>
                  <a:lnTo>
                    <a:pt x="54" y="111117"/>
                  </a:lnTo>
                  <a:lnTo>
                    <a:pt x="0" y="102472"/>
                  </a:lnTo>
                  <a:lnTo>
                    <a:pt x="5873" y="97971"/>
                  </a:lnTo>
                  <a:lnTo>
                    <a:pt x="8809" y="87241"/>
                  </a:lnTo>
                  <a:lnTo>
                    <a:pt x="6504" y="56505"/>
                  </a:lnTo>
                  <a:lnTo>
                    <a:pt x="16795" y="50138"/>
                  </a:lnTo>
                  <a:lnTo>
                    <a:pt x="17015" y="46241"/>
                  </a:lnTo>
                  <a:lnTo>
                    <a:pt x="14408" y="38667"/>
                  </a:lnTo>
                  <a:lnTo>
                    <a:pt x="14819" y="32794"/>
                  </a:lnTo>
                  <a:lnTo>
                    <a:pt x="33370" y="22997"/>
                  </a:lnTo>
                  <a:lnTo>
                    <a:pt x="35950" y="134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 name="Freeform: Shape 3293">
              <a:extLst>
                <a:ext uri="{FF2B5EF4-FFF2-40B4-BE49-F238E27FC236}">
                  <a16:creationId xmlns:a16="http://schemas.microsoft.com/office/drawing/2014/main" id="{AAA1E0C5-D8C0-4A7B-8930-64C646C31477}"/>
                </a:ext>
              </a:extLst>
            </p:cNvPr>
            <p:cNvSpPr/>
            <p:nvPr/>
          </p:nvSpPr>
          <p:spPr>
            <a:xfrm>
              <a:off x="1811777" y="3480713"/>
              <a:ext cx="14172" cy="10174"/>
            </a:xfrm>
            <a:custGeom>
              <a:avLst/>
              <a:gdLst>
                <a:gd name="connsiteX0" fmla="*/ 13310 w 136172"/>
                <a:gd name="connsiteY0" fmla="*/ 16301 h 97751"/>
                <a:gd name="connsiteX1" fmla="*/ 15972 w 136172"/>
                <a:gd name="connsiteY1" fmla="*/ 25248 h 97751"/>
                <a:gd name="connsiteX2" fmla="*/ 26016 w 136172"/>
                <a:gd name="connsiteY2" fmla="*/ 30846 h 97751"/>
                <a:gd name="connsiteX3" fmla="*/ 41137 w 136172"/>
                <a:gd name="connsiteY3" fmla="*/ 17070 h 97751"/>
                <a:gd name="connsiteX4" fmla="*/ 63585 w 136172"/>
                <a:gd name="connsiteY4" fmla="*/ 21351 h 97751"/>
                <a:gd name="connsiteX5" fmla="*/ 68525 w 136172"/>
                <a:gd name="connsiteY5" fmla="*/ 25220 h 97751"/>
                <a:gd name="connsiteX6" fmla="*/ 67949 w 136172"/>
                <a:gd name="connsiteY6" fmla="*/ 35154 h 97751"/>
                <a:gd name="connsiteX7" fmla="*/ 71709 w 136172"/>
                <a:gd name="connsiteY7" fmla="*/ 44677 h 97751"/>
                <a:gd name="connsiteX8" fmla="*/ 92345 w 136172"/>
                <a:gd name="connsiteY8" fmla="*/ 37679 h 97751"/>
                <a:gd name="connsiteX9" fmla="*/ 115508 w 136172"/>
                <a:gd name="connsiteY9" fmla="*/ 44293 h 97751"/>
                <a:gd name="connsiteX10" fmla="*/ 125963 w 136172"/>
                <a:gd name="connsiteY10" fmla="*/ 55956 h 97751"/>
                <a:gd name="connsiteX11" fmla="*/ 135870 w 136172"/>
                <a:gd name="connsiteY11" fmla="*/ 54063 h 97751"/>
                <a:gd name="connsiteX12" fmla="*/ 136172 w 136172"/>
                <a:gd name="connsiteY12" fmla="*/ 57877 h 97751"/>
                <a:gd name="connsiteX13" fmla="*/ 132357 w 136172"/>
                <a:gd name="connsiteY13" fmla="*/ 66659 h 97751"/>
                <a:gd name="connsiteX14" fmla="*/ 129202 w 136172"/>
                <a:gd name="connsiteY14" fmla="*/ 83097 h 97751"/>
                <a:gd name="connsiteX15" fmla="*/ 88559 w 136172"/>
                <a:gd name="connsiteY15" fmla="*/ 97752 h 97751"/>
                <a:gd name="connsiteX16" fmla="*/ 59002 w 136172"/>
                <a:gd name="connsiteY16" fmla="*/ 92812 h 97751"/>
                <a:gd name="connsiteX17" fmla="*/ 42592 w 136172"/>
                <a:gd name="connsiteY17" fmla="*/ 72943 h 97751"/>
                <a:gd name="connsiteX18" fmla="*/ 26016 w 136172"/>
                <a:gd name="connsiteY18" fmla="*/ 66275 h 97751"/>
                <a:gd name="connsiteX19" fmla="*/ 0 w 136172"/>
                <a:gd name="connsiteY19" fmla="*/ 42454 h 97751"/>
                <a:gd name="connsiteX20" fmla="*/ 1948 w 136172"/>
                <a:gd name="connsiteY20" fmla="*/ 35017 h 97751"/>
                <a:gd name="connsiteX21" fmla="*/ 1043 w 136172"/>
                <a:gd name="connsiteY21" fmla="*/ 22833 h 97751"/>
                <a:gd name="connsiteX22" fmla="*/ 7904 w 136172"/>
                <a:gd name="connsiteY22" fmla="*/ 0 h 97751"/>
                <a:gd name="connsiteX23" fmla="*/ 14490 w 136172"/>
                <a:gd name="connsiteY23" fmla="*/ 6449 h 97751"/>
                <a:gd name="connsiteX24" fmla="*/ 13310 w 136172"/>
                <a:gd name="connsiteY24" fmla="*/ 16329 h 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6172" h="97751">
                  <a:moveTo>
                    <a:pt x="13310" y="16301"/>
                  </a:moveTo>
                  <a:lnTo>
                    <a:pt x="15972" y="25248"/>
                  </a:lnTo>
                  <a:lnTo>
                    <a:pt x="26016" y="30846"/>
                  </a:lnTo>
                  <a:lnTo>
                    <a:pt x="41137" y="17070"/>
                  </a:lnTo>
                  <a:lnTo>
                    <a:pt x="63585" y="21351"/>
                  </a:lnTo>
                  <a:lnTo>
                    <a:pt x="68525" y="25220"/>
                  </a:lnTo>
                  <a:lnTo>
                    <a:pt x="67949" y="35154"/>
                  </a:lnTo>
                  <a:lnTo>
                    <a:pt x="71709" y="44677"/>
                  </a:lnTo>
                  <a:lnTo>
                    <a:pt x="92345" y="37679"/>
                  </a:lnTo>
                  <a:lnTo>
                    <a:pt x="115508" y="44293"/>
                  </a:lnTo>
                  <a:lnTo>
                    <a:pt x="125963" y="55956"/>
                  </a:lnTo>
                  <a:lnTo>
                    <a:pt x="135870" y="54063"/>
                  </a:lnTo>
                  <a:lnTo>
                    <a:pt x="136172" y="57877"/>
                  </a:lnTo>
                  <a:lnTo>
                    <a:pt x="132357" y="66659"/>
                  </a:lnTo>
                  <a:lnTo>
                    <a:pt x="129202" y="83097"/>
                  </a:lnTo>
                  <a:lnTo>
                    <a:pt x="88559" y="97752"/>
                  </a:lnTo>
                  <a:lnTo>
                    <a:pt x="59002" y="92812"/>
                  </a:lnTo>
                  <a:lnTo>
                    <a:pt x="42592" y="72943"/>
                  </a:lnTo>
                  <a:lnTo>
                    <a:pt x="26016" y="66275"/>
                  </a:lnTo>
                  <a:lnTo>
                    <a:pt x="0" y="42454"/>
                  </a:lnTo>
                  <a:lnTo>
                    <a:pt x="1948" y="35017"/>
                  </a:lnTo>
                  <a:lnTo>
                    <a:pt x="1043" y="22833"/>
                  </a:lnTo>
                  <a:lnTo>
                    <a:pt x="7904" y="0"/>
                  </a:lnTo>
                  <a:lnTo>
                    <a:pt x="14490" y="6449"/>
                  </a:lnTo>
                  <a:lnTo>
                    <a:pt x="13310" y="163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 name="Freeform: Shape 3294">
              <a:extLst>
                <a:ext uri="{FF2B5EF4-FFF2-40B4-BE49-F238E27FC236}">
                  <a16:creationId xmlns:a16="http://schemas.microsoft.com/office/drawing/2014/main" id="{61106F55-C94B-633B-F99C-CF9AB6C39E9E}"/>
                </a:ext>
              </a:extLst>
            </p:cNvPr>
            <p:cNvSpPr/>
            <p:nvPr/>
          </p:nvSpPr>
          <p:spPr>
            <a:xfrm>
              <a:off x="1792405" y="3500163"/>
              <a:ext cx="11264" cy="7886"/>
            </a:xfrm>
            <a:custGeom>
              <a:avLst/>
              <a:gdLst>
                <a:gd name="connsiteX0" fmla="*/ 35841 w 108235"/>
                <a:gd name="connsiteY0" fmla="*/ 6669 h 75770"/>
                <a:gd name="connsiteX1" fmla="*/ 53596 w 108235"/>
                <a:gd name="connsiteY1" fmla="*/ 1866 h 75770"/>
                <a:gd name="connsiteX2" fmla="*/ 64135 w 108235"/>
                <a:gd name="connsiteY2" fmla="*/ 0 h 75770"/>
                <a:gd name="connsiteX3" fmla="*/ 78295 w 108235"/>
                <a:gd name="connsiteY3" fmla="*/ 8315 h 75770"/>
                <a:gd name="connsiteX4" fmla="*/ 99563 w 108235"/>
                <a:gd name="connsiteY4" fmla="*/ 30873 h 75770"/>
                <a:gd name="connsiteX5" fmla="*/ 108236 w 108235"/>
                <a:gd name="connsiteY5" fmla="*/ 48135 h 75770"/>
                <a:gd name="connsiteX6" fmla="*/ 106205 w 108235"/>
                <a:gd name="connsiteY6" fmla="*/ 57081 h 75770"/>
                <a:gd name="connsiteX7" fmla="*/ 106863 w 108235"/>
                <a:gd name="connsiteY7" fmla="*/ 70666 h 75770"/>
                <a:gd name="connsiteX8" fmla="*/ 99893 w 108235"/>
                <a:gd name="connsiteY8" fmla="*/ 75770 h 75770"/>
                <a:gd name="connsiteX9" fmla="*/ 53596 w 108235"/>
                <a:gd name="connsiteY9" fmla="*/ 65232 h 75770"/>
                <a:gd name="connsiteX10" fmla="*/ 27690 w 108235"/>
                <a:gd name="connsiteY10" fmla="*/ 51565 h 75770"/>
                <a:gd name="connsiteX11" fmla="*/ 2553 w 108235"/>
                <a:gd name="connsiteY11" fmla="*/ 59386 h 75770"/>
                <a:gd name="connsiteX12" fmla="*/ 0 w 108235"/>
                <a:gd name="connsiteY12" fmla="*/ 54255 h 75770"/>
                <a:gd name="connsiteX13" fmla="*/ 467 w 108235"/>
                <a:gd name="connsiteY13" fmla="*/ 52663 h 75770"/>
                <a:gd name="connsiteX14" fmla="*/ 20555 w 108235"/>
                <a:gd name="connsiteY14" fmla="*/ 42454 h 75770"/>
                <a:gd name="connsiteX15" fmla="*/ 35868 w 108235"/>
                <a:gd name="connsiteY15" fmla="*/ 6696 h 75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35" h="75770">
                  <a:moveTo>
                    <a:pt x="35841" y="6669"/>
                  </a:moveTo>
                  <a:lnTo>
                    <a:pt x="53596" y="1866"/>
                  </a:lnTo>
                  <a:lnTo>
                    <a:pt x="64135" y="0"/>
                  </a:lnTo>
                  <a:lnTo>
                    <a:pt x="78295" y="8315"/>
                  </a:lnTo>
                  <a:lnTo>
                    <a:pt x="99563" y="30873"/>
                  </a:lnTo>
                  <a:lnTo>
                    <a:pt x="108236" y="48135"/>
                  </a:lnTo>
                  <a:lnTo>
                    <a:pt x="106205" y="57081"/>
                  </a:lnTo>
                  <a:lnTo>
                    <a:pt x="106863" y="70666"/>
                  </a:lnTo>
                  <a:lnTo>
                    <a:pt x="99893" y="75770"/>
                  </a:lnTo>
                  <a:lnTo>
                    <a:pt x="53596" y="65232"/>
                  </a:lnTo>
                  <a:lnTo>
                    <a:pt x="27690" y="51565"/>
                  </a:lnTo>
                  <a:lnTo>
                    <a:pt x="2553" y="59386"/>
                  </a:lnTo>
                  <a:lnTo>
                    <a:pt x="0" y="54255"/>
                  </a:lnTo>
                  <a:lnTo>
                    <a:pt x="467" y="52663"/>
                  </a:lnTo>
                  <a:lnTo>
                    <a:pt x="20555" y="42454"/>
                  </a:lnTo>
                  <a:lnTo>
                    <a:pt x="35868" y="66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 name="Freeform: Shape 3295">
              <a:extLst>
                <a:ext uri="{FF2B5EF4-FFF2-40B4-BE49-F238E27FC236}">
                  <a16:creationId xmlns:a16="http://schemas.microsoft.com/office/drawing/2014/main" id="{A19C18AD-E3F3-55FB-9316-94A1EEE31E04}"/>
                </a:ext>
              </a:extLst>
            </p:cNvPr>
            <p:cNvSpPr/>
            <p:nvPr/>
          </p:nvSpPr>
          <p:spPr>
            <a:xfrm>
              <a:off x="1910870" y="3524739"/>
              <a:ext cx="4270" cy="7040"/>
            </a:xfrm>
            <a:custGeom>
              <a:avLst/>
              <a:gdLst>
                <a:gd name="connsiteX0" fmla="*/ 33234 w 41027"/>
                <a:gd name="connsiteY0" fmla="*/ 5544 h 67646"/>
                <a:gd name="connsiteX1" fmla="*/ 34771 w 41027"/>
                <a:gd name="connsiteY1" fmla="*/ 4555 h 67646"/>
                <a:gd name="connsiteX2" fmla="*/ 36362 w 41027"/>
                <a:gd name="connsiteY2" fmla="*/ 5324 h 67646"/>
                <a:gd name="connsiteX3" fmla="*/ 37954 w 41027"/>
                <a:gd name="connsiteY3" fmla="*/ 1427 h 67646"/>
                <a:gd name="connsiteX4" fmla="*/ 40040 w 41027"/>
                <a:gd name="connsiteY4" fmla="*/ 0 h 67646"/>
                <a:gd name="connsiteX5" fmla="*/ 41027 w 41027"/>
                <a:gd name="connsiteY5" fmla="*/ 604 h 67646"/>
                <a:gd name="connsiteX6" fmla="*/ 41027 w 41027"/>
                <a:gd name="connsiteY6" fmla="*/ 50989 h 67646"/>
                <a:gd name="connsiteX7" fmla="*/ 37378 w 41027"/>
                <a:gd name="connsiteY7" fmla="*/ 52306 h 67646"/>
                <a:gd name="connsiteX8" fmla="*/ 34798 w 41027"/>
                <a:gd name="connsiteY8" fmla="*/ 55984 h 67646"/>
                <a:gd name="connsiteX9" fmla="*/ 31258 w 41027"/>
                <a:gd name="connsiteY9" fmla="*/ 59140 h 67646"/>
                <a:gd name="connsiteX10" fmla="*/ 27004 w 41027"/>
                <a:gd name="connsiteY10" fmla="*/ 61692 h 67646"/>
                <a:gd name="connsiteX11" fmla="*/ 25220 w 41027"/>
                <a:gd name="connsiteY11" fmla="*/ 59579 h 67646"/>
                <a:gd name="connsiteX12" fmla="*/ 22750 w 41027"/>
                <a:gd name="connsiteY12" fmla="*/ 60402 h 67646"/>
                <a:gd name="connsiteX13" fmla="*/ 21268 w 41027"/>
                <a:gd name="connsiteY13" fmla="*/ 59579 h 67646"/>
                <a:gd name="connsiteX14" fmla="*/ 16686 w 41027"/>
                <a:gd name="connsiteY14" fmla="*/ 60182 h 67646"/>
                <a:gd name="connsiteX15" fmla="*/ 14079 w 41027"/>
                <a:gd name="connsiteY15" fmla="*/ 61116 h 67646"/>
                <a:gd name="connsiteX16" fmla="*/ 10456 w 41027"/>
                <a:gd name="connsiteY16" fmla="*/ 63503 h 67646"/>
                <a:gd name="connsiteX17" fmla="*/ 6587 w 41027"/>
                <a:gd name="connsiteY17" fmla="*/ 67592 h 67646"/>
                <a:gd name="connsiteX18" fmla="*/ 5324 w 41027"/>
                <a:gd name="connsiteY18" fmla="*/ 67647 h 67646"/>
                <a:gd name="connsiteX19" fmla="*/ 3293 w 41027"/>
                <a:gd name="connsiteY19" fmla="*/ 57026 h 67646"/>
                <a:gd name="connsiteX20" fmla="*/ 1071 w 41027"/>
                <a:gd name="connsiteY20" fmla="*/ 51511 h 67646"/>
                <a:gd name="connsiteX21" fmla="*/ 275 w 41027"/>
                <a:gd name="connsiteY21" fmla="*/ 47339 h 67646"/>
                <a:gd name="connsiteX22" fmla="*/ 0 w 41027"/>
                <a:gd name="connsiteY22" fmla="*/ 42674 h 67646"/>
                <a:gd name="connsiteX23" fmla="*/ 1784 w 41027"/>
                <a:gd name="connsiteY23" fmla="*/ 39655 h 67646"/>
                <a:gd name="connsiteX24" fmla="*/ 3733 w 41027"/>
                <a:gd name="connsiteY24" fmla="*/ 37816 h 67646"/>
                <a:gd name="connsiteX25" fmla="*/ 6642 w 41027"/>
                <a:gd name="connsiteY25" fmla="*/ 33673 h 67646"/>
                <a:gd name="connsiteX26" fmla="*/ 7657 w 41027"/>
                <a:gd name="connsiteY26" fmla="*/ 33508 h 67646"/>
                <a:gd name="connsiteX27" fmla="*/ 8068 w 41027"/>
                <a:gd name="connsiteY27" fmla="*/ 29144 h 67646"/>
                <a:gd name="connsiteX28" fmla="*/ 11115 w 41027"/>
                <a:gd name="connsiteY28" fmla="*/ 26894 h 67646"/>
                <a:gd name="connsiteX29" fmla="*/ 14079 w 41027"/>
                <a:gd name="connsiteY29" fmla="*/ 25824 h 67646"/>
                <a:gd name="connsiteX30" fmla="*/ 16328 w 41027"/>
                <a:gd name="connsiteY30" fmla="*/ 23930 h 67646"/>
                <a:gd name="connsiteX31" fmla="*/ 18524 w 41027"/>
                <a:gd name="connsiteY31" fmla="*/ 20006 h 67646"/>
                <a:gd name="connsiteX32" fmla="*/ 20472 w 41027"/>
                <a:gd name="connsiteY32" fmla="*/ 18332 h 67646"/>
                <a:gd name="connsiteX33" fmla="*/ 24534 w 41027"/>
                <a:gd name="connsiteY33" fmla="*/ 11938 h 67646"/>
                <a:gd name="connsiteX34" fmla="*/ 29584 w 41027"/>
                <a:gd name="connsiteY34" fmla="*/ 8233 h 67646"/>
                <a:gd name="connsiteX35" fmla="*/ 32877 w 41027"/>
                <a:gd name="connsiteY35" fmla="*/ 8343 h 67646"/>
                <a:gd name="connsiteX36" fmla="*/ 33261 w 41027"/>
                <a:gd name="connsiteY36" fmla="*/ 5544 h 67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027" h="67646">
                  <a:moveTo>
                    <a:pt x="33234" y="5544"/>
                  </a:moveTo>
                  <a:lnTo>
                    <a:pt x="34771" y="4555"/>
                  </a:lnTo>
                  <a:lnTo>
                    <a:pt x="36362" y="5324"/>
                  </a:lnTo>
                  <a:lnTo>
                    <a:pt x="37954" y="1427"/>
                  </a:lnTo>
                  <a:lnTo>
                    <a:pt x="40040" y="0"/>
                  </a:lnTo>
                  <a:lnTo>
                    <a:pt x="41027" y="604"/>
                  </a:lnTo>
                  <a:lnTo>
                    <a:pt x="41027" y="50989"/>
                  </a:lnTo>
                  <a:lnTo>
                    <a:pt x="37378" y="52306"/>
                  </a:lnTo>
                  <a:lnTo>
                    <a:pt x="34798" y="55984"/>
                  </a:lnTo>
                  <a:lnTo>
                    <a:pt x="31258" y="59140"/>
                  </a:lnTo>
                  <a:lnTo>
                    <a:pt x="27004" y="61692"/>
                  </a:lnTo>
                  <a:lnTo>
                    <a:pt x="25220" y="59579"/>
                  </a:lnTo>
                  <a:lnTo>
                    <a:pt x="22750" y="60402"/>
                  </a:lnTo>
                  <a:lnTo>
                    <a:pt x="21268" y="59579"/>
                  </a:lnTo>
                  <a:lnTo>
                    <a:pt x="16686" y="60182"/>
                  </a:lnTo>
                  <a:lnTo>
                    <a:pt x="14079" y="61116"/>
                  </a:lnTo>
                  <a:lnTo>
                    <a:pt x="10456" y="63503"/>
                  </a:lnTo>
                  <a:lnTo>
                    <a:pt x="6587" y="67592"/>
                  </a:lnTo>
                  <a:lnTo>
                    <a:pt x="5324" y="67647"/>
                  </a:lnTo>
                  <a:lnTo>
                    <a:pt x="3293" y="57026"/>
                  </a:lnTo>
                  <a:lnTo>
                    <a:pt x="1071" y="51511"/>
                  </a:lnTo>
                  <a:lnTo>
                    <a:pt x="275" y="47339"/>
                  </a:lnTo>
                  <a:lnTo>
                    <a:pt x="0" y="42674"/>
                  </a:lnTo>
                  <a:lnTo>
                    <a:pt x="1784" y="39655"/>
                  </a:lnTo>
                  <a:lnTo>
                    <a:pt x="3733" y="37816"/>
                  </a:lnTo>
                  <a:lnTo>
                    <a:pt x="6642" y="33673"/>
                  </a:lnTo>
                  <a:lnTo>
                    <a:pt x="7657" y="33508"/>
                  </a:lnTo>
                  <a:lnTo>
                    <a:pt x="8068" y="29144"/>
                  </a:lnTo>
                  <a:lnTo>
                    <a:pt x="11115" y="26894"/>
                  </a:lnTo>
                  <a:lnTo>
                    <a:pt x="14079" y="25824"/>
                  </a:lnTo>
                  <a:lnTo>
                    <a:pt x="16328" y="23930"/>
                  </a:lnTo>
                  <a:lnTo>
                    <a:pt x="18524" y="20006"/>
                  </a:lnTo>
                  <a:lnTo>
                    <a:pt x="20472" y="18332"/>
                  </a:lnTo>
                  <a:lnTo>
                    <a:pt x="24534" y="11938"/>
                  </a:lnTo>
                  <a:lnTo>
                    <a:pt x="29584" y="8233"/>
                  </a:lnTo>
                  <a:lnTo>
                    <a:pt x="32877" y="8343"/>
                  </a:lnTo>
                  <a:lnTo>
                    <a:pt x="33261" y="55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 name="Freeform: Shape 3296">
              <a:extLst>
                <a:ext uri="{FF2B5EF4-FFF2-40B4-BE49-F238E27FC236}">
                  <a16:creationId xmlns:a16="http://schemas.microsoft.com/office/drawing/2014/main" id="{6B65DA33-6E58-46CD-B75F-B6FEAE455F3B}"/>
                </a:ext>
              </a:extLst>
            </p:cNvPr>
            <p:cNvSpPr/>
            <p:nvPr/>
          </p:nvSpPr>
          <p:spPr>
            <a:xfrm>
              <a:off x="1839243" y="3662385"/>
              <a:ext cx="2955" cy="3587"/>
            </a:xfrm>
            <a:custGeom>
              <a:avLst/>
              <a:gdLst>
                <a:gd name="connsiteX0" fmla="*/ 24068 w 28403"/>
                <a:gd name="connsiteY0" fmla="*/ 17289 h 34468"/>
                <a:gd name="connsiteX1" fmla="*/ 20143 w 28403"/>
                <a:gd name="connsiteY1" fmla="*/ 24205 h 34468"/>
                <a:gd name="connsiteX2" fmla="*/ 16521 w 28403"/>
                <a:gd name="connsiteY2" fmla="*/ 27251 h 34468"/>
                <a:gd name="connsiteX3" fmla="*/ 12130 w 28403"/>
                <a:gd name="connsiteY3" fmla="*/ 27004 h 34468"/>
                <a:gd name="connsiteX4" fmla="*/ 7684 w 28403"/>
                <a:gd name="connsiteY4" fmla="*/ 30791 h 34468"/>
                <a:gd name="connsiteX5" fmla="*/ 6422 w 28403"/>
                <a:gd name="connsiteY5" fmla="*/ 34469 h 34468"/>
                <a:gd name="connsiteX6" fmla="*/ 3211 w 28403"/>
                <a:gd name="connsiteY6" fmla="*/ 32740 h 34468"/>
                <a:gd name="connsiteX7" fmla="*/ 247 w 28403"/>
                <a:gd name="connsiteY7" fmla="*/ 32300 h 34468"/>
                <a:gd name="connsiteX8" fmla="*/ 1702 w 28403"/>
                <a:gd name="connsiteY8" fmla="*/ 28513 h 34468"/>
                <a:gd name="connsiteX9" fmla="*/ 1619 w 28403"/>
                <a:gd name="connsiteY9" fmla="*/ 25796 h 34468"/>
                <a:gd name="connsiteX10" fmla="*/ 0 w 28403"/>
                <a:gd name="connsiteY10" fmla="*/ 22750 h 34468"/>
                <a:gd name="connsiteX11" fmla="*/ 988 w 28403"/>
                <a:gd name="connsiteY11" fmla="*/ 21488 h 34468"/>
                <a:gd name="connsiteX12" fmla="*/ 4912 w 28403"/>
                <a:gd name="connsiteY12" fmla="*/ 22092 h 34468"/>
                <a:gd name="connsiteX13" fmla="*/ 6147 w 28403"/>
                <a:gd name="connsiteY13" fmla="*/ 19512 h 34468"/>
                <a:gd name="connsiteX14" fmla="*/ 12706 w 28403"/>
                <a:gd name="connsiteY14" fmla="*/ 18277 h 34468"/>
                <a:gd name="connsiteX15" fmla="*/ 15588 w 28403"/>
                <a:gd name="connsiteY15" fmla="*/ 15341 h 34468"/>
                <a:gd name="connsiteX16" fmla="*/ 18497 w 28403"/>
                <a:gd name="connsiteY16" fmla="*/ 9633 h 34468"/>
                <a:gd name="connsiteX17" fmla="*/ 19073 w 28403"/>
                <a:gd name="connsiteY17" fmla="*/ 5900 h 34468"/>
                <a:gd name="connsiteX18" fmla="*/ 22778 w 28403"/>
                <a:gd name="connsiteY18" fmla="*/ 1180 h 34468"/>
                <a:gd name="connsiteX19" fmla="*/ 24754 w 28403"/>
                <a:gd name="connsiteY19" fmla="*/ 0 h 34468"/>
                <a:gd name="connsiteX20" fmla="*/ 27663 w 28403"/>
                <a:gd name="connsiteY20" fmla="*/ 796 h 34468"/>
                <a:gd name="connsiteX21" fmla="*/ 27004 w 28403"/>
                <a:gd name="connsiteY21" fmla="*/ 5077 h 34468"/>
                <a:gd name="connsiteX22" fmla="*/ 28404 w 28403"/>
                <a:gd name="connsiteY22" fmla="*/ 7986 h 34468"/>
                <a:gd name="connsiteX23" fmla="*/ 28294 w 28403"/>
                <a:gd name="connsiteY23" fmla="*/ 12048 h 34468"/>
                <a:gd name="connsiteX24" fmla="*/ 24973 w 28403"/>
                <a:gd name="connsiteY24" fmla="*/ 13667 h 34468"/>
                <a:gd name="connsiteX25" fmla="*/ 24122 w 28403"/>
                <a:gd name="connsiteY25" fmla="*/ 17262 h 3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403" h="34468">
                  <a:moveTo>
                    <a:pt x="24068" y="17289"/>
                  </a:moveTo>
                  <a:lnTo>
                    <a:pt x="20143" y="24205"/>
                  </a:lnTo>
                  <a:lnTo>
                    <a:pt x="16521" y="27251"/>
                  </a:lnTo>
                  <a:lnTo>
                    <a:pt x="12130" y="27004"/>
                  </a:lnTo>
                  <a:lnTo>
                    <a:pt x="7684" y="30791"/>
                  </a:lnTo>
                  <a:lnTo>
                    <a:pt x="6422" y="34469"/>
                  </a:lnTo>
                  <a:lnTo>
                    <a:pt x="3211" y="32740"/>
                  </a:lnTo>
                  <a:lnTo>
                    <a:pt x="247" y="32300"/>
                  </a:lnTo>
                  <a:lnTo>
                    <a:pt x="1702" y="28513"/>
                  </a:lnTo>
                  <a:lnTo>
                    <a:pt x="1619" y="25796"/>
                  </a:lnTo>
                  <a:lnTo>
                    <a:pt x="0" y="22750"/>
                  </a:lnTo>
                  <a:lnTo>
                    <a:pt x="988" y="21488"/>
                  </a:lnTo>
                  <a:lnTo>
                    <a:pt x="4912" y="22092"/>
                  </a:lnTo>
                  <a:lnTo>
                    <a:pt x="6147" y="19512"/>
                  </a:lnTo>
                  <a:lnTo>
                    <a:pt x="12706" y="18277"/>
                  </a:lnTo>
                  <a:lnTo>
                    <a:pt x="15588" y="15341"/>
                  </a:lnTo>
                  <a:lnTo>
                    <a:pt x="18497" y="9633"/>
                  </a:lnTo>
                  <a:lnTo>
                    <a:pt x="19073" y="5900"/>
                  </a:lnTo>
                  <a:lnTo>
                    <a:pt x="22778" y="1180"/>
                  </a:lnTo>
                  <a:lnTo>
                    <a:pt x="24754" y="0"/>
                  </a:lnTo>
                  <a:lnTo>
                    <a:pt x="27663" y="796"/>
                  </a:lnTo>
                  <a:lnTo>
                    <a:pt x="27004" y="5077"/>
                  </a:lnTo>
                  <a:lnTo>
                    <a:pt x="28404" y="7986"/>
                  </a:lnTo>
                  <a:lnTo>
                    <a:pt x="28294" y="12048"/>
                  </a:lnTo>
                  <a:lnTo>
                    <a:pt x="24973" y="13667"/>
                  </a:lnTo>
                  <a:lnTo>
                    <a:pt x="24122" y="172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 name="Freeform: Shape 3297">
              <a:extLst>
                <a:ext uri="{FF2B5EF4-FFF2-40B4-BE49-F238E27FC236}">
                  <a16:creationId xmlns:a16="http://schemas.microsoft.com/office/drawing/2014/main" id="{973C25C2-9CFB-AE51-C624-33338C109EB5}"/>
                </a:ext>
              </a:extLst>
            </p:cNvPr>
            <p:cNvSpPr/>
            <p:nvPr/>
          </p:nvSpPr>
          <p:spPr>
            <a:xfrm>
              <a:off x="1865006" y="3617114"/>
              <a:ext cx="3401" cy="3733"/>
            </a:xfrm>
            <a:custGeom>
              <a:avLst/>
              <a:gdLst>
                <a:gd name="connsiteX0" fmla="*/ 16109 w 32684"/>
                <a:gd name="connsiteY0" fmla="*/ 23793 h 35867"/>
                <a:gd name="connsiteX1" fmla="*/ 631 w 32684"/>
                <a:gd name="connsiteY1" fmla="*/ 35868 h 35867"/>
                <a:gd name="connsiteX2" fmla="*/ 0 w 32684"/>
                <a:gd name="connsiteY2" fmla="*/ 34880 h 35867"/>
                <a:gd name="connsiteX3" fmla="*/ 5489 w 32684"/>
                <a:gd name="connsiteY3" fmla="*/ 17728 h 35867"/>
                <a:gd name="connsiteX4" fmla="*/ 9852 w 32684"/>
                <a:gd name="connsiteY4" fmla="*/ 11197 h 35867"/>
                <a:gd name="connsiteX5" fmla="*/ 27333 w 32684"/>
                <a:gd name="connsiteY5" fmla="*/ 0 h 35867"/>
                <a:gd name="connsiteX6" fmla="*/ 32684 w 32684"/>
                <a:gd name="connsiteY6" fmla="*/ 10099 h 35867"/>
                <a:gd name="connsiteX7" fmla="*/ 30406 w 32684"/>
                <a:gd name="connsiteY7" fmla="*/ 19292 h 35867"/>
                <a:gd name="connsiteX8" fmla="*/ 16136 w 32684"/>
                <a:gd name="connsiteY8" fmla="*/ 23766 h 3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84" h="35867">
                  <a:moveTo>
                    <a:pt x="16109" y="23793"/>
                  </a:moveTo>
                  <a:lnTo>
                    <a:pt x="631" y="35868"/>
                  </a:lnTo>
                  <a:lnTo>
                    <a:pt x="0" y="34880"/>
                  </a:lnTo>
                  <a:lnTo>
                    <a:pt x="5489" y="17728"/>
                  </a:lnTo>
                  <a:lnTo>
                    <a:pt x="9852" y="11197"/>
                  </a:lnTo>
                  <a:lnTo>
                    <a:pt x="27333" y="0"/>
                  </a:lnTo>
                  <a:lnTo>
                    <a:pt x="32684" y="10099"/>
                  </a:lnTo>
                  <a:lnTo>
                    <a:pt x="30406" y="19292"/>
                  </a:lnTo>
                  <a:lnTo>
                    <a:pt x="16136" y="237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 name="Freeform: Shape 3298">
              <a:extLst>
                <a:ext uri="{FF2B5EF4-FFF2-40B4-BE49-F238E27FC236}">
                  <a16:creationId xmlns:a16="http://schemas.microsoft.com/office/drawing/2014/main" id="{611718CF-B15F-7DCB-C77E-8FB815C436C5}"/>
                </a:ext>
              </a:extLst>
            </p:cNvPr>
            <p:cNvSpPr/>
            <p:nvPr/>
          </p:nvSpPr>
          <p:spPr>
            <a:xfrm>
              <a:off x="1821673" y="3683414"/>
              <a:ext cx="3096" cy="2868"/>
            </a:xfrm>
            <a:custGeom>
              <a:avLst/>
              <a:gdLst>
                <a:gd name="connsiteX0" fmla="*/ 6559 w 29748"/>
                <a:gd name="connsiteY0" fmla="*/ 25412 h 27552"/>
                <a:gd name="connsiteX1" fmla="*/ 2415 w 29748"/>
                <a:gd name="connsiteY1" fmla="*/ 27553 h 27552"/>
                <a:gd name="connsiteX2" fmla="*/ 0 w 29748"/>
                <a:gd name="connsiteY2" fmla="*/ 26510 h 27552"/>
                <a:gd name="connsiteX3" fmla="*/ 933 w 29748"/>
                <a:gd name="connsiteY3" fmla="*/ 23574 h 27552"/>
                <a:gd name="connsiteX4" fmla="*/ 2772 w 29748"/>
                <a:gd name="connsiteY4" fmla="*/ 22064 h 27552"/>
                <a:gd name="connsiteX5" fmla="*/ 4090 w 29748"/>
                <a:gd name="connsiteY5" fmla="*/ 18963 h 27552"/>
                <a:gd name="connsiteX6" fmla="*/ 6614 w 29748"/>
                <a:gd name="connsiteY6" fmla="*/ 15807 h 27552"/>
                <a:gd name="connsiteX7" fmla="*/ 10237 w 29748"/>
                <a:gd name="connsiteY7" fmla="*/ 15176 h 27552"/>
                <a:gd name="connsiteX8" fmla="*/ 12542 w 29748"/>
                <a:gd name="connsiteY8" fmla="*/ 11306 h 27552"/>
                <a:gd name="connsiteX9" fmla="*/ 17536 w 29748"/>
                <a:gd name="connsiteY9" fmla="*/ 5790 h 27552"/>
                <a:gd name="connsiteX10" fmla="*/ 21378 w 29748"/>
                <a:gd name="connsiteY10" fmla="*/ 5187 h 27552"/>
                <a:gd name="connsiteX11" fmla="*/ 21378 w 29748"/>
                <a:gd name="connsiteY11" fmla="*/ 2799 h 27552"/>
                <a:gd name="connsiteX12" fmla="*/ 26153 w 29748"/>
                <a:gd name="connsiteY12" fmla="*/ 0 h 27552"/>
                <a:gd name="connsiteX13" fmla="*/ 28404 w 29748"/>
                <a:gd name="connsiteY13" fmla="*/ 110 h 27552"/>
                <a:gd name="connsiteX14" fmla="*/ 29748 w 29748"/>
                <a:gd name="connsiteY14" fmla="*/ 2333 h 27552"/>
                <a:gd name="connsiteX15" fmla="*/ 22559 w 29748"/>
                <a:gd name="connsiteY15" fmla="*/ 8645 h 27552"/>
                <a:gd name="connsiteX16" fmla="*/ 21708 w 29748"/>
                <a:gd name="connsiteY16" fmla="*/ 11965 h 27552"/>
                <a:gd name="connsiteX17" fmla="*/ 16137 w 29748"/>
                <a:gd name="connsiteY17" fmla="*/ 17152 h 27552"/>
                <a:gd name="connsiteX18" fmla="*/ 12295 w 29748"/>
                <a:gd name="connsiteY18" fmla="*/ 18853 h 27552"/>
                <a:gd name="connsiteX19" fmla="*/ 6559 w 29748"/>
                <a:gd name="connsiteY19" fmla="*/ 25412 h 2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748" h="27552">
                  <a:moveTo>
                    <a:pt x="6559" y="25412"/>
                  </a:moveTo>
                  <a:lnTo>
                    <a:pt x="2415" y="27553"/>
                  </a:lnTo>
                  <a:lnTo>
                    <a:pt x="0" y="26510"/>
                  </a:lnTo>
                  <a:lnTo>
                    <a:pt x="933" y="23574"/>
                  </a:lnTo>
                  <a:lnTo>
                    <a:pt x="2772" y="22064"/>
                  </a:lnTo>
                  <a:lnTo>
                    <a:pt x="4090" y="18963"/>
                  </a:lnTo>
                  <a:lnTo>
                    <a:pt x="6614" y="15807"/>
                  </a:lnTo>
                  <a:lnTo>
                    <a:pt x="10237" y="15176"/>
                  </a:lnTo>
                  <a:lnTo>
                    <a:pt x="12542" y="11306"/>
                  </a:lnTo>
                  <a:lnTo>
                    <a:pt x="17536" y="5790"/>
                  </a:lnTo>
                  <a:lnTo>
                    <a:pt x="21378" y="5187"/>
                  </a:lnTo>
                  <a:lnTo>
                    <a:pt x="21378" y="2799"/>
                  </a:lnTo>
                  <a:cubicBezTo>
                    <a:pt x="21378" y="2799"/>
                    <a:pt x="26153" y="0"/>
                    <a:pt x="26153" y="0"/>
                  </a:cubicBezTo>
                  <a:lnTo>
                    <a:pt x="28404" y="110"/>
                  </a:lnTo>
                  <a:lnTo>
                    <a:pt x="29748" y="2333"/>
                  </a:lnTo>
                  <a:lnTo>
                    <a:pt x="22559" y="8645"/>
                  </a:lnTo>
                  <a:lnTo>
                    <a:pt x="21708" y="11965"/>
                  </a:lnTo>
                  <a:lnTo>
                    <a:pt x="16137" y="17152"/>
                  </a:lnTo>
                  <a:lnTo>
                    <a:pt x="12295" y="18853"/>
                  </a:lnTo>
                  <a:lnTo>
                    <a:pt x="6559" y="254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 name="Freeform: Shape 3299">
              <a:extLst>
                <a:ext uri="{FF2B5EF4-FFF2-40B4-BE49-F238E27FC236}">
                  <a16:creationId xmlns:a16="http://schemas.microsoft.com/office/drawing/2014/main" id="{0E1A5EAF-8D8E-DAFB-E8B4-4532D9E24484}"/>
                </a:ext>
              </a:extLst>
            </p:cNvPr>
            <p:cNvSpPr/>
            <p:nvPr/>
          </p:nvSpPr>
          <p:spPr>
            <a:xfrm>
              <a:off x="1871611" y="3638886"/>
              <a:ext cx="2762" cy="3822"/>
            </a:xfrm>
            <a:custGeom>
              <a:avLst/>
              <a:gdLst>
                <a:gd name="connsiteX0" fmla="*/ 12898 w 26537"/>
                <a:gd name="connsiteY0" fmla="*/ 10044 h 36718"/>
                <a:gd name="connsiteX1" fmla="*/ 14682 w 26537"/>
                <a:gd name="connsiteY1" fmla="*/ 13859 h 36718"/>
                <a:gd name="connsiteX2" fmla="*/ 16411 w 26537"/>
                <a:gd name="connsiteY2" fmla="*/ 15176 h 36718"/>
                <a:gd name="connsiteX3" fmla="*/ 19347 w 26537"/>
                <a:gd name="connsiteY3" fmla="*/ 22119 h 36718"/>
                <a:gd name="connsiteX4" fmla="*/ 25769 w 26537"/>
                <a:gd name="connsiteY4" fmla="*/ 28129 h 36718"/>
                <a:gd name="connsiteX5" fmla="*/ 26537 w 26537"/>
                <a:gd name="connsiteY5" fmla="*/ 33590 h 36718"/>
                <a:gd name="connsiteX6" fmla="*/ 26208 w 26537"/>
                <a:gd name="connsiteY6" fmla="*/ 36719 h 36718"/>
                <a:gd name="connsiteX7" fmla="*/ 23299 w 26537"/>
                <a:gd name="connsiteY7" fmla="*/ 34331 h 36718"/>
                <a:gd name="connsiteX8" fmla="*/ 20720 w 26537"/>
                <a:gd name="connsiteY8" fmla="*/ 29446 h 36718"/>
                <a:gd name="connsiteX9" fmla="*/ 17509 w 26537"/>
                <a:gd name="connsiteY9" fmla="*/ 29172 h 36718"/>
                <a:gd name="connsiteX10" fmla="*/ 11389 w 26537"/>
                <a:gd name="connsiteY10" fmla="*/ 22229 h 36718"/>
                <a:gd name="connsiteX11" fmla="*/ 10648 w 26537"/>
                <a:gd name="connsiteY11" fmla="*/ 19237 h 36718"/>
                <a:gd name="connsiteX12" fmla="*/ 8205 w 26537"/>
                <a:gd name="connsiteY12" fmla="*/ 16136 h 36718"/>
                <a:gd name="connsiteX13" fmla="*/ 8398 w 26537"/>
                <a:gd name="connsiteY13" fmla="*/ 13557 h 36718"/>
                <a:gd name="connsiteX14" fmla="*/ 4364 w 26537"/>
                <a:gd name="connsiteY14" fmla="*/ 7519 h 36718"/>
                <a:gd name="connsiteX15" fmla="*/ 0 w 26537"/>
                <a:gd name="connsiteY15" fmla="*/ 4062 h 36718"/>
                <a:gd name="connsiteX16" fmla="*/ 3623 w 26537"/>
                <a:gd name="connsiteY16" fmla="*/ 0 h 36718"/>
                <a:gd name="connsiteX17" fmla="*/ 12926 w 26537"/>
                <a:gd name="connsiteY17" fmla="*/ 2799 h 36718"/>
                <a:gd name="connsiteX18" fmla="*/ 12926 w 26537"/>
                <a:gd name="connsiteY18" fmla="*/ 10044 h 3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537" h="36718">
                  <a:moveTo>
                    <a:pt x="12898" y="10044"/>
                  </a:moveTo>
                  <a:lnTo>
                    <a:pt x="14682" y="13859"/>
                  </a:lnTo>
                  <a:lnTo>
                    <a:pt x="16411" y="15176"/>
                  </a:lnTo>
                  <a:lnTo>
                    <a:pt x="19347" y="22119"/>
                  </a:lnTo>
                  <a:lnTo>
                    <a:pt x="25769" y="28129"/>
                  </a:lnTo>
                  <a:lnTo>
                    <a:pt x="26537" y="33590"/>
                  </a:lnTo>
                  <a:lnTo>
                    <a:pt x="26208" y="36719"/>
                  </a:lnTo>
                  <a:lnTo>
                    <a:pt x="23299" y="34331"/>
                  </a:lnTo>
                  <a:lnTo>
                    <a:pt x="20720" y="29446"/>
                  </a:lnTo>
                  <a:lnTo>
                    <a:pt x="17509" y="29172"/>
                  </a:lnTo>
                  <a:lnTo>
                    <a:pt x="11389" y="22229"/>
                  </a:lnTo>
                  <a:lnTo>
                    <a:pt x="10648" y="19237"/>
                  </a:lnTo>
                  <a:lnTo>
                    <a:pt x="8205" y="16136"/>
                  </a:lnTo>
                  <a:lnTo>
                    <a:pt x="8398" y="13557"/>
                  </a:lnTo>
                  <a:lnTo>
                    <a:pt x="4364" y="7519"/>
                  </a:lnTo>
                  <a:lnTo>
                    <a:pt x="0" y="4062"/>
                  </a:lnTo>
                  <a:lnTo>
                    <a:pt x="3623" y="0"/>
                  </a:lnTo>
                  <a:lnTo>
                    <a:pt x="12926" y="2799"/>
                  </a:lnTo>
                  <a:lnTo>
                    <a:pt x="12926" y="100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1" name="Freeform: Shape 3300">
              <a:extLst>
                <a:ext uri="{FF2B5EF4-FFF2-40B4-BE49-F238E27FC236}">
                  <a16:creationId xmlns:a16="http://schemas.microsoft.com/office/drawing/2014/main" id="{9476C2A6-D51C-E44E-7EF4-1344873ECB96}"/>
                </a:ext>
              </a:extLst>
            </p:cNvPr>
            <p:cNvSpPr/>
            <p:nvPr/>
          </p:nvSpPr>
          <p:spPr>
            <a:xfrm>
              <a:off x="1784408" y="3639906"/>
              <a:ext cx="2716" cy="2958"/>
            </a:xfrm>
            <a:custGeom>
              <a:avLst/>
              <a:gdLst>
                <a:gd name="connsiteX0" fmla="*/ 21543 w 26098"/>
                <a:gd name="connsiteY0" fmla="*/ 13612 h 28430"/>
                <a:gd name="connsiteX1" fmla="*/ 20446 w 26098"/>
                <a:gd name="connsiteY1" fmla="*/ 20527 h 28430"/>
                <a:gd name="connsiteX2" fmla="*/ 12432 w 26098"/>
                <a:gd name="connsiteY2" fmla="*/ 28431 h 28430"/>
                <a:gd name="connsiteX3" fmla="*/ 5653 w 26098"/>
                <a:gd name="connsiteY3" fmla="*/ 17783 h 28430"/>
                <a:gd name="connsiteX4" fmla="*/ 0 w 26098"/>
                <a:gd name="connsiteY4" fmla="*/ 20500 h 28430"/>
                <a:gd name="connsiteX5" fmla="*/ 878 w 26098"/>
                <a:gd name="connsiteY5" fmla="*/ 14902 h 28430"/>
                <a:gd name="connsiteX6" fmla="*/ 6449 w 26098"/>
                <a:gd name="connsiteY6" fmla="*/ 5818 h 28430"/>
                <a:gd name="connsiteX7" fmla="*/ 7904 w 26098"/>
                <a:gd name="connsiteY7" fmla="*/ 1180 h 28430"/>
                <a:gd name="connsiteX8" fmla="*/ 9825 w 26098"/>
                <a:gd name="connsiteY8" fmla="*/ 0 h 28430"/>
                <a:gd name="connsiteX9" fmla="*/ 18936 w 26098"/>
                <a:gd name="connsiteY9" fmla="*/ 3046 h 28430"/>
                <a:gd name="connsiteX10" fmla="*/ 21187 w 26098"/>
                <a:gd name="connsiteY10" fmla="*/ 5818 h 28430"/>
                <a:gd name="connsiteX11" fmla="*/ 26098 w 26098"/>
                <a:gd name="connsiteY11" fmla="*/ 9166 h 28430"/>
                <a:gd name="connsiteX12" fmla="*/ 21570 w 26098"/>
                <a:gd name="connsiteY12" fmla="*/ 13612 h 2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098" h="28430">
                  <a:moveTo>
                    <a:pt x="21543" y="13612"/>
                  </a:moveTo>
                  <a:lnTo>
                    <a:pt x="20446" y="20527"/>
                  </a:lnTo>
                  <a:lnTo>
                    <a:pt x="12432" y="28431"/>
                  </a:lnTo>
                  <a:lnTo>
                    <a:pt x="5653" y="17783"/>
                  </a:lnTo>
                  <a:lnTo>
                    <a:pt x="0" y="20500"/>
                  </a:lnTo>
                  <a:lnTo>
                    <a:pt x="878" y="14902"/>
                  </a:lnTo>
                  <a:lnTo>
                    <a:pt x="6449" y="5818"/>
                  </a:lnTo>
                  <a:lnTo>
                    <a:pt x="7904" y="1180"/>
                  </a:lnTo>
                  <a:lnTo>
                    <a:pt x="9825" y="0"/>
                  </a:lnTo>
                  <a:lnTo>
                    <a:pt x="18936" y="3046"/>
                  </a:lnTo>
                  <a:lnTo>
                    <a:pt x="21187" y="5818"/>
                  </a:lnTo>
                  <a:lnTo>
                    <a:pt x="26098" y="9166"/>
                  </a:lnTo>
                  <a:lnTo>
                    <a:pt x="21570" y="136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2" name="Freeform: Shape 3301">
              <a:extLst>
                <a:ext uri="{FF2B5EF4-FFF2-40B4-BE49-F238E27FC236}">
                  <a16:creationId xmlns:a16="http://schemas.microsoft.com/office/drawing/2014/main" id="{4C2D9643-6036-B2A9-5E2C-0CECF243E222}"/>
                </a:ext>
              </a:extLst>
            </p:cNvPr>
            <p:cNvSpPr/>
            <p:nvPr/>
          </p:nvSpPr>
          <p:spPr>
            <a:xfrm>
              <a:off x="1534142" y="3389312"/>
              <a:ext cx="5926" cy="5012"/>
            </a:xfrm>
            <a:custGeom>
              <a:avLst/>
              <a:gdLst>
                <a:gd name="connsiteX0" fmla="*/ 27855 w 56944"/>
                <a:gd name="connsiteY0" fmla="*/ 2854 h 48162"/>
                <a:gd name="connsiteX1" fmla="*/ 33069 w 56944"/>
                <a:gd name="connsiteY1" fmla="*/ 0 h 48162"/>
                <a:gd name="connsiteX2" fmla="*/ 47834 w 56944"/>
                <a:gd name="connsiteY2" fmla="*/ 6998 h 48162"/>
                <a:gd name="connsiteX3" fmla="*/ 51511 w 56944"/>
                <a:gd name="connsiteY3" fmla="*/ 11691 h 48162"/>
                <a:gd name="connsiteX4" fmla="*/ 55737 w 56944"/>
                <a:gd name="connsiteY4" fmla="*/ 11691 h 48162"/>
                <a:gd name="connsiteX5" fmla="*/ 56944 w 56944"/>
                <a:gd name="connsiteY5" fmla="*/ 25193 h 48162"/>
                <a:gd name="connsiteX6" fmla="*/ 26318 w 56944"/>
                <a:gd name="connsiteY6" fmla="*/ 48162 h 48162"/>
                <a:gd name="connsiteX7" fmla="*/ 22257 w 56944"/>
                <a:gd name="connsiteY7" fmla="*/ 39436 h 48162"/>
                <a:gd name="connsiteX8" fmla="*/ 3842 w 56944"/>
                <a:gd name="connsiteY8" fmla="*/ 40670 h 48162"/>
                <a:gd name="connsiteX9" fmla="*/ 0 w 56944"/>
                <a:gd name="connsiteY9" fmla="*/ 24507 h 48162"/>
                <a:gd name="connsiteX10" fmla="*/ 4967 w 56944"/>
                <a:gd name="connsiteY10" fmla="*/ 11663 h 48162"/>
                <a:gd name="connsiteX11" fmla="*/ 7629 w 56944"/>
                <a:gd name="connsiteY11" fmla="*/ 19622 h 48162"/>
                <a:gd name="connsiteX12" fmla="*/ 27389 w 56944"/>
                <a:gd name="connsiteY12" fmla="*/ 29282 h 48162"/>
                <a:gd name="connsiteX13" fmla="*/ 28514 w 56944"/>
                <a:gd name="connsiteY13" fmla="*/ 26839 h 48162"/>
                <a:gd name="connsiteX14" fmla="*/ 27882 w 56944"/>
                <a:gd name="connsiteY14" fmla="*/ 2854 h 4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944" h="48162">
                  <a:moveTo>
                    <a:pt x="27855" y="2854"/>
                  </a:moveTo>
                  <a:lnTo>
                    <a:pt x="33069" y="0"/>
                  </a:lnTo>
                  <a:lnTo>
                    <a:pt x="47834" y="6998"/>
                  </a:lnTo>
                  <a:lnTo>
                    <a:pt x="51511" y="11691"/>
                  </a:lnTo>
                  <a:lnTo>
                    <a:pt x="55737" y="11691"/>
                  </a:lnTo>
                  <a:lnTo>
                    <a:pt x="56944" y="25193"/>
                  </a:lnTo>
                  <a:lnTo>
                    <a:pt x="26318" y="48162"/>
                  </a:lnTo>
                  <a:lnTo>
                    <a:pt x="22257" y="39436"/>
                  </a:lnTo>
                  <a:lnTo>
                    <a:pt x="3842" y="40670"/>
                  </a:lnTo>
                  <a:lnTo>
                    <a:pt x="0" y="24507"/>
                  </a:lnTo>
                  <a:lnTo>
                    <a:pt x="4967" y="11663"/>
                  </a:lnTo>
                  <a:lnTo>
                    <a:pt x="7629" y="19622"/>
                  </a:lnTo>
                  <a:lnTo>
                    <a:pt x="27389" y="29282"/>
                  </a:lnTo>
                  <a:lnTo>
                    <a:pt x="28514" y="26839"/>
                  </a:lnTo>
                  <a:lnTo>
                    <a:pt x="27882"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3" name="Freeform: Shape 3302">
              <a:extLst>
                <a:ext uri="{FF2B5EF4-FFF2-40B4-BE49-F238E27FC236}">
                  <a16:creationId xmlns:a16="http://schemas.microsoft.com/office/drawing/2014/main" id="{FE64EDFB-F060-DF52-1683-179D335FF757}"/>
                </a:ext>
              </a:extLst>
            </p:cNvPr>
            <p:cNvSpPr/>
            <p:nvPr/>
          </p:nvSpPr>
          <p:spPr>
            <a:xfrm>
              <a:off x="1793356" y="3496159"/>
              <a:ext cx="2713" cy="4070"/>
            </a:xfrm>
            <a:custGeom>
              <a:avLst/>
              <a:gdLst>
                <a:gd name="connsiteX0" fmla="*/ 24287 w 26070"/>
                <a:gd name="connsiteY0" fmla="*/ 29254 h 39106"/>
                <a:gd name="connsiteX1" fmla="*/ 10071 w 26070"/>
                <a:gd name="connsiteY1" fmla="*/ 39106 h 39106"/>
                <a:gd name="connsiteX2" fmla="*/ 5955 w 26070"/>
                <a:gd name="connsiteY2" fmla="*/ 36033 h 39106"/>
                <a:gd name="connsiteX3" fmla="*/ 2909 w 26070"/>
                <a:gd name="connsiteY3" fmla="*/ 29282 h 39106"/>
                <a:gd name="connsiteX4" fmla="*/ 0 w 26070"/>
                <a:gd name="connsiteY4" fmla="*/ 19484 h 39106"/>
                <a:gd name="connsiteX5" fmla="*/ 1427 w 26070"/>
                <a:gd name="connsiteY5" fmla="*/ 5873 h 39106"/>
                <a:gd name="connsiteX6" fmla="*/ 18113 w 26070"/>
                <a:gd name="connsiteY6" fmla="*/ 0 h 39106"/>
                <a:gd name="connsiteX7" fmla="*/ 26071 w 26070"/>
                <a:gd name="connsiteY7" fmla="*/ 6257 h 39106"/>
                <a:gd name="connsiteX8" fmla="*/ 24260 w 26070"/>
                <a:gd name="connsiteY8" fmla="*/ 29282 h 39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70" h="39106">
                  <a:moveTo>
                    <a:pt x="24287" y="29254"/>
                  </a:moveTo>
                  <a:lnTo>
                    <a:pt x="10071" y="39106"/>
                  </a:lnTo>
                  <a:lnTo>
                    <a:pt x="5955" y="36033"/>
                  </a:lnTo>
                  <a:lnTo>
                    <a:pt x="2909" y="29282"/>
                  </a:lnTo>
                  <a:lnTo>
                    <a:pt x="0" y="19484"/>
                  </a:lnTo>
                  <a:lnTo>
                    <a:pt x="1427" y="5873"/>
                  </a:lnTo>
                  <a:lnTo>
                    <a:pt x="18113" y="0"/>
                  </a:lnTo>
                  <a:lnTo>
                    <a:pt x="26071" y="6257"/>
                  </a:lnTo>
                  <a:lnTo>
                    <a:pt x="24260" y="292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4" name="Freeform: Shape 3303">
              <a:extLst>
                <a:ext uri="{FF2B5EF4-FFF2-40B4-BE49-F238E27FC236}">
                  <a16:creationId xmlns:a16="http://schemas.microsoft.com/office/drawing/2014/main" id="{73E99EB9-EF2F-CF37-7415-897E14DA2293}"/>
                </a:ext>
              </a:extLst>
            </p:cNvPr>
            <p:cNvSpPr/>
            <p:nvPr/>
          </p:nvSpPr>
          <p:spPr>
            <a:xfrm>
              <a:off x="1538364" y="3386375"/>
              <a:ext cx="4635" cy="3707"/>
            </a:xfrm>
            <a:custGeom>
              <a:avLst/>
              <a:gdLst>
                <a:gd name="connsiteX0" fmla="*/ 44540 w 44539"/>
                <a:gd name="connsiteY0" fmla="*/ 28376 h 35620"/>
                <a:gd name="connsiteX1" fmla="*/ 35347 w 44539"/>
                <a:gd name="connsiteY1" fmla="*/ 35621 h 35620"/>
                <a:gd name="connsiteX2" fmla="*/ 6998 w 44539"/>
                <a:gd name="connsiteY2" fmla="*/ 22284 h 35620"/>
                <a:gd name="connsiteX3" fmla="*/ 467 w 44539"/>
                <a:gd name="connsiteY3" fmla="*/ 17728 h 35620"/>
                <a:gd name="connsiteX4" fmla="*/ 0 w 44539"/>
                <a:gd name="connsiteY4" fmla="*/ 13721 h 35620"/>
                <a:gd name="connsiteX5" fmla="*/ 2333 w 44539"/>
                <a:gd name="connsiteY5" fmla="*/ 3485 h 35620"/>
                <a:gd name="connsiteX6" fmla="*/ 26346 w 44539"/>
                <a:gd name="connsiteY6" fmla="*/ 0 h 35620"/>
                <a:gd name="connsiteX7" fmla="*/ 44540 w 44539"/>
                <a:gd name="connsiteY7" fmla="*/ 21323 h 35620"/>
                <a:gd name="connsiteX8" fmla="*/ 44540 w 44539"/>
                <a:gd name="connsiteY8" fmla="*/ 28376 h 3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539" h="35620">
                  <a:moveTo>
                    <a:pt x="44540" y="28376"/>
                  </a:moveTo>
                  <a:lnTo>
                    <a:pt x="35347" y="35621"/>
                  </a:lnTo>
                  <a:lnTo>
                    <a:pt x="6998" y="22284"/>
                  </a:lnTo>
                  <a:lnTo>
                    <a:pt x="467" y="17728"/>
                  </a:lnTo>
                  <a:lnTo>
                    <a:pt x="0" y="13721"/>
                  </a:lnTo>
                  <a:lnTo>
                    <a:pt x="2333" y="3485"/>
                  </a:lnTo>
                  <a:lnTo>
                    <a:pt x="26346" y="0"/>
                  </a:lnTo>
                  <a:lnTo>
                    <a:pt x="44540" y="21323"/>
                  </a:lnTo>
                  <a:lnTo>
                    <a:pt x="44540" y="283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5" name="Freeform: Shape 3304">
              <a:extLst>
                <a:ext uri="{FF2B5EF4-FFF2-40B4-BE49-F238E27FC236}">
                  <a16:creationId xmlns:a16="http://schemas.microsoft.com/office/drawing/2014/main" id="{90178F36-8D5F-3B96-78E5-FACBA6361122}"/>
                </a:ext>
              </a:extLst>
            </p:cNvPr>
            <p:cNvSpPr/>
            <p:nvPr/>
          </p:nvSpPr>
          <p:spPr>
            <a:xfrm>
              <a:off x="1779024" y="3477800"/>
              <a:ext cx="1859" cy="5484"/>
            </a:xfrm>
            <a:custGeom>
              <a:avLst/>
              <a:gdLst>
                <a:gd name="connsiteX0" fmla="*/ 9495 w 17865"/>
                <a:gd name="connsiteY0" fmla="*/ 52526 h 52690"/>
                <a:gd name="connsiteX1" fmla="*/ 1784 w 17865"/>
                <a:gd name="connsiteY1" fmla="*/ 52690 h 52690"/>
                <a:gd name="connsiteX2" fmla="*/ 0 w 17865"/>
                <a:gd name="connsiteY2" fmla="*/ 46351 h 52690"/>
                <a:gd name="connsiteX3" fmla="*/ 3073 w 17865"/>
                <a:gd name="connsiteY3" fmla="*/ 32355 h 52690"/>
                <a:gd name="connsiteX4" fmla="*/ 4967 w 17865"/>
                <a:gd name="connsiteY4" fmla="*/ 3403 h 52690"/>
                <a:gd name="connsiteX5" fmla="*/ 7135 w 17865"/>
                <a:gd name="connsiteY5" fmla="*/ 0 h 52690"/>
                <a:gd name="connsiteX6" fmla="*/ 9440 w 17865"/>
                <a:gd name="connsiteY6" fmla="*/ 7766 h 52690"/>
                <a:gd name="connsiteX7" fmla="*/ 17865 w 17865"/>
                <a:gd name="connsiteY7" fmla="*/ 23025 h 52690"/>
                <a:gd name="connsiteX8" fmla="*/ 17865 w 17865"/>
                <a:gd name="connsiteY8" fmla="*/ 27059 h 52690"/>
                <a:gd name="connsiteX9" fmla="*/ 13557 w 17865"/>
                <a:gd name="connsiteY9" fmla="*/ 38859 h 52690"/>
                <a:gd name="connsiteX10" fmla="*/ 13886 w 17865"/>
                <a:gd name="connsiteY10" fmla="*/ 46598 h 52690"/>
                <a:gd name="connsiteX11" fmla="*/ 9440 w 17865"/>
                <a:gd name="connsiteY11" fmla="*/ 52526 h 5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865" h="52690">
                  <a:moveTo>
                    <a:pt x="9495" y="52526"/>
                  </a:moveTo>
                  <a:lnTo>
                    <a:pt x="1784" y="52690"/>
                  </a:lnTo>
                  <a:lnTo>
                    <a:pt x="0" y="46351"/>
                  </a:lnTo>
                  <a:lnTo>
                    <a:pt x="3073" y="32355"/>
                  </a:lnTo>
                  <a:lnTo>
                    <a:pt x="4967" y="3403"/>
                  </a:lnTo>
                  <a:lnTo>
                    <a:pt x="7135" y="0"/>
                  </a:lnTo>
                  <a:lnTo>
                    <a:pt x="9440" y="7766"/>
                  </a:lnTo>
                  <a:lnTo>
                    <a:pt x="17865" y="23025"/>
                  </a:lnTo>
                  <a:lnTo>
                    <a:pt x="17865" y="27059"/>
                  </a:lnTo>
                  <a:lnTo>
                    <a:pt x="13557" y="38859"/>
                  </a:lnTo>
                  <a:lnTo>
                    <a:pt x="13886" y="46598"/>
                  </a:lnTo>
                  <a:lnTo>
                    <a:pt x="9440" y="525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6" name="Freeform: Shape 3305">
              <a:extLst>
                <a:ext uri="{FF2B5EF4-FFF2-40B4-BE49-F238E27FC236}">
                  <a16:creationId xmlns:a16="http://schemas.microsoft.com/office/drawing/2014/main" id="{C7E0DF8E-F6DC-2D45-3D6A-ED806AD1C832}"/>
                </a:ext>
              </a:extLst>
            </p:cNvPr>
            <p:cNvSpPr/>
            <p:nvPr/>
          </p:nvSpPr>
          <p:spPr>
            <a:xfrm>
              <a:off x="1778947" y="3496849"/>
              <a:ext cx="2482" cy="3530"/>
            </a:xfrm>
            <a:custGeom>
              <a:avLst/>
              <a:gdLst>
                <a:gd name="connsiteX0" fmla="*/ 0 w 23847"/>
                <a:gd name="connsiteY0" fmla="*/ 3952 h 33919"/>
                <a:gd name="connsiteX1" fmla="*/ 0 w 23847"/>
                <a:gd name="connsiteY1" fmla="*/ 0 h 33919"/>
                <a:gd name="connsiteX2" fmla="*/ 4803 w 23847"/>
                <a:gd name="connsiteY2" fmla="*/ 357 h 33919"/>
                <a:gd name="connsiteX3" fmla="*/ 22311 w 23847"/>
                <a:gd name="connsiteY3" fmla="*/ 23244 h 33919"/>
                <a:gd name="connsiteX4" fmla="*/ 23848 w 23847"/>
                <a:gd name="connsiteY4" fmla="*/ 29007 h 33919"/>
                <a:gd name="connsiteX5" fmla="*/ 19621 w 23847"/>
                <a:gd name="connsiteY5" fmla="*/ 33919 h 33919"/>
                <a:gd name="connsiteX6" fmla="*/ 0 w 23847"/>
                <a:gd name="connsiteY6" fmla="*/ 3924 h 3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47" h="33919">
                  <a:moveTo>
                    <a:pt x="0" y="3952"/>
                  </a:moveTo>
                  <a:lnTo>
                    <a:pt x="0" y="0"/>
                  </a:lnTo>
                  <a:lnTo>
                    <a:pt x="4803" y="357"/>
                  </a:lnTo>
                  <a:lnTo>
                    <a:pt x="22311" y="23244"/>
                  </a:lnTo>
                  <a:lnTo>
                    <a:pt x="23848" y="29007"/>
                  </a:lnTo>
                  <a:lnTo>
                    <a:pt x="19621" y="33919"/>
                  </a:lnTo>
                  <a:lnTo>
                    <a:pt x="0" y="39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7" name="Freeform: Shape 3306">
              <a:extLst>
                <a:ext uri="{FF2B5EF4-FFF2-40B4-BE49-F238E27FC236}">
                  <a16:creationId xmlns:a16="http://schemas.microsoft.com/office/drawing/2014/main" id="{B86DD645-EE67-6878-D7D6-D9383D77E0E1}"/>
                </a:ext>
              </a:extLst>
            </p:cNvPr>
            <p:cNvSpPr/>
            <p:nvPr/>
          </p:nvSpPr>
          <p:spPr>
            <a:xfrm>
              <a:off x="1541685" y="3379881"/>
              <a:ext cx="4259" cy="3659"/>
            </a:xfrm>
            <a:custGeom>
              <a:avLst/>
              <a:gdLst>
                <a:gd name="connsiteX0" fmla="*/ 1152 w 40917"/>
                <a:gd name="connsiteY0" fmla="*/ 7794 h 35154"/>
                <a:gd name="connsiteX1" fmla="*/ 6531 w 40917"/>
                <a:gd name="connsiteY1" fmla="*/ 4995 h 35154"/>
                <a:gd name="connsiteX2" fmla="*/ 10730 w 40917"/>
                <a:gd name="connsiteY2" fmla="*/ 5955 h 35154"/>
                <a:gd name="connsiteX3" fmla="*/ 25330 w 40917"/>
                <a:gd name="connsiteY3" fmla="*/ 137 h 35154"/>
                <a:gd name="connsiteX4" fmla="*/ 32657 w 40917"/>
                <a:gd name="connsiteY4" fmla="*/ 0 h 35154"/>
                <a:gd name="connsiteX5" fmla="*/ 38173 w 40917"/>
                <a:gd name="connsiteY5" fmla="*/ 2195 h 35154"/>
                <a:gd name="connsiteX6" fmla="*/ 40917 w 40917"/>
                <a:gd name="connsiteY6" fmla="*/ 6888 h 35154"/>
                <a:gd name="connsiteX7" fmla="*/ 38996 w 40917"/>
                <a:gd name="connsiteY7" fmla="*/ 21378 h 35154"/>
                <a:gd name="connsiteX8" fmla="*/ 36828 w 40917"/>
                <a:gd name="connsiteY8" fmla="*/ 25522 h 35154"/>
                <a:gd name="connsiteX9" fmla="*/ 14490 w 40917"/>
                <a:gd name="connsiteY9" fmla="*/ 28678 h 35154"/>
                <a:gd name="connsiteX10" fmla="*/ 4555 w 40917"/>
                <a:gd name="connsiteY10" fmla="*/ 35154 h 35154"/>
                <a:gd name="connsiteX11" fmla="*/ 0 w 40917"/>
                <a:gd name="connsiteY11" fmla="*/ 27059 h 35154"/>
                <a:gd name="connsiteX12" fmla="*/ 1180 w 40917"/>
                <a:gd name="connsiteY12" fmla="*/ 7766 h 3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917" h="35154">
                  <a:moveTo>
                    <a:pt x="1152" y="7794"/>
                  </a:moveTo>
                  <a:lnTo>
                    <a:pt x="6531" y="4995"/>
                  </a:lnTo>
                  <a:lnTo>
                    <a:pt x="10730" y="5955"/>
                  </a:lnTo>
                  <a:lnTo>
                    <a:pt x="25330" y="137"/>
                  </a:lnTo>
                  <a:lnTo>
                    <a:pt x="32657" y="0"/>
                  </a:lnTo>
                  <a:lnTo>
                    <a:pt x="38173" y="2195"/>
                  </a:lnTo>
                  <a:lnTo>
                    <a:pt x="40917" y="6888"/>
                  </a:lnTo>
                  <a:lnTo>
                    <a:pt x="38996" y="21378"/>
                  </a:lnTo>
                  <a:lnTo>
                    <a:pt x="36828" y="25522"/>
                  </a:lnTo>
                  <a:lnTo>
                    <a:pt x="14490" y="28678"/>
                  </a:lnTo>
                  <a:lnTo>
                    <a:pt x="4555" y="35154"/>
                  </a:lnTo>
                  <a:lnTo>
                    <a:pt x="0" y="27059"/>
                  </a:lnTo>
                  <a:lnTo>
                    <a:pt x="1180" y="77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8" name="Freeform: Shape 3307">
              <a:extLst>
                <a:ext uri="{FF2B5EF4-FFF2-40B4-BE49-F238E27FC236}">
                  <a16:creationId xmlns:a16="http://schemas.microsoft.com/office/drawing/2014/main" id="{6A05E312-D167-5C1E-340A-A9AAAFA0C9B0}"/>
                </a:ext>
              </a:extLst>
            </p:cNvPr>
            <p:cNvSpPr/>
            <p:nvPr/>
          </p:nvSpPr>
          <p:spPr>
            <a:xfrm>
              <a:off x="1828577" y="3679239"/>
              <a:ext cx="1708" cy="1808"/>
            </a:xfrm>
            <a:custGeom>
              <a:avLst/>
              <a:gdLst>
                <a:gd name="connsiteX0" fmla="*/ 9550 w 16410"/>
                <a:gd name="connsiteY0" fmla="*/ 11306 h 17371"/>
                <a:gd name="connsiteX1" fmla="*/ 5241 w 16410"/>
                <a:gd name="connsiteY1" fmla="*/ 14078 h 17371"/>
                <a:gd name="connsiteX2" fmla="*/ 3156 w 16410"/>
                <a:gd name="connsiteY2" fmla="*/ 17097 h 17371"/>
                <a:gd name="connsiteX3" fmla="*/ 1317 w 16410"/>
                <a:gd name="connsiteY3" fmla="*/ 17372 h 17371"/>
                <a:gd name="connsiteX4" fmla="*/ 0 w 16410"/>
                <a:gd name="connsiteY4" fmla="*/ 15286 h 17371"/>
                <a:gd name="connsiteX5" fmla="*/ 1262 w 16410"/>
                <a:gd name="connsiteY5" fmla="*/ 13365 h 17371"/>
                <a:gd name="connsiteX6" fmla="*/ 4171 w 16410"/>
                <a:gd name="connsiteY6" fmla="*/ 13557 h 17371"/>
                <a:gd name="connsiteX7" fmla="*/ 5900 w 16410"/>
                <a:gd name="connsiteY7" fmla="*/ 10127 h 17371"/>
                <a:gd name="connsiteX8" fmla="*/ 10428 w 16410"/>
                <a:gd name="connsiteY8" fmla="*/ 6998 h 17371"/>
                <a:gd name="connsiteX9" fmla="*/ 14160 w 16410"/>
                <a:gd name="connsiteY9" fmla="*/ 0 h 17371"/>
                <a:gd name="connsiteX10" fmla="*/ 16411 w 16410"/>
                <a:gd name="connsiteY10" fmla="*/ 1482 h 17371"/>
                <a:gd name="connsiteX11" fmla="*/ 14078 w 16410"/>
                <a:gd name="connsiteY11" fmla="*/ 3842 h 17371"/>
                <a:gd name="connsiteX12" fmla="*/ 13447 w 16410"/>
                <a:gd name="connsiteY12" fmla="*/ 7245 h 17371"/>
                <a:gd name="connsiteX13" fmla="*/ 11471 w 16410"/>
                <a:gd name="connsiteY13" fmla="*/ 8123 h 17371"/>
                <a:gd name="connsiteX14" fmla="*/ 9605 w 16410"/>
                <a:gd name="connsiteY14" fmla="*/ 11361 h 1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410" h="17371">
                  <a:moveTo>
                    <a:pt x="9550" y="11306"/>
                  </a:moveTo>
                  <a:lnTo>
                    <a:pt x="5241" y="14078"/>
                  </a:lnTo>
                  <a:lnTo>
                    <a:pt x="3156" y="17097"/>
                  </a:lnTo>
                  <a:lnTo>
                    <a:pt x="1317" y="17372"/>
                  </a:lnTo>
                  <a:lnTo>
                    <a:pt x="0" y="15286"/>
                  </a:lnTo>
                  <a:lnTo>
                    <a:pt x="1262" y="13365"/>
                  </a:lnTo>
                  <a:lnTo>
                    <a:pt x="4171" y="13557"/>
                  </a:lnTo>
                  <a:lnTo>
                    <a:pt x="5900" y="10127"/>
                  </a:lnTo>
                  <a:lnTo>
                    <a:pt x="10428" y="6998"/>
                  </a:lnTo>
                  <a:lnTo>
                    <a:pt x="14160" y="0"/>
                  </a:lnTo>
                  <a:lnTo>
                    <a:pt x="16411" y="1482"/>
                  </a:lnTo>
                  <a:lnTo>
                    <a:pt x="14078" y="3842"/>
                  </a:lnTo>
                  <a:lnTo>
                    <a:pt x="13447" y="7245"/>
                  </a:lnTo>
                  <a:lnTo>
                    <a:pt x="11471" y="8123"/>
                  </a:lnTo>
                  <a:lnTo>
                    <a:pt x="9605" y="113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9" name="Freeform: Shape 3308">
              <a:extLst>
                <a:ext uri="{FF2B5EF4-FFF2-40B4-BE49-F238E27FC236}">
                  <a16:creationId xmlns:a16="http://schemas.microsoft.com/office/drawing/2014/main" id="{34C04DE0-68DB-EF87-18C7-F6855518772A}"/>
                </a:ext>
              </a:extLst>
            </p:cNvPr>
            <p:cNvSpPr/>
            <p:nvPr/>
          </p:nvSpPr>
          <p:spPr>
            <a:xfrm>
              <a:off x="1554797" y="3383026"/>
              <a:ext cx="4693" cy="3030"/>
            </a:xfrm>
            <a:custGeom>
              <a:avLst/>
              <a:gdLst>
                <a:gd name="connsiteX0" fmla="*/ 1126 w 45088"/>
                <a:gd name="connsiteY0" fmla="*/ 3128 h 29116"/>
                <a:gd name="connsiteX1" fmla="*/ 11334 w 45088"/>
                <a:gd name="connsiteY1" fmla="*/ 2497 h 29116"/>
                <a:gd name="connsiteX2" fmla="*/ 16576 w 45088"/>
                <a:gd name="connsiteY2" fmla="*/ 220 h 29116"/>
                <a:gd name="connsiteX3" fmla="*/ 17344 w 45088"/>
                <a:gd name="connsiteY3" fmla="*/ 3321 h 29116"/>
                <a:gd name="connsiteX4" fmla="*/ 31752 w 45088"/>
                <a:gd name="connsiteY4" fmla="*/ 0 h 29116"/>
                <a:gd name="connsiteX5" fmla="*/ 36747 w 45088"/>
                <a:gd name="connsiteY5" fmla="*/ 1290 h 29116"/>
                <a:gd name="connsiteX6" fmla="*/ 44046 w 45088"/>
                <a:gd name="connsiteY6" fmla="*/ 7272 h 29116"/>
                <a:gd name="connsiteX7" fmla="*/ 45089 w 45088"/>
                <a:gd name="connsiteY7" fmla="*/ 20116 h 29116"/>
                <a:gd name="connsiteX8" fmla="*/ 35155 w 45088"/>
                <a:gd name="connsiteY8" fmla="*/ 29117 h 29116"/>
                <a:gd name="connsiteX9" fmla="*/ 20994 w 45088"/>
                <a:gd name="connsiteY9" fmla="*/ 27498 h 29116"/>
                <a:gd name="connsiteX10" fmla="*/ 12130 w 45088"/>
                <a:gd name="connsiteY10" fmla="*/ 22887 h 29116"/>
                <a:gd name="connsiteX11" fmla="*/ 9111 w 45088"/>
                <a:gd name="connsiteY11" fmla="*/ 13173 h 29116"/>
                <a:gd name="connsiteX12" fmla="*/ 1647 w 45088"/>
                <a:gd name="connsiteY12" fmla="*/ 12459 h 29116"/>
                <a:gd name="connsiteX13" fmla="*/ 0 w 45088"/>
                <a:gd name="connsiteY13" fmla="*/ 7958 h 29116"/>
                <a:gd name="connsiteX14" fmla="*/ 1098 w 45088"/>
                <a:gd name="connsiteY14" fmla="*/ 3156 h 2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088" h="29116">
                  <a:moveTo>
                    <a:pt x="1126" y="3128"/>
                  </a:moveTo>
                  <a:lnTo>
                    <a:pt x="11334" y="2497"/>
                  </a:lnTo>
                  <a:lnTo>
                    <a:pt x="16576" y="220"/>
                  </a:lnTo>
                  <a:lnTo>
                    <a:pt x="17344" y="3321"/>
                  </a:lnTo>
                  <a:lnTo>
                    <a:pt x="31752" y="0"/>
                  </a:lnTo>
                  <a:lnTo>
                    <a:pt x="36747" y="1290"/>
                  </a:lnTo>
                  <a:lnTo>
                    <a:pt x="44046" y="7272"/>
                  </a:lnTo>
                  <a:lnTo>
                    <a:pt x="45089" y="20116"/>
                  </a:lnTo>
                  <a:lnTo>
                    <a:pt x="35155" y="29117"/>
                  </a:lnTo>
                  <a:lnTo>
                    <a:pt x="20994" y="27498"/>
                  </a:lnTo>
                  <a:lnTo>
                    <a:pt x="12130" y="22887"/>
                  </a:lnTo>
                  <a:lnTo>
                    <a:pt x="9111" y="13173"/>
                  </a:lnTo>
                  <a:lnTo>
                    <a:pt x="1647" y="12459"/>
                  </a:lnTo>
                  <a:lnTo>
                    <a:pt x="0" y="7958"/>
                  </a:lnTo>
                  <a:lnTo>
                    <a:pt x="1098"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0" name="Freeform: Shape 3309">
              <a:extLst>
                <a:ext uri="{FF2B5EF4-FFF2-40B4-BE49-F238E27FC236}">
                  <a16:creationId xmlns:a16="http://schemas.microsoft.com/office/drawing/2014/main" id="{9774E33F-A0B9-9AA5-5341-31D2B1F45CD4}"/>
                </a:ext>
              </a:extLst>
            </p:cNvPr>
            <p:cNvSpPr/>
            <p:nvPr/>
          </p:nvSpPr>
          <p:spPr>
            <a:xfrm>
              <a:off x="1783856" y="3644553"/>
              <a:ext cx="1851" cy="1417"/>
            </a:xfrm>
            <a:custGeom>
              <a:avLst/>
              <a:gdLst>
                <a:gd name="connsiteX0" fmla="*/ 0 w 17782"/>
                <a:gd name="connsiteY0" fmla="*/ 8013 h 13611"/>
                <a:gd name="connsiteX1" fmla="*/ 4528 w 17782"/>
                <a:gd name="connsiteY1" fmla="*/ 5159 h 13611"/>
                <a:gd name="connsiteX2" fmla="*/ 5022 w 17782"/>
                <a:gd name="connsiteY2" fmla="*/ 3320 h 13611"/>
                <a:gd name="connsiteX3" fmla="*/ 10346 w 17782"/>
                <a:gd name="connsiteY3" fmla="*/ 0 h 13611"/>
                <a:gd name="connsiteX4" fmla="*/ 13283 w 17782"/>
                <a:gd name="connsiteY4" fmla="*/ 1070 h 13611"/>
                <a:gd name="connsiteX5" fmla="*/ 17783 w 17782"/>
                <a:gd name="connsiteY5" fmla="*/ 82 h 13611"/>
                <a:gd name="connsiteX6" fmla="*/ 17646 w 17782"/>
                <a:gd name="connsiteY6" fmla="*/ 1482 h 13611"/>
                <a:gd name="connsiteX7" fmla="*/ 11416 w 17782"/>
                <a:gd name="connsiteY7" fmla="*/ 9331 h 13611"/>
                <a:gd name="connsiteX8" fmla="*/ 6971 w 17782"/>
                <a:gd name="connsiteY8" fmla="*/ 9331 h 13611"/>
                <a:gd name="connsiteX9" fmla="*/ 5763 w 17782"/>
                <a:gd name="connsiteY9" fmla="*/ 12761 h 13611"/>
                <a:gd name="connsiteX10" fmla="*/ 1345 w 17782"/>
                <a:gd name="connsiteY10" fmla="*/ 13612 h 13611"/>
                <a:gd name="connsiteX11" fmla="*/ 27 w 17782"/>
                <a:gd name="connsiteY11" fmla="*/ 8013 h 1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82" h="13611">
                  <a:moveTo>
                    <a:pt x="0" y="8013"/>
                  </a:moveTo>
                  <a:lnTo>
                    <a:pt x="4528" y="5159"/>
                  </a:lnTo>
                  <a:lnTo>
                    <a:pt x="5022" y="3320"/>
                  </a:lnTo>
                  <a:lnTo>
                    <a:pt x="10346" y="0"/>
                  </a:lnTo>
                  <a:lnTo>
                    <a:pt x="13283" y="1070"/>
                  </a:lnTo>
                  <a:lnTo>
                    <a:pt x="17783" y="82"/>
                  </a:lnTo>
                  <a:lnTo>
                    <a:pt x="17646" y="1482"/>
                  </a:lnTo>
                  <a:lnTo>
                    <a:pt x="11416" y="9331"/>
                  </a:lnTo>
                  <a:lnTo>
                    <a:pt x="6971" y="9331"/>
                  </a:lnTo>
                  <a:cubicBezTo>
                    <a:pt x="6971" y="9331"/>
                    <a:pt x="5763" y="12761"/>
                    <a:pt x="5763" y="12761"/>
                  </a:cubicBezTo>
                  <a:lnTo>
                    <a:pt x="1345" y="13612"/>
                  </a:lnTo>
                  <a:lnTo>
                    <a:pt x="27" y="80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1" name="Freeform: Shape 3310">
              <a:extLst>
                <a:ext uri="{FF2B5EF4-FFF2-40B4-BE49-F238E27FC236}">
                  <a16:creationId xmlns:a16="http://schemas.microsoft.com/office/drawing/2014/main" id="{B269117E-567B-5987-97C6-A174E4F83397}"/>
                </a:ext>
              </a:extLst>
            </p:cNvPr>
            <p:cNvSpPr/>
            <p:nvPr/>
          </p:nvSpPr>
          <p:spPr>
            <a:xfrm>
              <a:off x="1876695" y="3641693"/>
              <a:ext cx="1528" cy="1388"/>
            </a:xfrm>
            <a:custGeom>
              <a:avLst/>
              <a:gdLst>
                <a:gd name="connsiteX0" fmla="*/ 906 w 14681"/>
                <a:gd name="connsiteY0" fmla="*/ 0 h 13337"/>
                <a:gd name="connsiteX1" fmla="*/ 3842 w 14681"/>
                <a:gd name="connsiteY1" fmla="*/ 3513 h 13337"/>
                <a:gd name="connsiteX2" fmla="*/ 8398 w 14681"/>
                <a:gd name="connsiteY2" fmla="*/ 5132 h 13337"/>
                <a:gd name="connsiteX3" fmla="*/ 9248 w 14681"/>
                <a:gd name="connsiteY3" fmla="*/ 8397 h 13337"/>
                <a:gd name="connsiteX4" fmla="*/ 11526 w 14681"/>
                <a:gd name="connsiteY4" fmla="*/ 8782 h 13337"/>
                <a:gd name="connsiteX5" fmla="*/ 14682 w 14681"/>
                <a:gd name="connsiteY5" fmla="*/ 11142 h 13337"/>
                <a:gd name="connsiteX6" fmla="*/ 14023 w 14681"/>
                <a:gd name="connsiteY6" fmla="*/ 13337 h 13337"/>
                <a:gd name="connsiteX7" fmla="*/ 7409 w 14681"/>
                <a:gd name="connsiteY7" fmla="*/ 9770 h 13337"/>
                <a:gd name="connsiteX8" fmla="*/ 0 w 14681"/>
                <a:gd name="connsiteY8" fmla="*/ 1400 h 13337"/>
                <a:gd name="connsiteX9" fmla="*/ 878 w 14681"/>
                <a:gd name="connsiteY9" fmla="*/ 0 h 1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81" h="13337">
                  <a:moveTo>
                    <a:pt x="906" y="0"/>
                  </a:moveTo>
                  <a:lnTo>
                    <a:pt x="3842" y="3513"/>
                  </a:lnTo>
                  <a:lnTo>
                    <a:pt x="8398" y="5132"/>
                  </a:lnTo>
                  <a:lnTo>
                    <a:pt x="9248" y="8397"/>
                  </a:lnTo>
                  <a:lnTo>
                    <a:pt x="11526" y="8782"/>
                  </a:lnTo>
                  <a:lnTo>
                    <a:pt x="14682" y="11142"/>
                  </a:lnTo>
                  <a:lnTo>
                    <a:pt x="14023" y="13337"/>
                  </a:lnTo>
                  <a:lnTo>
                    <a:pt x="7409" y="9770"/>
                  </a:lnTo>
                  <a:lnTo>
                    <a:pt x="0" y="1400"/>
                  </a:lnTo>
                  <a:lnTo>
                    <a:pt x="87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2" name="Freeform: Shape 3311">
              <a:extLst>
                <a:ext uri="{FF2B5EF4-FFF2-40B4-BE49-F238E27FC236}">
                  <a16:creationId xmlns:a16="http://schemas.microsoft.com/office/drawing/2014/main" id="{EDABAECA-31A2-B234-C441-11B629D53A6E}"/>
                </a:ext>
              </a:extLst>
            </p:cNvPr>
            <p:cNvSpPr/>
            <p:nvPr/>
          </p:nvSpPr>
          <p:spPr>
            <a:xfrm>
              <a:off x="1837430" y="3667814"/>
              <a:ext cx="888" cy="1768"/>
            </a:xfrm>
            <a:custGeom>
              <a:avLst/>
              <a:gdLst>
                <a:gd name="connsiteX0" fmla="*/ 5845 w 8534"/>
                <a:gd name="connsiteY0" fmla="*/ 15862 h 16987"/>
                <a:gd name="connsiteX1" fmla="*/ 3046 w 8534"/>
                <a:gd name="connsiteY1" fmla="*/ 16987 h 16987"/>
                <a:gd name="connsiteX2" fmla="*/ 411 w 8534"/>
                <a:gd name="connsiteY2" fmla="*/ 16054 h 16987"/>
                <a:gd name="connsiteX3" fmla="*/ 0 w 8534"/>
                <a:gd name="connsiteY3" fmla="*/ 13831 h 16987"/>
                <a:gd name="connsiteX4" fmla="*/ 878 w 8534"/>
                <a:gd name="connsiteY4" fmla="*/ 10620 h 16987"/>
                <a:gd name="connsiteX5" fmla="*/ 2634 w 8534"/>
                <a:gd name="connsiteY5" fmla="*/ 7986 h 16987"/>
                <a:gd name="connsiteX6" fmla="*/ 4940 w 8534"/>
                <a:gd name="connsiteY6" fmla="*/ 2058 h 16987"/>
                <a:gd name="connsiteX7" fmla="*/ 6751 w 8534"/>
                <a:gd name="connsiteY7" fmla="*/ 0 h 16987"/>
                <a:gd name="connsiteX8" fmla="*/ 8534 w 8534"/>
                <a:gd name="connsiteY8" fmla="*/ 1674 h 16987"/>
                <a:gd name="connsiteX9" fmla="*/ 8068 w 8534"/>
                <a:gd name="connsiteY9" fmla="*/ 4638 h 16987"/>
                <a:gd name="connsiteX10" fmla="*/ 5900 w 8534"/>
                <a:gd name="connsiteY10" fmla="*/ 7684 h 16987"/>
                <a:gd name="connsiteX11" fmla="*/ 6888 w 8534"/>
                <a:gd name="connsiteY11" fmla="*/ 12898 h 16987"/>
                <a:gd name="connsiteX12" fmla="*/ 5818 w 8534"/>
                <a:gd name="connsiteY12" fmla="*/ 15917 h 1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34" h="16987">
                  <a:moveTo>
                    <a:pt x="5845" y="15862"/>
                  </a:moveTo>
                  <a:lnTo>
                    <a:pt x="3046" y="16987"/>
                  </a:lnTo>
                  <a:lnTo>
                    <a:pt x="411" y="16054"/>
                  </a:lnTo>
                  <a:lnTo>
                    <a:pt x="0" y="13831"/>
                  </a:lnTo>
                  <a:lnTo>
                    <a:pt x="878" y="10620"/>
                  </a:lnTo>
                  <a:lnTo>
                    <a:pt x="2634" y="7986"/>
                  </a:lnTo>
                  <a:lnTo>
                    <a:pt x="4940" y="2058"/>
                  </a:lnTo>
                  <a:lnTo>
                    <a:pt x="6751" y="0"/>
                  </a:lnTo>
                  <a:lnTo>
                    <a:pt x="8534" y="1674"/>
                  </a:lnTo>
                  <a:lnTo>
                    <a:pt x="8068" y="4638"/>
                  </a:lnTo>
                  <a:lnTo>
                    <a:pt x="5900" y="7684"/>
                  </a:lnTo>
                  <a:lnTo>
                    <a:pt x="6888" y="12898"/>
                  </a:lnTo>
                  <a:lnTo>
                    <a:pt x="5818" y="159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3" name="Freeform: Shape 3312">
              <a:extLst>
                <a:ext uri="{FF2B5EF4-FFF2-40B4-BE49-F238E27FC236}">
                  <a16:creationId xmlns:a16="http://schemas.microsoft.com/office/drawing/2014/main" id="{D6BE1E50-BCFF-EB47-4848-3FE7DA17455C}"/>
                </a:ext>
              </a:extLst>
            </p:cNvPr>
            <p:cNvSpPr/>
            <p:nvPr/>
          </p:nvSpPr>
          <p:spPr>
            <a:xfrm>
              <a:off x="1782597" y="3640343"/>
              <a:ext cx="1440" cy="1094"/>
            </a:xfrm>
            <a:custGeom>
              <a:avLst/>
              <a:gdLst>
                <a:gd name="connsiteX0" fmla="*/ 9879 w 13831"/>
                <a:gd name="connsiteY0" fmla="*/ 9824 h 10510"/>
                <a:gd name="connsiteX1" fmla="*/ 0 w 13831"/>
                <a:gd name="connsiteY1" fmla="*/ 10511 h 10510"/>
                <a:gd name="connsiteX2" fmla="*/ 1482 w 13831"/>
                <a:gd name="connsiteY2" fmla="*/ 6696 h 10510"/>
                <a:gd name="connsiteX3" fmla="*/ 9770 w 13831"/>
                <a:gd name="connsiteY3" fmla="*/ 357 h 10510"/>
                <a:gd name="connsiteX4" fmla="*/ 12898 w 13831"/>
                <a:gd name="connsiteY4" fmla="*/ 0 h 10510"/>
                <a:gd name="connsiteX5" fmla="*/ 13831 w 13831"/>
                <a:gd name="connsiteY5" fmla="*/ 1564 h 10510"/>
                <a:gd name="connsiteX6" fmla="*/ 9852 w 13831"/>
                <a:gd name="connsiteY6" fmla="*/ 9797 h 10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1" h="10510">
                  <a:moveTo>
                    <a:pt x="9879" y="9824"/>
                  </a:moveTo>
                  <a:lnTo>
                    <a:pt x="0" y="10511"/>
                  </a:lnTo>
                  <a:lnTo>
                    <a:pt x="1482" y="6696"/>
                  </a:lnTo>
                  <a:lnTo>
                    <a:pt x="9770" y="357"/>
                  </a:lnTo>
                  <a:lnTo>
                    <a:pt x="12898" y="0"/>
                  </a:lnTo>
                  <a:lnTo>
                    <a:pt x="13831" y="1564"/>
                  </a:lnTo>
                  <a:lnTo>
                    <a:pt x="9852" y="97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4" name="Freeform: Shape 3313">
              <a:extLst>
                <a:ext uri="{FF2B5EF4-FFF2-40B4-BE49-F238E27FC236}">
                  <a16:creationId xmlns:a16="http://schemas.microsoft.com/office/drawing/2014/main" id="{278DA023-4C21-CE2F-8DE4-8B8829943F02}"/>
                </a:ext>
              </a:extLst>
            </p:cNvPr>
            <p:cNvSpPr/>
            <p:nvPr/>
          </p:nvSpPr>
          <p:spPr>
            <a:xfrm>
              <a:off x="1543676" y="3388991"/>
              <a:ext cx="2073" cy="2690"/>
            </a:xfrm>
            <a:custGeom>
              <a:avLst/>
              <a:gdLst>
                <a:gd name="connsiteX0" fmla="*/ 18880 w 19923"/>
                <a:gd name="connsiteY0" fmla="*/ 22311 h 25851"/>
                <a:gd name="connsiteX1" fmla="*/ 10867 w 19923"/>
                <a:gd name="connsiteY1" fmla="*/ 25851 h 25851"/>
                <a:gd name="connsiteX2" fmla="*/ 466 w 19923"/>
                <a:gd name="connsiteY2" fmla="*/ 17756 h 25851"/>
                <a:gd name="connsiteX3" fmla="*/ 0 w 19923"/>
                <a:gd name="connsiteY3" fmla="*/ 13804 h 25851"/>
                <a:gd name="connsiteX4" fmla="*/ 439 w 19923"/>
                <a:gd name="connsiteY4" fmla="*/ 10785 h 25851"/>
                <a:gd name="connsiteX5" fmla="*/ 9660 w 19923"/>
                <a:gd name="connsiteY5" fmla="*/ 0 h 25851"/>
                <a:gd name="connsiteX6" fmla="*/ 14270 w 19923"/>
                <a:gd name="connsiteY6" fmla="*/ 1153 h 25851"/>
                <a:gd name="connsiteX7" fmla="*/ 19924 w 19923"/>
                <a:gd name="connsiteY7" fmla="*/ 14929 h 25851"/>
                <a:gd name="connsiteX8" fmla="*/ 18853 w 19923"/>
                <a:gd name="connsiteY8" fmla="*/ 22311 h 2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23" h="25851">
                  <a:moveTo>
                    <a:pt x="18880" y="22311"/>
                  </a:moveTo>
                  <a:lnTo>
                    <a:pt x="10867" y="25851"/>
                  </a:lnTo>
                  <a:lnTo>
                    <a:pt x="466" y="17756"/>
                  </a:lnTo>
                  <a:lnTo>
                    <a:pt x="0" y="13804"/>
                  </a:lnTo>
                  <a:lnTo>
                    <a:pt x="439" y="10785"/>
                  </a:lnTo>
                  <a:lnTo>
                    <a:pt x="9660" y="0"/>
                  </a:lnTo>
                  <a:lnTo>
                    <a:pt x="14270" y="1153"/>
                  </a:lnTo>
                  <a:lnTo>
                    <a:pt x="19924" y="14929"/>
                  </a:lnTo>
                  <a:lnTo>
                    <a:pt x="18853" y="223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5" name="Freeform: Shape 3314">
              <a:extLst>
                <a:ext uri="{FF2B5EF4-FFF2-40B4-BE49-F238E27FC236}">
                  <a16:creationId xmlns:a16="http://schemas.microsoft.com/office/drawing/2014/main" id="{825A5AA1-4625-6353-B37D-DD75DA0061D8}"/>
                </a:ext>
              </a:extLst>
            </p:cNvPr>
            <p:cNvSpPr/>
            <p:nvPr/>
          </p:nvSpPr>
          <p:spPr>
            <a:xfrm>
              <a:off x="1842194" y="3661897"/>
              <a:ext cx="1051" cy="1153"/>
            </a:xfrm>
            <a:custGeom>
              <a:avLst/>
              <a:gdLst>
                <a:gd name="connsiteX0" fmla="*/ 0 w 10098"/>
                <a:gd name="connsiteY0" fmla="*/ 7684 h 11087"/>
                <a:gd name="connsiteX1" fmla="*/ 1290 w 10098"/>
                <a:gd name="connsiteY1" fmla="*/ 4418 h 11087"/>
                <a:gd name="connsiteX2" fmla="*/ 3183 w 10098"/>
                <a:gd name="connsiteY2" fmla="*/ 3842 h 11087"/>
                <a:gd name="connsiteX3" fmla="*/ 6449 w 10098"/>
                <a:gd name="connsiteY3" fmla="*/ 823 h 11087"/>
                <a:gd name="connsiteX4" fmla="*/ 8946 w 10098"/>
                <a:gd name="connsiteY4" fmla="*/ 0 h 11087"/>
                <a:gd name="connsiteX5" fmla="*/ 10099 w 10098"/>
                <a:gd name="connsiteY5" fmla="*/ 4912 h 11087"/>
                <a:gd name="connsiteX6" fmla="*/ 6833 w 10098"/>
                <a:gd name="connsiteY6" fmla="*/ 11087 h 11087"/>
                <a:gd name="connsiteX7" fmla="*/ 3129 w 10098"/>
                <a:gd name="connsiteY7" fmla="*/ 10950 h 11087"/>
                <a:gd name="connsiteX8" fmla="*/ 0 w 10098"/>
                <a:gd name="connsiteY8" fmla="*/ 7684 h 1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 h="11087">
                  <a:moveTo>
                    <a:pt x="0" y="7684"/>
                  </a:moveTo>
                  <a:lnTo>
                    <a:pt x="1290" y="4418"/>
                  </a:lnTo>
                  <a:lnTo>
                    <a:pt x="3183" y="3842"/>
                  </a:lnTo>
                  <a:lnTo>
                    <a:pt x="6449" y="823"/>
                  </a:lnTo>
                  <a:lnTo>
                    <a:pt x="8946" y="0"/>
                  </a:lnTo>
                  <a:lnTo>
                    <a:pt x="10099" y="4912"/>
                  </a:lnTo>
                  <a:lnTo>
                    <a:pt x="6833" y="11087"/>
                  </a:lnTo>
                  <a:lnTo>
                    <a:pt x="3129" y="10950"/>
                  </a:lnTo>
                  <a:lnTo>
                    <a:pt x="0" y="76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6" name="Freeform: Shape 3315">
              <a:extLst>
                <a:ext uri="{FF2B5EF4-FFF2-40B4-BE49-F238E27FC236}">
                  <a16:creationId xmlns:a16="http://schemas.microsoft.com/office/drawing/2014/main" id="{9B0C7089-AE70-194D-E6F3-6593985E9619}"/>
                </a:ext>
              </a:extLst>
            </p:cNvPr>
            <p:cNvSpPr/>
            <p:nvPr/>
          </p:nvSpPr>
          <p:spPr>
            <a:xfrm>
              <a:off x="1553583" y="3384777"/>
              <a:ext cx="1100" cy="2356"/>
            </a:xfrm>
            <a:custGeom>
              <a:avLst/>
              <a:gdLst>
                <a:gd name="connsiteX0" fmla="*/ 10456 w 10565"/>
                <a:gd name="connsiteY0" fmla="*/ 20582 h 22640"/>
                <a:gd name="connsiteX1" fmla="*/ 6696 w 10565"/>
                <a:gd name="connsiteY1" fmla="*/ 22640 h 22640"/>
                <a:gd name="connsiteX2" fmla="*/ 2333 w 10565"/>
                <a:gd name="connsiteY2" fmla="*/ 20088 h 22640"/>
                <a:gd name="connsiteX3" fmla="*/ 0 w 10565"/>
                <a:gd name="connsiteY3" fmla="*/ 13996 h 22640"/>
                <a:gd name="connsiteX4" fmla="*/ 631 w 10565"/>
                <a:gd name="connsiteY4" fmla="*/ 0 h 22640"/>
                <a:gd name="connsiteX5" fmla="*/ 4171 w 10565"/>
                <a:gd name="connsiteY5" fmla="*/ 686 h 22640"/>
                <a:gd name="connsiteX6" fmla="*/ 4062 w 10565"/>
                <a:gd name="connsiteY6" fmla="*/ 9139 h 22640"/>
                <a:gd name="connsiteX7" fmla="*/ 10566 w 10565"/>
                <a:gd name="connsiteY7" fmla="*/ 13255 h 22640"/>
                <a:gd name="connsiteX8" fmla="*/ 10456 w 10565"/>
                <a:gd name="connsiteY8" fmla="*/ 20610 h 2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65" h="22640">
                  <a:moveTo>
                    <a:pt x="10456" y="20582"/>
                  </a:moveTo>
                  <a:lnTo>
                    <a:pt x="6696" y="22640"/>
                  </a:lnTo>
                  <a:lnTo>
                    <a:pt x="2333" y="20088"/>
                  </a:lnTo>
                  <a:lnTo>
                    <a:pt x="0" y="13996"/>
                  </a:lnTo>
                  <a:lnTo>
                    <a:pt x="631" y="0"/>
                  </a:lnTo>
                  <a:lnTo>
                    <a:pt x="4171" y="686"/>
                  </a:lnTo>
                  <a:lnTo>
                    <a:pt x="4062" y="9139"/>
                  </a:lnTo>
                  <a:lnTo>
                    <a:pt x="10566" y="13255"/>
                  </a:lnTo>
                  <a:lnTo>
                    <a:pt x="10456" y="206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7" name="Freeform: Shape 3316">
              <a:extLst>
                <a:ext uri="{FF2B5EF4-FFF2-40B4-BE49-F238E27FC236}">
                  <a16:creationId xmlns:a16="http://schemas.microsoft.com/office/drawing/2014/main" id="{0B1DFADE-C060-1E2D-DD76-7F4C5A7A3419}"/>
                </a:ext>
              </a:extLst>
            </p:cNvPr>
            <p:cNvSpPr/>
            <p:nvPr/>
          </p:nvSpPr>
          <p:spPr>
            <a:xfrm>
              <a:off x="1806565" y="3671045"/>
              <a:ext cx="537" cy="862"/>
            </a:xfrm>
            <a:custGeom>
              <a:avLst/>
              <a:gdLst>
                <a:gd name="connsiteX0" fmla="*/ 0 w 5159"/>
                <a:gd name="connsiteY0" fmla="*/ 905 h 8287"/>
                <a:gd name="connsiteX1" fmla="*/ 604 w 5159"/>
                <a:gd name="connsiteY1" fmla="*/ 0 h 8287"/>
                <a:gd name="connsiteX2" fmla="*/ 4775 w 5159"/>
                <a:gd name="connsiteY2" fmla="*/ 3842 h 8287"/>
                <a:gd name="connsiteX3" fmla="*/ 5160 w 5159"/>
                <a:gd name="connsiteY3" fmla="*/ 7492 h 8287"/>
                <a:gd name="connsiteX4" fmla="*/ 3897 w 5159"/>
                <a:gd name="connsiteY4" fmla="*/ 8288 h 8287"/>
                <a:gd name="connsiteX5" fmla="*/ 27 w 5159"/>
                <a:gd name="connsiteY5" fmla="*/ 905 h 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9" h="8287">
                  <a:moveTo>
                    <a:pt x="0" y="905"/>
                  </a:moveTo>
                  <a:lnTo>
                    <a:pt x="604" y="0"/>
                  </a:lnTo>
                  <a:lnTo>
                    <a:pt x="4775" y="3842"/>
                  </a:lnTo>
                  <a:lnTo>
                    <a:pt x="5160" y="7492"/>
                  </a:lnTo>
                  <a:lnTo>
                    <a:pt x="3897" y="8288"/>
                  </a:lnTo>
                  <a:lnTo>
                    <a:pt x="27"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8" name="Freeform: Shape 3317">
              <a:extLst>
                <a:ext uri="{FF2B5EF4-FFF2-40B4-BE49-F238E27FC236}">
                  <a16:creationId xmlns:a16="http://schemas.microsoft.com/office/drawing/2014/main" id="{E28A9942-377E-0ACD-7BCF-53EF2593F468}"/>
                </a:ext>
              </a:extLst>
            </p:cNvPr>
            <p:cNvSpPr/>
            <p:nvPr/>
          </p:nvSpPr>
          <p:spPr>
            <a:xfrm>
              <a:off x="1839981" y="3661629"/>
              <a:ext cx="663" cy="574"/>
            </a:xfrm>
            <a:custGeom>
              <a:avLst/>
              <a:gdLst>
                <a:gd name="connsiteX0" fmla="*/ 0 w 6366"/>
                <a:gd name="connsiteY0" fmla="*/ 1976 h 5515"/>
                <a:gd name="connsiteX1" fmla="*/ 2470 w 6366"/>
                <a:gd name="connsiteY1" fmla="*/ 0 h 5515"/>
                <a:gd name="connsiteX2" fmla="*/ 6312 w 6366"/>
                <a:gd name="connsiteY2" fmla="*/ 768 h 5515"/>
                <a:gd name="connsiteX3" fmla="*/ 6367 w 6366"/>
                <a:gd name="connsiteY3" fmla="*/ 5406 h 5515"/>
                <a:gd name="connsiteX4" fmla="*/ 2086 w 6366"/>
                <a:gd name="connsiteY4" fmla="*/ 5516 h 5515"/>
                <a:gd name="connsiteX5" fmla="*/ 0 w 6366"/>
                <a:gd name="connsiteY5" fmla="*/ 1976 h 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66" h="5515">
                  <a:moveTo>
                    <a:pt x="0" y="1976"/>
                  </a:moveTo>
                  <a:lnTo>
                    <a:pt x="2470" y="0"/>
                  </a:lnTo>
                  <a:lnTo>
                    <a:pt x="6312" y="768"/>
                  </a:lnTo>
                  <a:lnTo>
                    <a:pt x="6367" y="5406"/>
                  </a:lnTo>
                  <a:lnTo>
                    <a:pt x="2086" y="5516"/>
                  </a:lnTo>
                  <a:lnTo>
                    <a:pt x="0"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19" name="Freeform: Shape 3318">
              <a:extLst>
                <a:ext uri="{FF2B5EF4-FFF2-40B4-BE49-F238E27FC236}">
                  <a16:creationId xmlns:a16="http://schemas.microsoft.com/office/drawing/2014/main" id="{6A4A1795-4575-800B-DDBC-8D56BD299577}"/>
                </a:ext>
              </a:extLst>
            </p:cNvPr>
            <p:cNvSpPr/>
            <p:nvPr/>
          </p:nvSpPr>
          <p:spPr>
            <a:xfrm>
              <a:off x="1859076" y="3542098"/>
              <a:ext cx="643" cy="1048"/>
            </a:xfrm>
            <a:custGeom>
              <a:avLst/>
              <a:gdLst>
                <a:gd name="connsiteX0" fmla="*/ 0 w 6174"/>
                <a:gd name="connsiteY0" fmla="*/ 5461 h 10071"/>
                <a:gd name="connsiteX1" fmla="*/ 329 w 6174"/>
                <a:gd name="connsiteY1" fmla="*/ 2854 h 10071"/>
                <a:gd name="connsiteX2" fmla="*/ 5214 w 6174"/>
                <a:gd name="connsiteY2" fmla="*/ 0 h 10071"/>
                <a:gd name="connsiteX3" fmla="*/ 6175 w 6174"/>
                <a:gd name="connsiteY3" fmla="*/ 7465 h 10071"/>
                <a:gd name="connsiteX4" fmla="*/ 2222 w 6174"/>
                <a:gd name="connsiteY4" fmla="*/ 10072 h 10071"/>
                <a:gd name="connsiteX5" fmla="*/ 0 w 6174"/>
                <a:gd name="connsiteY5" fmla="*/ 5461 h 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74" h="10071">
                  <a:moveTo>
                    <a:pt x="0" y="5461"/>
                  </a:moveTo>
                  <a:lnTo>
                    <a:pt x="329" y="2854"/>
                  </a:lnTo>
                  <a:lnTo>
                    <a:pt x="5214" y="0"/>
                  </a:lnTo>
                  <a:lnTo>
                    <a:pt x="6175" y="7465"/>
                  </a:lnTo>
                  <a:lnTo>
                    <a:pt x="2222" y="10072"/>
                  </a:lnTo>
                  <a:lnTo>
                    <a:pt x="0" y="54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0" name="Freeform: Shape 3319">
              <a:extLst>
                <a:ext uri="{FF2B5EF4-FFF2-40B4-BE49-F238E27FC236}">
                  <a16:creationId xmlns:a16="http://schemas.microsoft.com/office/drawing/2014/main" id="{383F007A-C52B-2DF1-71B3-6811D38F0CF8}"/>
                </a:ext>
              </a:extLst>
            </p:cNvPr>
            <p:cNvSpPr/>
            <p:nvPr/>
          </p:nvSpPr>
          <p:spPr>
            <a:xfrm>
              <a:off x="1855574" y="3530826"/>
              <a:ext cx="634" cy="997"/>
            </a:xfrm>
            <a:custGeom>
              <a:avLst/>
              <a:gdLst>
                <a:gd name="connsiteX0" fmla="*/ 0 w 6092"/>
                <a:gd name="connsiteY0" fmla="*/ 6833 h 9577"/>
                <a:gd name="connsiteX1" fmla="*/ 2168 w 6092"/>
                <a:gd name="connsiteY1" fmla="*/ 0 h 9577"/>
                <a:gd name="connsiteX2" fmla="*/ 4775 w 6092"/>
                <a:gd name="connsiteY2" fmla="*/ 1592 h 9577"/>
                <a:gd name="connsiteX3" fmla="*/ 6092 w 6092"/>
                <a:gd name="connsiteY3" fmla="*/ 8590 h 9577"/>
                <a:gd name="connsiteX4" fmla="*/ 2250 w 6092"/>
                <a:gd name="connsiteY4" fmla="*/ 9578 h 9577"/>
                <a:gd name="connsiteX5" fmla="*/ 0 w 6092"/>
                <a:gd name="connsiteY5" fmla="*/ 6833 h 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2" h="9577">
                  <a:moveTo>
                    <a:pt x="0" y="6833"/>
                  </a:moveTo>
                  <a:lnTo>
                    <a:pt x="2168" y="0"/>
                  </a:lnTo>
                  <a:lnTo>
                    <a:pt x="4775" y="1592"/>
                  </a:lnTo>
                  <a:lnTo>
                    <a:pt x="6092" y="8590"/>
                  </a:lnTo>
                  <a:lnTo>
                    <a:pt x="2250" y="9578"/>
                  </a:lnTo>
                  <a:lnTo>
                    <a:pt x="0" y="68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1" name="Freeform: Shape 3320">
              <a:extLst>
                <a:ext uri="{FF2B5EF4-FFF2-40B4-BE49-F238E27FC236}">
                  <a16:creationId xmlns:a16="http://schemas.microsoft.com/office/drawing/2014/main" id="{3B26028D-2239-D2B1-CDF6-5BB4D6A9BF5A}"/>
                </a:ext>
              </a:extLst>
            </p:cNvPr>
            <p:cNvSpPr/>
            <p:nvPr/>
          </p:nvSpPr>
          <p:spPr>
            <a:xfrm>
              <a:off x="1785959" y="3643584"/>
              <a:ext cx="537" cy="652"/>
            </a:xfrm>
            <a:custGeom>
              <a:avLst/>
              <a:gdLst>
                <a:gd name="connsiteX0" fmla="*/ 2058 w 5158"/>
                <a:gd name="connsiteY0" fmla="*/ 2579 h 6257"/>
                <a:gd name="connsiteX1" fmla="*/ 1125 w 5158"/>
                <a:gd name="connsiteY1" fmla="*/ 6257 h 6257"/>
                <a:gd name="connsiteX2" fmla="*/ 0 w 5158"/>
                <a:gd name="connsiteY2" fmla="*/ 5132 h 6257"/>
                <a:gd name="connsiteX3" fmla="*/ 1235 w 5158"/>
                <a:gd name="connsiteY3" fmla="*/ 659 h 6257"/>
                <a:gd name="connsiteX4" fmla="*/ 4034 w 5158"/>
                <a:gd name="connsiteY4" fmla="*/ 0 h 6257"/>
                <a:gd name="connsiteX5" fmla="*/ 5159 w 5158"/>
                <a:gd name="connsiteY5" fmla="*/ 1976 h 6257"/>
                <a:gd name="connsiteX6" fmla="*/ 2086 w 5158"/>
                <a:gd name="connsiteY6" fmla="*/ 2579 h 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8" h="6257">
                  <a:moveTo>
                    <a:pt x="2058" y="2579"/>
                  </a:moveTo>
                  <a:lnTo>
                    <a:pt x="1125" y="6257"/>
                  </a:lnTo>
                  <a:lnTo>
                    <a:pt x="0" y="5132"/>
                  </a:lnTo>
                  <a:lnTo>
                    <a:pt x="1235" y="659"/>
                  </a:lnTo>
                  <a:lnTo>
                    <a:pt x="4034" y="0"/>
                  </a:lnTo>
                  <a:lnTo>
                    <a:pt x="5159" y="1976"/>
                  </a:lnTo>
                  <a:lnTo>
                    <a:pt x="2086" y="25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2" name="Freeform: Shape 3321">
              <a:extLst>
                <a:ext uri="{FF2B5EF4-FFF2-40B4-BE49-F238E27FC236}">
                  <a16:creationId xmlns:a16="http://schemas.microsoft.com/office/drawing/2014/main" id="{4A539BEB-9420-0408-A5EC-9CA47390C729}"/>
                </a:ext>
              </a:extLst>
            </p:cNvPr>
            <p:cNvSpPr/>
            <p:nvPr/>
          </p:nvSpPr>
          <p:spPr>
            <a:xfrm>
              <a:off x="1802244" y="3649753"/>
              <a:ext cx="445" cy="754"/>
            </a:xfrm>
            <a:custGeom>
              <a:avLst/>
              <a:gdLst>
                <a:gd name="connsiteX0" fmla="*/ 0 w 4280"/>
                <a:gd name="connsiteY0" fmla="*/ 1647 h 7244"/>
                <a:gd name="connsiteX1" fmla="*/ 2634 w 4280"/>
                <a:gd name="connsiteY1" fmla="*/ 0 h 7244"/>
                <a:gd name="connsiteX2" fmla="*/ 4281 w 4280"/>
                <a:gd name="connsiteY2" fmla="*/ 7245 h 7244"/>
                <a:gd name="connsiteX3" fmla="*/ 905 w 4280"/>
                <a:gd name="connsiteY3" fmla="*/ 6504 h 7244"/>
                <a:gd name="connsiteX4" fmla="*/ 27 w 4280"/>
                <a:gd name="connsiteY4" fmla="*/ 1647 h 7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0" h="7244">
                  <a:moveTo>
                    <a:pt x="0" y="1647"/>
                  </a:moveTo>
                  <a:lnTo>
                    <a:pt x="2634" y="0"/>
                  </a:lnTo>
                  <a:lnTo>
                    <a:pt x="4281" y="7245"/>
                  </a:lnTo>
                  <a:lnTo>
                    <a:pt x="905" y="6504"/>
                  </a:lnTo>
                  <a:lnTo>
                    <a:pt x="27"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3" name="Freeform: Shape 3322">
              <a:extLst>
                <a:ext uri="{FF2B5EF4-FFF2-40B4-BE49-F238E27FC236}">
                  <a16:creationId xmlns:a16="http://schemas.microsoft.com/office/drawing/2014/main" id="{D353415A-C4A0-EB63-A273-280C892E05B8}"/>
                </a:ext>
              </a:extLst>
            </p:cNvPr>
            <p:cNvSpPr/>
            <p:nvPr/>
          </p:nvSpPr>
          <p:spPr>
            <a:xfrm>
              <a:off x="1543133" y="3384485"/>
              <a:ext cx="777" cy="1485"/>
            </a:xfrm>
            <a:custGeom>
              <a:avLst/>
              <a:gdLst>
                <a:gd name="connsiteX0" fmla="*/ 0 w 7464"/>
                <a:gd name="connsiteY0" fmla="*/ 5434 h 14270"/>
                <a:gd name="connsiteX1" fmla="*/ 521 w 7464"/>
                <a:gd name="connsiteY1" fmla="*/ 1427 h 14270"/>
                <a:gd name="connsiteX2" fmla="*/ 6915 w 7464"/>
                <a:gd name="connsiteY2" fmla="*/ 0 h 14270"/>
                <a:gd name="connsiteX3" fmla="*/ 7464 w 7464"/>
                <a:gd name="connsiteY3" fmla="*/ 10126 h 14270"/>
                <a:gd name="connsiteX4" fmla="*/ 1866 w 7464"/>
                <a:gd name="connsiteY4" fmla="*/ 14270 h 14270"/>
                <a:gd name="connsiteX5" fmla="*/ 54 w 7464"/>
                <a:gd name="connsiteY5" fmla="*/ 5406 h 1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64" h="14270">
                  <a:moveTo>
                    <a:pt x="0" y="5434"/>
                  </a:moveTo>
                  <a:lnTo>
                    <a:pt x="521" y="1427"/>
                  </a:lnTo>
                  <a:lnTo>
                    <a:pt x="6915" y="0"/>
                  </a:lnTo>
                  <a:lnTo>
                    <a:pt x="7464" y="10126"/>
                  </a:lnTo>
                  <a:lnTo>
                    <a:pt x="1866" y="14270"/>
                  </a:lnTo>
                  <a:lnTo>
                    <a:pt x="54" y="54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4" name="Freeform: Shape 3323">
              <a:extLst>
                <a:ext uri="{FF2B5EF4-FFF2-40B4-BE49-F238E27FC236}">
                  <a16:creationId xmlns:a16="http://schemas.microsoft.com/office/drawing/2014/main" id="{90A38D3A-62FF-8E81-0B1C-1F631EB4388E}"/>
                </a:ext>
              </a:extLst>
            </p:cNvPr>
            <p:cNvSpPr/>
            <p:nvPr/>
          </p:nvSpPr>
          <p:spPr>
            <a:xfrm>
              <a:off x="1884843" y="3540881"/>
              <a:ext cx="523" cy="900"/>
            </a:xfrm>
            <a:custGeom>
              <a:avLst/>
              <a:gdLst>
                <a:gd name="connsiteX0" fmla="*/ 0 w 5021"/>
                <a:gd name="connsiteY0" fmla="*/ 4281 h 8644"/>
                <a:gd name="connsiteX1" fmla="*/ 4089 w 5021"/>
                <a:gd name="connsiteY1" fmla="*/ 0 h 8644"/>
                <a:gd name="connsiteX2" fmla="*/ 5022 w 5021"/>
                <a:gd name="connsiteY2" fmla="*/ 2964 h 8644"/>
                <a:gd name="connsiteX3" fmla="*/ 1729 w 5021"/>
                <a:gd name="connsiteY3" fmla="*/ 8644 h 8644"/>
                <a:gd name="connsiteX4" fmla="*/ 0 w 5021"/>
                <a:gd name="connsiteY4" fmla="*/ 4281 h 8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1" h="8644">
                  <a:moveTo>
                    <a:pt x="0" y="4281"/>
                  </a:moveTo>
                  <a:lnTo>
                    <a:pt x="4089" y="0"/>
                  </a:lnTo>
                  <a:lnTo>
                    <a:pt x="5022" y="2964"/>
                  </a:lnTo>
                  <a:lnTo>
                    <a:pt x="1729" y="8644"/>
                  </a:lnTo>
                  <a:lnTo>
                    <a:pt x="0"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5" name="Freeform: Shape 3324">
              <a:extLst>
                <a:ext uri="{FF2B5EF4-FFF2-40B4-BE49-F238E27FC236}">
                  <a16:creationId xmlns:a16="http://schemas.microsoft.com/office/drawing/2014/main" id="{2B6F02F0-1D1A-69EB-EAB1-DC7A3C75AE7C}"/>
                </a:ext>
              </a:extLst>
            </p:cNvPr>
            <p:cNvSpPr/>
            <p:nvPr/>
          </p:nvSpPr>
          <p:spPr>
            <a:xfrm>
              <a:off x="1832937" y="3674812"/>
              <a:ext cx="506" cy="474"/>
            </a:xfrm>
            <a:custGeom>
              <a:avLst/>
              <a:gdLst>
                <a:gd name="connsiteX0" fmla="*/ 0 w 4857"/>
                <a:gd name="connsiteY0" fmla="*/ 1482 h 4555"/>
                <a:gd name="connsiteX1" fmla="*/ 1509 w 4857"/>
                <a:gd name="connsiteY1" fmla="*/ 0 h 4555"/>
                <a:gd name="connsiteX2" fmla="*/ 4857 w 4857"/>
                <a:gd name="connsiteY2" fmla="*/ 2717 h 4555"/>
                <a:gd name="connsiteX3" fmla="*/ 2497 w 4857"/>
                <a:gd name="connsiteY3" fmla="*/ 4556 h 4555"/>
                <a:gd name="connsiteX4" fmla="*/ 0 w 4857"/>
                <a:gd name="connsiteY4" fmla="*/ 1482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 h="4555">
                  <a:moveTo>
                    <a:pt x="0" y="1482"/>
                  </a:moveTo>
                  <a:lnTo>
                    <a:pt x="1509" y="0"/>
                  </a:lnTo>
                  <a:lnTo>
                    <a:pt x="4857" y="2717"/>
                  </a:lnTo>
                  <a:lnTo>
                    <a:pt x="2497" y="4556"/>
                  </a:lnTo>
                  <a:lnTo>
                    <a:pt x="0"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6" name="Freeform: Shape 3325">
              <a:extLst>
                <a:ext uri="{FF2B5EF4-FFF2-40B4-BE49-F238E27FC236}">
                  <a16:creationId xmlns:a16="http://schemas.microsoft.com/office/drawing/2014/main" id="{74259DD3-FE3B-3B52-C30A-60F5AE6C4540}"/>
                </a:ext>
              </a:extLst>
            </p:cNvPr>
            <p:cNvSpPr/>
            <p:nvPr/>
          </p:nvSpPr>
          <p:spPr>
            <a:xfrm>
              <a:off x="1835380" y="3671682"/>
              <a:ext cx="445" cy="537"/>
            </a:xfrm>
            <a:custGeom>
              <a:avLst/>
              <a:gdLst>
                <a:gd name="connsiteX0" fmla="*/ 0 w 4280"/>
                <a:gd name="connsiteY0" fmla="*/ 3650 h 5159"/>
                <a:gd name="connsiteX1" fmla="*/ 2744 w 4280"/>
                <a:gd name="connsiteY1" fmla="*/ 0 h 5159"/>
                <a:gd name="connsiteX2" fmla="*/ 4281 w 4280"/>
                <a:gd name="connsiteY2" fmla="*/ 2772 h 5159"/>
                <a:gd name="connsiteX3" fmla="*/ 1838 w 4280"/>
                <a:gd name="connsiteY3" fmla="*/ 5159 h 5159"/>
                <a:gd name="connsiteX4" fmla="*/ 27 w 4280"/>
                <a:gd name="connsiteY4" fmla="*/ 3650 h 5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0" h="5159">
                  <a:moveTo>
                    <a:pt x="0" y="3650"/>
                  </a:moveTo>
                  <a:lnTo>
                    <a:pt x="2744" y="0"/>
                  </a:lnTo>
                  <a:lnTo>
                    <a:pt x="4281" y="2772"/>
                  </a:lnTo>
                  <a:lnTo>
                    <a:pt x="1838" y="5159"/>
                  </a:lnTo>
                  <a:lnTo>
                    <a:pt x="27" y="36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7" name="Freeform: Shape 3326">
              <a:extLst>
                <a:ext uri="{FF2B5EF4-FFF2-40B4-BE49-F238E27FC236}">
                  <a16:creationId xmlns:a16="http://schemas.microsoft.com/office/drawing/2014/main" id="{AC35B17C-05D1-1F3B-1C54-5E6FDE79D20A}"/>
                </a:ext>
              </a:extLst>
            </p:cNvPr>
            <p:cNvSpPr/>
            <p:nvPr/>
          </p:nvSpPr>
          <p:spPr>
            <a:xfrm>
              <a:off x="1835122" y="3670834"/>
              <a:ext cx="540" cy="440"/>
            </a:xfrm>
            <a:custGeom>
              <a:avLst/>
              <a:gdLst>
                <a:gd name="connsiteX0" fmla="*/ 0 w 5187"/>
                <a:gd name="connsiteY0" fmla="*/ 2003 h 4225"/>
                <a:gd name="connsiteX1" fmla="*/ 2360 w 5187"/>
                <a:gd name="connsiteY1" fmla="*/ 0 h 4225"/>
                <a:gd name="connsiteX2" fmla="*/ 5187 w 5187"/>
                <a:gd name="connsiteY2" fmla="*/ 2525 h 4225"/>
                <a:gd name="connsiteX3" fmla="*/ 3540 w 5187"/>
                <a:gd name="connsiteY3" fmla="*/ 4226 h 4225"/>
                <a:gd name="connsiteX4" fmla="*/ 0 w 5187"/>
                <a:gd name="connsiteY4" fmla="*/ 2031 h 4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7" h="4225">
                  <a:moveTo>
                    <a:pt x="0" y="2003"/>
                  </a:moveTo>
                  <a:lnTo>
                    <a:pt x="2360" y="0"/>
                  </a:lnTo>
                  <a:lnTo>
                    <a:pt x="5187" y="2525"/>
                  </a:lnTo>
                  <a:lnTo>
                    <a:pt x="3540" y="4226"/>
                  </a:lnTo>
                  <a:lnTo>
                    <a:pt x="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8" name="Freeform: Shape 3327">
              <a:extLst>
                <a:ext uri="{FF2B5EF4-FFF2-40B4-BE49-F238E27FC236}">
                  <a16:creationId xmlns:a16="http://schemas.microsoft.com/office/drawing/2014/main" id="{382C8043-9575-ADF6-D01F-4A5F5E8997F7}"/>
                </a:ext>
              </a:extLst>
            </p:cNvPr>
            <p:cNvSpPr/>
            <p:nvPr/>
          </p:nvSpPr>
          <p:spPr>
            <a:xfrm>
              <a:off x="1802483" y="3650750"/>
              <a:ext cx="400" cy="634"/>
            </a:xfrm>
            <a:custGeom>
              <a:avLst/>
              <a:gdLst>
                <a:gd name="connsiteX0" fmla="*/ 0 w 3842"/>
                <a:gd name="connsiteY0" fmla="*/ 3129 h 6092"/>
                <a:gd name="connsiteX1" fmla="*/ 1564 w 3842"/>
                <a:gd name="connsiteY1" fmla="*/ 0 h 6092"/>
                <a:gd name="connsiteX2" fmla="*/ 3842 w 3842"/>
                <a:gd name="connsiteY2" fmla="*/ 3485 h 6092"/>
                <a:gd name="connsiteX3" fmla="*/ 1812 w 3842"/>
                <a:gd name="connsiteY3" fmla="*/ 6092 h 6092"/>
                <a:gd name="connsiteX4" fmla="*/ 0 w 3842"/>
                <a:gd name="connsiteY4" fmla="*/ 3129 h 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2" h="6092">
                  <a:moveTo>
                    <a:pt x="0" y="3129"/>
                  </a:moveTo>
                  <a:lnTo>
                    <a:pt x="1564" y="0"/>
                  </a:lnTo>
                  <a:lnTo>
                    <a:pt x="3842" y="3485"/>
                  </a:lnTo>
                  <a:lnTo>
                    <a:pt x="1812" y="6092"/>
                  </a:lnTo>
                  <a:lnTo>
                    <a:pt x="0" y="31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29" name="Freeform: Shape 3328">
              <a:extLst>
                <a:ext uri="{FF2B5EF4-FFF2-40B4-BE49-F238E27FC236}">
                  <a16:creationId xmlns:a16="http://schemas.microsoft.com/office/drawing/2014/main" id="{6A35AE21-3590-5751-C1C4-EC04B54DB8F3}"/>
                </a:ext>
              </a:extLst>
            </p:cNvPr>
            <p:cNvSpPr/>
            <p:nvPr/>
          </p:nvSpPr>
          <p:spPr>
            <a:xfrm>
              <a:off x="1785216" y="3643222"/>
              <a:ext cx="371" cy="693"/>
            </a:xfrm>
            <a:custGeom>
              <a:avLst/>
              <a:gdLst>
                <a:gd name="connsiteX0" fmla="*/ 1784 w 3567"/>
                <a:gd name="connsiteY0" fmla="*/ 6586 h 6668"/>
                <a:gd name="connsiteX1" fmla="*/ 0 w 3567"/>
                <a:gd name="connsiteY1" fmla="*/ 2909 h 6668"/>
                <a:gd name="connsiteX2" fmla="*/ 2251 w 3567"/>
                <a:gd name="connsiteY2" fmla="*/ 0 h 6668"/>
                <a:gd name="connsiteX3" fmla="*/ 3568 w 3567"/>
                <a:gd name="connsiteY3" fmla="*/ 3074 h 6668"/>
                <a:gd name="connsiteX4" fmla="*/ 1838 w 3567"/>
                <a:gd name="connsiteY4" fmla="*/ 6669 h 6668"/>
                <a:gd name="connsiteX5" fmla="*/ 1757 w 3567"/>
                <a:gd name="connsiteY5" fmla="*/ 6559 h 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6668">
                  <a:moveTo>
                    <a:pt x="1784" y="6586"/>
                  </a:moveTo>
                  <a:lnTo>
                    <a:pt x="0" y="2909"/>
                  </a:lnTo>
                  <a:lnTo>
                    <a:pt x="2251" y="0"/>
                  </a:lnTo>
                  <a:lnTo>
                    <a:pt x="3568" y="3074"/>
                  </a:lnTo>
                  <a:lnTo>
                    <a:pt x="1838" y="6669"/>
                  </a:lnTo>
                  <a:lnTo>
                    <a:pt x="1757" y="65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0" name="Freeform: Shape 3329">
              <a:extLst>
                <a:ext uri="{FF2B5EF4-FFF2-40B4-BE49-F238E27FC236}">
                  <a16:creationId xmlns:a16="http://schemas.microsoft.com/office/drawing/2014/main" id="{7B61C706-FD51-BFCE-861F-8E8D3AC75FA8}"/>
                </a:ext>
              </a:extLst>
            </p:cNvPr>
            <p:cNvSpPr/>
            <p:nvPr/>
          </p:nvSpPr>
          <p:spPr>
            <a:xfrm>
              <a:off x="1825783" y="3681855"/>
              <a:ext cx="460" cy="477"/>
            </a:xfrm>
            <a:custGeom>
              <a:avLst/>
              <a:gdLst>
                <a:gd name="connsiteX0" fmla="*/ 0 w 4417"/>
                <a:gd name="connsiteY0" fmla="*/ 3019 h 4583"/>
                <a:gd name="connsiteX1" fmla="*/ 2909 w 4417"/>
                <a:gd name="connsiteY1" fmla="*/ 0 h 4583"/>
                <a:gd name="connsiteX2" fmla="*/ 4418 w 4417"/>
                <a:gd name="connsiteY2" fmla="*/ 3403 h 4583"/>
                <a:gd name="connsiteX3" fmla="*/ 2744 w 4417"/>
                <a:gd name="connsiteY3" fmla="*/ 4583 h 4583"/>
                <a:gd name="connsiteX4" fmla="*/ 0 w 4417"/>
                <a:gd name="connsiteY4" fmla="*/ 2991 h 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7" h="4583">
                  <a:moveTo>
                    <a:pt x="0" y="3019"/>
                  </a:moveTo>
                  <a:lnTo>
                    <a:pt x="2909" y="0"/>
                  </a:lnTo>
                  <a:lnTo>
                    <a:pt x="4418" y="3403"/>
                  </a:lnTo>
                  <a:lnTo>
                    <a:pt x="2744" y="4583"/>
                  </a:lnTo>
                  <a:lnTo>
                    <a:pt x="0" y="29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1" name="Freeform: Shape 3330">
              <a:extLst>
                <a:ext uri="{FF2B5EF4-FFF2-40B4-BE49-F238E27FC236}">
                  <a16:creationId xmlns:a16="http://schemas.microsoft.com/office/drawing/2014/main" id="{C4B81A39-FE53-ABAC-D8EE-FE80D0A95BB3}"/>
                </a:ext>
              </a:extLst>
            </p:cNvPr>
            <p:cNvSpPr/>
            <p:nvPr/>
          </p:nvSpPr>
          <p:spPr>
            <a:xfrm>
              <a:off x="1858597" y="3531528"/>
              <a:ext cx="546" cy="794"/>
            </a:xfrm>
            <a:custGeom>
              <a:avLst/>
              <a:gdLst>
                <a:gd name="connsiteX0" fmla="*/ 0 w 5242"/>
                <a:gd name="connsiteY0" fmla="*/ 0 h 7629"/>
                <a:gd name="connsiteX1" fmla="*/ 5242 w 5242"/>
                <a:gd name="connsiteY1" fmla="*/ 2662 h 7629"/>
                <a:gd name="connsiteX2" fmla="*/ 4501 w 5242"/>
                <a:gd name="connsiteY2" fmla="*/ 7629 h 7629"/>
                <a:gd name="connsiteX3" fmla="*/ 220 w 5242"/>
                <a:gd name="connsiteY3" fmla="*/ 3568 h 7629"/>
                <a:gd name="connsiteX4" fmla="*/ 0 w 5242"/>
                <a:gd name="connsiteY4" fmla="*/ 0 h 7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2" h="7629">
                  <a:moveTo>
                    <a:pt x="0" y="0"/>
                  </a:moveTo>
                  <a:lnTo>
                    <a:pt x="5242" y="2662"/>
                  </a:lnTo>
                  <a:lnTo>
                    <a:pt x="4501" y="7629"/>
                  </a:lnTo>
                  <a:lnTo>
                    <a:pt x="220" y="3568"/>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2" name="Freeform: Shape 3331">
              <a:extLst>
                <a:ext uri="{FF2B5EF4-FFF2-40B4-BE49-F238E27FC236}">
                  <a16:creationId xmlns:a16="http://schemas.microsoft.com/office/drawing/2014/main" id="{0DC1385F-40F6-F910-AD0D-A04E5F39DAA8}"/>
                </a:ext>
              </a:extLst>
            </p:cNvPr>
            <p:cNvSpPr/>
            <p:nvPr/>
          </p:nvSpPr>
          <p:spPr>
            <a:xfrm>
              <a:off x="1836921" y="3670043"/>
              <a:ext cx="497" cy="440"/>
            </a:xfrm>
            <a:custGeom>
              <a:avLst/>
              <a:gdLst>
                <a:gd name="connsiteX0" fmla="*/ 0 w 4775"/>
                <a:gd name="connsiteY0" fmla="*/ 0 h 4226"/>
                <a:gd name="connsiteX1" fmla="*/ 3019 w 4775"/>
                <a:gd name="connsiteY1" fmla="*/ 164 h 4226"/>
                <a:gd name="connsiteX2" fmla="*/ 4775 w 4775"/>
                <a:gd name="connsiteY2" fmla="*/ 1701 h 4226"/>
                <a:gd name="connsiteX3" fmla="*/ 2497 w 4775"/>
                <a:gd name="connsiteY3" fmla="*/ 4226 h 4226"/>
                <a:gd name="connsiteX4" fmla="*/ 933 w 4775"/>
                <a:gd name="connsiteY4" fmla="*/ 3238 h 4226"/>
                <a:gd name="connsiteX5" fmla="*/ 27 w 4775"/>
                <a:gd name="connsiteY5" fmla="*/ 27 h 4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 h="4226">
                  <a:moveTo>
                    <a:pt x="0" y="0"/>
                  </a:moveTo>
                  <a:lnTo>
                    <a:pt x="3019" y="164"/>
                  </a:lnTo>
                  <a:lnTo>
                    <a:pt x="4775" y="1701"/>
                  </a:lnTo>
                  <a:lnTo>
                    <a:pt x="2497" y="4226"/>
                  </a:lnTo>
                  <a:lnTo>
                    <a:pt x="933" y="3238"/>
                  </a:lnTo>
                  <a:lnTo>
                    <a:pt x="27"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3" name="Freeform: Shape 3332">
              <a:extLst>
                <a:ext uri="{FF2B5EF4-FFF2-40B4-BE49-F238E27FC236}">
                  <a16:creationId xmlns:a16="http://schemas.microsoft.com/office/drawing/2014/main" id="{8344D0E9-01E4-AB7F-43C2-DC932520AA51}"/>
                </a:ext>
              </a:extLst>
            </p:cNvPr>
            <p:cNvSpPr/>
            <p:nvPr/>
          </p:nvSpPr>
          <p:spPr>
            <a:xfrm>
              <a:off x="1767543" y="3697072"/>
              <a:ext cx="408" cy="474"/>
            </a:xfrm>
            <a:custGeom>
              <a:avLst/>
              <a:gdLst>
                <a:gd name="connsiteX0" fmla="*/ 0 w 3924"/>
                <a:gd name="connsiteY0" fmla="*/ 1619 h 4555"/>
                <a:gd name="connsiteX1" fmla="*/ 2387 w 3924"/>
                <a:gd name="connsiteY1" fmla="*/ 0 h 4555"/>
                <a:gd name="connsiteX2" fmla="*/ 3924 w 3924"/>
                <a:gd name="connsiteY2" fmla="*/ 2991 h 4555"/>
                <a:gd name="connsiteX3" fmla="*/ 1481 w 3924"/>
                <a:gd name="connsiteY3" fmla="*/ 4555 h 4555"/>
                <a:gd name="connsiteX4" fmla="*/ 0 w 3924"/>
                <a:gd name="connsiteY4" fmla="*/ 1619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4555">
                  <a:moveTo>
                    <a:pt x="0" y="1619"/>
                  </a:moveTo>
                  <a:lnTo>
                    <a:pt x="2387" y="0"/>
                  </a:lnTo>
                  <a:lnTo>
                    <a:pt x="3924" y="2991"/>
                  </a:lnTo>
                  <a:lnTo>
                    <a:pt x="1481" y="4555"/>
                  </a:lnTo>
                  <a:lnTo>
                    <a:pt x="0"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4" name="Freeform: Shape 3333">
              <a:extLst>
                <a:ext uri="{FF2B5EF4-FFF2-40B4-BE49-F238E27FC236}">
                  <a16:creationId xmlns:a16="http://schemas.microsoft.com/office/drawing/2014/main" id="{BF1AAA3B-0EA5-BCDB-FA6F-1396720FA04E}"/>
                </a:ext>
              </a:extLst>
            </p:cNvPr>
            <p:cNvSpPr/>
            <p:nvPr/>
          </p:nvSpPr>
          <p:spPr>
            <a:xfrm>
              <a:off x="1540471" y="3390545"/>
              <a:ext cx="551" cy="1673"/>
            </a:xfrm>
            <a:custGeom>
              <a:avLst/>
              <a:gdLst>
                <a:gd name="connsiteX0" fmla="*/ 0 w 5296"/>
                <a:gd name="connsiteY0" fmla="*/ 9578 h 16081"/>
                <a:gd name="connsiteX1" fmla="*/ 1207 w 5296"/>
                <a:gd name="connsiteY1" fmla="*/ 0 h 16081"/>
                <a:gd name="connsiteX2" fmla="*/ 5296 w 5296"/>
                <a:gd name="connsiteY2" fmla="*/ 7410 h 16081"/>
                <a:gd name="connsiteX3" fmla="*/ 4720 w 5296"/>
                <a:gd name="connsiteY3" fmla="*/ 16082 h 16081"/>
                <a:gd name="connsiteX4" fmla="*/ 0 w 5296"/>
                <a:gd name="connsiteY4" fmla="*/ 9578 h 16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6" h="16081">
                  <a:moveTo>
                    <a:pt x="0" y="9578"/>
                  </a:moveTo>
                  <a:lnTo>
                    <a:pt x="1207" y="0"/>
                  </a:lnTo>
                  <a:lnTo>
                    <a:pt x="5296" y="7410"/>
                  </a:lnTo>
                  <a:lnTo>
                    <a:pt x="4720" y="16082"/>
                  </a:lnTo>
                  <a:lnTo>
                    <a:pt x="0" y="95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5" name="Freeform: Shape 3334">
              <a:extLst>
                <a:ext uri="{FF2B5EF4-FFF2-40B4-BE49-F238E27FC236}">
                  <a16:creationId xmlns:a16="http://schemas.microsoft.com/office/drawing/2014/main" id="{6FD35CF6-9455-466E-D43E-DF4B366F64D4}"/>
                </a:ext>
              </a:extLst>
            </p:cNvPr>
            <p:cNvSpPr/>
            <p:nvPr/>
          </p:nvSpPr>
          <p:spPr>
            <a:xfrm>
              <a:off x="1866288" y="3612728"/>
              <a:ext cx="417" cy="626"/>
            </a:xfrm>
            <a:custGeom>
              <a:avLst/>
              <a:gdLst>
                <a:gd name="connsiteX0" fmla="*/ 0 w 4006"/>
                <a:gd name="connsiteY0" fmla="*/ 2168 h 6010"/>
                <a:gd name="connsiteX1" fmla="*/ 2908 w 4006"/>
                <a:gd name="connsiteY1" fmla="*/ 0 h 6010"/>
                <a:gd name="connsiteX2" fmla="*/ 4007 w 4006"/>
                <a:gd name="connsiteY2" fmla="*/ 4034 h 6010"/>
                <a:gd name="connsiteX3" fmla="*/ 905 w 4006"/>
                <a:gd name="connsiteY3" fmla="*/ 6010 h 6010"/>
                <a:gd name="connsiteX4" fmla="*/ 27 w 4006"/>
                <a:gd name="connsiteY4" fmla="*/ 2168 h 6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6010">
                  <a:moveTo>
                    <a:pt x="0" y="2168"/>
                  </a:moveTo>
                  <a:lnTo>
                    <a:pt x="2908" y="0"/>
                  </a:lnTo>
                  <a:lnTo>
                    <a:pt x="4007" y="4034"/>
                  </a:lnTo>
                  <a:lnTo>
                    <a:pt x="905" y="6010"/>
                  </a:lnTo>
                  <a:lnTo>
                    <a:pt x="27"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6" name="Freeform: Shape 3335">
              <a:extLst>
                <a:ext uri="{FF2B5EF4-FFF2-40B4-BE49-F238E27FC236}">
                  <a16:creationId xmlns:a16="http://schemas.microsoft.com/office/drawing/2014/main" id="{331E2A11-8CE0-3A62-7023-6E6B733FE421}"/>
                </a:ext>
              </a:extLst>
            </p:cNvPr>
            <p:cNvSpPr/>
            <p:nvPr/>
          </p:nvSpPr>
          <p:spPr>
            <a:xfrm>
              <a:off x="1835802" y="3671225"/>
              <a:ext cx="380" cy="523"/>
            </a:xfrm>
            <a:custGeom>
              <a:avLst/>
              <a:gdLst>
                <a:gd name="connsiteX0" fmla="*/ 0 w 3649"/>
                <a:gd name="connsiteY0" fmla="*/ 3266 h 5021"/>
                <a:gd name="connsiteX1" fmla="*/ 466 w 3649"/>
                <a:gd name="connsiteY1" fmla="*/ 823 h 5021"/>
                <a:gd name="connsiteX2" fmla="*/ 3375 w 3649"/>
                <a:gd name="connsiteY2" fmla="*/ 0 h 5021"/>
                <a:gd name="connsiteX3" fmla="*/ 3649 w 3649"/>
                <a:gd name="connsiteY3" fmla="*/ 3074 h 5021"/>
                <a:gd name="connsiteX4" fmla="*/ 1400 w 3649"/>
                <a:gd name="connsiteY4" fmla="*/ 5022 h 5021"/>
                <a:gd name="connsiteX5" fmla="*/ 27 w 3649"/>
                <a:gd name="connsiteY5" fmla="*/ 3238 h 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49" h="5021">
                  <a:moveTo>
                    <a:pt x="0" y="3266"/>
                  </a:moveTo>
                  <a:lnTo>
                    <a:pt x="466" y="823"/>
                  </a:lnTo>
                  <a:lnTo>
                    <a:pt x="3375" y="0"/>
                  </a:lnTo>
                  <a:lnTo>
                    <a:pt x="3649" y="3074"/>
                  </a:lnTo>
                  <a:lnTo>
                    <a:pt x="1400" y="5022"/>
                  </a:lnTo>
                  <a:lnTo>
                    <a:pt x="27"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7" name="Freeform: Shape 3336">
              <a:extLst>
                <a:ext uri="{FF2B5EF4-FFF2-40B4-BE49-F238E27FC236}">
                  <a16:creationId xmlns:a16="http://schemas.microsoft.com/office/drawing/2014/main" id="{3A1F3ECD-279C-9DA4-6369-66995775CB21}"/>
                </a:ext>
              </a:extLst>
            </p:cNvPr>
            <p:cNvSpPr/>
            <p:nvPr/>
          </p:nvSpPr>
          <p:spPr>
            <a:xfrm>
              <a:off x="1832380" y="3676275"/>
              <a:ext cx="334" cy="554"/>
            </a:xfrm>
            <a:custGeom>
              <a:avLst/>
              <a:gdLst>
                <a:gd name="connsiteX0" fmla="*/ 0 w 3210"/>
                <a:gd name="connsiteY0" fmla="*/ 5324 h 5324"/>
                <a:gd name="connsiteX1" fmla="*/ 576 w 3210"/>
                <a:gd name="connsiteY1" fmla="*/ 2305 h 5324"/>
                <a:gd name="connsiteX2" fmla="*/ 3101 w 3210"/>
                <a:gd name="connsiteY2" fmla="*/ 0 h 5324"/>
                <a:gd name="connsiteX3" fmla="*/ 3211 w 3210"/>
                <a:gd name="connsiteY3" fmla="*/ 4473 h 5324"/>
                <a:gd name="connsiteX4" fmla="*/ 27 w 3210"/>
                <a:gd name="connsiteY4" fmla="*/ 5297 h 5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 h="5324">
                  <a:moveTo>
                    <a:pt x="0" y="5324"/>
                  </a:moveTo>
                  <a:lnTo>
                    <a:pt x="576" y="2305"/>
                  </a:lnTo>
                  <a:lnTo>
                    <a:pt x="3101" y="0"/>
                  </a:lnTo>
                  <a:lnTo>
                    <a:pt x="3211" y="4473"/>
                  </a:lnTo>
                  <a:lnTo>
                    <a:pt x="27" y="52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8" name="Freeform: Shape 3337">
              <a:extLst>
                <a:ext uri="{FF2B5EF4-FFF2-40B4-BE49-F238E27FC236}">
                  <a16:creationId xmlns:a16="http://schemas.microsoft.com/office/drawing/2014/main" id="{CFED0247-2F74-2C15-09E6-4C5AABFAB95D}"/>
                </a:ext>
              </a:extLst>
            </p:cNvPr>
            <p:cNvSpPr/>
            <p:nvPr/>
          </p:nvSpPr>
          <p:spPr>
            <a:xfrm>
              <a:off x="1783505" y="3480233"/>
              <a:ext cx="414" cy="1193"/>
            </a:xfrm>
            <a:custGeom>
              <a:avLst/>
              <a:gdLst>
                <a:gd name="connsiteX0" fmla="*/ 0 w 3979"/>
                <a:gd name="connsiteY0" fmla="*/ 5269 h 11471"/>
                <a:gd name="connsiteX1" fmla="*/ 906 w 3979"/>
                <a:gd name="connsiteY1" fmla="*/ 467 h 11471"/>
                <a:gd name="connsiteX2" fmla="*/ 3979 w 3979"/>
                <a:gd name="connsiteY2" fmla="*/ 0 h 11471"/>
                <a:gd name="connsiteX3" fmla="*/ 3266 w 3979"/>
                <a:gd name="connsiteY3" fmla="*/ 11471 h 11471"/>
                <a:gd name="connsiteX4" fmla="*/ 27 w 3979"/>
                <a:gd name="connsiteY4" fmla="*/ 5242 h 11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11471">
                  <a:moveTo>
                    <a:pt x="0" y="5269"/>
                  </a:moveTo>
                  <a:lnTo>
                    <a:pt x="906" y="467"/>
                  </a:lnTo>
                  <a:lnTo>
                    <a:pt x="3979" y="0"/>
                  </a:lnTo>
                  <a:lnTo>
                    <a:pt x="3266" y="11471"/>
                  </a:lnTo>
                  <a:lnTo>
                    <a:pt x="27" y="52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39" name="Freeform: Shape 3338">
              <a:extLst>
                <a:ext uri="{FF2B5EF4-FFF2-40B4-BE49-F238E27FC236}">
                  <a16:creationId xmlns:a16="http://schemas.microsoft.com/office/drawing/2014/main" id="{6E802BB9-FBCF-22A8-8F43-FEAE3C6C3BB6}"/>
                </a:ext>
              </a:extLst>
            </p:cNvPr>
            <p:cNvSpPr/>
            <p:nvPr/>
          </p:nvSpPr>
          <p:spPr>
            <a:xfrm>
              <a:off x="1787506" y="3640340"/>
              <a:ext cx="506" cy="417"/>
            </a:xfrm>
            <a:custGeom>
              <a:avLst/>
              <a:gdLst>
                <a:gd name="connsiteX0" fmla="*/ 0 w 4857"/>
                <a:gd name="connsiteY0" fmla="*/ 1455 h 4006"/>
                <a:gd name="connsiteX1" fmla="*/ 1976 w 4857"/>
                <a:gd name="connsiteY1" fmla="*/ 0 h 4006"/>
                <a:gd name="connsiteX2" fmla="*/ 4857 w 4857"/>
                <a:gd name="connsiteY2" fmla="*/ 1455 h 4006"/>
                <a:gd name="connsiteX3" fmla="*/ 3513 w 4857"/>
                <a:gd name="connsiteY3" fmla="*/ 4007 h 4006"/>
                <a:gd name="connsiteX4" fmla="*/ 82 w 4857"/>
                <a:gd name="connsiteY4" fmla="*/ 2936 h 4006"/>
                <a:gd name="connsiteX5" fmla="*/ 0 w 4857"/>
                <a:gd name="connsiteY5" fmla="*/ 1455 h 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 h="4006">
                  <a:moveTo>
                    <a:pt x="0" y="1455"/>
                  </a:moveTo>
                  <a:lnTo>
                    <a:pt x="1976" y="0"/>
                  </a:lnTo>
                  <a:lnTo>
                    <a:pt x="4857" y="1455"/>
                  </a:lnTo>
                  <a:lnTo>
                    <a:pt x="3513" y="4007"/>
                  </a:lnTo>
                  <a:lnTo>
                    <a:pt x="82" y="2936"/>
                  </a:lnTo>
                  <a:lnTo>
                    <a:pt x="0" y="14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0" name="Freeform: Shape 3339">
              <a:extLst>
                <a:ext uri="{FF2B5EF4-FFF2-40B4-BE49-F238E27FC236}">
                  <a16:creationId xmlns:a16="http://schemas.microsoft.com/office/drawing/2014/main" id="{BC6307B7-509E-9470-4D11-7606B9E21CCD}"/>
                </a:ext>
              </a:extLst>
            </p:cNvPr>
            <p:cNvSpPr/>
            <p:nvPr/>
          </p:nvSpPr>
          <p:spPr>
            <a:xfrm>
              <a:off x="1836713" y="3666932"/>
              <a:ext cx="380" cy="460"/>
            </a:xfrm>
            <a:custGeom>
              <a:avLst/>
              <a:gdLst>
                <a:gd name="connsiteX0" fmla="*/ 0 w 3650"/>
                <a:gd name="connsiteY0" fmla="*/ 3101 h 4418"/>
                <a:gd name="connsiteX1" fmla="*/ 494 w 3650"/>
                <a:gd name="connsiteY1" fmla="*/ 439 h 4418"/>
                <a:gd name="connsiteX2" fmla="*/ 2991 w 3650"/>
                <a:gd name="connsiteY2" fmla="*/ 0 h 4418"/>
                <a:gd name="connsiteX3" fmla="*/ 3650 w 3650"/>
                <a:gd name="connsiteY3" fmla="*/ 1729 h 4418"/>
                <a:gd name="connsiteX4" fmla="*/ 2278 w 3650"/>
                <a:gd name="connsiteY4" fmla="*/ 4418 h 4418"/>
                <a:gd name="connsiteX5" fmla="*/ 0 w 3650"/>
                <a:gd name="connsiteY5" fmla="*/ 3101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0" h="4418">
                  <a:moveTo>
                    <a:pt x="0" y="3101"/>
                  </a:moveTo>
                  <a:lnTo>
                    <a:pt x="494" y="439"/>
                  </a:lnTo>
                  <a:lnTo>
                    <a:pt x="2991" y="0"/>
                  </a:lnTo>
                  <a:lnTo>
                    <a:pt x="3650" y="1729"/>
                  </a:lnTo>
                  <a:lnTo>
                    <a:pt x="2278" y="4418"/>
                  </a:lnTo>
                  <a:lnTo>
                    <a:pt x="0" y="31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1" name="Freeform: Shape 3340">
              <a:extLst>
                <a:ext uri="{FF2B5EF4-FFF2-40B4-BE49-F238E27FC236}">
                  <a16:creationId xmlns:a16="http://schemas.microsoft.com/office/drawing/2014/main" id="{321A905C-B6FB-5EB1-82FD-AD83FA609C37}"/>
                </a:ext>
              </a:extLst>
            </p:cNvPr>
            <p:cNvSpPr/>
            <p:nvPr/>
          </p:nvSpPr>
          <p:spPr>
            <a:xfrm>
              <a:off x="1858285" y="3530369"/>
              <a:ext cx="437" cy="774"/>
            </a:xfrm>
            <a:custGeom>
              <a:avLst/>
              <a:gdLst>
                <a:gd name="connsiteX0" fmla="*/ 3458 w 4198"/>
                <a:gd name="connsiteY0" fmla="*/ 6257 h 7437"/>
                <a:gd name="connsiteX1" fmla="*/ 2031 w 4198"/>
                <a:gd name="connsiteY1" fmla="*/ 7437 h 7437"/>
                <a:gd name="connsiteX2" fmla="*/ 439 w 4198"/>
                <a:gd name="connsiteY2" fmla="*/ 4857 h 7437"/>
                <a:gd name="connsiteX3" fmla="*/ 0 w 4198"/>
                <a:gd name="connsiteY3" fmla="*/ 823 h 7437"/>
                <a:gd name="connsiteX4" fmla="*/ 2332 w 4198"/>
                <a:gd name="connsiteY4" fmla="*/ 0 h 7437"/>
                <a:gd name="connsiteX5" fmla="*/ 4199 w 4198"/>
                <a:gd name="connsiteY5" fmla="*/ 1482 h 7437"/>
                <a:gd name="connsiteX6" fmla="*/ 3430 w 4198"/>
                <a:gd name="connsiteY6" fmla="*/ 6257 h 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 h="7437">
                  <a:moveTo>
                    <a:pt x="3458" y="6257"/>
                  </a:moveTo>
                  <a:lnTo>
                    <a:pt x="2031" y="7437"/>
                  </a:lnTo>
                  <a:lnTo>
                    <a:pt x="439" y="4857"/>
                  </a:lnTo>
                  <a:lnTo>
                    <a:pt x="0" y="823"/>
                  </a:lnTo>
                  <a:lnTo>
                    <a:pt x="2332" y="0"/>
                  </a:lnTo>
                  <a:lnTo>
                    <a:pt x="4199" y="1482"/>
                  </a:lnTo>
                  <a:lnTo>
                    <a:pt x="3430" y="62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2" name="Freeform: Shape 3341">
              <a:extLst>
                <a:ext uri="{FF2B5EF4-FFF2-40B4-BE49-F238E27FC236}">
                  <a16:creationId xmlns:a16="http://schemas.microsoft.com/office/drawing/2014/main" id="{ACEBD97E-6F82-341E-0601-006D406B9205}"/>
                </a:ext>
              </a:extLst>
            </p:cNvPr>
            <p:cNvSpPr/>
            <p:nvPr/>
          </p:nvSpPr>
          <p:spPr>
            <a:xfrm>
              <a:off x="1830695" y="3678282"/>
              <a:ext cx="408" cy="377"/>
            </a:xfrm>
            <a:custGeom>
              <a:avLst/>
              <a:gdLst>
                <a:gd name="connsiteX0" fmla="*/ 0 w 3924"/>
                <a:gd name="connsiteY0" fmla="*/ 604 h 3622"/>
                <a:gd name="connsiteX1" fmla="*/ 3924 w 3924"/>
                <a:gd name="connsiteY1" fmla="*/ 0 h 3622"/>
                <a:gd name="connsiteX2" fmla="*/ 3678 w 3924"/>
                <a:gd name="connsiteY2" fmla="*/ 3622 h 3622"/>
                <a:gd name="connsiteX3" fmla="*/ 686 w 3924"/>
                <a:gd name="connsiteY3" fmla="*/ 3485 h 3622"/>
                <a:gd name="connsiteX4" fmla="*/ 0 w 3924"/>
                <a:gd name="connsiteY4" fmla="*/ 604 h 3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3622">
                  <a:moveTo>
                    <a:pt x="0" y="604"/>
                  </a:moveTo>
                  <a:lnTo>
                    <a:pt x="3924" y="0"/>
                  </a:lnTo>
                  <a:lnTo>
                    <a:pt x="3678" y="3622"/>
                  </a:lnTo>
                  <a:lnTo>
                    <a:pt x="686" y="3485"/>
                  </a:lnTo>
                  <a:lnTo>
                    <a:pt x="0" y="6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3" name="Freeform: Shape 3342">
              <a:extLst>
                <a:ext uri="{FF2B5EF4-FFF2-40B4-BE49-F238E27FC236}">
                  <a16:creationId xmlns:a16="http://schemas.microsoft.com/office/drawing/2014/main" id="{3535144E-C0CD-332E-8669-7CB51F9CD9ED}"/>
                </a:ext>
              </a:extLst>
            </p:cNvPr>
            <p:cNvSpPr/>
            <p:nvPr/>
          </p:nvSpPr>
          <p:spPr>
            <a:xfrm>
              <a:off x="1785264" y="3643921"/>
              <a:ext cx="169" cy="239"/>
            </a:xfrm>
            <a:custGeom>
              <a:avLst/>
              <a:gdLst>
                <a:gd name="connsiteX0" fmla="*/ 796 w 1619"/>
                <a:gd name="connsiteY0" fmla="*/ 0 h 2305"/>
                <a:gd name="connsiteX1" fmla="*/ 1345 w 1619"/>
                <a:gd name="connsiteY1" fmla="*/ 0 h 2305"/>
                <a:gd name="connsiteX2" fmla="*/ 1619 w 1619"/>
                <a:gd name="connsiteY2" fmla="*/ 1372 h 2305"/>
                <a:gd name="connsiteX3" fmla="*/ 1345 w 1619"/>
                <a:gd name="connsiteY3" fmla="*/ 2305 h 2305"/>
                <a:gd name="connsiteX4" fmla="*/ 549 w 1619"/>
                <a:gd name="connsiteY4" fmla="*/ 2305 h 2305"/>
                <a:gd name="connsiteX5" fmla="*/ 0 w 1619"/>
                <a:gd name="connsiteY5" fmla="*/ 1372 h 2305"/>
                <a:gd name="connsiteX6" fmla="*/ 796 w 1619"/>
                <a:gd name="connsiteY6" fmla="*/ 0 h 2305"/>
                <a:gd name="connsiteX7" fmla="*/ 796 w 1619"/>
                <a:gd name="connsiteY7" fmla="*/ 0 h 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 h="2305">
                  <a:moveTo>
                    <a:pt x="796" y="0"/>
                  </a:moveTo>
                  <a:lnTo>
                    <a:pt x="1345" y="0"/>
                  </a:lnTo>
                  <a:lnTo>
                    <a:pt x="1619" y="1372"/>
                  </a:lnTo>
                  <a:lnTo>
                    <a:pt x="1345" y="2305"/>
                  </a:lnTo>
                  <a:lnTo>
                    <a:pt x="549" y="2305"/>
                  </a:lnTo>
                  <a:lnTo>
                    <a:pt x="0" y="1372"/>
                  </a:lnTo>
                  <a:lnTo>
                    <a:pt x="796" y="0"/>
                  </a:lnTo>
                  <a:lnTo>
                    <a:pt x="79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3344" name="Group 3343">
              <a:extLst>
                <a:ext uri="{FF2B5EF4-FFF2-40B4-BE49-F238E27FC236}">
                  <a16:creationId xmlns:a16="http://schemas.microsoft.com/office/drawing/2014/main" id="{40668862-49B8-8A7A-FD9C-E810CEABDF3A}"/>
                </a:ext>
              </a:extLst>
            </p:cNvPr>
            <p:cNvGrpSpPr/>
            <p:nvPr/>
          </p:nvGrpSpPr>
          <p:grpSpPr>
            <a:xfrm>
              <a:off x="1697422" y="3745887"/>
              <a:ext cx="213223" cy="262104"/>
              <a:chOff x="1699366" y="3746791"/>
              <a:chExt cx="213693" cy="262682"/>
            </a:xfrm>
          </p:grpSpPr>
          <p:sp>
            <p:nvSpPr>
              <p:cNvPr id="4555" name="Freeform: Shape 4554">
                <a:extLst>
                  <a:ext uri="{FF2B5EF4-FFF2-40B4-BE49-F238E27FC236}">
                    <a16:creationId xmlns:a16="http://schemas.microsoft.com/office/drawing/2014/main" id="{AA124E8B-2ED2-F34F-360E-DF2FF5DE1F63}"/>
                  </a:ext>
                </a:extLst>
              </p:cNvPr>
              <p:cNvSpPr/>
              <p:nvPr/>
            </p:nvSpPr>
            <p:spPr>
              <a:xfrm>
                <a:off x="1733628" y="3764257"/>
                <a:ext cx="5928" cy="11209"/>
              </a:xfrm>
              <a:custGeom>
                <a:avLst/>
                <a:gdLst>
                  <a:gd name="connsiteX0" fmla="*/ 24754 w 56834"/>
                  <a:gd name="connsiteY0" fmla="*/ 104064 h 107466"/>
                  <a:gd name="connsiteX1" fmla="*/ 21296 w 56834"/>
                  <a:gd name="connsiteY1" fmla="*/ 107467 h 107466"/>
                  <a:gd name="connsiteX2" fmla="*/ 19457 w 56834"/>
                  <a:gd name="connsiteY2" fmla="*/ 105573 h 107466"/>
                  <a:gd name="connsiteX3" fmla="*/ 17097 w 56834"/>
                  <a:gd name="connsiteY3" fmla="*/ 95337 h 107466"/>
                  <a:gd name="connsiteX4" fmla="*/ 7464 w 56834"/>
                  <a:gd name="connsiteY4" fmla="*/ 87104 h 107466"/>
                  <a:gd name="connsiteX5" fmla="*/ 3458 w 56834"/>
                  <a:gd name="connsiteY5" fmla="*/ 75194 h 107466"/>
                  <a:gd name="connsiteX6" fmla="*/ 906 w 56834"/>
                  <a:gd name="connsiteY6" fmla="*/ 72258 h 107466"/>
                  <a:gd name="connsiteX7" fmla="*/ 0 w 56834"/>
                  <a:gd name="connsiteY7" fmla="*/ 69211 h 107466"/>
                  <a:gd name="connsiteX8" fmla="*/ 3073 w 56834"/>
                  <a:gd name="connsiteY8" fmla="*/ 60841 h 107466"/>
                  <a:gd name="connsiteX9" fmla="*/ 3348 w 56834"/>
                  <a:gd name="connsiteY9" fmla="*/ 51922 h 107466"/>
                  <a:gd name="connsiteX10" fmla="*/ 19786 w 56834"/>
                  <a:gd name="connsiteY10" fmla="*/ 22586 h 107466"/>
                  <a:gd name="connsiteX11" fmla="*/ 24671 w 56834"/>
                  <a:gd name="connsiteY11" fmla="*/ 17728 h 107466"/>
                  <a:gd name="connsiteX12" fmla="*/ 29748 w 56834"/>
                  <a:gd name="connsiteY12" fmla="*/ 8233 h 107466"/>
                  <a:gd name="connsiteX13" fmla="*/ 45034 w 56834"/>
                  <a:gd name="connsiteY13" fmla="*/ 0 h 107466"/>
                  <a:gd name="connsiteX14" fmla="*/ 54584 w 56834"/>
                  <a:gd name="connsiteY14" fmla="*/ 5352 h 107466"/>
                  <a:gd name="connsiteX15" fmla="*/ 56834 w 56834"/>
                  <a:gd name="connsiteY15" fmla="*/ 9029 h 107466"/>
                  <a:gd name="connsiteX16" fmla="*/ 52690 w 56834"/>
                  <a:gd name="connsiteY16" fmla="*/ 14380 h 107466"/>
                  <a:gd name="connsiteX17" fmla="*/ 53322 w 56834"/>
                  <a:gd name="connsiteY17" fmla="*/ 24781 h 107466"/>
                  <a:gd name="connsiteX18" fmla="*/ 46790 w 56834"/>
                  <a:gd name="connsiteY18" fmla="*/ 37954 h 107466"/>
                  <a:gd name="connsiteX19" fmla="*/ 43003 w 56834"/>
                  <a:gd name="connsiteY19" fmla="*/ 58865 h 107466"/>
                  <a:gd name="connsiteX20" fmla="*/ 38200 w 56834"/>
                  <a:gd name="connsiteY20" fmla="*/ 72285 h 107466"/>
                  <a:gd name="connsiteX21" fmla="*/ 28102 w 56834"/>
                  <a:gd name="connsiteY21" fmla="*/ 86555 h 107466"/>
                  <a:gd name="connsiteX22" fmla="*/ 25220 w 56834"/>
                  <a:gd name="connsiteY22" fmla="*/ 94706 h 107466"/>
                  <a:gd name="connsiteX23" fmla="*/ 24781 w 56834"/>
                  <a:gd name="connsiteY23" fmla="*/ 104064 h 10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834" h="107466">
                    <a:moveTo>
                      <a:pt x="24754" y="104064"/>
                    </a:moveTo>
                    <a:lnTo>
                      <a:pt x="21296" y="107467"/>
                    </a:lnTo>
                    <a:lnTo>
                      <a:pt x="19457" y="105573"/>
                    </a:lnTo>
                    <a:lnTo>
                      <a:pt x="17097" y="95337"/>
                    </a:lnTo>
                    <a:lnTo>
                      <a:pt x="7464" y="87104"/>
                    </a:lnTo>
                    <a:lnTo>
                      <a:pt x="3458" y="75194"/>
                    </a:lnTo>
                    <a:lnTo>
                      <a:pt x="906" y="72258"/>
                    </a:lnTo>
                    <a:lnTo>
                      <a:pt x="0" y="69211"/>
                    </a:lnTo>
                    <a:lnTo>
                      <a:pt x="3073" y="60841"/>
                    </a:lnTo>
                    <a:lnTo>
                      <a:pt x="3348" y="51922"/>
                    </a:lnTo>
                    <a:lnTo>
                      <a:pt x="19786" y="22586"/>
                    </a:lnTo>
                    <a:lnTo>
                      <a:pt x="24671" y="17728"/>
                    </a:lnTo>
                    <a:lnTo>
                      <a:pt x="29748" y="8233"/>
                    </a:lnTo>
                    <a:lnTo>
                      <a:pt x="45034" y="0"/>
                    </a:lnTo>
                    <a:lnTo>
                      <a:pt x="54584" y="5352"/>
                    </a:lnTo>
                    <a:lnTo>
                      <a:pt x="56834" y="9029"/>
                    </a:lnTo>
                    <a:lnTo>
                      <a:pt x="52690" y="14380"/>
                    </a:lnTo>
                    <a:lnTo>
                      <a:pt x="53322" y="24781"/>
                    </a:lnTo>
                    <a:lnTo>
                      <a:pt x="46790" y="37954"/>
                    </a:lnTo>
                    <a:lnTo>
                      <a:pt x="43003" y="58865"/>
                    </a:lnTo>
                    <a:lnTo>
                      <a:pt x="38200" y="72285"/>
                    </a:lnTo>
                    <a:lnTo>
                      <a:pt x="28102" y="86555"/>
                    </a:lnTo>
                    <a:lnTo>
                      <a:pt x="25220" y="94706"/>
                    </a:lnTo>
                    <a:lnTo>
                      <a:pt x="24781" y="1040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6" name="Freeform: Shape 4555">
                <a:extLst>
                  <a:ext uri="{FF2B5EF4-FFF2-40B4-BE49-F238E27FC236}">
                    <a16:creationId xmlns:a16="http://schemas.microsoft.com/office/drawing/2014/main" id="{FCB3C8CA-3358-543E-078A-340355E4767D}"/>
                  </a:ext>
                </a:extLst>
              </p:cNvPr>
              <p:cNvSpPr/>
              <p:nvPr/>
            </p:nvSpPr>
            <p:spPr>
              <a:xfrm>
                <a:off x="1739558" y="3746791"/>
                <a:ext cx="1076" cy="1297"/>
              </a:xfrm>
              <a:custGeom>
                <a:avLst/>
                <a:gdLst>
                  <a:gd name="connsiteX0" fmla="*/ 10319 w 10318"/>
                  <a:gd name="connsiteY0" fmla="*/ 10840 h 12431"/>
                  <a:gd name="connsiteX1" fmla="*/ 8754 w 10318"/>
                  <a:gd name="connsiteY1" fmla="*/ 12432 h 12431"/>
                  <a:gd name="connsiteX2" fmla="*/ 1509 w 10318"/>
                  <a:gd name="connsiteY2" fmla="*/ 10840 h 12431"/>
                  <a:gd name="connsiteX3" fmla="*/ 0 w 10318"/>
                  <a:gd name="connsiteY3" fmla="*/ 7300 h 12431"/>
                  <a:gd name="connsiteX4" fmla="*/ 384 w 10318"/>
                  <a:gd name="connsiteY4" fmla="*/ 6038 h 12431"/>
                  <a:gd name="connsiteX5" fmla="*/ 1509 w 10318"/>
                  <a:gd name="connsiteY5" fmla="*/ 5818 h 12431"/>
                  <a:gd name="connsiteX6" fmla="*/ 4500 w 10318"/>
                  <a:gd name="connsiteY6" fmla="*/ 5242 h 12431"/>
                  <a:gd name="connsiteX7" fmla="*/ 4007 w 10318"/>
                  <a:gd name="connsiteY7" fmla="*/ 933 h 12431"/>
                  <a:gd name="connsiteX8" fmla="*/ 6696 w 10318"/>
                  <a:gd name="connsiteY8" fmla="*/ 0 h 12431"/>
                  <a:gd name="connsiteX9" fmla="*/ 6010 w 10318"/>
                  <a:gd name="connsiteY9" fmla="*/ 6751 h 12431"/>
                  <a:gd name="connsiteX10" fmla="*/ 10319 w 10318"/>
                  <a:gd name="connsiteY10" fmla="*/ 10840 h 1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18" h="12431">
                    <a:moveTo>
                      <a:pt x="10319" y="10840"/>
                    </a:moveTo>
                    <a:lnTo>
                      <a:pt x="8754" y="12432"/>
                    </a:lnTo>
                    <a:lnTo>
                      <a:pt x="1509" y="10840"/>
                    </a:lnTo>
                    <a:lnTo>
                      <a:pt x="0" y="7300"/>
                    </a:lnTo>
                    <a:lnTo>
                      <a:pt x="384" y="6038"/>
                    </a:lnTo>
                    <a:lnTo>
                      <a:pt x="1509" y="5818"/>
                    </a:lnTo>
                    <a:lnTo>
                      <a:pt x="4500" y="5242"/>
                    </a:lnTo>
                    <a:lnTo>
                      <a:pt x="4007" y="933"/>
                    </a:lnTo>
                    <a:lnTo>
                      <a:pt x="6696" y="0"/>
                    </a:lnTo>
                    <a:lnTo>
                      <a:pt x="6010" y="6751"/>
                    </a:lnTo>
                    <a:lnTo>
                      <a:pt x="10319" y="108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7" name="Freeform: Shape 4556">
                <a:extLst>
                  <a:ext uri="{FF2B5EF4-FFF2-40B4-BE49-F238E27FC236}">
                    <a16:creationId xmlns:a16="http://schemas.microsoft.com/office/drawing/2014/main" id="{8D20CF63-A179-A134-1CE5-20E674237075}"/>
                  </a:ext>
                </a:extLst>
              </p:cNvPr>
              <p:cNvSpPr/>
              <p:nvPr/>
            </p:nvSpPr>
            <p:spPr>
              <a:xfrm>
                <a:off x="1732517" y="3763003"/>
                <a:ext cx="487" cy="787"/>
              </a:xfrm>
              <a:custGeom>
                <a:avLst/>
                <a:gdLst>
                  <a:gd name="connsiteX0" fmla="*/ 4144 w 4665"/>
                  <a:gd name="connsiteY0" fmla="*/ 5544 h 7546"/>
                  <a:gd name="connsiteX1" fmla="*/ 2113 w 4665"/>
                  <a:gd name="connsiteY1" fmla="*/ 7547 h 7546"/>
                  <a:gd name="connsiteX2" fmla="*/ 0 w 4665"/>
                  <a:gd name="connsiteY2" fmla="*/ 5571 h 7546"/>
                  <a:gd name="connsiteX3" fmla="*/ 1619 w 4665"/>
                  <a:gd name="connsiteY3" fmla="*/ 2799 h 7546"/>
                  <a:gd name="connsiteX4" fmla="*/ 549 w 4665"/>
                  <a:gd name="connsiteY4" fmla="*/ 2168 h 7546"/>
                  <a:gd name="connsiteX5" fmla="*/ 961 w 4665"/>
                  <a:gd name="connsiteY5" fmla="*/ 0 h 7546"/>
                  <a:gd name="connsiteX6" fmla="*/ 4666 w 4665"/>
                  <a:gd name="connsiteY6" fmla="*/ 1619 h 7546"/>
                  <a:gd name="connsiteX7" fmla="*/ 4171 w 4665"/>
                  <a:gd name="connsiteY7" fmla="*/ 5571 h 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5" h="7546">
                    <a:moveTo>
                      <a:pt x="4144" y="5544"/>
                    </a:moveTo>
                    <a:lnTo>
                      <a:pt x="2113" y="7547"/>
                    </a:lnTo>
                    <a:lnTo>
                      <a:pt x="0" y="5571"/>
                    </a:lnTo>
                    <a:lnTo>
                      <a:pt x="1619" y="2799"/>
                    </a:lnTo>
                    <a:lnTo>
                      <a:pt x="549" y="2168"/>
                    </a:lnTo>
                    <a:lnTo>
                      <a:pt x="961" y="0"/>
                    </a:lnTo>
                    <a:lnTo>
                      <a:pt x="4666" y="1619"/>
                    </a:lnTo>
                    <a:lnTo>
                      <a:pt x="4171" y="55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8" name="Freeform: Shape 4557">
                <a:extLst>
                  <a:ext uri="{FF2B5EF4-FFF2-40B4-BE49-F238E27FC236}">
                    <a16:creationId xmlns:a16="http://schemas.microsoft.com/office/drawing/2014/main" id="{B066CA6E-CA59-9548-C070-0993620A7871}"/>
                  </a:ext>
                </a:extLst>
              </p:cNvPr>
              <p:cNvSpPr/>
              <p:nvPr/>
            </p:nvSpPr>
            <p:spPr>
              <a:xfrm>
                <a:off x="1739836" y="3748617"/>
                <a:ext cx="406" cy="489"/>
              </a:xfrm>
              <a:custGeom>
                <a:avLst/>
                <a:gdLst>
                  <a:gd name="connsiteX0" fmla="*/ 3897 w 3896"/>
                  <a:gd name="connsiteY0" fmla="*/ 3568 h 4692"/>
                  <a:gd name="connsiteX1" fmla="*/ 3238 w 3896"/>
                  <a:gd name="connsiteY1" fmla="*/ 4693 h 4692"/>
                  <a:gd name="connsiteX2" fmla="*/ 0 w 3896"/>
                  <a:gd name="connsiteY2" fmla="*/ 1756 h 4692"/>
                  <a:gd name="connsiteX3" fmla="*/ 1948 w 3896"/>
                  <a:gd name="connsiteY3" fmla="*/ 0 h 4692"/>
                  <a:gd name="connsiteX4" fmla="*/ 3897 w 3896"/>
                  <a:gd name="connsiteY4" fmla="*/ 3540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6" h="4692">
                    <a:moveTo>
                      <a:pt x="3897" y="3568"/>
                    </a:moveTo>
                    <a:lnTo>
                      <a:pt x="3238" y="4693"/>
                    </a:lnTo>
                    <a:lnTo>
                      <a:pt x="0" y="1756"/>
                    </a:lnTo>
                    <a:lnTo>
                      <a:pt x="1948" y="0"/>
                    </a:lnTo>
                    <a:lnTo>
                      <a:pt x="3897"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9" name="Freeform: Shape 4558">
                <a:extLst>
                  <a:ext uri="{FF2B5EF4-FFF2-40B4-BE49-F238E27FC236}">
                    <a16:creationId xmlns:a16="http://schemas.microsoft.com/office/drawing/2014/main" id="{595DE2FA-EC26-BA54-31A6-E79A3EF3C952}"/>
                  </a:ext>
                </a:extLst>
              </p:cNvPr>
              <p:cNvSpPr/>
              <p:nvPr/>
            </p:nvSpPr>
            <p:spPr>
              <a:xfrm>
                <a:off x="1732949" y="3759643"/>
                <a:ext cx="418" cy="444"/>
              </a:xfrm>
              <a:custGeom>
                <a:avLst/>
                <a:gdLst>
                  <a:gd name="connsiteX0" fmla="*/ 3980 w 4007"/>
                  <a:gd name="connsiteY0" fmla="*/ 522 h 4253"/>
                  <a:gd name="connsiteX1" fmla="*/ 1922 w 4007"/>
                  <a:gd name="connsiteY1" fmla="*/ 4254 h 4253"/>
                  <a:gd name="connsiteX2" fmla="*/ 0 w 4007"/>
                  <a:gd name="connsiteY2" fmla="*/ 3183 h 4253"/>
                  <a:gd name="connsiteX3" fmla="*/ 2525 w 4007"/>
                  <a:gd name="connsiteY3" fmla="*/ 0 h 4253"/>
                  <a:gd name="connsiteX4" fmla="*/ 4007 w 4007"/>
                  <a:gd name="connsiteY4" fmla="*/ 549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 h="4253">
                    <a:moveTo>
                      <a:pt x="3980" y="522"/>
                    </a:moveTo>
                    <a:lnTo>
                      <a:pt x="1922" y="4254"/>
                    </a:lnTo>
                    <a:lnTo>
                      <a:pt x="0" y="3183"/>
                    </a:lnTo>
                    <a:lnTo>
                      <a:pt x="2525" y="0"/>
                    </a:lnTo>
                    <a:lnTo>
                      <a:pt x="4007" y="5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0" name="Freeform: Shape 4559">
                <a:extLst>
                  <a:ext uri="{FF2B5EF4-FFF2-40B4-BE49-F238E27FC236}">
                    <a16:creationId xmlns:a16="http://schemas.microsoft.com/office/drawing/2014/main" id="{F9D3AE99-5573-4FDC-E80E-C2F962F53D1A}"/>
                  </a:ext>
                </a:extLst>
              </p:cNvPr>
              <p:cNvSpPr/>
              <p:nvPr/>
            </p:nvSpPr>
            <p:spPr>
              <a:xfrm>
                <a:off x="1736819" y="3755252"/>
                <a:ext cx="386" cy="452"/>
              </a:xfrm>
              <a:custGeom>
                <a:avLst/>
                <a:gdLst>
                  <a:gd name="connsiteX0" fmla="*/ 3705 w 3705"/>
                  <a:gd name="connsiteY0" fmla="*/ 1701 h 4335"/>
                  <a:gd name="connsiteX1" fmla="*/ 1400 w 3705"/>
                  <a:gd name="connsiteY1" fmla="*/ 4336 h 4335"/>
                  <a:gd name="connsiteX2" fmla="*/ 0 w 3705"/>
                  <a:gd name="connsiteY2" fmla="*/ 2936 h 4335"/>
                  <a:gd name="connsiteX3" fmla="*/ 1619 w 3705"/>
                  <a:gd name="connsiteY3" fmla="*/ 0 h 4335"/>
                  <a:gd name="connsiteX4" fmla="*/ 3705 w 3705"/>
                  <a:gd name="connsiteY4" fmla="*/ 1701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5" h="4335">
                    <a:moveTo>
                      <a:pt x="3705" y="1701"/>
                    </a:moveTo>
                    <a:lnTo>
                      <a:pt x="1400" y="4336"/>
                    </a:lnTo>
                    <a:lnTo>
                      <a:pt x="0" y="2936"/>
                    </a:lnTo>
                    <a:lnTo>
                      <a:pt x="1619" y="0"/>
                    </a:lnTo>
                    <a:lnTo>
                      <a:pt x="3705"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1" name="Freeform: Shape 4560">
                <a:extLst>
                  <a:ext uri="{FF2B5EF4-FFF2-40B4-BE49-F238E27FC236}">
                    <a16:creationId xmlns:a16="http://schemas.microsoft.com/office/drawing/2014/main" id="{9879DD09-FB44-DDCE-1300-EBA43A3F71B7}"/>
                  </a:ext>
                </a:extLst>
              </p:cNvPr>
              <p:cNvSpPr/>
              <p:nvPr/>
            </p:nvSpPr>
            <p:spPr>
              <a:xfrm>
                <a:off x="1732033" y="3769856"/>
                <a:ext cx="401" cy="415"/>
              </a:xfrm>
              <a:custGeom>
                <a:avLst/>
                <a:gdLst>
                  <a:gd name="connsiteX0" fmla="*/ 3842 w 3842"/>
                  <a:gd name="connsiteY0" fmla="*/ 1674 h 3979"/>
                  <a:gd name="connsiteX1" fmla="*/ 2498 w 3842"/>
                  <a:gd name="connsiteY1" fmla="*/ 3979 h 3979"/>
                  <a:gd name="connsiteX2" fmla="*/ 0 w 3842"/>
                  <a:gd name="connsiteY2" fmla="*/ 2442 h 3979"/>
                  <a:gd name="connsiteX3" fmla="*/ 2470 w 3842"/>
                  <a:gd name="connsiteY3" fmla="*/ 0 h 3979"/>
                  <a:gd name="connsiteX4" fmla="*/ 3842 w 3842"/>
                  <a:gd name="connsiteY4" fmla="*/ 1674 h 3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2" h="3979">
                    <a:moveTo>
                      <a:pt x="3842" y="1674"/>
                    </a:moveTo>
                    <a:lnTo>
                      <a:pt x="2498" y="3979"/>
                    </a:lnTo>
                    <a:lnTo>
                      <a:pt x="0" y="2442"/>
                    </a:lnTo>
                    <a:lnTo>
                      <a:pt x="2470" y="0"/>
                    </a:lnTo>
                    <a:lnTo>
                      <a:pt x="3842" y="16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2" name="Freeform: Shape 4561">
                <a:extLst>
                  <a:ext uri="{FF2B5EF4-FFF2-40B4-BE49-F238E27FC236}">
                    <a16:creationId xmlns:a16="http://schemas.microsoft.com/office/drawing/2014/main" id="{F21FF183-B001-224D-E017-867B1BE89E49}"/>
                  </a:ext>
                </a:extLst>
              </p:cNvPr>
              <p:cNvSpPr/>
              <p:nvPr/>
            </p:nvSpPr>
            <p:spPr>
              <a:xfrm>
                <a:off x="1740658" y="3748045"/>
                <a:ext cx="395" cy="409"/>
              </a:xfrm>
              <a:custGeom>
                <a:avLst/>
                <a:gdLst>
                  <a:gd name="connsiteX0" fmla="*/ 3787 w 3786"/>
                  <a:gd name="connsiteY0" fmla="*/ 3019 h 3924"/>
                  <a:gd name="connsiteX1" fmla="*/ 1509 w 3786"/>
                  <a:gd name="connsiteY1" fmla="*/ 3924 h 3924"/>
                  <a:gd name="connsiteX2" fmla="*/ 0 w 3786"/>
                  <a:gd name="connsiteY2" fmla="*/ 878 h 3924"/>
                  <a:gd name="connsiteX3" fmla="*/ 2086 w 3786"/>
                  <a:gd name="connsiteY3" fmla="*/ 0 h 3924"/>
                  <a:gd name="connsiteX4" fmla="*/ 3787 w 3786"/>
                  <a:gd name="connsiteY4" fmla="*/ 3019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6" h="3924">
                    <a:moveTo>
                      <a:pt x="3787" y="3019"/>
                    </a:moveTo>
                    <a:lnTo>
                      <a:pt x="1509" y="3924"/>
                    </a:lnTo>
                    <a:lnTo>
                      <a:pt x="0" y="878"/>
                    </a:lnTo>
                    <a:lnTo>
                      <a:pt x="2086" y="0"/>
                    </a:lnTo>
                    <a:lnTo>
                      <a:pt x="3787"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3" name="Freeform: Shape 4562">
                <a:extLst>
                  <a:ext uri="{FF2B5EF4-FFF2-40B4-BE49-F238E27FC236}">
                    <a16:creationId xmlns:a16="http://schemas.microsoft.com/office/drawing/2014/main" id="{D106E6EB-E9A1-20C7-9FB3-4D5F7F535E00}"/>
                  </a:ext>
                </a:extLst>
              </p:cNvPr>
              <p:cNvSpPr/>
              <p:nvPr/>
            </p:nvSpPr>
            <p:spPr>
              <a:xfrm>
                <a:off x="1728261" y="3766913"/>
                <a:ext cx="504" cy="303"/>
              </a:xfrm>
              <a:custGeom>
                <a:avLst/>
                <a:gdLst>
                  <a:gd name="connsiteX0" fmla="*/ 1509 w 4829"/>
                  <a:gd name="connsiteY0" fmla="*/ 2909 h 2908"/>
                  <a:gd name="connsiteX1" fmla="*/ 0 w 4829"/>
                  <a:gd name="connsiteY1" fmla="*/ 2909 h 2908"/>
                  <a:gd name="connsiteX2" fmla="*/ 631 w 4829"/>
                  <a:gd name="connsiteY2" fmla="*/ 1400 h 2908"/>
                  <a:gd name="connsiteX3" fmla="*/ 4638 w 4829"/>
                  <a:gd name="connsiteY3" fmla="*/ 0 h 2908"/>
                  <a:gd name="connsiteX4" fmla="*/ 4830 w 4829"/>
                  <a:gd name="connsiteY4" fmla="*/ 2168 h 2908"/>
                  <a:gd name="connsiteX5" fmla="*/ 1509 w 4829"/>
                  <a:gd name="connsiteY5" fmla="*/ 2882 h 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9" h="2908">
                    <a:moveTo>
                      <a:pt x="1509" y="2909"/>
                    </a:moveTo>
                    <a:lnTo>
                      <a:pt x="0" y="2909"/>
                    </a:lnTo>
                    <a:lnTo>
                      <a:pt x="631" y="1400"/>
                    </a:lnTo>
                    <a:lnTo>
                      <a:pt x="4638" y="0"/>
                    </a:lnTo>
                    <a:lnTo>
                      <a:pt x="4830" y="2168"/>
                    </a:lnTo>
                    <a:lnTo>
                      <a:pt x="1509" y="28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4" name="Freeform: Shape 4563">
                <a:extLst>
                  <a:ext uri="{FF2B5EF4-FFF2-40B4-BE49-F238E27FC236}">
                    <a16:creationId xmlns:a16="http://schemas.microsoft.com/office/drawing/2014/main" id="{EB72050B-E4DD-AB40-7D7D-C165F2F2373F}"/>
                  </a:ext>
                </a:extLst>
              </p:cNvPr>
              <p:cNvSpPr/>
              <p:nvPr/>
            </p:nvSpPr>
            <p:spPr>
              <a:xfrm>
                <a:off x="1737850" y="3772904"/>
                <a:ext cx="375" cy="389"/>
              </a:xfrm>
              <a:custGeom>
                <a:avLst/>
                <a:gdLst>
                  <a:gd name="connsiteX0" fmla="*/ 3018 w 3595"/>
                  <a:gd name="connsiteY0" fmla="*/ 2936 h 3732"/>
                  <a:gd name="connsiteX1" fmla="*/ 2003 w 3595"/>
                  <a:gd name="connsiteY1" fmla="*/ 3732 h 3732"/>
                  <a:gd name="connsiteX2" fmla="*/ 0 w 3595"/>
                  <a:gd name="connsiteY2" fmla="*/ 521 h 3732"/>
                  <a:gd name="connsiteX3" fmla="*/ 3595 w 3595"/>
                  <a:gd name="connsiteY3" fmla="*/ 0 h 3732"/>
                  <a:gd name="connsiteX4" fmla="*/ 3018 w 3595"/>
                  <a:gd name="connsiteY4" fmla="*/ 2936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3732">
                    <a:moveTo>
                      <a:pt x="3018" y="2936"/>
                    </a:moveTo>
                    <a:lnTo>
                      <a:pt x="2003" y="3732"/>
                    </a:lnTo>
                    <a:lnTo>
                      <a:pt x="0" y="521"/>
                    </a:lnTo>
                    <a:lnTo>
                      <a:pt x="3595" y="0"/>
                    </a:lnTo>
                    <a:lnTo>
                      <a:pt x="3018" y="29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5" name="Freeform: Shape 4564">
                <a:extLst>
                  <a:ext uri="{FF2B5EF4-FFF2-40B4-BE49-F238E27FC236}">
                    <a16:creationId xmlns:a16="http://schemas.microsoft.com/office/drawing/2014/main" id="{C15FCBAC-EC73-8D54-4A2F-B1C3DB202376}"/>
                  </a:ext>
                </a:extLst>
              </p:cNvPr>
              <p:cNvSpPr/>
              <p:nvPr/>
            </p:nvSpPr>
            <p:spPr>
              <a:xfrm>
                <a:off x="1741316" y="3747066"/>
                <a:ext cx="550" cy="283"/>
              </a:xfrm>
              <a:custGeom>
                <a:avLst/>
                <a:gdLst>
                  <a:gd name="connsiteX0" fmla="*/ 5270 w 5269"/>
                  <a:gd name="connsiteY0" fmla="*/ 549 h 2716"/>
                  <a:gd name="connsiteX1" fmla="*/ 5132 w 5269"/>
                  <a:gd name="connsiteY1" fmla="*/ 2360 h 2716"/>
                  <a:gd name="connsiteX2" fmla="*/ 3376 w 5269"/>
                  <a:gd name="connsiteY2" fmla="*/ 1482 h 2716"/>
                  <a:gd name="connsiteX3" fmla="*/ 1509 w 5269"/>
                  <a:gd name="connsiteY3" fmla="*/ 2717 h 2716"/>
                  <a:gd name="connsiteX4" fmla="*/ 0 w 5269"/>
                  <a:gd name="connsiteY4" fmla="*/ 0 h 2716"/>
                  <a:gd name="connsiteX5" fmla="*/ 5270 w 5269"/>
                  <a:gd name="connsiteY5" fmla="*/ 576 h 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69" h="2716">
                    <a:moveTo>
                      <a:pt x="5270" y="549"/>
                    </a:moveTo>
                    <a:lnTo>
                      <a:pt x="5132" y="2360"/>
                    </a:lnTo>
                    <a:lnTo>
                      <a:pt x="3376" y="1482"/>
                    </a:lnTo>
                    <a:lnTo>
                      <a:pt x="1509" y="2717"/>
                    </a:lnTo>
                    <a:lnTo>
                      <a:pt x="0" y="0"/>
                    </a:lnTo>
                    <a:lnTo>
                      <a:pt x="5270" y="5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6" name="Freeform: Shape 4565">
                <a:extLst>
                  <a:ext uri="{FF2B5EF4-FFF2-40B4-BE49-F238E27FC236}">
                    <a16:creationId xmlns:a16="http://schemas.microsoft.com/office/drawing/2014/main" id="{266978DA-7697-F076-75B3-24070DB34297}"/>
                  </a:ext>
                </a:extLst>
              </p:cNvPr>
              <p:cNvSpPr/>
              <p:nvPr/>
            </p:nvSpPr>
            <p:spPr>
              <a:xfrm>
                <a:off x="1740314" y="3748388"/>
                <a:ext cx="363" cy="358"/>
              </a:xfrm>
              <a:custGeom>
                <a:avLst/>
                <a:gdLst>
                  <a:gd name="connsiteX0" fmla="*/ 3485 w 3485"/>
                  <a:gd name="connsiteY0" fmla="*/ 3403 h 3430"/>
                  <a:gd name="connsiteX1" fmla="*/ 1564 w 3485"/>
                  <a:gd name="connsiteY1" fmla="*/ 3403 h 3430"/>
                  <a:gd name="connsiteX2" fmla="*/ 0 w 3485"/>
                  <a:gd name="connsiteY2" fmla="*/ 1207 h 3430"/>
                  <a:gd name="connsiteX3" fmla="*/ 686 w 3485"/>
                  <a:gd name="connsiteY3" fmla="*/ 0 h 3430"/>
                  <a:gd name="connsiteX4" fmla="*/ 2937 w 3485"/>
                  <a:gd name="connsiteY4" fmla="*/ 604 h 3430"/>
                  <a:gd name="connsiteX5" fmla="*/ 3485 w 3485"/>
                  <a:gd name="connsiteY5" fmla="*/ 3430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5" h="3430">
                    <a:moveTo>
                      <a:pt x="3485" y="3403"/>
                    </a:moveTo>
                    <a:lnTo>
                      <a:pt x="1564" y="3403"/>
                    </a:lnTo>
                    <a:lnTo>
                      <a:pt x="0" y="1207"/>
                    </a:lnTo>
                    <a:lnTo>
                      <a:pt x="686" y="0"/>
                    </a:lnTo>
                    <a:lnTo>
                      <a:pt x="2937" y="604"/>
                    </a:lnTo>
                    <a:lnTo>
                      <a:pt x="3485" y="34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7" name="Freeform: Shape 4566">
                <a:extLst>
                  <a:ext uri="{FF2B5EF4-FFF2-40B4-BE49-F238E27FC236}">
                    <a16:creationId xmlns:a16="http://schemas.microsoft.com/office/drawing/2014/main" id="{BF6D95C2-5D18-849E-51C4-35827181B23A}"/>
                  </a:ext>
                </a:extLst>
              </p:cNvPr>
              <p:cNvSpPr/>
              <p:nvPr/>
            </p:nvSpPr>
            <p:spPr>
              <a:xfrm>
                <a:off x="1738004" y="3774902"/>
                <a:ext cx="363" cy="329"/>
              </a:xfrm>
              <a:custGeom>
                <a:avLst/>
                <a:gdLst>
                  <a:gd name="connsiteX0" fmla="*/ 3375 w 3485"/>
                  <a:gd name="connsiteY0" fmla="*/ 2689 h 3155"/>
                  <a:gd name="connsiteX1" fmla="*/ 1674 w 3485"/>
                  <a:gd name="connsiteY1" fmla="*/ 3156 h 3155"/>
                  <a:gd name="connsiteX2" fmla="*/ 0 w 3485"/>
                  <a:gd name="connsiteY2" fmla="*/ 192 h 3155"/>
                  <a:gd name="connsiteX3" fmla="*/ 3485 w 3485"/>
                  <a:gd name="connsiteY3" fmla="*/ 0 h 3155"/>
                  <a:gd name="connsiteX4" fmla="*/ 3348 w 3485"/>
                  <a:gd name="connsiteY4" fmla="*/ 2689 h 3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3155">
                    <a:moveTo>
                      <a:pt x="3375" y="2689"/>
                    </a:moveTo>
                    <a:lnTo>
                      <a:pt x="1674" y="3156"/>
                    </a:lnTo>
                    <a:lnTo>
                      <a:pt x="0" y="192"/>
                    </a:lnTo>
                    <a:lnTo>
                      <a:pt x="3485" y="0"/>
                    </a:lnTo>
                    <a:lnTo>
                      <a:pt x="3348" y="26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8" name="Freeform: Shape 4567">
                <a:extLst>
                  <a:ext uri="{FF2B5EF4-FFF2-40B4-BE49-F238E27FC236}">
                    <a16:creationId xmlns:a16="http://schemas.microsoft.com/office/drawing/2014/main" id="{E78DCCE9-E7C0-77BC-8118-9B0752EDA229}"/>
                  </a:ext>
                </a:extLst>
              </p:cNvPr>
              <p:cNvSpPr/>
              <p:nvPr/>
            </p:nvSpPr>
            <p:spPr>
              <a:xfrm>
                <a:off x="1731713" y="3764231"/>
                <a:ext cx="309" cy="386"/>
              </a:xfrm>
              <a:custGeom>
                <a:avLst/>
                <a:gdLst>
                  <a:gd name="connsiteX0" fmla="*/ 2963 w 2963"/>
                  <a:gd name="connsiteY0" fmla="*/ 933 h 3704"/>
                  <a:gd name="connsiteX1" fmla="*/ 2579 w 2963"/>
                  <a:gd name="connsiteY1" fmla="*/ 3705 h 3704"/>
                  <a:gd name="connsiteX2" fmla="*/ 192 w 2963"/>
                  <a:gd name="connsiteY2" fmla="*/ 3266 h 3704"/>
                  <a:gd name="connsiteX3" fmla="*/ 0 w 2963"/>
                  <a:gd name="connsiteY3" fmla="*/ 1509 h 3704"/>
                  <a:gd name="connsiteX4" fmla="*/ 1811 w 2963"/>
                  <a:gd name="connsiteY4" fmla="*/ 0 h 3704"/>
                  <a:gd name="connsiteX5" fmla="*/ 2963 w 2963"/>
                  <a:gd name="connsiteY5" fmla="*/ 905 h 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3" h="3704">
                    <a:moveTo>
                      <a:pt x="2963" y="933"/>
                    </a:moveTo>
                    <a:lnTo>
                      <a:pt x="2579" y="3705"/>
                    </a:lnTo>
                    <a:lnTo>
                      <a:pt x="192" y="3266"/>
                    </a:lnTo>
                    <a:lnTo>
                      <a:pt x="0" y="1509"/>
                    </a:lnTo>
                    <a:lnTo>
                      <a:pt x="1811" y="0"/>
                    </a:lnTo>
                    <a:lnTo>
                      <a:pt x="2963"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69" name="Freeform: Shape 4568">
                <a:extLst>
                  <a:ext uri="{FF2B5EF4-FFF2-40B4-BE49-F238E27FC236}">
                    <a16:creationId xmlns:a16="http://schemas.microsoft.com/office/drawing/2014/main" id="{092C5BC0-53B7-4BBF-A527-FAF47CF8152D}"/>
                  </a:ext>
                </a:extLst>
              </p:cNvPr>
              <p:cNvSpPr/>
              <p:nvPr/>
            </p:nvSpPr>
            <p:spPr>
              <a:xfrm>
                <a:off x="1736587" y="3754800"/>
                <a:ext cx="361" cy="335"/>
              </a:xfrm>
              <a:custGeom>
                <a:avLst/>
                <a:gdLst>
                  <a:gd name="connsiteX0" fmla="*/ 2470 w 3457"/>
                  <a:gd name="connsiteY0" fmla="*/ 0 h 3210"/>
                  <a:gd name="connsiteX1" fmla="*/ 3457 w 3457"/>
                  <a:gd name="connsiteY1" fmla="*/ 3211 h 3210"/>
                  <a:gd name="connsiteX2" fmla="*/ 0 w 3457"/>
                  <a:gd name="connsiteY2" fmla="*/ 3101 h 3210"/>
                  <a:gd name="connsiteX3" fmla="*/ 356 w 3457"/>
                  <a:gd name="connsiteY3" fmla="*/ 713 h 3210"/>
                  <a:gd name="connsiteX4" fmla="*/ 2470 w 3457"/>
                  <a:gd name="connsiteY4" fmla="*/ 0 h 3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3210">
                    <a:moveTo>
                      <a:pt x="2470" y="0"/>
                    </a:moveTo>
                    <a:lnTo>
                      <a:pt x="3457" y="3211"/>
                    </a:lnTo>
                    <a:lnTo>
                      <a:pt x="0" y="3101"/>
                    </a:lnTo>
                    <a:lnTo>
                      <a:pt x="356" y="713"/>
                    </a:lnTo>
                    <a:lnTo>
                      <a:pt x="247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0" name="Freeform: Shape 4569">
                <a:extLst>
                  <a:ext uri="{FF2B5EF4-FFF2-40B4-BE49-F238E27FC236}">
                    <a16:creationId xmlns:a16="http://schemas.microsoft.com/office/drawing/2014/main" id="{2B482E0B-FE2F-321F-29A6-B9C6EFB02152}"/>
                  </a:ext>
                </a:extLst>
              </p:cNvPr>
              <p:cNvSpPr/>
              <p:nvPr/>
            </p:nvSpPr>
            <p:spPr>
              <a:xfrm>
                <a:off x="1711980" y="3877614"/>
                <a:ext cx="124554" cy="97013"/>
              </a:xfrm>
              <a:custGeom>
                <a:avLst/>
                <a:gdLst>
                  <a:gd name="connsiteX0" fmla="*/ 905646 w 1194181"/>
                  <a:gd name="connsiteY0" fmla="*/ 108372 h 930124"/>
                  <a:gd name="connsiteX1" fmla="*/ 911244 w 1194181"/>
                  <a:gd name="connsiteY1" fmla="*/ 111720 h 930124"/>
                  <a:gd name="connsiteX2" fmla="*/ 919834 w 1194181"/>
                  <a:gd name="connsiteY2" fmla="*/ 105216 h 930124"/>
                  <a:gd name="connsiteX3" fmla="*/ 926613 w 1194181"/>
                  <a:gd name="connsiteY3" fmla="*/ 105354 h 930124"/>
                  <a:gd name="connsiteX4" fmla="*/ 932787 w 1194181"/>
                  <a:gd name="connsiteY4" fmla="*/ 113806 h 930124"/>
                  <a:gd name="connsiteX5" fmla="*/ 949719 w 1194181"/>
                  <a:gd name="connsiteY5" fmla="*/ 127829 h 930124"/>
                  <a:gd name="connsiteX6" fmla="*/ 949637 w 1194181"/>
                  <a:gd name="connsiteY6" fmla="*/ 142566 h 930124"/>
                  <a:gd name="connsiteX7" fmla="*/ 954604 w 1194181"/>
                  <a:gd name="connsiteY7" fmla="*/ 160075 h 930124"/>
                  <a:gd name="connsiteX8" fmla="*/ 954769 w 1194181"/>
                  <a:gd name="connsiteY8" fmla="*/ 171711 h 930124"/>
                  <a:gd name="connsiteX9" fmla="*/ 962782 w 1194181"/>
                  <a:gd name="connsiteY9" fmla="*/ 183649 h 930124"/>
                  <a:gd name="connsiteX10" fmla="*/ 968820 w 1194181"/>
                  <a:gd name="connsiteY10" fmla="*/ 189411 h 930124"/>
                  <a:gd name="connsiteX11" fmla="*/ 974308 w 1194181"/>
                  <a:gd name="connsiteY11" fmla="*/ 209582 h 930124"/>
                  <a:gd name="connsiteX12" fmla="*/ 972497 w 1194181"/>
                  <a:gd name="connsiteY12" fmla="*/ 225910 h 930124"/>
                  <a:gd name="connsiteX13" fmla="*/ 979550 w 1194181"/>
                  <a:gd name="connsiteY13" fmla="*/ 230878 h 930124"/>
                  <a:gd name="connsiteX14" fmla="*/ 981608 w 1194181"/>
                  <a:gd name="connsiteY14" fmla="*/ 249429 h 930124"/>
                  <a:gd name="connsiteX15" fmla="*/ 993875 w 1194181"/>
                  <a:gd name="connsiteY15" fmla="*/ 258485 h 930124"/>
                  <a:gd name="connsiteX16" fmla="*/ 1013250 w 1194181"/>
                  <a:gd name="connsiteY16" fmla="*/ 265538 h 930124"/>
                  <a:gd name="connsiteX17" fmla="*/ 1020605 w 1194181"/>
                  <a:gd name="connsiteY17" fmla="*/ 275253 h 930124"/>
                  <a:gd name="connsiteX18" fmla="*/ 1025407 w 1194181"/>
                  <a:gd name="connsiteY18" fmla="*/ 276214 h 930124"/>
                  <a:gd name="connsiteX19" fmla="*/ 1039705 w 1194181"/>
                  <a:gd name="connsiteY19" fmla="*/ 285709 h 930124"/>
                  <a:gd name="connsiteX20" fmla="*/ 1046127 w 1194181"/>
                  <a:gd name="connsiteY20" fmla="*/ 286724 h 930124"/>
                  <a:gd name="connsiteX21" fmla="*/ 1051999 w 1194181"/>
                  <a:gd name="connsiteY21" fmla="*/ 291390 h 930124"/>
                  <a:gd name="connsiteX22" fmla="*/ 1054442 w 1194181"/>
                  <a:gd name="connsiteY22" fmla="*/ 296412 h 930124"/>
                  <a:gd name="connsiteX23" fmla="*/ 1051670 w 1194181"/>
                  <a:gd name="connsiteY23" fmla="*/ 299869 h 930124"/>
                  <a:gd name="connsiteX24" fmla="*/ 1051670 w 1194181"/>
                  <a:gd name="connsiteY24" fmla="*/ 303712 h 930124"/>
                  <a:gd name="connsiteX25" fmla="*/ 1065062 w 1194181"/>
                  <a:gd name="connsiteY25" fmla="*/ 317817 h 930124"/>
                  <a:gd name="connsiteX26" fmla="*/ 1078646 w 1194181"/>
                  <a:gd name="connsiteY26" fmla="*/ 354700 h 930124"/>
                  <a:gd name="connsiteX27" fmla="*/ 1085233 w 1194181"/>
                  <a:gd name="connsiteY27" fmla="*/ 358789 h 930124"/>
                  <a:gd name="connsiteX28" fmla="*/ 1086386 w 1194181"/>
                  <a:gd name="connsiteY28" fmla="*/ 352670 h 930124"/>
                  <a:gd name="connsiteX29" fmla="*/ 1088306 w 1194181"/>
                  <a:gd name="connsiteY29" fmla="*/ 351353 h 930124"/>
                  <a:gd name="connsiteX30" fmla="*/ 1101424 w 1194181"/>
                  <a:gd name="connsiteY30" fmla="*/ 360463 h 930124"/>
                  <a:gd name="connsiteX31" fmla="*/ 1106968 w 1194181"/>
                  <a:gd name="connsiteY31" fmla="*/ 358707 h 930124"/>
                  <a:gd name="connsiteX32" fmla="*/ 1111331 w 1194181"/>
                  <a:gd name="connsiteY32" fmla="*/ 367132 h 930124"/>
                  <a:gd name="connsiteX33" fmla="*/ 1111441 w 1194181"/>
                  <a:gd name="connsiteY33" fmla="*/ 378164 h 930124"/>
                  <a:gd name="connsiteX34" fmla="*/ 1114212 w 1194181"/>
                  <a:gd name="connsiteY34" fmla="*/ 391447 h 930124"/>
                  <a:gd name="connsiteX35" fmla="*/ 1122034 w 1194181"/>
                  <a:gd name="connsiteY35" fmla="*/ 395179 h 930124"/>
                  <a:gd name="connsiteX36" fmla="*/ 1129773 w 1194181"/>
                  <a:gd name="connsiteY36" fmla="*/ 406925 h 930124"/>
                  <a:gd name="connsiteX37" fmla="*/ 1143796 w 1194181"/>
                  <a:gd name="connsiteY37" fmla="*/ 416420 h 930124"/>
                  <a:gd name="connsiteX38" fmla="*/ 1150547 w 1194181"/>
                  <a:gd name="connsiteY38" fmla="*/ 426765 h 930124"/>
                  <a:gd name="connsiteX39" fmla="*/ 1159878 w 1194181"/>
                  <a:gd name="connsiteY39" fmla="*/ 436124 h 930124"/>
                  <a:gd name="connsiteX40" fmla="*/ 1166053 w 1194181"/>
                  <a:gd name="connsiteY40" fmla="*/ 446497 h 930124"/>
                  <a:gd name="connsiteX41" fmla="*/ 1173051 w 1194181"/>
                  <a:gd name="connsiteY41" fmla="*/ 453550 h 930124"/>
                  <a:gd name="connsiteX42" fmla="*/ 1177441 w 1194181"/>
                  <a:gd name="connsiteY42" fmla="*/ 452178 h 930124"/>
                  <a:gd name="connsiteX43" fmla="*/ 1182326 w 1194181"/>
                  <a:gd name="connsiteY43" fmla="*/ 438182 h 930124"/>
                  <a:gd name="connsiteX44" fmla="*/ 1184769 w 1194181"/>
                  <a:gd name="connsiteY44" fmla="*/ 438401 h 930124"/>
                  <a:gd name="connsiteX45" fmla="*/ 1185400 w 1194181"/>
                  <a:gd name="connsiteY45" fmla="*/ 445894 h 930124"/>
                  <a:gd name="connsiteX46" fmla="*/ 1180103 w 1194181"/>
                  <a:gd name="connsiteY46" fmla="*/ 465680 h 930124"/>
                  <a:gd name="connsiteX47" fmla="*/ 1179637 w 1194181"/>
                  <a:gd name="connsiteY47" fmla="*/ 487442 h 930124"/>
                  <a:gd name="connsiteX48" fmla="*/ 1181311 w 1194181"/>
                  <a:gd name="connsiteY48" fmla="*/ 505472 h 930124"/>
                  <a:gd name="connsiteX49" fmla="*/ 1180131 w 1194181"/>
                  <a:gd name="connsiteY49" fmla="*/ 513952 h 930124"/>
                  <a:gd name="connsiteX50" fmla="*/ 1184988 w 1194181"/>
                  <a:gd name="connsiteY50" fmla="*/ 523310 h 930124"/>
                  <a:gd name="connsiteX51" fmla="*/ 1190614 w 1194181"/>
                  <a:gd name="connsiteY51" fmla="*/ 525835 h 930124"/>
                  <a:gd name="connsiteX52" fmla="*/ 1190339 w 1194181"/>
                  <a:gd name="connsiteY52" fmla="*/ 537581 h 930124"/>
                  <a:gd name="connsiteX53" fmla="*/ 1193276 w 1194181"/>
                  <a:gd name="connsiteY53" fmla="*/ 549052 h 930124"/>
                  <a:gd name="connsiteX54" fmla="*/ 1194182 w 1194181"/>
                  <a:gd name="connsiteY54" fmla="*/ 562197 h 930124"/>
                  <a:gd name="connsiteX55" fmla="*/ 1178813 w 1194181"/>
                  <a:gd name="connsiteY55" fmla="*/ 623203 h 930124"/>
                  <a:gd name="connsiteX56" fmla="*/ 1177057 w 1194181"/>
                  <a:gd name="connsiteY56" fmla="*/ 645651 h 930124"/>
                  <a:gd name="connsiteX57" fmla="*/ 1171870 w 1194181"/>
                  <a:gd name="connsiteY57" fmla="*/ 662721 h 930124"/>
                  <a:gd name="connsiteX58" fmla="*/ 1164680 w 1194181"/>
                  <a:gd name="connsiteY58" fmla="*/ 677430 h 930124"/>
                  <a:gd name="connsiteX59" fmla="*/ 1161278 w 1194181"/>
                  <a:gd name="connsiteY59" fmla="*/ 690410 h 930124"/>
                  <a:gd name="connsiteX60" fmla="*/ 1135783 w 1194181"/>
                  <a:gd name="connsiteY60" fmla="*/ 715384 h 930124"/>
                  <a:gd name="connsiteX61" fmla="*/ 1128593 w 1194181"/>
                  <a:gd name="connsiteY61" fmla="*/ 729819 h 930124"/>
                  <a:gd name="connsiteX62" fmla="*/ 1124723 w 1194181"/>
                  <a:gd name="connsiteY62" fmla="*/ 743430 h 930124"/>
                  <a:gd name="connsiteX63" fmla="*/ 1116079 w 1194181"/>
                  <a:gd name="connsiteY63" fmla="*/ 759896 h 930124"/>
                  <a:gd name="connsiteX64" fmla="*/ 1111770 w 1194181"/>
                  <a:gd name="connsiteY64" fmla="*/ 777542 h 930124"/>
                  <a:gd name="connsiteX65" fmla="*/ 1112292 w 1194181"/>
                  <a:gd name="connsiteY65" fmla="*/ 783909 h 930124"/>
                  <a:gd name="connsiteX66" fmla="*/ 1103455 w 1194181"/>
                  <a:gd name="connsiteY66" fmla="*/ 793321 h 930124"/>
                  <a:gd name="connsiteX67" fmla="*/ 1095359 w 1194181"/>
                  <a:gd name="connsiteY67" fmla="*/ 810528 h 930124"/>
                  <a:gd name="connsiteX68" fmla="*/ 1087675 w 1194181"/>
                  <a:gd name="connsiteY68" fmla="*/ 846835 h 930124"/>
                  <a:gd name="connsiteX69" fmla="*/ 1087456 w 1194181"/>
                  <a:gd name="connsiteY69" fmla="*/ 864811 h 930124"/>
                  <a:gd name="connsiteX70" fmla="*/ 1083834 w 1194181"/>
                  <a:gd name="connsiteY70" fmla="*/ 874690 h 930124"/>
                  <a:gd name="connsiteX71" fmla="*/ 1070688 w 1194181"/>
                  <a:gd name="connsiteY71" fmla="*/ 882923 h 930124"/>
                  <a:gd name="connsiteX72" fmla="*/ 1036302 w 1194181"/>
                  <a:gd name="connsiteY72" fmla="*/ 886545 h 930124"/>
                  <a:gd name="connsiteX73" fmla="*/ 1024474 w 1194181"/>
                  <a:gd name="connsiteY73" fmla="*/ 890799 h 930124"/>
                  <a:gd name="connsiteX74" fmla="*/ 988112 w 1194181"/>
                  <a:gd name="connsiteY74" fmla="*/ 921398 h 930124"/>
                  <a:gd name="connsiteX75" fmla="*/ 982020 w 1194181"/>
                  <a:gd name="connsiteY75" fmla="*/ 930125 h 930124"/>
                  <a:gd name="connsiteX76" fmla="*/ 967832 w 1194181"/>
                  <a:gd name="connsiteY76" fmla="*/ 922633 h 930124"/>
                  <a:gd name="connsiteX77" fmla="*/ 958940 w 1194181"/>
                  <a:gd name="connsiteY77" fmla="*/ 915360 h 930124"/>
                  <a:gd name="connsiteX78" fmla="*/ 951366 w 1194181"/>
                  <a:gd name="connsiteY78" fmla="*/ 902682 h 930124"/>
                  <a:gd name="connsiteX79" fmla="*/ 942831 w 1194181"/>
                  <a:gd name="connsiteY79" fmla="*/ 907567 h 930124"/>
                  <a:gd name="connsiteX80" fmla="*/ 939621 w 1194181"/>
                  <a:gd name="connsiteY80" fmla="*/ 907375 h 930124"/>
                  <a:gd name="connsiteX81" fmla="*/ 939127 w 1194181"/>
                  <a:gd name="connsiteY81" fmla="*/ 904219 h 930124"/>
                  <a:gd name="connsiteX82" fmla="*/ 942365 w 1194181"/>
                  <a:gd name="connsiteY82" fmla="*/ 896178 h 930124"/>
                  <a:gd name="connsiteX83" fmla="*/ 938248 w 1194181"/>
                  <a:gd name="connsiteY83" fmla="*/ 890031 h 930124"/>
                  <a:gd name="connsiteX84" fmla="*/ 929713 w 1194181"/>
                  <a:gd name="connsiteY84" fmla="*/ 894119 h 930124"/>
                  <a:gd name="connsiteX85" fmla="*/ 928451 w 1194181"/>
                  <a:gd name="connsiteY85" fmla="*/ 901776 h 930124"/>
                  <a:gd name="connsiteX86" fmla="*/ 920026 w 1194181"/>
                  <a:gd name="connsiteY86" fmla="*/ 906140 h 930124"/>
                  <a:gd name="connsiteX87" fmla="*/ 905563 w 1194181"/>
                  <a:gd name="connsiteY87" fmla="*/ 918077 h 930124"/>
                  <a:gd name="connsiteX88" fmla="*/ 896233 w 1194181"/>
                  <a:gd name="connsiteY88" fmla="*/ 921288 h 930124"/>
                  <a:gd name="connsiteX89" fmla="*/ 864235 w 1194181"/>
                  <a:gd name="connsiteY89" fmla="*/ 906167 h 930124"/>
                  <a:gd name="connsiteX90" fmla="*/ 848592 w 1194181"/>
                  <a:gd name="connsiteY90" fmla="*/ 902901 h 930124"/>
                  <a:gd name="connsiteX91" fmla="*/ 836792 w 1194181"/>
                  <a:gd name="connsiteY91" fmla="*/ 904164 h 930124"/>
                  <a:gd name="connsiteX92" fmla="*/ 827077 w 1194181"/>
                  <a:gd name="connsiteY92" fmla="*/ 897138 h 930124"/>
                  <a:gd name="connsiteX93" fmla="*/ 814782 w 1194181"/>
                  <a:gd name="connsiteY93" fmla="*/ 893296 h 930124"/>
                  <a:gd name="connsiteX94" fmla="*/ 807071 w 1194181"/>
                  <a:gd name="connsiteY94" fmla="*/ 888027 h 930124"/>
                  <a:gd name="connsiteX95" fmla="*/ 789315 w 1194181"/>
                  <a:gd name="connsiteY95" fmla="*/ 863438 h 930124"/>
                  <a:gd name="connsiteX96" fmla="*/ 787092 w 1194181"/>
                  <a:gd name="connsiteY96" fmla="*/ 855644 h 930124"/>
                  <a:gd name="connsiteX97" fmla="*/ 788931 w 1194181"/>
                  <a:gd name="connsiteY97" fmla="*/ 846424 h 930124"/>
                  <a:gd name="connsiteX98" fmla="*/ 788053 w 1194181"/>
                  <a:gd name="connsiteY98" fmla="*/ 837340 h 930124"/>
                  <a:gd name="connsiteX99" fmla="*/ 783579 w 1194181"/>
                  <a:gd name="connsiteY99" fmla="*/ 826473 h 930124"/>
                  <a:gd name="connsiteX100" fmla="*/ 776005 w 1194181"/>
                  <a:gd name="connsiteY100" fmla="*/ 816127 h 930124"/>
                  <a:gd name="connsiteX101" fmla="*/ 759018 w 1194181"/>
                  <a:gd name="connsiteY101" fmla="*/ 803311 h 930124"/>
                  <a:gd name="connsiteX102" fmla="*/ 743486 w 1194181"/>
                  <a:gd name="connsiteY102" fmla="*/ 802817 h 930124"/>
                  <a:gd name="connsiteX103" fmla="*/ 748316 w 1194181"/>
                  <a:gd name="connsiteY103" fmla="*/ 791291 h 930124"/>
                  <a:gd name="connsiteX104" fmla="*/ 750209 w 1194181"/>
                  <a:gd name="connsiteY104" fmla="*/ 777789 h 930124"/>
                  <a:gd name="connsiteX105" fmla="*/ 740000 w 1194181"/>
                  <a:gd name="connsiteY105" fmla="*/ 756932 h 930124"/>
                  <a:gd name="connsiteX106" fmla="*/ 733304 w 1194181"/>
                  <a:gd name="connsiteY106" fmla="*/ 764177 h 930124"/>
                  <a:gd name="connsiteX107" fmla="*/ 725977 w 1194181"/>
                  <a:gd name="connsiteY107" fmla="*/ 784705 h 930124"/>
                  <a:gd name="connsiteX108" fmla="*/ 703995 w 1194181"/>
                  <a:gd name="connsiteY108" fmla="*/ 790138 h 930124"/>
                  <a:gd name="connsiteX109" fmla="*/ 703090 w 1194181"/>
                  <a:gd name="connsiteY109" fmla="*/ 790357 h 930124"/>
                  <a:gd name="connsiteX110" fmla="*/ 703995 w 1194181"/>
                  <a:gd name="connsiteY110" fmla="*/ 787750 h 930124"/>
                  <a:gd name="connsiteX111" fmla="*/ 707014 w 1194181"/>
                  <a:gd name="connsiteY111" fmla="*/ 780835 h 930124"/>
                  <a:gd name="connsiteX112" fmla="*/ 715466 w 1194181"/>
                  <a:gd name="connsiteY112" fmla="*/ 778777 h 930124"/>
                  <a:gd name="connsiteX113" fmla="*/ 718869 w 1194181"/>
                  <a:gd name="connsiteY113" fmla="*/ 774852 h 930124"/>
                  <a:gd name="connsiteX114" fmla="*/ 721339 w 1194181"/>
                  <a:gd name="connsiteY114" fmla="*/ 751663 h 930124"/>
                  <a:gd name="connsiteX115" fmla="*/ 731822 w 1194181"/>
                  <a:gd name="connsiteY115" fmla="*/ 730230 h 930124"/>
                  <a:gd name="connsiteX116" fmla="*/ 732151 w 1194181"/>
                  <a:gd name="connsiteY116" fmla="*/ 721064 h 930124"/>
                  <a:gd name="connsiteX117" fmla="*/ 734622 w 1194181"/>
                  <a:gd name="connsiteY117" fmla="*/ 713408 h 930124"/>
                  <a:gd name="connsiteX118" fmla="*/ 732096 w 1194181"/>
                  <a:gd name="connsiteY118" fmla="*/ 705586 h 930124"/>
                  <a:gd name="connsiteX119" fmla="*/ 720516 w 1194181"/>
                  <a:gd name="connsiteY119" fmla="*/ 716619 h 930124"/>
                  <a:gd name="connsiteX120" fmla="*/ 711268 w 1194181"/>
                  <a:gd name="connsiteY120" fmla="*/ 732947 h 930124"/>
                  <a:gd name="connsiteX121" fmla="*/ 703995 w 1194181"/>
                  <a:gd name="connsiteY121" fmla="*/ 738079 h 930124"/>
                  <a:gd name="connsiteX122" fmla="*/ 689862 w 1194181"/>
                  <a:gd name="connsiteY122" fmla="*/ 747437 h 930124"/>
                  <a:gd name="connsiteX123" fmla="*/ 675454 w 1194181"/>
                  <a:gd name="connsiteY123" fmla="*/ 766098 h 930124"/>
                  <a:gd name="connsiteX124" fmla="*/ 673039 w 1194181"/>
                  <a:gd name="connsiteY124" fmla="*/ 771916 h 930124"/>
                  <a:gd name="connsiteX125" fmla="*/ 675454 w 1194181"/>
                  <a:gd name="connsiteY125" fmla="*/ 775319 h 930124"/>
                  <a:gd name="connsiteX126" fmla="*/ 674988 w 1194181"/>
                  <a:gd name="connsiteY126" fmla="*/ 778969 h 930124"/>
                  <a:gd name="connsiteX127" fmla="*/ 666508 w 1194181"/>
                  <a:gd name="connsiteY127" fmla="*/ 777679 h 930124"/>
                  <a:gd name="connsiteX128" fmla="*/ 660251 w 1194181"/>
                  <a:gd name="connsiteY128" fmla="*/ 771121 h 930124"/>
                  <a:gd name="connsiteX129" fmla="*/ 653527 w 1194181"/>
                  <a:gd name="connsiteY129" fmla="*/ 745626 h 930124"/>
                  <a:gd name="connsiteX130" fmla="*/ 644306 w 1194181"/>
                  <a:gd name="connsiteY130" fmla="*/ 733413 h 930124"/>
                  <a:gd name="connsiteX131" fmla="*/ 638654 w 1194181"/>
                  <a:gd name="connsiteY131" fmla="*/ 720927 h 930124"/>
                  <a:gd name="connsiteX132" fmla="*/ 625179 w 1194181"/>
                  <a:gd name="connsiteY132" fmla="*/ 713271 h 930124"/>
                  <a:gd name="connsiteX133" fmla="*/ 622160 w 1194181"/>
                  <a:gd name="connsiteY133" fmla="*/ 706465 h 930124"/>
                  <a:gd name="connsiteX134" fmla="*/ 623834 w 1194181"/>
                  <a:gd name="connsiteY134" fmla="*/ 696640 h 930124"/>
                  <a:gd name="connsiteX135" fmla="*/ 616122 w 1194181"/>
                  <a:gd name="connsiteY135" fmla="*/ 692661 h 930124"/>
                  <a:gd name="connsiteX136" fmla="*/ 609865 w 1194181"/>
                  <a:gd name="connsiteY136" fmla="*/ 683138 h 930124"/>
                  <a:gd name="connsiteX137" fmla="*/ 594333 w 1194181"/>
                  <a:gd name="connsiteY137" fmla="*/ 681848 h 930124"/>
                  <a:gd name="connsiteX138" fmla="*/ 578087 w 1194181"/>
                  <a:gd name="connsiteY138" fmla="*/ 675097 h 930124"/>
                  <a:gd name="connsiteX139" fmla="*/ 565161 w 1194181"/>
                  <a:gd name="connsiteY139" fmla="*/ 675482 h 930124"/>
                  <a:gd name="connsiteX140" fmla="*/ 550068 w 1194181"/>
                  <a:gd name="connsiteY140" fmla="*/ 665794 h 930124"/>
                  <a:gd name="connsiteX141" fmla="*/ 533519 w 1194181"/>
                  <a:gd name="connsiteY141" fmla="*/ 659043 h 930124"/>
                  <a:gd name="connsiteX142" fmla="*/ 521884 w 1194181"/>
                  <a:gd name="connsiteY142" fmla="*/ 662035 h 930124"/>
                  <a:gd name="connsiteX143" fmla="*/ 498996 w 1194181"/>
                  <a:gd name="connsiteY143" fmla="*/ 662281 h 930124"/>
                  <a:gd name="connsiteX144" fmla="*/ 474132 w 1194181"/>
                  <a:gd name="connsiteY144" fmla="*/ 665245 h 930124"/>
                  <a:gd name="connsiteX145" fmla="*/ 448309 w 1194181"/>
                  <a:gd name="connsiteY145" fmla="*/ 676223 h 930124"/>
                  <a:gd name="connsiteX146" fmla="*/ 419000 w 1194181"/>
                  <a:gd name="connsiteY146" fmla="*/ 685279 h 930124"/>
                  <a:gd name="connsiteX147" fmla="*/ 402836 w 1194181"/>
                  <a:gd name="connsiteY147" fmla="*/ 686486 h 930124"/>
                  <a:gd name="connsiteX148" fmla="*/ 389169 w 1194181"/>
                  <a:gd name="connsiteY148" fmla="*/ 685224 h 930124"/>
                  <a:gd name="connsiteX149" fmla="*/ 381924 w 1194181"/>
                  <a:gd name="connsiteY149" fmla="*/ 686843 h 930124"/>
                  <a:gd name="connsiteX150" fmla="*/ 349542 w 1194181"/>
                  <a:gd name="connsiteY150" fmla="*/ 705312 h 930124"/>
                  <a:gd name="connsiteX151" fmla="*/ 332280 w 1194181"/>
                  <a:gd name="connsiteY151" fmla="*/ 712337 h 930124"/>
                  <a:gd name="connsiteX152" fmla="*/ 316747 w 1194181"/>
                  <a:gd name="connsiteY152" fmla="*/ 737722 h 930124"/>
                  <a:gd name="connsiteX153" fmla="*/ 304096 w 1194181"/>
                  <a:gd name="connsiteY153" fmla="*/ 744857 h 930124"/>
                  <a:gd name="connsiteX154" fmla="*/ 291774 w 1194181"/>
                  <a:gd name="connsiteY154" fmla="*/ 742360 h 930124"/>
                  <a:gd name="connsiteX155" fmla="*/ 265347 w 1194181"/>
                  <a:gd name="connsiteY155" fmla="*/ 745708 h 930124"/>
                  <a:gd name="connsiteX156" fmla="*/ 262273 w 1194181"/>
                  <a:gd name="connsiteY156" fmla="*/ 741784 h 930124"/>
                  <a:gd name="connsiteX157" fmla="*/ 247591 w 1194181"/>
                  <a:gd name="connsiteY157" fmla="*/ 740466 h 930124"/>
                  <a:gd name="connsiteX158" fmla="*/ 207332 w 1194181"/>
                  <a:gd name="connsiteY158" fmla="*/ 744748 h 930124"/>
                  <a:gd name="connsiteX159" fmla="*/ 196190 w 1194181"/>
                  <a:gd name="connsiteY159" fmla="*/ 750895 h 930124"/>
                  <a:gd name="connsiteX160" fmla="*/ 188396 w 1194181"/>
                  <a:gd name="connsiteY160" fmla="*/ 761103 h 930124"/>
                  <a:gd name="connsiteX161" fmla="*/ 172699 w 1194181"/>
                  <a:gd name="connsiteY161" fmla="*/ 765302 h 930124"/>
                  <a:gd name="connsiteX162" fmla="*/ 156837 w 1194181"/>
                  <a:gd name="connsiteY162" fmla="*/ 778749 h 930124"/>
                  <a:gd name="connsiteX163" fmla="*/ 142320 w 1194181"/>
                  <a:gd name="connsiteY163" fmla="*/ 785144 h 930124"/>
                  <a:gd name="connsiteX164" fmla="*/ 127885 w 1194181"/>
                  <a:gd name="connsiteY164" fmla="*/ 782756 h 930124"/>
                  <a:gd name="connsiteX165" fmla="*/ 107137 w 1194181"/>
                  <a:gd name="connsiteY165" fmla="*/ 783003 h 930124"/>
                  <a:gd name="connsiteX166" fmla="*/ 90837 w 1194181"/>
                  <a:gd name="connsiteY166" fmla="*/ 776252 h 930124"/>
                  <a:gd name="connsiteX167" fmla="*/ 76484 w 1194181"/>
                  <a:gd name="connsiteY167" fmla="*/ 762503 h 930124"/>
                  <a:gd name="connsiteX168" fmla="*/ 64190 w 1194181"/>
                  <a:gd name="connsiteY168" fmla="*/ 757536 h 930124"/>
                  <a:gd name="connsiteX169" fmla="*/ 60429 w 1194181"/>
                  <a:gd name="connsiteY169" fmla="*/ 752239 h 930124"/>
                  <a:gd name="connsiteX170" fmla="*/ 59195 w 1194181"/>
                  <a:gd name="connsiteY170" fmla="*/ 743073 h 930124"/>
                  <a:gd name="connsiteX171" fmla="*/ 60429 w 1194181"/>
                  <a:gd name="connsiteY171" fmla="*/ 734099 h 930124"/>
                  <a:gd name="connsiteX172" fmla="*/ 70474 w 1194181"/>
                  <a:gd name="connsiteY172" fmla="*/ 731246 h 930124"/>
                  <a:gd name="connsiteX173" fmla="*/ 78021 w 1194181"/>
                  <a:gd name="connsiteY173" fmla="*/ 719335 h 930124"/>
                  <a:gd name="connsiteX174" fmla="*/ 80243 w 1194181"/>
                  <a:gd name="connsiteY174" fmla="*/ 670185 h 930124"/>
                  <a:gd name="connsiteX175" fmla="*/ 61280 w 1194181"/>
                  <a:gd name="connsiteY175" fmla="*/ 623806 h 930124"/>
                  <a:gd name="connsiteX176" fmla="*/ 58564 w 1194181"/>
                  <a:gd name="connsiteY176" fmla="*/ 608658 h 930124"/>
                  <a:gd name="connsiteX177" fmla="*/ 58316 w 1194181"/>
                  <a:gd name="connsiteY177" fmla="*/ 590436 h 930124"/>
                  <a:gd name="connsiteX178" fmla="*/ 55792 w 1194181"/>
                  <a:gd name="connsiteY178" fmla="*/ 580776 h 930124"/>
                  <a:gd name="connsiteX179" fmla="*/ 49068 w 1194181"/>
                  <a:gd name="connsiteY179" fmla="*/ 569030 h 930124"/>
                  <a:gd name="connsiteX180" fmla="*/ 44595 w 1194181"/>
                  <a:gd name="connsiteY180" fmla="*/ 556846 h 930124"/>
                  <a:gd name="connsiteX181" fmla="*/ 35621 w 1194181"/>
                  <a:gd name="connsiteY181" fmla="*/ 543042 h 930124"/>
                  <a:gd name="connsiteX182" fmla="*/ 33344 w 1194181"/>
                  <a:gd name="connsiteY182" fmla="*/ 528195 h 930124"/>
                  <a:gd name="connsiteX183" fmla="*/ 29035 w 1194181"/>
                  <a:gd name="connsiteY183" fmla="*/ 516065 h 930124"/>
                  <a:gd name="connsiteX184" fmla="*/ 20692 w 1194181"/>
                  <a:gd name="connsiteY184" fmla="*/ 501411 h 930124"/>
                  <a:gd name="connsiteX185" fmla="*/ 9386 w 1194181"/>
                  <a:gd name="connsiteY185" fmla="*/ 486317 h 930124"/>
                  <a:gd name="connsiteX186" fmla="*/ 0 w 1194181"/>
                  <a:gd name="connsiteY186" fmla="*/ 464500 h 930124"/>
                  <a:gd name="connsiteX187" fmla="*/ 796 w 1194181"/>
                  <a:gd name="connsiteY187" fmla="*/ 462689 h 930124"/>
                  <a:gd name="connsiteX188" fmla="*/ 7492 w 1194181"/>
                  <a:gd name="connsiteY188" fmla="*/ 478084 h 930124"/>
                  <a:gd name="connsiteX189" fmla="*/ 13914 w 1194181"/>
                  <a:gd name="connsiteY189" fmla="*/ 482557 h 930124"/>
                  <a:gd name="connsiteX190" fmla="*/ 20527 w 1194181"/>
                  <a:gd name="connsiteY190" fmla="*/ 492437 h 930124"/>
                  <a:gd name="connsiteX191" fmla="*/ 24452 w 1194181"/>
                  <a:gd name="connsiteY191" fmla="*/ 490735 h 930124"/>
                  <a:gd name="connsiteX192" fmla="*/ 26016 w 1194181"/>
                  <a:gd name="connsiteY192" fmla="*/ 481377 h 930124"/>
                  <a:gd name="connsiteX193" fmla="*/ 31395 w 1194181"/>
                  <a:gd name="connsiteY193" fmla="*/ 485823 h 930124"/>
                  <a:gd name="connsiteX194" fmla="*/ 35045 w 1194181"/>
                  <a:gd name="connsiteY194" fmla="*/ 483874 h 930124"/>
                  <a:gd name="connsiteX195" fmla="*/ 35621 w 1194181"/>
                  <a:gd name="connsiteY195" fmla="*/ 469742 h 930124"/>
                  <a:gd name="connsiteX196" fmla="*/ 21323 w 1194181"/>
                  <a:gd name="connsiteY196" fmla="*/ 443808 h 930124"/>
                  <a:gd name="connsiteX197" fmla="*/ 13255 w 1194181"/>
                  <a:gd name="connsiteY197" fmla="*/ 421991 h 930124"/>
                  <a:gd name="connsiteX198" fmla="*/ 15094 w 1194181"/>
                  <a:gd name="connsiteY198" fmla="*/ 406760 h 930124"/>
                  <a:gd name="connsiteX199" fmla="*/ 22888 w 1194181"/>
                  <a:gd name="connsiteY199" fmla="*/ 390514 h 930124"/>
                  <a:gd name="connsiteX200" fmla="*/ 23519 w 1194181"/>
                  <a:gd name="connsiteY200" fmla="*/ 378000 h 930124"/>
                  <a:gd name="connsiteX201" fmla="*/ 21241 w 1194181"/>
                  <a:gd name="connsiteY201" fmla="*/ 362796 h 930124"/>
                  <a:gd name="connsiteX202" fmla="*/ 30160 w 1194181"/>
                  <a:gd name="connsiteY202" fmla="*/ 341857 h 930124"/>
                  <a:gd name="connsiteX203" fmla="*/ 34249 w 1194181"/>
                  <a:gd name="connsiteY203" fmla="*/ 340595 h 930124"/>
                  <a:gd name="connsiteX204" fmla="*/ 32904 w 1194181"/>
                  <a:gd name="connsiteY204" fmla="*/ 350557 h 930124"/>
                  <a:gd name="connsiteX205" fmla="*/ 35703 w 1194181"/>
                  <a:gd name="connsiteY205" fmla="*/ 359805 h 930124"/>
                  <a:gd name="connsiteX206" fmla="*/ 38091 w 1194181"/>
                  <a:gd name="connsiteY206" fmla="*/ 360244 h 930124"/>
                  <a:gd name="connsiteX207" fmla="*/ 40616 w 1194181"/>
                  <a:gd name="connsiteY207" fmla="*/ 358625 h 930124"/>
                  <a:gd name="connsiteX208" fmla="*/ 50138 w 1194181"/>
                  <a:gd name="connsiteY208" fmla="*/ 340650 h 930124"/>
                  <a:gd name="connsiteX209" fmla="*/ 69898 w 1194181"/>
                  <a:gd name="connsiteY209" fmla="*/ 330578 h 930124"/>
                  <a:gd name="connsiteX210" fmla="*/ 94212 w 1194181"/>
                  <a:gd name="connsiteY210" fmla="*/ 310847 h 930124"/>
                  <a:gd name="connsiteX211" fmla="*/ 109635 w 1194181"/>
                  <a:gd name="connsiteY211" fmla="*/ 302641 h 930124"/>
                  <a:gd name="connsiteX212" fmla="*/ 135843 w 1194181"/>
                  <a:gd name="connsiteY212" fmla="*/ 303931 h 930124"/>
                  <a:gd name="connsiteX213" fmla="*/ 153050 w 1194181"/>
                  <a:gd name="connsiteY213" fmla="*/ 294024 h 930124"/>
                  <a:gd name="connsiteX214" fmla="*/ 170915 w 1194181"/>
                  <a:gd name="connsiteY214" fmla="*/ 290155 h 930124"/>
                  <a:gd name="connsiteX215" fmla="*/ 180602 w 1194181"/>
                  <a:gd name="connsiteY215" fmla="*/ 282855 h 930124"/>
                  <a:gd name="connsiteX216" fmla="*/ 200142 w 1194181"/>
                  <a:gd name="connsiteY216" fmla="*/ 282306 h 930124"/>
                  <a:gd name="connsiteX217" fmla="*/ 226487 w 1194181"/>
                  <a:gd name="connsiteY217" fmla="*/ 273963 h 930124"/>
                  <a:gd name="connsiteX218" fmla="*/ 240346 w 1194181"/>
                  <a:gd name="connsiteY218" fmla="*/ 265840 h 930124"/>
                  <a:gd name="connsiteX219" fmla="*/ 249539 w 1194181"/>
                  <a:gd name="connsiteY219" fmla="*/ 255110 h 930124"/>
                  <a:gd name="connsiteX220" fmla="*/ 259776 w 1194181"/>
                  <a:gd name="connsiteY220" fmla="*/ 236037 h 930124"/>
                  <a:gd name="connsiteX221" fmla="*/ 274073 w 1194181"/>
                  <a:gd name="connsiteY221" fmla="*/ 223139 h 930124"/>
                  <a:gd name="connsiteX222" fmla="*/ 271164 w 1194181"/>
                  <a:gd name="connsiteY222" fmla="*/ 214659 h 930124"/>
                  <a:gd name="connsiteX223" fmla="*/ 270094 w 1194181"/>
                  <a:gd name="connsiteY223" fmla="*/ 204038 h 930124"/>
                  <a:gd name="connsiteX224" fmla="*/ 271384 w 1194181"/>
                  <a:gd name="connsiteY224" fmla="*/ 197589 h 930124"/>
                  <a:gd name="connsiteX225" fmla="*/ 275610 w 1194181"/>
                  <a:gd name="connsiteY225" fmla="*/ 191305 h 930124"/>
                  <a:gd name="connsiteX226" fmla="*/ 293476 w 1194181"/>
                  <a:gd name="connsiteY226" fmla="*/ 173522 h 930124"/>
                  <a:gd name="connsiteX227" fmla="*/ 297208 w 1194181"/>
                  <a:gd name="connsiteY227" fmla="*/ 181590 h 930124"/>
                  <a:gd name="connsiteX228" fmla="*/ 310957 w 1194181"/>
                  <a:gd name="connsiteY228" fmla="*/ 198824 h 930124"/>
                  <a:gd name="connsiteX229" fmla="*/ 313180 w 1194181"/>
                  <a:gd name="connsiteY229" fmla="*/ 193199 h 930124"/>
                  <a:gd name="connsiteX230" fmla="*/ 318284 w 1194181"/>
                  <a:gd name="connsiteY230" fmla="*/ 190564 h 930124"/>
                  <a:gd name="connsiteX231" fmla="*/ 315293 w 1194181"/>
                  <a:gd name="connsiteY231" fmla="*/ 183346 h 930124"/>
                  <a:gd name="connsiteX232" fmla="*/ 309475 w 1194181"/>
                  <a:gd name="connsiteY232" fmla="*/ 176211 h 930124"/>
                  <a:gd name="connsiteX233" fmla="*/ 308981 w 1194181"/>
                  <a:gd name="connsiteY233" fmla="*/ 170833 h 930124"/>
                  <a:gd name="connsiteX234" fmla="*/ 311231 w 1194181"/>
                  <a:gd name="connsiteY234" fmla="*/ 166826 h 930124"/>
                  <a:gd name="connsiteX235" fmla="*/ 315567 w 1194181"/>
                  <a:gd name="connsiteY235" fmla="*/ 164329 h 930124"/>
                  <a:gd name="connsiteX236" fmla="*/ 321577 w 1194181"/>
                  <a:gd name="connsiteY236" fmla="*/ 166771 h 930124"/>
                  <a:gd name="connsiteX237" fmla="*/ 334723 w 1194181"/>
                  <a:gd name="connsiteY237" fmla="*/ 167841 h 930124"/>
                  <a:gd name="connsiteX238" fmla="*/ 339415 w 1194181"/>
                  <a:gd name="connsiteY238" fmla="*/ 160788 h 930124"/>
                  <a:gd name="connsiteX239" fmla="*/ 336781 w 1194181"/>
                  <a:gd name="connsiteY239" fmla="*/ 151238 h 930124"/>
                  <a:gd name="connsiteX240" fmla="*/ 339772 w 1194181"/>
                  <a:gd name="connsiteY240" fmla="*/ 139410 h 930124"/>
                  <a:gd name="connsiteX241" fmla="*/ 345315 w 1194181"/>
                  <a:gd name="connsiteY241" fmla="*/ 137873 h 930124"/>
                  <a:gd name="connsiteX242" fmla="*/ 354755 w 1194181"/>
                  <a:gd name="connsiteY242" fmla="*/ 130382 h 930124"/>
                  <a:gd name="connsiteX243" fmla="*/ 361918 w 1194181"/>
                  <a:gd name="connsiteY243" fmla="*/ 129449 h 930124"/>
                  <a:gd name="connsiteX244" fmla="*/ 358158 w 1194181"/>
                  <a:gd name="connsiteY244" fmla="*/ 114519 h 930124"/>
                  <a:gd name="connsiteX245" fmla="*/ 367407 w 1194181"/>
                  <a:gd name="connsiteY245" fmla="*/ 113175 h 930124"/>
                  <a:gd name="connsiteX246" fmla="*/ 372457 w 1194181"/>
                  <a:gd name="connsiteY246" fmla="*/ 109443 h 930124"/>
                  <a:gd name="connsiteX247" fmla="*/ 378219 w 1194181"/>
                  <a:gd name="connsiteY247" fmla="*/ 113559 h 930124"/>
                  <a:gd name="connsiteX248" fmla="*/ 381101 w 1194181"/>
                  <a:gd name="connsiteY248" fmla="*/ 113669 h 930124"/>
                  <a:gd name="connsiteX249" fmla="*/ 386342 w 1194181"/>
                  <a:gd name="connsiteY249" fmla="*/ 99563 h 930124"/>
                  <a:gd name="connsiteX250" fmla="*/ 390788 w 1194181"/>
                  <a:gd name="connsiteY250" fmla="*/ 101868 h 930124"/>
                  <a:gd name="connsiteX251" fmla="*/ 395756 w 1194181"/>
                  <a:gd name="connsiteY251" fmla="*/ 100030 h 930124"/>
                  <a:gd name="connsiteX252" fmla="*/ 400887 w 1194181"/>
                  <a:gd name="connsiteY252" fmla="*/ 101155 h 930124"/>
                  <a:gd name="connsiteX253" fmla="*/ 406431 w 1194181"/>
                  <a:gd name="connsiteY253" fmla="*/ 93224 h 930124"/>
                  <a:gd name="connsiteX254" fmla="*/ 410108 w 1194181"/>
                  <a:gd name="connsiteY254" fmla="*/ 91961 h 930124"/>
                  <a:gd name="connsiteX255" fmla="*/ 424817 w 1194181"/>
                  <a:gd name="connsiteY255" fmla="*/ 98164 h 930124"/>
                  <a:gd name="connsiteX256" fmla="*/ 442628 w 1194181"/>
                  <a:gd name="connsiteY256" fmla="*/ 116221 h 930124"/>
                  <a:gd name="connsiteX257" fmla="*/ 446058 w 1194181"/>
                  <a:gd name="connsiteY257" fmla="*/ 129339 h 930124"/>
                  <a:gd name="connsiteX258" fmla="*/ 458545 w 1194181"/>
                  <a:gd name="connsiteY258" fmla="*/ 122588 h 930124"/>
                  <a:gd name="connsiteX259" fmla="*/ 470510 w 1194181"/>
                  <a:gd name="connsiteY259" fmla="*/ 125250 h 930124"/>
                  <a:gd name="connsiteX260" fmla="*/ 475532 w 1194181"/>
                  <a:gd name="connsiteY260" fmla="*/ 128214 h 930124"/>
                  <a:gd name="connsiteX261" fmla="*/ 479731 w 1194181"/>
                  <a:gd name="connsiteY261" fmla="*/ 125662 h 930124"/>
                  <a:gd name="connsiteX262" fmla="*/ 487278 w 1194181"/>
                  <a:gd name="connsiteY262" fmla="*/ 127720 h 930124"/>
                  <a:gd name="connsiteX263" fmla="*/ 491010 w 1194181"/>
                  <a:gd name="connsiteY263" fmla="*/ 120118 h 930124"/>
                  <a:gd name="connsiteX264" fmla="*/ 488870 w 1194181"/>
                  <a:gd name="connsiteY264" fmla="*/ 115261 h 930124"/>
                  <a:gd name="connsiteX265" fmla="*/ 483902 w 1194181"/>
                  <a:gd name="connsiteY265" fmla="*/ 110321 h 930124"/>
                  <a:gd name="connsiteX266" fmla="*/ 484095 w 1194181"/>
                  <a:gd name="connsiteY266" fmla="*/ 105985 h 930124"/>
                  <a:gd name="connsiteX267" fmla="*/ 491696 w 1194181"/>
                  <a:gd name="connsiteY267" fmla="*/ 96517 h 930124"/>
                  <a:gd name="connsiteX268" fmla="*/ 496526 w 1194181"/>
                  <a:gd name="connsiteY268" fmla="*/ 84552 h 930124"/>
                  <a:gd name="connsiteX269" fmla="*/ 505445 w 1194181"/>
                  <a:gd name="connsiteY269" fmla="*/ 78021 h 930124"/>
                  <a:gd name="connsiteX270" fmla="*/ 505582 w 1194181"/>
                  <a:gd name="connsiteY270" fmla="*/ 68113 h 930124"/>
                  <a:gd name="connsiteX271" fmla="*/ 507174 w 1194181"/>
                  <a:gd name="connsiteY271" fmla="*/ 65067 h 930124"/>
                  <a:gd name="connsiteX272" fmla="*/ 518920 w 1194181"/>
                  <a:gd name="connsiteY272" fmla="*/ 52553 h 930124"/>
                  <a:gd name="connsiteX273" fmla="*/ 524902 w 1194181"/>
                  <a:gd name="connsiteY273" fmla="*/ 51840 h 930124"/>
                  <a:gd name="connsiteX274" fmla="*/ 532257 w 1194181"/>
                  <a:gd name="connsiteY274" fmla="*/ 43360 h 930124"/>
                  <a:gd name="connsiteX275" fmla="*/ 536922 w 1194181"/>
                  <a:gd name="connsiteY275" fmla="*/ 41604 h 930124"/>
                  <a:gd name="connsiteX276" fmla="*/ 540874 w 1194181"/>
                  <a:gd name="connsiteY276" fmla="*/ 43360 h 930124"/>
                  <a:gd name="connsiteX277" fmla="*/ 545183 w 1194181"/>
                  <a:gd name="connsiteY277" fmla="*/ 45007 h 930124"/>
                  <a:gd name="connsiteX278" fmla="*/ 558410 w 1194181"/>
                  <a:gd name="connsiteY278" fmla="*/ 45665 h 930124"/>
                  <a:gd name="connsiteX279" fmla="*/ 569414 w 1194181"/>
                  <a:gd name="connsiteY279" fmla="*/ 43360 h 930124"/>
                  <a:gd name="connsiteX280" fmla="*/ 575809 w 1194181"/>
                  <a:gd name="connsiteY280" fmla="*/ 39628 h 930124"/>
                  <a:gd name="connsiteX281" fmla="*/ 576412 w 1194181"/>
                  <a:gd name="connsiteY281" fmla="*/ 36088 h 930124"/>
                  <a:gd name="connsiteX282" fmla="*/ 576632 w 1194181"/>
                  <a:gd name="connsiteY282" fmla="*/ 32081 h 930124"/>
                  <a:gd name="connsiteX283" fmla="*/ 572955 w 1194181"/>
                  <a:gd name="connsiteY283" fmla="*/ 23683 h 930124"/>
                  <a:gd name="connsiteX284" fmla="*/ 568921 w 1194181"/>
                  <a:gd name="connsiteY284" fmla="*/ 21735 h 930124"/>
                  <a:gd name="connsiteX285" fmla="*/ 561346 w 1194181"/>
                  <a:gd name="connsiteY285" fmla="*/ 21268 h 930124"/>
                  <a:gd name="connsiteX286" fmla="*/ 556325 w 1194181"/>
                  <a:gd name="connsiteY286" fmla="*/ 16987 h 930124"/>
                  <a:gd name="connsiteX287" fmla="*/ 556434 w 1194181"/>
                  <a:gd name="connsiteY287" fmla="*/ 15423 h 930124"/>
                  <a:gd name="connsiteX288" fmla="*/ 559233 w 1194181"/>
                  <a:gd name="connsiteY288" fmla="*/ 14161 h 930124"/>
                  <a:gd name="connsiteX289" fmla="*/ 564118 w 1194181"/>
                  <a:gd name="connsiteY289" fmla="*/ 16932 h 930124"/>
                  <a:gd name="connsiteX290" fmla="*/ 566643 w 1194181"/>
                  <a:gd name="connsiteY290" fmla="*/ 12596 h 930124"/>
                  <a:gd name="connsiteX291" fmla="*/ 574684 w 1194181"/>
                  <a:gd name="connsiteY291" fmla="*/ 16685 h 930124"/>
                  <a:gd name="connsiteX292" fmla="*/ 573943 w 1194181"/>
                  <a:gd name="connsiteY292" fmla="*/ 12130 h 930124"/>
                  <a:gd name="connsiteX293" fmla="*/ 575754 w 1194181"/>
                  <a:gd name="connsiteY293" fmla="*/ 9852 h 930124"/>
                  <a:gd name="connsiteX294" fmla="*/ 577126 w 1194181"/>
                  <a:gd name="connsiteY294" fmla="*/ 14819 h 930124"/>
                  <a:gd name="connsiteX295" fmla="*/ 576248 w 1194181"/>
                  <a:gd name="connsiteY295" fmla="*/ 18332 h 930124"/>
                  <a:gd name="connsiteX296" fmla="*/ 578608 w 1194181"/>
                  <a:gd name="connsiteY296" fmla="*/ 20555 h 930124"/>
                  <a:gd name="connsiteX297" fmla="*/ 587362 w 1194181"/>
                  <a:gd name="connsiteY297" fmla="*/ 20610 h 930124"/>
                  <a:gd name="connsiteX298" fmla="*/ 597105 w 1194181"/>
                  <a:gd name="connsiteY298" fmla="*/ 29172 h 930124"/>
                  <a:gd name="connsiteX299" fmla="*/ 612939 w 1194181"/>
                  <a:gd name="connsiteY299" fmla="*/ 31203 h 930124"/>
                  <a:gd name="connsiteX300" fmla="*/ 621474 w 1194181"/>
                  <a:gd name="connsiteY300" fmla="*/ 36088 h 930124"/>
                  <a:gd name="connsiteX301" fmla="*/ 624740 w 1194181"/>
                  <a:gd name="connsiteY301" fmla="*/ 38063 h 930124"/>
                  <a:gd name="connsiteX302" fmla="*/ 632725 w 1194181"/>
                  <a:gd name="connsiteY302" fmla="*/ 38996 h 930124"/>
                  <a:gd name="connsiteX303" fmla="*/ 642002 w 1194181"/>
                  <a:gd name="connsiteY303" fmla="*/ 37487 h 930124"/>
                  <a:gd name="connsiteX304" fmla="*/ 650125 w 1194181"/>
                  <a:gd name="connsiteY304" fmla="*/ 43333 h 930124"/>
                  <a:gd name="connsiteX305" fmla="*/ 650838 w 1194181"/>
                  <a:gd name="connsiteY305" fmla="*/ 43333 h 930124"/>
                  <a:gd name="connsiteX306" fmla="*/ 668923 w 1194181"/>
                  <a:gd name="connsiteY306" fmla="*/ 36417 h 930124"/>
                  <a:gd name="connsiteX307" fmla="*/ 668594 w 1194181"/>
                  <a:gd name="connsiteY307" fmla="*/ 43333 h 930124"/>
                  <a:gd name="connsiteX308" fmla="*/ 674933 w 1194181"/>
                  <a:gd name="connsiteY308" fmla="*/ 44375 h 930124"/>
                  <a:gd name="connsiteX309" fmla="*/ 680449 w 1194181"/>
                  <a:gd name="connsiteY309" fmla="*/ 50166 h 930124"/>
                  <a:gd name="connsiteX310" fmla="*/ 684977 w 1194181"/>
                  <a:gd name="connsiteY310" fmla="*/ 47641 h 930124"/>
                  <a:gd name="connsiteX311" fmla="*/ 684621 w 1194181"/>
                  <a:gd name="connsiteY311" fmla="*/ 43333 h 930124"/>
                  <a:gd name="connsiteX312" fmla="*/ 684181 w 1194181"/>
                  <a:gd name="connsiteY312" fmla="*/ 41110 h 930124"/>
                  <a:gd name="connsiteX313" fmla="*/ 686184 w 1194181"/>
                  <a:gd name="connsiteY313" fmla="*/ 37926 h 930124"/>
                  <a:gd name="connsiteX314" fmla="*/ 691508 w 1194181"/>
                  <a:gd name="connsiteY314" fmla="*/ 38448 h 930124"/>
                  <a:gd name="connsiteX315" fmla="*/ 695707 w 1194181"/>
                  <a:gd name="connsiteY315" fmla="*/ 43360 h 930124"/>
                  <a:gd name="connsiteX316" fmla="*/ 701196 w 1194181"/>
                  <a:gd name="connsiteY316" fmla="*/ 45500 h 930124"/>
                  <a:gd name="connsiteX317" fmla="*/ 701690 w 1194181"/>
                  <a:gd name="connsiteY317" fmla="*/ 49233 h 930124"/>
                  <a:gd name="connsiteX318" fmla="*/ 693841 w 1194181"/>
                  <a:gd name="connsiteY318" fmla="*/ 60704 h 930124"/>
                  <a:gd name="connsiteX319" fmla="*/ 691207 w 1194181"/>
                  <a:gd name="connsiteY319" fmla="*/ 71105 h 930124"/>
                  <a:gd name="connsiteX320" fmla="*/ 684401 w 1194181"/>
                  <a:gd name="connsiteY320" fmla="*/ 72504 h 930124"/>
                  <a:gd name="connsiteX321" fmla="*/ 675152 w 1194181"/>
                  <a:gd name="connsiteY321" fmla="*/ 77993 h 930124"/>
                  <a:gd name="connsiteX322" fmla="*/ 673780 w 1194181"/>
                  <a:gd name="connsiteY322" fmla="*/ 84250 h 930124"/>
                  <a:gd name="connsiteX323" fmla="*/ 676031 w 1194181"/>
                  <a:gd name="connsiteY323" fmla="*/ 91275 h 930124"/>
                  <a:gd name="connsiteX324" fmla="*/ 674878 w 1194181"/>
                  <a:gd name="connsiteY324" fmla="*/ 96819 h 930124"/>
                  <a:gd name="connsiteX325" fmla="*/ 660635 w 1194181"/>
                  <a:gd name="connsiteY325" fmla="*/ 122011 h 930124"/>
                  <a:gd name="connsiteX326" fmla="*/ 664889 w 1194181"/>
                  <a:gd name="connsiteY326" fmla="*/ 129201 h 930124"/>
                  <a:gd name="connsiteX327" fmla="*/ 687611 w 1194181"/>
                  <a:gd name="connsiteY327" fmla="*/ 146298 h 930124"/>
                  <a:gd name="connsiteX328" fmla="*/ 690521 w 1194181"/>
                  <a:gd name="connsiteY328" fmla="*/ 146957 h 930124"/>
                  <a:gd name="connsiteX329" fmla="*/ 693814 w 1194181"/>
                  <a:gd name="connsiteY329" fmla="*/ 145091 h 930124"/>
                  <a:gd name="connsiteX330" fmla="*/ 699440 w 1194181"/>
                  <a:gd name="connsiteY330" fmla="*/ 153681 h 930124"/>
                  <a:gd name="connsiteX331" fmla="*/ 703940 w 1194181"/>
                  <a:gd name="connsiteY331" fmla="*/ 155300 h 930124"/>
                  <a:gd name="connsiteX332" fmla="*/ 726553 w 1194181"/>
                  <a:gd name="connsiteY332" fmla="*/ 166030 h 930124"/>
                  <a:gd name="connsiteX333" fmla="*/ 741647 w 1194181"/>
                  <a:gd name="connsiteY333" fmla="*/ 179203 h 930124"/>
                  <a:gd name="connsiteX334" fmla="*/ 765028 w 1194181"/>
                  <a:gd name="connsiteY334" fmla="*/ 187134 h 930124"/>
                  <a:gd name="connsiteX335" fmla="*/ 774029 w 1194181"/>
                  <a:gd name="connsiteY335" fmla="*/ 199510 h 930124"/>
                  <a:gd name="connsiteX336" fmla="*/ 792883 w 1194181"/>
                  <a:gd name="connsiteY336" fmla="*/ 209390 h 930124"/>
                  <a:gd name="connsiteX337" fmla="*/ 805754 w 1194181"/>
                  <a:gd name="connsiteY337" fmla="*/ 209609 h 930124"/>
                  <a:gd name="connsiteX338" fmla="*/ 817582 w 1194181"/>
                  <a:gd name="connsiteY338" fmla="*/ 203325 h 930124"/>
                  <a:gd name="connsiteX339" fmla="*/ 832785 w 1194181"/>
                  <a:gd name="connsiteY339" fmla="*/ 171738 h 930124"/>
                  <a:gd name="connsiteX340" fmla="*/ 835776 w 1194181"/>
                  <a:gd name="connsiteY340" fmla="*/ 161557 h 930124"/>
                  <a:gd name="connsiteX341" fmla="*/ 837313 w 1194181"/>
                  <a:gd name="connsiteY341" fmla="*/ 147012 h 930124"/>
                  <a:gd name="connsiteX342" fmla="*/ 842061 w 1194181"/>
                  <a:gd name="connsiteY342" fmla="*/ 132138 h 930124"/>
                  <a:gd name="connsiteX343" fmla="*/ 840002 w 1194181"/>
                  <a:gd name="connsiteY343" fmla="*/ 113751 h 930124"/>
                  <a:gd name="connsiteX344" fmla="*/ 840771 w 1194181"/>
                  <a:gd name="connsiteY344" fmla="*/ 101841 h 930124"/>
                  <a:gd name="connsiteX345" fmla="*/ 838713 w 1194181"/>
                  <a:gd name="connsiteY345" fmla="*/ 91989 h 930124"/>
                  <a:gd name="connsiteX346" fmla="*/ 843104 w 1194181"/>
                  <a:gd name="connsiteY346" fmla="*/ 76785 h 930124"/>
                  <a:gd name="connsiteX347" fmla="*/ 842939 w 1194181"/>
                  <a:gd name="connsiteY347" fmla="*/ 66055 h 930124"/>
                  <a:gd name="connsiteX348" fmla="*/ 847549 w 1194181"/>
                  <a:gd name="connsiteY348" fmla="*/ 57438 h 930124"/>
                  <a:gd name="connsiteX349" fmla="*/ 843488 w 1194181"/>
                  <a:gd name="connsiteY349" fmla="*/ 50056 h 930124"/>
                  <a:gd name="connsiteX350" fmla="*/ 847659 w 1194181"/>
                  <a:gd name="connsiteY350" fmla="*/ 40588 h 930124"/>
                  <a:gd name="connsiteX351" fmla="*/ 852489 w 1194181"/>
                  <a:gd name="connsiteY351" fmla="*/ 35813 h 930124"/>
                  <a:gd name="connsiteX352" fmla="*/ 857566 w 1194181"/>
                  <a:gd name="connsiteY352" fmla="*/ 8013 h 930124"/>
                  <a:gd name="connsiteX353" fmla="*/ 865058 w 1194181"/>
                  <a:gd name="connsiteY353" fmla="*/ 576 h 930124"/>
                  <a:gd name="connsiteX354" fmla="*/ 868790 w 1194181"/>
                  <a:gd name="connsiteY354" fmla="*/ 0 h 930124"/>
                  <a:gd name="connsiteX355" fmla="*/ 876282 w 1194181"/>
                  <a:gd name="connsiteY355" fmla="*/ 11801 h 930124"/>
                  <a:gd name="connsiteX356" fmla="*/ 879328 w 1194181"/>
                  <a:gd name="connsiteY356" fmla="*/ 31203 h 930124"/>
                  <a:gd name="connsiteX357" fmla="*/ 886189 w 1194181"/>
                  <a:gd name="connsiteY357" fmla="*/ 36774 h 930124"/>
                  <a:gd name="connsiteX358" fmla="*/ 886628 w 1194181"/>
                  <a:gd name="connsiteY358" fmla="*/ 46543 h 930124"/>
                  <a:gd name="connsiteX359" fmla="*/ 892638 w 1194181"/>
                  <a:gd name="connsiteY359" fmla="*/ 53898 h 930124"/>
                  <a:gd name="connsiteX360" fmla="*/ 894230 w 1194181"/>
                  <a:gd name="connsiteY360" fmla="*/ 61527 h 930124"/>
                  <a:gd name="connsiteX361" fmla="*/ 897605 w 1194181"/>
                  <a:gd name="connsiteY361" fmla="*/ 66384 h 930124"/>
                  <a:gd name="connsiteX362" fmla="*/ 899252 w 1194181"/>
                  <a:gd name="connsiteY362" fmla="*/ 90864 h 930124"/>
                  <a:gd name="connsiteX363" fmla="*/ 905509 w 1194181"/>
                  <a:gd name="connsiteY363" fmla="*/ 108153 h 93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Lst>
                <a:rect l="l" t="t" r="r" b="b"/>
                <a:pathLst>
                  <a:path w="1194181" h="930124">
                    <a:moveTo>
                      <a:pt x="905646" y="108372"/>
                    </a:moveTo>
                    <a:lnTo>
                      <a:pt x="911244" y="111720"/>
                    </a:lnTo>
                    <a:lnTo>
                      <a:pt x="919834" y="105216"/>
                    </a:lnTo>
                    <a:lnTo>
                      <a:pt x="926613" y="105354"/>
                    </a:lnTo>
                    <a:lnTo>
                      <a:pt x="932787" y="113806"/>
                    </a:lnTo>
                    <a:lnTo>
                      <a:pt x="949719" y="127829"/>
                    </a:lnTo>
                    <a:lnTo>
                      <a:pt x="949637" y="142566"/>
                    </a:lnTo>
                    <a:lnTo>
                      <a:pt x="954604" y="160075"/>
                    </a:lnTo>
                    <a:lnTo>
                      <a:pt x="954769" y="171711"/>
                    </a:lnTo>
                    <a:lnTo>
                      <a:pt x="962782" y="183649"/>
                    </a:lnTo>
                    <a:lnTo>
                      <a:pt x="968820" y="189411"/>
                    </a:lnTo>
                    <a:lnTo>
                      <a:pt x="974308" y="209582"/>
                    </a:lnTo>
                    <a:lnTo>
                      <a:pt x="972497" y="225910"/>
                    </a:lnTo>
                    <a:lnTo>
                      <a:pt x="979550" y="230878"/>
                    </a:lnTo>
                    <a:lnTo>
                      <a:pt x="981608" y="249429"/>
                    </a:lnTo>
                    <a:lnTo>
                      <a:pt x="993875" y="258485"/>
                    </a:lnTo>
                    <a:lnTo>
                      <a:pt x="1013250" y="265538"/>
                    </a:lnTo>
                    <a:lnTo>
                      <a:pt x="1020605" y="275253"/>
                    </a:lnTo>
                    <a:lnTo>
                      <a:pt x="1025407" y="276214"/>
                    </a:lnTo>
                    <a:lnTo>
                      <a:pt x="1039705" y="285709"/>
                    </a:lnTo>
                    <a:lnTo>
                      <a:pt x="1046127" y="286724"/>
                    </a:lnTo>
                    <a:lnTo>
                      <a:pt x="1051999" y="291390"/>
                    </a:lnTo>
                    <a:lnTo>
                      <a:pt x="1054442" y="296412"/>
                    </a:lnTo>
                    <a:lnTo>
                      <a:pt x="1051670" y="299869"/>
                    </a:lnTo>
                    <a:lnTo>
                      <a:pt x="1051670" y="303712"/>
                    </a:lnTo>
                    <a:cubicBezTo>
                      <a:pt x="1051670" y="303712"/>
                      <a:pt x="1065062" y="317817"/>
                      <a:pt x="1065062" y="317817"/>
                    </a:cubicBezTo>
                    <a:lnTo>
                      <a:pt x="1078646" y="354700"/>
                    </a:lnTo>
                    <a:lnTo>
                      <a:pt x="1085233" y="358789"/>
                    </a:lnTo>
                    <a:lnTo>
                      <a:pt x="1086386" y="352670"/>
                    </a:lnTo>
                    <a:lnTo>
                      <a:pt x="1088306" y="351353"/>
                    </a:lnTo>
                    <a:lnTo>
                      <a:pt x="1101424" y="360463"/>
                    </a:lnTo>
                    <a:lnTo>
                      <a:pt x="1106968" y="358707"/>
                    </a:lnTo>
                    <a:lnTo>
                      <a:pt x="1111331" y="367132"/>
                    </a:lnTo>
                    <a:lnTo>
                      <a:pt x="1111441" y="378164"/>
                    </a:lnTo>
                    <a:lnTo>
                      <a:pt x="1114212" y="391447"/>
                    </a:lnTo>
                    <a:lnTo>
                      <a:pt x="1122034" y="395179"/>
                    </a:lnTo>
                    <a:lnTo>
                      <a:pt x="1129773" y="406925"/>
                    </a:lnTo>
                    <a:lnTo>
                      <a:pt x="1143796" y="416420"/>
                    </a:lnTo>
                    <a:lnTo>
                      <a:pt x="1150547" y="426765"/>
                    </a:lnTo>
                    <a:lnTo>
                      <a:pt x="1159878" y="436124"/>
                    </a:lnTo>
                    <a:lnTo>
                      <a:pt x="1166053" y="446497"/>
                    </a:lnTo>
                    <a:lnTo>
                      <a:pt x="1173051" y="453550"/>
                    </a:lnTo>
                    <a:lnTo>
                      <a:pt x="1177441" y="452178"/>
                    </a:lnTo>
                    <a:lnTo>
                      <a:pt x="1182326" y="438182"/>
                    </a:lnTo>
                    <a:lnTo>
                      <a:pt x="1184769" y="438401"/>
                    </a:lnTo>
                    <a:lnTo>
                      <a:pt x="1185400" y="445894"/>
                    </a:lnTo>
                    <a:lnTo>
                      <a:pt x="1180103" y="465680"/>
                    </a:lnTo>
                    <a:lnTo>
                      <a:pt x="1179637" y="487442"/>
                    </a:lnTo>
                    <a:lnTo>
                      <a:pt x="1181311" y="505472"/>
                    </a:lnTo>
                    <a:lnTo>
                      <a:pt x="1180131" y="513952"/>
                    </a:lnTo>
                    <a:lnTo>
                      <a:pt x="1184988" y="523310"/>
                    </a:lnTo>
                    <a:lnTo>
                      <a:pt x="1190614" y="525835"/>
                    </a:lnTo>
                    <a:lnTo>
                      <a:pt x="1190339" y="537581"/>
                    </a:lnTo>
                    <a:lnTo>
                      <a:pt x="1193276" y="549052"/>
                    </a:lnTo>
                    <a:lnTo>
                      <a:pt x="1194182" y="562197"/>
                    </a:lnTo>
                    <a:lnTo>
                      <a:pt x="1178813" y="623203"/>
                    </a:lnTo>
                    <a:lnTo>
                      <a:pt x="1177057" y="645651"/>
                    </a:lnTo>
                    <a:lnTo>
                      <a:pt x="1171870" y="662721"/>
                    </a:lnTo>
                    <a:lnTo>
                      <a:pt x="1164680" y="677430"/>
                    </a:lnTo>
                    <a:lnTo>
                      <a:pt x="1161278" y="690410"/>
                    </a:lnTo>
                    <a:lnTo>
                      <a:pt x="1135783" y="715384"/>
                    </a:lnTo>
                    <a:lnTo>
                      <a:pt x="1128593" y="729819"/>
                    </a:lnTo>
                    <a:lnTo>
                      <a:pt x="1124723" y="743430"/>
                    </a:lnTo>
                    <a:lnTo>
                      <a:pt x="1116079" y="759896"/>
                    </a:lnTo>
                    <a:lnTo>
                      <a:pt x="1111770" y="777542"/>
                    </a:lnTo>
                    <a:lnTo>
                      <a:pt x="1112292" y="783909"/>
                    </a:lnTo>
                    <a:lnTo>
                      <a:pt x="1103455" y="793321"/>
                    </a:lnTo>
                    <a:lnTo>
                      <a:pt x="1095359" y="810528"/>
                    </a:lnTo>
                    <a:lnTo>
                      <a:pt x="1087675" y="846835"/>
                    </a:lnTo>
                    <a:lnTo>
                      <a:pt x="1087456" y="864811"/>
                    </a:lnTo>
                    <a:lnTo>
                      <a:pt x="1083834" y="874690"/>
                    </a:lnTo>
                    <a:lnTo>
                      <a:pt x="1070688" y="882923"/>
                    </a:lnTo>
                    <a:lnTo>
                      <a:pt x="1036302" y="886545"/>
                    </a:lnTo>
                    <a:lnTo>
                      <a:pt x="1024474" y="890799"/>
                    </a:lnTo>
                    <a:lnTo>
                      <a:pt x="988112" y="921398"/>
                    </a:lnTo>
                    <a:lnTo>
                      <a:pt x="982020" y="930125"/>
                    </a:lnTo>
                    <a:lnTo>
                      <a:pt x="967832" y="922633"/>
                    </a:lnTo>
                    <a:lnTo>
                      <a:pt x="958940" y="915360"/>
                    </a:lnTo>
                    <a:lnTo>
                      <a:pt x="951366" y="902682"/>
                    </a:lnTo>
                    <a:lnTo>
                      <a:pt x="942831" y="907567"/>
                    </a:lnTo>
                    <a:lnTo>
                      <a:pt x="939621" y="907375"/>
                    </a:lnTo>
                    <a:lnTo>
                      <a:pt x="939127" y="904219"/>
                    </a:lnTo>
                    <a:lnTo>
                      <a:pt x="942365" y="896178"/>
                    </a:lnTo>
                    <a:lnTo>
                      <a:pt x="938248" y="890031"/>
                    </a:lnTo>
                    <a:lnTo>
                      <a:pt x="929713" y="894119"/>
                    </a:lnTo>
                    <a:lnTo>
                      <a:pt x="928451" y="901776"/>
                    </a:lnTo>
                    <a:lnTo>
                      <a:pt x="920026" y="906140"/>
                    </a:lnTo>
                    <a:lnTo>
                      <a:pt x="905563" y="918077"/>
                    </a:lnTo>
                    <a:lnTo>
                      <a:pt x="896233" y="921288"/>
                    </a:lnTo>
                    <a:lnTo>
                      <a:pt x="864235" y="906167"/>
                    </a:lnTo>
                    <a:lnTo>
                      <a:pt x="848592" y="902901"/>
                    </a:lnTo>
                    <a:lnTo>
                      <a:pt x="836792" y="904164"/>
                    </a:lnTo>
                    <a:lnTo>
                      <a:pt x="827077" y="897138"/>
                    </a:lnTo>
                    <a:lnTo>
                      <a:pt x="814782" y="893296"/>
                    </a:lnTo>
                    <a:lnTo>
                      <a:pt x="807071" y="888027"/>
                    </a:lnTo>
                    <a:lnTo>
                      <a:pt x="789315" y="863438"/>
                    </a:lnTo>
                    <a:lnTo>
                      <a:pt x="787092" y="855644"/>
                    </a:lnTo>
                    <a:lnTo>
                      <a:pt x="788931" y="846424"/>
                    </a:lnTo>
                    <a:lnTo>
                      <a:pt x="788053" y="837340"/>
                    </a:lnTo>
                    <a:lnTo>
                      <a:pt x="783579" y="826473"/>
                    </a:lnTo>
                    <a:lnTo>
                      <a:pt x="776005" y="816127"/>
                    </a:lnTo>
                    <a:lnTo>
                      <a:pt x="759018" y="803311"/>
                    </a:lnTo>
                    <a:lnTo>
                      <a:pt x="743486" y="802817"/>
                    </a:lnTo>
                    <a:lnTo>
                      <a:pt x="748316" y="791291"/>
                    </a:lnTo>
                    <a:lnTo>
                      <a:pt x="750209" y="777789"/>
                    </a:lnTo>
                    <a:lnTo>
                      <a:pt x="740000" y="756932"/>
                    </a:lnTo>
                    <a:lnTo>
                      <a:pt x="733304" y="764177"/>
                    </a:lnTo>
                    <a:lnTo>
                      <a:pt x="725977" y="784705"/>
                    </a:lnTo>
                    <a:lnTo>
                      <a:pt x="703995" y="790138"/>
                    </a:lnTo>
                    <a:lnTo>
                      <a:pt x="703090" y="790357"/>
                    </a:lnTo>
                    <a:lnTo>
                      <a:pt x="703995" y="787750"/>
                    </a:lnTo>
                    <a:lnTo>
                      <a:pt x="707014" y="780835"/>
                    </a:lnTo>
                    <a:lnTo>
                      <a:pt x="715466" y="778777"/>
                    </a:lnTo>
                    <a:lnTo>
                      <a:pt x="718869" y="774852"/>
                    </a:lnTo>
                    <a:lnTo>
                      <a:pt x="721339" y="751663"/>
                    </a:lnTo>
                    <a:lnTo>
                      <a:pt x="731822" y="730230"/>
                    </a:lnTo>
                    <a:lnTo>
                      <a:pt x="732151" y="721064"/>
                    </a:lnTo>
                    <a:lnTo>
                      <a:pt x="734622" y="713408"/>
                    </a:lnTo>
                    <a:lnTo>
                      <a:pt x="732096" y="705586"/>
                    </a:lnTo>
                    <a:lnTo>
                      <a:pt x="720516" y="716619"/>
                    </a:lnTo>
                    <a:lnTo>
                      <a:pt x="711268" y="732947"/>
                    </a:lnTo>
                    <a:lnTo>
                      <a:pt x="703995" y="738079"/>
                    </a:lnTo>
                    <a:lnTo>
                      <a:pt x="689862" y="747437"/>
                    </a:lnTo>
                    <a:lnTo>
                      <a:pt x="675454" y="766098"/>
                    </a:lnTo>
                    <a:lnTo>
                      <a:pt x="673039" y="771916"/>
                    </a:lnTo>
                    <a:lnTo>
                      <a:pt x="675454" y="775319"/>
                    </a:lnTo>
                    <a:lnTo>
                      <a:pt x="674988" y="778969"/>
                    </a:lnTo>
                    <a:lnTo>
                      <a:pt x="666508" y="777679"/>
                    </a:lnTo>
                    <a:lnTo>
                      <a:pt x="660251" y="771121"/>
                    </a:lnTo>
                    <a:lnTo>
                      <a:pt x="653527" y="745626"/>
                    </a:lnTo>
                    <a:lnTo>
                      <a:pt x="644306" y="733413"/>
                    </a:lnTo>
                    <a:lnTo>
                      <a:pt x="638654" y="720927"/>
                    </a:lnTo>
                    <a:lnTo>
                      <a:pt x="625179" y="713271"/>
                    </a:lnTo>
                    <a:lnTo>
                      <a:pt x="622160" y="706465"/>
                    </a:lnTo>
                    <a:lnTo>
                      <a:pt x="623834" y="696640"/>
                    </a:lnTo>
                    <a:lnTo>
                      <a:pt x="616122" y="692661"/>
                    </a:lnTo>
                    <a:lnTo>
                      <a:pt x="609865" y="683138"/>
                    </a:lnTo>
                    <a:lnTo>
                      <a:pt x="594333" y="681848"/>
                    </a:lnTo>
                    <a:lnTo>
                      <a:pt x="578087" y="675097"/>
                    </a:lnTo>
                    <a:lnTo>
                      <a:pt x="565161" y="675482"/>
                    </a:lnTo>
                    <a:lnTo>
                      <a:pt x="550068" y="665794"/>
                    </a:lnTo>
                    <a:lnTo>
                      <a:pt x="533519" y="659043"/>
                    </a:lnTo>
                    <a:lnTo>
                      <a:pt x="521884" y="662035"/>
                    </a:lnTo>
                    <a:lnTo>
                      <a:pt x="498996" y="662281"/>
                    </a:lnTo>
                    <a:lnTo>
                      <a:pt x="474132" y="665245"/>
                    </a:lnTo>
                    <a:lnTo>
                      <a:pt x="448309" y="676223"/>
                    </a:lnTo>
                    <a:lnTo>
                      <a:pt x="419000" y="685279"/>
                    </a:lnTo>
                    <a:lnTo>
                      <a:pt x="402836" y="686486"/>
                    </a:lnTo>
                    <a:lnTo>
                      <a:pt x="389169" y="685224"/>
                    </a:lnTo>
                    <a:lnTo>
                      <a:pt x="381924" y="686843"/>
                    </a:lnTo>
                    <a:lnTo>
                      <a:pt x="349542" y="705312"/>
                    </a:lnTo>
                    <a:lnTo>
                      <a:pt x="332280" y="712337"/>
                    </a:lnTo>
                    <a:lnTo>
                      <a:pt x="316747" y="737722"/>
                    </a:lnTo>
                    <a:lnTo>
                      <a:pt x="304096" y="744857"/>
                    </a:lnTo>
                    <a:lnTo>
                      <a:pt x="291774" y="742360"/>
                    </a:lnTo>
                    <a:lnTo>
                      <a:pt x="265347" y="745708"/>
                    </a:lnTo>
                    <a:lnTo>
                      <a:pt x="262273" y="741784"/>
                    </a:lnTo>
                    <a:lnTo>
                      <a:pt x="247591" y="740466"/>
                    </a:lnTo>
                    <a:lnTo>
                      <a:pt x="207332" y="744748"/>
                    </a:lnTo>
                    <a:lnTo>
                      <a:pt x="196190" y="750895"/>
                    </a:lnTo>
                    <a:lnTo>
                      <a:pt x="188396" y="761103"/>
                    </a:lnTo>
                    <a:lnTo>
                      <a:pt x="172699" y="765302"/>
                    </a:lnTo>
                    <a:lnTo>
                      <a:pt x="156837" y="778749"/>
                    </a:lnTo>
                    <a:lnTo>
                      <a:pt x="142320" y="785144"/>
                    </a:lnTo>
                    <a:lnTo>
                      <a:pt x="127885" y="782756"/>
                    </a:lnTo>
                    <a:lnTo>
                      <a:pt x="107137" y="783003"/>
                    </a:lnTo>
                    <a:lnTo>
                      <a:pt x="90837" y="776252"/>
                    </a:lnTo>
                    <a:lnTo>
                      <a:pt x="76484" y="762503"/>
                    </a:lnTo>
                    <a:lnTo>
                      <a:pt x="64190" y="757536"/>
                    </a:lnTo>
                    <a:lnTo>
                      <a:pt x="60429" y="752239"/>
                    </a:lnTo>
                    <a:lnTo>
                      <a:pt x="59195" y="743073"/>
                    </a:lnTo>
                    <a:lnTo>
                      <a:pt x="60429" y="734099"/>
                    </a:lnTo>
                    <a:lnTo>
                      <a:pt x="70474" y="731246"/>
                    </a:lnTo>
                    <a:lnTo>
                      <a:pt x="78021" y="719335"/>
                    </a:lnTo>
                    <a:lnTo>
                      <a:pt x="80243" y="670185"/>
                    </a:lnTo>
                    <a:lnTo>
                      <a:pt x="61280" y="623806"/>
                    </a:lnTo>
                    <a:lnTo>
                      <a:pt x="58564" y="608658"/>
                    </a:lnTo>
                    <a:lnTo>
                      <a:pt x="58316" y="590436"/>
                    </a:lnTo>
                    <a:lnTo>
                      <a:pt x="55792" y="580776"/>
                    </a:lnTo>
                    <a:lnTo>
                      <a:pt x="49068" y="569030"/>
                    </a:lnTo>
                    <a:lnTo>
                      <a:pt x="44595" y="556846"/>
                    </a:lnTo>
                    <a:lnTo>
                      <a:pt x="35621" y="543042"/>
                    </a:lnTo>
                    <a:lnTo>
                      <a:pt x="33344" y="528195"/>
                    </a:lnTo>
                    <a:lnTo>
                      <a:pt x="29035" y="516065"/>
                    </a:lnTo>
                    <a:lnTo>
                      <a:pt x="20692" y="501411"/>
                    </a:lnTo>
                    <a:lnTo>
                      <a:pt x="9386" y="486317"/>
                    </a:lnTo>
                    <a:lnTo>
                      <a:pt x="0" y="464500"/>
                    </a:lnTo>
                    <a:lnTo>
                      <a:pt x="796" y="462689"/>
                    </a:lnTo>
                    <a:lnTo>
                      <a:pt x="7492" y="478084"/>
                    </a:lnTo>
                    <a:lnTo>
                      <a:pt x="13914" y="482557"/>
                    </a:lnTo>
                    <a:lnTo>
                      <a:pt x="20527" y="492437"/>
                    </a:lnTo>
                    <a:lnTo>
                      <a:pt x="24452" y="490735"/>
                    </a:lnTo>
                    <a:lnTo>
                      <a:pt x="26016" y="481377"/>
                    </a:lnTo>
                    <a:lnTo>
                      <a:pt x="31395" y="485823"/>
                    </a:lnTo>
                    <a:lnTo>
                      <a:pt x="35045" y="483874"/>
                    </a:lnTo>
                    <a:lnTo>
                      <a:pt x="35621" y="469742"/>
                    </a:lnTo>
                    <a:lnTo>
                      <a:pt x="21323" y="443808"/>
                    </a:lnTo>
                    <a:lnTo>
                      <a:pt x="13255" y="421991"/>
                    </a:lnTo>
                    <a:lnTo>
                      <a:pt x="15094" y="406760"/>
                    </a:lnTo>
                    <a:lnTo>
                      <a:pt x="22888" y="390514"/>
                    </a:lnTo>
                    <a:lnTo>
                      <a:pt x="23519" y="378000"/>
                    </a:lnTo>
                    <a:lnTo>
                      <a:pt x="21241" y="362796"/>
                    </a:lnTo>
                    <a:lnTo>
                      <a:pt x="30160" y="341857"/>
                    </a:lnTo>
                    <a:lnTo>
                      <a:pt x="34249" y="340595"/>
                    </a:lnTo>
                    <a:lnTo>
                      <a:pt x="32904" y="350557"/>
                    </a:lnTo>
                    <a:lnTo>
                      <a:pt x="35703" y="359805"/>
                    </a:lnTo>
                    <a:lnTo>
                      <a:pt x="38091" y="360244"/>
                    </a:lnTo>
                    <a:lnTo>
                      <a:pt x="40616" y="358625"/>
                    </a:lnTo>
                    <a:lnTo>
                      <a:pt x="50138" y="340650"/>
                    </a:lnTo>
                    <a:lnTo>
                      <a:pt x="69898" y="330578"/>
                    </a:lnTo>
                    <a:lnTo>
                      <a:pt x="94212" y="310847"/>
                    </a:lnTo>
                    <a:lnTo>
                      <a:pt x="109635" y="302641"/>
                    </a:lnTo>
                    <a:lnTo>
                      <a:pt x="135843" y="303931"/>
                    </a:lnTo>
                    <a:lnTo>
                      <a:pt x="153050" y="294024"/>
                    </a:lnTo>
                    <a:lnTo>
                      <a:pt x="170915" y="290155"/>
                    </a:lnTo>
                    <a:lnTo>
                      <a:pt x="180602" y="282855"/>
                    </a:lnTo>
                    <a:lnTo>
                      <a:pt x="200142" y="282306"/>
                    </a:lnTo>
                    <a:lnTo>
                      <a:pt x="226487" y="273963"/>
                    </a:lnTo>
                    <a:lnTo>
                      <a:pt x="240346" y="265840"/>
                    </a:lnTo>
                    <a:lnTo>
                      <a:pt x="249539" y="255110"/>
                    </a:lnTo>
                    <a:lnTo>
                      <a:pt x="259776" y="236037"/>
                    </a:lnTo>
                    <a:lnTo>
                      <a:pt x="274073" y="223139"/>
                    </a:lnTo>
                    <a:lnTo>
                      <a:pt x="271164" y="214659"/>
                    </a:lnTo>
                    <a:lnTo>
                      <a:pt x="270094" y="204038"/>
                    </a:lnTo>
                    <a:lnTo>
                      <a:pt x="271384" y="197589"/>
                    </a:lnTo>
                    <a:lnTo>
                      <a:pt x="275610" y="191305"/>
                    </a:lnTo>
                    <a:lnTo>
                      <a:pt x="293476" y="173522"/>
                    </a:lnTo>
                    <a:lnTo>
                      <a:pt x="297208" y="181590"/>
                    </a:lnTo>
                    <a:lnTo>
                      <a:pt x="310957" y="198824"/>
                    </a:lnTo>
                    <a:lnTo>
                      <a:pt x="313180" y="193199"/>
                    </a:lnTo>
                    <a:lnTo>
                      <a:pt x="318284" y="190564"/>
                    </a:lnTo>
                    <a:lnTo>
                      <a:pt x="315293" y="183346"/>
                    </a:lnTo>
                    <a:lnTo>
                      <a:pt x="309475" y="176211"/>
                    </a:lnTo>
                    <a:lnTo>
                      <a:pt x="308981" y="170833"/>
                    </a:lnTo>
                    <a:lnTo>
                      <a:pt x="311231" y="166826"/>
                    </a:lnTo>
                    <a:lnTo>
                      <a:pt x="315567" y="164329"/>
                    </a:lnTo>
                    <a:lnTo>
                      <a:pt x="321577" y="166771"/>
                    </a:lnTo>
                    <a:lnTo>
                      <a:pt x="334723" y="167841"/>
                    </a:lnTo>
                    <a:lnTo>
                      <a:pt x="339415" y="160788"/>
                    </a:lnTo>
                    <a:lnTo>
                      <a:pt x="336781" y="151238"/>
                    </a:lnTo>
                    <a:lnTo>
                      <a:pt x="339772" y="139410"/>
                    </a:lnTo>
                    <a:lnTo>
                      <a:pt x="345315" y="137873"/>
                    </a:lnTo>
                    <a:lnTo>
                      <a:pt x="354755" y="130382"/>
                    </a:lnTo>
                    <a:lnTo>
                      <a:pt x="361918" y="129449"/>
                    </a:lnTo>
                    <a:lnTo>
                      <a:pt x="358158" y="114519"/>
                    </a:lnTo>
                    <a:lnTo>
                      <a:pt x="367407" y="113175"/>
                    </a:lnTo>
                    <a:lnTo>
                      <a:pt x="372457" y="109443"/>
                    </a:lnTo>
                    <a:lnTo>
                      <a:pt x="378219" y="113559"/>
                    </a:lnTo>
                    <a:lnTo>
                      <a:pt x="381101" y="113669"/>
                    </a:lnTo>
                    <a:lnTo>
                      <a:pt x="386342" y="99563"/>
                    </a:lnTo>
                    <a:lnTo>
                      <a:pt x="390788" y="101868"/>
                    </a:lnTo>
                    <a:lnTo>
                      <a:pt x="395756" y="100030"/>
                    </a:lnTo>
                    <a:lnTo>
                      <a:pt x="400887" y="101155"/>
                    </a:lnTo>
                    <a:lnTo>
                      <a:pt x="406431" y="93224"/>
                    </a:lnTo>
                    <a:lnTo>
                      <a:pt x="410108" y="91961"/>
                    </a:lnTo>
                    <a:lnTo>
                      <a:pt x="424817" y="98164"/>
                    </a:lnTo>
                    <a:lnTo>
                      <a:pt x="442628" y="116221"/>
                    </a:lnTo>
                    <a:lnTo>
                      <a:pt x="446058" y="129339"/>
                    </a:lnTo>
                    <a:lnTo>
                      <a:pt x="458545" y="122588"/>
                    </a:lnTo>
                    <a:lnTo>
                      <a:pt x="470510" y="125250"/>
                    </a:lnTo>
                    <a:lnTo>
                      <a:pt x="475532" y="128214"/>
                    </a:lnTo>
                    <a:lnTo>
                      <a:pt x="479731" y="125662"/>
                    </a:lnTo>
                    <a:lnTo>
                      <a:pt x="487278" y="127720"/>
                    </a:lnTo>
                    <a:lnTo>
                      <a:pt x="491010" y="120118"/>
                    </a:lnTo>
                    <a:lnTo>
                      <a:pt x="488870" y="115261"/>
                    </a:lnTo>
                    <a:lnTo>
                      <a:pt x="483902" y="110321"/>
                    </a:lnTo>
                    <a:lnTo>
                      <a:pt x="484095" y="105985"/>
                    </a:lnTo>
                    <a:lnTo>
                      <a:pt x="491696" y="96517"/>
                    </a:lnTo>
                    <a:lnTo>
                      <a:pt x="496526" y="84552"/>
                    </a:lnTo>
                    <a:lnTo>
                      <a:pt x="505445" y="78021"/>
                    </a:lnTo>
                    <a:lnTo>
                      <a:pt x="505582" y="68113"/>
                    </a:lnTo>
                    <a:lnTo>
                      <a:pt x="507174" y="65067"/>
                    </a:lnTo>
                    <a:lnTo>
                      <a:pt x="518920" y="52553"/>
                    </a:lnTo>
                    <a:lnTo>
                      <a:pt x="524902" y="51840"/>
                    </a:lnTo>
                    <a:lnTo>
                      <a:pt x="532257" y="43360"/>
                    </a:lnTo>
                    <a:lnTo>
                      <a:pt x="536922" y="41604"/>
                    </a:lnTo>
                    <a:lnTo>
                      <a:pt x="540874" y="43360"/>
                    </a:lnTo>
                    <a:lnTo>
                      <a:pt x="545183" y="45007"/>
                    </a:lnTo>
                    <a:lnTo>
                      <a:pt x="558410" y="45665"/>
                    </a:lnTo>
                    <a:lnTo>
                      <a:pt x="569414" y="43360"/>
                    </a:lnTo>
                    <a:lnTo>
                      <a:pt x="575809" y="39628"/>
                    </a:lnTo>
                    <a:lnTo>
                      <a:pt x="576412" y="36088"/>
                    </a:lnTo>
                    <a:lnTo>
                      <a:pt x="576632" y="32081"/>
                    </a:lnTo>
                    <a:lnTo>
                      <a:pt x="572955" y="23683"/>
                    </a:lnTo>
                    <a:lnTo>
                      <a:pt x="568921" y="21735"/>
                    </a:lnTo>
                    <a:lnTo>
                      <a:pt x="561346" y="21268"/>
                    </a:lnTo>
                    <a:lnTo>
                      <a:pt x="556325" y="16987"/>
                    </a:lnTo>
                    <a:lnTo>
                      <a:pt x="556434" y="15423"/>
                    </a:lnTo>
                    <a:lnTo>
                      <a:pt x="559233" y="14161"/>
                    </a:lnTo>
                    <a:lnTo>
                      <a:pt x="564118" y="16932"/>
                    </a:lnTo>
                    <a:lnTo>
                      <a:pt x="566643" y="12596"/>
                    </a:lnTo>
                    <a:lnTo>
                      <a:pt x="574684" y="16685"/>
                    </a:lnTo>
                    <a:lnTo>
                      <a:pt x="573943" y="12130"/>
                    </a:lnTo>
                    <a:lnTo>
                      <a:pt x="575754" y="9852"/>
                    </a:lnTo>
                    <a:lnTo>
                      <a:pt x="577126" y="14819"/>
                    </a:lnTo>
                    <a:lnTo>
                      <a:pt x="576248" y="18332"/>
                    </a:lnTo>
                    <a:lnTo>
                      <a:pt x="578608" y="20555"/>
                    </a:lnTo>
                    <a:lnTo>
                      <a:pt x="587362" y="20610"/>
                    </a:lnTo>
                    <a:lnTo>
                      <a:pt x="597105" y="29172"/>
                    </a:lnTo>
                    <a:lnTo>
                      <a:pt x="612939" y="31203"/>
                    </a:lnTo>
                    <a:lnTo>
                      <a:pt x="621474" y="36088"/>
                    </a:lnTo>
                    <a:lnTo>
                      <a:pt x="624740" y="38063"/>
                    </a:lnTo>
                    <a:lnTo>
                      <a:pt x="632725" y="38996"/>
                    </a:lnTo>
                    <a:lnTo>
                      <a:pt x="642002" y="37487"/>
                    </a:lnTo>
                    <a:lnTo>
                      <a:pt x="650125" y="43333"/>
                    </a:lnTo>
                    <a:lnTo>
                      <a:pt x="650838" y="43333"/>
                    </a:lnTo>
                    <a:lnTo>
                      <a:pt x="668923" y="36417"/>
                    </a:lnTo>
                    <a:lnTo>
                      <a:pt x="668594" y="43333"/>
                    </a:lnTo>
                    <a:lnTo>
                      <a:pt x="674933" y="44375"/>
                    </a:lnTo>
                    <a:lnTo>
                      <a:pt x="680449" y="50166"/>
                    </a:lnTo>
                    <a:lnTo>
                      <a:pt x="684977" y="47641"/>
                    </a:lnTo>
                    <a:lnTo>
                      <a:pt x="684621" y="43333"/>
                    </a:lnTo>
                    <a:lnTo>
                      <a:pt x="684181" y="41110"/>
                    </a:lnTo>
                    <a:lnTo>
                      <a:pt x="686184" y="37926"/>
                    </a:lnTo>
                    <a:lnTo>
                      <a:pt x="691508" y="38448"/>
                    </a:lnTo>
                    <a:lnTo>
                      <a:pt x="695707" y="43360"/>
                    </a:lnTo>
                    <a:lnTo>
                      <a:pt x="701196" y="45500"/>
                    </a:lnTo>
                    <a:lnTo>
                      <a:pt x="701690" y="49233"/>
                    </a:lnTo>
                    <a:lnTo>
                      <a:pt x="693841" y="60704"/>
                    </a:lnTo>
                    <a:lnTo>
                      <a:pt x="691207" y="71105"/>
                    </a:lnTo>
                    <a:lnTo>
                      <a:pt x="684401" y="72504"/>
                    </a:lnTo>
                    <a:lnTo>
                      <a:pt x="675152" y="77993"/>
                    </a:lnTo>
                    <a:lnTo>
                      <a:pt x="673780" y="84250"/>
                    </a:lnTo>
                    <a:lnTo>
                      <a:pt x="676031" y="91275"/>
                    </a:lnTo>
                    <a:lnTo>
                      <a:pt x="674878" y="96819"/>
                    </a:lnTo>
                    <a:lnTo>
                      <a:pt x="660635" y="122011"/>
                    </a:lnTo>
                    <a:lnTo>
                      <a:pt x="664889" y="129201"/>
                    </a:lnTo>
                    <a:lnTo>
                      <a:pt x="687611" y="146298"/>
                    </a:lnTo>
                    <a:lnTo>
                      <a:pt x="690521" y="146957"/>
                    </a:lnTo>
                    <a:lnTo>
                      <a:pt x="693814" y="145091"/>
                    </a:lnTo>
                    <a:lnTo>
                      <a:pt x="699440" y="153681"/>
                    </a:lnTo>
                    <a:lnTo>
                      <a:pt x="703940" y="155300"/>
                    </a:lnTo>
                    <a:lnTo>
                      <a:pt x="726553" y="166030"/>
                    </a:lnTo>
                    <a:lnTo>
                      <a:pt x="741647" y="179203"/>
                    </a:lnTo>
                    <a:lnTo>
                      <a:pt x="765028" y="187134"/>
                    </a:lnTo>
                    <a:lnTo>
                      <a:pt x="774029" y="199510"/>
                    </a:lnTo>
                    <a:lnTo>
                      <a:pt x="792883" y="209390"/>
                    </a:lnTo>
                    <a:lnTo>
                      <a:pt x="805754" y="209609"/>
                    </a:lnTo>
                    <a:lnTo>
                      <a:pt x="817582" y="203325"/>
                    </a:lnTo>
                    <a:lnTo>
                      <a:pt x="832785" y="171738"/>
                    </a:lnTo>
                    <a:lnTo>
                      <a:pt x="835776" y="161557"/>
                    </a:lnTo>
                    <a:lnTo>
                      <a:pt x="837313" y="147012"/>
                    </a:lnTo>
                    <a:lnTo>
                      <a:pt x="842061" y="132138"/>
                    </a:lnTo>
                    <a:lnTo>
                      <a:pt x="840002" y="113751"/>
                    </a:lnTo>
                    <a:lnTo>
                      <a:pt x="840771" y="101841"/>
                    </a:lnTo>
                    <a:lnTo>
                      <a:pt x="838713" y="91989"/>
                    </a:lnTo>
                    <a:lnTo>
                      <a:pt x="843104" y="76785"/>
                    </a:lnTo>
                    <a:lnTo>
                      <a:pt x="842939" y="66055"/>
                    </a:lnTo>
                    <a:lnTo>
                      <a:pt x="847549" y="57438"/>
                    </a:lnTo>
                    <a:lnTo>
                      <a:pt x="843488" y="50056"/>
                    </a:lnTo>
                    <a:lnTo>
                      <a:pt x="847659" y="40588"/>
                    </a:lnTo>
                    <a:lnTo>
                      <a:pt x="852489" y="35813"/>
                    </a:lnTo>
                    <a:lnTo>
                      <a:pt x="857566" y="8013"/>
                    </a:lnTo>
                    <a:lnTo>
                      <a:pt x="865058" y="576"/>
                    </a:lnTo>
                    <a:lnTo>
                      <a:pt x="868790" y="0"/>
                    </a:lnTo>
                    <a:lnTo>
                      <a:pt x="876282" y="11801"/>
                    </a:lnTo>
                    <a:lnTo>
                      <a:pt x="879328" y="31203"/>
                    </a:lnTo>
                    <a:lnTo>
                      <a:pt x="886189" y="36774"/>
                    </a:lnTo>
                    <a:lnTo>
                      <a:pt x="886628" y="46543"/>
                    </a:lnTo>
                    <a:lnTo>
                      <a:pt x="892638" y="53898"/>
                    </a:lnTo>
                    <a:lnTo>
                      <a:pt x="894230" y="61527"/>
                    </a:lnTo>
                    <a:lnTo>
                      <a:pt x="897605" y="66384"/>
                    </a:lnTo>
                    <a:lnTo>
                      <a:pt x="899252" y="90864"/>
                    </a:lnTo>
                    <a:lnTo>
                      <a:pt x="905509" y="1081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1" name="Freeform: Shape 4570">
                <a:extLst>
                  <a:ext uri="{FF2B5EF4-FFF2-40B4-BE49-F238E27FC236}">
                    <a16:creationId xmlns:a16="http://schemas.microsoft.com/office/drawing/2014/main" id="{4E754A33-0818-E132-5FDA-C91CEE12BC8B}"/>
                  </a:ext>
                </a:extLst>
              </p:cNvPr>
              <p:cNvSpPr/>
              <p:nvPr/>
            </p:nvSpPr>
            <p:spPr>
              <a:xfrm>
                <a:off x="1809076" y="3981147"/>
                <a:ext cx="11369" cy="12317"/>
              </a:xfrm>
              <a:custGeom>
                <a:avLst/>
                <a:gdLst>
                  <a:gd name="connsiteX0" fmla="*/ 9193 w 109003"/>
                  <a:gd name="connsiteY0" fmla="*/ 0 h 118087"/>
                  <a:gd name="connsiteX1" fmla="*/ 12596 w 109003"/>
                  <a:gd name="connsiteY1" fmla="*/ 5845 h 118087"/>
                  <a:gd name="connsiteX2" fmla="*/ 25521 w 109003"/>
                  <a:gd name="connsiteY2" fmla="*/ 8644 h 118087"/>
                  <a:gd name="connsiteX3" fmla="*/ 32245 w 109003"/>
                  <a:gd name="connsiteY3" fmla="*/ 12678 h 118087"/>
                  <a:gd name="connsiteX4" fmla="*/ 44841 w 109003"/>
                  <a:gd name="connsiteY4" fmla="*/ 19265 h 118087"/>
                  <a:gd name="connsiteX5" fmla="*/ 52168 w 109003"/>
                  <a:gd name="connsiteY5" fmla="*/ 19814 h 118087"/>
                  <a:gd name="connsiteX6" fmla="*/ 79611 w 109003"/>
                  <a:gd name="connsiteY6" fmla="*/ 11800 h 118087"/>
                  <a:gd name="connsiteX7" fmla="*/ 81451 w 109003"/>
                  <a:gd name="connsiteY7" fmla="*/ 14023 h 118087"/>
                  <a:gd name="connsiteX8" fmla="*/ 84250 w 109003"/>
                  <a:gd name="connsiteY8" fmla="*/ 12706 h 118087"/>
                  <a:gd name="connsiteX9" fmla="*/ 87982 w 109003"/>
                  <a:gd name="connsiteY9" fmla="*/ 8041 h 118087"/>
                  <a:gd name="connsiteX10" fmla="*/ 94294 w 109003"/>
                  <a:gd name="connsiteY10" fmla="*/ 8946 h 118087"/>
                  <a:gd name="connsiteX11" fmla="*/ 98575 w 109003"/>
                  <a:gd name="connsiteY11" fmla="*/ 4390 h 118087"/>
                  <a:gd name="connsiteX12" fmla="*/ 101539 w 109003"/>
                  <a:gd name="connsiteY12" fmla="*/ 5077 h 118087"/>
                  <a:gd name="connsiteX13" fmla="*/ 107960 w 109003"/>
                  <a:gd name="connsiteY13" fmla="*/ 12459 h 118087"/>
                  <a:gd name="connsiteX14" fmla="*/ 107274 w 109003"/>
                  <a:gd name="connsiteY14" fmla="*/ 19759 h 118087"/>
                  <a:gd name="connsiteX15" fmla="*/ 109003 w 109003"/>
                  <a:gd name="connsiteY15" fmla="*/ 25412 h 118087"/>
                  <a:gd name="connsiteX16" fmla="*/ 107164 w 109003"/>
                  <a:gd name="connsiteY16" fmla="*/ 32081 h 118087"/>
                  <a:gd name="connsiteX17" fmla="*/ 108509 w 109003"/>
                  <a:gd name="connsiteY17" fmla="*/ 57383 h 118087"/>
                  <a:gd name="connsiteX18" fmla="*/ 101566 w 109003"/>
                  <a:gd name="connsiteY18" fmla="*/ 57163 h 118087"/>
                  <a:gd name="connsiteX19" fmla="*/ 99508 w 109003"/>
                  <a:gd name="connsiteY19" fmla="*/ 63064 h 118087"/>
                  <a:gd name="connsiteX20" fmla="*/ 99645 w 109003"/>
                  <a:gd name="connsiteY20" fmla="*/ 66329 h 118087"/>
                  <a:gd name="connsiteX21" fmla="*/ 95693 w 109003"/>
                  <a:gd name="connsiteY21" fmla="*/ 84853 h 118087"/>
                  <a:gd name="connsiteX22" fmla="*/ 98685 w 109003"/>
                  <a:gd name="connsiteY22" fmla="*/ 90067 h 118087"/>
                  <a:gd name="connsiteX23" fmla="*/ 97340 w 109003"/>
                  <a:gd name="connsiteY23" fmla="*/ 93169 h 118087"/>
                  <a:gd name="connsiteX24" fmla="*/ 97861 w 109003"/>
                  <a:gd name="connsiteY24" fmla="*/ 99755 h 118087"/>
                  <a:gd name="connsiteX25" fmla="*/ 92784 w 109003"/>
                  <a:gd name="connsiteY25" fmla="*/ 101648 h 118087"/>
                  <a:gd name="connsiteX26" fmla="*/ 87927 w 109003"/>
                  <a:gd name="connsiteY26" fmla="*/ 93169 h 118087"/>
                  <a:gd name="connsiteX27" fmla="*/ 90507 w 109003"/>
                  <a:gd name="connsiteY27" fmla="*/ 91138 h 118087"/>
                  <a:gd name="connsiteX28" fmla="*/ 90589 w 109003"/>
                  <a:gd name="connsiteY28" fmla="*/ 93169 h 118087"/>
                  <a:gd name="connsiteX29" fmla="*/ 93443 w 109003"/>
                  <a:gd name="connsiteY29" fmla="*/ 94897 h 118087"/>
                  <a:gd name="connsiteX30" fmla="*/ 94541 w 109003"/>
                  <a:gd name="connsiteY30" fmla="*/ 93169 h 118087"/>
                  <a:gd name="connsiteX31" fmla="*/ 92235 w 109003"/>
                  <a:gd name="connsiteY31" fmla="*/ 89519 h 118087"/>
                  <a:gd name="connsiteX32" fmla="*/ 86472 w 109003"/>
                  <a:gd name="connsiteY32" fmla="*/ 87159 h 118087"/>
                  <a:gd name="connsiteX33" fmla="*/ 84853 w 109003"/>
                  <a:gd name="connsiteY33" fmla="*/ 89025 h 118087"/>
                  <a:gd name="connsiteX34" fmla="*/ 85155 w 109003"/>
                  <a:gd name="connsiteY34" fmla="*/ 93169 h 118087"/>
                  <a:gd name="connsiteX35" fmla="*/ 83536 w 109003"/>
                  <a:gd name="connsiteY35" fmla="*/ 93169 h 118087"/>
                  <a:gd name="connsiteX36" fmla="*/ 80682 w 109003"/>
                  <a:gd name="connsiteY36" fmla="*/ 88311 h 118087"/>
                  <a:gd name="connsiteX37" fmla="*/ 78432 w 109003"/>
                  <a:gd name="connsiteY37" fmla="*/ 96379 h 118087"/>
                  <a:gd name="connsiteX38" fmla="*/ 80216 w 109003"/>
                  <a:gd name="connsiteY38" fmla="*/ 95666 h 118087"/>
                  <a:gd name="connsiteX39" fmla="*/ 81423 w 109003"/>
                  <a:gd name="connsiteY39" fmla="*/ 98026 h 118087"/>
                  <a:gd name="connsiteX40" fmla="*/ 82247 w 109003"/>
                  <a:gd name="connsiteY40" fmla="*/ 103048 h 118087"/>
                  <a:gd name="connsiteX41" fmla="*/ 80106 w 109003"/>
                  <a:gd name="connsiteY41" fmla="*/ 103542 h 118087"/>
                  <a:gd name="connsiteX42" fmla="*/ 80106 w 109003"/>
                  <a:gd name="connsiteY42" fmla="*/ 100661 h 118087"/>
                  <a:gd name="connsiteX43" fmla="*/ 78103 w 109003"/>
                  <a:gd name="connsiteY43" fmla="*/ 99700 h 118087"/>
                  <a:gd name="connsiteX44" fmla="*/ 76676 w 109003"/>
                  <a:gd name="connsiteY44" fmla="*/ 102856 h 118087"/>
                  <a:gd name="connsiteX45" fmla="*/ 72257 w 109003"/>
                  <a:gd name="connsiteY45" fmla="*/ 104860 h 118087"/>
                  <a:gd name="connsiteX46" fmla="*/ 67208 w 109003"/>
                  <a:gd name="connsiteY46" fmla="*/ 116797 h 118087"/>
                  <a:gd name="connsiteX47" fmla="*/ 60978 w 109003"/>
                  <a:gd name="connsiteY47" fmla="*/ 118087 h 118087"/>
                  <a:gd name="connsiteX48" fmla="*/ 56615 w 109003"/>
                  <a:gd name="connsiteY48" fmla="*/ 114437 h 118087"/>
                  <a:gd name="connsiteX49" fmla="*/ 41877 w 109003"/>
                  <a:gd name="connsiteY49" fmla="*/ 114684 h 118087"/>
                  <a:gd name="connsiteX50" fmla="*/ 39133 w 109003"/>
                  <a:gd name="connsiteY50" fmla="*/ 103268 h 118087"/>
                  <a:gd name="connsiteX51" fmla="*/ 35539 w 109003"/>
                  <a:gd name="connsiteY51" fmla="*/ 103789 h 118087"/>
                  <a:gd name="connsiteX52" fmla="*/ 28897 w 109003"/>
                  <a:gd name="connsiteY52" fmla="*/ 93169 h 118087"/>
                  <a:gd name="connsiteX53" fmla="*/ 25138 w 109003"/>
                  <a:gd name="connsiteY53" fmla="*/ 90753 h 118087"/>
                  <a:gd name="connsiteX54" fmla="*/ 19841 w 109003"/>
                  <a:gd name="connsiteY54" fmla="*/ 77800 h 118087"/>
                  <a:gd name="connsiteX55" fmla="*/ 18057 w 109003"/>
                  <a:gd name="connsiteY55" fmla="*/ 72038 h 118087"/>
                  <a:gd name="connsiteX56" fmla="*/ 16960 w 109003"/>
                  <a:gd name="connsiteY56" fmla="*/ 66357 h 118087"/>
                  <a:gd name="connsiteX57" fmla="*/ 17152 w 109003"/>
                  <a:gd name="connsiteY57" fmla="*/ 62488 h 118087"/>
                  <a:gd name="connsiteX58" fmla="*/ 20609 w 109003"/>
                  <a:gd name="connsiteY58" fmla="*/ 66357 h 118087"/>
                  <a:gd name="connsiteX59" fmla="*/ 25330 w 109003"/>
                  <a:gd name="connsiteY59" fmla="*/ 70035 h 118087"/>
                  <a:gd name="connsiteX60" fmla="*/ 25741 w 109003"/>
                  <a:gd name="connsiteY60" fmla="*/ 66357 h 118087"/>
                  <a:gd name="connsiteX61" fmla="*/ 24534 w 109003"/>
                  <a:gd name="connsiteY61" fmla="*/ 66357 h 118087"/>
                  <a:gd name="connsiteX62" fmla="*/ 20253 w 109003"/>
                  <a:gd name="connsiteY62" fmla="*/ 59194 h 118087"/>
                  <a:gd name="connsiteX63" fmla="*/ 18633 w 109003"/>
                  <a:gd name="connsiteY63" fmla="*/ 61335 h 118087"/>
                  <a:gd name="connsiteX64" fmla="*/ 16438 w 109003"/>
                  <a:gd name="connsiteY64" fmla="*/ 51428 h 118087"/>
                  <a:gd name="connsiteX65" fmla="*/ 8617 w 109003"/>
                  <a:gd name="connsiteY65" fmla="*/ 41027 h 118087"/>
                  <a:gd name="connsiteX66" fmla="*/ 4281 w 109003"/>
                  <a:gd name="connsiteY66" fmla="*/ 31120 h 118087"/>
                  <a:gd name="connsiteX67" fmla="*/ 0 w 109003"/>
                  <a:gd name="connsiteY67" fmla="*/ 12678 h 118087"/>
                  <a:gd name="connsiteX68" fmla="*/ 1893 w 109003"/>
                  <a:gd name="connsiteY68" fmla="*/ 7272 h 118087"/>
                  <a:gd name="connsiteX69" fmla="*/ 1701 w 109003"/>
                  <a:gd name="connsiteY69" fmla="*/ 137 h 118087"/>
                  <a:gd name="connsiteX70" fmla="*/ 5653 w 109003"/>
                  <a:gd name="connsiteY70" fmla="*/ 2744 h 118087"/>
                  <a:gd name="connsiteX71" fmla="*/ 9248 w 109003"/>
                  <a:gd name="connsiteY71" fmla="*/ 0 h 11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9003" h="118087">
                    <a:moveTo>
                      <a:pt x="9193" y="0"/>
                    </a:moveTo>
                    <a:lnTo>
                      <a:pt x="12596" y="5845"/>
                    </a:lnTo>
                    <a:lnTo>
                      <a:pt x="25521" y="8644"/>
                    </a:lnTo>
                    <a:lnTo>
                      <a:pt x="32245" y="12678"/>
                    </a:lnTo>
                    <a:lnTo>
                      <a:pt x="44841" y="19265"/>
                    </a:lnTo>
                    <a:lnTo>
                      <a:pt x="52168" y="19814"/>
                    </a:lnTo>
                    <a:lnTo>
                      <a:pt x="79611" y="11800"/>
                    </a:lnTo>
                    <a:lnTo>
                      <a:pt x="81451" y="14023"/>
                    </a:lnTo>
                    <a:lnTo>
                      <a:pt x="84250" y="12706"/>
                    </a:lnTo>
                    <a:lnTo>
                      <a:pt x="87982" y="8041"/>
                    </a:lnTo>
                    <a:lnTo>
                      <a:pt x="94294" y="8946"/>
                    </a:lnTo>
                    <a:lnTo>
                      <a:pt x="98575" y="4390"/>
                    </a:lnTo>
                    <a:lnTo>
                      <a:pt x="101539" y="5077"/>
                    </a:lnTo>
                    <a:lnTo>
                      <a:pt x="107960" y="12459"/>
                    </a:lnTo>
                    <a:lnTo>
                      <a:pt x="107274" y="19759"/>
                    </a:lnTo>
                    <a:lnTo>
                      <a:pt x="109003" y="25412"/>
                    </a:lnTo>
                    <a:lnTo>
                      <a:pt x="107164" y="32081"/>
                    </a:lnTo>
                    <a:lnTo>
                      <a:pt x="108509" y="57383"/>
                    </a:lnTo>
                    <a:lnTo>
                      <a:pt x="101566" y="57163"/>
                    </a:lnTo>
                    <a:lnTo>
                      <a:pt x="99508" y="63064"/>
                    </a:lnTo>
                    <a:lnTo>
                      <a:pt x="99645" y="66329"/>
                    </a:lnTo>
                    <a:lnTo>
                      <a:pt x="95693" y="84853"/>
                    </a:lnTo>
                    <a:lnTo>
                      <a:pt x="98685" y="90067"/>
                    </a:lnTo>
                    <a:lnTo>
                      <a:pt x="97340" y="93169"/>
                    </a:lnTo>
                    <a:lnTo>
                      <a:pt x="97861" y="99755"/>
                    </a:lnTo>
                    <a:lnTo>
                      <a:pt x="92784" y="101648"/>
                    </a:lnTo>
                    <a:lnTo>
                      <a:pt x="87927" y="93169"/>
                    </a:lnTo>
                    <a:lnTo>
                      <a:pt x="90507" y="91138"/>
                    </a:lnTo>
                    <a:lnTo>
                      <a:pt x="90589" y="93169"/>
                    </a:lnTo>
                    <a:lnTo>
                      <a:pt x="93443" y="94897"/>
                    </a:lnTo>
                    <a:lnTo>
                      <a:pt x="94541" y="93169"/>
                    </a:lnTo>
                    <a:lnTo>
                      <a:pt x="92235" y="89519"/>
                    </a:lnTo>
                    <a:lnTo>
                      <a:pt x="86472" y="87159"/>
                    </a:lnTo>
                    <a:lnTo>
                      <a:pt x="84853" y="89025"/>
                    </a:lnTo>
                    <a:lnTo>
                      <a:pt x="85155" y="93169"/>
                    </a:lnTo>
                    <a:lnTo>
                      <a:pt x="83536" y="93169"/>
                    </a:lnTo>
                    <a:lnTo>
                      <a:pt x="80682" y="88311"/>
                    </a:lnTo>
                    <a:lnTo>
                      <a:pt x="78432" y="96379"/>
                    </a:lnTo>
                    <a:lnTo>
                      <a:pt x="80216" y="95666"/>
                    </a:lnTo>
                    <a:lnTo>
                      <a:pt x="81423" y="98026"/>
                    </a:lnTo>
                    <a:lnTo>
                      <a:pt x="82247" y="103048"/>
                    </a:lnTo>
                    <a:lnTo>
                      <a:pt x="80106" y="103542"/>
                    </a:lnTo>
                    <a:lnTo>
                      <a:pt x="80106" y="100661"/>
                    </a:lnTo>
                    <a:cubicBezTo>
                      <a:pt x="80106" y="100661"/>
                      <a:pt x="78103" y="99700"/>
                      <a:pt x="78103" y="99700"/>
                    </a:cubicBezTo>
                    <a:lnTo>
                      <a:pt x="76676" y="102856"/>
                    </a:lnTo>
                    <a:lnTo>
                      <a:pt x="72257" y="104860"/>
                    </a:lnTo>
                    <a:lnTo>
                      <a:pt x="67208" y="116797"/>
                    </a:lnTo>
                    <a:lnTo>
                      <a:pt x="60978" y="118087"/>
                    </a:lnTo>
                    <a:lnTo>
                      <a:pt x="56615" y="114437"/>
                    </a:lnTo>
                    <a:lnTo>
                      <a:pt x="41877" y="114684"/>
                    </a:lnTo>
                    <a:lnTo>
                      <a:pt x="39133" y="103268"/>
                    </a:lnTo>
                    <a:lnTo>
                      <a:pt x="35539" y="103789"/>
                    </a:lnTo>
                    <a:lnTo>
                      <a:pt x="28897" y="93169"/>
                    </a:lnTo>
                    <a:lnTo>
                      <a:pt x="25138" y="90753"/>
                    </a:lnTo>
                    <a:lnTo>
                      <a:pt x="19841" y="77800"/>
                    </a:lnTo>
                    <a:lnTo>
                      <a:pt x="18057" y="72038"/>
                    </a:lnTo>
                    <a:lnTo>
                      <a:pt x="16960" y="66357"/>
                    </a:lnTo>
                    <a:lnTo>
                      <a:pt x="17152" y="62488"/>
                    </a:lnTo>
                    <a:lnTo>
                      <a:pt x="20609" y="66357"/>
                    </a:lnTo>
                    <a:lnTo>
                      <a:pt x="25330" y="70035"/>
                    </a:lnTo>
                    <a:lnTo>
                      <a:pt x="25741" y="66357"/>
                    </a:lnTo>
                    <a:lnTo>
                      <a:pt x="24534" y="66357"/>
                    </a:lnTo>
                    <a:lnTo>
                      <a:pt x="20253" y="59194"/>
                    </a:lnTo>
                    <a:lnTo>
                      <a:pt x="18633" y="61335"/>
                    </a:lnTo>
                    <a:lnTo>
                      <a:pt x="16438" y="51428"/>
                    </a:lnTo>
                    <a:lnTo>
                      <a:pt x="8617" y="41027"/>
                    </a:lnTo>
                    <a:lnTo>
                      <a:pt x="4281" y="31120"/>
                    </a:lnTo>
                    <a:lnTo>
                      <a:pt x="0" y="12678"/>
                    </a:lnTo>
                    <a:lnTo>
                      <a:pt x="1893" y="7272"/>
                    </a:lnTo>
                    <a:lnTo>
                      <a:pt x="1701" y="137"/>
                    </a:lnTo>
                    <a:lnTo>
                      <a:pt x="5653" y="2744"/>
                    </a:lnTo>
                    <a:lnTo>
                      <a:pt x="924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2" name="Freeform: Shape 4571">
                <a:extLst>
                  <a:ext uri="{FF2B5EF4-FFF2-40B4-BE49-F238E27FC236}">
                    <a16:creationId xmlns:a16="http://schemas.microsoft.com/office/drawing/2014/main" id="{33190EB7-C0A6-939D-5818-92354846D0D8}"/>
                  </a:ext>
                </a:extLst>
              </p:cNvPr>
              <p:cNvSpPr/>
              <p:nvPr/>
            </p:nvSpPr>
            <p:spPr>
              <a:xfrm>
                <a:off x="1764326" y="3878982"/>
                <a:ext cx="4525" cy="2321"/>
              </a:xfrm>
              <a:custGeom>
                <a:avLst/>
                <a:gdLst>
                  <a:gd name="connsiteX0" fmla="*/ 15286 w 43387"/>
                  <a:gd name="connsiteY0" fmla="*/ 5735 h 22256"/>
                  <a:gd name="connsiteX1" fmla="*/ 19430 w 43387"/>
                  <a:gd name="connsiteY1" fmla="*/ 6120 h 22256"/>
                  <a:gd name="connsiteX2" fmla="*/ 23655 w 43387"/>
                  <a:gd name="connsiteY2" fmla="*/ 5104 h 22256"/>
                  <a:gd name="connsiteX3" fmla="*/ 25138 w 43387"/>
                  <a:gd name="connsiteY3" fmla="*/ 3787 h 22256"/>
                  <a:gd name="connsiteX4" fmla="*/ 29007 w 43387"/>
                  <a:gd name="connsiteY4" fmla="*/ 5461 h 22256"/>
                  <a:gd name="connsiteX5" fmla="*/ 31532 w 43387"/>
                  <a:gd name="connsiteY5" fmla="*/ 2305 h 22256"/>
                  <a:gd name="connsiteX6" fmla="*/ 33315 w 43387"/>
                  <a:gd name="connsiteY6" fmla="*/ 2909 h 22256"/>
                  <a:gd name="connsiteX7" fmla="*/ 35593 w 43387"/>
                  <a:gd name="connsiteY7" fmla="*/ 329 h 22256"/>
                  <a:gd name="connsiteX8" fmla="*/ 37487 w 43387"/>
                  <a:gd name="connsiteY8" fmla="*/ 1976 h 22256"/>
                  <a:gd name="connsiteX9" fmla="*/ 40423 w 43387"/>
                  <a:gd name="connsiteY9" fmla="*/ 2278 h 22256"/>
                  <a:gd name="connsiteX10" fmla="*/ 43388 w 43387"/>
                  <a:gd name="connsiteY10" fmla="*/ 7959 h 22256"/>
                  <a:gd name="connsiteX11" fmla="*/ 41521 w 43387"/>
                  <a:gd name="connsiteY11" fmla="*/ 12157 h 22256"/>
                  <a:gd name="connsiteX12" fmla="*/ 26867 w 43387"/>
                  <a:gd name="connsiteY12" fmla="*/ 22256 h 22256"/>
                  <a:gd name="connsiteX13" fmla="*/ 18112 w 43387"/>
                  <a:gd name="connsiteY13" fmla="*/ 18030 h 22256"/>
                  <a:gd name="connsiteX14" fmla="*/ 14572 w 43387"/>
                  <a:gd name="connsiteY14" fmla="*/ 19320 h 22256"/>
                  <a:gd name="connsiteX15" fmla="*/ 0 w 43387"/>
                  <a:gd name="connsiteY15" fmla="*/ 18524 h 22256"/>
                  <a:gd name="connsiteX16" fmla="*/ 1015 w 43387"/>
                  <a:gd name="connsiteY16" fmla="*/ 15532 h 22256"/>
                  <a:gd name="connsiteX17" fmla="*/ 4610 w 43387"/>
                  <a:gd name="connsiteY17" fmla="*/ 14517 h 22256"/>
                  <a:gd name="connsiteX18" fmla="*/ 3979 w 43387"/>
                  <a:gd name="connsiteY18" fmla="*/ 8315 h 22256"/>
                  <a:gd name="connsiteX19" fmla="*/ 10154 w 43387"/>
                  <a:gd name="connsiteY19" fmla="*/ 3074 h 22256"/>
                  <a:gd name="connsiteX20" fmla="*/ 10757 w 43387"/>
                  <a:gd name="connsiteY20" fmla="*/ 0 h 22256"/>
                  <a:gd name="connsiteX21" fmla="*/ 13667 w 43387"/>
                  <a:gd name="connsiteY21" fmla="*/ 2717 h 22256"/>
                  <a:gd name="connsiteX22" fmla="*/ 16356 w 43387"/>
                  <a:gd name="connsiteY22" fmla="*/ 4199 h 22256"/>
                  <a:gd name="connsiteX23" fmla="*/ 15395 w 43387"/>
                  <a:gd name="connsiteY23" fmla="*/ 5790 h 22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387" h="22256">
                    <a:moveTo>
                      <a:pt x="15286" y="5735"/>
                    </a:moveTo>
                    <a:lnTo>
                      <a:pt x="19430" y="6120"/>
                    </a:lnTo>
                    <a:lnTo>
                      <a:pt x="23655" y="5104"/>
                    </a:lnTo>
                    <a:lnTo>
                      <a:pt x="25138" y="3787"/>
                    </a:lnTo>
                    <a:lnTo>
                      <a:pt x="29007" y="5461"/>
                    </a:lnTo>
                    <a:lnTo>
                      <a:pt x="31532" y="2305"/>
                    </a:lnTo>
                    <a:lnTo>
                      <a:pt x="33315" y="2909"/>
                    </a:lnTo>
                    <a:lnTo>
                      <a:pt x="35593" y="329"/>
                    </a:lnTo>
                    <a:lnTo>
                      <a:pt x="37487" y="1976"/>
                    </a:lnTo>
                    <a:lnTo>
                      <a:pt x="40423" y="2278"/>
                    </a:lnTo>
                    <a:lnTo>
                      <a:pt x="43388" y="7959"/>
                    </a:lnTo>
                    <a:lnTo>
                      <a:pt x="41521" y="12157"/>
                    </a:lnTo>
                    <a:lnTo>
                      <a:pt x="26867" y="22256"/>
                    </a:lnTo>
                    <a:lnTo>
                      <a:pt x="18112" y="18030"/>
                    </a:lnTo>
                    <a:lnTo>
                      <a:pt x="14572" y="19320"/>
                    </a:lnTo>
                    <a:lnTo>
                      <a:pt x="0" y="18524"/>
                    </a:lnTo>
                    <a:lnTo>
                      <a:pt x="1015" y="15532"/>
                    </a:lnTo>
                    <a:lnTo>
                      <a:pt x="4610" y="14517"/>
                    </a:lnTo>
                    <a:lnTo>
                      <a:pt x="3979" y="8315"/>
                    </a:lnTo>
                    <a:lnTo>
                      <a:pt x="10154" y="3074"/>
                    </a:lnTo>
                    <a:lnTo>
                      <a:pt x="10757" y="0"/>
                    </a:lnTo>
                    <a:lnTo>
                      <a:pt x="13667" y="2717"/>
                    </a:lnTo>
                    <a:lnTo>
                      <a:pt x="16356" y="4199"/>
                    </a:lnTo>
                    <a:lnTo>
                      <a:pt x="15395" y="57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3" name="Freeform: Shape 4572">
                <a:extLst>
                  <a:ext uri="{FF2B5EF4-FFF2-40B4-BE49-F238E27FC236}">
                    <a16:creationId xmlns:a16="http://schemas.microsoft.com/office/drawing/2014/main" id="{DCED6EBD-12E6-D2DF-D729-46970490B804}"/>
                  </a:ext>
                </a:extLst>
              </p:cNvPr>
              <p:cNvSpPr/>
              <p:nvPr/>
            </p:nvSpPr>
            <p:spPr>
              <a:xfrm>
                <a:off x="1784317" y="3961414"/>
                <a:ext cx="3669" cy="1740"/>
              </a:xfrm>
              <a:custGeom>
                <a:avLst/>
                <a:gdLst>
                  <a:gd name="connsiteX0" fmla="*/ 35154 w 35181"/>
                  <a:gd name="connsiteY0" fmla="*/ 6394 h 16685"/>
                  <a:gd name="connsiteX1" fmla="*/ 27223 w 35181"/>
                  <a:gd name="connsiteY1" fmla="*/ 16247 h 16685"/>
                  <a:gd name="connsiteX2" fmla="*/ 20225 w 35181"/>
                  <a:gd name="connsiteY2" fmla="*/ 14545 h 16685"/>
                  <a:gd name="connsiteX3" fmla="*/ 10593 w 35181"/>
                  <a:gd name="connsiteY3" fmla="*/ 16274 h 16685"/>
                  <a:gd name="connsiteX4" fmla="*/ 5845 w 35181"/>
                  <a:gd name="connsiteY4" fmla="*/ 16603 h 16685"/>
                  <a:gd name="connsiteX5" fmla="*/ 4583 w 35181"/>
                  <a:gd name="connsiteY5" fmla="*/ 16686 h 16685"/>
                  <a:gd name="connsiteX6" fmla="*/ 109 w 35181"/>
                  <a:gd name="connsiteY6" fmla="*/ 11993 h 16685"/>
                  <a:gd name="connsiteX7" fmla="*/ 0 w 35181"/>
                  <a:gd name="connsiteY7" fmla="*/ 9194 h 16685"/>
                  <a:gd name="connsiteX8" fmla="*/ 1674 w 35181"/>
                  <a:gd name="connsiteY8" fmla="*/ 5873 h 16685"/>
                  <a:gd name="connsiteX9" fmla="*/ 5873 w 35181"/>
                  <a:gd name="connsiteY9" fmla="*/ 4857 h 16685"/>
                  <a:gd name="connsiteX10" fmla="*/ 10620 w 35181"/>
                  <a:gd name="connsiteY10" fmla="*/ 3678 h 16685"/>
                  <a:gd name="connsiteX11" fmla="*/ 27772 w 35181"/>
                  <a:gd name="connsiteY11" fmla="*/ 0 h 16685"/>
                  <a:gd name="connsiteX12" fmla="*/ 35181 w 35181"/>
                  <a:gd name="connsiteY12" fmla="*/ 6422 h 1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181" h="16685">
                    <a:moveTo>
                      <a:pt x="35154" y="6394"/>
                    </a:moveTo>
                    <a:lnTo>
                      <a:pt x="27223" y="16247"/>
                    </a:lnTo>
                    <a:lnTo>
                      <a:pt x="20225" y="14545"/>
                    </a:lnTo>
                    <a:lnTo>
                      <a:pt x="10593" y="16274"/>
                    </a:lnTo>
                    <a:lnTo>
                      <a:pt x="5845" y="16603"/>
                    </a:lnTo>
                    <a:lnTo>
                      <a:pt x="4583" y="16686"/>
                    </a:lnTo>
                    <a:lnTo>
                      <a:pt x="109" y="11993"/>
                    </a:lnTo>
                    <a:lnTo>
                      <a:pt x="0" y="9194"/>
                    </a:lnTo>
                    <a:lnTo>
                      <a:pt x="1674" y="5873"/>
                    </a:lnTo>
                    <a:lnTo>
                      <a:pt x="5873" y="4857"/>
                    </a:lnTo>
                    <a:lnTo>
                      <a:pt x="10620" y="3678"/>
                    </a:lnTo>
                    <a:lnTo>
                      <a:pt x="27772" y="0"/>
                    </a:lnTo>
                    <a:lnTo>
                      <a:pt x="35181" y="64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4" name="Freeform: Shape 4573">
                <a:extLst>
                  <a:ext uri="{FF2B5EF4-FFF2-40B4-BE49-F238E27FC236}">
                    <a16:creationId xmlns:a16="http://schemas.microsoft.com/office/drawing/2014/main" id="{1140FDBA-D3AB-F33C-6423-BE8F50743EC0}"/>
                  </a:ext>
                </a:extLst>
              </p:cNvPr>
              <p:cNvSpPr/>
              <p:nvPr/>
            </p:nvSpPr>
            <p:spPr>
              <a:xfrm>
                <a:off x="1783870" y="3886776"/>
                <a:ext cx="1589" cy="1986"/>
              </a:xfrm>
              <a:custGeom>
                <a:avLst/>
                <a:gdLst>
                  <a:gd name="connsiteX0" fmla="*/ 8452 w 15230"/>
                  <a:gd name="connsiteY0" fmla="*/ 110 h 19045"/>
                  <a:gd name="connsiteX1" fmla="*/ 10154 w 15230"/>
                  <a:gd name="connsiteY1" fmla="*/ 5351 h 19045"/>
                  <a:gd name="connsiteX2" fmla="*/ 12596 w 15230"/>
                  <a:gd name="connsiteY2" fmla="*/ 3238 h 19045"/>
                  <a:gd name="connsiteX3" fmla="*/ 14243 w 15230"/>
                  <a:gd name="connsiteY3" fmla="*/ 4308 h 19045"/>
                  <a:gd name="connsiteX4" fmla="*/ 10154 w 15230"/>
                  <a:gd name="connsiteY4" fmla="*/ 11855 h 19045"/>
                  <a:gd name="connsiteX5" fmla="*/ 8452 w 15230"/>
                  <a:gd name="connsiteY5" fmla="*/ 13776 h 19045"/>
                  <a:gd name="connsiteX6" fmla="*/ 9138 w 15230"/>
                  <a:gd name="connsiteY6" fmla="*/ 15835 h 19045"/>
                  <a:gd name="connsiteX7" fmla="*/ 10126 w 15230"/>
                  <a:gd name="connsiteY7" fmla="*/ 15286 h 19045"/>
                  <a:gd name="connsiteX8" fmla="*/ 11169 w 15230"/>
                  <a:gd name="connsiteY8" fmla="*/ 14682 h 19045"/>
                  <a:gd name="connsiteX9" fmla="*/ 12898 w 15230"/>
                  <a:gd name="connsiteY9" fmla="*/ 16356 h 19045"/>
                  <a:gd name="connsiteX10" fmla="*/ 14874 w 15230"/>
                  <a:gd name="connsiteY10" fmla="*/ 15066 h 19045"/>
                  <a:gd name="connsiteX11" fmla="*/ 15231 w 15230"/>
                  <a:gd name="connsiteY11" fmla="*/ 17920 h 19045"/>
                  <a:gd name="connsiteX12" fmla="*/ 15231 w 15230"/>
                  <a:gd name="connsiteY12" fmla="*/ 18908 h 19045"/>
                  <a:gd name="connsiteX13" fmla="*/ 14874 w 15230"/>
                  <a:gd name="connsiteY13" fmla="*/ 19045 h 19045"/>
                  <a:gd name="connsiteX14" fmla="*/ 10126 w 15230"/>
                  <a:gd name="connsiteY14" fmla="*/ 18222 h 19045"/>
                  <a:gd name="connsiteX15" fmla="*/ 6778 w 15230"/>
                  <a:gd name="connsiteY15" fmla="*/ 18743 h 19045"/>
                  <a:gd name="connsiteX16" fmla="*/ 988 w 15230"/>
                  <a:gd name="connsiteY16" fmla="*/ 16438 h 19045"/>
                  <a:gd name="connsiteX17" fmla="*/ 0 w 15230"/>
                  <a:gd name="connsiteY17" fmla="*/ 9550 h 19045"/>
                  <a:gd name="connsiteX18" fmla="*/ 2250 w 15230"/>
                  <a:gd name="connsiteY18" fmla="*/ 2388 h 19045"/>
                  <a:gd name="connsiteX19" fmla="*/ 5159 w 15230"/>
                  <a:gd name="connsiteY19" fmla="*/ 3156 h 19045"/>
                  <a:gd name="connsiteX20" fmla="*/ 5735 w 15230"/>
                  <a:gd name="connsiteY20" fmla="*/ 0 h 19045"/>
                  <a:gd name="connsiteX21" fmla="*/ 8479 w 15230"/>
                  <a:gd name="connsiteY21" fmla="*/ 137 h 1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230" h="19045">
                    <a:moveTo>
                      <a:pt x="8452" y="110"/>
                    </a:moveTo>
                    <a:lnTo>
                      <a:pt x="10154" y="5351"/>
                    </a:lnTo>
                    <a:lnTo>
                      <a:pt x="12596" y="3238"/>
                    </a:lnTo>
                    <a:lnTo>
                      <a:pt x="14243" y="4308"/>
                    </a:lnTo>
                    <a:lnTo>
                      <a:pt x="10154" y="11855"/>
                    </a:lnTo>
                    <a:lnTo>
                      <a:pt x="8452" y="13776"/>
                    </a:lnTo>
                    <a:lnTo>
                      <a:pt x="9138" y="15835"/>
                    </a:lnTo>
                    <a:lnTo>
                      <a:pt x="10126" y="15286"/>
                    </a:lnTo>
                    <a:lnTo>
                      <a:pt x="11169" y="14682"/>
                    </a:lnTo>
                    <a:lnTo>
                      <a:pt x="12898" y="16356"/>
                    </a:lnTo>
                    <a:lnTo>
                      <a:pt x="14874" y="15066"/>
                    </a:lnTo>
                    <a:lnTo>
                      <a:pt x="15231" y="17920"/>
                    </a:lnTo>
                    <a:lnTo>
                      <a:pt x="15231" y="18908"/>
                    </a:lnTo>
                    <a:cubicBezTo>
                      <a:pt x="15231" y="18908"/>
                      <a:pt x="14874" y="19045"/>
                      <a:pt x="14874" y="19045"/>
                    </a:cubicBezTo>
                    <a:lnTo>
                      <a:pt x="10126" y="18222"/>
                    </a:lnTo>
                    <a:lnTo>
                      <a:pt x="6778" y="18743"/>
                    </a:lnTo>
                    <a:lnTo>
                      <a:pt x="988" y="16438"/>
                    </a:lnTo>
                    <a:lnTo>
                      <a:pt x="0" y="9550"/>
                    </a:lnTo>
                    <a:lnTo>
                      <a:pt x="2250" y="2388"/>
                    </a:lnTo>
                    <a:lnTo>
                      <a:pt x="5159" y="3156"/>
                    </a:lnTo>
                    <a:lnTo>
                      <a:pt x="5735" y="0"/>
                    </a:lnTo>
                    <a:lnTo>
                      <a:pt x="8479" y="1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5" name="Freeform: Shape 4574">
                <a:extLst>
                  <a:ext uri="{FF2B5EF4-FFF2-40B4-BE49-F238E27FC236}">
                    <a16:creationId xmlns:a16="http://schemas.microsoft.com/office/drawing/2014/main" id="{F28C4EDF-88E0-77BD-F8E3-1ABA693A2BFE}"/>
                  </a:ext>
                </a:extLst>
              </p:cNvPr>
              <p:cNvSpPr/>
              <p:nvPr/>
            </p:nvSpPr>
            <p:spPr>
              <a:xfrm>
                <a:off x="1818696" y="3977509"/>
                <a:ext cx="1677" cy="2215"/>
              </a:xfrm>
              <a:custGeom>
                <a:avLst/>
                <a:gdLst>
                  <a:gd name="connsiteX0" fmla="*/ 16082 w 16081"/>
                  <a:gd name="connsiteY0" fmla="*/ 17152 h 21241"/>
                  <a:gd name="connsiteX1" fmla="*/ 10785 w 16081"/>
                  <a:gd name="connsiteY1" fmla="*/ 21242 h 21241"/>
                  <a:gd name="connsiteX2" fmla="*/ 9276 w 16081"/>
                  <a:gd name="connsiteY2" fmla="*/ 20088 h 21241"/>
                  <a:gd name="connsiteX3" fmla="*/ 2799 w 16081"/>
                  <a:gd name="connsiteY3" fmla="*/ 7135 h 21241"/>
                  <a:gd name="connsiteX4" fmla="*/ 0 w 16081"/>
                  <a:gd name="connsiteY4" fmla="*/ 5598 h 21241"/>
                  <a:gd name="connsiteX5" fmla="*/ 4748 w 16081"/>
                  <a:gd name="connsiteY5" fmla="*/ 0 h 21241"/>
                  <a:gd name="connsiteX6" fmla="*/ 9249 w 16081"/>
                  <a:gd name="connsiteY6" fmla="*/ 4501 h 21241"/>
                  <a:gd name="connsiteX7" fmla="*/ 14765 w 16081"/>
                  <a:gd name="connsiteY7" fmla="*/ 9194 h 21241"/>
                  <a:gd name="connsiteX8" fmla="*/ 16027 w 16081"/>
                  <a:gd name="connsiteY8" fmla="*/ 17179 h 2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81" h="21241">
                    <a:moveTo>
                      <a:pt x="16082" y="17152"/>
                    </a:moveTo>
                    <a:lnTo>
                      <a:pt x="10785" y="21242"/>
                    </a:lnTo>
                    <a:lnTo>
                      <a:pt x="9276" y="20088"/>
                    </a:lnTo>
                    <a:lnTo>
                      <a:pt x="2799" y="7135"/>
                    </a:lnTo>
                    <a:lnTo>
                      <a:pt x="0" y="5598"/>
                    </a:lnTo>
                    <a:lnTo>
                      <a:pt x="4748" y="0"/>
                    </a:lnTo>
                    <a:lnTo>
                      <a:pt x="9249" y="4501"/>
                    </a:lnTo>
                    <a:lnTo>
                      <a:pt x="14765" y="9194"/>
                    </a:lnTo>
                    <a:lnTo>
                      <a:pt x="16027" y="171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6" name="Freeform: Shape 4575">
                <a:extLst>
                  <a:ext uri="{FF2B5EF4-FFF2-40B4-BE49-F238E27FC236}">
                    <a16:creationId xmlns:a16="http://schemas.microsoft.com/office/drawing/2014/main" id="{D6AE47FE-9154-4D73-9E51-BE39A0D2981E}"/>
                  </a:ext>
                </a:extLst>
              </p:cNvPr>
              <p:cNvSpPr/>
              <p:nvPr/>
            </p:nvSpPr>
            <p:spPr>
              <a:xfrm>
                <a:off x="1792234" y="3895446"/>
                <a:ext cx="1689" cy="1082"/>
              </a:xfrm>
              <a:custGeom>
                <a:avLst/>
                <a:gdLst>
                  <a:gd name="connsiteX0" fmla="*/ 16191 w 16191"/>
                  <a:gd name="connsiteY0" fmla="*/ 2744 h 10373"/>
                  <a:gd name="connsiteX1" fmla="*/ 15999 w 16191"/>
                  <a:gd name="connsiteY1" fmla="*/ 3814 h 10373"/>
                  <a:gd name="connsiteX2" fmla="*/ 13200 w 16191"/>
                  <a:gd name="connsiteY2" fmla="*/ 4857 h 10373"/>
                  <a:gd name="connsiteX3" fmla="*/ 12678 w 16191"/>
                  <a:gd name="connsiteY3" fmla="*/ 3403 h 10373"/>
                  <a:gd name="connsiteX4" fmla="*/ 9852 w 16191"/>
                  <a:gd name="connsiteY4" fmla="*/ 4062 h 10373"/>
                  <a:gd name="connsiteX5" fmla="*/ 8974 w 16191"/>
                  <a:gd name="connsiteY5" fmla="*/ 8287 h 10373"/>
                  <a:gd name="connsiteX6" fmla="*/ 6833 w 16191"/>
                  <a:gd name="connsiteY6" fmla="*/ 7684 h 10373"/>
                  <a:gd name="connsiteX7" fmla="*/ 5022 w 16191"/>
                  <a:gd name="connsiteY7" fmla="*/ 10181 h 10373"/>
                  <a:gd name="connsiteX8" fmla="*/ 1235 w 16191"/>
                  <a:gd name="connsiteY8" fmla="*/ 10373 h 10373"/>
                  <a:gd name="connsiteX9" fmla="*/ 0 w 16191"/>
                  <a:gd name="connsiteY9" fmla="*/ 9523 h 10373"/>
                  <a:gd name="connsiteX10" fmla="*/ 631 w 16191"/>
                  <a:gd name="connsiteY10" fmla="*/ 6531 h 10373"/>
                  <a:gd name="connsiteX11" fmla="*/ 2964 w 16191"/>
                  <a:gd name="connsiteY11" fmla="*/ 3403 h 10373"/>
                  <a:gd name="connsiteX12" fmla="*/ 4857 w 16191"/>
                  <a:gd name="connsiteY12" fmla="*/ 2085 h 10373"/>
                  <a:gd name="connsiteX13" fmla="*/ 9330 w 16191"/>
                  <a:gd name="connsiteY13" fmla="*/ 1619 h 10373"/>
                  <a:gd name="connsiteX14" fmla="*/ 11773 w 16191"/>
                  <a:gd name="connsiteY14" fmla="*/ 0 h 10373"/>
                  <a:gd name="connsiteX15" fmla="*/ 13364 w 16191"/>
                  <a:gd name="connsiteY15" fmla="*/ 357 h 10373"/>
                  <a:gd name="connsiteX16" fmla="*/ 16136 w 16191"/>
                  <a:gd name="connsiteY16" fmla="*/ 2717 h 1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91" h="10373">
                    <a:moveTo>
                      <a:pt x="16191" y="2744"/>
                    </a:moveTo>
                    <a:lnTo>
                      <a:pt x="15999" y="3814"/>
                    </a:lnTo>
                    <a:lnTo>
                      <a:pt x="13200" y="4857"/>
                    </a:lnTo>
                    <a:lnTo>
                      <a:pt x="12678" y="3403"/>
                    </a:lnTo>
                    <a:lnTo>
                      <a:pt x="9852" y="4062"/>
                    </a:lnTo>
                    <a:lnTo>
                      <a:pt x="8974" y="8287"/>
                    </a:lnTo>
                    <a:lnTo>
                      <a:pt x="6833" y="7684"/>
                    </a:lnTo>
                    <a:lnTo>
                      <a:pt x="5022" y="10181"/>
                    </a:lnTo>
                    <a:lnTo>
                      <a:pt x="1235" y="10373"/>
                    </a:lnTo>
                    <a:lnTo>
                      <a:pt x="0" y="9523"/>
                    </a:lnTo>
                    <a:lnTo>
                      <a:pt x="631" y="6531"/>
                    </a:lnTo>
                    <a:lnTo>
                      <a:pt x="2964" y="3403"/>
                    </a:lnTo>
                    <a:lnTo>
                      <a:pt x="4857" y="2085"/>
                    </a:lnTo>
                    <a:lnTo>
                      <a:pt x="9330" y="1619"/>
                    </a:lnTo>
                    <a:lnTo>
                      <a:pt x="11773" y="0"/>
                    </a:lnTo>
                    <a:lnTo>
                      <a:pt x="13364" y="357"/>
                    </a:lnTo>
                    <a:lnTo>
                      <a:pt x="16136"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7" name="Freeform: Shape 4576">
                <a:extLst>
                  <a:ext uri="{FF2B5EF4-FFF2-40B4-BE49-F238E27FC236}">
                    <a16:creationId xmlns:a16="http://schemas.microsoft.com/office/drawing/2014/main" id="{1EFAB949-C1BD-569F-6988-1BFC866DB3E5}"/>
                  </a:ext>
                </a:extLst>
              </p:cNvPr>
              <p:cNvSpPr/>
              <p:nvPr/>
            </p:nvSpPr>
            <p:spPr>
              <a:xfrm>
                <a:off x="1806686" y="3976871"/>
                <a:ext cx="830" cy="2152"/>
              </a:xfrm>
              <a:custGeom>
                <a:avLst/>
                <a:gdLst>
                  <a:gd name="connsiteX0" fmla="*/ 6751 w 7958"/>
                  <a:gd name="connsiteY0" fmla="*/ 17865 h 20637"/>
                  <a:gd name="connsiteX1" fmla="*/ 1838 w 7958"/>
                  <a:gd name="connsiteY1" fmla="*/ 20637 h 20637"/>
                  <a:gd name="connsiteX2" fmla="*/ 0 w 7958"/>
                  <a:gd name="connsiteY2" fmla="*/ 6175 h 20637"/>
                  <a:gd name="connsiteX3" fmla="*/ 2744 w 7958"/>
                  <a:gd name="connsiteY3" fmla="*/ 0 h 20637"/>
                  <a:gd name="connsiteX4" fmla="*/ 7300 w 7958"/>
                  <a:gd name="connsiteY4" fmla="*/ 4116 h 20637"/>
                  <a:gd name="connsiteX5" fmla="*/ 7958 w 7958"/>
                  <a:gd name="connsiteY5" fmla="*/ 13969 h 20637"/>
                  <a:gd name="connsiteX6" fmla="*/ 6723 w 7958"/>
                  <a:gd name="connsiteY6" fmla="*/ 17893 h 2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58" h="20637">
                    <a:moveTo>
                      <a:pt x="6751" y="17865"/>
                    </a:moveTo>
                    <a:lnTo>
                      <a:pt x="1838" y="20637"/>
                    </a:lnTo>
                    <a:lnTo>
                      <a:pt x="0" y="6175"/>
                    </a:lnTo>
                    <a:lnTo>
                      <a:pt x="2744" y="0"/>
                    </a:lnTo>
                    <a:lnTo>
                      <a:pt x="7300" y="4116"/>
                    </a:lnTo>
                    <a:lnTo>
                      <a:pt x="7958" y="13969"/>
                    </a:lnTo>
                    <a:lnTo>
                      <a:pt x="6723" y="17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8" name="Freeform: Shape 4577">
                <a:extLst>
                  <a:ext uri="{FF2B5EF4-FFF2-40B4-BE49-F238E27FC236}">
                    <a16:creationId xmlns:a16="http://schemas.microsoft.com/office/drawing/2014/main" id="{BE944079-0A6C-8C69-B4B6-06E33B105AD7}"/>
                  </a:ext>
                </a:extLst>
              </p:cNvPr>
              <p:cNvSpPr/>
              <p:nvPr/>
            </p:nvSpPr>
            <p:spPr>
              <a:xfrm>
                <a:off x="1819383" y="3979768"/>
                <a:ext cx="1317" cy="675"/>
              </a:xfrm>
              <a:custGeom>
                <a:avLst/>
                <a:gdLst>
                  <a:gd name="connsiteX0" fmla="*/ 2690 w 12624"/>
                  <a:gd name="connsiteY0" fmla="*/ 5818 h 6476"/>
                  <a:gd name="connsiteX1" fmla="*/ 1922 w 12624"/>
                  <a:gd name="connsiteY1" fmla="*/ 6476 h 6476"/>
                  <a:gd name="connsiteX2" fmla="*/ 0 w 12624"/>
                  <a:gd name="connsiteY2" fmla="*/ 3759 h 6476"/>
                  <a:gd name="connsiteX3" fmla="*/ 2717 w 12624"/>
                  <a:gd name="connsiteY3" fmla="*/ 1482 h 6476"/>
                  <a:gd name="connsiteX4" fmla="*/ 9742 w 12624"/>
                  <a:gd name="connsiteY4" fmla="*/ 0 h 6476"/>
                  <a:gd name="connsiteX5" fmla="*/ 12624 w 12624"/>
                  <a:gd name="connsiteY5" fmla="*/ 3842 h 6476"/>
                  <a:gd name="connsiteX6" fmla="*/ 12268 w 12624"/>
                  <a:gd name="connsiteY6" fmla="*/ 5022 h 6476"/>
                  <a:gd name="connsiteX7" fmla="*/ 2717 w 12624"/>
                  <a:gd name="connsiteY7" fmla="*/ 5790 h 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24" h="6476">
                    <a:moveTo>
                      <a:pt x="2690" y="5818"/>
                    </a:moveTo>
                    <a:lnTo>
                      <a:pt x="1922" y="6476"/>
                    </a:lnTo>
                    <a:lnTo>
                      <a:pt x="0" y="3759"/>
                    </a:lnTo>
                    <a:lnTo>
                      <a:pt x="2717" y="1482"/>
                    </a:lnTo>
                    <a:lnTo>
                      <a:pt x="9742" y="0"/>
                    </a:lnTo>
                    <a:lnTo>
                      <a:pt x="12624" y="3842"/>
                    </a:lnTo>
                    <a:lnTo>
                      <a:pt x="12268" y="5022"/>
                    </a:lnTo>
                    <a:lnTo>
                      <a:pt x="2717" y="57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79" name="Freeform: Shape 4578">
                <a:extLst>
                  <a:ext uri="{FF2B5EF4-FFF2-40B4-BE49-F238E27FC236}">
                    <a16:creationId xmlns:a16="http://schemas.microsoft.com/office/drawing/2014/main" id="{297F047D-F90D-B162-705B-87353BA9D325}"/>
                  </a:ext>
                </a:extLst>
              </p:cNvPr>
              <p:cNvSpPr/>
              <p:nvPr/>
            </p:nvSpPr>
            <p:spPr>
              <a:xfrm>
                <a:off x="1788132" y="3961929"/>
                <a:ext cx="999" cy="670"/>
              </a:xfrm>
              <a:custGeom>
                <a:avLst/>
                <a:gdLst>
                  <a:gd name="connsiteX0" fmla="*/ 9578 w 9577"/>
                  <a:gd name="connsiteY0" fmla="*/ 4226 h 6421"/>
                  <a:gd name="connsiteX1" fmla="*/ 6806 w 9577"/>
                  <a:gd name="connsiteY1" fmla="*/ 6422 h 6421"/>
                  <a:gd name="connsiteX2" fmla="*/ 0 w 9577"/>
                  <a:gd name="connsiteY2" fmla="*/ 4034 h 6421"/>
                  <a:gd name="connsiteX3" fmla="*/ 2634 w 9577"/>
                  <a:gd name="connsiteY3" fmla="*/ 0 h 6421"/>
                  <a:gd name="connsiteX4" fmla="*/ 5791 w 9577"/>
                  <a:gd name="connsiteY4" fmla="*/ 0 h 6421"/>
                  <a:gd name="connsiteX5" fmla="*/ 7629 w 9577"/>
                  <a:gd name="connsiteY5" fmla="*/ 1235 h 6421"/>
                  <a:gd name="connsiteX6" fmla="*/ 9550 w 9577"/>
                  <a:gd name="connsiteY6" fmla="*/ 4226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77" h="6421">
                    <a:moveTo>
                      <a:pt x="9578" y="4226"/>
                    </a:moveTo>
                    <a:lnTo>
                      <a:pt x="6806" y="6422"/>
                    </a:lnTo>
                    <a:lnTo>
                      <a:pt x="0" y="4034"/>
                    </a:lnTo>
                    <a:lnTo>
                      <a:pt x="2634" y="0"/>
                    </a:lnTo>
                    <a:lnTo>
                      <a:pt x="5791" y="0"/>
                    </a:lnTo>
                    <a:cubicBezTo>
                      <a:pt x="5791" y="0"/>
                      <a:pt x="7629" y="1235"/>
                      <a:pt x="7629" y="1235"/>
                    </a:cubicBezTo>
                    <a:lnTo>
                      <a:pt x="9550"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0" name="Freeform: Shape 4579">
                <a:extLst>
                  <a:ext uri="{FF2B5EF4-FFF2-40B4-BE49-F238E27FC236}">
                    <a16:creationId xmlns:a16="http://schemas.microsoft.com/office/drawing/2014/main" id="{C11A2AA4-FD11-943F-CE06-9B9D7E7599D8}"/>
                  </a:ext>
                </a:extLst>
              </p:cNvPr>
              <p:cNvSpPr/>
              <p:nvPr/>
            </p:nvSpPr>
            <p:spPr>
              <a:xfrm>
                <a:off x="1816841" y="3991864"/>
                <a:ext cx="638" cy="1162"/>
              </a:xfrm>
              <a:custGeom>
                <a:avLst/>
                <a:gdLst>
                  <a:gd name="connsiteX0" fmla="*/ 6120 w 6119"/>
                  <a:gd name="connsiteY0" fmla="*/ 5050 h 11142"/>
                  <a:gd name="connsiteX1" fmla="*/ 4007 w 6119"/>
                  <a:gd name="connsiteY1" fmla="*/ 11142 h 11142"/>
                  <a:gd name="connsiteX2" fmla="*/ 2360 w 6119"/>
                  <a:gd name="connsiteY2" fmla="*/ 8205 h 11142"/>
                  <a:gd name="connsiteX3" fmla="*/ 0 w 6119"/>
                  <a:gd name="connsiteY3" fmla="*/ 6614 h 11142"/>
                  <a:gd name="connsiteX4" fmla="*/ 3787 w 6119"/>
                  <a:gd name="connsiteY4" fmla="*/ 0 h 11142"/>
                  <a:gd name="connsiteX5" fmla="*/ 4693 w 6119"/>
                  <a:gd name="connsiteY5" fmla="*/ 3814 h 11142"/>
                  <a:gd name="connsiteX6" fmla="*/ 6120 w 6119"/>
                  <a:gd name="connsiteY6" fmla="*/ 5022 h 1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19" h="11142">
                    <a:moveTo>
                      <a:pt x="6120" y="5050"/>
                    </a:moveTo>
                    <a:lnTo>
                      <a:pt x="4007" y="11142"/>
                    </a:lnTo>
                    <a:lnTo>
                      <a:pt x="2360" y="8205"/>
                    </a:lnTo>
                    <a:lnTo>
                      <a:pt x="0" y="6614"/>
                    </a:lnTo>
                    <a:lnTo>
                      <a:pt x="3787" y="0"/>
                    </a:lnTo>
                    <a:lnTo>
                      <a:pt x="4693" y="3814"/>
                    </a:lnTo>
                    <a:lnTo>
                      <a:pt x="6120" y="50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1" name="Freeform: Shape 4580">
                <a:extLst>
                  <a:ext uri="{FF2B5EF4-FFF2-40B4-BE49-F238E27FC236}">
                    <a16:creationId xmlns:a16="http://schemas.microsoft.com/office/drawing/2014/main" id="{1BB4E4EB-1A5F-2EE3-28FD-B9D234B7C56D}"/>
                  </a:ext>
                </a:extLst>
              </p:cNvPr>
              <p:cNvSpPr/>
              <p:nvPr/>
            </p:nvSpPr>
            <p:spPr>
              <a:xfrm>
                <a:off x="1784102" y="3879051"/>
                <a:ext cx="584" cy="750"/>
              </a:xfrm>
              <a:custGeom>
                <a:avLst/>
                <a:gdLst>
                  <a:gd name="connsiteX0" fmla="*/ 4638 w 5597"/>
                  <a:gd name="connsiteY0" fmla="*/ 2388 h 7190"/>
                  <a:gd name="connsiteX1" fmla="*/ 1207 w 5597"/>
                  <a:gd name="connsiteY1" fmla="*/ 7190 h 7190"/>
                  <a:gd name="connsiteX2" fmla="*/ 0 w 5597"/>
                  <a:gd name="connsiteY2" fmla="*/ 6092 h 7190"/>
                  <a:gd name="connsiteX3" fmla="*/ 2497 w 5597"/>
                  <a:gd name="connsiteY3" fmla="*/ 3677 h 7190"/>
                  <a:gd name="connsiteX4" fmla="*/ 3018 w 5597"/>
                  <a:gd name="connsiteY4" fmla="*/ 2388 h 7190"/>
                  <a:gd name="connsiteX5" fmla="*/ 3952 w 5597"/>
                  <a:gd name="connsiteY5" fmla="*/ 0 h 7190"/>
                  <a:gd name="connsiteX6" fmla="*/ 5598 w 5597"/>
                  <a:gd name="connsiteY6" fmla="*/ 1070 h 7190"/>
                  <a:gd name="connsiteX7" fmla="*/ 4665 w 5597"/>
                  <a:gd name="connsiteY7" fmla="*/ 2388 h 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97" h="7190">
                    <a:moveTo>
                      <a:pt x="4638" y="2388"/>
                    </a:moveTo>
                    <a:lnTo>
                      <a:pt x="1207" y="7190"/>
                    </a:lnTo>
                    <a:lnTo>
                      <a:pt x="0" y="6092"/>
                    </a:lnTo>
                    <a:lnTo>
                      <a:pt x="2497" y="3677"/>
                    </a:lnTo>
                    <a:lnTo>
                      <a:pt x="3018" y="2388"/>
                    </a:lnTo>
                    <a:lnTo>
                      <a:pt x="3952" y="0"/>
                    </a:lnTo>
                    <a:lnTo>
                      <a:pt x="5598" y="1070"/>
                    </a:lnTo>
                    <a:lnTo>
                      <a:pt x="4665"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2" name="Freeform: Shape 4581">
                <a:extLst>
                  <a:ext uri="{FF2B5EF4-FFF2-40B4-BE49-F238E27FC236}">
                    <a16:creationId xmlns:a16="http://schemas.microsoft.com/office/drawing/2014/main" id="{92409EFF-9501-6A1E-B0BE-BE4ADC4E53E5}"/>
                  </a:ext>
                </a:extLst>
              </p:cNvPr>
              <p:cNvSpPr/>
              <p:nvPr/>
            </p:nvSpPr>
            <p:spPr>
              <a:xfrm>
                <a:off x="1785450" y="3892907"/>
                <a:ext cx="527" cy="779"/>
              </a:xfrm>
              <a:custGeom>
                <a:avLst/>
                <a:gdLst>
                  <a:gd name="connsiteX0" fmla="*/ 5049 w 5049"/>
                  <a:gd name="connsiteY0" fmla="*/ 4500 h 7464"/>
                  <a:gd name="connsiteX1" fmla="*/ 4116 w 5049"/>
                  <a:gd name="connsiteY1" fmla="*/ 7464 h 7464"/>
                  <a:gd name="connsiteX2" fmla="*/ 466 w 5049"/>
                  <a:gd name="connsiteY2" fmla="*/ 5077 h 7464"/>
                  <a:gd name="connsiteX3" fmla="*/ 0 w 5049"/>
                  <a:gd name="connsiteY3" fmla="*/ 3540 h 7464"/>
                  <a:gd name="connsiteX4" fmla="*/ 2552 w 5049"/>
                  <a:gd name="connsiteY4" fmla="*/ 0 h 7464"/>
                  <a:gd name="connsiteX5" fmla="*/ 4253 w 5049"/>
                  <a:gd name="connsiteY5" fmla="*/ 1729 h 7464"/>
                  <a:gd name="connsiteX6" fmla="*/ 5049 w 5049"/>
                  <a:gd name="connsiteY6" fmla="*/ 4528 h 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9" h="7464">
                    <a:moveTo>
                      <a:pt x="5049" y="4500"/>
                    </a:moveTo>
                    <a:lnTo>
                      <a:pt x="4116" y="7464"/>
                    </a:lnTo>
                    <a:lnTo>
                      <a:pt x="466" y="5077"/>
                    </a:lnTo>
                    <a:lnTo>
                      <a:pt x="0" y="3540"/>
                    </a:lnTo>
                    <a:lnTo>
                      <a:pt x="2552" y="0"/>
                    </a:lnTo>
                    <a:lnTo>
                      <a:pt x="4253" y="1729"/>
                    </a:lnTo>
                    <a:lnTo>
                      <a:pt x="5049" y="45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3" name="Freeform: Shape 4582">
                <a:extLst>
                  <a:ext uri="{FF2B5EF4-FFF2-40B4-BE49-F238E27FC236}">
                    <a16:creationId xmlns:a16="http://schemas.microsoft.com/office/drawing/2014/main" id="{D1D971CF-69A8-2612-2767-E50EFA7E1FB8}"/>
                  </a:ext>
                </a:extLst>
              </p:cNvPr>
              <p:cNvSpPr/>
              <p:nvPr/>
            </p:nvSpPr>
            <p:spPr>
              <a:xfrm>
                <a:off x="1782880" y="3886765"/>
                <a:ext cx="615" cy="604"/>
              </a:xfrm>
              <a:custGeom>
                <a:avLst/>
                <a:gdLst>
                  <a:gd name="connsiteX0" fmla="*/ 5873 w 5899"/>
                  <a:gd name="connsiteY0" fmla="*/ 1400 h 5790"/>
                  <a:gd name="connsiteX1" fmla="*/ 4500 w 5899"/>
                  <a:gd name="connsiteY1" fmla="*/ 5790 h 5790"/>
                  <a:gd name="connsiteX2" fmla="*/ 0 w 5899"/>
                  <a:gd name="connsiteY2" fmla="*/ 5049 h 5790"/>
                  <a:gd name="connsiteX3" fmla="*/ 604 w 5899"/>
                  <a:gd name="connsiteY3" fmla="*/ 1070 h 5790"/>
                  <a:gd name="connsiteX4" fmla="*/ 1838 w 5899"/>
                  <a:gd name="connsiteY4" fmla="*/ 2113 h 5790"/>
                  <a:gd name="connsiteX5" fmla="*/ 3128 w 5899"/>
                  <a:gd name="connsiteY5" fmla="*/ 0 h 5790"/>
                  <a:gd name="connsiteX6" fmla="*/ 5900 w 5899"/>
                  <a:gd name="connsiteY6" fmla="*/ 1400 h 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99" h="5790">
                    <a:moveTo>
                      <a:pt x="5873" y="1400"/>
                    </a:moveTo>
                    <a:lnTo>
                      <a:pt x="4500" y="5790"/>
                    </a:lnTo>
                    <a:lnTo>
                      <a:pt x="0" y="5049"/>
                    </a:lnTo>
                    <a:lnTo>
                      <a:pt x="604" y="1070"/>
                    </a:lnTo>
                    <a:lnTo>
                      <a:pt x="1838" y="2113"/>
                    </a:lnTo>
                    <a:lnTo>
                      <a:pt x="3128" y="0"/>
                    </a:lnTo>
                    <a:lnTo>
                      <a:pt x="5900" y="14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4" name="Freeform: Shape 4583">
                <a:extLst>
                  <a:ext uri="{FF2B5EF4-FFF2-40B4-BE49-F238E27FC236}">
                    <a16:creationId xmlns:a16="http://schemas.microsoft.com/office/drawing/2014/main" id="{01D892D5-BBE4-D286-F035-1B87C8C96BC4}"/>
                  </a:ext>
                </a:extLst>
              </p:cNvPr>
              <p:cNvSpPr/>
              <p:nvPr/>
            </p:nvSpPr>
            <p:spPr>
              <a:xfrm>
                <a:off x="1801388" y="3877144"/>
                <a:ext cx="610" cy="467"/>
              </a:xfrm>
              <a:custGeom>
                <a:avLst/>
                <a:gdLst>
                  <a:gd name="connsiteX0" fmla="*/ 5818 w 5845"/>
                  <a:gd name="connsiteY0" fmla="*/ 467 h 4473"/>
                  <a:gd name="connsiteX1" fmla="*/ 2634 w 5845"/>
                  <a:gd name="connsiteY1" fmla="*/ 4473 h 4473"/>
                  <a:gd name="connsiteX2" fmla="*/ 0 w 5845"/>
                  <a:gd name="connsiteY2" fmla="*/ 4007 h 4473"/>
                  <a:gd name="connsiteX3" fmla="*/ 0 w 5845"/>
                  <a:gd name="connsiteY3" fmla="*/ 1701 h 4473"/>
                  <a:gd name="connsiteX4" fmla="*/ 1784 w 5845"/>
                  <a:gd name="connsiteY4" fmla="*/ 0 h 4473"/>
                  <a:gd name="connsiteX5" fmla="*/ 5845 w 5845"/>
                  <a:gd name="connsiteY5" fmla="*/ 467 h 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5" h="4473">
                    <a:moveTo>
                      <a:pt x="5818" y="467"/>
                    </a:moveTo>
                    <a:lnTo>
                      <a:pt x="2634" y="4473"/>
                    </a:lnTo>
                    <a:lnTo>
                      <a:pt x="0" y="4007"/>
                    </a:lnTo>
                    <a:lnTo>
                      <a:pt x="0" y="1701"/>
                    </a:lnTo>
                    <a:cubicBezTo>
                      <a:pt x="0" y="1701"/>
                      <a:pt x="1784" y="0"/>
                      <a:pt x="1784" y="0"/>
                    </a:cubicBezTo>
                    <a:lnTo>
                      <a:pt x="5845" y="4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5" name="Freeform: Shape 4584">
                <a:extLst>
                  <a:ext uri="{FF2B5EF4-FFF2-40B4-BE49-F238E27FC236}">
                    <a16:creationId xmlns:a16="http://schemas.microsoft.com/office/drawing/2014/main" id="{B6F656E8-AAF7-399A-074F-E61807A65DD4}"/>
                  </a:ext>
                </a:extLst>
              </p:cNvPr>
              <p:cNvSpPr/>
              <p:nvPr/>
            </p:nvSpPr>
            <p:spPr>
              <a:xfrm>
                <a:off x="1801322" y="3875539"/>
                <a:ext cx="673" cy="415"/>
              </a:xfrm>
              <a:custGeom>
                <a:avLst/>
                <a:gdLst>
                  <a:gd name="connsiteX0" fmla="*/ 6449 w 6448"/>
                  <a:gd name="connsiteY0" fmla="*/ 3677 h 3979"/>
                  <a:gd name="connsiteX1" fmla="*/ 1729 w 6448"/>
                  <a:gd name="connsiteY1" fmla="*/ 3979 h 3979"/>
                  <a:gd name="connsiteX2" fmla="*/ 0 w 6448"/>
                  <a:gd name="connsiteY2" fmla="*/ 1290 h 3979"/>
                  <a:gd name="connsiteX3" fmla="*/ 1592 w 6448"/>
                  <a:gd name="connsiteY3" fmla="*/ 0 h 3979"/>
                  <a:gd name="connsiteX4" fmla="*/ 6449 w 6448"/>
                  <a:gd name="connsiteY4" fmla="*/ 1701 h 3979"/>
                  <a:gd name="connsiteX5" fmla="*/ 6449 w 6448"/>
                  <a:gd name="connsiteY5" fmla="*/ 3677 h 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48" h="3979">
                    <a:moveTo>
                      <a:pt x="6449" y="3677"/>
                    </a:moveTo>
                    <a:lnTo>
                      <a:pt x="1729" y="3979"/>
                    </a:lnTo>
                    <a:lnTo>
                      <a:pt x="0" y="1290"/>
                    </a:lnTo>
                    <a:lnTo>
                      <a:pt x="1592" y="0"/>
                    </a:lnTo>
                    <a:lnTo>
                      <a:pt x="6449" y="1701"/>
                    </a:lnTo>
                    <a:lnTo>
                      <a:pt x="6449" y="36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6" name="Freeform: Shape 4585">
                <a:extLst>
                  <a:ext uri="{FF2B5EF4-FFF2-40B4-BE49-F238E27FC236}">
                    <a16:creationId xmlns:a16="http://schemas.microsoft.com/office/drawing/2014/main" id="{E27DC495-2166-8AE0-C77D-7DD57FCDD042}"/>
                  </a:ext>
                </a:extLst>
              </p:cNvPr>
              <p:cNvSpPr/>
              <p:nvPr/>
            </p:nvSpPr>
            <p:spPr>
              <a:xfrm>
                <a:off x="1779906" y="3957201"/>
                <a:ext cx="604" cy="487"/>
              </a:xfrm>
              <a:custGeom>
                <a:avLst/>
                <a:gdLst>
                  <a:gd name="connsiteX0" fmla="*/ 5791 w 5790"/>
                  <a:gd name="connsiteY0" fmla="*/ 1894 h 4665"/>
                  <a:gd name="connsiteX1" fmla="*/ 5187 w 5790"/>
                  <a:gd name="connsiteY1" fmla="*/ 4665 h 4665"/>
                  <a:gd name="connsiteX2" fmla="*/ 2964 w 5790"/>
                  <a:gd name="connsiteY2" fmla="*/ 2854 h 4665"/>
                  <a:gd name="connsiteX3" fmla="*/ 247 w 5790"/>
                  <a:gd name="connsiteY3" fmla="*/ 3485 h 4665"/>
                  <a:gd name="connsiteX4" fmla="*/ 0 w 5790"/>
                  <a:gd name="connsiteY4" fmla="*/ 2278 h 4665"/>
                  <a:gd name="connsiteX5" fmla="*/ 1207 w 5790"/>
                  <a:gd name="connsiteY5" fmla="*/ 0 h 4665"/>
                  <a:gd name="connsiteX6" fmla="*/ 5763 w 5790"/>
                  <a:gd name="connsiteY6" fmla="*/ 1894 h 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90" h="4665">
                    <a:moveTo>
                      <a:pt x="5791" y="1894"/>
                    </a:moveTo>
                    <a:lnTo>
                      <a:pt x="5187" y="4665"/>
                    </a:lnTo>
                    <a:lnTo>
                      <a:pt x="2964" y="2854"/>
                    </a:lnTo>
                    <a:lnTo>
                      <a:pt x="247" y="3485"/>
                    </a:lnTo>
                    <a:lnTo>
                      <a:pt x="0" y="2278"/>
                    </a:lnTo>
                    <a:lnTo>
                      <a:pt x="1207" y="0"/>
                    </a:lnTo>
                    <a:lnTo>
                      <a:pt x="5763" y="1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7" name="Freeform: Shape 4586">
                <a:extLst>
                  <a:ext uri="{FF2B5EF4-FFF2-40B4-BE49-F238E27FC236}">
                    <a16:creationId xmlns:a16="http://schemas.microsoft.com/office/drawing/2014/main" id="{E9BFD985-64BD-3C45-8187-9FFE309B8F3F}"/>
                  </a:ext>
                </a:extLst>
              </p:cNvPr>
              <p:cNvSpPr/>
              <p:nvPr/>
            </p:nvSpPr>
            <p:spPr>
              <a:xfrm>
                <a:off x="1835847" y="3930647"/>
                <a:ext cx="323" cy="744"/>
              </a:xfrm>
              <a:custGeom>
                <a:avLst/>
                <a:gdLst>
                  <a:gd name="connsiteX0" fmla="*/ 3101 w 3101"/>
                  <a:gd name="connsiteY0" fmla="*/ 0 h 7135"/>
                  <a:gd name="connsiteX1" fmla="*/ 1537 w 3101"/>
                  <a:gd name="connsiteY1" fmla="*/ 7135 h 7135"/>
                  <a:gd name="connsiteX2" fmla="*/ 110 w 3101"/>
                  <a:gd name="connsiteY2" fmla="*/ 5461 h 7135"/>
                  <a:gd name="connsiteX3" fmla="*/ 0 w 3101"/>
                  <a:gd name="connsiteY3" fmla="*/ 3348 h 7135"/>
                  <a:gd name="connsiteX4" fmla="*/ 0 w 3101"/>
                  <a:gd name="connsiteY4" fmla="*/ 878 h 7135"/>
                  <a:gd name="connsiteX5" fmla="*/ 3074 w 3101"/>
                  <a:gd name="connsiteY5" fmla="*/ 0 h 7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1" h="7135">
                    <a:moveTo>
                      <a:pt x="3101" y="0"/>
                    </a:moveTo>
                    <a:lnTo>
                      <a:pt x="1537" y="7135"/>
                    </a:lnTo>
                    <a:lnTo>
                      <a:pt x="110" y="5461"/>
                    </a:lnTo>
                    <a:lnTo>
                      <a:pt x="0" y="3348"/>
                    </a:lnTo>
                    <a:lnTo>
                      <a:pt x="0" y="878"/>
                    </a:lnTo>
                    <a:lnTo>
                      <a:pt x="307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8" name="Freeform: Shape 4587">
                <a:extLst>
                  <a:ext uri="{FF2B5EF4-FFF2-40B4-BE49-F238E27FC236}">
                    <a16:creationId xmlns:a16="http://schemas.microsoft.com/office/drawing/2014/main" id="{6BD0B3FE-1C5F-0FFF-8406-C6CCA5C8D735}"/>
                  </a:ext>
                </a:extLst>
              </p:cNvPr>
              <p:cNvSpPr/>
              <p:nvPr/>
            </p:nvSpPr>
            <p:spPr>
              <a:xfrm>
                <a:off x="1793081" y="3897318"/>
                <a:ext cx="481" cy="452"/>
              </a:xfrm>
              <a:custGeom>
                <a:avLst/>
                <a:gdLst>
                  <a:gd name="connsiteX0" fmla="*/ 4610 w 4610"/>
                  <a:gd name="connsiteY0" fmla="*/ 3458 h 4336"/>
                  <a:gd name="connsiteX1" fmla="*/ 1811 w 4610"/>
                  <a:gd name="connsiteY1" fmla="*/ 4336 h 4336"/>
                  <a:gd name="connsiteX2" fmla="*/ 0 w 4610"/>
                  <a:gd name="connsiteY2" fmla="*/ 3211 h 4336"/>
                  <a:gd name="connsiteX3" fmla="*/ 2223 w 4610"/>
                  <a:gd name="connsiteY3" fmla="*/ 0 h 4336"/>
                  <a:gd name="connsiteX4" fmla="*/ 4583 w 4610"/>
                  <a:gd name="connsiteY4" fmla="*/ 3458 h 4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4336">
                    <a:moveTo>
                      <a:pt x="4610" y="3458"/>
                    </a:moveTo>
                    <a:lnTo>
                      <a:pt x="1811" y="4336"/>
                    </a:lnTo>
                    <a:lnTo>
                      <a:pt x="0" y="3211"/>
                    </a:lnTo>
                    <a:lnTo>
                      <a:pt x="2223" y="0"/>
                    </a:lnTo>
                    <a:lnTo>
                      <a:pt x="4583" y="34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89" name="Freeform: Shape 4588">
                <a:extLst>
                  <a:ext uri="{FF2B5EF4-FFF2-40B4-BE49-F238E27FC236}">
                    <a16:creationId xmlns:a16="http://schemas.microsoft.com/office/drawing/2014/main" id="{5197EC44-B610-0A41-4C87-F66FCC289EC6}"/>
                  </a:ext>
                </a:extLst>
              </p:cNvPr>
              <p:cNvSpPr/>
              <p:nvPr/>
            </p:nvSpPr>
            <p:spPr>
              <a:xfrm>
                <a:off x="1774413" y="3880193"/>
                <a:ext cx="418" cy="404"/>
              </a:xfrm>
              <a:custGeom>
                <a:avLst/>
                <a:gdLst>
                  <a:gd name="connsiteX0" fmla="*/ 3979 w 4006"/>
                  <a:gd name="connsiteY0" fmla="*/ 714 h 3869"/>
                  <a:gd name="connsiteX1" fmla="*/ 823 w 4006"/>
                  <a:gd name="connsiteY1" fmla="*/ 3870 h 3869"/>
                  <a:gd name="connsiteX2" fmla="*/ 0 w 4006"/>
                  <a:gd name="connsiteY2" fmla="*/ 1564 h 3869"/>
                  <a:gd name="connsiteX3" fmla="*/ 2360 w 4006"/>
                  <a:gd name="connsiteY3" fmla="*/ 0 h 3869"/>
                  <a:gd name="connsiteX4" fmla="*/ 4007 w 4006"/>
                  <a:gd name="connsiteY4" fmla="*/ 686 h 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3869">
                    <a:moveTo>
                      <a:pt x="3979" y="714"/>
                    </a:moveTo>
                    <a:lnTo>
                      <a:pt x="823" y="3870"/>
                    </a:lnTo>
                    <a:lnTo>
                      <a:pt x="0" y="1564"/>
                    </a:lnTo>
                    <a:lnTo>
                      <a:pt x="2360" y="0"/>
                    </a:lnTo>
                    <a:lnTo>
                      <a:pt x="4007" y="6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0" name="Freeform: Shape 4589">
                <a:extLst>
                  <a:ext uri="{FF2B5EF4-FFF2-40B4-BE49-F238E27FC236}">
                    <a16:creationId xmlns:a16="http://schemas.microsoft.com/office/drawing/2014/main" id="{B851673D-42AC-8CC8-5D15-4B4D5A16FC3D}"/>
                  </a:ext>
                </a:extLst>
              </p:cNvPr>
              <p:cNvSpPr/>
              <p:nvPr/>
            </p:nvSpPr>
            <p:spPr>
              <a:xfrm>
                <a:off x="1820153" y="3987301"/>
                <a:ext cx="355" cy="635"/>
              </a:xfrm>
              <a:custGeom>
                <a:avLst/>
                <a:gdLst>
                  <a:gd name="connsiteX0" fmla="*/ 3403 w 3402"/>
                  <a:gd name="connsiteY0" fmla="*/ 1015 h 6092"/>
                  <a:gd name="connsiteX1" fmla="*/ 1619 w 3402"/>
                  <a:gd name="connsiteY1" fmla="*/ 6092 h 6092"/>
                  <a:gd name="connsiteX2" fmla="*/ 0 w 3402"/>
                  <a:gd name="connsiteY2" fmla="*/ 3348 h 6092"/>
                  <a:gd name="connsiteX3" fmla="*/ 356 w 3402"/>
                  <a:gd name="connsiteY3" fmla="*/ 0 h 6092"/>
                  <a:gd name="connsiteX4" fmla="*/ 3403 w 3402"/>
                  <a:gd name="connsiteY4" fmla="*/ 1015 h 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6092">
                    <a:moveTo>
                      <a:pt x="3403" y="1015"/>
                    </a:moveTo>
                    <a:lnTo>
                      <a:pt x="1619" y="6092"/>
                    </a:lnTo>
                    <a:lnTo>
                      <a:pt x="0" y="3348"/>
                    </a:lnTo>
                    <a:lnTo>
                      <a:pt x="356" y="0"/>
                    </a:lnTo>
                    <a:lnTo>
                      <a:pt x="3403" y="10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1" name="Freeform: Shape 4590">
                <a:extLst>
                  <a:ext uri="{FF2B5EF4-FFF2-40B4-BE49-F238E27FC236}">
                    <a16:creationId xmlns:a16="http://schemas.microsoft.com/office/drawing/2014/main" id="{6DC35E26-BF6C-C51F-6E7F-7652D9206097}"/>
                  </a:ext>
                </a:extLst>
              </p:cNvPr>
              <p:cNvSpPr/>
              <p:nvPr/>
            </p:nvSpPr>
            <p:spPr>
              <a:xfrm>
                <a:off x="1782342" y="3880339"/>
                <a:ext cx="429" cy="389"/>
              </a:xfrm>
              <a:custGeom>
                <a:avLst/>
                <a:gdLst>
                  <a:gd name="connsiteX0" fmla="*/ 4089 w 4116"/>
                  <a:gd name="connsiteY0" fmla="*/ 1564 h 3732"/>
                  <a:gd name="connsiteX1" fmla="*/ 2223 w 4116"/>
                  <a:gd name="connsiteY1" fmla="*/ 3732 h 3732"/>
                  <a:gd name="connsiteX2" fmla="*/ 0 w 4116"/>
                  <a:gd name="connsiteY2" fmla="*/ 2360 h 3732"/>
                  <a:gd name="connsiteX3" fmla="*/ 3513 w 4116"/>
                  <a:gd name="connsiteY3" fmla="*/ 0 h 3732"/>
                  <a:gd name="connsiteX4" fmla="*/ 4116 w 4116"/>
                  <a:gd name="connsiteY4" fmla="*/ 1564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3732">
                    <a:moveTo>
                      <a:pt x="4089" y="1564"/>
                    </a:moveTo>
                    <a:lnTo>
                      <a:pt x="2223" y="3732"/>
                    </a:lnTo>
                    <a:lnTo>
                      <a:pt x="0" y="2360"/>
                    </a:lnTo>
                    <a:lnTo>
                      <a:pt x="3513" y="0"/>
                    </a:lnTo>
                    <a:lnTo>
                      <a:pt x="4116"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2" name="Freeform: Shape 4591">
                <a:extLst>
                  <a:ext uri="{FF2B5EF4-FFF2-40B4-BE49-F238E27FC236}">
                    <a16:creationId xmlns:a16="http://schemas.microsoft.com/office/drawing/2014/main" id="{14738994-BAA3-EC90-D2BC-0AE04EBC5855}"/>
                  </a:ext>
                </a:extLst>
              </p:cNvPr>
              <p:cNvSpPr/>
              <p:nvPr/>
            </p:nvSpPr>
            <p:spPr>
              <a:xfrm>
                <a:off x="1782863" y="3885889"/>
                <a:ext cx="363" cy="458"/>
              </a:xfrm>
              <a:custGeom>
                <a:avLst/>
                <a:gdLst>
                  <a:gd name="connsiteX0" fmla="*/ 3485 w 3485"/>
                  <a:gd name="connsiteY0" fmla="*/ 1207 h 4390"/>
                  <a:gd name="connsiteX1" fmla="*/ 1674 w 3485"/>
                  <a:gd name="connsiteY1" fmla="*/ 4391 h 4390"/>
                  <a:gd name="connsiteX2" fmla="*/ 0 w 3485"/>
                  <a:gd name="connsiteY2" fmla="*/ 3129 h 4390"/>
                  <a:gd name="connsiteX3" fmla="*/ 2086 w 3485"/>
                  <a:gd name="connsiteY3" fmla="*/ 0 h 4390"/>
                  <a:gd name="connsiteX4" fmla="*/ 3458 w 3485"/>
                  <a:gd name="connsiteY4" fmla="*/ 1207 h 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4390">
                    <a:moveTo>
                      <a:pt x="3485" y="1207"/>
                    </a:moveTo>
                    <a:lnTo>
                      <a:pt x="1674" y="4391"/>
                    </a:lnTo>
                    <a:lnTo>
                      <a:pt x="0" y="3129"/>
                    </a:lnTo>
                    <a:lnTo>
                      <a:pt x="2086" y="0"/>
                    </a:lnTo>
                    <a:lnTo>
                      <a:pt x="3458" y="12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3" name="Freeform: Shape 4592">
                <a:extLst>
                  <a:ext uri="{FF2B5EF4-FFF2-40B4-BE49-F238E27FC236}">
                    <a16:creationId xmlns:a16="http://schemas.microsoft.com/office/drawing/2014/main" id="{86CF7DE3-02AE-C6E4-E7CE-0A195AEA22A8}"/>
                  </a:ext>
                </a:extLst>
              </p:cNvPr>
              <p:cNvSpPr/>
              <p:nvPr/>
            </p:nvSpPr>
            <p:spPr>
              <a:xfrm>
                <a:off x="1814214" y="3993690"/>
                <a:ext cx="418" cy="530"/>
              </a:xfrm>
              <a:custGeom>
                <a:avLst/>
                <a:gdLst>
                  <a:gd name="connsiteX0" fmla="*/ 4007 w 4006"/>
                  <a:gd name="connsiteY0" fmla="*/ 3101 h 5077"/>
                  <a:gd name="connsiteX1" fmla="*/ 1811 w 4006"/>
                  <a:gd name="connsiteY1" fmla="*/ 5077 h 5077"/>
                  <a:gd name="connsiteX2" fmla="*/ 0 w 4006"/>
                  <a:gd name="connsiteY2" fmla="*/ 1208 h 5077"/>
                  <a:gd name="connsiteX3" fmla="*/ 1235 w 4006"/>
                  <a:gd name="connsiteY3" fmla="*/ 0 h 5077"/>
                  <a:gd name="connsiteX4" fmla="*/ 4007 w 4006"/>
                  <a:gd name="connsiteY4" fmla="*/ 3074 h 5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5077">
                    <a:moveTo>
                      <a:pt x="4007" y="3101"/>
                    </a:moveTo>
                    <a:lnTo>
                      <a:pt x="1811" y="5077"/>
                    </a:lnTo>
                    <a:lnTo>
                      <a:pt x="0" y="1208"/>
                    </a:lnTo>
                    <a:lnTo>
                      <a:pt x="1235" y="0"/>
                    </a:lnTo>
                    <a:lnTo>
                      <a:pt x="4007"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4" name="Freeform: Shape 4593">
                <a:extLst>
                  <a:ext uri="{FF2B5EF4-FFF2-40B4-BE49-F238E27FC236}">
                    <a16:creationId xmlns:a16="http://schemas.microsoft.com/office/drawing/2014/main" id="{BA78A366-8E3E-618E-643E-9A170926723E}"/>
                  </a:ext>
                </a:extLst>
              </p:cNvPr>
              <p:cNvSpPr/>
              <p:nvPr/>
            </p:nvSpPr>
            <p:spPr>
              <a:xfrm>
                <a:off x="1810601" y="3972357"/>
                <a:ext cx="504" cy="392"/>
              </a:xfrm>
              <a:custGeom>
                <a:avLst/>
                <a:gdLst>
                  <a:gd name="connsiteX0" fmla="*/ 4830 w 4829"/>
                  <a:gd name="connsiteY0" fmla="*/ 1647 h 3760"/>
                  <a:gd name="connsiteX1" fmla="*/ 2552 w 4829"/>
                  <a:gd name="connsiteY1" fmla="*/ 3760 h 3760"/>
                  <a:gd name="connsiteX2" fmla="*/ 0 w 4829"/>
                  <a:gd name="connsiteY2" fmla="*/ 2113 h 3760"/>
                  <a:gd name="connsiteX3" fmla="*/ 3293 w 4829"/>
                  <a:gd name="connsiteY3" fmla="*/ 0 h 3760"/>
                  <a:gd name="connsiteX4" fmla="*/ 4830 w 4829"/>
                  <a:gd name="connsiteY4" fmla="*/ 1647 h 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9" h="3760">
                    <a:moveTo>
                      <a:pt x="4830" y="1647"/>
                    </a:moveTo>
                    <a:lnTo>
                      <a:pt x="2552" y="3760"/>
                    </a:lnTo>
                    <a:lnTo>
                      <a:pt x="0" y="2113"/>
                    </a:lnTo>
                    <a:lnTo>
                      <a:pt x="3293" y="0"/>
                    </a:lnTo>
                    <a:lnTo>
                      <a:pt x="4830"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5" name="Freeform: Shape 4594">
                <a:extLst>
                  <a:ext uri="{FF2B5EF4-FFF2-40B4-BE49-F238E27FC236}">
                    <a16:creationId xmlns:a16="http://schemas.microsoft.com/office/drawing/2014/main" id="{8BEAE4B7-DD4E-B5D9-5A37-0957E33975D5}"/>
                  </a:ext>
                </a:extLst>
              </p:cNvPr>
              <p:cNvSpPr/>
              <p:nvPr/>
            </p:nvSpPr>
            <p:spPr>
              <a:xfrm>
                <a:off x="1783135" y="3880187"/>
                <a:ext cx="504" cy="306"/>
              </a:xfrm>
              <a:custGeom>
                <a:avLst/>
                <a:gdLst>
                  <a:gd name="connsiteX0" fmla="*/ 4830 w 4829"/>
                  <a:gd name="connsiteY0" fmla="*/ 878 h 2936"/>
                  <a:gd name="connsiteX1" fmla="*/ 2470 w 4829"/>
                  <a:gd name="connsiteY1" fmla="*/ 2936 h 2936"/>
                  <a:gd name="connsiteX2" fmla="*/ 0 w 4829"/>
                  <a:gd name="connsiteY2" fmla="*/ 2305 h 2936"/>
                  <a:gd name="connsiteX3" fmla="*/ 2552 w 4829"/>
                  <a:gd name="connsiteY3" fmla="*/ 0 h 2936"/>
                  <a:gd name="connsiteX4" fmla="*/ 4830 w 4829"/>
                  <a:gd name="connsiteY4" fmla="*/ 878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9" h="2936">
                    <a:moveTo>
                      <a:pt x="4830" y="878"/>
                    </a:moveTo>
                    <a:lnTo>
                      <a:pt x="2470" y="2936"/>
                    </a:lnTo>
                    <a:lnTo>
                      <a:pt x="0" y="2305"/>
                    </a:lnTo>
                    <a:lnTo>
                      <a:pt x="2552" y="0"/>
                    </a:lnTo>
                    <a:lnTo>
                      <a:pt x="4830" y="8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6" name="Freeform: Shape 4595">
                <a:extLst>
                  <a:ext uri="{FF2B5EF4-FFF2-40B4-BE49-F238E27FC236}">
                    <a16:creationId xmlns:a16="http://schemas.microsoft.com/office/drawing/2014/main" id="{C1405446-86E4-B941-56FB-54F888908EC4}"/>
                  </a:ext>
                </a:extLst>
              </p:cNvPr>
              <p:cNvSpPr/>
              <p:nvPr/>
            </p:nvSpPr>
            <p:spPr>
              <a:xfrm>
                <a:off x="1815588" y="3904139"/>
                <a:ext cx="455" cy="349"/>
              </a:xfrm>
              <a:custGeom>
                <a:avLst/>
                <a:gdLst>
                  <a:gd name="connsiteX0" fmla="*/ 4363 w 4363"/>
                  <a:gd name="connsiteY0" fmla="*/ 302 h 3347"/>
                  <a:gd name="connsiteX1" fmla="*/ 2387 w 4363"/>
                  <a:gd name="connsiteY1" fmla="*/ 3348 h 3347"/>
                  <a:gd name="connsiteX2" fmla="*/ 0 w 4363"/>
                  <a:gd name="connsiteY2" fmla="*/ 1043 h 3347"/>
                  <a:gd name="connsiteX3" fmla="*/ 2277 w 4363"/>
                  <a:gd name="connsiteY3" fmla="*/ 0 h 3347"/>
                  <a:gd name="connsiteX4" fmla="*/ 4363 w 4363"/>
                  <a:gd name="connsiteY4" fmla="*/ 329 h 3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3347">
                    <a:moveTo>
                      <a:pt x="4363" y="302"/>
                    </a:moveTo>
                    <a:lnTo>
                      <a:pt x="2387" y="3348"/>
                    </a:lnTo>
                    <a:lnTo>
                      <a:pt x="0" y="1043"/>
                    </a:lnTo>
                    <a:lnTo>
                      <a:pt x="2277" y="0"/>
                    </a:lnTo>
                    <a:lnTo>
                      <a:pt x="4363" y="3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7" name="Freeform: Shape 4596">
                <a:extLst>
                  <a:ext uri="{FF2B5EF4-FFF2-40B4-BE49-F238E27FC236}">
                    <a16:creationId xmlns:a16="http://schemas.microsoft.com/office/drawing/2014/main" id="{FCCDF808-6FCD-702B-9058-1AF75A851774}"/>
                  </a:ext>
                </a:extLst>
              </p:cNvPr>
              <p:cNvSpPr/>
              <p:nvPr/>
            </p:nvSpPr>
            <p:spPr>
              <a:xfrm>
                <a:off x="1809668" y="3980082"/>
                <a:ext cx="461" cy="429"/>
              </a:xfrm>
              <a:custGeom>
                <a:avLst/>
                <a:gdLst>
                  <a:gd name="connsiteX0" fmla="*/ 4391 w 4418"/>
                  <a:gd name="connsiteY0" fmla="*/ 1536 h 4116"/>
                  <a:gd name="connsiteX1" fmla="*/ 1893 w 4418"/>
                  <a:gd name="connsiteY1" fmla="*/ 4116 h 4116"/>
                  <a:gd name="connsiteX2" fmla="*/ 0 w 4418"/>
                  <a:gd name="connsiteY2" fmla="*/ 2360 h 4116"/>
                  <a:gd name="connsiteX3" fmla="*/ 1729 w 4418"/>
                  <a:gd name="connsiteY3" fmla="*/ 0 h 4116"/>
                  <a:gd name="connsiteX4" fmla="*/ 4419 w 4418"/>
                  <a:gd name="connsiteY4" fmla="*/ 1536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4116">
                    <a:moveTo>
                      <a:pt x="4391" y="1536"/>
                    </a:moveTo>
                    <a:lnTo>
                      <a:pt x="1893" y="4116"/>
                    </a:lnTo>
                    <a:lnTo>
                      <a:pt x="0" y="2360"/>
                    </a:lnTo>
                    <a:lnTo>
                      <a:pt x="1729" y="0"/>
                    </a:lnTo>
                    <a:lnTo>
                      <a:pt x="4419" y="15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8" name="Freeform: Shape 4597">
                <a:extLst>
                  <a:ext uri="{FF2B5EF4-FFF2-40B4-BE49-F238E27FC236}">
                    <a16:creationId xmlns:a16="http://schemas.microsoft.com/office/drawing/2014/main" id="{40765040-C499-229A-3FB7-3A66B447EBB2}"/>
                  </a:ext>
                </a:extLst>
              </p:cNvPr>
              <p:cNvSpPr/>
              <p:nvPr/>
            </p:nvSpPr>
            <p:spPr>
              <a:xfrm>
                <a:off x="1784966" y="3892695"/>
                <a:ext cx="424" cy="361"/>
              </a:xfrm>
              <a:custGeom>
                <a:avLst/>
                <a:gdLst>
                  <a:gd name="connsiteX0" fmla="*/ 4035 w 4062"/>
                  <a:gd name="connsiteY0" fmla="*/ 2470 h 3457"/>
                  <a:gd name="connsiteX1" fmla="*/ 2086 w 4062"/>
                  <a:gd name="connsiteY1" fmla="*/ 3458 h 3457"/>
                  <a:gd name="connsiteX2" fmla="*/ 0 w 4062"/>
                  <a:gd name="connsiteY2" fmla="*/ 1400 h 3457"/>
                  <a:gd name="connsiteX3" fmla="*/ 2690 w 4062"/>
                  <a:gd name="connsiteY3" fmla="*/ 0 h 3457"/>
                  <a:gd name="connsiteX4" fmla="*/ 4062 w 4062"/>
                  <a:gd name="connsiteY4" fmla="*/ 2470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 h="3457">
                    <a:moveTo>
                      <a:pt x="4035" y="2470"/>
                    </a:moveTo>
                    <a:lnTo>
                      <a:pt x="2086" y="3458"/>
                    </a:lnTo>
                    <a:lnTo>
                      <a:pt x="0" y="1400"/>
                    </a:lnTo>
                    <a:lnTo>
                      <a:pt x="2690" y="0"/>
                    </a:lnTo>
                    <a:lnTo>
                      <a:pt x="4062" y="24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99" name="Freeform: Shape 4598">
                <a:extLst>
                  <a:ext uri="{FF2B5EF4-FFF2-40B4-BE49-F238E27FC236}">
                    <a16:creationId xmlns:a16="http://schemas.microsoft.com/office/drawing/2014/main" id="{F7CA95E3-639A-2BE6-9F8F-2C1C0902B52A}"/>
                  </a:ext>
                </a:extLst>
              </p:cNvPr>
              <p:cNvSpPr/>
              <p:nvPr/>
            </p:nvSpPr>
            <p:spPr>
              <a:xfrm>
                <a:off x="1742349" y="3882156"/>
                <a:ext cx="504" cy="289"/>
              </a:xfrm>
              <a:custGeom>
                <a:avLst/>
                <a:gdLst>
                  <a:gd name="connsiteX0" fmla="*/ 4830 w 4829"/>
                  <a:gd name="connsiteY0" fmla="*/ 2415 h 2771"/>
                  <a:gd name="connsiteX1" fmla="*/ 2689 w 4829"/>
                  <a:gd name="connsiteY1" fmla="*/ 2772 h 2771"/>
                  <a:gd name="connsiteX2" fmla="*/ 0 w 4829"/>
                  <a:gd name="connsiteY2" fmla="*/ 960 h 2771"/>
                  <a:gd name="connsiteX3" fmla="*/ 2415 w 4829"/>
                  <a:gd name="connsiteY3" fmla="*/ 0 h 2771"/>
                  <a:gd name="connsiteX4" fmla="*/ 2937 w 4829"/>
                  <a:gd name="connsiteY4" fmla="*/ 0 h 2771"/>
                  <a:gd name="connsiteX5" fmla="*/ 4830 w 4829"/>
                  <a:gd name="connsiteY5" fmla="*/ 2415 h 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9" h="2771">
                    <a:moveTo>
                      <a:pt x="4830" y="2415"/>
                    </a:moveTo>
                    <a:lnTo>
                      <a:pt x="2689" y="2772"/>
                    </a:lnTo>
                    <a:lnTo>
                      <a:pt x="0" y="960"/>
                    </a:lnTo>
                    <a:lnTo>
                      <a:pt x="2415" y="0"/>
                    </a:lnTo>
                    <a:lnTo>
                      <a:pt x="2937" y="0"/>
                    </a:lnTo>
                    <a:lnTo>
                      <a:pt x="4830"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0" name="Freeform: Shape 4599">
                <a:extLst>
                  <a:ext uri="{FF2B5EF4-FFF2-40B4-BE49-F238E27FC236}">
                    <a16:creationId xmlns:a16="http://schemas.microsoft.com/office/drawing/2014/main" id="{AF379915-0085-0C32-6AB3-A4C49D802A2E}"/>
                  </a:ext>
                </a:extLst>
              </p:cNvPr>
              <p:cNvSpPr/>
              <p:nvPr/>
            </p:nvSpPr>
            <p:spPr>
              <a:xfrm>
                <a:off x="1819458" y="3989107"/>
                <a:ext cx="395" cy="472"/>
              </a:xfrm>
              <a:custGeom>
                <a:avLst/>
                <a:gdLst>
                  <a:gd name="connsiteX0" fmla="*/ 3787 w 3787"/>
                  <a:gd name="connsiteY0" fmla="*/ 1949 h 4528"/>
                  <a:gd name="connsiteX1" fmla="*/ 1098 w 3787"/>
                  <a:gd name="connsiteY1" fmla="*/ 4528 h 4528"/>
                  <a:gd name="connsiteX2" fmla="*/ 0 w 3787"/>
                  <a:gd name="connsiteY2" fmla="*/ 3074 h 4528"/>
                  <a:gd name="connsiteX3" fmla="*/ 714 w 3787"/>
                  <a:gd name="connsiteY3" fmla="*/ 357 h 4528"/>
                  <a:gd name="connsiteX4" fmla="*/ 3074 w 3787"/>
                  <a:gd name="connsiteY4" fmla="*/ 0 h 4528"/>
                  <a:gd name="connsiteX5" fmla="*/ 3760 w 3787"/>
                  <a:gd name="connsiteY5" fmla="*/ 1922 h 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7" h="4528">
                    <a:moveTo>
                      <a:pt x="3787" y="1949"/>
                    </a:moveTo>
                    <a:lnTo>
                      <a:pt x="1098" y="4528"/>
                    </a:lnTo>
                    <a:lnTo>
                      <a:pt x="0" y="3074"/>
                    </a:lnTo>
                    <a:lnTo>
                      <a:pt x="714" y="357"/>
                    </a:lnTo>
                    <a:lnTo>
                      <a:pt x="3074" y="0"/>
                    </a:lnTo>
                    <a:lnTo>
                      <a:pt x="3760" y="19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1" name="Freeform: Shape 4600">
                <a:extLst>
                  <a:ext uri="{FF2B5EF4-FFF2-40B4-BE49-F238E27FC236}">
                    <a16:creationId xmlns:a16="http://schemas.microsoft.com/office/drawing/2014/main" id="{CD9C4546-DDBE-135E-4F9C-3ADBF373983D}"/>
                  </a:ext>
                </a:extLst>
              </p:cNvPr>
              <p:cNvSpPr/>
              <p:nvPr/>
            </p:nvSpPr>
            <p:spPr>
              <a:xfrm>
                <a:off x="1782118" y="3880742"/>
                <a:ext cx="401" cy="338"/>
              </a:xfrm>
              <a:custGeom>
                <a:avLst/>
                <a:gdLst>
                  <a:gd name="connsiteX0" fmla="*/ 3815 w 3842"/>
                  <a:gd name="connsiteY0" fmla="*/ 2195 h 3238"/>
                  <a:gd name="connsiteX1" fmla="*/ 1893 w 3842"/>
                  <a:gd name="connsiteY1" fmla="*/ 3238 h 3238"/>
                  <a:gd name="connsiteX2" fmla="*/ 0 w 3842"/>
                  <a:gd name="connsiteY2" fmla="*/ 549 h 3238"/>
                  <a:gd name="connsiteX3" fmla="*/ 3074 w 3842"/>
                  <a:gd name="connsiteY3" fmla="*/ 0 h 3238"/>
                  <a:gd name="connsiteX4" fmla="*/ 3842 w 3842"/>
                  <a:gd name="connsiteY4" fmla="*/ 2168 h 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2" h="3238">
                    <a:moveTo>
                      <a:pt x="3815" y="2195"/>
                    </a:moveTo>
                    <a:lnTo>
                      <a:pt x="1893" y="3238"/>
                    </a:lnTo>
                    <a:lnTo>
                      <a:pt x="0" y="549"/>
                    </a:lnTo>
                    <a:lnTo>
                      <a:pt x="3074" y="0"/>
                    </a:lnTo>
                    <a:lnTo>
                      <a:pt x="3842"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2" name="Freeform: Shape 4601">
                <a:extLst>
                  <a:ext uri="{FF2B5EF4-FFF2-40B4-BE49-F238E27FC236}">
                    <a16:creationId xmlns:a16="http://schemas.microsoft.com/office/drawing/2014/main" id="{A1EB4897-3650-672D-0A74-3CD1D7CC8982}"/>
                  </a:ext>
                </a:extLst>
              </p:cNvPr>
              <p:cNvSpPr/>
              <p:nvPr/>
            </p:nvSpPr>
            <p:spPr>
              <a:xfrm>
                <a:off x="1774619" y="3879778"/>
                <a:ext cx="386" cy="352"/>
              </a:xfrm>
              <a:custGeom>
                <a:avLst/>
                <a:gdLst>
                  <a:gd name="connsiteX0" fmla="*/ 2552 w 3705"/>
                  <a:gd name="connsiteY0" fmla="*/ 27 h 3375"/>
                  <a:gd name="connsiteX1" fmla="*/ 3705 w 3705"/>
                  <a:gd name="connsiteY1" fmla="*/ 3376 h 3375"/>
                  <a:gd name="connsiteX2" fmla="*/ 1235 w 3705"/>
                  <a:gd name="connsiteY2" fmla="*/ 3183 h 3375"/>
                  <a:gd name="connsiteX3" fmla="*/ 0 w 3705"/>
                  <a:gd name="connsiteY3" fmla="*/ 1400 h 3375"/>
                  <a:gd name="connsiteX4" fmla="*/ 2552 w 3705"/>
                  <a:gd name="connsiteY4" fmla="*/ 0 h 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5" h="3375">
                    <a:moveTo>
                      <a:pt x="2552" y="27"/>
                    </a:moveTo>
                    <a:lnTo>
                      <a:pt x="3705" y="3376"/>
                    </a:lnTo>
                    <a:lnTo>
                      <a:pt x="1235" y="3183"/>
                    </a:lnTo>
                    <a:lnTo>
                      <a:pt x="0" y="1400"/>
                    </a:lnTo>
                    <a:lnTo>
                      <a:pt x="2552"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3" name="Freeform: Shape 4602">
                <a:extLst>
                  <a:ext uri="{FF2B5EF4-FFF2-40B4-BE49-F238E27FC236}">
                    <a16:creationId xmlns:a16="http://schemas.microsoft.com/office/drawing/2014/main" id="{A6DD1C64-2A4A-F0E9-5024-116FC76DE141}"/>
                  </a:ext>
                </a:extLst>
              </p:cNvPr>
              <p:cNvSpPr/>
              <p:nvPr/>
            </p:nvSpPr>
            <p:spPr>
              <a:xfrm>
                <a:off x="1774937" y="3949052"/>
                <a:ext cx="404" cy="369"/>
              </a:xfrm>
              <a:custGeom>
                <a:avLst/>
                <a:gdLst>
                  <a:gd name="connsiteX0" fmla="*/ 3842 w 3869"/>
                  <a:gd name="connsiteY0" fmla="*/ 2388 h 3540"/>
                  <a:gd name="connsiteX1" fmla="*/ 1866 w 3869"/>
                  <a:gd name="connsiteY1" fmla="*/ 3540 h 3540"/>
                  <a:gd name="connsiteX2" fmla="*/ 0 w 3869"/>
                  <a:gd name="connsiteY2" fmla="*/ 796 h 3540"/>
                  <a:gd name="connsiteX3" fmla="*/ 3677 w 3869"/>
                  <a:gd name="connsiteY3" fmla="*/ 0 h 3540"/>
                  <a:gd name="connsiteX4" fmla="*/ 3869 w 3869"/>
                  <a:gd name="connsiteY4" fmla="*/ 2388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3540">
                    <a:moveTo>
                      <a:pt x="3842" y="2388"/>
                    </a:moveTo>
                    <a:lnTo>
                      <a:pt x="1866" y="3540"/>
                    </a:lnTo>
                    <a:lnTo>
                      <a:pt x="0" y="796"/>
                    </a:lnTo>
                    <a:lnTo>
                      <a:pt x="3677" y="0"/>
                    </a:lnTo>
                    <a:lnTo>
                      <a:pt x="3869"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4" name="Freeform: Shape 4603">
                <a:extLst>
                  <a:ext uri="{FF2B5EF4-FFF2-40B4-BE49-F238E27FC236}">
                    <a16:creationId xmlns:a16="http://schemas.microsoft.com/office/drawing/2014/main" id="{3345D074-5D4B-CF45-2825-7EAD61B5BB57}"/>
                  </a:ext>
                </a:extLst>
              </p:cNvPr>
              <p:cNvSpPr/>
              <p:nvPr/>
            </p:nvSpPr>
            <p:spPr>
              <a:xfrm>
                <a:off x="1782525" y="3881664"/>
                <a:ext cx="258" cy="495"/>
              </a:xfrm>
              <a:custGeom>
                <a:avLst/>
                <a:gdLst>
                  <a:gd name="connsiteX0" fmla="*/ 1591 w 2469"/>
                  <a:gd name="connsiteY0" fmla="*/ 4720 h 4747"/>
                  <a:gd name="connsiteX1" fmla="*/ 1481 w 2469"/>
                  <a:gd name="connsiteY1" fmla="*/ 4720 h 4747"/>
                  <a:gd name="connsiteX2" fmla="*/ 0 w 2469"/>
                  <a:gd name="connsiteY2" fmla="*/ 2470 h 4747"/>
                  <a:gd name="connsiteX3" fmla="*/ 82 w 2469"/>
                  <a:gd name="connsiteY3" fmla="*/ 1098 h 4747"/>
                  <a:gd name="connsiteX4" fmla="*/ 2167 w 2469"/>
                  <a:gd name="connsiteY4" fmla="*/ 0 h 4747"/>
                  <a:gd name="connsiteX5" fmla="*/ 2470 w 2469"/>
                  <a:gd name="connsiteY5" fmla="*/ 1784 h 4747"/>
                  <a:gd name="connsiteX6" fmla="*/ 1591 w 2469"/>
                  <a:gd name="connsiteY6" fmla="*/ 4748 h 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9" h="4747">
                    <a:moveTo>
                      <a:pt x="1591" y="4720"/>
                    </a:moveTo>
                    <a:lnTo>
                      <a:pt x="1481" y="4720"/>
                    </a:lnTo>
                    <a:lnTo>
                      <a:pt x="0" y="2470"/>
                    </a:lnTo>
                    <a:lnTo>
                      <a:pt x="82" y="1098"/>
                    </a:lnTo>
                    <a:lnTo>
                      <a:pt x="2167" y="0"/>
                    </a:lnTo>
                    <a:lnTo>
                      <a:pt x="2470" y="1784"/>
                    </a:lnTo>
                    <a:lnTo>
                      <a:pt x="1591" y="47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5" name="Freeform: Shape 4604">
                <a:extLst>
                  <a:ext uri="{FF2B5EF4-FFF2-40B4-BE49-F238E27FC236}">
                    <a16:creationId xmlns:a16="http://schemas.microsoft.com/office/drawing/2014/main" id="{07330A93-01C2-8CA4-9747-EBE7477DBAB4}"/>
                  </a:ext>
                </a:extLst>
              </p:cNvPr>
              <p:cNvSpPr/>
              <p:nvPr/>
            </p:nvSpPr>
            <p:spPr>
              <a:xfrm>
                <a:off x="1822254" y="3907723"/>
                <a:ext cx="338" cy="392"/>
              </a:xfrm>
              <a:custGeom>
                <a:avLst/>
                <a:gdLst>
                  <a:gd name="connsiteX0" fmla="*/ 3239 w 3238"/>
                  <a:gd name="connsiteY0" fmla="*/ 3403 h 3759"/>
                  <a:gd name="connsiteX1" fmla="*/ 0 w 3238"/>
                  <a:gd name="connsiteY1" fmla="*/ 3760 h 3759"/>
                  <a:gd name="connsiteX2" fmla="*/ 110 w 3238"/>
                  <a:gd name="connsiteY2" fmla="*/ 1015 h 3759"/>
                  <a:gd name="connsiteX3" fmla="*/ 1400 w 3238"/>
                  <a:gd name="connsiteY3" fmla="*/ 0 h 3759"/>
                  <a:gd name="connsiteX4" fmla="*/ 3239 w 3238"/>
                  <a:gd name="connsiteY4" fmla="*/ 3403 h 3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3759">
                    <a:moveTo>
                      <a:pt x="3239" y="3403"/>
                    </a:moveTo>
                    <a:lnTo>
                      <a:pt x="0" y="3760"/>
                    </a:lnTo>
                    <a:lnTo>
                      <a:pt x="110" y="1015"/>
                    </a:lnTo>
                    <a:lnTo>
                      <a:pt x="1400" y="0"/>
                    </a:lnTo>
                    <a:lnTo>
                      <a:pt x="3239"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6" name="Freeform: Shape 4605">
                <a:extLst>
                  <a:ext uri="{FF2B5EF4-FFF2-40B4-BE49-F238E27FC236}">
                    <a16:creationId xmlns:a16="http://schemas.microsoft.com/office/drawing/2014/main" id="{7C2A85B6-44DE-BD7C-95C6-F0E9C363FDE0}"/>
                  </a:ext>
                </a:extLst>
              </p:cNvPr>
              <p:cNvSpPr/>
              <p:nvPr/>
            </p:nvSpPr>
            <p:spPr>
              <a:xfrm>
                <a:off x="1819747" y="3980509"/>
                <a:ext cx="381" cy="429"/>
              </a:xfrm>
              <a:custGeom>
                <a:avLst/>
                <a:gdLst>
                  <a:gd name="connsiteX0" fmla="*/ 3623 w 3650"/>
                  <a:gd name="connsiteY0" fmla="*/ 1701 h 4116"/>
                  <a:gd name="connsiteX1" fmla="*/ 1949 w 3650"/>
                  <a:gd name="connsiteY1" fmla="*/ 4116 h 4116"/>
                  <a:gd name="connsiteX2" fmla="*/ 0 w 3650"/>
                  <a:gd name="connsiteY2" fmla="*/ 2908 h 4116"/>
                  <a:gd name="connsiteX3" fmla="*/ 549 w 3650"/>
                  <a:gd name="connsiteY3" fmla="*/ 494 h 4116"/>
                  <a:gd name="connsiteX4" fmla="*/ 2168 w 3650"/>
                  <a:gd name="connsiteY4" fmla="*/ 0 h 4116"/>
                  <a:gd name="connsiteX5" fmla="*/ 3650 w 3650"/>
                  <a:gd name="connsiteY5" fmla="*/ 1701 h 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0" h="4116">
                    <a:moveTo>
                      <a:pt x="3623" y="1701"/>
                    </a:moveTo>
                    <a:lnTo>
                      <a:pt x="1949" y="4116"/>
                    </a:lnTo>
                    <a:lnTo>
                      <a:pt x="0" y="2908"/>
                    </a:lnTo>
                    <a:lnTo>
                      <a:pt x="549" y="494"/>
                    </a:lnTo>
                    <a:lnTo>
                      <a:pt x="2168" y="0"/>
                    </a:lnTo>
                    <a:lnTo>
                      <a:pt x="3650"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7" name="Freeform: Shape 4606">
                <a:extLst>
                  <a:ext uri="{FF2B5EF4-FFF2-40B4-BE49-F238E27FC236}">
                    <a16:creationId xmlns:a16="http://schemas.microsoft.com/office/drawing/2014/main" id="{4AD4B0D7-78FC-12A2-A288-EF88A3C5BB8D}"/>
                  </a:ext>
                </a:extLst>
              </p:cNvPr>
              <p:cNvSpPr/>
              <p:nvPr/>
            </p:nvSpPr>
            <p:spPr>
              <a:xfrm>
                <a:off x="1783521" y="3885388"/>
                <a:ext cx="349" cy="358"/>
              </a:xfrm>
              <a:custGeom>
                <a:avLst/>
                <a:gdLst>
                  <a:gd name="connsiteX0" fmla="*/ 3348 w 3347"/>
                  <a:gd name="connsiteY0" fmla="*/ 905 h 3430"/>
                  <a:gd name="connsiteX1" fmla="*/ 1811 w 3347"/>
                  <a:gd name="connsiteY1" fmla="*/ 3430 h 3430"/>
                  <a:gd name="connsiteX2" fmla="*/ 384 w 3347"/>
                  <a:gd name="connsiteY2" fmla="*/ 3238 h 3430"/>
                  <a:gd name="connsiteX3" fmla="*/ 0 w 3347"/>
                  <a:gd name="connsiteY3" fmla="*/ 0 h 3430"/>
                  <a:gd name="connsiteX4" fmla="*/ 3320 w 3347"/>
                  <a:gd name="connsiteY4" fmla="*/ 905 h 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7" h="3430">
                    <a:moveTo>
                      <a:pt x="3348" y="905"/>
                    </a:moveTo>
                    <a:lnTo>
                      <a:pt x="1811" y="3430"/>
                    </a:lnTo>
                    <a:lnTo>
                      <a:pt x="384" y="3238"/>
                    </a:lnTo>
                    <a:lnTo>
                      <a:pt x="0" y="0"/>
                    </a:lnTo>
                    <a:lnTo>
                      <a:pt x="3320"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8" name="Freeform: Shape 4607">
                <a:extLst>
                  <a:ext uri="{FF2B5EF4-FFF2-40B4-BE49-F238E27FC236}">
                    <a16:creationId xmlns:a16="http://schemas.microsoft.com/office/drawing/2014/main" id="{6BB37A32-9D2A-F43A-6704-50CC7FBD29DC}"/>
                  </a:ext>
                </a:extLst>
              </p:cNvPr>
              <p:cNvSpPr/>
              <p:nvPr/>
            </p:nvSpPr>
            <p:spPr>
              <a:xfrm>
                <a:off x="1802870" y="3873275"/>
                <a:ext cx="487" cy="249"/>
              </a:xfrm>
              <a:custGeom>
                <a:avLst/>
                <a:gdLst>
                  <a:gd name="connsiteX0" fmla="*/ 4089 w 4665"/>
                  <a:gd name="connsiteY0" fmla="*/ 2031 h 2387"/>
                  <a:gd name="connsiteX1" fmla="*/ 1126 w 4665"/>
                  <a:gd name="connsiteY1" fmla="*/ 2388 h 2387"/>
                  <a:gd name="connsiteX2" fmla="*/ 0 w 4665"/>
                  <a:gd name="connsiteY2" fmla="*/ 1455 h 2387"/>
                  <a:gd name="connsiteX3" fmla="*/ 2305 w 4665"/>
                  <a:gd name="connsiteY3" fmla="*/ 0 h 2387"/>
                  <a:gd name="connsiteX4" fmla="*/ 4665 w 4665"/>
                  <a:gd name="connsiteY4" fmla="*/ 549 h 2387"/>
                  <a:gd name="connsiteX5" fmla="*/ 4062 w 4665"/>
                  <a:gd name="connsiteY5" fmla="*/ 2058 h 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5" h="2387">
                    <a:moveTo>
                      <a:pt x="4089" y="2031"/>
                    </a:moveTo>
                    <a:lnTo>
                      <a:pt x="1126" y="2388"/>
                    </a:lnTo>
                    <a:lnTo>
                      <a:pt x="0" y="1455"/>
                    </a:lnTo>
                    <a:lnTo>
                      <a:pt x="2305" y="0"/>
                    </a:lnTo>
                    <a:lnTo>
                      <a:pt x="4665" y="549"/>
                    </a:lnTo>
                    <a:lnTo>
                      <a:pt x="4062"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09" name="Freeform: Shape 4608">
                <a:extLst>
                  <a:ext uri="{FF2B5EF4-FFF2-40B4-BE49-F238E27FC236}">
                    <a16:creationId xmlns:a16="http://schemas.microsoft.com/office/drawing/2014/main" id="{2AE8D35B-E714-D2DC-E84F-E0F9E968F546}"/>
                  </a:ext>
                </a:extLst>
              </p:cNvPr>
              <p:cNvSpPr/>
              <p:nvPr/>
            </p:nvSpPr>
            <p:spPr>
              <a:xfrm>
                <a:off x="1801462" y="3872837"/>
                <a:ext cx="424" cy="278"/>
              </a:xfrm>
              <a:custGeom>
                <a:avLst/>
                <a:gdLst>
                  <a:gd name="connsiteX0" fmla="*/ 4062 w 4061"/>
                  <a:gd name="connsiteY0" fmla="*/ 1592 h 2662"/>
                  <a:gd name="connsiteX1" fmla="*/ 82 w 4061"/>
                  <a:gd name="connsiteY1" fmla="*/ 2662 h 2662"/>
                  <a:gd name="connsiteX2" fmla="*/ 0 w 4061"/>
                  <a:gd name="connsiteY2" fmla="*/ 302 h 2662"/>
                  <a:gd name="connsiteX3" fmla="*/ 2717 w 4061"/>
                  <a:gd name="connsiteY3" fmla="*/ 0 h 2662"/>
                  <a:gd name="connsiteX4" fmla="*/ 4062 w 4061"/>
                  <a:gd name="connsiteY4" fmla="*/ 1592 h 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2662">
                    <a:moveTo>
                      <a:pt x="4062" y="1592"/>
                    </a:moveTo>
                    <a:lnTo>
                      <a:pt x="82" y="2662"/>
                    </a:lnTo>
                    <a:lnTo>
                      <a:pt x="0" y="302"/>
                    </a:lnTo>
                    <a:lnTo>
                      <a:pt x="2717" y="0"/>
                    </a:lnTo>
                    <a:lnTo>
                      <a:pt x="4062" y="1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10" name="Freeform: Shape 4609">
                <a:extLst>
                  <a:ext uri="{FF2B5EF4-FFF2-40B4-BE49-F238E27FC236}">
                    <a16:creationId xmlns:a16="http://schemas.microsoft.com/office/drawing/2014/main" id="{A7D2B575-EE59-5632-96D5-93BAA000A8AC}"/>
                  </a:ext>
                </a:extLst>
              </p:cNvPr>
              <p:cNvSpPr/>
              <p:nvPr/>
            </p:nvSpPr>
            <p:spPr>
              <a:xfrm>
                <a:off x="1814901" y="3902802"/>
                <a:ext cx="378" cy="306"/>
              </a:xfrm>
              <a:custGeom>
                <a:avLst/>
                <a:gdLst>
                  <a:gd name="connsiteX0" fmla="*/ 2992 w 3622"/>
                  <a:gd name="connsiteY0" fmla="*/ 0 h 2936"/>
                  <a:gd name="connsiteX1" fmla="*/ 3623 w 3622"/>
                  <a:gd name="connsiteY1" fmla="*/ 2936 h 2936"/>
                  <a:gd name="connsiteX2" fmla="*/ 0 w 3622"/>
                  <a:gd name="connsiteY2" fmla="*/ 2717 h 2936"/>
                  <a:gd name="connsiteX3" fmla="*/ 1400 w 3622"/>
                  <a:gd name="connsiteY3" fmla="*/ 0 h 2936"/>
                  <a:gd name="connsiteX4" fmla="*/ 2992 w 3622"/>
                  <a:gd name="connsiteY4" fmla="*/ 0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2936">
                    <a:moveTo>
                      <a:pt x="2992" y="0"/>
                    </a:moveTo>
                    <a:lnTo>
                      <a:pt x="3623" y="2936"/>
                    </a:lnTo>
                    <a:lnTo>
                      <a:pt x="0" y="2717"/>
                    </a:lnTo>
                    <a:lnTo>
                      <a:pt x="1400" y="0"/>
                    </a:lnTo>
                    <a:lnTo>
                      <a:pt x="2992"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11" name="Freeform: Shape 4610">
                <a:extLst>
                  <a:ext uri="{FF2B5EF4-FFF2-40B4-BE49-F238E27FC236}">
                    <a16:creationId xmlns:a16="http://schemas.microsoft.com/office/drawing/2014/main" id="{BA6F94B5-CC62-75D2-D9AE-E8EA4DCC1689}"/>
                  </a:ext>
                </a:extLst>
              </p:cNvPr>
              <p:cNvSpPr/>
              <p:nvPr/>
            </p:nvSpPr>
            <p:spPr>
              <a:xfrm>
                <a:off x="1809273" y="3980432"/>
                <a:ext cx="292" cy="489"/>
              </a:xfrm>
              <a:custGeom>
                <a:avLst/>
                <a:gdLst>
                  <a:gd name="connsiteX0" fmla="*/ 2799 w 2799"/>
                  <a:gd name="connsiteY0" fmla="*/ 27 h 4692"/>
                  <a:gd name="connsiteX1" fmla="*/ 2497 w 2799"/>
                  <a:gd name="connsiteY1" fmla="*/ 4693 h 4692"/>
                  <a:gd name="connsiteX2" fmla="*/ 604 w 2799"/>
                  <a:gd name="connsiteY2" fmla="*/ 4336 h 4692"/>
                  <a:gd name="connsiteX3" fmla="*/ 0 w 2799"/>
                  <a:gd name="connsiteY3" fmla="*/ 1262 h 4692"/>
                  <a:gd name="connsiteX4" fmla="*/ 2799 w 2799"/>
                  <a:gd name="connsiteY4" fmla="*/ 0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9" h="4692">
                    <a:moveTo>
                      <a:pt x="2799" y="27"/>
                    </a:moveTo>
                    <a:lnTo>
                      <a:pt x="2497" y="4693"/>
                    </a:lnTo>
                    <a:lnTo>
                      <a:pt x="604" y="4336"/>
                    </a:lnTo>
                    <a:lnTo>
                      <a:pt x="0" y="1262"/>
                    </a:lnTo>
                    <a:lnTo>
                      <a:pt x="2799"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12" name="Freeform: Shape 4611">
                <a:extLst>
                  <a:ext uri="{FF2B5EF4-FFF2-40B4-BE49-F238E27FC236}">
                    <a16:creationId xmlns:a16="http://schemas.microsoft.com/office/drawing/2014/main" id="{AE36B037-86D1-D3B7-E5C8-7624F25FD397}"/>
                  </a:ext>
                </a:extLst>
              </p:cNvPr>
              <p:cNvSpPr/>
              <p:nvPr/>
            </p:nvSpPr>
            <p:spPr>
              <a:xfrm>
                <a:off x="1781569" y="3890477"/>
                <a:ext cx="395" cy="255"/>
              </a:xfrm>
              <a:custGeom>
                <a:avLst/>
                <a:gdLst>
                  <a:gd name="connsiteX0" fmla="*/ 3787 w 3786"/>
                  <a:gd name="connsiteY0" fmla="*/ 2251 h 2442"/>
                  <a:gd name="connsiteX1" fmla="*/ 1400 w 3786"/>
                  <a:gd name="connsiteY1" fmla="*/ 2442 h 2442"/>
                  <a:gd name="connsiteX2" fmla="*/ 0 w 3786"/>
                  <a:gd name="connsiteY2" fmla="*/ 0 h 2442"/>
                  <a:gd name="connsiteX3" fmla="*/ 3650 w 3786"/>
                  <a:gd name="connsiteY3" fmla="*/ 0 h 2442"/>
                  <a:gd name="connsiteX4" fmla="*/ 3787 w 3786"/>
                  <a:gd name="connsiteY4" fmla="*/ 2251 h 2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6" h="2442">
                    <a:moveTo>
                      <a:pt x="3787" y="2251"/>
                    </a:moveTo>
                    <a:lnTo>
                      <a:pt x="1400" y="2442"/>
                    </a:lnTo>
                    <a:lnTo>
                      <a:pt x="0" y="0"/>
                    </a:lnTo>
                    <a:lnTo>
                      <a:pt x="3650" y="0"/>
                    </a:lnTo>
                    <a:lnTo>
                      <a:pt x="3787" y="22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13" name="Freeform: Shape 4612">
                <a:extLst>
                  <a:ext uri="{FF2B5EF4-FFF2-40B4-BE49-F238E27FC236}">
                    <a16:creationId xmlns:a16="http://schemas.microsoft.com/office/drawing/2014/main" id="{22D88879-A701-050C-E9DF-D1EBA7969852}"/>
                  </a:ext>
                </a:extLst>
              </p:cNvPr>
              <p:cNvSpPr/>
              <p:nvPr/>
            </p:nvSpPr>
            <p:spPr>
              <a:xfrm>
                <a:off x="1822028" y="3907371"/>
                <a:ext cx="303" cy="318"/>
              </a:xfrm>
              <a:custGeom>
                <a:avLst/>
                <a:gdLst>
                  <a:gd name="connsiteX0" fmla="*/ 2908 w 2908"/>
                  <a:gd name="connsiteY0" fmla="*/ 0 h 3046"/>
                  <a:gd name="connsiteX1" fmla="*/ 2826 w 2908"/>
                  <a:gd name="connsiteY1" fmla="*/ 3046 h 3046"/>
                  <a:gd name="connsiteX2" fmla="*/ 0 w 2908"/>
                  <a:gd name="connsiteY2" fmla="*/ 2717 h 3046"/>
                  <a:gd name="connsiteX3" fmla="*/ 411 w 2908"/>
                  <a:gd name="connsiteY3" fmla="*/ 165 h 3046"/>
                  <a:gd name="connsiteX4" fmla="*/ 2908 w 2908"/>
                  <a:gd name="connsiteY4" fmla="*/ 0 h 3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 h="3046">
                    <a:moveTo>
                      <a:pt x="2908" y="0"/>
                    </a:moveTo>
                    <a:lnTo>
                      <a:pt x="2826" y="3046"/>
                    </a:lnTo>
                    <a:lnTo>
                      <a:pt x="0" y="2717"/>
                    </a:lnTo>
                    <a:lnTo>
                      <a:pt x="411" y="165"/>
                    </a:lnTo>
                    <a:lnTo>
                      <a:pt x="290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14" name="Freeform: Shape 4613">
                <a:extLst>
                  <a:ext uri="{FF2B5EF4-FFF2-40B4-BE49-F238E27FC236}">
                    <a16:creationId xmlns:a16="http://schemas.microsoft.com/office/drawing/2014/main" id="{ACE53866-434B-1983-3983-D0A9D4F4A50A}"/>
                  </a:ext>
                </a:extLst>
              </p:cNvPr>
              <p:cNvSpPr/>
              <p:nvPr/>
            </p:nvSpPr>
            <p:spPr>
              <a:xfrm>
                <a:off x="1766333" y="3845541"/>
                <a:ext cx="31654" cy="27049"/>
              </a:xfrm>
              <a:custGeom>
                <a:avLst/>
                <a:gdLst>
                  <a:gd name="connsiteX0" fmla="*/ 50989 w 303491"/>
                  <a:gd name="connsiteY0" fmla="*/ 0 h 259336"/>
                  <a:gd name="connsiteX1" fmla="*/ 62048 w 303491"/>
                  <a:gd name="connsiteY1" fmla="*/ 1647 h 259336"/>
                  <a:gd name="connsiteX2" fmla="*/ 80600 w 303491"/>
                  <a:gd name="connsiteY2" fmla="*/ 10675 h 259336"/>
                  <a:gd name="connsiteX3" fmla="*/ 96572 w 303491"/>
                  <a:gd name="connsiteY3" fmla="*/ 11910 h 259336"/>
                  <a:gd name="connsiteX4" fmla="*/ 99014 w 303491"/>
                  <a:gd name="connsiteY4" fmla="*/ 14051 h 259336"/>
                  <a:gd name="connsiteX5" fmla="*/ 99343 w 303491"/>
                  <a:gd name="connsiteY5" fmla="*/ 19430 h 259336"/>
                  <a:gd name="connsiteX6" fmla="*/ 104283 w 303491"/>
                  <a:gd name="connsiteY6" fmla="*/ 29007 h 259336"/>
                  <a:gd name="connsiteX7" fmla="*/ 103405 w 303491"/>
                  <a:gd name="connsiteY7" fmla="*/ 31642 h 259336"/>
                  <a:gd name="connsiteX8" fmla="*/ 101264 w 303491"/>
                  <a:gd name="connsiteY8" fmla="*/ 39655 h 259336"/>
                  <a:gd name="connsiteX9" fmla="*/ 101786 w 303491"/>
                  <a:gd name="connsiteY9" fmla="*/ 52416 h 259336"/>
                  <a:gd name="connsiteX10" fmla="*/ 103790 w 303491"/>
                  <a:gd name="connsiteY10" fmla="*/ 59140 h 259336"/>
                  <a:gd name="connsiteX11" fmla="*/ 109799 w 303491"/>
                  <a:gd name="connsiteY11" fmla="*/ 68662 h 259336"/>
                  <a:gd name="connsiteX12" fmla="*/ 112763 w 303491"/>
                  <a:gd name="connsiteY12" fmla="*/ 65644 h 259336"/>
                  <a:gd name="connsiteX13" fmla="*/ 114931 w 303491"/>
                  <a:gd name="connsiteY13" fmla="*/ 65699 h 259336"/>
                  <a:gd name="connsiteX14" fmla="*/ 117648 w 303491"/>
                  <a:gd name="connsiteY14" fmla="*/ 73822 h 259336"/>
                  <a:gd name="connsiteX15" fmla="*/ 123411 w 303491"/>
                  <a:gd name="connsiteY15" fmla="*/ 83097 h 259336"/>
                  <a:gd name="connsiteX16" fmla="*/ 130437 w 303491"/>
                  <a:gd name="connsiteY16" fmla="*/ 87379 h 259336"/>
                  <a:gd name="connsiteX17" fmla="*/ 138669 w 303491"/>
                  <a:gd name="connsiteY17" fmla="*/ 87433 h 259336"/>
                  <a:gd name="connsiteX18" fmla="*/ 151540 w 303491"/>
                  <a:gd name="connsiteY18" fmla="*/ 77636 h 259336"/>
                  <a:gd name="connsiteX19" fmla="*/ 168829 w 303491"/>
                  <a:gd name="connsiteY19" fmla="*/ 56368 h 259336"/>
                  <a:gd name="connsiteX20" fmla="*/ 183017 w 303491"/>
                  <a:gd name="connsiteY20" fmla="*/ 53239 h 259336"/>
                  <a:gd name="connsiteX21" fmla="*/ 190399 w 303491"/>
                  <a:gd name="connsiteY21" fmla="*/ 49617 h 259336"/>
                  <a:gd name="connsiteX22" fmla="*/ 189329 w 303491"/>
                  <a:gd name="connsiteY22" fmla="*/ 44101 h 259336"/>
                  <a:gd name="connsiteX23" fmla="*/ 190564 w 303491"/>
                  <a:gd name="connsiteY23" fmla="*/ 41988 h 259336"/>
                  <a:gd name="connsiteX24" fmla="*/ 204340 w 303491"/>
                  <a:gd name="connsiteY24" fmla="*/ 34962 h 259336"/>
                  <a:gd name="connsiteX25" fmla="*/ 210790 w 303491"/>
                  <a:gd name="connsiteY25" fmla="*/ 33645 h 259336"/>
                  <a:gd name="connsiteX26" fmla="*/ 266087 w 303491"/>
                  <a:gd name="connsiteY26" fmla="*/ 58262 h 259336"/>
                  <a:gd name="connsiteX27" fmla="*/ 276872 w 303491"/>
                  <a:gd name="connsiteY27" fmla="*/ 58728 h 259336"/>
                  <a:gd name="connsiteX28" fmla="*/ 291993 w 303491"/>
                  <a:gd name="connsiteY28" fmla="*/ 62378 h 259336"/>
                  <a:gd name="connsiteX29" fmla="*/ 297043 w 303491"/>
                  <a:gd name="connsiteY29" fmla="*/ 65891 h 259336"/>
                  <a:gd name="connsiteX30" fmla="*/ 302943 w 303491"/>
                  <a:gd name="connsiteY30" fmla="*/ 66385 h 259336"/>
                  <a:gd name="connsiteX31" fmla="*/ 302943 w 303491"/>
                  <a:gd name="connsiteY31" fmla="*/ 173522 h 259336"/>
                  <a:gd name="connsiteX32" fmla="*/ 300747 w 303491"/>
                  <a:gd name="connsiteY32" fmla="*/ 181261 h 259336"/>
                  <a:gd name="connsiteX33" fmla="*/ 298964 w 303491"/>
                  <a:gd name="connsiteY33" fmla="*/ 187491 h 259336"/>
                  <a:gd name="connsiteX34" fmla="*/ 303437 w 303491"/>
                  <a:gd name="connsiteY34" fmla="*/ 194982 h 259336"/>
                  <a:gd name="connsiteX35" fmla="*/ 303491 w 303491"/>
                  <a:gd name="connsiteY35" fmla="*/ 259336 h 259336"/>
                  <a:gd name="connsiteX36" fmla="*/ 268310 w 303491"/>
                  <a:gd name="connsiteY36" fmla="*/ 229176 h 259336"/>
                  <a:gd name="connsiteX37" fmla="*/ 248331 w 303491"/>
                  <a:gd name="connsiteY37" fmla="*/ 229369 h 259336"/>
                  <a:gd name="connsiteX38" fmla="*/ 238699 w 303491"/>
                  <a:gd name="connsiteY38" fmla="*/ 236559 h 259336"/>
                  <a:gd name="connsiteX39" fmla="*/ 231756 w 303491"/>
                  <a:gd name="connsiteY39" fmla="*/ 236174 h 259336"/>
                  <a:gd name="connsiteX40" fmla="*/ 222535 w 303491"/>
                  <a:gd name="connsiteY40" fmla="*/ 238233 h 259336"/>
                  <a:gd name="connsiteX41" fmla="*/ 206151 w 303491"/>
                  <a:gd name="connsiteY41" fmla="*/ 236449 h 259336"/>
                  <a:gd name="connsiteX42" fmla="*/ 212546 w 303491"/>
                  <a:gd name="connsiteY42" fmla="*/ 220998 h 259336"/>
                  <a:gd name="connsiteX43" fmla="*/ 217760 w 303491"/>
                  <a:gd name="connsiteY43" fmla="*/ 214824 h 259336"/>
                  <a:gd name="connsiteX44" fmla="*/ 232031 w 303491"/>
                  <a:gd name="connsiteY44" fmla="*/ 208292 h 259336"/>
                  <a:gd name="connsiteX45" fmla="*/ 238919 w 303491"/>
                  <a:gd name="connsiteY45" fmla="*/ 208622 h 259336"/>
                  <a:gd name="connsiteX46" fmla="*/ 237876 w 303491"/>
                  <a:gd name="connsiteY46" fmla="*/ 203792 h 259336"/>
                  <a:gd name="connsiteX47" fmla="*/ 239906 w 303491"/>
                  <a:gd name="connsiteY47" fmla="*/ 200938 h 259336"/>
                  <a:gd name="connsiteX48" fmla="*/ 233046 w 303491"/>
                  <a:gd name="connsiteY48" fmla="*/ 195092 h 259336"/>
                  <a:gd name="connsiteX49" fmla="*/ 232414 w 303491"/>
                  <a:gd name="connsiteY49" fmla="*/ 183347 h 259336"/>
                  <a:gd name="connsiteX50" fmla="*/ 214083 w 303491"/>
                  <a:gd name="connsiteY50" fmla="*/ 150882 h 259336"/>
                  <a:gd name="connsiteX51" fmla="*/ 202886 w 303491"/>
                  <a:gd name="connsiteY51" fmla="*/ 142374 h 259336"/>
                  <a:gd name="connsiteX52" fmla="*/ 183017 w 303491"/>
                  <a:gd name="connsiteY52" fmla="*/ 134196 h 259336"/>
                  <a:gd name="connsiteX53" fmla="*/ 157687 w 303491"/>
                  <a:gd name="connsiteY53" fmla="*/ 124097 h 259336"/>
                  <a:gd name="connsiteX54" fmla="*/ 129421 w 303491"/>
                  <a:gd name="connsiteY54" fmla="*/ 118307 h 259336"/>
                  <a:gd name="connsiteX55" fmla="*/ 120859 w 303491"/>
                  <a:gd name="connsiteY55" fmla="*/ 113450 h 259336"/>
                  <a:gd name="connsiteX56" fmla="*/ 115178 w 303491"/>
                  <a:gd name="connsiteY56" fmla="*/ 107824 h 259336"/>
                  <a:gd name="connsiteX57" fmla="*/ 106396 w 303491"/>
                  <a:gd name="connsiteY57" fmla="*/ 105765 h 259336"/>
                  <a:gd name="connsiteX58" fmla="*/ 95419 w 303491"/>
                  <a:gd name="connsiteY58" fmla="*/ 100002 h 259336"/>
                  <a:gd name="connsiteX59" fmla="*/ 87351 w 303491"/>
                  <a:gd name="connsiteY59" fmla="*/ 93553 h 259336"/>
                  <a:gd name="connsiteX60" fmla="*/ 75935 w 303491"/>
                  <a:gd name="connsiteY60" fmla="*/ 106836 h 259336"/>
                  <a:gd name="connsiteX61" fmla="*/ 70035 w 303491"/>
                  <a:gd name="connsiteY61" fmla="*/ 108894 h 259336"/>
                  <a:gd name="connsiteX62" fmla="*/ 66083 w 303491"/>
                  <a:gd name="connsiteY62" fmla="*/ 108153 h 259336"/>
                  <a:gd name="connsiteX63" fmla="*/ 61993 w 303491"/>
                  <a:gd name="connsiteY63" fmla="*/ 101045 h 259336"/>
                  <a:gd name="connsiteX64" fmla="*/ 63256 w 303491"/>
                  <a:gd name="connsiteY64" fmla="*/ 94294 h 259336"/>
                  <a:gd name="connsiteX65" fmla="*/ 61417 w 303491"/>
                  <a:gd name="connsiteY65" fmla="*/ 88751 h 259336"/>
                  <a:gd name="connsiteX66" fmla="*/ 49946 w 303491"/>
                  <a:gd name="connsiteY66" fmla="*/ 78926 h 259336"/>
                  <a:gd name="connsiteX67" fmla="*/ 42097 w 303491"/>
                  <a:gd name="connsiteY67" fmla="*/ 75194 h 259336"/>
                  <a:gd name="connsiteX68" fmla="*/ 41137 w 303491"/>
                  <a:gd name="connsiteY68" fmla="*/ 72065 h 259336"/>
                  <a:gd name="connsiteX69" fmla="*/ 48135 w 303491"/>
                  <a:gd name="connsiteY69" fmla="*/ 68992 h 259336"/>
                  <a:gd name="connsiteX70" fmla="*/ 60292 w 303491"/>
                  <a:gd name="connsiteY70" fmla="*/ 69898 h 259336"/>
                  <a:gd name="connsiteX71" fmla="*/ 74014 w 303491"/>
                  <a:gd name="connsiteY71" fmla="*/ 62241 h 259336"/>
                  <a:gd name="connsiteX72" fmla="*/ 87570 w 303491"/>
                  <a:gd name="connsiteY72" fmla="*/ 63009 h 259336"/>
                  <a:gd name="connsiteX73" fmla="*/ 90808 w 303491"/>
                  <a:gd name="connsiteY73" fmla="*/ 60649 h 259336"/>
                  <a:gd name="connsiteX74" fmla="*/ 90973 w 303491"/>
                  <a:gd name="connsiteY74" fmla="*/ 58124 h 259336"/>
                  <a:gd name="connsiteX75" fmla="*/ 75441 w 303491"/>
                  <a:gd name="connsiteY75" fmla="*/ 55078 h 259336"/>
                  <a:gd name="connsiteX76" fmla="*/ 60045 w 303491"/>
                  <a:gd name="connsiteY76" fmla="*/ 56478 h 259336"/>
                  <a:gd name="connsiteX77" fmla="*/ 47476 w 303491"/>
                  <a:gd name="connsiteY77" fmla="*/ 55298 h 259336"/>
                  <a:gd name="connsiteX78" fmla="*/ 38832 w 303491"/>
                  <a:gd name="connsiteY78" fmla="*/ 47778 h 259336"/>
                  <a:gd name="connsiteX79" fmla="*/ 33892 w 303491"/>
                  <a:gd name="connsiteY79" fmla="*/ 37981 h 259336"/>
                  <a:gd name="connsiteX80" fmla="*/ 22586 w 303491"/>
                  <a:gd name="connsiteY80" fmla="*/ 33233 h 259336"/>
                  <a:gd name="connsiteX81" fmla="*/ 8809 w 303491"/>
                  <a:gd name="connsiteY81" fmla="*/ 31752 h 259336"/>
                  <a:gd name="connsiteX82" fmla="*/ 604 w 303491"/>
                  <a:gd name="connsiteY82" fmla="*/ 22640 h 259336"/>
                  <a:gd name="connsiteX83" fmla="*/ 0 w 303491"/>
                  <a:gd name="connsiteY83" fmla="*/ 19842 h 259336"/>
                  <a:gd name="connsiteX84" fmla="*/ 1317 w 303491"/>
                  <a:gd name="connsiteY84" fmla="*/ 18003 h 259336"/>
                  <a:gd name="connsiteX85" fmla="*/ 8837 w 303491"/>
                  <a:gd name="connsiteY85" fmla="*/ 17536 h 259336"/>
                  <a:gd name="connsiteX86" fmla="*/ 11444 w 303491"/>
                  <a:gd name="connsiteY86" fmla="*/ 19539 h 259336"/>
                  <a:gd name="connsiteX87" fmla="*/ 11306 w 303491"/>
                  <a:gd name="connsiteY87" fmla="*/ 23519 h 259336"/>
                  <a:gd name="connsiteX88" fmla="*/ 12843 w 303491"/>
                  <a:gd name="connsiteY88" fmla="*/ 24534 h 259336"/>
                  <a:gd name="connsiteX89" fmla="*/ 15258 w 303491"/>
                  <a:gd name="connsiteY89" fmla="*/ 21872 h 259336"/>
                  <a:gd name="connsiteX90" fmla="*/ 17618 w 303491"/>
                  <a:gd name="connsiteY90" fmla="*/ 14188 h 259336"/>
                  <a:gd name="connsiteX91" fmla="*/ 32108 w 303491"/>
                  <a:gd name="connsiteY91" fmla="*/ 10319 h 259336"/>
                  <a:gd name="connsiteX92" fmla="*/ 41055 w 303491"/>
                  <a:gd name="connsiteY92" fmla="*/ 3568 h 259336"/>
                  <a:gd name="connsiteX93" fmla="*/ 50962 w 303491"/>
                  <a:gd name="connsiteY93" fmla="*/ 55 h 25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03491" h="259336">
                    <a:moveTo>
                      <a:pt x="50989" y="0"/>
                    </a:moveTo>
                    <a:lnTo>
                      <a:pt x="62048" y="1647"/>
                    </a:lnTo>
                    <a:lnTo>
                      <a:pt x="80600" y="10675"/>
                    </a:lnTo>
                    <a:lnTo>
                      <a:pt x="96572" y="11910"/>
                    </a:lnTo>
                    <a:lnTo>
                      <a:pt x="99014" y="14051"/>
                    </a:lnTo>
                    <a:lnTo>
                      <a:pt x="99343" y="19430"/>
                    </a:lnTo>
                    <a:lnTo>
                      <a:pt x="104283" y="29007"/>
                    </a:lnTo>
                    <a:lnTo>
                      <a:pt x="103405" y="31642"/>
                    </a:lnTo>
                    <a:lnTo>
                      <a:pt x="101264" y="39655"/>
                    </a:lnTo>
                    <a:lnTo>
                      <a:pt x="101786" y="52416"/>
                    </a:lnTo>
                    <a:lnTo>
                      <a:pt x="103790" y="59140"/>
                    </a:lnTo>
                    <a:lnTo>
                      <a:pt x="109799" y="68662"/>
                    </a:lnTo>
                    <a:lnTo>
                      <a:pt x="112763" y="65644"/>
                    </a:lnTo>
                    <a:lnTo>
                      <a:pt x="114931" y="65699"/>
                    </a:lnTo>
                    <a:lnTo>
                      <a:pt x="117648" y="73822"/>
                    </a:lnTo>
                    <a:lnTo>
                      <a:pt x="123411" y="83097"/>
                    </a:lnTo>
                    <a:lnTo>
                      <a:pt x="130437" y="87379"/>
                    </a:lnTo>
                    <a:lnTo>
                      <a:pt x="138669" y="87433"/>
                    </a:lnTo>
                    <a:lnTo>
                      <a:pt x="151540" y="77636"/>
                    </a:lnTo>
                    <a:lnTo>
                      <a:pt x="168829" y="56368"/>
                    </a:lnTo>
                    <a:lnTo>
                      <a:pt x="183017" y="53239"/>
                    </a:lnTo>
                    <a:lnTo>
                      <a:pt x="190399" y="49617"/>
                    </a:lnTo>
                    <a:lnTo>
                      <a:pt x="189329" y="44101"/>
                    </a:lnTo>
                    <a:lnTo>
                      <a:pt x="190564" y="41988"/>
                    </a:lnTo>
                    <a:lnTo>
                      <a:pt x="204340" y="34962"/>
                    </a:lnTo>
                    <a:lnTo>
                      <a:pt x="210790" y="33645"/>
                    </a:lnTo>
                    <a:lnTo>
                      <a:pt x="266087" y="58262"/>
                    </a:lnTo>
                    <a:lnTo>
                      <a:pt x="276872" y="58728"/>
                    </a:lnTo>
                    <a:lnTo>
                      <a:pt x="291993" y="62378"/>
                    </a:lnTo>
                    <a:lnTo>
                      <a:pt x="297043" y="65891"/>
                    </a:lnTo>
                    <a:lnTo>
                      <a:pt x="302943" y="66385"/>
                    </a:lnTo>
                    <a:lnTo>
                      <a:pt x="302943" y="173522"/>
                    </a:lnTo>
                    <a:cubicBezTo>
                      <a:pt x="302943" y="173522"/>
                      <a:pt x="300747" y="181261"/>
                      <a:pt x="300747" y="181261"/>
                    </a:cubicBezTo>
                    <a:lnTo>
                      <a:pt x="298964" y="187491"/>
                    </a:lnTo>
                    <a:lnTo>
                      <a:pt x="303437" y="194982"/>
                    </a:lnTo>
                    <a:lnTo>
                      <a:pt x="303491" y="259336"/>
                    </a:lnTo>
                    <a:lnTo>
                      <a:pt x="268310" y="229176"/>
                    </a:lnTo>
                    <a:lnTo>
                      <a:pt x="248331" y="229369"/>
                    </a:lnTo>
                    <a:lnTo>
                      <a:pt x="238699" y="236559"/>
                    </a:lnTo>
                    <a:lnTo>
                      <a:pt x="231756" y="236174"/>
                    </a:lnTo>
                    <a:lnTo>
                      <a:pt x="222535" y="238233"/>
                    </a:lnTo>
                    <a:lnTo>
                      <a:pt x="206151" y="236449"/>
                    </a:lnTo>
                    <a:lnTo>
                      <a:pt x="212546" y="220998"/>
                    </a:lnTo>
                    <a:lnTo>
                      <a:pt x="217760" y="214824"/>
                    </a:lnTo>
                    <a:lnTo>
                      <a:pt x="232031" y="208292"/>
                    </a:lnTo>
                    <a:lnTo>
                      <a:pt x="238919" y="208622"/>
                    </a:lnTo>
                    <a:lnTo>
                      <a:pt x="237876" y="203792"/>
                    </a:lnTo>
                    <a:lnTo>
                      <a:pt x="239906" y="200938"/>
                    </a:lnTo>
                    <a:lnTo>
                      <a:pt x="233046" y="195092"/>
                    </a:lnTo>
                    <a:lnTo>
                      <a:pt x="232414" y="183347"/>
                    </a:lnTo>
                    <a:lnTo>
                      <a:pt x="214083" y="150882"/>
                    </a:lnTo>
                    <a:lnTo>
                      <a:pt x="202886" y="142374"/>
                    </a:lnTo>
                    <a:lnTo>
                      <a:pt x="183017" y="134196"/>
                    </a:lnTo>
                    <a:lnTo>
                      <a:pt x="157687" y="124097"/>
                    </a:lnTo>
                    <a:lnTo>
                      <a:pt x="129421" y="118307"/>
                    </a:lnTo>
                    <a:lnTo>
                      <a:pt x="120859" y="113450"/>
                    </a:lnTo>
                    <a:lnTo>
                      <a:pt x="115178" y="107824"/>
                    </a:lnTo>
                    <a:lnTo>
                      <a:pt x="106396" y="105765"/>
                    </a:lnTo>
                    <a:lnTo>
                      <a:pt x="95419" y="100002"/>
                    </a:lnTo>
                    <a:lnTo>
                      <a:pt x="87351" y="93553"/>
                    </a:lnTo>
                    <a:lnTo>
                      <a:pt x="75935" y="106836"/>
                    </a:lnTo>
                    <a:lnTo>
                      <a:pt x="70035" y="108894"/>
                    </a:lnTo>
                    <a:lnTo>
                      <a:pt x="66083" y="108153"/>
                    </a:lnTo>
                    <a:lnTo>
                      <a:pt x="61993" y="101045"/>
                    </a:lnTo>
                    <a:lnTo>
                      <a:pt x="63256" y="94294"/>
                    </a:lnTo>
                    <a:lnTo>
                      <a:pt x="61417" y="88751"/>
                    </a:lnTo>
                    <a:lnTo>
                      <a:pt x="49946" y="78926"/>
                    </a:lnTo>
                    <a:lnTo>
                      <a:pt x="42097" y="75194"/>
                    </a:lnTo>
                    <a:lnTo>
                      <a:pt x="41137" y="72065"/>
                    </a:lnTo>
                    <a:lnTo>
                      <a:pt x="48135" y="68992"/>
                    </a:lnTo>
                    <a:lnTo>
                      <a:pt x="60292" y="69898"/>
                    </a:lnTo>
                    <a:lnTo>
                      <a:pt x="74014" y="62241"/>
                    </a:lnTo>
                    <a:lnTo>
                      <a:pt x="87570" y="63009"/>
                    </a:lnTo>
                    <a:lnTo>
                      <a:pt x="90808" y="60649"/>
                    </a:lnTo>
                    <a:lnTo>
                      <a:pt x="90973" y="58124"/>
                    </a:lnTo>
                    <a:lnTo>
                      <a:pt x="75441" y="55078"/>
                    </a:lnTo>
                    <a:lnTo>
                      <a:pt x="60045" y="56478"/>
                    </a:lnTo>
                    <a:lnTo>
                      <a:pt x="47476" y="55298"/>
                    </a:lnTo>
                    <a:lnTo>
                      <a:pt x="38832" y="47778"/>
                    </a:lnTo>
                    <a:lnTo>
                      <a:pt x="33892" y="37981"/>
                    </a:lnTo>
                    <a:lnTo>
                      <a:pt x="22586" y="33233"/>
                    </a:lnTo>
                    <a:lnTo>
                      <a:pt x="8809" y="31752"/>
                    </a:lnTo>
                    <a:lnTo>
                      <a:pt x="604" y="22640"/>
                    </a:lnTo>
                    <a:lnTo>
                      <a:pt x="0" y="19842"/>
                    </a:lnTo>
                    <a:lnTo>
                      <a:pt x="1317" y="18003"/>
                    </a:lnTo>
                    <a:lnTo>
                      <a:pt x="8837" y="17536"/>
                    </a:lnTo>
                    <a:lnTo>
                      <a:pt x="11444" y="19539"/>
                    </a:lnTo>
                    <a:lnTo>
                      <a:pt x="11306" y="23519"/>
                    </a:lnTo>
                    <a:lnTo>
                      <a:pt x="12843" y="24534"/>
                    </a:lnTo>
                    <a:lnTo>
                      <a:pt x="15258" y="21872"/>
                    </a:lnTo>
                    <a:lnTo>
                      <a:pt x="17618" y="14188"/>
                    </a:lnTo>
                    <a:lnTo>
                      <a:pt x="32108" y="10319"/>
                    </a:lnTo>
                    <a:lnTo>
                      <a:pt x="41055" y="3568"/>
                    </a:lnTo>
                    <a:lnTo>
                      <a:pt x="50962" y="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15" name="Freeform: Shape 4614">
                <a:extLst>
                  <a:ext uri="{FF2B5EF4-FFF2-40B4-BE49-F238E27FC236}">
                    <a16:creationId xmlns:a16="http://schemas.microsoft.com/office/drawing/2014/main" id="{1433EAFB-584D-FCA2-7723-D3642778FACB}"/>
                  </a:ext>
                </a:extLst>
              </p:cNvPr>
              <p:cNvSpPr/>
              <p:nvPr/>
            </p:nvSpPr>
            <p:spPr>
              <a:xfrm>
                <a:off x="1699366" y="3831009"/>
                <a:ext cx="30827" cy="26159"/>
              </a:xfrm>
              <a:custGeom>
                <a:avLst/>
                <a:gdLst>
                  <a:gd name="connsiteX0" fmla="*/ 206399 w 295560"/>
                  <a:gd name="connsiteY0" fmla="*/ 768 h 250801"/>
                  <a:gd name="connsiteX1" fmla="*/ 211722 w 295560"/>
                  <a:gd name="connsiteY1" fmla="*/ 1866 h 250801"/>
                  <a:gd name="connsiteX2" fmla="*/ 216717 w 295560"/>
                  <a:gd name="connsiteY2" fmla="*/ 110 h 250801"/>
                  <a:gd name="connsiteX3" fmla="*/ 222837 w 295560"/>
                  <a:gd name="connsiteY3" fmla="*/ 1729 h 250801"/>
                  <a:gd name="connsiteX4" fmla="*/ 227804 w 295560"/>
                  <a:gd name="connsiteY4" fmla="*/ 0 h 250801"/>
                  <a:gd name="connsiteX5" fmla="*/ 245038 w 295560"/>
                  <a:gd name="connsiteY5" fmla="*/ 713 h 250801"/>
                  <a:gd name="connsiteX6" fmla="*/ 256372 w 295560"/>
                  <a:gd name="connsiteY6" fmla="*/ 5927 h 250801"/>
                  <a:gd name="connsiteX7" fmla="*/ 254204 w 295560"/>
                  <a:gd name="connsiteY7" fmla="*/ 8452 h 250801"/>
                  <a:gd name="connsiteX8" fmla="*/ 255741 w 295560"/>
                  <a:gd name="connsiteY8" fmla="*/ 9989 h 250801"/>
                  <a:gd name="connsiteX9" fmla="*/ 259089 w 295560"/>
                  <a:gd name="connsiteY9" fmla="*/ 6229 h 250801"/>
                  <a:gd name="connsiteX10" fmla="*/ 265511 w 295560"/>
                  <a:gd name="connsiteY10" fmla="*/ 6229 h 250801"/>
                  <a:gd name="connsiteX11" fmla="*/ 260406 w 295560"/>
                  <a:gd name="connsiteY11" fmla="*/ 11828 h 250801"/>
                  <a:gd name="connsiteX12" fmla="*/ 261888 w 295560"/>
                  <a:gd name="connsiteY12" fmla="*/ 19155 h 250801"/>
                  <a:gd name="connsiteX13" fmla="*/ 256097 w 295560"/>
                  <a:gd name="connsiteY13" fmla="*/ 23024 h 250801"/>
                  <a:gd name="connsiteX14" fmla="*/ 256592 w 295560"/>
                  <a:gd name="connsiteY14" fmla="*/ 28019 h 250801"/>
                  <a:gd name="connsiteX15" fmla="*/ 253600 w 295560"/>
                  <a:gd name="connsiteY15" fmla="*/ 29254 h 250801"/>
                  <a:gd name="connsiteX16" fmla="*/ 251186 w 295560"/>
                  <a:gd name="connsiteY16" fmla="*/ 34606 h 250801"/>
                  <a:gd name="connsiteX17" fmla="*/ 256866 w 295560"/>
                  <a:gd name="connsiteY17" fmla="*/ 39326 h 250801"/>
                  <a:gd name="connsiteX18" fmla="*/ 269380 w 295560"/>
                  <a:gd name="connsiteY18" fmla="*/ 59963 h 250801"/>
                  <a:gd name="connsiteX19" fmla="*/ 269133 w 295560"/>
                  <a:gd name="connsiteY19" fmla="*/ 63613 h 250801"/>
                  <a:gd name="connsiteX20" fmla="*/ 265236 w 295560"/>
                  <a:gd name="connsiteY20" fmla="*/ 69732 h 250801"/>
                  <a:gd name="connsiteX21" fmla="*/ 266032 w 295560"/>
                  <a:gd name="connsiteY21" fmla="*/ 73602 h 250801"/>
                  <a:gd name="connsiteX22" fmla="*/ 287684 w 295560"/>
                  <a:gd name="connsiteY22" fmla="*/ 90946 h 250801"/>
                  <a:gd name="connsiteX23" fmla="*/ 295561 w 295560"/>
                  <a:gd name="connsiteY23" fmla="*/ 99837 h 250801"/>
                  <a:gd name="connsiteX24" fmla="*/ 288837 w 295560"/>
                  <a:gd name="connsiteY24" fmla="*/ 104503 h 250801"/>
                  <a:gd name="connsiteX25" fmla="*/ 270423 w 295560"/>
                  <a:gd name="connsiteY25" fmla="*/ 102746 h 250801"/>
                  <a:gd name="connsiteX26" fmla="*/ 261175 w 295560"/>
                  <a:gd name="connsiteY26" fmla="*/ 108290 h 250801"/>
                  <a:gd name="connsiteX27" fmla="*/ 258293 w 295560"/>
                  <a:gd name="connsiteY27" fmla="*/ 113833 h 250801"/>
                  <a:gd name="connsiteX28" fmla="*/ 254863 w 295560"/>
                  <a:gd name="connsiteY28" fmla="*/ 120392 h 250801"/>
                  <a:gd name="connsiteX29" fmla="*/ 252694 w 295560"/>
                  <a:gd name="connsiteY29" fmla="*/ 132494 h 250801"/>
                  <a:gd name="connsiteX30" fmla="*/ 254231 w 295560"/>
                  <a:gd name="connsiteY30" fmla="*/ 137956 h 250801"/>
                  <a:gd name="connsiteX31" fmla="*/ 256180 w 295560"/>
                  <a:gd name="connsiteY31" fmla="*/ 144323 h 250801"/>
                  <a:gd name="connsiteX32" fmla="*/ 254863 w 295560"/>
                  <a:gd name="connsiteY32" fmla="*/ 151705 h 250801"/>
                  <a:gd name="connsiteX33" fmla="*/ 245999 w 295560"/>
                  <a:gd name="connsiteY33" fmla="*/ 156398 h 250801"/>
                  <a:gd name="connsiteX34" fmla="*/ 237244 w 295560"/>
                  <a:gd name="connsiteY34" fmla="*/ 164466 h 250801"/>
                  <a:gd name="connsiteX35" fmla="*/ 232140 w 295560"/>
                  <a:gd name="connsiteY35" fmla="*/ 166359 h 250801"/>
                  <a:gd name="connsiteX36" fmla="*/ 228078 w 295560"/>
                  <a:gd name="connsiteY36" fmla="*/ 170915 h 250801"/>
                  <a:gd name="connsiteX37" fmla="*/ 220202 w 295560"/>
                  <a:gd name="connsiteY37" fmla="*/ 180190 h 250801"/>
                  <a:gd name="connsiteX38" fmla="*/ 225746 w 295560"/>
                  <a:gd name="connsiteY38" fmla="*/ 197425 h 250801"/>
                  <a:gd name="connsiteX39" fmla="*/ 218748 w 295560"/>
                  <a:gd name="connsiteY39" fmla="*/ 213314 h 250801"/>
                  <a:gd name="connsiteX40" fmla="*/ 215318 w 295560"/>
                  <a:gd name="connsiteY40" fmla="*/ 217046 h 250801"/>
                  <a:gd name="connsiteX41" fmla="*/ 214028 w 295560"/>
                  <a:gd name="connsiteY41" fmla="*/ 222837 h 250801"/>
                  <a:gd name="connsiteX42" fmla="*/ 220889 w 295560"/>
                  <a:gd name="connsiteY42" fmla="*/ 230932 h 250801"/>
                  <a:gd name="connsiteX43" fmla="*/ 217760 w 295560"/>
                  <a:gd name="connsiteY43" fmla="*/ 242596 h 250801"/>
                  <a:gd name="connsiteX44" fmla="*/ 212436 w 295560"/>
                  <a:gd name="connsiteY44" fmla="*/ 245121 h 250801"/>
                  <a:gd name="connsiteX45" fmla="*/ 210295 w 295560"/>
                  <a:gd name="connsiteY45" fmla="*/ 231618 h 250801"/>
                  <a:gd name="connsiteX46" fmla="*/ 190920 w 295560"/>
                  <a:gd name="connsiteY46" fmla="*/ 242184 h 250801"/>
                  <a:gd name="connsiteX47" fmla="*/ 170668 w 295560"/>
                  <a:gd name="connsiteY47" fmla="*/ 250801 h 250801"/>
                  <a:gd name="connsiteX48" fmla="*/ 168857 w 295560"/>
                  <a:gd name="connsiteY48" fmla="*/ 248523 h 250801"/>
                  <a:gd name="connsiteX49" fmla="*/ 167731 w 295560"/>
                  <a:gd name="connsiteY49" fmla="*/ 236641 h 250801"/>
                  <a:gd name="connsiteX50" fmla="*/ 164191 w 295560"/>
                  <a:gd name="connsiteY50" fmla="*/ 232469 h 250801"/>
                  <a:gd name="connsiteX51" fmla="*/ 153214 w 295560"/>
                  <a:gd name="connsiteY51" fmla="*/ 227941 h 250801"/>
                  <a:gd name="connsiteX52" fmla="*/ 142346 w 295560"/>
                  <a:gd name="connsiteY52" fmla="*/ 229753 h 250801"/>
                  <a:gd name="connsiteX53" fmla="*/ 137956 w 295560"/>
                  <a:gd name="connsiteY53" fmla="*/ 223742 h 250801"/>
                  <a:gd name="connsiteX54" fmla="*/ 130848 w 295560"/>
                  <a:gd name="connsiteY54" fmla="*/ 223331 h 250801"/>
                  <a:gd name="connsiteX55" fmla="*/ 123822 w 295560"/>
                  <a:gd name="connsiteY55" fmla="*/ 219050 h 250801"/>
                  <a:gd name="connsiteX56" fmla="*/ 111363 w 295560"/>
                  <a:gd name="connsiteY56" fmla="*/ 227914 h 250801"/>
                  <a:gd name="connsiteX57" fmla="*/ 98493 w 295560"/>
                  <a:gd name="connsiteY57" fmla="*/ 227529 h 250801"/>
                  <a:gd name="connsiteX58" fmla="*/ 88421 w 295560"/>
                  <a:gd name="connsiteY58" fmla="*/ 231948 h 250801"/>
                  <a:gd name="connsiteX59" fmla="*/ 86637 w 295560"/>
                  <a:gd name="connsiteY59" fmla="*/ 229670 h 250801"/>
                  <a:gd name="connsiteX60" fmla="*/ 86143 w 295560"/>
                  <a:gd name="connsiteY60" fmla="*/ 219187 h 250801"/>
                  <a:gd name="connsiteX61" fmla="*/ 83756 w 295560"/>
                  <a:gd name="connsiteY61" fmla="*/ 215757 h 250801"/>
                  <a:gd name="connsiteX62" fmla="*/ 70885 w 295560"/>
                  <a:gd name="connsiteY62" fmla="*/ 216031 h 250801"/>
                  <a:gd name="connsiteX63" fmla="*/ 59386 w 295560"/>
                  <a:gd name="connsiteY63" fmla="*/ 219160 h 250801"/>
                  <a:gd name="connsiteX64" fmla="*/ 53212 w 295560"/>
                  <a:gd name="connsiteY64" fmla="*/ 218172 h 250801"/>
                  <a:gd name="connsiteX65" fmla="*/ 48299 w 295560"/>
                  <a:gd name="connsiteY65" fmla="*/ 214604 h 250801"/>
                  <a:gd name="connsiteX66" fmla="*/ 42015 w 295560"/>
                  <a:gd name="connsiteY66" fmla="*/ 215125 h 250801"/>
                  <a:gd name="connsiteX67" fmla="*/ 35676 w 295560"/>
                  <a:gd name="connsiteY67" fmla="*/ 188945 h 250801"/>
                  <a:gd name="connsiteX68" fmla="*/ 32245 w 295560"/>
                  <a:gd name="connsiteY68" fmla="*/ 182578 h 250801"/>
                  <a:gd name="connsiteX69" fmla="*/ 34743 w 295560"/>
                  <a:gd name="connsiteY69" fmla="*/ 170915 h 250801"/>
                  <a:gd name="connsiteX70" fmla="*/ 31532 w 295560"/>
                  <a:gd name="connsiteY70" fmla="*/ 162243 h 250801"/>
                  <a:gd name="connsiteX71" fmla="*/ 27168 w 295560"/>
                  <a:gd name="connsiteY71" fmla="*/ 160432 h 250801"/>
                  <a:gd name="connsiteX72" fmla="*/ 19320 w 295560"/>
                  <a:gd name="connsiteY72" fmla="*/ 166304 h 250801"/>
                  <a:gd name="connsiteX73" fmla="*/ 16795 w 295560"/>
                  <a:gd name="connsiteY73" fmla="*/ 165646 h 250801"/>
                  <a:gd name="connsiteX74" fmla="*/ 17343 w 295560"/>
                  <a:gd name="connsiteY74" fmla="*/ 159279 h 250801"/>
                  <a:gd name="connsiteX75" fmla="*/ 20253 w 295560"/>
                  <a:gd name="connsiteY75" fmla="*/ 156205 h 250801"/>
                  <a:gd name="connsiteX76" fmla="*/ 12843 w 295560"/>
                  <a:gd name="connsiteY76" fmla="*/ 154120 h 250801"/>
                  <a:gd name="connsiteX77" fmla="*/ 11773 w 295560"/>
                  <a:gd name="connsiteY77" fmla="*/ 150113 h 250801"/>
                  <a:gd name="connsiteX78" fmla="*/ 14023 w 295560"/>
                  <a:gd name="connsiteY78" fmla="*/ 147094 h 250801"/>
                  <a:gd name="connsiteX79" fmla="*/ 9275 w 295560"/>
                  <a:gd name="connsiteY79" fmla="*/ 144158 h 250801"/>
                  <a:gd name="connsiteX80" fmla="*/ 7409 w 295560"/>
                  <a:gd name="connsiteY80" fmla="*/ 143033 h 250801"/>
                  <a:gd name="connsiteX81" fmla="*/ 6449 w 295560"/>
                  <a:gd name="connsiteY81" fmla="*/ 137901 h 250801"/>
                  <a:gd name="connsiteX82" fmla="*/ 6092 w 295560"/>
                  <a:gd name="connsiteY82" fmla="*/ 136199 h 250801"/>
                  <a:gd name="connsiteX83" fmla="*/ 8837 w 295560"/>
                  <a:gd name="connsiteY83" fmla="*/ 126951 h 250801"/>
                  <a:gd name="connsiteX84" fmla="*/ 6449 w 295560"/>
                  <a:gd name="connsiteY84" fmla="*/ 122423 h 250801"/>
                  <a:gd name="connsiteX85" fmla="*/ 1811 w 295560"/>
                  <a:gd name="connsiteY85" fmla="*/ 118471 h 250801"/>
                  <a:gd name="connsiteX86" fmla="*/ 1043 w 295560"/>
                  <a:gd name="connsiteY86" fmla="*/ 113806 h 250801"/>
                  <a:gd name="connsiteX87" fmla="*/ 0 w 295560"/>
                  <a:gd name="connsiteY87" fmla="*/ 107439 h 250801"/>
                  <a:gd name="connsiteX88" fmla="*/ 2387 w 295560"/>
                  <a:gd name="connsiteY88" fmla="*/ 100002 h 250801"/>
                  <a:gd name="connsiteX89" fmla="*/ 2031 w 295560"/>
                  <a:gd name="connsiteY89" fmla="*/ 93471 h 250801"/>
                  <a:gd name="connsiteX90" fmla="*/ 5571 w 295560"/>
                  <a:gd name="connsiteY90" fmla="*/ 84689 h 250801"/>
                  <a:gd name="connsiteX91" fmla="*/ 13968 w 295560"/>
                  <a:gd name="connsiteY91" fmla="*/ 72312 h 250801"/>
                  <a:gd name="connsiteX92" fmla="*/ 22723 w 295560"/>
                  <a:gd name="connsiteY92" fmla="*/ 67784 h 250801"/>
                  <a:gd name="connsiteX93" fmla="*/ 20115 w 295560"/>
                  <a:gd name="connsiteY93" fmla="*/ 72833 h 250801"/>
                  <a:gd name="connsiteX94" fmla="*/ 23491 w 295560"/>
                  <a:gd name="connsiteY94" fmla="*/ 76950 h 250801"/>
                  <a:gd name="connsiteX95" fmla="*/ 23875 w 295560"/>
                  <a:gd name="connsiteY95" fmla="*/ 81588 h 250801"/>
                  <a:gd name="connsiteX96" fmla="*/ 38584 w 295560"/>
                  <a:gd name="connsiteY96" fmla="*/ 94404 h 250801"/>
                  <a:gd name="connsiteX97" fmla="*/ 41713 w 295560"/>
                  <a:gd name="connsiteY97" fmla="*/ 99151 h 250801"/>
                  <a:gd name="connsiteX98" fmla="*/ 49836 w 295560"/>
                  <a:gd name="connsiteY98" fmla="*/ 103460 h 250801"/>
                  <a:gd name="connsiteX99" fmla="*/ 62460 w 295560"/>
                  <a:gd name="connsiteY99" fmla="*/ 98356 h 250801"/>
                  <a:gd name="connsiteX100" fmla="*/ 86857 w 295560"/>
                  <a:gd name="connsiteY100" fmla="*/ 99371 h 250801"/>
                  <a:gd name="connsiteX101" fmla="*/ 89190 w 295560"/>
                  <a:gd name="connsiteY101" fmla="*/ 97477 h 250801"/>
                  <a:gd name="connsiteX102" fmla="*/ 95638 w 295560"/>
                  <a:gd name="connsiteY102" fmla="*/ 94404 h 250801"/>
                  <a:gd name="connsiteX103" fmla="*/ 99892 w 295560"/>
                  <a:gd name="connsiteY103" fmla="*/ 85814 h 250801"/>
                  <a:gd name="connsiteX104" fmla="*/ 107247 w 295560"/>
                  <a:gd name="connsiteY104" fmla="*/ 82740 h 250801"/>
                  <a:gd name="connsiteX105" fmla="*/ 120886 w 295560"/>
                  <a:gd name="connsiteY105" fmla="*/ 82960 h 250801"/>
                  <a:gd name="connsiteX106" fmla="*/ 123109 w 295560"/>
                  <a:gd name="connsiteY106" fmla="*/ 87159 h 250801"/>
                  <a:gd name="connsiteX107" fmla="*/ 140700 w 295560"/>
                  <a:gd name="connsiteY107" fmla="*/ 92126 h 250801"/>
                  <a:gd name="connsiteX108" fmla="*/ 150195 w 295560"/>
                  <a:gd name="connsiteY108" fmla="*/ 86747 h 250801"/>
                  <a:gd name="connsiteX109" fmla="*/ 167320 w 295560"/>
                  <a:gd name="connsiteY109" fmla="*/ 85567 h 250801"/>
                  <a:gd name="connsiteX110" fmla="*/ 172561 w 295560"/>
                  <a:gd name="connsiteY110" fmla="*/ 75111 h 250801"/>
                  <a:gd name="connsiteX111" fmla="*/ 175745 w 295560"/>
                  <a:gd name="connsiteY111" fmla="*/ 72340 h 250801"/>
                  <a:gd name="connsiteX112" fmla="*/ 174784 w 295560"/>
                  <a:gd name="connsiteY112" fmla="*/ 63475 h 250801"/>
                  <a:gd name="connsiteX113" fmla="*/ 186090 w 295560"/>
                  <a:gd name="connsiteY113" fmla="*/ 55215 h 250801"/>
                  <a:gd name="connsiteX114" fmla="*/ 183676 w 295560"/>
                  <a:gd name="connsiteY114" fmla="*/ 50715 h 250801"/>
                  <a:gd name="connsiteX115" fmla="*/ 184801 w 295560"/>
                  <a:gd name="connsiteY115" fmla="*/ 43963 h 250801"/>
                  <a:gd name="connsiteX116" fmla="*/ 188231 w 295560"/>
                  <a:gd name="connsiteY116" fmla="*/ 40615 h 250801"/>
                  <a:gd name="connsiteX117" fmla="*/ 193555 w 295560"/>
                  <a:gd name="connsiteY117" fmla="*/ 39792 h 250801"/>
                  <a:gd name="connsiteX118" fmla="*/ 195504 w 295560"/>
                  <a:gd name="connsiteY118" fmla="*/ 37624 h 250801"/>
                  <a:gd name="connsiteX119" fmla="*/ 198632 w 295560"/>
                  <a:gd name="connsiteY119" fmla="*/ 26647 h 250801"/>
                  <a:gd name="connsiteX120" fmla="*/ 197726 w 295560"/>
                  <a:gd name="connsiteY120" fmla="*/ 13612 h 250801"/>
                  <a:gd name="connsiteX121" fmla="*/ 201952 w 295560"/>
                  <a:gd name="connsiteY121" fmla="*/ 5132 h 250801"/>
                  <a:gd name="connsiteX122" fmla="*/ 206371 w 295560"/>
                  <a:gd name="connsiteY122" fmla="*/ 796 h 25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295560" h="250801">
                    <a:moveTo>
                      <a:pt x="206399" y="768"/>
                    </a:moveTo>
                    <a:lnTo>
                      <a:pt x="211722" y="1866"/>
                    </a:lnTo>
                    <a:lnTo>
                      <a:pt x="216717" y="110"/>
                    </a:lnTo>
                    <a:lnTo>
                      <a:pt x="222837" y="1729"/>
                    </a:lnTo>
                    <a:lnTo>
                      <a:pt x="227804" y="0"/>
                    </a:lnTo>
                    <a:lnTo>
                      <a:pt x="245038" y="713"/>
                    </a:lnTo>
                    <a:lnTo>
                      <a:pt x="256372" y="5927"/>
                    </a:lnTo>
                    <a:lnTo>
                      <a:pt x="254204" y="8452"/>
                    </a:lnTo>
                    <a:lnTo>
                      <a:pt x="255741" y="9989"/>
                    </a:lnTo>
                    <a:lnTo>
                      <a:pt x="259089" y="6229"/>
                    </a:lnTo>
                    <a:lnTo>
                      <a:pt x="265511" y="6229"/>
                    </a:lnTo>
                    <a:cubicBezTo>
                      <a:pt x="265511" y="6229"/>
                      <a:pt x="260406" y="11828"/>
                      <a:pt x="260406" y="11828"/>
                    </a:cubicBezTo>
                    <a:lnTo>
                      <a:pt x="261888" y="19155"/>
                    </a:lnTo>
                    <a:lnTo>
                      <a:pt x="256097" y="23024"/>
                    </a:lnTo>
                    <a:lnTo>
                      <a:pt x="256592" y="28019"/>
                    </a:lnTo>
                    <a:lnTo>
                      <a:pt x="253600" y="29254"/>
                    </a:lnTo>
                    <a:lnTo>
                      <a:pt x="251186" y="34606"/>
                    </a:lnTo>
                    <a:lnTo>
                      <a:pt x="256866" y="39326"/>
                    </a:lnTo>
                    <a:lnTo>
                      <a:pt x="269380" y="59963"/>
                    </a:lnTo>
                    <a:lnTo>
                      <a:pt x="269133" y="63613"/>
                    </a:lnTo>
                    <a:lnTo>
                      <a:pt x="265236" y="69732"/>
                    </a:lnTo>
                    <a:lnTo>
                      <a:pt x="266032" y="73602"/>
                    </a:lnTo>
                    <a:lnTo>
                      <a:pt x="287684" y="90946"/>
                    </a:lnTo>
                    <a:lnTo>
                      <a:pt x="295561" y="99837"/>
                    </a:lnTo>
                    <a:lnTo>
                      <a:pt x="288837" y="104503"/>
                    </a:lnTo>
                    <a:lnTo>
                      <a:pt x="270423" y="102746"/>
                    </a:lnTo>
                    <a:lnTo>
                      <a:pt x="261175" y="108290"/>
                    </a:lnTo>
                    <a:lnTo>
                      <a:pt x="258293" y="113833"/>
                    </a:lnTo>
                    <a:lnTo>
                      <a:pt x="254863" y="120392"/>
                    </a:lnTo>
                    <a:lnTo>
                      <a:pt x="252694" y="132494"/>
                    </a:lnTo>
                    <a:lnTo>
                      <a:pt x="254231" y="137956"/>
                    </a:lnTo>
                    <a:lnTo>
                      <a:pt x="256180" y="144323"/>
                    </a:lnTo>
                    <a:lnTo>
                      <a:pt x="254863" y="151705"/>
                    </a:lnTo>
                    <a:lnTo>
                      <a:pt x="245999" y="156398"/>
                    </a:lnTo>
                    <a:lnTo>
                      <a:pt x="237244" y="164466"/>
                    </a:lnTo>
                    <a:lnTo>
                      <a:pt x="232140" y="166359"/>
                    </a:lnTo>
                    <a:lnTo>
                      <a:pt x="228078" y="170915"/>
                    </a:lnTo>
                    <a:lnTo>
                      <a:pt x="220202" y="180190"/>
                    </a:lnTo>
                    <a:lnTo>
                      <a:pt x="225746" y="197425"/>
                    </a:lnTo>
                    <a:lnTo>
                      <a:pt x="218748" y="213314"/>
                    </a:lnTo>
                    <a:lnTo>
                      <a:pt x="215318" y="217046"/>
                    </a:lnTo>
                    <a:lnTo>
                      <a:pt x="214028" y="222837"/>
                    </a:lnTo>
                    <a:lnTo>
                      <a:pt x="220889" y="230932"/>
                    </a:lnTo>
                    <a:lnTo>
                      <a:pt x="217760" y="242596"/>
                    </a:lnTo>
                    <a:lnTo>
                      <a:pt x="212436" y="245121"/>
                    </a:lnTo>
                    <a:lnTo>
                      <a:pt x="210295" y="231618"/>
                    </a:lnTo>
                    <a:lnTo>
                      <a:pt x="190920" y="242184"/>
                    </a:lnTo>
                    <a:lnTo>
                      <a:pt x="170668" y="250801"/>
                    </a:lnTo>
                    <a:lnTo>
                      <a:pt x="168857" y="248523"/>
                    </a:lnTo>
                    <a:lnTo>
                      <a:pt x="167731" y="236641"/>
                    </a:lnTo>
                    <a:lnTo>
                      <a:pt x="164191" y="232469"/>
                    </a:lnTo>
                    <a:lnTo>
                      <a:pt x="153214" y="227941"/>
                    </a:lnTo>
                    <a:lnTo>
                      <a:pt x="142346" y="229753"/>
                    </a:lnTo>
                    <a:lnTo>
                      <a:pt x="137956" y="223742"/>
                    </a:lnTo>
                    <a:lnTo>
                      <a:pt x="130848" y="223331"/>
                    </a:lnTo>
                    <a:lnTo>
                      <a:pt x="123822" y="219050"/>
                    </a:lnTo>
                    <a:lnTo>
                      <a:pt x="111363" y="227914"/>
                    </a:lnTo>
                    <a:lnTo>
                      <a:pt x="98493" y="227529"/>
                    </a:lnTo>
                    <a:lnTo>
                      <a:pt x="88421" y="231948"/>
                    </a:lnTo>
                    <a:lnTo>
                      <a:pt x="86637" y="229670"/>
                    </a:lnTo>
                    <a:lnTo>
                      <a:pt x="86143" y="219187"/>
                    </a:lnTo>
                    <a:lnTo>
                      <a:pt x="83756" y="215757"/>
                    </a:lnTo>
                    <a:lnTo>
                      <a:pt x="70885" y="216031"/>
                    </a:lnTo>
                    <a:lnTo>
                      <a:pt x="59386" y="219160"/>
                    </a:lnTo>
                    <a:lnTo>
                      <a:pt x="53212" y="218172"/>
                    </a:lnTo>
                    <a:lnTo>
                      <a:pt x="48299" y="214604"/>
                    </a:lnTo>
                    <a:lnTo>
                      <a:pt x="42015" y="215125"/>
                    </a:lnTo>
                    <a:lnTo>
                      <a:pt x="35676" y="188945"/>
                    </a:lnTo>
                    <a:lnTo>
                      <a:pt x="32245" y="182578"/>
                    </a:lnTo>
                    <a:lnTo>
                      <a:pt x="34743" y="170915"/>
                    </a:lnTo>
                    <a:lnTo>
                      <a:pt x="31532" y="162243"/>
                    </a:lnTo>
                    <a:lnTo>
                      <a:pt x="27168" y="160432"/>
                    </a:lnTo>
                    <a:lnTo>
                      <a:pt x="19320" y="166304"/>
                    </a:lnTo>
                    <a:lnTo>
                      <a:pt x="16795" y="165646"/>
                    </a:lnTo>
                    <a:lnTo>
                      <a:pt x="17343" y="159279"/>
                    </a:lnTo>
                    <a:lnTo>
                      <a:pt x="20253" y="156205"/>
                    </a:lnTo>
                    <a:lnTo>
                      <a:pt x="12843" y="154120"/>
                    </a:lnTo>
                    <a:lnTo>
                      <a:pt x="11773" y="150113"/>
                    </a:lnTo>
                    <a:lnTo>
                      <a:pt x="14023" y="147094"/>
                    </a:lnTo>
                    <a:lnTo>
                      <a:pt x="9275" y="144158"/>
                    </a:lnTo>
                    <a:lnTo>
                      <a:pt x="7409" y="143033"/>
                    </a:lnTo>
                    <a:lnTo>
                      <a:pt x="6449" y="137901"/>
                    </a:lnTo>
                    <a:lnTo>
                      <a:pt x="6092" y="136199"/>
                    </a:lnTo>
                    <a:lnTo>
                      <a:pt x="8837" y="126951"/>
                    </a:lnTo>
                    <a:lnTo>
                      <a:pt x="6449" y="122423"/>
                    </a:lnTo>
                    <a:lnTo>
                      <a:pt x="1811" y="118471"/>
                    </a:lnTo>
                    <a:lnTo>
                      <a:pt x="1043" y="113806"/>
                    </a:lnTo>
                    <a:lnTo>
                      <a:pt x="0" y="107439"/>
                    </a:lnTo>
                    <a:lnTo>
                      <a:pt x="2387" y="100002"/>
                    </a:lnTo>
                    <a:lnTo>
                      <a:pt x="2031" y="93471"/>
                    </a:lnTo>
                    <a:lnTo>
                      <a:pt x="5571" y="84689"/>
                    </a:lnTo>
                    <a:lnTo>
                      <a:pt x="13968" y="72312"/>
                    </a:lnTo>
                    <a:lnTo>
                      <a:pt x="22723" y="67784"/>
                    </a:lnTo>
                    <a:lnTo>
                      <a:pt x="20115" y="72833"/>
                    </a:lnTo>
                    <a:lnTo>
                      <a:pt x="23491" y="76950"/>
                    </a:lnTo>
                    <a:lnTo>
                      <a:pt x="23875" y="81588"/>
                    </a:lnTo>
                    <a:lnTo>
                      <a:pt x="38584" y="94404"/>
                    </a:lnTo>
                    <a:lnTo>
                      <a:pt x="41713" y="99151"/>
                    </a:lnTo>
                    <a:lnTo>
                      <a:pt x="49836" y="103460"/>
                    </a:lnTo>
                    <a:lnTo>
                      <a:pt x="62460" y="98356"/>
                    </a:lnTo>
                    <a:lnTo>
                      <a:pt x="86857" y="99371"/>
                    </a:lnTo>
                    <a:lnTo>
                      <a:pt x="89190" y="97477"/>
                    </a:lnTo>
                    <a:lnTo>
                      <a:pt x="95638" y="94404"/>
                    </a:lnTo>
                    <a:lnTo>
                      <a:pt x="99892" y="85814"/>
                    </a:lnTo>
                    <a:lnTo>
                      <a:pt x="107247" y="82740"/>
                    </a:lnTo>
                    <a:lnTo>
                      <a:pt x="120886" y="82960"/>
                    </a:lnTo>
                    <a:lnTo>
                      <a:pt x="123109" y="87159"/>
                    </a:lnTo>
                    <a:lnTo>
                      <a:pt x="140700" y="92126"/>
                    </a:lnTo>
                    <a:lnTo>
                      <a:pt x="150195" y="86747"/>
                    </a:lnTo>
                    <a:lnTo>
                      <a:pt x="167320" y="85567"/>
                    </a:lnTo>
                    <a:lnTo>
                      <a:pt x="172561" y="75111"/>
                    </a:lnTo>
                    <a:lnTo>
                      <a:pt x="175745" y="72340"/>
                    </a:lnTo>
                    <a:lnTo>
                      <a:pt x="174784" y="63475"/>
                    </a:lnTo>
                    <a:lnTo>
                      <a:pt x="186090" y="55215"/>
                    </a:lnTo>
                    <a:lnTo>
                      <a:pt x="183676" y="50715"/>
                    </a:lnTo>
                    <a:lnTo>
                      <a:pt x="184801" y="43963"/>
                    </a:lnTo>
                    <a:lnTo>
                      <a:pt x="188231" y="40615"/>
                    </a:lnTo>
                    <a:lnTo>
                      <a:pt x="193555" y="39792"/>
                    </a:lnTo>
                    <a:lnTo>
                      <a:pt x="195504" y="37624"/>
                    </a:lnTo>
                    <a:lnTo>
                      <a:pt x="198632" y="26647"/>
                    </a:lnTo>
                    <a:lnTo>
                      <a:pt x="197726" y="13612"/>
                    </a:lnTo>
                    <a:lnTo>
                      <a:pt x="201952" y="5132"/>
                    </a:lnTo>
                    <a:lnTo>
                      <a:pt x="206371" y="7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16" name="Freeform: Shape 4615">
                <a:extLst>
                  <a:ext uri="{FF2B5EF4-FFF2-40B4-BE49-F238E27FC236}">
                    <a16:creationId xmlns:a16="http://schemas.microsoft.com/office/drawing/2014/main" id="{7C3DA734-081F-A2C0-E8DD-34118A10DDA4}"/>
                  </a:ext>
                </a:extLst>
              </p:cNvPr>
              <p:cNvSpPr/>
              <p:nvPr/>
            </p:nvSpPr>
            <p:spPr>
              <a:xfrm>
                <a:off x="1729901" y="3839364"/>
                <a:ext cx="19530" cy="22418"/>
              </a:xfrm>
              <a:custGeom>
                <a:avLst/>
                <a:gdLst>
                  <a:gd name="connsiteX0" fmla="*/ 179175 w 187243"/>
                  <a:gd name="connsiteY0" fmla="*/ 18332 h 214933"/>
                  <a:gd name="connsiteX1" fmla="*/ 162874 w 187243"/>
                  <a:gd name="connsiteY1" fmla="*/ 35731 h 214933"/>
                  <a:gd name="connsiteX2" fmla="*/ 141167 w 187243"/>
                  <a:gd name="connsiteY2" fmla="*/ 40177 h 214933"/>
                  <a:gd name="connsiteX3" fmla="*/ 131424 w 187243"/>
                  <a:gd name="connsiteY3" fmla="*/ 39161 h 214933"/>
                  <a:gd name="connsiteX4" fmla="*/ 121956 w 187243"/>
                  <a:gd name="connsiteY4" fmla="*/ 34112 h 214933"/>
                  <a:gd name="connsiteX5" fmla="*/ 90672 w 187243"/>
                  <a:gd name="connsiteY5" fmla="*/ 35676 h 214933"/>
                  <a:gd name="connsiteX6" fmla="*/ 79722 w 187243"/>
                  <a:gd name="connsiteY6" fmla="*/ 33453 h 214933"/>
                  <a:gd name="connsiteX7" fmla="*/ 65973 w 187243"/>
                  <a:gd name="connsiteY7" fmla="*/ 36280 h 214933"/>
                  <a:gd name="connsiteX8" fmla="*/ 51401 w 187243"/>
                  <a:gd name="connsiteY8" fmla="*/ 33974 h 214933"/>
                  <a:gd name="connsiteX9" fmla="*/ 42399 w 187243"/>
                  <a:gd name="connsiteY9" fmla="*/ 38859 h 214933"/>
                  <a:gd name="connsiteX10" fmla="*/ 35484 w 187243"/>
                  <a:gd name="connsiteY10" fmla="*/ 53294 h 214933"/>
                  <a:gd name="connsiteX11" fmla="*/ 36389 w 187243"/>
                  <a:gd name="connsiteY11" fmla="*/ 64079 h 214933"/>
                  <a:gd name="connsiteX12" fmla="*/ 41686 w 187243"/>
                  <a:gd name="connsiteY12" fmla="*/ 73959 h 214933"/>
                  <a:gd name="connsiteX13" fmla="*/ 49040 w 187243"/>
                  <a:gd name="connsiteY13" fmla="*/ 79200 h 214933"/>
                  <a:gd name="connsiteX14" fmla="*/ 52663 w 187243"/>
                  <a:gd name="connsiteY14" fmla="*/ 86281 h 214933"/>
                  <a:gd name="connsiteX15" fmla="*/ 56533 w 187243"/>
                  <a:gd name="connsiteY15" fmla="*/ 89080 h 214933"/>
                  <a:gd name="connsiteX16" fmla="*/ 67153 w 187243"/>
                  <a:gd name="connsiteY16" fmla="*/ 88668 h 214933"/>
                  <a:gd name="connsiteX17" fmla="*/ 76429 w 187243"/>
                  <a:gd name="connsiteY17" fmla="*/ 77280 h 214933"/>
                  <a:gd name="connsiteX18" fmla="*/ 81094 w 187243"/>
                  <a:gd name="connsiteY18" fmla="*/ 74370 h 214933"/>
                  <a:gd name="connsiteX19" fmla="*/ 92702 w 187243"/>
                  <a:gd name="connsiteY19" fmla="*/ 76264 h 214933"/>
                  <a:gd name="connsiteX20" fmla="*/ 101841 w 187243"/>
                  <a:gd name="connsiteY20" fmla="*/ 71983 h 214933"/>
                  <a:gd name="connsiteX21" fmla="*/ 115809 w 187243"/>
                  <a:gd name="connsiteY21" fmla="*/ 71050 h 214933"/>
                  <a:gd name="connsiteX22" fmla="*/ 119377 w 187243"/>
                  <a:gd name="connsiteY22" fmla="*/ 67674 h 214933"/>
                  <a:gd name="connsiteX23" fmla="*/ 124015 w 187243"/>
                  <a:gd name="connsiteY23" fmla="*/ 66247 h 214933"/>
                  <a:gd name="connsiteX24" fmla="*/ 132851 w 187243"/>
                  <a:gd name="connsiteY24" fmla="*/ 68306 h 214933"/>
                  <a:gd name="connsiteX25" fmla="*/ 134690 w 187243"/>
                  <a:gd name="connsiteY25" fmla="*/ 72614 h 214933"/>
                  <a:gd name="connsiteX26" fmla="*/ 132028 w 187243"/>
                  <a:gd name="connsiteY26" fmla="*/ 77526 h 214933"/>
                  <a:gd name="connsiteX27" fmla="*/ 124701 w 187243"/>
                  <a:gd name="connsiteY27" fmla="*/ 75029 h 214933"/>
                  <a:gd name="connsiteX28" fmla="*/ 119679 w 187243"/>
                  <a:gd name="connsiteY28" fmla="*/ 76182 h 214933"/>
                  <a:gd name="connsiteX29" fmla="*/ 105546 w 187243"/>
                  <a:gd name="connsiteY29" fmla="*/ 90781 h 214933"/>
                  <a:gd name="connsiteX30" fmla="*/ 89162 w 187243"/>
                  <a:gd name="connsiteY30" fmla="*/ 99838 h 214933"/>
                  <a:gd name="connsiteX31" fmla="*/ 83674 w 187243"/>
                  <a:gd name="connsiteY31" fmla="*/ 104613 h 214933"/>
                  <a:gd name="connsiteX32" fmla="*/ 76676 w 187243"/>
                  <a:gd name="connsiteY32" fmla="*/ 105161 h 214933"/>
                  <a:gd name="connsiteX33" fmla="*/ 80161 w 187243"/>
                  <a:gd name="connsiteY33" fmla="*/ 110925 h 214933"/>
                  <a:gd name="connsiteX34" fmla="*/ 86912 w 187243"/>
                  <a:gd name="connsiteY34" fmla="*/ 116441 h 214933"/>
                  <a:gd name="connsiteX35" fmla="*/ 94459 w 187243"/>
                  <a:gd name="connsiteY35" fmla="*/ 128323 h 214933"/>
                  <a:gd name="connsiteX36" fmla="*/ 101895 w 187243"/>
                  <a:gd name="connsiteY36" fmla="*/ 135651 h 214933"/>
                  <a:gd name="connsiteX37" fmla="*/ 104667 w 187243"/>
                  <a:gd name="connsiteY37" fmla="*/ 141523 h 214933"/>
                  <a:gd name="connsiteX38" fmla="*/ 101402 w 187243"/>
                  <a:gd name="connsiteY38" fmla="*/ 155163 h 214933"/>
                  <a:gd name="connsiteX39" fmla="*/ 110403 w 187243"/>
                  <a:gd name="connsiteY39" fmla="*/ 163286 h 214933"/>
                  <a:gd name="connsiteX40" fmla="*/ 113751 w 187243"/>
                  <a:gd name="connsiteY40" fmla="*/ 168582 h 214933"/>
                  <a:gd name="connsiteX41" fmla="*/ 117840 w 187243"/>
                  <a:gd name="connsiteY41" fmla="*/ 170476 h 214933"/>
                  <a:gd name="connsiteX42" fmla="*/ 117840 w 187243"/>
                  <a:gd name="connsiteY42" fmla="*/ 177995 h 214933"/>
                  <a:gd name="connsiteX43" fmla="*/ 115068 w 187243"/>
                  <a:gd name="connsiteY43" fmla="*/ 179779 h 214933"/>
                  <a:gd name="connsiteX44" fmla="*/ 109003 w 187243"/>
                  <a:gd name="connsiteY44" fmla="*/ 179093 h 214933"/>
                  <a:gd name="connsiteX45" fmla="*/ 99536 w 187243"/>
                  <a:gd name="connsiteY45" fmla="*/ 181535 h 214933"/>
                  <a:gd name="connsiteX46" fmla="*/ 96270 w 187243"/>
                  <a:gd name="connsiteY46" fmla="*/ 184581 h 214933"/>
                  <a:gd name="connsiteX47" fmla="*/ 95172 w 187243"/>
                  <a:gd name="connsiteY47" fmla="*/ 189933 h 214933"/>
                  <a:gd name="connsiteX48" fmla="*/ 92949 w 187243"/>
                  <a:gd name="connsiteY48" fmla="*/ 191744 h 214933"/>
                  <a:gd name="connsiteX49" fmla="*/ 86061 w 187243"/>
                  <a:gd name="connsiteY49" fmla="*/ 191140 h 214933"/>
                  <a:gd name="connsiteX50" fmla="*/ 81067 w 187243"/>
                  <a:gd name="connsiteY50" fmla="*/ 188698 h 214933"/>
                  <a:gd name="connsiteX51" fmla="*/ 78624 w 187243"/>
                  <a:gd name="connsiteY51" fmla="*/ 183511 h 214933"/>
                  <a:gd name="connsiteX52" fmla="*/ 80078 w 187243"/>
                  <a:gd name="connsiteY52" fmla="*/ 169104 h 214933"/>
                  <a:gd name="connsiteX53" fmla="*/ 72504 w 187243"/>
                  <a:gd name="connsiteY53" fmla="*/ 163670 h 214933"/>
                  <a:gd name="connsiteX54" fmla="*/ 61966 w 187243"/>
                  <a:gd name="connsiteY54" fmla="*/ 152007 h 214933"/>
                  <a:gd name="connsiteX55" fmla="*/ 65287 w 187243"/>
                  <a:gd name="connsiteY55" fmla="*/ 141249 h 214933"/>
                  <a:gd name="connsiteX56" fmla="*/ 65067 w 187243"/>
                  <a:gd name="connsiteY56" fmla="*/ 130189 h 214933"/>
                  <a:gd name="connsiteX57" fmla="*/ 59002 w 187243"/>
                  <a:gd name="connsiteY57" fmla="*/ 127390 h 214933"/>
                  <a:gd name="connsiteX58" fmla="*/ 52855 w 187243"/>
                  <a:gd name="connsiteY58" fmla="*/ 128378 h 214933"/>
                  <a:gd name="connsiteX59" fmla="*/ 42948 w 187243"/>
                  <a:gd name="connsiteY59" fmla="*/ 138285 h 214933"/>
                  <a:gd name="connsiteX60" fmla="*/ 46681 w 187243"/>
                  <a:gd name="connsiteY60" fmla="*/ 155739 h 214933"/>
                  <a:gd name="connsiteX61" fmla="*/ 45116 w 187243"/>
                  <a:gd name="connsiteY61" fmla="*/ 167594 h 214933"/>
                  <a:gd name="connsiteX62" fmla="*/ 46598 w 187243"/>
                  <a:gd name="connsiteY62" fmla="*/ 185871 h 214933"/>
                  <a:gd name="connsiteX63" fmla="*/ 43799 w 187243"/>
                  <a:gd name="connsiteY63" fmla="*/ 198605 h 214933"/>
                  <a:gd name="connsiteX64" fmla="*/ 45610 w 187243"/>
                  <a:gd name="connsiteY64" fmla="*/ 210899 h 214933"/>
                  <a:gd name="connsiteX65" fmla="*/ 27278 w 187243"/>
                  <a:gd name="connsiteY65" fmla="*/ 214933 h 214933"/>
                  <a:gd name="connsiteX66" fmla="*/ 20692 w 187243"/>
                  <a:gd name="connsiteY66" fmla="*/ 212793 h 214933"/>
                  <a:gd name="connsiteX67" fmla="*/ 17810 w 187243"/>
                  <a:gd name="connsiteY67" fmla="*/ 208677 h 214933"/>
                  <a:gd name="connsiteX68" fmla="*/ 23134 w 187243"/>
                  <a:gd name="connsiteY68" fmla="*/ 173851 h 214933"/>
                  <a:gd name="connsiteX69" fmla="*/ 20088 w 187243"/>
                  <a:gd name="connsiteY69" fmla="*/ 157330 h 214933"/>
                  <a:gd name="connsiteX70" fmla="*/ 14050 w 187243"/>
                  <a:gd name="connsiteY70" fmla="*/ 151293 h 214933"/>
                  <a:gd name="connsiteX71" fmla="*/ 3513 w 187243"/>
                  <a:gd name="connsiteY71" fmla="*/ 150442 h 214933"/>
                  <a:gd name="connsiteX72" fmla="*/ 192 w 187243"/>
                  <a:gd name="connsiteY72" fmla="*/ 141496 h 214933"/>
                  <a:gd name="connsiteX73" fmla="*/ 0 w 187243"/>
                  <a:gd name="connsiteY73" fmla="*/ 129970 h 214933"/>
                  <a:gd name="connsiteX74" fmla="*/ 8178 w 187243"/>
                  <a:gd name="connsiteY74" fmla="*/ 120996 h 214933"/>
                  <a:gd name="connsiteX75" fmla="*/ 14737 w 187243"/>
                  <a:gd name="connsiteY75" fmla="*/ 104091 h 214933"/>
                  <a:gd name="connsiteX76" fmla="*/ 14984 w 187243"/>
                  <a:gd name="connsiteY76" fmla="*/ 90754 h 214933"/>
                  <a:gd name="connsiteX77" fmla="*/ 16109 w 187243"/>
                  <a:gd name="connsiteY77" fmla="*/ 83482 h 214933"/>
                  <a:gd name="connsiteX78" fmla="*/ 24424 w 187243"/>
                  <a:gd name="connsiteY78" fmla="*/ 71736 h 214933"/>
                  <a:gd name="connsiteX79" fmla="*/ 29035 w 187243"/>
                  <a:gd name="connsiteY79" fmla="*/ 69870 h 214933"/>
                  <a:gd name="connsiteX80" fmla="*/ 28074 w 187243"/>
                  <a:gd name="connsiteY80" fmla="*/ 61006 h 214933"/>
                  <a:gd name="connsiteX81" fmla="*/ 30489 w 187243"/>
                  <a:gd name="connsiteY81" fmla="*/ 48986 h 214933"/>
                  <a:gd name="connsiteX82" fmla="*/ 29254 w 187243"/>
                  <a:gd name="connsiteY82" fmla="*/ 43305 h 214933"/>
                  <a:gd name="connsiteX83" fmla="*/ 31834 w 187243"/>
                  <a:gd name="connsiteY83" fmla="*/ 36499 h 214933"/>
                  <a:gd name="connsiteX84" fmla="*/ 41851 w 187243"/>
                  <a:gd name="connsiteY84" fmla="*/ 22970 h 214933"/>
                  <a:gd name="connsiteX85" fmla="*/ 52114 w 187243"/>
                  <a:gd name="connsiteY85" fmla="*/ 23628 h 214933"/>
                  <a:gd name="connsiteX86" fmla="*/ 61802 w 187243"/>
                  <a:gd name="connsiteY86" fmla="*/ 10593 h 214933"/>
                  <a:gd name="connsiteX87" fmla="*/ 73685 w 187243"/>
                  <a:gd name="connsiteY87" fmla="*/ 12239 h 214933"/>
                  <a:gd name="connsiteX88" fmla="*/ 82521 w 187243"/>
                  <a:gd name="connsiteY88" fmla="*/ 17179 h 214933"/>
                  <a:gd name="connsiteX89" fmla="*/ 105272 w 187243"/>
                  <a:gd name="connsiteY89" fmla="*/ 19155 h 214933"/>
                  <a:gd name="connsiteX90" fmla="*/ 116413 w 187243"/>
                  <a:gd name="connsiteY90" fmla="*/ 23299 h 214933"/>
                  <a:gd name="connsiteX91" fmla="*/ 125881 w 187243"/>
                  <a:gd name="connsiteY91" fmla="*/ 21268 h 214933"/>
                  <a:gd name="connsiteX92" fmla="*/ 147917 w 187243"/>
                  <a:gd name="connsiteY92" fmla="*/ 23601 h 214933"/>
                  <a:gd name="connsiteX93" fmla="*/ 158922 w 187243"/>
                  <a:gd name="connsiteY93" fmla="*/ 19155 h 214933"/>
                  <a:gd name="connsiteX94" fmla="*/ 166496 w 187243"/>
                  <a:gd name="connsiteY94" fmla="*/ 13996 h 214933"/>
                  <a:gd name="connsiteX95" fmla="*/ 169872 w 187243"/>
                  <a:gd name="connsiteY95" fmla="*/ 8946 h 214933"/>
                  <a:gd name="connsiteX96" fmla="*/ 180328 w 187243"/>
                  <a:gd name="connsiteY96" fmla="*/ 0 h 214933"/>
                  <a:gd name="connsiteX97" fmla="*/ 184965 w 187243"/>
                  <a:gd name="connsiteY97" fmla="*/ 494 h 214933"/>
                  <a:gd name="connsiteX98" fmla="*/ 187243 w 187243"/>
                  <a:gd name="connsiteY98" fmla="*/ 6696 h 214933"/>
                  <a:gd name="connsiteX99" fmla="*/ 179258 w 187243"/>
                  <a:gd name="connsiteY99" fmla="*/ 18332 h 214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87243" h="214933">
                    <a:moveTo>
                      <a:pt x="179175" y="18332"/>
                    </a:moveTo>
                    <a:lnTo>
                      <a:pt x="162874" y="35731"/>
                    </a:lnTo>
                    <a:lnTo>
                      <a:pt x="141167" y="40177"/>
                    </a:lnTo>
                    <a:lnTo>
                      <a:pt x="131424" y="39161"/>
                    </a:lnTo>
                    <a:lnTo>
                      <a:pt x="121956" y="34112"/>
                    </a:lnTo>
                    <a:lnTo>
                      <a:pt x="90672" y="35676"/>
                    </a:lnTo>
                    <a:lnTo>
                      <a:pt x="79722" y="33453"/>
                    </a:lnTo>
                    <a:lnTo>
                      <a:pt x="65973" y="36280"/>
                    </a:lnTo>
                    <a:lnTo>
                      <a:pt x="51401" y="33974"/>
                    </a:lnTo>
                    <a:lnTo>
                      <a:pt x="42399" y="38859"/>
                    </a:lnTo>
                    <a:lnTo>
                      <a:pt x="35484" y="53294"/>
                    </a:lnTo>
                    <a:lnTo>
                      <a:pt x="36389" y="64079"/>
                    </a:lnTo>
                    <a:lnTo>
                      <a:pt x="41686" y="73959"/>
                    </a:lnTo>
                    <a:lnTo>
                      <a:pt x="49040" y="79200"/>
                    </a:lnTo>
                    <a:lnTo>
                      <a:pt x="52663" y="86281"/>
                    </a:lnTo>
                    <a:lnTo>
                      <a:pt x="56533" y="89080"/>
                    </a:lnTo>
                    <a:lnTo>
                      <a:pt x="67153" y="88668"/>
                    </a:lnTo>
                    <a:lnTo>
                      <a:pt x="76429" y="77280"/>
                    </a:lnTo>
                    <a:lnTo>
                      <a:pt x="81094" y="74370"/>
                    </a:lnTo>
                    <a:lnTo>
                      <a:pt x="92702" y="76264"/>
                    </a:lnTo>
                    <a:lnTo>
                      <a:pt x="101841" y="71983"/>
                    </a:lnTo>
                    <a:lnTo>
                      <a:pt x="115809" y="71050"/>
                    </a:lnTo>
                    <a:lnTo>
                      <a:pt x="119377" y="67674"/>
                    </a:lnTo>
                    <a:lnTo>
                      <a:pt x="124015" y="66247"/>
                    </a:lnTo>
                    <a:lnTo>
                      <a:pt x="132851" y="68306"/>
                    </a:lnTo>
                    <a:lnTo>
                      <a:pt x="134690" y="72614"/>
                    </a:lnTo>
                    <a:lnTo>
                      <a:pt x="132028" y="77526"/>
                    </a:lnTo>
                    <a:lnTo>
                      <a:pt x="124701" y="75029"/>
                    </a:lnTo>
                    <a:lnTo>
                      <a:pt x="119679" y="76182"/>
                    </a:lnTo>
                    <a:lnTo>
                      <a:pt x="105546" y="90781"/>
                    </a:lnTo>
                    <a:lnTo>
                      <a:pt x="89162" y="99838"/>
                    </a:lnTo>
                    <a:lnTo>
                      <a:pt x="83674" y="104613"/>
                    </a:lnTo>
                    <a:lnTo>
                      <a:pt x="76676" y="105161"/>
                    </a:lnTo>
                    <a:lnTo>
                      <a:pt x="80161" y="110925"/>
                    </a:lnTo>
                    <a:lnTo>
                      <a:pt x="86912" y="116441"/>
                    </a:lnTo>
                    <a:lnTo>
                      <a:pt x="94459" y="128323"/>
                    </a:lnTo>
                    <a:lnTo>
                      <a:pt x="101895" y="135651"/>
                    </a:lnTo>
                    <a:lnTo>
                      <a:pt x="104667" y="141523"/>
                    </a:lnTo>
                    <a:lnTo>
                      <a:pt x="101402" y="155163"/>
                    </a:lnTo>
                    <a:lnTo>
                      <a:pt x="110403" y="163286"/>
                    </a:lnTo>
                    <a:lnTo>
                      <a:pt x="113751" y="168582"/>
                    </a:lnTo>
                    <a:lnTo>
                      <a:pt x="117840" y="170476"/>
                    </a:lnTo>
                    <a:lnTo>
                      <a:pt x="117840" y="177995"/>
                    </a:lnTo>
                    <a:cubicBezTo>
                      <a:pt x="117840" y="177995"/>
                      <a:pt x="115068" y="179779"/>
                      <a:pt x="115068" y="179779"/>
                    </a:cubicBezTo>
                    <a:lnTo>
                      <a:pt x="109003" y="179093"/>
                    </a:lnTo>
                    <a:lnTo>
                      <a:pt x="99536" y="181535"/>
                    </a:lnTo>
                    <a:lnTo>
                      <a:pt x="96270" y="184581"/>
                    </a:lnTo>
                    <a:lnTo>
                      <a:pt x="95172" y="189933"/>
                    </a:lnTo>
                    <a:lnTo>
                      <a:pt x="92949" y="191744"/>
                    </a:lnTo>
                    <a:lnTo>
                      <a:pt x="86061" y="191140"/>
                    </a:lnTo>
                    <a:lnTo>
                      <a:pt x="81067" y="188698"/>
                    </a:lnTo>
                    <a:lnTo>
                      <a:pt x="78624" y="183511"/>
                    </a:lnTo>
                    <a:lnTo>
                      <a:pt x="80078" y="169104"/>
                    </a:lnTo>
                    <a:lnTo>
                      <a:pt x="72504" y="163670"/>
                    </a:lnTo>
                    <a:lnTo>
                      <a:pt x="61966" y="152007"/>
                    </a:lnTo>
                    <a:lnTo>
                      <a:pt x="65287" y="141249"/>
                    </a:lnTo>
                    <a:lnTo>
                      <a:pt x="65067" y="130189"/>
                    </a:lnTo>
                    <a:lnTo>
                      <a:pt x="59002" y="127390"/>
                    </a:lnTo>
                    <a:lnTo>
                      <a:pt x="52855" y="128378"/>
                    </a:lnTo>
                    <a:lnTo>
                      <a:pt x="42948" y="138285"/>
                    </a:lnTo>
                    <a:lnTo>
                      <a:pt x="46681" y="155739"/>
                    </a:lnTo>
                    <a:lnTo>
                      <a:pt x="45116" y="167594"/>
                    </a:lnTo>
                    <a:lnTo>
                      <a:pt x="46598" y="185871"/>
                    </a:lnTo>
                    <a:lnTo>
                      <a:pt x="43799" y="198605"/>
                    </a:lnTo>
                    <a:lnTo>
                      <a:pt x="45610" y="210899"/>
                    </a:lnTo>
                    <a:lnTo>
                      <a:pt x="27278" y="214933"/>
                    </a:lnTo>
                    <a:lnTo>
                      <a:pt x="20692" y="212793"/>
                    </a:lnTo>
                    <a:lnTo>
                      <a:pt x="17810" y="208677"/>
                    </a:lnTo>
                    <a:lnTo>
                      <a:pt x="23134" y="173851"/>
                    </a:lnTo>
                    <a:lnTo>
                      <a:pt x="20088" y="157330"/>
                    </a:lnTo>
                    <a:lnTo>
                      <a:pt x="14050" y="151293"/>
                    </a:lnTo>
                    <a:lnTo>
                      <a:pt x="3513" y="150442"/>
                    </a:lnTo>
                    <a:lnTo>
                      <a:pt x="192" y="141496"/>
                    </a:lnTo>
                    <a:lnTo>
                      <a:pt x="0" y="129970"/>
                    </a:lnTo>
                    <a:lnTo>
                      <a:pt x="8178" y="120996"/>
                    </a:lnTo>
                    <a:lnTo>
                      <a:pt x="14737" y="104091"/>
                    </a:lnTo>
                    <a:lnTo>
                      <a:pt x="14984" y="90754"/>
                    </a:lnTo>
                    <a:lnTo>
                      <a:pt x="16109" y="83482"/>
                    </a:lnTo>
                    <a:lnTo>
                      <a:pt x="24424" y="71736"/>
                    </a:lnTo>
                    <a:lnTo>
                      <a:pt x="29035" y="69870"/>
                    </a:lnTo>
                    <a:lnTo>
                      <a:pt x="28074" y="61006"/>
                    </a:lnTo>
                    <a:lnTo>
                      <a:pt x="30489" y="48986"/>
                    </a:lnTo>
                    <a:lnTo>
                      <a:pt x="29254" y="43305"/>
                    </a:lnTo>
                    <a:lnTo>
                      <a:pt x="31834" y="36499"/>
                    </a:lnTo>
                    <a:lnTo>
                      <a:pt x="41851" y="22970"/>
                    </a:lnTo>
                    <a:lnTo>
                      <a:pt x="52114" y="23628"/>
                    </a:lnTo>
                    <a:lnTo>
                      <a:pt x="61802" y="10593"/>
                    </a:lnTo>
                    <a:lnTo>
                      <a:pt x="73685" y="12239"/>
                    </a:lnTo>
                    <a:lnTo>
                      <a:pt x="82521" y="17179"/>
                    </a:lnTo>
                    <a:lnTo>
                      <a:pt x="105272" y="19155"/>
                    </a:lnTo>
                    <a:lnTo>
                      <a:pt x="116413" y="23299"/>
                    </a:lnTo>
                    <a:lnTo>
                      <a:pt x="125881" y="21268"/>
                    </a:lnTo>
                    <a:lnTo>
                      <a:pt x="147917" y="23601"/>
                    </a:lnTo>
                    <a:lnTo>
                      <a:pt x="158922" y="19155"/>
                    </a:lnTo>
                    <a:lnTo>
                      <a:pt x="166496" y="13996"/>
                    </a:lnTo>
                    <a:lnTo>
                      <a:pt x="169872" y="8946"/>
                    </a:lnTo>
                    <a:lnTo>
                      <a:pt x="180328" y="0"/>
                    </a:lnTo>
                    <a:lnTo>
                      <a:pt x="184965" y="494"/>
                    </a:lnTo>
                    <a:lnTo>
                      <a:pt x="187243" y="6696"/>
                    </a:lnTo>
                    <a:lnTo>
                      <a:pt x="179258" y="1833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17" name="Freeform: Shape 4616">
                <a:extLst>
                  <a:ext uri="{FF2B5EF4-FFF2-40B4-BE49-F238E27FC236}">
                    <a16:creationId xmlns:a16="http://schemas.microsoft.com/office/drawing/2014/main" id="{52EA5734-0A57-D246-5076-94356DBFE8A3}"/>
                  </a:ext>
                </a:extLst>
              </p:cNvPr>
              <p:cNvSpPr/>
              <p:nvPr/>
            </p:nvSpPr>
            <p:spPr>
              <a:xfrm>
                <a:off x="1756280" y="3837787"/>
                <a:ext cx="3979" cy="9197"/>
              </a:xfrm>
              <a:custGeom>
                <a:avLst/>
                <a:gdLst>
                  <a:gd name="connsiteX0" fmla="*/ 7026 w 38146"/>
                  <a:gd name="connsiteY0" fmla="*/ 34414 h 88174"/>
                  <a:gd name="connsiteX1" fmla="*/ 7904 w 38146"/>
                  <a:gd name="connsiteY1" fmla="*/ 38173 h 88174"/>
                  <a:gd name="connsiteX2" fmla="*/ 10758 w 38146"/>
                  <a:gd name="connsiteY2" fmla="*/ 39710 h 88174"/>
                  <a:gd name="connsiteX3" fmla="*/ 13776 w 38146"/>
                  <a:gd name="connsiteY3" fmla="*/ 38338 h 88174"/>
                  <a:gd name="connsiteX4" fmla="*/ 16960 w 38146"/>
                  <a:gd name="connsiteY4" fmla="*/ 32300 h 88174"/>
                  <a:gd name="connsiteX5" fmla="*/ 21378 w 38146"/>
                  <a:gd name="connsiteY5" fmla="*/ 29748 h 88174"/>
                  <a:gd name="connsiteX6" fmla="*/ 21818 w 38146"/>
                  <a:gd name="connsiteY6" fmla="*/ 24452 h 88174"/>
                  <a:gd name="connsiteX7" fmla="*/ 29474 w 38146"/>
                  <a:gd name="connsiteY7" fmla="*/ 18908 h 88174"/>
                  <a:gd name="connsiteX8" fmla="*/ 36170 w 38146"/>
                  <a:gd name="connsiteY8" fmla="*/ 17262 h 88174"/>
                  <a:gd name="connsiteX9" fmla="*/ 38146 w 38146"/>
                  <a:gd name="connsiteY9" fmla="*/ 19622 h 88174"/>
                  <a:gd name="connsiteX10" fmla="*/ 36747 w 38146"/>
                  <a:gd name="connsiteY10" fmla="*/ 32026 h 88174"/>
                  <a:gd name="connsiteX11" fmla="*/ 23739 w 38146"/>
                  <a:gd name="connsiteY11" fmla="*/ 41055 h 88174"/>
                  <a:gd name="connsiteX12" fmla="*/ 26593 w 38146"/>
                  <a:gd name="connsiteY12" fmla="*/ 44457 h 88174"/>
                  <a:gd name="connsiteX13" fmla="*/ 35758 w 38146"/>
                  <a:gd name="connsiteY13" fmla="*/ 47476 h 88174"/>
                  <a:gd name="connsiteX14" fmla="*/ 36088 w 38146"/>
                  <a:gd name="connsiteY14" fmla="*/ 48876 h 88174"/>
                  <a:gd name="connsiteX15" fmla="*/ 36664 w 38146"/>
                  <a:gd name="connsiteY15" fmla="*/ 54090 h 88174"/>
                  <a:gd name="connsiteX16" fmla="*/ 18332 w 38146"/>
                  <a:gd name="connsiteY16" fmla="*/ 50523 h 88174"/>
                  <a:gd name="connsiteX17" fmla="*/ 15094 w 38146"/>
                  <a:gd name="connsiteY17" fmla="*/ 52114 h 88174"/>
                  <a:gd name="connsiteX18" fmla="*/ 14243 w 38146"/>
                  <a:gd name="connsiteY18" fmla="*/ 64656 h 88174"/>
                  <a:gd name="connsiteX19" fmla="*/ 17069 w 38146"/>
                  <a:gd name="connsiteY19" fmla="*/ 72889 h 88174"/>
                  <a:gd name="connsiteX20" fmla="*/ 25275 w 38146"/>
                  <a:gd name="connsiteY20" fmla="*/ 86665 h 88174"/>
                  <a:gd name="connsiteX21" fmla="*/ 25056 w 38146"/>
                  <a:gd name="connsiteY21" fmla="*/ 88174 h 88174"/>
                  <a:gd name="connsiteX22" fmla="*/ 17948 w 38146"/>
                  <a:gd name="connsiteY22" fmla="*/ 84168 h 88174"/>
                  <a:gd name="connsiteX23" fmla="*/ 13338 w 38146"/>
                  <a:gd name="connsiteY23" fmla="*/ 76182 h 88174"/>
                  <a:gd name="connsiteX24" fmla="*/ 8370 w 38146"/>
                  <a:gd name="connsiteY24" fmla="*/ 70940 h 88174"/>
                  <a:gd name="connsiteX25" fmla="*/ 8150 w 38146"/>
                  <a:gd name="connsiteY25" fmla="*/ 55353 h 88174"/>
                  <a:gd name="connsiteX26" fmla="*/ 4254 w 38146"/>
                  <a:gd name="connsiteY26" fmla="*/ 48904 h 88174"/>
                  <a:gd name="connsiteX27" fmla="*/ 3623 w 38146"/>
                  <a:gd name="connsiteY27" fmla="*/ 47943 h 88174"/>
                  <a:gd name="connsiteX28" fmla="*/ 5324 w 38146"/>
                  <a:gd name="connsiteY28" fmla="*/ 39985 h 88174"/>
                  <a:gd name="connsiteX29" fmla="*/ 0 w 38146"/>
                  <a:gd name="connsiteY29" fmla="*/ 31422 h 88174"/>
                  <a:gd name="connsiteX30" fmla="*/ 2882 w 38146"/>
                  <a:gd name="connsiteY30" fmla="*/ 18442 h 88174"/>
                  <a:gd name="connsiteX31" fmla="*/ 7657 w 38146"/>
                  <a:gd name="connsiteY31" fmla="*/ 8233 h 88174"/>
                  <a:gd name="connsiteX32" fmla="*/ 16740 w 38146"/>
                  <a:gd name="connsiteY32" fmla="*/ 0 h 88174"/>
                  <a:gd name="connsiteX33" fmla="*/ 17536 w 38146"/>
                  <a:gd name="connsiteY33" fmla="*/ 1372 h 88174"/>
                  <a:gd name="connsiteX34" fmla="*/ 13173 w 38146"/>
                  <a:gd name="connsiteY34" fmla="*/ 8617 h 88174"/>
                  <a:gd name="connsiteX35" fmla="*/ 17234 w 38146"/>
                  <a:gd name="connsiteY35" fmla="*/ 13475 h 88174"/>
                  <a:gd name="connsiteX36" fmla="*/ 17152 w 38146"/>
                  <a:gd name="connsiteY36" fmla="*/ 24616 h 88174"/>
                  <a:gd name="connsiteX37" fmla="*/ 7108 w 38146"/>
                  <a:gd name="connsiteY37" fmla="*/ 34469 h 8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146" h="88174">
                    <a:moveTo>
                      <a:pt x="7026" y="34414"/>
                    </a:moveTo>
                    <a:lnTo>
                      <a:pt x="7904" y="38173"/>
                    </a:lnTo>
                    <a:lnTo>
                      <a:pt x="10758" y="39710"/>
                    </a:lnTo>
                    <a:lnTo>
                      <a:pt x="13776" y="38338"/>
                    </a:lnTo>
                    <a:lnTo>
                      <a:pt x="16960" y="32300"/>
                    </a:lnTo>
                    <a:lnTo>
                      <a:pt x="21378" y="29748"/>
                    </a:lnTo>
                    <a:lnTo>
                      <a:pt x="21818" y="24452"/>
                    </a:lnTo>
                    <a:lnTo>
                      <a:pt x="29474" y="18908"/>
                    </a:lnTo>
                    <a:lnTo>
                      <a:pt x="36170" y="17262"/>
                    </a:lnTo>
                    <a:lnTo>
                      <a:pt x="38146" y="19622"/>
                    </a:lnTo>
                    <a:lnTo>
                      <a:pt x="36747" y="32026"/>
                    </a:lnTo>
                    <a:lnTo>
                      <a:pt x="23739" y="41055"/>
                    </a:lnTo>
                    <a:lnTo>
                      <a:pt x="26593" y="44457"/>
                    </a:lnTo>
                    <a:lnTo>
                      <a:pt x="35758" y="47476"/>
                    </a:lnTo>
                    <a:lnTo>
                      <a:pt x="36088" y="48876"/>
                    </a:lnTo>
                    <a:lnTo>
                      <a:pt x="36664" y="54090"/>
                    </a:lnTo>
                    <a:lnTo>
                      <a:pt x="18332" y="50523"/>
                    </a:lnTo>
                    <a:lnTo>
                      <a:pt x="15094" y="52114"/>
                    </a:lnTo>
                    <a:lnTo>
                      <a:pt x="14243" y="64656"/>
                    </a:lnTo>
                    <a:lnTo>
                      <a:pt x="17069" y="72889"/>
                    </a:lnTo>
                    <a:lnTo>
                      <a:pt x="25275" y="86665"/>
                    </a:lnTo>
                    <a:lnTo>
                      <a:pt x="25056" y="88174"/>
                    </a:lnTo>
                    <a:lnTo>
                      <a:pt x="17948" y="84168"/>
                    </a:lnTo>
                    <a:lnTo>
                      <a:pt x="13338" y="76182"/>
                    </a:lnTo>
                    <a:lnTo>
                      <a:pt x="8370" y="70940"/>
                    </a:lnTo>
                    <a:lnTo>
                      <a:pt x="8150" y="55353"/>
                    </a:lnTo>
                    <a:lnTo>
                      <a:pt x="4254" y="48904"/>
                    </a:lnTo>
                    <a:lnTo>
                      <a:pt x="3623" y="47943"/>
                    </a:lnTo>
                    <a:lnTo>
                      <a:pt x="5324" y="39985"/>
                    </a:lnTo>
                    <a:lnTo>
                      <a:pt x="0" y="31422"/>
                    </a:lnTo>
                    <a:lnTo>
                      <a:pt x="2882" y="18442"/>
                    </a:lnTo>
                    <a:lnTo>
                      <a:pt x="7657" y="8233"/>
                    </a:lnTo>
                    <a:lnTo>
                      <a:pt x="16740" y="0"/>
                    </a:lnTo>
                    <a:lnTo>
                      <a:pt x="17536" y="1372"/>
                    </a:lnTo>
                    <a:lnTo>
                      <a:pt x="13173" y="8617"/>
                    </a:lnTo>
                    <a:lnTo>
                      <a:pt x="17234" y="13475"/>
                    </a:lnTo>
                    <a:lnTo>
                      <a:pt x="17152" y="24616"/>
                    </a:lnTo>
                    <a:lnTo>
                      <a:pt x="7108" y="344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18" name="Freeform: Shape 4617">
                <a:extLst>
                  <a:ext uri="{FF2B5EF4-FFF2-40B4-BE49-F238E27FC236}">
                    <a16:creationId xmlns:a16="http://schemas.microsoft.com/office/drawing/2014/main" id="{7ACB3BC5-1CB6-ECBF-3893-A8E7E64906A1}"/>
                  </a:ext>
                </a:extLst>
              </p:cNvPr>
              <p:cNvSpPr/>
              <p:nvPr/>
            </p:nvSpPr>
            <p:spPr>
              <a:xfrm>
                <a:off x="1757608" y="3853018"/>
                <a:ext cx="9205" cy="3274"/>
              </a:xfrm>
              <a:custGeom>
                <a:avLst/>
                <a:gdLst>
                  <a:gd name="connsiteX0" fmla="*/ 6559 w 88256"/>
                  <a:gd name="connsiteY0" fmla="*/ 7657 h 31394"/>
                  <a:gd name="connsiteX1" fmla="*/ 9824 w 88256"/>
                  <a:gd name="connsiteY1" fmla="*/ 2196 h 31394"/>
                  <a:gd name="connsiteX2" fmla="*/ 30406 w 88256"/>
                  <a:gd name="connsiteY2" fmla="*/ 1921 h 31394"/>
                  <a:gd name="connsiteX3" fmla="*/ 34523 w 88256"/>
                  <a:gd name="connsiteY3" fmla="*/ 686 h 31394"/>
                  <a:gd name="connsiteX4" fmla="*/ 37926 w 88256"/>
                  <a:gd name="connsiteY4" fmla="*/ 4638 h 31394"/>
                  <a:gd name="connsiteX5" fmla="*/ 47943 w 88256"/>
                  <a:gd name="connsiteY5" fmla="*/ 0 h 31394"/>
                  <a:gd name="connsiteX6" fmla="*/ 63119 w 88256"/>
                  <a:gd name="connsiteY6" fmla="*/ 5900 h 31394"/>
                  <a:gd name="connsiteX7" fmla="*/ 74452 w 88256"/>
                  <a:gd name="connsiteY7" fmla="*/ 6422 h 31394"/>
                  <a:gd name="connsiteX8" fmla="*/ 80381 w 88256"/>
                  <a:gd name="connsiteY8" fmla="*/ 10950 h 31394"/>
                  <a:gd name="connsiteX9" fmla="*/ 82548 w 88256"/>
                  <a:gd name="connsiteY9" fmla="*/ 17289 h 31394"/>
                  <a:gd name="connsiteX10" fmla="*/ 86500 w 88256"/>
                  <a:gd name="connsiteY10" fmla="*/ 19018 h 31394"/>
                  <a:gd name="connsiteX11" fmla="*/ 88256 w 88256"/>
                  <a:gd name="connsiteY11" fmla="*/ 24095 h 31394"/>
                  <a:gd name="connsiteX12" fmla="*/ 86829 w 88256"/>
                  <a:gd name="connsiteY12" fmla="*/ 31395 h 31394"/>
                  <a:gd name="connsiteX13" fmla="*/ 81451 w 88256"/>
                  <a:gd name="connsiteY13" fmla="*/ 29584 h 31394"/>
                  <a:gd name="connsiteX14" fmla="*/ 80353 w 88256"/>
                  <a:gd name="connsiteY14" fmla="*/ 28376 h 31394"/>
                  <a:gd name="connsiteX15" fmla="*/ 64024 w 88256"/>
                  <a:gd name="connsiteY15" fmla="*/ 20775 h 31394"/>
                  <a:gd name="connsiteX16" fmla="*/ 59688 w 88256"/>
                  <a:gd name="connsiteY16" fmla="*/ 16191 h 31394"/>
                  <a:gd name="connsiteX17" fmla="*/ 49425 w 88256"/>
                  <a:gd name="connsiteY17" fmla="*/ 15176 h 31394"/>
                  <a:gd name="connsiteX18" fmla="*/ 49671 w 88256"/>
                  <a:gd name="connsiteY18" fmla="*/ 18826 h 31394"/>
                  <a:gd name="connsiteX19" fmla="*/ 48190 w 88256"/>
                  <a:gd name="connsiteY19" fmla="*/ 19539 h 31394"/>
                  <a:gd name="connsiteX20" fmla="*/ 32492 w 88256"/>
                  <a:gd name="connsiteY20" fmla="*/ 16109 h 31394"/>
                  <a:gd name="connsiteX21" fmla="*/ 30434 w 88256"/>
                  <a:gd name="connsiteY21" fmla="*/ 12075 h 31394"/>
                  <a:gd name="connsiteX22" fmla="*/ 23655 w 88256"/>
                  <a:gd name="connsiteY22" fmla="*/ 18332 h 31394"/>
                  <a:gd name="connsiteX23" fmla="*/ 18716 w 88256"/>
                  <a:gd name="connsiteY23" fmla="*/ 19265 h 31394"/>
                  <a:gd name="connsiteX24" fmla="*/ 15945 w 88256"/>
                  <a:gd name="connsiteY24" fmla="*/ 18113 h 31394"/>
                  <a:gd name="connsiteX25" fmla="*/ 8315 w 88256"/>
                  <a:gd name="connsiteY25" fmla="*/ 8782 h 31394"/>
                  <a:gd name="connsiteX26" fmla="*/ 2882 w 88256"/>
                  <a:gd name="connsiteY26" fmla="*/ 19732 h 31394"/>
                  <a:gd name="connsiteX27" fmla="*/ 1893 w 88256"/>
                  <a:gd name="connsiteY27" fmla="*/ 19622 h 31394"/>
                  <a:gd name="connsiteX28" fmla="*/ 0 w 88256"/>
                  <a:gd name="connsiteY28" fmla="*/ 11499 h 31394"/>
                  <a:gd name="connsiteX29" fmla="*/ 6586 w 88256"/>
                  <a:gd name="connsiteY29" fmla="*/ 7657 h 3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8256" h="31394">
                    <a:moveTo>
                      <a:pt x="6559" y="7657"/>
                    </a:moveTo>
                    <a:lnTo>
                      <a:pt x="9824" y="2196"/>
                    </a:lnTo>
                    <a:lnTo>
                      <a:pt x="30406" y="1921"/>
                    </a:lnTo>
                    <a:lnTo>
                      <a:pt x="34523" y="686"/>
                    </a:lnTo>
                    <a:lnTo>
                      <a:pt x="37926" y="4638"/>
                    </a:lnTo>
                    <a:lnTo>
                      <a:pt x="47943" y="0"/>
                    </a:lnTo>
                    <a:lnTo>
                      <a:pt x="63119" y="5900"/>
                    </a:lnTo>
                    <a:lnTo>
                      <a:pt x="74452" y="6422"/>
                    </a:lnTo>
                    <a:lnTo>
                      <a:pt x="80381" y="10950"/>
                    </a:lnTo>
                    <a:lnTo>
                      <a:pt x="82548" y="17289"/>
                    </a:lnTo>
                    <a:lnTo>
                      <a:pt x="86500" y="19018"/>
                    </a:lnTo>
                    <a:lnTo>
                      <a:pt x="88256" y="24095"/>
                    </a:lnTo>
                    <a:lnTo>
                      <a:pt x="86829" y="31395"/>
                    </a:lnTo>
                    <a:lnTo>
                      <a:pt x="81451" y="29584"/>
                    </a:lnTo>
                    <a:lnTo>
                      <a:pt x="80353" y="28376"/>
                    </a:lnTo>
                    <a:lnTo>
                      <a:pt x="64024" y="20775"/>
                    </a:lnTo>
                    <a:lnTo>
                      <a:pt x="59688" y="16191"/>
                    </a:lnTo>
                    <a:lnTo>
                      <a:pt x="49425" y="15176"/>
                    </a:lnTo>
                    <a:lnTo>
                      <a:pt x="49671" y="18826"/>
                    </a:lnTo>
                    <a:lnTo>
                      <a:pt x="48190" y="19539"/>
                    </a:lnTo>
                    <a:lnTo>
                      <a:pt x="32492" y="16109"/>
                    </a:lnTo>
                    <a:lnTo>
                      <a:pt x="30434" y="12075"/>
                    </a:lnTo>
                    <a:lnTo>
                      <a:pt x="23655" y="18332"/>
                    </a:lnTo>
                    <a:lnTo>
                      <a:pt x="18716" y="19265"/>
                    </a:lnTo>
                    <a:lnTo>
                      <a:pt x="15945" y="18113"/>
                    </a:lnTo>
                    <a:lnTo>
                      <a:pt x="8315" y="8782"/>
                    </a:lnTo>
                    <a:lnTo>
                      <a:pt x="2882" y="19732"/>
                    </a:lnTo>
                    <a:lnTo>
                      <a:pt x="1893" y="19622"/>
                    </a:lnTo>
                    <a:lnTo>
                      <a:pt x="0" y="11499"/>
                    </a:lnTo>
                    <a:lnTo>
                      <a:pt x="6586" y="76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19" name="Freeform: Shape 4618">
                <a:extLst>
                  <a:ext uri="{FF2B5EF4-FFF2-40B4-BE49-F238E27FC236}">
                    <a16:creationId xmlns:a16="http://schemas.microsoft.com/office/drawing/2014/main" id="{E54FCAE2-E94B-C2BE-2F7A-4B9525EC296B}"/>
                  </a:ext>
                </a:extLst>
              </p:cNvPr>
              <p:cNvSpPr/>
              <p:nvPr/>
            </p:nvSpPr>
            <p:spPr>
              <a:xfrm>
                <a:off x="1732423" y="3869350"/>
                <a:ext cx="11246" cy="2673"/>
              </a:xfrm>
              <a:custGeom>
                <a:avLst/>
                <a:gdLst>
                  <a:gd name="connsiteX0" fmla="*/ 91385 w 107823"/>
                  <a:gd name="connsiteY0" fmla="*/ 3101 h 25631"/>
                  <a:gd name="connsiteX1" fmla="*/ 93416 w 107823"/>
                  <a:gd name="connsiteY1" fmla="*/ 0 h 25631"/>
                  <a:gd name="connsiteX2" fmla="*/ 96874 w 107823"/>
                  <a:gd name="connsiteY2" fmla="*/ 1235 h 25631"/>
                  <a:gd name="connsiteX3" fmla="*/ 99179 w 107823"/>
                  <a:gd name="connsiteY3" fmla="*/ 5763 h 25631"/>
                  <a:gd name="connsiteX4" fmla="*/ 105052 w 107823"/>
                  <a:gd name="connsiteY4" fmla="*/ 4363 h 25631"/>
                  <a:gd name="connsiteX5" fmla="*/ 107824 w 107823"/>
                  <a:gd name="connsiteY5" fmla="*/ 6285 h 25631"/>
                  <a:gd name="connsiteX6" fmla="*/ 106918 w 107823"/>
                  <a:gd name="connsiteY6" fmla="*/ 8562 h 25631"/>
                  <a:gd name="connsiteX7" fmla="*/ 102225 w 107823"/>
                  <a:gd name="connsiteY7" fmla="*/ 9523 h 25631"/>
                  <a:gd name="connsiteX8" fmla="*/ 95831 w 107823"/>
                  <a:gd name="connsiteY8" fmla="*/ 15039 h 25631"/>
                  <a:gd name="connsiteX9" fmla="*/ 81478 w 107823"/>
                  <a:gd name="connsiteY9" fmla="*/ 19073 h 25631"/>
                  <a:gd name="connsiteX10" fmla="*/ 72477 w 107823"/>
                  <a:gd name="connsiteY10" fmla="*/ 19320 h 25631"/>
                  <a:gd name="connsiteX11" fmla="*/ 63777 w 107823"/>
                  <a:gd name="connsiteY11" fmla="*/ 23354 h 25631"/>
                  <a:gd name="connsiteX12" fmla="*/ 52114 w 107823"/>
                  <a:gd name="connsiteY12" fmla="*/ 21488 h 25631"/>
                  <a:gd name="connsiteX13" fmla="*/ 49040 w 107823"/>
                  <a:gd name="connsiteY13" fmla="*/ 24589 h 25631"/>
                  <a:gd name="connsiteX14" fmla="*/ 39380 w 107823"/>
                  <a:gd name="connsiteY14" fmla="*/ 25632 h 25631"/>
                  <a:gd name="connsiteX15" fmla="*/ 33618 w 107823"/>
                  <a:gd name="connsiteY15" fmla="*/ 22201 h 25631"/>
                  <a:gd name="connsiteX16" fmla="*/ 14545 w 107823"/>
                  <a:gd name="connsiteY16" fmla="*/ 20720 h 25631"/>
                  <a:gd name="connsiteX17" fmla="*/ 8233 w 107823"/>
                  <a:gd name="connsiteY17" fmla="*/ 22064 h 25631"/>
                  <a:gd name="connsiteX18" fmla="*/ 2963 w 107823"/>
                  <a:gd name="connsiteY18" fmla="*/ 18277 h 25631"/>
                  <a:gd name="connsiteX19" fmla="*/ 1811 w 107823"/>
                  <a:gd name="connsiteY19" fmla="*/ 20665 h 25631"/>
                  <a:gd name="connsiteX20" fmla="*/ 55 w 107823"/>
                  <a:gd name="connsiteY20" fmla="*/ 20665 h 25631"/>
                  <a:gd name="connsiteX21" fmla="*/ 0 w 107823"/>
                  <a:gd name="connsiteY21" fmla="*/ 18606 h 25631"/>
                  <a:gd name="connsiteX22" fmla="*/ 4885 w 107823"/>
                  <a:gd name="connsiteY22" fmla="*/ 14298 h 25631"/>
                  <a:gd name="connsiteX23" fmla="*/ 7738 w 107823"/>
                  <a:gd name="connsiteY23" fmla="*/ 11279 h 25631"/>
                  <a:gd name="connsiteX24" fmla="*/ 22695 w 107823"/>
                  <a:gd name="connsiteY24" fmla="*/ 4912 h 25631"/>
                  <a:gd name="connsiteX25" fmla="*/ 33618 w 107823"/>
                  <a:gd name="connsiteY25" fmla="*/ 7574 h 25631"/>
                  <a:gd name="connsiteX26" fmla="*/ 54392 w 107823"/>
                  <a:gd name="connsiteY26" fmla="*/ 15395 h 25631"/>
                  <a:gd name="connsiteX27" fmla="*/ 58344 w 107823"/>
                  <a:gd name="connsiteY27" fmla="*/ 12404 h 25631"/>
                  <a:gd name="connsiteX28" fmla="*/ 68553 w 107823"/>
                  <a:gd name="connsiteY28" fmla="*/ 11581 h 25631"/>
                  <a:gd name="connsiteX29" fmla="*/ 77554 w 107823"/>
                  <a:gd name="connsiteY29" fmla="*/ 16109 h 25631"/>
                  <a:gd name="connsiteX30" fmla="*/ 82521 w 107823"/>
                  <a:gd name="connsiteY30" fmla="*/ 15039 h 25631"/>
                  <a:gd name="connsiteX31" fmla="*/ 83509 w 107823"/>
                  <a:gd name="connsiteY31" fmla="*/ 11855 h 25631"/>
                  <a:gd name="connsiteX32" fmla="*/ 86802 w 107823"/>
                  <a:gd name="connsiteY32" fmla="*/ 9248 h 25631"/>
                  <a:gd name="connsiteX33" fmla="*/ 94952 w 107823"/>
                  <a:gd name="connsiteY33" fmla="*/ 5434 h 25631"/>
                  <a:gd name="connsiteX34" fmla="*/ 95528 w 107823"/>
                  <a:gd name="connsiteY34" fmla="*/ 3074 h 25631"/>
                  <a:gd name="connsiteX35" fmla="*/ 91412 w 107823"/>
                  <a:gd name="connsiteY35" fmla="*/ 3074 h 2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7823" h="25631">
                    <a:moveTo>
                      <a:pt x="91385" y="3101"/>
                    </a:moveTo>
                    <a:lnTo>
                      <a:pt x="93416" y="0"/>
                    </a:lnTo>
                    <a:lnTo>
                      <a:pt x="96874" y="1235"/>
                    </a:lnTo>
                    <a:lnTo>
                      <a:pt x="99179" y="5763"/>
                    </a:lnTo>
                    <a:lnTo>
                      <a:pt x="105052" y="4363"/>
                    </a:lnTo>
                    <a:lnTo>
                      <a:pt x="107824" y="6285"/>
                    </a:lnTo>
                    <a:lnTo>
                      <a:pt x="106918" y="8562"/>
                    </a:lnTo>
                    <a:lnTo>
                      <a:pt x="102225" y="9523"/>
                    </a:lnTo>
                    <a:lnTo>
                      <a:pt x="95831" y="15039"/>
                    </a:lnTo>
                    <a:lnTo>
                      <a:pt x="81478" y="19073"/>
                    </a:lnTo>
                    <a:lnTo>
                      <a:pt x="72477" y="19320"/>
                    </a:lnTo>
                    <a:lnTo>
                      <a:pt x="63777" y="23354"/>
                    </a:lnTo>
                    <a:lnTo>
                      <a:pt x="52114" y="21488"/>
                    </a:lnTo>
                    <a:lnTo>
                      <a:pt x="49040" y="24589"/>
                    </a:lnTo>
                    <a:lnTo>
                      <a:pt x="39380" y="25632"/>
                    </a:lnTo>
                    <a:lnTo>
                      <a:pt x="33618" y="22201"/>
                    </a:lnTo>
                    <a:lnTo>
                      <a:pt x="14545" y="20720"/>
                    </a:lnTo>
                    <a:lnTo>
                      <a:pt x="8233" y="22064"/>
                    </a:lnTo>
                    <a:lnTo>
                      <a:pt x="2963" y="18277"/>
                    </a:lnTo>
                    <a:lnTo>
                      <a:pt x="1811" y="20665"/>
                    </a:lnTo>
                    <a:lnTo>
                      <a:pt x="55" y="20665"/>
                    </a:lnTo>
                    <a:cubicBezTo>
                      <a:pt x="55" y="20665"/>
                      <a:pt x="0" y="18606"/>
                      <a:pt x="0" y="18606"/>
                    </a:cubicBezTo>
                    <a:lnTo>
                      <a:pt x="4885" y="14298"/>
                    </a:lnTo>
                    <a:lnTo>
                      <a:pt x="7738" y="11279"/>
                    </a:lnTo>
                    <a:lnTo>
                      <a:pt x="22695" y="4912"/>
                    </a:lnTo>
                    <a:lnTo>
                      <a:pt x="33618" y="7574"/>
                    </a:lnTo>
                    <a:lnTo>
                      <a:pt x="54392" y="15395"/>
                    </a:lnTo>
                    <a:lnTo>
                      <a:pt x="58344" y="12404"/>
                    </a:lnTo>
                    <a:lnTo>
                      <a:pt x="68553" y="11581"/>
                    </a:lnTo>
                    <a:lnTo>
                      <a:pt x="77554" y="16109"/>
                    </a:lnTo>
                    <a:lnTo>
                      <a:pt x="82521" y="15039"/>
                    </a:lnTo>
                    <a:lnTo>
                      <a:pt x="83509" y="11855"/>
                    </a:lnTo>
                    <a:lnTo>
                      <a:pt x="86802" y="9248"/>
                    </a:lnTo>
                    <a:lnTo>
                      <a:pt x="94952" y="5434"/>
                    </a:lnTo>
                    <a:lnTo>
                      <a:pt x="95528" y="3074"/>
                    </a:lnTo>
                    <a:lnTo>
                      <a:pt x="91412"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20" name="Freeform: Shape 4619">
                <a:extLst>
                  <a:ext uri="{FF2B5EF4-FFF2-40B4-BE49-F238E27FC236}">
                    <a16:creationId xmlns:a16="http://schemas.microsoft.com/office/drawing/2014/main" id="{9E7D6496-8091-E7A2-71B6-059ACADFA8A1}"/>
                  </a:ext>
                </a:extLst>
              </p:cNvPr>
              <p:cNvSpPr/>
              <p:nvPr/>
            </p:nvSpPr>
            <p:spPr>
              <a:xfrm>
                <a:off x="1723478" y="3869373"/>
                <a:ext cx="7436" cy="3114"/>
              </a:xfrm>
              <a:custGeom>
                <a:avLst/>
                <a:gdLst>
                  <a:gd name="connsiteX0" fmla="*/ 18853 w 71296"/>
                  <a:gd name="connsiteY0" fmla="*/ 10730 h 29857"/>
                  <a:gd name="connsiteX1" fmla="*/ 22146 w 71296"/>
                  <a:gd name="connsiteY1" fmla="*/ 9276 h 29857"/>
                  <a:gd name="connsiteX2" fmla="*/ 22558 w 71296"/>
                  <a:gd name="connsiteY2" fmla="*/ 3375 h 29857"/>
                  <a:gd name="connsiteX3" fmla="*/ 24342 w 71296"/>
                  <a:gd name="connsiteY3" fmla="*/ 1839 h 29857"/>
                  <a:gd name="connsiteX4" fmla="*/ 35209 w 71296"/>
                  <a:gd name="connsiteY4" fmla="*/ 0 h 29857"/>
                  <a:gd name="connsiteX5" fmla="*/ 41055 w 71296"/>
                  <a:gd name="connsiteY5" fmla="*/ 1043 h 29857"/>
                  <a:gd name="connsiteX6" fmla="*/ 45857 w 71296"/>
                  <a:gd name="connsiteY6" fmla="*/ 7849 h 29857"/>
                  <a:gd name="connsiteX7" fmla="*/ 51291 w 71296"/>
                  <a:gd name="connsiteY7" fmla="*/ 4995 h 29857"/>
                  <a:gd name="connsiteX8" fmla="*/ 57987 w 71296"/>
                  <a:gd name="connsiteY8" fmla="*/ 7684 h 29857"/>
                  <a:gd name="connsiteX9" fmla="*/ 61719 w 71296"/>
                  <a:gd name="connsiteY9" fmla="*/ 5928 h 29857"/>
                  <a:gd name="connsiteX10" fmla="*/ 65726 w 71296"/>
                  <a:gd name="connsiteY10" fmla="*/ 6559 h 29857"/>
                  <a:gd name="connsiteX11" fmla="*/ 67866 w 71296"/>
                  <a:gd name="connsiteY11" fmla="*/ 16027 h 29857"/>
                  <a:gd name="connsiteX12" fmla="*/ 71297 w 71296"/>
                  <a:gd name="connsiteY12" fmla="*/ 16274 h 29857"/>
                  <a:gd name="connsiteX13" fmla="*/ 70666 w 71296"/>
                  <a:gd name="connsiteY13" fmla="*/ 19183 h 29857"/>
                  <a:gd name="connsiteX14" fmla="*/ 60621 w 71296"/>
                  <a:gd name="connsiteY14" fmla="*/ 19073 h 29857"/>
                  <a:gd name="connsiteX15" fmla="*/ 60758 w 71296"/>
                  <a:gd name="connsiteY15" fmla="*/ 21433 h 29857"/>
                  <a:gd name="connsiteX16" fmla="*/ 58152 w 71296"/>
                  <a:gd name="connsiteY16" fmla="*/ 21049 h 29857"/>
                  <a:gd name="connsiteX17" fmla="*/ 50550 w 71296"/>
                  <a:gd name="connsiteY17" fmla="*/ 22695 h 29857"/>
                  <a:gd name="connsiteX18" fmla="*/ 48849 w 71296"/>
                  <a:gd name="connsiteY18" fmla="*/ 21406 h 29857"/>
                  <a:gd name="connsiteX19" fmla="*/ 48794 w 71296"/>
                  <a:gd name="connsiteY19" fmla="*/ 17865 h 29857"/>
                  <a:gd name="connsiteX20" fmla="*/ 41055 w 71296"/>
                  <a:gd name="connsiteY20" fmla="*/ 23135 h 29857"/>
                  <a:gd name="connsiteX21" fmla="*/ 29062 w 71296"/>
                  <a:gd name="connsiteY21" fmla="*/ 24314 h 29857"/>
                  <a:gd name="connsiteX22" fmla="*/ 9907 w 71296"/>
                  <a:gd name="connsiteY22" fmla="*/ 29858 h 29857"/>
                  <a:gd name="connsiteX23" fmla="*/ 1811 w 71296"/>
                  <a:gd name="connsiteY23" fmla="*/ 27882 h 29857"/>
                  <a:gd name="connsiteX24" fmla="*/ 0 w 71296"/>
                  <a:gd name="connsiteY24" fmla="*/ 26126 h 29857"/>
                  <a:gd name="connsiteX25" fmla="*/ 384 w 71296"/>
                  <a:gd name="connsiteY25" fmla="*/ 23272 h 29857"/>
                  <a:gd name="connsiteX26" fmla="*/ 1811 w 71296"/>
                  <a:gd name="connsiteY26" fmla="*/ 21543 h 29857"/>
                  <a:gd name="connsiteX27" fmla="*/ 1043 w 71296"/>
                  <a:gd name="connsiteY27" fmla="*/ 16740 h 29857"/>
                  <a:gd name="connsiteX28" fmla="*/ 3156 w 71296"/>
                  <a:gd name="connsiteY28" fmla="*/ 13639 h 29857"/>
                  <a:gd name="connsiteX29" fmla="*/ 12678 w 71296"/>
                  <a:gd name="connsiteY29" fmla="*/ 8507 h 29857"/>
                  <a:gd name="connsiteX30" fmla="*/ 18880 w 71296"/>
                  <a:gd name="connsiteY30" fmla="*/ 10648 h 2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296" h="29857">
                    <a:moveTo>
                      <a:pt x="18853" y="10730"/>
                    </a:moveTo>
                    <a:lnTo>
                      <a:pt x="22146" y="9276"/>
                    </a:lnTo>
                    <a:lnTo>
                      <a:pt x="22558" y="3375"/>
                    </a:lnTo>
                    <a:lnTo>
                      <a:pt x="24342" y="1839"/>
                    </a:lnTo>
                    <a:lnTo>
                      <a:pt x="35209" y="0"/>
                    </a:lnTo>
                    <a:lnTo>
                      <a:pt x="41055" y="1043"/>
                    </a:lnTo>
                    <a:lnTo>
                      <a:pt x="45857" y="7849"/>
                    </a:lnTo>
                    <a:lnTo>
                      <a:pt x="51291" y="4995"/>
                    </a:lnTo>
                    <a:lnTo>
                      <a:pt x="57987" y="7684"/>
                    </a:lnTo>
                    <a:lnTo>
                      <a:pt x="61719" y="5928"/>
                    </a:lnTo>
                    <a:lnTo>
                      <a:pt x="65726" y="6559"/>
                    </a:lnTo>
                    <a:lnTo>
                      <a:pt x="67866" y="16027"/>
                    </a:lnTo>
                    <a:lnTo>
                      <a:pt x="71297" y="16274"/>
                    </a:lnTo>
                    <a:lnTo>
                      <a:pt x="70666" y="19183"/>
                    </a:lnTo>
                    <a:lnTo>
                      <a:pt x="60621" y="19073"/>
                    </a:lnTo>
                    <a:lnTo>
                      <a:pt x="60758" y="21433"/>
                    </a:lnTo>
                    <a:lnTo>
                      <a:pt x="58152" y="21049"/>
                    </a:lnTo>
                    <a:lnTo>
                      <a:pt x="50550" y="22695"/>
                    </a:lnTo>
                    <a:lnTo>
                      <a:pt x="48849" y="21406"/>
                    </a:lnTo>
                    <a:lnTo>
                      <a:pt x="48794" y="17865"/>
                    </a:lnTo>
                    <a:lnTo>
                      <a:pt x="41055" y="23135"/>
                    </a:lnTo>
                    <a:lnTo>
                      <a:pt x="29062" y="24314"/>
                    </a:lnTo>
                    <a:lnTo>
                      <a:pt x="9907" y="29858"/>
                    </a:lnTo>
                    <a:lnTo>
                      <a:pt x="1811" y="27882"/>
                    </a:lnTo>
                    <a:lnTo>
                      <a:pt x="0" y="26126"/>
                    </a:lnTo>
                    <a:lnTo>
                      <a:pt x="384" y="23272"/>
                    </a:lnTo>
                    <a:lnTo>
                      <a:pt x="1811" y="21543"/>
                    </a:lnTo>
                    <a:lnTo>
                      <a:pt x="1043" y="16740"/>
                    </a:lnTo>
                    <a:lnTo>
                      <a:pt x="3156" y="13639"/>
                    </a:lnTo>
                    <a:lnTo>
                      <a:pt x="12678" y="8507"/>
                    </a:lnTo>
                    <a:lnTo>
                      <a:pt x="18880" y="106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21" name="Freeform: Shape 4620">
                <a:extLst>
                  <a:ext uri="{FF2B5EF4-FFF2-40B4-BE49-F238E27FC236}">
                    <a16:creationId xmlns:a16="http://schemas.microsoft.com/office/drawing/2014/main" id="{F0CE6D94-91C2-6F3B-6FCA-8BE3F2D0BE3A}"/>
                  </a:ext>
                </a:extLst>
              </p:cNvPr>
              <p:cNvSpPr/>
              <p:nvPr/>
            </p:nvSpPr>
            <p:spPr>
              <a:xfrm>
                <a:off x="1744184" y="3872050"/>
                <a:ext cx="5212" cy="4339"/>
              </a:xfrm>
              <a:custGeom>
                <a:avLst/>
                <a:gdLst>
                  <a:gd name="connsiteX0" fmla="*/ 18964 w 49974"/>
                  <a:gd name="connsiteY0" fmla="*/ 13310 h 41603"/>
                  <a:gd name="connsiteX1" fmla="*/ 21954 w 49974"/>
                  <a:gd name="connsiteY1" fmla="*/ 12843 h 41603"/>
                  <a:gd name="connsiteX2" fmla="*/ 24562 w 49974"/>
                  <a:gd name="connsiteY2" fmla="*/ 15780 h 41603"/>
                  <a:gd name="connsiteX3" fmla="*/ 28706 w 49974"/>
                  <a:gd name="connsiteY3" fmla="*/ 9605 h 41603"/>
                  <a:gd name="connsiteX4" fmla="*/ 29337 w 49974"/>
                  <a:gd name="connsiteY4" fmla="*/ 6449 h 41603"/>
                  <a:gd name="connsiteX5" fmla="*/ 43250 w 49974"/>
                  <a:gd name="connsiteY5" fmla="*/ 0 h 41603"/>
                  <a:gd name="connsiteX6" fmla="*/ 43936 w 49974"/>
                  <a:gd name="connsiteY6" fmla="*/ 2690 h 41603"/>
                  <a:gd name="connsiteX7" fmla="*/ 48190 w 49974"/>
                  <a:gd name="connsiteY7" fmla="*/ 933 h 41603"/>
                  <a:gd name="connsiteX8" fmla="*/ 49974 w 49974"/>
                  <a:gd name="connsiteY8" fmla="*/ 2744 h 41603"/>
                  <a:gd name="connsiteX9" fmla="*/ 49397 w 49974"/>
                  <a:gd name="connsiteY9" fmla="*/ 6230 h 41603"/>
                  <a:gd name="connsiteX10" fmla="*/ 45062 w 49974"/>
                  <a:gd name="connsiteY10" fmla="*/ 6888 h 41603"/>
                  <a:gd name="connsiteX11" fmla="*/ 44622 w 49974"/>
                  <a:gd name="connsiteY11" fmla="*/ 9605 h 41603"/>
                  <a:gd name="connsiteX12" fmla="*/ 47120 w 49974"/>
                  <a:gd name="connsiteY12" fmla="*/ 14545 h 41603"/>
                  <a:gd name="connsiteX13" fmla="*/ 37268 w 49974"/>
                  <a:gd name="connsiteY13" fmla="*/ 27361 h 41603"/>
                  <a:gd name="connsiteX14" fmla="*/ 27800 w 49974"/>
                  <a:gd name="connsiteY14" fmla="*/ 35429 h 41603"/>
                  <a:gd name="connsiteX15" fmla="*/ 19677 w 49974"/>
                  <a:gd name="connsiteY15" fmla="*/ 36115 h 41603"/>
                  <a:gd name="connsiteX16" fmla="*/ 8946 w 49974"/>
                  <a:gd name="connsiteY16" fmla="*/ 41604 h 41603"/>
                  <a:gd name="connsiteX17" fmla="*/ 0 w 49974"/>
                  <a:gd name="connsiteY17" fmla="*/ 41082 h 41603"/>
                  <a:gd name="connsiteX18" fmla="*/ 1345 w 49974"/>
                  <a:gd name="connsiteY18" fmla="*/ 36829 h 41603"/>
                  <a:gd name="connsiteX19" fmla="*/ 7959 w 49974"/>
                  <a:gd name="connsiteY19" fmla="*/ 33096 h 41603"/>
                  <a:gd name="connsiteX20" fmla="*/ 3156 w 49974"/>
                  <a:gd name="connsiteY20" fmla="*/ 30654 h 41603"/>
                  <a:gd name="connsiteX21" fmla="*/ 6230 w 49974"/>
                  <a:gd name="connsiteY21" fmla="*/ 19951 h 41603"/>
                  <a:gd name="connsiteX22" fmla="*/ 16658 w 49974"/>
                  <a:gd name="connsiteY22" fmla="*/ 11444 h 41603"/>
                  <a:gd name="connsiteX23" fmla="*/ 19018 w 49974"/>
                  <a:gd name="connsiteY23" fmla="*/ 13283 h 41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74" h="41603">
                    <a:moveTo>
                      <a:pt x="18964" y="13310"/>
                    </a:moveTo>
                    <a:lnTo>
                      <a:pt x="21954" y="12843"/>
                    </a:lnTo>
                    <a:lnTo>
                      <a:pt x="24562" y="15780"/>
                    </a:lnTo>
                    <a:lnTo>
                      <a:pt x="28706" y="9605"/>
                    </a:lnTo>
                    <a:lnTo>
                      <a:pt x="29337" y="6449"/>
                    </a:lnTo>
                    <a:lnTo>
                      <a:pt x="43250" y="0"/>
                    </a:lnTo>
                    <a:lnTo>
                      <a:pt x="43936" y="2690"/>
                    </a:lnTo>
                    <a:lnTo>
                      <a:pt x="48190" y="933"/>
                    </a:lnTo>
                    <a:lnTo>
                      <a:pt x="49974" y="2744"/>
                    </a:lnTo>
                    <a:lnTo>
                      <a:pt x="49397" y="6230"/>
                    </a:lnTo>
                    <a:lnTo>
                      <a:pt x="45062" y="6888"/>
                    </a:lnTo>
                    <a:lnTo>
                      <a:pt x="44622" y="9605"/>
                    </a:lnTo>
                    <a:lnTo>
                      <a:pt x="47120" y="14545"/>
                    </a:lnTo>
                    <a:lnTo>
                      <a:pt x="37268" y="27361"/>
                    </a:lnTo>
                    <a:lnTo>
                      <a:pt x="27800" y="35429"/>
                    </a:lnTo>
                    <a:lnTo>
                      <a:pt x="19677" y="36115"/>
                    </a:lnTo>
                    <a:lnTo>
                      <a:pt x="8946" y="41604"/>
                    </a:lnTo>
                    <a:lnTo>
                      <a:pt x="0" y="41082"/>
                    </a:lnTo>
                    <a:lnTo>
                      <a:pt x="1345" y="36829"/>
                    </a:lnTo>
                    <a:lnTo>
                      <a:pt x="7959" y="33096"/>
                    </a:lnTo>
                    <a:lnTo>
                      <a:pt x="3156" y="30654"/>
                    </a:lnTo>
                    <a:lnTo>
                      <a:pt x="6230" y="19951"/>
                    </a:lnTo>
                    <a:lnTo>
                      <a:pt x="16658" y="11444"/>
                    </a:lnTo>
                    <a:lnTo>
                      <a:pt x="19018" y="132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22" name="Freeform: Shape 4621">
                <a:extLst>
                  <a:ext uri="{FF2B5EF4-FFF2-40B4-BE49-F238E27FC236}">
                    <a16:creationId xmlns:a16="http://schemas.microsoft.com/office/drawing/2014/main" id="{823ABA60-6D73-FFD8-3A99-BC3F0F310402}"/>
                  </a:ext>
                </a:extLst>
              </p:cNvPr>
              <p:cNvSpPr/>
              <p:nvPr/>
            </p:nvSpPr>
            <p:spPr>
              <a:xfrm>
                <a:off x="1730310" y="3873134"/>
                <a:ext cx="5730" cy="3091"/>
              </a:xfrm>
              <a:custGeom>
                <a:avLst/>
                <a:gdLst>
                  <a:gd name="connsiteX0" fmla="*/ 0 w 54940"/>
                  <a:gd name="connsiteY0" fmla="*/ 6833 h 29638"/>
                  <a:gd name="connsiteX1" fmla="*/ 6833 w 54940"/>
                  <a:gd name="connsiteY1" fmla="*/ 2196 h 29638"/>
                  <a:gd name="connsiteX2" fmla="*/ 24342 w 54940"/>
                  <a:gd name="connsiteY2" fmla="*/ 2497 h 29638"/>
                  <a:gd name="connsiteX3" fmla="*/ 28952 w 54940"/>
                  <a:gd name="connsiteY3" fmla="*/ 0 h 29638"/>
                  <a:gd name="connsiteX4" fmla="*/ 36719 w 54940"/>
                  <a:gd name="connsiteY4" fmla="*/ 5681 h 29638"/>
                  <a:gd name="connsiteX5" fmla="*/ 38640 w 54940"/>
                  <a:gd name="connsiteY5" fmla="*/ 10127 h 29638"/>
                  <a:gd name="connsiteX6" fmla="*/ 44183 w 54940"/>
                  <a:gd name="connsiteY6" fmla="*/ 10483 h 29638"/>
                  <a:gd name="connsiteX7" fmla="*/ 53871 w 54940"/>
                  <a:gd name="connsiteY7" fmla="*/ 19704 h 29638"/>
                  <a:gd name="connsiteX8" fmla="*/ 54941 w 54940"/>
                  <a:gd name="connsiteY8" fmla="*/ 21570 h 29638"/>
                  <a:gd name="connsiteX9" fmla="*/ 53871 w 54940"/>
                  <a:gd name="connsiteY9" fmla="*/ 24259 h 29638"/>
                  <a:gd name="connsiteX10" fmla="*/ 44101 w 54940"/>
                  <a:gd name="connsiteY10" fmla="*/ 29639 h 29638"/>
                  <a:gd name="connsiteX11" fmla="*/ 36115 w 54940"/>
                  <a:gd name="connsiteY11" fmla="*/ 27717 h 29638"/>
                  <a:gd name="connsiteX12" fmla="*/ 29310 w 54940"/>
                  <a:gd name="connsiteY12" fmla="*/ 20335 h 29638"/>
                  <a:gd name="connsiteX13" fmla="*/ 20582 w 54940"/>
                  <a:gd name="connsiteY13" fmla="*/ 14572 h 29638"/>
                  <a:gd name="connsiteX14" fmla="*/ 6065 w 54940"/>
                  <a:gd name="connsiteY14" fmla="*/ 12898 h 29638"/>
                  <a:gd name="connsiteX15" fmla="*/ 1867 w 54940"/>
                  <a:gd name="connsiteY15" fmla="*/ 10456 h 29638"/>
                  <a:gd name="connsiteX16" fmla="*/ 27 w 54940"/>
                  <a:gd name="connsiteY16" fmla="*/ 6833 h 2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940" h="29638">
                    <a:moveTo>
                      <a:pt x="0" y="6833"/>
                    </a:moveTo>
                    <a:lnTo>
                      <a:pt x="6833" y="2196"/>
                    </a:lnTo>
                    <a:lnTo>
                      <a:pt x="24342" y="2497"/>
                    </a:lnTo>
                    <a:lnTo>
                      <a:pt x="28952" y="0"/>
                    </a:lnTo>
                    <a:lnTo>
                      <a:pt x="36719" y="5681"/>
                    </a:lnTo>
                    <a:lnTo>
                      <a:pt x="38640" y="10127"/>
                    </a:lnTo>
                    <a:lnTo>
                      <a:pt x="44183" y="10483"/>
                    </a:lnTo>
                    <a:lnTo>
                      <a:pt x="53871" y="19704"/>
                    </a:lnTo>
                    <a:lnTo>
                      <a:pt x="54941" y="21570"/>
                    </a:lnTo>
                    <a:lnTo>
                      <a:pt x="53871" y="24259"/>
                    </a:lnTo>
                    <a:lnTo>
                      <a:pt x="44101" y="29639"/>
                    </a:lnTo>
                    <a:lnTo>
                      <a:pt x="36115" y="27717"/>
                    </a:lnTo>
                    <a:lnTo>
                      <a:pt x="29310" y="20335"/>
                    </a:lnTo>
                    <a:lnTo>
                      <a:pt x="20582" y="14572"/>
                    </a:lnTo>
                    <a:lnTo>
                      <a:pt x="6065" y="12898"/>
                    </a:lnTo>
                    <a:lnTo>
                      <a:pt x="1867" y="10456"/>
                    </a:lnTo>
                    <a:lnTo>
                      <a:pt x="27" y="68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23" name="Freeform: Shape 4622">
                <a:extLst>
                  <a:ext uri="{FF2B5EF4-FFF2-40B4-BE49-F238E27FC236}">
                    <a16:creationId xmlns:a16="http://schemas.microsoft.com/office/drawing/2014/main" id="{AD549621-2068-C35E-855E-D53C88208AF0}"/>
                  </a:ext>
                </a:extLst>
              </p:cNvPr>
              <p:cNvSpPr/>
              <p:nvPr/>
            </p:nvSpPr>
            <p:spPr>
              <a:xfrm>
                <a:off x="1740546" y="3857910"/>
                <a:ext cx="2811" cy="3970"/>
              </a:xfrm>
              <a:custGeom>
                <a:avLst/>
                <a:gdLst>
                  <a:gd name="connsiteX0" fmla="*/ 19841 w 26949"/>
                  <a:gd name="connsiteY0" fmla="*/ 23107 h 38063"/>
                  <a:gd name="connsiteX1" fmla="*/ 23134 w 26949"/>
                  <a:gd name="connsiteY1" fmla="*/ 23573 h 38063"/>
                  <a:gd name="connsiteX2" fmla="*/ 25742 w 26949"/>
                  <a:gd name="connsiteY2" fmla="*/ 27662 h 38063"/>
                  <a:gd name="connsiteX3" fmla="*/ 18469 w 26949"/>
                  <a:gd name="connsiteY3" fmla="*/ 31340 h 38063"/>
                  <a:gd name="connsiteX4" fmla="*/ 15533 w 26949"/>
                  <a:gd name="connsiteY4" fmla="*/ 37350 h 38063"/>
                  <a:gd name="connsiteX5" fmla="*/ 12432 w 26949"/>
                  <a:gd name="connsiteY5" fmla="*/ 38063 h 38063"/>
                  <a:gd name="connsiteX6" fmla="*/ 9413 w 26949"/>
                  <a:gd name="connsiteY6" fmla="*/ 36389 h 38063"/>
                  <a:gd name="connsiteX7" fmla="*/ 6833 w 26949"/>
                  <a:gd name="connsiteY7" fmla="*/ 28211 h 38063"/>
                  <a:gd name="connsiteX8" fmla="*/ 0 w 26949"/>
                  <a:gd name="connsiteY8" fmla="*/ 28266 h 38063"/>
                  <a:gd name="connsiteX9" fmla="*/ 1427 w 26949"/>
                  <a:gd name="connsiteY9" fmla="*/ 20884 h 38063"/>
                  <a:gd name="connsiteX10" fmla="*/ 2854 w 26949"/>
                  <a:gd name="connsiteY10" fmla="*/ 19347 h 38063"/>
                  <a:gd name="connsiteX11" fmla="*/ 1866 w 26949"/>
                  <a:gd name="connsiteY11" fmla="*/ 11416 h 38063"/>
                  <a:gd name="connsiteX12" fmla="*/ 11252 w 26949"/>
                  <a:gd name="connsiteY12" fmla="*/ 7245 h 38063"/>
                  <a:gd name="connsiteX13" fmla="*/ 13447 w 26949"/>
                  <a:gd name="connsiteY13" fmla="*/ 15149 h 38063"/>
                  <a:gd name="connsiteX14" fmla="*/ 9907 w 26949"/>
                  <a:gd name="connsiteY14" fmla="*/ 20857 h 38063"/>
                  <a:gd name="connsiteX15" fmla="*/ 9304 w 26949"/>
                  <a:gd name="connsiteY15" fmla="*/ 24369 h 38063"/>
                  <a:gd name="connsiteX16" fmla="*/ 11197 w 26949"/>
                  <a:gd name="connsiteY16" fmla="*/ 26428 h 38063"/>
                  <a:gd name="connsiteX17" fmla="*/ 14161 w 26949"/>
                  <a:gd name="connsiteY17" fmla="*/ 24781 h 38063"/>
                  <a:gd name="connsiteX18" fmla="*/ 14161 w 26949"/>
                  <a:gd name="connsiteY18" fmla="*/ 20829 h 38063"/>
                  <a:gd name="connsiteX19" fmla="*/ 16328 w 26949"/>
                  <a:gd name="connsiteY19" fmla="*/ 6120 h 38063"/>
                  <a:gd name="connsiteX20" fmla="*/ 18854 w 26949"/>
                  <a:gd name="connsiteY20" fmla="*/ 1509 h 38063"/>
                  <a:gd name="connsiteX21" fmla="*/ 21570 w 26949"/>
                  <a:gd name="connsiteY21" fmla="*/ 0 h 38063"/>
                  <a:gd name="connsiteX22" fmla="*/ 26428 w 26949"/>
                  <a:gd name="connsiteY22" fmla="*/ 6120 h 38063"/>
                  <a:gd name="connsiteX23" fmla="*/ 26949 w 26949"/>
                  <a:gd name="connsiteY23" fmla="*/ 12157 h 38063"/>
                  <a:gd name="connsiteX24" fmla="*/ 21131 w 26949"/>
                  <a:gd name="connsiteY24" fmla="*/ 13557 h 38063"/>
                  <a:gd name="connsiteX25" fmla="*/ 20116 w 26949"/>
                  <a:gd name="connsiteY25" fmla="*/ 20829 h 38063"/>
                  <a:gd name="connsiteX26" fmla="*/ 19841 w 26949"/>
                  <a:gd name="connsiteY26" fmla="*/ 23052 h 3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949" h="38063">
                    <a:moveTo>
                      <a:pt x="19841" y="23107"/>
                    </a:moveTo>
                    <a:lnTo>
                      <a:pt x="23134" y="23573"/>
                    </a:lnTo>
                    <a:lnTo>
                      <a:pt x="25742" y="27662"/>
                    </a:lnTo>
                    <a:lnTo>
                      <a:pt x="18469" y="31340"/>
                    </a:lnTo>
                    <a:lnTo>
                      <a:pt x="15533" y="37350"/>
                    </a:lnTo>
                    <a:lnTo>
                      <a:pt x="12432" y="38063"/>
                    </a:lnTo>
                    <a:lnTo>
                      <a:pt x="9413" y="36389"/>
                    </a:lnTo>
                    <a:lnTo>
                      <a:pt x="6833" y="28211"/>
                    </a:lnTo>
                    <a:lnTo>
                      <a:pt x="0" y="28266"/>
                    </a:lnTo>
                    <a:lnTo>
                      <a:pt x="1427" y="20884"/>
                    </a:lnTo>
                    <a:lnTo>
                      <a:pt x="2854" y="19347"/>
                    </a:lnTo>
                    <a:lnTo>
                      <a:pt x="1866" y="11416"/>
                    </a:lnTo>
                    <a:lnTo>
                      <a:pt x="11252" y="7245"/>
                    </a:lnTo>
                    <a:lnTo>
                      <a:pt x="13447" y="15149"/>
                    </a:lnTo>
                    <a:lnTo>
                      <a:pt x="9907" y="20857"/>
                    </a:lnTo>
                    <a:lnTo>
                      <a:pt x="9304" y="24369"/>
                    </a:lnTo>
                    <a:lnTo>
                      <a:pt x="11197" y="26428"/>
                    </a:lnTo>
                    <a:lnTo>
                      <a:pt x="14161" y="24781"/>
                    </a:lnTo>
                    <a:lnTo>
                      <a:pt x="14161" y="20829"/>
                    </a:lnTo>
                    <a:cubicBezTo>
                      <a:pt x="14161" y="20829"/>
                      <a:pt x="16328" y="6120"/>
                      <a:pt x="16328" y="6120"/>
                    </a:cubicBezTo>
                    <a:lnTo>
                      <a:pt x="18854" y="1509"/>
                    </a:lnTo>
                    <a:lnTo>
                      <a:pt x="21570" y="0"/>
                    </a:lnTo>
                    <a:lnTo>
                      <a:pt x="26428" y="6120"/>
                    </a:lnTo>
                    <a:lnTo>
                      <a:pt x="26949" y="12157"/>
                    </a:lnTo>
                    <a:lnTo>
                      <a:pt x="21131" y="13557"/>
                    </a:lnTo>
                    <a:lnTo>
                      <a:pt x="20116" y="20829"/>
                    </a:lnTo>
                    <a:lnTo>
                      <a:pt x="19841" y="230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24" name="Freeform: Shape 4623">
                <a:extLst>
                  <a:ext uri="{FF2B5EF4-FFF2-40B4-BE49-F238E27FC236}">
                    <a16:creationId xmlns:a16="http://schemas.microsoft.com/office/drawing/2014/main" id="{2071D282-6D9C-8F73-77C2-A9ADE1B4575C}"/>
                  </a:ext>
                </a:extLst>
              </p:cNvPr>
              <p:cNvSpPr/>
              <p:nvPr/>
            </p:nvSpPr>
            <p:spPr>
              <a:xfrm>
                <a:off x="1776726" y="3860892"/>
                <a:ext cx="2035" cy="4700"/>
              </a:xfrm>
              <a:custGeom>
                <a:avLst/>
                <a:gdLst>
                  <a:gd name="connsiteX0" fmla="*/ 16191 w 19511"/>
                  <a:gd name="connsiteY0" fmla="*/ 30818 h 45061"/>
                  <a:gd name="connsiteX1" fmla="*/ 19512 w 19511"/>
                  <a:gd name="connsiteY1" fmla="*/ 34167 h 45061"/>
                  <a:gd name="connsiteX2" fmla="*/ 19374 w 19511"/>
                  <a:gd name="connsiteY2" fmla="*/ 36280 h 45061"/>
                  <a:gd name="connsiteX3" fmla="*/ 17343 w 19511"/>
                  <a:gd name="connsiteY3" fmla="*/ 38585 h 45061"/>
                  <a:gd name="connsiteX4" fmla="*/ 14050 w 19511"/>
                  <a:gd name="connsiteY4" fmla="*/ 34469 h 45061"/>
                  <a:gd name="connsiteX5" fmla="*/ 7245 w 19511"/>
                  <a:gd name="connsiteY5" fmla="*/ 43223 h 45061"/>
                  <a:gd name="connsiteX6" fmla="*/ 3787 w 19511"/>
                  <a:gd name="connsiteY6" fmla="*/ 45061 h 45061"/>
                  <a:gd name="connsiteX7" fmla="*/ 0 w 19511"/>
                  <a:gd name="connsiteY7" fmla="*/ 40149 h 45061"/>
                  <a:gd name="connsiteX8" fmla="*/ 549 w 19511"/>
                  <a:gd name="connsiteY8" fmla="*/ 34962 h 45061"/>
                  <a:gd name="connsiteX9" fmla="*/ 2497 w 19511"/>
                  <a:gd name="connsiteY9" fmla="*/ 32465 h 45061"/>
                  <a:gd name="connsiteX10" fmla="*/ 1509 w 19511"/>
                  <a:gd name="connsiteY10" fmla="*/ 22888 h 45061"/>
                  <a:gd name="connsiteX11" fmla="*/ 5763 w 19511"/>
                  <a:gd name="connsiteY11" fmla="*/ 19210 h 45061"/>
                  <a:gd name="connsiteX12" fmla="*/ 7629 w 19511"/>
                  <a:gd name="connsiteY12" fmla="*/ 14764 h 45061"/>
                  <a:gd name="connsiteX13" fmla="*/ 5049 w 19511"/>
                  <a:gd name="connsiteY13" fmla="*/ 10977 h 45061"/>
                  <a:gd name="connsiteX14" fmla="*/ 7492 w 19511"/>
                  <a:gd name="connsiteY14" fmla="*/ 8946 h 45061"/>
                  <a:gd name="connsiteX15" fmla="*/ 5214 w 19511"/>
                  <a:gd name="connsiteY15" fmla="*/ 6477 h 45061"/>
                  <a:gd name="connsiteX16" fmla="*/ 9358 w 19511"/>
                  <a:gd name="connsiteY16" fmla="*/ 6038 h 45061"/>
                  <a:gd name="connsiteX17" fmla="*/ 13776 w 19511"/>
                  <a:gd name="connsiteY17" fmla="*/ 0 h 45061"/>
                  <a:gd name="connsiteX18" fmla="*/ 17316 w 19511"/>
                  <a:gd name="connsiteY18" fmla="*/ 4281 h 45061"/>
                  <a:gd name="connsiteX19" fmla="*/ 18743 w 19511"/>
                  <a:gd name="connsiteY19" fmla="*/ 11005 h 45061"/>
                  <a:gd name="connsiteX20" fmla="*/ 19347 w 19511"/>
                  <a:gd name="connsiteY20" fmla="*/ 23327 h 45061"/>
                  <a:gd name="connsiteX21" fmla="*/ 16219 w 19511"/>
                  <a:gd name="connsiteY21" fmla="*/ 30818 h 45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511" h="45061">
                    <a:moveTo>
                      <a:pt x="16191" y="30818"/>
                    </a:moveTo>
                    <a:lnTo>
                      <a:pt x="19512" y="34167"/>
                    </a:lnTo>
                    <a:lnTo>
                      <a:pt x="19374" y="36280"/>
                    </a:lnTo>
                    <a:lnTo>
                      <a:pt x="17343" y="38585"/>
                    </a:lnTo>
                    <a:lnTo>
                      <a:pt x="14050" y="34469"/>
                    </a:lnTo>
                    <a:lnTo>
                      <a:pt x="7245" y="43223"/>
                    </a:lnTo>
                    <a:lnTo>
                      <a:pt x="3787" y="45061"/>
                    </a:lnTo>
                    <a:lnTo>
                      <a:pt x="0" y="40149"/>
                    </a:lnTo>
                    <a:lnTo>
                      <a:pt x="549" y="34962"/>
                    </a:lnTo>
                    <a:lnTo>
                      <a:pt x="2497" y="32465"/>
                    </a:lnTo>
                    <a:lnTo>
                      <a:pt x="1509" y="22888"/>
                    </a:lnTo>
                    <a:lnTo>
                      <a:pt x="5763" y="19210"/>
                    </a:lnTo>
                    <a:lnTo>
                      <a:pt x="7629" y="14764"/>
                    </a:lnTo>
                    <a:lnTo>
                      <a:pt x="5049" y="10977"/>
                    </a:lnTo>
                    <a:lnTo>
                      <a:pt x="7492" y="8946"/>
                    </a:lnTo>
                    <a:lnTo>
                      <a:pt x="5214" y="6477"/>
                    </a:lnTo>
                    <a:lnTo>
                      <a:pt x="9358" y="6038"/>
                    </a:lnTo>
                    <a:lnTo>
                      <a:pt x="13776" y="0"/>
                    </a:lnTo>
                    <a:lnTo>
                      <a:pt x="17316" y="4281"/>
                    </a:lnTo>
                    <a:lnTo>
                      <a:pt x="18743" y="11005"/>
                    </a:lnTo>
                    <a:lnTo>
                      <a:pt x="19347" y="23327"/>
                    </a:lnTo>
                    <a:lnTo>
                      <a:pt x="16219" y="308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25" name="Freeform: Shape 4624">
                <a:extLst>
                  <a:ext uri="{FF2B5EF4-FFF2-40B4-BE49-F238E27FC236}">
                    <a16:creationId xmlns:a16="http://schemas.microsoft.com/office/drawing/2014/main" id="{160FD4FF-3688-955A-E324-9C3A179D15AE}"/>
                  </a:ext>
                </a:extLst>
              </p:cNvPr>
              <p:cNvSpPr/>
              <p:nvPr/>
            </p:nvSpPr>
            <p:spPr>
              <a:xfrm>
                <a:off x="1751918" y="3853842"/>
                <a:ext cx="3838" cy="2393"/>
              </a:xfrm>
              <a:custGeom>
                <a:avLst/>
                <a:gdLst>
                  <a:gd name="connsiteX0" fmla="*/ 0 w 36801"/>
                  <a:gd name="connsiteY0" fmla="*/ 5928 h 22942"/>
                  <a:gd name="connsiteX1" fmla="*/ 2168 w 36801"/>
                  <a:gd name="connsiteY1" fmla="*/ 2058 h 22942"/>
                  <a:gd name="connsiteX2" fmla="*/ 6230 w 36801"/>
                  <a:gd name="connsiteY2" fmla="*/ 2690 h 22942"/>
                  <a:gd name="connsiteX3" fmla="*/ 13639 w 36801"/>
                  <a:gd name="connsiteY3" fmla="*/ 549 h 22942"/>
                  <a:gd name="connsiteX4" fmla="*/ 21872 w 36801"/>
                  <a:gd name="connsiteY4" fmla="*/ 0 h 22942"/>
                  <a:gd name="connsiteX5" fmla="*/ 30407 w 36801"/>
                  <a:gd name="connsiteY5" fmla="*/ 3376 h 22942"/>
                  <a:gd name="connsiteX6" fmla="*/ 31999 w 36801"/>
                  <a:gd name="connsiteY6" fmla="*/ 5242 h 22942"/>
                  <a:gd name="connsiteX7" fmla="*/ 31450 w 36801"/>
                  <a:gd name="connsiteY7" fmla="*/ 8315 h 22942"/>
                  <a:gd name="connsiteX8" fmla="*/ 36692 w 36801"/>
                  <a:gd name="connsiteY8" fmla="*/ 9578 h 22942"/>
                  <a:gd name="connsiteX9" fmla="*/ 36801 w 36801"/>
                  <a:gd name="connsiteY9" fmla="*/ 14627 h 22942"/>
                  <a:gd name="connsiteX10" fmla="*/ 35484 w 36801"/>
                  <a:gd name="connsiteY10" fmla="*/ 17591 h 22942"/>
                  <a:gd name="connsiteX11" fmla="*/ 28239 w 36801"/>
                  <a:gd name="connsiteY11" fmla="*/ 20445 h 22942"/>
                  <a:gd name="connsiteX12" fmla="*/ 20912 w 36801"/>
                  <a:gd name="connsiteY12" fmla="*/ 22942 h 22942"/>
                  <a:gd name="connsiteX13" fmla="*/ 15780 w 36801"/>
                  <a:gd name="connsiteY13" fmla="*/ 21461 h 22942"/>
                  <a:gd name="connsiteX14" fmla="*/ 13639 w 36801"/>
                  <a:gd name="connsiteY14" fmla="*/ 20473 h 22942"/>
                  <a:gd name="connsiteX15" fmla="*/ 5516 w 36801"/>
                  <a:gd name="connsiteY15" fmla="*/ 15698 h 22942"/>
                  <a:gd name="connsiteX16" fmla="*/ 933 w 36801"/>
                  <a:gd name="connsiteY16" fmla="*/ 9907 h 22942"/>
                  <a:gd name="connsiteX17" fmla="*/ 27 w 36801"/>
                  <a:gd name="connsiteY17" fmla="*/ 5900 h 2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1" h="22942">
                    <a:moveTo>
                      <a:pt x="0" y="5928"/>
                    </a:moveTo>
                    <a:lnTo>
                      <a:pt x="2168" y="2058"/>
                    </a:lnTo>
                    <a:lnTo>
                      <a:pt x="6230" y="2690"/>
                    </a:lnTo>
                    <a:lnTo>
                      <a:pt x="13639" y="549"/>
                    </a:lnTo>
                    <a:lnTo>
                      <a:pt x="21872" y="0"/>
                    </a:lnTo>
                    <a:lnTo>
                      <a:pt x="30407" y="3376"/>
                    </a:lnTo>
                    <a:lnTo>
                      <a:pt x="31999" y="5242"/>
                    </a:lnTo>
                    <a:lnTo>
                      <a:pt x="31450" y="8315"/>
                    </a:lnTo>
                    <a:lnTo>
                      <a:pt x="36692" y="9578"/>
                    </a:lnTo>
                    <a:lnTo>
                      <a:pt x="36801" y="14627"/>
                    </a:lnTo>
                    <a:lnTo>
                      <a:pt x="35484" y="17591"/>
                    </a:lnTo>
                    <a:lnTo>
                      <a:pt x="28239" y="20445"/>
                    </a:lnTo>
                    <a:lnTo>
                      <a:pt x="20912" y="22942"/>
                    </a:lnTo>
                    <a:lnTo>
                      <a:pt x="15780" y="21461"/>
                    </a:lnTo>
                    <a:lnTo>
                      <a:pt x="13639" y="20473"/>
                    </a:lnTo>
                    <a:lnTo>
                      <a:pt x="5516" y="15698"/>
                    </a:lnTo>
                    <a:lnTo>
                      <a:pt x="933" y="9907"/>
                    </a:lnTo>
                    <a:lnTo>
                      <a:pt x="27" y="59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26" name="Freeform: Shape 4625">
                <a:extLst>
                  <a:ext uri="{FF2B5EF4-FFF2-40B4-BE49-F238E27FC236}">
                    <a16:creationId xmlns:a16="http://schemas.microsoft.com/office/drawing/2014/main" id="{6E3E599C-8AB9-5CCE-135B-F789CC0654A4}"/>
                  </a:ext>
                </a:extLst>
              </p:cNvPr>
              <p:cNvSpPr/>
              <p:nvPr/>
            </p:nvSpPr>
            <p:spPr>
              <a:xfrm>
                <a:off x="1767432" y="3866359"/>
                <a:ext cx="2602" cy="2673"/>
              </a:xfrm>
              <a:custGeom>
                <a:avLst/>
                <a:gdLst>
                  <a:gd name="connsiteX0" fmla="*/ 82 w 24945"/>
                  <a:gd name="connsiteY0" fmla="*/ 17124 h 25631"/>
                  <a:gd name="connsiteX1" fmla="*/ 3211 w 24945"/>
                  <a:gd name="connsiteY1" fmla="*/ 15450 h 25631"/>
                  <a:gd name="connsiteX2" fmla="*/ 5077 w 24945"/>
                  <a:gd name="connsiteY2" fmla="*/ 11718 h 25631"/>
                  <a:gd name="connsiteX3" fmla="*/ 14243 w 24945"/>
                  <a:gd name="connsiteY3" fmla="*/ 1290 h 25631"/>
                  <a:gd name="connsiteX4" fmla="*/ 24672 w 24945"/>
                  <a:gd name="connsiteY4" fmla="*/ 0 h 25631"/>
                  <a:gd name="connsiteX5" fmla="*/ 24946 w 24945"/>
                  <a:gd name="connsiteY5" fmla="*/ 2442 h 25631"/>
                  <a:gd name="connsiteX6" fmla="*/ 21543 w 24945"/>
                  <a:gd name="connsiteY6" fmla="*/ 1674 h 25631"/>
                  <a:gd name="connsiteX7" fmla="*/ 17372 w 24945"/>
                  <a:gd name="connsiteY7" fmla="*/ 3650 h 25631"/>
                  <a:gd name="connsiteX8" fmla="*/ 17509 w 24945"/>
                  <a:gd name="connsiteY8" fmla="*/ 11690 h 25631"/>
                  <a:gd name="connsiteX9" fmla="*/ 15671 w 24945"/>
                  <a:gd name="connsiteY9" fmla="*/ 15889 h 25631"/>
                  <a:gd name="connsiteX10" fmla="*/ 7712 w 24945"/>
                  <a:gd name="connsiteY10" fmla="*/ 24616 h 25631"/>
                  <a:gd name="connsiteX11" fmla="*/ 4226 w 24945"/>
                  <a:gd name="connsiteY11" fmla="*/ 25632 h 25631"/>
                  <a:gd name="connsiteX12" fmla="*/ 1482 w 24945"/>
                  <a:gd name="connsiteY12" fmla="*/ 24122 h 25631"/>
                  <a:gd name="connsiteX13" fmla="*/ 0 w 24945"/>
                  <a:gd name="connsiteY13" fmla="*/ 17097 h 2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45" h="25631">
                    <a:moveTo>
                      <a:pt x="82" y="17124"/>
                    </a:moveTo>
                    <a:lnTo>
                      <a:pt x="3211" y="15450"/>
                    </a:lnTo>
                    <a:lnTo>
                      <a:pt x="5077" y="11718"/>
                    </a:lnTo>
                    <a:lnTo>
                      <a:pt x="14243" y="1290"/>
                    </a:lnTo>
                    <a:lnTo>
                      <a:pt x="24672" y="0"/>
                    </a:lnTo>
                    <a:lnTo>
                      <a:pt x="24946" y="2442"/>
                    </a:lnTo>
                    <a:lnTo>
                      <a:pt x="21543" y="1674"/>
                    </a:lnTo>
                    <a:lnTo>
                      <a:pt x="17372" y="3650"/>
                    </a:lnTo>
                    <a:lnTo>
                      <a:pt x="17509" y="11690"/>
                    </a:lnTo>
                    <a:lnTo>
                      <a:pt x="15671" y="15889"/>
                    </a:lnTo>
                    <a:lnTo>
                      <a:pt x="7712" y="24616"/>
                    </a:lnTo>
                    <a:lnTo>
                      <a:pt x="4226" y="25632"/>
                    </a:lnTo>
                    <a:lnTo>
                      <a:pt x="1482" y="24122"/>
                    </a:lnTo>
                    <a:lnTo>
                      <a:pt x="0" y="170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27" name="Freeform: Shape 4626">
                <a:extLst>
                  <a:ext uri="{FF2B5EF4-FFF2-40B4-BE49-F238E27FC236}">
                    <a16:creationId xmlns:a16="http://schemas.microsoft.com/office/drawing/2014/main" id="{624C272B-4EE1-722F-91F4-7B0550E05FC7}"/>
                  </a:ext>
                </a:extLst>
              </p:cNvPr>
              <p:cNvSpPr/>
              <p:nvPr/>
            </p:nvSpPr>
            <p:spPr>
              <a:xfrm>
                <a:off x="1746786" y="3849557"/>
                <a:ext cx="5925" cy="1125"/>
              </a:xfrm>
              <a:custGeom>
                <a:avLst/>
                <a:gdLst>
                  <a:gd name="connsiteX0" fmla="*/ 52855 w 56806"/>
                  <a:gd name="connsiteY0" fmla="*/ 6285 h 10785"/>
                  <a:gd name="connsiteX1" fmla="*/ 47339 w 56806"/>
                  <a:gd name="connsiteY1" fmla="*/ 6833 h 10785"/>
                  <a:gd name="connsiteX2" fmla="*/ 34331 w 56806"/>
                  <a:gd name="connsiteY2" fmla="*/ 8041 h 10785"/>
                  <a:gd name="connsiteX3" fmla="*/ 23546 w 56806"/>
                  <a:gd name="connsiteY3" fmla="*/ 6394 h 10785"/>
                  <a:gd name="connsiteX4" fmla="*/ 1921 w 56806"/>
                  <a:gd name="connsiteY4" fmla="*/ 10785 h 10785"/>
                  <a:gd name="connsiteX5" fmla="*/ 0 w 56806"/>
                  <a:gd name="connsiteY5" fmla="*/ 8974 h 10785"/>
                  <a:gd name="connsiteX6" fmla="*/ 961 w 56806"/>
                  <a:gd name="connsiteY6" fmla="*/ 3183 h 10785"/>
                  <a:gd name="connsiteX7" fmla="*/ 4007 w 56806"/>
                  <a:gd name="connsiteY7" fmla="*/ 0 h 10785"/>
                  <a:gd name="connsiteX8" fmla="*/ 24205 w 56806"/>
                  <a:gd name="connsiteY8" fmla="*/ 1921 h 10785"/>
                  <a:gd name="connsiteX9" fmla="*/ 29611 w 56806"/>
                  <a:gd name="connsiteY9" fmla="*/ 3897 h 10785"/>
                  <a:gd name="connsiteX10" fmla="*/ 47394 w 56806"/>
                  <a:gd name="connsiteY10" fmla="*/ 4144 h 10785"/>
                  <a:gd name="connsiteX11" fmla="*/ 52910 w 56806"/>
                  <a:gd name="connsiteY11" fmla="*/ 4226 h 10785"/>
                  <a:gd name="connsiteX12" fmla="*/ 56807 w 56806"/>
                  <a:gd name="connsiteY12" fmla="*/ 4528 h 10785"/>
                  <a:gd name="connsiteX13" fmla="*/ 56533 w 56806"/>
                  <a:gd name="connsiteY13" fmla="*/ 6092 h 10785"/>
                  <a:gd name="connsiteX14" fmla="*/ 52910 w 56806"/>
                  <a:gd name="connsiteY14" fmla="*/ 6285 h 1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806" h="10785">
                    <a:moveTo>
                      <a:pt x="52855" y="6285"/>
                    </a:moveTo>
                    <a:lnTo>
                      <a:pt x="47339" y="6833"/>
                    </a:lnTo>
                    <a:lnTo>
                      <a:pt x="34331" y="8041"/>
                    </a:lnTo>
                    <a:lnTo>
                      <a:pt x="23546" y="6394"/>
                    </a:lnTo>
                    <a:lnTo>
                      <a:pt x="1921" y="10785"/>
                    </a:lnTo>
                    <a:lnTo>
                      <a:pt x="0" y="8974"/>
                    </a:lnTo>
                    <a:lnTo>
                      <a:pt x="961" y="3183"/>
                    </a:lnTo>
                    <a:lnTo>
                      <a:pt x="4007" y="0"/>
                    </a:lnTo>
                    <a:lnTo>
                      <a:pt x="24205" y="1921"/>
                    </a:lnTo>
                    <a:lnTo>
                      <a:pt x="29611" y="3897"/>
                    </a:lnTo>
                    <a:lnTo>
                      <a:pt x="47394" y="4144"/>
                    </a:lnTo>
                    <a:lnTo>
                      <a:pt x="52910" y="4226"/>
                    </a:lnTo>
                    <a:lnTo>
                      <a:pt x="56807" y="4528"/>
                    </a:lnTo>
                    <a:lnTo>
                      <a:pt x="56533" y="6092"/>
                    </a:lnTo>
                    <a:lnTo>
                      <a:pt x="52910" y="62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28" name="Freeform: Shape 4627">
                <a:extLst>
                  <a:ext uri="{FF2B5EF4-FFF2-40B4-BE49-F238E27FC236}">
                    <a16:creationId xmlns:a16="http://schemas.microsoft.com/office/drawing/2014/main" id="{A2749255-85C4-3B86-B34E-4221385183A0}"/>
                  </a:ext>
                </a:extLst>
              </p:cNvPr>
              <p:cNvSpPr/>
              <p:nvPr/>
            </p:nvSpPr>
            <p:spPr>
              <a:xfrm>
                <a:off x="1720804" y="3869765"/>
                <a:ext cx="2576" cy="2207"/>
              </a:xfrm>
              <a:custGeom>
                <a:avLst/>
                <a:gdLst>
                  <a:gd name="connsiteX0" fmla="*/ 23793 w 24698"/>
                  <a:gd name="connsiteY0" fmla="*/ 9962 h 21158"/>
                  <a:gd name="connsiteX1" fmla="*/ 19485 w 24698"/>
                  <a:gd name="connsiteY1" fmla="*/ 20225 h 21158"/>
                  <a:gd name="connsiteX2" fmla="*/ 16740 w 24698"/>
                  <a:gd name="connsiteY2" fmla="*/ 19265 h 21158"/>
                  <a:gd name="connsiteX3" fmla="*/ 14188 w 24698"/>
                  <a:gd name="connsiteY3" fmla="*/ 21159 h 21158"/>
                  <a:gd name="connsiteX4" fmla="*/ 4555 w 24698"/>
                  <a:gd name="connsiteY4" fmla="*/ 19979 h 21158"/>
                  <a:gd name="connsiteX5" fmla="*/ 0 w 24698"/>
                  <a:gd name="connsiteY5" fmla="*/ 17399 h 21158"/>
                  <a:gd name="connsiteX6" fmla="*/ 521 w 24698"/>
                  <a:gd name="connsiteY6" fmla="*/ 15615 h 21158"/>
                  <a:gd name="connsiteX7" fmla="*/ 5324 w 24698"/>
                  <a:gd name="connsiteY7" fmla="*/ 14655 h 21158"/>
                  <a:gd name="connsiteX8" fmla="*/ 6422 w 24698"/>
                  <a:gd name="connsiteY8" fmla="*/ 9962 h 21158"/>
                  <a:gd name="connsiteX9" fmla="*/ 6422 w 24698"/>
                  <a:gd name="connsiteY9" fmla="*/ 5571 h 21158"/>
                  <a:gd name="connsiteX10" fmla="*/ 15368 w 24698"/>
                  <a:gd name="connsiteY10" fmla="*/ 0 h 21158"/>
                  <a:gd name="connsiteX11" fmla="*/ 24699 w 24698"/>
                  <a:gd name="connsiteY11" fmla="*/ 3321 h 21158"/>
                  <a:gd name="connsiteX12" fmla="*/ 23820 w 24698"/>
                  <a:gd name="connsiteY12" fmla="*/ 9989 h 2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698" h="21158">
                    <a:moveTo>
                      <a:pt x="23793" y="9962"/>
                    </a:moveTo>
                    <a:lnTo>
                      <a:pt x="19485" y="20225"/>
                    </a:lnTo>
                    <a:lnTo>
                      <a:pt x="16740" y="19265"/>
                    </a:lnTo>
                    <a:lnTo>
                      <a:pt x="14188" y="21159"/>
                    </a:lnTo>
                    <a:lnTo>
                      <a:pt x="4555" y="19979"/>
                    </a:lnTo>
                    <a:lnTo>
                      <a:pt x="0" y="17399"/>
                    </a:lnTo>
                    <a:lnTo>
                      <a:pt x="521" y="15615"/>
                    </a:lnTo>
                    <a:lnTo>
                      <a:pt x="5324" y="14655"/>
                    </a:lnTo>
                    <a:lnTo>
                      <a:pt x="6422" y="9962"/>
                    </a:lnTo>
                    <a:lnTo>
                      <a:pt x="6422" y="5571"/>
                    </a:lnTo>
                    <a:lnTo>
                      <a:pt x="15368" y="0"/>
                    </a:lnTo>
                    <a:lnTo>
                      <a:pt x="24699" y="3321"/>
                    </a:lnTo>
                    <a:lnTo>
                      <a:pt x="23820" y="99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29" name="Freeform: Shape 4628">
                <a:extLst>
                  <a:ext uri="{FF2B5EF4-FFF2-40B4-BE49-F238E27FC236}">
                    <a16:creationId xmlns:a16="http://schemas.microsoft.com/office/drawing/2014/main" id="{8E63782B-18DE-2519-37D0-9C2CEA64FBF1}"/>
                  </a:ext>
                </a:extLst>
              </p:cNvPr>
              <p:cNvSpPr/>
              <p:nvPr/>
            </p:nvSpPr>
            <p:spPr>
              <a:xfrm>
                <a:off x="1745561" y="3869450"/>
                <a:ext cx="3687" cy="1325"/>
              </a:xfrm>
              <a:custGeom>
                <a:avLst/>
                <a:gdLst>
                  <a:gd name="connsiteX0" fmla="*/ 10977 w 35346"/>
                  <a:gd name="connsiteY0" fmla="*/ 4666 h 12706"/>
                  <a:gd name="connsiteX1" fmla="*/ 13173 w 35346"/>
                  <a:gd name="connsiteY1" fmla="*/ 5214 h 12706"/>
                  <a:gd name="connsiteX2" fmla="*/ 13584 w 35346"/>
                  <a:gd name="connsiteY2" fmla="*/ 3074 h 12706"/>
                  <a:gd name="connsiteX3" fmla="*/ 15149 w 35346"/>
                  <a:gd name="connsiteY3" fmla="*/ 878 h 12706"/>
                  <a:gd name="connsiteX4" fmla="*/ 17234 w 35346"/>
                  <a:gd name="connsiteY4" fmla="*/ 0 h 12706"/>
                  <a:gd name="connsiteX5" fmla="*/ 19512 w 35346"/>
                  <a:gd name="connsiteY5" fmla="*/ 219 h 12706"/>
                  <a:gd name="connsiteX6" fmla="*/ 19210 w 35346"/>
                  <a:gd name="connsiteY6" fmla="*/ 2031 h 12706"/>
                  <a:gd name="connsiteX7" fmla="*/ 24671 w 35346"/>
                  <a:gd name="connsiteY7" fmla="*/ 823 h 12706"/>
                  <a:gd name="connsiteX8" fmla="*/ 26016 w 35346"/>
                  <a:gd name="connsiteY8" fmla="*/ 1400 h 12706"/>
                  <a:gd name="connsiteX9" fmla="*/ 33700 w 35346"/>
                  <a:gd name="connsiteY9" fmla="*/ 878 h 12706"/>
                  <a:gd name="connsiteX10" fmla="*/ 35045 w 35346"/>
                  <a:gd name="connsiteY10" fmla="*/ 2827 h 12706"/>
                  <a:gd name="connsiteX11" fmla="*/ 35347 w 35346"/>
                  <a:gd name="connsiteY11" fmla="*/ 5928 h 12706"/>
                  <a:gd name="connsiteX12" fmla="*/ 33041 w 35346"/>
                  <a:gd name="connsiteY12" fmla="*/ 7108 h 12706"/>
                  <a:gd name="connsiteX13" fmla="*/ 29364 w 35346"/>
                  <a:gd name="connsiteY13" fmla="*/ 7108 h 12706"/>
                  <a:gd name="connsiteX14" fmla="*/ 25412 w 35346"/>
                  <a:gd name="connsiteY14" fmla="*/ 8343 h 12706"/>
                  <a:gd name="connsiteX15" fmla="*/ 21406 w 35346"/>
                  <a:gd name="connsiteY15" fmla="*/ 8068 h 12706"/>
                  <a:gd name="connsiteX16" fmla="*/ 17948 w 35346"/>
                  <a:gd name="connsiteY16" fmla="*/ 9633 h 12706"/>
                  <a:gd name="connsiteX17" fmla="*/ 16438 w 35346"/>
                  <a:gd name="connsiteY17" fmla="*/ 8974 h 12706"/>
                  <a:gd name="connsiteX18" fmla="*/ 14243 w 35346"/>
                  <a:gd name="connsiteY18" fmla="*/ 10236 h 12706"/>
                  <a:gd name="connsiteX19" fmla="*/ 11801 w 35346"/>
                  <a:gd name="connsiteY19" fmla="*/ 8946 h 12706"/>
                  <a:gd name="connsiteX20" fmla="*/ 12843 w 35346"/>
                  <a:gd name="connsiteY20" fmla="*/ 6724 h 12706"/>
                  <a:gd name="connsiteX21" fmla="*/ 10785 w 35346"/>
                  <a:gd name="connsiteY21" fmla="*/ 6147 h 12706"/>
                  <a:gd name="connsiteX22" fmla="*/ 7931 w 35346"/>
                  <a:gd name="connsiteY22" fmla="*/ 8754 h 12706"/>
                  <a:gd name="connsiteX23" fmla="*/ 7876 w 35346"/>
                  <a:gd name="connsiteY23" fmla="*/ 10291 h 12706"/>
                  <a:gd name="connsiteX24" fmla="*/ 5324 w 35346"/>
                  <a:gd name="connsiteY24" fmla="*/ 12706 h 12706"/>
                  <a:gd name="connsiteX25" fmla="*/ 3595 w 35346"/>
                  <a:gd name="connsiteY25" fmla="*/ 12706 h 12706"/>
                  <a:gd name="connsiteX26" fmla="*/ 2662 w 35346"/>
                  <a:gd name="connsiteY26" fmla="*/ 8946 h 12706"/>
                  <a:gd name="connsiteX27" fmla="*/ 0 w 35346"/>
                  <a:gd name="connsiteY27" fmla="*/ 9056 h 12706"/>
                  <a:gd name="connsiteX28" fmla="*/ 1071 w 35346"/>
                  <a:gd name="connsiteY28" fmla="*/ 6531 h 12706"/>
                  <a:gd name="connsiteX29" fmla="*/ 3458 w 35346"/>
                  <a:gd name="connsiteY29" fmla="*/ 5214 h 12706"/>
                  <a:gd name="connsiteX30" fmla="*/ 4610 w 35346"/>
                  <a:gd name="connsiteY30" fmla="*/ 7080 h 12706"/>
                  <a:gd name="connsiteX31" fmla="*/ 7684 w 35346"/>
                  <a:gd name="connsiteY31" fmla="*/ 4528 h 12706"/>
                  <a:gd name="connsiteX32" fmla="*/ 9001 w 35346"/>
                  <a:gd name="connsiteY32" fmla="*/ 2333 h 12706"/>
                  <a:gd name="connsiteX33" fmla="*/ 10812 w 35346"/>
                  <a:gd name="connsiteY33" fmla="*/ 1784 h 12706"/>
                  <a:gd name="connsiteX34" fmla="*/ 10977 w 35346"/>
                  <a:gd name="connsiteY34" fmla="*/ 4693 h 12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346" h="12706">
                    <a:moveTo>
                      <a:pt x="10977" y="4666"/>
                    </a:moveTo>
                    <a:lnTo>
                      <a:pt x="13173" y="5214"/>
                    </a:lnTo>
                    <a:lnTo>
                      <a:pt x="13584" y="3074"/>
                    </a:lnTo>
                    <a:lnTo>
                      <a:pt x="15149" y="878"/>
                    </a:lnTo>
                    <a:lnTo>
                      <a:pt x="17234" y="0"/>
                    </a:lnTo>
                    <a:lnTo>
                      <a:pt x="19512" y="219"/>
                    </a:lnTo>
                    <a:lnTo>
                      <a:pt x="19210" y="2031"/>
                    </a:lnTo>
                    <a:lnTo>
                      <a:pt x="24671" y="823"/>
                    </a:lnTo>
                    <a:lnTo>
                      <a:pt x="26016" y="1400"/>
                    </a:lnTo>
                    <a:lnTo>
                      <a:pt x="33700" y="878"/>
                    </a:lnTo>
                    <a:lnTo>
                      <a:pt x="35045" y="2827"/>
                    </a:lnTo>
                    <a:lnTo>
                      <a:pt x="35347" y="5928"/>
                    </a:lnTo>
                    <a:lnTo>
                      <a:pt x="33041" y="7108"/>
                    </a:lnTo>
                    <a:lnTo>
                      <a:pt x="29364" y="7108"/>
                    </a:lnTo>
                    <a:cubicBezTo>
                      <a:pt x="29364" y="7108"/>
                      <a:pt x="25412" y="8343"/>
                      <a:pt x="25412" y="8343"/>
                    </a:cubicBezTo>
                    <a:lnTo>
                      <a:pt x="21406" y="8068"/>
                    </a:lnTo>
                    <a:lnTo>
                      <a:pt x="17948" y="9633"/>
                    </a:lnTo>
                    <a:lnTo>
                      <a:pt x="16438" y="8974"/>
                    </a:lnTo>
                    <a:lnTo>
                      <a:pt x="14243" y="10236"/>
                    </a:lnTo>
                    <a:lnTo>
                      <a:pt x="11801" y="8946"/>
                    </a:lnTo>
                    <a:lnTo>
                      <a:pt x="12843" y="6724"/>
                    </a:lnTo>
                    <a:lnTo>
                      <a:pt x="10785" y="6147"/>
                    </a:lnTo>
                    <a:lnTo>
                      <a:pt x="7931" y="8754"/>
                    </a:lnTo>
                    <a:lnTo>
                      <a:pt x="7876" y="10291"/>
                    </a:lnTo>
                    <a:lnTo>
                      <a:pt x="5324" y="12706"/>
                    </a:lnTo>
                    <a:lnTo>
                      <a:pt x="3595" y="12706"/>
                    </a:lnTo>
                    <a:lnTo>
                      <a:pt x="2662" y="8946"/>
                    </a:lnTo>
                    <a:lnTo>
                      <a:pt x="0" y="9056"/>
                    </a:lnTo>
                    <a:lnTo>
                      <a:pt x="1071" y="6531"/>
                    </a:lnTo>
                    <a:lnTo>
                      <a:pt x="3458" y="5214"/>
                    </a:lnTo>
                    <a:lnTo>
                      <a:pt x="4610" y="7080"/>
                    </a:lnTo>
                    <a:lnTo>
                      <a:pt x="7684" y="4528"/>
                    </a:lnTo>
                    <a:lnTo>
                      <a:pt x="9001" y="2333"/>
                    </a:lnTo>
                    <a:lnTo>
                      <a:pt x="10812" y="1784"/>
                    </a:lnTo>
                    <a:lnTo>
                      <a:pt x="10977"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30" name="Freeform: Shape 4629">
                <a:extLst>
                  <a:ext uri="{FF2B5EF4-FFF2-40B4-BE49-F238E27FC236}">
                    <a16:creationId xmlns:a16="http://schemas.microsoft.com/office/drawing/2014/main" id="{958BE1A7-638C-E4EE-D03F-528EFD9ED38D}"/>
                  </a:ext>
                </a:extLst>
              </p:cNvPr>
              <p:cNvSpPr/>
              <p:nvPr/>
            </p:nvSpPr>
            <p:spPr>
              <a:xfrm>
                <a:off x="1780696" y="3846440"/>
                <a:ext cx="2836" cy="1697"/>
              </a:xfrm>
              <a:custGeom>
                <a:avLst/>
                <a:gdLst>
                  <a:gd name="connsiteX0" fmla="*/ 0 w 27195"/>
                  <a:gd name="connsiteY0" fmla="*/ 0 h 16273"/>
                  <a:gd name="connsiteX1" fmla="*/ 1976 w 27195"/>
                  <a:gd name="connsiteY1" fmla="*/ 412 h 16273"/>
                  <a:gd name="connsiteX2" fmla="*/ 14380 w 27195"/>
                  <a:gd name="connsiteY2" fmla="*/ 2525 h 16273"/>
                  <a:gd name="connsiteX3" fmla="*/ 27196 w 27195"/>
                  <a:gd name="connsiteY3" fmla="*/ 14133 h 16273"/>
                  <a:gd name="connsiteX4" fmla="*/ 22531 w 27195"/>
                  <a:gd name="connsiteY4" fmla="*/ 16274 h 16273"/>
                  <a:gd name="connsiteX5" fmla="*/ 14820 w 27195"/>
                  <a:gd name="connsiteY5" fmla="*/ 15395 h 16273"/>
                  <a:gd name="connsiteX6" fmla="*/ 10676 w 27195"/>
                  <a:gd name="connsiteY6" fmla="*/ 6559 h 16273"/>
                  <a:gd name="connsiteX7" fmla="*/ 1976 w 27195"/>
                  <a:gd name="connsiteY7" fmla="*/ 3732 h 16273"/>
                  <a:gd name="connsiteX8" fmla="*/ 851 w 27195"/>
                  <a:gd name="connsiteY8" fmla="*/ 2525 h 16273"/>
                  <a:gd name="connsiteX9" fmla="*/ 0 w 27195"/>
                  <a:gd name="connsiteY9" fmla="*/ 0 h 16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95" h="16273">
                    <a:moveTo>
                      <a:pt x="0" y="0"/>
                    </a:moveTo>
                    <a:lnTo>
                      <a:pt x="1976" y="412"/>
                    </a:lnTo>
                    <a:lnTo>
                      <a:pt x="14380" y="2525"/>
                    </a:lnTo>
                    <a:lnTo>
                      <a:pt x="27196" y="14133"/>
                    </a:lnTo>
                    <a:lnTo>
                      <a:pt x="22531" y="16274"/>
                    </a:lnTo>
                    <a:lnTo>
                      <a:pt x="14820" y="15395"/>
                    </a:lnTo>
                    <a:lnTo>
                      <a:pt x="10676" y="6559"/>
                    </a:lnTo>
                    <a:lnTo>
                      <a:pt x="1976" y="3732"/>
                    </a:lnTo>
                    <a:lnTo>
                      <a:pt x="851" y="2525"/>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31" name="Freeform: Shape 4630">
                <a:extLst>
                  <a:ext uri="{FF2B5EF4-FFF2-40B4-BE49-F238E27FC236}">
                    <a16:creationId xmlns:a16="http://schemas.microsoft.com/office/drawing/2014/main" id="{ED29ACCE-6FC1-1AFB-A0D8-8A36C1FDEC97}"/>
                  </a:ext>
                </a:extLst>
              </p:cNvPr>
              <p:cNvSpPr/>
              <p:nvPr/>
            </p:nvSpPr>
            <p:spPr>
              <a:xfrm>
                <a:off x="1755361" y="3845284"/>
                <a:ext cx="2319" cy="1860"/>
              </a:xfrm>
              <a:custGeom>
                <a:avLst/>
                <a:gdLst>
                  <a:gd name="connsiteX0" fmla="*/ 0 w 22229"/>
                  <a:gd name="connsiteY0" fmla="*/ 604 h 17837"/>
                  <a:gd name="connsiteX1" fmla="*/ 2937 w 22229"/>
                  <a:gd name="connsiteY1" fmla="*/ 0 h 17837"/>
                  <a:gd name="connsiteX2" fmla="*/ 4803 w 22229"/>
                  <a:gd name="connsiteY2" fmla="*/ 2854 h 17837"/>
                  <a:gd name="connsiteX3" fmla="*/ 5791 w 22229"/>
                  <a:gd name="connsiteY3" fmla="*/ 2113 h 17837"/>
                  <a:gd name="connsiteX4" fmla="*/ 9578 w 22229"/>
                  <a:gd name="connsiteY4" fmla="*/ 3842 h 17837"/>
                  <a:gd name="connsiteX5" fmla="*/ 13118 w 22229"/>
                  <a:gd name="connsiteY5" fmla="*/ 2085 h 17837"/>
                  <a:gd name="connsiteX6" fmla="*/ 16137 w 22229"/>
                  <a:gd name="connsiteY6" fmla="*/ 5955 h 17837"/>
                  <a:gd name="connsiteX7" fmla="*/ 14984 w 22229"/>
                  <a:gd name="connsiteY7" fmla="*/ 11389 h 17837"/>
                  <a:gd name="connsiteX8" fmla="*/ 20802 w 22229"/>
                  <a:gd name="connsiteY8" fmla="*/ 13200 h 17837"/>
                  <a:gd name="connsiteX9" fmla="*/ 22229 w 22229"/>
                  <a:gd name="connsiteY9" fmla="*/ 15368 h 17837"/>
                  <a:gd name="connsiteX10" fmla="*/ 18113 w 22229"/>
                  <a:gd name="connsiteY10" fmla="*/ 17838 h 17837"/>
                  <a:gd name="connsiteX11" fmla="*/ 14463 w 22229"/>
                  <a:gd name="connsiteY11" fmla="*/ 14846 h 17837"/>
                  <a:gd name="connsiteX12" fmla="*/ 10017 w 22229"/>
                  <a:gd name="connsiteY12" fmla="*/ 15587 h 17837"/>
                  <a:gd name="connsiteX13" fmla="*/ 9578 w 22229"/>
                  <a:gd name="connsiteY13" fmla="*/ 11498 h 17837"/>
                  <a:gd name="connsiteX14" fmla="*/ 6943 w 22229"/>
                  <a:gd name="connsiteY14" fmla="*/ 11608 h 17837"/>
                  <a:gd name="connsiteX15" fmla="*/ 7273 w 22229"/>
                  <a:gd name="connsiteY15" fmla="*/ 9989 h 17837"/>
                  <a:gd name="connsiteX16" fmla="*/ 5791 w 22229"/>
                  <a:gd name="connsiteY16" fmla="*/ 7904 h 17837"/>
                  <a:gd name="connsiteX17" fmla="*/ 385 w 22229"/>
                  <a:gd name="connsiteY17" fmla="*/ 7218 h 17837"/>
                  <a:gd name="connsiteX18" fmla="*/ 0 w 22229"/>
                  <a:gd name="connsiteY18" fmla="*/ 604 h 1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229" h="17837">
                    <a:moveTo>
                      <a:pt x="0" y="604"/>
                    </a:moveTo>
                    <a:lnTo>
                      <a:pt x="2937" y="0"/>
                    </a:lnTo>
                    <a:lnTo>
                      <a:pt x="4803" y="2854"/>
                    </a:lnTo>
                    <a:lnTo>
                      <a:pt x="5791" y="2113"/>
                    </a:lnTo>
                    <a:lnTo>
                      <a:pt x="9578" y="3842"/>
                    </a:lnTo>
                    <a:lnTo>
                      <a:pt x="13118" y="2085"/>
                    </a:lnTo>
                    <a:lnTo>
                      <a:pt x="16137" y="5955"/>
                    </a:lnTo>
                    <a:lnTo>
                      <a:pt x="14984" y="11389"/>
                    </a:lnTo>
                    <a:lnTo>
                      <a:pt x="20802" y="13200"/>
                    </a:lnTo>
                    <a:lnTo>
                      <a:pt x="22229" y="15368"/>
                    </a:lnTo>
                    <a:lnTo>
                      <a:pt x="18113" y="17838"/>
                    </a:lnTo>
                    <a:lnTo>
                      <a:pt x="14463" y="14846"/>
                    </a:lnTo>
                    <a:lnTo>
                      <a:pt x="10017" y="15587"/>
                    </a:lnTo>
                    <a:lnTo>
                      <a:pt x="9578" y="11498"/>
                    </a:lnTo>
                    <a:lnTo>
                      <a:pt x="6943" y="11608"/>
                    </a:lnTo>
                    <a:lnTo>
                      <a:pt x="7273" y="9989"/>
                    </a:lnTo>
                    <a:lnTo>
                      <a:pt x="5791" y="7904"/>
                    </a:lnTo>
                    <a:lnTo>
                      <a:pt x="385" y="7218"/>
                    </a:lnTo>
                    <a:lnTo>
                      <a:pt x="0" y="6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32" name="Freeform: Shape 4631">
                <a:extLst>
                  <a:ext uri="{FF2B5EF4-FFF2-40B4-BE49-F238E27FC236}">
                    <a16:creationId xmlns:a16="http://schemas.microsoft.com/office/drawing/2014/main" id="{D2BDB320-8B0F-03D0-BD97-285A5982D099}"/>
                  </a:ext>
                </a:extLst>
              </p:cNvPr>
              <p:cNvSpPr/>
              <p:nvPr/>
            </p:nvSpPr>
            <p:spPr>
              <a:xfrm>
                <a:off x="1765400" y="3844543"/>
                <a:ext cx="2731" cy="1508"/>
              </a:xfrm>
              <a:custGeom>
                <a:avLst/>
                <a:gdLst>
                  <a:gd name="connsiteX0" fmla="*/ 9056 w 26180"/>
                  <a:gd name="connsiteY0" fmla="*/ 1509 h 14462"/>
                  <a:gd name="connsiteX1" fmla="*/ 11828 w 26180"/>
                  <a:gd name="connsiteY1" fmla="*/ 0 h 14462"/>
                  <a:gd name="connsiteX2" fmla="*/ 20116 w 26180"/>
                  <a:gd name="connsiteY2" fmla="*/ 1043 h 14462"/>
                  <a:gd name="connsiteX3" fmla="*/ 26181 w 26180"/>
                  <a:gd name="connsiteY3" fmla="*/ 5434 h 14462"/>
                  <a:gd name="connsiteX4" fmla="*/ 25495 w 26180"/>
                  <a:gd name="connsiteY4" fmla="*/ 8205 h 14462"/>
                  <a:gd name="connsiteX5" fmla="*/ 25165 w 26180"/>
                  <a:gd name="connsiteY5" fmla="*/ 9578 h 14462"/>
                  <a:gd name="connsiteX6" fmla="*/ 19155 w 26180"/>
                  <a:gd name="connsiteY6" fmla="*/ 9413 h 14462"/>
                  <a:gd name="connsiteX7" fmla="*/ 6696 w 26180"/>
                  <a:gd name="connsiteY7" fmla="*/ 14463 h 14462"/>
                  <a:gd name="connsiteX8" fmla="*/ 4857 w 26180"/>
                  <a:gd name="connsiteY8" fmla="*/ 14463 h 14462"/>
                  <a:gd name="connsiteX9" fmla="*/ 7794 w 26180"/>
                  <a:gd name="connsiteY9" fmla="*/ 10428 h 14462"/>
                  <a:gd name="connsiteX10" fmla="*/ 3704 w 26180"/>
                  <a:gd name="connsiteY10" fmla="*/ 8205 h 14462"/>
                  <a:gd name="connsiteX11" fmla="*/ 0 w 26180"/>
                  <a:gd name="connsiteY11" fmla="*/ 6230 h 14462"/>
                  <a:gd name="connsiteX12" fmla="*/ 2772 w 26180"/>
                  <a:gd name="connsiteY12" fmla="*/ 1592 h 14462"/>
                  <a:gd name="connsiteX13" fmla="*/ 6230 w 26180"/>
                  <a:gd name="connsiteY13" fmla="*/ 1811 h 14462"/>
                  <a:gd name="connsiteX14" fmla="*/ 11498 w 26180"/>
                  <a:gd name="connsiteY14" fmla="*/ 7465 h 14462"/>
                  <a:gd name="connsiteX15" fmla="*/ 12761 w 26180"/>
                  <a:gd name="connsiteY15" fmla="*/ 6367 h 14462"/>
                  <a:gd name="connsiteX16" fmla="*/ 9084 w 26180"/>
                  <a:gd name="connsiteY16" fmla="*/ 1509 h 1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180" h="14462">
                    <a:moveTo>
                      <a:pt x="9056" y="1509"/>
                    </a:moveTo>
                    <a:lnTo>
                      <a:pt x="11828" y="0"/>
                    </a:lnTo>
                    <a:lnTo>
                      <a:pt x="20116" y="1043"/>
                    </a:lnTo>
                    <a:lnTo>
                      <a:pt x="26181" y="5434"/>
                    </a:lnTo>
                    <a:lnTo>
                      <a:pt x="25495" y="8205"/>
                    </a:lnTo>
                    <a:lnTo>
                      <a:pt x="25165" y="9578"/>
                    </a:lnTo>
                    <a:lnTo>
                      <a:pt x="19155" y="9413"/>
                    </a:lnTo>
                    <a:lnTo>
                      <a:pt x="6696" y="14463"/>
                    </a:lnTo>
                    <a:lnTo>
                      <a:pt x="4857" y="14463"/>
                    </a:lnTo>
                    <a:lnTo>
                      <a:pt x="7794" y="10428"/>
                    </a:lnTo>
                    <a:lnTo>
                      <a:pt x="3704" y="8205"/>
                    </a:lnTo>
                    <a:lnTo>
                      <a:pt x="0" y="6230"/>
                    </a:lnTo>
                    <a:lnTo>
                      <a:pt x="2772" y="1592"/>
                    </a:lnTo>
                    <a:lnTo>
                      <a:pt x="6230" y="1811"/>
                    </a:lnTo>
                    <a:lnTo>
                      <a:pt x="11498" y="7465"/>
                    </a:lnTo>
                    <a:lnTo>
                      <a:pt x="12761" y="6367"/>
                    </a:lnTo>
                    <a:lnTo>
                      <a:pt x="9084" y="15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33" name="Freeform: Shape 4632">
                <a:extLst>
                  <a:ext uri="{FF2B5EF4-FFF2-40B4-BE49-F238E27FC236}">
                    <a16:creationId xmlns:a16="http://schemas.microsoft.com/office/drawing/2014/main" id="{F2B31BAC-1C50-C104-3A9E-D72E1615DC4B}"/>
                  </a:ext>
                </a:extLst>
              </p:cNvPr>
              <p:cNvSpPr/>
              <p:nvPr/>
            </p:nvSpPr>
            <p:spPr>
              <a:xfrm>
                <a:off x="1742092" y="3848086"/>
                <a:ext cx="2410" cy="1597"/>
              </a:xfrm>
              <a:custGeom>
                <a:avLst/>
                <a:gdLst>
                  <a:gd name="connsiteX0" fmla="*/ 0 w 23106"/>
                  <a:gd name="connsiteY0" fmla="*/ 7464 h 15313"/>
                  <a:gd name="connsiteX1" fmla="*/ 109 w 23106"/>
                  <a:gd name="connsiteY1" fmla="*/ 7218 h 15313"/>
                  <a:gd name="connsiteX2" fmla="*/ 3156 w 23106"/>
                  <a:gd name="connsiteY2" fmla="*/ 631 h 15313"/>
                  <a:gd name="connsiteX3" fmla="*/ 11608 w 23106"/>
                  <a:gd name="connsiteY3" fmla="*/ 0 h 15313"/>
                  <a:gd name="connsiteX4" fmla="*/ 12513 w 23106"/>
                  <a:gd name="connsiteY4" fmla="*/ 3815 h 15313"/>
                  <a:gd name="connsiteX5" fmla="*/ 13529 w 23106"/>
                  <a:gd name="connsiteY5" fmla="*/ 3870 h 15313"/>
                  <a:gd name="connsiteX6" fmla="*/ 14709 w 23106"/>
                  <a:gd name="connsiteY6" fmla="*/ 631 h 15313"/>
                  <a:gd name="connsiteX7" fmla="*/ 18935 w 23106"/>
                  <a:gd name="connsiteY7" fmla="*/ 1647 h 15313"/>
                  <a:gd name="connsiteX8" fmla="*/ 21790 w 23106"/>
                  <a:gd name="connsiteY8" fmla="*/ 3458 h 15313"/>
                  <a:gd name="connsiteX9" fmla="*/ 22228 w 23106"/>
                  <a:gd name="connsiteY9" fmla="*/ 7218 h 15313"/>
                  <a:gd name="connsiteX10" fmla="*/ 23107 w 23106"/>
                  <a:gd name="connsiteY10" fmla="*/ 15313 h 15313"/>
                  <a:gd name="connsiteX11" fmla="*/ 20691 w 23106"/>
                  <a:gd name="connsiteY11" fmla="*/ 15204 h 15313"/>
                  <a:gd name="connsiteX12" fmla="*/ 18935 w 23106"/>
                  <a:gd name="connsiteY12" fmla="*/ 9660 h 15313"/>
                  <a:gd name="connsiteX13" fmla="*/ 14572 w 23106"/>
                  <a:gd name="connsiteY13" fmla="*/ 7602 h 15313"/>
                  <a:gd name="connsiteX14" fmla="*/ 12623 w 23106"/>
                  <a:gd name="connsiteY14" fmla="*/ 12048 h 15313"/>
                  <a:gd name="connsiteX15" fmla="*/ 10181 w 23106"/>
                  <a:gd name="connsiteY15" fmla="*/ 12734 h 15313"/>
                  <a:gd name="connsiteX16" fmla="*/ 11032 w 23106"/>
                  <a:gd name="connsiteY16" fmla="*/ 8370 h 15313"/>
                  <a:gd name="connsiteX17" fmla="*/ 10620 w 23106"/>
                  <a:gd name="connsiteY17" fmla="*/ 7190 h 15313"/>
                  <a:gd name="connsiteX18" fmla="*/ 9714 w 23106"/>
                  <a:gd name="connsiteY18" fmla="*/ 4556 h 15313"/>
                  <a:gd name="connsiteX19" fmla="*/ 7217 w 23106"/>
                  <a:gd name="connsiteY19" fmla="*/ 7190 h 15313"/>
                  <a:gd name="connsiteX20" fmla="*/ 2689 w 23106"/>
                  <a:gd name="connsiteY20" fmla="*/ 11965 h 15313"/>
                  <a:gd name="connsiteX21" fmla="*/ 27 w 23106"/>
                  <a:gd name="connsiteY21" fmla="*/ 7437 h 1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106" h="15313">
                    <a:moveTo>
                      <a:pt x="0" y="7464"/>
                    </a:moveTo>
                    <a:lnTo>
                      <a:pt x="109" y="7218"/>
                    </a:lnTo>
                    <a:lnTo>
                      <a:pt x="3156" y="631"/>
                    </a:lnTo>
                    <a:lnTo>
                      <a:pt x="11608" y="0"/>
                    </a:lnTo>
                    <a:lnTo>
                      <a:pt x="12513" y="3815"/>
                    </a:lnTo>
                    <a:lnTo>
                      <a:pt x="13529" y="3870"/>
                    </a:lnTo>
                    <a:lnTo>
                      <a:pt x="14709" y="631"/>
                    </a:lnTo>
                    <a:lnTo>
                      <a:pt x="18935" y="1647"/>
                    </a:lnTo>
                    <a:lnTo>
                      <a:pt x="21790" y="3458"/>
                    </a:lnTo>
                    <a:lnTo>
                      <a:pt x="22228" y="7218"/>
                    </a:lnTo>
                    <a:lnTo>
                      <a:pt x="23107" y="15313"/>
                    </a:lnTo>
                    <a:lnTo>
                      <a:pt x="20691" y="15204"/>
                    </a:lnTo>
                    <a:lnTo>
                      <a:pt x="18935" y="9660"/>
                    </a:lnTo>
                    <a:lnTo>
                      <a:pt x="14572" y="7602"/>
                    </a:lnTo>
                    <a:lnTo>
                      <a:pt x="12623" y="12048"/>
                    </a:lnTo>
                    <a:lnTo>
                      <a:pt x="10181" y="12734"/>
                    </a:lnTo>
                    <a:lnTo>
                      <a:pt x="11032" y="8370"/>
                    </a:lnTo>
                    <a:lnTo>
                      <a:pt x="10620" y="7190"/>
                    </a:lnTo>
                    <a:lnTo>
                      <a:pt x="9714" y="4556"/>
                    </a:lnTo>
                    <a:lnTo>
                      <a:pt x="7217" y="7190"/>
                    </a:lnTo>
                    <a:lnTo>
                      <a:pt x="2689" y="11965"/>
                    </a:lnTo>
                    <a:lnTo>
                      <a:pt x="27"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34" name="Freeform: Shape 4633">
                <a:extLst>
                  <a:ext uri="{FF2B5EF4-FFF2-40B4-BE49-F238E27FC236}">
                    <a16:creationId xmlns:a16="http://schemas.microsoft.com/office/drawing/2014/main" id="{7A18E7A9-1D35-EDF2-6D60-AD4E9F4F4348}"/>
                  </a:ext>
                </a:extLst>
              </p:cNvPr>
              <p:cNvSpPr/>
              <p:nvPr/>
            </p:nvSpPr>
            <p:spPr>
              <a:xfrm>
                <a:off x="1751351" y="3867793"/>
                <a:ext cx="3014" cy="1156"/>
              </a:xfrm>
              <a:custGeom>
                <a:avLst/>
                <a:gdLst>
                  <a:gd name="connsiteX0" fmla="*/ 27 w 28897"/>
                  <a:gd name="connsiteY0" fmla="*/ 8535 h 11087"/>
                  <a:gd name="connsiteX1" fmla="*/ 3568 w 28897"/>
                  <a:gd name="connsiteY1" fmla="*/ 3815 h 11087"/>
                  <a:gd name="connsiteX2" fmla="*/ 22668 w 28897"/>
                  <a:gd name="connsiteY2" fmla="*/ 0 h 11087"/>
                  <a:gd name="connsiteX3" fmla="*/ 28898 w 28897"/>
                  <a:gd name="connsiteY3" fmla="*/ 3787 h 11087"/>
                  <a:gd name="connsiteX4" fmla="*/ 18469 w 28897"/>
                  <a:gd name="connsiteY4" fmla="*/ 10428 h 11087"/>
                  <a:gd name="connsiteX5" fmla="*/ 8809 w 28897"/>
                  <a:gd name="connsiteY5" fmla="*/ 9331 h 11087"/>
                  <a:gd name="connsiteX6" fmla="*/ 3540 w 28897"/>
                  <a:gd name="connsiteY6" fmla="*/ 10428 h 11087"/>
                  <a:gd name="connsiteX7" fmla="*/ 1043 w 28897"/>
                  <a:gd name="connsiteY7" fmla="*/ 11087 h 11087"/>
                  <a:gd name="connsiteX8" fmla="*/ 0 w 28897"/>
                  <a:gd name="connsiteY8" fmla="*/ 8535 h 1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97" h="11087">
                    <a:moveTo>
                      <a:pt x="27" y="8535"/>
                    </a:moveTo>
                    <a:lnTo>
                      <a:pt x="3568" y="3815"/>
                    </a:lnTo>
                    <a:lnTo>
                      <a:pt x="22668" y="0"/>
                    </a:lnTo>
                    <a:lnTo>
                      <a:pt x="28898" y="3787"/>
                    </a:lnTo>
                    <a:lnTo>
                      <a:pt x="18469" y="10428"/>
                    </a:lnTo>
                    <a:lnTo>
                      <a:pt x="8809" y="9331"/>
                    </a:lnTo>
                    <a:lnTo>
                      <a:pt x="3540" y="10428"/>
                    </a:lnTo>
                    <a:lnTo>
                      <a:pt x="1043" y="11087"/>
                    </a:lnTo>
                    <a:lnTo>
                      <a:pt x="0" y="85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35" name="Freeform: Shape 4634">
                <a:extLst>
                  <a:ext uri="{FF2B5EF4-FFF2-40B4-BE49-F238E27FC236}">
                    <a16:creationId xmlns:a16="http://schemas.microsoft.com/office/drawing/2014/main" id="{ED871491-D6E4-F415-C79C-4A97D4AE7C91}"/>
                  </a:ext>
                </a:extLst>
              </p:cNvPr>
              <p:cNvSpPr/>
              <p:nvPr/>
            </p:nvSpPr>
            <p:spPr>
              <a:xfrm>
                <a:off x="1781154" y="3849406"/>
                <a:ext cx="3933" cy="862"/>
              </a:xfrm>
              <a:custGeom>
                <a:avLst/>
                <a:gdLst>
                  <a:gd name="connsiteX0" fmla="*/ 32026 w 37706"/>
                  <a:gd name="connsiteY0" fmla="*/ 7519 h 8260"/>
                  <a:gd name="connsiteX1" fmla="*/ 21927 w 37706"/>
                  <a:gd name="connsiteY1" fmla="*/ 8260 h 8260"/>
                  <a:gd name="connsiteX2" fmla="*/ 10730 w 37706"/>
                  <a:gd name="connsiteY2" fmla="*/ 4693 h 8260"/>
                  <a:gd name="connsiteX3" fmla="*/ 356 w 37706"/>
                  <a:gd name="connsiteY3" fmla="*/ 1043 h 8260"/>
                  <a:gd name="connsiteX4" fmla="*/ 0 w 37706"/>
                  <a:gd name="connsiteY4" fmla="*/ 494 h 8260"/>
                  <a:gd name="connsiteX5" fmla="*/ 576 w 37706"/>
                  <a:gd name="connsiteY5" fmla="*/ 0 h 8260"/>
                  <a:gd name="connsiteX6" fmla="*/ 19402 w 37706"/>
                  <a:gd name="connsiteY6" fmla="*/ 1235 h 8260"/>
                  <a:gd name="connsiteX7" fmla="*/ 37652 w 37706"/>
                  <a:gd name="connsiteY7" fmla="*/ 4803 h 8260"/>
                  <a:gd name="connsiteX8" fmla="*/ 37707 w 37706"/>
                  <a:gd name="connsiteY8" fmla="*/ 5818 h 8260"/>
                  <a:gd name="connsiteX9" fmla="*/ 32026 w 37706"/>
                  <a:gd name="connsiteY9" fmla="*/ 7492 h 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06" h="8260">
                    <a:moveTo>
                      <a:pt x="32026" y="7519"/>
                    </a:moveTo>
                    <a:lnTo>
                      <a:pt x="21927" y="8260"/>
                    </a:lnTo>
                    <a:lnTo>
                      <a:pt x="10730" y="4693"/>
                    </a:lnTo>
                    <a:lnTo>
                      <a:pt x="356" y="1043"/>
                    </a:lnTo>
                    <a:lnTo>
                      <a:pt x="0" y="494"/>
                    </a:lnTo>
                    <a:lnTo>
                      <a:pt x="576" y="0"/>
                    </a:lnTo>
                    <a:lnTo>
                      <a:pt x="19402" y="1235"/>
                    </a:lnTo>
                    <a:lnTo>
                      <a:pt x="37652" y="4803"/>
                    </a:lnTo>
                    <a:lnTo>
                      <a:pt x="37707" y="5818"/>
                    </a:lnTo>
                    <a:lnTo>
                      <a:pt x="32026" y="74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36" name="Freeform: Shape 4635">
                <a:extLst>
                  <a:ext uri="{FF2B5EF4-FFF2-40B4-BE49-F238E27FC236}">
                    <a16:creationId xmlns:a16="http://schemas.microsoft.com/office/drawing/2014/main" id="{06A37C30-F848-4118-8C78-91EC1B081F71}"/>
                  </a:ext>
                </a:extLst>
              </p:cNvPr>
              <p:cNvSpPr/>
              <p:nvPr/>
            </p:nvSpPr>
            <p:spPr>
              <a:xfrm>
                <a:off x="1758352" y="3836376"/>
                <a:ext cx="1803" cy="1840"/>
              </a:xfrm>
              <a:custGeom>
                <a:avLst/>
                <a:gdLst>
                  <a:gd name="connsiteX0" fmla="*/ 3239 w 17289"/>
                  <a:gd name="connsiteY0" fmla="*/ 9632 h 17645"/>
                  <a:gd name="connsiteX1" fmla="*/ 4720 w 17289"/>
                  <a:gd name="connsiteY1" fmla="*/ 8452 h 17645"/>
                  <a:gd name="connsiteX2" fmla="*/ 5873 w 17289"/>
                  <a:gd name="connsiteY2" fmla="*/ 5763 h 17645"/>
                  <a:gd name="connsiteX3" fmla="*/ 10483 w 17289"/>
                  <a:gd name="connsiteY3" fmla="*/ 1207 h 17645"/>
                  <a:gd name="connsiteX4" fmla="*/ 12377 w 17289"/>
                  <a:gd name="connsiteY4" fmla="*/ 1592 h 17645"/>
                  <a:gd name="connsiteX5" fmla="*/ 14024 w 17289"/>
                  <a:gd name="connsiteY5" fmla="*/ 0 h 17645"/>
                  <a:gd name="connsiteX6" fmla="*/ 15616 w 17289"/>
                  <a:gd name="connsiteY6" fmla="*/ 2909 h 17645"/>
                  <a:gd name="connsiteX7" fmla="*/ 17179 w 17289"/>
                  <a:gd name="connsiteY7" fmla="*/ 4007 h 17645"/>
                  <a:gd name="connsiteX8" fmla="*/ 17289 w 17289"/>
                  <a:gd name="connsiteY8" fmla="*/ 6202 h 17645"/>
                  <a:gd name="connsiteX9" fmla="*/ 15725 w 17289"/>
                  <a:gd name="connsiteY9" fmla="*/ 8041 h 17645"/>
                  <a:gd name="connsiteX10" fmla="*/ 16027 w 17289"/>
                  <a:gd name="connsiteY10" fmla="*/ 9715 h 17645"/>
                  <a:gd name="connsiteX11" fmla="*/ 13721 w 17289"/>
                  <a:gd name="connsiteY11" fmla="*/ 15478 h 17645"/>
                  <a:gd name="connsiteX12" fmla="*/ 12103 w 17289"/>
                  <a:gd name="connsiteY12" fmla="*/ 16658 h 17645"/>
                  <a:gd name="connsiteX13" fmla="*/ 6394 w 17289"/>
                  <a:gd name="connsiteY13" fmla="*/ 17646 h 17645"/>
                  <a:gd name="connsiteX14" fmla="*/ 3678 w 17289"/>
                  <a:gd name="connsiteY14" fmla="*/ 14764 h 17645"/>
                  <a:gd name="connsiteX15" fmla="*/ 4309 w 17289"/>
                  <a:gd name="connsiteY15" fmla="*/ 11416 h 17645"/>
                  <a:gd name="connsiteX16" fmla="*/ 1235 w 17289"/>
                  <a:gd name="connsiteY16" fmla="*/ 10757 h 17645"/>
                  <a:gd name="connsiteX17" fmla="*/ 0 w 17289"/>
                  <a:gd name="connsiteY17" fmla="*/ 8425 h 17645"/>
                  <a:gd name="connsiteX18" fmla="*/ 2744 w 17289"/>
                  <a:gd name="connsiteY18" fmla="*/ 6888 h 17645"/>
                  <a:gd name="connsiteX19" fmla="*/ 3294 w 17289"/>
                  <a:gd name="connsiteY19" fmla="*/ 9660 h 1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89" h="17645">
                    <a:moveTo>
                      <a:pt x="3239" y="9632"/>
                    </a:moveTo>
                    <a:lnTo>
                      <a:pt x="4720" y="8452"/>
                    </a:lnTo>
                    <a:lnTo>
                      <a:pt x="5873" y="5763"/>
                    </a:lnTo>
                    <a:lnTo>
                      <a:pt x="10483" y="1207"/>
                    </a:lnTo>
                    <a:lnTo>
                      <a:pt x="12377" y="1592"/>
                    </a:lnTo>
                    <a:lnTo>
                      <a:pt x="14024" y="0"/>
                    </a:lnTo>
                    <a:lnTo>
                      <a:pt x="15616" y="2909"/>
                    </a:lnTo>
                    <a:lnTo>
                      <a:pt x="17179" y="4007"/>
                    </a:lnTo>
                    <a:lnTo>
                      <a:pt x="17289" y="6202"/>
                    </a:lnTo>
                    <a:lnTo>
                      <a:pt x="15725" y="8041"/>
                    </a:lnTo>
                    <a:lnTo>
                      <a:pt x="16027" y="9715"/>
                    </a:lnTo>
                    <a:lnTo>
                      <a:pt x="13721" y="15478"/>
                    </a:lnTo>
                    <a:lnTo>
                      <a:pt x="12103" y="16658"/>
                    </a:lnTo>
                    <a:lnTo>
                      <a:pt x="6394" y="17646"/>
                    </a:lnTo>
                    <a:lnTo>
                      <a:pt x="3678" y="14764"/>
                    </a:lnTo>
                    <a:lnTo>
                      <a:pt x="4309" y="11416"/>
                    </a:lnTo>
                    <a:lnTo>
                      <a:pt x="1235" y="10757"/>
                    </a:lnTo>
                    <a:lnTo>
                      <a:pt x="0" y="8425"/>
                    </a:lnTo>
                    <a:lnTo>
                      <a:pt x="2744" y="6888"/>
                    </a:lnTo>
                    <a:lnTo>
                      <a:pt x="3294" y="96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37" name="Freeform: Shape 4636">
                <a:extLst>
                  <a:ext uri="{FF2B5EF4-FFF2-40B4-BE49-F238E27FC236}">
                    <a16:creationId xmlns:a16="http://schemas.microsoft.com/office/drawing/2014/main" id="{DF653493-1546-B002-35A9-5770015744D6}"/>
                  </a:ext>
                </a:extLst>
              </p:cNvPr>
              <p:cNvSpPr/>
              <p:nvPr/>
            </p:nvSpPr>
            <p:spPr>
              <a:xfrm>
                <a:off x="1756171" y="3848550"/>
                <a:ext cx="2224" cy="1153"/>
              </a:xfrm>
              <a:custGeom>
                <a:avLst/>
                <a:gdLst>
                  <a:gd name="connsiteX0" fmla="*/ 2058 w 21323"/>
                  <a:gd name="connsiteY0" fmla="*/ 2772 h 11059"/>
                  <a:gd name="connsiteX1" fmla="*/ 7190 w 21323"/>
                  <a:gd name="connsiteY1" fmla="*/ 0 h 11059"/>
                  <a:gd name="connsiteX2" fmla="*/ 9358 w 21323"/>
                  <a:gd name="connsiteY2" fmla="*/ 165 h 11059"/>
                  <a:gd name="connsiteX3" fmla="*/ 12706 w 21323"/>
                  <a:gd name="connsiteY3" fmla="*/ 2772 h 11059"/>
                  <a:gd name="connsiteX4" fmla="*/ 20445 w 21323"/>
                  <a:gd name="connsiteY4" fmla="*/ 6641 h 11059"/>
                  <a:gd name="connsiteX5" fmla="*/ 21323 w 21323"/>
                  <a:gd name="connsiteY5" fmla="*/ 9907 h 11059"/>
                  <a:gd name="connsiteX6" fmla="*/ 2882 w 21323"/>
                  <a:gd name="connsiteY6" fmla="*/ 11060 h 11059"/>
                  <a:gd name="connsiteX7" fmla="*/ 0 w 21323"/>
                  <a:gd name="connsiteY7" fmla="*/ 6861 h 11059"/>
                  <a:gd name="connsiteX8" fmla="*/ 2031 w 21323"/>
                  <a:gd name="connsiteY8" fmla="*/ 2744 h 1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23" h="11059">
                    <a:moveTo>
                      <a:pt x="2058" y="2772"/>
                    </a:moveTo>
                    <a:lnTo>
                      <a:pt x="7190" y="0"/>
                    </a:lnTo>
                    <a:lnTo>
                      <a:pt x="9358" y="165"/>
                    </a:lnTo>
                    <a:lnTo>
                      <a:pt x="12706" y="2772"/>
                    </a:lnTo>
                    <a:lnTo>
                      <a:pt x="20445" y="6641"/>
                    </a:lnTo>
                    <a:lnTo>
                      <a:pt x="21323" y="9907"/>
                    </a:lnTo>
                    <a:lnTo>
                      <a:pt x="2882" y="11060"/>
                    </a:lnTo>
                    <a:lnTo>
                      <a:pt x="0" y="6861"/>
                    </a:lnTo>
                    <a:lnTo>
                      <a:pt x="2031"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38" name="Freeform: Shape 4637">
                <a:extLst>
                  <a:ext uri="{FF2B5EF4-FFF2-40B4-BE49-F238E27FC236}">
                    <a16:creationId xmlns:a16="http://schemas.microsoft.com/office/drawing/2014/main" id="{F3CEFCBC-4872-064A-7835-6FD4257936D4}"/>
                  </a:ext>
                </a:extLst>
              </p:cNvPr>
              <p:cNvSpPr/>
              <p:nvPr/>
            </p:nvSpPr>
            <p:spPr>
              <a:xfrm>
                <a:off x="1742106" y="3876815"/>
                <a:ext cx="1875" cy="1354"/>
              </a:xfrm>
              <a:custGeom>
                <a:avLst/>
                <a:gdLst>
                  <a:gd name="connsiteX0" fmla="*/ 13255 w 17975"/>
                  <a:gd name="connsiteY0" fmla="*/ 7410 h 12980"/>
                  <a:gd name="connsiteX1" fmla="*/ 12349 w 17975"/>
                  <a:gd name="connsiteY1" fmla="*/ 10072 h 12980"/>
                  <a:gd name="connsiteX2" fmla="*/ 9742 w 17975"/>
                  <a:gd name="connsiteY2" fmla="*/ 9770 h 12980"/>
                  <a:gd name="connsiteX3" fmla="*/ 8343 w 17975"/>
                  <a:gd name="connsiteY3" fmla="*/ 10977 h 12980"/>
                  <a:gd name="connsiteX4" fmla="*/ 5516 w 17975"/>
                  <a:gd name="connsiteY4" fmla="*/ 11142 h 12980"/>
                  <a:gd name="connsiteX5" fmla="*/ 3184 w 17975"/>
                  <a:gd name="connsiteY5" fmla="*/ 12980 h 12980"/>
                  <a:gd name="connsiteX6" fmla="*/ 549 w 17975"/>
                  <a:gd name="connsiteY6" fmla="*/ 12871 h 12980"/>
                  <a:gd name="connsiteX7" fmla="*/ 0 w 17975"/>
                  <a:gd name="connsiteY7" fmla="*/ 9358 h 12980"/>
                  <a:gd name="connsiteX8" fmla="*/ 1702 w 17975"/>
                  <a:gd name="connsiteY8" fmla="*/ 8041 h 12980"/>
                  <a:gd name="connsiteX9" fmla="*/ 7026 w 17975"/>
                  <a:gd name="connsiteY9" fmla="*/ 7135 h 12980"/>
                  <a:gd name="connsiteX10" fmla="*/ 7959 w 17975"/>
                  <a:gd name="connsiteY10" fmla="*/ 6230 h 12980"/>
                  <a:gd name="connsiteX11" fmla="*/ 13749 w 17975"/>
                  <a:gd name="connsiteY11" fmla="*/ 1015 h 12980"/>
                  <a:gd name="connsiteX12" fmla="*/ 16274 w 17975"/>
                  <a:gd name="connsiteY12" fmla="*/ 0 h 12980"/>
                  <a:gd name="connsiteX13" fmla="*/ 17975 w 17975"/>
                  <a:gd name="connsiteY13" fmla="*/ 4693 h 12980"/>
                  <a:gd name="connsiteX14" fmla="*/ 14929 w 17975"/>
                  <a:gd name="connsiteY14" fmla="*/ 6230 h 12980"/>
                  <a:gd name="connsiteX15" fmla="*/ 13255 w 17975"/>
                  <a:gd name="connsiteY15" fmla="*/ 7437 h 1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975" h="12980">
                    <a:moveTo>
                      <a:pt x="13255" y="7410"/>
                    </a:moveTo>
                    <a:lnTo>
                      <a:pt x="12349" y="10072"/>
                    </a:lnTo>
                    <a:lnTo>
                      <a:pt x="9742" y="9770"/>
                    </a:lnTo>
                    <a:lnTo>
                      <a:pt x="8343" y="10977"/>
                    </a:lnTo>
                    <a:lnTo>
                      <a:pt x="5516" y="11142"/>
                    </a:lnTo>
                    <a:lnTo>
                      <a:pt x="3184" y="12980"/>
                    </a:lnTo>
                    <a:lnTo>
                      <a:pt x="549" y="12871"/>
                    </a:lnTo>
                    <a:lnTo>
                      <a:pt x="0" y="9358"/>
                    </a:lnTo>
                    <a:lnTo>
                      <a:pt x="1702" y="8041"/>
                    </a:lnTo>
                    <a:lnTo>
                      <a:pt x="7026" y="7135"/>
                    </a:lnTo>
                    <a:lnTo>
                      <a:pt x="7959" y="6230"/>
                    </a:lnTo>
                    <a:lnTo>
                      <a:pt x="13749" y="1015"/>
                    </a:lnTo>
                    <a:lnTo>
                      <a:pt x="16274" y="0"/>
                    </a:lnTo>
                    <a:lnTo>
                      <a:pt x="17975" y="4693"/>
                    </a:lnTo>
                    <a:lnTo>
                      <a:pt x="14929" y="6230"/>
                    </a:lnTo>
                    <a:lnTo>
                      <a:pt x="13255"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39" name="Freeform: Shape 4638">
                <a:extLst>
                  <a:ext uri="{FF2B5EF4-FFF2-40B4-BE49-F238E27FC236}">
                    <a16:creationId xmlns:a16="http://schemas.microsoft.com/office/drawing/2014/main" id="{3B33960E-2E84-8F7E-53EE-7BE22009061B}"/>
                  </a:ext>
                </a:extLst>
              </p:cNvPr>
              <p:cNvSpPr/>
              <p:nvPr/>
            </p:nvSpPr>
            <p:spPr>
              <a:xfrm>
                <a:off x="1763433" y="3849632"/>
                <a:ext cx="2018" cy="1131"/>
              </a:xfrm>
              <a:custGeom>
                <a:avLst/>
                <a:gdLst>
                  <a:gd name="connsiteX0" fmla="*/ 15697 w 19347"/>
                  <a:gd name="connsiteY0" fmla="*/ 9523 h 10839"/>
                  <a:gd name="connsiteX1" fmla="*/ 12020 w 19347"/>
                  <a:gd name="connsiteY1" fmla="*/ 10840 h 10839"/>
                  <a:gd name="connsiteX2" fmla="*/ 0 w 19347"/>
                  <a:gd name="connsiteY2" fmla="*/ 6778 h 10839"/>
                  <a:gd name="connsiteX3" fmla="*/ 137 w 19347"/>
                  <a:gd name="connsiteY3" fmla="*/ 5132 h 10839"/>
                  <a:gd name="connsiteX4" fmla="*/ 4199 w 19347"/>
                  <a:gd name="connsiteY4" fmla="*/ 3019 h 10839"/>
                  <a:gd name="connsiteX5" fmla="*/ 8535 w 19347"/>
                  <a:gd name="connsiteY5" fmla="*/ 1427 h 10839"/>
                  <a:gd name="connsiteX6" fmla="*/ 14134 w 19347"/>
                  <a:gd name="connsiteY6" fmla="*/ 1098 h 10839"/>
                  <a:gd name="connsiteX7" fmla="*/ 17262 w 19347"/>
                  <a:gd name="connsiteY7" fmla="*/ 0 h 10839"/>
                  <a:gd name="connsiteX8" fmla="*/ 19347 w 19347"/>
                  <a:gd name="connsiteY8" fmla="*/ 3019 h 10839"/>
                  <a:gd name="connsiteX9" fmla="*/ 17838 w 19347"/>
                  <a:gd name="connsiteY9" fmla="*/ 6943 h 10839"/>
                  <a:gd name="connsiteX10" fmla="*/ 19155 w 19347"/>
                  <a:gd name="connsiteY10" fmla="*/ 9248 h 10839"/>
                  <a:gd name="connsiteX11" fmla="*/ 15671 w 19347"/>
                  <a:gd name="connsiteY11" fmla="*/ 9523 h 10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347" h="10839">
                    <a:moveTo>
                      <a:pt x="15697" y="9523"/>
                    </a:moveTo>
                    <a:lnTo>
                      <a:pt x="12020" y="10840"/>
                    </a:lnTo>
                    <a:lnTo>
                      <a:pt x="0" y="6778"/>
                    </a:lnTo>
                    <a:lnTo>
                      <a:pt x="137" y="5132"/>
                    </a:lnTo>
                    <a:lnTo>
                      <a:pt x="4199" y="3019"/>
                    </a:lnTo>
                    <a:lnTo>
                      <a:pt x="8535" y="1427"/>
                    </a:lnTo>
                    <a:lnTo>
                      <a:pt x="14134" y="1098"/>
                    </a:lnTo>
                    <a:lnTo>
                      <a:pt x="17262" y="0"/>
                    </a:lnTo>
                    <a:lnTo>
                      <a:pt x="19347" y="3019"/>
                    </a:lnTo>
                    <a:lnTo>
                      <a:pt x="17838" y="6943"/>
                    </a:lnTo>
                    <a:lnTo>
                      <a:pt x="19155" y="9248"/>
                    </a:lnTo>
                    <a:lnTo>
                      <a:pt x="15671" y="95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40" name="Freeform: Shape 4639">
                <a:extLst>
                  <a:ext uri="{FF2B5EF4-FFF2-40B4-BE49-F238E27FC236}">
                    <a16:creationId xmlns:a16="http://schemas.microsoft.com/office/drawing/2014/main" id="{286B0ECF-90B1-B56E-C622-20156D2FA2DF}"/>
                  </a:ext>
                </a:extLst>
              </p:cNvPr>
              <p:cNvSpPr/>
              <p:nvPr/>
            </p:nvSpPr>
            <p:spPr>
              <a:xfrm>
                <a:off x="1743471" y="3869691"/>
                <a:ext cx="1938" cy="1153"/>
              </a:xfrm>
              <a:custGeom>
                <a:avLst/>
                <a:gdLst>
                  <a:gd name="connsiteX0" fmla="*/ 4556 w 18578"/>
                  <a:gd name="connsiteY0" fmla="*/ 2305 h 11059"/>
                  <a:gd name="connsiteX1" fmla="*/ 6833 w 18578"/>
                  <a:gd name="connsiteY1" fmla="*/ 1455 h 11059"/>
                  <a:gd name="connsiteX2" fmla="*/ 8370 w 18578"/>
                  <a:gd name="connsiteY2" fmla="*/ 4803 h 11059"/>
                  <a:gd name="connsiteX3" fmla="*/ 14984 w 18578"/>
                  <a:gd name="connsiteY3" fmla="*/ 0 h 11059"/>
                  <a:gd name="connsiteX4" fmla="*/ 18579 w 18578"/>
                  <a:gd name="connsiteY4" fmla="*/ 1564 h 11059"/>
                  <a:gd name="connsiteX5" fmla="*/ 9962 w 18578"/>
                  <a:gd name="connsiteY5" fmla="*/ 7327 h 11059"/>
                  <a:gd name="connsiteX6" fmla="*/ 8891 w 18578"/>
                  <a:gd name="connsiteY6" fmla="*/ 10566 h 11059"/>
                  <a:gd name="connsiteX7" fmla="*/ 6861 w 18578"/>
                  <a:gd name="connsiteY7" fmla="*/ 9687 h 11059"/>
                  <a:gd name="connsiteX8" fmla="*/ 3952 w 18578"/>
                  <a:gd name="connsiteY8" fmla="*/ 11060 h 11059"/>
                  <a:gd name="connsiteX9" fmla="*/ 0 w 18578"/>
                  <a:gd name="connsiteY9" fmla="*/ 9111 h 11059"/>
                  <a:gd name="connsiteX10" fmla="*/ 5434 w 18578"/>
                  <a:gd name="connsiteY10" fmla="*/ 4501 h 11059"/>
                  <a:gd name="connsiteX11" fmla="*/ 4583 w 18578"/>
                  <a:gd name="connsiteY11" fmla="*/ 2333 h 1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78" h="11059">
                    <a:moveTo>
                      <a:pt x="4556" y="2305"/>
                    </a:moveTo>
                    <a:lnTo>
                      <a:pt x="6833" y="1455"/>
                    </a:lnTo>
                    <a:lnTo>
                      <a:pt x="8370" y="4803"/>
                    </a:lnTo>
                    <a:lnTo>
                      <a:pt x="14984" y="0"/>
                    </a:lnTo>
                    <a:lnTo>
                      <a:pt x="18579" y="1564"/>
                    </a:lnTo>
                    <a:lnTo>
                      <a:pt x="9962" y="7327"/>
                    </a:lnTo>
                    <a:lnTo>
                      <a:pt x="8891" y="10566"/>
                    </a:lnTo>
                    <a:lnTo>
                      <a:pt x="6861" y="9687"/>
                    </a:lnTo>
                    <a:lnTo>
                      <a:pt x="3952" y="11060"/>
                    </a:lnTo>
                    <a:lnTo>
                      <a:pt x="0" y="9111"/>
                    </a:lnTo>
                    <a:lnTo>
                      <a:pt x="5434" y="4501"/>
                    </a:lnTo>
                    <a:lnTo>
                      <a:pt x="4583" y="23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41" name="Freeform: Shape 4640">
                <a:extLst>
                  <a:ext uri="{FF2B5EF4-FFF2-40B4-BE49-F238E27FC236}">
                    <a16:creationId xmlns:a16="http://schemas.microsoft.com/office/drawing/2014/main" id="{D816890D-1AEC-4E21-FD3A-ED27D3E81056}"/>
                  </a:ext>
                </a:extLst>
              </p:cNvPr>
              <p:cNvSpPr/>
              <p:nvPr/>
            </p:nvSpPr>
            <p:spPr>
              <a:xfrm>
                <a:off x="1754022" y="3830517"/>
                <a:ext cx="664" cy="1652"/>
              </a:xfrm>
              <a:custGeom>
                <a:avLst/>
                <a:gdLst>
                  <a:gd name="connsiteX0" fmla="*/ 3238 w 6366"/>
                  <a:gd name="connsiteY0" fmla="*/ 15039 h 15834"/>
                  <a:gd name="connsiteX1" fmla="*/ 439 w 6366"/>
                  <a:gd name="connsiteY1" fmla="*/ 15835 h 15834"/>
                  <a:gd name="connsiteX2" fmla="*/ 0 w 6366"/>
                  <a:gd name="connsiteY2" fmla="*/ 14380 h 15834"/>
                  <a:gd name="connsiteX3" fmla="*/ 2827 w 6366"/>
                  <a:gd name="connsiteY3" fmla="*/ 9660 h 15834"/>
                  <a:gd name="connsiteX4" fmla="*/ 137 w 6366"/>
                  <a:gd name="connsiteY4" fmla="*/ 5269 h 15834"/>
                  <a:gd name="connsiteX5" fmla="*/ 2251 w 6366"/>
                  <a:gd name="connsiteY5" fmla="*/ 0 h 15834"/>
                  <a:gd name="connsiteX6" fmla="*/ 5050 w 6366"/>
                  <a:gd name="connsiteY6" fmla="*/ 2003 h 15834"/>
                  <a:gd name="connsiteX7" fmla="*/ 6367 w 6366"/>
                  <a:gd name="connsiteY7" fmla="*/ 7574 h 15834"/>
                  <a:gd name="connsiteX8" fmla="*/ 5544 w 6366"/>
                  <a:gd name="connsiteY8" fmla="*/ 9633 h 15834"/>
                  <a:gd name="connsiteX9" fmla="*/ 3814 w 6366"/>
                  <a:gd name="connsiteY9" fmla="*/ 11444 h 15834"/>
                  <a:gd name="connsiteX10" fmla="*/ 3211 w 6366"/>
                  <a:gd name="connsiteY10" fmla="*/ 15012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6" h="15834">
                    <a:moveTo>
                      <a:pt x="3238" y="15039"/>
                    </a:moveTo>
                    <a:lnTo>
                      <a:pt x="439" y="15835"/>
                    </a:lnTo>
                    <a:lnTo>
                      <a:pt x="0" y="14380"/>
                    </a:lnTo>
                    <a:lnTo>
                      <a:pt x="2827" y="9660"/>
                    </a:lnTo>
                    <a:lnTo>
                      <a:pt x="137" y="5269"/>
                    </a:lnTo>
                    <a:lnTo>
                      <a:pt x="2251" y="0"/>
                    </a:lnTo>
                    <a:lnTo>
                      <a:pt x="5050" y="2003"/>
                    </a:lnTo>
                    <a:lnTo>
                      <a:pt x="6367" y="7574"/>
                    </a:lnTo>
                    <a:lnTo>
                      <a:pt x="5544" y="9633"/>
                    </a:lnTo>
                    <a:lnTo>
                      <a:pt x="3814" y="11444"/>
                    </a:lnTo>
                    <a:lnTo>
                      <a:pt x="3211" y="150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42" name="Freeform: Shape 4641">
                <a:extLst>
                  <a:ext uri="{FF2B5EF4-FFF2-40B4-BE49-F238E27FC236}">
                    <a16:creationId xmlns:a16="http://schemas.microsoft.com/office/drawing/2014/main" id="{5E531D4F-5C17-264D-149C-81B4D45287ED}"/>
                  </a:ext>
                </a:extLst>
              </p:cNvPr>
              <p:cNvSpPr/>
              <p:nvPr/>
            </p:nvSpPr>
            <p:spPr>
              <a:xfrm>
                <a:off x="1757789" y="3855242"/>
                <a:ext cx="1262" cy="821"/>
              </a:xfrm>
              <a:custGeom>
                <a:avLst/>
                <a:gdLst>
                  <a:gd name="connsiteX0" fmla="*/ 0 w 12102"/>
                  <a:gd name="connsiteY0" fmla="*/ 7081 h 7876"/>
                  <a:gd name="connsiteX1" fmla="*/ 2470 w 12102"/>
                  <a:gd name="connsiteY1" fmla="*/ 2909 h 7876"/>
                  <a:gd name="connsiteX2" fmla="*/ 11553 w 12102"/>
                  <a:gd name="connsiteY2" fmla="*/ 0 h 7876"/>
                  <a:gd name="connsiteX3" fmla="*/ 12103 w 12102"/>
                  <a:gd name="connsiteY3" fmla="*/ 3348 h 7876"/>
                  <a:gd name="connsiteX4" fmla="*/ 6971 w 12102"/>
                  <a:gd name="connsiteY4" fmla="*/ 7053 h 7876"/>
                  <a:gd name="connsiteX5" fmla="*/ 6202 w 12102"/>
                  <a:gd name="connsiteY5" fmla="*/ 5132 h 7876"/>
                  <a:gd name="connsiteX6" fmla="*/ 2251 w 12102"/>
                  <a:gd name="connsiteY6" fmla="*/ 7876 h 7876"/>
                  <a:gd name="connsiteX7" fmla="*/ 27 w 12102"/>
                  <a:gd name="connsiteY7" fmla="*/ 7081 h 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02" h="7876">
                    <a:moveTo>
                      <a:pt x="0" y="7081"/>
                    </a:moveTo>
                    <a:lnTo>
                      <a:pt x="2470" y="2909"/>
                    </a:lnTo>
                    <a:lnTo>
                      <a:pt x="11553" y="0"/>
                    </a:lnTo>
                    <a:lnTo>
                      <a:pt x="12103" y="3348"/>
                    </a:lnTo>
                    <a:lnTo>
                      <a:pt x="6971" y="7053"/>
                    </a:lnTo>
                    <a:lnTo>
                      <a:pt x="6202" y="5132"/>
                    </a:lnTo>
                    <a:lnTo>
                      <a:pt x="2251" y="7876"/>
                    </a:lnTo>
                    <a:lnTo>
                      <a:pt x="27" y="70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43" name="Freeform: Shape 4642">
                <a:extLst>
                  <a:ext uri="{FF2B5EF4-FFF2-40B4-BE49-F238E27FC236}">
                    <a16:creationId xmlns:a16="http://schemas.microsoft.com/office/drawing/2014/main" id="{EF882EBD-975D-CAFE-F31D-DB4BAF1FB74D}"/>
                  </a:ext>
                </a:extLst>
              </p:cNvPr>
              <p:cNvSpPr/>
              <p:nvPr/>
            </p:nvSpPr>
            <p:spPr>
              <a:xfrm>
                <a:off x="1750052" y="3832976"/>
                <a:ext cx="873" cy="1125"/>
              </a:xfrm>
              <a:custGeom>
                <a:avLst/>
                <a:gdLst>
                  <a:gd name="connsiteX0" fmla="*/ 7657 w 8370"/>
                  <a:gd name="connsiteY0" fmla="*/ 10318 h 10784"/>
                  <a:gd name="connsiteX1" fmla="*/ 5736 w 8370"/>
                  <a:gd name="connsiteY1" fmla="*/ 10785 h 10784"/>
                  <a:gd name="connsiteX2" fmla="*/ 3211 w 8370"/>
                  <a:gd name="connsiteY2" fmla="*/ 8699 h 10784"/>
                  <a:gd name="connsiteX3" fmla="*/ 3375 w 8370"/>
                  <a:gd name="connsiteY3" fmla="*/ 4994 h 10784"/>
                  <a:gd name="connsiteX4" fmla="*/ 0 w 8370"/>
                  <a:gd name="connsiteY4" fmla="*/ 1619 h 10784"/>
                  <a:gd name="connsiteX5" fmla="*/ 604 w 8370"/>
                  <a:gd name="connsiteY5" fmla="*/ 0 h 10784"/>
                  <a:gd name="connsiteX6" fmla="*/ 3321 w 8370"/>
                  <a:gd name="connsiteY6" fmla="*/ 219 h 10784"/>
                  <a:gd name="connsiteX7" fmla="*/ 5598 w 8370"/>
                  <a:gd name="connsiteY7" fmla="*/ 3211 h 10784"/>
                  <a:gd name="connsiteX8" fmla="*/ 5022 w 8370"/>
                  <a:gd name="connsiteY8" fmla="*/ 4638 h 10784"/>
                  <a:gd name="connsiteX9" fmla="*/ 7163 w 8370"/>
                  <a:gd name="connsiteY9" fmla="*/ 6175 h 10784"/>
                  <a:gd name="connsiteX10" fmla="*/ 8370 w 8370"/>
                  <a:gd name="connsiteY10" fmla="*/ 8864 h 10784"/>
                  <a:gd name="connsiteX11" fmla="*/ 7657 w 8370"/>
                  <a:gd name="connsiteY11" fmla="*/ 10373 h 10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70" h="10784">
                    <a:moveTo>
                      <a:pt x="7657" y="10318"/>
                    </a:moveTo>
                    <a:lnTo>
                      <a:pt x="5736" y="10785"/>
                    </a:lnTo>
                    <a:lnTo>
                      <a:pt x="3211" y="8699"/>
                    </a:lnTo>
                    <a:lnTo>
                      <a:pt x="3375" y="4994"/>
                    </a:lnTo>
                    <a:lnTo>
                      <a:pt x="0" y="1619"/>
                    </a:lnTo>
                    <a:lnTo>
                      <a:pt x="604" y="0"/>
                    </a:lnTo>
                    <a:lnTo>
                      <a:pt x="3321" y="219"/>
                    </a:lnTo>
                    <a:lnTo>
                      <a:pt x="5598" y="3211"/>
                    </a:lnTo>
                    <a:lnTo>
                      <a:pt x="5022" y="4638"/>
                    </a:lnTo>
                    <a:lnTo>
                      <a:pt x="7163" y="6175"/>
                    </a:lnTo>
                    <a:lnTo>
                      <a:pt x="8370" y="8864"/>
                    </a:lnTo>
                    <a:lnTo>
                      <a:pt x="7657" y="103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44" name="Freeform: Shape 4643">
                <a:extLst>
                  <a:ext uri="{FF2B5EF4-FFF2-40B4-BE49-F238E27FC236}">
                    <a16:creationId xmlns:a16="http://schemas.microsoft.com/office/drawing/2014/main" id="{400688E5-0200-473F-C0E8-719113BA4D53}"/>
                  </a:ext>
                </a:extLst>
              </p:cNvPr>
              <p:cNvSpPr/>
              <p:nvPr/>
            </p:nvSpPr>
            <p:spPr>
              <a:xfrm>
                <a:off x="1751514" y="3850556"/>
                <a:ext cx="604" cy="1488"/>
              </a:xfrm>
              <a:custGeom>
                <a:avLst/>
                <a:gdLst>
                  <a:gd name="connsiteX0" fmla="*/ 2937 w 5790"/>
                  <a:gd name="connsiteY0" fmla="*/ 5406 h 14270"/>
                  <a:gd name="connsiteX1" fmla="*/ 5790 w 5790"/>
                  <a:gd name="connsiteY1" fmla="*/ 12980 h 14270"/>
                  <a:gd name="connsiteX2" fmla="*/ 4967 w 5790"/>
                  <a:gd name="connsiteY2" fmla="*/ 14271 h 14270"/>
                  <a:gd name="connsiteX3" fmla="*/ 3430 w 5790"/>
                  <a:gd name="connsiteY3" fmla="*/ 13310 h 14270"/>
                  <a:gd name="connsiteX4" fmla="*/ 0 w 5790"/>
                  <a:gd name="connsiteY4" fmla="*/ 4144 h 14270"/>
                  <a:gd name="connsiteX5" fmla="*/ 1400 w 5790"/>
                  <a:gd name="connsiteY5" fmla="*/ 0 h 14270"/>
                  <a:gd name="connsiteX6" fmla="*/ 3156 w 5790"/>
                  <a:gd name="connsiteY6" fmla="*/ 1153 h 14270"/>
                  <a:gd name="connsiteX7" fmla="*/ 2964 w 5790"/>
                  <a:gd name="connsiteY7" fmla="*/ 5406 h 1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0" h="14270">
                    <a:moveTo>
                      <a:pt x="2937" y="5406"/>
                    </a:moveTo>
                    <a:lnTo>
                      <a:pt x="5790" y="12980"/>
                    </a:lnTo>
                    <a:lnTo>
                      <a:pt x="4967" y="14271"/>
                    </a:lnTo>
                    <a:lnTo>
                      <a:pt x="3430" y="13310"/>
                    </a:lnTo>
                    <a:lnTo>
                      <a:pt x="0" y="4144"/>
                    </a:lnTo>
                    <a:lnTo>
                      <a:pt x="1400" y="0"/>
                    </a:lnTo>
                    <a:lnTo>
                      <a:pt x="3156" y="1153"/>
                    </a:lnTo>
                    <a:lnTo>
                      <a:pt x="2964" y="54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45" name="Freeform: Shape 4644">
                <a:extLst>
                  <a:ext uri="{FF2B5EF4-FFF2-40B4-BE49-F238E27FC236}">
                    <a16:creationId xmlns:a16="http://schemas.microsoft.com/office/drawing/2014/main" id="{79A14D1D-0B0D-E048-D4CB-B86A15C07B36}"/>
                  </a:ext>
                </a:extLst>
              </p:cNvPr>
              <p:cNvSpPr/>
              <p:nvPr/>
            </p:nvSpPr>
            <p:spPr>
              <a:xfrm>
                <a:off x="1742510" y="3856664"/>
                <a:ext cx="987" cy="873"/>
              </a:xfrm>
              <a:custGeom>
                <a:avLst/>
                <a:gdLst>
                  <a:gd name="connsiteX0" fmla="*/ 27 w 9467"/>
                  <a:gd name="connsiteY0" fmla="*/ 2744 h 8370"/>
                  <a:gd name="connsiteX1" fmla="*/ 2277 w 9467"/>
                  <a:gd name="connsiteY1" fmla="*/ 0 h 8370"/>
                  <a:gd name="connsiteX2" fmla="*/ 4528 w 9467"/>
                  <a:gd name="connsiteY2" fmla="*/ 1153 h 8370"/>
                  <a:gd name="connsiteX3" fmla="*/ 8096 w 9467"/>
                  <a:gd name="connsiteY3" fmla="*/ 1016 h 8370"/>
                  <a:gd name="connsiteX4" fmla="*/ 9468 w 9467"/>
                  <a:gd name="connsiteY4" fmla="*/ 2360 h 8370"/>
                  <a:gd name="connsiteX5" fmla="*/ 9303 w 9467"/>
                  <a:gd name="connsiteY5" fmla="*/ 4336 h 8370"/>
                  <a:gd name="connsiteX6" fmla="*/ 5406 w 9467"/>
                  <a:gd name="connsiteY6" fmla="*/ 8370 h 8370"/>
                  <a:gd name="connsiteX7" fmla="*/ 1619 w 9467"/>
                  <a:gd name="connsiteY7" fmla="*/ 6504 h 8370"/>
                  <a:gd name="connsiteX8" fmla="*/ 0 w 9467"/>
                  <a:gd name="connsiteY8" fmla="*/ 2744 h 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67" h="8370">
                    <a:moveTo>
                      <a:pt x="27" y="2744"/>
                    </a:moveTo>
                    <a:lnTo>
                      <a:pt x="2277" y="0"/>
                    </a:lnTo>
                    <a:lnTo>
                      <a:pt x="4528" y="1153"/>
                    </a:lnTo>
                    <a:lnTo>
                      <a:pt x="8096" y="1016"/>
                    </a:lnTo>
                    <a:lnTo>
                      <a:pt x="9468" y="2360"/>
                    </a:lnTo>
                    <a:lnTo>
                      <a:pt x="9303" y="4336"/>
                    </a:lnTo>
                    <a:lnTo>
                      <a:pt x="5406" y="8370"/>
                    </a:lnTo>
                    <a:lnTo>
                      <a:pt x="1619" y="6504"/>
                    </a:lnTo>
                    <a:lnTo>
                      <a:pt x="0"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46" name="Freeform: Shape 4645">
                <a:extLst>
                  <a:ext uri="{FF2B5EF4-FFF2-40B4-BE49-F238E27FC236}">
                    <a16:creationId xmlns:a16="http://schemas.microsoft.com/office/drawing/2014/main" id="{53783032-467B-9666-EF9A-28BE33067A7E}"/>
                  </a:ext>
                </a:extLst>
              </p:cNvPr>
              <p:cNvSpPr/>
              <p:nvPr/>
            </p:nvSpPr>
            <p:spPr>
              <a:xfrm>
                <a:off x="1739083" y="3860088"/>
                <a:ext cx="710" cy="1116"/>
              </a:xfrm>
              <a:custGeom>
                <a:avLst/>
                <a:gdLst>
                  <a:gd name="connsiteX0" fmla="*/ 6421 w 6805"/>
                  <a:gd name="connsiteY0" fmla="*/ 9550 h 10702"/>
                  <a:gd name="connsiteX1" fmla="*/ 4857 w 6805"/>
                  <a:gd name="connsiteY1" fmla="*/ 10703 h 10702"/>
                  <a:gd name="connsiteX2" fmla="*/ 0 w 6805"/>
                  <a:gd name="connsiteY2" fmla="*/ 5077 h 10702"/>
                  <a:gd name="connsiteX3" fmla="*/ 905 w 6805"/>
                  <a:gd name="connsiteY3" fmla="*/ 1180 h 10702"/>
                  <a:gd name="connsiteX4" fmla="*/ 4610 w 6805"/>
                  <a:gd name="connsiteY4" fmla="*/ 0 h 10702"/>
                  <a:gd name="connsiteX5" fmla="*/ 6806 w 6805"/>
                  <a:gd name="connsiteY5" fmla="*/ 5049 h 10702"/>
                  <a:gd name="connsiteX6" fmla="*/ 6394 w 6805"/>
                  <a:gd name="connsiteY6" fmla="*/ 9550 h 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5" h="10702">
                    <a:moveTo>
                      <a:pt x="6421" y="9550"/>
                    </a:moveTo>
                    <a:lnTo>
                      <a:pt x="4857" y="10703"/>
                    </a:lnTo>
                    <a:lnTo>
                      <a:pt x="0" y="5077"/>
                    </a:lnTo>
                    <a:lnTo>
                      <a:pt x="905" y="1180"/>
                    </a:lnTo>
                    <a:lnTo>
                      <a:pt x="4610" y="0"/>
                    </a:lnTo>
                    <a:lnTo>
                      <a:pt x="6806" y="5049"/>
                    </a:lnTo>
                    <a:lnTo>
                      <a:pt x="6394" y="95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47" name="Freeform: Shape 4646">
                <a:extLst>
                  <a:ext uri="{FF2B5EF4-FFF2-40B4-BE49-F238E27FC236}">
                    <a16:creationId xmlns:a16="http://schemas.microsoft.com/office/drawing/2014/main" id="{4E138360-25C7-FBEE-5CFB-FDA6ABDC2323}"/>
                  </a:ext>
                </a:extLst>
              </p:cNvPr>
              <p:cNvSpPr/>
              <p:nvPr/>
            </p:nvSpPr>
            <p:spPr>
              <a:xfrm>
                <a:off x="1757362" y="3869393"/>
                <a:ext cx="1408" cy="567"/>
              </a:xfrm>
              <a:custGeom>
                <a:avLst/>
                <a:gdLst>
                  <a:gd name="connsiteX0" fmla="*/ 27 w 13502"/>
                  <a:gd name="connsiteY0" fmla="*/ 521 h 5433"/>
                  <a:gd name="connsiteX1" fmla="*/ 851 w 13502"/>
                  <a:gd name="connsiteY1" fmla="*/ 0 h 5433"/>
                  <a:gd name="connsiteX2" fmla="*/ 4803 w 13502"/>
                  <a:gd name="connsiteY2" fmla="*/ 1235 h 5433"/>
                  <a:gd name="connsiteX3" fmla="*/ 10346 w 13502"/>
                  <a:gd name="connsiteY3" fmla="*/ 1564 h 5433"/>
                  <a:gd name="connsiteX4" fmla="*/ 9440 w 13502"/>
                  <a:gd name="connsiteY4" fmla="*/ 3129 h 5433"/>
                  <a:gd name="connsiteX5" fmla="*/ 12569 w 13502"/>
                  <a:gd name="connsiteY5" fmla="*/ 2991 h 5433"/>
                  <a:gd name="connsiteX6" fmla="*/ 13502 w 13502"/>
                  <a:gd name="connsiteY6" fmla="*/ 5077 h 5433"/>
                  <a:gd name="connsiteX7" fmla="*/ 11471 w 13502"/>
                  <a:gd name="connsiteY7" fmla="*/ 5434 h 5433"/>
                  <a:gd name="connsiteX8" fmla="*/ 7245 w 13502"/>
                  <a:gd name="connsiteY8" fmla="*/ 4885 h 5433"/>
                  <a:gd name="connsiteX9" fmla="*/ 4967 w 13502"/>
                  <a:gd name="connsiteY9" fmla="*/ 3595 h 5433"/>
                  <a:gd name="connsiteX10" fmla="*/ 2552 w 13502"/>
                  <a:gd name="connsiteY10" fmla="*/ 3375 h 5433"/>
                  <a:gd name="connsiteX11" fmla="*/ 247 w 13502"/>
                  <a:gd name="connsiteY11" fmla="*/ 2195 h 5433"/>
                  <a:gd name="connsiteX12" fmla="*/ 0 w 13502"/>
                  <a:gd name="connsiteY12" fmla="*/ 494 h 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02" h="5433">
                    <a:moveTo>
                      <a:pt x="27" y="521"/>
                    </a:moveTo>
                    <a:lnTo>
                      <a:pt x="851" y="0"/>
                    </a:lnTo>
                    <a:lnTo>
                      <a:pt x="4803" y="1235"/>
                    </a:lnTo>
                    <a:lnTo>
                      <a:pt x="10346" y="1564"/>
                    </a:lnTo>
                    <a:lnTo>
                      <a:pt x="9440" y="3129"/>
                    </a:lnTo>
                    <a:lnTo>
                      <a:pt x="12569" y="2991"/>
                    </a:lnTo>
                    <a:lnTo>
                      <a:pt x="13502" y="5077"/>
                    </a:lnTo>
                    <a:lnTo>
                      <a:pt x="11471" y="5434"/>
                    </a:lnTo>
                    <a:lnTo>
                      <a:pt x="7245" y="4885"/>
                    </a:lnTo>
                    <a:lnTo>
                      <a:pt x="4967" y="3595"/>
                    </a:lnTo>
                    <a:lnTo>
                      <a:pt x="2552" y="3375"/>
                    </a:lnTo>
                    <a:lnTo>
                      <a:pt x="247" y="2195"/>
                    </a:lnTo>
                    <a:lnTo>
                      <a:pt x="0" y="4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48" name="Freeform: Shape 4647">
                <a:extLst>
                  <a:ext uri="{FF2B5EF4-FFF2-40B4-BE49-F238E27FC236}">
                    <a16:creationId xmlns:a16="http://schemas.microsoft.com/office/drawing/2014/main" id="{062614BA-BC63-82E7-AC91-178F3C41E248}"/>
                  </a:ext>
                </a:extLst>
              </p:cNvPr>
              <p:cNvSpPr/>
              <p:nvPr/>
            </p:nvSpPr>
            <p:spPr>
              <a:xfrm>
                <a:off x="1762715" y="3868429"/>
                <a:ext cx="979" cy="804"/>
              </a:xfrm>
              <a:custGeom>
                <a:avLst/>
                <a:gdLst>
                  <a:gd name="connsiteX0" fmla="*/ 8480 w 9385"/>
                  <a:gd name="connsiteY0" fmla="*/ 6120 h 7711"/>
                  <a:gd name="connsiteX1" fmla="*/ 6312 w 9385"/>
                  <a:gd name="connsiteY1" fmla="*/ 7711 h 7711"/>
                  <a:gd name="connsiteX2" fmla="*/ 2470 w 9385"/>
                  <a:gd name="connsiteY2" fmla="*/ 4253 h 7711"/>
                  <a:gd name="connsiteX3" fmla="*/ 275 w 9385"/>
                  <a:gd name="connsiteY3" fmla="*/ 4199 h 7711"/>
                  <a:gd name="connsiteX4" fmla="*/ 0 w 9385"/>
                  <a:gd name="connsiteY4" fmla="*/ 2278 h 7711"/>
                  <a:gd name="connsiteX5" fmla="*/ 2003 w 9385"/>
                  <a:gd name="connsiteY5" fmla="*/ 2278 h 7711"/>
                  <a:gd name="connsiteX6" fmla="*/ 2580 w 9385"/>
                  <a:gd name="connsiteY6" fmla="*/ 631 h 7711"/>
                  <a:gd name="connsiteX7" fmla="*/ 5132 w 9385"/>
                  <a:gd name="connsiteY7" fmla="*/ 0 h 7711"/>
                  <a:gd name="connsiteX8" fmla="*/ 8563 w 9385"/>
                  <a:gd name="connsiteY8" fmla="*/ 823 h 7711"/>
                  <a:gd name="connsiteX9" fmla="*/ 9386 w 9385"/>
                  <a:gd name="connsiteY9" fmla="*/ 2250 h 7711"/>
                  <a:gd name="connsiteX10" fmla="*/ 8480 w 9385"/>
                  <a:gd name="connsiteY10" fmla="*/ 6120 h 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85" h="7711">
                    <a:moveTo>
                      <a:pt x="8480" y="6120"/>
                    </a:moveTo>
                    <a:lnTo>
                      <a:pt x="6312" y="7711"/>
                    </a:lnTo>
                    <a:lnTo>
                      <a:pt x="2470" y="4253"/>
                    </a:lnTo>
                    <a:lnTo>
                      <a:pt x="275" y="4199"/>
                    </a:lnTo>
                    <a:lnTo>
                      <a:pt x="0" y="2278"/>
                    </a:lnTo>
                    <a:lnTo>
                      <a:pt x="2003" y="2278"/>
                    </a:lnTo>
                    <a:lnTo>
                      <a:pt x="2580" y="631"/>
                    </a:lnTo>
                    <a:lnTo>
                      <a:pt x="5132" y="0"/>
                    </a:lnTo>
                    <a:lnTo>
                      <a:pt x="8563" y="823"/>
                    </a:lnTo>
                    <a:lnTo>
                      <a:pt x="9386" y="2250"/>
                    </a:lnTo>
                    <a:lnTo>
                      <a:pt x="8480" y="61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49" name="Freeform: Shape 4648">
                <a:extLst>
                  <a:ext uri="{FF2B5EF4-FFF2-40B4-BE49-F238E27FC236}">
                    <a16:creationId xmlns:a16="http://schemas.microsoft.com/office/drawing/2014/main" id="{7FCF564B-CF8C-8777-3852-3E8B875D9F23}"/>
                  </a:ext>
                </a:extLst>
              </p:cNvPr>
              <p:cNvSpPr/>
              <p:nvPr/>
            </p:nvSpPr>
            <p:spPr>
              <a:xfrm>
                <a:off x="1734844" y="3862186"/>
                <a:ext cx="389" cy="1723"/>
              </a:xfrm>
              <a:custGeom>
                <a:avLst/>
                <a:gdLst>
                  <a:gd name="connsiteX0" fmla="*/ 2058 w 3731"/>
                  <a:gd name="connsiteY0" fmla="*/ 16521 h 16520"/>
                  <a:gd name="connsiteX1" fmla="*/ 1015 w 3731"/>
                  <a:gd name="connsiteY1" fmla="*/ 16521 h 16520"/>
                  <a:gd name="connsiteX2" fmla="*/ 0 w 3731"/>
                  <a:gd name="connsiteY2" fmla="*/ 12239 h 16520"/>
                  <a:gd name="connsiteX3" fmla="*/ 521 w 3731"/>
                  <a:gd name="connsiteY3" fmla="*/ 1811 h 16520"/>
                  <a:gd name="connsiteX4" fmla="*/ 1152 w 3731"/>
                  <a:gd name="connsiteY4" fmla="*/ 0 h 16520"/>
                  <a:gd name="connsiteX5" fmla="*/ 2442 w 3731"/>
                  <a:gd name="connsiteY5" fmla="*/ 1811 h 16520"/>
                  <a:gd name="connsiteX6" fmla="*/ 3732 w 3731"/>
                  <a:gd name="connsiteY6" fmla="*/ 8507 h 16520"/>
                  <a:gd name="connsiteX7" fmla="*/ 2086 w 3731"/>
                  <a:gd name="connsiteY7" fmla="*/ 16521 h 1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1" h="16520">
                    <a:moveTo>
                      <a:pt x="2058" y="16521"/>
                    </a:moveTo>
                    <a:lnTo>
                      <a:pt x="1015" y="16521"/>
                    </a:lnTo>
                    <a:lnTo>
                      <a:pt x="0" y="12239"/>
                    </a:lnTo>
                    <a:lnTo>
                      <a:pt x="521" y="1811"/>
                    </a:lnTo>
                    <a:lnTo>
                      <a:pt x="1152" y="0"/>
                    </a:lnTo>
                    <a:lnTo>
                      <a:pt x="2442" y="1811"/>
                    </a:lnTo>
                    <a:lnTo>
                      <a:pt x="3732" y="8507"/>
                    </a:lnTo>
                    <a:lnTo>
                      <a:pt x="2086" y="165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50" name="Freeform: Shape 4649">
                <a:extLst>
                  <a:ext uri="{FF2B5EF4-FFF2-40B4-BE49-F238E27FC236}">
                    <a16:creationId xmlns:a16="http://schemas.microsoft.com/office/drawing/2014/main" id="{9239E31C-9D4B-E991-3A1B-88CFC0173F29}"/>
                  </a:ext>
                </a:extLst>
              </p:cNvPr>
              <p:cNvSpPr/>
              <p:nvPr/>
            </p:nvSpPr>
            <p:spPr>
              <a:xfrm>
                <a:off x="1773408" y="3860715"/>
                <a:ext cx="572" cy="1096"/>
              </a:xfrm>
              <a:custGeom>
                <a:avLst/>
                <a:gdLst>
                  <a:gd name="connsiteX0" fmla="*/ 3650 w 5488"/>
                  <a:gd name="connsiteY0" fmla="*/ 7629 h 10510"/>
                  <a:gd name="connsiteX1" fmla="*/ 906 w 5488"/>
                  <a:gd name="connsiteY1" fmla="*/ 10511 h 10510"/>
                  <a:gd name="connsiteX2" fmla="*/ 0 w 5488"/>
                  <a:gd name="connsiteY2" fmla="*/ 10099 h 10510"/>
                  <a:gd name="connsiteX3" fmla="*/ 3266 w 5488"/>
                  <a:gd name="connsiteY3" fmla="*/ 0 h 10510"/>
                  <a:gd name="connsiteX4" fmla="*/ 5489 w 5488"/>
                  <a:gd name="connsiteY4" fmla="*/ 412 h 10510"/>
                  <a:gd name="connsiteX5" fmla="*/ 3623 w 5488"/>
                  <a:gd name="connsiteY5" fmla="*/ 7629 h 10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8" h="10510">
                    <a:moveTo>
                      <a:pt x="3650" y="7629"/>
                    </a:moveTo>
                    <a:lnTo>
                      <a:pt x="906" y="10511"/>
                    </a:lnTo>
                    <a:lnTo>
                      <a:pt x="0" y="10099"/>
                    </a:lnTo>
                    <a:lnTo>
                      <a:pt x="3266" y="0"/>
                    </a:lnTo>
                    <a:lnTo>
                      <a:pt x="5489" y="412"/>
                    </a:lnTo>
                    <a:lnTo>
                      <a:pt x="3623" y="76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51" name="Freeform: Shape 4650">
                <a:extLst>
                  <a:ext uri="{FF2B5EF4-FFF2-40B4-BE49-F238E27FC236}">
                    <a16:creationId xmlns:a16="http://schemas.microsoft.com/office/drawing/2014/main" id="{2D88564E-20EE-F0AB-1D0B-24138E3A106E}"/>
                  </a:ext>
                </a:extLst>
              </p:cNvPr>
              <p:cNvSpPr/>
              <p:nvPr/>
            </p:nvSpPr>
            <p:spPr>
              <a:xfrm>
                <a:off x="1772246" y="3861522"/>
                <a:ext cx="521" cy="1196"/>
              </a:xfrm>
              <a:custGeom>
                <a:avLst/>
                <a:gdLst>
                  <a:gd name="connsiteX0" fmla="*/ 0 w 4994"/>
                  <a:gd name="connsiteY0" fmla="*/ 3211 h 11470"/>
                  <a:gd name="connsiteX1" fmla="*/ 4501 w 4994"/>
                  <a:gd name="connsiteY1" fmla="*/ 0 h 11470"/>
                  <a:gd name="connsiteX2" fmla="*/ 4501 w 4994"/>
                  <a:gd name="connsiteY2" fmla="*/ 4967 h 11470"/>
                  <a:gd name="connsiteX3" fmla="*/ 4501 w 4994"/>
                  <a:gd name="connsiteY3" fmla="*/ 6339 h 11470"/>
                  <a:gd name="connsiteX4" fmla="*/ 4803 w 4994"/>
                  <a:gd name="connsiteY4" fmla="*/ 8205 h 11470"/>
                  <a:gd name="connsiteX5" fmla="*/ 4995 w 4994"/>
                  <a:gd name="connsiteY5" fmla="*/ 9276 h 11470"/>
                  <a:gd name="connsiteX6" fmla="*/ 3513 w 4994"/>
                  <a:gd name="connsiteY6" fmla="*/ 11471 h 11470"/>
                  <a:gd name="connsiteX7" fmla="*/ 1400 w 4994"/>
                  <a:gd name="connsiteY7" fmla="*/ 10154 h 11470"/>
                  <a:gd name="connsiteX8" fmla="*/ 1619 w 4994"/>
                  <a:gd name="connsiteY8" fmla="*/ 8205 h 11470"/>
                  <a:gd name="connsiteX9" fmla="*/ 1866 w 4994"/>
                  <a:gd name="connsiteY9" fmla="*/ 6339 h 11470"/>
                  <a:gd name="connsiteX10" fmla="*/ 1043 w 4994"/>
                  <a:gd name="connsiteY10" fmla="*/ 4967 h 11470"/>
                  <a:gd name="connsiteX11" fmla="*/ 0 w 4994"/>
                  <a:gd name="connsiteY11" fmla="*/ 3211 h 1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4" h="11470">
                    <a:moveTo>
                      <a:pt x="0" y="3211"/>
                    </a:moveTo>
                    <a:lnTo>
                      <a:pt x="4501" y="0"/>
                    </a:lnTo>
                    <a:lnTo>
                      <a:pt x="4501" y="4967"/>
                    </a:lnTo>
                    <a:cubicBezTo>
                      <a:pt x="4501" y="4967"/>
                      <a:pt x="4501" y="6339"/>
                      <a:pt x="4501" y="6339"/>
                    </a:cubicBezTo>
                    <a:lnTo>
                      <a:pt x="4803" y="8205"/>
                    </a:lnTo>
                    <a:lnTo>
                      <a:pt x="4995" y="9276"/>
                    </a:lnTo>
                    <a:lnTo>
                      <a:pt x="3513" y="11471"/>
                    </a:lnTo>
                    <a:lnTo>
                      <a:pt x="1400" y="10154"/>
                    </a:lnTo>
                    <a:lnTo>
                      <a:pt x="1619" y="8205"/>
                    </a:lnTo>
                    <a:lnTo>
                      <a:pt x="1866" y="6339"/>
                    </a:lnTo>
                    <a:lnTo>
                      <a:pt x="1043" y="4967"/>
                    </a:lnTo>
                    <a:lnTo>
                      <a:pt x="0"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52" name="Freeform: Shape 4651">
                <a:extLst>
                  <a:ext uri="{FF2B5EF4-FFF2-40B4-BE49-F238E27FC236}">
                    <a16:creationId xmlns:a16="http://schemas.microsoft.com/office/drawing/2014/main" id="{695F4EF1-C485-E011-E6DD-737BDCD3504E}"/>
                  </a:ext>
                </a:extLst>
              </p:cNvPr>
              <p:cNvSpPr/>
              <p:nvPr/>
            </p:nvSpPr>
            <p:spPr>
              <a:xfrm>
                <a:off x="1738748" y="3876592"/>
                <a:ext cx="913" cy="670"/>
              </a:xfrm>
              <a:custGeom>
                <a:avLst/>
                <a:gdLst>
                  <a:gd name="connsiteX0" fmla="*/ 8727 w 8754"/>
                  <a:gd name="connsiteY0" fmla="*/ 3156 h 6421"/>
                  <a:gd name="connsiteX1" fmla="*/ 3815 w 8754"/>
                  <a:gd name="connsiteY1" fmla="*/ 6422 h 6421"/>
                  <a:gd name="connsiteX2" fmla="*/ 0 w 8754"/>
                  <a:gd name="connsiteY2" fmla="*/ 4720 h 6421"/>
                  <a:gd name="connsiteX3" fmla="*/ 3595 w 8754"/>
                  <a:gd name="connsiteY3" fmla="*/ 2470 h 6421"/>
                  <a:gd name="connsiteX4" fmla="*/ 6011 w 8754"/>
                  <a:gd name="connsiteY4" fmla="*/ 0 h 6421"/>
                  <a:gd name="connsiteX5" fmla="*/ 8755 w 8754"/>
                  <a:gd name="connsiteY5" fmla="*/ 659 h 6421"/>
                  <a:gd name="connsiteX6" fmla="*/ 8755 w 8754"/>
                  <a:gd name="connsiteY6" fmla="*/ 3128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54" h="6421">
                    <a:moveTo>
                      <a:pt x="8727" y="3156"/>
                    </a:moveTo>
                    <a:lnTo>
                      <a:pt x="3815" y="6422"/>
                    </a:lnTo>
                    <a:lnTo>
                      <a:pt x="0" y="4720"/>
                    </a:lnTo>
                    <a:lnTo>
                      <a:pt x="3595" y="2470"/>
                    </a:lnTo>
                    <a:lnTo>
                      <a:pt x="6011" y="0"/>
                    </a:lnTo>
                    <a:lnTo>
                      <a:pt x="8755" y="659"/>
                    </a:lnTo>
                    <a:lnTo>
                      <a:pt x="8755" y="31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53" name="Freeform: Shape 4652">
                <a:extLst>
                  <a:ext uri="{FF2B5EF4-FFF2-40B4-BE49-F238E27FC236}">
                    <a16:creationId xmlns:a16="http://schemas.microsoft.com/office/drawing/2014/main" id="{000E5977-5305-B18E-5BA4-B6DF58BED47A}"/>
                  </a:ext>
                </a:extLst>
              </p:cNvPr>
              <p:cNvSpPr/>
              <p:nvPr/>
            </p:nvSpPr>
            <p:spPr>
              <a:xfrm>
                <a:off x="1765543" y="3846850"/>
                <a:ext cx="1297" cy="449"/>
              </a:xfrm>
              <a:custGeom>
                <a:avLst/>
                <a:gdLst>
                  <a:gd name="connsiteX0" fmla="*/ 0 w 12431"/>
                  <a:gd name="connsiteY0" fmla="*/ 2936 h 4308"/>
                  <a:gd name="connsiteX1" fmla="*/ 521 w 12431"/>
                  <a:gd name="connsiteY1" fmla="*/ 1180 h 4308"/>
                  <a:gd name="connsiteX2" fmla="*/ 2937 w 12431"/>
                  <a:gd name="connsiteY2" fmla="*/ 1976 h 4308"/>
                  <a:gd name="connsiteX3" fmla="*/ 5653 w 12431"/>
                  <a:gd name="connsiteY3" fmla="*/ 851 h 4308"/>
                  <a:gd name="connsiteX4" fmla="*/ 8260 w 12431"/>
                  <a:gd name="connsiteY4" fmla="*/ 1400 h 4308"/>
                  <a:gd name="connsiteX5" fmla="*/ 11663 w 12431"/>
                  <a:gd name="connsiteY5" fmla="*/ 0 h 4308"/>
                  <a:gd name="connsiteX6" fmla="*/ 12432 w 12431"/>
                  <a:gd name="connsiteY6" fmla="*/ 1564 h 4308"/>
                  <a:gd name="connsiteX7" fmla="*/ 11498 w 12431"/>
                  <a:gd name="connsiteY7" fmla="*/ 2607 h 4308"/>
                  <a:gd name="connsiteX8" fmla="*/ 5434 w 12431"/>
                  <a:gd name="connsiteY8" fmla="*/ 4034 h 4308"/>
                  <a:gd name="connsiteX9" fmla="*/ 2442 w 12431"/>
                  <a:gd name="connsiteY9" fmla="*/ 4308 h 4308"/>
                  <a:gd name="connsiteX10" fmla="*/ 0 w 12431"/>
                  <a:gd name="connsiteY10" fmla="*/ 2936 h 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1" h="4308">
                    <a:moveTo>
                      <a:pt x="0" y="2936"/>
                    </a:moveTo>
                    <a:lnTo>
                      <a:pt x="521" y="1180"/>
                    </a:lnTo>
                    <a:lnTo>
                      <a:pt x="2937" y="1976"/>
                    </a:lnTo>
                    <a:lnTo>
                      <a:pt x="5653" y="851"/>
                    </a:lnTo>
                    <a:lnTo>
                      <a:pt x="8260" y="1400"/>
                    </a:lnTo>
                    <a:lnTo>
                      <a:pt x="11663" y="0"/>
                    </a:lnTo>
                    <a:lnTo>
                      <a:pt x="12432" y="1564"/>
                    </a:lnTo>
                    <a:lnTo>
                      <a:pt x="11498" y="2607"/>
                    </a:lnTo>
                    <a:lnTo>
                      <a:pt x="5434" y="4034"/>
                    </a:lnTo>
                    <a:lnTo>
                      <a:pt x="2442" y="4308"/>
                    </a:lnTo>
                    <a:lnTo>
                      <a:pt x="0" y="29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54" name="Freeform: Shape 4653">
                <a:extLst>
                  <a:ext uri="{FF2B5EF4-FFF2-40B4-BE49-F238E27FC236}">
                    <a16:creationId xmlns:a16="http://schemas.microsoft.com/office/drawing/2014/main" id="{8291CA87-EF23-4A24-CD8C-15093EA2B0B7}"/>
                  </a:ext>
                </a:extLst>
              </p:cNvPr>
              <p:cNvSpPr/>
              <p:nvPr/>
            </p:nvSpPr>
            <p:spPr>
              <a:xfrm>
                <a:off x="1738734" y="3845530"/>
                <a:ext cx="1065" cy="524"/>
              </a:xfrm>
              <a:custGeom>
                <a:avLst/>
                <a:gdLst>
                  <a:gd name="connsiteX0" fmla="*/ 4363 w 10208"/>
                  <a:gd name="connsiteY0" fmla="*/ 5022 h 5021"/>
                  <a:gd name="connsiteX1" fmla="*/ 0 w 10208"/>
                  <a:gd name="connsiteY1" fmla="*/ 5022 h 5021"/>
                  <a:gd name="connsiteX2" fmla="*/ 1674 w 10208"/>
                  <a:gd name="connsiteY2" fmla="*/ 2415 h 5021"/>
                  <a:gd name="connsiteX3" fmla="*/ 5653 w 10208"/>
                  <a:gd name="connsiteY3" fmla="*/ 357 h 5021"/>
                  <a:gd name="connsiteX4" fmla="*/ 9852 w 10208"/>
                  <a:gd name="connsiteY4" fmla="*/ 0 h 5021"/>
                  <a:gd name="connsiteX5" fmla="*/ 10209 w 10208"/>
                  <a:gd name="connsiteY5" fmla="*/ 933 h 5021"/>
                  <a:gd name="connsiteX6" fmla="*/ 4418 w 10208"/>
                  <a:gd name="connsiteY6" fmla="*/ 5022 h 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08" h="5021">
                    <a:moveTo>
                      <a:pt x="4363" y="5022"/>
                    </a:moveTo>
                    <a:lnTo>
                      <a:pt x="0" y="5022"/>
                    </a:lnTo>
                    <a:lnTo>
                      <a:pt x="1674" y="2415"/>
                    </a:lnTo>
                    <a:lnTo>
                      <a:pt x="5653" y="357"/>
                    </a:lnTo>
                    <a:lnTo>
                      <a:pt x="9852" y="0"/>
                    </a:lnTo>
                    <a:lnTo>
                      <a:pt x="10209" y="933"/>
                    </a:lnTo>
                    <a:lnTo>
                      <a:pt x="4418" y="50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55" name="Freeform: Shape 4654">
                <a:extLst>
                  <a:ext uri="{FF2B5EF4-FFF2-40B4-BE49-F238E27FC236}">
                    <a16:creationId xmlns:a16="http://schemas.microsoft.com/office/drawing/2014/main" id="{ABFEAA69-063D-3465-63AD-50EDA0560C10}"/>
                  </a:ext>
                </a:extLst>
              </p:cNvPr>
              <p:cNvSpPr/>
              <p:nvPr/>
            </p:nvSpPr>
            <p:spPr>
              <a:xfrm>
                <a:off x="1756091" y="3847909"/>
                <a:ext cx="1005" cy="509"/>
              </a:xfrm>
              <a:custGeom>
                <a:avLst/>
                <a:gdLst>
                  <a:gd name="connsiteX0" fmla="*/ 0 w 9632"/>
                  <a:gd name="connsiteY0" fmla="*/ 1647 h 4884"/>
                  <a:gd name="connsiteX1" fmla="*/ 1262 w 9632"/>
                  <a:gd name="connsiteY1" fmla="*/ 0 h 4884"/>
                  <a:gd name="connsiteX2" fmla="*/ 3595 w 9632"/>
                  <a:gd name="connsiteY2" fmla="*/ 1619 h 4884"/>
                  <a:gd name="connsiteX3" fmla="*/ 9633 w 9632"/>
                  <a:gd name="connsiteY3" fmla="*/ 2964 h 4884"/>
                  <a:gd name="connsiteX4" fmla="*/ 8974 w 9632"/>
                  <a:gd name="connsiteY4" fmla="*/ 4885 h 4884"/>
                  <a:gd name="connsiteX5" fmla="*/ 5571 w 9632"/>
                  <a:gd name="connsiteY5" fmla="*/ 3595 h 4884"/>
                  <a:gd name="connsiteX6" fmla="*/ 3705 w 9632"/>
                  <a:gd name="connsiteY6" fmla="*/ 4336 h 4884"/>
                  <a:gd name="connsiteX7" fmla="*/ 2470 w 9632"/>
                  <a:gd name="connsiteY7" fmla="*/ 3156 h 4884"/>
                  <a:gd name="connsiteX8" fmla="*/ 1070 w 9632"/>
                  <a:gd name="connsiteY8" fmla="*/ 4116 h 4884"/>
                  <a:gd name="connsiteX9" fmla="*/ 27 w 9632"/>
                  <a:gd name="connsiteY9" fmla="*/ 1619 h 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32" h="4884">
                    <a:moveTo>
                      <a:pt x="0" y="1647"/>
                    </a:moveTo>
                    <a:lnTo>
                      <a:pt x="1262" y="0"/>
                    </a:lnTo>
                    <a:lnTo>
                      <a:pt x="3595" y="1619"/>
                    </a:lnTo>
                    <a:lnTo>
                      <a:pt x="9633" y="2964"/>
                    </a:lnTo>
                    <a:lnTo>
                      <a:pt x="8974" y="4885"/>
                    </a:lnTo>
                    <a:lnTo>
                      <a:pt x="5571" y="3595"/>
                    </a:lnTo>
                    <a:lnTo>
                      <a:pt x="3705" y="4336"/>
                    </a:lnTo>
                    <a:lnTo>
                      <a:pt x="2470" y="3156"/>
                    </a:lnTo>
                    <a:lnTo>
                      <a:pt x="1070" y="4116"/>
                    </a:lnTo>
                    <a:lnTo>
                      <a:pt x="27"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56" name="Freeform: Shape 4655">
                <a:extLst>
                  <a:ext uri="{FF2B5EF4-FFF2-40B4-BE49-F238E27FC236}">
                    <a16:creationId xmlns:a16="http://schemas.microsoft.com/office/drawing/2014/main" id="{C21621C1-96BF-9E4C-674A-83F07770EF1C}"/>
                  </a:ext>
                </a:extLst>
              </p:cNvPr>
              <p:cNvSpPr/>
              <p:nvPr/>
            </p:nvSpPr>
            <p:spPr>
              <a:xfrm>
                <a:off x="1759203" y="3855179"/>
                <a:ext cx="1099" cy="461"/>
              </a:xfrm>
              <a:custGeom>
                <a:avLst/>
                <a:gdLst>
                  <a:gd name="connsiteX0" fmla="*/ 0 w 10538"/>
                  <a:gd name="connsiteY0" fmla="*/ 4363 h 4418"/>
                  <a:gd name="connsiteX1" fmla="*/ 1537 w 10538"/>
                  <a:gd name="connsiteY1" fmla="*/ 439 h 4418"/>
                  <a:gd name="connsiteX2" fmla="*/ 4501 w 10538"/>
                  <a:gd name="connsiteY2" fmla="*/ 1180 h 4418"/>
                  <a:gd name="connsiteX3" fmla="*/ 5489 w 10538"/>
                  <a:gd name="connsiteY3" fmla="*/ 0 h 4418"/>
                  <a:gd name="connsiteX4" fmla="*/ 9001 w 10538"/>
                  <a:gd name="connsiteY4" fmla="*/ 1455 h 4418"/>
                  <a:gd name="connsiteX5" fmla="*/ 10428 w 10538"/>
                  <a:gd name="connsiteY5" fmla="*/ 521 h 4418"/>
                  <a:gd name="connsiteX6" fmla="*/ 10538 w 10538"/>
                  <a:gd name="connsiteY6" fmla="*/ 3156 h 4418"/>
                  <a:gd name="connsiteX7" fmla="*/ 8315 w 10538"/>
                  <a:gd name="connsiteY7" fmla="*/ 2470 h 4418"/>
                  <a:gd name="connsiteX8" fmla="*/ 7904 w 10538"/>
                  <a:gd name="connsiteY8" fmla="*/ 4281 h 4418"/>
                  <a:gd name="connsiteX9" fmla="*/ 5928 w 10538"/>
                  <a:gd name="connsiteY9" fmla="*/ 2168 h 4418"/>
                  <a:gd name="connsiteX10" fmla="*/ 4446 w 10538"/>
                  <a:gd name="connsiteY10" fmla="*/ 3897 h 4418"/>
                  <a:gd name="connsiteX11" fmla="*/ 27 w 10538"/>
                  <a:gd name="connsiteY11" fmla="*/ 4418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38" h="4418">
                    <a:moveTo>
                      <a:pt x="0" y="4363"/>
                    </a:moveTo>
                    <a:lnTo>
                      <a:pt x="1537" y="439"/>
                    </a:lnTo>
                    <a:lnTo>
                      <a:pt x="4501" y="1180"/>
                    </a:lnTo>
                    <a:lnTo>
                      <a:pt x="5489" y="0"/>
                    </a:lnTo>
                    <a:lnTo>
                      <a:pt x="9001" y="1455"/>
                    </a:lnTo>
                    <a:lnTo>
                      <a:pt x="10428" y="521"/>
                    </a:lnTo>
                    <a:lnTo>
                      <a:pt x="10538" y="3156"/>
                    </a:lnTo>
                    <a:lnTo>
                      <a:pt x="8315" y="2470"/>
                    </a:lnTo>
                    <a:lnTo>
                      <a:pt x="7904" y="4281"/>
                    </a:lnTo>
                    <a:lnTo>
                      <a:pt x="5928" y="2168"/>
                    </a:lnTo>
                    <a:lnTo>
                      <a:pt x="4446" y="3897"/>
                    </a:lnTo>
                    <a:lnTo>
                      <a:pt x="27" y="44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57" name="Freeform: Shape 4656">
                <a:extLst>
                  <a:ext uri="{FF2B5EF4-FFF2-40B4-BE49-F238E27FC236}">
                    <a16:creationId xmlns:a16="http://schemas.microsoft.com/office/drawing/2014/main" id="{1D38D795-AC87-DBD9-BDDB-BB753542A616}"/>
                  </a:ext>
                </a:extLst>
              </p:cNvPr>
              <p:cNvSpPr/>
              <p:nvPr/>
            </p:nvSpPr>
            <p:spPr>
              <a:xfrm>
                <a:off x="1731656" y="3870481"/>
                <a:ext cx="512" cy="907"/>
              </a:xfrm>
              <a:custGeom>
                <a:avLst/>
                <a:gdLst>
                  <a:gd name="connsiteX0" fmla="*/ 2305 w 4912"/>
                  <a:gd name="connsiteY0" fmla="*/ 4666 h 8699"/>
                  <a:gd name="connsiteX1" fmla="*/ 1674 w 4912"/>
                  <a:gd name="connsiteY1" fmla="*/ 8700 h 8699"/>
                  <a:gd name="connsiteX2" fmla="*/ 220 w 4912"/>
                  <a:gd name="connsiteY2" fmla="*/ 7657 h 8699"/>
                  <a:gd name="connsiteX3" fmla="*/ 0 w 4912"/>
                  <a:gd name="connsiteY3" fmla="*/ 3485 h 8699"/>
                  <a:gd name="connsiteX4" fmla="*/ 1674 w 4912"/>
                  <a:gd name="connsiteY4" fmla="*/ 0 h 8699"/>
                  <a:gd name="connsiteX5" fmla="*/ 4721 w 4912"/>
                  <a:gd name="connsiteY5" fmla="*/ 1537 h 8699"/>
                  <a:gd name="connsiteX6" fmla="*/ 4912 w 4912"/>
                  <a:gd name="connsiteY6" fmla="*/ 3485 h 8699"/>
                  <a:gd name="connsiteX7" fmla="*/ 2333 w 4912"/>
                  <a:gd name="connsiteY7" fmla="*/ 4666 h 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2" h="8699">
                    <a:moveTo>
                      <a:pt x="2305" y="4666"/>
                    </a:moveTo>
                    <a:lnTo>
                      <a:pt x="1674" y="8700"/>
                    </a:lnTo>
                    <a:lnTo>
                      <a:pt x="220" y="7657"/>
                    </a:lnTo>
                    <a:lnTo>
                      <a:pt x="0" y="3485"/>
                    </a:lnTo>
                    <a:lnTo>
                      <a:pt x="1674" y="0"/>
                    </a:lnTo>
                    <a:lnTo>
                      <a:pt x="4721" y="1537"/>
                    </a:lnTo>
                    <a:lnTo>
                      <a:pt x="4912" y="3485"/>
                    </a:lnTo>
                    <a:lnTo>
                      <a:pt x="2333" y="46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58" name="Freeform: Shape 4657">
                <a:extLst>
                  <a:ext uri="{FF2B5EF4-FFF2-40B4-BE49-F238E27FC236}">
                    <a16:creationId xmlns:a16="http://schemas.microsoft.com/office/drawing/2014/main" id="{3FAA20D4-93CD-F3B2-38DB-B4149254AD54}"/>
                  </a:ext>
                </a:extLst>
              </p:cNvPr>
              <p:cNvSpPr/>
              <p:nvPr/>
            </p:nvSpPr>
            <p:spPr>
              <a:xfrm>
                <a:off x="1736252" y="3866814"/>
                <a:ext cx="850" cy="449"/>
              </a:xfrm>
              <a:custGeom>
                <a:avLst/>
                <a:gdLst>
                  <a:gd name="connsiteX0" fmla="*/ 0 w 8150"/>
                  <a:gd name="connsiteY0" fmla="*/ 1180 h 4308"/>
                  <a:gd name="connsiteX1" fmla="*/ 1262 w 8150"/>
                  <a:gd name="connsiteY1" fmla="*/ 0 h 4308"/>
                  <a:gd name="connsiteX2" fmla="*/ 5516 w 8150"/>
                  <a:gd name="connsiteY2" fmla="*/ 521 h 4308"/>
                  <a:gd name="connsiteX3" fmla="*/ 8150 w 8150"/>
                  <a:gd name="connsiteY3" fmla="*/ 2607 h 4308"/>
                  <a:gd name="connsiteX4" fmla="*/ 5873 w 8150"/>
                  <a:gd name="connsiteY4" fmla="*/ 4308 h 4308"/>
                  <a:gd name="connsiteX5" fmla="*/ 4034 w 8150"/>
                  <a:gd name="connsiteY5" fmla="*/ 2497 h 4308"/>
                  <a:gd name="connsiteX6" fmla="*/ 0 w 8150"/>
                  <a:gd name="connsiteY6" fmla="*/ 1180 h 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0" h="4308">
                    <a:moveTo>
                      <a:pt x="0" y="1180"/>
                    </a:moveTo>
                    <a:lnTo>
                      <a:pt x="1262" y="0"/>
                    </a:lnTo>
                    <a:lnTo>
                      <a:pt x="5516" y="521"/>
                    </a:lnTo>
                    <a:lnTo>
                      <a:pt x="8150" y="2607"/>
                    </a:lnTo>
                    <a:lnTo>
                      <a:pt x="5873" y="4308"/>
                    </a:lnTo>
                    <a:lnTo>
                      <a:pt x="4034" y="2497"/>
                    </a:lnTo>
                    <a:lnTo>
                      <a:pt x="0"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59" name="Freeform: Shape 4658">
                <a:extLst>
                  <a:ext uri="{FF2B5EF4-FFF2-40B4-BE49-F238E27FC236}">
                    <a16:creationId xmlns:a16="http://schemas.microsoft.com/office/drawing/2014/main" id="{65302634-81A6-985F-ACB3-ECDADF6EF965}"/>
                  </a:ext>
                </a:extLst>
              </p:cNvPr>
              <p:cNvSpPr/>
              <p:nvPr/>
            </p:nvSpPr>
            <p:spPr>
              <a:xfrm>
                <a:off x="1766985" y="3869299"/>
                <a:ext cx="698" cy="518"/>
              </a:xfrm>
              <a:custGeom>
                <a:avLst/>
                <a:gdLst>
                  <a:gd name="connsiteX0" fmla="*/ 27 w 6695"/>
                  <a:gd name="connsiteY0" fmla="*/ 2717 h 4967"/>
                  <a:gd name="connsiteX1" fmla="*/ 3375 w 6695"/>
                  <a:gd name="connsiteY1" fmla="*/ 0 h 4967"/>
                  <a:gd name="connsiteX2" fmla="*/ 6696 w 6695"/>
                  <a:gd name="connsiteY2" fmla="*/ 2772 h 4967"/>
                  <a:gd name="connsiteX3" fmla="*/ 2086 w 6695"/>
                  <a:gd name="connsiteY3" fmla="*/ 4967 h 4967"/>
                  <a:gd name="connsiteX4" fmla="*/ 494 w 6695"/>
                  <a:gd name="connsiteY4" fmla="*/ 4666 h 4967"/>
                  <a:gd name="connsiteX5" fmla="*/ 0 w 6695"/>
                  <a:gd name="connsiteY5" fmla="*/ 2717 h 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5" h="4967">
                    <a:moveTo>
                      <a:pt x="27" y="2717"/>
                    </a:moveTo>
                    <a:lnTo>
                      <a:pt x="3375" y="0"/>
                    </a:lnTo>
                    <a:lnTo>
                      <a:pt x="6696" y="2772"/>
                    </a:lnTo>
                    <a:lnTo>
                      <a:pt x="2086" y="4967"/>
                    </a:lnTo>
                    <a:lnTo>
                      <a:pt x="494" y="4666"/>
                    </a:lnTo>
                    <a:lnTo>
                      <a:pt x="0"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60" name="Freeform: Shape 4659">
                <a:extLst>
                  <a:ext uri="{FF2B5EF4-FFF2-40B4-BE49-F238E27FC236}">
                    <a16:creationId xmlns:a16="http://schemas.microsoft.com/office/drawing/2014/main" id="{B948628A-EC48-3BAD-C1F0-962C1032D304}"/>
                  </a:ext>
                </a:extLst>
              </p:cNvPr>
              <p:cNvSpPr/>
              <p:nvPr/>
            </p:nvSpPr>
            <p:spPr>
              <a:xfrm>
                <a:off x="1743629" y="3875642"/>
                <a:ext cx="561" cy="627"/>
              </a:xfrm>
              <a:custGeom>
                <a:avLst/>
                <a:gdLst>
                  <a:gd name="connsiteX0" fmla="*/ 3211 w 5378"/>
                  <a:gd name="connsiteY0" fmla="*/ 4693 h 6010"/>
                  <a:gd name="connsiteX1" fmla="*/ 3540 w 5378"/>
                  <a:gd name="connsiteY1" fmla="*/ 5489 h 6010"/>
                  <a:gd name="connsiteX2" fmla="*/ 247 w 5378"/>
                  <a:gd name="connsiteY2" fmla="*/ 6010 h 6010"/>
                  <a:gd name="connsiteX3" fmla="*/ 0 w 5378"/>
                  <a:gd name="connsiteY3" fmla="*/ 4830 h 6010"/>
                  <a:gd name="connsiteX4" fmla="*/ 2360 w 5378"/>
                  <a:gd name="connsiteY4" fmla="*/ 2415 h 6010"/>
                  <a:gd name="connsiteX5" fmla="*/ 2909 w 5378"/>
                  <a:gd name="connsiteY5" fmla="*/ 576 h 6010"/>
                  <a:gd name="connsiteX6" fmla="*/ 4583 w 5378"/>
                  <a:gd name="connsiteY6" fmla="*/ 0 h 6010"/>
                  <a:gd name="connsiteX7" fmla="*/ 5379 w 5378"/>
                  <a:gd name="connsiteY7" fmla="*/ 1976 h 6010"/>
                  <a:gd name="connsiteX8" fmla="*/ 3238 w 5378"/>
                  <a:gd name="connsiteY8" fmla="*/ 4693 h 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8" h="6010">
                    <a:moveTo>
                      <a:pt x="3211" y="4693"/>
                    </a:moveTo>
                    <a:lnTo>
                      <a:pt x="3540" y="5489"/>
                    </a:lnTo>
                    <a:lnTo>
                      <a:pt x="247" y="6010"/>
                    </a:lnTo>
                    <a:lnTo>
                      <a:pt x="0" y="4830"/>
                    </a:lnTo>
                    <a:lnTo>
                      <a:pt x="2360" y="2415"/>
                    </a:lnTo>
                    <a:lnTo>
                      <a:pt x="2909" y="576"/>
                    </a:lnTo>
                    <a:lnTo>
                      <a:pt x="4583" y="0"/>
                    </a:lnTo>
                    <a:lnTo>
                      <a:pt x="5379" y="1976"/>
                    </a:lnTo>
                    <a:lnTo>
                      <a:pt x="3238"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61" name="Freeform: Shape 4660">
                <a:extLst>
                  <a:ext uri="{FF2B5EF4-FFF2-40B4-BE49-F238E27FC236}">
                    <a16:creationId xmlns:a16="http://schemas.microsoft.com/office/drawing/2014/main" id="{471BDB03-5E6C-0945-4197-F79252972F6D}"/>
                  </a:ext>
                </a:extLst>
              </p:cNvPr>
              <p:cNvSpPr/>
              <p:nvPr/>
            </p:nvSpPr>
            <p:spPr>
              <a:xfrm>
                <a:off x="1755971" y="3842874"/>
                <a:ext cx="458" cy="724"/>
              </a:xfrm>
              <a:custGeom>
                <a:avLst/>
                <a:gdLst>
                  <a:gd name="connsiteX0" fmla="*/ 2332 w 4390"/>
                  <a:gd name="connsiteY0" fmla="*/ 2964 h 6943"/>
                  <a:gd name="connsiteX1" fmla="*/ 3375 w 4390"/>
                  <a:gd name="connsiteY1" fmla="*/ 5351 h 6943"/>
                  <a:gd name="connsiteX2" fmla="*/ 1400 w 4390"/>
                  <a:gd name="connsiteY2" fmla="*/ 6943 h 6943"/>
                  <a:gd name="connsiteX3" fmla="*/ 0 w 4390"/>
                  <a:gd name="connsiteY3" fmla="*/ 5187 h 6943"/>
                  <a:gd name="connsiteX4" fmla="*/ 1372 w 4390"/>
                  <a:gd name="connsiteY4" fmla="*/ 3430 h 6943"/>
                  <a:gd name="connsiteX5" fmla="*/ 109 w 4390"/>
                  <a:gd name="connsiteY5" fmla="*/ 1647 h 6943"/>
                  <a:gd name="connsiteX6" fmla="*/ 3046 w 4390"/>
                  <a:gd name="connsiteY6" fmla="*/ 0 h 6943"/>
                  <a:gd name="connsiteX7" fmla="*/ 4390 w 4390"/>
                  <a:gd name="connsiteY7" fmla="*/ 2141 h 6943"/>
                  <a:gd name="connsiteX8" fmla="*/ 2360 w 4390"/>
                  <a:gd name="connsiteY8" fmla="*/ 2909 h 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0" h="6943">
                    <a:moveTo>
                      <a:pt x="2332" y="2964"/>
                    </a:moveTo>
                    <a:lnTo>
                      <a:pt x="3375" y="5351"/>
                    </a:lnTo>
                    <a:lnTo>
                      <a:pt x="1400" y="6943"/>
                    </a:lnTo>
                    <a:lnTo>
                      <a:pt x="0" y="5187"/>
                    </a:lnTo>
                    <a:lnTo>
                      <a:pt x="1372" y="3430"/>
                    </a:lnTo>
                    <a:lnTo>
                      <a:pt x="109" y="1647"/>
                    </a:lnTo>
                    <a:lnTo>
                      <a:pt x="3046" y="0"/>
                    </a:lnTo>
                    <a:lnTo>
                      <a:pt x="4390" y="2141"/>
                    </a:lnTo>
                    <a:lnTo>
                      <a:pt x="2360"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62" name="Freeform: Shape 4661">
                <a:extLst>
                  <a:ext uri="{FF2B5EF4-FFF2-40B4-BE49-F238E27FC236}">
                    <a16:creationId xmlns:a16="http://schemas.microsoft.com/office/drawing/2014/main" id="{83894B99-1152-3502-F657-223B2CFDD252}"/>
                  </a:ext>
                </a:extLst>
              </p:cNvPr>
              <p:cNvSpPr/>
              <p:nvPr/>
            </p:nvSpPr>
            <p:spPr>
              <a:xfrm>
                <a:off x="1755851" y="3841798"/>
                <a:ext cx="481" cy="673"/>
              </a:xfrm>
              <a:custGeom>
                <a:avLst/>
                <a:gdLst>
                  <a:gd name="connsiteX0" fmla="*/ 4171 w 4610"/>
                  <a:gd name="connsiteY0" fmla="*/ 6422 h 6449"/>
                  <a:gd name="connsiteX1" fmla="*/ 2854 w 4610"/>
                  <a:gd name="connsiteY1" fmla="*/ 6422 h 6449"/>
                  <a:gd name="connsiteX2" fmla="*/ 0 w 4610"/>
                  <a:gd name="connsiteY2" fmla="*/ 1839 h 6449"/>
                  <a:gd name="connsiteX3" fmla="*/ 1043 w 4610"/>
                  <a:gd name="connsiteY3" fmla="*/ 0 h 6449"/>
                  <a:gd name="connsiteX4" fmla="*/ 4611 w 4610"/>
                  <a:gd name="connsiteY4" fmla="*/ 4611 h 6449"/>
                  <a:gd name="connsiteX5" fmla="*/ 4144 w 4610"/>
                  <a:gd name="connsiteY5" fmla="*/ 6449 h 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0" h="6449">
                    <a:moveTo>
                      <a:pt x="4171" y="6422"/>
                    </a:moveTo>
                    <a:lnTo>
                      <a:pt x="2854" y="6422"/>
                    </a:lnTo>
                    <a:lnTo>
                      <a:pt x="0" y="1839"/>
                    </a:lnTo>
                    <a:lnTo>
                      <a:pt x="1043" y="0"/>
                    </a:lnTo>
                    <a:lnTo>
                      <a:pt x="4611" y="4611"/>
                    </a:lnTo>
                    <a:lnTo>
                      <a:pt x="4144" y="64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63" name="Freeform: Shape 4662">
                <a:extLst>
                  <a:ext uri="{FF2B5EF4-FFF2-40B4-BE49-F238E27FC236}">
                    <a16:creationId xmlns:a16="http://schemas.microsoft.com/office/drawing/2014/main" id="{6EC45867-6D1C-BA94-E0E2-94A22BB41D3E}"/>
                  </a:ext>
                </a:extLst>
              </p:cNvPr>
              <p:cNvSpPr/>
              <p:nvPr/>
            </p:nvSpPr>
            <p:spPr>
              <a:xfrm>
                <a:off x="1744716" y="3850155"/>
                <a:ext cx="627" cy="481"/>
              </a:xfrm>
              <a:custGeom>
                <a:avLst/>
                <a:gdLst>
                  <a:gd name="connsiteX0" fmla="*/ 5982 w 6009"/>
                  <a:gd name="connsiteY0" fmla="*/ 4611 h 4610"/>
                  <a:gd name="connsiteX1" fmla="*/ 3924 w 6009"/>
                  <a:gd name="connsiteY1" fmla="*/ 4007 h 4610"/>
                  <a:gd name="connsiteX2" fmla="*/ 3705 w 6009"/>
                  <a:gd name="connsiteY2" fmla="*/ 2058 h 4610"/>
                  <a:gd name="connsiteX3" fmla="*/ 1537 w 6009"/>
                  <a:gd name="connsiteY3" fmla="*/ 2937 h 4610"/>
                  <a:gd name="connsiteX4" fmla="*/ 0 w 6009"/>
                  <a:gd name="connsiteY4" fmla="*/ 1400 h 4610"/>
                  <a:gd name="connsiteX5" fmla="*/ 1207 w 6009"/>
                  <a:gd name="connsiteY5" fmla="*/ 0 h 4610"/>
                  <a:gd name="connsiteX6" fmla="*/ 1729 w 6009"/>
                  <a:gd name="connsiteY6" fmla="*/ 1098 h 4610"/>
                  <a:gd name="connsiteX7" fmla="*/ 3897 w 6009"/>
                  <a:gd name="connsiteY7" fmla="*/ 494 h 4610"/>
                  <a:gd name="connsiteX8" fmla="*/ 5653 w 6009"/>
                  <a:gd name="connsiteY8" fmla="*/ 2442 h 4610"/>
                  <a:gd name="connsiteX9" fmla="*/ 6010 w 6009"/>
                  <a:gd name="connsiteY9" fmla="*/ 4583 h 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9" h="4610">
                    <a:moveTo>
                      <a:pt x="5982" y="4611"/>
                    </a:moveTo>
                    <a:lnTo>
                      <a:pt x="3924" y="4007"/>
                    </a:lnTo>
                    <a:lnTo>
                      <a:pt x="3705" y="2058"/>
                    </a:lnTo>
                    <a:lnTo>
                      <a:pt x="1537" y="2937"/>
                    </a:lnTo>
                    <a:lnTo>
                      <a:pt x="0" y="1400"/>
                    </a:lnTo>
                    <a:lnTo>
                      <a:pt x="1207" y="0"/>
                    </a:lnTo>
                    <a:lnTo>
                      <a:pt x="1729" y="1098"/>
                    </a:lnTo>
                    <a:lnTo>
                      <a:pt x="3897" y="494"/>
                    </a:lnTo>
                    <a:lnTo>
                      <a:pt x="5653" y="2442"/>
                    </a:lnTo>
                    <a:lnTo>
                      <a:pt x="6010" y="45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64" name="Freeform: Shape 4663">
                <a:extLst>
                  <a:ext uri="{FF2B5EF4-FFF2-40B4-BE49-F238E27FC236}">
                    <a16:creationId xmlns:a16="http://schemas.microsoft.com/office/drawing/2014/main" id="{AB82BA60-685C-B57E-EC67-4BFD90AAE6F5}"/>
                  </a:ext>
                </a:extLst>
              </p:cNvPr>
              <p:cNvSpPr/>
              <p:nvPr/>
            </p:nvSpPr>
            <p:spPr>
              <a:xfrm>
                <a:off x="1778661" y="3863792"/>
                <a:ext cx="535" cy="552"/>
              </a:xfrm>
              <a:custGeom>
                <a:avLst/>
                <a:gdLst>
                  <a:gd name="connsiteX0" fmla="*/ 0 w 5131"/>
                  <a:gd name="connsiteY0" fmla="*/ 3540 h 5296"/>
                  <a:gd name="connsiteX1" fmla="*/ 2689 w 5131"/>
                  <a:gd name="connsiteY1" fmla="*/ 165 h 5296"/>
                  <a:gd name="connsiteX2" fmla="*/ 4857 w 5131"/>
                  <a:gd name="connsiteY2" fmla="*/ 0 h 5296"/>
                  <a:gd name="connsiteX3" fmla="*/ 5131 w 5131"/>
                  <a:gd name="connsiteY3" fmla="*/ 1098 h 5296"/>
                  <a:gd name="connsiteX4" fmla="*/ 3403 w 5131"/>
                  <a:gd name="connsiteY4" fmla="*/ 5297 h 5296"/>
                  <a:gd name="connsiteX5" fmla="*/ 0 w 5131"/>
                  <a:gd name="connsiteY5" fmla="*/ 3540 h 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1" h="5296">
                    <a:moveTo>
                      <a:pt x="0" y="3540"/>
                    </a:moveTo>
                    <a:lnTo>
                      <a:pt x="2689" y="165"/>
                    </a:lnTo>
                    <a:lnTo>
                      <a:pt x="4857" y="0"/>
                    </a:lnTo>
                    <a:lnTo>
                      <a:pt x="5131" y="1098"/>
                    </a:lnTo>
                    <a:lnTo>
                      <a:pt x="3403" y="5297"/>
                    </a:lnTo>
                    <a:lnTo>
                      <a:pt x="0"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65" name="Freeform: Shape 4664">
                <a:extLst>
                  <a:ext uri="{FF2B5EF4-FFF2-40B4-BE49-F238E27FC236}">
                    <a16:creationId xmlns:a16="http://schemas.microsoft.com/office/drawing/2014/main" id="{8E295723-238D-6914-B81F-D2761D98F27E}"/>
                  </a:ext>
                </a:extLst>
              </p:cNvPr>
              <p:cNvSpPr/>
              <p:nvPr/>
            </p:nvSpPr>
            <p:spPr>
              <a:xfrm>
                <a:off x="1778936" y="3847342"/>
                <a:ext cx="475" cy="590"/>
              </a:xfrm>
              <a:custGeom>
                <a:avLst/>
                <a:gdLst>
                  <a:gd name="connsiteX0" fmla="*/ 4500 w 4555"/>
                  <a:gd name="connsiteY0" fmla="*/ 5351 h 5653"/>
                  <a:gd name="connsiteX1" fmla="*/ 1701 w 4555"/>
                  <a:gd name="connsiteY1" fmla="*/ 5653 h 5653"/>
                  <a:gd name="connsiteX2" fmla="*/ 0 w 4555"/>
                  <a:gd name="connsiteY2" fmla="*/ 1921 h 5653"/>
                  <a:gd name="connsiteX3" fmla="*/ 2003 w 4555"/>
                  <a:gd name="connsiteY3" fmla="*/ 0 h 5653"/>
                  <a:gd name="connsiteX4" fmla="*/ 4555 w 4555"/>
                  <a:gd name="connsiteY4" fmla="*/ 1756 h 5653"/>
                  <a:gd name="connsiteX5" fmla="*/ 4473 w 4555"/>
                  <a:gd name="connsiteY5" fmla="*/ 5379 h 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 h="5653">
                    <a:moveTo>
                      <a:pt x="4500" y="5351"/>
                    </a:moveTo>
                    <a:lnTo>
                      <a:pt x="1701" y="5653"/>
                    </a:lnTo>
                    <a:lnTo>
                      <a:pt x="0" y="1921"/>
                    </a:lnTo>
                    <a:lnTo>
                      <a:pt x="2003" y="0"/>
                    </a:lnTo>
                    <a:lnTo>
                      <a:pt x="4555" y="1756"/>
                    </a:lnTo>
                    <a:lnTo>
                      <a:pt x="4473" y="53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66" name="Freeform: Shape 4665">
                <a:extLst>
                  <a:ext uri="{FF2B5EF4-FFF2-40B4-BE49-F238E27FC236}">
                    <a16:creationId xmlns:a16="http://schemas.microsoft.com/office/drawing/2014/main" id="{6CDBA712-407A-FADD-E5C0-5435D4B7055D}"/>
                  </a:ext>
                </a:extLst>
              </p:cNvPr>
              <p:cNvSpPr/>
              <p:nvPr/>
            </p:nvSpPr>
            <p:spPr>
              <a:xfrm>
                <a:off x="1755965" y="3867496"/>
                <a:ext cx="527" cy="527"/>
              </a:xfrm>
              <a:custGeom>
                <a:avLst/>
                <a:gdLst>
                  <a:gd name="connsiteX0" fmla="*/ 0 w 5049"/>
                  <a:gd name="connsiteY0" fmla="*/ 4199 h 5049"/>
                  <a:gd name="connsiteX1" fmla="*/ 1591 w 5049"/>
                  <a:gd name="connsiteY1" fmla="*/ 2827 h 5049"/>
                  <a:gd name="connsiteX2" fmla="*/ 1948 w 5049"/>
                  <a:gd name="connsiteY2" fmla="*/ 0 h 5049"/>
                  <a:gd name="connsiteX3" fmla="*/ 4940 w 5049"/>
                  <a:gd name="connsiteY3" fmla="*/ 714 h 5049"/>
                  <a:gd name="connsiteX4" fmla="*/ 5049 w 5049"/>
                  <a:gd name="connsiteY4" fmla="*/ 2579 h 5049"/>
                  <a:gd name="connsiteX5" fmla="*/ 1345 w 5049"/>
                  <a:gd name="connsiteY5" fmla="*/ 5049 h 5049"/>
                  <a:gd name="connsiteX6" fmla="*/ 27 w 5049"/>
                  <a:gd name="connsiteY6" fmla="*/ 4171 h 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9" h="5049">
                    <a:moveTo>
                      <a:pt x="0" y="4199"/>
                    </a:moveTo>
                    <a:lnTo>
                      <a:pt x="1591" y="2827"/>
                    </a:lnTo>
                    <a:lnTo>
                      <a:pt x="1948" y="0"/>
                    </a:lnTo>
                    <a:lnTo>
                      <a:pt x="4940" y="714"/>
                    </a:lnTo>
                    <a:lnTo>
                      <a:pt x="5049" y="2579"/>
                    </a:lnTo>
                    <a:lnTo>
                      <a:pt x="1345" y="5049"/>
                    </a:lnTo>
                    <a:lnTo>
                      <a:pt x="27" y="41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67" name="Freeform: Shape 4666">
                <a:extLst>
                  <a:ext uri="{FF2B5EF4-FFF2-40B4-BE49-F238E27FC236}">
                    <a16:creationId xmlns:a16="http://schemas.microsoft.com/office/drawing/2014/main" id="{8EB6B698-DEEF-FD8F-829F-9FFD14CE0DA2}"/>
                  </a:ext>
                </a:extLst>
              </p:cNvPr>
              <p:cNvSpPr/>
              <p:nvPr/>
            </p:nvSpPr>
            <p:spPr>
              <a:xfrm>
                <a:off x="1759632" y="3866187"/>
                <a:ext cx="567" cy="484"/>
              </a:xfrm>
              <a:custGeom>
                <a:avLst/>
                <a:gdLst>
                  <a:gd name="connsiteX0" fmla="*/ 4116 w 5434"/>
                  <a:gd name="connsiteY0" fmla="*/ 4309 h 4638"/>
                  <a:gd name="connsiteX1" fmla="*/ 2937 w 5434"/>
                  <a:gd name="connsiteY1" fmla="*/ 4638 h 4638"/>
                  <a:gd name="connsiteX2" fmla="*/ 0 w 5434"/>
                  <a:gd name="connsiteY2" fmla="*/ 2278 h 4638"/>
                  <a:gd name="connsiteX3" fmla="*/ 2251 w 5434"/>
                  <a:gd name="connsiteY3" fmla="*/ 0 h 4638"/>
                  <a:gd name="connsiteX4" fmla="*/ 5434 w 5434"/>
                  <a:gd name="connsiteY4" fmla="*/ 1592 h 4638"/>
                  <a:gd name="connsiteX5" fmla="*/ 4090 w 5434"/>
                  <a:gd name="connsiteY5" fmla="*/ 4336 h 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4" h="4638">
                    <a:moveTo>
                      <a:pt x="4116" y="4309"/>
                    </a:moveTo>
                    <a:lnTo>
                      <a:pt x="2937" y="4638"/>
                    </a:lnTo>
                    <a:lnTo>
                      <a:pt x="0" y="2278"/>
                    </a:lnTo>
                    <a:lnTo>
                      <a:pt x="2251" y="0"/>
                    </a:lnTo>
                    <a:lnTo>
                      <a:pt x="5434" y="1592"/>
                    </a:lnTo>
                    <a:lnTo>
                      <a:pt x="4090" y="43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68" name="Freeform: Shape 4667">
                <a:extLst>
                  <a:ext uri="{FF2B5EF4-FFF2-40B4-BE49-F238E27FC236}">
                    <a16:creationId xmlns:a16="http://schemas.microsoft.com/office/drawing/2014/main" id="{958574D4-400E-B4B6-105F-59E37BAA1C79}"/>
                  </a:ext>
                </a:extLst>
              </p:cNvPr>
              <p:cNvSpPr/>
              <p:nvPr/>
            </p:nvSpPr>
            <p:spPr>
              <a:xfrm>
                <a:off x="1732311" y="3844388"/>
                <a:ext cx="538" cy="495"/>
              </a:xfrm>
              <a:custGeom>
                <a:avLst/>
                <a:gdLst>
                  <a:gd name="connsiteX0" fmla="*/ 0 w 5159"/>
                  <a:gd name="connsiteY0" fmla="*/ 878 h 4747"/>
                  <a:gd name="connsiteX1" fmla="*/ 1702 w 5159"/>
                  <a:gd name="connsiteY1" fmla="*/ 0 h 4747"/>
                  <a:gd name="connsiteX2" fmla="*/ 3650 w 5159"/>
                  <a:gd name="connsiteY2" fmla="*/ 1152 h 4747"/>
                  <a:gd name="connsiteX3" fmla="*/ 5160 w 5159"/>
                  <a:gd name="connsiteY3" fmla="*/ 4007 h 4747"/>
                  <a:gd name="connsiteX4" fmla="*/ 2964 w 5159"/>
                  <a:gd name="connsiteY4" fmla="*/ 4748 h 4747"/>
                  <a:gd name="connsiteX5" fmla="*/ 0 w 5159"/>
                  <a:gd name="connsiteY5" fmla="*/ 878 h 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9" h="4747">
                    <a:moveTo>
                      <a:pt x="0" y="878"/>
                    </a:moveTo>
                    <a:lnTo>
                      <a:pt x="1702" y="0"/>
                    </a:lnTo>
                    <a:lnTo>
                      <a:pt x="3650" y="1152"/>
                    </a:lnTo>
                    <a:lnTo>
                      <a:pt x="5160" y="4007"/>
                    </a:lnTo>
                    <a:lnTo>
                      <a:pt x="2964" y="4748"/>
                    </a:lnTo>
                    <a:lnTo>
                      <a:pt x="0" y="8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69" name="Freeform: Shape 4668">
                <a:extLst>
                  <a:ext uri="{FF2B5EF4-FFF2-40B4-BE49-F238E27FC236}">
                    <a16:creationId xmlns:a16="http://schemas.microsoft.com/office/drawing/2014/main" id="{2B1AD2F0-1E1F-A68C-4D44-769B5000C7C8}"/>
                  </a:ext>
                </a:extLst>
              </p:cNvPr>
              <p:cNvSpPr/>
              <p:nvPr/>
            </p:nvSpPr>
            <p:spPr>
              <a:xfrm>
                <a:off x="1768800" y="3864859"/>
                <a:ext cx="469" cy="547"/>
              </a:xfrm>
              <a:custGeom>
                <a:avLst/>
                <a:gdLst>
                  <a:gd name="connsiteX0" fmla="*/ 3184 w 4501"/>
                  <a:gd name="connsiteY0" fmla="*/ 3403 h 5241"/>
                  <a:gd name="connsiteX1" fmla="*/ 604 w 4501"/>
                  <a:gd name="connsiteY1" fmla="*/ 5242 h 5241"/>
                  <a:gd name="connsiteX2" fmla="*/ 0 w 4501"/>
                  <a:gd name="connsiteY2" fmla="*/ 3458 h 5241"/>
                  <a:gd name="connsiteX3" fmla="*/ 1839 w 4501"/>
                  <a:gd name="connsiteY3" fmla="*/ 0 h 5241"/>
                  <a:gd name="connsiteX4" fmla="*/ 4501 w 4501"/>
                  <a:gd name="connsiteY4" fmla="*/ 412 h 5241"/>
                  <a:gd name="connsiteX5" fmla="*/ 3156 w 4501"/>
                  <a:gd name="connsiteY5" fmla="*/ 3403 h 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1" h="5241">
                    <a:moveTo>
                      <a:pt x="3184" y="3403"/>
                    </a:moveTo>
                    <a:lnTo>
                      <a:pt x="604" y="5242"/>
                    </a:lnTo>
                    <a:lnTo>
                      <a:pt x="0" y="3458"/>
                    </a:lnTo>
                    <a:lnTo>
                      <a:pt x="1839" y="0"/>
                    </a:lnTo>
                    <a:lnTo>
                      <a:pt x="4501" y="412"/>
                    </a:lnTo>
                    <a:lnTo>
                      <a:pt x="3156"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70" name="Freeform: Shape 4669">
                <a:extLst>
                  <a:ext uri="{FF2B5EF4-FFF2-40B4-BE49-F238E27FC236}">
                    <a16:creationId xmlns:a16="http://schemas.microsoft.com/office/drawing/2014/main" id="{D72D311B-DF7D-0012-B65D-2350FA833BAC}"/>
                  </a:ext>
                </a:extLst>
              </p:cNvPr>
              <p:cNvSpPr/>
              <p:nvPr/>
            </p:nvSpPr>
            <p:spPr>
              <a:xfrm>
                <a:off x="1774370" y="3857091"/>
                <a:ext cx="592" cy="418"/>
              </a:xfrm>
              <a:custGeom>
                <a:avLst/>
                <a:gdLst>
                  <a:gd name="connsiteX0" fmla="*/ 27 w 5680"/>
                  <a:gd name="connsiteY0" fmla="*/ 411 h 4006"/>
                  <a:gd name="connsiteX1" fmla="*/ 878 w 5680"/>
                  <a:gd name="connsiteY1" fmla="*/ 0 h 4006"/>
                  <a:gd name="connsiteX2" fmla="*/ 3622 w 5680"/>
                  <a:gd name="connsiteY2" fmla="*/ 2003 h 4006"/>
                  <a:gd name="connsiteX3" fmla="*/ 5680 w 5680"/>
                  <a:gd name="connsiteY3" fmla="*/ 2634 h 4006"/>
                  <a:gd name="connsiteX4" fmla="*/ 3814 w 5680"/>
                  <a:gd name="connsiteY4" fmla="*/ 4007 h 4006"/>
                  <a:gd name="connsiteX5" fmla="*/ 274 w 5680"/>
                  <a:gd name="connsiteY5" fmla="*/ 1564 h 4006"/>
                  <a:gd name="connsiteX6" fmla="*/ 0 w 5680"/>
                  <a:gd name="connsiteY6" fmla="*/ 384 h 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0" h="4006">
                    <a:moveTo>
                      <a:pt x="27" y="411"/>
                    </a:moveTo>
                    <a:lnTo>
                      <a:pt x="878" y="0"/>
                    </a:lnTo>
                    <a:lnTo>
                      <a:pt x="3622" y="2003"/>
                    </a:lnTo>
                    <a:lnTo>
                      <a:pt x="5680" y="2634"/>
                    </a:lnTo>
                    <a:lnTo>
                      <a:pt x="3814" y="4007"/>
                    </a:lnTo>
                    <a:lnTo>
                      <a:pt x="274" y="1564"/>
                    </a:lnTo>
                    <a:lnTo>
                      <a:pt x="0"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71" name="Freeform: Shape 4670">
                <a:extLst>
                  <a:ext uri="{FF2B5EF4-FFF2-40B4-BE49-F238E27FC236}">
                    <a16:creationId xmlns:a16="http://schemas.microsoft.com/office/drawing/2014/main" id="{D9138D59-B7F2-2462-632A-99E07936D528}"/>
                  </a:ext>
                </a:extLst>
              </p:cNvPr>
              <p:cNvSpPr/>
              <p:nvPr/>
            </p:nvSpPr>
            <p:spPr>
              <a:xfrm>
                <a:off x="1755484" y="3846414"/>
                <a:ext cx="478" cy="515"/>
              </a:xfrm>
              <a:custGeom>
                <a:avLst/>
                <a:gdLst>
                  <a:gd name="connsiteX0" fmla="*/ 3760 w 4583"/>
                  <a:gd name="connsiteY0" fmla="*/ 2552 h 4939"/>
                  <a:gd name="connsiteX1" fmla="*/ 4583 w 4583"/>
                  <a:gd name="connsiteY1" fmla="*/ 4940 h 4939"/>
                  <a:gd name="connsiteX2" fmla="*/ 0 w 4583"/>
                  <a:gd name="connsiteY2" fmla="*/ 3485 h 4939"/>
                  <a:gd name="connsiteX3" fmla="*/ 1318 w 4583"/>
                  <a:gd name="connsiteY3" fmla="*/ 0 h 4939"/>
                  <a:gd name="connsiteX4" fmla="*/ 4583 w 4583"/>
                  <a:gd name="connsiteY4" fmla="*/ 1015 h 4939"/>
                  <a:gd name="connsiteX5" fmla="*/ 3760 w 4583"/>
                  <a:gd name="connsiteY5" fmla="*/ 2552 h 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3" h="4939">
                    <a:moveTo>
                      <a:pt x="3760" y="2552"/>
                    </a:moveTo>
                    <a:lnTo>
                      <a:pt x="4583" y="4940"/>
                    </a:lnTo>
                    <a:lnTo>
                      <a:pt x="0" y="3485"/>
                    </a:lnTo>
                    <a:lnTo>
                      <a:pt x="1318" y="0"/>
                    </a:lnTo>
                    <a:lnTo>
                      <a:pt x="4583" y="1015"/>
                    </a:lnTo>
                    <a:lnTo>
                      <a:pt x="3760"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72" name="Freeform: Shape 4671">
                <a:extLst>
                  <a:ext uri="{FF2B5EF4-FFF2-40B4-BE49-F238E27FC236}">
                    <a16:creationId xmlns:a16="http://schemas.microsoft.com/office/drawing/2014/main" id="{10D84BCA-1168-69E9-A8B5-CB824898BD45}"/>
                  </a:ext>
                </a:extLst>
              </p:cNvPr>
              <p:cNvSpPr/>
              <p:nvPr/>
            </p:nvSpPr>
            <p:spPr>
              <a:xfrm>
                <a:off x="1744256" y="3860563"/>
                <a:ext cx="418" cy="578"/>
              </a:xfrm>
              <a:custGeom>
                <a:avLst/>
                <a:gdLst>
                  <a:gd name="connsiteX0" fmla="*/ 0 w 4007"/>
                  <a:gd name="connsiteY0" fmla="*/ 3238 h 5543"/>
                  <a:gd name="connsiteX1" fmla="*/ 357 w 4007"/>
                  <a:gd name="connsiteY1" fmla="*/ 549 h 5543"/>
                  <a:gd name="connsiteX2" fmla="*/ 2196 w 4007"/>
                  <a:gd name="connsiteY2" fmla="*/ 0 h 5543"/>
                  <a:gd name="connsiteX3" fmla="*/ 4007 w 4007"/>
                  <a:gd name="connsiteY3" fmla="*/ 1262 h 5543"/>
                  <a:gd name="connsiteX4" fmla="*/ 3595 w 4007"/>
                  <a:gd name="connsiteY4" fmla="*/ 5543 h 5543"/>
                  <a:gd name="connsiteX5" fmla="*/ 1537 w 4007"/>
                  <a:gd name="connsiteY5" fmla="*/ 3512 h 5543"/>
                  <a:gd name="connsiteX6" fmla="*/ 0 w 4007"/>
                  <a:gd name="connsiteY6" fmla="*/ 3238 h 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7" h="5543">
                    <a:moveTo>
                      <a:pt x="0" y="3238"/>
                    </a:moveTo>
                    <a:lnTo>
                      <a:pt x="357" y="549"/>
                    </a:lnTo>
                    <a:lnTo>
                      <a:pt x="2196" y="0"/>
                    </a:lnTo>
                    <a:lnTo>
                      <a:pt x="4007" y="1262"/>
                    </a:lnTo>
                    <a:lnTo>
                      <a:pt x="3595" y="5543"/>
                    </a:lnTo>
                    <a:lnTo>
                      <a:pt x="1537" y="3512"/>
                    </a:lnTo>
                    <a:lnTo>
                      <a:pt x="0"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73" name="Freeform: Shape 4672">
                <a:extLst>
                  <a:ext uri="{FF2B5EF4-FFF2-40B4-BE49-F238E27FC236}">
                    <a16:creationId xmlns:a16="http://schemas.microsoft.com/office/drawing/2014/main" id="{D5F15DAC-E1F3-0743-A2AB-40B0EE052D2B}"/>
                  </a:ext>
                </a:extLst>
              </p:cNvPr>
              <p:cNvSpPr/>
              <p:nvPr/>
            </p:nvSpPr>
            <p:spPr>
              <a:xfrm>
                <a:off x="1735354" y="3866033"/>
                <a:ext cx="544" cy="381"/>
              </a:xfrm>
              <a:custGeom>
                <a:avLst/>
                <a:gdLst>
                  <a:gd name="connsiteX0" fmla="*/ 4940 w 5213"/>
                  <a:gd name="connsiteY0" fmla="*/ 3512 h 3649"/>
                  <a:gd name="connsiteX1" fmla="*/ 796 w 5213"/>
                  <a:gd name="connsiteY1" fmla="*/ 3650 h 3649"/>
                  <a:gd name="connsiteX2" fmla="*/ 0 w 5213"/>
                  <a:gd name="connsiteY2" fmla="*/ 2168 h 3649"/>
                  <a:gd name="connsiteX3" fmla="*/ 1262 w 5213"/>
                  <a:gd name="connsiteY3" fmla="*/ 0 h 3649"/>
                  <a:gd name="connsiteX4" fmla="*/ 5214 w 5213"/>
                  <a:gd name="connsiteY4" fmla="*/ 2634 h 3649"/>
                  <a:gd name="connsiteX5" fmla="*/ 4940 w 5213"/>
                  <a:gd name="connsiteY5" fmla="*/ 3512 h 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3" h="3649">
                    <a:moveTo>
                      <a:pt x="4940" y="3512"/>
                    </a:moveTo>
                    <a:lnTo>
                      <a:pt x="796" y="3650"/>
                    </a:lnTo>
                    <a:lnTo>
                      <a:pt x="0" y="2168"/>
                    </a:lnTo>
                    <a:lnTo>
                      <a:pt x="1262" y="0"/>
                    </a:lnTo>
                    <a:lnTo>
                      <a:pt x="5214" y="2634"/>
                    </a:lnTo>
                    <a:lnTo>
                      <a:pt x="4940" y="35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74" name="Freeform: Shape 4673">
                <a:extLst>
                  <a:ext uri="{FF2B5EF4-FFF2-40B4-BE49-F238E27FC236}">
                    <a16:creationId xmlns:a16="http://schemas.microsoft.com/office/drawing/2014/main" id="{912F6CC9-189B-0063-116E-F8F1D93830E8}"/>
                  </a:ext>
                </a:extLst>
              </p:cNvPr>
              <p:cNvSpPr/>
              <p:nvPr/>
            </p:nvSpPr>
            <p:spPr>
              <a:xfrm>
                <a:off x="1743517" y="3849512"/>
                <a:ext cx="424" cy="475"/>
              </a:xfrm>
              <a:custGeom>
                <a:avLst/>
                <a:gdLst>
                  <a:gd name="connsiteX0" fmla="*/ 0 w 4061"/>
                  <a:gd name="connsiteY0" fmla="*/ 3924 h 4555"/>
                  <a:gd name="connsiteX1" fmla="*/ 3677 w 4061"/>
                  <a:gd name="connsiteY1" fmla="*/ 0 h 4555"/>
                  <a:gd name="connsiteX2" fmla="*/ 4062 w 4061"/>
                  <a:gd name="connsiteY2" fmla="*/ 2086 h 4555"/>
                  <a:gd name="connsiteX3" fmla="*/ 1235 w 4061"/>
                  <a:gd name="connsiteY3" fmla="*/ 4556 h 4555"/>
                  <a:gd name="connsiteX4" fmla="*/ 0 w 4061"/>
                  <a:gd name="connsiteY4" fmla="*/ 3924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4555">
                    <a:moveTo>
                      <a:pt x="0" y="3924"/>
                    </a:moveTo>
                    <a:lnTo>
                      <a:pt x="3677" y="0"/>
                    </a:lnTo>
                    <a:lnTo>
                      <a:pt x="4062" y="2086"/>
                    </a:lnTo>
                    <a:lnTo>
                      <a:pt x="1235" y="4556"/>
                    </a:lnTo>
                    <a:lnTo>
                      <a:pt x="0" y="39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75" name="Freeform: Shape 4674">
                <a:extLst>
                  <a:ext uri="{FF2B5EF4-FFF2-40B4-BE49-F238E27FC236}">
                    <a16:creationId xmlns:a16="http://schemas.microsoft.com/office/drawing/2014/main" id="{2336BFA9-2564-6E3D-D79A-ED9E1155E8A5}"/>
                  </a:ext>
                </a:extLst>
              </p:cNvPr>
              <p:cNvSpPr/>
              <p:nvPr/>
            </p:nvSpPr>
            <p:spPr>
              <a:xfrm>
                <a:off x="1730439" y="3869436"/>
                <a:ext cx="429" cy="458"/>
              </a:xfrm>
              <a:custGeom>
                <a:avLst/>
                <a:gdLst>
                  <a:gd name="connsiteX0" fmla="*/ 0 w 4116"/>
                  <a:gd name="connsiteY0" fmla="*/ 2525 h 4390"/>
                  <a:gd name="connsiteX1" fmla="*/ 1702 w 4116"/>
                  <a:gd name="connsiteY1" fmla="*/ 0 h 4390"/>
                  <a:gd name="connsiteX2" fmla="*/ 4116 w 4116"/>
                  <a:gd name="connsiteY2" fmla="*/ 2333 h 4390"/>
                  <a:gd name="connsiteX3" fmla="*/ 2854 w 4116"/>
                  <a:gd name="connsiteY3" fmla="*/ 4391 h 4390"/>
                  <a:gd name="connsiteX4" fmla="*/ 412 w 4116"/>
                  <a:gd name="connsiteY4" fmla="*/ 3979 h 4390"/>
                  <a:gd name="connsiteX5" fmla="*/ 0 w 4116"/>
                  <a:gd name="connsiteY5" fmla="*/ 2497 h 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6" h="4390">
                    <a:moveTo>
                      <a:pt x="0" y="2525"/>
                    </a:moveTo>
                    <a:lnTo>
                      <a:pt x="1702" y="0"/>
                    </a:lnTo>
                    <a:lnTo>
                      <a:pt x="4116" y="2333"/>
                    </a:lnTo>
                    <a:lnTo>
                      <a:pt x="2854" y="4391"/>
                    </a:lnTo>
                    <a:lnTo>
                      <a:pt x="412" y="3979"/>
                    </a:lnTo>
                    <a:lnTo>
                      <a:pt x="0"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76" name="Freeform: Shape 4675">
                <a:extLst>
                  <a:ext uri="{FF2B5EF4-FFF2-40B4-BE49-F238E27FC236}">
                    <a16:creationId xmlns:a16="http://schemas.microsoft.com/office/drawing/2014/main" id="{D8DE153A-4776-636C-7452-550AC40FA815}"/>
                  </a:ext>
                </a:extLst>
              </p:cNvPr>
              <p:cNvSpPr/>
              <p:nvPr/>
            </p:nvSpPr>
            <p:spPr>
              <a:xfrm>
                <a:off x="1757560" y="3853381"/>
                <a:ext cx="492" cy="395"/>
              </a:xfrm>
              <a:custGeom>
                <a:avLst/>
                <a:gdLst>
                  <a:gd name="connsiteX0" fmla="*/ 0 w 4720"/>
                  <a:gd name="connsiteY0" fmla="*/ 3293 h 3787"/>
                  <a:gd name="connsiteX1" fmla="*/ 2251 w 4720"/>
                  <a:gd name="connsiteY1" fmla="*/ 0 h 3787"/>
                  <a:gd name="connsiteX2" fmla="*/ 4721 w 4720"/>
                  <a:gd name="connsiteY2" fmla="*/ 960 h 3787"/>
                  <a:gd name="connsiteX3" fmla="*/ 2086 w 4720"/>
                  <a:gd name="connsiteY3" fmla="*/ 3787 h 3787"/>
                  <a:gd name="connsiteX4" fmla="*/ 0 w 4720"/>
                  <a:gd name="connsiteY4" fmla="*/ 3293 h 3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0" h="3787">
                    <a:moveTo>
                      <a:pt x="0" y="3293"/>
                    </a:moveTo>
                    <a:lnTo>
                      <a:pt x="2251" y="0"/>
                    </a:lnTo>
                    <a:lnTo>
                      <a:pt x="4721" y="960"/>
                    </a:lnTo>
                    <a:lnTo>
                      <a:pt x="2086" y="3787"/>
                    </a:lnTo>
                    <a:lnTo>
                      <a:pt x="0" y="32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77" name="Freeform: Shape 4676">
                <a:extLst>
                  <a:ext uri="{FF2B5EF4-FFF2-40B4-BE49-F238E27FC236}">
                    <a16:creationId xmlns:a16="http://schemas.microsoft.com/office/drawing/2014/main" id="{D3A9383B-EC76-0308-8C9A-0A71D2941F60}"/>
                  </a:ext>
                </a:extLst>
              </p:cNvPr>
              <p:cNvSpPr/>
              <p:nvPr/>
            </p:nvSpPr>
            <p:spPr>
              <a:xfrm>
                <a:off x="1726618" y="3833417"/>
                <a:ext cx="404" cy="469"/>
              </a:xfrm>
              <a:custGeom>
                <a:avLst/>
                <a:gdLst>
                  <a:gd name="connsiteX0" fmla="*/ 0 w 3869"/>
                  <a:gd name="connsiteY0" fmla="*/ 1564 h 4500"/>
                  <a:gd name="connsiteX1" fmla="*/ 1646 w 3869"/>
                  <a:gd name="connsiteY1" fmla="*/ 0 h 4500"/>
                  <a:gd name="connsiteX2" fmla="*/ 3375 w 3869"/>
                  <a:gd name="connsiteY2" fmla="*/ 1921 h 4500"/>
                  <a:gd name="connsiteX3" fmla="*/ 3869 w 3869"/>
                  <a:gd name="connsiteY3" fmla="*/ 4501 h 4500"/>
                  <a:gd name="connsiteX4" fmla="*/ 823 w 3869"/>
                  <a:gd name="connsiteY4" fmla="*/ 2854 h 4500"/>
                  <a:gd name="connsiteX5" fmla="*/ 27 w 3869"/>
                  <a:gd name="connsiteY5" fmla="*/ 1537 h 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9" h="4500">
                    <a:moveTo>
                      <a:pt x="0" y="1564"/>
                    </a:moveTo>
                    <a:lnTo>
                      <a:pt x="1646" y="0"/>
                    </a:lnTo>
                    <a:lnTo>
                      <a:pt x="3375" y="1921"/>
                    </a:lnTo>
                    <a:lnTo>
                      <a:pt x="3869" y="4501"/>
                    </a:lnTo>
                    <a:lnTo>
                      <a:pt x="823" y="2854"/>
                    </a:lnTo>
                    <a:lnTo>
                      <a:pt x="27" y="15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78" name="Freeform: Shape 4677">
                <a:extLst>
                  <a:ext uri="{FF2B5EF4-FFF2-40B4-BE49-F238E27FC236}">
                    <a16:creationId xmlns:a16="http://schemas.microsoft.com/office/drawing/2014/main" id="{947F80F3-F24B-7E8C-2737-CA18C35B6A52}"/>
                  </a:ext>
                </a:extLst>
              </p:cNvPr>
              <p:cNvSpPr/>
              <p:nvPr/>
            </p:nvSpPr>
            <p:spPr>
              <a:xfrm>
                <a:off x="1744857" y="3861259"/>
                <a:ext cx="441" cy="418"/>
              </a:xfrm>
              <a:custGeom>
                <a:avLst/>
                <a:gdLst>
                  <a:gd name="connsiteX0" fmla="*/ 0 w 4226"/>
                  <a:gd name="connsiteY0" fmla="*/ 686 h 4006"/>
                  <a:gd name="connsiteX1" fmla="*/ 1290 w 4226"/>
                  <a:gd name="connsiteY1" fmla="*/ 0 h 4006"/>
                  <a:gd name="connsiteX2" fmla="*/ 4226 w 4226"/>
                  <a:gd name="connsiteY2" fmla="*/ 2772 h 4006"/>
                  <a:gd name="connsiteX3" fmla="*/ 2634 w 4226"/>
                  <a:gd name="connsiteY3" fmla="*/ 4007 h 4006"/>
                  <a:gd name="connsiteX4" fmla="*/ 0 w 4226"/>
                  <a:gd name="connsiteY4" fmla="*/ 714 h 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 h="4006">
                    <a:moveTo>
                      <a:pt x="0" y="686"/>
                    </a:moveTo>
                    <a:lnTo>
                      <a:pt x="1290" y="0"/>
                    </a:lnTo>
                    <a:lnTo>
                      <a:pt x="4226" y="2772"/>
                    </a:lnTo>
                    <a:lnTo>
                      <a:pt x="2634" y="4007"/>
                    </a:lnTo>
                    <a:lnTo>
                      <a:pt x="0" y="7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79" name="Freeform: Shape 4678">
                <a:extLst>
                  <a:ext uri="{FF2B5EF4-FFF2-40B4-BE49-F238E27FC236}">
                    <a16:creationId xmlns:a16="http://schemas.microsoft.com/office/drawing/2014/main" id="{10DA128A-D8F1-4402-032A-A4F4F82F23D7}"/>
                  </a:ext>
                </a:extLst>
              </p:cNvPr>
              <p:cNvSpPr/>
              <p:nvPr/>
            </p:nvSpPr>
            <p:spPr>
              <a:xfrm>
                <a:off x="1766533" y="3869757"/>
                <a:ext cx="438" cy="412"/>
              </a:xfrm>
              <a:custGeom>
                <a:avLst/>
                <a:gdLst>
                  <a:gd name="connsiteX0" fmla="*/ 27 w 4198"/>
                  <a:gd name="connsiteY0" fmla="*/ 3430 h 3951"/>
                  <a:gd name="connsiteX1" fmla="*/ 3183 w 4198"/>
                  <a:gd name="connsiteY1" fmla="*/ 0 h 3951"/>
                  <a:gd name="connsiteX2" fmla="*/ 4199 w 4198"/>
                  <a:gd name="connsiteY2" fmla="*/ 2058 h 3951"/>
                  <a:gd name="connsiteX3" fmla="*/ 1290 w 4198"/>
                  <a:gd name="connsiteY3" fmla="*/ 3952 h 3951"/>
                  <a:gd name="connsiteX4" fmla="*/ 0 w 4198"/>
                  <a:gd name="connsiteY4" fmla="*/ 3403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8" h="3951">
                    <a:moveTo>
                      <a:pt x="27" y="3430"/>
                    </a:moveTo>
                    <a:lnTo>
                      <a:pt x="3183" y="0"/>
                    </a:lnTo>
                    <a:lnTo>
                      <a:pt x="4199" y="2058"/>
                    </a:lnTo>
                    <a:lnTo>
                      <a:pt x="1290" y="3952"/>
                    </a:lnTo>
                    <a:lnTo>
                      <a:pt x="0"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80" name="Freeform: Shape 4679">
                <a:extLst>
                  <a:ext uri="{FF2B5EF4-FFF2-40B4-BE49-F238E27FC236}">
                    <a16:creationId xmlns:a16="http://schemas.microsoft.com/office/drawing/2014/main" id="{E4EBD37D-1806-CECA-F5C1-4844B25AA781}"/>
                  </a:ext>
                </a:extLst>
              </p:cNvPr>
              <p:cNvSpPr/>
              <p:nvPr/>
            </p:nvSpPr>
            <p:spPr>
              <a:xfrm>
                <a:off x="1776583" y="3856390"/>
                <a:ext cx="495" cy="361"/>
              </a:xfrm>
              <a:custGeom>
                <a:avLst/>
                <a:gdLst>
                  <a:gd name="connsiteX0" fmla="*/ 0 w 4747"/>
                  <a:gd name="connsiteY0" fmla="*/ 357 h 3457"/>
                  <a:gd name="connsiteX1" fmla="*/ 1948 w 4747"/>
                  <a:gd name="connsiteY1" fmla="*/ 0 h 3457"/>
                  <a:gd name="connsiteX2" fmla="*/ 4748 w 4747"/>
                  <a:gd name="connsiteY2" fmla="*/ 2388 h 3457"/>
                  <a:gd name="connsiteX3" fmla="*/ 3156 w 4747"/>
                  <a:gd name="connsiteY3" fmla="*/ 3458 h 3457"/>
                  <a:gd name="connsiteX4" fmla="*/ 0 w 4747"/>
                  <a:gd name="connsiteY4" fmla="*/ 357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7" h="3457">
                    <a:moveTo>
                      <a:pt x="0" y="357"/>
                    </a:moveTo>
                    <a:lnTo>
                      <a:pt x="1948" y="0"/>
                    </a:lnTo>
                    <a:lnTo>
                      <a:pt x="4748" y="2388"/>
                    </a:lnTo>
                    <a:lnTo>
                      <a:pt x="3156" y="3458"/>
                    </a:lnTo>
                    <a:lnTo>
                      <a:pt x="0" y="3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81" name="Freeform: Shape 4680">
                <a:extLst>
                  <a:ext uri="{FF2B5EF4-FFF2-40B4-BE49-F238E27FC236}">
                    <a16:creationId xmlns:a16="http://schemas.microsoft.com/office/drawing/2014/main" id="{DCF94E57-5AE2-4BC0-BCC6-B39AD21FD1A7}"/>
                  </a:ext>
                </a:extLst>
              </p:cNvPr>
              <p:cNvSpPr/>
              <p:nvPr/>
            </p:nvSpPr>
            <p:spPr>
              <a:xfrm>
                <a:off x="1767403" y="3842745"/>
                <a:ext cx="452" cy="372"/>
              </a:xfrm>
              <a:custGeom>
                <a:avLst/>
                <a:gdLst>
                  <a:gd name="connsiteX0" fmla="*/ 0 w 4336"/>
                  <a:gd name="connsiteY0" fmla="*/ 1043 h 3567"/>
                  <a:gd name="connsiteX1" fmla="*/ 1674 w 4336"/>
                  <a:gd name="connsiteY1" fmla="*/ 0 h 3567"/>
                  <a:gd name="connsiteX2" fmla="*/ 4336 w 4336"/>
                  <a:gd name="connsiteY2" fmla="*/ 2662 h 3567"/>
                  <a:gd name="connsiteX3" fmla="*/ 2634 w 4336"/>
                  <a:gd name="connsiteY3" fmla="*/ 3567 h 3567"/>
                  <a:gd name="connsiteX4" fmla="*/ 0 w 4336"/>
                  <a:gd name="connsiteY4" fmla="*/ 1043 h 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3567">
                    <a:moveTo>
                      <a:pt x="0" y="1043"/>
                    </a:moveTo>
                    <a:lnTo>
                      <a:pt x="1674" y="0"/>
                    </a:lnTo>
                    <a:lnTo>
                      <a:pt x="4336" y="2662"/>
                    </a:lnTo>
                    <a:lnTo>
                      <a:pt x="2634" y="3567"/>
                    </a:lnTo>
                    <a:lnTo>
                      <a:pt x="0" y="10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82" name="Freeform: Shape 4681">
                <a:extLst>
                  <a:ext uri="{FF2B5EF4-FFF2-40B4-BE49-F238E27FC236}">
                    <a16:creationId xmlns:a16="http://schemas.microsoft.com/office/drawing/2014/main" id="{F4AFB6C8-9FF9-AE64-CD72-C6A65281F7A6}"/>
                  </a:ext>
                </a:extLst>
              </p:cNvPr>
              <p:cNvSpPr/>
              <p:nvPr/>
            </p:nvSpPr>
            <p:spPr>
              <a:xfrm>
                <a:off x="1763347" y="3847983"/>
                <a:ext cx="615" cy="272"/>
              </a:xfrm>
              <a:custGeom>
                <a:avLst/>
                <a:gdLst>
                  <a:gd name="connsiteX0" fmla="*/ 0 w 5899"/>
                  <a:gd name="connsiteY0" fmla="*/ 1784 h 2607"/>
                  <a:gd name="connsiteX1" fmla="*/ 740 w 5899"/>
                  <a:gd name="connsiteY1" fmla="*/ 714 h 2607"/>
                  <a:gd name="connsiteX2" fmla="*/ 4473 w 5899"/>
                  <a:gd name="connsiteY2" fmla="*/ 0 h 2607"/>
                  <a:gd name="connsiteX3" fmla="*/ 5900 w 5899"/>
                  <a:gd name="connsiteY3" fmla="*/ 1125 h 2607"/>
                  <a:gd name="connsiteX4" fmla="*/ 2579 w 5899"/>
                  <a:gd name="connsiteY4" fmla="*/ 2607 h 2607"/>
                  <a:gd name="connsiteX5" fmla="*/ 0 w 5899"/>
                  <a:gd name="connsiteY5" fmla="*/ 1811 h 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9" h="2607">
                    <a:moveTo>
                      <a:pt x="0" y="1784"/>
                    </a:moveTo>
                    <a:lnTo>
                      <a:pt x="740" y="714"/>
                    </a:lnTo>
                    <a:lnTo>
                      <a:pt x="4473" y="0"/>
                    </a:lnTo>
                    <a:lnTo>
                      <a:pt x="5900" y="1125"/>
                    </a:lnTo>
                    <a:lnTo>
                      <a:pt x="2579" y="2607"/>
                    </a:lnTo>
                    <a:lnTo>
                      <a:pt x="0"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83" name="Freeform: Shape 4682">
                <a:extLst>
                  <a:ext uri="{FF2B5EF4-FFF2-40B4-BE49-F238E27FC236}">
                    <a16:creationId xmlns:a16="http://schemas.microsoft.com/office/drawing/2014/main" id="{0577CDC7-A4CD-3360-C375-199309BF6043}"/>
                  </a:ext>
                </a:extLst>
              </p:cNvPr>
              <p:cNvSpPr/>
              <p:nvPr/>
            </p:nvSpPr>
            <p:spPr>
              <a:xfrm>
                <a:off x="1756927" y="3854131"/>
                <a:ext cx="489" cy="321"/>
              </a:xfrm>
              <a:custGeom>
                <a:avLst/>
                <a:gdLst>
                  <a:gd name="connsiteX0" fmla="*/ 0 w 4692"/>
                  <a:gd name="connsiteY0" fmla="*/ 2058 h 3073"/>
                  <a:gd name="connsiteX1" fmla="*/ 2525 w 4692"/>
                  <a:gd name="connsiteY1" fmla="*/ 0 h 3073"/>
                  <a:gd name="connsiteX2" fmla="*/ 4611 w 4692"/>
                  <a:gd name="connsiteY2" fmla="*/ 631 h 3073"/>
                  <a:gd name="connsiteX3" fmla="*/ 4693 w 4692"/>
                  <a:gd name="connsiteY3" fmla="*/ 2799 h 3073"/>
                  <a:gd name="connsiteX4" fmla="*/ 1317 w 4692"/>
                  <a:gd name="connsiteY4" fmla="*/ 3074 h 3073"/>
                  <a:gd name="connsiteX5" fmla="*/ 0 w 4692"/>
                  <a:gd name="connsiteY5" fmla="*/ 2086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 h="3073">
                    <a:moveTo>
                      <a:pt x="0" y="2058"/>
                    </a:moveTo>
                    <a:lnTo>
                      <a:pt x="2525" y="0"/>
                    </a:lnTo>
                    <a:lnTo>
                      <a:pt x="4611" y="631"/>
                    </a:lnTo>
                    <a:lnTo>
                      <a:pt x="4693" y="2799"/>
                    </a:lnTo>
                    <a:lnTo>
                      <a:pt x="1317" y="3074"/>
                    </a:lnTo>
                    <a:lnTo>
                      <a:pt x="0"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84" name="Freeform: Shape 4683">
                <a:extLst>
                  <a:ext uri="{FF2B5EF4-FFF2-40B4-BE49-F238E27FC236}">
                    <a16:creationId xmlns:a16="http://schemas.microsoft.com/office/drawing/2014/main" id="{CDADC41A-458D-9D68-22F9-599ADB6B7EF5}"/>
                  </a:ext>
                </a:extLst>
              </p:cNvPr>
              <p:cNvSpPr/>
              <p:nvPr/>
            </p:nvSpPr>
            <p:spPr>
              <a:xfrm>
                <a:off x="1764819" y="3844708"/>
                <a:ext cx="512" cy="306"/>
              </a:xfrm>
              <a:custGeom>
                <a:avLst/>
                <a:gdLst>
                  <a:gd name="connsiteX0" fmla="*/ 0 w 4912"/>
                  <a:gd name="connsiteY0" fmla="*/ 768 h 2936"/>
                  <a:gd name="connsiteX1" fmla="*/ 2141 w 4912"/>
                  <a:gd name="connsiteY1" fmla="*/ 0 h 2936"/>
                  <a:gd name="connsiteX2" fmla="*/ 4912 w 4912"/>
                  <a:gd name="connsiteY2" fmla="*/ 1564 h 2936"/>
                  <a:gd name="connsiteX3" fmla="*/ 2634 w 4912"/>
                  <a:gd name="connsiteY3" fmla="*/ 2936 h 2936"/>
                  <a:gd name="connsiteX4" fmla="*/ 0 w 4912"/>
                  <a:gd name="connsiteY4" fmla="*/ 796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 h="2936">
                    <a:moveTo>
                      <a:pt x="0" y="768"/>
                    </a:moveTo>
                    <a:lnTo>
                      <a:pt x="2141" y="0"/>
                    </a:lnTo>
                    <a:lnTo>
                      <a:pt x="4912" y="1564"/>
                    </a:lnTo>
                    <a:lnTo>
                      <a:pt x="2634" y="2936"/>
                    </a:lnTo>
                    <a:lnTo>
                      <a:pt x="0" y="7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85" name="Freeform: Shape 4684">
                <a:extLst>
                  <a:ext uri="{FF2B5EF4-FFF2-40B4-BE49-F238E27FC236}">
                    <a16:creationId xmlns:a16="http://schemas.microsoft.com/office/drawing/2014/main" id="{E3E84067-412D-46E4-E99D-F4C67098F73F}"/>
                  </a:ext>
                </a:extLst>
              </p:cNvPr>
              <p:cNvSpPr/>
              <p:nvPr/>
            </p:nvSpPr>
            <p:spPr>
              <a:xfrm>
                <a:off x="1756775" y="3869539"/>
                <a:ext cx="527" cy="300"/>
              </a:xfrm>
              <a:custGeom>
                <a:avLst/>
                <a:gdLst>
                  <a:gd name="connsiteX0" fmla="*/ 0 w 5049"/>
                  <a:gd name="connsiteY0" fmla="*/ 1948 h 2881"/>
                  <a:gd name="connsiteX1" fmla="*/ 3266 w 5049"/>
                  <a:gd name="connsiteY1" fmla="*/ 0 h 2881"/>
                  <a:gd name="connsiteX2" fmla="*/ 5050 w 5049"/>
                  <a:gd name="connsiteY2" fmla="*/ 1838 h 2881"/>
                  <a:gd name="connsiteX3" fmla="*/ 1181 w 5049"/>
                  <a:gd name="connsiteY3" fmla="*/ 2881 h 2881"/>
                  <a:gd name="connsiteX4" fmla="*/ 0 w 5049"/>
                  <a:gd name="connsiteY4" fmla="*/ 1976 h 2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 h="2881">
                    <a:moveTo>
                      <a:pt x="0" y="1948"/>
                    </a:moveTo>
                    <a:lnTo>
                      <a:pt x="3266" y="0"/>
                    </a:lnTo>
                    <a:lnTo>
                      <a:pt x="5050" y="1838"/>
                    </a:lnTo>
                    <a:lnTo>
                      <a:pt x="1181" y="2881"/>
                    </a:lnTo>
                    <a:lnTo>
                      <a:pt x="0"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86" name="Freeform: Shape 4685">
                <a:extLst>
                  <a:ext uri="{FF2B5EF4-FFF2-40B4-BE49-F238E27FC236}">
                    <a16:creationId xmlns:a16="http://schemas.microsoft.com/office/drawing/2014/main" id="{07472CCB-BBAE-BFBE-C22E-D0C14EC92FE9}"/>
                  </a:ext>
                </a:extLst>
              </p:cNvPr>
              <p:cNvSpPr/>
              <p:nvPr/>
            </p:nvSpPr>
            <p:spPr>
              <a:xfrm>
                <a:off x="1763639" y="3845642"/>
                <a:ext cx="366" cy="418"/>
              </a:xfrm>
              <a:custGeom>
                <a:avLst/>
                <a:gdLst>
                  <a:gd name="connsiteX0" fmla="*/ 0 w 3512"/>
                  <a:gd name="connsiteY0" fmla="*/ 2278 h 4006"/>
                  <a:gd name="connsiteX1" fmla="*/ 1894 w 3512"/>
                  <a:gd name="connsiteY1" fmla="*/ 0 h 4006"/>
                  <a:gd name="connsiteX2" fmla="*/ 3513 w 3512"/>
                  <a:gd name="connsiteY2" fmla="*/ 1866 h 4006"/>
                  <a:gd name="connsiteX3" fmla="*/ 1564 w 3512"/>
                  <a:gd name="connsiteY3" fmla="*/ 4007 h 4006"/>
                  <a:gd name="connsiteX4" fmla="*/ 0 w 3512"/>
                  <a:gd name="connsiteY4" fmla="*/ 2250 h 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4006">
                    <a:moveTo>
                      <a:pt x="0" y="2278"/>
                    </a:moveTo>
                    <a:lnTo>
                      <a:pt x="1894" y="0"/>
                    </a:lnTo>
                    <a:lnTo>
                      <a:pt x="3513" y="1866"/>
                    </a:lnTo>
                    <a:lnTo>
                      <a:pt x="1564" y="4007"/>
                    </a:lnTo>
                    <a:lnTo>
                      <a:pt x="0" y="22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87" name="Freeform: Shape 4686">
                <a:extLst>
                  <a:ext uri="{FF2B5EF4-FFF2-40B4-BE49-F238E27FC236}">
                    <a16:creationId xmlns:a16="http://schemas.microsoft.com/office/drawing/2014/main" id="{7A320F63-4B12-4547-6381-6F68FDEB02E7}"/>
                  </a:ext>
                </a:extLst>
              </p:cNvPr>
              <p:cNvSpPr/>
              <p:nvPr/>
            </p:nvSpPr>
            <p:spPr>
              <a:xfrm>
                <a:off x="1758833" y="3849288"/>
                <a:ext cx="378" cy="401"/>
              </a:xfrm>
              <a:custGeom>
                <a:avLst/>
                <a:gdLst>
                  <a:gd name="connsiteX0" fmla="*/ 0 w 3621"/>
                  <a:gd name="connsiteY0" fmla="*/ 2552 h 3841"/>
                  <a:gd name="connsiteX1" fmla="*/ 2552 w 3621"/>
                  <a:gd name="connsiteY1" fmla="*/ 0 h 3841"/>
                  <a:gd name="connsiteX2" fmla="*/ 3622 w 3621"/>
                  <a:gd name="connsiteY2" fmla="*/ 2497 h 3841"/>
                  <a:gd name="connsiteX3" fmla="*/ 1591 w 3621"/>
                  <a:gd name="connsiteY3" fmla="*/ 3842 h 3841"/>
                  <a:gd name="connsiteX4" fmla="*/ 0 w 3621"/>
                  <a:gd name="connsiteY4" fmla="*/ 2552 h 3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1" h="3841">
                    <a:moveTo>
                      <a:pt x="0" y="2552"/>
                    </a:moveTo>
                    <a:lnTo>
                      <a:pt x="2552" y="0"/>
                    </a:lnTo>
                    <a:lnTo>
                      <a:pt x="3622" y="2497"/>
                    </a:lnTo>
                    <a:lnTo>
                      <a:pt x="1591" y="3842"/>
                    </a:lnTo>
                    <a:lnTo>
                      <a:pt x="0"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88" name="Freeform: Shape 4687">
                <a:extLst>
                  <a:ext uri="{FF2B5EF4-FFF2-40B4-BE49-F238E27FC236}">
                    <a16:creationId xmlns:a16="http://schemas.microsoft.com/office/drawing/2014/main" id="{D94618A0-CF82-73DC-FE98-D8DF799F9E30}"/>
                  </a:ext>
                </a:extLst>
              </p:cNvPr>
              <p:cNvSpPr/>
              <p:nvPr/>
            </p:nvSpPr>
            <p:spPr>
              <a:xfrm>
                <a:off x="1767996" y="3856868"/>
                <a:ext cx="404" cy="381"/>
              </a:xfrm>
              <a:custGeom>
                <a:avLst/>
                <a:gdLst>
                  <a:gd name="connsiteX0" fmla="*/ 0 w 3869"/>
                  <a:gd name="connsiteY0" fmla="*/ 1564 h 3649"/>
                  <a:gd name="connsiteX1" fmla="*/ 2167 w 3869"/>
                  <a:gd name="connsiteY1" fmla="*/ 0 h 3649"/>
                  <a:gd name="connsiteX2" fmla="*/ 3869 w 3869"/>
                  <a:gd name="connsiteY2" fmla="*/ 1729 h 3649"/>
                  <a:gd name="connsiteX3" fmla="*/ 2415 w 3869"/>
                  <a:gd name="connsiteY3" fmla="*/ 3650 h 3649"/>
                  <a:gd name="connsiteX4" fmla="*/ 0 w 3869"/>
                  <a:gd name="connsiteY4" fmla="*/ 1564 h 3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3649">
                    <a:moveTo>
                      <a:pt x="0" y="1564"/>
                    </a:moveTo>
                    <a:lnTo>
                      <a:pt x="2167" y="0"/>
                    </a:lnTo>
                    <a:lnTo>
                      <a:pt x="3869" y="1729"/>
                    </a:lnTo>
                    <a:lnTo>
                      <a:pt x="2415" y="3650"/>
                    </a:lnTo>
                    <a:lnTo>
                      <a:pt x="0"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89" name="Freeform: Shape 4688">
                <a:extLst>
                  <a:ext uri="{FF2B5EF4-FFF2-40B4-BE49-F238E27FC236}">
                    <a16:creationId xmlns:a16="http://schemas.microsoft.com/office/drawing/2014/main" id="{45E2883B-6310-ED2F-10E5-7D41E7AB0534}"/>
                  </a:ext>
                </a:extLst>
              </p:cNvPr>
              <p:cNvSpPr/>
              <p:nvPr/>
            </p:nvSpPr>
            <p:spPr>
              <a:xfrm>
                <a:off x="1749894" y="3837086"/>
                <a:ext cx="455" cy="338"/>
              </a:xfrm>
              <a:custGeom>
                <a:avLst/>
                <a:gdLst>
                  <a:gd name="connsiteX0" fmla="*/ 0 w 4363"/>
                  <a:gd name="connsiteY0" fmla="*/ 796 h 3238"/>
                  <a:gd name="connsiteX1" fmla="*/ 2744 w 4363"/>
                  <a:gd name="connsiteY1" fmla="*/ 0 h 3238"/>
                  <a:gd name="connsiteX2" fmla="*/ 4363 w 4363"/>
                  <a:gd name="connsiteY2" fmla="*/ 1564 h 3238"/>
                  <a:gd name="connsiteX3" fmla="*/ 2772 w 4363"/>
                  <a:gd name="connsiteY3" fmla="*/ 3238 h 3238"/>
                  <a:gd name="connsiteX4" fmla="*/ 0 w 4363"/>
                  <a:gd name="connsiteY4" fmla="*/ 823 h 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3238">
                    <a:moveTo>
                      <a:pt x="0" y="796"/>
                    </a:moveTo>
                    <a:lnTo>
                      <a:pt x="2744" y="0"/>
                    </a:lnTo>
                    <a:lnTo>
                      <a:pt x="4363" y="1564"/>
                    </a:lnTo>
                    <a:lnTo>
                      <a:pt x="2772" y="3238"/>
                    </a:lnTo>
                    <a:lnTo>
                      <a:pt x="0" y="8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90" name="Freeform: Shape 4689">
                <a:extLst>
                  <a:ext uri="{FF2B5EF4-FFF2-40B4-BE49-F238E27FC236}">
                    <a16:creationId xmlns:a16="http://schemas.microsoft.com/office/drawing/2014/main" id="{5948F1E0-80E2-469D-CC8E-A24F86F65730}"/>
                  </a:ext>
                </a:extLst>
              </p:cNvPr>
              <p:cNvSpPr/>
              <p:nvPr/>
            </p:nvSpPr>
            <p:spPr>
              <a:xfrm>
                <a:off x="1772266" y="3854921"/>
                <a:ext cx="352" cy="435"/>
              </a:xfrm>
              <a:custGeom>
                <a:avLst/>
                <a:gdLst>
                  <a:gd name="connsiteX0" fmla="*/ 0 w 3375"/>
                  <a:gd name="connsiteY0" fmla="*/ 1345 h 4171"/>
                  <a:gd name="connsiteX1" fmla="*/ 1564 w 3375"/>
                  <a:gd name="connsiteY1" fmla="*/ 0 h 4171"/>
                  <a:gd name="connsiteX2" fmla="*/ 3375 w 3375"/>
                  <a:gd name="connsiteY2" fmla="*/ 2086 h 4171"/>
                  <a:gd name="connsiteX3" fmla="*/ 1564 w 3375"/>
                  <a:gd name="connsiteY3" fmla="*/ 4171 h 4171"/>
                  <a:gd name="connsiteX4" fmla="*/ 0 w 3375"/>
                  <a:gd name="connsiteY4" fmla="*/ 1317 h 4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4171">
                    <a:moveTo>
                      <a:pt x="0" y="1345"/>
                    </a:moveTo>
                    <a:lnTo>
                      <a:pt x="1564" y="0"/>
                    </a:lnTo>
                    <a:lnTo>
                      <a:pt x="3375" y="2086"/>
                    </a:lnTo>
                    <a:lnTo>
                      <a:pt x="1564" y="4171"/>
                    </a:lnTo>
                    <a:lnTo>
                      <a:pt x="0" y="13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91" name="Freeform: Shape 4690">
                <a:extLst>
                  <a:ext uri="{FF2B5EF4-FFF2-40B4-BE49-F238E27FC236}">
                    <a16:creationId xmlns:a16="http://schemas.microsoft.com/office/drawing/2014/main" id="{8BCAC44C-C731-BAD5-8F84-50445623DEAD}"/>
                  </a:ext>
                </a:extLst>
              </p:cNvPr>
              <p:cNvSpPr/>
              <p:nvPr/>
            </p:nvSpPr>
            <p:spPr>
              <a:xfrm>
                <a:off x="1768322" y="3856553"/>
                <a:ext cx="338" cy="446"/>
              </a:xfrm>
              <a:custGeom>
                <a:avLst/>
                <a:gdLst>
                  <a:gd name="connsiteX0" fmla="*/ 0 w 3238"/>
                  <a:gd name="connsiteY0" fmla="*/ 823 h 4280"/>
                  <a:gd name="connsiteX1" fmla="*/ 2278 w 3238"/>
                  <a:gd name="connsiteY1" fmla="*/ 0 h 4280"/>
                  <a:gd name="connsiteX2" fmla="*/ 3238 w 3238"/>
                  <a:gd name="connsiteY2" fmla="*/ 3211 h 4280"/>
                  <a:gd name="connsiteX3" fmla="*/ 2278 w 3238"/>
                  <a:gd name="connsiteY3" fmla="*/ 4281 h 4280"/>
                  <a:gd name="connsiteX4" fmla="*/ 0 w 3238"/>
                  <a:gd name="connsiteY4" fmla="*/ 823 h 4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4280">
                    <a:moveTo>
                      <a:pt x="0" y="823"/>
                    </a:moveTo>
                    <a:lnTo>
                      <a:pt x="2278" y="0"/>
                    </a:lnTo>
                    <a:lnTo>
                      <a:pt x="3238" y="3211"/>
                    </a:lnTo>
                    <a:lnTo>
                      <a:pt x="2278" y="4281"/>
                    </a:lnTo>
                    <a:lnTo>
                      <a:pt x="0" y="8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92" name="Freeform: Shape 4691">
                <a:extLst>
                  <a:ext uri="{FF2B5EF4-FFF2-40B4-BE49-F238E27FC236}">
                    <a16:creationId xmlns:a16="http://schemas.microsoft.com/office/drawing/2014/main" id="{6B84EBCF-FB32-8472-9834-730F445AAD48}"/>
                  </a:ext>
                </a:extLst>
              </p:cNvPr>
              <p:cNvSpPr/>
              <p:nvPr/>
            </p:nvSpPr>
            <p:spPr>
              <a:xfrm>
                <a:off x="1780218" y="3848842"/>
                <a:ext cx="372" cy="409"/>
              </a:xfrm>
              <a:custGeom>
                <a:avLst/>
                <a:gdLst>
                  <a:gd name="connsiteX0" fmla="*/ 0 w 3567"/>
                  <a:gd name="connsiteY0" fmla="*/ 2003 h 3924"/>
                  <a:gd name="connsiteX1" fmla="*/ 2662 w 3567"/>
                  <a:gd name="connsiteY1" fmla="*/ 0 h 3924"/>
                  <a:gd name="connsiteX2" fmla="*/ 3568 w 3567"/>
                  <a:gd name="connsiteY2" fmla="*/ 2168 h 3924"/>
                  <a:gd name="connsiteX3" fmla="*/ 2442 w 3567"/>
                  <a:gd name="connsiteY3" fmla="*/ 3924 h 3924"/>
                  <a:gd name="connsiteX4" fmla="*/ 0 w 3567"/>
                  <a:gd name="connsiteY4" fmla="*/ 2031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924">
                    <a:moveTo>
                      <a:pt x="0" y="2003"/>
                    </a:moveTo>
                    <a:lnTo>
                      <a:pt x="2662" y="0"/>
                    </a:lnTo>
                    <a:lnTo>
                      <a:pt x="3568" y="2168"/>
                    </a:lnTo>
                    <a:lnTo>
                      <a:pt x="2442" y="3924"/>
                    </a:lnTo>
                    <a:lnTo>
                      <a:pt x="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93" name="Freeform: Shape 4692">
                <a:extLst>
                  <a:ext uri="{FF2B5EF4-FFF2-40B4-BE49-F238E27FC236}">
                    <a16:creationId xmlns:a16="http://schemas.microsoft.com/office/drawing/2014/main" id="{8938F10F-4409-6E18-043C-7346563F3F0F}"/>
                  </a:ext>
                </a:extLst>
              </p:cNvPr>
              <p:cNvSpPr/>
              <p:nvPr/>
            </p:nvSpPr>
            <p:spPr>
              <a:xfrm>
                <a:off x="1762766" y="3844356"/>
                <a:ext cx="361" cy="421"/>
              </a:xfrm>
              <a:custGeom>
                <a:avLst/>
                <a:gdLst>
                  <a:gd name="connsiteX0" fmla="*/ 0 w 3457"/>
                  <a:gd name="connsiteY0" fmla="*/ 1455 h 4034"/>
                  <a:gd name="connsiteX1" fmla="*/ 1701 w 3457"/>
                  <a:gd name="connsiteY1" fmla="*/ 0 h 4034"/>
                  <a:gd name="connsiteX2" fmla="*/ 3458 w 3457"/>
                  <a:gd name="connsiteY2" fmla="*/ 2113 h 4034"/>
                  <a:gd name="connsiteX3" fmla="*/ 1564 w 3457"/>
                  <a:gd name="connsiteY3" fmla="*/ 4034 h 4034"/>
                  <a:gd name="connsiteX4" fmla="*/ 27 w 3457"/>
                  <a:gd name="connsiteY4" fmla="*/ 1427 h 4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4034">
                    <a:moveTo>
                      <a:pt x="0" y="1455"/>
                    </a:moveTo>
                    <a:lnTo>
                      <a:pt x="1701" y="0"/>
                    </a:lnTo>
                    <a:lnTo>
                      <a:pt x="3458" y="2113"/>
                    </a:lnTo>
                    <a:lnTo>
                      <a:pt x="1564" y="4034"/>
                    </a:lnTo>
                    <a:lnTo>
                      <a:pt x="27"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94" name="Freeform: Shape 4693">
                <a:extLst>
                  <a:ext uri="{FF2B5EF4-FFF2-40B4-BE49-F238E27FC236}">
                    <a16:creationId xmlns:a16="http://schemas.microsoft.com/office/drawing/2014/main" id="{70FC3B29-2318-5048-894A-8C3875C55ACA}"/>
                  </a:ext>
                </a:extLst>
              </p:cNvPr>
              <p:cNvSpPr/>
              <p:nvPr/>
            </p:nvSpPr>
            <p:spPr>
              <a:xfrm>
                <a:off x="1778833" y="3852594"/>
                <a:ext cx="461" cy="323"/>
              </a:xfrm>
              <a:custGeom>
                <a:avLst/>
                <a:gdLst>
                  <a:gd name="connsiteX0" fmla="*/ 0 w 4418"/>
                  <a:gd name="connsiteY0" fmla="*/ 1894 h 3101"/>
                  <a:gd name="connsiteX1" fmla="*/ 521 w 4418"/>
                  <a:gd name="connsiteY1" fmla="*/ 0 h 3101"/>
                  <a:gd name="connsiteX2" fmla="*/ 4419 w 4418"/>
                  <a:gd name="connsiteY2" fmla="*/ 1729 h 3101"/>
                  <a:gd name="connsiteX3" fmla="*/ 2388 w 4418"/>
                  <a:gd name="connsiteY3" fmla="*/ 3101 h 3101"/>
                  <a:gd name="connsiteX4" fmla="*/ 27 w 4418"/>
                  <a:gd name="connsiteY4" fmla="*/ 1921 h 3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3101">
                    <a:moveTo>
                      <a:pt x="0" y="1894"/>
                    </a:moveTo>
                    <a:lnTo>
                      <a:pt x="521" y="0"/>
                    </a:lnTo>
                    <a:lnTo>
                      <a:pt x="4419" y="1729"/>
                    </a:lnTo>
                    <a:lnTo>
                      <a:pt x="2388" y="3101"/>
                    </a:lnTo>
                    <a:lnTo>
                      <a:pt x="27" y="19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95" name="Freeform: Shape 4694">
                <a:extLst>
                  <a:ext uri="{FF2B5EF4-FFF2-40B4-BE49-F238E27FC236}">
                    <a16:creationId xmlns:a16="http://schemas.microsoft.com/office/drawing/2014/main" id="{EEE01468-249A-C2F1-732C-B710CAE274A9}"/>
                  </a:ext>
                </a:extLst>
              </p:cNvPr>
              <p:cNvSpPr/>
              <p:nvPr/>
            </p:nvSpPr>
            <p:spPr>
              <a:xfrm>
                <a:off x="1762165" y="3844428"/>
                <a:ext cx="358" cy="412"/>
              </a:xfrm>
              <a:custGeom>
                <a:avLst/>
                <a:gdLst>
                  <a:gd name="connsiteX0" fmla="*/ 27 w 3430"/>
                  <a:gd name="connsiteY0" fmla="*/ 1318 h 3951"/>
                  <a:gd name="connsiteX1" fmla="*/ 1152 w 3430"/>
                  <a:gd name="connsiteY1" fmla="*/ 0 h 3951"/>
                  <a:gd name="connsiteX2" fmla="*/ 3430 w 3430"/>
                  <a:gd name="connsiteY2" fmla="*/ 2388 h 3951"/>
                  <a:gd name="connsiteX3" fmla="*/ 549 w 3430"/>
                  <a:gd name="connsiteY3" fmla="*/ 3952 h 3951"/>
                  <a:gd name="connsiteX4" fmla="*/ 0 w 3430"/>
                  <a:gd name="connsiteY4" fmla="*/ 1318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3951">
                    <a:moveTo>
                      <a:pt x="27" y="1318"/>
                    </a:moveTo>
                    <a:lnTo>
                      <a:pt x="1152" y="0"/>
                    </a:lnTo>
                    <a:lnTo>
                      <a:pt x="3430" y="2388"/>
                    </a:lnTo>
                    <a:lnTo>
                      <a:pt x="549" y="3952"/>
                    </a:lnTo>
                    <a:lnTo>
                      <a:pt x="0" y="13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96" name="Freeform: Shape 4695">
                <a:extLst>
                  <a:ext uri="{FF2B5EF4-FFF2-40B4-BE49-F238E27FC236}">
                    <a16:creationId xmlns:a16="http://schemas.microsoft.com/office/drawing/2014/main" id="{5F19B763-C4C3-498E-AA13-B9182A4480BC}"/>
                  </a:ext>
                </a:extLst>
              </p:cNvPr>
              <p:cNvSpPr/>
              <p:nvPr/>
            </p:nvSpPr>
            <p:spPr>
              <a:xfrm>
                <a:off x="1752880" y="3840215"/>
                <a:ext cx="349" cy="412"/>
              </a:xfrm>
              <a:custGeom>
                <a:avLst/>
                <a:gdLst>
                  <a:gd name="connsiteX0" fmla="*/ 0 w 3347"/>
                  <a:gd name="connsiteY0" fmla="*/ 1455 h 3951"/>
                  <a:gd name="connsiteX1" fmla="*/ 1509 w 3347"/>
                  <a:gd name="connsiteY1" fmla="*/ 0 h 3951"/>
                  <a:gd name="connsiteX2" fmla="*/ 3348 w 3347"/>
                  <a:gd name="connsiteY2" fmla="*/ 604 h 3951"/>
                  <a:gd name="connsiteX3" fmla="*/ 2251 w 3347"/>
                  <a:gd name="connsiteY3" fmla="*/ 3952 h 3951"/>
                  <a:gd name="connsiteX4" fmla="*/ 0 w 3347"/>
                  <a:gd name="connsiteY4" fmla="*/ 1427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7" h="3951">
                    <a:moveTo>
                      <a:pt x="0" y="1455"/>
                    </a:moveTo>
                    <a:lnTo>
                      <a:pt x="1509" y="0"/>
                    </a:lnTo>
                    <a:lnTo>
                      <a:pt x="3348" y="604"/>
                    </a:lnTo>
                    <a:lnTo>
                      <a:pt x="2251" y="3952"/>
                    </a:lnTo>
                    <a:lnTo>
                      <a:pt x="0"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97" name="Freeform: Shape 4696">
                <a:extLst>
                  <a:ext uri="{FF2B5EF4-FFF2-40B4-BE49-F238E27FC236}">
                    <a16:creationId xmlns:a16="http://schemas.microsoft.com/office/drawing/2014/main" id="{D8B48BEB-2CCC-E05B-B33D-75FCC23857E5}"/>
                  </a:ext>
                </a:extLst>
              </p:cNvPr>
              <p:cNvSpPr/>
              <p:nvPr/>
            </p:nvSpPr>
            <p:spPr>
              <a:xfrm>
                <a:off x="1764787" y="3846323"/>
                <a:ext cx="372" cy="381"/>
              </a:xfrm>
              <a:custGeom>
                <a:avLst/>
                <a:gdLst>
                  <a:gd name="connsiteX0" fmla="*/ 0 w 3567"/>
                  <a:gd name="connsiteY0" fmla="*/ 2223 h 3649"/>
                  <a:gd name="connsiteX1" fmla="*/ 2360 w 3567"/>
                  <a:gd name="connsiteY1" fmla="*/ 0 h 3649"/>
                  <a:gd name="connsiteX2" fmla="*/ 3568 w 3567"/>
                  <a:gd name="connsiteY2" fmla="*/ 2799 h 3649"/>
                  <a:gd name="connsiteX3" fmla="*/ 906 w 3567"/>
                  <a:gd name="connsiteY3" fmla="*/ 3650 h 3649"/>
                  <a:gd name="connsiteX4" fmla="*/ 0 w 3567"/>
                  <a:gd name="connsiteY4" fmla="*/ 2223 h 3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649">
                    <a:moveTo>
                      <a:pt x="0" y="2223"/>
                    </a:moveTo>
                    <a:lnTo>
                      <a:pt x="2360" y="0"/>
                    </a:lnTo>
                    <a:lnTo>
                      <a:pt x="3568" y="2799"/>
                    </a:lnTo>
                    <a:lnTo>
                      <a:pt x="906" y="3650"/>
                    </a:lnTo>
                    <a:lnTo>
                      <a:pt x="0"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98" name="Freeform: Shape 4697">
                <a:extLst>
                  <a:ext uri="{FF2B5EF4-FFF2-40B4-BE49-F238E27FC236}">
                    <a16:creationId xmlns:a16="http://schemas.microsoft.com/office/drawing/2014/main" id="{DDA4076C-CFBC-301E-DB5F-CDC72852562B}"/>
                  </a:ext>
                </a:extLst>
              </p:cNvPr>
              <p:cNvSpPr/>
              <p:nvPr/>
            </p:nvSpPr>
            <p:spPr>
              <a:xfrm>
                <a:off x="1745612" y="3862472"/>
                <a:ext cx="361" cy="401"/>
              </a:xfrm>
              <a:custGeom>
                <a:avLst/>
                <a:gdLst>
                  <a:gd name="connsiteX0" fmla="*/ 0 w 3457"/>
                  <a:gd name="connsiteY0" fmla="*/ 2305 h 3842"/>
                  <a:gd name="connsiteX1" fmla="*/ 1098 w 3457"/>
                  <a:gd name="connsiteY1" fmla="*/ 0 h 3842"/>
                  <a:gd name="connsiteX2" fmla="*/ 2909 w 3457"/>
                  <a:gd name="connsiteY2" fmla="*/ 1015 h 3842"/>
                  <a:gd name="connsiteX3" fmla="*/ 3458 w 3457"/>
                  <a:gd name="connsiteY3" fmla="*/ 3842 h 3842"/>
                  <a:gd name="connsiteX4" fmla="*/ 27 w 3457"/>
                  <a:gd name="connsiteY4" fmla="*/ 2305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3842">
                    <a:moveTo>
                      <a:pt x="0" y="2305"/>
                    </a:moveTo>
                    <a:lnTo>
                      <a:pt x="1098" y="0"/>
                    </a:lnTo>
                    <a:lnTo>
                      <a:pt x="2909" y="1015"/>
                    </a:lnTo>
                    <a:lnTo>
                      <a:pt x="3458" y="3842"/>
                    </a:lnTo>
                    <a:lnTo>
                      <a:pt x="27" y="23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699" name="Freeform: Shape 4698">
                <a:extLst>
                  <a:ext uri="{FF2B5EF4-FFF2-40B4-BE49-F238E27FC236}">
                    <a16:creationId xmlns:a16="http://schemas.microsoft.com/office/drawing/2014/main" id="{31F8CF88-8CDD-6134-C264-3E79A073A60C}"/>
                  </a:ext>
                </a:extLst>
              </p:cNvPr>
              <p:cNvSpPr/>
              <p:nvPr/>
            </p:nvSpPr>
            <p:spPr>
              <a:xfrm>
                <a:off x="1762503" y="3844763"/>
                <a:ext cx="375" cy="378"/>
              </a:xfrm>
              <a:custGeom>
                <a:avLst/>
                <a:gdLst>
                  <a:gd name="connsiteX0" fmla="*/ 0 w 3595"/>
                  <a:gd name="connsiteY0" fmla="*/ 1427 h 3622"/>
                  <a:gd name="connsiteX1" fmla="*/ 412 w 3595"/>
                  <a:gd name="connsiteY1" fmla="*/ 0 h 3622"/>
                  <a:gd name="connsiteX2" fmla="*/ 2717 w 3595"/>
                  <a:gd name="connsiteY2" fmla="*/ 1235 h 3622"/>
                  <a:gd name="connsiteX3" fmla="*/ 3595 w 3595"/>
                  <a:gd name="connsiteY3" fmla="*/ 3485 h 3622"/>
                  <a:gd name="connsiteX4" fmla="*/ 1839 w 3595"/>
                  <a:gd name="connsiteY4" fmla="*/ 3623 h 3622"/>
                  <a:gd name="connsiteX5" fmla="*/ 0 w 3595"/>
                  <a:gd name="connsiteY5" fmla="*/ 1427 h 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5" h="3622">
                    <a:moveTo>
                      <a:pt x="0" y="1427"/>
                    </a:moveTo>
                    <a:lnTo>
                      <a:pt x="412" y="0"/>
                    </a:lnTo>
                    <a:lnTo>
                      <a:pt x="2717" y="1235"/>
                    </a:lnTo>
                    <a:lnTo>
                      <a:pt x="3595" y="3485"/>
                    </a:lnTo>
                    <a:lnTo>
                      <a:pt x="1839" y="3623"/>
                    </a:lnTo>
                    <a:lnTo>
                      <a:pt x="0"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00" name="Freeform: Shape 4699">
                <a:extLst>
                  <a:ext uri="{FF2B5EF4-FFF2-40B4-BE49-F238E27FC236}">
                    <a16:creationId xmlns:a16="http://schemas.microsoft.com/office/drawing/2014/main" id="{2D8449C3-70C5-04E5-25A9-A4D5579CE313}"/>
                  </a:ext>
                </a:extLst>
              </p:cNvPr>
              <p:cNvSpPr/>
              <p:nvPr/>
            </p:nvSpPr>
            <p:spPr>
              <a:xfrm>
                <a:off x="1756432" y="3854443"/>
                <a:ext cx="475" cy="295"/>
              </a:xfrm>
              <a:custGeom>
                <a:avLst/>
                <a:gdLst>
                  <a:gd name="connsiteX0" fmla="*/ 0 w 4555"/>
                  <a:gd name="connsiteY0" fmla="*/ 1180 h 2826"/>
                  <a:gd name="connsiteX1" fmla="*/ 2772 w 4555"/>
                  <a:gd name="connsiteY1" fmla="*/ 0 h 2826"/>
                  <a:gd name="connsiteX2" fmla="*/ 4556 w 4555"/>
                  <a:gd name="connsiteY2" fmla="*/ 1948 h 2826"/>
                  <a:gd name="connsiteX3" fmla="*/ 4034 w 4555"/>
                  <a:gd name="connsiteY3" fmla="*/ 2826 h 2826"/>
                  <a:gd name="connsiteX4" fmla="*/ 659 w 4555"/>
                  <a:gd name="connsiteY4" fmla="*/ 2113 h 2826"/>
                  <a:gd name="connsiteX5" fmla="*/ 27 w 4555"/>
                  <a:gd name="connsiteY5" fmla="*/ 1180 h 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 h="2826">
                    <a:moveTo>
                      <a:pt x="0" y="1180"/>
                    </a:moveTo>
                    <a:lnTo>
                      <a:pt x="2772" y="0"/>
                    </a:lnTo>
                    <a:lnTo>
                      <a:pt x="4556" y="1948"/>
                    </a:lnTo>
                    <a:lnTo>
                      <a:pt x="4034" y="2826"/>
                    </a:lnTo>
                    <a:lnTo>
                      <a:pt x="659" y="2113"/>
                    </a:lnTo>
                    <a:lnTo>
                      <a:pt x="27"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01" name="Freeform: Shape 4700">
                <a:extLst>
                  <a:ext uri="{FF2B5EF4-FFF2-40B4-BE49-F238E27FC236}">
                    <a16:creationId xmlns:a16="http://schemas.microsoft.com/office/drawing/2014/main" id="{BF61DD6C-D9C0-A8D4-EB05-F35BD946814F}"/>
                  </a:ext>
                </a:extLst>
              </p:cNvPr>
              <p:cNvSpPr/>
              <p:nvPr/>
            </p:nvSpPr>
            <p:spPr>
              <a:xfrm>
                <a:off x="1738230" y="3844794"/>
                <a:ext cx="381" cy="361"/>
              </a:xfrm>
              <a:custGeom>
                <a:avLst/>
                <a:gdLst>
                  <a:gd name="connsiteX0" fmla="*/ 0 w 3649"/>
                  <a:gd name="connsiteY0" fmla="*/ 1647 h 3457"/>
                  <a:gd name="connsiteX1" fmla="*/ 1426 w 3649"/>
                  <a:gd name="connsiteY1" fmla="*/ 0 h 3457"/>
                  <a:gd name="connsiteX2" fmla="*/ 3649 w 3649"/>
                  <a:gd name="connsiteY2" fmla="*/ 82 h 3457"/>
                  <a:gd name="connsiteX3" fmla="*/ 2195 w 3649"/>
                  <a:gd name="connsiteY3" fmla="*/ 3458 h 3457"/>
                  <a:gd name="connsiteX4" fmla="*/ 0 w 3649"/>
                  <a:gd name="connsiteY4" fmla="*/ 1647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9" h="3457">
                    <a:moveTo>
                      <a:pt x="0" y="1647"/>
                    </a:moveTo>
                    <a:lnTo>
                      <a:pt x="1426" y="0"/>
                    </a:lnTo>
                    <a:lnTo>
                      <a:pt x="3649" y="82"/>
                    </a:lnTo>
                    <a:lnTo>
                      <a:pt x="2195" y="3458"/>
                    </a:lnTo>
                    <a:lnTo>
                      <a:pt x="0"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02" name="Freeform: Shape 4701">
                <a:extLst>
                  <a:ext uri="{FF2B5EF4-FFF2-40B4-BE49-F238E27FC236}">
                    <a16:creationId xmlns:a16="http://schemas.microsoft.com/office/drawing/2014/main" id="{F0CC67F9-2BF5-7D39-45E5-2C078FF19CA5}"/>
                  </a:ext>
                </a:extLst>
              </p:cNvPr>
              <p:cNvSpPr/>
              <p:nvPr/>
            </p:nvSpPr>
            <p:spPr>
              <a:xfrm>
                <a:off x="1777464" y="3850576"/>
                <a:ext cx="295" cy="472"/>
              </a:xfrm>
              <a:custGeom>
                <a:avLst/>
                <a:gdLst>
                  <a:gd name="connsiteX0" fmla="*/ 2772 w 2826"/>
                  <a:gd name="connsiteY0" fmla="*/ 2415 h 4527"/>
                  <a:gd name="connsiteX1" fmla="*/ 1290 w 2826"/>
                  <a:gd name="connsiteY1" fmla="*/ 4528 h 4527"/>
                  <a:gd name="connsiteX2" fmla="*/ 0 w 2826"/>
                  <a:gd name="connsiteY2" fmla="*/ 2909 h 4527"/>
                  <a:gd name="connsiteX3" fmla="*/ 1674 w 2826"/>
                  <a:gd name="connsiteY3" fmla="*/ 0 h 4527"/>
                  <a:gd name="connsiteX4" fmla="*/ 2827 w 2826"/>
                  <a:gd name="connsiteY4" fmla="*/ 274 h 4527"/>
                  <a:gd name="connsiteX5" fmla="*/ 2772 w 2826"/>
                  <a:gd name="connsiteY5" fmla="*/ 2388 h 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6" h="4527">
                    <a:moveTo>
                      <a:pt x="2772" y="2415"/>
                    </a:moveTo>
                    <a:lnTo>
                      <a:pt x="1290" y="4528"/>
                    </a:lnTo>
                    <a:lnTo>
                      <a:pt x="0" y="2909"/>
                    </a:lnTo>
                    <a:lnTo>
                      <a:pt x="1674" y="0"/>
                    </a:lnTo>
                    <a:lnTo>
                      <a:pt x="2827" y="274"/>
                    </a:lnTo>
                    <a:lnTo>
                      <a:pt x="2772"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03" name="Freeform: Shape 4702">
                <a:extLst>
                  <a:ext uri="{FF2B5EF4-FFF2-40B4-BE49-F238E27FC236}">
                    <a16:creationId xmlns:a16="http://schemas.microsoft.com/office/drawing/2014/main" id="{961C6B8D-4761-6E7A-F6C8-0713DC64B586}"/>
                  </a:ext>
                </a:extLst>
              </p:cNvPr>
              <p:cNvSpPr/>
              <p:nvPr/>
            </p:nvSpPr>
            <p:spPr>
              <a:xfrm>
                <a:off x="1740557" y="3870341"/>
                <a:ext cx="386" cy="358"/>
              </a:xfrm>
              <a:custGeom>
                <a:avLst/>
                <a:gdLst>
                  <a:gd name="connsiteX0" fmla="*/ 0 w 3705"/>
                  <a:gd name="connsiteY0" fmla="*/ 988 h 3430"/>
                  <a:gd name="connsiteX1" fmla="*/ 521 w 3705"/>
                  <a:gd name="connsiteY1" fmla="*/ 0 h 3430"/>
                  <a:gd name="connsiteX2" fmla="*/ 3705 w 3705"/>
                  <a:gd name="connsiteY2" fmla="*/ 384 h 3430"/>
                  <a:gd name="connsiteX3" fmla="*/ 2634 w 3705"/>
                  <a:gd name="connsiteY3" fmla="*/ 3430 h 3430"/>
                  <a:gd name="connsiteX4" fmla="*/ 0 w 3705"/>
                  <a:gd name="connsiteY4" fmla="*/ 988 h 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5" h="3430">
                    <a:moveTo>
                      <a:pt x="0" y="988"/>
                    </a:moveTo>
                    <a:lnTo>
                      <a:pt x="521" y="0"/>
                    </a:lnTo>
                    <a:lnTo>
                      <a:pt x="3705" y="384"/>
                    </a:lnTo>
                    <a:lnTo>
                      <a:pt x="2634" y="3430"/>
                    </a:lnTo>
                    <a:lnTo>
                      <a:pt x="0"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04" name="Freeform: Shape 4703">
                <a:extLst>
                  <a:ext uri="{FF2B5EF4-FFF2-40B4-BE49-F238E27FC236}">
                    <a16:creationId xmlns:a16="http://schemas.microsoft.com/office/drawing/2014/main" id="{A1DE87B9-C9FF-FA98-1522-E675E6799B53}"/>
                  </a:ext>
                </a:extLst>
              </p:cNvPr>
              <p:cNvSpPr/>
              <p:nvPr/>
            </p:nvSpPr>
            <p:spPr>
              <a:xfrm>
                <a:off x="1755364" y="3856161"/>
                <a:ext cx="384" cy="361"/>
              </a:xfrm>
              <a:custGeom>
                <a:avLst/>
                <a:gdLst>
                  <a:gd name="connsiteX0" fmla="*/ 0 w 3677"/>
                  <a:gd name="connsiteY0" fmla="*/ 1097 h 3457"/>
                  <a:gd name="connsiteX1" fmla="*/ 988 w 3677"/>
                  <a:gd name="connsiteY1" fmla="*/ 0 h 3457"/>
                  <a:gd name="connsiteX2" fmla="*/ 3678 w 3677"/>
                  <a:gd name="connsiteY2" fmla="*/ 439 h 3457"/>
                  <a:gd name="connsiteX3" fmla="*/ 3074 w 3677"/>
                  <a:gd name="connsiteY3" fmla="*/ 3458 h 3457"/>
                  <a:gd name="connsiteX4" fmla="*/ 0 w 3677"/>
                  <a:gd name="connsiteY4" fmla="*/ 1125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7" h="3457">
                    <a:moveTo>
                      <a:pt x="0" y="1097"/>
                    </a:moveTo>
                    <a:lnTo>
                      <a:pt x="988" y="0"/>
                    </a:lnTo>
                    <a:lnTo>
                      <a:pt x="3678" y="439"/>
                    </a:lnTo>
                    <a:lnTo>
                      <a:pt x="3074" y="3458"/>
                    </a:lnTo>
                    <a:lnTo>
                      <a:pt x="0" y="11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05" name="Freeform: Shape 4704">
                <a:extLst>
                  <a:ext uri="{FF2B5EF4-FFF2-40B4-BE49-F238E27FC236}">
                    <a16:creationId xmlns:a16="http://schemas.microsoft.com/office/drawing/2014/main" id="{19FB0739-9986-693A-1311-2467311526BE}"/>
                  </a:ext>
                </a:extLst>
              </p:cNvPr>
              <p:cNvSpPr/>
              <p:nvPr/>
            </p:nvSpPr>
            <p:spPr>
              <a:xfrm>
                <a:off x="1772973" y="3862215"/>
                <a:ext cx="275" cy="501"/>
              </a:xfrm>
              <a:custGeom>
                <a:avLst/>
                <a:gdLst>
                  <a:gd name="connsiteX0" fmla="*/ 2305 w 2634"/>
                  <a:gd name="connsiteY0" fmla="*/ 2937 h 4802"/>
                  <a:gd name="connsiteX1" fmla="*/ 330 w 2634"/>
                  <a:gd name="connsiteY1" fmla="*/ 4803 h 4802"/>
                  <a:gd name="connsiteX2" fmla="*/ 0 w 2634"/>
                  <a:gd name="connsiteY2" fmla="*/ 2992 h 4802"/>
                  <a:gd name="connsiteX3" fmla="*/ 714 w 2634"/>
                  <a:gd name="connsiteY3" fmla="*/ 1537 h 4802"/>
                  <a:gd name="connsiteX4" fmla="*/ 1455 w 2634"/>
                  <a:gd name="connsiteY4" fmla="*/ 0 h 4802"/>
                  <a:gd name="connsiteX5" fmla="*/ 2634 w 2634"/>
                  <a:gd name="connsiteY5" fmla="*/ 357 h 4802"/>
                  <a:gd name="connsiteX6" fmla="*/ 2470 w 2634"/>
                  <a:gd name="connsiteY6" fmla="*/ 1537 h 4802"/>
                  <a:gd name="connsiteX7" fmla="*/ 2278 w 2634"/>
                  <a:gd name="connsiteY7" fmla="*/ 2909 h 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4" h="4802">
                    <a:moveTo>
                      <a:pt x="2305" y="2937"/>
                    </a:moveTo>
                    <a:lnTo>
                      <a:pt x="330" y="4803"/>
                    </a:lnTo>
                    <a:lnTo>
                      <a:pt x="0" y="2992"/>
                    </a:lnTo>
                    <a:lnTo>
                      <a:pt x="714" y="1537"/>
                    </a:lnTo>
                    <a:lnTo>
                      <a:pt x="1455" y="0"/>
                    </a:lnTo>
                    <a:lnTo>
                      <a:pt x="2634" y="357"/>
                    </a:lnTo>
                    <a:lnTo>
                      <a:pt x="2470" y="1537"/>
                    </a:lnTo>
                    <a:lnTo>
                      <a:pt x="2278"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06" name="Freeform: Shape 4705">
                <a:extLst>
                  <a:ext uri="{FF2B5EF4-FFF2-40B4-BE49-F238E27FC236}">
                    <a16:creationId xmlns:a16="http://schemas.microsoft.com/office/drawing/2014/main" id="{A5187230-74A1-19E6-86F0-00A3934738A3}"/>
                  </a:ext>
                </a:extLst>
              </p:cNvPr>
              <p:cNvSpPr/>
              <p:nvPr/>
            </p:nvSpPr>
            <p:spPr>
              <a:xfrm>
                <a:off x="1770100" y="3860655"/>
                <a:ext cx="363" cy="372"/>
              </a:xfrm>
              <a:custGeom>
                <a:avLst/>
                <a:gdLst>
                  <a:gd name="connsiteX0" fmla="*/ 0 w 3485"/>
                  <a:gd name="connsiteY0" fmla="*/ 2936 h 3567"/>
                  <a:gd name="connsiteX1" fmla="*/ 1455 w 3485"/>
                  <a:gd name="connsiteY1" fmla="*/ 0 h 3567"/>
                  <a:gd name="connsiteX2" fmla="*/ 3485 w 3485"/>
                  <a:gd name="connsiteY2" fmla="*/ 1537 h 3567"/>
                  <a:gd name="connsiteX3" fmla="*/ 2498 w 3485"/>
                  <a:gd name="connsiteY3" fmla="*/ 3568 h 3567"/>
                  <a:gd name="connsiteX4" fmla="*/ 0 w 3485"/>
                  <a:gd name="connsiteY4" fmla="*/ 2936 h 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3567">
                    <a:moveTo>
                      <a:pt x="0" y="2936"/>
                    </a:moveTo>
                    <a:lnTo>
                      <a:pt x="1455" y="0"/>
                    </a:lnTo>
                    <a:lnTo>
                      <a:pt x="3485" y="1537"/>
                    </a:lnTo>
                    <a:lnTo>
                      <a:pt x="2498" y="3568"/>
                    </a:lnTo>
                    <a:lnTo>
                      <a:pt x="0" y="29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07" name="Freeform: Shape 4706">
                <a:extLst>
                  <a:ext uri="{FF2B5EF4-FFF2-40B4-BE49-F238E27FC236}">
                    <a16:creationId xmlns:a16="http://schemas.microsoft.com/office/drawing/2014/main" id="{FAA15EAC-9AF1-F51F-8E10-22BE5EC1386B}"/>
                  </a:ext>
                </a:extLst>
              </p:cNvPr>
              <p:cNvSpPr/>
              <p:nvPr/>
            </p:nvSpPr>
            <p:spPr>
              <a:xfrm>
                <a:off x="1742796" y="3855336"/>
                <a:ext cx="458" cy="298"/>
              </a:xfrm>
              <a:custGeom>
                <a:avLst/>
                <a:gdLst>
                  <a:gd name="connsiteX0" fmla="*/ 0 w 4390"/>
                  <a:gd name="connsiteY0" fmla="*/ 1400 h 2853"/>
                  <a:gd name="connsiteX1" fmla="*/ 4116 w 4390"/>
                  <a:gd name="connsiteY1" fmla="*/ 0 h 2853"/>
                  <a:gd name="connsiteX2" fmla="*/ 4390 w 4390"/>
                  <a:gd name="connsiteY2" fmla="*/ 2223 h 2853"/>
                  <a:gd name="connsiteX3" fmla="*/ 2360 w 4390"/>
                  <a:gd name="connsiteY3" fmla="*/ 2854 h 2853"/>
                  <a:gd name="connsiteX4" fmla="*/ 27 w 4390"/>
                  <a:gd name="connsiteY4" fmla="*/ 1372 h 2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0" h="2853">
                    <a:moveTo>
                      <a:pt x="0" y="1400"/>
                    </a:moveTo>
                    <a:lnTo>
                      <a:pt x="4116" y="0"/>
                    </a:lnTo>
                    <a:lnTo>
                      <a:pt x="4390" y="2223"/>
                    </a:lnTo>
                    <a:lnTo>
                      <a:pt x="2360" y="2854"/>
                    </a:lnTo>
                    <a:lnTo>
                      <a:pt x="27" y="13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08" name="Freeform: Shape 4707">
                <a:extLst>
                  <a:ext uri="{FF2B5EF4-FFF2-40B4-BE49-F238E27FC236}">
                    <a16:creationId xmlns:a16="http://schemas.microsoft.com/office/drawing/2014/main" id="{ED06C601-123C-5CEC-3500-5A2BCC0D449B}"/>
                  </a:ext>
                </a:extLst>
              </p:cNvPr>
              <p:cNvSpPr/>
              <p:nvPr/>
            </p:nvSpPr>
            <p:spPr>
              <a:xfrm>
                <a:off x="1745395" y="3862023"/>
                <a:ext cx="472" cy="292"/>
              </a:xfrm>
              <a:custGeom>
                <a:avLst/>
                <a:gdLst>
                  <a:gd name="connsiteX0" fmla="*/ 0 w 4528"/>
                  <a:gd name="connsiteY0" fmla="*/ 0 h 2799"/>
                  <a:gd name="connsiteX1" fmla="*/ 3019 w 4528"/>
                  <a:gd name="connsiteY1" fmla="*/ 0 h 2799"/>
                  <a:gd name="connsiteX2" fmla="*/ 4528 w 4528"/>
                  <a:gd name="connsiteY2" fmla="*/ 1207 h 2799"/>
                  <a:gd name="connsiteX3" fmla="*/ 1784 w 4528"/>
                  <a:gd name="connsiteY3" fmla="*/ 2799 h 2799"/>
                  <a:gd name="connsiteX4" fmla="*/ 0 w 4528"/>
                  <a:gd name="connsiteY4" fmla="*/ 0 h 2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8" h="2799">
                    <a:moveTo>
                      <a:pt x="0" y="0"/>
                    </a:moveTo>
                    <a:lnTo>
                      <a:pt x="3019" y="0"/>
                    </a:lnTo>
                    <a:lnTo>
                      <a:pt x="4528" y="1207"/>
                    </a:lnTo>
                    <a:lnTo>
                      <a:pt x="1784" y="2799"/>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09" name="Freeform: Shape 4708">
                <a:extLst>
                  <a:ext uri="{FF2B5EF4-FFF2-40B4-BE49-F238E27FC236}">
                    <a16:creationId xmlns:a16="http://schemas.microsoft.com/office/drawing/2014/main" id="{2D9A1FC0-928F-3BC1-317A-B798F2C54D1A}"/>
                  </a:ext>
                </a:extLst>
              </p:cNvPr>
              <p:cNvSpPr/>
              <p:nvPr/>
            </p:nvSpPr>
            <p:spPr>
              <a:xfrm>
                <a:off x="1749914" y="3835798"/>
                <a:ext cx="329" cy="406"/>
              </a:xfrm>
              <a:custGeom>
                <a:avLst/>
                <a:gdLst>
                  <a:gd name="connsiteX0" fmla="*/ 0 w 3156"/>
                  <a:gd name="connsiteY0" fmla="*/ 2525 h 3896"/>
                  <a:gd name="connsiteX1" fmla="*/ 440 w 3156"/>
                  <a:gd name="connsiteY1" fmla="*/ 631 h 3896"/>
                  <a:gd name="connsiteX2" fmla="*/ 1976 w 3156"/>
                  <a:gd name="connsiteY2" fmla="*/ 0 h 3896"/>
                  <a:gd name="connsiteX3" fmla="*/ 3156 w 3156"/>
                  <a:gd name="connsiteY3" fmla="*/ 1674 h 3896"/>
                  <a:gd name="connsiteX4" fmla="*/ 1043 w 3156"/>
                  <a:gd name="connsiteY4" fmla="*/ 3897 h 3896"/>
                  <a:gd name="connsiteX5" fmla="*/ 27 w 3156"/>
                  <a:gd name="connsiteY5" fmla="*/ 2552 h 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6" h="3896">
                    <a:moveTo>
                      <a:pt x="0" y="2525"/>
                    </a:moveTo>
                    <a:lnTo>
                      <a:pt x="440" y="631"/>
                    </a:lnTo>
                    <a:lnTo>
                      <a:pt x="1976" y="0"/>
                    </a:lnTo>
                    <a:lnTo>
                      <a:pt x="3156" y="1674"/>
                    </a:lnTo>
                    <a:lnTo>
                      <a:pt x="1043" y="3897"/>
                    </a:lnTo>
                    <a:lnTo>
                      <a:pt x="27"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10" name="Freeform: Shape 4709">
                <a:extLst>
                  <a:ext uri="{FF2B5EF4-FFF2-40B4-BE49-F238E27FC236}">
                    <a16:creationId xmlns:a16="http://schemas.microsoft.com/office/drawing/2014/main" id="{58FF8405-098E-3593-0914-E2E92725D268}"/>
                  </a:ext>
                </a:extLst>
              </p:cNvPr>
              <p:cNvSpPr/>
              <p:nvPr/>
            </p:nvSpPr>
            <p:spPr>
              <a:xfrm>
                <a:off x="1754182" y="3832647"/>
                <a:ext cx="412" cy="323"/>
              </a:xfrm>
              <a:custGeom>
                <a:avLst/>
                <a:gdLst>
                  <a:gd name="connsiteX0" fmla="*/ 0 w 3951"/>
                  <a:gd name="connsiteY0" fmla="*/ 110 h 3101"/>
                  <a:gd name="connsiteX1" fmla="*/ 2113 w 3951"/>
                  <a:gd name="connsiteY1" fmla="*/ 0 h 3101"/>
                  <a:gd name="connsiteX2" fmla="*/ 3952 w 3951"/>
                  <a:gd name="connsiteY2" fmla="*/ 2689 h 3101"/>
                  <a:gd name="connsiteX3" fmla="*/ 1400 w 3951"/>
                  <a:gd name="connsiteY3" fmla="*/ 3101 h 3101"/>
                  <a:gd name="connsiteX4" fmla="*/ 0 w 3951"/>
                  <a:gd name="connsiteY4" fmla="*/ 110 h 3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3101">
                    <a:moveTo>
                      <a:pt x="0" y="110"/>
                    </a:moveTo>
                    <a:lnTo>
                      <a:pt x="2113" y="0"/>
                    </a:lnTo>
                    <a:lnTo>
                      <a:pt x="3952" y="2689"/>
                    </a:lnTo>
                    <a:lnTo>
                      <a:pt x="1400" y="3101"/>
                    </a:lnTo>
                    <a:lnTo>
                      <a:pt x="0" y="1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11" name="Freeform: Shape 4710">
                <a:extLst>
                  <a:ext uri="{FF2B5EF4-FFF2-40B4-BE49-F238E27FC236}">
                    <a16:creationId xmlns:a16="http://schemas.microsoft.com/office/drawing/2014/main" id="{C7C47F71-1A15-8108-A201-9D3BC279F421}"/>
                  </a:ext>
                </a:extLst>
              </p:cNvPr>
              <p:cNvSpPr/>
              <p:nvPr/>
            </p:nvSpPr>
            <p:spPr>
              <a:xfrm>
                <a:off x="1767157" y="3867252"/>
                <a:ext cx="512" cy="255"/>
              </a:xfrm>
              <a:custGeom>
                <a:avLst/>
                <a:gdLst>
                  <a:gd name="connsiteX0" fmla="*/ 0 w 4912"/>
                  <a:gd name="connsiteY0" fmla="*/ 2223 h 2442"/>
                  <a:gd name="connsiteX1" fmla="*/ 1126 w 4912"/>
                  <a:gd name="connsiteY1" fmla="*/ 274 h 2442"/>
                  <a:gd name="connsiteX2" fmla="*/ 4912 w 4912"/>
                  <a:gd name="connsiteY2" fmla="*/ 0 h 2442"/>
                  <a:gd name="connsiteX3" fmla="*/ 4912 w 4912"/>
                  <a:gd name="connsiteY3" fmla="*/ 1564 h 2442"/>
                  <a:gd name="connsiteX4" fmla="*/ 3074 w 4912"/>
                  <a:gd name="connsiteY4" fmla="*/ 2442 h 2442"/>
                  <a:gd name="connsiteX5" fmla="*/ 0 w 4912"/>
                  <a:gd name="connsiteY5" fmla="*/ 2223 h 2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12" h="2442">
                    <a:moveTo>
                      <a:pt x="0" y="2223"/>
                    </a:moveTo>
                    <a:lnTo>
                      <a:pt x="1126" y="274"/>
                    </a:lnTo>
                    <a:lnTo>
                      <a:pt x="4912" y="0"/>
                    </a:lnTo>
                    <a:lnTo>
                      <a:pt x="4912" y="1564"/>
                    </a:lnTo>
                    <a:cubicBezTo>
                      <a:pt x="4912" y="1564"/>
                      <a:pt x="3074" y="2442"/>
                      <a:pt x="3074" y="2442"/>
                    </a:cubicBezTo>
                    <a:lnTo>
                      <a:pt x="0"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12" name="Freeform: Shape 4711">
                <a:extLst>
                  <a:ext uri="{FF2B5EF4-FFF2-40B4-BE49-F238E27FC236}">
                    <a16:creationId xmlns:a16="http://schemas.microsoft.com/office/drawing/2014/main" id="{2738E950-2841-04AE-F37D-956EE1F75B7A}"/>
                  </a:ext>
                </a:extLst>
              </p:cNvPr>
              <p:cNvSpPr/>
              <p:nvPr/>
            </p:nvSpPr>
            <p:spPr>
              <a:xfrm>
                <a:off x="1760568" y="3869654"/>
                <a:ext cx="552" cy="235"/>
              </a:xfrm>
              <a:custGeom>
                <a:avLst/>
                <a:gdLst>
                  <a:gd name="connsiteX0" fmla="*/ 0 w 5296"/>
                  <a:gd name="connsiteY0" fmla="*/ 384 h 2250"/>
                  <a:gd name="connsiteX1" fmla="*/ 4281 w 5296"/>
                  <a:gd name="connsiteY1" fmla="*/ 0 h 2250"/>
                  <a:gd name="connsiteX2" fmla="*/ 5297 w 5296"/>
                  <a:gd name="connsiteY2" fmla="*/ 2251 h 2250"/>
                  <a:gd name="connsiteX3" fmla="*/ 906 w 5296"/>
                  <a:gd name="connsiteY3" fmla="*/ 1482 h 2250"/>
                  <a:gd name="connsiteX4" fmla="*/ 27 w 5296"/>
                  <a:gd name="connsiteY4" fmla="*/ 384 h 2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6" h="2250">
                    <a:moveTo>
                      <a:pt x="0" y="384"/>
                    </a:moveTo>
                    <a:lnTo>
                      <a:pt x="4281" y="0"/>
                    </a:lnTo>
                    <a:lnTo>
                      <a:pt x="5297" y="2251"/>
                    </a:lnTo>
                    <a:lnTo>
                      <a:pt x="906" y="1482"/>
                    </a:lnTo>
                    <a:lnTo>
                      <a:pt x="27"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13" name="Freeform: Shape 4712">
                <a:extLst>
                  <a:ext uri="{FF2B5EF4-FFF2-40B4-BE49-F238E27FC236}">
                    <a16:creationId xmlns:a16="http://schemas.microsoft.com/office/drawing/2014/main" id="{5F172F9A-43CA-4542-E1CB-F148EC37C591}"/>
                  </a:ext>
                </a:extLst>
              </p:cNvPr>
              <p:cNvSpPr/>
              <p:nvPr/>
            </p:nvSpPr>
            <p:spPr>
              <a:xfrm>
                <a:off x="1756146" y="3844096"/>
                <a:ext cx="266" cy="475"/>
              </a:xfrm>
              <a:custGeom>
                <a:avLst/>
                <a:gdLst>
                  <a:gd name="connsiteX0" fmla="*/ 0 w 2552"/>
                  <a:gd name="connsiteY0" fmla="*/ 3375 h 4555"/>
                  <a:gd name="connsiteX1" fmla="*/ 247 w 2552"/>
                  <a:gd name="connsiteY1" fmla="*/ 631 h 4555"/>
                  <a:gd name="connsiteX2" fmla="*/ 1180 w 2552"/>
                  <a:gd name="connsiteY2" fmla="*/ 0 h 4555"/>
                  <a:gd name="connsiteX3" fmla="*/ 2552 w 2552"/>
                  <a:gd name="connsiteY3" fmla="*/ 2634 h 4555"/>
                  <a:gd name="connsiteX4" fmla="*/ 933 w 2552"/>
                  <a:gd name="connsiteY4" fmla="*/ 4555 h 4555"/>
                  <a:gd name="connsiteX5" fmla="*/ 0 w 2552"/>
                  <a:gd name="connsiteY5" fmla="*/ 3375 h 4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 h="4555">
                    <a:moveTo>
                      <a:pt x="0" y="3375"/>
                    </a:moveTo>
                    <a:lnTo>
                      <a:pt x="247" y="631"/>
                    </a:lnTo>
                    <a:lnTo>
                      <a:pt x="1180" y="0"/>
                    </a:lnTo>
                    <a:lnTo>
                      <a:pt x="2552" y="2634"/>
                    </a:lnTo>
                    <a:lnTo>
                      <a:pt x="933" y="4555"/>
                    </a:lnTo>
                    <a:lnTo>
                      <a:pt x="0" y="33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14" name="Freeform: Shape 4713">
                <a:extLst>
                  <a:ext uri="{FF2B5EF4-FFF2-40B4-BE49-F238E27FC236}">
                    <a16:creationId xmlns:a16="http://schemas.microsoft.com/office/drawing/2014/main" id="{8629423B-9E47-E5F2-2174-D85245D31C9F}"/>
                  </a:ext>
                </a:extLst>
              </p:cNvPr>
              <p:cNvSpPr/>
              <p:nvPr/>
            </p:nvSpPr>
            <p:spPr>
              <a:xfrm>
                <a:off x="1763685" y="3843397"/>
                <a:ext cx="372" cy="338"/>
              </a:xfrm>
              <a:custGeom>
                <a:avLst/>
                <a:gdLst>
                  <a:gd name="connsiteX0" fmla="*/ 0 w 3567"/>
                  <a:gd name="connsiteY0" fmla="*/ 988 h 3238"/>
                  <a:gd name="connsiteX1" fmla="*/ 2634 w 3567"/>
                  <a:gd name="connsiteY1" fmla="*/ 0 h 3238"/>
                  <a:gd name="connsiteX2" fmla="*/ 3568 w 3567"/>
                  <a:gd name="connsiteY2" fmla="*/ 2552 h 3238"/>
                  <a:gd name="connsiteX3" fmla="*/ 1097 w 3567"/>
                  <a:gd name="connsiteY3" fmla="*/ 3238 h 3238"/>
                  <a:gd name="connsiteX4" fmla="*/ 0 w 3567"/>
                  <a:gd name="connsiteY4" fmla="*/ 988 h 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238">
                    <a:moveTo>
                      <a:pt x="0" y="988"/>
                    </a:moveTo>
                    <a:lnTo>
                      <a:pt x="2634" y="0"/>
                    </a:lnTo>
                    <a:lnTo>
                      <a:pt x="3568" y="2552"/>
                    </a:lnTo>
                    <a:lnTo>
                      <a:pt x="1097" y="3238"/>
                    </a:lnTo>
                    <a:lnTo>
                      <a:pt x="0"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15" name="Freeform: Shape 4714">
                <a:extLst>
                  <a:ext uri="{FF2B5EF4-FFF2-40B4-BE49-F238E27FC236}">
                    <a16:creationId xmlns:a16="http://schemas.microsoft.com/office/drawing/2014/main" id="{1953EEF8-5F2D-59E4-82B1-954A51A5E32B}"/>
                  </a:ext>
                </a:extLst>
              </p:cNvPr>
              <p:cNvSpPr/>
              <p:nvPr/>
            </p:nvSpPr>
            <p:spPr>
              <a:xfrm>
                <a:off x="1766691" y="3867461"/>
                <a:ext cx="415" cy="306"/>
              </a:xfrm>
              <a:custGeom>
                <a:avLst/>
                <a:gdLst>
                  <a:gd name="connsiteX0" fmla="*/ 27 w 3979"/>
                  <a:gd name="connsiteY0" fmla="*/ 2223 h 2936"/>
                  <a:gd name="connsiteX1" fmla="*/ 686 w 3979"/>
                  <a:gd name="connsiteY1" fmla="*/ 0 h 2936"/>
                  <a:gd name="connsiteX2" fmla="*/ 3979 w 3979"/>
                  <a:gd name="connsiteY2" fmla="*/ 1015 h 2936"/>
                  <a:gd name="connsiteX3" fmla="*/ 2662 w 3979"/>
                  <a:gd name="connsiteY3" fmla="*/ 2936 h 2936"/>
                  <a:gd name="connsiteX4" fmla="*/ 0 w 3979"/>
                  <a:gd name="connsiteY4" fmla="*/ 2223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2936">
                    <a:moveTo>
                      <a:pt x="27" y="2223"/>
                    </a:moveTo>
                    <a:lnTo>
                      <a:pt x="686" y="0"/>
                    </a:lnTo>
                    <a:lnTo>
                      <a:pt x="3979" y="1015"/>
                    </a:lnTo>
                    <a:lnTo>
                      <a:pt x="2662" y="2936"/>
                    </a:lnTo>
                    <a:lnTo>
                      <a:pt x="0"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16" name="Freeform: Shape 4715">
                <a:extLst>
                  <a:ext uri="{FF2B5EF4-FFF2-40B4-BE49-F238E27FC236}">
                    <a16:creationId xmlns:a16="http://schemas.microsoft.com/office/drawing/2014/main" id="{0D38DF57-58BB-F786-3798-0141D7C7E859}"/>
                  </a:ext>
                </a:extLst>
              </p:cNvPr>
              <p:cNvSpPr/>
              <p:nvPr/>
            </p:nvSpPr>
            <p:spPr>
              <a:xfrm>
                <a:off x="1755779" y="3848613"/>
                <a:ext cx="418" cy="306"/>
              </a:xfrm>
              <a:custGeom>
                <a:avLst/>
                <a:gdLst>
                  <a:gd name="connsiteX0" fmla="*/ 2964 w 4006"/>
                  <a:gd name="connsiteY0" fmla="*/ 2140 h 2936"/>
                  <a:gd name="connsiteX1" fmla="*/ 1619 w 4006"/>
                  <a:gd name="connsiteY1" fmla="*/ 2936 h 2936"/>
                  <a:gd name="connsiteX2" fmla="*/ 549 w 4006"/>
                  <a:gd name="connsiteY2" fmla="*/ 2140 h 2936"/>
                  <a:gd name="connsiteX3" fmla="*/ 0 w 4006"/>
                  <a:gd name="connsiteY3" fmla="*/ 1592 h 2936"/>
                  <a:gd name="connsiteX4" fmla="*/ 1345 w 4006"/>
                  <a:gd name="connsiteY4" fmla="*/ 0 h 2936"/>
                  <a:gd name="connsiteX5" fmla="*/ 3211 w 4006"/>
                  <a:gd name="connsiteY5" fmla="*/ 274 h 2936"/>
                  <a:gd name="connsiteX6" fmla="*/ 4007 w 4006"/>
                  <a:gd name="connsiteY6" fmla="*/ 1592 h 2936"/>
                  <a:gd name="connsiteX7" fmla="*/ 2937 w 4006"/>
                  <a:gd name="connsiteY7" fmla="*/ 2140 h 2936"/>
                  <a:gd name="connsiteX8" fmla="*/ 2937 w 4006"/>
                  <a:gd name="connsiteY8" fmla="*/ 2140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06" h="2936">
                    <a:moveTo>
                      <a:pt x="2964" y="2140"/>
                    </a:moveTo>
                    <a:lnTo>
                      <a:pt x="1619" y="2936"/>
                    </a:lnTo>
                    <a:lnTo>
                      <a:pt x="549" y="2140"/>
                    </a:lnTo>
                    <a:lnTo>
                      <a:pt x="0" y="1592"/>
                    </a:lnTo>
                    <a:lnTo>
                      <a:pt x="1345" y="0"/>
                    </a:lnTo>
                    <a:lnTo>
                      <a:pt x="3211" y="274"/>
                    </a:lnTo>
                    <a:lnTo>
                      <a:pt x="4007" y="1592"/>
                    </a:lnTo>
                    <a:lnTo>
                      <a:pt x="2937" y="2140"/>
                    </a:lnTo>
                    <a:lnTo>
                      <a:pt x="2937" y="21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17" name="Freeform: Shape 4716">
                <a:extLst>
                  <a:ext uri="{FF2B5EF4-FFF2-40B4-BE49-F238E27FC236}">
                    <a16:creationId xmlns:a16="http://schemas.microsoft.com/office/drawing/2014/main" id="{BBD31FBB-2740-D90C-68EA-6230456DCFD0}"/>
                  </a:ext>
                </a:extLst>
              </p:cNvPr>
              <p:cNvSpPr/>
              <p:nvPr/>
            </p:nvSpPr>
            <p:spPr>
              <a:xfrm>
                <a:off x="1740443" y="3845095"/>
                <a:ext cx="401" cy="309"/>
              </a:xfrm>
              <a:custGeom>
                <a:avLst/>
                <a:gdLst>
                  <a:gd name="connsiteX0" fmla="*/ 2250 w 3841"/>
                  <a:gd name="connsiteY0" fmla="*/ 2964 h 2963"/>
                  <a:gd name="connsiteX1" fmla="*/ 960 w 3841"/>
                  <a:gd name="connsiteY1" fmla="*/ 2964 h 2963"/>
                  <a:gd name="connsiteX2" fmla="*/ 0 w 3841"/>
                  <a:gd name="connsiteY2" fmla="*/ 1537 h 2963"/>
                  <a:gd name="connsiteX3" fmla="*/ 686 w 3841"/>
                  <a:gd name="connsiteY3" fmla="*/ 0 h 2963"/>
                  <a:gd name="connsiteX4" fmla="*/ 3842 w 3841"/>
                  <a:gd name="connsiteY4" fmla="*/ 1098 h 2963"/>
                  <a:gd name="connsiteX5" fmla="*/ 2222 w 3841"/>
                  <a:gd name="connsiteY5" fmla="*/ 2964 h 2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 h="2963">
                    <a:moveTo>
                      <a:pt x="2250" y="2964"/>
                    </a:moveTo>
                    <a:lnTo>
                      <a:pt x="960" y="2964"/>
                    </a:lnTo>
                    <a:lnTo>
                      <a:pt x="0" y="1537"/>
                    </a:lnTo>
                    <a:lnTo>
                      <a:pt x="686" y="0"/>
                    </a:lnTo>
                    <a:lnTo>
                      <a:pt x="3842" y="1098"/>
                    </a:lnTo>
                    <a:lnTo>
                      <a:pt x="2222"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18" name="Freeform: Shape 4717">
                <a:extLst>
                  <a:ext uri="{FF2B5EF4-FFF2-40B4-BE49-F238E27FC236}">
                    <a16:creationId xmlns:a16="http://schemas.microsoft.com/office/drawing/2014/main" id="{420513FD-B29E-4109-E889-6CCACD276AC9}"/>
                  </a:ext>
                </a:extLst>
              </p:cNvPr>
              <p:cNvSpPr/>
              <p:nvPr/>
            </p:nvSpPr>
            <p:spPr>
              <a:xfrm>
                <a:off x="1742882" y="3849826"/>
                <a:ext cx="300" cy="406"/>
              </a:xfrm>
              <a:custGeom>
                <a:avLst/>
                <a:gdLst>
                  <a:gd name="connsiteX0" fmla="*/ 0 w 2880"/>
                  <a:gd name="connsiteY0" fmla="*/ 3897 h 3896"/>
                  <a:gd name="connsiteX1" fmla="*/ 960 w 2880"/>
                  <a:gd name="connsiteY1" fmla="*/ 0 h 3896"/>
                  <a:gd name="connsiteX2" fmla="*/ 2387 w 2880"/>
                  <a:gd name="connsiteY2" fmla="*/ 357 h 3896"/>
                  <a:gd name="connsiteX3" fmla="*/ 2881 w 2880"/>
                  <a:gd name="connsiteY3" fmla="*/ 3211 h 3896"/>
                  <a:gd name="connsiteX4" fmla="*/ 0 w 2880"/>
                  <a:gd name="connsiteY4" fmla="*/ 3897 h 3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 h="3896">
                    <a:moveTo>
                      <a:pt x="0" y="3897"/>
                    </a:moveTo>
                    <a:lnTo>
                      <a:pt x="960" y="0"/>
                    </a:lnTo>
                    <a:lnTo>
                      <a:pt x="2387" y="357"/>
                    </a:lnTo>
                    <a:lnTo>
                      <a:pt x="2881" y="3211"/>
                    </a:lnTo>
                    <a:lnTo>
                      <a:pt x="0" y="38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19" name="Freeform: Shape 4718">
                <a:extLst>
                  <a:ext uri="{FF2B5EF4-FFF2-40B4-BE49-F238E27FC236}">
                    <a16:creationId xmlns:a16="http://schemas.microsoft.com/office/drawing/2014/main" id="{235B686C-1DE4-949F-EC24-246D8466F9A0}"/>
                  </a:ext>
                </a:extLst>
              </p:cNvPr>
              <p:cNvSpPr/>
              <p:nvPr/>
            </p:nvSpPr>
            <p:spPr>
              <a:xfrm>
                <a:off x="1749116" y="3838781"/>
                <a:ext cx="384" cy="318"/>
              </a:xfrm>
              <a:custGeom>
                <a:avLst/>
                <a:gdLst>
                  <a:gd name="connsiteX0" fmla="*/ 0 w 3677"/>
                  <a:gd name="connsiteY0" fmla="*/ 988 h 3046"/>
                  <a:gd name="connsiteX1" fmla="*/ 933 w 3677"/>
                  <a:gd name="connsiteY1" fmla="*/ 0 h 3046"/>
                  <a:gd name="connsiteX2" fmla="*/ 3678 w 3677"/>
                  <a:gd name="connsiteY2" fmla="*/ 1537 h 3046"/>
                  <a:gd name="connsiteX3" fmla="*/ 2964 w 3677"/>
                  <a:gd name="connsiteY3" fmla="*/ 3046 h 3046"/>
                  <a:gd name="connsiteX4" fmla="*/ 796 w 3677"/>
                  <a:gd name="connsiteY4" fmla="*/ 2882 h 3046"/>
                  <a:gd name="connsiteX5" fmla="*/ 27 w 3677"/>
                  <a:gd name="connsiteY5" fmla="*/ 1015 h 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7" h="3046">
                    <a:moveTo>
                      <a:pt x="0" y="988"/>
                    </a:moveTo>
                    <a:lnTo>
                      <a:pt x="933" y="0"/>
                    </a:lnTo>
                    <a:lnTo>
                      <a:pt x="3678" y="1537"/>
                    </a:lnTo>
                    <a:lnTo>
                      <a:pt x="2964" y="3046"/>
                    </a:lnTo>
                    <a:lnTo>
                      <a:pt x="796" y="2882"/>
                    </a:lnTo>
                    <a:lnTo>
                      <a:pt x="27" y="10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20" name="Freeform: Shape 4719">
                <a:extLst>
                  <a:ext uri="{FF2B5EF4-FFF2-40B4-BE49-F238E27FC236}">
                    <a16:creationId xmlns:a16="http://schemas.microsoft.com/office/drawing/2014/main" id="{83DDE941-62A7-F668-F362-C0FC26B17351}"/>
                  </a:ext>
                </a:extLst>
              </p:cNvPr>
              <p:cNvSpPr/>
              <p:nvPr/>
            </p:nvSpPr>
            <p:spPr>
              <a:xfrm>
                <a:off x="1738783" y="3867043"/>
                <a:ext cx="372" cy="321"/>
              </a:xfrm>
              <a:custGeom>
                <a:avLst/>
                <a:gdLst>
                  <a:gd name="connsiteX0" fmla="*/ 0 w 3567"/>
                  <a:gd name="connsiteY0" fmla="*/ 1647 h 3073"/>
                  <a:gd name="connsiteX1" fmla="*/ 604 w 3567"/>
                  <a:gd name="connsiteY1" fmla="*/ 0 h 3073"/>
                  <a:gd name="connsiteX2" fmla="*/ 3128 w 3567"/>
                  <a:gd name="connsiteY2" fmla="*/ 0 h 3073"/>
                  <a:gd name="connsiteX3" fmla="*/ 3568 w 3567"/>
                  <a:gd name="connsiteY3" fmla="*/ 878 h 3073"/>
                  <a:gd name="connsiteX4" fmla="*/ 1701 w 3567"/>
                  <a:gd name="connsiteY4" fmla="*/ 3074 h 3073"/>
                  <a:gd name="connsiteX5" fmla="*/ 0 w 3567"/>
                  <a:gd name="connsiteY5" fmla="*/ 1619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3073">
                    <a:moveTo>
                      <a:pt x="0" y="1647"/>
                    </a:moveTo>
                    <a:lnTo>
                      <a:pt x="604" y="0"/>
                    </a:lnTo>
                    <a:lnTo>
                      <a:pt x="3128" y="0"/>
                    </a:lnTo>
                    <a:cubicBezTo>
                      <a:pt x="3128" y="0"/>
                      <a:pt x="3568" y="878"/>
                      <a:pt x="3568" y="878"/>
                    </a:cubicBezTo>
                    <a:lnTo>
                      <a:pt x="1701" y="3074"/>
                    </a:lnTo>
                    <a:lnTo>
                      <a:pt x="0"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21" name="Freeform: Shape 4720">
                <a:extLst>
                  <a:ext uri="{FF2B5EF4-FFF2-40B4-BE49-F238E27FC236}">
                    <a16:creationId xmlns:a16="http://schemas.microsoft.com/office/drawing/2014/main" id="{C44B3D77-19F0-99CB-8207-8BA11AA644AB}"/>
                  </a:ext>
                </a:extLst>
              </p:cNvPr>
              <p:cNvSpPr/>
              <p:nvPr/>
            </p:nvSpPr>
            <p:spPr>
              <a:xfrm>
                <a:off x="1738133" y="3877107"/>
                <a:ext cx="421" cy="286"/>
              </a:xfrm>
              <a:custGeom>
                <a:avLst/>
                <a:gdLst>
                  <a:gd name="connsiteX0" fmla="*/ 0 w 4034"/>
                  <a:gd name="connsiteY0" fmla="*/ 1235 h 2744"/>
                  <a:gd name="connsiteX1" fmla="*/ 878 w 4034"/>
                  <a:gd name="connsiteY1" fmla="*/ 0 h 2744"/>
                  <a:gd name="connsiteX2" fmla="*/ 3458 w 4034"/>
                  <a:gd name="connsiteY2" fmla="*/ 0 h 2744"/>
                  <a:gd name="connsiteX3" fmla="*/ 4034 w 4034"/>
                  <a:gd name="connsiteY3" fmla="*/ 1345 h 2744"/>
                  <a:gd name="connsiteX4" fmla="*/ 2223 w 4034"/>
                  <a:gd name="connsiteY4" fmla="*/ 2744 h 2744"/>
                  <a:gd name="connsiteX5" fmla="*/ 0 w 4034"/>
                  <a:gd name="connsiteY5" fmla="*/ 1235 h 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4" h="2744">
                    <a:moveTo>
                      <a:pt x="0" y="1235"/>
                    </a:moveTo>
                    <a:lnTo>
                      <a:pt x="878" y="0"/>
                    </a:lnTo>
                    <a:lnTo>
                      <a:pt x="3458" y="0"/>
                    </a:lnTo>
                    <a:cubicBezTo>
                      <a:pt x="3458" y="0"/>
                      <a:pt x="4034" y="1345"/>
                      <a:pt x="4034" y="1345"/>
                    </a:cubicBezTo>
                    <a:lnTo>
                      <a:pt x="2223" y="2744"/>
                    </a:lnTo>
                    <a:lnTo>
                      <a:pt x="0"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22" name="Freeform: Shape 4721">
                <a:extLst>
                  <a:ext uri="{FF2B5EF4-FFF2-40B4-BE49-F238E27FC236}">
                    <a16:creationId xmlns:a16="http://schemas.microsoft.com/office/drawing/2014/main" id="{FFE8A10D-5FC8-3ECF-B9FF-F3AF48EB4CD1}"/>
                  </a:ext>
                </a:extLst>
              </p:cNvPr>
              <p:cNvSpPr/>
              <p:nvPr/>
            </p:nvSpPr>
            <p:spPr>
              <a:xfrm>
                <a:off x="1764401" y="3844485"/>
                <a:ext cx="318" cy="369"/>
              </a:xfrm>
              <a:custGeom>
                <a:avLst/>
                <a:gdLst>
                  <a:gd name="connsiteX0" fmla="*/ 2607 w 3045"/>
                  <a:gd name="connsiteY0" fmla="*/ 3211 h 3540"/>
                  <a:gd name="connsiteX1" fmla="*/ 686 w 3045"/>
                  <a:gd name="connsiteY1" fmla="*/ 3540 h 3540"/>
                  <a:gd name="connsiteX2" fmla="*/ 0 w 3045"/>
                  <a:gd name="connsiteY2" fmla="*/ 1207 h 3540"/>
                  <a:gd name="connsiteX3" fmla="*/ 3046 w 3045"/>
                  <a:gd name="connsiteY3" fmla="*/ 0 h 3540"/>
                  <a:gd name="connsiteX4" fmla="*/ 2634 w 3045"/>
                  <a:gd name="connsiteY4" fmla="*/ 3211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5" h="3540">
                    <a:moveTo>
                      <a:pt x="2607" y="3211"/>
                    </a:moveTo>
                    <a:lnTo>
                      <a:pt x="686" y="3540"/>
                    </a:lnTo>
                    <a:lnTo>
                      <a:pt x="0" y="1207"/>
                    </a:lnTo>
                    <a:lnTo>
                      <a:pt x="3046" y="0"/>
                    </a:lnTo>
                    <a:lnTo>
                      <a:pt x="2634"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23" name="Freeform: Shape 4722">
                <a:extLst>
                  <a:ext uri="{FF2B5EF4-FFF2-40B4-BE49-F238E27FC236}">
                    <a16:creationId xmlns:a16="http://schemas.microsoft.com/office/drawing/2014/main" id="{DC02BFC1-4AAF-0C31-A4A0-179BDF6DD704}"/>
                  </a:ext>
                </a:extLst>
              </p:cNvPr>
              <p:cNvSpPr/>
              <p:nvPr/>
            </p:nvSpPr>
            <p:spPr>
              <a:xfrm>
                <a:off x="1755530" y="3844574"/>
                <a:ext cx="335" cy="326"/>
              </a:xfrm>
              <a:custGeom>
                <a:avLst/>
                <a:gdLst>
                  <a:gd name="connsiteX0" fmla="*/ 27 w 3210"/>
                  <a:gd name="connsiteY0" fmla="*/ 2772 h 3128"/>
                  <a:gd name="connsiteX1" fmla="*/ 1070 w 3210"/>
                  <a:gd name="connsiteY1" fmla="*/ 412 h 3128"/>
                  <a:gd name="connsiteX2" fmla="*/ 3211 w 3210"/>
                  <a:gd name="connsiteY2" fmla="*/ 0 h 3128"/>
                  <a:gd name="connsiteX3" fmla="*/ 2937 w 3210"/>
                  <a:gd name="connsiteY3" fmla="*/ 3129 h 3128"/>
                  <a:gd name="connsiteX4" fmla="*/ 0 w 3210"/>
                  <a:gd name="connsiteY4" fmla="*/ 2744 h 3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 h="3128">
                    <a:moveTo>
                      <a:pt x="27" y="2772"/>
                    </a:moveTo>
                    <a:lnTo>
                      <a:pt x="1070" y="412"/>
                    </a:lnTo>
                    <a:lnTo>
                      <a:pt x="3211" y="0"/>
                    </a:lnTo>
                    <a:lnTo>
                      <a:pt x="2937" y="3129"/>
                    </a:lnTo>
                    <a:lnTo>
                      <a:pt x="0"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24" name="Freeform: Shape 4723">
                <a:extLst>
                  <a:ext uri="{FF2B5EF4-FFF2-40B4-BE49-F238E27FC236}">
                    <a16:creationId xmlns:a16="http://schemas.microsoft.com/office/drawing/2014/main" id="{71CBE3CB-6460-5147-AE7D-88F11D4A15F9}"/>
                  </a:ext>
                </a:extLst>
              </p:cNvPr>
              <p:cNvSpPr/>
              <p:nvPr/>
            </p:nvSpPr>
            <p:spPr>
              <a:xfrm>
                <a:off x="1763679" y="3858250"/>
                <a:ext cx="381" cy="286"/>
              </a:xfrm>
              <a:custGeom>
                <a:avLst/>
                <a:gdLst>
                  <a:gd name="connsiteX0" fmla="*/ 0 w 3650"/>
                  <a:gd name="connsiteY0" fmla="*/ 1756 h 2744"/>
                  <a:gd name="connsiteX1" fmla="*/ 604 w 3650"/>
                  <a:gd name="connsiteY1" fmla="*/ 0 h 2744"/>
                  <a:gd name="connsiteX2" fmla="*/ 3650 w 3650"/>
                  <a:gd name="connsiteY2" fmla="*/ 0 h 2744"/>
                  <a:gd name="connsiteX3" fmla="*/ 3046 w 3650"/>
                  <a:gd name="connsiteY3" fmla="*/ 2744 h 2744"/>
                  <a:gd name="connsiteX4" fmla="*/ 27 w 3650"/>
                  <a:gd name="connsiteY4" fmla="*/ 1756 h 2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2744">
                    <a:moveTo>
                      <a:pt x="0" y="1756"/>
                    </a:moveTo>
                    <a:lnTo>
                      <a:pt x="604" y="0"/>
                    </a:lnTo>
                    <a:lnTo>
                      <a:pt x="3650" y="0"/>
                    </a:lnTo>
                    <a:cubicBezTo>
                      <a:pt x="3650" y="0"/>
                      <a:pt x="3046" y="2744"/>
                      <a:pt x="3046" y="2744"/>
                    </a:cubicBezTo>
                    <a:lnTo>
                      <a:pt x="27"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25" name="Freeform: Shape 4724">
                <a:extLst>
                  <a:ext uri="{FF2B5EF4-FFF2-40B4-BE49-F238E27FC236}">
                    <a16:creationId xmlns:a16="http://schemas.microsoft.com/office/drawing/2014/main" id="{52779AD2-C08E-FE11-4358-20E2AE2B9EB1}"/>
                  </a:ext>
                </a:extLst>
              </p:cNvPr>
              <p:cNvSpPr/>
              <p:nvPr/>
            </p:nvSpPr>
            <p:spPr>
              <a:xfrm>
                <a:off x="1753904" y="3832303"/>
                <a:ext cx="321" cy="338"/>
              </a:xfrm>
              <a:custGeom>
                <a:avLst/>
                <a:gdLst>
                  <a:gd name="connsiteX0" fmla="*/ 27 w 3073"/>
                  <a:gd name="connsiteY0" fmla="*/ 2772 h 3238"/>
                  <a:gd name="connsiteX1" fmla="*/ 356 w 3073"/>
                  <a:gd name="connsiteY1" fmla="*/ 384 h 3238"/>
                  <a:gd name="connsiteX2" fmla="*/ 2470 w 3073"/>
                  <a:gd name="connsiteY2" fmla="*/ 0 h 3238"/>
                  <a:gd name="connsiteX3" fmla="*/ 3073 w 3073"/>
                  <a:gd name="connsiteY3" fmla="*/ 1701 h 3238"/>
                  <a:gd name="connsiteX4" fmla="*/ 1729 w 3073"/>
                  <a:gd name="connsiteY4" fmla="*/ 3238 h 3238"/>
                  <a:gd name="connsiteX5" fmla="*/ 0 w 3073"/>
                  <a:gd name="connsiteY5" fmla="*/ 2772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 h="3238">
                    <a:moveTo>
                      <a:pt x="27" y="2772"/>
                    </a:moveTo>
                    <a:lnTo>
                      <a:pt x="356" y="384"/>
                    </a:lnTo>
                    <a:lnTo>
                      <a:pt x="2470" y="0"/>
                    </a:lnTo>
                    <a:lnTo>
                      <a:pt x="3073" y="1701"/>
                    </a:lnTo>
                    <a:lnTo>
                      <a:pt x="1729" y="3238"/>
                    </a:lnTo>
                    <a:lnTo>
                      <a:pt x="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26" name="Freeform: Shape 4725">
                <a:extLst>
                  <a:ext uri="{FF2B5EF4-FFF2-40B4-BE49-F238E27FC236}">
                    <a16:creationId xmlns:a16="http://schemas.microsoft.com/office/drawing/2014/main" id="{61FA9C68-F237-0A6B-0E46-0E399DD771D7}"/>
                  </a:ext>
                </a:extLst>
              </p:cNvPr>
              <p:cNvSpPr/>
              <p:nvPr/>
            </p:nvSpPr>
            <p:spPr>
              <a:xfrm>
                <a:off x="1762506" y="3865022"/>
                <a:ext cx="306" cy="352"/>
              </a:xfrm>
              <a:custGeom>
                <a:avLst/>
                <a:gdLst>
                  <a:gd name="connsiteX0" fmla="*/ 0 w 2936"/>
                  <a:gd name="connsiteY0" fmla="*/ 2388 h 3375"/>
                  <a:gd name="connsiteX1" fmla="*/ 220 w 2936"/>
                  <a:gd name="connsiteY1" fmla="*/ 604 h 3375"/>
                  <a:gd name="connsiteX2" fmla="*/ 2854 w 2936"/>
                  <a:gd name="connsiteY2" fmla="*/ 0 h 3375"/>
                  <a:gd name="connsiteX3" fmla="*/ 2937 w 2936"/>
                  <a:gd name="connsiteY3" fmla="*/ 2086 h 3375"/>
                  <a:gd name="connsiteX4" fmla="*/ 1647 w 2936"/>
                  <a:gd name="connsiteY4" fmla="*/ 3375 h 3375"/>
                  <a:gd name="connsiteX5" fmla="*/ 0 w 2936"/>
                  <a:gd name="connsiteY5" fmla="*/ 2388 h 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6" h="3375">
                    <a:moveTo>
                      <a:pt x="0" y="2388"/>
                    </a:moveTo>
                    <a:lnTo>
                      <a:pt x="220" y="604"/>
                    </a:lnTo>
                    <a:lnTo>
                      <a:pt x="2854" y="0"/>
                    </a:lnTo>
                    <a:lnTo>
                      <a:pt x="2937" y="2086"/>
                    </a:lnTo>
                    <a:lnTo>
                      <a:pt x="1647" y="3375"/>
                    </a:lnTo>
                    <a:lnTo>
                      <a:pt x="0"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27" name="Freeform: Shape 4726">
                <a:extLst>
                  <a:ext uri="{FF2B5EF4-FFF2-40B4-BE49-F238E27FC236}">
                    <a16:creationId xmlns:a16="http://schemas.microsoft.com/office/drawing/2014/main" id="{7206CE91-9ECC-1BFC-994C-18E1217270B1}"/>
                  </a:ext>
                </a:extLst>
              </p:cNvPr>
              <p:cNvSpPr/>
              <p:nvPr/>
            </p:nvSpPr>
            <p:spPr>
              <a:xfrm>
                <a:off x="1755387" y="3869110"/>
                <a:ext cx="303" cy="349"/>
              </a:xfrm>
              <a:custGeom>
                <a:avLst/>
                <a:gdLst>
                  <a:gd name="connsiteX0" fmla="*/ 27 w 2909"/>
                  <a:gd name="connsiteY0" fmla="*/ 659 h 3347"/>
                  <a:gd name="connsiteX1" fmla="*/ 2305 w 2909"/>
                  <a:gd name="connsiteY1" fmla="*/ 0 h 3347"/>
                  <a:gd name="connsiteX2" fmla="*/ 2909 w 2909"/>
                  <a:gd name="connsiteY2" fmla="*/ 3348 h 3347"/>
                  <a:gd name="connsiteX3" fmla="*/ 521 w 2909"/>
                  <a:gd name="connsiteY3" fmla="*/ 3183 h 3347"/>
                  <a:gd name="connsiteX4" fmla="*/ 0 w 2909"/>
                  <a:gd name="connsiteY4" fmla="*/ 659 h 3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9" h="3347">
                    <a:moveTo>
                      <a:pt x="27" y="659"/>
                    </a:moveTo>
                    <a:lnTo>
                      <a:pt x="2305" y="0"/>
                    </a:lnTo>
                    <a:lnTo>
                      <a:pt x="2909" y="3348"/>
                    </a:lnTo>
                    <a:lnTo>
                      <a:pt x="521" y="3183"/>
                    </a:lnTo>
                    <a:lnTo>
                      <a:pt x="0" y="6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28" name="Freeform: Shape 4727">
                <a:extLst>
                  <a:ext uri="{FF2B5EF4-FFF2-40B4-BE49-F238E27FC236}">
                    <a16:creationId xmlns:a16="http://schemas.microsoft.com/office/drawing/2014/main" id="{E20C6067-61AB-ED63-C648-84BEC2A0B042}"/>
                  </a:ext>
                </a:extLst>
              </p:cNvPr>
              <p:cNvSpPr/>
              <p:nvPr/>
            </p:nvSpPr>
            <p:spPr>
              <a:xfrm>
                <a:off x="1741041" y="3861665"/>
                <a:ext cx="349" cy="303"/>
              </a:xfrm>
              <a:custGeom>
                <a:avLst/>
                <a:gdLst>
                  <a:gd name="connsiteX0" fmla="*/ 0 w 3347"/>
                  <a:gd name="connsiteY0" fmla="*/ 2881 h 2908"/>
                  <a:gd name="connsiteX1" fmla="*/ 1509 w 3347"/>
                  <a:gd name="connsiteY1" fmla="*/ 0 h 2908"/>
                  <a:gd name="connsiteX2" fmla="*/ 3184 w 3347"/>
                  <a:gd name="connsiteY2" fmla="*/ 274 h 2908"/>
                  <a:gd name="connsiteX3" fmla="*/ 3348 w 3347"/>
                  <a:gd name="connsiteY3" fmla="*/ 2909 h 2908"/>
                  <a:gd name="connsiteX4" fmla="*/ 27 w 3347"/>
                  <a:gd name="connsiteY4" fmla="*/ 2909 h 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7" h="2908">
                    <a:moveTo>
                      <a:pt x="0" y="2881"/>
                    </a:moveTo>
                    <a:lnTo>
                      <a:pt x="1509" y="0"/>
                    </a:lnTo>
                    <a:lnTo>
                      <a:pt x="3184" y="274"/>
                    </a:lnTo>
                    <a:lnTo>
                      <a:pt x="3348" y="2909"/>
                    </a:lnTo>
                    <a:lnTo>
                      <a:pt x="27"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29" name="Freeform: Shape 4728">
                <a:extLst>
                  <a:ext uri="{FF2B5EF4-FFF2-40B4-BE49-F238E27FC236}">
                    <a16:creationId xmlns:a16="http://schemas.microsoft.com/office/drawing/2014/main" id="{8B3527A7-D455-1811-F1AA-A252614FB322}"/>
                  </a:ext>
                </a:extLst>
              </p:cNvPr>
              <p:cNvSpPr/>
              <p:nvPr/>
            </p:nvSpPr>
            <p:spPr>
              <a:xfrm>
                <a:off x="1758971" y="3847413"/>
                <a:ext cx="372" cy="283"/>
              </a:xfrm>
              <a:custGeom>
                <a:avLst/>
                <a:gdLst>
                  <a:gd name="connsiteX0" fmla="*/ 0 w 3567"/>
                  <a:gd name="connsiteY0" fmla="*/ 960 h 2716"/>
                  <a:gd name="connsiteX1" fmla="*/ 1043 w 3567"/>
                  <a:gd name="connsiteY1" fmla="*/ 0 h 2716"/>
                  <a:gd name="connsiteX2" fmla="*/ 3568 w 3567"/>
                  <a:gd name="connsiteY2" fmla="*/ 467 h 2716"/>
                  <a:gd name="connsiteX3" fmla="*/ 3293 w 3567"/>
                  <a:gd name="connsiteY3" fmla="*/ 2717 h 2716"/>
                  <a:gd name="connsiteX4" fmla="*/ 1345 w 3567"/>
                  <a:gd name="connsiteY4" fmla="*/ 2634 h 2716"/>
                  <a:gd name="connsiteX5" fmla="*/ 0 w 3567"/>
                  <a:gd name="connsiteY5" fmla="*/ 960 h 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2716">
                    <a:moveTo>
                      <a:pt x="0" y="960"/>
                    </a:moveTo>
                    <a:lnTo>
                      <a:pt x="1043" y="0"/>
                    </a:lnTo>
                    <a:lnTo>
                      <a:pt x="3568" y="467"/>
                    </a:lnTo>
                    <a:lnTo>
                      <a:pt x="3293" y="2717"/>
                    </a:lnTo>
                    <a:lnTo>
                      <a:pt x="1345" y="2634"/>
                    </a:lnTo>
                    <a:lnTo>
                      <a:pt x="0" y="9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30" name="Freeform: Shape 4729">
                <a:extLst>
                  <a:ext uri="{FF2B5EF4-FFF2-40B4-BE49-F238E27FC236}">
                    <a16:creationId xmlns:a16="http://schemas.microsoft.com/office/drawing/2014/main" id="{5554BB4C-545D-44D3-A424-D228006DBE33}"/>
                  </a:ext>
                </a:extLst>
              </p:cNvPr>
              <p:cNvSpPr/>
              <p:nvPr/>
            </p:nvSpPr>
            <p:spPr>
              <a:xfrm>
                <a:off x="1738574" y="3869957"/>
                <a:ext cx="363" cy="280"/>
              </a:xfrm>
              <a:custGeom>
                <a:avLst/>
                <a:gdLst>
                  <a:gd name="connsiteX0" fmla="*/ 27 w 3485"/>
                  <a:gd name="connsiteY0" fmla="*/ 851 h 2689"/>
                  <a:gd name="connsiteX1" fmla="*/ 3238 w 3485"/>
                  <a:gd name="connsiteY1" fmla="*/ 0 h 2689"/>
                  <a:gd name="connsiteX2" fmla="*/ 3485 w 3485"/>
                  <a:gd name="connsiteY2" fmla="*/ 2689 h 2689"/>
                  <a:gd name="connsiteX3" fmla="*/ 521 w 3485"/>
                  <a:gd name="connsiteY3" fmla="*/ 2689 h 2689"/>
                  <a:gd name="connsiteX4" fmla="*/ 0 w 3485"/>
                  <a:gd name="connsiteY4" fmla="*/ 851 h 2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2689">
                    <a:moveTo>
                      <a:pt x="27" y="851"/>
                    </a:moveTo>
                    <a:lnTo>
                      <a:pt x="3238" y="0"/>
                    </a:lnTo>
                    <a:lnTo>
                      <a:pt x="3485" y="2689"/>
                    </a:lnTo>
                    <a:lnTo>
                      <a:pt x="521" y="2689"/>
                    </a:lnTo>
                    <a:cubicBezTo>
                      <a:pt x="521" y="2689"/>
                      <a:pt x="0" y="851"/>
                      <a:pt x="0" y="851"/>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31" name="Freeform: Shape 4730">
                <a:extLst>
                  <a:ext uri="{FF2B5EF4-FFF2-40B4-BE49-F238E27FC236}">
                    <a16:creationId xmlns:a16="http://schemas.microsoft.com/office/drawing/2014/main" id="{7EFDFECD-CA34-0A06-FB5B-52668D595EE2}"/>
                  </a:ext>
                </a:extLst>
              </p:cNvPr>
              <p:cNvSpPr/>
              <p:nvPr/>
            </p:nvSpPr>
            <p:spPr>
              <a:xfrm>
                <a:off x="1757259" y="3837418"/>
                <a:ext cx="318" cy="312"/>
              </a:xfrm>
              <a:custGeom>
                <a:avLst/>
                <a:gdLst>
                  <a:gd name="connsiteX0" fmla="*/ 2387 w 3045"/>
                  <a:gd name="connsiteY0" fmla="*/ 2497 h 2991"/>
                  <a:gd name="connsiteX1" fmla="*/ 219 w 3045"/>
                  <a:gd name="connsiteY1" fmla="*/ 2992 h 2991"/>
                  <a:gd name="connsiteX2" fmla="*/ 0 w 3045"/>
                  <a:gd name="connsiteY2" fmla="*/ 1208 h 2991"/>
                  <a:gd name="connsiteX3" fmla="*/ 411 w 3045"/>
                  <a:gd name="connsiteY3" fmla="*/ 0 h 2991"/>
                  <a:gd name="connsiteX4" fmla="*/ 3046 w 3045"/>
                  <a:gd name="connsiteY4" fmla="*/ 0 h 2991"/>
                  <a:gd name="connsiteX5" fmla="*/ 2415 w 3045"/>
                  <a:gd name="connsiteY5" fmla="*/ 2497 h 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5" h="2991">
                    <a:moveTo>
                      <a:pt x="2387" y="2497"/>
                    </a:moveTo>
                    <a:lnTo>
                      <a:pt x="219" y="2992"/>
                    </a:lnTo>
                    <a:lnTo>
                      <a:pt x="0" y="1208"/>
                    </a:lnTo>
                    <a:lnTo>
                      <a:pt x="411" y="0"/>
                    </a:lnTo>
                    <a:lnTo>
                      <a:pt x="3046" y="0"/>
                    </a:lnTo>
                    <a:lnTo>
                      <a:pt x="2415"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32" name="Freeform: Shape 4731">
                <a:extLst>
                  <a:ext uri="{FF2B5EF4-FFF2-40B4-BE49-F238E27FC236}">
                    <a16:creationId xmlns:a16="http://schemas.microsoft.com/office/drawing/2014/main" id="{31038E55-4205-58BE-68AA-0E9B1959F162}"/>
                  </a:ext>
                </a:extLst>
              </p:cNvPr>
              <p:cNvSpPr/>
              <p:nvPr/>
            </p:nvSpPr>
            <p:spPr>
              <a:xfrm>
                <a:off x="1760259" y="3855580"/>
                <a:ext cx="306" cy="312"/>
              </a:xfrm>
              <a:custGeom>
                <a:avLst/>
                <a:gdLst>
                  <a:gd name="connsiteX0" fmla="*/ 2662 w 2935"/>
                  <a:gd name="connsiteY0" fmla="*/ 2991 h 2991"/>
                  <a:gd name="connsiteX1" fmla="*/ 494 w 2935"/>
                  <a:gd name="connsiteY1" fmla="*/ 2991 h 2991"/>
                  <a:gd name="connsiteX2" fmla="*/ 0 w 2935"/>
                  <a:gd name="connsiteY2" fmla="*/ 549 h 2991"/>
                  <a:gd name="connsiteX3" fmla="*/ 2936 w 2935"/>
                  <a:gd name="connsiteY3" fmla="*/ 0 h 2991"/>
                  <a:gd name="connsiteX4" fmla="*/ 2662 w 2935"/>
                  <a:gd name="connsiteY4" fmla="*/ 2991 h 2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 h="2991">
                    <a:moveTo>
                      <a:pt x="2662" y="2991"/>
                    </a:moveTo>
                    <a:lnTo>
                      <a:pt x="494" y="2991"/>
                    </a:lnTo>
                    <a:cubicBezTo>
                      <a:pt x="494" y="2991"/>
                      <a:pt x="0" y="549"/>
                      <a:pt x="0" y="549"/>
                    </a:cubicBezTo>
                    <a:lnTo>
                      <a:pt x="2936" y="0"/>
                    </a:lnTo>
                    <a:lnTo>
                      <a:pt x="2662" y="29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33" name="Freeform: Shape 4732">
                <a:extLst>
                  <a:ext uri="{FF2B5EF4-FFF2-40B4-BE49-F238E27FC236}">
                    <a16:creationId xmlns:a16="http://schemas.microsoft.com/office/drawing/2014/main" id="{05A774A6-E0BC-2E83-E3D8-05B36B52D88D}"/>
                  </a:ext>
                </a:extLst>
              </p:cNvPr>
              <p:cNvSpPr/>
              <p:nvPr/>
            </p:nvSpPr>
            <p:spPr>
              <a:xfrm>
                <a:off x="1745283" y="3850636"/>
                <a:ext cx="189" cy="189"/>
              </a:xfrm>
              <a:custGeom>
                <a:avLst/>
                <a:gdLst>
                  <a:gd name="connsiteX0" fmla="*/ 0 w 1810"/>
                  <a:gd name="connsiteY0" fmla="*/ 1125 h 1811"/>
                  <a:gd name="connsiteX1" fmla="*/ 549 w 1810"/>
                  <a:gd name="connsiteY1" fmla="*/ 0 h 1811"/>
                  <a:gd name="connsiteX2" fmla="*/ 1811 w 1810"/>
                  <a:gd name="connsiteY2" fmla="*/ 357 h 1811"/>
                  <a:gd name="connsiteX3" fmla="*/ 1509 w 1810"/>
                  <a:gd name="connsiteY3" fmla="*/ 1811 h 1811"/>
                  <a:gd name="connsiteX4" fmla="*/ 0 w 1810"/>
                  <a:gd name="connsiteY4" fmla="*/ 1153 h 1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 h="1811">
                    <a:moveTo>
                      <a:pt x="0" y="1125"/>
                    </a:moveTo>
                    <a:lnTo>
                      <a:pt x="549" y="0"/>
                    </a:lnTo>
                    <a:lnTo>
                      <a:pt x="1811" y="357"/>
                    </a:lnTo>
                    <a:lnTo>
                      <a:pt x="1509" y="1811"/>
                    </a:lnTo>
                    <a:lnTo>
                      <a:pt x="0" y="11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34" name="Freeform: Shape 4733">
                <a:extLst>
                  <a:ext uri="{FF2B5EF4-FFF2-40B4-BE49-F238E27FC236}">
                    <a16:creationId xmlns:a16="http://schemas.microsoft.com/office/drawing/2014/main" id="{9385550F-232D-8C89-2622-AA3C26A4EEA3}"/>
                  </a:ext>
                </a:extLst>
              </p:cNvPr>
              <p:cNvSpPr/>
              <p:nvPr/>
            </p:nvSpPr>
            <p:spPr>
              <a:xfrm>
                <a:off x="1701458" y="3823164"/>
                <a:ext cx="29602" cy="18637"/>
              </a:xfrm>
              <a:custGeom>
                <a:avLst/>
                <a:gdLst>
                  <a:gd name="connsiteX0" fmla="*/ 223551 w 283815"/>
                  <a:gd name="connsiteY0" fmla="*/ 247 h 178681"/>
                  <a:gd name="connsiteX1" fmla="*/ 237931 w 283815"/>
                  <a:gd name="connsiteY1" fmla="*/ 14572 h 178681"/>
                  <a:gd name="connsiteX2" fmla="*/ 239989 w 283815"/>
                  <a:gd name="connsiteY2" fmla="*/ 26839 h 178681"/>
                  <a:gd name="connsiteX3" fmla="*/ 247262 w 283815"/>
                  <a:gd name="connsiteY3" fmla="*/ 28129 h 178681"/>
                  <a:gd name="connsiteX4" fmla="*/ 251817 w 283815"/>
                  <a:gd name="connsiteY4" fmla="*/ 33480 h 178681"/>
                  <a:gd name="connsiteX5" fmla="*/ 259968 w 283815"/>
                  <a:gd name="connsiteY5" fmla="*/ 34688 h 178681"/>
                  <a:gd name="connsiteX6" fmla="*/ 273113 w 283815"/>
                  <a:gd name="connsiteY6" fmla="*/ 42235 h 178681"/>
                  <a:gd name="connsiteX7" fmla="*/ 281758 w 283815"/>
                  <a:gd name="connsiteY7" fmla="*/ 45089 h 178681"/>
                  <a:gd name="connsiteX8" fmla="*/ 283816 w 283815"/>
                  <a:gd name="connsiteY8" fmla="*/ 47641 h 178681"/>
                  <a:gd name="connsiteX9" fmla="*/ 282937 w 283815"/>
                  <a:gd name="connsiteY9" fmla="*/ 51456 h 178681"/>
                  <a:gd name="connsiteX10" fmla="*/ 277504 w 283815"/>
                  <a:gd name="connsiteY10" fmla="*/ 55188 h 178681"/>
                  <a:gd name="connsiteX11" fmla="*/ 256043 w 283815"/>
                  <a:gd name="connsiteY11" fmla="*/ 59551 h 178681"/>
                  <a:gd name="connsiteX12" fmla="*/ 255742 w 283815"/>
                  <a:gd name="connsiteY12" fmla="*/ 64107 h 178681"/>
                  <a:gd name="connsiteX13" fmla="*/ 262410 w 283815"/>
                  <a:gd name="connsiteY13" fmla="*/ 68333 h 178681"/>
                  <a:gd name="connsiteX14" fmla="*/ 264716 w 283815"/>
                  <a:gd name="connsiteY14" fmla="*/ 73684 h 178681"/>
                  <a:gd name="connsiteX15" fmla="*/ 253738 w 283815"/>
                  <a:gd name="connsiteY15" fmla="*/ 78020 h 178681"/>
                  <a:gd name="connsiteX16" fmla="*/ 244133 w 283815"/>
                  <a:gd name="connsiteY16" fmla="*/ 78267 h 178681"/>
                  <a:gd name="connsiteX17" fmla="*/ 245368 w 283815"/>
                  <a:gd name="connsiteY17" fmla="*/ 81506 h 178681"/>
                  <a:gd name="connsiteX18" fmla="*/ 238946 w 283815"/>
                  <a:gd name="connsiteY18" fmla="*/ 81506 h 178681"/>
                  <a:gd name="connsiteX19" fmla="*/ 237300 w 283815"/>
                  <a:gd name="connsiteY19" fmla="*/ 80188 h 178681"/>
                  <a:gd name="connsiteX20" fmla="*/ 236614 w 283815"/>
                  <a:gd name="connsiteY20" fmla="*/ 80188 h 178681"/>
                  <a:gd name="connsiteX21" fmla="*/ 236229 w 283815"/>
                  <a:gd name="connsiteY21" fmla="*/ 81176 h 178681"/>
                  <a:gd name="connsiteX22" fmla="*/ 224896 w 283815"/>
                  <a:gd name="connsiteY22" fmla="*/ 75962 h 178681"/>
                  <a:gd name="connsiteX23" fmla="*/ 207661 w 283815"/>
                  <a:gd name="connsiteY23" fmla="*/ 75248 h 178681"/>
                  <a:gd name="connsiteX24" fmla="*/ 202694 w 283815"/>
                  <a:gd name="connsiteY24" fmla="*/ 76977 h 178681"/>
                  <a:gd name="connsiteX25" fmla="*/ 196574 w 283815"/>
                  <a:gd name="connsiteY25" fmla="*/ 75358 h 178681"/>
                  <a:gd name="connsiteX26" fmla="*/ 191580 w 283815"/>
                  <a:gd name="connsiteY26" fmla="*/ 77115 h 178681"/>
                  <a:gd name="connsiteX27" fmla="*/ 186256 w 283815"/>
                  <a:gd name="connsiteY27" fmla="*/ 76017 h 178681"/>
                  <a:gd name="connsiteX28" fmla="*/ 181837 w 283815"/>
                  <a:gd name="connsiteY28" fmla="*/ 80353 h 178681"/>
                  <a:gd name="connsiteX29" fmla="*/ 177612 w 283815"/>
                  <a:gd name="connsiteY29" fmla="*/ 88833 h 178681"/>
                  <a:gd name="connsiteX30" fmla="*/ 178517 w 283815"/>
                  <a:gd name="connsiteY30" fmla="*/ 101868 h 178681"/>
                  <a:gd name="connsiteX31" fmla="*/ 175389 w 283815"/>
                  <a:gd name="connsiteY31" fmla="*/ 112846 h 178681"/>
                  <a:gd name="connsiteX32" fmla="*/ 173440 w 283815"/>
                  <a:gd name="connsiteY32" fmla="*/ 115014 h 178681"/>
                  <a:gd name="connsiteX33" fmla="*/ 168116 w 283815"/>
                  <a:gd name="connsiteY33" fmla="*/ 115837 h 178681"/>
                  <a:gd name="connsiteX34" fmla="*/ 164685 w 283815"/>
                  <a:gd name="connsiteY34" fmla="*/ 119185 h 178681"/>
                  <a:gd name="connsiteX35" fmla="*/ 163560 w 283815"/>
                  <a:gd name="connsiteY35" fmla="*/ 125936 h 178681"/>
                  <a:gd name="connsiteX36" fmla="*/ 165976 w 283815"/>
                  <a:gd name="connsiteY36" fmla="*/ 130437 h 178681"/>
                  <a:gd name="connsiteX37" fmla="*/ 154669 w 283815"/>
                  <a:gd name="connsiteY37" fmla="*/ 138697 h 178681"/>
                  <a:gd name="connsiteX38" fmla="*/ 155630 w 283815"/>
                  <a:gd name="connsiteY38" fmla="*/ 147561 h 178681"/>
                  <a:gd name="connsiteX39" fmla="*/ 152446 w 283815"/>
                  <a:gd name="connsiteY39" fmla="*/ 150333 h 178681"/>
                  <a:gd name="connsiteX40" fmla="*/ 147205 w 283815"/>
                  <a:gd name="connsiteY40" fmla="*/ 160788 h 178681"/>
                  <a:gd name="connsiteX41" fmla="*/ 130080 w 283815"/>
                  <a:gd name="connsiteY41" fmla="*/ 161969 h 178681"/>
                  <a:gd name="connsiteX42" fmla="*/ 120585 w 283815"/>
                  <a:gd name="connsiteY42" fmla="*/ 167347 h 178681"/>
                  <a:gd name="connsiteX43" fmla="*/ 102994 w 283815"/>
                  <a:gd name="connsiteY43" fmla="*/ 162380 h 178681"/>
                  <a:gd name="connsiteX44" fmla="*/ 100771 w 283815"/>
                  <a:gd name="connsiteY44" fmla="*/ 158181 h 178681"/>
                  <a:gd name="connsiteX45" fmla="*/ 87131 w 283815"/>
                  <a:gd name="connsiteY45" fmla="*/ 157962 h 178681"/>
                  <a:gd name="connsiteX46" fmla="*/ 79777 w 283815"/>
                  <a:gd name="connsiteY46" fmla="*/ 161035 h 178681"/>
                  <a:gd name="connsiteX47" fmla="*/ 75523 w 283815"/>
                  <a:gd name="connsiteY47" fmla="*/ 169625 h 178681"/>
                  <a:gd name="connsiteX48" fmla="*/ 69074 w 283815"/>
                  <a:gd name="connsiteY48" fmla="*/ 172698 h 178681"/>
                  <a:gd name="connsiteX49" fmla="*/ 66742 w 283815"/>
                  <a:gd name="connsiteY49" fmla="*/ 174592 h 178681"/>
                  <a:gd name="connsiteX50" fmla="*/ 42345 w 283815"/>
                  <a:gd name="connsiteY50" fmla="*/ 173577 h 178681"/>
                  <a:gd name="connsiteX51" fmla="*/ 29721 w 283815"/>
                  <a:gd name="connsiteY51" fmla="*/ 178681 h 178681"/>
                  <a:gd name="connsiteX52" fmla="*/ 21598 w 283815"/>
                  <a:gd name="connsiteY52" fmla="*/ 174372 h 178681"/>
                  <a:gd name="connsiteX53" fmla="*/ 18470 w 283815"/>
                  <a:gd name="connsiteY53" fmla="*/ 169625 h 178681"/>
                  <a:gd name="connsiteX54" fmla="*/ 3760 w 283815"/>
                  <a:gd name="connsiteY54" fmla="*/ 156809 h 178681"/>
                  <a:gd name="connsiteX55" fmla="*/ 3376 w 283815"/>
                  <a:gd name="connsiteY55" fmla="*/ 152171 h 178681"/>
                  <a:gd name="connsiteX56" fmla="*/ 0 w 283815"/>
                  <a:gd name="connsiteY56" fmla="*/ 148055 h 178681"/>
                  <a:gd name="connsiteX57" fmla="*/ 2608 w 283815"/>
                  <a:gd name="connsiteY57" fmla="*/ 143005 h 178681"/>
                  <a:gd name="connsiteX58" fmla="*/ 4089 w 283815"/>
                  <a:gd name="connsiteY58" fmla="*/ 148768 h 178681"/>
                  <a:gd name="connsiteX59" fmla="*/ 10621 w 283815"/>
                  <a:gd name="connsiteY59" fmla="*/ 153406 h 178681"/>
                  <a:gd name="connsiteX60" fmla="*/ 24507 w 283815"/>
                  <a:gd name="connsiteY60" fmla="*/ 153159 h 178681"/>
                  <a:gd name="connsiteX61" fmla="*/ 28980 w 283815"/>
                  <a:gd name="connsiteY61" fmla="*/ 156754 h 178681"/>
                  <a:gd name="connsiteX62" fmla="*/ 43195 w 283815"/>
                  <a:gd name="connsiteY62" fmla="*/ 160898 h 178681"/>
                  <a:gd name="connsiteX63" fmla="*/ 42949 w 283815"/>
                  <a:gd name="connsiteY63" fmla="*/ 156754 h 178681"/>
                  <a:gd name="connsiteX64" fmla="*/ 48437 w 283815"/>
                  <a:gd name="connsiteY64" fmla="*/ 143033 h 178681"/>
                  <a:gd name="connsiteX65" fmla="*/ 48163 w 283815"/>
                  <a:gd name="connsiteY65" fmla="*/ 136172 h 178681"/>
                  <a:gd name="connsiteX66" fmla="*/ 50852 w 283815"/>
                  <a:gd name="connsiteY66" fmla="*/ 131452 h 178681"/>
                  <a:gd name="connsiteX67" fmla="*/ 51593 w 283815"/>
                  <a:gd name="connsiteY67" fmla="*/ 123685 h 178681"/>
                  <a:gd name="connsiteX68" fmla="*/ 54913 w 283815"/>
                  <a:gd name="connsiteY68" fmla="*/ 125853 h 178681"/>
                  <a:gd name="connsiteX69" fmla="*/ 61939 w 283815"/>
                  <a:gd name="connsiteY69" fmla="*/ 120392 h 178681"/>
                  <a:gd name="connsiteX70" fmla="*/ 69074 w 283815"/>
                  <a:gd name="connsiteY70" fmla="*/ 118581 h 178681"/>
                  <a:gd name="connsiteX71" fmla="*/ 99810 w 283815"/>
                  <a:gd name="connsiteY71" fmla="*/ 111665 h 178681"/>
                  <a:gd name="connsiteX72" fmla="*/ 114657 w 283815"/>
                  <a:gd name="connsiteY72" fmla="*/ 93059 h 178681"/>
                  <a:gd name="connsiteX73" fmla="*/ 123247 w 283815"/>
                  <a:gd name="connsiteY73" fmla="*/ 85649 h 178681"/>
                  <a:gd name="connsiteX74" fmla="*/ 125113 w 283815"/>
                  <a:gd name="connsiteY74" fmla="*/ 82741 h 178681"/>
                  <a:gd name="connsiteX75" fmla="*/ 127391 w 283815"/>
                  <a:gd name="connsiteY75" fmla="*/ 80051 h 178681"/>
                  <a:gd name="connsiteX76" fmla="*/ 129915 w 283815"/>
                  <a:gd name="connsiteY76" fmla="*/ 74782 h 178681"/>
                  <a:gd name="connsiteX77" fmla="*/ 130053 w 283815"/>
                  <a:gd name="connsiteY77" fmla="*/ 69842 h 178681"/>
                  <a:gd name="connsiteX78" fmla="*/ 132824 w 283815"/>
                  <a:gd name="connsiteY78" fmla="*/ 68909 h 178681"/>
                  <a:gd name="connsiteX79" fmla="*/ 137654 w 283815"/>
                  <a:gd name="connsiteY79" fmla="*/ 71105 h 178681"/>
                  <a:gd name="connsiteX80" fmla="*/ 140755 w 283815"/>
                  <a:gd name="connsiteY80" fmla="*/ 78158 h 178681"/>
                  <a:gd name="connsiteX81" fmla="*/ 144378 w 283815"/>
                  <a:gd name="connsiteY81" fmla="*/ 80024 h 178681"/>
                  <a:gd name="connsiteX82" fmla="*/ 149619 w 283815"/>
                  <a:gd name="connsiteY82" fmla="*/ 85649 h 178681"/>
                  <a:gd name="connsiteX83" fmla="*/ 152748 w 283815"/>
                  <a:gd name="connsiteY83" fmla="*/ 83893 h 178681"/>
                  <a:gd name="connsiteX84" fmla="*/ 154944 w 283815"/>
                  <a:gd name="connsiteY84" fmla="*/ 79996 h 178681"/>
                  <a:gd name="connsiteX85" fmla="*/ 156261 w 283815"/>
                  <a:gd name="connsiteY85" fmla="*/ 74535 h 178681"/>
                  <a:gd name="connsiteX86" fmla="*/ 154038 w 283815"/>
                  <a:gd name="connsiteY86" fmla="*/ 64820 h 178681"/>
                  <a:gd name="connsiteX87" fmla="*/ 160460 w 283815"/>
                  <a:gd name="connsiteY87" fmla="*/ 59908 h 178681"/>
                  <a:gd name="connsiteX88" fmla="*/ 160734 w 283815"/>
                  <a:gd name="connsiteY88" fmla="*/ 61692 h 178681"/>
                  <a:gd name="connsiteX89" fmla="*/ 161200 w 283815"/>
                  <a:gd name="connsiteY89" fmla="*/ 62488 h 178681"/>
                  <a:gd name="connsiteX90" fmla="*/ 163149 w 283815"/>
                  <a:gd name="connsiteY90" fmla="*/ 74288 h 178681"/>
                  <a:gd name="connsiteX91" fmla="*/ 169955 w 283815"/>
                  <a:gd name="connsiteY91" fmla="*/ 76621 h 178681"/>
                  <a:gd name="connsiteX92" fmla="*/ 166963 w 283815"/>
                  <a:gd name="connsiteY92" fmla="*/ 63064 h 178681"/>
                  <a:gd name="connsiteX93" fmla="*/ 164658 w 283815"/>
                  <a:gd name="connsiteY93" fmla="*/ 59277 h 178681"/>
                  <a:gd name="connsiteX94" fmla="*/ 173358 w 283815"/>
                  <a:gd name="connsiteY94" fmla="*/ 55407 h 178681"/>
                  <a:gd name="connsiteX95" fmla="*/ 173769 w 283815"/>
                  <a:gd name="connsiteY95" fmla="*/ 44046 h 178681"/>
                  <a:gd name="connsiteX96" fmla="*/ 186064 w 283815"/>
                  <a:gd name="connsiteY96" fmla="*/ 36444 h 178681"/>
                  <a:gd name="connsiteX97" fmla="*/ 209885 w 283815"/>
                  <a:gd name="connsiteY97" fmla="*/ 1235 h 178681"/>
                  <a:gd name="connsiteX98" fmla="*/ 212683 w 283815"/>
                  <a:gd name="connsiteY98" fmla="*/ 1098 h 178681"/>
                  <a:gd name="connsiteX99" fmla="*/ 215730 w 283815"/>
                  <a:gd name="connsiteY99" fmla="*/ 5406 h 178681"/>
                  <a:gd name="connsiteX100" fmla="*/ 223469 w 283815"/>
                  <a:gd name="connsiteY100" fmla="*/ 0 h 1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83815" h="178681">
                    <a:moveTo>
                      <a:pt x="223551" y="247"/>
                    </a:moveTo>
                    <a:lnTo>
                      <a:pt x="237931" y="14572"/>
                    </a:lnTo>
                    <a:lnTo>
                      <a:pt x="239989" y="26839"/>
                    </a:lnTo>
                    <a:lnTo>
                      <a:pt x="247262" y="28129"/>
                    </a:lnTo>
                    <a:lnTo>
                      <a:pt x="251817" y="33480"/>
                    </a:lnTo>
                    <a:lnTo>
                      <a:pt x="259968" y="34688"/>
                    </a:lnTo>
                    <a:lnTo>
                      <a:pt x="273113" y="42235"/>
                    </a:lnTo>
                    <a:lnTo>
                      <a:pt x="281758" y="45089"/>
                    </a:lnTo>
                    <a:lnTo>
                      <a:pt x="283816" y="47641"/>
                    </a:lnTo>
                    <a:lnTo>
                      <a:pt x="282937" y="51456"/>
                    </a:lnTo>
                    <a:lnTo>
                      <a:pt x="277504" y="55188"/>
                    </a:lnTo>
                    <a:lnTo>
                      <a:pt x="256043" y="59551"/>
                    </a:lnTo>
                    <a:lnTo>
                      <a:pt x="255742" y="64107"/>
                    </a:lnTo>
                    <a:lnTo>
                      <a:pt x="262410" y="68333"/>
                    </a:lnTo>
                    <a:lnTo>
                      <a:pt x="264716" y="73684"/>
                    </a:lnTo>
                    <a:lnTo>
                      <a:pt x="253738" y="78020"/>
                    </a:lnTo>
                    <a:lnTo>
                      <a:pt x="244133" y="78267"/>
                    </a:lnTo>
                    <a:lnTo>
                      <a:pt x="245368" y="81506"/>
                    </a:lnTo>
                    <a:lnTo>
                      <a:pt x="238946" y="81506"/>
                    </a:lnTo>
                    <a:cubicBezTo>
                      <a:pt x="238946" y="81506"/>
                      <a:pt x="237300" y="80188"/>
                      <a:pt x="237300" y="80188"/>
                    </a:cubicBezTo>
                    <a:lnTo>
                      <a:pt x="236614" y="80188"/>
                    </a:lnTo>
                    <a:lnTo>
                      <a:pt x="236229" y="81176"/>
                    </a:lnTo>
                    <a:lnTo>
                      <a:pt x="224896" y="75962"/>
                    </a:lnTo>
                    <a:lnTo>
                      <a:pt x="207661" y="75248"/>
                    </a:lnTo>
                    <a:lnTo>
                      <a:pt x="202694" y="76977"/>
                    </a:lnTo>
                    <a:lnTo>
                      <a:pt x="196574" y="75358"/>
                    </a:lnTo>
                    <a:lnTo>
                      <a:pt x="191580" y="77115"/>
                    </a:lnTo>
                    <a:lnTo>
                      <a:pt x="186256" y="76017"/>
                    </a:lnTo>
                    <a:lnTo>
                      <a:pt x="181837" y="80353"/>
                    </a:lnTo>
                    <a:lnTo>
                      <a:pt x="177612" y="88833"/>
                    </a:lnTo>
                    <a:lnTo>
                      <a:pt x="178517" y="101868"/>
                    </a:lnTo>
                    <a:lnTo>
                      <a:pt x="175389" y="112846"/>
                    </a:lnTo>
                    <a:lnTo>
                      <a:pt x="173440" y="115014"/>
                    </a:lnTo>
                    <a:lnTo>
                      <a:pt x="168116" y="115837"/>
                    </a:lnTo>
                    <a:lnTo>
                      <a:pt x="164685" y="119185"/>
                    </a:lnTo>
                    <a:lnTo>
                      <a:pt x="163560" y="125936"/>
                    </a:lnTo>
                    <a:lnTo>
                      <a:pt x="165976" y="130437"/>
                    </a:lnTo>
                    <a:lnTo>
                      <a:pt x="154669" y="138697"/>
                    </a:lnTo>
                    <a:lnTo>
                      <a:pt x="155630" y="147561"/>
                    </a:lnTo>
                    <a:lnTo>
                      <a:pt x="152446" y="150333"/>
                    </a:lnTo>
                    <a:lnTo>
                      <a:pt x="147205" y="160788"/>
                    </a:lnTo>
                    <a:lnTo>
                      <a:pt x="130080" y="161969"/>
                    </a:lnTo>
                    <a:lnTo>
                      <a:pt x="120585" y="167347"/>
                    </a:lnTo>
                    <a:lnTo>
                      <a:pt x="102994" y="162380"/>
                    </a:lnTo>
                    <a:lnTo>
                      <a:pt x="100771" y="158181"/>
                    </a:lnTo>
                    <a:lnTo>
                      <a:pt x="87131" y="157962"/>
                    </a:lnTo>
                    <a:lnTo>
                      <a:pt x="79777" y="161035"/>
                    </a:lnTo>
                    <a:lnTo>
                      <a:pt x="75523" y="169625"/>
                    </a:lnTo>
                    <a:lnTo>
                      <a:pt x="69074" y="172698"/>
                    </a:lnTo>
                    <a:lnTo>
                      <a:pt x="66742" y="174592"/>
                    </a:lnTo>
                    <a:lnTo>
                      <a:pt x="42345" y="173577"/>
                    </a:lnTo>
                    <a:lnTo>
                      <a:pt x="29721" y="178681"/>
                    </a:lnTo>
                    <a:lnTo>
                      <a:pt x="21598" y="174372"/>
                    </a:lnTo>
                    <a:lnTo>
                      <a:pt x="18470" y="169625"/>
                    </a:lnTo>
                    <a:lnTo>
                      <a:pt x="3760" y="156809"/>
                    </a:lnTo>
                    <a:lnTo>
                      <a:pt x="3376" y="152171"/>
                    </a:lnTo>
                    <a:lnTo>
                      <a:pt x="0" y="148055"/>
                    </a:lnTo>
                    <a:lnTo>
                      <a:pt x="2608" y="143005"/>
                    </a:lnTo>
                    <a:lnTo>
                      <a:pt x="4089" y="148768"/>
                    </a:lnTo>
                    <a:lnTo>
                      <a:pt x="10621" y="153406"/>
                    </a:lnTo>
                    <a:lnTo>
                      <a:pt x="24507" y="153159"/>
                    </a:lnTo>
                    <a:lnTo>
                      <a:pt x="28980" y="156754"/>
                    </a:lnTo>
                    <a:lnTo>
                      <a:pt x="43195" y="160898"/>
                    </a:lnTo>
                    <a:lnTo>
                      <a:pt x="42949" y="156754"/>
                    </a:lnTo>
                    <a:lnTo>
                      <a:pt x="48437" y="143033"/>
                    </a:lnTo>
                    <a:lnTo>
                      <a:pt x="48163" y="136172"/>
                    </a:lnTo>
                    <a:lnTo>
                      <a:pt x="50852" y="131452"/>
                    </a:lnTo>
                    <a:lnTo>
                      <a:pt x="51593" y="123685"/>
                    </a:lnTo>
                    <a:lnTo>
                      <a:pt x="54913" y="125853"/>
                    </a:lnTo>
                    <a:lnTo>
                      <a:pt x="61939" y="120392"/>
                    </a:lnTo>
                    <a:lnTo>
                      <a:pt x="69074" y="118581"/>
                    </a:lnTo>
                    <a:lnTo>
                      <a:pt x="99810" y="111665"/>
                    </a:lnTo>
                    <a:lnTo>
                      <a:pt x="114657" y="93059"/>
                    </a:lnTo>
                    <a:lnTo>
                      <a:pt x="123247" y="85649"/>
                    </a:lnTo>
                    <a:lnTo>
                      <a:pt x="125113" y="82741"/>
                    </a:lnTo>
                    <a:lnTo>
                      <a:pt x="127391" y="80051"/>
                    </a:lnTo>
                    <a:lnTo>
                      <a:pt x="129915" y="74782"/>
                    </a:lnTo>
                    <a:lnTo>
                      <a:pt x="130053" y="69842"/>
                    </a:lnTo>
                    <a:lnTo>
                      <a:pt x="132824" y="68909"/>
                    </a:lnTo>
                    <a:lnTo>
                      <a:pt x="137654" y="71105"/>
                    </a:lnTo>
                    <a:lnTo>
                      <a:pt x="140755" y="78158"/>
                    </a:lnTo>
                    <a:lnTo>
                      <a:pt x="144378" y="80024"/>
                    </a:lnTo>
                    <a:lnTo>
                      <a:pt x="149619" y="85649"/>
                    </a:lnTo>
                    <a:lnTo>
                      <a:pt x="152748" y="83893"/>
                    </a:lnTo>
                    <a:lnTo>
                      <a:pt x="154944" y="79996"/>
                    </a:lnTo>
                    <a:lnTo>
                      <a:pt x="156261" y="74535"/>
                    </a:lnTo>
                    <a:lnTo>
                      <a:pt x="154038" y="64820"/>
                    </a:lnTo>
                    <a:lnTo>
                      <a:pt x="160460" y="59908"/>
                    </a:lnTo>
                    <a:lnTo>
                      <a:pt x="160734" y="61692"/>
                    </a:lnTo>
                    <a:lnTo>
                      <a:pt x="161200" y="62488"/>
                    </a:lnTo>
                    <a:lnTo>
                      <a:pt x="163149" y="74288"/>
                    </a:lnTo>
                    <a:lnTo>
                      <a:pt x="169955" y="76621"/>
                    </a:lnTo>
                    <a:lnTo>
                      <a:pt x="166963" y="63064"/>
                    </a:lnTo>
                    <a:lnTo>
                      <a:pt x="164658" y="59277"/>
                    </a:lnTo>
                    <a:lnTo>
                      <a:pt x="173358" y="55407"/>
                    </a:lnTo>
                    <a:lnTo>
                      <a:pt x="173769" y="44046"/>
                    </a:lnTo>
                    <a:lnTo>
                      <a:pt x="186064" y="36444"/>
                    </a:lnTo>
                    <a:lnTo>
                      <a:pt x="209885" y="1235"/>
                    </a:lnTo>
                    <a:lnTo>
                      <a:pt x="212683" y="1098"/>
                    </a:lnTo>
                    <a:lnTo>
                      <a:pt x="215730" y="5406"/>
                    </a:lnTo>
                    <a:lnTo>
                      <a:pt x="223469"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35" name="Freeform: Shape 4734">
                <a:extLst>
                  <a:ext uri="{FF2B5EF4-FFF2-40B4-BE49-F238E27FC236}">
                    <a16:creationId xmlns:a16="http://schemas.microsoft.com/office/drawing/2014/main" id="{5DC8FF67-99CC-EBDC-1A16-8410911E2B00}"/>
                  </a:ext>
                </a:extLst>
              </p:cNvPr>
              <p:cNvSpPr/>
              <p:nvPr/>
            </p:nvSpPr>
            <p:spPr>
              <a:xfrm>
                <a:off x="1724477" y="3821841"/>
                <a:ext cx="741" cy="650"/>
              </a:xfrm>
              <a:custGeom>
                <a:avLst/>
                <a:gdLst>
                  <a:gd name="connsiteX0" fmla="*/ 4912 w 7107"/>
                  <a:gd name="connsiteY0" fmla="*/ 4857 h 6229"/>
                  <a:gd name="connsiteX1" fmla="*/ 1345 w 7107"/>
                  <a:gd name="connsiteY1" fmla="*/ 6230 h 6229"/>
                  <a:gd name="connsiteX2" fmla="*/ 0 w 7107"/>
                  <a:gd name="connsiteY2" fmla="*/ 4830 h 6229"/>
                  <a:gd name="connsiteX3" fmla="*/ 247 w 7107"/>
                  <a:gd name="connsiteY3" fmla="*/ 1756 h 6229"/>
                  <a:gd name="connsiteX4" fmla="*/ 2772 w 7107"/>
                  <a:gd name="connsiteY4" fmla="*/ 55 h 6229"/>
                  <a:gd name="connsiteX5" fmla="*/ 6531 w 7107"/>
                  <a:gd name="connsiteY5" fmla="*/ 0 h 6229"/>
                  <a:gd name="connsiteX6" fmla="*/ 7107 w 7107"/>
                  <a:gd name="connsiteY6" fmla="*/ 1537 h 6229"/>
                  <a:gd name="connsiteX7" fmla="*/ 4940 w 7107"/>
                  <a:gd name="connsiteY7" fmla="*/ 4857 h 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07" h="6229">
                    <a:moveTo>
                      <a:pt x="4912" y="4857"/>
                    </a:moveTo>
                    <a:lnTo>
                      <a:pt x="1345" y="6230"/>
                    </a:lnTo>
                    <a:lnTo>
                      <a:pt x="0" y="4830"/>
                    </a:lnTo>
                    <a:lnTo>
                      <a:pt x="247" y="1756"/>
                    </a:lnTo>
                    <a:lnTo>
                      <a:pt x="2772" y="55"/>
                    </a:lnTo>
                    <a:lnTo>
                      <a:pt x="6531" y="0"/>
                    </a:lnTo>
                    <a:lnTo>
                      <a:pt x="7107" y="1537"/>
                    </a:lnTo>
                    <a:lnTo>
                      <a:pt x="4940" y="48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36" name="Freeform: Shape 4735">
                <a:extLst>
                  <a:ext uri="{FF2B5EF4-FFF2-40B4-BE49-F238E27FC236}">
                    <a16:creationId xmlns:a16="http://schemas.microsoft.com/office/drawing/2014/main" id="{1B7F6A50-FBBE-3D7A-C466-19D2F95E160D}"/>
                  </a:ext>
                </a:extLst>
              </p:cNvPr>
              <p:cNvSpPr/>
              <p:nvPr/>
            </p:nvSpPr>
            <p:spPr>
              <a:xfrm>
                <a:off x="1725035" y="3822543"/>
                <a:ext cx="338" cy="432"/>
              </a:xfrm>
              <a:custGeom>
                <a:avLst/>
                <a:gdLst>
                  <a:gd name="connsiteX0" fmla="*/ 3238 w 3238"/>
                  <a:gd name="connsiteY0" fmla="*/ 1921 h 4143"/>
                  <a:gd name="connsiteX1" fmla="*/ 2003 w 3238"/>
                  <a:gd name="connsiteY1" fmla="*/ 4144 h 4143"/>
                  <a:gd name="connsiteX2" fmla="*/ 0 w 3238"/>
                  <a:gd name="connsiteY2" fmla="*/ 2525 h 4143"/>
                  <a:gd name="connsiteX3" fmla="*/ 823 w 3238"/>
                  <a:gd name="connsiteY3" fmla="*/ 0 h 4143"/>
                  <a:gd name="connsiteX4" fmla="*/ 3238 w 3238"/>
                  <a:gd name="connsiteY4" fmla="*/ 1894 h 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4143">
                    <a:moveTo>
                      <a:pt x="3238" y="1921"/>
                    </a:moveTo>
                    <a:lnTo>
                      <a:pt x="2003" y="4144"/>
                    </a:lnTo>
                    <a:lnTo>
                      <a:pt x="0" y="2525"/>
                    </a:lnTo>
                    <a:lnTo>
                      <a:pt x="823" y="0"/>
                    </a:lnTo>
                    <a:lnTo>
                      <a:pt x="3238" y="1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37" name="Freeform: Shape 4736">
                <a:extLst>
                  <a:ext uri="{FF2B5EF4-FFF2-40B4-BE49-F238E27FC236}">
                    <a16:creationId xmlns:a16="http://schemas.microsoft.com/office/drawing/2014/main" id="{756169D0-5D55-8C2A-B5ED-3F4D49D7AC8F}"/>
                  </a:ext>
                </a:extLst>
              </p:cNvPr>
              <p:cNvSpPr/>
              <p:nvPr/>
            </p:nvSpPr>
            <p:spPr>
              <a:xfrm>
                <a:off x="1723833" y="3821953"/>
                <a:ext cx="429" cy="232"/>
              </a:xfrm>
              <a:custGeom>
                <a:avLst/>
                <a:gdLst>
                  <a:gd name="connsiteX0" fmla="*/ 3787 w 4116"/>
                  <a:gd name="connsiteY0" fmla="*/ 27 h 2222"/>
                  <a:gd name="connsiteX1" fmla="*/ 4116 w 4116"/>
                  <a:gd name="connsiteY1" fmla="*/ 2223 h 2222"/>
                  <a:gd name="connsiteX2" fmla="*/ 0 w 4116"/>
                  <a:gd name="connsiteY2" fmla="*/ 2223 h 2222"/>
                  <a:gd name="connsiteX3" fmla="*/ 521 w 4116"/>
                  <a:gd name="connsiteY3" fmla="*/ 576 h 2222"/>
                  <a:gd name="connsiteX4" fmla="*/ 3787 w 4116"/>
                  <a:gd name="connsiteY4" fmla="*/ 0 h 2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2222">
                    <a:moveTo>
                      <a:pt x="3787" y="27"/>
                    </a:moveTo>
                    <a:lnTo>
                      <a:pt x="4116" y="2223"/>
                    </a:lnTo>
                    <a:lnTo>
                      <a:pt x="0" y="2223"/>
                    </a:lnTo>
                    <a:cubicBezTo>
                      <a:pt x="0" y="2223"/>
                      <a:pt x="521" y="576"/>
                      <a:pt x="521" y="576"/>
                    </a:cubicBezTo>
                    <a:lnTo>
                      <a:pt x="378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38" name="Freeform: Shape 4737">
                <a:extLst>
                  <a:ext uri="{FF2B5EF4-FFF2-40B4-BE49-F238E27FC236}">
                    <a16:creationId xmlns:a16="http://schemas.microsoft.com/office/drawing/2014/main" id="{57373A2F-3DE9-320C-0C24-1A54D5FF9EEE}"/>
                  </a:ext>
                </a:extLst>
              </p:cNvPr>
              <p:cNvSpPr/>
              <p:nvPr/>
            </p:nvSpPr>
            <p:spPr>
              <a:xfrm>
                <a:off x="1868564" y="3907700"/>
                <a:ext cx="9137" cy="7127"/>
              </a:xfrm>
              <a:custGeom>
                <a:avLst/>
                <a:gdLst>
                  <a:gd name="connsiteX0" fmla="*/ 85732 w 87598"/>
                  <a:gd name="connsiteY0" fmla="*/ 61417 h 68333"/>
                  <a:gd name="connsiteX1" fmla="*/ 87598 w 87598"/>
                  <a:gd name="connsiteY1" fmla="*/ 65396 h 68333"/>
                  <a:gd name="connsiteX2" fmla="*/ 85677 w 87598"/>
                  <a:gd name="connsiteY2" fmla="*/ 68333 h 68333"/>
                  <a:gd name="connsiteX3" fmla="*/ 74563 w 87598"/>
                  <a:gd name="connsiteY3" fmla="*/ 65177 h 68333"/>
                  <a:gd name="connsiteX4" fmla="*/ 71050 w 87598"/>
                  <a:gd name="connsiteY4" fmla="*/ 65726 h 68333"/>
                  <a:gd name="connsiteX5" fmla="*/ 64326 w 87598"/>
                  <a:gd name="connsiteY5" fmla="*/ 61445 h 68333"/>
                  <a:gd name="connsiteX6" fmla="*/ 59688 w 87598"/>
                  <a:gd name="connsiteY6" fmla="*/ 55380 h 68333"/>
                  <a:gd name="connsiteX7" fmla="*/ 27498 w 87598"/>
                  <a:gd name="connsiteY7" fmla="*/ 36362 h 68333"/>
                  <a:gd name="connsiteX8" fmla="*/ 23656 w 87598"/>
                  <a:gd name="connsiteY8" fmla="*/ 28596 h 68333"/>
                  <a:gd name="connsiteX9" fmla="*/ 10977 w 87598"/>
                  <a:gd name="connsiteY9" fmla="*/ 17838 h 68333"/>
                  <a:gd name="connsiteX10" fmla="*/ 5132 w 87598"/>
                  <a:gd name="connsiteY10" fmla="*/ 9852 h 68333"/>
                  <a:gd name="connsiteX11" fmla="*/ 3430 w 87598"/>
                  <a:gd name="connsiteY11" fmla="*/ 4775 h 68333"/>
                  <a:gd name="connsiteX12" fmla="*/ 0 w 87598"/>
                  <a:gd name="connsiteY12" fmla="*/ 1976 h 68333"/>
                  <a:gd name="connsiteX13" fmla="*/ 137 w 87598"/>
                  <a:gd name="connsiteY13" fmla="*/ 0 h 68333"/>
                  <a:gd name="connsiteX14" fmla="*/ 10566 w 87598"/>
                  <a:gd name="connsiteY14" fmla="*/ 2497 h 68333"/>
                  <a:gd name="connsiteX15" fmla="*/ 24534 w 87598"/>
                  <a:gd name="connsiteY15" fmla="*/ 13282 h 68333"/>
                  <a:gd name="connsiteX16" fmla="*/ 35155 w 87598"/>
                  <a:gd name="connsiteY16" fmla="*/ 19128 h 68333"/>
                  <a:gd name="connsiteX17" fmla="*/ 48025 w 87598"/>
                  <a:gd name="connsiteY17" fmla="*/ 34002 h 68333"/>
                  <a:gd name="connsiteX18" fmla="*/ 70583 w 87598"/>
                  <a:gd name="connsiteY18" fmla="*/ 47723 h 68333"/>
                  <a:gd name="connsiteX19" fmla="*/ 85704 w 87598"/>
                  <a:gd name="connsiteY19" fmla="*/ 61445 h 6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598" h="68333">
                    <a:moveTo>
                      <a:pt x="85732" y="61417"/>
                    </a:moveTo>
                    <a:lnTo>
                      <a:pt x="87598" y="65396"/>
                    </a:lnTo>
                    <a:lnTo>
                      <a:pt x="85677" y="68333"/>
                    </a:lnTo>
                    <a:lnTo>
                      <a:pt x="74563" y="65177"/>
                    </a:lnTo>
                    <a:lnTo>
                      <a:pt x="71050" y="65726"/>
                    </a:lnTo>
                    <a:lnTo>
                      <a:pt x="64326" y="61445"/>
                    </a:lnTo>
                    <a:lnTo>
                      <a:pt x="59688" y="55380"/>
                    </a:lnTo>
                    <a:lnTo>
                      <a:pt x="27498" y="36362"/>
                    </a:lnTo>
                    <a:lnTo>
                      <a:pt x="23656" y="28596"/>
                    </a:lnTo>
                    <a:lnTo>
                      <a:pt x="10977" y="17838"/>
                    </a:lnTo>
                    <a:lnTo>
                      <a:pt x="5132" y="9852"/>
                    </a:lnTo>
                    <a:lnTo>
                      <a:pt x="3430" y="4775"/>
                    </a:lnTo>
                    <a:lnTo>
                      <a:pt x="0" y="1976"/>
                    </a:lnTo>
                    <a:lnTo>
                      <a:pt x="137" y="0"/>
                    </a:lnTo>
                    <a:lnTo>
                      <a:pt x="10566" y="2497"/>
                    </a:lnTo>
                    <a:lnTo>
                      <a:pt x="24534" y="13282"/>
                    </a:lnTo>
                    <a:lnTo>
                      <a:pt x="35155" y="19128"/>
                    </a:lnTo>
                    <a:lnTo>
                      <a:pt x="48025" y="34002"/>
                    </a:lnTo>
                    <a:lnTo>
                      <a:pt x="70583" y="47723"/>
                    </a:lnTo>
                    <a:lnTo>
                      <a:pt x="85704" y="614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39" name="Freeform: Shape 4738">
                <a:extLst>
                  <a:ext uri="{FF2B5EF4-FFF2-40B4-BE49-F238E27FC236}">
                    <a16:creationId xmlns:a16="http://schemas.microsoft.com/office/drawing/2014/main" id="{C2CD2058-4986-D506-5509-1A87A48F1281}"/>
                  </a:ext>
                </a:extLst>
              </p:cNvPr>
              <p:cNvSpPr/>
              <p:nvPr/>
            </p:nvSpPr>
            <p:spPr>
              <a:xfrm>
                <a:off x="1877772" y="3909323"/>
                <a:ext cx="1308" cy="1652"/>
              </a:xfrm>
              <a:custGeom>
                <a:avLst/>
                <a:gdLst>
                  <a:gd name="connsiteX0" fmla="*/ 11361 w 12540"/>
                  <a:gd name="connsiteY0" fmla="*/ 15231 h 15834"/>
                  <a:gd name="connsiteX1" fmla="*/ 9193 w 12540"/>
                  <a:gd name="connsiteY1" fmla="*/ 15835 h 15834"/>
                  <a:gd name="connsiteX2" fmla="*/ 6861 w 12540"/>
                  <a:gd name="connsiteY2" fmla="*/ 13008 h 15834"/>
                  <a:gd name="connsiteX3" fmla="*/ 3787 w 12540"/>
                  <a:gd name="connsiteY3" fmla="*/ 12761 h 15834"/>
                  <a:gd name="connsiteX4" fmla="*/ 768 w 12540"/>
                  <a:gd name="connsiteY4" fmla="*/ 9660 h 15834"/>
                  <a:gd name="connsiteX5" fmla="*/ 1015 w 12540"/>
                  <a:gd name="connsiteY5" fmla="*/ 7821 h 15834"/>
                  <a:gd name="connsiteX6" fmla="*/ 2607 w 12540"/>
                  <a:gd name="connsiteY6" fmla="*/ 7218 h 15834"/>
                  <a:gd name="connsiteX7" fmla="*/ 4390 w 12540"/>
                  <a:gd name="connsiteY7" fmla="*/ 4638 h 15834"/>
                  <a:gd name="connsiteX8" fmla="*/ 4171 w 12540"/>
                  <a:gd name="connsiteY8" fmla="*/ 3512 h 15834"/>
                  <a:gd name="connsiteX9" fmla="*/ 0 w 12540"/>
                  <a:gd name="connsiteY9" fmla="*/ 2579 h 15834"/>
                  <a:gd name="connsiteX10" fmla="*/ 356 w 12540"/>
                  <a:gd name="connsiteY10" fmla="*/ 1509 h 15834"/>
                  <a:gd name="connsiteX11" fmla="*/ 3101 w 12540"/>
                  <a:gd name="connsiteY11" fmla="*/ 1235 h 15834"/>
                  <a:gd name="connsiteX12" fmla="*/ 5818 w 12540"/>
                  <a:gd name="connsiteY12" fmla="*/ 0 h 15834"/>
                  <a:gd name="connsiteX13" fmla="*/ 7738 w 12540"/>
                  <a:gd name="connsiteY13" fmla="*/ 1838 h 15834"/>
                  <a:gd name="connsiteX14" fmla="*/ 7492 w 12540"/>
                  <a:gd name="connsiteY14" fmla="*/ 7327 h 15834"/>
                  <a:gd name="connsiteX15" fmla="*/ 10099 w 12540"/>
                  <a:gd name="connsiteY15" fmla="*/ 8452 h 15834"/>
                  <a:gd name="connsiteX16" fmla="*/ 10510 w 12540"/>
                  <a:gd name="connsiteY16" fmla="*/ 10511 h 15834"/>
                  <a:gd name="connsiteX17" fmla="*/ 12541 w 12540"/>
                  <a:gd name="connsiteY17" fmla="*/ 11691 h 15834"/>
                  <a:gd name="connsiteX18" fmla="*/ 11306 w 12540"/>
                  <a:gd name="connsiteY18" fmla="*/ 13172 h 15834"/>
                  <a:gd name="connsiteX19" fmla="*/ 11361 w 12540"/>
                  <a:gd name="connsiteY19" fmla="*/ 15231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40" h="15834">
                    <a:moveTo>
                      <a:pt x="11361" y="15231"/>
                    </a:moveTo>
                    <a:lnTo>
                      <a:pt x="9193" y="15835"/>
                    </a:lnTo>
                    <a:lnTo>
                      <a:pt x="6861" y="13008"/>
                    </a:lnTo>
                    <a:lnTo>
                      <a:pt x="3787" y="12761"/>
                    </a:lnTo>
                    <a:lnTo>
                      <a:pt x="768" y="9660"/>
                    </a:lnTo>
                    <a:lnTo>
                      <a:pt x="1015" y="7821"/>
                    </a:lnTo>
                    <a:lnTo>
                      <a:pt x="2607" y="7218"/>
                    </a:lnTo>
                    <a:lnTo>
                      <a:pt x="4390" y="4638"/>
                    </a:lnTo>
                    <a:lnTo>
                      <a:pt x="4171" y="3512"/>
                    </a:lnTo>
                    <a:lnTo>
                      <a:pt x="0" y="2579"/>
                    </a:lnTo>
                    <a:lnTo>
                      <a:pt x="356" y="1509"/>
                    </a:lnTo>
                    <a:lnTo>
                      <a:pt x="3101" y="1235"/>
                    </a:lnTo>
                    <a:lnTo>
                      <a:pt x="5818" y="0"/>
                    </a:lnTo>
                    <a:lnTo>
                      <a:pt x="7738" y="1838"/>
                    </a:lnTo>
                    <a:lnTo>
                      <a:pt x="7492" y="7327"/>
                    </a:lnTo>
                    <a:lnTo>
                      <a:pt x="10099" y="8452"/>
                    </a:lnTo>
                    <a:lnTo>
                      <a:pt x="10510" y="10511"/>
                    </a:lnTo>
                    <a:lnTo>
                      <a:pt x="12541" y="11691"/>
                    </a:lnTo>
                    <a:lnTo>
                      <a:pt x="11306" y="13172"/>
                    </a:lnTo>
                    <a:lnTo>
                      <a:pt x="11361" y="152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40" name="Freeform: Shape 4739">
                <a:extLst>
                  <a:ext uri="{FF2B5EF4-FFF2-40B4-BE49-F238E27FC236}">
                    <a16:creationId xmlns:a16="http://schemas.microsoft.com/office/drawing/2014/main" id="{E2A72582-7CFE-998F-CEE4-0A4ADE2147E5}"/>
                  </a:ext>
                </a:extLst>
              </p:cNvPr>
              <p:cNvSpPr/>
              <p:nvPr/>
            </p:nvSpPr>
            <p:spPr>
              <a:xfrm>
                <a:off x="1880145" y="3911604"/>
                <a:ext cx="988" cy="936"/>
              </a:xfrm>
              <a:custGeom>
                <a:avLst/>
                <a:gdLst>
                  <a:gd name="connsiteX0" fmla="*/ 4226 w 9468"/>
                  <a:gd name="connsiteY0" fmla="*/ 27 h 8973"/>
                  <a:gd name="connsiteX1" fmla="*/ 6614 w 9468"/>
                  <a:gd name="connsiteY1" fmla="*/ 2827 h 8973"/>
                  <a:gd name="connsiteX2" fmla="*/ 9468 w 9468"/>
                  <a:gd name="connsiteY2" fmla="*/ 2827 h 8973"/>
                  <a:gd name="connsiteX3" fmla="*/ 9221 w 9468"/>
                  <a:gd name="connsiteY3" fmla="*/ 7986 h 8973"/>
                  <a:gd name="connsiteX4" fmla="*/ 5187 w 9468"/>
                  <a:gd name="connsiteY4" fmla="*/ 8974 h 8973"/>
                  <a:gd name="connsiteX5" fmla="*/ 4199 w 9468"/>
                  <a:gd name="connsiteY5" fmla="*/ 7190 h 8973"/>
                  <a:gd name="connsiteX6" fmla="*/ 2168 w 9468"/>
                  <a:gd name="connsiteY6" fmla="*/ 6916 h 8973"/>
                  <a:gd name="connsiteX7" fmla="*/ 0 w 9468"/>
                  <a:gd name="connsiteY7" fmla="*/ 192 h 8973"/>
                  <a:gd name="connsiteX8" fmla="*/ 2580 w 9468"/>
                  <a:gd name="connsiteY8" fmla="*/ 823 h 8973"/>
                  <a:gd name="connsiteX9" fmla="*/ 4254 w 9468"/>
                  <a:gd name="connsiteY9" fmla="*/ 0 h 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68" h="8973">
                    <a:moveTo>
                      <a:pt x="4226" y="27"/>
                    </a:moveTo>
                    <a:lnTo>
                      <a:pt x="6614" y="2827"/>
                    </a:lnTo>
                    <a:lnTo>
                      <a:pt x="9468" y="2827"/>
                    </a:lnTo>
                    <a:cubicBezTo>
                      <a:pt x="9468" y="2827"/>
                      <a:pt x="9221" y="7986"/>
                      <a:pt x="9221" y="7986"/>
                    </a:cubicBezTo>
                    <a:lnTo>
                      <a:pt x="5187" y="8974"/>
                    </a:lnTo>
                    <a:lnTo>
                      <a:pt x="4199" y="7190"/>
                    </a:lnTo>
                    <a:lnTo>
                      <a:pt x="2168" y="6916"/>
                    </a:lnTo>
                    <a:lnTo>
                      <a:pt x="0" y="192"/>
                    </a:lnTo>
                    <a:lnTo>
                      <a:pt x="2580" y="823"/>
                    </a:lnTo>
                    <a:lnTo>
                      <a:pt x="425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41" name="Freeform: Shape 4740">
                <a:extLst>
                  <a:ext uri="{FF2B5EF4-FFF2-40B4-BE49-F238E27FC236}">
                    <a16:creationId xmlns:a16="http://schemas.microsoft.com/office/drawing/2014/main" id="{20607B16-A754-B118-431B-D6153ECA3EF1}"/>
                  </a:ext>
                </a:extLst>
              </p:cNvPr>
              <p:cNvSpPr/>
              <p:nvPr/>
            </p:nvSpPr>
            <p:spPr>
              <a:xfrm>
                <a:off x="1878874" y="3915417"/>
                <a:ext cx="452" cy="487"/>
              </a:xfrm>
              <a:custGeom>
                <a:avLst/>
                <a:gdLst>
                  <a:gd name="connsiteX0" fmla="*/ 4309 w 4336"/>
                  <a:gd name="connsiteY0" fmla="*/ 1811 h 4665"/>
                  <a:gd name="connsiteX1" fmla="*/ 3485 w 4336"/>
                  <a:gd name="connsiteY1" fmla="*/ 4666 h 4665"/>
                  <a:gd name="connsiteX2" fmla="*/ 0 w 4336"/>
                  <a:gd name="connsiteY2" fmla="*/ 4007 h 4665"/>
                  <a:gd name="connsiteX3" fmla="*/ 1647 w 4336"/>
                  <a:gd name="connsiteY3" fmla="*/ 0 h 4665"/>
                  <a:gd name="connsiteX4" fmla="*/ 4336 w 4336"/>
                  <a:gd name="connsiteY4" fmla="*/ 1839 h 4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4665">
                    <a:moveTo>
                      <a:pt x="4309" y="1811"/>
                    </a:moveTo>
                    <a:lnTo>
                      <a:pt x="3485" y="4666"/>
                    </a:lnTo>
                    <a:lnTo>
                      <a:pt x="0" y="4007"/>
                    </a:lnTo>
                    <a:lnTo>
                      <a:pt x="1647" y="0"/>
                    </a:lnTo>
                    <a:lnTo>
                      <a:pt x="4336"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42" name="Freeform: Shape 4741">
                <a:extLst>
                  <a:ext uri="{FF2B5EF4-FFF2-40B4-BE49-F238E27FC236}">
                    <a16:creationId xmlns:a16="http://schemas.microsoft.com/office/drawing/2014/main" id="{D84E95C6-658B-B1A4-3585-B560ED9B0413}"/>
                  </a:ext>
                </a:extLst>
              </p:cNvPr>
              <p:cNvSpPr/>
              <p:nvPr/>
            </p:nvSpPr>
            <p:spPr>
              <a:xfrm>
                <a:off x="1876309" y="3908281"/>
                <a:ext cx="363" cy="438"/>
              </a:xfrm>
              <a:custGeom>
                <a:avLst/>
                <a:gdLst>
                  <a:gd name="connsiteX0" fmla="*/ 3458 w 3485"/>
                  <a:gd name="connsiteY0" fmla="*/ 3540 h 4198"/>
                  <a:gd name="connsiteX1" fmla="*/ 1482 w 3485"/>
                  <a:gd name="connsiteY1" fmla="*/ 4199 h 4198"/>
                  <a:gd name="connsiteX2" fmla="*/ 0 w 3485"/>
                  <a:gd name="connsiteY2" fmla="*/ 1372 h 4198"/>
                  <a:gd name="connsiteX3" fmla="*/ 1701 w 3485"/>
                  <a:gd name="connsiteY3" fmla="*/ 0 h 4198"/>
                  <a:gd name="connsiteX4" fmla="*/ 3485 w 3485"/>
                  <a:gd name="connsiteY4" fmla="*/ 3513 h 4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4198">
                    <a:moveTo>
                      <a:pt x="3458" y="3540"/>
                    </a:moveTo>
                    <a:lnTo>
                      <a:pt x="1482" y="4199"/>
                    </a:lnTo>
                    <a:lnTo>
                      <a:pt x="0" y="1372"/>
                    </a:lnTo>
                    <a:lnTo>
                      <a:pt x="1701" y="0"/>
                    </a:lnTo>
                    <a:lnTo>
                      <a:pt x="3485" y="35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43" name="Freeform: Shape 4742">
                <a:extLst>
                  <a:ext uri="{FF2B5EF4-FFF2-40B4-BE49-F238E27FC236}">
                    <a16:creationId xmlns:a16="http://schemas.microsoft.com/office/drawing/2014/main" id="{8CC9E766-A15C-957A-90B7-64EC8C32112D}"/>
                  </a:ext>
                </a:extLst>
              </p:cNvPr>
              <p:cNvSpPr/>
              <p:nvPr/>
            </p:nvSpPr>
            <p:spPr>
              <a:xfrm>
                <a:off x="1876192" y="3909005"/>
                <a:ext cx="306" cy="464"/>
              </a:xfrm>
              <a:custGeom>
                <a:avLst/>
                <a:gdLst>
                  <a:gd name="connsiteX0" fmla="*/ 1921 w 2935"/>
                  <a:gd name="connsiteY0" fmla="*/ 3403 h 4445"/>
                  <a:gd name="connsiteX1" fmla="*/ 0 w 2935"/>
                  <a:gd name="connsiteY1" fmla="*/ 4446 h 4445"/>
                  <a:gd name="connsiteX2" fmla="*/ 0 w 2935"/>
                  <a:gd name="connsiteY2" fmla="*/ 2333 h 4445"/>
                  <a:gd name="connsiteX3" fmla="*/ 1509 w 2935"/>
                  <a:gd name="connsiteY3" fmla="*/ 0 h 4445"/>
                  <a:gd name="connsiteX4" fmla="*/ 2936 w 2935"/>
                  <a:gd name="connsiteY4" fmla="*/ 357 h 4445"/>
                  <a:gd name="connsiteX5" fmla="*/ 1948 w 2935"/>
                  <a:gd name="connsiteY5" fmla="*/ 3430 h 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5" h="4445">
                    <a:moveTo>
                      <a:pt x="1921" y="3403"/>
                    </a:moveTo>
                    <a:lnTo>
                      <a:pt x="0" y="4446"/>
                    </a:lnTo>
                    <a:lnTo>
                      <a:pt x="0" y="2333"/>
                    </a:lnTo>
                    <a:lnTo>
                      <a:pt x="1509" y="0"/>
                    </a:lnTo>
                    <a:lnTo>
                      <a:pt x="2936" y="357"/>
                    </a:lnTo>
                    <a:lnTo>
                      <a:pt x="1948" y="34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44" name="Freeform: Shape 4743">
                <a:extLst>
                  <a:ext uri="{FF2B5EF4-FFF2-40B4-BE49-F238E27FC236}">
                    <a16:creationId xmlns:a16="http://schemas.microsoft.com/office/drawing/2014/main" id="{49F543AA-98AA-BA37-3601-06037486A059}"/>
                  </a:ext>
                </a:extLst>
              </p:cNvPr>
              <p:cNvSpPr/>
              <p:nvPr/>
            </p:nvSpPr>
            <p:spPr>
              <a:xfrm>
                <a:off x="1867241" y="3905911"/>
                <a:ext cx="343" cy="361"/>
              </a:xfrm>
              <a:custGeom>
                <a:avLst/>
                <a:gdLst>
                  <a:gd name="connsiteX0" fmla="*/ 3266 w 3293"/>
                  <a:gd name="connsiteY0" fmla="*/ 988 h 3457"/>
                  <a:gd name="connsiteX1" fmla="*/ 2387 w 3293"/>
                  <a:gd name="connsiteY1" fmla="*/ 3458 h 3457"/>
                  <a:gd name="connsiteX2" fmla="*/ 356 w 3293"/>
                  <a:gd name="connsiteY2" fmla="*/ 2991 h 3457"/>
                  <a:gd name="connsiteX3" fmla="*/ 0 w 3293"/>
                  <a:gd name="connsiteY3" fmla="*/ 1208 h 3457"/>
                  <a:gd name="connsiteX4" fmla="*/ 1756 w 3293"/>
                  <a:gd name="connsiteY4" fmla="*/ 0 h 3457"/>
                  <a:gd name="connsiteX5" fmla="*/ 3293 w 3293"/>
                  <a:gd name="connsiteY5" fmla="*/ 960 h 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93" h="3457">
                    <a:moveTo>
                      <a:pt x="3266" y="988"/>
                    </a:moveTo>
                    <a:lnTo>
                      <a:pt x="2387" y="3458"/>
                    </a:lnTo>
                    <a:lnTo>
                      <a:pt x="356" y="2991"/>
                    </a:lnTo>
                    <a:lnTo>
                      <a:pt x="0" y="1208"/>
                    </a:lnTo>
                    <a:lnTo>
                      <a:pt x="1756" y="0"/>
                    </a:lnTo>
                    <a:lnTo>
                      <a:pt x="3293" y="9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45" name="Freeform: Shape 4744">
                <a:extLst>
                  <a:ext uri="{FF2B5EF4-FFF2-40B4-BE49-F238E27FC236}">
                    <a16:creationId xmlns:a16="http://schemas.microsoft.com/office/drawing/2014/main" id="{7639B2BC-873E-6D02-804F-0B8108147A85}"/>
                  </a:ext>
                </a:extLst>
              </p:cNvPr>
              <p:cNvSpPr/>
              <p:nvPr/>
            </p:nvSpPr>
            <p:spPr>
              <a:xfrm>
                <a:off x="1876066" y="3980812"/>
                <a:ext cx="23749" cy="25853"/>
              </a:xfrm>
              <a:custGeom>
                <a:avLst/>
                <a:gdLst>
                  <a:gd name="connsiteX0" fmla="*/ 193281 w 227694"/>
                  <a:gd name="connsiteY0" fmla="*/ 22229 h 247865"/>
                  <a:gd name="connsiteX1" fmla="*/ 196876 w 227694"/>
                  <a:gd name="connsiteY1" fmla="*/ 26702 h 247865"/>
                  <a:gd name="connsiteX2" fmla="*/ 213507 w 227694"/>
                  <a:gd name="connsiteY2" fmla="*/ 18881 h 247865"/>
                  <a:gd name="connsiteX3" fmla="*/ 219819 w 227694"/>
                  <a:gd name="connsiteY3" fmla="*/ 20912 h 247865"/>
                  <a:gd name="connsiteX4" fmla="*/ 220697 w 227694"/>
                  <a:gd name="connsiteY4" fmla="*/ 16603 h 247865"/>
                  <a:gd name="connsiteX5" fmla="*/ 227201 w 227694"/>
                  <a:gd name="connsiteY5" fmla="*/ 18799 h 247865"/>
                  <a:gd name="connsiteX6" fmla="*/ 227694 w 227694"/>
                  <a:gd name="connsiteY6" fmla="*/ 21790 h 247865"/>
                  <a:gd name="connsiteX7" fmla="*/ 222947 w 227694"/>
                  <a:gd name="connsiteY7" fmla="*/ 25852 h 247865"/>
                  <a:gd name="connsiteX8" fmla="*/ 224484 w 227694"/>
                  <a:gd name="connsiteY8" fmla="*/ 28898 h 247865"/>
                  <a:gd name="connsiteX9" fmla="*/ 223605 w 227694"/>
                  <a:gd name="connsiteY9" fmla="*/ 36417 h 247865"/>
                  <a:gd name="connsiteX10" fmla="*/ 227118 w 227694"/>
                  <a:gd name="connsiteY10" fmla="*/ 48711 h 247865"/>
                  <a:gd name="connsiteX11" fmla="*/ 207798 w 227694"/>
                  <a:gd name="connsiteY11" fmla="*/ 76099 h 247865"/>
                  <a:gd name="connsiteX12" fmla="*/ 200032 w 227694"/>
                  <a:gd name="connsiteY12" fmla="*/ 92016 h 247865"/>
                  <a:gd name="connsiteX13" fmla="*/ 188369 w 227694"/>
                  <a:gd name="connsiteY13" fmla="*/ 100716 h 247865"/>
                  <a:gd name="connsiteX14" fmla="*/ 185240 w 227694"/>
                  <a:gd name="connsiteY14" fmla="*/ 105683 h 247865"/>
                  <a:gd name="connsiteX15" fmla="*/ 185515 w 227694"/>
                  <a:gd name="connsiteY15" fmla="*/ 117868 h 247865"/>
                  <a:gd name="connsiteX16" fmla="*/ 193144 w 227694"/>
                  <a:gd name="connsiteY16" fmla="*/ 123796 h 247865"/>
                  <a:gd name="connsiteX17" fmla="*/ 193720 w 227694"/>
                  <a:gd name="connsiteY17" fmla="*/ 129064 h 247865"/>
                  <a:gd name="connsiteX18" fmla="*/ 173138 w 227694"/>
                  <a:gd name="connsiteY18" fmla="*/ 131535 h 247865"/>
                  <a:gd name="connsiteX19" fmla="*/ 167842 w 227694"/>
                  <a:gd name="connsiteY19" fmla="*/ 134142 h 247865"/>
                  <a:gd name="connsiteX20" fmla="*/ 146106 w 227694"/>
                  <a:gd name="connsiteY20" fmla="*/ 146710 h 247865"/>
                  <a:gd name="connsiteX21" fmla="*/ 143582 w 227694"/>
                  <a:gd name="connsiteY21" fmla="*/ 149619 h 247865"/>
                  <a:gd name="connsiteX22" fmla="*/ 142347 w 227694"/>
                  <a:gd name="connsiteY22" fmla="*/ 151046 h 247865"/>
                  <a:gd name="connsiteX23" fmla="*/ 140892 w 227694"/>
                  <a:gd name="connsiteY23" fmla="*/ 157660 h 247865"/>
                  <a:gd name="connsiteX24" fmla="*/ 137023 w 227694"/>
                  <a:gd name="connsiteY24" fmla="*/ 174593 h 247865"/>
                  <a:gd name="connsiteX25" fmla="*/ 123302 w 227694"/>
                  <a:gd name="connsiteY25" fmla="*/ 205356 h 247865"/>
                  <a:gd name="connsiteX26" fmla="*/ 123027 w 227694"/>
                  <a:gd name="connsiteY26" fmla="*/ 213836 h 247865"/>
                  <a:gd name="connsiteX27" fmla="*/ 112050 w 227694"/>
                  <a:gd name="connsiteY27" fmla="*/ 219846 h 247865"/>
                  <a:gd name="connsiteX28" fmla="*/ 92401 w 227694"/>
                  <a:gd name="connsiteY28" fmla="*/ 242925 h 247865"/>
                  <a:gd name="connsiteX29" fmla="*/ 75194 w 227694"/>
                  <a:gd name="connsiteY29" fmla="*/ 247865 h 247865"/>
                  <a:gd name="connsiteX30" fmla="*/ 66742 w 227694"/>
                  <a:gd name="connsiteY30" fmla="*/ 244819 h 247865"/>
                  <a:gd name="connsiteX31" fmla="*/ 55572 w 227694"/>
                  <a:gd name="connsiteY31" fmla="*/ 244352 h 247865"/>
                  <a:gd name="connsiteX32" fmla="*/ 52005 w 227694"/>
                  <a:gd name="connsiteY32" fmla="*/ 237794 h 247865"/>
                  <a:gd name="connsiteX33" fmla="*/ 38667 w 227694"/>
                  <a:gd name="connsiteY33" fmla="*/ 234802 h 247865"/>
                  <a:gd name="connsiteX34" fmla="*/ 31093 w 227694"/>
                  <a:gd name="connsiteY34" fmla="*/ 227942 h 247865"/>
                  <a:gd name="connsiteX35" fmla="*/ 22558 w 227694"/>
                  <a:gd name="connsiteY35" fmla="*/ 230055 h 247865"/>
                  <a:gd name="connsiteX36" fmla="*/ 7190 w 227694"/>
                  <a:gd name="connsiteY36" fmla="*/ 227832 h 247865"/>
                  <a:gd name="connsiteX37" fmla="*/ 0 w 227694"/>
                  <a:gd name="connsiteY37" fmla="*/ 218199 h 247865"/>
                  <a:gd name="connsiteX38" fmla="*/ 2388 w 227694"/>
                  <a:gd name="connsiteY38" fmla="*/ 204725 h 247865"/>
                  <a:gd name="connsiteX39" fmla="*/ 13639 w 227694"/>
                  <a:gd name="connsiteY39" fmla="*/ 184829 h 247865"/>
                  <a:gd name="connsiteX40" fmla="*/ 40588 w 227694"/>
                  <a:gd name="connsiteY40" fmla="*/ 157606 h 247865"/>
                  <a:gd name="connsiteX41" fmla="*/ 46790 w 227694"/>
                  <a:gd name="connsiteY41" fmla="*/ 149592 h 247865"/>
                  <a:gd name="connsiteX42" fmla="*/ 55188 w 227694"/>
                  <a:gd name="connsiteY42" fmla="*/ 138752 h 247865"/>
                  <a:gd name="connsiteX43" fmla="*/ 69486 w 227694"/>
                  <a:gd name="connsiteY43" fmla="*/ 134142 h 247865"/>
                  <a:gd name="connsiteX44" fmla="*/ 92977 w 227694"/>
                  <a:gd name="connsiteY44" fmla="*/ 118828 h 247865"/>
                  <a:gd name="connsiteX45" fmla="*/ 111474 w 227694"/>
                  <a:gd name="connsiteY45" fmla="*/ 101100 h 247865"/>
                  <a:gd name="connsiteX46" fmla="*/ 128735 w 227694"/>
                  <a:gd name="connsiteY46" fmla="*/ 89245 h 247865"/>
                  <a:gd name="connsiteX47" fmla="*/ 137846 w 227694"/>
                  <a:gd name="connsiteY47" fmla="*/ 76018 h 247865"/>
                  <a:gd name="connsiteX48" fmla="*/ 147122 w 227694"/>
                  <a:gd name="connsiteY48" fmla="*/ 48410 h 247865"/>
                  <a:gd name="connsiteX49" fmla="*/ 156755 w 227694"/>
                  <a:gd name="connsiteY49" fmla="*/ 42180 h 247865"/>
                  <a:gd name="connsiteX50" fmla="*/ 162929 w 227694"/>
                  <a:gd name="connsiteY50" fmla="*/ 33261 h 247865"/>
                  <a:gd name="connsiteX51" fmla="*/ 167649 w 227694"/>
                  <a:gd name="connsiteY51" fmla="*/ 11060 h 247865"/>
                  <a:gd name="connsiteX52" fmla="*/ 179889 w 227694"/>
                  <a:gd name="connsiteY52" fmla="*/ 302 h 247865"/>
                  <a:gd name="connsiteX53" fmla="*/ 182880 w 227694"/>
                  <a:gd name="connsiteY53" fmla="*/ 0 h 247865"/>
                  <a:gd name="connsiteX54" fmla="*/ 185542 w 227694"/>
                  <a:gd name="connsiteY54" fmla="*/ 7986 h 247865"/>
                  <a:gd name="connsiteX55" fmla="*/ 192073 w 227694"/>
                  <a:gd name="connsiteY55" fmla="*/ 11389 h 247865"/>
                  <a:gd name="connsiteX56" fmla="*/ 193364 w 227694"/>
                  <a:gd name="connsiteY56" fmla="*/ 22202 h 247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27694" h="247865">
                    <a:moveTo>
                      <a:pt x="193281" y="22229"/>
                    </a:moveTo>
                    <a:lnTo>
                      <a:pt x="196876" y="26702"/>
                    </a:lnTo>
                    <a:lnTo>
                      <a:pt x="213507" y="18881"/>
                    </a:lnTo>
                    <a:lnTo>
                      <a:pt x="219819" y="20912"/>
                    </a:lnTo>
                    <a:lnTo>
                      <a:pt x="220697" y="16603"/>
                    </a:lnTo>
                    <a:lnTo>
                      <a:pt x="227201" y="18799"/>
                    </a:lnTo>
                    <a:lnTo>
                      <a:pt x="227694" y="21790"/>
                    </a:lnTo>
                    <a:lnTo>
                      <a:pt x="222947" y="25852"/>
                    </a:lnTo>
                    <a:lnTo>
                      <a:pt x="224484" y="28898"/>
                    </a:lnTo>
                    <a:lnTo>
                      <a:pt x="223605" y="36417"/>
                    </a:lnTo>
                    <a:lnTo>
                      <a:pt x="227118" y="48711"/>
                    </a:lnTo>
                    <a:lnTo>
                      <a:pt x="207798" y="76099"/>
                    </a:lnTo>
                    <a:lnTo>
                      <a:pt x="200032" y="92016"/>
                    </a:lnTo>
                    <a:lnTo>
                      <a:pt x="188369" y="100716"/>
                    </a:lnTo>
                    <a:lnTo>
                      <a:pt x="185240" y="105683"/>
                    </a:lnTo>
                    <a:lnTo>
                      <a:pt x="185515" y="117868"/>
                    </a:lnTo>
                    <a:lnTo>
                      <a:pt x="193144" y="123796"/>
                    </a:lnTo>
                    <a:lnTo>
                      <a:pt x="193720" y="129064"/>
                    </a:lnTo>
                    <a:lnTo>
                      <a:pt x="173138" y="131535"/>
                    </a:lnTo>
                    <a:lnTo>
                      <a:pt x="167842" y="134142"/>
                    </a:lnTo>
                    <a:lnTo>
                      <a:pt x="146106" y="146710"/>
                    </a:lnTo>
                    <a:lnTo>
                      <a:pt x="143582" y="149619"/>
                    </a:lnTo>
                    <a:lnTo>
                      <a:pt x="142347" y="151046"/>
                    </a:lnTo>
                    <a:lnTo>
                      <a:pt x="140892" y="157660"/>
                    </a:lnTo>
                    <a:lnTo>
                      <a:pt x="137023" y="174593"/>
                    </a:lnTo>
                    <a:lnTo>
                      <a:pt x="123302" y="205356"/>
                    </a:lnTo>
                    <a:lnTo>
                      <a:pt x="123027" y="213836"/>
                    </a:lnTo>
                    <a:lnTo>
                      <a:pt x="112050" y="219846"/>
                    </a:lnTo>
                    <a:lnTo>
                      <a:pt x="92401" y="242925"/>
                    </a:lnTo>
                    <a:lnTo>
                      <a:pt x="75194" y="247865"/>
                    </a:lnTo>
                    <a:lnTo>
                      <a:pt x="66742" y="244819"/>
                    </a:lnTo>
                    <a:lnTo>
                      <a:pt x="55572" y="244352"/>
                    </a:lnTo>
                    <a:lnTo>
                      <a:pt x="52005" y="237794"/>
                    </a:lnTo>
                    <a:lnTo>
                      <a:pt x="38667" y="234802"/>
                    </a:lnTo>
                    <a:lnTo>
                      <a:pt x="31093" y="227942"/>
                    </a:lnTo>
                    <a:lnTo>
                      <a:pt x="22558" y="230055"/>
                    </a:lnTo>
                    <a:lnTo>
                      <a:pt x="7190" y="227832"/>
                    </a:lnTo>
                    <a:lnTo>
                      <a:pt x="0" y="218199"/>
                    </a:lnTo>
                    <a:lnTo>
                      <a:pt x="2388" y="204725"/>
                    </a:lnTo>
                    <a:lnTo>
                      <a:pt x="13639" y="184829"/>
                    </a:lnTo>
                    <a:lnTo>
                      <a:pt x="40588" y="157606"/>
                    </a:lnTo>
                    <a:lnTo>
                      <a:pt x="46790" y="149592"/>
                    </a:lnTo>
                    <a:lnTo>
                      <a:pt x="55188" y="138752"/>
                    </a:lnTo>
                    <a:lnTo>
                      <a:pt x="69486" y="134142"/>
                    </a:lnTo>
                    <a:lnTo>
                      <a:pt x="92977" y="118828"/>
                    </a:lnTo>
                    <a:lnTo>
                      <a:pt x="111474" y="101100"/>
                    </a:lnTo>
                    <a:lnTo>
                      <a:pt x="128735" y="89245"/>
                    </a:lnTo>
                    <a:lnTo>
                      <a:pt x="137846" y="76018"/>
                    </a:lnTo>
                    <a:lnTo>
                      <a:pt x="147122" y="48410"/>
                    </a:lnTo>
                    <a:lnTo>
                      <a:pt x="156755" y="42180"/>
                    </a:lnTo>
                    <a:lnTo>
                      <a:pt x="162929" y="33261"/>
                    </a:lnTo>
                    <a:lnTo>
                      <a:pt x="167649" y="11060"/>
                    </a:lnTo>
                    <a:lnTo>
                      <a:pt x="179889" y="302"/>
                    </a:lnTo>
                    <a:lnTo>
                      <a:pt x="182880" y="0"/>
                    </a:lnTo>
                    <a:lnTo>
                      <a:pt x="185542" y="7986"/>
                    </a:lnTo>
                    <a:lnTo>
                      <a:pt x="192073" y="11389"/>
                    </a:lnTo>
                    <a:lnTo>
                      <a:pt x="193364" y="222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46" name="Freeform: Shape 4745">
                <a:extLst>
                  <a:ext uri="{FF2B5EF4-FFF2-40B4-BE49-F238E27FC236}">
                    <a16:creationId xmlns:a16="http://schemas.microsoft.com/office/drawing/2014/main" id="{48004615-1C76-5394-0F4F-E4BF75D78CE6}"/>
                  </a:ext>
                </a:extLst>
              </p:cNvPr>
              <p:cNvSpPr/>
              <p:nvPr/>
            </p:nvSpPr>
            <p:spPr>
              <a:xfrm>
                <a:off x="1895109" y="3957084"/>
                <a:ext cx="17950" cy="27974"/>
              </a:xfrm>
              <a:custGeom>
                <a:avLst/>
                <a:gdLst>
                  <a:gd name="connsiteX0" fmla="*/ 10758 w 172094"/>
                  <a:gd name="connsiteY0" fmla="*/ 8343 h 268200"/>
                  <a:gd name="connsiteX1" fmla="*/ 17262 w 172094"/>
                  <a:gd name="connsiteY1" fmla="*/ 18744 h 268200"/>
                  <a:gd name="connsiteX2" fmla="*/ 21488 w 172094"/>
                  <a:gd name="connsiteY2" fmla="*/ 14463 h 268200"/>
                  <a:gd name="connsiteX3" fmla="*/ 21954 w 172094"/>
                  <a:gd name="connsiteY3" fmla="*/ 19073 h 268200"/>
                  <a:gd name="connsiteX4" fmla="*/ 26812 w 172094"/>
                  <a:gd name="connsiteY4" fmla="*/ 18003 h 268200"/>
                  <a:gd name="connsiteX5" fmla="*/ 35100 w 172094"/>
                  <a:gd name="connsiteY5" fmla="*/ 20911 h 268200"/>
                  <a:gd name="connsiteX6" fmla="*/ 41384 w 172094"/>
                  <a:gd name="connsiteY6" fmla="*/ 25467 h 268200"/>
                  <a:gd name="connsiteX7" fmla="*/ 41384 w 172094"/>
                  <a:gd name="connsiteY7" fmla="*/ 29474 h 268200"/>
                  <a:gd name="connsiteX8" fmla="*/ 47174 w 172094"/>
                  <a:gd name="connsiteY8" fmla="*/ 28650 h 268200"/>
                  <a:gd name="connsiteX9" fmla="*/ 53981 w 172094"/>
                  <a:gd name="connsiteY9" fmla="*/ 41603 h 268200"/>
                  <a:gd name="connsiteX10" fmla="*/ 55847 w 172094"/>
                  <a:gd name="connsiteY10" fmla="*/ 51236 h 268200"/>
                  <a:gd name="connsiteX11" fmla="*/ 53569 w 172094"/>
                  <a:gd name="connsiteY11" fmla="*/ 50962 h 268200"/>
                  <a:gd name="connsiteX12" fmla="*/ 52499 w 172094"/>
                  <a:gd name="connsiteY12" fmla="*/ 53651 h 268200"/>
                  <a:gd name="connsiteX13" fmla="*/ 53459 w 172094"/>
                  <a:gd name="connsiteY13" fmla="*/ 56724 h 268200"/>
                  <a:gd name="connsiteX14" fmla="*/ 55847 w 172094"/>
                  <a:gd name="connsiteY14" fmla="*/ 58289 h 268200"/>
                  <a:gd name="connsiteX15" fmla="*/ 62159 w 172094"/>
                  <a:gd name="connsiteY15" fmla="*/ 67400 h 268200"/>
                  <a:gd name="connsiteX16" fmla="*/ 59634 w 172094"/>
                  <a:gd name="connsiteY16" fmla="*/ 78075 h 268200"/>
                  <a:gd name="connsiteX17" fmla="*/ 61747 w 172094"/>
                  <a:gd name="connsiteY17" fmla="*/ 85211 h 268200"/>
                  <a:gd name="connsiteX18" fmla="*/ 65012 w 172094"/>
                  <a:gd name="connsiteY18" fmla="*/ 85293 h 268200"/>
                  <a:gd name="connsiteX19" fmla="*/ 63915 w 172094"/>
                  <a:gd name="connsiteY19" fmla="*/ 87077 h 268200"/>
                  <a:gd name="connsiteX20" fmla="*/ 66824 w 172094"/>
                  <a:gd name="connsiteY20" fmla="*/ 89546 h 268200"/>
                  <a:gd name="connsiteX21" fmla="*/ 75331 w 172094"/>
                  <a:gd name="connsiteY21" fmla="*/ 91797 h 268200"/>
                  <a:gd name="connsiteX22" fmla="*/ 77801 w 172094"/>
                  <a:gd name="connsiteY22" fmla="*/ 99481 h 268200"/>
                  <a:gd name="connsiteX23" fmla="*/ 79942 w 172094"/>
                  <a:gd name="connsiteY23" fmla="*/ 100908 h 268200"/>
                  <a:gd name="connsiteX24" fmla="*/ 83646 w 172094"/>
                  <a:gd name="connsiteY24" fmla="*/ 98301 h 268200"/>
                  <a:gd name="connsiteX25" fmla="*/ 80929 w 172094"/>
                  <a:gd name="connsiteY25" fmla="*/ 88229 h 268200"/>
                  <a:gd name="connsiteX26" fmla="*/ 82686 w 172094"/>
                  <a:gd name="connsiteY26" fmla="*/ 85211 h 268200"/>
                  <a:gd name="connsiteX27" fmla="*/ 79118 w 172094"/>
                  <a:gd name="connsiteY27" fmla="*/ 75523 h 268200"/>
                  <a:gd name="connsiteX28" fmla="*/ 79749 w 172094"/>
                  <a:gd name="connsiteY28" fmla="*/ 74617 h 268200"/>
                  <a:gd name="connsiteX29" fmla="*/ 82823 w 172094"/>
                  <a:gd name="connsiteY29" fmla="*/ 75743 h 268200"/>
                  <a:gd name="connsiteX30" fmla="*/ 86802 w 172094"/>
                  <a:gd name="connsiteY30" fmla="*/ 82439 h 268200"/>
                  <a:gd name="connsiteX31" fmla="*/ 90782 w 172094"/>
                  <a:gd name="connsiteY31" fmla="*/ 82384 h 268200"/>
                  <a:gd name="connsiteX32" fmla="*/ 90068 w 172094"/>
                  <a:gd name="connsiteY32" fmla="*/ 85238 h 268200"/>
                  <a:gd name="connsiteX33" fmla="*/ 93691 w 172094"/>
                  <a:gd name="connsiteY33" fmla="*/ 92702 h 268200"/>
                  <a:gd name="connsiteX34" fmla="*/ 93691 w 172094"/>
                  <a:gd name="connsiteY34" fmla="*/ 100084 h 268200"/>
                  <a:gd name="connsiteX35" fmla="*/ 96188 w 172094"/>
                  <a:gd name="connsiteY35" fmla="*/ 107631 h 268200"/>
                  <a:gd name="connsiteX36" fmla="*/ 100030 w 172094"/>
                  <a:gd name="connsiteY36" fmla="*/ 113888 h 268200"/>
                  <a:gd name="connsiteX37" fmla="*/ 119734 w 172094"/>
                  <a:gd name="connsiteY37" fmla="*/ 125579 h 268200"/>
                  <a:gd name="connsiteX38" fmla="*/ 131315 w 172094"/>
                  <a:gd name="connsiteY38" fmla="*/ 129338 h 268200"/>
                  <a:gd name="connsiteX39" fmla="*/ 138313 w 172094"/>
                  <a:gd name="connsiteY39" fmla="*/ 129229 h 268200"/>
                  <a:gd name="connsiteX40" fmla="*/ 142951 w 172094"/>
                  <a:gd name="connsiteY40" fmla="*/ 126293 h 268200"/>
                  <a:gd name="connsiteX41" fmla="*/ 148933 w 172094"/>
                  <a:gd name="connsiteY41" fmla="*/ 118280 h 268200"/>
                  <a:gd name="connsiteX42" fmla="*/ 158813 w 172094"/>
                  <a:gd name="connsiteY42" fmla="*/ 113092 h 268200"/>
                  <a:gd name="connsiteX43" fmla="*/ 164356 w 172094"/>
                  <a:gd name="connsiteY43" fmla="*/ 113395 h 268200"/>
                  <a:gd name="connsiteX44" fmla="*/ 172095 w 172094"/>
                  <a:gd name="connsiteY44" fmla="*/ 118636 h 268200"/>
                  <a:gd name="connsiteX45" fmla="*/ 167018 w 172094"/>
                  <a:gd name="connsiteY45" fmla="*/ 130299 h 268200"/>
                  <a:gd name="connsiteX46" fmla="*/ 164356 w 172094"/>
                  <a:gd name="connsiteY46" fmla="*/ 150003 h 268200"/>
                  <a:gd name="connsiteX47" fmla="*/ 155656 w 172094"/>
                  <a:gd name="connsiteY47" fmla="*/ 156700 h 268200"/>
                  <a:gd name="connsiteX48" fmla="*/ 154010 w 172094"/>
                  <a:gd name="connsiteY48" fmla="*/ 161227 h 268200"/>
                  <a:gd name="connsiteX49" fmla="*/ 153297 w 172094"/>
                  <a:gd name="connsiteY49" fmla="*/ 168253 h 268200"/>
                  <a:gd name="connsiteX50" fmla="*/ 155108 w 172094"/>
                  <a:gd name="connsiteY50" fmla="*/ 172287 h 268200"/>
                  <a:gd name="connsiteX51" fmla="*/ 153104 w 172094"/>
                  <a:gd name="connsiteY51" fmla="*/ 176486 h 268200"/>
                  <a:gd name="connsiteX52" fmla="*/ 151074 w 172094"/>
                  <a:gd name="connsiteY52" fmla="*/ 170750 h 268200"/>
                  <a:gd name="connsiteX53" fmla="*/ 136501 w 172094"/>
                  <a:gd name="connsiteY53" fmla="*/ 171107 h 268200"/>
                  <a:gd name="connsiteX54" fmla="*/ 128516 w 172094"/>
                  <a:gd name="connsiteY54" fmla="*/ 175553 h 268200"/>
                  <a:gd name="connsiteX55" fmla="*/ 124152 w 172094"/>
                  <a:gd name="connsiteY55" fmla="*/ 182413 h 268200"/>
                  <a:gd name="connsiteX56" fmla="*/ 125936 w 172094"/>
                  <a:gd name="connsiteY56" fmla="*/ 190564 h 268200"/>
                  <a:gd name="connsiteX57" fmla="*/ 128927 w 172094"/>
                  <a:gd name="connsiteY57" fmla="*/ 193034 h 268200"/>
                  <a:gd name="connsiteX58" fmla="*/ 122862 w 172094"/>
                  <a:gd name="connsiteY58" fmla="*/ 210981 h 268200"/>
                  <a:gd name="connsiteX59" fmla="*/ 118307 w 172094"/>
                  <a:gd name="connsiteY59" fmla="*/ 216113 h 268200"/>
                  <a:gd name="connsiteX60" fmla="*/ 115343 w 172094"/>
                  <a:gd name="connsiteY60" fmla="*/ 224648 h 268200"/>
                  <a:gd name="connsiteX61" fmla="*/ 106369 w 172094"/>
                  <a:gd name="connsiteY61" fmla="*/ 235049 h 268200"/>
                  <a:gd name="connsiteX62" fmla="*/ 96517 w 172094"/>
                  <a:gd name="connsiteY62" fmla="*/ 253738 h 268200"/>
                  <a:gd name="connsiteX63" fmla="*/ 77444 w 172094"/>
                  <a:gd name="connsiteY63" fmla="*/ 268200 h 268200"/>
                  <a:gd name="connsiteX64" fmla="*/ 75084 w 172094"/>
                  <a:gd name="connsiteY64" fmla="*/ 267294 h 268200"/>
                  <a:gd name="connsiteX65" fmla="*/ 72999 w 172094"/>
                  <a:gd name="connsiteY65" fmla="*/ 260791 h 268200"/>
                  <a:gd name="connsiteX66" fmla="*/ 65259 w 172094"/>
                  <a:gd name="connsiteY66" fmla="*/ 260434 h 268200"/>
                  <a:gd name="connsiteX67" fmla="*/ 64299 w 172094"/>
                  <a:gd name="connsiteY67" fmla="*/ 254369 h 268200"/>
                  <a:gd name="connsiteX68" fmla="*/ 61061 w 172094"/>
                  <a:gd name="connsiteY68" fmla="*/ 257909 h 268200"/>
                  <a:gd name="connsiteX69" fmla="*/ 58152 w 172094"/>
                  <a:gd name="connsiteY69" fmla="*/ 257744 h 268200"/>
                  <a:gd name="connsiteX70" fmla="*/ 57027 w 172094"/>
                  <a:gd name="connsiteY70" fmla="*/ 255659 h 268200"/>
                  <a:gd name="connsiteX71" fmla="*/ 71160 w 172094"/>
                  <a:gd name="connsiteY71" fmla="*/ 235680 h 268200"/>
                  <a:gd name="connsiteX72" fmla="*/ 75029 w 172094"/>
                  <a:gd name="connsiteY72" fmla="*/ 220038 h 268200"/>
                  <a:gd name="connsiteX73" fmla="*/ 74041 w 172094"/>
                  <a:gd name="connsiteY73" fmla="*/ 212408 h 268200"/>
                  <a:gd name="connsiteX74" fmla="*/ 69678 w 172094"/>
                  <a:gd name="connsiteY74" fmla="*/ 205329 h 268200"/>
                  <a:gd name="connsiteX75" fmla="*/ 58179 w 172094"/>
                  <a:gd name="connsiteY75" fmla="*/ 199620 h 268200"/>
                  <a:gd name="connsiteX76" fmla="*/ 45775 w 172094"/>
                  <a:gd name="connsiteY76" fmla="*/ 190591 h 268200"/>
                  <a:gd name="connsiteX77" fmla="*/ 35292 w 172094"/>
                  <a:gd name="connsiteY77" fmla="*/ 186036 h 268200"/>
                  <a:gd name="connsiteX78" fmla="*/ 31999 w 172094"/>
                  <a:gd name="connsiteY78" fmla="*/ 179999 h 268200"/>
                  <a:gd name="connsiteX79" fmla="*/ 33399 w 172094"/>
                  <a:gd name="connsiteY79" fmla="*/ 174922 h 268200"/>
                  <a:gd name="connsiteX80" fmla="*/ 43635 w 172094"/>
                  <a:gd name="connsiteY80" fmla="*/ 168006 h 268200"/>
                  <a:gd name="connsiteX81" fmla="*/ 50413 w 172094"/>
                  <a:gd name="connsiteY81" fmla="*/ 166744 h 268200"/>
                  <a:gd name="connsiteX82" fmla="*/ 55957 w 172094"/>
                  <a:gd name="connsiteY82" fmla="*/ 160239 h 268200"/>
                  <a:gd name="connsiteX83" fmla="*/ 59716 w 172094"/>
                  <a:gd name="connsiteY83" fmla="*/ 135486 h 268200"/>
                  <a:gd name="connsiteX84" fmla="*/ 62378 w 172094"/>
                  <a:gd name="connsiteY84" fmla="*/ 131205 h 268200"/>
                  <a:gd name="connsiteX85" fmla="*/ 61719 w 172094"/>
                  <a:gd name="connsiteY85" fmla="*/ 124920 h 268200"/>
                  <a:gd name="connsiteX86" fmla="*/ 63421 w 172094"/>
                  <a:gd name="connsiteY86" fmla="*/ 121792 h 268200"/>
                  <a:gd name="connsiteX87" fmla="*/ 55984 w 172094"/>
                  <a:gd name="connsiteY87" fmla="*/ 98740 h 268200"/>
                  <a:gd name="connsiteX88" fmla="*/ 53130 w 172094"/>
                  <a:gd name="connsiteY88" fmla="*/ 93882 h 268200"/>
                  <a:gd name="connsiteX89" fmla="*/ 50660 w 172094"/>
                  <a:gd name="connsiteY89" fmla="*/ 85238 h 268200"/>
                  <a:gd name="connsiteX90" fmla="*/ 44129 w 172094"/>
                  <a:gd name="connsiteY90" fmla="*/ 74151 h 268200"/>
                  <a:gd name="connsiteX91" fmla="*/ 45802 w 172094"/>
                  <a:gd name="connsiteY91" fmla="*/ 72806 h 268200"/>
                  <a:gd name="connsiteX92" fmla="*/ 49892 w 172094"/>
                  <a:gd name="connsiteY92" fmla="*/ 77142 h 268200"/>
                  <a:gd name="connsiteX93" fmla="*/ 50770 w 172094"/>
                  <a:gd name="connsiteY93" fmla="*/ 76621 h 268200"/>
                  <a:gd name="connsiteX94" fmla="*/ 50824 w 172094"/>
                  <a:gd name="connsiteY94" fmla="*/ 70748 h 268200"/>
                  <a:gd name="connsiteX95" fmla="*/ 47751 w 172094"/>
                  <a:gd name="connsiteY95" fmla="*/ 70391 h 268200"/>
                  <a:gd name="connsiteX96" fmla="*/ 46516 w 172094"/>
                  <a:gd name="connsiteY96" fmla="*/ 66329 h 268200"/>
                  <a:gd name="connsiteX97" fmla="*/ 42153 w 172094"/>
                  <a:gd name="connsiteY97" fmla="*/ 63009 h 268200"/>
                  <a:gd name="connsiteX98" fmla="*/ 41110 w 172094"/>
                  <a:gd name="connsiteY98" fmla="*/ 63750 h 268200"/>
                  <a:gd name="connsiteX99" fmla="*/ 43635 w 172094"/>
                  <a:gd name="connsiteY99" fmla="*/ 69239 h 268200"/>
                  <a:gd name="connsiteX100" fmla="*/ 40369 w 172094"/>
                  <a:gd name="connsiteY100" fmla="*/ 69705 h 268200"/>
                  <a:gd name="connsiteX101" fmla="*/ 12075 w 172094"/>
                  <a:gd name="connsiteY101" fmla="*/ 28074 h 268200"/>
                  <a:gd name="connsiteX102" fmla="*/ 14353 w 172094"/>
                  <a:gd name="connsiteY102" fmla="*/ 23903 h 268200"/>
                  <a:gd name="connsiteX103" fmla="*/ 13776 w 172094"/>
                  <a:gd name="connsiteY103" fmla="*/ 19924 h 268200"/>
                  <a:gd name="connsiteX104" fmla="*/ 0 w 172094"/>
                  <a:gd name="connsiteY104" fmla="*/ 604 h 268200"/>
                  <a:gd name="connsiteX105" fmla="*/ 9139 w 172094"/>
                  <a:gd name="connsiteY105" fmla="*/ 0 h 268200"/>
                  <a:gd name="connsiteX106" fmla="*/ 10922 w 172094"/>
                  <a:gd name="connsiteY106" fmla="*/ 8343 h 26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2094" h="268200">
                    <a:moveTo>
                      <a:pt x="10758" y="8343"/>
                    </a:moveTo>
                    <a:lnTo>
                      <a:pt x="17262" y="18744"/>
                    </a:lnTo>
                    <a:lnTo>
                      <a:pt x="21488" y="14463"/>
                    </a:lnTo>
                    <a:lnTo>
                      <a:pt x="21954" y="19073"/>
                    </a:lnTo>
                    <a:lnTo>
                      <a:pt x="26812" y="18003"/>
                    </a:lnTo>
                    <a:lnTo>
                      <a:pt x="35100" y="20911"/>
                    </a:lnTo>
                    <a:lnTo>
                      <a:pt x="41384" y="25467"/>
                    </a:lnTo>
                    <a:lnTo>
                      <a:pt x="41384" y="29474"/>
                    </a:lnTo>
                    <a:cubicBezTo>
                      <a:pt x="41384" y="29474"/>
                      <a:pt x="47174" y="28650"/>
                      <a:pt x="47174" y="28650"/>
                    </a:cubicBezTo>
                    <a:lnTo>
                      <a:pt x="53981" y="41603"/>
                    </a:lnTo>
                    <a:lnTo>
                      <a:pt x="55847" y="51236"/>
                    </a:lnTo>
                    <a:lnTo>
                      <a:pt x="53569" y="50962"/>
                    </a:lnTo>
                    <a:lnTo>
                      <a:pt x="52499" y="53651"/>
                    </a:lnTo>
                    <a:lnTo>
                      <a:pt x="53459" y="56724"/>
                    </a:lnTo>
                    <a:lnTo>
                      <a:pt x="55847" y="58289"/>
                    </a:lnTo>
                    <a:lnTo>
                      <a:pt x="62159" y="67400"/>
                    </a:lnTo>
                    <a:lnTo>
                      <a:pt x="59634" y="78075"/>
                    </a:lnTo>
                    <a:lnTo>
                      <a:pt x="61747" y="85211"/>
                    </a:lnTo>
                    <a:lnTo>
                      <a:pt x="65012" y="85293"/>
                    </a:lnTo>
                    <a:lnTo>
                      <a:pt x="63915" y="87077"/>
                    </a:lnTo>
                    <a:lnTo>
                      <a:pt x="66824" y="89546"/>
                    </a:lnTo>
                    <a:lnTo>
                      <a:pt x="75331" y="91797"/>
                    </a:lnTo>
                    <a:lnTo>
                      <a:pt x="77801" y="99481"/>
                    </a:lnTo>
                    <a:lnTo>
                      <a:pt x="79942" y="100908"/>
                    </a:lnTo>
                    <a:lnTo>
                      <a:pt x="83646" y="98301"/>
                    </a:lnTo>
                    <a:lnTo>
                      <a:pt x="80929" y="88229"/>
                    </a:lnTo>
                    <a:lnTo>
                      <a:pt x="82686" y="85211"/>
                    </a:lnTo>
                    <a:lnTo>
                      <a:pt x="79118" y="75523"/>
                    </a:lnTo>
                    <a:lnTo>
                      <a:pt x="79749" y="74617"/>
                    </a:lnTo>
                    <a:lnTo>
                      <a:pt x="82823" y="75743"/>
                    </a:lnTo>
                    <a:lnTo>
                      <a:pt x="86802" y="82439"/>
                    </a:lnTo>
                    <a:lnTo>
                      <a:pt x="90782" y="82384"/>
                    </a:lnTo>
                    <a:lnTo>
                      <a:pt x="90068" y="85238"/>
                    </a:lnTo>
                    <a:lnTo>
                      <a:pt x="93691" y="92702"/>
                    </a:lnTo>
                    <a:lnTo>
                      <a:pt x="93691" y="100084"/>
                    </a:lnTo>
                    <a:cubicBezTo>
                      <a:pt x="93691" y="100084"/>
                      <a:pt x="96188" y="107631"/>
                      <a:pt x="96188" y="107631"/>
                    </a:cubicBezTo>
                    <a:lnTo>
                      <a:pt x="100030" y="113888"/>
                    </a:lnTo>
                    <a:lnTo>
                      <a:pt x="119734" y="125579"/>
                    </a:lnTo>
                    <a:lnTo>
                      <a:pt x="131315" y="129338"/>
                    </a:lnTo>
                    <a:lnTo>
                      <a:pt x="138313" y="129229"/>
                    </a:lnTo>
                    <a:lnTo>
                      <a:pt x="142951" y="126293"/>
                    </a:lnTo>
                    <a:lnTo>
                      <a:pt x="148933" y="118280"/>
                    </a:lnTo>
                    <a:lnTo>
                      <a:pt x="158813" y="113092"/>
                    </a:lnTo>
                    <a:lnTo>
                      <a:pt x="164356" y="113395"/>
                    </a:lnTo>
                    <a:lnTo>
                      <a:pt x="172095" y="118636"/>
                    </a:lnTo>
                    <a:lnTo>
                      <a:pt x="167018" y="130299"/>
                    </a:lnTo>
                    <a:lnTo>
                      <a:pt x="164356" y="150003"/>
                    </a:lnTo>
                    <a:lnTo>
                      <a:pt x="155656" y="156700"/>
                    </a:lnTo>
                    <a:lnTo>
                      <a:pt x="154010" y="161227"/>
                    </a:lnTo>
                    <a:lnTo>
                      <a:pt x="153297" y="168253"/>
                    </a:lnTo>
                    <a:lnTo>
                      <a:pt x="155108" y="172287"/>
                    </a:lnTo>
                    <a:lnTo>
                      <a:pt x="153104" y="176486"/>
                    </a:lnTo>
                    <a:lnTo>
                      <a:pt x="151074" y="170750"/>
                    </a:lnTo>
                    <a:lnTo>
                      <a:pt x="136501" y="171107"/>
                    </a:lnTo>
                    <a:lnTo>
                      <a:pt x="128516" y="175553"/>
                    </a:lnTo>
                    <a:lnTo>
                      <a:pt x="124152" y="182413"/>
                    </a:lnTo>
                    <a:lnTo>
                      <a:pt x="125936" y="190564"/>
                    </a:lnTo>
                    <a:lnTo>
                      <a:pt x="128927" y="193034"/>
                    </a:lnTo>
                    <a:lnTo>
                      <a:pt x="122862" y="210981"/>
                    </a:lnTo>
                    <a:lnTo>
                      <a:pt x="118307" y="216113"/>
                    </a:lnTo>
                    <a:lnTo>
                      <a:pt x="115343" y="224648"/>
                    </a:lnTo>
                    <a:lnTo>
                      <a:pt x="106369" y="235049"/>
                    </a:lnTo>
                    <a:lnTo>
                      <a:pt x="96517" y="253738"/>
                    </a:lnTo>
                    <a:lnTo>
                      <a:pt x="77444" y="268200"/>
                    </a:lnTo>
                    <a:lnTo>
                      <a:pt x="75084" y="267294"/>
                    </a:lnTo>
                    <a:lnTo>
                      <a:pt x="72999" y="260791"/>
                    </a:lnTo>
                    <a:lnTo>
                      <a:pt x="65259" y="260434"/>
                    </a:lnTo>
                    <a:lnTo>
                      <a:pt x="64299" y="254369"/>
                    </a:lnTo>
                    <a:lnTo>
                      <a:pt x="61061" y="257909"/>
                    </a:lnTo>
                    <a:lnTo>
                      <a:pt x="58152" y="257744"/>
                    </a:lnTo>
                    <a:lnTo>
                      <a:pt x="57027" y="255659"/>
                    </a:lnTo>
                    <a:lnTo>
                      <a:pt x="71160" y="235680"/>
                    </a:lnTo>
                    <a:lnTo>
                      <a:pt x="75029" y="220038"/>
                    </a:lnTo>
                    <a:lnTo>
                      <a:pt x="74041" y="212408"/>
                    </a:lnTo>
                    <a:lnTo>
                      <a:pt x="69678" y="205329"/>
                    </a:lnTo>
                    <a:lnTo>
                      <a:pt x="58179" y="199620"/>
                    </a:lnTo>
                    <a:lnTo>
                      <a:pt x="45775" y="190591"/>
                    </a:lnTo>
                    <a:lnTo>
                      <a:pt x="35292" y="186036"/>
                    </a:lnTo>
                    <a:lnTo>
                      <a:pt x="31999" y="179999"/>
                    </a:lnTo>
                    <a:lnTo>
                      <a:pt x="33399" y="174922"/>
                    </a:lnTo>
                    <a:lnTo>
                      <a:pt x="43635" y="168006"/>
                    </a:lnTo>
                    <a:lnTo>
                      <a:pt x="50413" y="166744"/>
                    </a:lnTo>
                    <a:lnTo>
                      <a:pt x="55957" y="160239"/>
                    </a:lnTo>
                    <a:lnTo>
                      <a:pt x="59716" y="135486"/>
                    </a:lnTo>
                    <a:lnTo>
                      <a:pt x="62378" y="131205"/>
                    </a:lnTo>
                    <a:lnTo>
                      <a:pt x="61719" y="124920"/>
                    </a:lnTo>
                    <a:lnTo>
                      <a:pt x="63421" y="121792"/>
                    </a:lnTo>
                    <a:lnTo>
                      <a:pt x="55984" y="98740"/>
                    </a:lnTo>
                    <a:lnTo>
                      <a:pt x="53130" y="93882"/>
                    </a:lnTo>
                    <a:lnTo>
                      <a:pt x="50660" y="85238"/>
                    </a:lnTo>
                    <a:lnTo>
                      <a:pt x="44129" y="74151"/>
                    </a:lnTo>
                    <a:lnTo>
                      <a:pt x="45802" y="72806"/>
                    </a:lnTo>
                    <a:lnTo>
                      <a:pt x="49892" y="77142"/>
                    </a:lnTo>
                    <a:lnTo>
                      <a:pt x="50770" y="76621"/>
                    </a:lnTo>
                    <a:lnTo>
                      <a:pt x="50824" y="70748"/>
                    </a:lnTo>
                    <a:lnTo>
                      <a:pt x="47751" y="70391"/>
                    </a:lnTo>
                    <a:lnTo>
                      <a:pt x="46516" y="66329"/>
                    </a:lnTo>
                    <a:lnTo>
                      <a:pt x="42153" y="63009"/>
                    </a:lnTo>
                    <a:lnTo>
                      <a:pt x="41110" y="63750"/>
                    </a:lnTo>
                    <a:lnTo>
                      <a:pt x="43635" y="69239"/>
                    </a:lnTo>
                    <a:lnTo>
                      <a:pt x="40369" y="69705"/>
                    </a:lnTo>
                    <a:lnTo>
                      <a:pt x="12075" y="28074"/>
                    </a:lnTo>
                    <a:lnTo>
                      <a:pt x="14353" y="23903"/>
                    </a:lnTo>
                    <a:lnTo>
                      <a:pt x="13776" y="19924"/>
                    </a:lnTo>
                    <a:lnTo>
                      <a:pt x="0" y="604"/>
                    </a:lnTo>
                    <a:lnTo>
                      <a:pt x="9139" y="0"/>
                    </a:lnTo>
                    <a:lnTo>
                      <a:pt x="10922" y="83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47" name="Freeform: Shape 4746">
                <a:extLst>
                  <a:ext uri="{FF2B5EF4-FFF2-40B4-BE49-F238E27FC236}">
                    <a16:creationId xmlns:a16="http://schemas.microsoft.com/office/drawing/2014/main" id="{A0FB576F-94F2-5230-4117-E2A3B734621A}"/>
                  </a:ext>
                </a:extLst>
              </p:cNvPr>
              <p:cNvSpPr/>
              <p:nvPr/>
            </p:nvSpPr>
            <p:spPr>
              <a:xfrm>
                <a:off x="1879066" y="4006788"/>
                <a:ext cx="2341" cy="2685"/>
              </a:xfrm>
              <a:custGeom>
                <a:avLst/>
                <a:gdLst>
                  <a:gd name="connsiteX0" fmla="*/ 21159 w 22448"/>
                  <a:gd name="connsiteY0" fmla="*/ 10264 h 25741"/>
                  <a:gd name="connsiteX1" fmla="*/ 22449 w 22448"/>
                  <a:gd name="connsiteY1" fmla="*/ 17591 h 25741"/>
                  <a:gd name="connsiteX2" fmla="*/ 20446 w 22448"/>
                  <a:gd name="connsiteY2" fmla="*/ 16960 h 25741"/>
                  <a:gd name="connsiteX3" fmla="*/ 17289 w 22448"/>
                  <a:gd name="connsiteY3" fmla="*/ 18854 h 25741"/>
                  <a:gd name="connsiteX4" fmla="*/ 16054 w 22448"/>
                  <a:gd name="connsiteY4" fmla="*/ 18442 h 25741"/>
                  <a:gd name="connsiteX5" fmla="*/ 10923 w 22448"/>
                  <a:gd name="connsiteY5" fmla="*/ 21570 h 25741"/>
                  <a:gd name="connsiteX6" fmla="*/ 9111 w 22448"/>
                  <a:gd name="connsiteY6" fmla="*/ 20939 h 25741"/>
                  <a:gd name="connsiteX7" fmla="*/ 5461 w 22448"/>
                  <a:gd name="connsiteY7" fmla="*/ 24260 h 25741"/>
                  <a:gd name="connsiteX8" fmla="*/ 2744 w 22448"/>
                  <a:gd name="connsiteY8" fmla="*/ 25742 h 25741"/>
                  <a:gd name="connsiteX9" fmla="*/ 0 w 22448"/>
                  <a:gd name="connsiteY9" fmla="*/ 23930 h 25741"/>
                  <a:gd name="connsiteX10" fmla="*/ 3623 w 22448"/>
                  <a:gd name="connsiteY10" fmla="*/ 20637 h 25741"/>
                  <a:gd name="connsiteX11" fmla="*/ 3321 w 22448"/>
                  <a:gd name="connsiteY11" fmla="*/ 17317 h 25741"/>
                  <a:gd name="connsiteX12" fmla="*/ 5132 w 22448"/>
                  <a:gd name="connsiteY12" fmla="*/ 15149 h 25741"/>
                  <a:gd name="connsiteX13" fmla="*/ 7574 w 22448"/>
                  <a:gd name="connsiteY13" fmla="*/ 15258 h 25741"/>
                  <a:gd name="connsiteX14" fmla="*/ 6916 w 22448"/>
                  <a:gd name="connsiteY14" fmla="*/ 12020 h 25741"/>
                  <a:gd name="connsiteX15" fmla="*/ 8810 w 22448"/>
                  <a:gd name="connsiteY15" fmla="*/ 11005 h 25741"/>
                  <a:gd name="connsiteX16" fmla="*/ 9358 w 22448"/>
                  <a:gd name="connsiteY16" fmla="*/ 8891 h 25741"/>
                  <a:gd name="connsiteX17" fmla="*/ 7355 w 22448"/>
                  <a:gd name="connsiteY17" fmla="*/ 4611 h 25741"/>
                  <a:gd name="connsiteX18" fmla="*/ 8041 w 22448"/>
                  <a:gd name="connsiteY18" fmla="*/ 1153 h 25741"/>
                  <a:gd name="connsiteX19" fmla="*/ 12130 w 22448"/>
                  <a:gd name="connsiteY19" fmla="*/ 0 h 25741"/>
                  <a:gd name="connsiteX20" fmla="*/ 15533 w 22448"/>
                  <a:gd name="connsiteY20" fmla="*/ 1619 h 25741"/>
                  <a:gd name="connsiteX21" fmla="*/ 16192 w 22448"/>
                  <a:gd name="connsiteY21" fmla="*/ 4364 h 25741"/>
                  <a:gd name="connsiteX22" fmla="*/ 18689 w 22448"/>
                  <a:gd name="connsiteY22" fmla="*/ 6230 h 25741"/>
                  <a:gd name="connsiteX23" fmla="*/ 21132 w 22448"/>
                  <a:gd name="connsiteY23" fmla="*/ 10319 h 2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448" h="25741">
                    <a:moveTo>
                      <a:pt x="21159" y="10264"/>
                    </a:moveTo>
                    <a:lnTo>
                      <a:pt x="22449" y="17591"/>
                    </a:lnTo>
                    <a:lnTo>
                      <a:pt x="20446" y="16960"/>
                    </a:lnTo>
                    <a:lnTo>
                      <a:pt x="17289" y="18854"/>
                    </a:lnTo>
                    <a:lnTo>
                      <a:pt x="16054" y="18442"/>
                    </a:lnTo>
                    <a:lnTo>
                      <a:pt x="10923" y="21570"/>
                    </a:lnTo>
                    <a:lnTo>
                      <a:pt x="9111" y="20939"/>
                    </a:lnTo>
                    <a:lnTo>
                      <a:pt x="5461" y="24260"/>
                    </a:lnTo>
                    <a:lnTo>
                      <a:pt x="2744" y="25742"/>
                    </a:lnTo>
                    <a:lnTo>
                      <a:pt x="0" y="23930"/>
                    </a:lnTo>
                    <a:lnTo>
                      <a:pt x="3623" y="20637"/>
                    </a:lnTo>
                    <a:lnTo>
                      <a:pt x="3321" y="17317"/>
                    </a:lnTo>
                    <a:lnTo>
                      <a:pt x="5132" y="15149"/>
                    </a:lnTo>
                    <a:lnTo>
                      <a:pt x="7574" y="15258"/>
                    </a:lnTo>
                    <a:lnTo>
                      <a:pt x="6916" y="12020"/>
                    </a:lnTo>
                    <a:lnTo>
                      <a:pt x="8810" y="11005"/>
                    </a:lnTo>
                    <a:lnTo>
                      <a:pt x="9358" y="8891"/>
                    </a:lnTo>
                    <a:lnTo>
                      <a:pt x="7355" y="4611"/>
                    </a:lnTo>
                    <a:lnTo>
                      <a:pt x="8041" y="1153"/>
                    </a:lnTo>
                    <a:lnTo>
                      <a:pt x="12130" y="0"/>
                    </a:lnTo>
                    <a:lnTo>
                      <a:pt x="15533" y="1619"/>
                    </a:lnTo>
                    <a:lnTo>
                      <a:pt x="16192" y="4364"/>
                    </a:lnTo>
                    <a:lnTo>
                      <a:pt x="18689" y="6230"/>
                    </a:lnTo>
                    <a:lnTo>
                      <a:pt x="21132" y="103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48" name="Freeform: Shape 4747">
                <a:extLst>
                  <a:ext uri="{FF2B5EF4-FFF2-40B4-BE49-F238E27FC236}">
                    <a16:creationId xmlns:a16="http://schemas.microsoft.com/office/drawing/2014/main" id="{38D93675-C532-6D85-3B0E-D1AA97362286}"/>
                  </a:ext>
                </a:extLst>
              </p:cNvPr>
              <p:cNvSpPr/>
              <p:nvPr/>
            </p:nvSpPr>
            <p:spPr>
              <a:xfrm>
                <a:off x="1903144" y="3963166"/>
                <a:ext cx="733" cy="1122"/>
              </a:xfrm>
              <a:custGeom>
                <a:avLst/>
                <a:gdLst>
                  <a:gd name="connsiteX0" fmla="*/ 7026 w 7025"/>
                  <a:gd name="connsiteY0" fmla="*/ 8837 h 10757"/>
                  <a:gd name="connsiteX1" fmla="*/ 6449 w 7025"/>
                  <a:gd name="connsiteY1" fmla="*/ 10757 h 10757"/>
                  <a:gd name="connsiteX2" fmla="*/ 3787 w 7025"/>
                  <a:gd name="connsiteY2" fmla="*/ 9275 h 10757"/>
                  <a:gd name="connsiteX3" fmla="*/ 3320 w 7025"/>
                  <a:gd name="connsiteY3" fmla="*/ 7876 h 10757"/>
                  <a:gd name="connsiteX4" fmla="*/ 411 w 7025"/>
                  <a:gd name="connsiteY4" fmla="*/ 6285 h 10757"/>
                  <a:gd name="connsiteX5" fmla="*/ 0 w 7025"/>
                  <a:gd name="connsiteY5" fmla="*/ 4336 h 10757"/>
                  <a:gd name="connsiteX6" fmla="*/ 2031 w 7025"/>
                  <a:gd name="connsiteY6" fmla="*/ 2470 h 10757"/>
                  <a:gd name="connsiteX7" fmla="*/ 1097 w 7025"/>
                  <a:gd name="connsiteY7" fmla="*/ 549 h 10757"/>
                  <a:gd name="connsiteX8" fmla="*/ 2689 w 7025"/>
                  <a:gd name="connsiteY8" fmla="*/ 0 h 10757"/>
                  <a:gd name="connsiteX9" fmla="*/ 3623 w 7025"/>
                  <a:gd name="connsiteY9" fmla="*/ 3156 h 10757"/>
                  <a:gd name="connsiteX10" fmla="*/ 5900 w 7025"/>
                  <a:gd name="connsiteY10" fmla="*/ 4309 h 10757"/>
                  <a:gd name="connsiteX11" fmla="*/ 5105 w 7025"/>
                  <a:gd name="connsiteY11" fmla="*/ 6696 h 10757"/>
                  <a:gd name="connsiteX12" fmla="*/ 6971 w 7025"/>
                  <a:gd name="connsiteY12" fmla="*/ 8782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25" h="10757">
                    <a:moveTo>
                      <a:pt x="7026" y="8837"/>
                    </a:moveTo>
                    <a:lnTo>
                      <a:pt x="6449" y="10757"/>
                    </a:lnTo>
                    <a:lnTo>
                      <a:pt x="3787" y="9275"/>
                    </a:lnTo>
                    <a:lnTo>
                      <a:pt x="3320" y="7876"/>
                    </a:lnTo>
                    <a:lnTo>
                      <a:pt x="411" y="6285"/>
                    </a:lnTo>
                    <a:lnTo>
                      <a:pt x="0" y="4336"/>
                    </a:lnTo>
                    <a:lnTo>
                      <a:pt x="2031" y="2470"/>
                    </a:lnTo>
                    <a:lnTo>
                      <a:pt x="1097" y="549"/>
                    </a:lnTo>
                    <a:lnTo>
                      <a:pt x="2689" y="0"/>
                    </a:lnTo>
                    <a:lnTo>
                      <a:pt x="3623" y="3156"/>
                    </a:lnTo>
                    <a:lnTo>
                      <a:pt x="5900" y="4309"/>
                    </a:lnTo>
                    <a:lnTo>
                      <a:pt x="5105" y="6696"/>
                    </a:lnTo>
                    <a:lnTo>
                      <a:pt x="6971" y="87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49" name="Freeform: Shape 4748">
                <a:extLst>
                  <a:ext uri="{FF2B5EF4-FFF2-40B4-BE49-F238E27FC236}">
                    <a16:creationId xmlns:a16="http://schemas.microsoft.com/office/drawing/2014/main" id="{EE71DBF0-E428-F929-0A1B-2BB7253B4A35}"/>
                  </a:ext>
                </a:extLst>
              </p:cNvPr>
              <p:cNvSpPr/>
              <p:nvPr/>
            </p:nvSpPr>
            <p:spPr>
              <a:xfrm>
                <a:off x="1898466" y="3981688"/>
                <a:ext cx="404" cy="524"/>
              </a:xfrm>
              <a:custGeom>
                <a:avLst/>
                <a:gdLst>
                  <a:gd name="connsiteX0" fmla="*/ 3842 w 3869"/>
                  <a:gd name="connsiteY0" fmla="*/ 2854 h 5022"/>
                  <a:gd name="connsiteX1" fmla="*/ 1317 w 3869"/>
                  <a:gd name="connsiteY1" fmla="*/ 5022 h 5022"/>
                  <a:gd name="connsiteX2" fmla="*/ 0 w 3869"/>
                  <a:gd name="connsiteY2" fmla="*/ 2854 h 5022"/>
                  <a:gd name="connsiteX3" fmla="*/ 2360 w 3869"/>
                  <a:gd name="connsiteY3" fmla="*/ 0 h 5022"/>
                  <a:gd name="connsiteX4" fmla="*/ 3870 w 3869"/>
                  <a:gd name="connsiteY4" fmla="*/ 823 h 5022"/>
                  <a:gd name="connsiteX5" fmla="*/ 3870 w 3869"/>
                  <a:gd name="connsiteY5" fmla="*/ 2827 h 5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9" h="5022">
                    <a:moveTo>
                      <a:pt x="3842" y="2854"/>
                    </a:moveTo>
                    <a:lnTo>
                      <a:pt x="1317" y="5022"/>
                    </a:lnTo>
                    <a:lnTo>
                      <a:pt x="0" y="2854"/>
                    </a:lnTo>
                    <a:lnTo>
                      <a:pt x="2360" y="0"/>
                    </a:lnTo>
                    <a:lnTo>
                      <a:pt x="3870" y="823"/>
                    </a:lnTo>
                    <a:lnTo>
                      <a:pt x="3870" y="28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50" name="Freeform: Shape 4749">
                <a:extLst>
                  <a:ext uri="{FF2B5EF4-FFF2-40B4-BE49-F238E27FC236}">
                    <a16:creationId xmlns:a16="http://schemas.microsoft.com/office/drawing/2014/main" id="{93AAAD7E-79B9-2CE1-6275-1A91F9324C6F}"/>
                  </a:ext>
                </a:extLst>
              </p:cNvPr>
              <p:cNvSpPr/>
              <p:nvPr/>
            </p:nvSpPr>
            <p:spPr>
              <a:xfrm>
                <a:off x="1902239" y="3965848"/>
                <a:ext cx="498" cy="303"/>
              </a:xfrm>
              <a:custGeom>
                <a:avLst/>
                <a:gdLst>
                  <a:gd name="connsiteX0" fmla="*/ 4775 w 4775"/>
                  <a:gd name="connsiteY0" fmla="*/ 2909 h 2909"/>
                  <a:gd name="connsiteX1" fmla="*/ 1646 w 4775"/>
                  <a:gd name="connsiteY1" fmla="*/ 2909 h 2909"/>
                  <a:gd name="connsiteX2" fmla="*/ 0 w 4775"/>
                  <a:gd name="connsiteY2" fmla="*/ 1290 h 2909"/>
                  <a:gd name="connsiteX3" fmla="*/ 3842 w 4775"/>
                  <a:gd name="connsiteY3" fmla="*/ 0 h 2909"/>
                  <a:gd name="connsiteX4" fmla="*/ 4775 w 4775"/>
                  <a:gd name="connsiteY4" fmla="*/ 2909 h 2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 h="2909">
                    <a:moveTo>
                      <a:pt x="4775" y="2909"/>
                    </a:moveTo>
                    <a:lnTo>
                      <a:pt x="1646" y="2909"/>
                    </a:lnTo>
                    <a:lnTo>
                      <a:pt x="0" y="1290"/>
                    </a:lnTo>
                    <a:lnTo>
                      <a:pt x="3842" y="0"/>
                    </a:lnTo>
                    <a:lnTo>
                      <a:pt x="4775"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51" name="Freeform: Shape 4750">
                <a:extLst>
                  <a:ext uri="{FF2B5EF4-FFF2-40B4-BE49-F238E27FC236}">
                    <a16:creationId xmlns:a16="http://schemas.microsoft.com/office/drawing/2014/main" id="{0E14DDDC-1AE1-DAA1-A7ED-C7E2E139F4D1}"/>
                  </a:ext>
                </a:extLst>
              </p:cNvPr>
              <p:cNvSpPr/>
              <p:nvPr/>
            </p:nvSpPr>
            <p:spPr>
              <a:xfrm>
                <a:off x="1902282" y="3963510"/>
                <a:ext cx="349" cy="409"/>
              </a:xfrm>
              <a:custGeom>
                <a:avLst/>
                <a:gdLst>
                  <a:gd name="connsiteX0" fmla="*/ 3348 w 3347"/>
                  <a:gd name="connsiteY0" fmla="*/ 796 h 3924"/>
                  <a:gd name="connsiteX1" fmla="*/ 2717 w 3347"/>
                  <a:gd name="connsiteY1" fmla="*/ 3924 h 3924"/>
                  <a:gd name="connsiteX2" fmla="*/ 247 w 3347"/>
                  <a:gd name="connsiteY2" fmla="*/ 3293 h 3924"/>
                  <a:gd name="connsiteX3" fmla="*/ 0 w 3347"/>
                  <a:gd name="connsiteY3" fmla="*/ 1674 h 3924"/>
                  <a:gd name="connsiteX4" fmla="*/ 2223 w 3347"/>
                  <a:gd name="connsiteY4" fmla="*/ 0 h 3924"/>
                  <a:gd name="connsiteX5" fmla="*/ 3320 w 3347"/>
                  <a:gd name="connsiteY5" fmla="*/ 768 h 3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7" h="3924">
                    <a:moveTo>
                      <a:pt x="3348" y="796"/>
                    </a:moveTo>
                    <a:lnTo>
                      <a:pt x="2717" y="3924"/>
                    </a:lnTo>
                    <a:lnTo>
                      <a:pt x="247" y="3293"/>
                    </a:lnTo>
                    <a:lnTo>
                      <a:pt x="0" y="1674"/>
                    </a:lnTo>
                    <a:lnTo>
                      <a:pt x="2223" y="0"/>
                    </a:lnTo>
                    <a:lnTo>
                      <a:pt x="3320" y="7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52" name="Freeform: Shape 4751">
                <a:extLst>
                  <a:ext uri="{FF2B5EF4-FFF2-40B4-BE49-F238E27FC236}">
                    <a16:creationId xmlns:a16="http://schemas.microsoft.com/office/drawing/2014/main" id="{33155D25-1C91-FA87-8AA8-08D58EFFD692}"/>
                  </a:ext>
                </a:extLst>
              </p:cNvPr>
              <p:cNvSpPr/>
              <p:nvPr/>
            </p:nvSpPr>
            <p:spPr>
              <a:xfrm>
                <a:off x="1899663" y="3983534"/>
                <a:ext cx="321" cy="464"/>
              </a:xfrm>
              <a:custGeom>
                <a:avLst/>
                <a:gdLst>
                  <a:gd name="connsiteX0" fmla="*/ 3073 w 3073"/>
                  <a:gd name="connsiteY0" fmla="*/ 2141 h 4446"/>
                  <a:gd name="connsiteX1" fmla="*/ 1345 w 3073"/>
                  <a:gd name="connsiteY1" fmla="*/ 4446 h 4446"/>
                  <a:gd name="connsiteX2" fmla="*/ 0 w 3073"/>
                  <a:gd name="connsiteY2" fmla="*/ 2607 h 4446"/>
                  <a:gd name="connsiteX3" fmla="*/ 466 w 3073"/>
                  <a:gd name="connsiteY3" fmla="*/ 137 h 4446"/>
                  <a:gd name="connsiteX4" fmla="*/ 2744 w 3073"/>
                  <a:gd name="connsiteY4" fmla="*/ 0 h 4446"/>
                  <a:gd name="connsiteX5" fmla="*/ 3073 w 3073"/>
                  <a:gd name="connsiteY5" fmla="*/ 2141 h 4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 h="4446">
                    <a:moveTo>
                      <a:pt x="3073" y="2141"/>
                    </a:moveTo>
                    <a:lnTo>
                      <a:pt x="1345" y="4446"/>
                    </a:lnTo>
                    <a:lnTo>
                      <a:pt x="0" y="2607"/>
                    </a:lnTo>
                    <a:lnTo>
                      <a:pt x="466" y="137"/>
                    </a:lnTo>
                    <a:lnTo>
                      <a:pt x="2744" y="0"/>
                    </a:lnTo>
                    <a:lnTo>
                      <a:pt x="3073"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53" name="Freeform: Shape 4752">
                <a:extLst>
                  <a:ext uri="{FF2B5EF4-FFF2-40B4-BE49-F238E27FC236}">
                    <a16:creationId xmlns:a16="http://schemas.microsoft.com/office/drawing/2014/main" id="{43D0821B-6A1D-A45C-9846-C9D5DB6A0EE6}"/>
                  </a:ext>
                </a:extLst>
              </p:cNvPr>
              <p:cNvSpPr/>
              <p:nvPr/>
            </p:nvSpPr>
            <p:spPr>
              <a:xfrm>
                <a:off x="1732760" y="3786268"/>
                <a:ext cx="13496" cy="19378"/>
              </a:xfrm>
              <a:custGeom>
                <a:avLst/>
                <a:gdLst>
                  <a:gd name="connsiteX0" fmla="*/ 24315 w 129393"/>
                  <a:gd name="connsiteY0" fmla="*/ 4171 h 185788"/>
                  <a:gd name="connsiteX1" fmla="*/ 31724 w 129393"/>
                  <a:gd name="connsiteY1" fmla="*/ 0 h 185788"/>
                  <a:gd name="connsiteX2" fmla="*/ 34798 w 129393"/>
                  <a:gd name="connsiteY2" fmla="*/ 1839 h 185788"/>
                  <a:gd name="connsiteX3" fmla="*/ 41548 w 129393"/>
                  <a:gd name="connsiteY3" fmla="*/ 549 h 185788"/>
                  <a:gd name="connsiteX4" fmla="*/ 62789 w 129393"/>
                  <a:gd name="connsiteY4" fmla="*/ 10950 h 185788"/>
                  <a:gd name="connsiteX5" fmla="*/ 67921 w 129393"/>
                  <a:gd name="connsiteY5" fmla="*/ 9221 h 185788"/>
                  <a:gd name="connsiteX6" fmla="*/ 69842 w 129393"/>
                  <a:gd name="connsiteY6" fmla="*/ 6778 h 185788"/>
                  <a:gd name="connsiteX7" fmla="*/ 69842 w 129393"/>
                  <a:gd name="connsiteY7" fmla="*/ 2662 h 185788"/>
                  <a:gd name="connsiteX8" fmla="*/ 71955 w 129393"/>
                  <a:gd name="connsiteY8" fmla="*/ 3293 h 185788"/>
                  <a:gd name="connsiteX9" fmla="*/ 75523 w 129393"/>
                  <a:gd name="connsiteY9" fmla="*/ 10017 h 185788"/>
                  <a:gd name="connsiteX10" fmla="*/ 71544 w 129393"/>
                  <a:gd name="connsiteY10" fmla="*/ 16740 h 185788"/>
                  <a:gd name="connsiteX11" fmla="*/ 70282 w 129393"/>
                  <a:gd name="connsiteY11" fmla="*/ 26400 h 185788"/>
                  <a:gd name="connsiteX12" fmla="*/ 71324 w 129393"/>
                  <a:gd name="connsiteY12" fmla="*/ 32547 h 185788"/>
                  <a:gd name="connsiteX13" fmla="*/ 73657 w 129393"/>
                  <a:gd name="connsiteY13" fmla="*/ 38530 h 185788"/>
                  <a:gd name="connsiteX14" fmla="*/ 78322 w 129393"/>
                  <a:gd name="connsiteY14" fmla="*/ 41164 h 185788"/>
                  <a:gd name="connsiteX15" fmla="*/ 78651 w 129393"/>
                  <a:gd name="connsiteY15" fmla="*/ 45830 h 185788"/>
                  <a:gd name="connsiteX16" fmla="*/ 80984 w 129393"/>
                  <a:gd name="connsiteY16" fmla="*/ 48080 h 185788"/>
                  <a:gd name="connsiteX17" fmla="*/ 71159 w 129393"/>
                  <a:gd name="connsiteY17" fmla="*/ 74233 h 185788"/>
                  <a:gd name="connsiteX18" fmla="*/ 69568 w 129393"/>
                  <a:gd name="connsiteY18" fmla="*/ 75194 h 185788"/>
                  <a:gd name="connsiteX19" fmla="*/ 69074 w 129393"/>
                  <a:gd name="connsiteY19" fmla="*/ 73382 h 185788"/>
                  <a:gd name="connsiteX20" fmla="*/ 67016 w 129393"/>
                  <a:gd name="connsiteY20" fmla="*/ 75797 h 185788"/>
                  <a:gd name="connsiteX21" fmla="*/ 69156 w 129393"/>
                  <a:gd name="connsiteY21" fmla="*/ 77856 h 185788"/>
                  <a:gd name="connsiteX22" fmla="*/ 67235 w 129393"/>
                  <a:gd name="connsiteY22" fmla="*/ 80161 h 185788"/>
                  <a:gd name="connsiteX23" fmla="*/ 65397 w 129393"/>
                  <a:gd name="connsiteY23" fmla="*/ 78487 h 185788"/>
                  <a:gd name="connsiteX24" fmla="*/ 65205 w 129393"/>
                  <a:gd name="connsiteY24" fmla="*/ 76429 h 185788"/>
                  <a:gd name="connsiteX25" fmla="*/ 59002 w 129393"/>
                  <a:gd name="connsiteY25" fmla="*/ 78679 h 185788"/>
                  <a:gd name="connsiteX26" fmla="*/ 53184 w 129393"/>
                  <a:gd name="connsiteY26" fmla="*/ 84222 h 185788"/>
                  <a:gd name="connsiteX27" fmla="*/ 54420 w 129393"/>
                  <a:gd name="connsiteY27" fmla="*/ 90672 h 185788"/>
                  <a:gd name="connsiteX28" fmla="*/ 47943 w 129393"/>
                  <a:gd name="connsiteY28" fmla="*/ 102335 h 185788"/>
                  <a:gd name="connsiteX29" fmla="*/ 53486 w 129393"/>
                  <a:gd name="connsiteY29" fmla="*/ 114080 h 185788"/>
                  <a:gd name="connsiteX30" fmla="*/ 56533 w 129393"/>
                  <a:gd name="connsiteY30" fmla="*/ 119844 h 185788"/>
                  <a:gd name="connsiteX31" fmla="*/ 54776 w 129393"/>
                  <a:gd name="connsiteY31" fmla="*/ 123768 h 185788"/>
                  <a:gd name="connsiteX32" fmla="*/ 58646 w 129393"/>
                  <a:gd name="connsiteY32" fmla="*/ 136666 h 185788"/>
                  <a:gd name="connsiteX33" fmla="*/ 63530 w 129393"/>
                  <a:gd name="connsiteY33" fmla="*/ 141633 h 185788"/>
                  <a:gd name="connsiteX34" fmla="*/ 72285 w 129393"/>
                  <a:gd name="connsiteY34" fmla="*/ 144377 h 185788"/>
                  <a:gd name="connsiteX35" fmla="*/ 74178 w 129393"/>
                  <a:gd name="connsiteY35" fmla="*/ 141716 h 185788"/>
                  <a:gd name="connsiteX36" fmla="*/ 71791 w 129393"/>
                  <a:gd name="connsiteY36" fmla="*/ 137325 h 185788"/>
                  <a:gd name="connsiteX37" fmla="*/ 75248 w 129393"/>
                  <a:gd name="connsiteY37" fmla="*/ 137325 h 185788"/>
                  <a:gd name="connsiteX38" fmla="*/ 76730 w 129393"/>
                  <a:gd name="connsiteY38" fmla="*/ 134059 h 185788"/>
                  <a:gd name="connsiteX39" fmla="*/ 80984 w 129393"/>
                  <a:gd name="connsiteY39" fmla="*/ 131616 h 185788"/>
                  <a:gd name="connsiteX40" fmla="*/ 87077 w 129393"/>
                  <a:gd name="connsiteY40" fmla="*/ 132028 h 185788"/>
                  <a:gd name="connsiteX41" fmla="*/ 91659 w 129393"/>
                  <a:gd name="connsiteY41" fmla="*/ 134059 h 185788"/>
                  <a:gd name="connsiteX42" fmla="*/ 98081 w 129393"/>
                  <a:gd name="connsiteY42" fmla="*/ 139575 h 185788"/>
                  <a:gd name="connsiteX43" fmla="*/ 96819 w 129393"/>
                  <a:gd name="connsiteY43" fmla="*/ 140563 h 185788"/>
                  <a:gd name="connsiteX44" fmla="*/ 97505 w 129393"/>
                  <a:gd name="connsiteY44" fmla="*/ 148906 h 185788"/>
                  <a:gd name="connsiteX45" fmla="*/ 102280 w 129393"/>
                  <a:gd name="connsiteY45" fmla="*/ 149866 h 185788"/>
                  <a:gd name="connsiteX46" fmla="*/ 104640 w 129393"/>
                  <a:gd name="connsiteY46" fmla="*/ 147369 h 185788"/>
                  <a:gd name="connsiteX47" fmla="*/ 103625 w 129393"/>
                  <a:gd name="connsiteY47" fmla="*/ 143938 h 185788"/>
                  <a:gd name="connsiteX48" fmla="*/ 102280 w 129393"/>
                  <a:gd name="connsiteY48" fmla="*/ 141771 h 185788"/>
                  <a:gd name="connsiteX49" fmla="*/ 105353 w 129393"/>
                  <a:gd name="connsiteY49" fmla="*/ 140234 h 185788"/>
                  <a:gd name="connsiteX50" fmla="*/ 108729 w 129393"/>
                  <a:gd name="connsiteY50" fmla="*/ 143774 h 185788"/>
                  <a:gd name="connsiteX51" fmla="*/ 117072 w 129393"/>
                  <a:gd name="connsiteY51" fmla="*/ 145228 h 185788"/>
                  <a:gd name="connsiteX52" fmla="*/ 122780 w 129393"/>
                  <a:gd name="connsiteY52" fmla="*/ 148549 h 185788"/>
                  <a:gd name="connsiteX53" fmla="*/ 118938 w 129393"/>
                  <a:gd name="connsiteY53" fmla="*/ 150936 h 185788"/>
                  <a:gd name="connsiteX54" fmla="*/ 112983 w 129393"/>
                  <a:gd name="connsiteY54" fmla="*/ 150607 h 185788"/>
                  <a:gd name="connsiteX55" fmla="*/ 111199 w 129393"/>
                  <a:gd name="connsiteY55" fmla="*/ 153818 h 185788"/>
                  <a:gd name="connsiteX56" fmla="*/ 118718 w 129393"/>
                  <a:gd name="connsiteY56" fmla="*/ 164027 h 185788"/>
                  <a:gd name="connsiteX57" fmla="*/ 118773 w 129393"/>
                  <a:gd name="connsiteY57" fmla="*/ 169515 h 185788"/>
                  <a:gd name="connsiteX58" fmla="*/ 121710 w 129393"/>
                  <a:gd name="connsiteY58" fmla="*/ 168418 h 185788"/>
                  <a:gd name="connsiteX59" fmla="*/ 127116 w 129393"/>
                  <a:gd name="connsiteY59" fmla="*/ 170997 h 185788"/>
                  <a:gd name="connsiteX60" fmla="*/ 129393 w 129393"/>
                  <a:gd name="connsiteY60" fmla="*/ 170201 h 185788"/>
                  <a:gd name="connsiteX61" fmla="*/ 128626 w 129393"/>
                  <a:gd name="connsiteY61" fmla="*/ 174181 h 185788"/>
                  <a:gd name="connsiteX62" fmla="*/ 128845 w 129393"/>
                  <a:gd name="connsiteY62" fmla="*/ 181261 h 185788"/>
                  <a:gd name="connsiteX63" fmla="*/ 126320 w 129393"/>
                  <a:gd name="connsiteY63" fmla="*/ 185789 h 185788"/>
                  <a:gd name="connsiteX64" fmla="*/ 121435 w 129393"/>
                  <a:gd name="connsiteY64" fmla="*/ 182413 h 185788"/>
                  <a:gd name="connsiteX65" fmla="*/ 119926 w 129393"/>
                  <a:gd name="connsiteY65" fmla="*/ 176294 h 185788"/>
                  <a:gd name="connsiteX66" fmla="*/ 112187 w 129393"/>
                  <a:gd name="connsiteY66" fmla="*/ 174181 h 185788"/>
                  <a:gd name="connsiteX67" fmla="*/ 108153 w 129393"/>
                  <a:gd name="connsiteY67" fmla="*/ 171354 h 185788"/>
                  <a:gd name="connsiteX68" fmla="*/ 104283 w 129393"/>
                  <a:gd name="connsiteY68" fmla="*/ 170915 h 185788"/>
                  <a:gd name="connsiteX69" fmla="*/ 104421 w 129393"/>
                  <a:gd name="connsiteY69" fmla="*/ 166030 h 185788"/>
                  <a:gd name="connsiteX70" fmla="*/ 100112 w 129393"/>
                  <a:gd name="connsiteY70" fmla="*/ 158867 h 185788"/>
                  <a:gd name="connsiteX71" fmla="*/ 91330 w 129393"/>
                  <a:gd name="connsiteY71" fmla="*/ 153845 h 185788"/>
                  <a:gd name="connsiteX72" fmla="*/ 88366 w 129393"/>
                  <a:gd name="connsiteY72" fmla="*/ 148549 h 185788"/>
                  <a:gd name="connsiteX73" fmla="*/ 80490 w 129393"/>
                  <a:gd name="connsiteY73" fmla="*/ 144158 h 185788"/>
                  <a:gd name="connsiteX74" fmla="*/ 81835 w 129393"/>
                  <a:gd name="connsiteY74" fmla="*/ 153845 h 185788"/>
                  <a:gd name="connsiteX75" fmla="*/ 86116 w 129393"/>
                  <a:gd name="connsiteY75" fmla="*/ 162929 h 185788"/>
                  <a:gd name="connsiteX76" fmla="*/ 83893 w 129393"/>
                  <a:gd name="connsiteY76" fmla="*/ 166634 h 185788"/>
                  <a:gd name="connsiteX77" fmla="*/ 81451 w 129393"/>
                  <a:gd name="connsiteY77" fmla="*/ 165399 h 185788"/>
                  <a:gd name="connsiteX78" fmla="*/ 77910 w 129393"/>
                  <a:gd name="connsiteY78" fmla="*/ 156974 h 185788"/>
                  <a:gd name="connsiteX79" fmla="*/ 73657 w 129393"/>
                  <a:gd name="connsiteY79" fmla="*/ 153873 h 185788"/>
                  <a:gd name="connsiteX80" fmla="*/ 71983 w 129393"/>
                  <a:gd name="connsiteY80" fmla="*/ 153873 h 185788"/>
                  <a:gd name="connsiteX81" fmla="*/ 68910 w 129393"/>
                  <a:gd name="connsiteY81" fmla="*/ 149098 h 185788"/>
                  <a:gd name="connsiteX82" fmla="*/ 63448 w 129393"/>
                  <a:gd name="connsiteY82" fmla="*/ 146271 h 185788"/>
                  <a:gd name="connsiteX83" fmla="*/ 57603 w 129393"/>
                  <a:gd name="connsiteY83" fmla="*/ 143691 h 185788"/>
                  <a:gd name="connsiteX84" fmla="*/ 50770 w 129393"/>
                  <a:gd name="connsiteY84" fmla="*/ 146792 h 185788"/>
                  <a:gd name="connsiteX85" fmla="*/ 49507 w 129393"/>
                  <a:gd name="connsiteY85" fmla="*/ 151183 h 185788"/>
                  <a:gd name="connsiteX86" fmla="*/ 45089 w 129393"/>
                  <a:gd name="connsiteY86" fmla="*/ 153845 h 185788"/>
                  <a:gd name="connsiteX87" fmla="*/ 38338 w 129393"/>
                  <a:gd name="connsiteY87" fmla="*/ 152583 h 185788"/>
                  <a:gd name="connsiteX88" fmla="*/ 36746 w 129393"/>
                  <a:gd name="connsiteY88" fmla="*/ 149070 h 185788"/>
                  <a:gd name="connsiteX89" fmla="*/ 33673 w 129393"/>
                  <a:gd name="connsiteY89" fmla="*/ 150223 h 185788"/>
                  <a:gd name="connsiteX90" fmla="*/ 33920 w 129393"/>
                  <a:gd name="connsiteY90" fmla="*/ 146655 h 185788"/>
                  <a:gd name="connsiteX91" fmla="*/ 32245 w 129393"/>
                  <a:gd name="connsiteY91" fmla="*/ 144762 h 185788"/>
                  <a:gd name="connsiteX92" fmla="*/ 25440 w 129393"/>
                  <a:gd name="connsiteY92" fmla="*/ 145859 h 185788"/>
                  <a:gd name="connsiteX93" fmla="*/ 24589 w 129393"/>
                  <a:gd name="connsiteY93" fmla="*/ 135541 h 185788"/>
                  <a:gd name="connsiteX94" fmla="*/ 35621 w 129393"/>
                  <a:gd name="connsiteY94" fmla="*/ 126485 h 185788"/>
                  <a:gd name="connsiteX95" fmla="*/ 33782 w 129393"/>
                  <a:gd name="connsiteY95" fmla="*/ 120420 h 185788"/>
                  <a:gd name="connsiteX96" fmla="*/ 23491 w 129393"/>
                  <a:gd name="connsiteY96" fmla="*/ 117676 h 185788"/>
                  <a:gd name="connsiteX97" fmla="*/ 24616 w 129393"/>
                  <a:gd name="connsiteY97" fmla="*/ 126814 h 185788"/>
                  <a:gd name="connsiteX98" fmla="*/ 21103 w 129393"/>
                  <a:gd name="connsiteY98" fmla="*/ 128927 h 185788"/>
                  <a:gd name="connsiteX99" fmla="*/ 14901 w 129393"/>
                  <a:gd name="connsiteY99" fmla="*/ 120941 h 185788"/>
                  <a:gd name="connsiteX100" fmla="*/ 14463 w 129393"/>
                  <a:gd name="connsiteY100" fmla="*/ 116468 h 185788"/>
                  <a:gd name="connsiteX101" fmla="*/ 11060 w 129393"/>
                  <a:gd name="connsiteY101" fmla="*/ 118526 h 185788"/>
                  <a:gd name="connsiteX102" fmla="*/ 8672 w 129393"/>
                  <a:gd name="connsiteY102" fmla="*/ 114080 h 185788"/>
                  <a:gd name="connsiteX103" fmla="*/ 7657 w 129393"/>
                  <a:gd name="connsiteY103" fmla="*/ 104393 h 185788"/>
                  <a:gd name="connsiteX104" fmla="*/ 4254 w 129393"/>
                  <a:gd name="connsiteY104" fmla="*/ 98273 h 185788"/>
                  <a:gd name="connsiteX105" fmla="*/ 5434 w 129393"/>
                  <a:gd name="connsiteY105" fmla="*/ 95337 h 185788"/>
                  <a:gd name="connsiteX106" fmla="*/ 4089 w 129393"/>
                  <a:gd name="connsiteY106" fmla="*/ 85457 h 185788"/>
                  <a:gd name="connsiteX107" fmla="*/ 2689 w 129393"/>
                  <a:gd name="connsiteY107" fmla="*/ 82823 h 185788"/>
                  <a:gd name="connsiteX108" fmla="*/ 0 w 129393"/>
                  <a:gd name="connsiteY108" fmla="*/ 82055 h 185788"/>
                  <a:gd name="connsiteX109" fmla="*/ 192 w 129393"/>
                  <a:gd name="connsiteY109" fmla="*/ 74672 h 185788"/>
                  <a:gd name="connsiteX110" fmla="*/ 1235 w 129393"/>
                  <a:gd name="connsiteY110" fmla="*/ 70968 h 185788"/>
                  <a:gd name="connsiteX111" fmla="*/ 4995 w 129393"/>
                  <a:gd name="connsiteY111" fmla="*/ 68470 h 185788"/>
                  <a:gd name="connsiteX112" fmla="*/ 11444 w 129393"/>
                  <a:gd name="connsiteY112" fmla="*/ 79502 h 185788"/>
                  <a:gd name="connsiteX113" fmla="*/ 16356 w 129393"/>
                  <a:gd name="connsiteY113" fmla="*/ 78816 h 185788"/>
                  <a:gd name="connsiteX114" fmla="*/ 19018 w 129393"/>
                  <a:gd name="connsiteY114" fmla="*/ 75743 h 185788"/>
                  <a:gd name="connsiteX115" fmla="*/ 16136 w 129393"/>
                  <a:gd name="connsiteY115" fmla="*/ 62570 h 185788"/>
                  <a:gd name="connsiteX116" fmla="*/ 19869 w 129393"/>
                  <a:gd name="connsiteY116" fmla="*/ 50770 h 185788"/>
                  <a:gd name="connsiteX117" fmla="*/ 20088 w 129393"/>
                  <a:gd name="connsiteY117" fmla="*/ 37789 h 185788"/>
                  <a:gd name="connsiteX118" fmla="*/ 16987 w 129393"/>
                  <a:gd name="connsiteY118" fmla="*/ 32520 h 185788"/>
                  <a:gd name="connsiteX119" fmla="*/ 24205 w 129393"/>
                  <a:gd name="connsiteY119" fmla="*/ 9660 h 185788"/>
                  <a:gd name="connsiteX120" fmla="*/ 24205 w 129393"/>
                  <a:gd name="connsiteY120" fmla="*/ 4116 h 18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29393" h="185788">
                    <a:moveTo>
                      <a:pt x="24315" y="4171"/>
                    </a:moveTo>
                    <a:lnTo>
                      <a:pt x="31724" y="0"/>
                    </a:lnTo>
                    <a:lnTo>
                      <a:pt x="34798" y="1839"/>
                    </a:lnTo>
                    <a:lnTo>
                      <a:pt x="41548" y="549"/>
                    </a:lnTo>
                    <a:lnTo>
                      <a:pt x="62789" y="10950"/>
                    </a:lnTo>
                    <a:lnTo>
                      <a:pt x="67921" y="9221"/>
                    </a:lnTo>
                    <a:lnTo>
                      <a:pt x="69842" y="6778"/>
                    </a:lnTo>
                    <a:lnTo>
                      <a:pt x="69842" y="2662"/>
                    </a:lnTo>
                    <a:cubicBezTo>
                      <a:pt x="69842" y="2662"/>
                      <a:pt x="71955" y="3293"/>
                      <a:pt x="71955" y="3293"/>
                    </a:cubicBezTo>
                    <a:lnTo>
                      <a:pt x="75523" y="10017"/>
                    </a:lnTo>
                    <a:lnTo>
                      <a:pt x="71544" y="16740"/>
                    </a:lnTo>
                    <a:lnTo>
                      <a:pt x="70282" y="26400"/>
                    </a:lnTo>
                    <a:lnTo>
                      <a:pt x="71324" y="32547"/>
                    </a:lnTo>
                    <a:lnTo>
                      <a:pt x="73657" y="38530"/>
                    </a:lnTo>
                    <a:lnTo>
                      <a:pt x="78322" y="41164"/>
                    </a:lnTo>
                    <a:lnTo>
                      <a:pt x="78651" y="45830"/>
                    </a:lnTo>
                    <a:lnTo>
                      <a:pt x="80984" y="48080"/>
                    </a:lnTo>
                    <a:lnTo>
                      <a:pt x="71159" y="74233"/>
                    </a:lnTo>
                    <a:lnTo>
                      <a:pt x="69568" y="75194"/>
                    </a:lnTo>
                    <a:lnTo>
                      <a:pt x="69074" y="73382"/>
                    </a:lnTo>
                    <a:lnTo>
                      <a:pt x="67016" y="75797"/>
                    </a:lnTo>
                    <a:lnTo>
                      <a:pt x="69156" y="77856"/>
                    </a:lnTo>
                    <a:lnTo>
                      <a:pt x="67235" y="80161"/>
                    </a:lnTo>
                    <a:lnTo>
                      <a:pt x="65397" y="78487"/>
                    </a:lnTo>
                    <a:lnTo>
                      <a:pt x="65205" y="76429"/>
                    </a:lnTo>
                    <a:lnTo>
                      <a:pt x="59002" y="78679"/>
                    </a:lnTo>
                    <a:lnTo>
                      <a:pt x="53184" y="84222"/>
                    </a:lnTo>
                    <a:lnTo>
                      <a:pt x="54420" y="90672"/>
                    </a:lnTo>
                    <a:lnTo>
                      <a:pt x="47943" y="102335"/>
                    </a:lnTo>
                    <a:lnTo>
                      <a:pt x="53486" y="114080"/>
                    </a:lnTo>
                    <a:lnTo>
                      <a:pt x="56533" y="119844"/>
                    </a:lnTo>
                    <a:lnTo>
                      <a:pt x="54776" y="123768"/>
                    </a:lnTo>
                    <a:lnTo>
                      <a:pt x="58646" y="136666"/>
                    </a:lnTo>
                    <a:lnTo>
                      <a:pt x="63530" y="141633"/>
                    </a:lnTo>
                    <a:lnTo>
                      <a:pt x="72285" y="144377"/>
                    </a:lnTo>
                    <a:lnTo>
                      <a:pt x="74178" y="141716"/>
                    </a:lnTo>
                    <a:lnTo>
                      <a:pt x="71791" y="137325"/>
                    </a:lnTo>
                    <a:lnTo>
                      <a:pt x="75248" y="137325"/>
                    </a:lnTo>
                    <a:lnTo>
                      <a:pt x="76730" y="134059"/>
                    </a:lnTo>
                    <a:lnTo>
                      <a:pt x="80984" y="131616"/>
                    </a:lnTo>
                    <a:lnTo>
                      <a:pt x="87077" y="132028"/>
                    </a:lnTo>
                    <a:lnTo>
                      <a:pt x="91659" y="134059"/>
                    </a:lnTo>
                    <a:lnTo>
                      <a:pt x="98081" y="139575"/>
                    </a:lnTo>
                    <a:lnTo>
                      <a:pt x="96819" y="140563"/>
                    </a:lnTo>
                    <a:lnTo>
                      <a:pt x="97505" y="148906"/>
                    </a:lnTo>
                    <a:lnTo>
                      <a:pt x="102280" y="149866"/>
                    </a:lnTo>
                    <a:lnTo>
                      <a:pt x="104640" y="147369"/>
                    </a:lnTo>
                    <a:lnTo>
                      <a:pt x="103625" y="143938"/>
                    </a:lnTo>
                    <a:lnTo>
                      <a:pt x="102280" y="141771"/>
                    </a:lnTo>
                    <a:lnTo>
                      <a:pt x="105353" y="140234"/>
                    </a:lnTo>
                    <a:lnTo>
                      <a:pt x="108729" y="143774"/>
                    </a:lnTo>
                    <a:lnTo>
                      <a:pt x="117072" y="145228"/>
                    </a:lnTo>
                    <a:lnTo>
                      <a:pt x="122780" y="148549"/>
                    </a:lnTo>
                    <a:lnTo>
                      <a:pt x="118938" y="150936"/>
                    </a:lnTo>
                    <a:lnTo>
                      <a:pt x="112983" y="150607"/>
                    </a:lnTo>
                    <a:lnTo>
                      <a:pt x="111199" y="153818"/>
                    </a:lnTo>
                    <a:lnTo>
                      <a:pt x="118718" y="164027"/>
                    </a:lnTo>
                    <a:lnTo>
                      <a:pt x="118773" y="169515"/>
                    </a:lnTo>
                    <a:lnTo>
                      <a:pt x="121710" y="168418"/>
                    </a:lnTo>
                    <a:lnTo>
                      <a:pt x="127116" y="170997"/>
                    </a:lnTo>
                    <a:lnTo>
                      <a:pt x="129393" y="170201"/>
                    </a:lnTo>
                    <a:lnTo>
                      <a:pt x="128626" y="174181"/>
                    </a:lnTo>
                    <a:lnTo>
                      <a:pt x="128845" y="181261"/>
                    </a:lnTo>
                    <a:lnTo>
                      <a:pt x="126320" y="185789"/>
                    </a:lnTo>
                    <a:lnTo>
                      <a:pt x="121435" y="182413"/>
                    </a:lnTo>
                    <a:lnTo>
                      <a:pt x="119926" y="176294"/>
                    </a:lnTo>
                    <a:lnTo>
                      <a:pt x="112187" y="174181"/>
                    </a:lnTo>
                    <a:lnTo>
                      <a:pt x="108153" y="171354"/>
                    </a:lnTo>
                    <a:lnTo>
                      <a:pt x="104283" y="170915"/>
                    </a:lnTo>
                    <a:lnTo>
                      <a:pt x="104421" y="166030"/>
                    </a:lnTo>
                    <a:lnTo>
                      <a:pt x="100112" y="158867"/>
                    </a:lnTo>
                    <a:lnTo>
                      <a:pt x="91330" y="153845"/>
                    </a:lnTo>
                    <a:lnTo>
                      <a:pt x="88366" y="148549"/>
                    </a:lnTo>
                    <a:lnTo>
                      <a:pt x="80490" y="144158"/>
                    </a:lnTo>
                    <a:lnTo>
                      <a:pt x="81835" y="153845"/>
                    </a:lnTo>
                    <a:lnTo>
                      <a:pt x="86116" y="162929"/>
                    </a:lnTo>
                    <a:lnTo>
                      <a:pt x="83893" y="166634"/>
                    </a:lnTo>
                    <a:lnTo>
                      <a:pt x="81451" y="165399"/>
                    </a:lnTo>
                    <a:lnTo>
                      <a:pt x="77910" y="156974"/>
                    </a:lnTo>
                    <a:lnTo>
                      <a:pt x="73657" y="153873"/>
                    </a:lnTo>
                    <a:lnTo>
                      <a:pt x="71983" y="153873"/>
                    </a:lnTo>
                    <a:lnTo>
                      <a:pt x="68910" y="149098"/>
                    </a:lnTo>
                    <a:lnTo>
                      <a:pt x="63448" y="146271"/>
                    </a:lnTo>
                    <a:lnTo>
                      <a:pt x="57603" y="143691"/>
                    </a:lnTo>
                    <a:lnTo>
                      <a:pt x="50770" y="146792"/>
                    </a:lnTo>
                    <a:lnTo>
                      <a:pt x="49507" y="151183"/>
                    </a:lnTo>
                    <a:lnTo>
                      <a:pt x="45089" y="153845"/>
                    </a:lnTo>
                    <a:lnTo>
                      <a:pt x="38338" y="152583"/>
                    </a:lnTo>
                    <a:lnTo>
                      <a:pt x="36746" y="149070"/>
                    </a:lnTo>
                    <a:lnTo>
                      <a:pt x="33673" y="150223"/>
                    </a:lnTo>
                    <a:lnTo>
                      <a:pt x="33920" y="146655"/>
                    </a:lnTo>
                    <a:lnTo>
                      <a:pt x="32245" y="144762"/>
                    </a:lnTo>
                    <a:lnTo>
                      <a:pt x="25440" y="145859"/>
                    </a:lnTo>
                    <a:lnTo>
                      <a:pt x="24589" y="135541"/>
                    </a:lnTo>
                    <a:lnTo>
                      <a:pt x="35621" y="126485"/>
                    </a:lnTo>
                    <a:lnTo>
                      <a:pt x="33782" y="120420"/>
                    </a:lnTo>
                    <a:lnTo>
                      <a:pt x="23491" y="117676"/>
                    </a:lnTo>
                    <a:lnTo>
                      <a:pt x="24616" y="126814"/>
                    </a:lnTo>
                    <a:lnTo>
                      <a:pt x="21103" y="128927"/>
                    </a:lnTo>
                    <a:lnTo>
                      <a:pt x="14901" y="120941"/>
                    </a:lnTo>
                    <a:lnTo>
                      <a:pt x="14463" y="116468"/>
                    </a:lnTo>
                    <a:lnTo>
                      <a:pt x="11060" y="118526"/>
                    </a:lnTo>
                    <a:lnTo>
                      <a:pt x="8672" y="114080"/>
                    </a:lnTo>
                    <a:lnTo>
                      <a:pt x="7657" y="104393"/>
                    </a:lnTo>
                    <a:lnTo>
                      <a:pt x="4254" y="98273"/>
                    </a:lnTo>
                    <a:lnTo>
                      <a:pt x="5434" y="95337"/>
                    </a:lnTo>
                    <a:lnTo>
                      <a:pt x="4089" y="85457"/>
                    </a:lnTo>
                    <a:lnTo>
                      <a:pt x="2689" y="82823"/>
                    </a:lnTo>
                    <a:lnTo>
                      <a:pt x="0" y="82055"/>
                    </a:lnTo>
                    <a:lnTo>
                      <a:pt x="192" y="74672"/>
                    </a:lnTo>
                    <a:lnTo>
                      <a:pt x="1235" y="70968"/>
                    </a:lnTo>
                    <a:lnTo>
                      <a:pt x="4995" y="68470"/>
                    </a:lnTo>
                    <a:lnTo>
                      <a:pt x="11444" y="79502"/>
                    </a:lnTo>
                    <a:lnTo>
                      <a:pt x="16356" y="78816"/>
                    </a:lnTo>
                    <a:lnTo>
                      <a:pt x="19018" y="75743"/>
                    </a:lnTo>
                    <a:lnTo>
                      <a:pt x="16136" y="62570"/>
                    </a:lnTo>
                    <a:lnTo>
                      <a:pt x="19869" y="50770"/>
                    </a:lnTo>
                    <a:lnTo>
                      <a:pt x="20088" y="37789"/>
                    </a:lnTo>
                    <a:lnTo>
                      <a:pt x="16987" y="32520"/>
                    </a:lnTo>
                    <a:lnTo>
                      <a:pt x="24205" y="9660"/>
                    </a:lnTo>
                    <a:lnTo>
                      <a:pt x="24205" y="41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54" name="Freeform: Shape 4753">
                <a:extLst>
                  <a:ext uri="{FF2B5EF4-FFF2-40B4-BE49-F238E27FC236}">
                    <a16:creationId xmlns:a16="http://schemas.microsoft.com/office/drawing/2014/main" id="{7DECF22E-106E-F0C0-11E1-B7E366974AA9}"/>
                  </a:ext>
                </a:extLst>
              </p:cNvPr>
              <p:cNvSpPr/>
              <p:nvPr/>
            </p:nvSpPr>
            <p:spPr>
              <a:xfrm>
                <a:off x="1739415" y="3814268"/>
                <a:ext cx="14240" cy="13015"/>
              </a:xfrm>
              <a:custGeom>
                <a:avLst/>
                <a:gdLst>
                  <a:gd name="connsiteX0" fmla="*/ 109003 w 136528"/>
                  <a:gd name="connsiteY0" fmla="*/ 4473 h 124783"/>
                  <a:gd name="connsiteX1" fmla="*/ 112242 w 136528"/>
                  <a:gd name="connsiteY1" fmla="*/ 6531 h 124783"/>
                  <a:gd name="connsiteX2" fmla="*/ 116660 w 136528"/>
                  <a:gd name="connsiteY2" fmla="*/ 8425 h 124783"/>
                  <a:gd name="connsiteX3" fmla="*/ 120914 w 136528"/>
                  <a:gd name="connsiteY3" fmla="*/ 15753 h 124783"/>
                  <a:gd name="connsiteX4" fmla="*/ 125579 w 136528"/>
                  <a:gd name="connsiteY4" fmla="*/ 15286 h 124783"/>
                  <a:gd name="connsiteX5" fmla="*/ 124975 w 136528"/>
                  <a:gd name="connsiteY5" fmla="*/ 20500 h 124783"/>
                  <a:gd name="connsiteX6" fmla="*/ 129393 w 136528"/>
                  <a:gd name="connsiteY6" fmla="*/ 27580 h 124783"/>
                  <a:gd name="connsiteX7" fmla="*/ 123329 w 136528"/>
                  <a:gd name="connsiteY7" fmla="*/ 35402 h 124783"/>
                  <a:gd name="connsiteX8" fmla="*/ 124289 w 136528"/>
                  <a:gd name="connsiteY8" fmla="*/ 36801 h 124783"/>
                  <a:gd name="connsiteX9" fmla="*/ 130875 w 136528"/>
                  <a:gd name="connsiteY9" fmla="*/ 39628 h 124783"/>
                  <a:gd name="connsiteX10" fmla="*/ 130107 w 136528"/>
                  <a:gd name="connsiteY10" fmla="*/ 46077 h 124783"/>
                  <a:gd name="connsiteX11" fmla="*/ 132522 w 136528"/>
                  <a:gd name="connsiteY11" fmla="*/ 49562 h 124783"/>
                  <a:gd name="connsiteX12" fmla="*/ 131342 w 136528"/>
                  <a:gd name="connsiteY12" fmla="*/ 56697 h 124783"/>
                  <a:gd name="connsiteX13" fmla="*/ 136063 w 136528"/>
                  <a:gd name="connsiteY13" fmla="*/ 62844 h 124783"/>
                  <a:gd name="connsiteX14" fmla="*/ 136529 w 136528"/>
                  <a:gd name="connsiteY14" fmla="*/ 75825 h 124783"/>
                  <a:gd name="connsiteX15" fmla="*/ 132687 w 136528"/>
                  <a:gd name="connsiteY15" fmla="*/ 82439 h 124783"/>
                  <a:gd name="connsiteX16" fmla="*/ 126073 w 136528"/>
                  <a:gd name="connsiteY16" fmla="*/ 85705 h 124783"/>
                  <a:gd name="connsiteX17" fmla="*/ 126814 w 136528"/>
                  <a:gd name="connsiteY17" fmla="*/ 91523 h 124783"/>
                  <a:gd name="connsiteX18" fmla="*/ 124893 w 136528"/>
                  <a:gd name="connsiteY18" fmla="*/ 99399 h 124783"/>
                  <a:gd name="connsiteX19" fmla="*/ 122725 w 136528"/>
                  <a:gd name="connsiteY19" fmla="*/ 96984 h 124783"/>
                  <a:gd name="connsiteX20" fmla="*/ 121655 w 136528"/>
                  <a:gd name="connsiteY20" fmla="*/ 88284 h 124783"/>
                  <a:gd name="connsiteX21" fmla="*/ 115206 w 136528"/>
                  <a:gd name="connsiteY21" fmla="*/ 74069 h 124783"/>
                  <a:gd name="connsiteX22" fmla="*/ 110595 w 136528"/>
                  <a:gd name="connsiteY22" fmla="*/ 75825 h 124783"/>
                  <a:gd name="connsiteX23" fmla="*/ 113175 w 136528"/>
                  <a:gd name="connsiteY23" fmla="*/ 80189 h 124783"/>
                  <a:gd name="connsiteX24" fmla="*/ 113010 w 136528"/>
                  <a:gd name="connsiteY24" fmla="*/ 83811 h 124783"/>
                  <a:gd name="connsiteX25" fmla="*/ 111034 w 136528"/>
                  <a:gd name="connsiteY25" fmla="*/ 84497 h 124783"/>
                  <a:gd name="connsiteX26" fmla="*/ 109744 w 136528"/>
                  <a:gd name="connsiteY26" fmla="*/ 81314 h 124783"/>
                  <a:gd name="connsiteX27" fmla="*/ 106973 w 136528"/>
                  <a:gd name="connsiteY27" fmla="*/ 82000 h 124783"/>
                  <a:gd name="connsiteX28" fmla="*/ 101895 w 136528"/>
                  <a:gd name="connsiteY28" fmla="*/ 91248 h 124783"/>
                  <a:gd name="connsiteX29" fmla="*/ 107220 w 136528"/>
                  <a:gd name="connsiteY29" fmla="*/ 98685 h 124783"/>
                  <a:gd name="connsiteX30" fmla="*/ 110788 w 136528"/>
                  <a:gd name="connsiteY30" fmla="*/ 110705 h 124783"/>
                  <a:gd name="connsiteX31" fmla="*/ 108592 w 136528"/>
                  <a:gd name="connsiteY31" fmla="*/ 116221 h 124783"/>
                  <a:gd name="connsiteX32" fmla="*/ 101018 w 136528"/>
                  <a:gd name="connsiteY32" fmla="*/ 124783 h 124783"/>
                  <a:gd name="connsiteX33" fmla="*/ 96544 w 136528"/>
                  <a:gd name="connsiteY33" fmla="*/ 119350 h 124783"/>
                  <a:gd name="connsiteX34" fmla="*/ 98246 w 136528"/>
                  <a:gd name="connsiteY34" fmla="*/ 113312 h 124783"/>
                  <a:gd name="connsiteX35" fmla="*/ 97093 w 136528"/>
                  <a:gd name="connsiteY35" fmla="*/ 110431 h 124783"/>
                  <a:gd name="connsiteX36" fmla="*/ 89738 w 136528"/>
                  <a:gd name="connsiteY36" fmla="*/ 116029 h 124783"/>
                  <a:gd name="connsiteX37" fmla="*/ 69760 w 136528"/>
                  <a:gd name="connsiteY37" fmla="*/ 108208 h 124783"/>
                  <a:gd name="connsiteX38" fmla="*/ 64025 w 136528"/>
                  <a:gd name="connsiteY38" fmla="*/ 102664 h 124783"/>
                  <a:gd name="connsiteX39" fmla="*/ 60375 w 136528"/>
                  <a:gd name="connsiteY39" fmla="*/ 85211 h 124783"/>
                  <a:gd name="connsiteX40" fmla="*/ 67318 w 136528"/>
                  <a:gd name="connsiteY40" fmla="*/ 71187 h 124783"/>
                  <a:gd name="connsiteX41" fmla="*/ 60813 w 136528"/>
                  <a:gd name="connsiteY41" fmla="*/ 63942 h 124783"/>
                  <a:gd name="connsiteX42" fmla="*/ 49287 w 136528"/>
                  <a:gd name="connsiteY42" fmla="*/ 58728 h 124783"/>
                  <a:gd name="connsiteX43" fmla="*/ 45006 w 136528"/>
                  <a:gd name="connsiteY43" fmla="*/ 59771 h 124783"/>
                  <a:gd name="connsiteX44" fmla="*/ 43195 w 136528"/>
                  <a:gd name="connsiteY44" fmla="*/ 70830 h 124783"/>
                  <a:gd name="connsiteX45" fmla="*/ 36307 w 136528"/>
                  <a:gd name="connsiteY45" fmla="*/ 67290 h 124783"/>
                  <a:gd name="connsiteX46" fmla="*/ 34935 w 136528"/>
                  <a:gd name="connsiteY46" fmla="*/ 62598 h 124783"/>
                  <a:gd name="connsiteX47" fmla="*/ 31203 w 136528"/>
                  <a:gd name="connsiteY47" fmla="*/ 67976 h 124783"/>
                  <a:gd name="connsiteX48" fmla="*/ 27773 w 136528"/>
                  <a:gd name="connsiteY48" fmla="*/ 68745 h 124783"/>
                  <a:gd name="connsiteX49" fmla="*/ 25110 w 136528"/>
                  <a:gd name="connsiteY49" fmla="*/ 61280 h 124783"/>
                  <a:gd name="connsiteX50" fmla="*/ 18963 w 136528"/>
                  <a:gd name="connsiteY50" fmla="*/ 61527 h 124783"/>
                  <a:gd name="connsiteX51" fmla="*/ 12980 w 136528"/>
                  <a:gd name="connsiteY51" fmla="*/ 69678 h 124783"/>
                  <a:gd name="connsiteX52" fmla="*/ 7767 w 136528"/>
                  <a:gd name="connsiteY52" fmla="*/ 82466 h 124783"/>
                  <a:gd name="connsiteX53" fmla="*/ 8233 w 136528"/>
                  <a:gd name="connsiteY53" fmla="*/ 83180 h 124783"/>
                  <a:gd name="connsiteX54" fmla="*/ 10566 w 136528"/>
                  <a:gd name="connsiteY54" fmla="*/ 81753 h 124783"/>
                  <a:gd name="connsiteX55" fmla="*/ 11608 w 136528"/>
                  <a:gd name="connsiteY55" fmla="*/ 83619 h 124783"/>
                  <a:gd name="connsiteX56" fmla="*/ 10236 w 136528"/>
                  <a:gd name="connsiteY56" fmla="*/ 85567 h 124783"/>
                  <a:gd name="connsiteX57" fmla="*/ 7409 w 136528"/>
                  <a:gd name="connsiteY57" fmla="*/ 83619 h 124783"/>
                  <a:gd name="connsiteX58" fmla="*/ 6586 w 136528"/>
                  <a:gd name="connsiteY58" fmla="*/ 85375 h 124783"/>
                  <a:gd name="connsiteX59" fmla="*/ 1893 w 136528"/>
                  <a:gd name="connsiteY59" fmla="*/ 84470 h 124783"/>
                  <a:gd name="connsiteX60" fmla="*/ 0 w 136528"/>
                  <a:gd name="connsiteY60" fmla="*/ 78734 h 124783"/>
                  <a:gd name="connsiteX61" fmla="*/ 3375 w 136528"/>
                  <a:gd name="connsiteY61" fmla="*/ 73136 h 124783"/>
                  <a:gd name="connsiteX62" fmla="*/ 7409 w 136528"/>
                  <a:gd name="connsiteY62" fmla="*/ 57493 h 124783"/>
                  <a:gd name="connsiteX63" fmla="*/ 12733 w 136528"/>
                  <a:gd name="connsiteY63" fmla="*/ 52471 h 124783"/>
                  <a:gd name="connsiteX64" fmla="*/ 29309 w 136528"/>
                  <a:gd name="connsiteY64" fmla="*/ 48163 h 124783"/>
                  <a:gd name="connsiteX65" fmla="*/ 33069 w 136528"/>
                  <a:gd name="connsiteY65" fmla="*/ 39244 h 124783"/>
                  <a:gd name="connsiteX66" fmla="*/ 40671 w 136528"/>
                  <a:gd name="connsiteY66" fmla="*/ 36801 h 124783"/>
                  <a:gd name="connsiteX67" fmla="*/ 44348 w 136528"/>
                  <a:gd name="connsiteY67" fmla="*/ 32493 h 124783"/>
                  <a:gd name="connsiteX68" fmla="*/ 51758 w 136528"/>
                  <a:gd name="connsiteY68" fmla="*/ 34660 h 124783"/>
                  <a:gd name="connsiteX69" fmla="*/ 56093 w 136528"/>
                  <a:gd name="connsiteY69" fmla="*/ 40396 h 124783"/>
                  <a:gd name="connsiteX70" fmla="*/ 57246 w 136528"/>
                  <a:gd name="connsiteY70" fmla="*/ 49809 h 124783"/>
                  <a:gd name="connsiteX71" fmla="*/ 67208 w 136528"/>
                  <a:gd name="connsiteY71" fmla="*/ 46763 h 124783"/>
                  <a:gd name="connsiteX72" fmla="*/ 70282 w 136528"/>
                  <a:gd name="connsiteY72" fmla="*/ 37954 h 124783"/>
                  <a:gd name="connsiteX73" fmla="*/ 72779 w 136528"/>
                  <a:gd name="connsiteY73" fmla="*/ 35731 h 124783"/>
                  <a:gd name="connsiteX74" fmla="*/ 81560 w 136528"/>
                  <a:gd name="connsiteY74" fmla="*/ 38585 h 124783"/>
                  <a:gd name="connsiteX75" fmla="*/ 83290 w 136528"/>
                  <a:gd name="connsiteY75" fmla="*/ 36774 h 124783"/>
                  <a:gd name="connsiteX76" fmla="*/ 84963 w 136528"/>
                  <a:gd name="connsiteY76" fmla="*/ 23793 h 124783"/>
                  <a:gd name="connsiteX77" fmla="*/ 87735 w 136528"/>
                  <a:gd name="connsiteY77" fmla="*/ 23848 h 124783"/>
                  <a:gd name="connsiteX78" fmla="*/ 93910 w 136528"/>
                  <a:gd name="connsiteY78" fmla="*/ 28321 h 124783"/>
                  <a:gd name="connsiteX79" fmla="*/ 96764 w 136528"/>
                  <a:gd name="connsiteY79" fmla="*/ 21680 h 124783"/>
                  <a:gd name="connsiteX80" fmla="*/ 100743 w 136528"/>
                  <a:gd name="connsiteY80" fmla="*/ 23985 h 124783"/>
                  <a:gd name="connsiteX81" fmla="*/ 105408 w 136528"/>
                  <a:gd name="connsiteY81" fmla="*/ 22860 h 124783"/>
                  <a:gd name="connsiteX82" fmla="*/ 105875 w 136528"/>
                  <a:gd name="connsiteY82" fmla="*/ 17427 h 124783"/>
                  <a:gd name="connsiteX83" fmla="*/ 102691 w 136528"/>
                  <a:gd name="connsiteY83" fmla="*/ 6477 h 124783"/>
                  <a:gd name="connsiteX84" fmla="*/ 102253 w 136528"/>
                  <a:gd name="connsiteY84" fmla="*/ 1647 h 124783"/>
                  <a:gd name="connsiteX85" fmla="*/ 104173 w 136528"/>
                  <a:gd name="connsiteY85" fmla="*/ 0 h 124783"/>
                  <a:gd name="connsiteX86" fmla="*/ 109470 w 136528"/>
                  <a:gd name="connsiteY86" fmla="*/ 522 h 124783"/>
                  <a:gd name="connsiteX87" fmla="*/ 109031 w 136528"/>
                  <a:gd name="connsiteY87" fmla="*/ 4419 h 12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36528" h="124783">
                    <a:moveTo>
                      <a:pt x="109003" y="4473"/>
                    </a:moveTo>
                    <a:lnTo>
                      <a:pt x="112242" y="6531"/>
                    </a:lnTo>
                    <a:lnTo>
                      <a:pt x="116660" y="8425"/>
                    </a:lnTo>
                    <a:lnTo>
                      <a:pt x="120914" y="15753"/>
                    </a:lnTo>
                    <a:lnTo>
                      <a:pt x="125579" y="15286"/>
                    </a:lnTo>
                    <a:lnTo>
                      <a:pt x="124975" y="20500"/>
                    </a:lnTo>
                    <a:lnTo>
                      <a:pt x="129393" y="27580"/>
                    </a:lnTo>
                    <a:lnTo>
                      <a:pt x="123329" y="35402"/>
                    </a:lnTo>
                    <a:lnTo>
                      <a:pt x="124289" y="36801"/>
                    </a:lnTo>
                    <a:lnTo>
                      <a:pt x="130875" y="39628"/>
                    </a:lnTo>
                    <a:lnTo>
                      <a:pt x="130107" y="46077"/>
                    </a:lnTo>
                    <a:lnTo>
                      <a:pt x="132522" y="49562"/>
                    </a:lnTo>
                    <a:lnTo>
                      <a:pt x="131342" y="56697"/>
                    </a:lnTo>
                    <a:lnTo>
                      <a:pt x="136063" y="62844"/>
                    </a:lnTo>
                    <a:lnTo>
                      <a:pt x="136529" y="75825"/>
                    </a:lnTo>
                    <a:lnTo>
                      <a:pt x="132687" y="82439"/>
                    </a:lnTo>
                    <a:lnTo>
                      <a:pt x="126073" y="85705"/>
                    </a:lnTo>
                    <a:lnTo>
                      <a:pt x="126814" y="91523"/>
                    </a:lnTo>
                    <a:lnTo>
                      <a:pt x="124893" y="99399"/>
                    </a:lnTo>
                    <a:lnTo>
                      <a:pt x="122725" y="96984"/>
                    </a:lnTo>
                    <a:lnTo>
                      <a:pt x="121655" y="88284"/>
                    </a:lnTo>
                    <a:lnTo>
                      <a:pt x="115206" y="74069"/>
                    </a:lnTo>
                    <a:lnTo>
                      <a:pt x="110595" y="75825"/>
                    </a:lnTo>
                    <a:lnTo>
                      <a:pt x="113175" y="80189"/>
                    </a:lnTo>
                    <a:lnTo>
                      <a:pt x="113010" y="83811"/>
                    </a:lnTo>
                    <a:lnTo>
                      <a:pt x="111034" y="84497"/>
                    </a:lnTo>
                    <a:lnTo>
                      <a:pt x="109744" y="81314"/>
                    </a:lnTo>
                    <a:lnTo>
                      <a:pt x="106973" y="82000"/>
                    </a:lnTo>
                    <a:lnTo>
                      <a:pt x="101895" y="91248"/>
                    </a:lnTo>
                    <a:lnTo>
                      <a:pt x="107220" y="98685"/>
                    </a:lnTo>
                    <a:lnTo>
                      <a:pt x="110788" y="110705"/>
                    </a:lnTo>
                    <a:lnTo>
                      <a:pt x="108592" y="116221"/>
                    </a:lnTo>
                    <a:lnTo>
                      <a:pt x="101018" y="124783"/>
                    </a:lnTo>
                    <a:lnTo>
                      <a:pt x="96544" y="119350"/>
                    </a:lnTo>
                    <a:lnTo>
                      <a:pt x="98246" y="113312"/>
                    </a:lnTo>
                    <a:lnTo>
                      <a:pt x="97093" y="110431"/>
                    </a:lnTo>
                    <a:lnTo>
                      <a:pt x="89738" y="116029"/>
                    </a:lnTo>
                    <a:lnTo>
                      <a:pt x="69760" y="108208"/>
                    </a:lnTo>
                    <a:lnTo>
                      <a:pt x="64025" y="102664"/>
                    </a:lnTo>
                    <a:lnTo>
                      <a:pt x="60375" y="85211"/>
                    </a:lnTo>
                    <a:lnTo>
                      <a:pt x="67318" y="71187"/>
                    </a:lnTo>
                    <a:lnTo>
                      <a:pt x="60813" y="63942"/>
                    </a:lnTo>
                    <a:lnTo>
                      <a:pt x="49287" y="58728"/>
                    </a:lnTo>
                    <a:lnTo>
                      <a:pt x="45006" y="59771"/>
                    </a:lnTo>
                    <a:lnTo>
                      <a:pt x="43195" y="70830"/>
                    </a:lnTo>
                    <a:lnTo>
                      <a:pt x="36307" y="67290"/>
                    </a:lnTo>
                    <a:lnTo>
                      <a:pt x="34935" y="62598"/>
                    </a:lnTo>
                    <a:lnTo>
                      <a:pt x="31203" y="67976"/>
                    </a:lnTo>
                    <a:lnTo>
                      <a:pt x="27773" y="68745"/>
                    </a:lnTo>
                    <a:lnTo>
                      <a:pt x="25110" y="61280"/>
                    </a:lnTo>
                    <a:lnTo>
                      <a:pt x="18963" y="61527"/>
                    </a:lnTo>
                    <a:lnTo>
                      <a:pt x="12980" y="69678"/>
                    </a:lnTo>
                    <a:lnTo>
                      <a:pt x="7767" y="82466"/>
                    </a:lnTo>
                    <a:lnTo>
                      <a:pt x="8233" y="83180"/>
                    </a:lnTo>
                    <a:lnTo>
                      <a:pt x="10566" y="81753"/>
                    </a:lnTo>
                    <a:lnTo>
                      <a:pt x="11608" y="83619"/>
                    </a:lnTo>
                    <a:lnTo>
                      <a:pt x="10236" y="85567"/>
                    </a:lnTo>
                    <a:lnTo>
                      <a:pt x="7409" y="83619"/>
                    </a:lnTo>
                    <a:lnTo>
                      <a:pt x="6586" y="85375"/>
                    </a:lnTo>
                    <a:lnTo>
                      <a:pt x="1893" y="84470"/>
                    </a:lnTo>
                    <a:lnTo>
                      <a:pt x="0" y="78734"/>
                    </a:lnTo>
                    <a:lnTo>
                      <a:pt x="3375" y="73136"/>
                    </a:lnTo>
                    <a:lnTo>
                      <a:pt x="7409" y="57493"/>
                    </a:lnTo>
                    <a:lnTo>
                      <a:pt x="12733" y="52471"/>
                    </a:lnTo>
                    <a:lnTo>
                      <a:pt x="29309" y="48163"/>
                    </a:lnTo>
                    <a:lnTo>
                      <a:pt x="33069" y="39244"/>
                    </a:lnTo>
                    <a:lnTo>
                      <a:pt x="40671" y="36801"/>
                    </a:lnTo>
                    <a:lnTo>
                      <a:pt x="44348" y="32493"/>
                    </a:lnTo>
                    <a:lnTo>
                      <a:pt x="51758" y="34660"/>
                    </a:lnTo>
                    <a:lnTo>
                      <a:pt x="56093" y="40396"/>
                    </a:lnTo>
                    <a:lnTo>
                      <a:pt x="57246" y="49809"/>
                    </a:lnTo>
                    <a:lnTo>
                      <a:pt x="67208" y="46763"/>
                    </a:lnTo>
                    <a:lnTo>
                      <a:pt x="70282" y="37954"/>
                    </a:lnTo>
                    <a:lnTo>
                      <a:pt x="72779" y="35731"/>
                    </a:lnTo>
                    <a:lnTo>
                      <a:pt x="81560" y="38585"/>
                    </a:lnTo>
                    <a:lnTo>
                      <a:pt x="83290" y="36774"/>
                    </a:lnTo>
                    <a:lnTo>
                      <a:pt x="84963" y="23793"/>
                    </a:lnTo>
                    <a:lnTo>
                      <a:pt x="87735" y="23848"/>
                    </a:lnTo>
                    <a:lnTo>
                      <a:pt x="93910" y="28321"/>
                    </a:lnTo>
                    <a:lnTo>
                      <a:pt x="96764" y="21680"/>
                    </a:lnTo>
                    <a:lnTo>
                      <a:pt x="100743" y="23985"/>
                    </a:lnTo>
                    <a:lnTo>
                      <a:pt x="105408" y="22860"/>
                    </a:lnTo>
                    <a:lnTo>
                      <a:pt x="105875" y="17427"/>
                    </a:lnTo>
                    <a:lnTo>
                      <a:pt x="102691" y="6477"/>
                    </a:lnTo>
                    <a:lnTo>
                      <a:pt x="102253" y="1647"/>
                    </a:lnTo>
                    <a:lnTo>
                      <a:pt x="104173" y="0"/>
                    </a:lnTo>
                    <a:lnTo>
                      <a:pt x="109470" y="522"/>
                    </a:lnTo>
                    <a:lnTo>
                      <a:pt x="109031" y="44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55" name="Freeform: Shape 4754">
                <a:extLst>
                  <a:ext uri="{FF2B5EF4-FFF2-40B4-BE49-F238E27FC236}">
                    <a16:creationId xmlns:a16="http://schemas.microsoft.com/office/drawing/2014/main" id="{7BEED6FC-40CE-8476-79C2-F5D24DE26805}"/>
                  </a:ext>
                </a:extLst>
              </p:cNvPr>
              <p:cNvSpPr/>
              <p:nvPr/>
            </p:nvSpPr>
            <p:spPr>
              <a:xfrm>
                <a:off x="1724875" y="3809445"/>
                <a:ext cx="7519" cy="9746"/>
              </a:xfrm>
              <a:custGeom>
                <a:avLst/>
                <a:gdLst>
                  <a:gd name="connsiteX0" fmla="*/ 68443 w 72092"/>
                  <a:gd name="connsiteY0" fmla="*/ 12679 h 93443"/>
                  <a:gd name="connsiteX1" fmla="*/ 71078 w 72092"/>
                  <a:gd name="connsiteY1" fmla="*/ 18195 h 93443"/>
                  <a:gd name="connsiteX2" fmla="*/ 72093 w 72092"/>
                  <a:gd name="connsiteY2" fmla="*/ 26181 h 93443"/>
                  <a:gd name="connsiteX3" fmla="*/ 62872 w 72092"/>
                  <a:gd name="connsiteY3" fmla="*/ 31395 h 93443"/>
                  <a:gd name="connsiteX4" fmla="*/ 59222 w 72092"/>
                  <a:gd name="connsiteY4" fmla="*/ 37185 h 93443"/>
                  <a:gd name="connsiteX5" fmla="*/ 47174 w 72092"/>
                  <a:gd name="connsiteY5" fmla="*/ 42674 h 93443"/>
                  <a:gd name="connsiteX6" fmla="*/ 43607 w 72092"/>
                  <a:gd name="connsiteY6" fmla="*/ 52910 h 93443"/>
                  <a:gd name="connsiteX7" fmla="*/ 35676 w 72092"/>
                  <a:gd name="connsiteY7" fmla="*/ 62433 h 93443"/>
                  <a:gd name="connsiteX8" fmla="*/ 28019 w 72092"/>
                  <a:gd name="connsiteY8" fmla="*/ 66330 h 93443"/>
                  <a:gd name="connsiteX9" fmla="*/ 22888 w 72092"/>
                  <a:gd name="connsiteY9" fmla="*/ 73822 h 93443"/>
                  <a:gd name="connsiteX10" fmla="*/ 9687 w 72092"/>
                  <a:gd name="connsiteY10" fmla="*/ 83042 h 93443"/>
                  <a:gd name="connsiteX11" fmla="*/ 9056 w 72092"/>
                  <a:gd name="connsiteY11" fmla="*/ 84113 h 93443"/>
                  <a:gd name="connsiteX12" fmla="*/ 2579 w 72092"/>
                  <a:gd name="connsiteY12" fmla="*/ 87488 h 93443"/>
                  <a:gd name="connsiteX13" fmla="*/ 1948 w 72092"/>
                  <a:gd name="connsiteY13" fmla="*/ 89848 h 93443"/>
                  <a:gd name="connsiteX14" fmla="*/ 4665 w 72092"/>
                  <a:gd name="connsiteY14" fmla="*/ 91687 h 93443"/>
                  <a:gd name="connsiteX15" fmla="*/ 3184 w 72092"/>
                  <a:gd name="connsiteY15" fmla="*/ 93443 h 93443"/>
                  <a:gd name="connsiteX16" fmla="*/ 0 w 72092"/>
                  <a:gd name="connsiteY16" fmla="*/ 88394 h 93443"/>
                  <a:gd name="connsiteX17" fmla="*/ 2251 w 72092"/>
                  <a:gd name="connsiteY17" fmla="*/ 83042 h 93443"/>
                  <a:gd name="connsiteX18" fmla="*/ 4501 w 72092"/>
                  <a:gd name="connsiteY18" fmla="*/ 78679 h 93443"/>
                  <a:gd name="connsiteX19" fmla="*/ 17509 w 72092"/>
                  <a:gd name="connsiteY19" fmla="*/ 65150 h 93443"/>
                  <a:gd name="connsiteX20" fmla="*/ 26757 w 72092"/>
                  <a:gd name="connsiteY20" fmla="*/ 59634 h 93443"/>
                  <a:gd name="connsiteX21" fmla="*/ 53926 w 72092"/>
                  <a:gd name="connsiteY21" fmla="*/ 28431 h 93443"/>
                  <a:gd name="connsiteX22" fmla="*/ 60896 w 72092"/>
                  <a:gd name="connsiteY22" fmla="*/ 24122 h 93443"/>
                  <a:gd name="connsiteX23" fmla="*/ 62680 w 72092"/>
                  <a:gd name="connsiteY23" fmla="*/ 19375 h 93443"/>
                  <a:gd name="connsiteX24" fmla="*/ 60677 w 72092"/>
                  <a:gd name="connsiteY24" fmla="*/ 14819 h 93443"/>
                  <a:gd name="connsiteX25" fmla="*/ 61390 w 72092"/>
                  <a:gd name="connsiteY25" fmla="*/ 14133 h 93443"/>
                  <a:gd name="connsiteX26" fmla="*/ 64025 w 72092"/>
                  <a:gd name="connsiteY26" fmla="*/ 15505 h 93443"/>
                  <a:gd name="connsiteX27" fmla="*/ 63558 w 72092"/>
                  <a:gd name="connsiteY27" fmla="*/ 12761 h 93443"/>
                  <a:gd name="connsiteX28" fmla="*/ 65671 w 72092"/>
                  <a:gd name="connsiteY28" fmla="*/ 2003 h 93443"/>
                  <a:gd name="connsiteX29" fmla="*/ 68169 w 72092"/>
                  <a:gd name="connsiteY29" fmla="*/ 0 h 93443"/>
                  <a:gd name="connsiteX30" fmla="*/ 70392 w 72092"/>
                  <a:gd name="connsiteY30" fmla="*/ 8782 h 93443"/>
                  <a:gd name="connsiteX31" fmla="*/ 68443 w 72092"/>
                  <a:gd name="connsiteY31" fmla="*/ 12706 h 9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2092" h="93443">
                    <a:moveTo>
                      <a:pt x="68443" y="12679"/>
                    </a:moveTo>
                    <a:lnTo>
                      <a:pt x="71078" y="18195"/>
                    </a:lnTo>
                    <a:lnTo>
                      <a:pt x="72093" y="26181"/>
                    </a:lnTo>
                    <a:lnTo>
                      <a:pt x="62872" y="31395"/>
                    </a:lnTo>
                    <a:lnTo>
                      <a:pt x="59222" y="37185"/>
                    </a:lnTo>
                    <a:lnTo>
                      <a:pt x="47174" y="42674"/>
                    </a:lnTo>
                    <a:lnTo>
                      <a:pt x="43607" y="52910"/>
                    </a:lnTo>
                    <a:lnTo>
                      <a:pt x="35676" y="62433"/>
                    </a:lnTo>
                    <a:lnTo>
                      <a:pt x="28019" y="66330"/>
                    </a:lnTo>
                    <a:lnTo>
                      <a:pt x="22888" y="73822"/>
                    </a:lnTo>
                    <a:lnTo>
                      <a:pt x="9687" y="83042"/>
                    </a:lnTo>
                    <a:lnTo>
                      <a:pt x="9056" y="84113"/>
                    </a:lnTo>
                    <a:lnTo>
                      <a:pt x="2579" y="87488"/>
                    </a:lnTo>
                    <a:lnTo>
                      <a:pt x="1948" y="89848"/>
                    </a:lnTo>
                    <a:lnTo>
                      <a:pt x="4665" y="91687"/>
                    </a:lnTo>
                    <a:lnTo>
                      <a:pt x="3184" y="93443"/>
                    </a:lnTo>
                    <a:lnTo>
                      <a:pt x="0" y="88394"/>
                    </a:lnTo>
                    <a:lnTo>
                      <a:pt x="2251" y="83042"/>
                    </a:lnTo>
                    <a:lnTo>
                      <a:pt x="4501" y="78679"/>
                    </a:lnTo>
                    <a:lnTo>
                      <a:pt x="17509" y="65150"/>
                    </a:lnTo>
                    <a:lnTo>
                      <a:pt x="26757" y="59634"/>
                    </a:lnTo>
                    <a:lnTo>
                      <a:pt x="53926" y="28431"/>
                    </a:lnTo>
                    <a:lnTo>
                      <a:pt x="60896" y="24122"/>
                    </a:lnTo>
                    <a:lnTo>
                      <a:pt x="62680" y="19375"/>
                    </a:lnTo>
                    <a:lnTo>
                      <a:pt x="60677" y="14819"/>
                    </a:lnTo>
                    <a:lnTo>
                      <a:pt x="61390" y="14133"/>
                    </a:lnTo>
                    <a:lnTo>
                      <a:pt x="64025" y="15505"/>
                    </a:lnTo>
                    <a:lnTo>
                      <a:pt x="63558" y="12761"/>
                    </a:lnTo>
                    <a:lnTo>
                      <a:pt x="65671" y="2003"/>
                    </a:lnTo>
                    <a:lnTo>
                      <a:pt x="68169" y="0"/>
                    </a:lnTo>
                    <a:lnTo>
                      <a:pt x="70392" y="8782"/>
                    </a:lnTo>
                    <a:lnTo>
                      <a:pt x="68443" y="127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56" name="Freeform: Shape 4755">
                <a:extLst>
                  <a:ext uri="{FF2B5EF4-FFF2-40B4-BE49-F238E27FC236}">
                    <a16:creationId xmlns:a16="http://schemas.microsoft.com/office/drawing/2014/main" id="{E3F0663C-0180-8CA9-A14A-F46C4463BB47}"/>
                  </a:ext>
                </a:extLst>
              </p:cNvPr>
              <p:cNvSpPr/>
              <p:nvPr/>
            </p:nvSpPr>
            <p:spPr>
              <a:xfrm>
                <a:off x="1746646" y="3805191"/>
                <a:ext cx="4099" cy="8335"/>
              </a:xfrm>
              <a:custGeom>
                <a:avLst/>
                <a:gdLst>
                  <a:gd name="connsiteX0" fmla="*/ 3705 w 39298"/>
                  <a:gd name="connsiteY0" fmla="*/ 3266 h 79913"/>
                  <a:gd name="connsiteX1" fmla="*/ 9139 w 39298"/>
                  <a:gd name="connsiteY1" fmla="*/ 5132 h 79913"/>
                  <a:gd name="connsiteX2" fmla="*/ 25467 w 39298"/>
                  <a:gd name="connsiteY2" fmla="*/ 3732 h 79913"/>
                  <a:gd name="connsiteX3" fmla="*/ 29885 w 39298"/>
                  <a:gd name="connsiteY3" fmla="*/ 7602 h 79913"/>
                  <a:gd name="connsiteX4" fmla="*/ 30846 w 39298"/>
                  <a:gd name="connsiteY4" fmla="*/ 11883 h 79913"/>
                  <a:gd name="connsiteX5" fmla="*/ 34633 w 39298"/>
                  <a:gd name="connsiteY5" fmla="*/ 13310 h 79913"/>
                  <a:gd name="connsiteX6" fmla="*/ 34743 w 39298"/>
                  <a:gd name="connsiteY6" fmla="*/ 33178 h 79913"/>
                  <a:gd name="connsiteX7" fmla="*/ 39051 w 39298"/>
                  <a:gd name="connsiteY7" fmla="*/ 40533 h 79913"/>
                  <a:gd name="connsiteX8" fmla="*/ 37350 w 39298"/>
                  <a:gd name="connsiteY8" fmla="*/ 44403 h 79913"/>
                  <a:gd name="connsiteX9" fmla="*/ 39299 w 39298"/>
                  <a:gd name="connsiteY9" fmla="*/ 46543 h 79913"/>
                  <a:gd name="connsiteX10" fmla="*/ 32959 w 39298"/>
                  <a:gd name="connsiteY10" fmla="*/ 47943 h 79913"/>
                  <a:gd name="connsiteX11" fmla="*/ 27608 w 39298"/>
                  <a:gd name="connsiteY11" fmla="*/ 47175 h 79913"/>
                  <a:gd name="connsiteX12" fmla="*/ 25247 w 39298"/>
                  <a:gd name="connsiteY12" fmla="*/ 43195 h 79913"/>
                  <a:gd name="connsiteX13" fmla="*/ 22229 w 39298"/>
                  <a:gd name="connsiteY13" fmla="*/ 43086 h 79913"/>
                  <a:gd name="connsiteX14" fmla="*/ 21954 w 39298"/>
                  <a:gd name="connsiteY14" fmla="*/ 53102 h 79913"/>
                  <a:gd name="connsiteX15" fmla="*/ 21597 w 39298"/>
                  <a:gd name="connsiteY15" fmla="*/ 57548 h 79913"/>
                  <a:gd name="connsiteX16" fmla="*/ 25961 w 39298"/>
                  <a:gd name="connsiteY16" fmla="*/ 62762 h 79913"/>
                  <a:gd name="connsiteX17" fmla="*/ 28568 w 39298"/>
                  <a:gd name="connsiteY17" fmla="*/ 70693 h 79913"/>
                  <a:gd name="connsiteX18" fmla="*/ 28102 w 39298"/>
                  <a:gd name="connsiteY18" fmla="*/ 72532 h 79913"/>
                  <a:gd name="connsiteX19" fmla="*/ 23354 w 39298"/>
                  <a:gd name="connsiteY19" fmla="*/ 73739 h 79913"/>
                  <a:gd name="connsiteX20" fmla="*/ 21790 w 39298"/>
                  <a:gd name="connsiteY20" fmla="*/ 70089 h 79913"/>
                  <a:gd name="connsiteX21" fmla="*/ 20362 w 39298"/>
                  <a:gd name="connsiteY21" fmla="*/ 70089 h 79913"/>
                  <a:gd name="connsiteX22" fmla="*/ 21461 w 39298"/>
                  <a:gd name="connsiteY22" fmla="*/ 79914 h 79913"/>
                  <a:gd name="connsiteX23" fmla="*/ 14846 w 39298"/>
                  <a:gd name="connsiteY23" fmla="*/ 76127 h 79913"/>
                  <a:gd name="connsiteX24" fmla="*/ 13035 w 39298"/>
                  <a:gd name="connsiteY24" fmla="*/ 67373 h 79913"/>
                  <a:gd name="connsiteX25" fmla="*/ 15011 w 39298"/>
                  <a:gd name="connsiteY25" fmla="*/ 59716 h 79913"/>
                  <a:gd name="connsiteX26" fmla="*/ 11828 w 39298"/>
                  <a:gd name="connsiteY26" fmla="*/ 53075 h 79913"/>
                  <a:gd name="connsiteX27" fmla="*/ 9029 w 39298"/>
                  <a:gd name="connsiteY27" fmla="*/ 50660 h 79913"/>
                  <a:gd name="connsiteX28" fmla="*/ 6312 w 39298"/>
                  <a:gd name="connsiteY28" fmla="*/ 54941 h 79913"/>
                  <a:gd name="connsiteX29" fmla="*/ 2744 w 39298"/>
                  <a:gd name="connsiteY29" fmla="*/ 53239 h 79913"/>
                  <a:gd name="connsiteX30" fmla="*/ 3320 w 39298"/>
                  <a:gd name="connsiteY30" fmla="*/ 44485 h 79913"/>
                  <a:gd name="connsiteX31" fmla="*/ 411 w 39298"/>
                  <a:gd name="connsiteY31" fmla="*/ 36307 h 79913"/>
                  <a:gd name="connsiteX32" fmla="*/ 1262 w 39298"/>
                  <a:gd name="connsiteY32" fmla="*/ 34715 h 79913"/>
                  <a:gd name="connsiteX33" fmla="*/ 3568 w 39298"/>
                  <a:gd name="connsiteY33" fmla="*/ 36088 h 79913"/>
                  <a:gd name="connsiteX34" fmla="*/ 4007 w 39298"/>
                  <a:gd name="connsiteY34" fmla="*/ 35319 h 79913"/>
                  <a:gd name="connsiteX35" fmla="*/ 1866 w 39298"/>
                  <a:gd name="connsiteY35" fmla="*/ 30681 h 79913"/>
                  <a:gd name="connsiteX36" fmla="*/ 4583 w 39298"/>
                  <a:gd name="connsiteY36" fmla="*/ 29721 h 79913"/>
                  <a:gd name="connsiteX37" fmla="*/ 7081 w 39298"/>
                  <a:gd name="connsiteY37" fmla="*/ 30599 h 79913"/>
                  <a:gd name="connsiteX38" fmla="*/ 9029 w 39298"/>
                  <a:gd name="connsiteY38" fmla="*/ 32575 h 79913"/>
                  <a:gd name="connsiteX39" fmla="*/ 9468 w 39298"/>
                  <a:gd name="connsiteY39" fmla="*/ 36033 h 79913"/>
                  <a:gd name="connsiteX40" fmla="*/ 6394 w 39298"/>
                  <a:gd name="connsiteY40" fmla="*/ 37185 h 79913"/>
                  <a:gd name="connsiteX41" fmla="*/ 9029 w 39298"/>
                  <a:gd name="connsiteY41" fmla="*/ 41631 h 79913"/>
                  <a:gd name="connsiteX42" fmla="*/ 18442 w 39298"/>
                  <a:gd name="connsiteY42" fmla="*/ 37981 h 79913"/>
                  <a:gd name="connsiteX43" fmla="*/ 16466 w 39298"/>
                  <a:gd name="connsiteY43" fmla="*/ 35264 h 79913"/>
                  <a:gd name="connsiteX44" fmla="*/ 20280 w 39298"/>
                  <a:gd name="connsiteY44" fmla="*/ 31971 h 79913"/>
                  <a:gd name="connsiteX45" fmla="*/ 21516 w 39298"/>
                  <a:gd name="connsiteY45" fmla="*/ 28348 h 79913"/>
                  <a:gd name="connsiteX46" fmla="*/ 17673 w 39298"/>
                  <a:gd name="connsiteY46" fmla="*/ 27608 h 79913"/>
                  <a:gd name="connsiteX47" fmla="*/ 9029 w 39298"/>
                  <a:gd name="connsiteY47" fmla="*/ 19046 h 79913"/>
                  <a:gd name="connsiteX48" fmla="*/ 5708 w 39298"/>
                  <a:gd name="connsiteY48" fmla="*/ 17426 h 79913"/>
                  <a:gd name="connsiteX49" fmla="*/ 2168 w 39298"/>
                  <a:gd name="connsiteY49" fmla="*/ 12651 h 79913"/>
                  <a:gd name="connsiteX50" fmla="*/ 0 w 39298"/>
                  <a:gd name="connsiteY50" fmla="*/ 4501 h 79913"/>
                  <a:gd name="connsiteX51" fmla="*/ 2772 w 39298"/>
                  <a:gd name="connsiteY51" fmla="*/ 2607 h 79913"/>
                  <a:gd name="connsiteX52" fmla="*/ 1455 w 39298"/>
                  <a:gd name="connsiteY52" fmla="*/ 0 h 79913"/>
                  <a:gd name="connsiteX53" fmla="*/ 4254 w 39298"/>
                  <a:gd name="connsiteY53" fmla="*/ 0 h 79913"/>
                  <a:gd name="connsiteX54" fmla="*/ 4720 w 39298"/>
                  <a:gd name="connsiteY54" fmla="*/ 1674 h 79913"/>
                  <a:gd name="connsiteX55" fmla="*/ 3650 w 39298"/>
                  <a:gd name="connsiteY55" fmla="*/ 3266 h 7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9298" h="79913">
                    <a:moveTo>
                      <a:pt x="3705" y="3266"/>
                    </a:moveTo>
                    <a:lnTo>
                      <a:pt x="9139" y="5132"/>
                    </a:lnTo>
                    <a:lnTo>
                      <a:pt x="25467" y="3732"/>
                    </a:lnTo>
                    <a:lnTo>
                      <a:pt x="29885" y="7602"/>
                    </a:lnTo>
                    <a:lnTo>
                      <a:pt x="30846" y="11883"/>
                    </a:lnTo>
                    <a:lnTo>
                      <a:pt x="34633" y="13310"/>
                    </a:lnTo>
                    <a:lnTo>
                      <a:pt x="34743" y="33178"/>
                    </a:lnTo>
                    <a:lnTo>
                      <a:pt x="39051" y="40533"/>
                    </a:lnTo>
                    <a:lnTo>
                      <a:pt x="37350" y="44403"/>
                    </a:lnTo>
                    <a:lnTo>
                      <a:pt x="39299" y="46543"/>
                    </a:lnTo>
                    <a:lnTo>
                      <a:pt x="32959" y="47943"/>
                    </a:lnTo>
                    <a:lnTo>
                      <a:pt x="27608" y="47175"/>
                    </a:lnTo>
                    <a:lnTo>
                      <a:pt x="25247" y="43195"/>
                    </a:lnTo>
                    <a:lnTo>
                      <a:pt x="22229" y="43086"/>
                    </a:lnTo>
                    <a:lnTo>
                      <a:pt x="21954" y="53102"/>
                    </a:lnTo>
                    <a:lnTo>
                      <a:pt x="21597" y="57548"/>
                    </a:lnTo>
                    <a:lnTo>
                      <a:pt x="25961" y="62762"/>
                    </a:lnTo>
                    <a:lnTo>
                      <a:pt x="28568" y="70693"/>
                    </a:lnTo>
                    <a:lnTo>
                      <a:pt x="28102" y="72532"/>
                    </a:lnTo>
                    <a:lnTo>
                      <a:pt x="23354" y="73739"/>
                    </a:lnTo>
                    <a:lnTo>
                      <a:pt x="21790" y="70089"/>
                    </a:lnTo>
                    <a:lnTo>
                      <a:pt x="20362" y="70089"/>
                    </a:lnTo>
                    <a:cubicBezTo>
                      <a:pt x="20362" y="70089"/>
                      <a:pt x="21461" y="79914"/>
                      <a:pt x="21461" y="79914"/>
                    </a:cubicBezTo>
                    <a:lnTo>
                      <a:pt x="14846" y="76127"/>
                    </a:lnTo>
                    <a:lnTo>
                      <a:pt x="13035" y="67373"/>
                    </a:lnTo>
                    <a:lnTo>
                      <a:pt x="15011" y="59716"/>
                    </a:lnTo>
                    <a:lnTo>
                      <a:pt x="11828" y="53075"/>
                    </a:lnTo>
                    <a:lnTo>
                      <a:pt x="9029" y="50660"/>
                    </a:lnTo>
                    <a:lnTo>
                      <a:pt x="6312" y="54941"/>
                    </a:lnTo>
                    <a:lnTo>
                      <a:pt x="2744" y="53239"/>
                    </a:lnTo>
                    <a:lnTo>
                      <a:pt x="3320" y="44485"/>
                    </a:lnTo>
                    <a:lnTo>
                      <a:pt x="411" y="36307"/>
                    </a:lnTo>
                    <a:lnTo>
                      <a:pt x="1262" y="34715"/>
                    </a:lnTo>
                    <a:lnTo>
                      <a:pt x="3568" y="36088"/>
                    </a:lnTo>
                    <a:lnTo>
                      <a:pt x="4007" y="35319"/>
                    </a:lnTo>
                    <a:lnTo>
                      <a:pt x="1866" y="30681"/>
                    </a:lnTo>
                    <a:lnTo>
                      <a:pt x="4583" y="29721"/>
                    </a:lnTo>
                    <a:lnTo>
                      <a:pt x="7081" y="30599"/>
                    </a:lnTo>
                    <a:lnTo>
                      <a:pt x="9029" y="32575"/>
                    </a:lnTo>
                    <a:lnTo>
                      <a:pt x="9468" y="36033"/>
                    </a:lnTo>
                    <a:lnTo>
                      <a:pt x="6394" y="37185"/>
                    </a:lnTo>
                    <a:lnTo>
                      <a:pt x="9029" y="41631"/>
                    </a:lnTo>
                    <a:lnTo>
                      <a:pt x="18442" y="37981"/>
                    </a:lnTo>
                    <a:lnTo>
                      <a:pt x="16466" y="35264"/>
                    </a:lnTo>
                    <a:lnTo>
                      <a:pt x="20280" y="31971"/>
                    </a:lnTo>
                    <a:lnTo>
                      <a:pt x="21516" y="28348"/>
                    </a:lnTo>
                    <a:lnTo>
                      <a:pt x="17673" y="27608"/>
                    </a:lnTo>
                    <a:lnTo>
                      <a:pt x="9029" y="19046"/>
                    </a:lnTo>
                    <a:lnTo>
                      <a:pt x="5708" y="17426"/>
                    </a:lnTo>
                    <a:lnTo>
                      <a:pt x="2168" y="12651"/>
                    </a:lnTo>
                    <a:lnTo>
                      <a:pt x="0" y="4501"/>
                    </a:lnTo>
                    <a:lnTo>
                      <a:pt x="2772" y="2607"/>
                    </a:lnTo>
                    <a:lnTo>
                      <a:pt x="1455" y="0"/>
                    </a:lnTo>
                    <a:lnTo>
                      <a:pt x="4254" y="0"/>
                    </a:lnTo>
                    <a:cubicBezTo>
                      <a:pt x="4254" y="0"/>
                      <a:pt x="4720" y="1674"/>
                      <a:pt x="4720" y="1674"/>
                    </a:cubicBezTo>
                    <a:lnTo>
                      <a:pt x="3650"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57" name="Freeform: Shape 4756">
                <a:extLst>
                  <a:ext uri="{FF2B5EF4-FFF2-40B4-BE49-F238E27FC236}">
                    <a16:creationId xmlns:a16="http://schemas.microsoft.com/office/drawing/2014/main" id="{2F06BCFB-6F5C-51AC-52E1-47D873408B1B}"/>
                  </a:ext>
                </a:extLst>
              </p:cNvPr>
              <p:cNvSpPr/>
              <p:nvPr/>
            </p:nvSpPr>
            <p:spPr>
              <a:xfrm>
                <a:off x="1740844" y="3810527"/>
                <a:ext cx="3532" cy="6057"/>
              </a:xfrm>
              <a:custGeom>
                <a:avLst/>
                <a:gdLst>
                  <a:gd name="connsiteX0" fmla="*/ 22421 w 33864"/>
                  <a:gd name="connsiteY0" fmla="*/ 33096 h 58069"/>
                  <a:gd name="connsiteX1" fmla="*/ 21707 w 33864"/>
                  <a:gd name="connsiteY1" fmla="*/ 42399 h 58069"/>
                  <a:gd name="connsiteX2" fmla="*/ 22695 w 33864"/>
                  <a:gd name="connsiteY2" fmla="*/ 42399 h 58069"/>
                  <a:gd name="connsiteX3" fmla="*/ 26674 w 33864"/>
                  <a:gd name="connsiteY3" fmla="*/ 51785 h 58069"/>
                  <a:gd name="connsiteX4" fmla="*/ 23765 w 33864"/>
                  <a:gd name="connsiteY4" fmla="*/ 56450 h 58069"/>
                  <a:gd name="connsiteX5" fmla="*/ 18908 w 33864"/>
                  <a:gd name="connsiteY5" fmla="*/ 58069 h 58069"/>
                  <a:gd name="connsiteX6" fmla="*/ 16082 w 33864"/>
                  <a:gd name="connsiteY6" fmla="*/ 56532 h 58069"/>
                  <a:gd name="connsiteX7" fmla="*/ 13283 w 33864"/>
                  <a:gd name="connsiteY7" fmla="*/ 49644 h 58069"/>
                  <a:gd name="connsiteX8" fmla="*/ 7218 w 33864"/>
                  <a:gd name="connsiteY8" fmla="*/ 47257 h 58069"/>
                  <a:gd name="connsiteX9" fmla="*/ 2634 w 33864"/>
                  <a:gd name="connsiteY9" fmla="*/ 42399 h 58069"/>
                  <a:gd name="connsiteX10" fmla="*/ 0 w 33864"/>
                  <a:gd name="connsiteY10" fmla="*/ 33535 h 58069"/>
                  <a:gd name="connsiteX11" fmla="*/ 2305 w 33864"/>
                  <a:gd name="connsiteY11" fmla="*/ 30654 h 58069"/>
                  <a:gd name="connsiteX12" fmla="*/ 7904 w 33864"/>
                  <a:gd name="connsiteY12" fmla="*/ 30022 h 58069"/>
                  <a:gd name="connsiteX13" fmla="*/ 13393 w 33864"/>
                  <a:gd name="connsiteY13" fmla="*/ 26674 h 58069"/>
                  <a:gd name="connsiteX14" fmla="*/ 12432 w 33864"/>
                  <a:gd name="connsiteY14" fmla="*/ 14051 h 58069"/>
                  <a:gd name="connsiteX15" fmla="*/ 15890 w 33864"/>
                  <a:gd name="connsiteY15" fmla="*/ 10099 h 58069"/>
                  <a:gd name="connsiteX16" fmla="*/ 16905 w 33864"/>
                  <a:gd name="connsiteY16" fmla="*/ 3375 h 58069"/>
                  <a:gd name="connsiteX17" fmla="*/ 20116 w 33864"/>
                  <a:gd name="connsiteY17" fmla="*/ 2086 h 58069"/>
                  <a:gd name="connsiteX18" fmla="*/ 23381 w 33864"/>
                  <a:gd name="connsiteY18" fmla="*/ 0 h 58069"/>
                  <a:gd name="connsiteX19" fmla="*/ 25495 w 33864"/>
                  <a:gd name="connsiteY19" fmla="*/ 192 h 58069"/>
                  <a:gd name="connsiteX20" fmla="*/ 32877 w 33864"/>
                  <a:gd name="connsiteY20" fmla="*/ 2086 h 58069"/>
                  <a:gd name="connsiteX21" fmla="*/ 33865 w 33864"/>
                  <a:gd name="connsiteY21" fmla="*/ 6723 h 58069"/>
                  <a:gd name="connsiteX22" fmla="*/ 22366 w 33864"/>
                  <a:gd name="connsiteY22" fmla="*/ 33069 h 5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3864" h="58069">
                    <a:moveTo>
                      <a:pt x="22421" y="33096"/>
                    </a:moveTo>
                    <a:lnTo>
                      <a:pt x="21707" y="42399"/>
                    </a:lnTo>
                    <a:lnTo>
                      <a:pt x="22695" y="42399"/>
                    </a:lnTo>
                    <a:lnTo>
                      <a:pt x="26674" y="51785"/>
                    </a:lnTo>
                    <a:lnTo>
                      <a:pt x="23765" y="56450"/>
                    </a:lnTo>
                    <a:lnTo>
                      <a:pt x="18908" y="58069"/>
                    </a:lnTo>
                    <a:lnTo>
                      <a:pt x="16082" y="56532"/>
                    </a:lnTo>
                    <a:lnTo>
                      <a:pt x="13283" y="49644"/>
                    </a:lnTo>
                    <a:lnTo>
                      <a:pt x="7218" y="47257"/>
                    </a:lnTo>
                    <a:lnTo>
                      <a:pt x="2634" y="42399"/>
                    </a:lnTo>
                    <a:lnTo>
                      <a:pt x="0" y="33535"/>
                    </a:lnTo>
                    <a:lnTo>
                      <a:pt x="2305" y="30654"/>
                    </a:lnTo>
                    <a:lnTo>
                      <a:pt x="7904" y="30022"/>
                    </a:lnTo>
                    <a:lnTo>
                      <a:pt x="13393" y="26674"/>
                    </a:lnTo>
                    <a:lnTo>
                      <a:pt x="12432" y="14051"/>
                    </a:lnTo>
                    <a:lnTo>
                      <a:pt x="15890" y="10099"/>
                    </a:lnTo>
                    <a:lnTo>
                      <a:pt x="16905" y="3375"/>
                    </a:lnTo>
                    <a:lnTo>
                      <a:pt x="20116" y="2086"/>
                    </a:lnTo>
                    <a:lnTo>
                      <a:pt x="23381" y="0"/>
                    </a:lnTo>
                    <a:lnTo>
                      <a:pt x="25495" y="192"/>
                    </a:lnTo>
                    <a:lnTo>
                      <a:pt x="32877" y="2086"/>
                    </a:lnTo>
                    <a:lnTo>
                      <a:pt x="33865" y="6723"/>
                    </a:lnTo>
                    <a:lnTo>
                      <a:pt x="22366" y="330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58" name="Freeform: Shape 4757">
                <a:extLst>
                  <a:ext uri="{FF2B5EF4-FFF2-40B4-BE49-F238E27FC236}">
                    <a16:creationId xmlns:a16="http://schemas.microsoft.com/office/drawing/2014/main" id="{2615F5EF-FA16-A050-8FC7-E91D9CC5F1CF}"/>
                  </a:ext>
                </a:extLst>
              </p:cNvPr>
              <p:cNvSpPr/>
              <p:nvPr/>
            </p:nvSpPr>
            <p:spPr>
              <a:xfrm>
                <a:off x="1739192" y="3807613"/>
                <a:ext cx="4362" cy="4723"/>
              </a:xfrm>
              <a:custGeom>
                <a:avLst/>
                <a:gdLst>
                  <a:gd name="connsiteX0" fmla="*/ 0 w 41823"/>
                  <a:gd name="connsiteY0" fmla="*/ 4528 h 45280"/>
                  <a:gd name="connsiteX1" fmla="*/ 1262 w 41823"/>
                  <a:gd name="connsiteY1" fmla="*/ 549 h 45280"/>
                  <a:gd name="connsiteX2" fmla="*/ 3348 w 41823"/>
                  <a:gd name="connsiteY2" fmla="*/ 0 h 45280"/>
                  <a:gd name="connsiteX3" fmla="*/ 11993 w 41823"/>
                  <a:gd name="connsiteY3" fmla="*/ 4144 h 45280"/>
                  <a:gd name="connsiteX4" fmla="*/ 22174 w 41823"/>
                  <a:gd name="connsiteY4" fmla="*/ 12185 h 45280"/>
                  <a:gd name="connsiteX5" fmla="*/ 24205 w 41823"/>
                  <a:gd name="connsiteY5" fmla="*/ 11252 h 45280"/>
                  <a:gd name="connsiteX6" fmla="*/ 25412 w 41823"/>
                  <a:gd name="connsiteY6" fmla="*/ 9386 h 45280"/>
                  <a:gd name="connsiteX7" fmla="*/ 28925 w 41823"/>
                  <a:gd name="connsiteY7" fmla="*/ 10072 h 45280"/>
                  <a:gd name="connsiteX8" fmla="*/ 30489 w 41823"/>
                  <a:gd name="connsiteY8" fmla="*/ 13502 h 45280"/>
                  <a:gd name="connsiteX9" fmla="*/ 37213 w 41823"/>
                  <a:gd name="connsiteY9" fmla="*/ 11169 h 45280"/>
                  <a:gd name="connsiteX10" fmla="*/ 38119 w 41823"/>
                  <a:gd name="connsiteY10" fmla="*/ 12871 h 45280"/>
                  <a:gd name="connsiteX11" fmla="*/ 41110 w 41823"/>
                  <a:gd name="connsiteY11" fmla="*/ 11718 h 45280"/>
                  <a:gd name="connsiteX12" fmla="*/ 41823 w 41823"/>
                  <a:gd name="connsiteY12" fmla="*/ 13886 h 45280"/>
                  <a:gd name="connsiteX13" fmla="*/ 39820 w 41823"/>
                  <a:gd name="connsiteY13" fmla="*/ 14792 h 45280"/>
                  <a:gd name="connsiteX14" fmla="*/ 37844 w 41823"/>
                  <a:gd name="connsiteY14" fmla="*/ 13914 h 45280"/>
                  <a:gd name="connsiteX15" fmla="*/ 36747 w 41823"/>
                  <a:gd name="connsiteY15" fmla="*/ 22311 h 45280"/>
                  <a:gd name="connsiteX16" fmla="*/ 27333 w 41823"/>
                  <a:gd name="connsiteY16" fmla="*/ 30050 h 45280"/>
                  <a:gd name="connsiteX17" fmla="*/ 26455 w 41823"/>
                  <a:gd name="connsiteY17" fmla="*/ 33151 h 45280"/>
                  <a:gd name="connsiteX18" fmla="*/ 22531 w 41823"/>
                  <a:gd name="connsiteY18" fmla="*/ 34880 h 45280"/>
                  <a:gd name="connsiteX19" fmla="*/ 25028 w 41823"/>
                  <a:gd name="connsiteY19" fmla="*/ 36307 h 45280"/>
                  <a:gd name="connsiteX20" fmla="*/ 25522 w 41823"/>
                  <a:gd name="connsiteY20" fmla="*/ 39299 h 45280"/>
                  <a:gd name="connsiteX21" fmla="*/ 21049 w 41823"/>
                  <a:gd name="connsiteY21" fmla="*/ 45281 h 45280"/>
                  <a:gd name="connsiteX22" fmla="*/ 19100 w 41823"/>
                  <a:gd name="connsiteY22" fmla="*/ 43717 h 45280"/>
                  <a:gd name="connsiteX23" fmla="*/ 20362 w 41823"/>
                  <a:gd name="connsiteY23" fmla="*/ 38173 h 45280"/>
                  <a:gd name="connsiteX24" fmla="*/ 18771 w 41823"/>
                  <a:gd name="connsiteY24" fmla="*/ 37185 h 45280"/>
                  <a:gd name="connsiteX25" fmla="*/ 10593 w 41823"/>
                  <a:gd name="connsiteY25" fmla="*/ 38914 h 45280"/>
                  <a:gd name="connsiteX26" fmla="*/ 3623 w 41823"/>
                  <a:gd name="connsiteY26" fmla="*/ 43744 h 45280"/>
                  <a:gd name="connsiteX27" fmla="*/ 2799 w 41823"/>
                  <a:gd name="connsiteY27" fmla="*/ 43250 h 45280"/>
                  <a:gd name="connsiteX28" fmla="*/ 4007 w 41823"/>
                  <a:gd name="connsiteY28" fmla="*/ 30078 h 45280"/>
                  <a:gd name="connsiteX29" fmla="*/ 5681 w 41823"/>
                  <a:gd name="connsiteY29" fmla="*/ 27059 h 45280"/>
                  <a:gd name="connsiteX30" fmla="*/ 7218 w 41823"/>
                  <a:gd name="connsiteY30" fmla="*/ 9386 h 45280"/>
                  <a:gd name="connsiteX31" fmla="*/ 6532 w 41823"/>
                  <a:gd name="connsiteY31" fmla="*/ 5873 h 45280"/>
                  <a:gd name="connsiteX32" fmla="*/ 110 w 41823"/>
                  <a:gd name="connsiteY32" fmla="*/ 4528 h 45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1823" h="45280">
                    <a:moveTo>
                      <a:pt x="0" y="4528"/>
                    </a:moveTo>
                    <a:lnTo>
                      <a:pt x="1262" y="549"/>
                    </a:lnTo>
                    <a:lnTo>
                      <a:pt x="3348" y="0"/>
                    </a:lnTo>
                    <a:lnTo>
                      <a:pt x="11993" y="4144"/>
                    </a:lnTo>
                    <a:lnTo>
                      <a:pt x="22174" y="12185"/>
                    </a:lnTo>
                    <a:lnTo>
                      <a:pt x="24205" y="11252"/>
                    </a:lnTo>
                    <a:lnTo>
                      <a:pt x="25412" y="9386"/>
                    </a:lnTo>
                    <a:lnTo>
                      <a:pt x="28925" y="10072"/>
                    </a:lnTo>
                    <a:lnTo>
                      <a:pt x="30489" y="13502"/>
                    </a:lnTo>
                    <a:lnTo>
                      <a:pt x="37213" y="11169"/>
                    </a:lnTo>
                    <a:lnTo>
                      <a:pt x="38119" y="12871"/>
                    </a:lnTo>
                    <a:lnTo>
                      <a:pt x="41110" y="11718"/>
                    </a:lnTo>
                    <a:lnTo>
                      <a:pt x="41823" y="13886"/>
                    </a:lnTo>
                    <a:lnTo>
                      <a:pt x="39820" y="14792"/>
                    </a:lnTo>
                    <a:lnTo>
                      <a:pt x="37844" y="13914"/>
                    </a:lnTo>
                    <a:lnTo>
                      <a:pt x="36747" y="22311"/>
                    </a:lnTo>
                    <a:lnTo>
                      <a:pt x="27333" y="30050"/>
                    </a:lnTo>
                    <a:lnTo>
                      <a:pt x="26455" y="33151"/>
                    </a:lnTo>
                    <a:lnTo>
                      <a:pt x="22531" y="34880"/>
                    </a:lnTo>
                    <a:lnTo>
                      <a:pt x="25028" y="36307"/>
                    </a:lnTo>
                    <a:lnTo>
                      <a:pt x="25522" y="39299"/>
                    </a:lnTo>
                    <a:lnTo>
                      <a:pt x="21049" y="45281"/>
                    </a:lnTo>
                    <a:lnTo>
                      <a:pt x="19100" y="43717"/>
                    </a:lnTo>
                    <a:lnTo>
                      <a:pt x="20362" y="38173"/>
                    </a:lnTo>
                    <a:lnTo>
                      <a:pt x="18771" y="37185"/>
                    </a:lnTo>
                    <a:lnTo>
                      <a:pt x="10593" y="38914"/>
                    </a:lnTo>
                    <a:lnTo>
                      <a:pt x="3623" y="43744"/>
                    </a:lnTo>
                    <a:lnTo>
                      <a:pt x="2799" y="43250"/>
                    </a:lnTo>
                    <a:lnTo>
                      <a:pt x="4007" y="30078"/>
                    </a:lnTo>
                    <a:lnTo>
                      <a:pt x="5681" y="27059"/>
                    </a:lnTo>
                    <a:lnTo>
                      <a:pt x="7218" y="9386"/>
                    </a:lnTo>
                    <a:lnTo>
                      <a:pt x="6532" y="5873"/>
                    </a:lnTo>
                    <a:lnTo>
                      <a:pt x="110" y="45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59" name="Freeform: Shape 4758">
                <a:extLst>
                  <a:ext uri="{FF2B5EF4-FFF2-40B4-BE49-F238E27FC236}">
                    <a16:creationId xmlns:a16="http://schemas.microsoft.com/office/drawing/2014/main" id="{F80FB3AF-F1A9-5B40-9DDA-FFAACDF4FCD8}"/>
                  </a:ext>
                </a:extLst>
              </p:cNvPr>
              <p:cNvSpPr/>
              <p:nvPr/>
            </p:nvSpPr>
            <p:spPr>
              <a:xfrm>
                <a:off x="1734501" y="3802627"/>
                <a:ext cx="3741" cy="4059"/>
              </a:xfrm>
              <a:custGeom>
                <a:avLst/>
                <a:gdLst>
                  <a:gd name="connsiteX0" fmla="*/ 0 w 35867"/>
                  <a:gd name="connsiteY0" fmla="*/ 2744 h 38913"/>
                  <a:gd name="connsiteX1" fmla="*/ 1207 w 35867"/>
                  <a:gd name="connsiteY1" fmla="*/ 0 h 38913"/>
                  <a:gd name="connsiteX2" fmla="*/ 17563 w 35867"/>
                  <a:gd name="connsiteY2" fmla="*/ 164 h 38913"/>
                  <a:gd name="connsiteX3" fmla="*/ 22173 w 35867"/>
                  <a:gd name="connsiteY3" fmla="*/ 2909 h 38913"/>
                  <a:gd name="connsiteX4" fmla="*/ 26153 w 35867"/>
                  <a:gd name="connsiteY4" fmla="*/ 2827 h 38913"/>
                  <a:gd name="connsiteX5" fmla="*/ 35346 w 35867"/>
                  <a:gd name="connsiteY5" fmla="*/ 11773 h 38913"/>
                  <a:gd name="connsiteX6" fmla="*/ 34111 w 35867"/>
                  <a:gd name="connsiteY6" fmla="*/ 21076 h 38913"/>
                  <a:gd name="connsiteX7" fmla="*/ 35867 w 35867"/>
                  <a:gd name="connsiteY7" fmla="*/ 26812 h 38913"/>
                  <a:gd name="connsiteX8" fmla="*/ 31395 w 35867"/>
                  <a:gd name="connsiteY8" fmla="*/ 35072 h 38913"/>
                  <a:gd name="connsiteX9" fmla="*/ 27827 w 35867"/>
                  <a:gd name="connsiteY9" fmla="*/ 37240 h 38913"/>
                  <a:gd name="connsiteX10" fmla="*/ 26921 w 35867"/>
                  <a:gd name="connsiteY10" fmla="*/ 38585 h 38913"/>
                  <a:gd name="connsiteX11" fmla="*/ 21872 w 35867"/>
                  <a:gd name="connsiteY11" fmla="*/ 38914 h 38913"/>
                  <a:gd name="connsiteX12" fmla="*/ 20911 w 35867"/>
                  <a:gd name="connsiteY12" fmla="*/ 37240 h 38913"/>
                  <a:gd name="connsiteX13" fmla="*/ 21762 w 35867"/>
                  <a:gd name="connsiteY13" fmla="*/ 35703 h 38913"/>
                  <a:gd name="connsiteX14" fmla="*/ 13941 w 35867"/>
                  <a:gd name="connsiteY14" fmla="*/ 22750 h 38913"/>
                  <a:gd name="connsiteX15" fmla="*/ 11581 w 35867"/>
                  <a:gd name="connsiteY15" fmla="*/ 12843 h 38913"/>
                  <a:gd name="connsiteX16" fmla="*/ 5489 w 35867"/>
                  <a:gd name="connsiteY16" fmla="*/ 7711 h 38913"/>
                  <a:gd name="connsiteX17" fmla="*/ 3787 w 35867"/>
                  <a:gd name="connsiteY17" fmla="*/ 3458 h 38913"/>
                  <a:gd name="connsiteX18" fmla="*/ 0 w 35867"/>
                  <a:gd name="connsiteY18" fmla="*/ 2717 h 3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67" h="38913">
                    <a:moveTo>
                      <a:pt x="0" y="2744"/>
                    </a:moveTo>
                    <a:lnTo>
                      <a:pt x="1207" y="0"/>
                    </a:lnTo>
                    <a:lnTo>
                      <a:pt x="17563" y="164"/>
                    </a:lnTo>
                    <a:lnTo>
                      <a:pt x="22173" y="2909"/>
                    </a:lnTo>
                    <a:lnTo>
                      <a:pt x="26153" y="2827"/>
                    </a:lnTo>
                    <a:lnTo>
                      <a:pt x="35346" y="11773"/>
                    </a:lnTo>
                    <a:lnTo>
                      <a:pt x="34111" y="21076"/>
                    </a:lnTo>
                    <a:lnTo>
                      <a:pt x="35867" y="26812"/>
                    </a:lnTo>
                    <a:lnTo>
                      <a:pt x="31395" y="35072"/>
                    </a:lnTo>
                    <a:lnTo>
                      <a:pt x="27827" y="37240"/>
                    </a:lnTo>
                    <a:lnTo>
                      <a:pt x="26921" y="38585"/>
                    </a:lnTo>
                    <a:lnTo>
                      <a:pt x="21872" y="38914"/>
                    </a:lnTo>
                    <a:lnTo>
                      <a:pt x="20911" y="37240"/>
                    </a:lnTo>
                    <a:lnTo>
                      <a:pt x="21762" y="35703"/>
                    </a:lnTo>
                    <a:lnTo>
                      <a:pt x="13941" y="22750"/>
                    </a:lnTo>
                    <a:lnTo>
                      <a:pt x="11581" y="12843"/>
                    </a:lnTo>
                    <a:lnTo>
                      <a:pt x="5489" y="7711"/>
                    </a:lnTo>
                    <a:lnTo>
                      <a:pt x="3787" y="3458"/>
                    </a:lnTo>
                    <a:lnTo>
                      <a:pt x="0"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60" name="Freeform: Shape 4759">
                <a:extLst>
                  <a:ext uri="{FF2B5EF4-FFF2-40B4-BE49-F238E27FC236}">
                    <a16:creationId xmlns:a16="http://schemas.microsoft.com/office/drawing/2014/main" id="{33C0B09E-DB1C-853E-0242-08EED14F2CA7}"/>
                  </a:ext>
                </a:extLst>
              </p:cNvPr>
              <p:cNvSpPr/>
              <p:nvPr/>
            </p:nvSpPr>
            <p:spPr>
              <a:xfrm>
                <a:off x="1743632" y="3809800"/>
                <a:ext cx="2261" cy="5607"/>
              </a:xfrm>
              <a:custGeom>
                <a:avLst/>
                <a:gdLst>
                  <a:gd name="connsiteX0" fmla="*/ 5022 w 21679"/>
                  <a:gd name="connsiteY0" fmla="*/ 49425 h 53761"/>
                  <a:gd name="connsiteX1" fmla="*/ 1702 w 21679"/>
                  <a:gd name="connsiteY1" fmla="*/ 53761 h 53761"/>
                  <a:gd name="connsiteX2" fmla="*/ 0 w 21679"/>
                  <a:gd name="connsiteY2" fmla="*/ 52718 h 53761"/>
                  <a:gd name="connsiteX3" fmla="*/ 385 w 21679"/>
                  <a:gd name="connsiteY3" fmla="*/ 49425 h 53761"/>
                  <a:gd name="connsiteX4" fmla="*/ 3183 w 21679"/>
                  <a:gd name="connsiteY4" fmla="*/ 35951 h 53761"/>
                  <a:gd name="connsiteX5" fmla="*/ 17673 w 21679"/>
                  <a:gd name="connsiteY5" fmla="*/ 9056 h 53761"/>
                  <a:gd name="connsiteX6" fmla="*/ 18854 w 21679"/>
                  <a:gd name="connsiteY6" fmla="*/ 2305 h 53761"/>
                  <a:gd name="connsiteX7" fmla="*/ 20500 w 21679"/>
                  <a:gd name="connsiteY7" fmla="*/ 0 h 53761"/>
                  <a:gd name="connsiteX8" fmla="*/ 21433 w 21679"/>
                  <a:gd name="connsiteY8" fmla="*/ 302 h 53761"/>
                  <a:gd name="connsiteX9" fmla="*/ 21680 w 21679"/>
                  <a:gd name="connsiteY9" fmla="*/ 9056 h 53761"/>
                  <a:gd name="connsiteX10" fmla="*/ 20527 w 21679"/>
                  <a:gd name="connsiteY10" fmla="*/ 27718 h 53761"/>
                  <a:gd name="connsiteX11" fmla="*/ 14106 w 21679"/>
                  <a:gd name="connsiteY11" fmla="*/ 30105 h 53761"/>
                  <a:gd name="connsiteX12" fmla="*/ 10977 w 21679"/>
                  <a:gd name="connsiteY12" fmla="*/ 33398 h 53761"/>
                  <a:gd name="connsiteX13" fmla="*/ 5050 w 21679"/>
                  <a:gd name="connsiteY13" fmla="*/ 49425 h 5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79" h="53761">
                    <a:moveTo>
                      <a:pt x="5022" y="49425"/>
                    </a:moveTo>
                    <a:lnTo>
                      <a:pt x="1702" y="53761"/>
                    </a:lnTo>
                    <a:lnTo>
                      <a:pt x="0" y="52718"/>
                    </a:lnTo>
                    <a:lnTo>
                      <a:pt x="385" y="49425"/>
                    </a:lnTo>
                    <a:lnTo>
                      <a:pt x="3183" y="35951"/>
                    </a:lnTo>
                    <a:lnTo>
                      <a:pt x="17673" y="9056"/>
                    </a:lnTo>
                    <a:lnTo>
                      <a:pt x="18854" y="2305"/>
                    </a:lnTo>
                    <a:lnTo>
                      <a:pt x="20500" y="0"/>
                    </a:lnTo>
                    <a:lnTo>
                      <a:pt x="21433" y="302"/>
                    </a:lnTo>
                    <a:lnTo>
                      <a:pt x="21680" y="9056"/>
                    </a:lnTo>
                    <a:lnTo>
                      <a:pt x="20527" y="27718"/>
                    </a:lnTo>
                    <a:lnTo>
                      <a:pt x="14106" y="30105"/>
                    </a:lnTo>
                    <a:lnTo>
                      <a:pt x="10977" y="33398"/>
                    </a:lnTo>
                    <a:lnTo>
                      <a:pt x="5050" y="494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61" name="Freeform: Shape 4760">
                <a:extLst>
                  <a:ext uri="{FF2B5EF4-FFF2-40B4-BE49-F238E27FC236}">
                    <a16:creationId xmlns:a16="http://schemas.microsoft.com/office/drawing/2014/main" id="{A71944DF-9140-5C02-B6A5-02D5EDC1B66B}"/>
                  </a:ext>
                </a:extLst>
              </p:cNvPr>
              <p:cNvSpPr/>
              <p:nvPr/>
            </p:nvSpPr>
            <p:spPr>
              <a:xfrm>
                <a:off x="1743231" y="3805520"/>
                <a:ext cx="2725" cy="2545"/>
              </a:xfrm>
              <a:custGeom>
                <a:avLst/>
                <a:gdLst>
                  <a:gd name="connsiteX0" fmla="*/ 2113 w 26125"/>
                  <a:gd name="connsiteY0" fmla="*/ 1345 h 24396"/>
                  <a:gd name="connsiteX1" fmla="*/ 2772 w 26125"/>
                  <a:gd name="connsiteY1" fmla="*/ 0 h 24396"/>
                  <a:gd name="connsiteX2" fmla="*/ 9330 w 26125"/>
                  <a:gd name="connsiteY2" fmla="*/ 3156 h 24396"/>
                  <a:gd name="connsiteX3" fmla="*/ 16548 w 26125"/>
                  <a:gd name="connsiteY3" fmla="*/ 9495 h 24396"/>
                  <a:gd name="connsiteX4" fmla="*/ 22256 w 26125"/>
                  <a:gd name="connsiteY4" fmla="*/ 12816 h 24396"/>
                  <a:gd name="connsiteX5" fmla="*/ 25467 w 26125"/>
                  <a:gd name="connsiteY5" fmla="*/ 18332 h 24396"/>
                  <a:gd name="connsiteX6" fmla="*/ 26126 w 26125"/>
                  <a:gd name="connsiteY6" fmla="*/ 24397 h 24396"/>
                  <a:gd name="connsiteX7" fmla="*/ 17097 w 26125"/>
                  <a:gd name="connsiteY7" fmla="*/ 19649 h 24396"/>
                  <a:gd name="connsiteX8" fmla="*/ 10264 w 26125"/>
                  <a:gd name="connsiteY8" fmla="*/ 11746 h 24396"/>
                  <a:gd name="connsiteX9" fmla="*/ 7409 w 26125"/>
                  <a:gd name="connsiteY9" fmla="*/ 12212 h 24396"/>
                  <a:gd name="connsiteX10" fmla="*/ 2579 w 26125"/>
                  <a:gd name="connsiteY10" fmla="*/ 17728 h 24396"/>
                  <a:gd name="connsiteX11" fmla="*/ 0 w 26125"/>
                  <a:gd name="connsiteY11" fmla="*/ 18497 h 24396"/>
                  <a:gd name="connsiteX12" fmla="*/ 1235 w 26125"/>
                  <a:gd name="connsiteY12" fmla="*/ 14408 h 24396"/>
                  <a:gd name="connsiteX13" fmla="*/ 3046 w 26125"/>
                  <a:gd name="connsiteY13" fmla="*/ 12789 h 24396"/>
                  <a:gd name="connsiteX14" fmla="*/ 3101 w 26125"/>
                  <a:gd name="connsiteY14" fmla="*/ 11032 h 24396"/>
                  <a:gd name="connsiteX15" fmla="*/ 1674 w 26125"/>
                  <a:gd name="connsiteY15" fmla="*/ 10209 h 24396"/>
                  <a:gd name="connsiteX16" fmla="*/ 2058 w 26125"/>
                  <a:gd name="connsiteY16" fmla="*/ 6916 h 24396"/>
                  <a:gd name="connsiteX17" fmla="*/ 3266 w 26125"/>
                  <a:gd name="connsiteY17" fmla="*/ 4473 h 24396"/>
                  <a:gd name="connsiteX18" fmla="*/ 2086 w 26125"/>
                  <a:gd name="connsiteY18" fmla="*/ 1317 h 2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125" h="24396">
                    <a:moveTo>
                      <a:pt x="2113" y="1345"/>
                    </a:moveTo>
                    <a:lnTo>
                      <a:pt x="2772" y="0"/>
                    </a:lnTo>
                    <a:lnTo>
                      <a:pt x="9330" y="3156"/>
                    </a:lnTo>
                    <a:lnTo>
                      <a:pt x="16548" y="9495"/>
                    </a:lnTo>
                    <a:lnTo>
                      <a:pt x="22256" y="12816"/>
                    </a:lnTo>
                    <a:lnTo>
                      <a:pt x="25467" y="18332"/>
                    </a:lnTo>
                    <a:lnTo>
                      <a:pt x="26126" y="24397"/>
                    </a:lnTo>
                    <a:lnTo>
                      <a:pt x="17097" y="19649"/>
                    </a:lnTo>
                    <a:lnTo>
                      <a:pt x="10264" y="11746"/>
                    </a:lnTo>
                    <a:lnTo>
                      <a:pt x="7409" y="12212"/>
                    </a:lnTo>
                    <a:lnTo>
                      <a:pt x="2579" y="17728"/>
                    </a:lnTo>
                    <a:lnTo>
                      <a:pt x="0" y="18497"/>
                    </a:lnTo>
                    <a:lnTo>
                      <a:pt x="1235" y="14408"/>
                    </a:lnTo>
                    <a:lnTo>
                      <a:pt x="3046" y="12789"/>
                    </a:lnTo>
                    <a:lnTo>
                      <a:pt x="3101" y="11032"/>
                    </a:lnTo>
                    <a:lnTo>
                      <a:pt x="1674" y="10209"/>
                    </a:lnTo>
                    <a:lnTo>
                      <a:pt x="2058" y="6916"/>
                    </a:lnTo>
                    <a:lnTo>
                      <a:pt x="3266" y="4473"/>
                    </a:lnTo>
                    <a:lnTo>
                      <a:pt x="2086" y="13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62" name="Freeform: Shape 4761">
                <a:extLst>
                  <a:ext uri="{FF2B5EF4-FFF2-40B4-BE49-F238E27FC236}">
                    <a16:creationId xmlns:a16="http://schemas.microsoft.com/office/drawing/2014/main" id="{CEFF7B90-4347-2DAA-3703-A6C35447BFCF}"/>
                  </a:ext>
                </a:extLst>
              </p:cNvPr>
              <p:cNvSpPr/>
              <p:nvPr/>
            </p:nvSpPr>
            <p:spPr>
              <a:xfrm>
                <a:off x="1745100" y="3813105"/>
                <a:ext cx="2499" cy="1846"/>
              </a:xfrm>
              <a:custGeom>
                <a:avLst/>
                <a:gdLst>
                  <a:gd name="connsiteX0" fmla="*/ 13996 w 23957"/>
                  <a:gd name="connsiteY0" fmla="*/ 16685 h 17700"/>
                  <a:gd name="connsiteX1" fmla="*/ 1207 w 23957"/>
                  <a:gd name="connsiteY1" fmla="*/ 17701 h 17700"/>
                  <a:gd name="connsiteX2" fmla="*/ 0 w 23957"/>
                  <a:gd name="connsiteY2" fmla="*/ 17289 h 17700"/>
                  <a:gd name="connsiteX3" fmla="*/ 1976 w 23957"/>
                  <a:gd name="connsiteY3" fmla="*/ 14408 h 17700"/>
                  <a:gd name="connsiteX4" fmla="*/ 494 w 23957"/>
                  <a:gd name="connsiteY4" fmla="*/ 11718 h 17700"/>
                  <a:gd name="connsiteX5" fmla="*/ 1426 w 23957"/>
                  <a:gd name="connsiteY5" fmla="*/ 9276 h 17700"/>
                  <a:gd name="connsiteX6" fmla="*/ 11800 w 23957"/>
                  <a:gd name="connsiteY6" fmla="*/ 467 h 17700"/>
                  <a:gd name="connsiteX7" fmla="*/ 15505 w 23957"/>
                  <a:gd name="connsiteY7" fmla="*/ 0 h 17700"/>
                  <a:gd name="connsiteX8" fmla="*/ 22338 w 23957"/>
                  <a:gd name="connsiteY8" fmla="*/ 4062 h 17700"/>
                  <a:gd name="connsiteX9" fmla="*/ 23958 w 23957"/>
                  <a:gd name="connsiteY9" fmla="*/ 10511 h 17700"/>
                  <a:gd name="connsiteX10" fmla="*/ 23958 w 23957"/>
                  <a:gd name="connsiteY10" fmla="*/ 12267 h 17700"/>
                  <a:gd name="connsiteX11" fmla="*/ 20005 w 23957"/>
                  <a:gd name="connsiteY11" fmla="*/ 12816 h 17700"/>
                  <a:gd name="connsiteX12" fmla="*/ 13968 w 23957"/>
                  <a:gd name="connsiteY12" fmla="*/ 16685 h 1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957" h="17700">
                    <a:moveTo>
                      <a:pt x="13996" y="16685"/>
                    </a:moveTo>
                    <a:lnTo>
                      <a:pt x="1207" y="17701"/>
                    </a:lnTo>
                    <a:lnTo>
                      <a:pt x="0" y="17289"/>
                    </a:lnTo>
                    <a:lnTo>
                      <a:pt x="1976" y="14408"/>
                    </a:lnTo>
                    <a:lnTo>
                      <a:pt x="494" y="11718"/>
                    </a:lnTo>
                    <a:lnTo>
                      <a:pt x="1426" y="9276"/>
                    </a:lnTo>
                    <a:lnTo>
                      <a:pt x="11800" y="467"/>
                    </a:lnTo>
                    <a:lnTo>
                      <a:pt x="15505" y="0"/>
                    </a:lnTo>
                    <a:lnTo>
                      <a:pt x="22338" y="4062"/>
                    </a:lnTo>
                    <a:lnTo>
                      <a:pt x="23958" y="10511"/>
                    </a:lnTo>
                    <a:lnTo>
                      <a:pt x="23958" y="12267"/>
                    </a:lnTo>
                    <a:lnTo>
                      <a:pt x="20005" y="12816"/>
                    </a:lnTo>
                    <a:lnTo>
                      <a:pt x="13968" y="166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63" name="Freeform: Shape 4762">
                <a:extLst>
                  <a:ext uri="{FF2B5EF4-FFF2-40B4-BE49-F238E27FC236}">
                    <a16:creationId xmlns:a16="http://schemas.microsoft.com/office/drawing/2014/main" id="{67B3E5E8-4A31-2F8B-0B62-97D1BCEB5A81}"/>
                  </a:ext>
                </a:extLst>
              </p:cNvPr>
              <p:cNvSpPr/>
              <p:nvPr/>
            </p:nvSpPr>
            <p:spPr>
              <a:xfrm>
                <a:off x="1733004" y="3806508"/>
                <a:ext cx="1546" cy="1855"/>
              </a:xfrm>
              <a:custGeom>
                <a:avLst/>
                <a:gdLst>
                  <a:gd name="connsiteX0" fmla="*/ 933 w 14818"/>
                  <a:gd name="connsiteY0" fmla="*/ 2442 h 17782"/>
                  <a:gd name="connsiteX1" fmla="*/ 1784 w 14818"/>
                  <a:gd name="connsiteY1" fmla="*/ 0 h 17782"/>
                  <a:gd name="connsiteX2" fmla="*/ 2772 w 14818"/>
                  <a:gd name="connsiteY2" fmla="*/ 0 h 17782"/>
                  <a:gd name="connsiteX3" fmla="*/ 9468 w 14818"/>
                  <a:gd name="connsiteY3" fmla="*/ 4089 h 17782"/>
                  <a:gd name="connsiteX4" fmla="*/ 12102 w 14818"/>
                  <a:gd name="connsiteY4" fmla="*/ 2964 h 17782"/>
                  <a:gd name="connsiteX5" fmla="*/ 14819 w 14818"/>
                  <a:gd name="connsiteY5" fmla="*/ 6971 h 17782"/>
                  <a:gd name="connsiteX6" fmla="*/ 11800 w 14818"/>
                  <a:gd name="connsiteY6" fmla="*/ 10703 h 17782"/>
                  <a:gd name="connsiteX7" fmla="*/ 6065 w 14818"/>
                  <a:gd name="connsiteY7" fmla="*/ 9660 h 17782"/>
                  <a:gd name="connsiteX8" fmla="*/ 6942 w 14818"/>
                  <a:gd name="connsiteY8" fmla="*/ 14353 h 17782"/>
                  <a:gd name="connsiteX9" fmla="*/ 4144 w 14818"/>
                  <a:gd name="connsiteY9" fmla="*/ 17783 h 17782"/>
                  <a:gd name="connsiteX10" fmla="*/ 0 w 14818"/>
                  <a:gd name="connsiteY10" fmla="*/ 9605 h 17782"/>
                  <a:gd name="connsiteX11" fmla="*/ 4226 w 14818"/>
                  <a:gd name="connsiteY11" fmla="*/ 8425 h 17782"/>
                  <a:gd name="connsiteX12" fmla="*/ 933 w 14818"/>
                  <a:gd name="connsiteY12" fmla="*/ 2470 h 1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18" h="17782">
                    <a:moveTo>
                      <a:pt x="933" y="2442"/>
                    </a:moveTo>
                    <a:lnTo>
                      <a:pt x="1784" y="0"/>
                    </a:lnTo>
                    <a:lnTo>
                      <a:pt x="2772" y="0"/>
                    </a:lnTo>
                    <a:lnTo>
                      <a:pt x="9468" y="4089"/>
                    </a:lnTo>
                    <a:lnTo>
                      <a:pt x="12102" y="2964"/>
                    </a:lnTo>
                    <a:lnTo>
                      <a:pt x="14819" y="6971"/>
                    </a:lnTo>
                    <a:lnTo>
                      <a:pt x="11800" y="10703"/>
                    </a:lnTo>
                    <a:lnTo>
                      <a:pt x="6065" y="9660"/>
                    </a:lnTo>
                    <a:lnTo>
                      <a:pt x="6942" y="14353"/>
                    </a:lnTo>
                    <a:lnTo>
                      <a:pt x="4144" y="17783"/>
                    </a:lnTo>
                    <a:lnTo>
                      <a:pt x="0" y="9605"/>
                    </a:lnTo>
                    <a:lnTo>
                      <a:pt x="4226" y="8425"/>
                    </a:lnTo>
                    <a:lnTo>
                      <a:pt x="933" y="24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64" name="Freeform: Shape 4763">
                <a:extLst>
                  <a:ext uri="{FF2B5EF4-FFF2-40B4-BE49-F238E27FC236}">
                    <a16:creationId xmlns:a16="http://schemas.microsoft.com/office/drawing/2014/main" id="{5A64B714-C1B1-D8F9-6F45-EBB22B788186}"/>
                  </a:ext>
                </a:extLst>
              </p:cNvPr>
              <p:cNvSpPr/>
              <p:nvPr/>
            </p:nvSpPr>
            <p:spPr>
              <a:xfrm>
                <a:off x="1732692" y="3828021"/>
                <a:ext cx="1869" cy="1048"/>
              </a:xfrm>
              <a:custGeom>
                <a:avLst/>
                <a:gdLst>
                  <a:gd name="connsiteX0" fmla="*/ 1180 w 17920"/>
                  <a:gd name="connsiteY0" fmla="*/ 7135 h 10044"/>
                  <a:gd name="connsiteX1" fmla="*/ 6010 w 17920"/>
                  <a:gd name="connsiteY1" fmla="*/ 4308 h 10044"/>
                  <a:gd name="connsiteX2" fmla="*/ 6916 w 17920"/>
                  <a:gd name="connsiteY2" fmla="*/ 2497 h 10044"/>
                  <a:gd name="connsiteX3" fmla="*/ 8480 w 17920"/>
                  <a:gd name="connsiteY3" fmla="*/ 3513 h 10044"/>
                  <a:gd name="connsiteX4" fmla="*/ 12816 w 17920"/>
                  <a:gd name="connsiteY4" fmla="*/ 219 h 10044"/>
                  <a:gd name="connsiteX5" fmla="*/ 15697 w 17920"/>
                  <a:gd name="connsiteY5" fmla="*/ 0 h 10044"/>
                  <a:gd name="connsiteX6" fmla="*/ 15396 w 17920"/>
                  <a:gd name="connsiteY6" fmla="*/ 2442 h 10044"/>
                  <a:gd name="connsiteX7" fmla="*/ 17097 w 17920"/>
                  <a:gd name="connsiteY7" fmla="*/ 2168 h 10044"/>
                  <a:gd name="connsiteX8" fmla="*/ 17920 w 17920"/>
                  <a:gd name="connsiteY8" fmla="*/ 4940 h 10044"/>
                  <a:gd name="connsiteX9" fmla="*/ 16273 w 17920"/>
                  <a:gd name="connsiteY9" fmla="*/ 5873 h 10044"/>
                  <a:gd name="connsiteX10" fmla="*/ 14956 w 17920"/>
                  <a:gd name="connsiteY10" fmla="*/ 5132 h 10044"/>
                  <a:gd name="connsiteX11" fmla="*/ 14133 w 17920"/>
                  <a:gd name="connsiteY11" fmla="*/ 6833 h 10044"/>
                  <a:gd name="connsiteX12" fmla="*/ 11801 w 17920"/>
                  <a:gd name="connsiteY12" fmla="*/ 4720 h 10044"/>
                  <a:gd name="connsiteX13" fmla="*/ 10620 w 17920"/>
                  <a:gd name="connsiteY13" fmla="*/ 5845 h 10044"/>
                  <a:gd name="connsiteX14" fmla="*/ 7822 w 17920"/>
                  <a:gd name="connsiteY14" fmla="*/ 5845 h 10044"/>
                  <a:gd name="connsiteX15" fmla="*/ 5736 w 17920"/>
                  <a:gd name="connsiteY15" fmla="*/ 7739 h 10044"/>
                  <a:gd name="connsiteX16" fmla="*/ 247 w 17920"/>
                  <a:gd name="connsiteY16" fmla="*/ 10044 h 10044"/>
                  <a:gd name="connsiteX17" fmla="*/ 0 w 17920"/>
                  <a:gd name="connsiteY17" fmla="*/ 9413 h 10044"/>
                  <a:gd name="connsiteX18" fmla="*/ 1152 w 17920"/>
                  <a:gd name="connsiteY18" fmla="*/ 7135 h 1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920" h="10044">
                    <a:moveTo>
                      <a:pt x="1180" y="7135"/>
                    </a:moveTo>
                    <a:lnTo>
                      <a:pt x="6010" y="4308"/>
                    </a:lnTo>
                    <a:lnTo>
                      <a:pt x="6916" y="2497"/>
                    </a:lnTo>
                    <a:lnTo>
                      <a:pt x="8480" y="3513"/>
                    </a:lnTo>
                    <a:lnTo>
                      <a:pt x="12816" y="219"/>
                    </a:lnTo>
                    <a:lnTo>
                      <a:pt x="15697" y="0"/>
                    </a:lnTo>
                    <a:lnTo>
                      <a:pt x="15396" y="2442"/>
                    </a:lnTo>
                    <a:lnTo>
                      <a:pt x="17097" y="2168"/>
                    </a:lnTo>
                    <a:lnTo>
                      <a:pt x="17920" y="4940"/>
                    </a:lnTo>
                    <a:lnTo>
                      <a:pt x="16273" y="5873"/>
                    </a:lnTo>
                    <a:lnTo>
                      <a:pt x="14956" y="5132"/>
                    </a:lnTo>
                    <a:lnTo>
                      <a:pt x="14133" y="6833"/>
                    </a:lnTo>
                    <a:lnTo>
                      <a:pt x="11801" y="4720"/>
                    </a:lnTo>
                    <a:lnTo>
                      <a:pt x="10620" y="5845"/>
                    </a:lnTo>
                    <a:lnTo>
                      <a:pt x="7822" y="5845"/>
                    </a:lnTo>
                    <a:lnTo>
                      <a:pt x="5736" y="7739"/>
                    </a:lnTo>
                    <a:lnTo>
                      <a:pt x="247" y="10044"/>
                    </a:lnTo>
                    <a:lnTo>
                      <a:pt x="0" y="9413"/>
                    </a:lnTo>
                    <a:lnTo>
                      <a:pt x="1152" y="71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65" name="Freeform: Shape 4764">
                <a:extLst>
                  <a:ext uri="{FF2B5EF4-FFF2-40B4-BE49-F238E27FC236}">
                    <a16:creationId xmlns:a16="http://schemas.microsoft.com/office/drawing/2014/main" id="{693DC9F1-B6A5-DC4F-0BAA-437311698E5A}"/>
                  </a:ext>
                </a:extLst>
              </p:cNvPr>
              <p:cNvSpPr/>
              <p:nvPr/>
            </p:nvSpPr>
            <p:spPr>
              <a:xfrm>
                <a:off x="1745927" y="3800818"/>
                <a:ext cx="1099" cy="1755"/>
              </a:xfrm>
              <a:custGeom>
                <a:avLst/>
                <a:gdLst>
                  <a:gd name="connsiteX0" fmla="*/ 0 w 10538"/>
                  <a:gd name="connsiteY0" fmla="*/ 14435 h 16822"/>
                  <a:gd name="connsiteX1" fmla="*/ 2525 w 10538"/>
                  <a:gd name="connsiteY1" fmla="*/ 7959 h 16822"/>
                  <a:gd name="connsiteX2" fmla="*/ 2717 w 10538"/>
                  <a:gd name="connsiteY2" fmla="*/ 1015 h 16822"/>
                  <a:gd name="connsiteX3" fmla="*/ 4309 w 10538"/>
                  <a:gd name="connsiteY3" fmla="*/ 0 h 16822"/>
                  <a:gd name="connsiteX4" fmla="*/ 10538 w 10538"/>
                  <a:gd name="connsiteY4" fmla="*/ 7355 h 16822"/>
                  <a:gd name="connsiteX5" fmla="*/ 8508 w 10538"/>
                  <a:gd name="connsiteY5" fmla="*/ 15121 h 16822"/>
                  <a:gd name="connsiteX6" fmla="*/ 5434 w 10538"/>
                  <a:gd name="connsiteY6" fmla="*/ 15121 h 16822"/>
                  <a:gd name="connsiteX7" fmla="*/ 4309 w 10538"/>
                  <a:gd name="connsiteY7" fmla="*/ 16823 h 16822"/>
                  <a:gd name="connsiteX8" fmla="*/ 0 w 10538"/>
                  <a:gd name="connsiteY8" fmla="*/ 14463 h 1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38" h="16822">
                    <a:moveTo>
                      <a:pt x="0" y="14435"/>
                    </a:moveTo>
                    <a:lnTo>
                      <a:pt x="2525" y="7959"/>
                    </a:lnTo>
                    <a:lnTo>
                      <a:pt x="2717" y="1015"/>
                    </a:lnTo>
                    <a:lnTo>
                      <a:pt x="4309" y="0"/>
                    </a:lnTo>
                    <a:lnTo>
                      <a:pt x="10538" y="7355"/>
                    </a:lnTo>
                    <a:lnTo>
                      <a:pt x="8508" y="15121"/>
                    </a:lnTo>
                    <a:lnTo>
                      <a:pt x="5434" y="15121"/>
                    </a:lnTo>
                    <a:lnTo>
                      <a:pt x="4309" y="16823"/>
                    </a:lnTo>
                    <a:lnTo>
                      <a:pt x="0" y="144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66" name="Freeform: Shape 4765">
                <a:extLst>
                  <a:ext uri="{FF2B5EF4-FFF2-40B4-BE49-F238E27FC236}">
                    <a16:creationId xmlns:a16="http://schemas.microsoft.com/office/drawing/2014/main" id="{0C52828E-E6B5-54F5-B5FD-71C3449C86D7}"/>
                  </a:ext>
                </a:extLst>
              </p:cNvPr>
              <p:cNvSpPr/>
              <p:nvPr/>
            </p:nvSpPr>
            <p:spPr>
              <a:xfrm>
                <a:off x="1739015" y="3823759"/>
                <a:ext cx="1546" cy="993"/>
              </a:xfrm>
              <a:custGeom>
                <a:avLst/>
                <a:gdLst>
                  <a:gd name="connsiteX0" fmla="*/ 11032 w 14818"/>
                  <a:gd name="connsiteY0" fmla="*/ 7904 h 9522"/>
                  <a:gd name="connsiteX1" fmla="*/ 6504 w 14818"/>
                  <a:gd name="connsiteY1" fmla="*/ 9523 h 9522"/>
                  <a:gd name="connsiteX2" fmla="*/ 4116 w 14818"/>
                  <a:gd name="connsiteY2" fmla="*/ 8727 h 9522"/>
                  <a:gd name="connsiteX3" fmla="*/ 0 w 14818"/>
                  <a:gd name="connsiteY3" fmla="*/ 3019 h 9522"/>
                  <a:gd name="connsiteX4" fmla="*/ 1207 w 14818"/>
                  <a:gd name="connsiteY4" fmla="*/ 1619 h 9522"/>
                  <a:gd name="connsiteX5" fmla="*/ 7519 w 14818"/>
                  <a:gd name="connsiteY5" fmla="*/ 0 h 9522"/>
                  <a:gd name="connsiteX6" fmla="*/ 14819 w 14818"/>
                  <a:gd name="connsiteY6" fmla="*/ 3238 h 9522"/>
                  <a:gd name="connsiteX7" fmla="*/ 11032 w 14818"/>
                  <a:gd name="connsiteY7" fmla="*/ 7904 h 9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18" h="9522">
                    <a:moveTo>
                      <a:pt x="11032" y="7904"/>
                    </a:moveTo>
                    <a:lnTo>
                      <a:pt x="6504" y="9523"/>
                    </a:lnTo>
                    <a:lnTo>
                      <a:pt x="4116" y="8727"/>
                    </a:lnTo>
                    <a:lnTo>
                      <a:pt x="0" y="3019"/>
                    </a:lnTo>
                    <a:lnTo>
                      <a:pt x="1207" y="1619"/>
                    </a:lnTo>
                    <a:lnTo>
                      <a:pt x="7519" y="0"/>
                    </a:lnTo>
                    <a:lnTo>
                      <a:pt x="14819" y="3238"/>
                    </a:lnTo>
                    <a:lnTo>
                      <a:pt x="11032" y="79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67" name="Freeform: Shape 4766">
                <a:extLst>
                  <a:ext uri="{FF2B5EF4-FFF2-40B4-BE49-F238E27FC236}">
                    <a16:creationId xmlns:a16="http://schemas.microsoft.com/office/drawing/2014/main" id="{77D48A59-4E6C-8DE5-7961-CB3E7C3ECB66}"/>
                  </a:ext>
                </a:extLst>
              </p:cNvPr>
              <p:cNvSpPr/>
              <p:nvPr/>
            </p:nvSpPr>
            <p:spPr>
              <a:xfrm>
                <a:off x="1736187" y="3825743"/>
                <a:ext cx="1697" cy="718"/>
              </a:xfrm>
              <a:custGeom>
                <a:avLst/>
                <a:gdLst>
                  <a:gd name="connsiteX0" fmla="*/ 0 w 16273"/>
                  <a:gd name="connsiteY0" fmla="*/ 4116 h 6888"/>
                  <a:gd name="connsiteX1" fmla="*/ 1207 w 16273"/>
                  <a:gd name="connsiteY1" fmla="*/ 1893 h 6888"/>
                  <a:gd name="connsiteX2" fmla="*/ 4693 w 16273"/>
                  <a:gd name="connsiteY2" fmla="*/ 0 h 6888"/>
                  <a:gd name="connsiteX3" fmla="*/ 8178 w 16273"/>
                  <a:gd name="connsiteY3" fmla="*/ 384 h 6888"/>
                  <a:gd name="connsiteX4" fmla="*/ 9990 w 16273"/>
                  <a:gd name="connsiteY4" fmla="*/ 2799 h 6888"/>
                  <a:gd name="connsiteX5" fmla="*/ 14765 w 16273"/>
                  <a:gd name="connsiteY5" fmla="*/ 851 h 6888"/>
                  <a:gd name="connsiteX6" fmla="*/ 16054 w 16273"/>
                  <a:gd name="connsiteY6" fmla="*/ 1098 h 6888"/>
                  <a:gd name="connsiteX7" fmla="*/ 16273 w 16273"/>
                  <a:gd name="connsiteY7" fmla="*/ 3595 h 6888"/>
                  <a:gd name="connsiteX8" fmla="*/ 11938 w 16273"/>
                  <a:gd name="connsiteY8" fmla="*/ 6888 h 6888"/>
                  <a:gd name="connsiteX9" fmla="*/ 9440 w 16273"/>
                  <a:gd name="connsiteY9" fmla="*/ 4171 h 6888"/>
                  <a:gd name="connsiteX10" fmla="*/ 5516 w 16273"/>
                  <a:gd name="connsiteY10" fmla="*/ 5982 h 6888"/>
                  <a:gd name="connsiteX11" fmla="*/ 4555 w 16273"/>
                  <a:gd name="connsiteY11" fmla="*/ 4885 h 6888"/>
                  <a:gd name="connsiteX12" fmla="*/ 1509 w 16273"/>
                  <a:gd name="connsiteY12" fmla="*/ 5790 h 6888"/>
                  <a:gd name="connsiteX13" fmla="*/ 0 w 16273"/>
                  <a:gd name="connsiteY13" fmla="*/ 4144 h 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73" h="6888">
                    <a:moveTo>
                      <a:pt x="0" y="4116"/>
                    </a:moveTo>
                    <a:lnTo>
                      <a:pt x="1207" y="1893"/>
                    </a:lnTo>
                    <a:lnTo>
                      <a:pt x="4693" y="0"/>
                    </a:lnTo>
                    <a:lnTo>
                      <a:pt x="8178" y="384"/>
                    </a:lnTo>
                    <a:lnTo>
                      <a:pt x="9990" y="2799"/>
                    </a:lnTo>
                    <a:lnTo>
                      <a:pt x="14765" y="851"/>
                    </a:lnTo>
                    <a:lnTo>
                      <a:pt x="16054" y="1098"/>
                    </a:lnTo>
                    <a:lnTo>
                      <a:pt x="16273" y="3595"/>
                    </a:lnTo>
                    <a:lnTo>
                      <a:pt x="11938" y="6888"/>
                    </a:lnTo>
                    <a:lnTo>
                      <a:pt x="9440" y="4171"/>
                    </a:lnTo>
                    <a:lnTo>
                      <a:pt x="5516" y="5982"/>
                    </a:lnTo>
                    <a:lnTo>
                      <a:pt x="4555" y="4885"/>
                    </a:lnTo>
                    <a:lnTo>
                      <a:pt x="1509" y="5790"/>
                    </a:lnTo>
                    <a:lnTo>
                      <a:pt x="0" y="41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68" name="Freeform: Shape 4767">
                <a:extLst>
                  <a:ext uri="{FF2B5EF4-FFF2-40B4-BE49-F238E27FC236}">
                    <a16:creationId xmlns:a16="http://schemas.microsoft.com/office/drawing/2014/main" id="{9D2E52AD-F227-33AA-DF4D-5EF8503E6281}"/>
                  </a:ext>
                </a:extLst>
              </p:cNvPr>
              <p:cNvSpPr/>
              <p:nvPr/>
            </p:nvSpPr>
            <p:spPr>
              <a:xfrm>
                <a:off x="1750364" y="3812327"/>
                <a:ext cx="581" cy="1803"/>
              </a:xfrm>
              <a:custGeom>
                <a:avLst/>
                <a:gdLst>
                  <a:gd name="connsiteX0" fmla="*/ 27 w 5571"/>
                  <a:gd name="connsiteY0" fmla="*/ 8946 h 17288"/>
                  <a:gd name="connsiteX1" fmla="*/ 1070 w 5571"/>
                  <a:gd name="connsiteY1" fmla="*/ 2936 h 17288"/>
                  <a:gd name="connsiteX2" fmla="*/ 3485 w 5571"/>
                  <a:gd name="connsiteY2" fmla="*/ 0 h 17288"/>
                  <a:gd name="connsiteX3" fmla="*/ 4419 w 5571"/>
                  <a:gd name="connsiteY3" fmla="*/ 329 h 17288"/>
                  <a:gd name="connsiteX4" fmla="*/ 4610 w 5571"/>
                  <a:gd name="connsiteY4" fmla="*/ 5324 h 17288"/>
                  <a:gd name="connsiteX5" fmla="*/ 5571 w 5571"/>
                  <a:gd name="connsiteY5" fmla="*/ 15341 h 17288"/>
                  <a:gd name="connsiteX6" fmla="*/ 3733 w 5571"/>
                  <a:gd name="connsiteY6" fmla="*/ 17289 h 17288"/>
                  <a:gd name="connsiteX7" fmla="*/ 2196 w 5571"/>
                  <a:gd name="connsiteY7" fmla="*/ 11032 h 17288"/>
                  <a:gd name="connsiteX8" fmla="*/ 0 w 5571"/>
                  <a:gd name="connsiteY8" fmla="*/ 8946 h 17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1" h="17288">
                    <a:moveTo>
                      <a:pt x="27" y="8946"/>
                    </a:moveTo>
                    <a:lnTo>
                      <a:pt x="1070" y="2936"/>
                    </a:lnTo>
                    <a:lnTo>
                      <a:pt x="3485" y="0"/>
                    </a:lnTo>
                    <a:lnTo>
                      <a:pt x="4419" y="329"/>
                    </a:lnTo>
                    <a:lnTo>
                      <a:pt x="4610" y="5324"/>
                    </a:lnTo>
                    <a:lnTo>
                      <a:pt x="5571" y="15341"/>
                    </a:lnTo>
                    <a:lnTo>
                      <a:pt x="3733" y="17289"/>
                    </a:lnTo>
                    <a:lnTo>
                      <a:pt x="2196" y="11032"/>
                    </a:lnTo>
                    <a:lnTo>
                      <a:pt x="0" y="89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69" name="Freeform: Shape 4768">
                <a:extLst>
                  <a:ext uri="{FF2B5EF4-FFF2-40B4-BE49-F238E27FC236}">
                    <a16:creationId xmlns:a16="http://schemas.microsoft.com/office/drawing/2014/main" id="{9E4BF32D-6749-395D-1705-5EE0078664E8}"/>
                  </a:ext>
                </a:extLst>
              </p:cNvPr>
              <p:cNvSpPr/>
              <p:nvPr/>
            </p:nvSpPr>
            <p:spPr>
              <a:xfrm>
                <a:off x="1742587" y="3803797"/>
                <a:ext cx="982" cy="1002"/>
              </a:xfrm>
              <a:custGeom>
                <a:avLst/>
                <a:gdLst>
                  <a:gd name="connsiteX0" fmla="*/ 27 w 9412"/>
                  <a:gd name="connsiteY0" fmla="*/ 2744 h 9605"/>
                  <a:gd name="connsiteX1" fmla="*/ 219 w 9412"/>
                  <a:gd name="connsiteY1" fmla="*/ 0 h 9605"/>
                  <a:gd name="connsiteX2" fmla="*/ 2415 w 9412"/>
                  <a:gd name="connsiteY2" fmla="*/ 522 h 9605"/>
                  <a:gd name="connsiteX3" fmla="*/ 6311 w 9412"/>
                  <a:gd name="connsiteY3" fmla="*/ 6257 h 9605"/>
                  <a:gd name="connsiteX4" fmla="*/ 9413 w 9412"/>
                  <a:gd name="connsiteY4" fmla="*/ 7437 h 9605"/>
                  <a:gd name="connsiteX5" fmla="*/ 9111 w 9412"/>
                  <a:gd name="connsiteY5" fmla="*/ 9605 h 9605"/>
                  <a:gd name="connsiteX6" fmla="*/ 0 w 9412"/>
                  <a:gd name="connsiteY6" fmla="*/ 2744 h 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2" h="9605">
                    <a:moveTo>
                      <a:pt x="27" y="2744"/>
                    </a:moveTo>
                    <a:lnTo>
                      <a:pt x="219" y="0"/>
                    </a:lnTo>
                    <a:lnTo>
                      <a:pt x="2415" y="522"/>
                    </a:lnTo>
                    <a:lnTo>
                      <a:pt x="6311" y="6257"/>
                    </a:lnTo>
                    <a:lnTo>
                      <a:pt x="9413" y="7437"/>
                    </a:lnTo>
                    <a:lnTo>
                      <a:pt x="9111" y="9605"/>
                    </a:lnTo>
                    <a:lnTo>
                      <a:pt x="0"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70" name="Freeform: Shape 4769">
                <a:extLst>
                  <a:ext uri="{FF2B5EF4-FFF2-40B4-BE49-F238E27FC236}">
                    <a16:creationId xmlns:a16="http://schemas.microsoft.com/office/drawing/2014/main" id="{BE3219A3-75B6-15B4-B9A9-1E753DEFFE88}"/>
                  </a:ext>
                </a:extLst>
              </p:cNvPr>
              <p:cNvSpPr/>
              <p:nvPr/>
            </p:nvSpPr>
            <p:spPr>
              <a:xfrm>
                <a:off x="1739080" y="3802569"/>
                <a:ext cx="982" cy="976"/>
              </a:xfrm>
              <a:custGeom>
                <a:avLst/>
                <a:gdLst>
                  <a:gd name="connsiteX0" fmla="*/ 0 w 9412"/>
                  <a:gd name="connsiteY0" fmla="*/ 3101 h 9358"/>
                  <a:gd name="connsiteX1" fmla="*/ 1262 w 9412"/>
                  <a:gd name="connsiteY1" fmla="*/ 412 h 9358"/>
                  <a:gd name="connsiteX2" fmla="*/ 2991 w 9412"/>
                  <a:gd name="connsiteY2" fmla="*/ 0 h 9358"/>
                  <a:gd name="connsiteX3" fmla="*/ 7657 w 9412"/>
                  <a:gd name="connsiteY3" fmla="*/ 494 h 9358"/>
                  <a:gd name="connsiteX4" fmla="*/ 9413 w 9412"/>
                  <a:gd name="connsiteY4" fmla="*/ 4419 h 9358"/>
                  <a:gd name="connsiteX5" fmla="*/ 6010 w 9412"/>
                  <a:gd name="connsiteY5" fmla="*/ 9358 h 9358"/>
                  <a:gd name="connsiteX6" fmla="*/ 2991 w 9412"/>
                  <a:gd name="connsiteY6" fmla="*/ 7959 h 9358"/>
                  <a:gd name="connsiteX7" fmla="*/ 659 w 9412"/>
                  <a:gd name="connsiteY7" fmla="*/ 6093 h 9358"/>
                  <a:gd name="connsiteX8" fmla="*/ 27 w 9412"/>
                  <a:gd name="connsiteY8" fmla="*/ 3101 h 9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2" h="9358">
                    <a:moveTo>
                      <a:pt x="0" y="3101"/>
                    </a:moveTo>
                    <a:lnTo>
                      <a:pt x="1262" y="412"/>
                    </a:lnTo>
                    <a:lnTo>
                      <a:pt x="2991" y="0"/>
                    </a:lnTo>
                    <a:lnTo>
                      <a:pt x="7657" y="494"/>
                    </a:lnTo>
                    <a:lnTo>
                      <a:pt x="9413" y="4419"/>
                    </a:lnTo>
                    <a:lnTo>
                      <a:pt x="6010" y="9358"/>
                    </a:lnTo>
                    <a:lnTo>
                      <a:pt x="2991" y="7959"/>
                    </a:lnTo>
                    <a:lnTo>
                      <a:pt x="659" y="6093"/>
                    </a:lnTo>
                    <a:lnTo>
                      <a:pt x="27" y="31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71" name="Freeform: Shape 4770">
                <a:extLst>
                  <a:ext uri="{FF2B5EF4-FFF2-40B4-BE49-F238E27FC236}">
                    <a16:creationId xmlns:a16="http://schemas.microsoft.com/office/drawing/2014/main" id="{F9709779-00C8-E05F-97B0-E71B21CC5DCD}"/>
                  </a:ext>
                </a:extLst>
              </p:cNvPr>
              <p:cNvSpPr/>
              <p:nvPr/>
            </p:nvSpPr>
            <p:spPr>
              <a:xfrm>
                <a:off x="1751675" y="3813592"/>
                <a:ext cx="664" cy="1357"/>
              </a:xfrm>
              <a:custGeom>
                <a:avLst/>
                <a:gdLst>
                  <a:gd name="connsiteX0" fmla="*/ 1235 w 6366"/>
                  <a:gd name="connsiteY0" fmla="*/ 13008 h 13007"/>
                  <a:gd name="connsiteX1" fmla="*/ 411 w 6366"/>
                  <a:gd name="connsiteY1" fmla="*/ 13008 h 13007"/>
                  <a:gd name="connsiteX2" fmla="*/ 0 w 6366"/>
                  <a:gd name="connsiteY2" fmla="*/ 9084 h 13007"/>
                  <a:gd name="connsiteX3" fmla="*/ 2470 w 6366"/>
                  <a:gd name="connsiteY3" fmla="*/ 7465 h 13007"/>
                  <a:gd name="connsiteX4" fmla="*/ 164 w 6366"/>
                  <a:gd name="connsiteY4" fmla="*/ 3238 h 13007"/>
                  <a:gd name="connsiteX5" fmla="*/ 4199 w 6366"/>
                  <a:gd name="connsiteY5" fmla="*/ 0 h 13007"/>
                  <a:gd name="connsiteX6" fmla="*/ 6366 w 6366"/>
                  <a:gd name="connsiteY6" fmla="*/ 6504 h 13007"/>
                  <a:gd name="connsiteX7" fmla="*/ 1235 w 6366"/>
                  <a:gd name="connsiteY7" fmla="*/ 1300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6" h="13007">
                    <a:moveTo>
                      <a:pt x="1235" y="13008"/>
                    </a:moveTo>
                    <a:lnTo>
                      <a:pt x="411" y="13008"/>
                    </a:lnTo>
                    <a:lnTo>
                      <a:pt x="0" y="9084"/>
                    </a:lnTo>
                    <a:lnTo>
                      <a:pt x="2470" y="7465"/>
                    </a:lnTo>
                    <a:lnTo>
                      <a:pt x="164" y="3238"/>
                    </a:lnTo>
                    <a:lnTo>
                      <a:pt x="4199" y="0"/>
                    </a:lnTo>
                    <a:lnTo>
                      <a:pt x="6366" y="6504"/>
                    </a:lnTo>
                    <a:lnTo>
                      <a:pt x="1235" y="130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72" name="Freeform: Shape 4771">
                <a:extLst>
                  <a:ext uri="{FF2B5EF4-FFF2-40B4-BE49-F238E27FC236}">
                    <a16:creationId xmlns:a16="http://schemas.microsoft.com/office/drawing/2014/main" id="{E869C46E-B40E-EB58-FEAE-2504B211846A}"/>
                  </a:ext>
                </a:extLst>
              </p:cNvPr>
              <p:cNvSpPr/>
              <p:nvPr/>
            </p:nvSpPr>
            <p:spPr>
              <a:xfrm>
                <a:off x="1739538" y="3805392"/>
                <a:ext cx="495" cy="1563"/>
              </a:xfrm>
              <a:custGeom>
                <a:avLst/>
                <a:gdLst>
                  <a:gd name="connsiteX0" fmla="*/ 2882 w 4747"/>
                  <a:gd name="connsiteY0" fmla="*/ 10757 h 14983"/>
                  <a:gd name="connsiteX1" fmla="*/ 1400 w 4747"/>
                  <a:gd name="connsiteY1" fmla="*/ 14984 h 14983"/>
                  <a:gd name="connsiteX2" fmla="*/ 220 w 4747"/>
                  <a:gd name="connsiteY2" fmla="*/ 13639 h 14983"/>
                  <a:gd name="connsiteX3" fmla="*/ 1016 w 4747"/>
                  <a:gd name="connsiteY3" fmla="*/ 11828 h 14983"/>
                  <a:gd name="connsiteX4" fmla="*/ 0 w 4747"/>
                  <a:gd name="connsiteY4" fmla="*/ 10757 h 14983"/>
                  <a:gd name="connsiteX5" fmla="*/ 1345 w 4747"/>
                  <a:gd name="connsiteY5" fmla="*/ 1564 h 14983"/>
                  <a:gd name="connsiteX6" fmla="*/ 3705 w 4747"/>
                  <a:gd name="connsiteY6" fmla="*/ 0 h 14983"/>
                  <a:gd name="connsiteX7" fmla="*/ 4748 w 4747"/>
                  <a:gd name="connsiteY7" fmla="*/ 2525 h 14983"/>
                  <a:gd name="connsiteX8" fmla="*/ 2882 w 4747"/>
                  <a:gd name="connsiteY8" fmla="*/ 10757 h 1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7" h="14983">
                    <a:moveTo>
                      <a:pt x="2882" y="10757"/>
                    </a:moveTo>
                    <a:lnTo>
                      <a:pt x="1400" y="14984"/>
                    </a:lnTo>
                    <a:lnTo>
                      <a:pt x="220" y="13639"/>
                    </a:lnTo>
                    <a:lnTo>
                      <a:pt x="1016" y="11828"/>
                    </a:lnTo>
                    <a:lnTo>
                      <a:pt x="0" y="10757"/>
                    </a:lnTo>
                    <a:lnTo>
                      <a:pt x="1345" y="1564"/>
                    </a:lnTo>
                    <a:lnTo>
                      <a:pt x="3705" y="0"/>
                    </a:lnTo>
                    <a:lnTo>
                      <a:pt x="4748" y="2525"/>
                    </a:lnTo>
                    <a:lnTo>
                      <a:pt x="2882" y="107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73" name="Freeform: Shape 4772">
                <a:extLst>
                  <a:ext uri="{FF2B5EF4-FFF2-40B4-BE49-F238E27FC236}">
                    <a16:creationId xmlns:a16="http://schemas.microsoft.com/office/drawing/2014/main" id="{702DC24D-8B98-9358-2DBA-2A6527FEBFA9}"/>
                  </a:ext>
                </a:extLst>
              </p:cNvPr>
              <p:cNvSpPr/>
              <p:nvPr/>
            </p:nvSpPr>
            <p:spPr>
              <a:xfrm>
                <a:off x="1746588" y="3811027"/>
                <a:ext cx="1013" cy="750"/>
              </a:xfrm>
              <a:custGeom>
                <a:avLst/>
                <a:gdLst>
                  <a:gd name="connsiteX0" fmla="*/ 6998 w 9714"/>
                  <a:gd name="connsiteY0" fmla="*/ 4171 h 7190"/>
                  <a:gd name="connsiteX1" fmla="*/ 6943 w 9714"/>
                  <a:gd name="connsiteY1" fmla="*/ 5900 h 7190"/>
                  <a:gd name="connsiteX2" fmla="*/ 0 w 9714"/>
                  <a:gd name="connsiteY2" fmla="*/ 7190 h 7190"/>
                  <a:gd name="connsiteX3" fmla="*/ 1152 w 9714"/>
                  <a:gd name="connsiteY3" fmla="*/ 3870 h 7190"/>
                  <a:gd name="connsiteX4" fmla="*/ 3430 w 9714"/>
                  <a:gd name="connsiteY4" fmla="*/ 4418 h 7190"/>
                  <a:gd name="connsiteX5" fmla="*/ 5571 w 9714"/>
                  <a:gd name="connsiteY5" fmla="*/ 3458 h 7190"/>
                  <a:gd name="connsiteX6" fmla="*/ 8617 w 9714"/>
                  <a:gd name="connsiteY6" fmla="*/ 0 h 7190"/>
                  <a:gd name="connsiteX7" fmla="*/ 9715 w 9714"/>
                  <a:gd name="connsiteY7" fmla="*/ 1235 h 7190"/>
                  <a:gd name="connsiteX8" fmla="*/ 6998 w 9714"/>
                  <a:gd name="connsiteY8" fmla="*/ 4226 h 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14" h="7190">
                    <a:moveTo>
                      <a:pt x="6998" y="4171"/>
                    </a:moveTo>
                    <a:lnTo>
                      <a:pt x="6943" y="5900"/>
                    </a:lnTo>
                    <a:lnTo>
                      <a:pt x="0" y="7190"/>
                    </a:lnTo>
                    <a:lnTo>
                      <a:pt x="1152" y="3870"/>
                    </a:lnTo>
                    <a:lnTo>
                      <a:pt x="3430" y="4418"/>
                    </a:lnTo>
                    <a:lnTo>
                      <a:pt x="5571" y="3458"/>
                    </a:lnTo>
                    <a:lnTo>
                      <a:pt x="8617" y="0"/>
                    </a:lnTo>
                    <a:lnTo>
                      <a:pt x="9715" y="1235"/>
                    </a:lnTo>
                    <a:lnTo>
                      <a:pt x="6998"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74" name="Freeform: Shape 4773">
                <a:extLst>
                  <a:ext uri="{FF2B5EF4-FFF2-40B4-BE49-F238E27FC236}">
                    <a16:creationId xmlns:a16="http://schemas.microsoft.com/office/drawing/2014/main" id="{8CB1ABE6-7F50-95B5-6E93-385B0DC9C6CE}"/>
                  </a:ext>
                </a:extLst>
              </p:cNvPr>
              <p:cNvSpPr/>
              <p:nvPr/>
            </p:nvSpPr>
            <p:spPr>
              <a:xfrm>
                <a:off x="1745277" y="3803127"/>
                <a:ext cx="1225" cy="607"/>
              </a:xfrm>
              <a:custGeom>
                <a:avLst/>
                <a:gdLst>
                  <a:gd name="connsiteX0" fmla="*/ 27 w 11745"/>
                  <a:gd name="connsiteY0" fmla="*/ 2278 h 5817"/>
                  <a:gd name="connsiteX1" fmla="*/ 1290 w 11745"/>
                  <a:gd name="connsiteY1" fmla="*/ 0 h 5817"/>
                  <a:gd name="connsiteX2" fmla="*/ 6861 w 11745"/>
                  <a:gd name="connsiteY2" fmla="*/ 2854 h 5817"/>
                  <a:gd name="connsiteX3" fmla="*/ 11746 w 11745"/>
                  <a:gd name="connsiteY3" fmla="*/ 4418 h 5817"/>
                  <a:gd name="connsiteX4" fmla="*/ 10702 w 11745"/>
                  <a:gd name="connsiteY4" fmla="*/ 5818 h 5817"/>
                  <a:gd name="connsiteX5" fmla="*/ 6504 w 11745"/>
                  <a:gd name="connsiteY5" fmla="*/ 3979 h 5817"/>
                  <a:gd name="connsiteX6" fmla="*/ 0 w 11745"/>
                  <a:gd name="connsiteY6" fmla="*/ 2305 h 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5" h="5817">
                    <a:moveTo>
                      <a:pt x="27" y="2278"/>
                    </a:moveTo>
                    <a:lnTo>
                      <a:pt x="1290" y="0"/>
                    </a:lnTo>
                    <a:lnTo>
                      <a:pt x="6861" y="2854"/>
                    </a:lnTo>
                    <a:lnTo>
                      <a:pt x="11746" y="4418"/>
                    </a:lnTo>
                    <a:lnTo>
                      <a:pt x="10702" y="5818"/>
                    </a:lnTo>
                    <a:lnTo>
                      <a:pt x="6504" y="3979"/>
                    </a:lnTo>
                    <a:lnTo>
                      <a:pt x="0" y="23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75" name="Freeform: Shape 4774">
                <a:extLst>
                  <a:ext uri="{FF2B5EF4-FFF2-40B4-BE49-F238E27FC236}">
                    <a16:creationId xmlns:a16="http://schemas.microsoft.com/office/drawing/2014/main" id="{2920B9BB-143A-677B-BD53-38D7855487FC}"/>
                  </a:ext>
                </a:extLst>
              </p:cNvPr>
              <p:cNvSpPr/>
              <p:nvPr/>
            </p:nvSpPr>
            <p:spPr>
              <a:xfrm>
                <a:off x="1739146" y="3797738"/>
                <a:ext cx="601" cy="1225"/>
              </a:xfrm>
              <a:custGeom>
                <a:avLst/>
                <a:gdLst>
                  <a:gd name="connsiteX0" fmla="*/ 4748 w 5762"/>
                  <a:gd name="connsiteY0" fmla="*/ 4199 h 11745"/>
                  <a:gd name="connsiteX1" fmla="*/ 5434 w 5762"/>
                  <a:gd name="connsiteY1" fmla="*/ 10154 h 11745"/>
                  <a:gd name="connsiteX2" fmla="*/ 3540 w 5762"/>
                  <a:gd name="connsiteY2" fmla="*/ 11746 h 11745"/>
                  <a:gd name="connsiteX3" fmla="*/ 329 w 5762"/>
                  <a:gd name="connsiteY3" fmla="*/ 4199 h 11745"/>
                  <a:gd name="connsiteX4" fmla="*/ 0 w 5762"/>
                  <a:gd name="connsiteY4" fmla="*/ 1043 h 11745"/>
                  <a:gd name="connsiteX5" fmla="*/ 2662 w 5762"/>
                  <a:gd name="connsiteY5" fmla="*/ 0 h 11745"/>
                  <a:gd name="connsiteX6" fmla="*/ 5763 w 5762"/>
                  <a:gd name="connsiteY6" fmla="*/ 1619 h 11745"/>
                  <a:gd name="connsiteX7" fmla="*/ 4748 w 5762"/>
                  <a:gd name="connsiteY7" fmla="*/ 4226 h 1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62" h="11745">
                    <a:moveTo>
                      <a:pt x="4748" y="4199"/>
                    </a:moveTo>
                    <a:lnTo>
                      <a:pt x="5434" y="10154"/>
                    </a:lnTo>
                    <a:lnTo>
                      <a:pt x="3540" y="11746"/>
                    </a:lnTo>
                    <a:lnTo>
                      <a:pt x="329" y="4199"/>
                    </a:lnTo>
                    <a:lnTo>
                      <a:pt x="0" y="1043"/>
                    </a:lnTo>
                    <a:lnTo>
                      <a:pt x="2662" y="0"/>
                    </a:lnTo>
                    <a:lnTo>
                      <a:pt x="5763" y="1619"/>
                    </a:lnTo>
                    <a:lnTo>
                      <a:pt x="4748"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76" name="Freeform: Shape 4775">
                <a:extLst>
                  <a:ext uri="{FF2B5EF4-FFF2-40B4-BE49-F238E27FC236}">
                    <a16:creationId xmlns:a16="http://schemas.microsoft.com/office/drawing/2014/main" id="{4B8AB812-CF87-2DB3-761C-A671AD196D5B}"/>
                  </a:ext>
                </a:extLst>
              </p:cNvPr>
              <p:cNvSpPr/>
              <p:nvPr/>
            </p:nvSpPr>
            <p:spPr>
              <a:xfrm>
                <a:off x="1744485" y="3805214"/>
                <a:ext cx="615" cy="887"/>
              </a:xfrm>
              <a:custGeom>
                <a:avLst/>
                <a:gdLst>
                  <a:gd name="connsiteX0" fmla="*/ 0 w 5900"/>
                  <a:gd name="connsiteY0" fmla="*/ 1537 h 8507"/>
                  <a:gd name="connsiteX1" fmla="*/ 1071 w 5900"/>
                  <a:gd name="connsiteY1" fmla="*/ 0 h 8507"/>
                  <a:gd name="connsiteX2" fmla="*/ 4254 w 5900"/>
                  <a:gd name="connsiteY2" fmla="*/ 2031 h 8507"/>
                  <a:gd name="connsiteX3" fmla="*/ 5653 w 5900"/>
                  <a:gd name="connsiteY3" fmla="*/ 5681 h 8507"/>
                  <a:gd name="connsiteX4" fmla="*/ 5901 w 5900"/>
                  <a:gd name="connsiteY4" fmla="*/ 8508 h 8507"/>
                  <a:gd name="connsiteX5" fmla="*/ 3129 w 5900"/>
                  <a:gd name="connsiteY5" fmla="*/ 6861 h 8507"/>
                  <a:gd name="connsiteX6" fmla="*/ 0 w 5900"/>
                  <a:gd name="connsiteY6" fmla="*/ 1509 h 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00" h="8507">
                    <a:moveTo>
                      <a:pt x="0" y="1537"/>
                    </a:moveTo>
                    <a:lnTo>
                      <a:pt x="1071" y="0"/>
                    </a:lnTo>
                    <a:lnTo>
                      <a:pt x="4254" y="2031"/>
                    </a:lnTo>
                    <a:lnTo>
                      <a:pt x="5653" y="5681"/>
                    </a:lnTo>
                    <a:lnTo>
                      <a:pt x="5901" y="8508"/>
                    </a:lnTo>
                    <a:lnTo>
                      <a:pt x="3129" y="6861"/>
                    </a:lnTo>
                    <a:lnTo>
                      <a:pt x="0" y="15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77" name="Freeform: Shape 4776">
                <a:extLst>
                  <a:ext uri="{FF2B5EF4-FFF2-40B4-BE49-F238E27FC236}">
                    <a16:creationId xmlns:a16="http://schemas.microsoft.com/office/drawing/2014/main" id="{106BE8B5-B4A6-1700-86F3-618B82A9554B}"/>
                  </a:ext>
                </a:extLst>
              </p:cNvPr>
              <p:cNvSpPr/>
              <p:nvPr/>
            </p:nvSpPr>
            <p:spPr>
              <a:xfrm>
                <a:off x="1741001" y="3805801"/>
                <a:ext cx="758" cy="716"/>
              </a:xfrm>
              <a:custGeom>
                <a:avLst/>
                <a:gdLst>
                  <a:gd name="connsiteX0" fmla="*/ 55 w 7272"/>
                  <a:gd name="connsiteY0" fmla="*/ 2634 h 6860"/>
                  <a:gd name="connsiteX1" fmla="*/ 878 w 7272"/>
                  <a:gd name="connsiteY1" fmla="*/ 439 h 6860"/>
                  <a:gd name="connsiteX2" fmla="*/ 4062 w 7272"/>
                  <a:gd name="connsiteY2" fmla="*/ 0 h 6860"/>
                  <a:gd name="connsiteX3" fmla="*/ 6586 w 7272"/>
                  <a:gd name="connsiteY3" fmla="*/ 1235 h 6860"/>
                  <a:gd name="connsiteX4" fmla="*/ 7272 w 7272"/>
                  <a:gd name="connsiteY4" fmla="*/ 4007 h 6860"/>
                  <a:gd name="connsiteX5" fmla="*/ 5434 w 7272"/>
                  <a:gd name="connsiteY5" fmla="*/ 6861 h 6860"/>
                  <a:gd name="connsiteX6" fmla="*/ 0 w 7272"/>
                  <a:gd name="connsiteY6" fmla="*/ 2634 h 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72" h="6860">
                    <a:moveTo>
                      <a:pt x="55" y="2634"/>
                    </a:moveTo>
                    <a:lnTo>
                      <a:pt x="878" y="439"/>
                    </a:lnTo>
                    <a:lnTo>
                      <a:pt x="4062" y="0"/>
                    </a:lnTo>
                    <a:lnTo>
                      <a:pt x="6586" y="1235"/>
                    </a:lnTo>
                    <a:lnTo>
                      <a:pt x="7272" y="4007"/>
                    </a:lnTo>
                    <a:lnTo>
                      <a:pt x="5434" y="6861"/>
                    </a:lnTo>
                    <a:lnTo>
                      <a:pt x="0"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78" name="Freeform: Shape 4777">
                <a:extLst>
                  <a:ext uri="{FF2B5EF4-FFF2-40B4-BE49-F238E27FC236}">
                    <a16:creationId xmlns:a16="http://schemas.microsoft.com/office/drawing/2014/main" id="{258D620F-4C5F-2221-92DD-1E1BA8BF56D4}"/>
                  </a:ext>
                </a:extLst>
              </p:cNvPr>
              <p:cNvSpPr/>
              <p:nvPr/>
            </p:nvSpPr>
            <p:spPr>
              <a:xfrm>
                <a:off x="1724093" y="3819425"/>
                <a:ext cx="461" cy="1025"/>
              </a:xfrm>
              <a:custGeom>
                <a:avLst/>
                <a:gdLst>
                  <a:gd name="connsiteX0" fmla="*/ 27 w 4418"/>
                  <a:gd name="connsiteY0" fmla="*/ 5790 h 9824"/>
                  <a:gd name="connsiteX1" fmla="*/ 1098 w 4418"/>
                  <a:gd name="connsiteY1" fmla="*/ 5434 h 9824"/>
                  <a:gd name="connsiteX2" fmla="*/ 1729 w 4418"/>
                  <a:gd name="connsiteY2" fmla="*/ 741 h 9824"/>
                  <a:gd name="connsiteX3" fmla="*/ 2882 w 4418"/>
                  <a:gd name="connsiteY3" fmla="*/ 0 h 9824"/>
                  <a:gd name="connsiteX4" fmla="*/ 4171 w 4418"/>
                  <a:gd name="connsiteY4" fmla="*/ 1701 h 9824"/>
                  <a:gd name="connsiteX5" fmla="*/ 4419 w 4418"/>
                  <a:gd name="connsiteY5" fmla="*/ 7602 h 9824"/>
                  <a:gd name="connsiteX6" fmla="*/ 2717 w 4418"/>
                  <a:gd name="connsiteY6" fmla="*/ 9825 h 9824"/>
                  <a:gd name="connsiteX7" fmla="*/ 0 w 4418"/>
                  <a:gd name="connsiteY7" fmla="*/ 5790 h 9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8" h="9824">
                    <a:moveTo>
                      <a:pt x="27" y="5790"/>
                    </a:moveTo>
                    <a:lnTo>
                      <a:pt x="1098" y="5434"/>
                    </a:lnTo>
                    <a:lnTo>
                      <a:pt x="1729" y="741"/>
                    </a:lnTo>
                    <a:lnTo>
                      <a:pt x="2882" y="0"/>
                    </a:lnTo>
                    <a:lnTo>
                      <a:pt x="4171" y="1701"/>
                    </a:lnTo>
                    <a:lnTo>
                      <a:pt x="4419" y="7602"/>
                    </a:lnTo>
                    <a:lnTo>
                      <a:pt x="2717" y="9825"/>
                    </a:lnTo>
                    <a:lnTo>
                      <a:pt x="0" y="57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79" name="Freeform: Shape 4778">
                <a:extLst>
                  <a:ext uri="{FF2B5EF4-FFF2-40B4-BE49-F238E27FC236}">
                    <a16:creationId xmlns:a16="http://schemas.microsoft.com/office/drawing/2014/main" id="{B4E65223-43DF-A61D-9BE5-6798739CA1AC}"/>
                  </a:ext>
                </a:extLst>
              </p:cNvPr>
              <p:cNvSpPr/>
              <p:nvPr/>
            </p:nvSpPr>
            <p:spPr>
              <a:xfrm>
                <a:off x="1744101" y="3815790"/>
                <a:ext cx="730" cy="635"/>
              </a:xfrm>
              <a:custGeom>
                <a:avLst/>
                <a:gdLst>
                  <a:gd name="connsiteX0" fmla="*/ 0 w 6997"/>
                  <a:gd name="connsiteY0" fmla="*/ 3348 h 6092"/>
                  <a:gd name="connsiteX1" fmla="*/ 576 w 6997"/>
                  <a:gd name="connsiteY1" fmla="*/ 2360 h 6092"/>
                  <a:gd name="connsiteX2" fmla="*/ 3128 w 6997"/>
                  <a:gd name="connsiteY2" fmla="*/ 2250 h 6092"/>
                  <a:gd name="connsiteX3" fmla="*/ 4528 w 6997"/>
                  <a:gd name="connsiteY3" fmla="*/ 0 h 6092"/>
                  <a:gd name="connsiteX4" fmla="*/ 5818 w 6997"/>
                  <a:gd name="connsiteY4" fmla="*/ 604 h 6092"/>
                  <a:gd name="connsiteX5" fmla="*/ 6997 w 6997"/>
                  <a:gd name="connsiteY5" fmla="*/ 5406 h 6092"/>
                  <a:gd name="connsiteX6" fmla="*/ 3211 w 6997"/>
                  <a:gd name="connsiteY6" fmla="*/ 6092 h 6092"/>
                  <a:gd name="connsiteX7" fmla="*/ 27 w 6997"/>
                  <a:gd name="connsiteY7" fmla="*/ 3348 h 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97" h="6092">
                    <a:moveTo>
                      <a:pt x="0" y="3348"/>
                    </a:moveTo>
                    <a:lnTo>
                      <a:pt x="576" y="2360"/>
                    </a:lnTo>
                    <a:lnTo>
                      <a:pt x="3128" y="2250"/>
                    </a:lnTo>
                    <a:lnTo>
                      <a:pt x="4528" y="0"/>
                    </a:lnTo>
                    <a:lnTo>
                      <a:pt x="5818" y="604"/>
                    </a:lnTo>
                    <a:lnTo>
                      <a:pt x="6997" y="5406"/>
                    </a:lnTo>
                    <a:lnTo>
                      <a:pt x="3211" y="6092"/>
                    </a:lnTo>
                    <a:lnTo>
                      <a:pt x="27"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80" name="Freeform: Shape 4779">
                <a:extLst>
                  <a:ext uri="{FF2B5EF4-FFF2-40B4-BE49-F238E27FC236}">
                    <a16:creationId xmlns:a16="http://schemas.microsoft.com/office/drawing/2014/main" id="{DAFD0795-3063-E875-F7B1-47EA5DFA9961}"/>
                  </a:ext>
                </a:extLst>
              </p:cNvPr>
              <p:cNvSpPr/>
              <p:nvPr/>
            </p:nvSpPr>
            <p:spPr>
              <a:xfrm>
                <a:off x="1749199" y="3813146"/>
                <a:ext cx="575" cy="770"/>
              </a:xfrm>
              <a:custGeom>
                <a:avLst/>
                <a:gdLst>
                  <a:gd name="connsiteX0" fmla="*/ 0 w 5516"/>
                  <a:gd name="connsiteY0" fmla="*/ 933 h 7382"/>
                  <a:gd name="connsiteX1" fmla="*/ 165 w 5516"/>
                  <a:gd name="connsiteY1" fmla="*/ 0 h 7382"/>
                  <a:gd name="connsiteX2" fmla="*/ 2964 w 5516"/>
                  <a:gd name="connsiteY2" fmla="*/ 714 h 7382"/>
                  <a:gd name="connsiteX3" fmla="*/ 5516 w 5516"/>
                  <a:gd name="connsiteY3" fmla="*/ 6723 h 7382"/>
                  <a:gd name="connsiteX4" fmla="*/ 4638 w 5516"/>
                  <a:gd name="connsiteY4" fmla="*/ 7382 h 7382"/>
                  <a:gd name="connsiteX5" fmla="*/ 27 w 5516"/>
                  <a:gd name="connsiteY5" fmla="*/ 905 h 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16" h="7382">
                    <a:moveTo>
                      <a:pt x="0" y="933"/>
                    </a:moveTo>
                    <a:lnTo>
                      <a:pt x="165" y="0"/>
                    </a:lnTo>
                    <a:lnTo>
                      <a:pt x="2964" y="714"/>
                    </a:lnTo>
                    <a:lnTo>
                      <a:pt x="5516" y="6723"/>
                    </a:lnTo>
                    <a:lnTo>
                      <a:pt x="4638" y="7382"/>
                    </a:lnTo>
                    <a:lnTo>
                      <a:pt x="27"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81" name="Freeform: Shape 4780">
                <a:extLst>
                  <a:ext uri="{FF2B5EF4-FFF2-40B4-BE49-F238E27FC236}">
                    <a16:creationId xmlns:a16="http://schemas.microsoft.com/office/drawing/2014/main" id="{795B1CD3-33D7-AAC3-2826-C1D58F1E2DFC}"/>
                  </a:ext>
                </a:extLst>
              </p:cNvPr>
              <p:cNvSpPr/>
              <p:nvPr/>
            </p:nvSpPr>
            <p:spPr>
              <a:xfrm>
                <a:off x="1732783" y="3811646"/>
                <a:ext cx="733" cy="581"/>
              </a:xfrm>
              <a:custGeom>
                <a:avLst/>
                <a:gdLst>
                  <a:gd name="connsiteX0" fmla="*/ 4445 w 7024"/>
                  <a:gd name="connsiteY0" fmla="*/ 4693 h 5570"/>
                  <a:gd name="connsiteX1" fmla="*/ 1482 w 7024"/>
                  <a:gd name="connsiteY1" fmla="*/ 5571 h 5570"/>
                  <a:gd name="connsiteX2" fmla="*/ 0 w 7024"/>
                  <a:gd name="connsiteY2" fmla="*/ 4940 h 5570"/>
                  <a:gd name="connsiteX3" fmla="*/ 0 w 7024"/>
                  <a:gd name="connsiteY3" fmla="*/ 2854 h 5570"/>
                  <a:gd name="connsiteX4" fmla="*/ 3073 w 7024"/>
                  <a:gd name="connsiteY4" fmla="*/ 0 h 5570"/>
                  <a:gd name="connsiteX5" fmla="*/ 6559 w 7024"/>
                  <a:gd name="connsiteY5" fmla="*/ 1125 h 5570"/>
                  <a:gd name="connsiteX6" fmla="*/ 7025 w 7024"/>
                  <a:gd name="connsiteY6" fmla="*/ 2003 h 5570"/>
                  <a:gd name="connsiteX7" fmla="*/ 5049 w 7024"/>
                  <a:gd name="connsiteY7" fmla="*/ 3129 h 5570"/>
                  <a:gd name="connsiteX8" fmla="*/ 4445 w 7024"/>
                  <a:gd name="connsiteY8" fmla="*/ 4693 h 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24" h="5570">
                    <a:moveTo>
                      <a:pt x="4445" y="4693"/>
                    </a:moveTo>
                    <a:lnTo>
                      <a:pt x="1482" y="5571"/>
                    </a:lnTo>
                    <a:lnTo>
                      <a:pt x="0" y="4940"/>
                    </a:lnTo>
                    <a:lnTo>
                      <a:pt x="0" y="2854"/>
                    </a:lnTo>
                    <a:cubicBezTo>
                      <a:pt x="0" y="2854"/>
                      <a:pt x="3073" y="0"/>
                      <a:pt x="3073" y="0"/>
                    </a:cubicBezTo>
                    <a:lnTo>
                      <a:pt x="6559" y="1125"/>
                    </a:lnTo>
                    <a:lnTo>
                      <a:pt x="7025" y="2003"/>
                    </a:lnTo>
                    <a:lnTo>
                      <a:pt x="5049" y="3129"/>
                    </a:lnTo>
                    <a:lnTo>
                      <a:pt x="4445"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82" name="Freeform: Shape 4781">
                <a:extLst>
                  <a:ext uri="{FF2B5EF4-FFF2-40B4-BE49-F238E27FC236}">
                    <a16:creationId xmlns:a16="http://schemas.microsoft.com/office/drawing/2014/main" id="{E64D9A1F-F938-50D0-F9D1-9159D0129053}"/>
                  </a:ext>
                </a:extLst>
              </p:cNvPr>
              <p:cNvSpPr/>
              <p:nvPr/>
            </p:nvSpPr>
            <p:spPr>
              <a:xfrm>
                <a:off x="1737798" y="3807484"/>
                <a:ext cx="704" cy="555"/>
              </a:xfrm>
              <a:custGeom>
                <a:avLst/>
                <a:gdLst>
                  <a:gd name="connsiteX0" fmla="*/ 27 w 6750"/>
                  <a:gd name="connsiteY0" fmla="*/ 3183 h 5324"/>
                  <a:gd name="connsiteX1" fmla="*/ 3375 w 6750"/>
                  <a:gd name="connsiteY1" fmla="*/ 1509 h 5324"/>
                  <a:gd name="connsiteX2" fmla="*/ 3979 w 6750"/>
                  <a:gd name="connsiteY2" fmla="*/ 0 h 5324"/>
                  <a:gd name="connsiteX3" fmla="*/ 6751 w 6750"/>
                  <a:gd name="connsiteY3" fmla="*/ 1235 h 5324"/>
                  <a:gd name="connsiteX4" fmla="*/ 2826 w 6750"/>
                  <a:gd name="connsiteY4" fmla="*/ 5324 h 5324"/>
                  <a:gd name="connsiteX5" fmla="*/ 0 w 6750"/>
                  <a:gd name="connsiteY5" fmla="*/ 3183 h 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0" h="5324">
                    <a:moveTo>
                      <a:pt x="27" y="3183"/>
                    </a:moveTo>
                    <a:lnTo>
                      <a:pt x="3375" y="1509"/>
                    </a:lnTo>
                    <a:lnTo>
                      <a:pt x="3979" y="0"/>
                    </a:lnTo>
                    <a:lnTo>
                      <a:pt x="6751" y="1235"/>
                    </a:lnTo>
                    <a:lnTo>
                      <a:pt x="2826" y="5324"/>
                    </a:lnTo>
                    <a:lnTo>
                      <a:pt x="0" y="31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83" name="Freeform: Shape 4782">
                <a:extLst>
                  <a:ext uri="{FF2B5EF4-FFF2-40B4-BE49-F238E27FC236}">
                    <a16:creationId xmlns:a16="http://schemas.microsoft.com/office/drawing/2014/main" id="{44389DC0-1C83-1009-C213-4D980AD626F8}"/>
                  </a:ext>
                </a:extLst>
              </p:cNvPr>
              <p:cNvSpPr/>
              <p:nvPr/>
            </p:nvSpPr>
            <p:spPr>
              <a:xfrm>
                <a:off x="1739392" y="3800382"/>
                <a:ext cx="653" cy="601"/>
              </a:xfrm>
              <a:custGeom>
                <a:avLst/>
                <a:gdLst>
                  <a:gd name="connsiteX0" fmla="*/ 0 w 6257"/>
                  <a:gd name="connsiteY0" fmla="*/ 494 h 5762"/>
                  <a:gd name="connsiteX1" fmla="*/ 851 w 6257"/>
                  <a:gd name="connsiteY1" fmla="*/ 0 h 5762"/>
                  <a:gd name="connsiteX2" fmla="*/ 6257 w 6257"/>
                  <a:gd name="connsiteY2" fmla="*/ 4062 h 5762"/>
                  <a:gd name="connsiteX3" fmla="*/ 5681 w 6257"/>
                  <a:gd name="connsiteY3" fmla="*/ 5763 h 5762"/>
                  <a:gd name="connsiteX4" fmla="*/ 2058 w 6257"/>
                  <a:gd name="connsiteY4" fmla="*/ 3458 h 5762"/>
                  <a:gd name="connsiteX5" fmla="*/ 0 w 6257"/>
                  <a:gd name="connsiteY5" fmla="*/ 494 h 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57" h="5762">
                    <a:moveTo>
                      <a:pt x="0" y="494"/>
                    </a:moveTo>
                    <a:lnTo>
                      <a:pt x="851" y="0"/>
                    </a:lnTo>
                    <a:lnTo>
                      <a:pt x="6257" y="4062"/>
                    </a:lnTo>
                    <a:lnTo>
                      <a:pt x="5681" y="5763"/>
                    </a:lnTo>
                    <a:lnTo>
                      <a:pt x="2058" y="3458"/>
                    </a:lnTo>
                    <a:lnTo>
                      <a:pt x="0" y="4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84" name="Freeform: Shape 4783">
                <a:extLst>
                  <a:ext uri="{FF2B5EF4-FFF2-40B4-BE49-F238E27FC236}">
                    <a16:creationId xmlns:a16="http://schemas.microsoft.com/office/drawing/2014/main" id="{A3ABB7A7-4598-C293-420E-B75548056CE4}"/>
                  </a:ext>
                </a:extLst>
              </p:cNvPr>
              <p:cNvSpPr/>
              <p:nvPr/>
            </p:nvSpPr>
            <p:spPr>
              <a:xfrm>
                <a:off x="1733742" y="3801496"/>
                <a:ext cx="644" cy="552"/>
              </a:xfrm>
              <a:custGeom>
                <a:avLst/>
                <a:gdLst>
                  <a:gd name="connsiteX0" fmla="*/ 0 w 6174"/>
                  <a:gd name="connsiteY0" fmla="*/ 1015 h 5296"/>
                  <a:gd name="connsiteX1" fmla="*/ 247 w 6174"/>
                  <a:gd name="connsiteY1" fmla="*/ 0 h 5296"/>
                  <a:gd name="connsiteX2" fmla="*/ 6175 w 6174"/>
                  <a:gd name="connsiteY2" fmla="*/ 2004 h 5296"/>
                  <a:gd name="connsiteX3" fmla="*/ 5379 w 6174"/>
                  <a:gd name="connsiteY3" fmla="*/ 5297 h 5296"/>
                  <a:gd name="connsiteX4" fmla="*/ 412 w 6174"/>
                  <a:gd name="connsiteY4" fmla="*/ 2415 h 5296"/>
                  <a:gd name="connsiteX5" fmla="*/ 0 w 6174"/>
                  <a:gd name="connsiteY5" fmla="*/ 988 h 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74" h="5296">
                    <a:moveTo>
                      <a:pt x="0" y="1015"/>
                    </a:moveTo>
                    <a:lnTo>
                      <a:pt x="247" y="0"/>
                    </a:lnTo>
                    <a:lnTo>
                      <a:pt x="6175" y="2004"/>
                    </a:lnTo>
                    <a:lnTo>
                      <a:pt x="5379" y="5297"/>
                    </a:lnTo>
                    <a:lnTo>
                      <a:pt x="412" y="2415"/>
                    </a:lnTo>
                    <a:lnTo>
                      <a:pt x="0"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85" name="Freeform: Shape 4784">
                <a:extLst>
                  <a:ext uri="{FF2B5EF4-FFF2-40B4-BE49-F238E27FC236}">
                    <a16:creationId xmlns:a16="http://schemas.microsoft.com/office/drawing/2014/main" id="{3E3B2E3F-1636-7651-3604-E195DE522F82}"/>
                  </a:ext>
                </a:extLst>
              </p:cNvPr>
              <p:cNvSpPr/>
              <p:nvPr/>
            </p:nvSpPr>
            <p:spPr>
              <a:xfrm>
                <a:off x="1739089" y="3785049"/>
                <a:ext cx="547" cy="653"/>
              </a:xfrm>
              <a:custGeom>
                <a:avLst/>
                <a:gdLst>
                  <a:gd name="connsiteX0" fmla="*/ 0 w 5241"/>
                  <a:gd name="connsiteY0" fmla="*/ 4665 h 6257"/>
                  <a:gd name="connsiteX1" fmla="*/ 2360 w 5241"/>
                  <a:gd name="connsiteY1" fmla="*/ 0 h 6257"/>
                  <a:gd name="connsiteX2" fmla="*/ 5241 w 5241"/>
                  <a:gd name="connsiteY2" fmla="*/ 1290 h 6257"/>
                  <a:gd name="connsiteX3" fmla="*/ 1043 w 5241"/>
                  <a:gd name="connsiteY3" fmla="*/ 6257 h 6257"/>
                  <a:gd name="connsiteX4" fmla="*/ 0 w 5241"/>
                  <a:gd name="connsiteY4" fmla="*/ 4665 h 6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1" h="6257">
                    <a:moveTo>
                      <a:pt x="0" y="4665"/>
                    </a:moveTo>
                    <a:lnTo>
                      <a:pt x="2360" y="0"/>
                    </a:lnTo>
                    <a:lnTo>
                      <a:pt x="5241" y="1290"/>
                    </a:lnTo>
                    <a:lnTo>
                      <a:pt x="1043" y="6257"/>
                    </a:lnTo>
                    <a:lnTo>
                      <a:pt x="0" y="46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86" name="Freeform: Shape 4785">
                <a:extLst>
                  <a:ext uri="{FF2B5EF4-FFF2-40B4-BE49-F238E27FC236}">
                    <a16:creationId xmlns:a16="http://schemas.microsoft.com/office/drawing/2014/main" id="{71E125F8-CCE5-9FDC-D4F8-5B05C49A88C2}"/>
                  </a:ext>
                </a:extLst>
              </p:cNvPr>
              <p:cNvSpPr/>
              <p:nvPr/>
            </p:nvSpPr>
            <p:spPr>
              <a:xfrm>
                <a:off x="1747716" y="3815925"/>
                <a:ext cx="541" cy="498"/>
              </a:xfrm>
              <a:custGeom>
                <a:avLst/>
                <a:gdLst>
                  <a:gd name="connsiteX0" fmla="*/ 0 w 5186"/>
                  <a:gd name="connsiteY0" fmla="*/ 2497 h 4775"/>
                  <a:gd name="connsiteX1" fmla="*/ 1509 w 5186"/>
                  <a:gd name="connsiteY1" fmla="*/ 0 h 4775"/>
                  <a:gd name="connsiteX2" fmla="*/ 3320 w 5186"/>
                  <a:gd name="connsiteY2" fmla="*/ 357 h 4775"/>
                  <a:gd name="connsiteX3" fmla="*/ 4693 w 5186"/>
                  <a:gd name="connsiteY3" fmla="*/ 2086 h 4775"/>
                  <a:gd name="connsiteX4" fmla="*/ 5186 w 5186"/>
                  <a:gd name="connsiteY4" fmla="*/ 4775 h 4775"/>
                  <a:gd name="connsiteX5" fmla="*/ 1784 w 5186"/>
                  <a:gd name="connsiteY5" fmla="*/ 4446 h 4775"/>
                  <a:gd name="connsiteX6" fmla="*/ 27 w 5186"/>
                  <a:gd name="connsiteY6" fmla="*/ 2525 h 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6" h="4775">
                    <a:moveTo>
                      <a:pt x="0" y="2497"/>
                    </a:moveTo>
                    <a:lnTo>
                      <a:pt x="1509" y="0"/>
                    </a:lnTo>
                    <a:lnTo>
                      <a:pt x="3320" y="357"/>
                    </a:lnTo>
                    <a:lnTo>
                      <a:pt x="4693" y="2086"/>
                    </a:lnTo>
                    <a:lnTo>
                      <a:pt x="5186" y="4775"/>
                    </a:lnTo>
                    <a:lnTo>
                      <a:pt x="1784" y="4446"/>
                    </a:lnTo>
                    <a:lnTo>
                      <a:pt x="27" y="25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87" name="Freeform: Shape 4786">
                <a:extLst>
                  <a:ext uri="{FF2B5EF4-FFF2-40B4-BE49-F238E27FC236}">
                    <a16:creationId xmlns:a16="http://schemas.microsoft.com/office/drawing/2014/main" id="{BA3A7D9D-530D-6A1E-692F-1F79923A941B}"/>
                  </a:ext>
                </a:extLst>
              </p:cNvPr>
              <p:cNvSpPr/>
              <p:nvPr/>
            </p:nvSpPr>
            <p:spPr>
              <a:xfrm>
                <a:off x="1739318" y="3780171"/>
                <a:ext cx="447" cy="581"/>
              </a:xfrm>
              <a:custGeom>
                <a:avLst/>
                <a:gdLst>
                  <a:gd name="connsiteX0" fmla="*/ 2580 w 4281"/>
                  <a:gd name="connsiteY0" fmla="*/ 2333 h 5571"/>
                  <a:gd name="connsiteX1" fmla="*/ 3403 w 4281"/>
                  <a:gd name="connsiteY1" fmla="*/ 3485 h 5571"/>
                  <a:gd name="connsiteX2" fmla="*/ 1784 w 4281"/>
                  <a:gd name="connsiteY2" fmla="*/ 5571 h 5571"/>
                  <a:gd name="connsiteX3" fmla="*/ 0 w 4281"/>
                  <a:gd name="connsiteY3" fmla="*/ 5516 h 5571"/>
                  <a:gd name="connsiteX4" fmla="*/ 686 w 4281"/>
                  <a:gd name="connsiteY4" fmla="*/ 2360 h 5571"/>
                  <a:gd name="connsiteX5" fmla="*/ 3046 w 4281"/>
                  <a:gd name="connsiteY5" fmla="*/ 0 h 5571"/>
                  <a:gd name="connsiteX6" fmla="*/ 4281 w 4281"/>
                  <a:gd name="connsiteY6" fmla="*/ 247 h 5571"/>
                  <a:gd name="connsiteX7" fmla="*/ 4171 w 4281"/>
                  <a:gd name="connsiteY7" fmla="*/ 2058 h 5571"/>
                  <a:gd name="connsiteX8" fmla="*/ 2525 w 4281"/>
                  <a:gd name="connsiteY8" fmla="*/ 2360 h 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1" h="5571">
                    <a:moveTo>
                      <a:pt x="2580" y="2333"/>
                    </a:moveTo>
                    <a:lnTo>
                      <a:pt x="3403" y="3485"/>
                    </a:lnTo>
                    <a:lnTo>
                      <a:pt x="1784" y="5571"/>
                    </a:lnTo>
                    <a:lnTo>
                      <a:pt x="0" y="5516"/>
                    </a:lnTo>
                    <a:lnTo>
                      <a:pt x="686" y="2360"/>
                    </a:lnTo>
                    <a:lnTo>
                      <a:pt x="3046" y="0"/>
                    </a:lnTo>
                    <a:lnTo>
                      <a:pt x="4281" y="247"/>
                    </a:lnTo>
                    <a:lnTo>
                      <a:pt x="4171" y="2058"/>
                    </a:lnTo>
                    <a:lnTo>
                      <a:pt x="2525" y="23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88" name="Freeform: Shape 4787">
                <a:extLst>
                  <a:ext uri="{FF2B5EF4-FFF2-40B4-BE49-F238E27FC236}">
                    <a16:creationId xmlns:a16="http://schemas.microsoft.com/office/drawing/2014/main" id="{3B246D5F-E859-918A-7442-9D6AE02744C4}"/>
                  </a:ext>
                </a:extLst>
              </p:cNvPr>
              <p:cNvSpPr/>
              <p:nvPr/>
            </p:nvSpPr>
            <p:spPr>
              <a:xfrm>
                <a:off x="1742034" y="3821567"/>
                <a:ext cx="521" cy="464"/>
              </a:xfrm>
              <a:custGeom>
                <a:avLst/>
                <a:gdLst>
                  <a:gd name="connsiteX0" fmla="*/ 3458 w 4994"/>
                  <a:gd name="connsiteY0" fmla="*/ 3705 h 4445"/>
                  <a:gd name="connsiteX1" fmla="*/ 961 w 4994"/>
                  <a:gd name="connsiteY1" fmla="*/ 4446 h 4445"/>
                  <a:gd name="connsiteX2" fmla="*/ 0 w 4994"/>
                  <a:gd name="connsiteY2" fmla="*/ 2470 h 4445"/>
                  <a:gd name="connsiteX3" fmla="*/ 1290 w 4994"/>
                  <a:gd name="connsiteY3" fmla="*/ 0 h 4445"/>
                  <a:gd name="connsiteX4" fmla="*/ 4995 w 4994"/>
                  <a:gd name="connsiteY4" fmla="*/ 933 h 4445"/>
                  <a:gd name="connsiteX5" fmla="*/ 3458 w 4994"/>
                  <a:gd name="connsiteY5" fmla="*/ 3705 h 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4" h="4445">
                    <a:moveTo>
                      <a:pt x="3458" y="3705"/>
                    </a:moveTo>
                    <a:lnTo>
                      <a:pt x="961" y="4446"/>
                    </a:lnTo>
                    <a:lnTo>
                      <a:pt x="0" y="2470"/>
                    </a:lnTo>
                    <a:lnTo>
                      <a:pt x="1290" y="0"/>
                    </a:lnTo>
                    <a:lnTo>
                      <a:pt x="4995" y="933"/>
                    </a:lnTo>
                    <a:lnTo>
                      <a:pt x="3458"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89" name="Freeform: Shape 4788">
                <a:extLst>
                  <a:ext uri="{FF2B5EF4-FFF2-40B4-BE49-F238E27FC236}">
                    <a16:creationId xmlns:a16="http://schemas.microsoft.com/office/drawing/2014/main" id="{40961276-D7AB-5A3E-57D2-5F17E2A21DA5}"/>
                  </a:ext>
                </a:extLst>
              </p:cNvPr>
              <p:cNvSpPr/>
              <p:nvPr/>
            </p:nvSpPr>
            <p:spPr>
              <a:xfrm>
                <a:off x="1737727" y="3783801"/>
                <a:ext cx="501" cy="449"/>
              </a:xfrm>
              <a:custGeom>
                <a:avLst/>
                <a:gdLst>
                  <a:gd name="connsiteX0" fmla="*/ 0 w 4802"/>
                  <a:gd name="connsiteY0" fmla="*/ 1262 h 4308"/>
                  <a:gd name="connsiteX1" fmla="*/ 1043 w 4802"/>
                  <a:gd name="connsiteY1" fmla="*/ 0 h 4308"/>
                  <a:gd name="connsiteX2" fmla="*/ 4336 w 4802"/>
                  <a:gd name="connsiteY2" fmla="*/ 164 h 4308"/>
                  <a:gd name="connsiteX3" fmla="*/ 4803 w 4802"/>
                  <a:gd name="connsiteY3" fmla="*/ 3513 h 4308"/>
                  <a:gd name="connsiteX4" fmla="*/ 3842 w 4802"/>
                  <a:gd name="connsiteY4" fmla="*/ 4308 h 4308"/>
                  <a:gd name="connsiteX5" fmla="*/ 878 w 4802"/>
                  <a:gd name="connsiteY5" fmla="*/ 3320 h 4308"/>
                  <a:gd name="connsiteX6" fmla="*/ 0 w 4802"/>
                  <a:gd name="connsiteY6" fmla="*/ 1262 h 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2" h="4308">
                    <a:moveTo>
                      <a:pt x="0" y="1262"/>
                    </a:moveTo>
                    <a:lnTo>
                      <a:pt x="1043" y="0"/>
                    </a:lnTo>
                    <a:lnTo>
                      <a:pt x="4336" y="164"/>
                    </a:lnTo>
                    <a:lnTo>
                      <a:pt x="4803" y="3513"/>
                    </a:lnTo>
                    <a:lnTo>
                      <a:pt x="3842" y="4308"/>
                    </a:lnTo>
                    <a:lnTo>
                      <a:pt x="878" y="3320"/>
                    </a:lnTo>
                    <a:lnTo>
                      <a:pt x="0" y="12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90" name="Freeform: Shape 4789">
                <a:extLst>
                  <a:ext uri="{FF2B5EF4-FFF2-40B4-BE49-F238E27FC236}">
                    <a16:creationId xmlns:a16="http://schemas.microsoft.com/office/drawing/2014/main" id="{EF22BBF6-6D6C-17FF-6186-514B464A314E}"/>
                  </a:ext>
                </a:extLst>
              </p:cNvPr>
              <p:cNvSpPr/>
              <p:nvPr/>
            </p:nvSpPr>
            <p:spPr>
              <a:xfrm>
                <a:off x="1748060" y="3808340"/>
                <a:ext cx="455" cy="426"/>
              </a:xfrm>
              <a:custGeom>
                <a:avLst/>
                <a:gdLst>
                  <a:gd name="connsiteX0" fmla="*/ 0 w 4363"/>
                  <a:gd name="connsiteY0" fmla="*/ 741 h 4088"/>
                  <a:gd name="connsiteX1" fmla="*/ 3678 w 4363"/>
                  <a:gd name="connsiteY1" fmla="*/ 0 h 4088"/>
                  <a:gd name="connsiteX2" fmla="*/ 4364 w 4363"/>
                  <a:gd name="connsiteY2" fmla="*/ 768 h 4088"/>
                  <a:gd name="connsiteX3" fmla="*/ 2196 w 4363"/>
                  <a:gd name="connsiteY3" fmla="*/ 4089 h 4088"/>
                  <a:gd name="connsiteX4" fmla="*/ 0 w 4363"/>
                  <a:gd name="connsiteY4" fmla="*/ 741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4088">
                    <a:moveTo>
                      <a:pt x="0" y="741"/>
                    </a:moveTo>
                    <a:lnTo>
                      <a:pt x="3678" y="0"/>
                    </a:lnTo>
                    <a:lnTo>
                      <a:pt x="4364" y="768"/>
                    </a:lnTo>
                    <a:lnTo>
                      <a:pt x="2196" y="4089"/>
                    </a:lnTo>
                    <a:lnTo>
                      <a:pt x="0" y="7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91" name="Freeform: Shape 4790">
                <a:extLst>
                  <a:ext uri="{FF2B5EF4-FFF2-40B4-BE49-F238E27FC236}">
                    <a16:creationId xmlns:a16="http://schemas.microsoft.com/office/drawing/2014/main" id="{4815AAA4-3927-77A7-E448-8B742CFE52CC}"/>
                  </a:ext>
                </a:extLst>
              </p:cNvPr>
              <p:cNvSpPr/>
              <p:nvPr/>
            </p:nvSpPr>
            <p:spPr>
              <a:xfrm>
                <a:off x="1744811" y="3809602"/>
                <a:ext cx="383" cy="444"/>
              </a:xfrm>
              <a:custGeom>
                <a:avLst/>
                <a:gdLst>
                  <a:gd name="connsiteX0" fmla="*/ 0 w 3676"/>
                  <a:gd name="connsiteY0" fmla="*/ 1948 h 4253"/>
                  <a:gd name="connsiteX1" fmla="*/ 1948 w 3676"/>
                  <a:gd name="connsiteY1" fmla="*/ 0 h 4253"/>
                  <a:gd name="connsiteX2" fmla="*/ 3677 w 3676"/>
                  <a:gd name="connsiteY2" fmla="*/ 4253 h 4253"/>
                  <a:gd name="connsiteX3" fmla="*/ 905 w 3676"/>
                  <a:gd name="connsiteY3" fmla="*/ 3815 h 4253"/>
                  <a:gd name="connsiteX4" fmla="*/ 0 w 3676"/>
                  <a:gd name="connsiteY4" fmla="*/ 1976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 h="4253">
                    <a:moveTo>
                      <a:pt x="0" y="1948"/>
                    </a:moveTo>
                    <a:lnTo>
                      <a:pt x="1948" y="0"/>
                    </a:lnTo>
                    <a:lnTo>
                      <a:pt x="3677" y="4253"/>
                    </a:lnTo>
                    <a:lnTo>
                      <a:pt x="905" y="3815"/>
                    </a:lnTo>
                    <a:lnTo>
                      <a:pt x="0"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92" name="Freeform: Shape 4791">
                <a:extLst>
                  <a:ext uri="{FF2B5EF4-FFF2-40B4-BE49-F238E27FC236}">
                    <a16:creationId xmlns:a16="http://schemas.microsoft.com/office/drawing/2014/main" id="{88C1FC6D-15C9-65AE-010A-9740C0E3C449}"/>
                  </a:ext>
                </a:extLst>
              </p:cNvPr>
              <p:cNvSpPr/>
              <p:nvPr/>
            </p:nvSpPr>
            <p:spPr>
              <a:xfrm>
                <a:off x="1746090" y="3805809"/>
                <a:ext cx="372" cy="441"/>
              </a:xfrm>
              <a:custGeom>
                <a:avLst/>
                <a:gdLst>
                  <a:gd name="connsiteX0" fmla="*/ 0 w 3567"/>
                  <a:gd name="connsiteY0" fmla="*/ 1152 h 4226"/>
                  <a:gd name="connsiteX1" fmla="*/ 1948 w 3567"/>
                  <a:gd name="connsiteY1" fmla="*/ 0 h 4226"/>
                  <a:gd name="connsiteX2" fmla="*/ 3568 w 3567"/>
                  <a:gd name="connsiteY2" fmla="*/ 3019 h 4226"/>
                  <a:gd name="connsiteX3" fmla="*/ 2332 w 3567"/>
                  <a:gd name="connsiteY3" fmla="*/ 4226 h 4226"/>
                  <a:gd name="connsiteX4" fmla="*/ 0 w 3567"/>
                  <a:gd name="connsiteY4" fmla="*/ 1180 h 4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4226">
                    <a:moveTo>
                      <a:pt x="0" y="1152"/>
                    </a:moveTo>
                    <a:lnTo>
                      <a:pt x="1948" y="0"/>
                    </a:lnTo>
                    <a:lnTo>
                      <a:pt x="3568" y="3019"/>
                    </a:lnTo>
                    <a:lnTo>
                      <a:pt x="2332" y="4226"/>
                    </a:lnTo>
                    <a:lnTo>
                      <a:pt x="0"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93" name="Freeform: Shape 4792">
                <a:extLst>
                  <a:ext uri="{FF2B5EF4-FFF2-40B4-BE49-F238E27FC236}">
                    <a16:creationId xmlns:a16="http://schemas.microsoft.com/office/drawing/2014/main" id="{C6790FEA-D861-4701-C79C-4B638E155E03}"/>
                  </a:ext>
                </a:extLst>
              </p:cNvPr>
              <p:cNvSpPr/>
              <p:nvPr/>
            </p:nvSpPr>
            <p:spPr>
              <a:xfrm>
                <a:off x="1750868" y="3810077"/>
                <a:ext cx="363" cy="455"/>
              </a:xfrm>
              <a:custGeom>
                <a:avLst/>
                <a:gdLst>
                  <a:gd name="connsiteX0" fmla="*/ 0 w 3485"/>
                  <a:gd name="connsiteY0" fmla="*/ 1097 h 4363"/>
                  <a:gd name="connsiteX1" fmla="*/ 1070 w 3485"/>
                  <a:gd name="connsiteY1" fmla="*/ 0 h 4363"/>
                  <a:gd name="connsiteX2" fmla="*/ 2415 w 3485"/>
                  <a:gd name="connsiteY2" fmla="*/ 823 h 4363"/>
                  <a:gd name="connsiteX3" fmla="*/ 3485 w 3485"/>
                  <a:gd name="connsiteY3" fmla="*/ 2717 h 4363"/>
                  <a:gd name="connsiteX4" fmla="*/ 3211 w 3485"/>
                  <a:gd name="connsiteY4" fmla="*/ 4363 h 4363"/>
                  <a:gd name="connsiteX5" fmla="*/ 1592 w 3485"/>
                  <a:gd name="connsiteY5" fmla="*/ 3266 h 4363"/>
                  <a:gd name="connsiteX6" fmla="*/ 796 w 3485"/>
                  <a:gd name="connsiteY6" fmla="*/ 1893 h 4363"/>
                  <a:gd name="connsiteX7" fmla="*/ 0 w 3485"/>
                  <a:gd name="connsiteY7" fmla="*/ 1097 h 4363"/>
                  <a:gd name="connsiteX8" fmla="*/ 0 w 3485"/>
                  <a:gd name="connsiteY8" fmla="*/ 1097 h 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5" h="4363">
                    <a:moveTo>
                      <a:pt x="0" y="1097"/>
                    </a:moveTo>
                    <a:lnTo>
                      <a:pt x="1070" y="0"/>
                    </a:lnTo>
                    <a:lnTo>
                      <a:pt x="2415" y="823"/>
                    </a:lnTo>
                    <a:lnTo>
                      <a:pt x="3485" y="2717"/>
                    </a:lnTo>
                    <a:lnTo>
                      <a:pt x="3211" y="4363"/>
                    </a:lnTo>
                    <a:lnTo>
                      <a:pt x="1592" y="3266"/>
                    </a:lnTo>
                    <a:lnTo>
                      <a:pt x="796" y="1893"/>
                    </a:lnTo>
                    <a:lnTo>
                      <a:pt x="0" y="1097"/>
                    </a:lnTo>
                    <a:lnTo>
                      <a:pt x="0" y="10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94" name="Freeform: Shape 4793">
                <a:extLst>
                  <a:ext uri="{FF2B5EF4-FFF2-40B4-BE49-F238E27FC236}">
                    <a16:creationId xmlns:a16="http://schemas.microsoft.com/office/drawing/2014/main" id="{FC80436F-7538-67D5-AAA7-C4C65CF5A4B2}"/>
                  </a:ext>
                </a:extLst>
              </p:cNvPr>
              <p:cNvSpPr/>
              <p:nvPr/>
            </p:nvSpPr>
            <p:spPr>
              <a:xfrm>
                <a:off x="1740603" y="3798671"/>
                <a:ext cx="501" cy="323"/>
              </a:xfrm>
              <a:custGeom>
                <a:avLst/>
                <a:gdLst>
                  <a:gd name="connsiteX0" fmla="*/ 0 w 4802"/>
                  <a:gd name="connsiteY0" fmla="*/ 2004 h 3101"/>
                  <a:gd name="connsiteX1" fmla="*/ 2580 w 4802"/>
                  <a:gd name="connsiteY1" fmla="*/ 0 h 3101"/>
                  <a:gd name="connsiteX2" fmla="*/ 4803 w 4802"/>
                  <a:gd name="connsiteY2" fmla="*/ 1647 h 3101"/>
                  <a:gd name="connsiteX3" fmla="*/ 1317 w 4802"/>
                  <a:gd name="connsiteY3" fmla="*/ 3101 h 3101"/>
                  <a:gd name="connsiteX4" fmla="*/ 0 w 4802"/>
                  <a:gd name="connsiteY4" fmla="*/ 2031 h 3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2" h="3101">
                    <a:moveTo>
                      <a:pt x="0" y="2004"/>
                    </a:moveTo>
                    <a:lnTo>
                      <a:pt x="2580" y="0"/>
                    </a:lnTo>
                    <a:lnTo>
                      <a:pt x="4803" y="1647"/>
                    </a:lnTo>
                    <a:lnTo>
                      <a:pt x="1317" y="3101"/>
                    </a:lnTo>
                    <a:lnTo>
                      <a:pt x="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95" name="Freeform: Shape 4794">
                <a:extLst>
                  <a:ext uri="{FF2B5EF4-FFF2-40B4-BE49-F238E27FC236}">
                    <a16:creationId xmlns:a16="http://schemas.microsoft.com/office/drawing/2014/main" id="{2B30505E-C292-F905-CAEF-2672C850BFC1}"/>
                  </a:ext>
                </a:extLst>
              </p:cNvPr>
              <p:cNvSpPr/>
              <p:nvPr/>
            </p:nvSpPr>
            <p:spPr>
              <a:xfrm>
                <a:off x="1740343" y="3805377"/>
                <a:ext cx="312" cy="515"/>
              </a:xfrm>
              <a:custGeom>
                <a:avLst/>
                <a:gdLst>
                  <a:gd name="connsiteX0" fmla="*/ 0 w 2991"/>
                  <a:gd name="connsiteY0" fmla="*/ 1372 h 4939"/>
                  <a:gd name="connsiteX1" fmla="*/ 1619 w 2991"/>
                  <a:gd name="connsiteY1" fmla="*/ 0 h 4939"/>
                  <a:gd name="connsiteX2" fmla="*/ 2992 w 2991"/>
                  <a:gd name="connsiteY2" fmla="*/ 2854 h 4939"/>
                  <a:gd name="connsiteX3" fmla="*/ 1509 w 2991"/>
                  <a:gd name="connsiteY3" fmla="*/ 4940 h 4939"/>
                  <a:gd name="connsiteX4" fmla="*/ 0 w 2991"/>
                  <a:gd name="connsiteY4" fmla="*/ 1372 h 4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1" h="4939">
                    <a:moveTo>
                      <a:pt x="0" y="1372"/>
                    </a:moveTo>
                    <a:lnTo>
                      <a:pt x="1619" y="0"/>
                    </a:lnTo>
                    <a:lnTo>
                      <a:pt x="2992" y="2854"/>
                    </a:lnTo>
                    <a:lnTo>
                      <a:pt x="1509" y="4940"/>
                    </a:lnTo>
                    <a:lnTo>
                      <a:pt x="0" y="13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96" name="Freeform: Shape 4795">
                <a:extLst>
                  <a:ext uri="{FF2B5EF4-FFF2-40B4-BE49-F238E27FC236}">
                    <a16:creationId xmlns:a16="http://schemas.microsoft.com/office/drawing/2014/main" id="{3F803DFC-B117-F7C7-43A5-2A78E53C5F75}"/>
                  </a:ext>
                </a:extLst>
              </p:cNvPr>
              <p:cNvSpPr/>
              <p:nvPr/>
            </p:nvSpPr>
            <p:spPr>
              <a:xfrm>
                <a:off x="1735772" y="3827285"/>
                <a:ext cx="507" cy="306"/>
              </a:xfrm>
              <a:custGeom>
                <a:avLst/>
                <a:gdLst>
                  <a:gd name="connsiteX0" fmla="*/ 0 w 4857"/>
                  <a:gd name="connsiteY0" fmla="*/ 2140 h 2936"/>
                  <a:gd name="connsiteX1" fmla="*/ 631 w 4857"/>
                  <a:gd name="connsiteY1" fmla="*/ 878 h 2936"/>
                  <a:gd name="connsiteX2" fmla="*/ 3211 w 4857"/>
                  <a:gd name="connsiteY2" fmla="*/ 0 h 2936"/>
                  <a:gd name="connsiteX3" fmla="*/ 4857 w 4857"/>
                  <a:gd name="connsiteY3" fmla="*/ 1537 h 2936"/>
                  <a:gd name="connsiteX4" fmla="*/ 3211 w 4857"/>
                  <a:gd name="connsiteY4" fmla="*/ 2936 h 2936"/>
                  <a:gd name="connsiteX5" fmla="*/ 0 w 4857"/>
                  <a:gd name="connsiteY5" fmla="*/ 2168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 h="2936">
                    <a:moveTo>
                      <a:pt x="0" y="2140"/>
                    </a:moveTo>
                    <a:lnTo>
                      <a:pt x="631" y="878"/>
                    </a:lnTo>
                    <a:lnTo>
                      <a:pt x="3211" y="0"/>
                    </a:lnTo>
                    <a:lnTo>
                      <a:pt x="4857" y="1537"/>
                    </a:lnTo>
                    <a:lnTo>
                      <a:pt x="3211" y="2936"/>
                    </a:lnTo>
                    <a:lnTo>
                      <a:pt x="0"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97" name="Freeform: Shape 4796">
                <a:extLst>
                  <a:ext uri="{FF2B5EF4-FFF2-40B4-BE49-F238E27FC236}">
                    <a16:creationId xmlns:a16="http://schemas.microsoft.com/office/drawing/2014/main" id="{080805C0-3C7D-EAD3-8FFB-33EA3D5A23F8}"/>
                  </a:ext>
                </a:extLst>
              </p:cNvPr>
              <p:cNvSpPr/>
              <p:nvPr/>
            </p:nvSpPr>
            <p:spPr>
              <a:xfrm>
                <a:off x="1732798" y="3808929"/>
                <a:ext cx="401" cy="389"/>
              </a:xfrm>
              <a:custGeom>
                <a:avLst/>
                <a:gdLst>
                  <a:gd name="connsiteX0" fmla="*/ 0 w 3842"/>
                  <a:gd name="connsiteY0" fmla="*/ 1811 h 3732"/>
                  <a:gd name="connsiteX1" fmla="*/ 2443 w 3842"/>
                  <a:gd name="connsiteY1" fmla="*/ 0 h 3732"/>
                  <a:gd name="connsiteX2" fmla="*/ 3842 w 3842"/>
                  <a:gd name="connsiteY2" fmla="*/ 1784 h 3732"/>
                  <a:gd name="connsiteX3" fmla="*/ 1318 w 3842"/>
                  <a:gd name="connsiteY3" fmla="*/ 3732 h 3732"/>
                  <a:gd name="connsiteX4" fmla="*/ 0 w 3842"/>
                  <a:gd name="connsiteY4" fmla="*/ 1838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2" h="3732">
                    <a:moveTo>
                      <a:pt x="0" y="1811"/>
                    </a:moveTo>
                    <a:lnTo>
                      <a:pt x="2443" y="0"/>
                    </a:lnTo>
                    <a:lnTo>
                      <a:pt x="3842" y="1784"/>
                    </a:lnTo>
                    <a:lnTo>
                      <a:pt x="1318" y="3732"/>
                    </a:lnTo>
                    <a:lnTo>
                      <a:pt x="0"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98" name="Freeform: Shape 4797">
                <a:extLst>
                  <a:ext uri="{FF2B5EF4-FFF2-40B4-BE49-F238E27FC236}">
                    <a16:creationId xmlns:a16="http://schemas.microsoft.com/office/drawing/2014/main" id="{3EABC0E2-E1B3-ED61-B54C-DCA1CE7C356C}"/>
                  </a:ext>
                </a:extLst>
              </p:cNvPr>
              <p:cNvSpPr/>
              <p:nvPr/>
            </p:nvSpPr>
            <p:spPr>
              <a:xfrm>
                <a:off x="1738193" y="3823816"/>
                <a:ext cx="426" cy="355"/>
              </a:xfrm>
              <a:custGeom>
                <a:avLst/>
                <a:gdLst>
                  <a:gd name="connsiteX0" fmla="*/ 0 w 4088"/>
                  <a:gd name="connsiteY0" fmla="*/ 1893 h 3402"/>
                  <a:gd name="connsiteX1" fmla="*/ 1866 w 4088"/>
                  <a:gd name="connsiteY1" fmla="*/ 0 h 3402"/>
                  <a:gd name="connsiteX2" fmla="*/ 4089 w 4088"/>
                  <a:gd name="connsiteY2" fmla="*/ 1921 h 3402"/>
                  <a:gd name="connsiteX3" fmla="*/ 2141 w 4088"/>
                  <a:gd name="connsiteY3" fmla="*/ 3403 h 3402"/>
                  <a:gd name="connsiteX4" fmla="*/ 0 w 4088"/>
                  <a:gd name="connsiteY4" fmla="*/ 1893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3402">
                    <a:moveTo>
                      <a:pt x="0" y="1893"/>
                    </a:moveTo>
                    <a:lnTo>
                      <a:pt x="1866" y="0"/>
                    </a:lnTo>
                    <a:lnTo>
                      <a:pt x="4089" y="1921"/>
                    </a:lnTo>
                    <a:lnTo>
                      <a:pt x="2141" y="3403"/>
                    </a:lnTo>
                    <a:lnTo>
                      <a:pt x="0" y="1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799" name="Freeform: Shape 4798">
                <a:extLst>
                  <a:ext uri="{FF2B5EF4-FFF2-40B4-BE49-F238E27FC236}">
                    <a16:creationId xmlns:a16="http://schemas.microsoft.com/office/drawing/2014/main" id="{10040800-0CB0-4B09-9748-6BB8F1222366}"/>
                  </a:ext>
                </a:extLst>
              </p:cNvPr>
              <p:cNvSpPr/>
              <p:nvPr/>
            </p:nvSpPr>
            <p:spPr>
              <a:xfrm>
                <a:off x="1738557" y="3804261"/>
                <a:ext cx="395" cy="398"/>
              </a:xfrm>
              <a:custGeom>
                <a:avLst/>
                <a:gdLst>
                  <a:gd name="connsiteX0" fmla="*/ 0 w 3786"/>
                  <a:gd name="connsiteY0" fmla="*/ 1455 h 3814"/>
                  <a:gd name="connsiteX1" fmla="*/ 1509 w 3786"/>
                  <a:gd name="connsiteY1" fmla="*/ 0 h 3814"/>
                  <a:gd name="connsiteX2" fmla="*/ 3787 w 3786"/>
                  <a:gd name="connsiteY2" fmla="*/ 1537 h 3814"/>
                  <a:gd name="connsiteX3" fmla="*/ 1372 w 3786"/>
                  <a:gd name="connsiteY3" fmla="*/ 3815 h 3814"/>
                  <a:gd name="connsiteX4" fmla="*/ 0 w 3786"/>
                  <a:gd name="connsiteY4" fmla="*/ 1455 h 3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6" h="3814">
                    <a:moveTo>
                      <a:pt x="0" y="1455"/>
                    </a:moveTo>
                    <a:lnTo>
                      <a:pt x="1509" y="0"/>
                    </a:lnTo>
                    <a:lnTo>
                      <a:pt x="3787" y="1537"/>
                    </a:lnTo>
                    <a:lnTo>
                      <a:pt x="1372" y="3815"/>
                    </a:lnTo>
                    <a:lnTo>
                      <a:pt x="0" y="14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00" name="Freeform: Shape 4799">
                <a:extLst>
                  <a:ext uri="{FF2B5EF4-FFF2-40B4-BE49-F238E27FC236}">
                    <a16:creationId xmlns:a16="http://schemas.microsoft.com/office/drawing/2014/main" id="{65F4A29A-DD40-A651-435F-97B66F1D2678}"/>
                  </a:ext>
                </a:extLst>
              </p:cNvPr>
              <p:cNvSpPr/>
              <p:nvPr/>
            </p:nvSpPr>
            <p:spPr>
              <a:xfrm>
                <a:off x="1739269" y="3783160"/>
                <a:ext cx="395" cy="409"/>
              </a:xfrm>
              <a:custGeom>
                <a:avLst/>
                <a:gdLst>
                  <a:gd name="connsiteX0" fmla="*/ 0 w 3787"/>
                  <a:gd name="connsiteY0" fmla="*/ 1235 h 3924"/>
                  <a:gd name="connsiteX1" fmla="*/ 2854 w 3787"/>
                  <a:gd name="connsiteY1" fmla="*/ 0 h 3924"/>
                  <a:gd name="connsiteX2" fmla="*/ 3787 w 3787"/>
                  <a:gd name="connsiteY2" fmla="*/ 2333 h 3924"/>
                  <a:gd name="connsiteX3" fmla="*/ 2772 w 3787"/>
                  <a:gd name="connsiteY3" fmla="*/ 3924 h 3924"/>
                  <a:gd name="connsiteX4" fmla="*/ 0 w 3787"/>
                  <a:gd name="connsiteY4" fmla="*/ 1235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3924">
                    <a:moveTo>
                      <a:pt x="0" y="1235"/>
                    </a:moveTo>
                    <a:lnTo>
                      <a:pt x="2854" y="0"/>
                    </a:lnTo>
                    <a:lnTo>
                      <a:pt x="3787" y="2333"/>
                    </a:lnTo>
                    <a:lnTo>
                      <a:pt x="2772" y="3924"/>
                    </a:lnTo>
                    <a:lnTo>
                      <a:pt x="0"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01" name="Freeform: Shape 4800">
                <a:extLst>
                  <a:ext uri="{FF2B5EF4-FFF2-40B4-BE49-F238E27FC236}">
                    <a16:creationId xmlns:a16="http://schemas.microsoft.com/office/drawing/2014/main" id="{80B07AC2-F4D5-9A57-2EB8-D00FB8983041}"/>
                  </a:ext>
                </a:extLst>
              </p:cNvPr>
              <p:cNvSpPr/>
              <p:nvPr/>
            </p:nvSpPr>
            <p:spPr>
              <a:xfrm>
                <a:off x="1739928" y="3798376"/>
                <a:ext cx="512" cy="303"/>
              </a:xfrm>
              <a:custGeom>
                <a:avLst/>
                <a:gdLst>
                  <a:gd name="connsiteX0" fmla="*/ 27 w 4912"/>
                  <a:gd name="connsiteY0" fmla="*/ 302 h 2908"/>
                  <a:gd name="connsiteX1" fmla="*/ 1838 w 4912"/>
                  <a:gd name="connsiteY1" fmla="*/ 0 h 2908"/>
                  <a:gd name="connsiteX2" fmla="*/ 4912 w 4912"/>
                  <a:gd name="connsiteY2" fmla="*/ 1893 h 2908"/>
                  <a:gd name="connsiteX3" fmla="*/ 3458 w 4912"/>
                  <a:gd name="connsiteY3" fmla="*/ 2909 h 2908"/>
                  <a:gd name="connsiteX4" fmla="*/ 411 w 4912"/>
                  <a:gd name="connsiteY4" fmla="*/ 1400 h 2908"/>
                  <a:gd name="connsiteX5" fmla="*/ 0 w 4912"/>
                  <a:gd name="connsiteY5" fmla="*/ 274 h 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12" h="2908">
                    <a:moveTo>
                      <a:pt x="27" y="302"/>
                    </a:moveTo>
                    <a:lnTo>
                      <a:pt x="1838" y="0"/>
                    </a:lnTo>
                    <a:lnTo>
                      <a:pt x="4912" y="1893"/>
                    </a:lnTo>
                    <a:lnTo>
                      <a:pt x="3458" y="2909"/>
                    </a:lnTo>
                    <a:lnTo>
                      <a:pt x="411" y="1400"/>
                    </a:lnTo>
                    <a:lnTo>
                      <a:pt x="0" y="2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02" name="Freeform: Shape 4801">
                <a:extLst>
                  <a:ext uri="{FF2B5EF4-FFF2-40B4-BE49-F238E27FC236}">
                    <a16:creationId xmlns:a16="http://schemas.microsoft.com/office/drawing/2014/main" id="{7C1BCD59-D5FE-C12F-CFAB-925FE597B3E0}"/>
                  </a:ext>
                </a:extLst>
              </p:cNvPr>
              <p:cNvSpPr/>
              <p:nvPr/>
            </p:nvSpPr>
            <p:spPr>
              <a:xfrm>
                <a:off x="1727391" y="3824961"/>
                <a:ext cx="415" cy="361"/>
              </a:xfrm>
              <a:custGeom>
                <a:avLst/>
                <a:gdLst>
                  <a:gd name="connsiteX0" fmla="*/ 3403 w 3979"/>
                  <a:gd name="connsiteY0" fmla="*/ 1976 h 3457"/>
                  <a:gd name="connsiteX1" fmla="*/ 659 w 3979"/>
                  <a:gd name="connsiteY1" fmla="*/ 3458 h 3457"/>
                  <a:gd name="connsiteX2" fmla="*/ 0 w 3979"/>
                  <a:gd name="connsiteY2" fmla="*/ 2909 h 3457"/>
                  <a:gd name="connsiteX3" fmla="*/ 1866 w 3979"/>
                  <a:gd name="connsiteY3" fmla="*/ 164 h 3457"/>
                  <a:gd name="connsiteX4" fmla="*/ 3211 w 3979"/>
                  <a:gd name="connsiteY4" fmla="*/ 0 h 3457"/>
                  <a:gd name="connsiteX5" fmla="*/ 3979 w 3979"/>
                  <a:gd name="connsiteY5" fmla="*/ 1097 h 3457"/>
                  <a:gd name="connsiteX6" fmla="*/ 3375 w 3979"/>
                  <a:gd name="connsiteY6" fmla="*/ 1948 h 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 h="3457">
                    <a:moveTo>
                      <a:pt x="3403" y="1976"/>
                    </a:moveTo>
                    <a:lnTo>
                      <a:pt x="659" y="3458"/>
                    </a:lnTo>
                    <a:lnTo>
                      <a:pt x="0" y="2909"/>
                    </a:lnTo>
                    <a:lnTo>
                      <a:pt x="1866" y="164"/>
                    </a:lnTo>
                    <a:lnTo>
                      <a:pt x="3211" y="0"/>
                    </a:lnTo>
                    <a:lnTo>
                      <a:pt x="3979" y="1097"/>
                    </a:lnTo>
                    <a:lnTo>
                      <a:pt x="3375" y="1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03" name="Freeform: Shape 4802">
                <a:extLst>
                  <a:ext uri="{FF2B5EF4-FFF2-40B4-BE49-F238E27FC236}">
                    <a16:creationId xmlns:a16="http://schemas.microsoft.com/office/drawing/2014/main" id="{E66625B7-0248-2E2E-387F-B5B46C7DE091}"/>
                  </a:ext>
                </a:extLst>
              </p:cNvPr>
              <p:cNvSpPr/>
              <p:nvPr/>
            </p:nvSpPr>
            <p:spPr>
              <a:xfrm>
                <a:off x="1737595" y="3785292"/>
                <a:ext cx="512" cy="312"/>
              </a:xfrm>
              <a:custGeom>
                <a:avLst/>
                <a:gdLst>
                  <a:gd name="connsiteX0" fmla="*/ 27 w 4912"/>
                  <a:gd name="connsiteY0" fmla="*/ 2388 h 2991"/>
                  <a:gd name="connsiteX1" fmla="*/ 3046 w 4912"/>
                  <a:gd name="connsiteY1" fmla="*/ 0 h 2991"/>
                  <a:gd name="connsiteX2" fmla="*/ 4912 w 4912"/>
                  <a:gd name="connsiteY2" fmla="*/ 2525 h 2991"/>
                  <a:gd name="connsiteX3" fmla="*/ 632 w 4912"/>
                  <a:gd name="connsiteY3" fmla="*/ 2992 h 2991"/>
                  <a:gd name="connsiteX4" fmla="*/ 0 w 4912"/>
                  <a:gd name="connsiteY4" fmla="*/ 2388 h 2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 h="2991">
                    <a:moveTo>
                      <a:pt x="27" y="2388"/>
                    </a:moveTo>
                    <a:lnTo>
                      <a:pt x="3046" y="0"/>
                    </a:lnTo>
                    <a:lnTo>
                      <a:pt x="4912" y="2525"/>
                    </a:lnTo>
                    <a:lnTo>
                      <a:pt x="632" y="2992"/>
                    </a:lnTo>
                    <a:lnTo>
                      <a:pt x="0"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04" name="Freeform: Shape 4803">
                <a:extLst>
                  <a:ext uri="{FF2B5EF4-FFF2-40B4-BE49-F238E27FC236}">
                    <a16:creationId xmlns:a16="http://schemas.microsoft.com/office/drawing/2014/main" id="{D273CFA6-3D61-CE4E-6DC9-34138C3F84F1}"/>
                  </a:ext>
                </a:extLst>
              </p:cNvPr>
              <p:cNvSpPr/>
              <p:nvPr/>
            </p:nvSpPr>
            <p:spPr>
              <a:xfrm>
                <a:off x="1737623" y="3807077"/>
                <a:ext cx="338" cy="438"/>
              </a:xfrm>
              <a:custGeom>
                <a:avLst/>
                <a:gdLst>
                  <a:gd name="connsiteX0" fmla="*/ 0 w 3238"/>
                  <a:gd name="connsiteY0" fmla="*/ 933 h 4198"/>
                  <a:gd name="connsiteX1" fmla="*/ 1756 w 3238"/>
                  <a:gd name="connsiteY1" fmla="*/ 0 h 4198"/>
                  <a:gd name="connsiteX2" fmla="*/ 3238 w 3238"/>
                  <a:gd name="connsiteY2" fmla="*/ 2580 h 4198"/>
                  <a:gd name="connsiteX3" fmla="*/ 1317 w 3238"/>
                  <a:gd name="connsiteY3" fmla="*/ 4199 h 4198"/>
                  <a:gd name="connsiteX4" fmla="*/ 27 w 3238"/>
                  <a:gd name="connsiteY4" fmla="*/ 961 h 4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4198">
                    <a:moveTo>
                      <a:pt x="0" y="933"/>
                    </a:moveTo>
                    <a:lnTo>
                      <a:pt x="1756" y="0"/>
                    </a:lnTo>
                    <a:lnTo>
                      <a:pt x="3238" y="2580"/>
                    </a:lnTo>
                    <a:lnTo>
                      <a:pt x="1317" y="4199"/>
                    </a:lnTo>
                    <a:lnTo>
                      <a:pt x="27" y="9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05" name="Freeform: Shape 4804">
                <a:extLst>
                  <a:ext uri="{FF2B5EF4-FFF2-40B4-BE49-F238E27FC236}">
                    <a16:creationId xmlns:a16="http://schemas.microsoft.com/office/drawing/2014/main" id="{A18D96F3-FDFD-F039-0DE3-91F4D71ECC2D}"/>
                  </a:ext>
                </a:extLst>
              </p:cNvPr>
              <p:cNvSpPr/>
              <p:nvPr/>
            </p:nvSpPr>
            <p:spPr>
              <a:xfrm>
                <a:off x="1737120" y="3784514"/>
                <a:ext cx="272" cy="529"/>
              </a:xfrm>
              <a:custGeom>
                <a:avLst/>
                <a:gdLst>
                  <a:gd name="connsiteX0" fmla="*/ 0 w 2606"/>
                  <a:gd name="connsiteY0" fmla="*/ 1976 h 5076"/>
                  <a:gd name="connsiteX1" fmla="*/ 1647 w 2606"/>
                  <a:gd name="connsiteY1" fmla="*/ 0 h 5076"/>
                  <a:gd name="connsiteX2" fmla="*/ 2607 w 2606"/>
                  <a:gd name="connsiteY2" fmla="*/ 4775 h 5076"/>
                  <a:gd name="connsiteX3" fmla="*/ 1071 w 2606"/>
                  <a:gd name="connsiteY3" fmla="*/ 5077 h 5076"/>
                  <a:gd name="connsiteX4" fmla="*/ 0 w 2606"/>
                  <a:gd name="connsiteY4" fmla="*/ 2003 h 5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6" h="5076">
                    <a:moveTo>
                      <a:pt x="0" y="1976"/>
                    </a:moveTo>
                    <a:lnTo>
                      <a:pt x="1647" y="0"/>
                    </a:lnTo>
                    <a:lnTo>
                      <a:pt x="2607" y="4775"/>
                    </a:lnTo>
                    <a:lnTo>
                      <a:pt x="1071" y="5077"/>
                    </a:lnTo>
                    <a:lnTo>
                      <a:pt x="0" y="20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06" name="Freeform: Shape 4805">
                <a:extLst>
                  <a:ext uri="{FF2B5EF4-FFF2-40B4-BE49-F238E27FC236}">
                    <a16:creationId xmlns:a16="http://schemas.microsoft.com/office/drawing/2014/main" id="{BE3A86ED-7200-3316-AA97-F18FC175EFB7}"/>
                  </a:ext>
                </a:extLst>
              </p:cNvPr>
              <p:cNvSpPr/>
              <p:nvPr/>
            </p:nvSpPr>
            <p:spPr>
              <a:xfrm>
                <a:off x="1732780" y="3829249"/>
                <a:ext cx="355" cy="381"/>
              </a:xfrm>
              <a:custGeom>
                <a:avLst/>
                <a:gdLst>
                  <a:gd name="connsiteX0" fmla="*/ 0 w 3402"/>
                  <a:gd name="connsiteY0" fmla="*/ 1784 h 3649"/>
                  <a:gd name="connsiteX1" fmla="*/ 2222 w 3402"/>
                  <a:gd name="connsiteY1" fmla="*/ 0 h 3649"/>
                  <a:gd name="connsiteX2" fmla="*/ 3403 w 3402"/>
                  <a:gd name="connsiteY2" fmla="*/ 3074 h 3649"/>
                  <a:gd name="connsiteX3" fmla="*/ 1043 w 3402"/>
                  <a:gd name="connsiteY3" fmla="*/ 3650 h 3649"/>
                  <a:gd name="connsiteX4" fmla="*/ 0 w 3402"/>
                  <a:gd name="connsiteY4" fmla="*/ 1784 h 3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3649">
                    <a:moveTo>
                      <a:pt x="0" y="1784"/>
                    </a:moveTo>
                    <a:lnTo>
                      <a:pt x="2222" y="0"/>
                    </a:lnTo>
                    <a:lnTo>
                      <a:pt x="3403" y="3074"/>
                    </a:lnTo>
                    <a:lnTo>
                      <a:pt x="1043" y="3650"/>
                    </a:lnTo>
                    <a:lnTo>
                      <a:pt x="0"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07" name="Freeform: Shape 4806">
                <a:extLst>
                  <a:ext uri="{FF2B5EF4-FFF2-40B4-BE49-F238E27FC236}">
                    <a16:creationId xmlns:a16="http://schemas.microsoft.com/office/drawing/2014/main" id="{CB482F13-F352-3BA4-FC30-447507E76B9C}"/>
                  </a:ext>
                </a:extLst>
              </p:cNvPr>
              <p:cNvSpPr/>
              <p:nvPr/>
            </p:nvSpPr>
            <p:spPr>
              <a:xfrm>
                <a:off x="1738954" y="3779078"/>
                <a:ext cx="358" cy="401"/>
              </a:xfrm>
              <a:custGeom>
                <a:avLst/>
                <a:gdLst>
                  <a:gd name="connsiteX0" fmla="*/ 0 w 3430"/>
                  <a:gd name="connsiteY0" fmla="*/ 3787 h 3842"/>
                  <a:gd name="connsiteX1" fmla="*/ 1839 w 3430"/>
                  <a:gd name="connsiteY1" fmla="*/ 0 h 3842"/>
                  <a:gd name="connsiteX2" fmla="*/ 3430 w 3430"/>
                  <a:gd name="connsiteY2" fmla="*/ 768 h 3842"/>
                  <a:gd name="connsiteX3" fmla="*/ 2415 w 3430"/>
                  <a:gd name="connsiteY3" fmla="*/ 3842 h 3842"/>
                  <a:gd name="connsiteX4" fmla="*/ 0 w 3430"/>
                  <a:gd name="connsiteY4" fmla="*/ 3787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3842">
                    <a:moveTo>
                      <a:pt x="0" y="3787"/>
                    </a:moveTo>
                    <a:lnTo>
                      <a:pt x="1839" y="0"/>
                    </a:lnTo>
                    <a:lnTo>
                      <a:pt x="3430" y="768"/>
                    </a:lnTo>
                    <a:lnTo>
                      <a:pt x="2415" y="3842"/>
                    </a:lnTo>
                    <a:lnTo>
                      <a:pt x="0" y="37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08" name="Freeform: Shape 4807">
                <a:extLst>
                  <a:ext uri="{FF2B5EF4-FFF2-40B4-BE49-F238E27FC236}">
                    <a16:creationId xmlns:a16="http://schemas.microsoft.com/office/drawing/2014/main" id="{B805FB48-E304-DF11-2464-3354511B064F}"/>
                  </a:ext>
                </a:extLst>
              </p:cNvPr>
              <p:cNvSpPr/>
              <p:nvPr/>
            </p:nvSpPr>
            <p:spPr>
              <a:xfrm>
                <a:off x="1746560" y="3807842"/>
                <a:ext cx="384" cy="358"/>
              </a:xfrm>
              <a:custGeom>
                <a:avLst/>
                <a:gdLst>
                  <a:gd name="connsiteX0" fmla="*/ 27 w 3677"/>
                  <a:gd name="connsiteY0" fmla="*/ 1619 h 3430"/>
                  <a:gd name="connsiteX1" fmla="*/ 1400 w 3677"/>
                  <a:gd name="connsiteY1" fmla="*/ 0 h 3430"/>
                  <a:gd name="connsiteX2" fmla="*/ 3678 w 3677"/>
                  <a:gd name="connsiteY2" fmla="*/ 604 h 3430"/>
                  <a:gd name="connsiteX3" fmla="*/ 3074 w 3677"/>
                  <a:gd name="connsiteY3" fmla="*/ 3430 h 3430"/>
                  <a:gd name="connsiteX4" fmla="*/ 0 w 3677"/>
                  <a:gd name="connsiteY4" fmla="*/ 1592 h 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7" h="3430">
                    <a:moveTo>
                      <a:pt x="27" y="1619"/>
                    </a:moveTo>
                    <a:lnTo>
                      <a:pt x="1400" y="0"/>
                    </a:lnTo>
                    <a:lnTo>
                      <a:pt x="3678" y="604"/>
                    </a:lnTo>
                    <a:lnTo>
                      <a:pt x="3074" y="3430"/>
                    </a:lnTo>
                    <a:lnTo>
                      <a:pt x="0" y="1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09" name="Freeform: Shape 4808">
                <a:extLst>
                  <a:ext uri="{FF2B5EF4-FFF2-40B4-BE49-F238E27FC236}">
                    <a16:creationId xmlns:a16="http://schemas.microsoft.com/office/drawing/2014/main" id="{77F8AA4E-F68B-B29C-75AE-9149D33926C3}"/>
                  </a:ext>
                </a:extLst>
              </p:cNvPr>
              <p:cNvSpPr/>
              <p:nvPr/>
            </p:nvSpPr>
            <p:spPr>
              <a:xfrm>
                <a:off x="1738494" y="3825737"/>
                <a:ext cx="447" cy="298"/>
              </a:xfrm>
              <a:custGeom>
                <a:avLst/>
                <a:gdLst>
                  <a:gd name="connsiteX0" fmla="*/ 0 w 4281"/>
                  <a:gd name="connsiteY0" fmla="*/ 1098 h 2854"/>
                  <a:gd name="connsiteX1" fmla="*/ 2634 w 4281"/>
                  <a:gd name="connsiteY1" fmla="*/ 0 h 2854"/>
                  <a:gd name="connsiteX2" fmla="*/ 4281 w 4281"/>
                  <a:gd name="connsiteY2" fmla="*/ 2552 h 2854"/>
                  <a:gd name="connsiteX3" fmla="*/ 1345 w 4281"/>
                  <a:gd name="connsiteY3" fmla="*/ 2854 h 2854"/>
                  <a:gd name="connsiteX4" fmla="*/ 0 w 4281"/>
                  <a:gd name="connsiteY4" fmla="*/ 1098 h 2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2854">
                    <a:moveTo>
                      <a:pt x="0" y="1098"/>
                    </a:moveTo>
                    <a:lnTo>
                      <a:pt x="2634" y="0"/>
                    </a:lnTo>
                    <a:lnTo>
                      <a:pt x="4281" y="2552"/>
                    </a:lnTo>
                    <a:lnTo>
                      <a:pt x="1345" y="2854"/>
                    </a:lnTo>
                    <a:lnTo>
                      <a:pt x="0" y="10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10" name="Freeform: Shape 4809">
                <a:extLst>
                  <a:ext uri="{FF2B5EF4-FFF2-40B4-BE49-F238E27FC236}">
                    <a16:creationId xmlns:a16="http://schemas.microsoft.com/office/drawing/2014/main" id="{2C3DE7C5-45AF-AFF2-5460-4EC10CD6D073}"/>
                  </a:ext>
                </a:extLst>
              </p:cNvPr>
              <p:cNvSpPr/>
              <p:nvPr/>
            </p:nvSpPr>
            <p:spPr>
              <a:xfrm>
                <a:off x="1746932" y="3807495"/>
                <a:ext cx="372" cy="338"/>
              </a:xfrm>
              <a:custGeom>
                <a:avLst/>
                <a:gdLst>
                  <a:gd name="connsiteX0" fmla="*/ 27 w 3567"/>
                  <a:gd name="connsiteY0" fmla="*/ 2058 h 3238"/>
                  <a:gd name="connsiteX1" fmla="*/ 686 w 3567"/>
                  <a:gd name="connsiteY1" fmla="*/ 659 h 3238"/>
                  <a:gd name="connsiteX2" fmla="*/ 2772 w 3567"/>
                  <a:gd name="connsiteY2" fmla="*/ 0 h 3238"/>
                  <a:gd name="connsiteX3" fmla="*/ 3568 w 3567"/>
                  <a:gd name="connsiteY3" fmla="*/ 2607 h 3238"/>
                  <a:gd name="connsiteX4" fmla="*/ 2442 w 3567"/>
                  <a:gd name="connsiteY4" fmla="*/ 3238 h 3238"/>
                  <a:gd name="connsiteX5" fmla="*/ 0 w 3567"/>
                  <a:gd name="connsiteY5" fmla="*/ 2058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3238">
                    <a:moveTo>
                      <a:pt x="27" y="2058"/>
                    </a:moveTo>
                    <a:lnTo>
                      <a:pt x="686" y="659"/>
                    </a:lnTo>
                    <a:lnTo>
                      <a:pt x="2772" y="0"/>
                    </a:lnTo>
                    <a:lnTo>
                      <a:pt x="3568" y="2607"/>
                    </a:lnTo>
                    <a:lnTo>
                      <a:pt x="2442" y="3238"/>
                    </a:lnTo>
                    <a:lnTo>
                      <a:pt x="0"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11" name="Freeform: Shape 4810">
                <a:extLst>
                  <a:ext uri="{FF2B5EF4-FFF2-40B4-BE49-F238E27FC236}">
                    <a16:creationId xmlns:a16="http://schemas.microsoft.com/office/drawing/2014/main" id="{E0F5D5AE-7493-917B-DFC6-E6B8D9C3CF3C}"/>
                  </a:ext>
                </a:extLst>
              </p:cNvPr>
              <p:cNvSpPr/>
              <p:nvPr/>
            </p:nvSpPr>
            <p:spPr>
              <a:xfrm>
                <a:off x="1739295" y="3806954"/>
                <a:ext cx="315" cy="398"/>
              </a:xfrm>
              <a:custGeom>
                <a:avLst/>
                <a:gdLst>
                  <a:gd name="connsiteX0" fmla="*/ 0 w 3018"/>
                  <a:gd name="connsiteY0" fmla="*/ 1537 h 3814"/>
                  <a:gd name="connsiteX1" fmla="*/ 1591 w 3018"/>
                  <a:gd name="connsiteY1" fmla="*/ 0 h 3814"/>
                  <a:gd name="connsiteX2" fmla="*/ 3018 w 3018"/>
                  <a:gd name="connsiteY2" fmla="*/ 2031 h 3814"/>
                  <a:gd name="connsiteX3" fmla="*/ 2963 w 3018"/>
                  <a:gd name="connsiteY3" fmla="*/ 3815 h 3814"/>
                  <a:gd name="connsiteX4" fmla="*/ 850 w 3018"/>
                  <a:gd name="connsiteY4" fmla="*/ 3348 h 3814"/>
                  <a:gd name="connsiteX5" fmla="*/ 27 w 3018"/>
                  <a:gd name="connsiteY5" fmla="*/ 1509 h 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 h="3814">
                    <a:moveTo>
                      <a:pt x="0" y="1537"/>
                    </a:moveTo>
                    <a:lnTo>
                      <a:pt x="1591" y="0"/>
                    </a:lnTo>
                    <a:lnTo>
                      <a:pt x="3018" y="2031"/>
                    </a:lnTo>
                    <a:lnTo>
                      <a:pt x="2963" y="3815"/>
                    </a:lnTo>
                    <a:lnTo>
                      <a:pt x="850" y="3348"/>
                    </a:lnTo>
                    <a:lnTo>
                      <a:pt x="27" y="15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12" name="Freeform: Shape 4811">
                <a:extLst>
                  <a:ext uri="{FF2B5EF4-FFF2-40B4-BE49-F238E27FC236}">
                    <a16:creationId xmlns:a16="http://schemas.microsoft.com/office/drawing/2014/main" id="{8B2E50F6-4F68-9548-48A3-EC9D91293153}"/>
                  </a:ext>
                </a:extLst>
              </p:cNvPr>
              <p:cNvSpPr/>
              <p:nvPr/>
            </p:nvSpPr>
            <p:spPr>
              <a:xfrm>
                <a:off x="1728590" y="3822774"/>
                <a:ext cx="449" cy="275"/>
              </a:xfrm>
              <a:custGeom>
                <a:avLst/>
                <a:gdLst>
                  <a:gd name="connsiteX0" fmla="*/ 0 w 4308"/>
                  <a:gd name="connsiteY0" fmla="*/ 905 h 2634"/>
                  <a:gd name="connsiteX1" fmla="*/ 4309 w 4308"/>
                  <a:gd name="connsiteY1" fmla="*/ 0 h 2634"/>
                  <a:gd name="connsiteX2" fmla="*/ 3485 w 4308"/>
                  <a:gd name="connsiteY2" fmla="*/ 2634 h 2634"/>
                  <a:gd name="connsiteX3" fmla="*/ 330 w 4308"/>
                  <a:gd name="connsiteY3" fmla="*/ 2058 h 2634"/>
                  <a:gd name="connsiteX4" fmla="*/ 0 w 4308"/>
                  <a:gd name="connsiteY4" fmla="*/ 905 h 2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2634">
                    <a:moveTo>
                      <a:pt x="0" y="905"/>
                    </a:moveTo>
                    <a:lnTo>
                      <a:pt x="4309" y="0"/>
                    </a:lnTo>
                    <a:lnTo>
                      <a:pt x="3485" y="2634"/>
                    </a:lnTo>
                    <a:lnTo>
                      <a:pt x="330" y="2058"/>
                    </a:lnTo>
                    <a:lnTo>
                      <a:pt x="0"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13" name="Freeform: Shape 4812">
                <a:extLst>
                  <a:ext uri="{FF2B5EF4-FFF2-40B4-BE49-F238E27FC236}">
                    <a16:creationId xmlns:a16="http://schemas.microsoft.com/office/drawing/2014/main" id="{5B8D1F7A-DEA9-313F-F7F4-E76E41306A02}"/>
                  </a:ext>
                </a:extLst>
              </p:cNvPr>
              <p:cNvSpPr/>
              <p:nvPr/>
            </p:nvSpPr>
            <p:spPr>
              <a:xfrm>
                <a:off x="1735050" y="3824875"/>
                <a:ext cx="280" cy="441"/>
              </a:xfrm>
              <a:custGeom>
                <a:avLst/>
                <a:gdLst>
                  <a:gd name="connsiteX0" fmla="*/ 0 w 2689"/>
                  <a:gd name="connsiteY0" fmla="*/ 3238 h 4226"/>
                  <a:gd name="connsiteX1" fmla="*/ 1152 w 2689"/>
                  <a:gd name="connsiteY1" fmla="*/ 0 h 4226"/>
                  <a:gd name="connsiteX2" fmla="*/ 2689 w 2689"/>
                  <a:gd name="connsiteY2" fmla="*/ 329 h 4226"/>
                  <a:gd name="connsiteX3" fmla="*/ 2113 w 2689"/>
                  <a:gd name="connsiteY3" fmla="*/ 4226 h 4226"/>
                  <a:gd name="connsiteX4" fmla="*/ 0 w 2689"/>
                  <a:gd name="connsiteY4" fmla="*/ 3266 h 4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9" h="4226">
                    <a:moveTo>
                      <a:pt x="0" y="3238"/>
                    </a:moveTo>
                    <a:lnTo>
                      <a:pt x="1152" y="0"/>
                    </a:lnTo>
                    <a:lnTo>
                      <a:pt x="2689" y="329"/>
                    </a:lnTo>
                    <a:lnTo>
                      <a:pt x="2113" y="4226"/>
                    </a:lnTo>
                    <a:lnTo>
                      <a:pt x="0"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14" name="Freeform: Shape 4813">
                <a:extLst>
                  <a:ext uri="{FF2B5EF4-FFF2-40B4-BE49-F238E27FC236}">
                    <a16:creationId xmlns:a16="http://schemas.microsoft.com/office/drawing/2014/main" id="{1AF93ECB-9253-5608-28EF-2473AFE93C63}"/>
                  </a:ext>
                </a:extLst>
              </p:cNvPr>
              <p:cNvSpPr/>
              <p:nvPr/>
            </p:nvSpPr>
            <p:spPr>
              <a:xfrm>
                <a:off x="1749780" y="3827715"/>
                <a:ext cx="412" cy="295"/>
              </a:xfrm>
              <a:custGeom>
                <a:avLst/>
                <a:gdLst>
                  <a:gd name="connsiteX0" fmla="*/ 27 w 3951"/>
                  <a:gd name="connsiteY0" fmla="*/ 1948 h 2826"/>
                  <a:gd name="connsiteX1" fmla="*/ 2058 w 3951"/>
                  <a:gd name="connsiteY1" fmla="*/ 0 h 2826"/>
                  <a:gd name="connsiteX2" fmla="*/ 3952 w 3951"/>
                  <a:gd name="connsiteY2" fmla="*/ 384 h 2826"/>
                  <a:gd name="connsiteX3" fmla="*/ 3842 w 3951"/>
                  <a:gd name="connsiteY3" fmla="*/ 2826 h 2826"/>
                  <a:gd name="connsiteX4" fmla="*/ 0 w 3951"/>
                  <a:gd name="connsiteY4" fmla="*/ 1976 h 2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2826">
                    <a:moveTo>
                      <a:pt x="27" y="1948"/>
                    </a:moveTo>
                    <a:lnTo>
                      <a:pt x="2058" y="0"/>
                    </a:lnTo>
                    <a:lnTo>
                      <a:pt x="3952" y="384"/>
                    </a:lnTo>
                    <a:lnTo>
                      <a:pt x="3842" y="2826"/>
                    </a:lnTo>
                    <a:lnTo>
                      <a:pt x="0"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15" name="Freeform: Shape 4814">
                <a:extLst>
                  <a:ext uri="{FF2B5EF4-FFF2-40B4-BE49-F238E27FC236}">
                    <a16:creationId xmlns:a16="http://schemas.microsoft.com/office/drawing/2014/main" id="{81F96657-734B-1977-2DDD-DD551278856C}"/>
                  </a:ext>
                </a:extLst>
              </p:cNvPr>
              <p:cNvSpPr/>
              <p:nvPr/>
            </p:nvSpPr>
            <p:spPr>
              <a:xfrm>
                <a:off x="1733284" y="3826218"/>
                <a:ext cx="378" cy="321"/>
              </a:xfrm>
              <a:custGeom>
                <a:avLst/>
                <a:gdLst>
                  <a:gd name="connsiteX0" fmla="*/ 0 w 3621"/>
                  <a:gd name="connsiteY0" fmla="*/ 1921 h 3073"/>
                  <a:gd name="connsiteX1" fmla="*/ 1207 w 3621"/>
                  <a:gd name="connsiteY1" fmla="*/ 0 h 3073"/>
                  <a:gd name="connsiteX2" fmla="*/ 2908 w 3621"/>
                  <a:gd name="connsiteY2" fmla="*/ 192 h 3073"/>
                  <a:gd name="connsiteX3" fmla="*/ 3622 w 3621"/>
                  <a:gd name="connsiteY3" fmla="*/ 2058 h 3073"/>
                  <a:gd name="connsiteX4" fmla="*/ 1345 w 3621"/>
                  <a:gd name="connsiteY4" fmla="*/ 3074 h 3073"/>
                  <a:gd name="connsiteX5" fmla="*/ 0 w 3621"/>
                  <a:gd name="connsiteY5" fmla="*/ 1949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1" h="3073">
                    <a:moveTo>
                      <a:pt x="0" y="1921"/>
                    </a:moveTo>
                    <a:lnTo>
                      <a:pt x="1207" y="0"/>
                    </a:lnTo>
                    <a:lnTo>
                      <a:pt x="2908" y="192"/>
                    </a:lnTo>
                    <a:lnTo>
                      <a:pt x="3622" y="2058"/>
                    </a:lnTo>
                    <a:lnTo>
                      <a:pt x="1345" y="3074"/>
                    </a:lnTo>
                    <a:lnTo>
                      <a:pt x="0" y="19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16" name="Freeform: Shape 4815">
                <a:extLst>
                  <a:ext uri="{FF2B5EF4-FFF2-40B4-BE49-F238E27FC236}">
                    <a16:creationId xmlns:a16="http://schemas.microsoft.com/office/drawing/2014/main" id="{7EC2A9AF-86A2-E315-14FF-22C070C2641C}"/>
                  </a:ext>
                </a:extLst>
              </p:cNvPr>
              <p:cNvSpPr/>
              <p:nvPr/>
            </p:nvSpPr>
            <p:spPr>
              <a:xfrm>
                <a:off x="1750810" y="3810984"/>
                <a:ext cx="306" cy="372"/>
              </a:xfrm>
              <a:custGeom>
                <a:avLst/>
                <a:gdLst>
                  <a:gd name="connsiteX0" fmla="*/ 2168 w 2935"/>
                  <a:gd name="connsiteY0" fmla="*/ 3568 h 3567"/>
                  <a:gd name="connsiteX1" fmla="*/ 549 w 2935"/>
                  <a:gd name="connsiteY1" fmla="*/ 3293 h 3567"/>
                  <a:gd name="connsiteX2" fmla="*/ 0 w 2935"/>
                  <a:gd name="connsiteY2" fmla="*/ 1647 h 3567"/>
                  <a:gd name="connsiteX3" fmla="*/ 1866 w 2935"/>
                  <a:gd name="connsiteY3" fmla="*/ 0 h 3567"/>
                  <a:gd name="connsiteX4" fmla="*/ 2936 w 2935"/>
                  <a:gd name="connsiteY4" fmla="*/ 796 h 3567"/>
                  <a:gd name="connsiteX5" fmla="*/ 2141 w 2935"/>
                  <a:gd name="connsiteY5" fmla="*/ 3540 h 3567"/>
                  <a:gd name="connsiteX6" fmla="*/ 2141 w 2935"/>
                  <a:gd name="connsiteY6" fmla="*/ 3540 h 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5" h="3567">
                    <a:moveTo>
                      <a:pt x="2168" y="3568"/>
                    </a:moveTo>
                    <a:lnTo>
                      <a:pt x="549" y="3293"/>
                    </a:lnTo>
                    <a:lnTo>
                      <a:pt x="0" y="1647"/>
                    </a:lnTo>
                    <a:lnTo>
                      <a:pt x="1866" y="0"/>
                    </a:lnTo>
                    <a:lnTo>
                      <a:pt x="2936" y="796"/>
                    </a:lnTo>
                    <a:lnTo>
                      <a:pt x="2141" y="3540"/>
                    </a:lnTo>
                    <a:lnTo>
                      <a:pt x="2141"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17" name="Freeform: Shape 4816">
                <a:extLst>
                  <a:ext uri="{FF2B5EF4-FFF2-40B4-BE49-F238E27FC236}">
                    <a16:creationId xmlns:a16="http://schemas.microsoft.com/office/drawing/2014/main" id="{7ADC09F1-2EE7-D127-724D-2C93FCDE26F3}"/>
                  </a:ext>
                </a:extLst>
              </p:cNvPr>
              <p:cNvSpPr/>
              <p:nvPr/>
            </p:nvSpPr>
            <p:spPr>
              <a:xfrm>
                <a:off x="1736939" y="3826418"/>
                <a:ext cx="404" cy="295"/>
              </a:xfrm>
              <a:custGeom>
                <a:avLst/>
                <a:gdLst>
                  <a:gd name="connsiteX0" fmla="*/ 0 w 3869"/>
                  <a:gd name="connsiteY0" fmla="*/ 1811 h 2826"/>
                  <a:gd name="connsiteX1" fmla="*/ 494 w 3869"/>
                  <a:gd name="connsiteY1" fmla="*/ 357 h 2826"/>
                  <a:gd name="connsiteX2" fmla="*/ 3266 w 3869"/>
                  <a:gd name="connsiteY2" fmla="*/ 0 h 2826"/>
                  <a:gd name="connsiteX3" fmla="*/ 3869 w 3869"/>
                  <a:gd name="connsiteY3" fmla="*/ 1619 h 2826"/>
                  <a:gd name="connsiteX4" fmla="*/ 576 w 3869"/>
                  <a:gd name="connsiteY4" fmla="*/ 2827 h 2826"/>
                  <a:gd name="connsiteX5" fmla="*/ 27 w 3869"/>
                  <a:gd name="connsiteY5" fmla="*/ 1811 h 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9" h="2826">
                    <a:moveTo>
                      <a:pt x="0" y="1811"/>
                    </a:moveTo>
                    <a:lnTo>
                      <a:pt x="494" y="357"/>
                    </a:lnTo>
                    <a:lnTo>
                      <a:pt x="3266" y="0"/>
                    </a:lnTo>
                    <a:lnTo>
                      <a:pt x="3869" y="1619"/>
                    </a:lnTo>
                    <a:lnTo>
                      <a:pt x="576" y="2827"/>
                    </a:lnTo>
                    <a:lnTo>
                      <a:pt x="27"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18" name="Freeform: Shape 4817">
                <a:extLst>
                  <a:ext uri="{FF2B5EF4-FFF2-40B4-BE49-F238E27FC236}">
                    <a16:creationId xmlns:a16="http://schemas.microsoft.com/office/drawing/2014/main" id="{98E7F5AE-34F0-18D4-C6D0-5D6DA9A35D4B}"/>
                  </a:ext>
                </a:extLst>
              </p:cNvPr>
              <p:cNvSpPr/>
              <p:nvPr/>
            </p:nvSpPr>
            <p:spPr>
              <a:xfrm>
                <a:off x="1752731" y="3823215"/>
                <a:ext cx="300" cy="363"/>
              </a:xfrm>
              <a:custGeom>
                <a:avLst/>
                <a:gdLst>
                  <a:gd name="connsiteX0" fmla="*/ 0 w 2881"/>
                  <a:gd name="connsiteY0" fmla="*/ 1949 h 3485"/>
                  <a:gd name="connsiteX1" fmla="*/ 1015 w 2881"/>
                  <a:gd name="connsiteY1" fmla="*/ 0 h 3485"/>
                  <a:gd name="connsiteX2" fmla="*/ 2607 w 2881"/>
                  <a:gd name="connsiteY2" fmla="*/ 1015 h 3485"/>
                  <a:gd name="connsiteX3" fmla="*/ 2882 w 2881"/>
                  <a:gd name="connsiteY3" fmla="*/ 3430 h 3485"/>
                  <a:gd name="connsiteX4" fmla="*/ 741 w 2881"/>
                  <a:gd name="connsiteY4" fmla="*/ 3485 h 3485"/>
                  <a:gd name="connsiteX5" fmla="*/ 27 w 2881"/>
                  <a:gd name="connsiteY5" fmla="*/ 1949 h 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 h="3485">
                    <a:moveTo>
                      <a:pt x="0" y="1949"/>
                    </a:moveTo>
                    <a:lnTo>
                      <a:pt x="1015" y="0"/>
                    </a:lnTo>
                    <a:lnTo>
                      <a:pt x="2607" y="1015"/>
                    </a:lnTo>
                    <a:lnTo>
                      <a:pt x="2882" y="3430"/>
                    </a:lnTo>
                    <a:lnTo>
                      <a:pt x="741" y="3485"/>
                    </a:lnTo>
                    <a:lnTo>
                      <a:pt x="27" y="19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19" name="Freeform: Shape 4818">
                <a:extLst>
                  <a:ext uri="{FF2B5EF4-FFF2-40B4-BE49-F238E27FC236}">
                    <a16:creationId xmlns:a16="http://schemas.microsoft.com/office/drawing/2014/main" id="{04711B3F-CD9D-3F57-AAD0-038DFEA84E0A}"/>
                  </a:ext>
                </a:extLst>
              </p:cNvPr>
              <p:cNvSpPr/>
              <p:nvPr/>
            </p:nvSpPr>
            <p:spPr>
              <a:xfrm>
                <a:off x="1731787" y="3829601"/>
                <a:ext cx="249" cy="424"/>
              </a:xfrm>
              <a:custGeom>
                <a:avLst/>
                <a:gdLst>
                  <a:gd name="connsiteX0" fmla="*/ 0 w 2387"/>
                  <a:gd name="connsiteY0" fmla="*/ 3129 h 4061"/>
                  <a:gd name="connsiteX1" fmla="*/ 356 w 2387"/>
                  <a:gd name="connsiteY1" fmla="*/ 219 h 4061"/>
                  <a:gd name="connsiteX2" fmla="*/ 2058 w 2387"/>
                  <a:gd name="connsiteY2" fmla="*/ 0 h 4061"/>
                  <a:gd name="connsiteX3" fmla="*/ 2387 w 2387"/>
                  <a:gd name="connsiteY3" fmla="*/ 4062 h 4061"/>
                  <a:gd name="connsiteX4" fmla="*/ 27 w 2387"/>
                  <a:gd name="connsiteY4" fmla="*/ 3129 h 4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7" h="4061">
                    <a:moveTo>
                      <a:pt x="0" y="3129"/>
                    </a:moveTo>
                    <a:lnTo>
                      <a:pt x="356" y="219"/>
                    </a:lnTo>
                    <a:lnTo>
                      <a:pt x="2058" y="0"/>
                    </a:lnTo>
                    <a:lnTo>
                      <a:pt x="2387" y="4062"/>
                    </a:lnTo>
                    <a:lnTo>
                      <a:pt x="27" y="31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20" name="Freeform: Shape 4819">
                <a:extLst>
                  <a:ext uri="{FF2B5EF4-FFF2-40B4-BE49-F238E27FC236}">
                    <a16:creationId xmlns:a16="http://schemas.microsoft.com/office/drawing/2014/main" id="{FD03B89A-C688-EA70-EFB8-863B6A8D02D1}"/>
                  </a:ext>
                </a:extLst>
              </p:cNvPr>
              <p:cNvSpPr/>
              <p:nvPr/>
            </p:nvSpPr>
            <p:spPr>
              <a:xfrm>
                <a:off x="1735880" y="3808909"/>
                <a:ext cx="280" cy="343"/>
              </a:xfrm>
              <a:custGeom>
                <a:avLst/>
                <a:gdLst>
                  <a:gd name="connsiteX0" fmla="*/ 2689 w 2689"/>
                  <a:gd name="connsiteY0" fmla="*/ 2223 h 3293"/>
                  <a:gd name="connsiteX1" fmla="*/ 1619 w 2689"/>
                  <a:gd name="connsiteY1" fmla="*/ 3293 h 3293"/>
                  <a:gd name="connsiteX2" fmla="*/ 549 w 2689"/>
                  <a:gd name="connsiteY2" fmla="*/ 3293 h 3293"/>
                  <a:gd name="connsiteX3" fmla="*/ 0 w 2689"/>
                  <a:gd name="connsiteY3" fmla="*/ 577 h 3293"/>
                  <a:gd name="connsiteX4" fmla="*/ 1619 w 2689"/>
                  <a:gd name="connsiteY4" fmla="*/ 0 h 3293"/>
                  <a:gd name="connsiteX5" fmla="*/ 2689 w 2689"/>
                  <a:gd name="connsiteY5" fmla="*/ 577 h 3293"/>
                  <a:gd name="connsiteX6" fmla="*/ 2689 w 2689"/>
                  <a:gd name="connsiteY6" fmla="*/ 2223 h 3293"/>
                  <a:gd name="connsiteX7" fmla="*/ 2689 w 2689"/>
                  <a:gd name="connsiteY7" fmla="*/ 2223 h 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9" h="3293">
                    <a:moveTo>
                      <a:pt x="2689" y="2223"/>
                    </a:moveTo>
                    <a:lnTo>
                      <a:pt x="1619" y="3293"/>
                    </a:lnTo>
                    <a:lnTo>
                      <a:pt x="549" y="3293"/>
                    </a:lnTo>
                    <a:lnTo>
                      <a:pt x="0" y="577"/>
                    </a:lnTo>
                    <a:lnTo>
                      <a:pt x="1619" y="0"/>
                    </a:lnTo>
                    <a:lnTo>
                      <a:pt x="2689" y="577"/>
                    </a:lnTo>
                    <a:lnTo>
                      <a:pt x="2689" y="2223"/>
                    </a:lnTo>
                    <a:lnTo>
                      <a:pt x="2689"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21" name="Freeform: Shape 4820">
                <a:extLst>
                  <a:ext uri="{FF2B5EF4-FFF2-40B4-BE49-F238E27FC236}">
                    <a16:creationId xmlns:a16="http://schemas.microsoft.com/office/drawing/2014/main" id="{14B60CEB-1309-AFB7-B543-85B96B55E497}"/>
                  </a:ext>
                </a:extLst>
              </p:cNvPr>
              <p:cNvSpPr/>
              <p:nvPr/>
            </p:nvSpPr>
            <p:spPr>
              <a:xfrm>
                <a:off x="1736530" y="3810853"/>
                <a:ext cx="315" cy="318"/>
              </a:xfrm>
              <a:custGeom>
                <a:avLst/>
                <a:gdLst>
                  <a:gd name="connsiteX0" fmla="*/ 0 w 3018"/>
                  <a:gd name="connsiteY0" fmla="*/ 1756 h 3046"/>
                  <a:gd name="connsiteX1" fmla="*/ 631 w 3018"/>
                  <a:gd name="connsiteY1" fmla="*/ 219 h 3046"/>
                  <a:gd name="connsiteX2" fmla="*/ 2717 w 3018"/>
                  <a:gd name="connsiteY2" fmla="*/ 0 h 3046"/>
                  <a:gd name="connsiteX3" fmla="*/ 3019 w 3018"/>
                  <a:gd name="connsiteY3" fmla="*/ 2689 h 3046"/>
                  <a:gd name="connsiteX4" fmla="*/ 851 w 3018"/>
                  <a:gd name="connsiteY4" fmla="*/ 3046 h 3046"/>
                  <a:gd name="connsiteX5" fmla="*/ 0 w 3018"/>
                  <a:gd name="connsiteY5" fmla="*/ 1756 h 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 h="3046">
                    <a:moveTo>
                      <a:pt x="0" y="1756"/>
                    </a:moveTo>
                    <a:lnTo>
                      <a:pt x="631" y="219"/>
                    </a:lnTo>
                    <a:lnTo>
                      <a:pt x="2717" y="0"/>
                    </a:lnTo>
                    <a:lnTo>
                      <a:pt x="3019" y="2689"/>
                    </a:lnTo>
                    <a:lnTo>
                      <a:pt x="851" y="3046"/>
                    </a:lnTo>
                    <a:lnTo>
                      <a:pt x="0"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22" name="Freeform: Shape 4821">
                <a:extLst>
                  <a:ext uri="{FF2B5EF4-FFF2-40B4-BE49-F238E27FC236}">
                    <a16:creationId xmlns:a16="http://schemas.microsoft.com/office/drawing/2014/main" id="{577C180E-AEDB-D63C-E944-589959B8DF36}"/>
                  </a:ext>
                </a:extLst>
              </p:cNvPr>
              <p:cNvSpPr/>
              <p:nvPr/>
            </p:nvSpPr>
            <p:spPr>
              <a:xfrm>
                <a:off x="1751048" y="3811285"/>
                <a:ext cx="300" cy="200"/>
              </a:xfrm>
              <a:custGeom>
                <a:avLst/>
                <a:gdLst>
                  <a:gd name="connsiteX0" fmla="*/ 0 w 2881"/>
                  <a:gd name="connsiteY0" fmla="*/ 631 h 1920"/>
                  <a:gd name="connsiteX1" fmla="*/ 2223 w 2881"/>
                  <a:gd name="connsiteY1" fmla="*/ 0 h 1920"/>
                  <a:gd name="connsiteX2" fmla="*/ 2882 w 2881"/>
                  <a:gd name="connsiteY2" fmla="*/ 1647 h 1920"/>
                  <a:gd name="connsiteX3" fmla="*/ 988 w 2881"/>
                  <a:gd name="connsiteY3" fmla="*/ 1921 h 1920"/>
                  <a:gd name="connsiteX4" fmla="*/ 0 w 2881"/>
                  <a:gd name="connsiteY4" fmla="*/ 659 h 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1" h="1920">
                    <a:moveTo>
                      <a:pt x="0" y="631"/>
                    </a:moveTo>
                    <a:lnTo>
                      <a:pt x="2223" y="0"/>
                    </a:lnTo>
                    <a:lnTo>
                      <a:pt x="2882" y="1647"/>
                    </a:lnTo>
                    <a:lnTo>
                      <a:pt x="988" y="1921"/>
                    </a:lnTo>
                    <a:lnTo>
                      <a:pt x="0" y="6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23" name="Freeform: Shape 4822">
                <a:extLst>
                  <a:ext uri="{FF2B5EF4-FFF2-40B4-BE49-F238E27FC236}">
                    <a16:creationId xmlns:a16="http://schemas.microsoft.com/office/drawing/2014/main" id="{C95735E0-1DB1-AC60-89A0-0832D6240DA0}"/>
                  </a:ext>
                </a:extLst>
              </p:cNvPr>
              <p:cNvSpPr/>
              <p:nvPr/>
            </p:nvSpPr>
            <p:spPr>
              <a:xfrm>
                <a:off x="1736187" y="3826756"/>
                <a:ext cx="172" cy="200"/>
              </a:xfrm>
              <a:custGeom>
                <a:avLst/>
                <a:gdLst>
                  <a:gd name="connsiteX0" fmla="*/ 275 w 1646"/>
                  <a:gd name="connsiteY0" fmla="*/ 1921 h 1921"/>
                  <a:gd name="connsiteX1" fmla="*/ 0 w 1646"/>
                  <a:gd name="connsiteY1" fmla="*/ 1345 h 1921"/>
                  <a:gd name="connsiteX2" fmla="*/ 549 w 1646"/>
                  <a:gd name="connsiteY2" fmla="*/ 275 h 1921"/>
                  <a:gd name="connsiteX3" fmla="*/ 1098 w 1646"/>
                  <a:gd name="connsiteY3" fmla="*/ 0 h 1921"/>
                  <a:gd name="connsiteX4" fmla="*/ 1647 w 1646"/>
                  <a:gd name="connsiteY4" fmla="*/ 275 h 1921"/>
                  <a:gd name="connsiteX5" fmla="*/ 1647 w 1646"/>
                  <a:gd name="connsiteY5" fmla="*/ 1619 h 1921"/>
                  <a:gd name="connsiteX6" fmla="*/ 851 w 1646"/>
                  <a:gd name="connsiteY6" fmla="*/ 1921 h 1921"/>
                  <a:gd name="connsiteX7" fmla="*/ 302 w 1646"/>
                  <a:gd name="connsiteY7" fmla="*/ 1921 h 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 h="1921">
                    <a:moveTo>
                      <a:pt x="275" y="1921"/>
                    </a:moveTo>
                    <a:lnTo>
                      <a:pt x="0" y="1345"/>
                    </a:lnTo>
                    <a:lnTo>
                      <a:pt x="549" y="275"/>
                    </a:lnTo>
                    <a:lnTo>
                      <a:pt x="1098" y="0"/>
                    </a:lnTo>
                    <a:lnTo>
                      <a:pt x="1647" y="275"/>
                    </a:lnTo>
                    <a:lnTo>
                      <a:pt x="1647" y="1619"/>
                    </a:lnTo>
                    <a:lnTo>
                      <a:pt x="851" y="1921"/>
                    </a:lnTo>
                    <a:lnTo>
                      <a:pt x="302" y="19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24" name="Freeform: Shape 4823">
                <a:extLst>
                  <a:ext uri="{FF2B5EF4-FFF2-40B4-BE49-F238E27FC236}">
                    <a16:creationId xmlns:a16="http://schemas.microsoft.com/office/drawing/2014/main" id="{7CBB091A-83F8-DD89-0B9B-94083CAC894E}"/>
                  </a:ext>
                </a:extLst>
              </p:cNvPr>
              <p:cNvSpPr/>
              <p:nvPr/>
            </p:nvSpPr>
            <p:spPr>
              <a:xfrm>
                <a:off x="1736021" y="3826896"/>
                <a:ext cx="223" cy="175"/>
              </a:xfrm>
              <a:custGeom>
                <a:avLst/>
                <a:gdLst>
                  <a:gd name="connsiteX0" fmla="*/ 1098 w 2140"/>
                  <a:gd name="connsiteY0" fmla="*/ 27 h 1674"/>
                  <a:gd name="connsiteX1" fmla="*/ 1867 w 2140"/>
                  <a:gd name="connsiteY1" fmla="*/ 604 h 1674"/>
                  <a:gd name="connsiteX2" fmla="*/ 2141 w 2140"/>
                  <a:gd name="connsiteY2" fmla="*/ 878 h 1674"/>
                  <a:gd name="connsiteX3" fmla="*/ 1098 w 2140"/>
                  <a:gd name="connsiteY3" fmla="*/ 1674 h 1674"/>
                  <a:gd name="connsiteX4" fmla="*/ 549 w 2140"/>
                  <a:gd name="connsiteY4" fmla="*/ 1400 h 1674"/>
                  <a:gd name="connsiteX5" fmla="*/ 275 w 2140"/>
                  <a:gd name="connsiteY5" fmla="*/ 1125 h 1674"/>
                  <a:gd name="connsiteX6" fmla="*/ 0 w 2140"/>
                  <a:gd name="connsiteY6" fmla="*/ 851 h 1674"/>
                  <a:gd name="connsiteX7" fmla="*/ 275 w 2140"/>
                  <a:gd name="connsiteY7" fmla="*/ 577 h 1674"/>
                  <a:gd name="connsiteX8" fmla="*/ 275 w 2140"/>
                  <a:gd name="connsiteY8" fmla="*/ 275 h 1674"/>
                  <a:gd name="connsiteX9" fmla="*/ 549 w 2140"/>
                  <a:gd name="connsiteY9" fmla="*/ 275 h 1674"/>
                  <a:gd name="connsiteX10" fmla="*/ 1098 w 2140"/>
                  <a:gd name="connsiteY10" fmla="*/ 0 h 1674"/>
                  <a:gd name="connsiteX11" fmla="*/ 1098 w 2140"/>
                  <a:gd name="connsiteY11" fmla="*/ 0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0" h="1674">
                    <a:moveTo>
                      <a:pt x="1098" y="27"/>
                    </a:moveTo>
                    <a:lnTo>
                      <a:pt x="1867" y="604"/>
                    </a:lnTo>
                    <a:lnTo>
                      <a:pt x="2141" y="878"/>
                    </a:lnTo>
                    <a:lnTo>
                      <a:pt x="1098" y="1674"/>
                    </a:lnTo>
                    <a:lnTo>
                      <a:pt x="549" y="1400"/>
                    </a:lnTo>
                    <a:lnTo>
                      <a:pt x="275" y="1125"/>
                    </a:lnTo>
                    <a:lnTo>
                      <a:pt x="0" y="851"/>
                    </a:lnTo>
                    <a:lnTo>
                      <a:pt x="275" y="577"/>
                    </a:lnTo>
                    <a:lnTo>
                      <a:pt x="275" y="275"/>
                    </a:lnTo>
                    <a:lnTo>
                      <a:pt x="549" y="275"/>
                    </a:lnTo>
                    <a:lnTo>
                      <a:pt x="1098" y="0"/>
                    </a:lnTo>
                    <a:lnTo>
                      <a:pt x="109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25" name="Freeform: Shape 4824">
                <a:extLst>
                  <a:ext uri="{FF2B5EF4-FFF2-40B4-BE49-F238E27FC236}">
                    <a16:creationId xmlns:a16="http://schemas.microsoft.com/office/drawing/2014/main" id="{343088CF-7C0C-02F6-68D7-B86EB523D7C4}"/>
                  </a:ext>
                </a:extLst>
              </p:cNvPr>
              <p:cNvSpPr/>
              <p:nvPr/>
            </p:nvSpPr>
            <p:spPr>
              <a:xfrm>
                <a:off x="1739149" y="3780672"/>
                <a:ext cx="155" cy="192"/>
              </a:xfrm>
              <a:custGeom>
                <a:avLst/>
                <a:gdLst>
                  <a:gd name="connsiteX0" fmla="*/ 0 w 1482"/>
                  <a:gd name="connsiteY0" fmla="*/ 768 h 1838"/>
                  <a:gd name="connsiteX1" fmla="*/ 329 w 1482"/>
                  <a:gd name="connsiteY1" fmla="*/ 0 h 1838"/>
                  <a:gd name="connsiteX2" fmla="*/ 1262 w 1482"/>
                  <a:gd name="connsiteY2" fmla="*/ 796 h 1838"/>
                  <a:gd name="connsiteX3" fmla="*/ 1482 w 1482"/>
                  <a:gd name="connsiteY3" fmla="*/ 1839 h 1838"/>
                  <a:gd name="connsiteX4" fmla="*/ 137 w 1482"/>
                  <a:gd name="connsiteY4" fmla="*/ 1839 h 1838"/>
                  <a:gd name="connsiteX5" fmla="*/ 0 w 1482"/>
                  <a:gd name="connsiteY5" fmla="*/ 768 h 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2" h="1838">
                    <a:moveTo>
                      <a:pt x="0" y="768"/>
                    </a:moveTo>
                    <a:lnTo>
                      <a:pt x="329" y="0"/>
                    </a:lnTo>
                    <a:lnTo>
                      <a:pt x="1262" y="796"/>
                    </a:lnTo>
                    <a:lnTo>
                      <a:pt x="1482" y="1839"/>
                    </a:lnTo>
                    <a:lnTo>
                      <a:pt x="137" y="1839"/>
                    </a:lnTo>
                    <a:lnTo>
                      <a:pt x="0" y="7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26" name="Freeform: Shape 4825">
                <a:extLst>
                  <a:ext uri="{FF2B5EF4-FFF2-40B4-BE49-F238E27FC236}">
                    <a16:creationId xmlns:a16="http://schemas.microsoft.com/office/drawing/2014/main" id="{7F2F3AAA-3257-0526-EE3C-3B09582C4262}"/>
                  </a:ext>
                </a:extLst>
              </p:cNvPr>
              <p:cNvSpPr/>
              <p:nvPr/>
            </p:nvSpPr>
            <p:spPr>
              <a:xfrm>
                <a:off x="1797512" y="3852460"/>
                <a:ext cx="29926" cy="24874"/>
              </a:xfrm>
              <a:custGeom>
                <a:avLst/>
                <a:gdLst>
                  <a:gd name="connsiteX0" fmla="*/ 185487 w 286916"/>
                  <a:gd name="connsiteY0" fmla="*/ 141304 h 238479"/>
                  <a:gd name="connsiteX1" fmla="*/ 194159 w 286916"/>
                  <a:gd name="connsiteY1" fmla="*/ 148027 h 238479"/>
                  <a:gd name="connsiteX2" fmla="*/ 202584 w 286916"/>
                  <a:gd name="connsiteY2" fmla="*/ 156974 h 238479"/>
                  <a:gd name="connsiteX3" fmla="*/ 213068 w 286916"/>
                  <a:gd name="connsiteY3" fmla="*/ 162792 h 238479"/>
                  <a:gd name="connsiteX4" fmla="*/ 216909 w 286916"/>
                  <a:gd name="connsiteY4" fmla="*/ 174647 h 238479"/>
                  <a:gd name="connsiteX5" fmla="*/ 222919 w 286916"/>
                  <a:gd name="connsiteY5" fmla="*/ 181234 h 238479"/>
                  <a:gd name="connsiteX6" fmla="*/ 227584 w 286916"/>
                  <a:gd name="connsiteY6" fmla="*/ 189988 h 238479"/>
                  <a:gd name="connsiteX7" fmla="*/ 233128 w 286916"/>
                  <a:gd name="connsiteY7" fmla="*/ 191799 h 238479"/>
                  <a:gd name="connsiteX8" fmla="*/ 246191 w 286916"/>
                  <a:gd name="connsiteY8" fmla="*/ 191058 h 238479"/>
                  <a:gd name="connsiteX9" fmla="*/ 247453 w 286916"/>
                  <a:gd name="connsiteY9" fmla="*/ 193775 h 238479"/>
                  <a:gd name="connsiteX10" fmla="*/ 245779 w 286916"/>
                  <a:gd name="connsiteY10" fmla="*/ 199620 h 238479"/>
                  <a:gd name="connsiteX11" fmla="*/ 247179 w 286916"/>
                  <a:gd name="connsiteY11" fmla="*/ 203297 h 238479"/>
                  <a:gd name="connsiteX12" fmla="*/ 254177 w 286916"/>
                  <a:gd name="connsiteY12" fmla="*/ 207140 h 238479"/>
                  <a:gd name="connsiteX13" fmla="*/ 267349 w 286916"/>
                  <a:gd name="connsiteY13" fmla="*/ 209225 h 238479"/>
                  <a:gd name="connsiteX14" fmla="*/ 267213 w 286916"/>
                  <a:gd name="connsiteY14" fmla="*/ 211037 h 238479"/>
                  <a:gd name="connsiteX15" fmla="*/ 262547 w 286916"/>
                  <a:gd name="connsiteY15" fmla="*/ 213561 h 238479"/>
                  <a:gd name="connsiteX16" fmla="*/ 262931 w 286916"/>
                  <a:gd name="connsiteY16" fmla="*/ 216223 h 238479"/>
                  <a:gd name="connsiteX17" fmla="*/ 268776 w 286916"/>
                  <a:gd name="connsiteY17" fmla="*/ 221053 h 238479"/>
                  <a:gd name="connsiteX18" fmla="*/ 286395 w 286916"/>
                  <a:gd name="connsiteY18" fmla="*/ 226844 h 238479"/>
                  <a:gd name="connsiteX19" fmla="*/ 286011 w 286916"/>
                  <a:gd name="connsiteY19" fmla="*/ 228463 h 238479"/>
                  <a:gd name="connsiteX20" fmla="*/ 281784 w 286916"/>
                  <a:gd name="connsiteY20" fmla="*/ 230164 h 238479"/>
                  <a:gd name="connsiteX21" fmla="*/ 286916 w 286916"/>
                  <a:gd name="connsiteY21" fmla="*/ 235406 h 238479"/>
                  <a:gd name="connsiteX22" fmla="*/ 273030 w 286916"/>
                  <a:gd name="connsiteY22" fmla="*/ 238480 h 238479"/>
                  <a:gd name="connsiteX23" fmla="*/ 267679 w 286916"/>
                  <a:gd name="connsiteY23" fmla="*/ 235708 h 238479"/>
                  <a:gd name="connsiteX24" fmla="*/ 266444 w 286916"/>
                  <a:gd name="connsiteY24" fmla="*/ 232003 h 238479"/>
                  <a:gd name="connsiteX25" fmla="*/ 260983 w 286916"/>
                  <a:gd name="connsiteY25" fmla="*/ 229807 h 238479"/>
                  <a:gd name="connsiteX26" fmla="*/ 203133 w 286916"/>
                  <a:gd name="connsiteY26" fmla="*/ 220916 h 238479"/>
                  <a:gd name="connsiteX27" fmla="*/ 189795 w 286916"/>
                  <a:gd name="connsiteY27" fmla="*/ 206371 h 238479"/>
                  <a:gd name="connsiteX28" fmla="*/ 181727 w 286916"/>
                  <a:gd name="connsiteY28" fmla="*/ 200965 h 238479"/>
                  <a:gd name="connsiteX29" fmla="*/ 175855 w 286916"/>
                  <a:gd name="connsiteY29" fmla="*/ 192622 h 238479"/>
                  <a:gd name="connsiteX30" fmla="*/ 169598 w 286916"/>
                  <a:gd name="connsiteY30" fmla="*/ 188369 h 238479"/>
                  <a:gd name="connsiteX31" fmla="*/ 166524 w 286916"/>
                  <a:gd name="connsiteY31" fmla="*/ 181398 h 238479"/>
                  <a:gd name="connsiteX32" fmla="*/ 152336 w 286916"/>
                  <a:gd name="connsiteY32" fmla="*/ 162517 h 238479"/>
                  <a:gd name="connsiteX33" fmla="*/ 143335 w 286916"/>
                  <a:gd name="connsiteY33" fmla="*/ 157907 h 238479"/>
                  <a:gd name="connsiteX34" fmla="*/ 122204 w 286916"/>
                  <a:gd name="connsiteY34" fmla="*/ 153626 h 238479"/>
                  <a:gd name="connsiteX35" fmla="*/ 111583 w 286916"/>
                  <a:gd name="connsiteY35" fmla="*/ 148027 h 238479"/>
                  <a:gd name="connsiteX36" fmla="*/ 107000 w 286916"/>
                  <a:gd name="connsiteY36" fmla="*/ 148165 h 238479"/>
                  <a:gd name="connsiteX37" fmla="*/ 103899 w 286916"/>
                  <a:gd name="connsiteY37" fmla="*/ 150113 h 238479"/>
                  <a:gd name="connsiteX38" fmla="*/ 100688 w 286916"/>
                  <a:gd name="connsiteY38" fmla="*/ 150113 h 238479"/>
                  <a:gd name="connsiteX39" fmla="*/ 97916 w 286916"/>
                  <a:gd name="connsiteY39" fmla="*/ 152171 h 238479"/>
                  <a:gd name="connsiteX40" fmla="*/ 93389 w 286916"/>
                  <a:gd name="connsiteY40" fmla="*/ 152089 h 238479"/>
                  <a:gd name="connsiteX41" fmla="*/ 91275 w 286916"/>
                  <a:gd name="connsiteY41" fmla="*/ 153351 h 238479"/>
                  <a:gd name="connsiteX42" fmla="*/ 88284 w 286916"/>
                  <a:gd name="connsiteY42" fmla="*/ 152034 h 238479"/>
                  <a:gd name="connsiteX43" fmla="*/ 88147 w 286916"/>
                  <a:gd name="connsiteY43" fmla="*/ 158346 h 238479"/>
                  <a:gd name="connsiteX44" fmla="*/ 83811 w 286916"/>
                  <a:gd name="connsiteY44" fmla="*/ 161392 h 238479"/>
                  <a:gd name="connsiteX45" fmla="*/ 81451 w 286916"/>
                  <a:gd name="connsiteY45" fmla="*/ 165536 h 238479"/>
                  <a:gd name="connsiteX46" fmla="*/ 61774 w 286916"/>
                  <a:gd name="connsiteY46" fmla="*/ 169433 h 238479"/>
                  <a:gd name="connsiteX47" fmla="*/ 61966 w 286916"/>
                  <a:gd name="connsiteY47" fmla="*/ 170586 h 238479"/>
                  <a:gd name="connsiteX48" fmla="*/ 67647 w 286916"/>
                  <a:gd name="connsiteY48" fmla="*/ 174949 h 238479"/>
                  <a:gd name="connsiteX49" fmla="*/ 73959 w 286916"/>
                  <a:gd name="connsiteY49" fmla="*/ 183182 h 238479"/>
                  <a:gd name="connsiteX50" fmla="*/ 74233 w 286916"/>
                  <a:gd name="connsiteY50" fmla="*/ 188643 h 238479"/>
                  <a:gd name="connsiteX51" fmla="*/ 70776 w 286916"/>
                  <a:gd name="connsiteY51" fmla="*/ 192732 h 238479"/>
                  <a:gd name="connsiteX52" fmla="*/ 65616 w 286916"/>
                  <a:gd name="connsiteY52" fmla="*/ 191854 h 238479"/>
                  <a:gd name="connsiteX53" fmla="*/ 51182 w 286916"/>
                  <a:gd name="connsiteY53" fmla="*/ 198111 h 238479"/>
                  <a:gd name="connsiteX54" fmla="*/ 38805 w 286916"/>
                  <a:gd name="connsiteY54" fmla="*/ 193967 h 238479"/>
                  <a:gd name="connsiteX55" fmla="*/ 23436 w 286916"/>
                  <a:gd name="connsiteY55" fmla="*/ 194982 h 238479"/>
                  <a:gd name="connsiteX56" fmla="*/ 14846 w 286916"/>
                  <a:gd name="connsiteY56" fmla="*/ 193912 h 238479"/>
                  <a:gd name="connsiteX57" fmla="*/ 9304 w 286916"/>
                  <a:gd name="connsiteY57" fmla="*/ 195010 h 238479"/>
                  <a:gd name="connsiteX58" fmla="*/ 4528 w 286916"/>
                  <a:gd name="connsiteY58" fmla="*/ 192924 h 238479"/>
                  <a:gd name="connsiteX59" fmla="*/ 4474 w 286916"/>
                  <a:gd name="connsiteY59" fmla="*/ 128570 h 238479"/>
                  <a:gd name="connsiteX60" fmla="*/ 0 w 286916"/>
                  <a:gd name="connsiteY60" fmla="*/ 121078 h 238479"/>
                  <a:gd name="connsiteX61" fmla="*/ 1784 w 286916"/>
                  <a:gd name="connsiteY61" fmla="*/ 114849 h 238479"/>
                  <a:gd name="connsiteX62" fmla="*/ 3952 w 286916"/>
                  <a:gd name="connsiteY62" fmla="*/ 107110 h 238479"/>
                  <a:gd name="connsiteX63" fmla="*/ 3952 w 286916"/>
                  <a:gd name="connsiteY63" fmla="*/ 34743 h 238479"/>
                  <a:gd name="connsiteX64" fmla="*/ 3952 w 286916"/>
                  <a:gd name="connsiteY64" fmla="*/ 4336 h 238479"/>
                  <a:gd name="connsiteX65" fmla="*/ 3952 w 286916"/>
                  <a:gd name="connsiteY65" fmla="*/ 0 h 238479"/>
                  <a:gd name="connsiteX66" fmla="*/ 12734 w 286916"/>
                  <a:gd name="connsiteY66" fmla="*/ 2196 h 238479"/>
                  <a:gd name="connsiteX67" fmla="*/ 17948 w 286916"/>
                  <a:gd name="connsiteY67" fmla="*/ 4336 h 238479"/>
                  <a:gd name="connsiteX68" fmla="*/ 57548 w 286916"/>
                  <a:gd name="connsiteY68" fmla="*/ 20527 h 238479"/>
                  <a:gd name="connsiteX69" fmla="*/ 76347 w 286916"/>
                  <a:gd name="connsiteY69" fmla="*/ 24561 h 238479"/>
                  <a:gd name="connsiteX70" fmla="*/ 91660 w 286916"/>
                  <a:gd name="connsiteY70" fmla="*/ 34276 h 238479"/>
                  <a:gd name="connsiteX71" fmla="*/ 105381 w 286916"/>
                  <a:gd name="connsiteY71" fmla="*/ 36088 h 238479"/>
                  <a:gd name="connsiteX72" fmla="*/ 108674 w 286916"/>
                  <a:gd name="connsiteY72" fmla="*/ 40094 h 238479"/>
                  <a:gd name="connsiteX73" fmla="*/ 115974 w 286916"/>
                  <a:gd name="connsiteY73" fmla="*/ 44320 h 238479"/>
                  <a:gd name="connsiteX74" fmla="*/ 122835 w 286916"/>
                  <a:gd name="connsiteY74" fmla="*/ 50578 h 238479"/>
                  <a:gd name="connsiteX75" fmla="*/ 134197 w 286916"/>
                  <a:gd name="connsiteY75" fmla="*/ 55682 h 238479"/>
                  <a:gd name="connsiteX76" fmla="*/ 142155 w 286916"/>
                  <a:gd name="connsiteY76" fmla="*/ 63558 h 238479"/>
                  <a:gd name="connsiteX77" fmla="*/ 146106 w 286916"/>
                  <a:gd name="connsiteY77" fmla="*/ 84195 h 238479"/>
                  <a:gd name="connsiteX78" fmla="*/ 163423 w 286916"/>
                  <a:gd name="connsiteY78" fmla="*/ 88696 h 238479"/>
                  <a:gd name="connsiteX79" fmla="*/ 178983 w 286916"/>
                  <a:gd name="connsiteY79" fmla="*/ 96791 h 238479"/>
                  <a:gd name="connsiteX80" fmla="*/ 190646 w 286916"/>
                  <a:gd name="connsiteY80" fmla="*/ 98520 h 238479"/>
                  <a:gd name="connsiteX81" fmla="*/ 196355 w 286916"/>
                  <a:gd name="connsiteY81" fmla="*/ 101621 h 238479"/>
                  <a:gd name="connsiteX82" fmla="*/ 203654 w 286916"/>
                  <a:gd name="connsiteY82" fmla="*/ 110403 h 238479"/>
                  <a:gd name="connsiteX83" fmla="*/ 204368 w 286916"/>
                  <a:gd name="connsiteY83" fmla="*/ 117676 h 238479"/>
                  <a:gd name="connsiteX84" fmla="*/ 199785 w 286916"/>
                  <a:gd name="connsiteY84" fmla="*/ 120612 h 238479"/>
                  <a:gd name="connsiteX85" fmla="*/ 180383 w 286916"/>
                  <a:gd name="connsiteY85" fmla="*/ 123493 h 238479"/>
                  <a:gd name="connsiteX86" fmla="*/ 179999 w 286916"/>
                  <a:gd name="connsiteY86" fmla="*/ 127939 h 238479"/>
                  <a:gd name="connsiteX87" fmla="*/ 185460 w 286916"/>
                  <a:gd name="connsiteY87" fmla="*/ 141304 h 23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86916" h="238479">
                    <a:moveTo>
                      <a:pt x="185487" y="141304"/>
                    </a:moveTo>
                    <a:lnTo>
                      <a:pt x="194159" y="148027"/>
                    </a:lnTo>
                    <a:lnTo>
                      <a:pt x="202584" y="156974"/>
                    </a:lnTo>
                    <a:lnTo>
                      <a:pt x="213068" y="162792"/>
                    </a:lnTo>
                    <a:lnTo>
                      <a:pt x="216909" y="174647"/>
                    </a:lnTo>
                    <a:lnTo>
                      <a:pt x="222919" y="181234"/>
                    </a:lnTo>
                    <a:lnTo>
                      <a:pt x="227584" y="189988"/>
                    </a:lnTo>
                    <a:lnTo>
                      <a:pt x="233128" y="191799"/>
                    </a:lnTo>
                    <a:lnTo>
                      <a:pt x="246191" y="191058"/>
                    </a:lnTo>
                    <a:lnTo>
                      <a:pt x="247453" y="193775"/>
                    </a:lnTo>
                    <a:lnTo>
                      <a:pt x="245779" y="199620"/>
                    </a:lnTo>
                    <a:lnTo>
                      <a:pt x="247179" y="203297"/>
                    </a:lnTo>
                    <a:lnTo>
                      <a:pt x="254177" y="207140"/>
                    </a:lnTo>
                    <a:lnTo>
                      <a:pt x="267349" y="209225"/>
                    </a:lnTo>
                    <a:lnTo>
                      <a:pt x="267213" y="211037"/>
                    </a:lnTo>
                    <a:lnTo>
                      <a:pt x="262547" y="213561"/>
                    </a:lnTo>
                    <a:lnTo>
                      <a:pt x="262931" y="216223"/>
                    </a:lnTo>
                    <a:lnTo>
                      <a:pt x="268776" y="221053"/>
                    </a:lnTo>
                    <a:lnTo>
                      <a:pt x="286395" y="226844"/>
                    </a:lnTo>
                    <a:lnTo>
                      <a:pt x="286011" y="228463"/>
                    </a:lnTo>
                    <a:lnTo>
                      <a:pt x="281784" y="230164"/>
                    </a:lnTo>
                    <a:lnTo>
                      <a:pt x="286916" y="235406"/>
                    </a:lnTo>
                    <a:lnTo>
                      <a:pt x="273030" y="238480"/>
                    </a:lnTo>
                    <a:lnTo>
                      <a:pt x="267679" y="235708"/>
                    </a:lnTo>
                    <a:lnTo>
                      <a:pt x="266444" y="232003"/>
                    </a:lnTo>
                    <a:lnTo>
                      <a:pt x="260983" y="229807"/>
                    </a:lnTo>
                    <a:lnTo>
                      <a:pt x="203133" y="220916"/>
                    </a:lnTo>
                    <a:lnTo>
                      <a:pt x="189795" y="206371"/>
                    </a:lnTo>
                    <a:lnTo>
                      <a:pt x="181727" y="200965"/>
                    </a:lnTo>
                    <a:lnTo>
                      <a:pt x="175855" y="192622"/>
                    </a:lnTo>
                    <a:lnTo>
                      <a:pt x="169598" y="188369"/>
                    </a:lnTo>
                    <a:lnTo>
                      <a:pt x="166524" y="181398"/>
                    </a:lnTo>
                    <a:lnTo>
                      <a:pt x="152336" y="162517"/>
                    </a:lnTo>
                    <a:lnTo>
                      <a:pt x="143335" y="157907"/>
                    </a:lnTo>
                    <a:lnTo>
                      <a:pt x="122204" y="153626"/>
                    </a:lnTo>
                    <a:lnTo>
                      <a:pt x="111583" y="148027"/>
                    </a:lnTo>
                    <a:lnTo>
                      <a:pt x="107000" y="148165"/>
                    </a:lnTo>
                    <a:lnTo>
                      <a:pt x="103899" y="150113"/>
                    </a:lnTo>
                    <a:lnTo>
                      <a:pt x="100688" y="150113"/>
                    </a:lnTo>
                    <a:cubicBezTo>
                      <a:pt x="100688" y="150113"/>
                      <a:pt x="97916" y="152171"/>
                      <a:pt x="97916" y="152171"/>
                    </a:cubicBezTo>
                    <a:lnTo>
                      <a:pt x="93389" y="152089"/>
                    </a:lnTo>
                    <a:lnTo>
                      <a:pt x="91275" y="153351"/>
                    </a:lnTo>
                    <a:lnTo>
                      <a:pt x="88284" y="152034"/>
                    </a:lnTo>
                    <a:lnTo>
                      <a:pt x="88147" y="158346"/>
                    </a:lnTo>
                    <a:lnTo>
                      <a:pt x="83811" y="161392"/>
                    </a:lnTo>
                    <a:lnTo>
                      <a:pt x="81451" y="165536"/>
                    </a:lnTo>
                    <a:lnTo>
                      <a:pt x="61774" y="169433"/>
                    </a:lnTo>
                    <a:lnTo>
                      <a:pt x="61966" y="170586"/>
                    </a:lnTo>
                    <a:lnTo>
                      <a:pt x="67647" y="174949"/>
                    </a:lnTo>
                    <a:lnTo>
                      <a:pt x="73959" y="183182"/>
                    </a:lnTo>
                    <a:lnTo>
                      <a:pt x="74233" y="188643"/>
                    </a:lnTo>
                    <a:lnTo>
                      <a:pt x="70776" y="192732"/>
                    </a:lnTo>
                    <a:lnTo>
                      <a:pt x="65616" y="191854"/>
                    </a:lnTo>
                    <a:lnTo>
                      <a:pt x="51182" y="198111"/>
                    </a:lnTo>
                    <a:lnTo>
                      <a:pt x="38805" y="193967"/>
                    </a:lnTo>
                    <a:lnTo>
                      <a:pt x="23436" y="194982"/>
                    </a:lnTo>
                    <a:lnTo>
                      <a:pt x="14846" y="193912"/>
                    </a:lnTo>
                    <a:lnTo>
                      <a:pt x="9304" y="195010"/>
                    </a:lnTo>
                    <a:lnTo>
                      <a:pt x="4528" y="192924"/>
                    </a:lnTo>
                    <a:lnTo>
                      <a:pt x="4474" y="128570"/>
                    </a:lnTo>
                    <a:lnTo>
                      <a:pt x="0" y="121078"/>
                    </a:lnTo>
                    <a:lnTo>
                      <a:pt x="1784" y="114849"/>
                    </a:lnTo>
                    <a:lnTo>
                      <a:pt x="3952" y="107110"/>
                    </a:lnTo>
                    <a:lnTo>
                      <a:pt x="3952" y="34743"/>
                    </a:lnTo>
                    <a:cubicBezTo>
                      <a:pt x="3952" y="34743"/>
                      <a:pt x="3952" y="4336"/>
                      <a:pt x="3952" y="4336"/>
                    </a:cubicBezTo>
                    <a:lnTo>
                      <a:pt x="3952" y="0"/>
                    </a:lnTo>
                    <a:lnTo>
                      <a:pt x="12734" y="2196"/>
                    </a:lnTo>
                    <a:lnTo>
                      <a:pt x="17948" y="4336"/>
                    </a:lnTo>
                    <a:lnTo>
                      <a:pt x="57548" y="20527"/>
                    </a:lnTo>
                    <a:lnTo>
                      <a:pt x="76347" y="24561"/>
                    </a:lnTo>
                    <a:lnTo>
                      <a:pt x="91660" y="34276"/>
                    </a:lnTo>
                    <a:lnTo>
                      <a:pt x="105381" y="36088"/>
                    </a:lnTo>
                    <a:lnTo>
                      <a:pt x="108674" y="40094"/>
                    </a:lnTo>
                    <a:lnTo>
                      <a:pt x="115974" y="44320"/>
                    </a:lnTo>
                    <a:lnTo>
                      <a:pt x="122835" y="50578"/>
                    </a:lnTo>
                    <a:lnTo>
                      <a:pt x="134197" y="55682"/>
                    </a:lnTo>
                    <a:lnTo>
                      <a:pt x="142155" y="63558"/>
                    </a:lnTo>
                    <a:lnTo>
                      <a:pt x="146106" y="84195"/>
                    </a:lnTo>
                    <a:lnTo>
                      <a:pt x="163423" y="88696"/>
                    </a:lnTo>
                    <a:lnTo>
                      <a:pt x="178983" y="96791"/>
                    </a:lnTo>
                    <a:lnTo>
                      <a:pt x="190646" y="98520"/>
                    </a:lnTo>
                    <a:lnTo>
                      <a:pt x="196355" y="101621"/>
                    </a:lnTo>
                    <a:lnTo>
                      <a:pt x="203654" y="110403"/>
                    </a:lnTo>
                    <a:lnTo>
                      <a:pt x="204368" y="117676"/>
                    </a:lnTo>
                    <a:lnTo>
                      <a:pt x="199785" y="120612"/>
                    </a:lnTo>
                    <a:lnTo>
                      <a:pt x="180383" y="123493"/>
                    </a:lnTo>
                    <a:lnTo>
                      <a:pt x="179999" y="127939"/>
                    </a:lnTo>
                    <a:lnTo>
                      <a:pt x="185460" y="1413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27" name="Freeform: Shape 4826">
                <a:extLst>
                  <a:ext uri="{FF2B5EF4-FFF2-40B4-BE49-F238E27FC236}">
                    <a16:creationId xmlns:a16="http://schemas.microsoft.com/office/drawing/2014/main" id="{3CB1A6DF-1C35-3CE3-ACFA-BDD6C3B8D2E8}"/>
                  </a:ext>
                </a:extLst>
              </p:cNvPr>
              <p:cNvSpPr/>
              <p:nvPr/>
            </p:nvSpPr>
            <p:spPr>
              <a:xfrm>
                <a:off x="1820382" y="3857240"/>
                <a:ext cx="12454" cy="6509"/>
              </a:xfrm>
              <a:custGeom>
                <a:avLst/>
                <a:gdLst>
                  <a:gd name="connsiteX0" fmla="*/ 113696 w 119403"/>
                  <a:gd name="connsiteY0" fmla="*/ 3979 h 62405"/>
                  <a:gd name="connsiteX1" fmla="*/ 119404 w 119403"/>
                  <a:gd name="connsiteY1" fmla="*/ 5626 h 62405"/>
                  <a:gd name="connsiteX2" fmla="*/ 118773 w 119403"/>
                  <a:gd name="connsiteY2" fmla="*/ 17317 h 62405"/>
                  <a:gd name="connsiteX3" fmla="*/ 114547 w 119403"/>
                  <a:gd name="connsiteY3" fmla="*/ 23574 h 62405"/>
                  <a:gd name="connsiteX4" fmla="*/ 107412 w 119403"/>
                  <a:gd name="connsiteY4" fmla="*/ 24699 h 62405"/>
                  <a:gd name="connsiteX5" fmla="*/ 106671 w 119403"/>
                  <a:gd name="connsiteY5" fmla="*/ 28651 h 62405"/>
                  <a:gd name="connsiteX6" fmla="*/ 111583 w 119403"/>
                  <a:gd name="connsiteY6" fmla="*/ 34386 h 62405"/>
                  <a:gd name="connsiteX7" fmla="*/ 109607 w 119403"/>
                  <a:gd name="connsiteY7" fmla="*/ 38311 h 62405"/>
                  <a:gd name="connsiteX8" fmla="*/ 102829 w 119403"/>
                  <a:gd name="connsiteY8" fmla="*/ 41412 h 62405"/>
                  <a:gd name="connsiteX9" fmla="*/ 93443 w 119403"/>
                  <a:gd name="connsiteY9" fmla="*/ 40232 h 62405"/>
                  <a:gd name="connsiteX10" fmla="*/ 92976 w 119403"/>
                  <a:gd name="connsiteY10" fmla="*/ 44595 h 62405"/>
                  <a:gd name="connsiteX11" fmla="*/ 83920 w 119403"/>
                  <a:gd name="connsiteY11" fmla="*/ 52608 h 62405"/>
                  <a:gd name="connsiteX12" fmla="*/ 73025 w 119403"/>
                  <a:gd name="connsiteY12" fmla="*/ 55243 h 62405"/>
                  <a:gd name="connsiteX13" fmla="*/ 60539 w 119403"/>
                  <a:gd name="connsiteY13" fmla="*/ 62405 h 62405"/>
                  <a:gd name="connsiteX14" fmla="*/ 37597 w 119403"/>
                  <a:gd name="connsiteY14" fmla="*/ 62351 h 62405"/>
                  <a:gd name="connsiteX15" fmla="*/ 33370 w 119403"/>
                  <a:gd name="connsiteY15" fmla="*/ 57273 h 62405"/>
                  <a:gd name="connsiteX16" fmla="*/ 30242 w 119403"/>
                  <a:gd name="connsiteY16" fmla="*/ 56121 h 62405"/>
                  <a:gd name="connsiteX17" fmla="*/ 20691 w 119403"/>
                  <a:gd name="connsiteY17" fmla="*/ 59085 h 62405"/>
                  <a:gd name="connsiteX18" fmla="*/ 18935 w 119403"/>
                  <a:gd name="connsiteY18" fmla="*/ 54776 h 62405"/>
                  <a:gd name="connsiteX19" fmla="*/ 12349 w 119403"/>
                  <a:gd name="connsiteY19" fmla="*/ 50495 h 62405"/>
                  <a:gd name="connsiteX20" fmla="*/ 2607 w 119403"/>
                  <a:gd name="connsiteY20" fmla="*/ 47339 h 62405"/>
                  <a:gd name="connsiteX21" fmla="*/ 0 w 119403"/>
                  <a:gd name="connsiteY21" fmla="*/ 44293 h 62405"/>
                  <a:gd name="connsiteX22" fmla="*/ 795 w 119403"/>
                  <a:gd name="connsiteY22" fmla="*/ 39628 h 62405"/>
                  <a:gd name="connsiteX23" fmla="*/ 2771 w 119403"/>
                  <a:gd name="connsiteY23" fmla="*/ 38146 h 62405"/>
                  <a:gd name="connsiteX24" fmla="*/ 6970 w 119403"/>
                  <a:gd name="connsiteY24" fmla="*/ 40040 h 62405"/>
                  <a:gd name="connsiteX25" fmla="*/ 19374 w 119403"/>
                  <a:gd name="connsiteY25" fmla="*/ 38558 h 62405"/>
                  <a:gd name="connsiteX26" fmla="*/ 27141 w 119403"/>
                  <a:gd name="connsiteY26" fmla="*/ 41384 h 62405"/>
                  <a:gd name="connsiteX27" fmla="*/ 45692 w 119403"/>
                  <a:gd name="connsiteY27" fmla="*/ 39408 h 62405"/>
                  <a:gd name="connsiteX28" fmla="*/ 47860 w 119403"/>
                  <a:gd name="connsiteY28" fmla="*/ 37515 h 62405"/>
                  <a:gd name="connsiteX29" fmla="*/ 47202 w 119403"/>
                  <a:gd name="connsiteY29" fmla="*/ 34523 h 62405"/>
                  <a:gd name="connsiteX30" fmla="*/ 49671 w 119403"/>
                  <a:gd name="connsiteY30" fmla="*/ 31258 h 62405"/>
                  <a:gd name="connsiteX31" fmla="*/ 49424 w 119403"/>
                  <a:gd name="connsiteY31" fmla="*/ 28623 h 62405"/>
                  <a:gd name="connsiteX32" fmla="*/ 50357 w 119403"/>
                  <a:gd name="connsiteY32" fmla="*/ 25248 h 62405"/>
                  <a:gd name="connsiteX33" fmla="*/ 52690 w 119403"/>
                  <a:gd name="connsiteY33" fmla="*/ 24754 h 62405"/>
                  <a:gd name="connsiteX34" fmla="*/ 54611 w 119403"/>
                  <a:gd name="connsiteY34" fmla="*/ 26729 h 62405"/>
                  <a:gd name="connsiteX35" fmla="*/ 51537 w 119403"/>
                  <a:gd name="connsiteY35" fmla="*/ 28596 h 62405"/>
                  <a:gd name="connsiteX36" fmla="*/ 52223 w 119403"/>
                  <a:gd name="connsiteY36" fmla="*/ 39326 h 62405"/>
                  <a:gd name="connsiteX37" fmla="*/ 57081 w 119403"/>
                  <a:gd name="connsiteY37" fmla="*/ 41000 h 62405"/>
                  <a:gd name="connsiteX38" fmla="*/ 62350 w 119403"/>
                  <a:gd name="connsiteY38" fmla="*/ 37597 h 62405"/>
                  <a:gd name="connsiteX39" fmla="*/ 68360 w 119403"/>
                  <a:gd name="connsiteY39" fmla="*/ 40424 h 62405"/>
                  <a:gd name="connsiteX40" fmla="*/ 71763 w 119403"/>
                  <a:gd name="connsiteY40" fmla="*/ 38338 h 62405"/>
                  <a:gd name="connsiteX41" fmla="*/ 75962 w 119403"/>
                  <a:gd name="connsiteY41" fmla="*/ 38420 h 62405"/>
                  <a:gd name="connsiteX42" fmla="*/ 81889 w 119403"/>
                  <a:gd name="connsiteY42" fmla="*/ 28623 h 62405"/>
                  <a:gd name="connsiteX43" fmla="*/ 89519 w 119403"/>
                  <a:gd name="connsiteY43" fmla="*/ 22586 h 62405"/>
                  <a:gd name="connsiteX44" fmla="*/ 96215 w 119403"/>
                  <a:gd name="connsiteY44" fmla="*/ 23299 h 62405"/>
                  <a:gd name="connsiteX45" fmla="*/ 98081 w 119403"/>
                  <a:gd name="connsiteY45" fmla="*/ 21680 h 62405"/>
                  <a:gd name="connsiteX46" fmla="*/ 97889 w 119403"/>
                  <a:gd name="connsiteY46" fmla="*/ 13776 h 62405"/>
                  <a:gd name="connsiteX47" fmla="*/ 93992 w 119403"/>
                  <a:gd name="connsiteY47" fmla="*/ 1318 h 62405"/>
                  <a:gd name="connsiteX48" fmla="*/ 102005 w 119403"/>
                  <a:gd name="connsiteY48" fmla="*/ 1509 h 62405"/>
                  <a:gd name="connsiteX49" fmla="*/ 106177 w 119403"/>
                  <a:gd name="connsiteY49" fmla="*/ 4666 h 62405"/>
                  <a:gd name="connsiteX50" fmla="*/ 108948 w 119403"/>
                  <a:gd name="connsiteY50" fmla="*/ 1208 h 62405"/>
                  <a:gd name="connsiteX51" fmla="*/ 112955 w 119403"/>
                  <a:gd name="connsiteY51" fmla="*/ 0 h 62405"/>
                  <a:gd name="connsiteX52" fmla="*/ 113724 w 119403"/>
                  <a:gd name="connsiteY52" fmla="*/ 3924 h 6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9403" h="62405">
                    <a:moveTo>
                      <a:pt x="113696" y="3979"/>
                    </a:moveTo>
                    <a:lnTo>
                      <a:pt x="119404" y="5626"/>
                    </a:lnTo>
                    <a:lnTo>
                      <a:pt x="118773" y="17317"/>
                    </a:lnTo>
                    <a:lnTo>
                      <a:pt x="114547" y="23574"/>
                    </a:lnTo>
                    <a:lnTo>
                      <a:pt x="107412" y="24699"/>
                    </a:lnTo>
                    <a:lnTo>
                      <a:pt x="106671" y="28651"/>
                    </a:lnTo>
                    <a:lnTo>
                      <a:pt x="111583" y="34386"/>
                    </a:lnTo>
                    <a:lnTo>
                      <a:pt x="109607" y="38311"/>
                    </a:lnTo>
                    <a:lnTo>
                      <a:pt x="102829" y="41412"/>
                    </a:lnTo>
                    <a:lnTo>
                      <a:pt x="93443" y="40232"/>
                    </a:lnTo>
                    <a:lnTo>
                      <a:pt x="92976" y="44595"/>
                    </a:lnTo>
                    <a:lnTo>
                      <a:pt x="83920" y="52608"/>
                    </a:lnTo>
                    <a:lnTo>
                      <a:pt x="73025" y="55243"/>
                    </a:lnTo>
                    <a:lnTo>
                      <a:pt x="60539" y="62405"/>
                    </a:lnTo>
                    <a:lnTo>
                      <a:pt x="37597" y="62351"/>
                    </a:lnTo>
                    <a:lnTo>
                      <a:pt x="33370" y="57273"/>
                    </a:lnTo>
                    <a:lnTo>
                      <a:pt x="30242" y="56121"/>
                    </a:lnTo>
                    <a:lnTo>
                      <a:pt x="20691" y="59085"/>
                    </a:lnTo>
                    <a:lnTo>
                      <a:pt x="18935" y="54776"/>
                    </a:lnTo>
                    <a:lnTo>
                      <a:pt x="12349" y="50495"/>
                    </a:lnTo>
                    <a:lnTo>
                      <a:pt x="2607" y="47339"/>
                    </a:lnTo>
                    <a:lnTo>
                      <a:pt x="0" y="44293"/>
                    </a:lnTo>
                    <a:lnTo>
                      <a:pt x="795" y="39628"/>
                    </a:lnTo>
                    <a:lnTo>
                      <a:pt x="2771" y="38146"/>
                    </a:lnTo>
                    <a:lnTo>
                      <a:pt x="6970" y="40040"/>
                    </a:lnTo>
                    <a:lnTo>
                      <a:pt x="19374" y="38558"/>
                    </a:lnTo>
                    <a:lnTo>
                      <a:pt x="27141" y="41384"/>
                    </a:lnTo>
                    <a:lnTo>
                      <a:pt x="45692" y="39408"/>
                    </a:lnTo>
                    <a:lnTo>
                      <a:pt x="47860" y="37515"/>
                    </a:lnTo>
                    <a:lnTo>
                      <a:pt x="47202" y="34523"/>
                    </a:lnTo>
                    <a:lnTo>
                      <a:pt x="49671" y="31258"/>
                    </a:lnTo>
                    <a:lnTo>
                      <a:pt x="49424" y="28623"/>
                    </a:lnTo>
                    <a:lnTo>
                      <a:pt x="50357" y="25248"/>
                    </a:lnTo>
                    <a:lnTo>
                      <a:pt x="52690" y="24754"/>
                    </a:lnTo>
                    <a:lnTo>
                      <a:pt x="54611" y="26729"/>
                    </a:lnTo>
                    <a:lnTo>
                      <a:pt x="51537" y="28596"/>
                    </a:lnTo>
                    <a:lnTo>
                      <a:pt x="52223" y="39326"/>
                    </a:lnTo>
                    <a:lnTo>
                      <a:pt x="57081" y="41000"/>
                    </a:lnTo>
                    <a:lnTo>
                      <a:pt x="62350" y="37597"/>
                    </a:lnTo>
                    <a:lnTo>
                      <a:pt x="68360" y="40424"/>
                    </a:lnTo>
                    <a:lnTo>
                      <a:pt x="71763" y="38338"/>
                    </a:lnTo>
                    <a:lnTo>
                      <a:pt x="75962" y="38420"/>
                    </a:lnTo>
                    <a:lnTo>
                      <a:pt x="81889" y="28623"/>
                    </a:lnTo>
                    <a:lnTo>
                      <a:pt x="89519" y="22586"/>
                    </a:lnTo>
                    <a:lnTo>
                      <a:pt x="96215" y="23299"/>
                    </a:lnTo>
                    <a:lnTo>
                      <a:pt x="98081" y="21680"/>
                    </a:lnTo>
                    <a:lnTo>
                      <a:pt x="97889" y="13776"/>
                    </a:lnTo>
                    <a:lnTo>
                      <a:pt x="93992" y="1318"/>
                    </a:lnTo>
                    <a:lnTo>
                      <a:pt x="102005" y="1509"/>
                    </a:lnTo>
                    <a:lnTo>
                      <a:pt x="106177" y="4666"/>
                    </a:lnTo>
                    <a:lnTo>
                      <a:pt x="108948" y="1208"/>
                    </a:lnTo>
                    <a:lnTo>
                      <a:pt x="112955" y="0"/>
                    </a:lnTo>
                    <a:lnTo>
                      <a:pt x="113724" y="39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28" name="Freeform: Shape 4827">
                <a:extLst>
                  <a:ext uri="{FF2B5EF4-FFF2-40B4-BE49-F238E27FC236}">
                    <a16:creationId xmlns:a16="http://schemas.microsoft.com/office/drawing/2014/main" id="{AC74A7EC-65DE-3FFB-C761-4A99988D7274}"/>
                  </a:ext>
                </a:extLst>
              </p:cNvPr>
              <p:cNvSpPr/>
              <p:nvPr/>
            </p:nvSpPr>
            <p:spPr>
              <a:xfrm>
                <a:off x="1827881" y="3852251"/>
                <a:ext cx="7153" cy="6904"/>
              </a:xfrm>
              <a:custGeom>
                <a:avLst/>
                <a:gdLst>
                  <a:gd name="connsiteX0" fmla="*/ 65451 w 68579"/>
                  <a:gd name="connsiteY0" fmla="*/ 62872 h 66192"/>
                  <a:gd name="connsiteX1" fmla="*/ 61390 w 68579"/>
                  <a:gd name="connsiteY1" fmla="*/ 66192 h 66192"/>
                  <a:gd name="connsiteX2" fmla="*/ 58069 w 68579"/>
                  <a:gd name="connsiteY2" fmla="*/ 62707 h 66192"/>
                  <a:gd name="connsiteX3" fmla="*/ 55983 w 68579"/>
                  <a:gd name="connsiteY3" fmla="*/ 57164 h 66192"/>
                  <a:gd name="connsiteX4" fmla="*/ 55352 w 68579"/>
                  <a:gd name="connsiteY4" fmla="*/ 47476 h 66192"/>
                  <a:gd name="connsiteX5" fmla="*/ 48464 w 68579"/>
                  <a:gd name="connsiteY5" fmla="*/ 36417 h 66192"/>
                  <a:gd name="connsiteX6" fmla="*/ 41548 w 68579"/>
                  <a:gd name="connsiteY6" fmla="*/ 28925 h 66192"/>
                  <a:gd name="connsiteX7" fmla="*/ 32245 w 68579"/>
                  <a:gd name="connsiteY7" fmla="*/ 25055 h 66192"/>
                  <a:gd name="connsiteX8" fmla="*/ 9413 w 68579"/>
                  <a:gd name="connsiteY8" fmla="*/ 9166 h 66192"/>
                  <a:gd name="connsiteX9" fmla="*/ 1043 w 68579"/>
                  <a:gd name="connsiteY9" fmla="*/ 6339 h 66192"/>
                  <a:gd name="connsiteX10" fmla="*/ 2168 w 68579"/>
                  <a:gd name="connsiteY10" fmla="*/ 3952 h 66192"/>
                  <a:gd name="connsiteX11" fmla="*/ 0 w 68579"/>
                  <a:gd name="connsiteY11" fmla="*/ 2333 h 66192"/>
                  <a:gd name="connsiteX12" fmla="*/ 988 w 68579"/>
                  <a:gd name="connsiteY12" fmla="*/ 0 h 66192"/>
                  <a:gd name="connsiteX13" fmla="*/ 3266 w 68579"/>
                  <a:gd name="connsiteY13" fmla="*/ 2360 h 66192"/>
                  <a:gd name="connsiteX14" fmla="*/ 3485 w 68579"/>
                  <a:gd name="connsiteY14" fmla="*/ 3430 h 66192"/>
                  <a:gd name="connsiteX15" fmla="*/ 6861 w 68579"/>
                  <a:gd name="connsiteY15" fmla="*/ 4528 h 66192"/>
                  <a:gd name="connsiteX16" fmla="*/ 9303 w 68579"/>
                  <a:gd name="connsiteY16" fmla="*/ 6339 h 66192"/>
                  <a:gd name="connsiteX17" fmla="*/ 37871 w 68579"/>
                  <a:gd name="connsiteY17" fmla="*/ 21543 h 66192"/>
                  <a:gd name="connsiteX18" fmla="*/ 52197 w 68579"/>
                  <a:gd name="connsiteY18" fmla="*/ 36088 h 66192"/>
                  <a:gd name="connsiteX19" fmla="*/ 63420 w 68579"/>
                  <a:gd name="connsiteY19" fmla="*/ 43305 h 66192"/>
                  <a:gd name="connsiteX20" fmla="*/ 68580 w 68579"/>
                  <a:gd name="connsiteY20" fmla="*/ 52745 h 66192"/>
                  <a:gd name="connsiteX21" fmla="*/ 65506 w 68579"/>
                  <a:gd name="connsiteY21" fmla="*/ 62872 h 6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8579" h="66192">
                    <a:moveTo>
                      <a:pt x="65451" y="62872"/>
                    </a:moveTo>
                    <a:lnTo>
                      <a:pt x="61390" y="66192"/>
                    </a:lnTo>
                    <a:lnTo>
                      <a:pt x="58069" y="62707"/>
                    </a:lnTo>
                    <a:lnTo>
                      <a:pt x="55983" y="57164"/>
                    </a:lnTo>
                    <a:lnTo>
                      <a:pt x="55352" y="47476"/>
                    </a:lnTo>
                    <a:lnTo>
                      <a:pt x="48464" y="36417"/>
                    </a:lnTo>
                    <a:lnTo>
                      <a:pt x="41548" y="28925"/>
                    </a:lnTo>
                    <a:lnTo>
                      <a:pt x="32245" y="25055"/>
                    </a:lnTo>
                    <a:lnTo>
                      <a:pt x="9413" y="9166"/>
                    </a:lnTo>
                    <a:lnTo>
                      <a:pt x="1043" y="6339"/>
                    </a:lnTo>
                    <a:lnTo>
                      <a:pt x="2168" y="3952"/>
                    </a:lnTo>
                    <a:lnTo>
                      <a:pt x="0" y="2333"/>
                    </a:lnTo>
                    <a:lnTo>
                      <a:pt x="988" y="0"/>
                    </a:lnTo>
                    <a:lnTo>
                      <a:pt x="3266" y="2360"/>
                    </a:lnTo>
                    <a:lnTo>
                      <a:pt x="3485" y="3430"/>
                    </a:lnTo>
                    <a:lnTo>
                      <a:pt x="6861" y="4528"/>
                    </a:lnTo>
                    <a:lnTo>
                      <a:pt x="9303" y="6339"/>
                    </a:lnTo>
                    <a:lnTo>
                      <a:pt x="37871" y="21543"/>
                    </a:lnTo>
                    <a:lnTo>
                      <a:pt x="52197" y="36088"/>
                    </a:lnTo>
                    <a:lnTo>
                      <a:pt x="63420" y="43305"/>
                    </a:lnTo>
                    <a:lnTo>
                      <a:pt x="68580" y="52745"/>
                    </a:lnTo>
                    <a:lnTo>
                      <a:pt x="65506" y="628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29" name="Freeform: Shape 4828">
                <a:extLst>
                  <a:ext uri="{FF2B5EF4-FFF2-40B4-BE49-F238E27FC236}">
                    <a16:creationId xmlns:a16="http://schemas.microsoft.com/office/drawing/2014/main" id="{F8E609A1-1759-7728-B188-8575D9D44CBB}"/>
                  </a:ext>
                </a:extLst>
              </p:cNvPr>
              <p:cNvSpPr/>
              <p:nvPr/>
            </p:nvSpPr>
            <p:spPr>
              <a:xfrm>
                <a:off x="1839439" y="3859905"/>
                <a:ext cx="4342" cy="5673"/>
              </a:xfrm>
              <a:custGeom>
                <a:avLst/>
                <a:gdLst>
                  <a:gd name="connsiteX0" fmla="*/ 40643 w 41631"/>
                  <a:gd name="connsiteY0" fmla="*/ 51565 h 54391"/>
                  <a:gd name="connsiteX1" fmla="*/ 34057 w 41631"/>
                  <a:gd name="connsiteY1" fmla="*/ 54392 h 54391"/>
                  <a:gd name="connsiteX2" fmla="*/ 28980 w 41631"/>
                  <a:gd name="connsiteY2" fmla="*/ 53569 h 54391"/>
                  <a:gd name="connsiteX3" fmla="*/ 22366 w 41631"/>
                  <a:gd name="connsiteY3" fmla="*/ 48821 h 54391"/>
                  <a:gd name="connsiteX4" fmla="*/ 19731 w 41631"/>
                  <a:gd name="connsiteY4" fmla="*/ 43497 h 54391"/>
                  <a:gd name="connsiteX5" fmla="*/ 19320 w 41631"/>
                  <a:gd name="connsiteY5" fmla="*/ 37899 h 54391"/>
                  <a:gd name="connsiteX6" fmla="*/ 13831 w 41631"/>
                  <a:gd name="connsiteY6" fmla="*/ 35292 h 54391"/>
                  <a:gd name="connsiteX7" fmla="*/ 6449 w 41631"/>
                  <a:gd name="connsiteY7" fmla="*/ 27059 h 54391"/>
                  <a:gd name="connsiteX8" fmla="*/ 4940 w 41631"/>
                  <a:gd name="connsiteY8" fmla="*/ 21131 h 54391"/>
                  <a:gd name="connsiteX9" fmla="*/ 6065 w 41631"/>
                  <a:gd name="connsiteY9" fmla="*/ 14463 h 54391"/>
                  <a:gd name="connsiteX10" fmla="*/ 275 w 41631"/>
                  <a:gd name="connsiteY10" fmla="*/ 7904 h 54391"/>
                  <a:gd name="connsiteX11" fmla="*/ 0 w 41631"/>
                  <a:gd name="connsiteY11" fmla="*/ 2579 h 54391"/>
                  <a:gd name="connsiteX12" fmla="*/ 2086 w 41631"/>
                  <a:gd name="connsiteY12" fmla="*/ 0 h 54391"/>
                  <a:gd name="connsiteX13" fmla="*/ 4775 w 41631"/>
                  <a:gd name="connsiteY13" fmla="*/ 4693 h 54391"/>
                  <a:gd name="connsiteX14" fmla="*/ 5215 w 41631"/>
                  <a:gd name="connsiteY14" fmla="*/ 11526 h 54391"/>
                  <a:gd name="connsiteX15" fmla="*/ 8809 w 41631"/>
                  <a:gd name="connsiteY15" fmla="*/ 14188 h 54391"/>
                  <a:gd name="connsiteX16" fmla="*/ 15368 w 41631"/>
                  <a:gd name="connsiteY16" fmla="*/ 15697 h 54391"/>
                  <a:gd name="connsiteX17" fmla="*/ 19292 w 41631"/>
                  <a:gd name="connsiteY17" fmla="*/ 23327 h 54391"/>
                  <a:gd name="connsiteX18" fmla="*/ 24973 w 41631"/>
                  <a:gd name="connsiteY18" fmla="*/ 28403 h 54391"/>
                  <a:gd name="connsiteX19" fmla="*/ 26949 w 41631"/>
                  <a:gd name="connsiteY19" fmla="*/ 32712 h 54391"/>
                  <a:gd name="connsiteX20" fmla="*/ 32603 w 41631"/>
                  <a:gd name="connsiteY20" fmla="*/ 34578 h 54391"/>
                  <a:gd name="connsiteX21" fmla="*/ 40341 w 41631"/>
                  <a:gd name="connsiteY21" fmla="*/ 43470 h 54391"/>
                  <a:gd name="connsiteX22" fmla="*/ 41631 w 41631"/>
                  <a:gd name="connsiteY22" fmla="*/ 49315 h 54391"/>
                  <a:gd name="connsiteX23" fmla="*/ 40588 w 41631"/>
                  <a:gd name="connsiteY23" fmla="*/ 51538 h 5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631" h="54391">
                    <a:moveTo>
                      <a:pt x="40643" y="51565"/>
                    </a:moveTo>
                    <a:lnTo>
                      <a:pt x="34057" y="54392"/>
                    </a:lnTo>
                    <a:lnTo>
                      <a:pt x="28980" y="53569"/>
                    </a:lnTo>
                    <a:lnTo>
                      <a:pt x="22366" y="48821"/>
                    </a:lnTo>
                    <a:lnTo>
                      <a:pt x="19731" y="43497"/>
                    </a:lnTo>
                    <a:lnTo>
                      <a:pt x="19320" y="37899"/>
                    </a:lnTo>
                    <a:lnTo>
                      <a:pt x="13831" y="35292"/>
                    </a:lnTo>
                    <a:lnTo>
                      <a:pt x="6449" y="27059"/>
                    </a:lnTo>
                    <a:lnTo>
                      <a:pt x="4940" y="21131"/>
                    </a:lnTo>
                    <a:lnTo>
                      <a:pt x="6065" y="14463"/>
                    </a:lnTo>
                    <a:lnTo>
                      <a:pt x="275" y="7904"/>
                    </a:lnTo>
                    <a:lnTo>
                      <a:pt x="0" y="2579"/>
                    </a:lnTo>
                    <a:lnTo>
                      <a:pt x="2086" y="0"/>
                    </a:lnTo>
                    <a:lnTo>
                      <a:pt x="4775" y="4693"/>
                    </a:lnTo>
                    <a:lnTo>
                      <a:pt x="5215" y="11526"/>
                    </a:lnTo>
                    <a:lnTo>
                      <a:pt x="8809" y="14188"/>
                    </a:lnTo>
                    <a:lnTo>
                      <a:pt x="15368" y="15697"/>
                    </a:lnTo>
                    <a:lnTo>
                      <a:pt x="19292" y="23327"/>
                    </a:lnTo>
                    <a:lnTo>
                      <a:pt x="24973" y="28403"/>
                    </a:lnTo>
                    <a:lnTo>
                      <a:pt x="26949" y="32712"/>
                    </a:lnTo>
                    <a:lnTo>
                      <a:pt x="32603" y="34578"/>
                    </a:lnTo>
                    <a:lnTo>
                      <a:pt x="40341" y="43470"/>
                    </a:lnTo>
                    <a:lnTo>
                      <a:pt x="41631" y="49315"/>
                    </a:lnTo>
                    <a:lnTo>
                      <a:pt x="40588" y="515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30" name="Freeform: Shape 4829">
                <a:extLst>
                  <a:ext uri="{FF2B5EF4-FFF2-40B4-BE49-F238E27FC236}">
                    <a16:creationId xmlns:a16="http://schemas.microsoft.com/office/drawing/2014/main" id="{5D4D6A59-B537-F9DE-CB18-7F2C785F0CA2}"/>
                  </a:ext>
                </a:extLst>
              </p:cNvPr>
              <p:cNvSpPr/>
              <p:nvPr/>
            </p:nvSpPr>
            <p:spPr>
              <a:xfrm>
                <a:off x="1827853" y="3874451"/>
                <a:ext cx="1680" cy="1368"/>
              </a:xfrm>
              <a:custGeom>
                <a:avLst/>
                <a:gdLst>
                  <a:gd name="connsiteX0" fmla="*/ 9825 w 16109"/>
                  <a:gd name="connsiteY0" fmla="*/ 9029 h 13117"/>
                  <a:gd name="connsiteX1" fmla="*/ 11498 w 16109"/>
                  <a:gd name="connsiteY1" fmla="*/ 9111 h 13117"/>
                  <a:gd name="connsiteX2" fmla="*/ 12734 w 16109"/>
                  <a:gd name="connsiteY2" fmla="*/ 6312 h 13117"/>
                  <a:gd name="connsiteX3" fmla="*/ 15396 w 16109"/>
                  <a:gd name="connsiteY3" fmla="*/ 5626 h 13117"/>
                  <a:gd name="connsiteX4" fmla="*/ 16109 w 16109"/>
                  <a:gd name="connsiteY4" fmla="*/ 7272 h 13117"/>
                  <a:gd name="connsiteX5" fmla="*/ 15258 w 16109"/>
                  <a:gd name="connsiteY5" fmla="*/ 10264 h 13117"/>
                  <a:gd name="connsiteX6" fmla="*/ 13474 w 16109"/>
                  <a:gd name="connsiteY6" fmla="*/ 13118 h 13117"/>
                  <a:gd name="connsiteX7" fmla="*/ 9166 w 16109"/>
                  <a:gd name="connsiteY7" fmla="*/ 11636 h 13117"/>
                  <a:gd name="connsiteX8" fmla="*/ 6120 w 16109"/>
                  <a:gd name="connsiteY8" fmla="*/ 11361 h 13117"/>
                  <a:gd name="connsiteX9" fmla="*/ 5708 w 16109"/>
                  <a:gd name="connsiteY9" fmla="*/ 9111 h 13117"/>
                  <a:gd name="connsiteX10" fmla="*/ 3869 w 16109"/>
                  <a:gd name="connsiteY10" fmla="*/ 7822 h 13117"/>
                  <a:gd name="connsiteX11" fmla="*/ 3266 w 16109"/>
                  <a:gd name="connsiteY11" fmla="*/ 4638 h 13117"/>
                  <a:gd name="connsiteX12" fmla="*/ 0 w 16109"/>
                  <a:gd name="connsiteY12" fmla="*/ 631 h 13117"/>
                  <a:gd name="connsiteX13" fmla="*/ 2827 w 16109"/>
                  <a:gd name="connsiteY13" fmla="*/ 0 h 13117"/>
                  <a:gd name="connsiteX14" fmla="*/ 2827 w 16109"/>
                  <a:gd name="connsiteY14" fmla="*/ 2141 h 13117"/>
                  <a:gd name="connsiteX15" fmla="*/ 4116 w 16109"/>
                  <a:gd name="connsiteY15" fmla="*/ 2552 h 13117"/>
                  <a:gd name="connsiteX16" fmla="*/ 9852 w 16109"/>
                  <a:gd name="connsiteY16" fmla="*/ 9084 h 1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09" h="13117">
                    <a:moveTo>
                      <a:pt x="9825" y="9029"/>
                    </a:moveTo>
                    <a:lnTo>
                      <a:pt x="11498" y="9111"/>
                    </a:lnTo>
                    <a:lnTo>
                      <a:pt x="12734" y="6312"/>
                    </a:lnTo>
                    <a:lnTo>
                      <a:pt x="15396" y="5626"/>
                    </a:lnTo>
                    <a:lnTo>
                      <a:pt x="16109" y="7272"/>
                    </a:lnTo>
                    <a:lnTo>
                      <a:pt x="15258" y="10264"/>
                    </a:lnTo>
                    <a:lnTo>
                      <a:pt x="13474" y="13118"/>
                    </a:lnTo>
                    <a:lnTo>
                      <a:pt x="9166" y="11636"/>
                    </a:lnTo>
                    <a:lnTo>
                      <a:pt x="6120" y="11361"/>
                    </a:lnTo>
                    <a:lnTo>
                      <a:pt x="5708" y="9111"/>
                    </a:lnTo>
                    <a:lnTo>
                      <a:pt x="3869" y="7822"/>
                    </a:lnTo>
                    <a:lnTo>
                      <a:pt x="3266" y="4638"/>
                    </a:lnTo>
                    <a:lnTo>
                      <a:pt x="0" y="631"/>
                    </a:lnTo>
                    <a:lnTo>
                      <a:pt x="2827" y="0"/>
                    </a:lnTo>
                    <a:lnTo>
                      <a:pt x="2827" y="2141"/>
                    </a:lnTo>
                    <a:lnTo>
                      <a:pt x="4116" y="2552"/>
                    </a:lnTo>
                    <a:lnTo>
                      <a:pt x="9852" y="90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31" name="Freeform: Shape 4830">
                <a:extLst>
                  <a:ext uri="{FF2B5EF4-FFF2-40B4-BE49-F238E27FC236}">
                    <a16:creationId xmlns:a16="http://schemas.microsoft.com/office/drawing/2014/main" id="{0E6F329E-B2D1-6274-F877-B8CBA8E0F633}"/>
                  </a:ext>
                </a:extLst>
              </p:cNvPr>
              <p:cNvSpPr/>
              <p:nvPr/>
            </p:nvSpPr>
            <p:spPr>
              <a:xfrm>
                <a:off x="1814835" y="3850470"/>
                <a:ext cx="2533" cy="876"/>
              </a:xfrm>
              <a:custGeom>
                <a:avLst/>
                <a:gdLst>
                  <a:gd name="connsiteX0" fmla="*/ 24287 w 24287"/>
                  <a:gd name="connsiteY0" fmla="*/ 2497 h 8397"/>
                  <a:gd name="connsiteX1" fmla="*/ 19979 w 24287"/>
                  <a:gd name="connsiteY1" fmla="*/ 6806 h 8397"/>
                  <a:gd name="connsiteX2" fmla="*/ 13063 w 24287"/>
                  <a:gd name="connsiteY2" fmla="*/ 7355 h 8397"/>
                  <a:gd name="connsiteX3" fmla="*/ 6532 w 24287"/>
                  <a:gd name="connsiteY3" fmla="*/ 6010 h 8397"/>
                  <a:gd name="connsiteX4" fmla="*/ 1235 w 24287"/>
                  <a:gd name="connsiteY4" fmla="*/ 8397 h 8397"/>
                  <a:gd name="connsiteX5" fmla="*/ 0 w 24287"/>
                  <a:gd name="connsiteY5" fmla="*/ 6120 h 8397"/>
                  <a:gd name="connsiteX6" fmla="*/ 2168 w 24287"/>
                  <a:gd name="connsiteY6" fmla="*/ 4583 h 8397"/>
                  <a:gd name="connsiteX7" fmla="*/ 1948 w 24287"/>
                  <a:gd name="connsiteY7" fmla="*/ 2250 h 8397"/>
                  <a:gd name="connsiteX8" fmla="*/ 3814 w 24287"/>
                  <a:gd name="connsiteY8" fmla="*/ 604 h 8397"/>
                  <a:gd name="connsiteX9" fmla="*/ 10757 w 24287"/>
                  <a:gd name="connsiteY9" fmla="*/ 0 h 8397"/>
                  <a:gd name="connsiteX10" fmla="*/ 24232 w 24287"/>
                  <a:gd name="connsiteY10" fmla="*/ 2470 h 8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87" h="8397">
                    <a:moveTo>
                      <a:pt x="24287" y="2497"/>
                    </a:moveTo>
                    <a:lnTo>
                      <a:pt x="19979" y="6806"/>
                    </a:lnTo>
                    <a:lnTo>
                      <a:pt x="13063" y="7355"/>
                    </a:lnTo>
                    <a:lnTo>
                      <a:pt x="6532" y="6010"/>
                    </a:lnTo>
                    <a:lnTo>
                      <a:pt x="1235" y="8397"/>
                    </a:lnTo>
                    <a:lnTo>
                      <a:pt x="0" y="6120"/>
                    </a:lnTo>
                    <a:lnTo>
                      <a:pt x="2168" y="4583"/>
                    </a:lnTo>
                    <a:lnTo>
                      <a:pt x="1948" y="2250"/>
                    </a:lnTo>
                    <a:lnTo>
                      <a:pt x="3814" y="604"/>
                    </a:lnTo>
                    <a:lnTo>
                      <a:pt x="10757" y="0"/>
                    </a:lnTo>
                    <a:lnTo>
                      <a:pt x="24232" y="24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32" name="Freeform: Shape 4831">
                <a:extLst>
                  <a:ext uri="{FF2B5EF4-FFF2-40B4-BE49-F238E27FC236}">
                    <a16:creationId xmlns:a16="http://schemas.microsoft.com/office/drawing/2014/main" id="{B267C47C-476F-7DE3-C993-7BBE53F9D8AB}"/>
                  </a:ext>
                </a:extLst>
              </p:cNvPr>
              <p:cNvSpPr/>
              <p:nvPr/>
            </p:nvSpPr>
            <p:spPr>
              <a:xfrm>
                <a:off x="1826834" y="3873203"/>
                <a:ext cx="1949" cy="1142"/>
              </a:xfrm>
              <a:custGeom>
                <a:avLst/>
                <a:gdLst>
                  <a:gd name="connsiteX0" fmla="*/ 5270 w 18688"/>
                  <a:gd name="connsiteY0" fmla="*/ 1509 h 10949"/>
                  <a:gd name="connsiteX1" fmla="*/ 7410 w 18688"/>
                  <a:gd name="connsiteY1" fmla="*/ 3266 h 10949"/>
                  <a:gd name="connsiteX2" fmla="*/ 10922 w 18688"/>
                  <a:gd name="connsiteY2" fmla="*/ 2607 h 10949"/>
                  <a:gd name="connsiteX3" fmla="*/ 13639 w 18688"/>
                  <a:gd name="connsiteY3" fmla="*/ 5489 h 10949"/>
                  <a:gd name="connsiteX4" fmla="*/ 13475 w 18688"/>
                  <a:gd name="connsiteY4" fmla="*/ 7519 h 10949"/>
                  <a:gd name="connsiteX5" fmla="*/ 14517 w 18688"/>
                  <a:gd name="connsiteY5" fmla="*/ 8178 h 10949"/>
                  <a:gd name="connsiteX6" fmla="*/ 16988 w 18688"/>
                  <a:gd name="connsiteY6" fmla="*/ 6724 h 10949"/>
                  <a:gd name="connsiteX7" fmla="*/ 18689 w 18688"/>
                  <a:gd name="connsiteY7" fmla="*/ 7464 h 10949"/>
                  <a:gd name="connsiteX8" fmla="*/ 17262 w 18688"/>
                  <a:gd name="connsiteY8" fmla="*/ 9934 h 10949"/>
                  <a:gd name="connsiteX9" fmla="*/ 15341 w 18688"/>
                  <a:gd name="connsiteY9" fmla="*/ 9056 h 10949"/>
                  <a:gd name="connsiteX10" fmla="*/ 14298 w 18688"/>
                  <a:gd name="connsiteY10" fmla="*/ 10950 h 10949"/>
                  <a:gd name="connsiteX11" fmla="*/ 12322 w 18688"/>
                  <a:gd name="connsiteY11" fmla="*/ 9852 h 10949"/>
                  <a:gd name="connsiteX12" fmla="*/ 10483 w 18688"/>
                  <a:gd name="connsiteY12" fmla="*/ 10593 h 10949"/>
                  <a:gd name="connsiteX13" fmla="*/ 7849 w 18688"/>
                  <a:gd name="connsiteY13" fmla="*/ 10291 h 10949"/>
                  <a:gd name="connsiteX14" fmla="*/ 3897 w 18688"/>
                  <a:gd name="connsiteY14" fmla="*/ 8864 h 10949"/>
                  <a:gd name="connsiteX15" fmla="*/ 906 w 18688"/>
                  <a:gd name="connsiteY15" fmla="*/ 9413 h 10949"/>
                  <a:gd name="connsiteX16" fmla="*/ 1098 w 18688"/>
                  <a:gd name="connsiteY16" fmla="*/ 7464 h 10949"/>
                  <a:gd name="connsiteX17" fmla="*/ 2772 w 18688"/>
                  <a:gd name="connsiteY17" fmla="*/ 6916 h 10949"/>
                  <a:gd name="connsiteX18" fmla="*/ 2553 w 18688"/>
                  <a:gd name="connsiteY18" fmla="*/ 5324 h 10949"/>
                  <a:gd name="connsiteX19" fmla="*/ 714 w 18688"/>
                  <a:gd name="connsiteY19" fmla="*/ 3760 h 10949"/>
                  <a:gd name="connsiteX20" fmla="*/ 0 w 18688"/>
                  <a:gd name="connsiteY20" fmla="*/ 1482 h 10949"/>
                  <a:gd name="connsiteX21" fmla="*/ 1784 w 18688"/>
                  <a:gd name="connsiteY21" fmla="*/ 0 h 10949"/>
                  <a:gd name="connsiteX22" fmla="*/ 5270 w 18688"/>
                  <a:gd name="connsiteY22" fmla="*/ 1455 h 10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688" h="10949">
                    <a:moveTo>
                      <a:pt x="5270" y="1509"/>
                    </a:moveTo>
                    <a:lnTo>
                      <a:pt x="7410" y="3266"/>
                    </a:lnTo>
                    <a:lnTo>
                      <a:pt x="10922" y="2607"/>
                    </a:lnTo>
                    <a:lnTo>
                      <a:pt x="13639" y="5489"/>
                    </a:lnTo>
                    <a:lnTo>
                      <a:pt x="13475" y="7519"/>
                    </a:lnTo>
                    <a:lnTo>
                      <a:pt x="14517" y="8178"/>
                    </a:lnTo>
                    <a:lnTo>
                      <a:pt x="16988" y="6724"/>
                    </a:lnTo>
                    <a:lnTo>
                      <a:pt x="18689" y="7464"/>
                    </a:lnTo>
                    <a:lnTo>
                      <a:pt x="17262" y="9934"/>
                    </a:lnTo>
                    <a:lnTo>
                      <a:pt x="15341" y="9056"/>
                    </a:lnTo>
                    <a:lnTo>
                      <a:pt x="14298" y="10950"/>
                    </a:lnTo>
                    <a:lnTo>
                      <a:pt x="12322" y="9852"/>
                    </a:lnTo>
                    <a:lnTo>
                      <a:pt x="10483" y="10593"/>
                    </a:lnTo>
                    <a:lnTo>
                      <a:pt x="7849" y="10291"/>
                    </a:lnTo>
                    <a:lnTo>
                      <a:pt x="3897" y="8864"/>
                    </a:lnTo>
                    <a:lnTo>
                      <a:pt x="906" y="9413"/>
                    </a:lnTo>
                    <a:lnTo>
                      <a:pt x="1098" y="7464"/>
                    </a:lnTo>
                    <a:lnTo>
                      <a:pt x="2772" y="6916"/>
                    </a:lnTo>
                    <a:lnTo>
                      <a:pt x="2553" y="5324"/>
                    </a:lnTo>
                    <a:lnTo>
                      <a:pt x="714" y="3760"/>
                    </a:lnTo>
                    <a:lnTo>
                      <a:pt x="0" y="1482"/>
                    </a:lnTo>
                    <a:lnTo>
                      <a:pt x="1784" y="0"/>
                    </a:lnTo>
                    <a:lnTo>
                      <a:pt x="5270" y="14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33" name="Freeform: Shape 4832">
                <a:extLst>
                  <a:ext uri="{FF2B5EF4-FFF2-40B4-BE49-F238E27FC236}">
                    <a16:creationId xmlns:a16="http://schemas.microsoft.com/office/drawing/2014/main" id="{3CEDF651-841B-CD87-59FD-4F52C0358C14}"/>
                  </a:ext>
                </a:extLst>
              </p:cNvPr>
              <p:cNvSpPr/>
              <p:nvPr/>
            </p:nvSpPr>
            <p:spPr>
              <a:xfrm>
                <a:off x="1835278" y="3879434"/>
                <a:ext cx="1818" cy="1016"/>
              </a:xfrm>
              <a:custGeom>
                <a:avLst/>
                <a:gdLst>
                  <a:gd name="connsiteX0" fmla="*/ 17427 w 17426"/>
                  <a:gd name="connsiteY0" fmla="*/ 8260 h 9742"/>
                  <a:gd name="connsiteX1" fmla="*/ 17069 w 17426"/>
                  <a:gd name="connsiteY1" fmla="*/ 8891 h 9742"/>
                  <a:gd name="connsiteX2" fmla="*/ 12020 w 17426"/>
                  <a:gd name="connsiteY2" fmla="*/ 8754 h 9742"/>
                  <a:gd name="connsiteX3" fmla="*/ 10977 w 17426"/>
                  <a:gd name="connsiteY3" fmla="*/ 9742 h 9742"/>
                  <a:gd name="connsiteX4" fmla="*/ 9660 w 17426"/>
                  <a:gd name="connsiteY4" fmla="*/ 7959 h 9742"/>
                  <a:gd name="connsiteX5" fmla="*/ 5270 w 17426"/>
                  <a:gd name="connsiteY5" fmla="*/ 6833 h 9742"/>
                  <a:gd name="connsiteX6" fmla="*/ 4775 w 17426"/>
                  <a:gd name="connsiteY6" fmla="*/ 5187 h 9742"/>
                  <a:gd name="connsiteX7" fmla="*/ 1372 w 17426"/>
                  <a:gd name="connsiteY7" fmla="*/ 3320 h 9742"/>
                  <a:gd name="connsiteX8" fmla="*/ 0 w 17426"/>
                  <a:gd name="connsiteY8" fmla="*/ 1208 h 9742"/>
                  <a:gd name="connsiteX9" fmla="*/ 577 w 17426"/>
                  <a:gd name="connsiteY9" fmla="*/ 0 h 9742"/>
                  <a:gd name="connsiteX10" fmla="*/ 5077 w 17426"/>
                  <a:gd name="connsiteY10" fmla="*/ 2305 h 9742"/>
                  <a:gd name="connsiteX11" fmla="*/ 14957 w 17426"/>
                  <a:gd name="connsiteY11" fmla="*/ 5571 h 9742"/>
                  <a:gd name="connsiteX12" fmla="*/ 17427 w 17426"/>
                  <a:gd name="connsiteY12" fmla="*/ 8233 h 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26" h="9742">
                    <a:moveTo>
                      <a:pt x="17427" y="8260"/>
                    </a:moveTo>
                    <a:lnTo>
                      <a:pt x="17069" y="8891"/>
                    </a:lnTo>
                    <a:lnTo>
                      <a:pt x="12020" y="8754"/>
                    </a:lnTo>
                    <a:lnTo>
                      <a:pt x="10977" y="9742"/>
                    </a:lnTo>
                    <a:lnTo>
                      <a:pt x="9660" y="7959"/>
                    </a:lnTo>
                    <a:lnTo>
                      <a:pt x="5270" y="6833"/>
                    </a:lnTo>
                    <a:lnTo>
                      <a:pt x="4775" y="5187"/>
                    </a:lnTo>
                    <a:lnTo>
                      <a:pt x="1372" y="3320"/>
                    </a:lnTo>
                    <a:lnTo>
                      <a:pt x="0" y="1208"/>
                    </a:lnTo>
                    <a:lnTo>
                      <a:pt x="577" y="0"/>
                    </a:lnTo>
                    <a:lnTo>
                      <a:pt x="5077" y="2305"/>
                    </a:lnTo>
                    <a:lnTo>
                      <a:pt x="14957" y="5571"/>
                    </a:lnTo>
                    <a:lnTo>
                      <a:pt x="17427" y="82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34" name="Freeform: Shape 4833">
                <a:extLst>
                  <a:ext uri="{FF2B5EF4-FFF2-40B4-BE49-F238E27FC236}">
                    <a16:creationId xmlns:a16="http://schemas.microsoft.com/office/drawing/2014/main" id="{9D2C06BA-E1B2-9FAE-90D9-0388DFAD337A}"/>
                  </a:ext>
                </a:extLst>
              </p:cNvPr>
              <p:cNvSpPr/>
              <p:nvPr/>
            </p:nvSpPr>
            <p:spPr>
              <a:xfrm>
                <a:off x="1804502" y="3870252"/>
                <a:ext cx="1551" cy="1047"/>
              </a:xfrm>
              <a:custGeom>
                <a:avLst/>
                <a:gdLst>
                  <a:gd name="connsiteX0" fmla="*/ 14875 w 14874"/>
                  <a:gd name="connsiteY0" fmla="*/ 8370 h 10043"/>
                  <a:gd name="connsiteX1" fmla="*/ 14051 w 14874"/>
                  <a:gd name="connsiteY1" fmla="*/ 10044 h 10043"/>
                  <a:gd name="connsiteX2" fmla="*/ 12954 w 14874"/>
                  <a:gd name="connsiteY2" fmla="*/ 8480 h 10043"/>
                  <a:gd name="connsiteX3" fmla="*/ 7383 w 14874"/>
                  <a:gd name="connsiteY3" fmla="*/ 5763 h 10043"/>
                  <a:gd name="connsiteX4" fmla="*/ 6230 w 14874"/>
                  <a:gd name="connsiteY4" fmla="*/ 4336 h 10043"/>
                  <a:gd name="connsiteX5" fmla="*/ 3595 w 14874"/>
                  <a:gd name="connsiteY5" fmla="*/ 4171 h 10043"/>
                  <a:gd name="connsiteX6" fmla="*/ 0 w 14874"/>
                  <a:gd name="connsiteY6" fmla="*/ 1098 h 10043"/>
                  <a:gd name="connsiteX7" fmla="*/ 2498 w 14874"/>
                  <a:gd name="connsiteY7" fmla="*/ 0 h 10043"/>
                  <a:gd name="connsiteX8" fmla="*/ 4556 w 14874"/>
                  <a:gd name="connsiteY8" fmla="*/ 2799 h 10043"/>
                  <a:gd name="connsiteX9" fmla="*/ 10072 w 14874"/>
                  <a:gd name="connsiteY9" fmla="*/ 4583 h 10043"/>
                  <a:gd name="connsiteX10" fmla="*/ 14875 w 14874"/>
                  <a:gd name="connsiteY10" fmla="*/ 8397 h 1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74" h="10043">
                    <a:moveTo>
                      <a:pt x="14875" y="8370"/>
                    </a:moveTo>
                    <a:lnTo>
                      <a:pt x="14051" y="10044"/>
                    </a:lnTo>
                    <a:lnTo>
                      <a:pt x="12954" y="8480"/>
                    </a:lnTo>
                    <a:lnTo>
                      <a:pt x="7383" y="5763"/>
                    </a:lnTo>
                    <a:lnTo>
                      <a:pt x="6230" y="4336"/>
                    </a:lnTo>
                    <a:lnTo>
                      <a:pt x="3595" y="4171"/>
                    </a:lnTo>
                    <a:lnTo>
                      <a:pt x="0" y="1098"/>
                    </a:lnTo>
                    <a:lnTo>
                      <a:pt x="2498" y="0"/>
                    </a:lnTo>
                    <a:lnTo>
                      <a:pt x="4556" y="2799"/>
                    </a:lnTo>
                    <a:lnTo>
                      <a:pt x="10072" y="4583"/>
                    </a:lnTo>
                    <a:lnTo>
                      <a:pt x="14875" y="83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35" name="Freeform: Shape 4834">
                <a:extLst>
                  <a:ext uri="{FF2B5EF4-FFF2-40B4-BE49-F238E27FC236}">
                    <a16:creationId xmlns:a16="http://schemas.microsoft.com/office/drawing/2014/main" id="{602299E7-A6BF-4C55-6225-907266A3333F}"/>
                  </a:ext>
                </a:extLst>
              </p:cNvPr>
              <p:cNvSpPr/>
              <p:nvPr/>
            </p:nvSpPr>
            <p:spPr>
              <a:xfrm>
                <a:off x="1825506" y="3851756"/>
                <a:ext cx="1405" cy="910"/>
              </a:xfrm>
              <a:custGeom>
                <a:avLst/>
                <a:gdLst>
                  <a:gd name="connsiteX0" fmla="*/ 13474 w 13474"/>
                  <a:gd name="connsiteY0" fmla="*/ 8535 h 8726"/>
                  <a:gd name="connsiteX1" fmla="*/ 6888 w 13474"/>
                  <a:gd name="connsiteY1" fmla="*/ 8727 h 8726"/>
                  <a:gd name="connsiteX2" fmla="*/ 4171 w 13474"/>
                  <a:gd name="connsiteY2" fmla="*/ 7821 h 8726"/>
                  <a:gd name="connsiteX3" fmla="*/ 0 w 13474"/>
                  <a:gd name="connsiteY3" fmla="*/ 2552 h 8726"/>
                  <a:gd name="connsiteX4" fmla="*/ 3650 w 13474"/>
                  <a:gd name="connsiteY4" fmla="*/ 0 h 8726"/>
                  <a:gd name="connsiteX5" fmla="*/ 7272 w 13474"/>
                  <a:gd name="connsiteY5" fmla="*/ 274 h 8726"/>
                  <a:gd name="connsiteX6" fmla="*/ 11910 w 13474"/>
                  <a:gd name="connsiteY6" fmla="*/ 2552 h 8726"/>
                  <a:gd name="connsiteX7" fmla="*/ 13447 w 13474"/>
                  <a:gd name="connsiteY7" fmla="*/ 8535 h 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74" h="8726">
                    <a:moveTo>
                      <a:pt x="13474" y="8535"/>
                    </a:moveTo>
                    <a:lnTo>
                      <a:pt x="6888" y="8727"/>
                    </a:lnTo>
                    <a:lnTo>
                      <a:pt x="4171" y="7821"/>
                    </a:lnTo>
                    <a:lnTo>
                      <a:pt x="0" y="2552"/>
                    </a:lnTo>
                    <a:lnTo>
                      <a:pt x="3650" y="0"/>
                    </a:lnTo>
                    <a:lnTo>
                      <a:pt x="7272" y="274"/>
                    </a:lnTo>
                    <a:lnTo>
                      <a:pt x="11910" y="2552"/>
                    </a:lnTo>
                    <a:lnTo>
                      <a:pt x="13447" y="85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36" name="Freeform: Shape 4835">
                <a:extLst>
                  <a:ext uri="{FF2B5EF4-FFF2-40B4-BE49-F238E27FC236}">
                    <a16:creationId xmlns:a16="http://schemas.microsoft.com/office/drawing/2014/main" id="{07813984-E526-75F6-EC9E-03F929558E64}"/>
                  </a:ext>
                </a:extLst>
              </p:cNvPr>
              <p:cNvSpPr/>
              <p:nvPr/>
            </p:nvSpPr>
            <p:spPr>
              <a:xfrm>
                <a:off x="1818619" y="3861218"/>
                <a:ext cx="1059" cy="1125"/>
              </a:xfrm>
              <a:custGeom>
                <a:avLst/>
                <a:gdLst>
                  <a:gd name="connsiteX0" fmla="*/ 10154 w 10153"/>
                  <a:gd name="connsiteY0" fmla="*/ 5489 h 10785"/>
                  <a:gd name="connsiteX1" fmla="*/ 8535 w 10153"/>
                  <a:gd name="connsiteY1" fmla="*/ 10785 h 10785"/>
                  <a:gd name="connsiteX2" fmla="*/ 3129 w 10153"/>
                  <a:gd name="connsiteY2" fmla="*/ 8123 h 10785"/>
                  <a:gd name="connsiteX3" fmla="*/ 3266 w 10153"/>
                  <a:gd name="connsiteY3" fmla="*/ 7135 h 10785"/>
                  <a:gd name="connsiteX4" fmla="*/ 302 w 10153"/>
                  <a:gd name="connsiteY4" fmla="*/ 4391 h 10785"/>
                  <a:gd name="connsiteX5" fmla="*/ 0 w 10153"/>
                  <a:gd name="connsiteY5" fmla="*/ 1921 h 10785"/>
                  <a:gd name="connsiteX6" fmla="*/ 741 w 10153"/>
                  <a:gd name="connsiteY6" fmla="*/ 0 h 10785"/>
                  <a:gd name="connsiteX7" fmla="*/ 2854 w 10153"/>
                  <a:gd name="connsiteY7" fmla="*/ 192 h 10785"/>
                  <a:gd name="connsiteX8" fmla="*/ 4007 w 10153"/>
                  <a:gd name="connsiteY8" fmla="*/ 1701 h 10785"/>
                  <a:gd name="connsiteX9" fmla="*/ 6559 w 10153"/>
                  <a:gd name="connsiteY9" fmla="*/ 2223 h 10785"/>
                  <a:gd name="connsiteX10" fmla="*/ 8891 w 10153"/>
                  <a:gd name="connsiteY10" fmla="*/ 3732 h 10785"/>
                  <a:gd name="connsiteX11" fmla="*/ 10099 w 10153"/>
                  <a:gd name="connsiteY11" fmla="*/ 5544 h 1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3" h="10785">
                    <a:moveTo>
                      <a:pt x="10154" y="5489"/>
                    </a:moveTo>
                    <a:lnTo>
                      <a:pt x="8535" y="10785"/>
                    </a:lnTo>
                    <a:lnTo>
                      <a:pt x="3129" y="8123"/>
                    </a:lnTo>
                    <a:lnTo>
                      <a:pt x="3266" y="7135"/>
                    </a:lnTo>
                    <a:lnTo>
                      <a:pt x="302" y="4391"/>
                    </a:lnTo>
                    <a:lnTo>
                      <a:pt x="0" y="1921"/>
                    </a:lnTo>
                    <a:lnTo>
                      <a:pt x="741" y="0"/>
                    </a:lnTo>
                    <a:lnTo>
                      <a:pt x="2854" y="192"/>
                    </a:lnTo>
                    <a:lnTo>
                      <a:pt x="4007" y="1701"/>
                    </a:lnTo>
                    <a:lnTo>
                      <a:pt x="6559" y="2223"/>
                    </a:lnTo>
                    <a:lnTo>
                      <a:pt x="8891" y="3732"/>
                    </a:lnTo>
                    <a:lnTo>
                      <a:pt x="10099" y="55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37" name="Freeform: Shape 4836">
                <a:extLst>
                  <a:ext uri="{FF2B5EF4-FFF2-40B4-BE49-F238E27FC236}">
                    <a16:creationId xmlns:a16="http://schemas.microsoft.com/office/drawing/2014/main" id="{E02D619F-C675-A9DC-6383-D4BD89304EB6}"/>
                  </a:ext>
                </a:extLst>
              </p:cNvPr>
              <p:cNvSpPr/>
              <p:nvPr/>
            </p:nvSpPr>
            <p:spPr>
              <a:xfrm>
                <a:off x="1833351" y="3872207"/>
                <a:ext cx="1431" cy="758"/>
              </a:xfrm>
              <a:custGeom>
                <a:avLst/>
                <a:gdLst>
                  <a:gd name="connsiteX0" fmla="*/ 6394 w 13721"/>
                  <a:gd name="connsiteY0" fmla="*/ 302 h 7272"/>
                  <a:gd name="connsiteX1" fmla="*/ 10209 w 13721"/>
                  <a:gd name="connsiteY1" fmla="*/ 2223 h 7272"/>
                  <a:gd name="connsiteX2" fmla="*/ 11362 w 13721"/>
                  <a:gd name="connsiteY2" fmla="*/ 2223 h 7272"/>
                  <a:gd name="connsiteX3" fmla="*/ 13721 w 13721"/>
                  <a:gd name="connsiteY3" fmla="*/ 4446 h 7272"/>
                  <a:gd name="connsiteX4" fmla="*/ 10209 w 13721"/>
                  <a:gd name="connsiteY4" fmla="*/ 7272 h 7272"/>
                  <a:gd name="connsiteX5" fmla="*/ 5160 w 13721"/>
                  <a:gd name="connsiteY5" fmla="*/ 6971 h 7272"/>
                  <a:gd name="connsiteX6" fmla="*/ 4171 w 13721"/>
                  <a:gd name="connsiteY6" fmla="*/ 4446 h 7272"/>
                  <a:gd name="connsiteX7" fmla="*/ 0 w 13721"/>
                  <a:gd name="connsiteY7" fmla="*/ 522 h 7272"/>
                  <a:gd name="connsiteX8" fmla="*/ 576 w 13721"/>
                  <a:gd name="connsiteY8" fmla="*/ 0 h 7272"/>
                  <a:gd name="connsiteX9" fmla="*/ 6394 w 13721"/>
                  <a:gd name="connsiteY9" fmla="*/ 274 h 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21" h="7272">
                    <a:moveTo>
                      <a:pt x="6394" y="302"/>
                    </a:moveTo>
                    <a:lnTo>
                      <a:pt x="10209" y="2223"/>
                    </a:lnTo>
                    <a:lnTo>
                      <a:pt x="11362" y="2223"/>
                    </a:lnTo>
                    <a:cubicBezTo>
                      <a:pt x="11362" y="2223"/>
                      <a:pt x="13721" y="4446"/>
                      <a:pt x="13721" y="4446"/>
                    </a:cubicBezTo>
                    <a:lnTo>
                      <a:pt x="10209" y="7272"/>
                    </a:lnTo>
                    <a:lnTo>
                      <a:pt x="5160" y="6971"/>
                    </a:lnTo>
                    <a:lnTo>
                      <a:pt x="4171" y="4446"/>
                    </a:lnTo>
                    <a:lnTo>
                      <a:pt x="0" y="522"/>
                    </a:lnTo>
                    <a:lnTo>
                      <a:pt x="576" y="0"/>
                    </a:lnTo>
                    <a:lnTo>
                      <a:pt x="6394" y="2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38" name="Freeform: Shape 4837">
                <a:extLst>
                  <a:ext uri="{FF2B5EF4-FFF2-40B4-BE49-F238E27FC236}">
                    <a16:creationId xmlns:a16="http://schemas.microsoft.com/office/drawing/2014/main" id="{2D666C48-1243-374F-E230-3F8EAFCFD7E7}"/>
                  </a:ext>
                </a:extLst>
              </p:cNvPr>
              <p:cNvSpPr/>
              <p:nvPr/>
            </p:nvSpPr>
            <p:spPr>
              <a:xfrm>
                <a:off x="1825858" y="3872868"/>
                <a:ext cx="827" cy="876"/>
              </a:xfrm>
              <a:custGeom>
                <a:avLst/>
                <a:gdLst>
                  <a:gd name="connsiteX0" fmla="*/ 7931 w 7930"/>
                  <a:gd name="connsiteY0" fmla="*/ 4940 h 8397"/>
                  <a:gd name="connsiteX1" fmla="*/ 7026 w 7930"/>
                  <a:gd name="connsiteY1" fmla="*/ 8397 h 8397"/>
                  <a:gd name="connsiteX2" fmla="*/ 5132 w 7930"/>
                  <a:gd name="connsiteY2" fmla="*/ 8178 h 8397"/>
                  <a:gd name="connsiteX3" fmla="*/ 0 w 7930"/>
                  <a:gd name="connsiteY3" fmla="*/ 3101 h 8397"/>
                  <a:gd name="connsiteX4" fmla="*/ 1866 w 7930"/>
                  <a:gd name="connsiteY4" fmla="*/ 55 h 8397"/>
                  <a:gd name="connsiteX5" fmla="*/ 5105 w 7930"/>
                  <a:gd name="connsiteY5" fmla="*/ 0 h 8397"/>
                  <a:gd name="connsiteX6" fmla="*/ 7931 w 7930"/>
                  <a:gd name="connsiteY6" fmla="*/ 4940 h 8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30" h="8397">
                    <a:moveTo>
                      <a:pt x="7931" y="4940"/>
                    </a:moveTo>
                    <a:lnTo>
                      <a:pt x="7026" y="8397"/>
                    </a:lnTo>
                    <a:lnTo>
                      <a:pt x="5132" y="8178"/>
                    </a:lnTo>
                    <a:lnTo>
                      <a:pt x="0" y="3101"/>
                    </a:lnTo>
                    <a:lnTo>
                      <a:pt x="1866" y="55"/>
                    </a:lnTo>
                    <a:lnTo>
                      <a:pt x="5105" y="0"/>
                    </a:lnTo>
                    <a:lnTo>
                      <a:pt x="7931" y="49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39" name="Freeform: Shape 4838">
                <a:extLst>
                  <a:ext uri="{FF2B5EF4-FFF2-40B4-BE49-F238E27FC236}">
                    <a16:creationId xmlns:a16="http://schemas.microsoft.com/office/drawing/2014/main" id="{C8E6D6A5-F64C-2E6A-C917-5B2C4F25986A}"/>
                  </a:ext>
                </a:extLst>
              </p:cNvPr>
              <p:cNvSpPr/>
              <p:nvPr/>
            </p:nvSpPr>
            <p:spPr>
              <a:xfrm>
                <a:off x="1805011" y="3870100"/>
                <a:ext cx="1125" cy="627"/>
              </a:xfrm>
              <a:custGeom>
                <a:avLst/>
                <a:gdLst>
                  <a:gd name="connsiteX0" fmla="*/ 1126 w 10785"/>
                  <a:gd name="connsiteY0" fmla="*/ 0 h 6009"/>
                  <a:gd name="connsiteX1" fmla="*/ 4967 w 10785"/>
                  <a:gd name="connsiteY1" fmla="*/ 1098 h 6009"/>
                  <a:gd name="connsiteX2" fmla="*/ 8974 w 10785"/>
                  <a:gd name="connsiteY2" fmla="*/ 192 h 6009"/>
                  <a:gd name="connsiteX3" fmla="*/ 10374 w 10785"/>
                  <a:gd name="connsiteY3" fmla="*/ 960 h 6009"/>
                  <a:gd name="connsiteX4" fmla="*/ 10456 w 10785"/>
                  <a:gd name="connsiteY4" fmla="*/ 2991 h 6009"/>
                  <a:gd name="connsiteX5" fmla="*/ 8700 w 10785"/>
                  <a:gd name="connsiteY5" fmla="*/ 2058 h 6009"/>
                  <a:gd name="connsiteX6" fmla="*/ 9001 w 10785"/>
                  <a:gd name="connsiteY6" fmla="*/ 4116 h 6009"/>
                  <a:gd name="connsiteX7" fmla="*/ 10786 w 10785"/>
                  <a:gd name="connsiteY7" fmla="*/ 5489 h 6009"/>
                  <a:gd name="connsiteX8" fmla="*/ 9029 w 10785"/>
                  <a:gd name="connsiteY8" fmla="*/ 6010 h 6009"/>
                  <a:gd name="connsiteX9" fmla="*/ 631 w 10785"/>
                  <a:gd name="connsiteY9" fmla="*/ 1619 h 6009"/>
                  <a:gd name="connsiteX10" fmla="*/ 0 w 10785"/>
                  <a:gd name="connsiteY10" fmla="*/ 960 h 6009"/>
                  <a:gd name="connsiteX11" fmla="*/ 1153 w 10785"/>
                  <a:gd name="connsiteY11" fmla="*/ 27 h 6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85" h="6009">
                    <a:moveTo>
                      <a:pt x="1126" y="0"/>
                    </a:moveTo>
                    <a:lnTo>
                      <a:pt x="4967" y="1098"/>
                    </a:lnTo>
                    <a:lnTo>
                      <a:pt x="8974" y="192"/>
                    </a:lnTo>
                    <a:lnTo>
                      <a:pt x="10374" y="960"/>
                    </a:lnTo>
                    <a:lnTo>
                      <a:pt x="10456" y="2991"/>
                    </a:lnTo>
                    <a:lnTo>
                      <a:pt x="8700" y="2058"/>
                    </a:lnTo>
                    <a:lnTo>
                      <a:pt x="9001" y="4116"/>
                    </a:lnTo>
                    <a:lnTo>
                      <a:pt x="10786" y="5489"/>
                    </a:lnTo>
                    <a:lnTo>
                      <a:pt x="9029" y="6010"/>
                    </a:lnTo>
                    <a:lnTo>
                      <a:pt x="631" y="1619"/>
                    </a:lnTo>
                    <a:lnTo>
                      <a:pt x="0" y="960"/>
                    </a:lnTo>
                    <a:lnTo>
                      <a:pt x="1153"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40" name="Freeform: Shape 4839">
                <a:extLst>
                  <a:ext uri="{FF2B5EF4-FFF2-40B4-BE49-F238E27FC236}">
                    <a16:creationId xmlns:a16="http://schemas.microsoft.com/office/drawing/2014/main" id="{9229DD28-35D0-D2F2-356E-FD69D3F40335}"/>
                  </a:ext>
                </a:extLst>
              </p:cNvPr>
              <p:cNvSpPr/>
              <p:nvPr/>
            </p:nvSpPr>
            <p:spPr>
              <a:xfrm>
                <a:off x="1816306" y="3860460"/>
                <a:ext cx="681" cy="693"/>
              </a:xfrm>
              <a:custGeom>
                <a:avLst/>
                <a:gdLst>
                  <a:gd name="connsiteX0" fmla="*/ 6532 w 6531"/>
                  <a:gd name="connsiteY0" fmla="*/ 5626 h 6641"/>
                  <a:gd name="connsiteX1" fmla="*/ 3678 w 6531"/>
                  <a:gd name="connsiteY1" fmla="*/ 6641 h 6641"/>
                  <a:gd name="connsiteX2" fmla="*/ 302 w 6531"/>
                  <a:gd name="connsiteY2" fmla="*/ 4391 h 6641"/>
                  <a:gd name="connsiteX3" fmla="*/ 0 w 6531"/>
                  <a:gd name="connsiteY3" fmla="*/ 2086 h 6641"/>
                  <a:gd name="connsiteX4" fmla="*/ 2827 w 6531"/>
                  <a:gd name="connsiteY4" fmla="*/ 0 h 6641"/>
                  <a:gd name="connsiteX5" fmla="*/ 5736 w 6531"/>
                  <a:gd name="connsiteY5" fmla="*/ 1674 h 6641"/>
                  <a:gd name="connsiteX6" fmla="*/ 6532 w 6531"/>
                  <a:gd name="connsiteY6" fmla="*/ 5653 h 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6641">
                    <a:moveTo>
                      <a:pt x="6532" y="5626"/>
                    </a:moveTo>
                    <a:lnTo>
                      <a:pt x="3678" y="6641"/>
                    </a:lnTo>
                    <a:lnTo>
                      <a:pt x="302" y="4391"/>
                    </a:lnTo>
                    <a:lnTo>
                      <a:pt x="0" y="2086"/>
                    </a:lnTo>
                    <a:lnTo>
                      <a:pt x="2827" y="0"/>
                    </a:lnTo>
                    <a:lnTo>
                      <a:pt x="5736" y="1674"/>
                    </a:lnTo>
                    <a:lnTo>
                      <a:pt x="6532" y="56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41" name="Freeform: Shape 4840">
                <a:extLst>
                  <a:ext uri="{FF2B5EF4-FFF2-40B4-BE49-F238E27FC236}">
                    <a16:creationId xmlns:a16="http://schemas.microsoft.com/office/drawing/2014/main" id="{162B7817-D878-D4A6-1CE1-0BAF3A1DC339}"/>
                  </a:ext>
                </a:extLst>
              </p:cNvPr>
              <p:cNvSpPr/>
              <p:nvPr/>
            </p:nvSpPr>
            <p:spPr>
              <a:xfrm>
                <a:off x="1812880" y="3858310"/>
                <a:ext cx="592" cy="770"/>
              </a:xfrm>
              <a:custGeom>
                <a:avLst/>
                <a:gdLst>
                  <a:gd name="connsiteX0" fmla="*/ 5050 w 5680"/>
                  <a:gd name="connsiteY0" fmla="*/ 6339 h 7382"/>
                  <a:gd name="connsiteX1" fmla="*/ 1537 w 5680"/>
                  <a:gd name="connsiteY1" fmla="*/ 7382 h 7382"/>
                  <a:gd name="connsiteX2" fmla="*/ 0 w 5680"/>
                  <a:gd name="connsiteY2" fmla="*/ 4419 h 7382"/>
                  <a:gd name="connsiteX3" fmla="*/ 549 w 5680"/>
                  <a:gd name="connsiteY3" fmla="*/ 2141 h 7382"/>
                  <a:gd name="connsiteX4" fmla="*/ 3540 w 5680"/>
                  <a:gd name="connsiteY4" fmla="*/ 0 h 7382"/>
                  <a:gd name="connsiteX5" fmla="*/ 5681 w 5680"/>
                  <a:gd name="connsiteY5" fmla="*/ 1894 h 7382"/>
                  <a:gd name="connsiteX6" fmla="*/ 5050 w 5680"/>
                  <a:gd name="connsiteY6" fmla="*/ 6312 h 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0" h="7382">
                    <a:moveTo>
                      <a:pt x="5050" y="6339"/>
                    </a:moveTo>
                    <a:lnTo>
                      <a:pt x="1537" y="7382"/>
                    </a:lnTo>
                    <a:lnTo>
                      <a:pt x="0" y="4419"/>
                    </a:lnTo>
                    <a:lnTo>
                      <a:pt x="549" y="2141"/>
                    </a:lnTo>
                    <a:lnTo>
                      <a:pt x="3540" y="0"/>
                    </a:lnTo>
                    <a:lnTo>
                      <a:pt x="5681" y="1894"/>
                    </a:lnTo>
                    <a:lnTo>
                      <a:pt x="5050" y="63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42" name="Freeform: Shape 4841">
                <a:extLst>
                  <a:ext uri="{FF2B5EF4-FFF2-40B4-BE49-F238E27FC236}">
                    <a16:creationId xmlns:a16="http://schemas.microsoft.com/office/drawing/2014/main" id="{F1E6A90B-6F38-A5CF-0883-60EE2A7177E5}"/>
                  </a:ext>
                </a:extLst>
              </p:cNvPr>
              <p:cNvSpPr/>
              <p:nvPr/>
            </p:nvSpPr>
            <p:spPr>
              <a:xfrm>
                <a:off x="1824006" y="3848518"/>
                <a:ext cx="655" cy="624"/>
              </a:xfrm>
              <a:custGeom>
                <a:avLst/>
                <a:gdLst>
                  <a:gd name="connsiteX0" fmla="*/ 6285 w 6284"/>
                  <a:gd name="connsiteY0" fmla="*/ 5159 h 5982"/>
                  <a:gd name="connsiteX1" fmla="*/ 4693 w 6284"/>
                  <a:gd name="connsiteY1" fmla="*/ 5983 h 5982"/>
                  <a:gd name="connsiteX2" fmla="*/ 0 w 6284"/>
                  <a:gd name="connsiteY2" fmla="*/ 3046 h 5982"/>
                  <a:gd name="connsiteX3" fmla="*/ 2305 w 6284"/>
                  <a:gd name="connsiteY3" fmla="*/ 0 h 5982"/>
                  <a:gd name="connsiteX4" fmla="*/ 5022 w 6284"/>
                  <a:gd name="connsiteY4" fmla="*/ 1811 h 5982"/>
                  <a:gd name="connsiteX5" fmla="*/ 5736 w 6284"/>
                  <a:gd name="connsiteY5" fmla="*/ 3074 h 5982"/>
                  <a:gd name="connsiteX6" fmla="*/ 6285 w 6284"/>
                  <a:gd name="connsiteY6" fmla="*/ 5159 h 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4" h="5982">
                    <a:moveTo>
                      <a:pt x="6285" y="5159"/>
                    </a:moveTo>
                    <a:lnTo>
                      <a:pt x="4693" y="5983"/>
                    </a:lnTo>
                    <a:lnTo>
                      <a:pt x="0" y="3046"/>
                    </a:lnTo>
                    <a:lnTo>
                      <a:pt x="2305" y="0"/>
                    </a:lnTo>
                    <a:lnTo>
                      <a:pt x="5022" y="1811"/>
                    </a:lnTo>
                    <a:lnTo>
                      <a:pt x="5736" y="3074"/>
                    </a:lnTo>
                    <a:lnTo>
                      <a:pt x="6285" y="51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43" name="Freeform: Shape 4842">
                <a:extLst>
                  <a:ext uri="{FF2B5EF4-FFF2-40B4-BE49-F238E27FC236}">
                    <a16:creationId xmlns:a16="http://schemas.microsoft.com/office/drawing/2014/main" id="{E69C7111-4E3A-A46F-C336-71D4F4E9C663}"/>
                  </a:ext>
                </a:extLst>
              </p:cNvPr>
              <p:cNvSpPr/>
              <p:nvPr/>
            </p:nvSpPr>
            <p:spPr>
              <a:xfrm>
                <a:off x="1828311" y="3870289"/>
                <a:ext cx="684" cy="552"/>
              </a:xfrm>
              <a:custGeom>
                <a:avLst/>
                <a:gdLst>
                  <a:gd name="connsiteX0" fmla="*/ 5955 w 6558"/>
                  <a:gd name="connsiteY0" fmla="*/ 4994 h 5296"/>
                  <a:gd name="connsiteX1" fmla="*/ 1152 w 6558"/>
                  <a:gd name="connsiteY1" fmla="*/ 5296 h 5296"/>
                  <a:gd name="connsiteX2" fmla="*/ 0 w 6558"/>
                  <a:gd name="connsiteY2" fmla="*/ 4007 h 5296"/>
                  <a:gd name="connsiteX3" fmla="*/ 2086 w 6558"/>
                  <a:gd name="connsiteY3" fmla="*/ 3512 h 5296"/>
                  <a:gd name="connsiteX4" fmla="*/ 3924 w 6558"/>
                  <a:gd name="connsiteY4" fmla="*/ 1125 h 5296"/>
                  <a:gd name="connsiteX5" fmla="*/ 6559 w 6558"/>
                  <a:gd name="connsiteY5" fmla="*/ 0 h 5296"/>
                  <a:gd name="connsiteX6" fmla="*/ 5955 w 6558"/>
                  <a:gd name="connsiteY6" fmla="*/ 4994 h 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8" h="5296">
                    <a:moveTo>
                      <a:pt x="5955" y="4994"/>
                    </a:moveTo>
                    <a:lnTo>
                      <a:pt x="1152" y="5296"/>
                    </a:lnTo>
                    <a:lnTo>
                      <a:pt x="0" y="4007"/>
                    </a:lnTo>
                    <a:lnTo>
                      <a:pt x="2086" y="3512"/>
                    </a:lnTo>
                    <a:lnTo>
                      <a:pt x="3924" y="1125"/>
                    </a:lnTo>
                    <a:lnTo>
                      <a:pt x="6559" y="0"/>
                    </a:lnTo>
                    <a:lnTo>
                      <a:pt x="5955" y="49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44" name="Freeform: Shape 4843">
                <a:extLst>
                  <a:ext uri="{FF2B5EF4-FFF2-40B4-BE49-F238E27FC236}">
                    <a16:creationId xmlns:a16="http://schemas.microsoft.com/office/drawing/2014/main" id="{800B3EAD-F075-FE36-7831-3A6111F35E59}"/>
                  </a:ext>
                </a:extLst>
              </p:cNvPr>
              <p:cNvSpPr/>
              <p:nvPr/>
            </p:nvSpPr>
            <p:spPr>
              <a:xfrm>
                <a:off x="1837791" y="3879323"/>
                <a:ext cx="856" cy="424"/>
              </a:xfrm>
              <a:custGeom>
                <a:avLst/>
                <a:gdLst>
                  <a:gd name="connsiteX0" fmla="*/ 8205 w 8205"/>
                  <a:gd name="connsiteY0" fmla="*/ 1537 h 4061"/>
                  <a:gd name="connsiteX1" fmla="*/ 7464 w 8205"/>
                  <a:gd name="connsiteY1" fmla="*/ 3870 h 4061"/>
                  <a:gd name="connsiteX2" fmla="*/ 5873 w 8205"/>
                  <a:gd name="connsiteY2" fmla="*/ 3101 h 4061"/>
                  <a:gd name="connsiteX3" fmla="*/ 2662 w 8205"/>
                  <a:gd name="connsiteY3" fmla="*/ 4062 h 4061"/>
                  <a:gd name="connsiteX4" fmla="*/ 0 w 8205"/>
                  <a:gd name="connsiteY4" fmla="*/ 2689 h 4061"/>
                  <a:gd name="connsiteX5" fmla="*/ 2992 w 8205"/>
                  <a:gd name="connsiteY5" fmla="*/ 165 h 4061"/>
                  <a:gd name="connsiteX6" fmla="*/ 6065 w 8205"/>
                  <a:gd name="connsiteY6" fmla="*/ 0 h 4061"/>
                  <a:gd name="connsiteX7" fmla="*/ 8205 w 8205"/>
                  <a:gd name="connsiteY7" fmla="*/ 1537 h 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05" h="4061">
                    <a:moveTo>
                      <a:pt x="8205" y="1537"/>
                    </a:moveTo>
                    <a:lnTo>
                      <a:pt x="7464" y="3870"/>
                    </a:lnTo>
                    <a:lnTo>
                      <a:pt x="5873" y="3101"/>
                    </a:lnTo>
                    <a:lnTo>
                      <a:pt x="2662" y="4062"/>
                    </a:lnTo>
                    <a:lnTo>
                      <a:pt x="0" y="2689"/>
                    </a:lnTo>
                    <a:lnTo>
                      <a:pt x="2992" y="165"/>
                    </a:lnTo>
                    <a:lnTo>
                      <a:pt x="6065" y="0"/>
                    </a:lnTo>
                    <a:lnTo>
                      <a:pt x="8205" y="15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45" name="Freeform: Shape 4844">
                <a:extLst>
                  <a:ext uri="{FF2B5EF4-FFF2-40B4-BE49-F238E27FC236}">
                    <a16:creationId xmlns:a16="http://schemas.microsoft.com/office/drawing/2014/main" id="{36566896-1344-66B4-E210-A04CA6CCA116}"/>
                  </a:ext>
                </a:extLst>
              </p:cNvPr>
              <p:cNvSpPr/>
              <p:nvPr/>
            </p:nvSpPr>
            <p:spPr>
              <a:xfrm>
                <a:off x="1828005" y="3876933"/>
                <a:ext cx="767" cy="469"/>
              </a:xfrm>
              <a:custGeom>
                <a:avLst/>
                <a:gdLst>
                  <a:gd name="connsiteX0" fmla="*/ 1674 w 7354"/>
                  <a:gd name="connsiteY0" fmla="*/ 0 h 4500"/>
                  <a:gd name="connsiteX1" fmla="*/ 3403 w 7354"/>
                  <a:gd name="connsiteY1" fmla="*/ 2278 h 4500"/>
                  <a:gd name="connsiteX2" fmla="*/ 6614 w 7354"/>
                  <a:gd name="connsiteY2" fmla="*/ 1619 h 4500"/>
                  <a:gd name="connsiteX3" fmla="*/ 7355 w 7354"/>
                  <a:gd name="connsiteY3" fmla="*/ 3183 h 4500"/>
                  <a:gd name="connsiteX4" fmla="*/ 2415 w 7354"/>
                  <a:gd name="connsiteY4" fmla="*/ 4501 h 4500"/>
                  <a:gd name="connsiteX5" fmla="*/ 411 w 7354"/>
                  <a:gd name="connsiteY5" fmla="*/ 3211 h 4500"/>
                  <a:gd name="connsiteX6" fmla="*/ 0 w 7354"/>
                  <a:gd name="connsiteY6" fmla="*/ 1153 h 4500"/>
                  <a:gd name="connsiteX7" fmla="*/ 1674 w 7354"/>
                  <a:gd name="connsiteY7" fmla="*/ 27 h 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4" h="4500">
                    <a:moveTo>
                      <a:pt x="1674" y="0"/>
                    </a:moveTo>
                    <a:lnTo>
                      <a:pt x="3403" y="2278"/>
                    </a:lnTo>
                    <a:lnTo>
                      <a:pt x="6614" y="1619"/>
                    </a:lnTo>
                    <a:lnTo>
                      <a:pt x="7355" y="3183"/>
                    </a:lnTo>
                    <a:lnTo>
                      <a:pt x="2415" y="4501"/>
                    </a:lnTo>
                    <a:lnTo>
                      <a:pt x="411" y="3211"/>
                    </a:lnTo>
                    <a:lnTo>
                      <a:pt x="0" y="1153"/>
                    </a:lnTo>
                    <a:lnTo>
                      <a:pt x="1674"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46" name="Freeform: Shape 4845">
                <a:extLst>
                  <a:ext uri="{FF2B5EF4-FFF2-40B4-BE49-F238E27FC236}">
                    <a16:creationId xmlns:a16="http://schemas.microsoft.com/office/drawing/2014/main" id="{4EEF94E9-E4BD-FA7A-D671-F1C5C9A03E01}"/>
                  </a:ext>
                </a:extLst>
              </p:cNvPr>
              <p:cNvSpPr/>
              <p:nvPr/>
            </p:nvSpPr>
            <p:spPr>
              <a:xfrm>
                <a:off x="1833245" y="3853742"/>
                <a:ext cx="472" cy="644"/>
              </a:xfrm>
              <a:custGeom>
                <a:avLst/>
                <a:gdLst>
                  <a:gd name="connsiteX0" fmla="*/ 4528 w 4527"/>
                  <a:gd name="connsiteY0" fmla="*/ 2882 h 6174"/>
                  <a:gd name="connsiteX1" fmla="*/ 3238 w 4527"/>
                  <a:gd name="connsiteY1" fmla="*/ 6175 h 6174"/>
                  <a:gd name="connsiteX2" fmla="*/ 0 w 4527"/>
                  <a:gd name="connsiteY2" fmla="*/ 1811 h 6174"/>
                  <a:gd name="connsiteX3" fmla="*/ 3430 w 4527"/>
                  <a:gd name="connsiteY3" fmla="*/ 0 h 6174"/>
                  <a:gd name="connsiteX4" fmla="*/ 4528 w 4527"/>
                  <a:gd name="connsiteY4" fmla="*/ 2882 h 6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7" h="6174">
                    <a:moveTo>
                      <a:pt x="4528" y="2882"/>
                    </a:moveTo>
                    <a:lnTo>
                      <a:pt x="3238" y="6175"/>
                    </a:lnTo>
                    <a:lnTo>
                      <a:pt x="0" y="1811"/>
                    </a:lnTo>
                    <a:lnTo>
                      <a:pt x="3430" y="0"/>
                    </a:lnTo>
                    <a:lnTo>
                      <a:pt x="4528" y="28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47" name="Freeform: Shape 4846">
                <a:extLst>
                  <a:ext uri="{FF2B5EF4-FFF2-40B4-BE49-F238E27FC236}">
                    <a16:creationId xmlns:a16="http://schemas.microsoft.com/office/drawing/2014/main" id="{CC8516EE-B5F0-7FEC-485B-703AEA31EF53}"/>
                  </a:ext>
                </a:extLst>
              </p:cNvPr>
              <p:cNvSpPr/>
              <p:nvPr/>
            </p:nvSpPr>
            <p:spPr>
              <a:xfrm>
                <a:off x="1833669" y="3877179"/>
                <a:ext cx="627" cy="369"/>
              </a:xfrm>
              <a:custGeom>
                <a:avLst/>
                <a:gdLst>
                  <a:gd name="connsiteX0" fmla="*/ 5982 w 6009"/>
                  <a:gd name="connsiteY0" fmla="*/ 2415 h 3540"/>
                  <a:gd name="connsiteX1" fmla="*/ 1838 w 6009"/>
                  <a:gd name="connsiteY1" fmla="*/ 3540 h 3540"/>
                  <a:gd name="connsiteX2" fmla="*/ 0 w 6009"/>
                  <a:gd name="connsiteY2" fmla="*/ 2223 h 3540"/>
                  <a:gd name="connsiteX3" fmla="*/ 4171 w 6009"/>
                  <a:gd name="connsiteY3" fmla="*/ 0 h 3540"/>
                  <a:gd name="connsiteX4" fmla="*/ 6010 w 6009"/>
                  <a:gd name="connsiteY4" fmla="*/ 2415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9" h="3540">
                    <a:moveTo>
                      <a:pt x="5982" y="2415"/>
                    </a:moveTo>
                    <a:lnTo>
                      <a:pt x="1838" y="3540"/>
                    </a:lnTo>
                    <a:lnTo>
                      <a:pt x="0" y="2223"/>
                    </a:lnTo>
                    <a:lnTo>
                      <a:pt x="4171" y="0"/>
                    </a:lnTo>
                    <a:lnTo>
                      <a:pt x="6010"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48" name="Freeform: Shape 4847">
                <a:extLst>
                  <a:ext uri="{FF2B5EF4-FFF2-40B4-BE49-F238E27FC236}">
                    <a16:creationId xmlns:a16="http://schemas.microsoft.com/office/drawing/2014/main" id="{38C8F5E5-741F-31F9-FDC4-3164A5DEA3D5}"/>
                  </a:ext>
                </a:extLst>
              </p:cNvPr>
              <p:cNvSpPr/>
              <p:nvPr/>
            </p:nvSpPr>
            <p:spPr>
              <a:xfrm>
                <a:off x="1835009" y="3878971"/>
                <a:ext cx="527" cy="372"/>
              </a:xfrm>
              <a:custGeom>
                <a:avLst/>
                <a:gdLst>
                  <a:gd name="connsiteX0" fmla="*/ 5050 w 5049"/>
                  <a:gd name="connsiteY0" fmla="*/ 2634 h 3567"/>
                  <a:gd name="connsiteX1" fmla="*/ 4501 w 5049"/>
                  <a:gd name="connsiteY1" fmla="*/ 3568 h 3567"/>
                  <a:gd name="connsiteX2" fmla="*/ 0 w 5049"/>
                  <a:gd name="connsiteY2" fmla="*/ 1235 h 3567"/>
                  <a:gd name="connsiteX3" fmla="*/ 1784 w 5049"/>
                  <a:gd name="connsiteY3" fmla="*/ 0 h 3567"/>
                  <a:gd name="connsiteX4" fmla="*/ 5050 w 5049"/>
                  <a:gd name="connsiteY4" fmla="*/ 2634 h 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 h="3567">
                    <a:moveTo>
                      <a:pt x="5050" y="2634"/>
                    </a:moveTo>
                    <a:lnTo>
                      <a:pt x="4501" y="3568"/>
                    </a:lnTo>
                    <a:lnTo>
                      <a:pt x="0" y="1235"/>
                    </a:lnTo>
                    <a:lnTo>
                      <a:pt x="1784" y="0"/>
                    </a:lnTo>
                    <a:lnTo>
                      <a:pt x="5050"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49" name="Freeform: Shape 4848">
                <a:extLst>
                  <a:ext uri="{FF2B5EF4-FFF2-40B4-BE49-F238E27FC236}">
                    <a16:creationId xmlns:a16="http://schemas.microsoft.com/office/drawing/2014/main" id="{C9BD68F8-6198-4BFD-18FF-2071F57D5EEE}"/>
                  </a:ext>
                </a:extLst>
              </p:cNvPr>
              <p:cNvSpPr/>
              <p:nvPr/>
            </p:nvSpPr>
            <p:spPr>
              <a:xfrm>
                <a:off x="1831525" y="3853307"/>
                <a:ext cx="435" cy="444"/>
              </a:xfrm>
              <a:custGeom>
                <a:avLst/>
                <a:gdLst>
                  <a:gd name="connsiteX0" fmla="*/ 4171 w 4171"/>
                  <a:gd name="connsiteY0" fmla="*/ 1208 h 4253"/>
                  <a:gd name="connsiteX1" fmla="*/ 2744 w 4171"/>
                  <a:gd name="connsiteY1" fmla="*/ 4254 h 4253"/>
                  <a:gd name="connsiteX2" fmla="*/ 0 w 4171"/>
                  <a:gd name="connsiteY2" fmla="*/ 467 h 4253"/>
                  <a:gd name="connsiteX3" fmla="*/ 2882 w 4171"/>
                  <a:gd name="connsiteY3" fmla="*/ 0 h 4253"/>
                  <a:gd name="connsiteX4" fmla="*/ 4171 w 4171"/>
                  <a:gd name="connsiteY4" fmla="*/ 1180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1" h="4253">
                    <a:moveTo>
                      <a:pt x="4171" y="1208"/>
                    </a:moveTo>
                    <a:lnTo>
                      <a:pt x="2744" y="4254"/>
                    </a:lnTo>
                    <a:lnTo>
                      <a:pt x="0" y="467"/>
                    </a:lnTo>
                    <a:lnTo>
                      <a:pt x="2882" y="0"/>
                    </a:lnTo>
                    <a:lnTo>
                      <a:pt x="4171"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50" name="Freeform: Shape 4849">
                <a:extLst>
                  <a:ext uri="{FF2B5EF4-FFF2-40B4-BE49-F238E27FC236}">
                    <a16:creationId xmlns:a16="http://schemas.microsoft.com/office/drawing/2014/main" id="{27CE7E54-D014-CC6C-3704-A551044DDCCF}"/>
                  </a:ext>
                </a:extLst>
              </p:cNvPr>
              <p:cNvSpPr/>
              <p:nvPr/>
            </p:nvSpPr>
            <p:spPr>
              <a:xfrm>
                <a:off x="1811675" y="3846990"/>
                <a:ext cx="461" cy="386"/>
              </a:xfrm>
              <a:custGeom>
                <a:avLst/>
                <a:gdLst>
                  <a:gd name="connsiteX0" fmla="*/ 4391 w 4418"/>
                  <a:gd name="connsiteY0" fmla="*/ 1098 h 3704"/>
                  <a:gd name="connsiteX1" fmla="*/ 1317 w 4418"/>
                  <a:gd name="connsiteY1" fmla="*/ 3705 h 3704"/>
                  <a:gd name="connsiteX2" fmla="*/ 0 w 4418"/>
                  <a:gd name="connsiteY2" fmla="*/ 2607 h 3704"/>
                  <a:gd name="connsiteX3" fmla="*/ 2854 w 4418"/>
                  <a:gd name="connsiteY3" fmla="*/ 0 h 3704"/>
                  <a:gd name="connsiteX4" fmla="*/ 4419 w 4418"/>
                  <a:gd name="connsiteY4" fmla="*/ 1098 h 3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3704">
                    <a:moveTo>
                      <a:pt x="4391" y="1098"/>
                    </a:moveTo>
                    <a:lnTo>
                      <a:pt x="1317" y="3705"/>
                    </a:lnTo>
                    <a:lnTo>
                      <a:pt x="0" y="2607"/>
                    </a:lnTo>
                    <a:lnTo>
                      <a:pt x="2854" y="0"/>
                    </a:lnTo>
                    <a:lnTo>
                      <a:pt x="4419" y="10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51" name="Freeform: Shape 4850">
                <a:extLst>
                  <a:ext uri="{FF2B5EF4-FFF2-40B4-BE49-F238E27FC236}">
                    <a16:creationId xmlns:a16="http://schemas.microsoft.com/office/drawing/2014/main" id="{B1507FC6-0832-D768-2B4E-E839043776B0}"/>
                  </a:ext>
                </a:extLst>
              </p:cNvPr>
              <p:cNvSpPr/>
              <p:nvPr/>
            </p:nvSpPr>
            <p:spPr>
              <a:xfrm>
                <a:off x="1806214" y="3870438"/>
                <a:ext cx="449" cy="386"/>
              </a:xfrm>
              <a:custGeom>
                <a:avLst/>
                <a:gdLst>
                  <a:gd name="connsiteX0" fmla="*/ 4308 w 4308"/>
                  <a:gd name="connsiteY0" fmla="*/ 1976 h 3704"/>
                  <a:gd name="connsiteX1" fmla="*/ 3348 w 4308"/>
                  <a:gd name="connsiteY1" fmla="*/ 3705 h 3704"/>
                  <a:gd name="connsiteX2" fmla="*/ 0 w 4308"/>
                  <a:gd name="connsiteY2" fmla="*/ 521 h 3704"/>
                  <a:gd name="connsiteX3" fmla="*/ 2167 w 4308"/>
                  <a:gd name="connsiteY3" fmla="*/ 0 h 3704"/>
                  <a:gd name="connsiteX4" fmla="*/ 4308 w 4308"/>
                  <a:gd name="connsiteY4" fmla="*/ 1976 h 3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3704">
                    <a:moveTo>
                      <a:pt x="4308" y="1976"/>
                    </a:moveTo>
                    <a:lnTo>
                      <a:pt x="3348" y="3705"/>
                    </a:lnTo>
                    <a:lnTo>
                      <a:pt x="0" y="521"/>
                    </a:lnTo>
                    <a:lnTo>
                      <a:pt x="2167" y="0"/>
                    </a:lnTo>
                    <a:lnTo>
                      <a:pt x="4308"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52" name="Freeform: Shape 4851">
                <a:extLst>
                  <a:ext uri="{FF2B5EF4-FFF2-40B4-BE49-F238E27FC236}">
                    <a16:creationId xmlns:a16="http://schemas.microsoft.com/office/drawing/2014/main" id="{2105B050-A378-D304-26AD-EE0626399A26}"/>
                  </a:ext>
                </a:extLst>
              </p:cNvPr>
              <p:cNvSpPr/>
              <p:nvPr/>
            </p:nvSpPr>
            <p:spPr>
              <a:xfrm>
                <a:off x="1805572" y="3854629"/>
                <a:ext cx="398" cy="395"/>
              </a:xfrm>
              <a:custGeom>
                <a:avLst/>
                <a:gdLst>
                  <a:gd name="connsiteX0" fmla="*/ 3815 w 3814"/>
                  <a:gd name="connsiteY0" fmla="*/ 1235 h 3787"/>
                  <a:gd name="connsiteX1" fmla="*/ 2717 w 3814"/>
                  <a:gd name="connsiteY1" fmla="*/ 3787 h 3787"/>
                  <a:gd name="connsiteX2" fmla="*/ 0 w 3814"/>
                  <a:gd name="connsiteY2" fmla="*/ 549 h 3787"/>
                  <a:gd name="connsiteX3" fmla="*/ 2058 w 3814"/>
                  <a:gd name="connsiteY3" fmla="*/ 0 h 3787"/>
                  <a:gd name="connsiteX4" fmla="*/ 3815 w 3814"/>
                  <a:gd name="connsiteY4" fmla="*/ 1235 h 3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3787">
                    <a:moveTo>
                      <a:pt x="3815" y="1235"/>
                    </a:moveTo>
                    <a:lnTo>
                      <a:pt x="2717" y="3787"/>
                    </a:lnTo>
                    <a:lnTo>
                      <a:pt x="0" y="549"/>
                    </a:lnTo>
                    <a:lnTo>
                      <a:pt x="2058" y="0"/>
                    </a:lnTo>
                    <a:lnTo>
                      <a:pt x="3815"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53" name="Freeform: Shape 4852">
                <a:extLst>
                  <a:ext uri="{FF2B5EF4-FFF2-40B4-BE49-F238E27FC236}">
                    <a16:creationId xmlns:a16="http://schemas.microsoft.com/office/drawing/2014/main" id="{27CC3AC6-F161-15E9-B1F4-49E7F33F677F}"/>
                  </a:ext>
                </a:extLst>
              </p:cNvPr>
              <p:cNvSpPr/>
              <p:nvPr/>
            </p:nvSpPr>
            <p:spPr>
              <a:xfrm>
                <a:off x="1832873" y="3857062"/>
                <a:ext cx="341" cy="461"/>
              </a:xfrm>
              <a:custGeom>
                <a:avLst/>
                <a:gdLst>
                  <a:gd name="connsiteX0" fmla="*/ 3266 w 3265"/>
                  <a:gd name="connsiteY0" fmla="*/ 2388 h 4418"/>
                  <a:gd name="connsiteX1" fmla="*/ 1729 w 3265"/>
                  <a:gd name="connsiteY1" fmla="*/ 4418 h 4418"/>
                  <a:gd name="connsiteX2" fmla="*/ 0 w 3265"/>
                  <a:gd name="connsiteY2" fmla="*/ 0 h 4418"/>
                  <a:gd name="connsiteX3" fmla="*/ 2058 w 3265"/>
                  <a:gd name="connsiteY3" fmla="*/ 384 h 4418"/>
                  <a:gd name="connsiteX4" fmla="*/ 3238 w 3265"/>
                  <a:gd name="connsiteY4" fmla="*/ 2388 h 4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4418">
                    <a:moveTo>
                      <a:pt x="3266" y="2388"/>
                    </a:moveTo>
                    <a:lnTo>
                      <a:pt x="1729" y="4418"/>
                    </a:lnTo>
                    <a:lnTo>
                      <a:pt x="0" y="0"/>
                    </a:lnTo>
                    <a:lnTo>
                      <a:pt x="2058" y="384"/>
                    </a:lnTo>
                    <a:lnTo>
                      <a:pt x="3238"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54" name="Freeform: Shape 4853">
                <a:extLst>
                  <a:ext uri="{FF2B5EF4-FFF2-40B4-BE49-F238E27FC236}">
                    <a16:creationId xmlns:a16="http://schemas.microsoft.com/office/drawing/2014/main" id="{1DC03140-C18F-78D6-2A88-F70A5C27761F}"/>
                  </a:ext>
                </a:extLst>
              </p:cNvPr>
              <p:cNvSpPr/>
              <p:nvPr/>
            </p:nvSpPr>
            <p:spPr>
              <a:xfrm>
                <a:off x="1836425" y="3856793"/>
                <a:ext cx="378" cy="412"/>
              </a:xfrm>
              <a:custGeom>
                <a:avLst/>
                <a:gdLst>
                  <a:gd name="connsiteX0" fmla="*/ 3595 w 3622"/>
                  <a:gd name="connsiteY0" fmla="*/ 2607 h 3951"/>
                  <a:gd name="connsiteX1" fmla="*/ 2689 w 3622"/>
                  <a:gd name="connsiteY1" fmla="*/ 3952 h 3951"/>
                  <a:gd name="connsiteX2" fmla="*/ 0 w 3622"/>
                  <a:gd name="connsiteY2" fmla="*/ 2442 h 3951"/>
                  <a:gd name="connsiteX3" fmla="*/ 1839 w 3622"/>
                  <a:gd name="connsiteY3" fmla="*/ 0 h 3951"/>
                  <a:gd name="connsiteX4" fmla="*/ 3623 w 3622"/>
                  <a:gd name="connsiteY4" fmla="*/ 2607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3951">
                    <a:moveTo>
                      <a:pt x="3595" y="2607"/>
                    </a:moveTo>
                    <a:lnTo>
                      <a:pt x="2689" y="3952"/>
                    </a:lnTo>
                    <a:lnTo>
                      <a:pt x="0" y="2442"/>
                    </a:lnTo>
                    <a:lnTo>
                      <a:pt x="1839" y="0"/>
                    </a:lnTo>
                    <a:lnTo>
                      <a:pt x="3623" y="26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55" name="Freeform: Shape 4854">
                <a:extLst>
                  <a:ext uri="{FF2B5EF4-FFF2-40B4-BE49-F238E27FC236}">
                    <a16:creationId xmlns:a16="http://schemas.microsoft.com/office/drawing/2014/main" id="{B9EF4647-15C7-EC9B-D6C2-578AF25F0718}"/>
                  </a:ext>
                </a:extLst>
              </p:cNvPr>
              <p:cNvSpPr/>
              <p:nvPr/>
            </p:nvSpPr>
            <p:spPr>
              <a:xfrm>
                <a:off x="1829410" y="3870844"/>
                <a:ext cx="395" cy="389"/>
              </a:xfrm>
              <a:custGeom>
                <a:avLst/>
                <a:gdLst>
                  <a:gd name="connsiteX0" fmla="*/ 3787 w 3787"/>
                  <a:gd name="connsiteY0" fmla="*/ 1839 h 3732"/>
                  <a:gd name="connsiteX1" fmla="*/ 2608 w 3787"/>
                  <a:gd name="connsiteY1" fmla="*/ 3732 h 3732"/>
                  <a:gd name="connsiteX2" fmla="*/ 0 w 3787"/>
                  <a:gd name="connsiteY2" fmla="*/ 1729 h 3732"/>
                  <a:gd name="connsiteX3" fmla="*/ 2333 w 3787"/>
                  <a:gd name="connsiteY3" fmla="*/ 0 h 3732"/>
                  <a:gd name="connsiteX4" fmla="*/ 3787 w 3787"/>
                  <a:gd name="connsiteY4" fmla="*/ 1811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3732">
                    <a:moveTo>
                      <a:pt x="3787" y="1839"/>
                    </a:moveTo>
                    <a:lnTo>
                      <a:pt x="2608" y="3732"/>
                    </a:lnTo>
                    <a:lnTo>
                      <a:pt x="0" y="1729"/>
                    </a:lnTo>
                    <a:lnTo>
                      <a:pt x="2333" y="0"/>
                    </a:lnTo>
                    <a:lnTo>
                      <a:pt x="3787"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56" name="Freeform: Shape 4855">
                <a:extLst>
                  <a:ext uri="{FF2B5EF4-FFF2-40B4-BE49-F238E27FC236}">
                    <a16:creationId xmlns:a16="http://schemas.microsoft.com/office/drawing/2014/main" id="{C9B53FFE-EBBC-718E-4493-2D165322F3FF}"/>
                  </a:ext>
                </a:extLst>
              </p:cNvPr>
              <p:cNvSpPr/>
              <p:nvPr/>
            </p:nvSpPr>
            <p:spPr>
              <a:xfrm>
                <a:off x="1828883" y="3859430"/>
                <a:ext cx="492" cy="309"/>
              </a:xfrm>
              <a:custGeom>
                <a:avLst/>
                <a:gdLst>
                  <a:gd name="connsiteX0" fmla="*/ 4720 w 4720"/>
                  <a:gd name="connsiteY0" fmla="*/ 1427 h 2964"/>
                  <a:gd name="connsiteX1" fmla="*/ 2113 w 4720"/>
                  <a:gd name="connsiteY1" fmla="*/ 2964 h 2964"/>
                  <a:gd name="connsiteX2" fmla="*/ 0 w 4720"/>
                  <a:gd name="connsiteY2" fmla="*/ 1455 h 2964"/>
                  <a:gd name="connsiteX3" fmla="*/ 2744 w 4720"/>
                  <a:gd name="connsiteY3" fmla="*/ 0 h 2964"/>
                  <a:gd name="connsiteX4" fmla="*/ 4720 w 4720"/>
                  <a:gd name="connsiteY4" fmla="*/ 1427 h 2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0" h="2964">
                    <a:moveTo>
                      <a:pt x="4720" y="1427"/>
                    </a:moveTo>
                    <a:lnTo>
                      <a:pt x="2113" y="2964"/>
                    </a:lnTo>
                    <a:lnTo>
                      <a:pt x="0" y="1455"/>
                    </a:lnTo>
                    <a:lnTo>
                      <a:pt x="2744" y="0"/>
                    </a:lnTo>
                    <a:lnTo>
                      <a:pt x="4720"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57" name="Freeform: Shape 4856">
                <a:extLst>
                  <a:ext uri="{FF2B5EF4-FFF2-40B4-BE49-F238E27FC236}">
                    <a16:creationId xmlns:a16="http://schemas.microsoft.com/office/drawing/2014/main" id="{31D9AF83-8D30-878D-24C5-1C59AD0345B7}"/>
                  </a:ext>
                </a:extLst>
              </p:cNvPr>
              <p:cNvSpPr/>
              <p:nvPr/>
            </p:nvSpPr>
            <p:spPr>
              <a:xfrm>
                <a:off x="1807207" y="3854166"/>
                <a:ext cx="421" cy="355"/>
              </a:xfrm>
              <a:custGeom>
                <a:avLst/>
                <a:gdLst>
                  <a:gd name="connsiteX0" fmla="*/ 4034 w 4034"/>
                  <a:gd name="connsiteY0" fmla="*/ 1729 h 3402"/>
                  <a:gd name="connsiteX1" fmla="*/ 1262 w 4034"/>
                  <a:gd name="connsiteY1" fmla="*/ 3403 h 3402"/>
                  <a:gd name="connsiteX2" fmla="*/ 0 w 4034"/>
                  <a:gd name="connsiteY2" fmla="*/ 1070 h 3402"/>
                  <a:gd name="connsiteX3" fmla="*/ 1674 w 4034"/>
                  <a:gd name="connsiteY3" fmla="*/ 0 h 3402"/>
                  <a:gd name="connsiteX4" fmla="*/ 4034 w 4034"/>
                  <a:gd name="connsiteY4" fmla="*/ 1756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 h="3402">
                    <a:moveTo>
                      <a:pt x="4034" y="1729"/>
                    </a:moveTo>
                    <a:lnTo>
                      <a:pt x="1262" y="3403"/>
                    </a:lnTo>
                    <a:lnTo>
                      <a:pt x="0" y="1070"/>
                    </a:lnTo>
                    <a:lnTo>
                      <a:pt x="1674" y="0"/>
                    </a:lnTo>
                    <a:lnTo>
                      <a:pt x="4034"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58" name="Freeform: Shape 4857">
                <a:extLst>
                  <a:ext uri="{FF2B5EF4-FFF2-40B4-BE49-F238E27FC236}">
                    <a16:creationId xmlns:a16="http://schemas.microsoft.com/office/drawing/2014/main" id="{E4872E11-A12F-4544-00CE-283B720D9179}"/>
                  </a:ext>
                </a:extLst>
              </p:cNvPr>
              <p:cNvSpPr/>
              <p:nvPr/>
            </p:nvSpPr>
            <p:spPr>
              <a:xfrm>
                <a:off x="1828660" y="3871088"/>
                <a:ext cx="375" cy="404"/>
              </a:xfrm>
              <a:custGeom>
                <a:avLst/>
                <a:gdLst>
                  <a:gd name="connsiteX0" fmla="*/ 3595 w 3595"/>
                  <a:gd name="connsiteY0" fmla="*/ 961 h 3869"/>
                  <a:gd name="connsiteX1" fmla="*/ 2579 w 3595"/>
                  <a:gd name="connsiteY1" fmla="*/ 3870 h 3869"/>
                  <a:gd name="connsiteX2" fmla="*/ 0 w 3595"/>
                  <a:gd name="connsiteY2" fmla="*/ 2607 h 3869"/>
                  <a:gd name="connsiteX3" fmla="*/ 2415 w 3595"/>
                  <a:gd name="connsiteY3" fmla="*/ 0 h 3869"/>
                  <a:gd name="connsiteX4" fmla="*/ 3595 w 3595"/>
                  <a:gd name="connsiteY4" fmla="*/ 961 h 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3869">
                    <a:moveTo>
                      <a:pt x="3595" y="961"/>
                    </a:moveTo>
                    <a:lnTo>
                      <a:pt x="2579" y="3870"/>
                    </a:lnTo>
                    <a:lnTo>
                      <a:pt x="0" y="2607"/>
                    </a:lnTo>
                    <a:lnTo>
                      <a:pt x="2415" y="0"/>
                    </a:lnTo>
                    <a:lnTo>
                      <a:pt x="3595" y="9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59" name="Freeform: Shape 4858">
                <a:extLst>
                  <a:ext uri="{FF2B5EF4-FFF2-40B4-BE49-F238E27FC236}">
                    <a16:creationId xmlns:a16="http://schemas.microsoft.com/office/drawing/2014/main" id="{0BF2B4E5-5D81-DC2E-28A3-EF496B581552}"/>
                  </a:ext>
                </a:extLst>
              </p:cNvPr>
              <p:cNvSpPr/>
              <p:nvPr/>
            </p:nvSpPr>
            <p:spPr>
              <a:xfrm>
                <a:off x="1818662" y="3851329"/>
                <a:ext cx="366" cy="406"/>
              </a:xfrm>
              <a:custGeom>
                <a:avLst/>
                <a:gdLst>
                  <a:gd name="connsiteX0" fmla="*/ 3512 w 3512"/>
                  <a:gd name="connsiteY0" fmla="*/ 1619 h 3896"/>
                  <a:gd name="connsiteX1" fmla="*/ 1619 w 3512"/>
                  <a:gd name="connsiteY1" fmla="*/ 3897 h 3896"/>
                  <a:gd name="connsiteX2" fmla="*/ 0 w 3512"/>
                  <a:gd name="connsiteY2" fmla="*/ 2964 h 3896"/>
                  <a:gd name="connsiteX3" fmla="*/ 1400 w 3512"/>
                  <a:gd name="connsiteY3" fmla="*/ 0 h 3896"/>
                  <a:gd name="connsiteX4" fmla="*/ 3512 w 3512"/>
                  <a:gd name="connsiteY4" fmla="*/ 1619 h 3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3896">
                    <a:moveTo>
                      <a:pt x="3512" y="1619"/>
                    </a:moveTo>
                    <a:lnTo>
                      <a:pt x="1619" y="3897"/>
                    </a:lnTo>
                    <a:lnTo>
                      <a:pt x="0" y="2964"/>
                    </a:lnTo>
                    <a:lnTo>
                      <a:pt x="1400" y="0"/>
                    </a:lnTo>
                    <a:lnTo>
                      <a:pt x="3512"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60" name="Freeform: Shape 4859">
                <a:extLst>
                  <a:ext uri="{FF2B5EF4-FFF2-40B4-BE49-F238E27FC236}">
                    <a16:creationId xmlns:a16="http://schemas.microsoft.com/office/drawing/2014/main" id="{EEF0EC90-C78C-6C99-8A7E-B81A2222D8AE}"/>
                  </a:ext>
                </a:extLst>
              </p:cNvPr>
              <p:cNvSpPr/>
              <p:nvPr/>
            </p:nvSpPr>
            <p:spPr>
              <a:xfrm>
                <a:off x="1822689" y="3859301"/>
                <a:ext cx="398" cy="372"/>
              </a:xfrm>
              <a:custGeom>
                <a:avLst/>
                <a:gdLst>
                  <a:gd name="connsiteX0" fmla="*/ 3815 w 3814"/>
                  <a:gd name="connsiteY0" fmla="*/ 2223 h 3567"/>
                  <a:gd name="connsiteX1" fmla="*/ 1784 w 3814"/>
                  <a:gd name="connsiteY1" fmla="*/ 3567 h 3567"/>
                  <a:gd name="connsiteX2" fmla="*/ 0 w 3814"/>
                  <a:gd name="connsiteY2" fmla="*/ 1674 h 3567"/>
                  <a:gd name="connsiteX3" fmla="*/ 2470 w 3814"/>
                  <a:gd name="connsiteY3" fmla="*/ 0 h 3567"/>
                  <a:gd name="connsiteX4" fmla="*/ 3815 w 3814"/>
                  <a:gd name="connsiteY4" fmla="*/ 2223 h 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3567">
                    <a:moveTo>
                      <a:pt x="3815" y="2223"/>
                    </a:moveTo>
                    <a:lnTo>
                      <a:pt x="1784" y="3567"/>
                    </a:lnTo>
                    <a:lnTo>
                      <a:pt x="0" y="1674"/>
                    </a:lnTo>
                    <a:lnTo>
                      <a:pt x="2470" y="0"/>
                    </a:lnTo>
                    <a:lnTo>
                      <a:pt x="3815"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61" name="Freeform: Shape 4860">
                <a:extLst>
                  <a:ext uri="{FF2B5EF4-FFF2-40B4-BE49-F238E27FC236}">
                    <a16:creationId xmlns:a16="http://schemas.microsoft.com/office/drawing/2014/main" id="{59BDA989-BE06-3165-826F-8FF011DEF3C5}"/>
                  </a:ext>
                </a:extLst>
              </p:cNvPr>
              <p:cNvSpPr/>
              <p:nvPr/>
            </p:nvSpPr>
            <p:spPr>
              <a:xfrm>
                <a:off x="1835152" y="3854884"/>
                <a:ext cx="389" cy="378"/>
              </a:xfrm>
              <a:custGeom>
                <a:avLst/>
                <a:gdLst>
                  <a:gd name="connsiteX0" fmla="*/ 3733 w 3732"/>
                  <a:gd name="connsiteY0" fmla="*/ 2113 h 3622"/>
                  <a:gd name="connsiteX1" fmla="*/ 1509 w 3732"/>
                  <a:gd name="connsiteY1" fmla="*/ 3623 h 3622"/>
                  <a:gd name="connsiteX2" fmla="*/ 0 w 3732"/>
                  <a:gd name="connsiteY2" fmla="*/ 1619 h 3622"/>
                  <a:gd name="connsiteX3" fmla="*/ 2470 w 3732"/>
                  <a:gd name="connsiteY3" fmla="*/ 0 h 3622"/>
                  <a:gd name="connsiteX4" fmla="*/ 3733 w 3732"/>
                  <a:gd name="connsiteY4" fmla="*/ 2113 h 3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3622">
                    <a:moveTo>
                      <a:pt x="3733" y="2113"/>
                    </a:moveTo>
                    <a:lnTo>
                      <a:pt x="1509" y="3623"/>
                    </a:lnTo>
                    <a:lnTo>
                      <a:pt x="0" y="1619"/>
                    </a:lnTo>
                    <a:lnTo>
                      <a:pt x="2470" y="0"/>
                    </a:lnTo>
                    <a:lnTo>
                      <a:pt x="3733"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62" name="Freeform: Shape 4861">
                <a:extLst>
                  <a:ext uri="{FF2B5EF4-FFF2-40B4-BE49-F238E27FC236}">
                    <a16:creationId xmlns:a16="http://schemas.microsoft.com/office/drawing/2014/main" id="{F4025DD6-A529-1CDE-D5C8-A498FCB4A60F}"/>
                  </a:ext>
                </a:extLst>
              </p:cNvPr>
              <p:cNvSpPr/>
              <p:nvPr/>
            </p:nvSpPr>
            <p:spPr>
              <a:xfrm>
                <a:off x="1819469" y="3860858"/>
                <a:ext cx="338" cy="429"/>
              </a:xfrm>
              <a:custGeom>
                <a:avLst/>
                <a:gdLst>
                  <a:gd name="connsiteX0" fmla="*/ 3239 w 3238"/>
                  <a:gd name="connsiteY0" fmla="*/ 1070 h 4116"/>
                  <a:gd name="connsiteX1" fmla="*/ 1894 w 3238"/>
                  <a:gd name="connsiteY1" fmla="*/ 4116 h 4116"/>
                  <a:gd name="connsiteX2" fmla="*/ 0 w 3238"/>
                  <a:gd name="connsiteY2" fmla="*/ 1949 h 4116"/>
                  <a:gd name="connsiteX3" fmla="*/ 1235 w 3238"/>
                  <a:gd name="connsiteY3" fmla="*/ 0 h 4116"/>
                  <a:gd name="connsiteX4" fmla="*/ 3239 w 3238"/>
                  <a:gd name="connsiteY4" fmla="*/ 1098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4116">
                    <a:moveTo>
                      <a:pt x="3239" y="1070"/>
                    </a:moveTo>
                    <a:lnTo>
                      <a:pt x="1894" y="4116"/>
                    </a:lnTo>
                    <a:lnTo>
                      <a:pt x="0" y="1949"/>
                    </a:lnTo>
                    <a:lnTo>
                      <a:pt x="1235" y="0"/>
                    </a:lnTo>
                    <a:lnTo>
                      <a:pt x="3239" y="10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63" name="Freeform: Shape 4862">
                <a:extLst>
                  <a:ext uri="{FF2B5EF4-FFF2-40B4-BE49-F238E27FC236}">
                    <a16:creationId xmlns:a16="http://schemas.microsoft.com/office/drawing/2014/main" id="{7B600707-0D95-1E18-2EFF-EB279B28897E}"/>
                  </a:ext>
                </a:extLst>
              </p:cNvPr>
              <p:cNvSpPr/>
              <p:nvPr/>
            </p:nvSpPr>
            <p:spPr>
              <a:xfrm>
                <a:off x="1813787" y="3858983"/>
                <a:ext cx="363" cy="401"/>
              </a:xfrm>
              <a:custGeom>
                <a:avLst/>
                <a:gdLst>
                  <a:gd name="connsiteX0" fmla="*/ 3485 w 3485"/>
                  <a:gd name="connsiteY0" fmla="*/ 2305 h 3841"/>
                  <a:gd name="connsiteX1" fmla="*/ 933 w 3485"/>
                  <a:gd name="connsiteY1" fmla="*/ 3842 h 3841"/>
                  <a:gd name="connsiteX2" fmla="*/ 0 w 3485"/>
                  <a:gd name="connsiteY2" fmla="*/ 1756 h 3841"/>
                  <a:gd name="connsiteX3" fmla="*/ 2168 w 3485"/>
                  <a:gd name="connsiteY3" fmla="*/ 0 h 3841"/>
                  <a:gd name="connsiteX4" fmla="*/ 3485 w 3485"/>
                  <a:gd name="connsiteY4" fmla="*/ 2305 h 3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3841">
                    <a:moveTo>
                      <a:pt x="3485" y="2305"/>
                    </a:moveTo>
                    <a:lnTo>
                      <a:pt x="933" y="3842"/>
                    </a:lnTo>
                    <a:lnTo>
                      <a:pt x="0" y="1756"/>
                    </a:lnTo>
                    <a:lnTo>
                      <a:pt x="2168" y="0"/>
                    </a:lnTo>
                    <a:lnTo>
                      <a:pt x="3485" y="23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64" name="Freeform: Shape 4863">
                <a:extLst>
                  <a:ext uri="{FF2B5EF4-FFF2-40B4-BE49-F238E27FC236}">
                    <a16:creationId xmlns:a16="http://schemas.microsoft.com/office/drawing/2014/main" id="{5CAACF5E-1A66-681D-57AD-C61E76BAF096}"/>
                  </a:ext>
                </a:extLst>
              </p:cNvPr>
              <p:cNvSpPr/>
              <p:nvPr/>
            </p:nvSpPr>
            <p:spPr>
              <a:xfrm>
                <a:off x="1831371" y="3852755"/>
                <a:ext cx="335" cy="418"/>
              </a:xfrm>
              <a:custGeom>
                <a:avLst/>
                <a:gdLst>
                  <a:gd name="connsiteX0" fmla="*/ 3211 w 3210"/>
                  <a:gd name="connsiteY0" fmla="*/ 1455 h 4006"/>
                  <a:gd name="connsiteX1" fmla="*/ 1564 w 3210"/>
                  <a:gd name="connsiteY1" fmla="*/ 4007 h 4006"/>
                  <a:gd name="connsiteX2" fmla="*/ 0 w 3210"/>
                  <a:gd name="connsiteY2" fmla="*/ 3101 h 4006"/>
                  <a:gd name="connsiteX3" fmla="*/ 906 w 3210"/>
                  <a:gd name="connsiteY3" fmla="*/ 0 h 4006"/>
                  <a:gd name="connsiteX4" fmla="*/ 3183 w 3210"/>
                  <a:gd name="connsiteY4" fmla="*/ 1482 h 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 h="4006">
                    <a:moveTo>
                      <a:pt x="3211" y="1455"/>
                    </a:moveTo>
                    <a:lnTo>
                      <a:pt x="1564" y="4007"/>
                    </a:lnTo>
                    <a:lnTo>
                      <a:pt x="0" y="3101"/>
                    </a:lnTo>
                    <a:lnTo>
                      <a:pt x="906" y="0"/>
                    </a:lnTo>
                    <a:lnTo>
                      <a:pt x="3183"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65" name="Freeform: Shape 4864">
                <a:extLst>
                  <a:ext uri="{FF2B5EF4-FFF2-40B4-BE49-F238E27FC236}">
                    <a16:creationId xmlns:a16="http://schemas.microsoft.com/office/drawing/2014/main" id="{1C680209-CDF2-C440-D66B-556D2CA5D387}"/>
                  </a:ext>
                </a:extLst>
              </p:cNvPr>
              <p:cNvSpPr/>
              <p:nvPr/>
            </p:nvSpPr>
            <p:spPr>
              <a:xfrm>
                <a:off x="1828007" y="3853336"/>
                <a:ext cx="455" cy="303"/>
              </a:xfrm>
              <a:custGeom>
                <a:avLst/>
                <a:gdLst>
                  <a:gd name="connsiteX0" fmla="*/ 4364 w 4363"/>
                  <a:gd name="connsiteY0" fmla="*/ 960 h 2908"/>
                  <a:gd name="connsiteX1" fmla="*/ 4062 w 4363"/>
                  <a:gd name="connsiteY1" fmla="*/ 2909 h 2908"/>
                  <a:gd name="connsiteX2" fmla="*/ 0 w 4363"/>
                  <a:gd name="connsiteY2" fmla="*/ 1701 h 2908"/>
                  <a:gd name="connsiteX3" fmla="*/ 2058 w 4363"/>
                  <a:gd name="connsiteY3" fmla="*/ 0 h 2908"/>
                  <a:gd name="connsiteX4" fmla="*/ 4336 w 4363"/>
                  <a:gd name="connsiteY4" fmla="*/ 933 h 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2908">
                    <a:moveTo>
                      <a:pt x="4364" y="960"/>
                    </a:moveTo>
                    <a:lnTo>
                      <a:pt x="4062" y="2909"/>
                    </a:lnTo>
                    <a:lnTo>
                      <a:pt x="0" y="1701"/>
                    </a:lnTo>
                    <a:lnTo>
                      <a:pt x="2058" y="0"/>
                    </a:lnTo>
                    <a:lnTo>
                      <a:pt x="4336" y="9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66" name="Freeform: Shape 4865">
                <a:extLst>
                  <a:ext uri="{FF2B5EF4-FFF2-40B4-BE49-F238E27FC236}">
                    <a16:creationId xmlns:a16="http://schemas.microsoft.com/office/drawing/2014/main" id="{DD1677CF-58CF-A7DC-8ABD-E75FD0466B92}"/>
                  </a:ext>
                </a:extLst>
              </p:cNvPr>
              <p:cNvSpPr/>
              <p:nvPr/>
            </p:nvSpPr>
            <p:spPr>
              <a:xfrm>
                <a:off x="1832619" y="3877230"/>
                <a:ext cx="363" cy="375"/>
              </a:xfrm>
              <a:custGeom>
                <a:avLst/>
                <a:gdLst>
                  <a:gd name="connsiteX0" fmla="*/ 3485 w 3484"/>
                  <a:gd name="connsiteY0" fmla="*/ 521 h 3594"/>
                  <a:gd name="connsiteX1" fmla="*/ 2607 w 3484"/>
                  <a:gd name="connsiteY1" fmla="*/ 3595 h 3594"/>
                  <a:gd name="connsiteX2" fmla="*/ 0 w 3484"/>
                  <a:gd name="connsiteY2" fmla="*/ 2195 h 3594"/>
                  <a:gd name="connsiteX3" fmla="*/ 1619 w 3484"/>
                  <a:gd name="connsiteY3" fmla="*/ 0 h 3594"/>
                  <a:gd name="connsiteX4" fmla="*/ 3485 w 3484"/>
                  <a:gd name="connsiteY4" fmla="*/ 521 h 3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4" h="3594">
                    <a:moveTo>
                      <a:pt x="3485" y="521"/>
                    </a:moveTo>
                    <a:lnTo>
                      <a:pt x="2607" y="3595"/>
                    </a:lnTo>
                    <a:lnTo>
                      <a:pt x="0" y="2195"/>
                    </a:lnTo>
                    <a:lnTo>
                      <a:pt x="1619" y="0"/>
                    </a:lnTo>
                    <a:lnTo>
                      <a:pt x="3485" y="5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67" name="Freeform: Shape 4866">
                <a:extLst>
                  <a:ext uri="{FF2B5EF4-FFF2-40B4-BE49-F238E27FC236}">
                    <a16:creationId xmlns:a16="http://schemas.microsoft.com/office/drawing/2014/main" id="{0DBBD7DD-F711-EE8A-5ABF-7953BA54B71F}"/>
                  </a:ext>
                </a:extLst>
              </p:cNvPr>
              <p:cNvSpPr/>
              <p:nvPr/>
            </p:nvSpPr>
            <p:spPr>
              <a:xfrm>
                <a:off x="1834596" y="3878819"/>
                <a:ext cx="352" cy="384"/>
              </a:xfrm>
              <a:custGeom>
                <a:avLst/>
                <a:gdLst>
                  <a:gd name="connsiteX0" fmla="*/ 3128 w 3375"/>
                  <a:gd name="connsiteY0" fmla="*/ 3293 h 3677"/>
                  <a:gd name="connsiteX1" fmla="*/ 2058 w 3375"/>
                  <a:gd name="connsiteY1" fmla="*/ 3678 h 3677"/>
                  <a:gd name="connsiteX2" fmla="*/ 0 w 3375"/>
                  <a:gd name="connsiteY2" fmla="*/ 274 h 3677"/>
                  <a:gd name="connsiteX3" fmla="*/ 3375 w 3375"/>
                  <a:gd name="connsiteY3" fmla="*/ 0 h 3677"/>
                  <a:gd name="connsiteX4" fmla="*/ 3128 w 3375"/>
                  <a:gd name="connsiteY4" fmla="*/ 3293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3677">
                    <a:moveTo>
                      <a:pt x="3128" y="3293"/>
                    </a:moveTo>
                    <a:lnTo>
                      <a:pt x="2058" y="3678"/>
                    </a:lnTo>
                    <a:lnTo>
                      <a:pt x="0" y="274"/>
                    </a:lnTo>
                    <a:lnTo>
                      <a:pt x="3375" y="0"/>
                    </a:lnTo>
                    <a:lnTo>
                      <a:pt x="3128" y="32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68" name="Freeform: Shape 4867">
                <a:extLst>
                  <a:ext uri="{FF2B5EF4-FFF2-40B4-BE49-F238E27FC236}">
                    <a16:creationId xmlns:a16="http://schemas.microsoft.com/office/drawing/2014/main" id="{94C731C1-2D5B-437B-4184-4DA94880A2DF}"/>
                  </a:ext>
                </a:extLst>
              </p:cNvPr>
              <p:cNvSpPr/>
              <p:nvPr/>
            </p:nvSpPr>
            <p:spPr>
              <a:xfrm>
                <a:off x="1831422" y="3852345"/>
                <a:ext cx="375" cy="355"/>
              </a:xfrm>
              <a:custGeom>
                <a:avLst/>
                <a:gdLst>
                  <a:gd name="connsiteX0" fmla="*/ 3595 w 3595"/>
                  <a:gd name="connsiteY0" fmla="*/ 1070 h 3402"/>
                  <a:gd name="connsiteX1" fmla="*/ 2717 w 3595"/>
                  <a:gd name="connsiteY1" fmla="*/ 3403 h 3402"/>
                  <a:gd name="connsiteX2" fmla="*/ 0 w 3595"/>
                  <a:gd name="connsiteY2" fmla="*/ 2854 h 3402"/>
                  <a:gd name="connsiteX3" fmla="*/ 1702 w 3595"/>
                  <a:gd name="connsiteY3" fmla="*/ 0 h 3402"/>
                  <a:gd name="connsiteX4" fmla="*/ 3595 w 3595"/>
                  <a:gd name="connsiteY4" fmla="*/ 1043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3402">
                    <a:moveTo>
                      <a:pt x="3595" y="1070"/>
                    </a:moveTo>
                    <a:lnTo>
                      <a:pt x="2717" y="3403"/>
                    </a:lnTo>
                    <a:lnTo>
                      <a:pt x="0" y="2854"/>
                    </a:lnTo>
                    <a:lnTo>
                      <a:pt x="1702" y="0"/>
                    </a:lnTo>
                    <a:lnTo>
                      <a:pt x="3595" y="10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69" name="Freeform: Shape 4868">
                <a:extLst>
                  <a:ext uri="{FF2B5EF4-FFF2-40B4-BE49-F238E27FC236}">
                    <a16:creationId xmlns:a16="http://schemas.microsoft.com/office/drawing/2014/main" id="{B4A4B038-6408-F941-E294-BE3DBACAD4EE}"/>
                  </a:ext>
                </a:extLst>
              </p:cNvPr>
              <p:cNvSpPr/>
              <p:nvPr/>
            </p:nvSpPr>
            <p:spPr>
              <a:xfrm>
                <a:off x="1810103" y="3856793"/>
                <a:ext cx="378" cy="329"/>
              </a:xfrm>
              <a:custGeom>
                <a:avLst/>
                <a:gdLst>
                  <a:gd name="connsiteX0" fmla="*/ 3623 w 3622"/>
                  <a:gd name="connsiteY0" fmla="*/ 2634 h 3156"/>
                  <a:gd name="connsiteX1" fmla="*/ 385 w 3622"/>
                  <a:gd name="connsiteY1" fmla="*/ 3156 h 3156"/>
                  <a:gd name="connsiteX2" fmla="*/ 0 w 3622"/>
                  <a:gd name="connsiteY2" fmla="*/ 1427 h 3156"/>
                  <a:gd name="connsiteX3" fmla="*/ 2552 w 3622"/>
                  <a:gd name="connsiteY3" fmla="*/ 0 h 3156"/>
                  <a:gd name="connsiteX4" fmla="*/ 3623 w 3622"/>
                  <a:gd name="connsiteY4" fmla="*/ 2634 h 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3156">
                    <a:moveTo>
                      <a:pt x="3623" y="2634"/>
                    </a:moveTo>
                    <a:lnTo>
                      <a:pt x="385" y="3156"/>
                    </a:lnTo>
                    <a:lnTo>
                      <a:pt x="0" y="1427"/>
                    </a:lnTo>
                    <a:lnTo>
                      <a:pt x="2552" y="0"/>
                    </a:lnTo>
                    <a:lnTo>
                      <a:pt x="3623"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70" name="Freeform: Shape 4869">
                <a:extLst>
                  <a:ext uri="{FF2B5EF4-FFF2-40B4-BE49-F238E27FC236}">
                    <a16:creationId xmlns:a16="http://schemas.microsoft.com/office/drawing/2014/main" id="{5D14A407-EE22-8E04-F113-A8F77C27560C}"/>
                  </a:ext>
                </a:extLst>
              </p:cNvPr>
              <p:cNvSpPr/>
              <p:nvPr/>
            </p:nvSpPr>
            <p:spPr>
              <a:xfrm>
                <a:off x="1817949" y="3860620"/>
                <a:ext cx="383" cy="318"/>
              </a:xfrm>
              <a:custGeom>
                <a:avLst/>
                <a:gdLst>
                  <a:gd name="connsiteX0" fmla="*/ 3677 w 3676"/>
                  <a:gd name="connsiteY0" fmla="*/ 1674 h 3046"/>
                  <a:gd name="connsiteX1" fmla="*/ 1372 w 3676"/>
                  <a:gd name="connsiteY1" fmla="*/ 3046 h 3046"/>
                  <a:gd name="connsiteX2" fmla="*/ 0 w 3676"/>
                  <a:gd name="connsiteY2" fmla="*/ 1729 h 3046"/>
                  <a:gd name="connsiteX3" fmla="*/ 1125 w 3676"/>
                  <a:gd name="connsiteY3" fmla="*/ 0 h 3046"/>
                  <a:gd name="connsiteX4" fmla="*/ 2908 w 3676"/>
                  <a:gd name="connsiteY4" fmla="*/ 0 h 3046"/>
                  <a:gd name="connsiteX5" fmla="*/ 3677 w 3676"/>
                  <a:gd name="connsiteY5" fmla="*/ 1674 h 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6" h="3046">
                    <a:moveTo>
                      <a:pt x="3677" y="1674"/>
                    </a:moveTo>
                    <a:lnTo>
                      <a:pt x="1372" y="3046"/>
                    </a:lnTo>
                    <a:lnTo>
                      <a:pt x="0" y="1729"/>
                    </a:lnTo>
                    <a:lnTo>
                      <a:pt x="1125" y="0"/>
                    </a:lnTo>
                    <a:lnTo>
                      <a:pt x="2908" y="0"/>
                    </a:lnTo>
                    <a:lnTo>
                      <a:pt x="3677" y="16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71" name="Freeform: Shape 4870">
                <a:extLst>
                  <a:ext uri="{FF2B5EF4-FFF2-40B4-BE49-F238E27FC236}">
                    <a16:creationId xmlns:a16="http://schemas.microsoft.com/office/drawing/2014/main" id="{13F8BB03-3770-559E-5B46-E0DC88334268}"/>
                  </a:ext>
                </a:extLst>
              </p:cNvPr>
              <p:cNvSpPr/>
              <p:nvPr/>
            </p:nvSpPr>
            <p:spPr>
              <a:xfrm>
                <a:off x="1823903" y="3858720"/>
                <a:ext cx="332" cy="346"/>
              </a:xfrm>
              <a:custGeom>
                <a:avLst/>
                <a:gdLst>
                  <a:gd name="connsiteX0" fmla="*/ 3184 w 3183"/>
                  <a:gd name="connsiteY0" fmla="*/ 0 h 3320"/>
                  <a:gd name="connsiteX1" fmla="*/ 2141 w 3183"/>
                  <a:gd name="connsiteY1" fmla="*/ 3320 h 3320"/>
                  <a:gd name="connsiteX2" fmla="*/ 0 w 3183"/>
                  <a:gd name="connsiteY2" fmla="*/ 2113 h 3320"/>
                  <a:gd name="connsiteX3" fmla="*/ 604 w 3183"/>
                  <a:gd name="connsiteY3" fmla="*/ 0 h 3320"/>
                  <a:gd name="connsiteX4" fmla="*/ 3184 w 3183"/>
                  <a:gd name="connsiteY4" fmla="*/ 0 h 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 h="3320">
                    <a:moveTo>
                      <a:pt x="3184" y="0"/>
                    </a:moveTo>
                    <a:lnTo>
                      <a:pt x="2141" y="3320"/>
                    </a:lnTo>
                    <a:lnTo>
                      <a:pt x="0" y="2113"/>
                    </a:lnTo>
                    <a:lnTo>
                      <a:pt x="604" y="0"/>
                    </a:lnTo>
                    <a:lnTo>
                      <a:pt x="318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72" name="Freeform: Shape 4871">
                <a:extLst>
                  <a:ext uri="{FF2B5EF4-FFF2-40B4-BE49-F238E27FC236}">
                    <a16:creationId xmlns:a16="http://schemas.microsoft.com/office/drawing/2014/main" id="{3DABBAF6-6358-F590-E686-8B343CB49F2E}"/>
                  </a:ext>
                </a:extLst>
              </p:cNvPr>
              <p:cNvSpPr/>
              <p:nvPr/>
            </p:nvSpPr>
            <p:spPr>
              <a:xfrm>
                <a:off x="1833497" y="3877259"/>
                <a:ext cx="195" cy="195"/>
              </a:xfrm>
              <a:custGeom>
                <a:avLst/>
                <a:gdLst>
                  <a:gd name="connsiteX0" fmla="*/ 1867 w 1866"/>
                  <a:gd name="connsiteY0" fmla="*/ 933 h 1865"/>
                  <a:gd name="connsiteX1" fmla="*/ 741 w 1866"/>
                  <a:gd name="connsiteY1" fmla="*/ 1866 h 1865"/>
                  <a:gd name="connsiteX2" fmla="*/ 0 w 1866"/>
                  <a:gd name="connsiteY2" fmla="*/ 796 h 1865"/>
                  <a:gd name="connsiteX3" fmla="*/ 933 w 1866"/>
                  <a:gd name="connsiteY3" fmla="*/ 0 h 1865"/>
                  <a:gd name="connsiteX4" fmla="*/ 1867 w 1866"/>
                  <a:gd name="connsiteY4" fmla="*/ 933 h 1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6" h="1865">
                    <a:moveTo>
                      <a:pt x="1867" y="933"/>
                    </a:moveTo>
                    <a:lnTo>
                      <a:pt x="741" y="1866"/>
                    </a:lnTo>
                    <a:lnTo>
                      <a:pt x="0" y="796"/>
                    </a:lnTo>
                    <a:lnTo>
                      <a:pt x="933" y="0"/>
                    </a:lnTo>
                    <a:lnTo>
                      <a:pt x="1867" y="9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73" name="Freeform: Shape 4872">
                <a:extLst>
                  <a:ext uri="{FF2B5EF4-FFF2-40B4-BE49-F238E27FC236}">
                    <a16:creationId xmlns:a16="http://schemas.microsoft.com/office/drawing/2014/main" id="{3F4C82D6-3BDE-A9AF-CF83-9BD1253619C4}"/>
                  </a:ext>
                </a:extLst>
              </p:cNvPr>
              <p:cNvSpPr/>
              <p:nvPr/>
            </p:nvSpPr>
            <p:spPr>
              <a:xfrm>
                <a:off x="1748692" y="3870117"/>
                <a:ext cx="7162" cy="3449"/>
              </a:xfrm>
              <a:custGeom>
                <a:avLst/>
                <a:gdLst>
                  <a:gd name="connsiteX0" fmla="*/ 68662 w 68662"/>
                  <a:gd name="connsiteY0" fmla="*/ 2278 h 33068"/>
                  <a:gd name="connsiteX1" fmla="*/ 60677 w 68662"/>
                  <a:gd name="connsiteY1" fmla="*/ 9935 h 33068"/>
                  <a:gd name="connsiteX2" fmla="*/ 49261 w 68662"/>
                  <a:gd name="connsiteY2" fmla="*/ 13584 h 33068"/>
                  <a:gd name="connsiteX3" fmla="*/ 44540 w 68662"/>
                  <a:gd name="connsiteY3" fmla="*/ 17893 h 33068"/>
                  <a:gd name="connsiteX4" fmla="*/ 29035 w 68662"/>
                  <a:gd name="connsiteY4" fmla="*/ 22833 h 33068"/>
                  <a:gd name="connsiteX5" fmla="*/ 13118 w 68662"/>
                  <a:gd name="connsiteY5" fmla="*/ 27882 h 33068"/>
                  <a:gd name="connsiteX6" fmla="*/ 3870 w 68662"/>
                  <a:gd name="connsiteY6" fmla="*/ 33069 h 33068"/>
                  <a:gd name="connsiteX7" fmla="*/ 1372 w 68662"/>
                  <a:gd name="connsiteY7" fmla="*/ 28129 h 33068"/>
                  <a:gd name="connsiteX8" fmla="*/ 1812 w 68662"/>
                  <a:gd name="connsiteY8" fmla="*/ 25412 h 33068"/>
                  <a:gd name="connsiteX9" fmla="*/ 6147 w 68662"/>
                  <a:gd name="connsiteY9" fmla="*/ 24754 h 33068"/>
                  <a:gd name="connsiteX10" fmla="*/ 6724 w 68662"/>
                  <a:gd name="connsiteY10" fmla="*/ 21268 h 33068"/>
                  <a:gd name="connsiteX11" fmla="*/ 4940 w 68662"/>
                  <a:gd name="connsiteY11" fmla="*/ 19457 h 33068"/>
                  <a:gd name="connsiteX12" fmla="*/ 686 w 68662"/>
                  <a:gd name="connsiteY12" fmla="*/ 21214 h 33068"/>
                  <a:gd name="connsiteX13" fmla="*/ 0 w 68662"/>
                  <a:gd name="connsiteY13" fmla="*/ 18524 h 33068"/>
                  <a:gd name="connsiteX14" fmla="*/ 6339 w 68662"/>
                  <a:gd name="connsiteY14" fmla="*/ 8837 h 33068"/>
                  <a:gd name="connsiteX15" fmla="*/ 8919 w 68662"/>
                  <a:gd name="connsiteY15" fmla="*/ 8260 h 33068"/>
                  <a:gd name="connsiteX16" fmla="*/ 26812 w 68662"/>
                  <a:gd name="connsiteY16" fmla="*/ 4281 h 33068"/>
                  <a:gd name="connsiteX17" fmla="*/ 29035 w 68662"/>
                  <a:gd name="connsiteY17" fmla="*/ 4666 h 33068"/>
                  <a:gd name="connsiteX18" fmla="*/ 33316 w 68662"/>
                  <a:gd name="connsiteY18" fmla="*/ 5434 h 33068"/>
                  <a:gd name="connsiteX19" fmla="*/ 34551 w 68662"/>
                  <a:gd name="connsiteY19" fmla="*/ 5050 h 33068"/>
                  <a:gd name="connsiteX20" fmla="*/ 42537 w 68662"/>
                  <a:gd name="connsiteY20" fmla="*/ 2635 h 33068"/>
                  <a:gd name="connsiteX21" fmla="*/ 44540 w 68662"/>
                  <a:gd name="connsiteY21" fmla="*/ 3101 h 33068"/>
                  <a:gd name="connsiteX22" fmla="*/ 48080 w 68662"/>
                  <a:gd name="connsiteY22" fmla="*/ 3870 h 33068"/>
                  <a:gd name="connsiteX23" fmla="*/ 59743 w 68662"/>
                  <a:gd name="connsiteY23" fmla="*/ 0 h 33068"/>
                  <a:gd name="connsiteX24" fmla="*/ 66303 w 68662"/>
                  <a:gd name="connsiteY24" fmla="*/ 384 h 33068"/>
                  <a:gd name="connsiteX25" fmla="*/ 68662 w 68662"/>
                  <a:gd name="connsiteY25" fmla="*/ 2251 h 33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662" h="33068">
                    <a:moveTo>
                      <a:pt x="68662" y="2278"/>
                    </a:moveTo>
                    <a:lnTo>
                      <a:pt x="60677" y="9935"/>
                    </a:lnTo>
                    <a:lnTo>
                      <a:pt x="49261" y="13584"/>
                    </a:lnTo>
                    <a:lnTo>
                      <a:pt x="44540" y="17893"/>
                    </a:lnTo>
                    <a:lnTo>
                      <a:pt x="29035" y="22833"/>
                    </a:lnTo>
                    <a:lnTo>
                      <a:pt x="13118" y="27882"/>
                    </a:lnTo>
                    <a:lnTo>
                      <a:pt x="3870" y="33069"/>
                    </a:lnTo>
                    <a:lnTo>
                      <a:pt x="1372" y="28129"/>
                    </a:lnTo>
                    <a:lnTo>
                      <a:pt x="1812" y="25412"/>
                    </a:lnTo>
                    <a:lnTo>
                      <a:pt x="6147" y="24754"/>
                    </a:lnTo>
                    <a:lnTo>
                      <a:pt x="6724" y="21268"/>
                    </a:lnTo>
                    <a:lnTo>
                      <a:pt x="4940" y="19457"/>
                    </a:lnTo>
                    <a:lnTo>
                      <a:pt x="686" y="21214"/>
                    </a:lnTo>
                    <a:lnTo>
                      <a:pt x="0" y="18524"/>
                    </a:lnTo>
                    <a:lnTo>
                      <a:pt x="6339" y="8837"/>
                    </a:lnTo>
                    <a:lnTo>
                      <a:pt x="8919" y="8260"/>
                    </a:lnTo>
                    <a:lnTo>
                      <a:pt x="26812" y="4281"/>
                    </a:lnTo>
                    <a:lnTo>
                      <a:pt x="29035" y="4666"/>
                    </a:lnTo>
                    <a:lnTo>
                      <a:pt x="33316" y="5434"/>
                    </a:lnTo>
                    <a:lnTo>
                      <a:pt x="34551" y="5050"/>
                    </a:lnTo>
                    <a:lnTo>
                      <a:pt x="42537" y="2635"/>
                    </a:lnTo>
                    <a:lnTo>
                      <a:pt x="44540" y="3101"/>
                    </a:lnTo>
                    <a:lnTo>
                      <a:pt x="48080" y="3870"/>
                    </a:lnTo>
                    <a:lnTo>
                      <a:pt x="59743" y="0"/>
                    </a:lnTo>
                    <a:lnTo>
                      <a:pt x="66303" y="384"/>
                    </a:lnTo>
                    <a:lnTo>
                      <a:pt x="68662" y="22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74" name="Freeform: Shape 4873">
                <a:extLst>
                  <a:ext uri="{FF2B5EF4-FFF2-40B4-BE49-F238E27FC236}">
                    <a16:creationId xmlns:a16="http://schemas.microsoft.com/office/drawing/2014/main" id="{FCA3D35F-5FFF-983D-43D8-9E35844FCAF3}"/>
                  </a:ext>
                </a:extLst>
              </p:cNvPr>
              <p:cNvSpPr/>
              <p:nvPr/>
            </p:nvSpPr>
            <p:spPr>
              <a:xfrm>
                <a:off x="1745913" y="3872722"/>
                <a:ext cx="1328" cy="973"/>
              </a:xfrm>
              <a:custGeom>
                <a:avLst/>
                <a:gdLst>
                  <a:gd name="connsiteX0" fmla="*/ 12103 w 12733"/>
                  <a:gd name="connsiteY0" fmla="*/ 3156 h 9330"/>
                  <a:gd name="connsiteX1" fmla="*/ 7959 w 12733"/>
                  <a:gd name="connsiteY1" fmla="*/ 9330 h 9330"/>
                  <a:gd name="connsiteX2" fmla="*/ 5351 w 12733"/>
                  <a:gd name="connsiteY2" fmla="*/ 6394 h 9330"/>
                  <a:gd name="connsiteX3" fmla="*/ 2360 w 12733"/>
                  <a:gd name="connsiteY3" fmla="*/ 6861 h 9330"/>
                  <a:gd name="connsiteX4" fmla="*/ 0 w 12733"/>
                  <a:gd name="connsiteY4" fmla="*/ 5022 h 9330"/>
                  <a:gd name="connsiteX5" fmla="*/ 12734 w 12733"/>
                  <a:gd name="connsiteY5" fmla="*/ 0 h 9330"/>
                  <a:gd name="connsiteX6" fmla="*/ 12103 w 12733"/>
                  <a:gd name="connsiteY6" fmla="*/ 3156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33" h="9330">
                    <a:moveTo>
                      <a:pt x="12103" y="3156"/>
                    </a:moveTo>
                    <a:lnTo>
                      <a:pt x="7959" y="9330"/>
                    </a:lnTo>
                    <a:lnTo>
                      <a:pt x="5351" y="6394"/>
                    </a:lnTo>
                    <a:lnTo>
                      <a:pt x="2360" y="6861"/>
                    </a:lnTo>
                    <a:lnTo>
                      <a:pt x="0" y="5022"/>
                    </a:lnTo>
                    <a:lnTo>
                      <a:pt x="12734" y="0"/>
                    </a:lnTo>
                    <a:lnTo>
                      <a:pt x="12103"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75" name="Freeform: Shape 4874">
                <a:extLst>
                  <a:ext uri="{FF2B5EF4-FFF2-40B4-BE49-F238E27FC236}">
                    <a16:creationId xmlns:a16="http://schemas.microsoft.com/office/drawing/2014/main" id="{B7A1DA5B-5414-F2D8-2272-9C7C213A75C7}"/>
                  </a:ext>
                </a:extLst>
              </p:cNvPr>
              <p:cNvSpPr/>
              <p:nvPr/>
            </p:nvSpPr>
            <p:spPr>
              <a:xfrm>
                <a:off x="1750375" y="3869473"/>
                <a:ext cx="452" cy="567"/>
              </a:xfrm>
              <a:custGeom>
                <a:avLst/>
                <a:gdLst>
                  <a:gd name="connsiteX0" fmla="*/ 4336 w 4336"/>
                  <a:gd name="connsiteY0" fmla="*/ 933 h 5433"/>
                  <a:gd name="connsiteX1" fmla="*/ 2497 w 4336"/>
                  <a:gd name="connsiteY1" fmla="*/ 5434 h 5433"/>
                  <a:gd name="connsiteX2" fmla="*/ 0 w 4336"/>
                  <a:gd name="connsiteY2" fmla="*/ 4116 h 5433"/>
                  <a:gd name="connsiteX3" fmla="*/ 3623 w 4336"/>
                  <a:gd name="connsiteY3" fmla="*/ 0 h 5433"/>
                  <a:gd name="connsiteX4" fmla="*/ 4336 w 4336"/>
                  <a:gd name="connsiteY4" fmla="*/ 906 h 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5433">
                    <a:moveTo>
                      <a:pt x="4336" y="933"/>
                    </a:moveTo>
                    <a:lnTo>
                      <a:pt x="2497" y="5434"/>
                    </a:lnTo>
                    <a:lnTo>
                      <a:pt x="0" y="4116"/>
                    </a:lnTo>
                    <a:lnTo>
                      <a:pt x="3623" y="0"/>
                    </a:lnTo>
                    <a:lnTo>
                      <a:pt x="4336" y="9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76" name="Freeform: Shape 4875">
                <a:extLst>
                  <a:ext uri="{FF2B5EF4-FFF2-40B4-BE49-F238E27FC236}">
                    <a16:creationId xmlns:a16="http://schemas.microsoft.com/office/drawing/2014/main" id="{BD307376-6186-A01A-D07C-7293FC562026}"/>
                  </a:ext>
                </a:extLst>
              </p:cNvPr>
              <p:cNvSpPr/>
              <p:nvPr/>
            </p:nvSpPr>
            <p:spPr>
              <a:xfrm>
                <a:off x="1850952" y="3867392"/>
                <a:ext cx="4889" cy="3398"/>
              </a:xfrm>
              <a:custGeom>
                <a:avLst/>
                <a:gdLst>
                  <a:gd name="connsiteX0" fmla="*/ 45089 w 46872"/>
                  <a:gd name="connsiteY0" fmla="*/ 25604 h 32574"/>
                  <a:gd name="connsiteX1" fmla="*/ 46873 w 46872"/>
                  <a:gd name="connsiteY1" fmla="*/ 31696 h 32574"/>
                  <a:gd name="connsiteX2" fmla="*/ 46022 w 46872"/>
                  <a:gd name="connsiteY2" fmla="*/ 32575 h 32574"/>
                  <a:gd name="connsiteX3" fmla="*/ 40506 w 46872"/>
                  <a:gd name="connsiteY3" fmla="*/ 28266 h 32574"/>
                  <a:gd name="connsiteX4" fmla="*/ 39847 w 46872"/>
                  <a:gd name="connsiteY4" fmla="*/ 29089 h 32574"/>
                  <a:gd name="connsiteX5" fmla="*/ 41329 w 46872"/>
                  <a:gd name="connsiteY5" fmla="*/ 31504 h 32574"/>
                  <a:gd name="connsiteX6" fmla="*/ 40478 w 46872"/>
                  <a:gd name="connsiteY6" fmla="*/ 32355 h 32574"/>
                  <a:gd name="connsiteX7" fmla="*/ 36856 w 46872"/>
                  <a:gd name="connsiteY7" fmla="*/ 30434 h 32574"/>
                  <a:gd name="connsiteX8" fmla="*/ 36747 w 46872"/>
                  <a:gd name="connsiteY8" fmla="*/ 27168 h 32574"/>
                  <a:gd name="connsiteX9" fmla="*/ 35237 w 46872"/>
                  <a:gd name="connsiteY9" fmla="*/ 25851 h 32574"/>
                  <a:gd name="connsiteX10" fmla="*/ 21378 w 46872"/>
                  <a:gd name="connsiteY10" fmla="*/ 18195 h 32574"/>
                  <a:gd name="connsiteX11" fmla="*/ 11718 w 46872"/>
                  <a:gd name="connsiteY11" fmla="*/ 10154 h 32574"/>
                  <a:gd name="connsiteX12" fmla="*/ 1729 w 46872"/>
                  <a:gd name="connsiteY12" fmla="*/ 4610 h 32574"/>
                  <a:gd name="connsiteX13" fmla="*/ 0 w 46872"/>
                  <a:gd name="connsiteY13" fmla="*/ 549 h 32574"/>
                  <a:gd name="connsiteX14" fmla="*/ 714 w 46872"/>
                  <a:gd name="connsiteY14" fmla="*/ 0 h 32574"/>
                  <a:gd name="connsiteX15" fmla="*/ 6833 w 46872"/>
                  <a:gd name="connsiteY15" fmla="*/ 2881 h 32574"/>
                  <a:gd name="connsiteX16" fmla="*/ 13749 w 46872"/>
                  <a:gd name="connsiteY16" fmla="*/ 3842 h 32574"/>
                  <a:gd name="connsiteX17" fmla="*/ 23958 w 46872"/>
                  <a:gd name="connsiteY17" fmla="*/ 13255 h 32574"/>
                  <a:gd name="connsiteX18" fmla="*/ 35210 w 46872"/>
                  <a:gd name="connsiteY18" fmla="*/ 18057 h 32574"/>
                  <a:gd name="connsiteX19" fmla="*/ 45089 w 46872"/>
                  <a:gd name="connsiteY19" fmla="*/ 25577 h 32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872" h="32574">
                    <a:moveTo>
                      <a:pt x="45089" y="25604"/>
                    </a:moveTo>
                    <a:lnTo>
                      <a:pt x="46873" y="31696"/>
                    </a:lnTo>
                    <a:lnTo>
                      <a:pt x="46022" y="32575"/>
                    </a:lnTo>
                    <a:lnTo>
                      <a:pt x="40506" y="28266"/>
                    </a:lnTo>
                    <a:lnTo>
                      <a:pt x="39847" y="29089"/>
                    </a:lnTo>
                    <a:lnTo>
                      <a:pt x="41329" y="31504"/>
                    </a:lnTo>
                    <a:lnTo>
                      <a:pt x="40478" y="32355"/>
                    </a:lnTo>
                    <a:lnTo>
                      <a:pt x="36856" y="30434"/>
                    </a:lnTo>
                    <a:lnTo>
                      <a:pt x="36747" y="27168"/>
                    </a:lnTo>
                    <a:lnTo>
                      <a:pt x="35237" y="25851"/>
                    </a:lnTo>
                    <a:lnTo>
                      <a:pt x="21378" y="18195"/>
                    </a:lnTo>
                    <a:lnTo>
                      <a:pt x="11718" y="10154"/>
                    </a:lnTo>
                    <a:lnTo>
                      <a:pt x="1729" y="4610"/>
                    </a:lnTo>
                    <a:lnTo>
                      <a:pt x="0" y="549"/>
                    </a:lnTo>
                    <a:lnTo>
                      <a:pt x="714" y="0"/>
                    </a:lnTo>
                    <a:lnTo>
                      <a:pt x="6833" y="2881"/>
                    </a:lnTo>
                    <a:lnTo>
                      <a:pt x="13749" y="3842"/>
                    </a:lnTo>
                    <a:lnTo>
                      <a:pt x="23958" y="13255"/>
                    </a:lnTo>
                    <a:lnTo>
                      <a:pt x="35210" y="18057"/>
                    </a:lnTo>
                    <a:lnTo>
                      <a:pt x="45089" y="255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77" name="Freeform: Shape 4876">
                <a:extLst>
                  <a:ext uri="{FF2B5EF4-FFF2-40B4-BE49-F238E27FC236}">
                    <a16:creationId xmlns:a16="http://schemas.microsoft.com/office/drawing/2014/main" id="{896737FC-64BC-8249-4509-07CC0AEFBCC4}"/>
                  </a:ext>
                </a:extLst>
              </p:cNvPr>
              <p:cNvSpPr/>
              <p:nvPr/>
            </p:nvSpPr>
            <p:spPr>
              <a:xfrm>
                <a:off x="1858025" y="3870146"/>
                <a:ext cx="2983" cy="4147"/>
              </a:xfrm>
              <a:custGeom>
                <a:avLst/>
                <a:gdLst>
                  <a:gd name="connsiteX0" fmla="*/ 17262 w 28596"/>
                  <a:gd name="connsiteY0" fmla="*/ 20088 h 39764"/>
                  <a:gd name="connsiteX1" fmla="*/ 19073 w 28596"/>
                  <a:gd name="connsiteY1" fmla="*/ 24342 h 39764"/>
                  <a:gd name="connsiteX2" fmla="*/ 19951 w 28596"/>
                  <a:gd name="connsiteY2" fmla="*/ 24342 h 39764"/>
                  <a:gd name="connsiteX3" fmla="*/ 19210 w 28596"/>
                  <a:gd name="connsiteY3" fmla="*/ 28376 h 39764"/>
                  <a:gd name="connsiteX4" fmla="*/ 27470 w 28596"/>
                  <a:gd name="connsiteY4" fmla="*/ 34990 h 39764"/>
                  <a:gd name="connsiteX5" fmla="*/ 28596 w 28596"/>
                  <a:gd name="connsiteY5" fmla="*/ 39765 h 39764"/>
                  <a:gd name="connsiteX6" fmla="*/ 24726 w 28596"/>
                  <a:gd name="connsiteY6" fmla="*/ 38832 h 39764"/>
                  <a:gd name="connsiteX7" fmla="*/ 7904 w 28596"/>
                  <a:gd name="connsiteY7" fmla="*/ 23820 h 39764"/>
                  <a:gd name="connsiteX8" fmla="*/ 2470 w 28596"/>
                  <a:gd name="connsiteY8" fmla="*/ 11663 h 39764"/>
                  <a:gd name="connsiteX9" fmla="*/ 2415 w 28596"/>
                  <a:gd name="connsiteY9" fmla="*/ 4062 h 39764"/>
                  <a:gd name="connsiteX10" fmla="*/ 0 w 28596"/>
                  <a:gd name="connsiteY10" fmla="*/ 0 h 39764"/>
                  <a:gd name="connsiteX11" fmla="*/ 4912 w 28596"/>
                  <a:gd name="connsiteY11" fmla="*/ 82 h 39764"/>
                  <a:gd name="connsiteX12" fmla="*/ 11527 w 28596"/>
                  <a:gd name="connsiteY12" fmla="*/ 8782 h 39764"/>
                  <a:gd name="connsiteX13" fmla="*/ 10786 w 28596"/>
                  <a:gd name="connsiteY13" fmla="*/ 13913 h 39764"/>
                  <a:gd name="connsiteX14" fmla="*/ 17289 w 28596"/>
                  <a:gd name="connsiteY14" fmla="*/ 20116 h 39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96" h="39764">
                    <a:moveTo>
                      <a:pt x="17262" y="20088"/>
                    </a:moveTo>
                    <a:lnTo>
                      <a:pt x="19073" y="24342"/>
                    </a:lnTo>
                    <a:lnTo>
                      <a:pt x="19951" y="24342"/>
                    </a:lnTo>
                    <a:lnTo>
                      <a:pt x="19210" y="28376"/>
                    </a:lnTo>
                    <a:lnTo>
                      <a:pt x="27470" y="34990"/>
                    </a:lnTo>
                    <a:lnTo>
                      <a:pt x="28596" y="39765"/>
                    </a:lnTo>
                    <a:lnTo>
                      <a:pt x="24726" y="38832"/>
                    </a:lnTo>
                    <a:lnTo>
                      <a:pt x="7904" y="23820"/>
                    </a:lnTo>
                    <a:lnTo>
                      <a:pt x="2470" y="11663"/>
                    </a:lnTo>
                    <a:lnTo>
                      <a:pt x="2415" y="4062"/>
                    </a:lnTo>
                    <a:lnTo>
                      <a:pt x="0" y="0"/>
                    </a:lnTo>
                    <a:lnTo>
                      <a:pt x="4912" y="82"/>
                    </a:lnTo>
                    <a:lnTo>
                      <a:pt x="11527" y="8782"/>
                    </a:lnTo>
                    <a:lnTo>
                      <a:pt x="10786" y="13913"/>
                    </a:lnTo>
                    <a:lnTo>
                      <a:pt x="17289" y="201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78" name="Freeform: Shape 4877">
                <a:extLst>
                  <a:ext uri="{FF2B5EF4-FFF2-40B4-BE49-F238E27FC236}">
                    <a16:creationId xmlns:a16="http://schemas.microsoft.com/office/drawing/2014/main" id="{08C40594-EA34-518C-1BFE-9A43C6790193}"/>
                  </a:ext>
                </a:extLst>
              </p:cNvPr>
              <p:cNvSpPr/>
              <p:nvPr/>
            </p:nvSpPr>
            <p:spPr>
              <a:xfrm>
                <a:off x="1846879" y="3868632"/>
                <a:ext cx="3861" cy="3011"/>
              </a:xfrm>
              <a:custGeom>
                <a:avLst/>
                <a:gdLst>
                  <a:gd name="connsiteX0" fmla="*/ 5818 w 37020"/>
                  <a:gd name="connsiteY0" fmla="*/ 1207 h 28870"/>
                  <a:gd name="connsiteX1" fmla="*/ 7492 w 37020"/>
                  <a:gd name="connsiteY1" fmla="*/ 10044 h 28870"/>
                  <a:gd name="connsiteX2" fmla="*/ 13475 w 37020"/>
                  <a:gd name="connsiteY2" fmla="*/ 4171 h 28870"/>
                  <a:gd name="connsiteX3" fmla="*/ 17591 w 37020"/>
                  <a:gd name="connsiteY3" fmla="*/ 4171 h 28870"/>
                  <a:gd name="connsiteX4" fmla="*/ 19650 w 37020"/>
                  <a:gd name="connsiteY4" fmla="*/ 6312 h 28870"/>
                  <a:gd name="connsiteX5" fmla="*/ 20143 w 37020"/>
                  <a:gd name="connsiteY5" fmla="*/ 10401 h 28870"/>
                  <a:gd name="connsiteX6" fmla="*/ 23766 w 37020"/>
                  <a:gd name="connsiteY6" fmla="*/ 11498 h 28870"/>
                  <a:gd name="connsiteX7" fmla="*/ 31066 w 37020"/>
                  <a:gd name="connsiteY7" fmla="*/ 19320 h 28870"/>
                  <a:gd name="connsiteX8" fmla="*/ 33782 w 37020"/>
                  <a:gd name="connsiteY8" fmla="*/ 20225 h 28870"/>
                  <a:gd name="connsiteX9" fmla="*/ 35182 w 37020"/>
                  <a:gd name="connsiteY9" fmla="*/ 21817 h 28870"/>
                  <a:gd name="connsiteX10" fmla="*/ 35182 w 37020"/>
                  <a:gd name="connsiteY10" fmla="*/ 26318 h 28870"/>
                  <a:gd name="connsiteX11" fmla="*/ 37021 w 37020"/>
                  <a:gd name="connsiteY11" fmla="*/ 27443 h 28870"/>
                  <a:gd name="connsiteX12" fmla="*/ 35182 w 37020"/>
                  <a:gd name="connsiteY12" fmla="*/ 28870 h 28870"/>
                  <a:gd name="connsiteX13" fmla="*/ 33645 w 37020"/>
                  <a:gd name="connsiteY13" fmla="*/ 26757 h 28870"/>
                  <a:gd name="connsiteX14" fmla="*/ 27416 w 37020"/>
                  <a:gd name="connsiteY14" fmla="*/ 25522 h 28870"/>
                  <a:gd name="connsiteX15" fmla="*/ 22805 w 37020"/>
                  <a:gd name="connsiteY15" fmla="*/ 19320 h 28870"/>
                  <a:gd name="connsiteX16" fmla="*/ 20939 w 37020"/>
                  <a:gd name="connsiteY16" fmla="*/ 19320 h 28870"/>
                  <a:gd name="connsiteX17" fmla="*/ 16576 w 37020"/>
                  <a:gd name="connsiteY17" fmla="*/ 12239 h 28870"/>
                  <a:gd name="connsiteX18" fmla="*/ 9331 w 37020"/>
                  <a:gd name="connsiteY18" fmla="*/ 14161 h 28870"/>
                  <a:gd name="connsiteX19" fmla="*/ 5077 w 37020"/>
                  <a:gd name="connsiteY19" fmla="*/ 13090 h 28870"/>
                  <a:gd name="connsiteX20" fmla="*/ 2662 w 37020"/>
                  <a:gd name="connsiteY20" fmla="*/ 10703 h 28870"/>
                  <a:gd name="connsiteX21" fmla="*/ 3430 w 37020"/>
                  <a:gd name="connsiteY21" fmla="*/ 8343 h 28870"/>
                  <a:gd name="connsiteX22" fmla="*/ 0 w 37020"/>
                  <a:gd name="connsiteY22" fmla="*/ 5104 h 28870"/>
                  <a:gd name="connsiteX23" fmla="*/ 714 w 37020"/>
                  <a:gd name="connsiteY23" fmla="*/ 1345 h 28870"/>
                  <a:gd name="connsiteX24" fmla="*/ 3320 w 37020"/>
                  <a:gd name="connsiteY24" fmla="*/ 0 h 28870"/>
                  <a:gd name="connsiteX25" fmla="*/ 5846 w 37020"/>
                  <a:gd name="connsiteY25" fmla="*/ 1235 h 2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7020" h="28870">
                    <a:moveTo>
                      <a:pt x="5818" y="1207"/>
                    </a:moveTo>
                    <a:lnTo>
                      <a:pt x="7492" y="10044"/>
                    </a:lnTo>
                    <a:lnTo>
                      <a:pt x="13475" y="4171"/>
                    </a:lnTo>
                    <a:lnTo>
                      <a:pt x="17591" y="4171"/>
                    </a:lnTo>
                    <a:cubicBezTo>
                      <a:pt x="17591" y="4171"/>
                      <a:pt x="19650" y="6312"/>
                      <a:pt x="19650" y="6312"/>
                    </a:cubicBezTo>
                    <a:lnTo>
                      <a:pt x="20143" y="10401"/>
                    </a:lnTo>
                    <a:lnTo>
                      <a:pt x="23766" y="11498"/>
                    </a:lnTo>
                    <a:lnTo>
                      <a:pt x="31066" y="19320"/>
                    </a:lnTo>
                    <a:lnTo>
                      <a:pt x="33782" y="20225"/>
                    </a:lnTo>
                    <a:lnTo>
                      <a:pt x="35182" y="21817"/>
                    </a:lnTo>
                    <a:lnTo>
                      <a:pt x="35182" y="26318"/>
                    </a:lnTo>
                    <a:lnTo>
                      <a:pt x="37021" y="27443"/>
                    </a:lnTo>
                    <a:lnTo>
                      <a:pt x="35182" y="28870"/>
                    </a:lnTo>
                    <a:lnTo>
                      <a:pt x="33645" y="26757"/>
                    </a:lnTo>
                    <a:lnTo>
                      <a:pt x="27416" y="25522"/>
                    </a:lnTo>
                    <a:lnTo>
                      <a:pt x="22805" y="19320"/>
                    </a:lnTo>
                    <a:lnTo>
                      <a:pt x="20939" y="19320"/>
                    </a:lnTo>
                    <a:lnTo>
                      <a:pt x="16576" y="12239"/>
                    </a:lnTo>
                    <a:lnTo>
                      <a:pt x="9331" y="14161"/>
                    </a:lnTo>
                    <a:lnTo>
                      <a:pt x="5077" y="13090"/>
                    </a:lnTo>
                    <a:lnTo>
                      <a:pt x="2662" y="10703"/>
                    </a:lnTo>
                    <a:lnTo>
                      <a:pt x="3430" y="8343"/>
                    </a:lnTo>
                    <a:lnTo>
                      <a:pt x="0" y="5104"/>
                    </a:lnTo>
                    <a:lnTo>
                      <a:pt x="714" y="1345"/>
                    </a:lnTo>
                    <a:lnTo>
                      <a:pt x="3320" y="0"/>
                    </a:lnTo>
                    <a:lnTo>
                      <a:pt x="5846"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79" name="Freeform: Shape 4878">
                <a:extLst>
                  <a:ext uri="{FF2B5EF4-FFF2-40B4-BE49-F238E27FC236}">
                    <a16:creationId xmlns:a16="http://schemas.microsoft.com/office/drawing/2014/main" id="{4C94B1A9-4225-2C9E-E862-A294C522380B}"/>
                  </a:ext>
                </a:extLst>
              </p:cNvPr>
              <p:cNvSpPr/>
              <p:nvPr/>
            </p:nvSpPr>
            <p:spPr>
              <a:xfrm>
                <a:off x="1845184" y="3864782"/>
                <a:ext cx="4165" cy="2728"/>
              </a:xfrm>
              <a:custGeom>
                <a:avLst/>
                <a:gdLst>
                  <a:gd name="connsiteX0" fmla="*/ 19704 w 39929"/>
                  <a:gd name="connsiteY0" fmla="*/ 9989 h 26152"/>
                  <a:gd name="connsiteX1" fmla="*/ 22942 w 39929"/>
                  <a:gd name="connsiteY1" fmla="*/ 16411 h 26152"/>
                  <a:gd name="connsiteX2" fmla="*/ 23381 w 39929"/>
                  <a:gd name="connsiteY2" fmla="*/ 16411 h 26152"/>
                  <a:gd name="connsiteX3" fmla="*/ 39930 w 39929"/>
                  <a:gd name="connsiteY3" fmla="*/ 24726 h 26152"/>
                  <a:gd name="connsiteX4" fmla="*/ 38365 w 39929"/>
                  <a:gd name="connsiteY4" fmla="*/ 26153 h 26152"/>
                  <a:gd name="connsiteX5" fmla="*/ 21735 w 39929"/>
                  <a:gd name="connsiteY5" fmla="*/ 22338 h 26152"/>
                  <a:gd name="connsiteX6" fmla="*/ 13584 w 39929"/>
                  <a:gd name="connsiteY6" fmla="*/ 16411 h 26152"/>
                  <a:gd name="connsiteX7" fmla="*/ 12871 w 39929"/>
                  <a:gd name="connsiteY7" fmla="*/ 15341 h 26152"/>
                  <a:gd name="connsiteX8" fmla="*/ 988 w 39929"/>
                  <a:gd name="connsiteY8" fmla="*/ 4336 h 26152"/>
                  <a:gd name="connsiteX9" fmla="*/ 0 w 39929"/>
                  <a:gd name="connsiteY9" fmla="*/ 1345 h 26152"/>
                  <a:gd name="connsiteX10" fmla="*/ 3046 w 39929"/>
                  <a:gd name="connsiteY10" fmla="*/ 0 h 26152"/>
                  <a:gd name="connsiteX11" fmla="*/ 19704 w 39929"/>
                  <a:gd name="connsiteY11" fmla="*/ 9989 h 2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929" h="26152">
                    <a:moveTo>
                      <a:pt x="19704" y="9989"/>
                    </a:moveTo>
                    <a:lnTo>
                      <a:pt x="22942" y="16411"/>
                    </a:lnTo>
                    <a:lnTo>
                      <a:pt x="23381" y="16411"/>
                    </a:lnTo>
                    <a:lnTo>
                      <a:pt x="39930" y="24726"/>
                    </a:lnTo>
                    <a:lnTo>
                      <a:pt x="38365" y="26153"/>
                    </a:lnTo>
                    <a:lnTo>
                      <a:pt x="21735" y="22338"/>
                    </a:lnTo>
                    <a:lnTo>
                      <a:pt x="13584" y="16411"/>
                    </a:lnTo>
                    <a:lnTo>
                      <a:pt x="12871" y="15341"/>
                    </a:lnTo>
                    <a:lnTo>
                      <a:pt x="988" y="4336"/>
                    </a:lnTo>
                    <a:lnTo>
                      <a:pt x="0" y="1345"/>
                    </a:lnTo>
                    <a:lnTo>
                      <a:pt x="3046" y="0"/>
                    </a:lnTo>
                    <a:lnTo>
                      <a:pt x="19704" y="99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80" name="Freeform: Shape 4879">
                <a:extLst>
                  <a:ext uri="{FF2B5EF4-FFF2-40B4-BE49-F238E27FC236}">
                    <a16:creationId xmlns:a16="http://schemas.microsoft.com/office/drawing/2014/main" id="{DBDB16E2-4EF7-CF2A-B845-DF7B9CB0736D}"/>
                  </a:ext>
                </a:extLst>
              </p:cNvPr>
              <p:cNvSpPr/>
              <p:nvPr/>
            </p:nvSpPr>
            <p:spPr>
              <a:xfrm>
                <a:off x="1854982" y="3873003"/>
                <a:ext cx="3833" cy="2084"/>
              </a:xfrm>
              <a:custGeom>
                <a:avLst/>
                <a:gdLst>
                  <a:gd name="connsiteX0" fmla="*/ 36746 w 36745"/>
                  <a:gd name="connsiteY0" fmla="*/ 17097 h 19978"/>
                  <a:gd name="connsiteX1" fmla="*/ 30160 w 36745"/>
                  <a:gd name="connsiteY1" fmla="*/ 19979 h 19978"/>
                  <a:gd name="connsiteX2" fmla="*/ 20692 w 36745"/>
                  <a:gd name="connsiteY2" fmla="*/ 16521 h 19978"/>
                  <a:gd name="connsiteX3" fmla="*/ 5982 w 36745"/>
                  <a:gd name="connsiteY3" fmla="*/ 15368 h 19978"/>
                  <a:gd name="connsiteX4" fmla="*/ 521 w 36745"/>
                  <a:gd name="connsiteY4" fmla="*/ 8041 h 19978"/>
                  <a:gd name="connsiteX5" fmla="*/ 0 w 36745"/>
                  <a:gd name="connsiteY5" fmla="*/ 1784 h 19978"/>
                  <a:gd name="connsiteX6" fmla="*/ 2854 w 36745"/>
                  <a:gd name="connsiteY6" fmla="*/ 0 h 19978"/>
                  <a:gd name="connsiteX7" fmla="*/ 9221 w 36745"/>
                  <a:gd name="connsiteY7" fmla="*/ 4363 h 19978"/>
                  <a:gd name="connsiteX8" fmla="*/ 22586 w 36745"/>
                  <a:gd name="connsiteY8" fmla="*/ 4775 h 19978"/>
                  <a:gd name="connsiteX9" fmla="*/ 36718 w 36745"/>
                  <a:gd name="connsiteY9" fmla="*/ 16658 h 19978"/>
                  <a:gd name="connsiteX10" fmla="*/ 36718 w 36745"/>
                  <a:gd name="connsiteY10" fmla="*/ 17097 h 19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45" h="19978">
                    <a:moveTo>
                      <a:pt x="36746" y="17097"/>
                    </a:moveTo>
                    <a:lnTo>
                      <a:pt x="30160" y="19979"/>
                    </a:lnTo>
                    <a:lnTo>
                      <a:pt x="20692" y="16521"/>
                    </a:lnTo>
                    <a:lnTo>
                      <a:pt x="5982" y="15368"/>
                    </a:lnTo>
                    <a:lnTo>
                      <a:pt x="521" y="8041"/>
                    </a:lnTo>
                    <a:lnTo>
                      <a:pt x="0" y="1784"/>
                    </a:lnTo>
                    <a:lnTo>
                      <a:pt x="2854" y="0"/>
                    </a:lnTo>
                    <a:lnTo>
                      <a:pt x="9221" y="4363"/>
                    </a:lnTo>
                    <a:lnTo>
                      <a:pt x="22586" y="4775"/>
                    </a:lnTo>
                    <a:lnTo>
                      <a:pt x="36718" y="16658"/>
                    </a:lnTo>
                    <a:lnTo>
                      <a:pt x="36718" y="170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81" name="Freeform: Shape 4880">
                <a:extLst>
                  <a:ext uri="{FF2B5EF4-FFF2-40B4-BE49-F238E27FC236}">
                    <a16:creationId xmlns:a16="http://schemas.microsoft.com/office/drawing/2014/main" id="{5A6ACAC5-47BC-CFD9-9561-6F379F0C282A}"/>
                  </a:ext>
                </a:extLst>
              </p:cNvPr>
              <p:cNvSpPr/>
              <p:nvPr/>
            </p:nvSpPr>
            <p:spPr>
              <a:xfrm>
                <a:off x="1860151" y="3875934"/>
                <a:ext cx="3014" cy="1946"/>
              </a:xfrm>
              <a:custGeom>
                <a:avLst/>
                <a:gdLst>
                  <a:gd name="connsiteX0" fmla="*/ 28898 w 28897"/>
                  <a:gd name="connsiteY0" fmla="*/ 16054 h 18661"/>
                  <a:gd name="connsiteX1" fmla="*/ 24890 w 28897"/>
                  <a:gd name="connsiteY1" fmla="*/ 18661 h 18661"/>
                  <a:gd name="connsiteX2" fmla="*/ 15231 w 28897"/>
                  <a:gd name="connsiteY2" fmla="*/ 16219 h 18661"/>
                  <a:gd name="connsiteX3" fmla="*/ 6833 w 28897"/>
                  <a:gd name="connsiteY3" fmla="*/ 10209 h 18661"/>
                  <a:gd name="connsiteX4" fmla="*/ 5324 w 28897"/>
                  <a:gd name="connsiteY4" fmla="*/ 5022 h 18661"/>
                  <a:gd name="connsiteX5" fmla="*/ 0 w 28897"/>
                  <a:gd name="connsiteY5" fmla="*/ 3293 h 18661"/>
                  <a:gd name="connsiteX6" fmla="*/ 714 w 28897"/>
                  <a:gd name="connsiteY6" fmla="*/ 0 h 18661"/>
                  <a:gd name="connsiteX7" fmla="*/ 25192 w 28897"/>
                  <a:gd name="connsiteY7" fmla="*/ 10209 h 18661"/>
                  <a:gd name="connsiteX8" fmla="*/ 28870 w 28897"/>
                  <a:gd name="connsiteY8" fmla="*/ 16054 h 18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97" h="18661">
                    <a:moveTo>
                      <a:pt x="28898" y="16054"/>
                    </a:moveTo>
                    <a:lnTo>
                      <a:pt x="24890" y="18661"/>
                    </a:lnTo>
                    <a:lnTo>
                      <a:pt x="15231" y="16219"/>
                    </a:lnTo>
                    <a:lnTo>
                      <a:pt x="6833" y="10209"/>
                    </a:lnTo>
                    <a:lnTo>
                      <a:pt x="5324" y="5022"/>
                    </a:lnTo>
                    <a:lnTo>
                      <a:pt x="0" y="3293"/>
                    </a:lnTo>
                    <a:lnTo>
                      <a:pt x="714" y="0"/>
                    </a:lnTo>
                    <a:lnTo>
                      <a:pt x="25192" y="10209"/>
                    </a:lnTo>
                    <a:lnTo>
                      <a:pt x="28870" y="160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82" name="Freeform: Shape 4881">
                <a:extLst>
                  <a:ext uri="{FF2B5EF4-FFF2-40B4-BE49-F238E27FC236}">
                    <a16:creationId xmlns:a16="http://schemas.microsoft.com/office/drawing/2014/main" id="{A572F4E3-5AB1-75CD-B025-B0E78989677E}"/>
                  </a:ext>
                </a:extLst>
              </p:cNvPr>
              <p:cNvSpPr/>
              <p:nvPr/>
            </p:nvSpPr>
            <p:spPr>
              <a:xfrm>
                <a:off x="1856050" y="3879861"/>
                <a:ext cx="1531" cy="925"/>
              </a:xfrm>
              <a:custGeom>
                <a:avLst/>
                <a:gdLst>
                  <a:gd name="connsiteX0" fmla="*/ 4419 w 14682"/>
                  <a:gd name="connsiteY0" fmla="*/ 714 h 8864"/>
                  <a:gd name="connsiteX1" fmla="*/ 14682 w 14682"/>
                  <a:gd name="connsiteY1" fmla="*/ 8041 h 8864"/>
                  <a:gd name="connsiteX2" fmla="*/ 13969 w 14682"/>
                  <a:gd name="connsiteY2" fmla="*/ 8864 h 8864"/>
                  <a:gd name="connsiteX3" fmla="*/ 9385 w 14682"/>
                  <a:gd name="connsiteY3" fmla="*/ 5735 h 8864"/>
                  <a:gd name="connsiteX4" fmla="*/ 6971 w 14682"/>
                  <a:gd name="connsiteY4" fmla="*/ 6696 h 8864"/>
                  <a:gd name="connsiteX5" fmla="*/ 3293 w 14682"/>
                  <a:gd name="connsiteY5" fmla="*/ 4144 h 8864"/>
                  <a:gd name="connsiteX6" fmla="*/ 2388 w 14682"/>
                  <a:gd name="connsiteY6" fmla="*/ 4583 h 8864"/>
                  <a:gd name="connsiteX7" fmla="*/ 466 w 14682"/>
                  <a:gd name="connsiteY7" fmla="*/ 2717 h 8864"/>
                  <a:gd name="connsiteX8" fmla="*/ 0 w 14682"/>
                  <a:gd name="connsiteY8" fmla="*/ 960 h 8864"/>
                  <a:gd name="connsiteX9" fmla="*/ 768 w 14682"/>
                  <a:gd name="connsiteY9" fmla="*/ 0 h 8864"/>
                  <a:gd name="connsiteX10" fmla="*/ 4446 w 14682"/>
                  <a:gd name="connsiteY10" fmla="*/ 714 h 8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82" h="8864">
                    <a:moveTo>
                      <a:pt x="4419" y="714"/>
                    </a:moveTo>
                    <a:lnTo>
                      <a:pt x="14682" y="8041"/>
                    </a:lnTo>
                    <a:lnTo>
                      <a:pt x="13969" y="8864"/>
                    </a:lnTo>
                    <a:lnTo>
                      <a:pt x="9385" y="5735"/>
                    </a:lnTo>
                    <a:lnTo>
                      <a:pt x="6971" y="6696"/>
                    </a:lnTo>
                    <a:lnTo>
                      <a:pt x="3293" y="4144"/>
                    </a:lnTo>
                    <a:lnTo>
                      <a:pt x="2388" y="4583"/>
                    </a:lnTo>
                    <a:lnTo>
                      <a:pt x="466" y="2717"/>
                    </a:lnTo>
                    <a:lnTo>
                      <a:pt x="0" y="960"/>
                    </a:lnTo>
                    <a:lnTo>
                      <a:pt x="768" y="0"/>
                    </a:lnTo>
                    <a:lnTo>
                      <a:pt x="4446" y="7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83" name="Freeform: Shape 4882">
                <a:extLst>
                  <a:ext uri="{FF2B5EF4-FFF2-40B4-BE49-F238E27FC236}">
                    <a16:creationId xmlns:a16="http://schemas.microsoft.com/office/drawing/2014/main" id="{79BAE428-B18E-A481-9662-BB62BB9FA5FD}"/>
                  </a:ext>
                </a:extLst>
              </p:cNvPr>
              <p:cNvSpPr/>
              <p:nvPr/>
            </p:nvSpPr>
            <p:spPr>
              <a:xfrm>
                <a:off x="1845502" y="3867762"/>
                <a:ext cx="793" cy="1079"/>
              </a:xfrm>
              <a:custGeom>
                <a:avLst/>
                <a:gdLst>
                  <a:gd name="connsiteX0" fmla="*/ 7602 w 7601"/>
                  <a:gd name="connsiteY0" fmla="*/ 4666 h 10346"/>
                  <a:gd name="connsiteX1" fmla="*/ 5434 w 7601"/>
                  <a:gd name="connsiteY1" fmla="*/ 10346 h 10346"/>
                  <a:gd name="connsiteX2" fmla="*/ 2717 w 7601"/>
                  <a:gd name="connsiteY2" fmla="*/ 8617 h 10346"/>
                  <a:gd name="connsiteX3" fmla="*/ 2717 w 7601"/>
                  <a:gd name="connsiteY3" fmla="*/ 7437 h 10346"/>
                  <a:gd name="connsiteX4" fmla="*/ 0 w 7601"/>
                  <a:gd name="connsiteY4" fmla="*/ 2552 h 10346"/>
                  <a:gd name="connsiteX5" fmla="*/ 2333 w 7601"/>
                  <a:gd name="connsiteY5" fmla="*/ 0 h 10346"/>
                  <a:gd name="connsiteX6" fmla="*/ 7602 w 7601"/>
                  <a:gd name="connsiteY6" fmla="*/ 4638 h 1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1" h="10346">
                    <a:moveTo>
                      <a:pt x="7602" y="4666"/>
                    </a:moveTo>
                    <a:lnTo>
                      <a:pt x="5434" y="10346"/>
                    </a:lnTo>
                    <a:lnTo>
                      <a:pt x="2717" y="8617"/>
                    </a:lnTo>
                    <a:lnTo>
                      <a:pt x="2717" y="7437"/>
                    </a:lnTo>
                    <a:lnTo>
                      <a:pt x="0" y="2552"/>
                    </a:lnTo>
                    <a:lnTo>
                      <a:pt x="2333" y="0"/>
                    </a:lnTo>
                    <a:lnTo>
                      <a:pt x="7602" y="46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84" name="Freeform: Shape 4883">
                <a:extLst>
                  <a:ext uri="{FF2B5EF4-FFF2-40B4-BE49-F238E27FC236}">
                    <a16:creationId xmlns:a16="http://schemas.microsoft.com/office/drawing/2014/main" id="{9AACCB37-EE44-01BD-F28E-D333C401A78F}"/>
                  </a:ext>
                </a:extLst>
              </p:cNvPr>
              <p:cNvSpPr/>
              <p:nvPr/>
            </p:nvSpPr>
            <p:spPr>
              <a:xfrm>
                <a:off x="1873833" y="3877310"/>
                <a:ext cx="1239" cy="587"/>
              </a:xfrm>
              <a:custGeom>
                <a:avLst/>
                <a:gdLst>
                  <a:gd name="connsiteX0" fmla="*/ 11498 w 11882"/>
                  <a:gd name="connsiteY0" fmla="*/ 2442 h 5625"/>
                  <a:gd name="connsiteX1" fmla="*/ 9138 w 11882"/>
                  <a:gd name="connsiteY1" fmla="*/ 4089 h 5625"/>
                  <a:gd name="connsiteX2" fmla="*/ 6120 w 11882"/>
                  <a:gd name="connsiteY2" fmla="*/ 3238 h 5625"/>
                  <a:gd name="connsiteX3" fmla="*/ 4390 w 11882"/>
                  <a:gd name="connsiteY3" fmla="*/ 5489 h 5625"/>
                  <a:gd name="connsiteX4" fmla="*/ 2744 w 11882"/>
                  <a:gd name="connsiteY4" fmla="*/ 4830 h 5625"/>
                  <a:gd name="connsiteX5" fmla="*/ 631 w 11882"/>
                  <a:gd name="connsiteY5" fmla="*/ 5626 h 5625"/>
                  <a:gd name="connsiteX6" fmla="*/ 0 w 11882"/>
                  <a:gd name="connsiteY6" fmla="*/ 4226 h 5625"/>
                  <a:gd name="connsiteX7" fmla="*/ 4062 w 11882"/>
                  <a:gd name="connsiteY7" fmla="*/ 192 h 5625"/>
                  <a:gd name="connsiteX8" fmla="*/ 8589 w 11882"/>
                  <a:gd name="connsiteY8" fmla="*/ 0 h 5625"/>
                  <a:gd name="connsiteX9" fmla="*/ 11882 w 11882"/>
                  <a:gd name="connsiteY9" fmla="*/ 768 h 5625"/>
                  <a:gd name="connsiteX10" fmla="*/ 11444 w 11882"/>
                  <a:gd name="connsiteY10" fmla="*/ 2415 h 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82" h="5625">
                    <a:moveTo>
                      <a:pt x="11498" y="2442"/>
                    </a:moveTo>
                    <a:lnTo>
                      <a:pt x="9138" y="4089"/>
                    </a:lnTo>
                    <a:lnTo>
                      <a:pt x="6120" y="3238"/>
                    </a:lnTo>
                    <a:lnTo>
                      <a:pt x="4390" y="5489"/>
                    </a:lnTo>
                    <a:lnTo>
                      <a:pt x="2744" y="4830"/>
                    </a:lnTo>
                    <a:lnTo>
                      <a:pt x="631" y="5626"/>
                    </a:lnTo>
                    <a:lnTo>
                      <a:pt x="0" y="4226"/>
                    </a:lnTo>
                    <a:lnTo>
                      <a:pt x="4062" y="192"/>
                    </a:lnTo>
                    <a:lnTo>
                      <a:pt x="8589" y="0"/>
                    </a:lnTo>
                    <a:lnTo>
                      <a:pt x="11882" y="768"/>
                    </a:lnTo>
                    <a:lnTo>
                      <a:pt x="11444"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85" name="Freeform: Shape 4884">
                <a:extLst>
                  <a:ext uri="{FF2B5EF4-FFF2-40B4-BE49-F238E27FC236}">
                    <a16:creationId xmlns:a16="http://schemas.microsoft.com/office/drawing/2014/main" id="{AA7101CA-EDCC-06EA-D352-ED9AAB2C10D7}"/>
                  </a:ext>
                </a:extLst>
              </p:cNvPr>
              <p:cNvSpPr/>
              <p:nvPr/>
            </p:nvSpPr>
            <p:spPr>
              <a:xfrm>
                <a:off x="1847674" y="3870341"/>
                <a:ext cx="575" cy="827"/>
              </a:xfrm>
              <a:custGeom>
                <a:avLst/>
                <a:gdLst>
                  <a:gd name="connsiteX0" fmla="*/ 5516 w 5516"/>
                  <a:gd name="connsiteY0" fmla="*/ 2882 h 7931"/>
                  <a:gd name="connsiteX1" fmla="*/ 3046 w 5516"/>
                  <a:gd name="connsiteY1" fmla="*/ 7931 h 7931"/>
                  <a:gd name="connsiteX2" fmla="*/ 0 w 5516"/>
                  <a:gd name="connsiteY2" fmla="*/ 5050 h 7931"/>
                  <a:gd name="connsiteX3" fmla="*/ 823 w 5516"/>
                  <a:gd name="connsiteY3" fmla="*/ 2882 h 7931"/>
                  <a:gd name="connsiteX4" fmla="*/ 3705 w 5516"/>
                  <a:gd name="connsiteY4" fmla="*/ 0 h 7931"/>
                  <a:gd name="connsiteX5" fmla="*/ 4940 w 5516"/>
                  <a:gd name="connsiteY5" fmla="*/ 659 h 7931"/>
                  <a:gd name="connsiteX6" fmla="*/ 5516 w 5516"/>
                  <a:gd name="connsiteY6" fmla="*/ 2854 h 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 h="7931">
                    <a:moveTo>
                      <a:pt x="5516" y="2882"/>
                    </a:moveTo>
                    <a:lnTo>
                      <a:pt x="3046" y="7931"/>
                    </a:lnTo>
                    <a:lnTo>
                      <a:pt x="0" y="5050"/>
                    </a:lnTo>
                    <a:lnTo>
                      <a:pt x="823" y="2882"/>
                    </a:lnTo>
                    <a:lnTo>
                      <a:pt x="3705" y="0"/>
                    </a:lnTo>
                    <a:lnTo>
                      <a:pt x="4940" y="659"/>
                    </a:lnTo>
                    <a:lnTo>
                      <a:pt x="5516"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86" name="Freeform: Shape 4885">
                <a:extLst>
                  <a:ext uri="{FF2B5EF4-FFF2-40B4-BE49-F238E27FC236}">
                    <a16:creationId xmlns:a16="http://schemas.microsoft.com/office/drawing/2014/main" id="{6E853562-19D5-3951-7363-8C7E3E4CF3F6}"/>
                  </a:ext>
                </a:extLst>
              </p:cNvPr>
              <p:cNvSpPr/>
              <p:nvPr/>
            </p:nvSpPr>
            <p:spPr>
              <a:xfrm>
                <a:off x="1856499" y="3872207"/>
                <a:ext cx="827" cy="541"/>
              </a:xfrm>
              <a:custGeom>
                <a:avLst/>
                <a:gdLst>
                  <a:gd name="connsiteX0" fmla="*/ 7931 w 7930"/>
                  <a:gd name="connsiteY0" fmla="*/ 3952 h 5186"/>
                  <a:gd name="connsiteX1" fmla="*/ 7712 w 7930"/>
                  <a:gd name="connsiteY1" fmla="*/ 5187 h 5186"/>
                  <a:gd name="connsiteX2" fmla="*/ 3485 w 7930"/>
                  <a:gd name="connsiteY2" fmla="*/ 4556 h 5186"/>
                  <a:gd name="connsiteX3" fmla="*/ 0 w 7930"/>
                  <a:gd name="connsiteY3" fmla="*/ 1098 h 5186"/>
                  <a:gd name="connsiteX4" fmla="*/ 3759 w 7930"/>
                  <a:gd name="connsiteY4" fmla="*/ 0 h 5186"/>
                  <a:gd name="connsiteX5" fmla="*/ 7931 w 7930"/>
                  <a:gd name="connsiteY5" fmla="*/ 3979 h 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0" h="5186">
                    <a:moveTo>
                      <a:pt x="7931" y="3952"/>
                    </a:moveTo>
                    <a:lnTo>
                      <a:pt x="7712" y="5187"/>
                    </a:lnTo>
                    <a:lnTo>
                      <a:pt x="3485" y="4556"/>
                    </a:lnTo>
                    <a:lnTo>
                      <a:pt x="0" y="1098"/>
                    </a:lnTo>
                    <a:lnTo>
                      <a:pt x="3759" y="0"/>
                    </a:lnTo>
                    <a:lnTo>
                      <a:pt x="7931" y="39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87" name="Freeform: Shape 4886">
                <a:extLst>
                  <a:ext uri="{FF2B5EF4-FFF2-40B4-BE49-F238E27FC236}">
                    <a16:creationId xmlns:a16="http://schemas.microsoft.com/office/drawing/2014/main" id="{E2364032-C750-B6FB-2EB2-58055BE9C649}"/>
                  </a:ext>
                </a:extLst>
              </p:cNvPr>
              <p:cNvSpPr/>
              <p:nvPr/>
            </p:nvSpPr>
            <p:spPr>
              <a:xfrm>
                <a:off x="1843908" y="3865292"/>
                <a:ext cx="673" cy="630"/>
              </a:xfrm>
              <a:custGeom>
                <a:avLst/>
                <a:gdLst>
                  <a:gd name="connsiteX0" fmla="*/ 6449 w 6448"/>
                  <a:gd name="connsiteY0" fmla="*/ 2141 h 6037"/>
                  <a:gd name="connsiteX1" fmla="*/ 3869 w 6448"/>
                  <a:gd name="connsiteY1" fmla="*/ 4144 h 6037"/>
                  <a:gd name="connsiteX2" fmla="*/ 3018 w 6448"/>
                  <a:gd name="connsiteY2" fmla="*/ 6038 h 6037"/>
                  <a:gd name="connsiteX3" fmla="*/ 0 w 6448"/>
                  <a:gd name="connsiteY3" fmla="*/ 2333 h 6037"/>
                  <a:gd name="connsiteX4" fmla="*/ 851 w 6448"/>
                  <a:gd name="connsiteY4" fmla="*/ 1756 h 6037"/>
                  <a:gd name="connsiteX5" fmla="*/ 2717 w 6448"/>
                  <a:gd name="connsiteY5" fmla="*/ 3238 h 6037"/>
                  <a:gd name="connsiteX6" fmla="*/ 3375 w 6448"/>
                  <a:gd name="connsiteY6" fmla="*/ 494 h 6037"/>
                  <a:gd name="connsiteX7" fmla="*/ 4418 w 6448"/>
                  <a:gd name="connsiteY7" fmla="*/ 0 h 6037"/>
                  <a:gd name="connsiteX8" fmla="*/ 6394 w 6448"/>
                  <a:gd name="connsiteY8" fmla="*/ 2086 h 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48" h="6037">
                    <a:moveTo>
                      <a:pt x="6449" y="2141"/>
                    </a:moveTo>
                    <a:lnTo>
                      <a:pt x="3869" y="4144"/>
                    </a:lnTo>
                    <a:lnTo>
                      <a:pt x="3018" y="6038"/>
                    </a:lnTo>
                    <a:lnTo>
                      <a:pt x="0" y="2333"/>
                    </a:lnTo>
                    <a:lnTo>
                      <a:pt x="851" y="1756"/>
                    </a:lnTo>
                    <a:lnTo>
                      <a:pt x="2717" y="3238"/>
                    </a:lnTo>
                    <a:lnTo>
                      <a:pt x="3375" y="494"/>
                    </a:lnTo>
                    <a:lnTo>
                      <a:pt x="4418" y="0"/>
                    </a:lnTo>
                    <a:lnTo>
                      <a:pt x="6394"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88" name="Freeform: Shape 4887">
                <a:extLst>
                  <a:ext uri="{FF2B5EF4-FFF2-40B4-BE49-F238E27FC236}">
                    <a16:creationId xmlns:a16="http://schemas.microsoft.com/office/drawing/2014/main" id="{B6E5DFCE-61B9-F3A4-7F72-FE6E5136DB83}"/>
                  </a:ext>
                </a:extLst>
              </p:cNvPr>
              <p:cNvSpPr/>
              <p:nvPr/>
            </p:nvSpPr>
            <p:spPr>
              <a:xfrm>
                <a:off x="1853296" y="3872009"/>
                <a:ext cx="658" cy="555"/>
              </a:xfrm>
              <a:custGeom>
                <a:avLst/>
                <a:gdLst>
                  <a:gd name="connsiteX0" fmla="*/ 5516 w 6311"/>
                  <a:gd name="connsiteY0" fmla="*/ 3074 h 5323"/>
                  <a:gd name="connsiteX1" fmla="*/ 6311 w 6311"/>
                  <a:gd name="connsiteY1" fmla="*/ 5324 h 5323"/>
                  <a:gd name="connsiteX2" fmla="*/ 1235 w 6311"/>
                  <a:gd name="connsiteY2" fmla="*/ 5324 h 5323"/>
                  <a:gd name="connsiteX3" fmla="*/ 0 w 6311"/>
                  <a:gd name="connsiteY3" fmla="*/ 4062 h 5323"/>
                  <a:gd name="connsiteX4" fmla="*/ 2058 w 6311"/>
                  <a:gd name="connsiteY4" fmla="*/ 82 h 5323"/>
                  <a:gd name="connsiteX5" fmla="*/ 3952 w 6311"/>
                  <a:gd name="connsiteY5" fmla="*/ 0 h 5323"/>
                  <a:gd name="connsiteX6" fmla="*/ 3375 w 6311"/>
                  <a:gd name="connsiteY6" fmla="*/ 2086 h 5323"/>
                  <a:gd name="connsiteX7" fmla="*/ 5461 w 6311"/>
                  <a:gd name="connsiteY7" fmla="*/ 3046 h 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1" h="5323">
                    <a:moveTo>
                      <a:pt x="5516" y="3074"/>
                    </a:moveTo>
                    <a:lnTo>
                      <a:pt x="6311" y="5324"/>
                    </a:lnTo>
                    <a:lnTo>
                      <a:pt x="1235" y="5324"/>
                    </a:lnTo>
                    <a:cubicBezTo>
                      <a:pt x="1235" y="5324"/>
                      <a:pt x="0" y="4062"/>
                      <a:pt x="0" y="4062"/>
                    </a:cubicBezTo>
                    <a:lnTo>
                      <a:pt x="2058" y="82"/>
                    </a:lnTo>
                    <a:lnTo>
                      <a:pt x="3952" y="0"/>
                    </a:lnTo>
                    <a:lnTo>
                      <a:pt x="3375" y="2086"/>
                    </a:lnTo>
                    <a:lnTo>
                      <a:pt x="5461"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89" name="Freeform: Shape 4888">
                <a:extLst>
                  <a:ext uri="{FF2B5EF4-FFF2-40B4-BE49-F238E27FC236}">
                    <a16:creationId xmlns:a16="http://schemas.microsoft.com/office/drawing/2014/main" id="{FC284E62-0D28-41C2-83FF-EB4B7A156EAD}"/>
                  </a:ext>
                </a:extLst>
              </p:cNvPr>
              <p:cNvSpPr/>
              <p:nvPr/>
            </p:nvSpPr>
            <p:spPr>
              <a:xfrm>
                <a:off x="1842940" y="3865941"/>
                <a:ext cx="687" cy="369"/>
              </a:xfrm>
              <a:custGeom>
                <a:avLst/>
                <a:gdLst>
                  <a:gd name="connsiteX0" fmla="*/ 6587 w 6586"/>
                  <a:gd name="connsiteY0" fmla="*/ 3101 h 3540"/>
                  <a:gd name="connsiteX1" fmla="*/ 1153 w 6586"/>
                  <a:gd name="connsiteY1" fmla="*/ 3540 h 3540"/>
                  <a:gd name="connsiteX2" fmla="*/ 0 w 6586"/>
                  <a:gd name="connsiteY2" fmla="*/ 851 h 3540"/>
                  <a:gd name="connsiteX3" fmla="*/ 137 w 6586"/>
                  <a:gd name="connsiteY3" fmla="*/ 0 h 3540"/>
                  <a:gd name="connsiteX4" fmla="*/ 4446 w 6586"/>
                  <a:gd name="connsiteY4" fmla="*/ 110 h 3540"/>
                  <a:gd name="connsiteX5" fmla="*/ 6587 w 6586"/>
                  <a:gd name="connsiteY5" fmla="*/ 3129 h 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86" h="3540">
                    <a:moveTo>
                      <a:pt x="6587" y="3101"/>
                    </a:moveTo>
                    <a:lnTo>
                      <a:pt x="1153" y="3540"/>
                    </a:lnTo>
                    <a:lnTo>
                      <a:pt x="0" y="851"/>
                    </a:lnTo>
                    <a:lnTo>
                      <a:pt x="137" y="0"/>
                    </a:lnTo>
                    <a:lnTo>
                      <a:pt x="4446" y="110"/>
                    </a:lnTo>
                    <a:lnTo>
                      <a:pt x="6587" y="31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90" name="Freeform: Shape 4889">
                <a:extLst>
                  <a:ext uri="{FF2B5EF4-FFF2-40B4-BE49-F238E27FC236}">
                    <a16:creationId xmlns:a16="http://schemas.microsoft.com/office/drawing/2014/main" id="{5DDC7705-E24D-820F-1835-950656587BB1}"/>
                  </a:ext>
                </a:extLst>
              </p:cNvPr>
              <p:cNvSpPr/>
              <p:nvPr/>
            </p:nvSpPr>
            <p:spPr>
              <a:xfrm>
                <a:off x="1845508" y="3868921"/>
                <a:ext cx="321" cy="716"/>
              </a:xfrm>
              <a:custGeom>
                <a:avLst/>
                <a:gdLst>
                  <a:gd name="connsiteX0" fmla="*/ 3074 w 3073"/>
                  <a:gd name="connsiteY0" fmla="*/ 5598 h 6860"/>
                  <a:gd name="connsiteX1" fmla="*/ 2031 w 3073"/>
                  <a:gd name="connsiteY1" fmla="*/ 6861 h 6860"/>
                  <a:gd name="connsiteX2" fmla="*/ 659 w 3073"/>
                  <a:gd name="connsiteY2" fmla="*/ 4116 h 6860"/>
                  <a:gd name="connsiteX3" fmla="*/ 0 w 3073"/>
                  <a:gd name="connsiteY3" fmla="*/ 0 h 6860"/>
                  <a:gd name="connsiteX4" fmla="*/ 1894 w 3073"/>
                  <a:gd name="connsiteY4" fmla="*/ 823 h 6860"/>
                  <a:gd name="connsiteX5" fmla="*/ 3074 w 3073"/>
                  <a:gd name="connsiteY5" fmla="*/ 5571 h 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 h="6860">
                    <a:moveTo>
                      <a:pt x="3074" y="5598"/>
                    </a:moveTo>
                    <a:lnTo>
                      <a:pt x="2031" y="6861"/>
                    </a:lnTo>
                    <a:lnTo>
                      <a:pt x="659" y="4116"/>
                    </a:lnTo>
                    <a:lnTo>
                      <a:pt x="0" y="0"/>
                    </a:lnTo>
                    <a:lnTo>
                      <a:pt x="1894" y="823"/>
                    </a:lnTo>
                    <a:lnTo>
                      <a:pt x="3074" y="55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91" name="Freeform: Shape 4890">
                <a:extLst>
                  <a:ext uri="{FF2B5EF4-FFF2-40B4-BE49-F238E27FC236}">
                    <a16:creationId xmlns:a16="http://schemas.microsoft.com/office/drawing/2014/main" id="{D87FAA24-DBD8-2288-C4D3-EE41F43B74F4}"/>
                  </a:ext>
                </a:extLst>
              </p:cNvPr>
              <p:cNvSpPr/>
              <p:nvPr/>
            </p:nvSpPr>
            <p:spPr>
              <a:xfrm>
                <a:off x="1848493" y="3871205"/>
                <a:ext cx="570" cy="372"/>
              </a:xfrm>
              <a:custGeom>
                <a:avLst/>
                <a:gdLst>
                  <a:gd name="connsiteX0" fmla="*/ 5434 w 5461"/>
                  <a:gd name="connsiteY0" fmla="*/ 2662 h 3567"/>
                  <a:gd name="connsiteX1" fmla="*/ 4336 w 5461"/>
                  <a:gd name="connsiteY1" fmla="*/ 3568 h 3567"/>
                  <a:gd name="connsiteX2" fmla="*/ 0 w 5461"/>
                  <a:gd name="connsiteY2" fmla="*/ 1262 h 3567"/>
                  <a:gd name="connsiteX3" fmla="*/ 1811 w 5461"/>
                  <a:gd name="connsiteY3" fmla="*/ 0 h 3567"/>
                  <a:gd name="connsiteX4" fmla="*/ 5461 w 5461"/>
                  <a:gd name="connsiteY4" fmla="*/ 2662 h 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1" h="3567">
                    <a:moveTo>
                      <a:pt x="5434" y="2662"/>
                    </a:moveTo>
                    <a:lnTo>
                      <a:pt x="4336" y="3568"/>
                    </a:lnTo>
                    <a:lnTo>
                      <a:pt x="0" y="1262"/>
                    </a:lnTo>
                    <a:lnTo>
                      <a:pt x="1811" y="0"/>
                    </a:lnTo>
                    <a:lnTo>
                      <a:pt x="5461"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92" name="Freeform: Shape 4891">
                <a:extLst>
                  <a:ext uri="{FF2B5EF4-FFF2-40B4-BE49-F238E27FC236}">
                    <a16:creationId xmlns:a16="http://schemas.microsoft.com/office/drawing/2014/main" id="{F0A38DFD-2759-8DAA-6B95-1656F7199010}"/>
                  </a:ext>
                </a:extLst>
              </p:cNvPr>
              <p:cNvSpPr/>
              <p:nvPr/>
            </p:nvSpPr>
            <p:spPr>
              <a:xfrm>
                <a:off x="1854504" y="3861130"/>
                <a:ext cx="435" cy="467"/>
              </a:xfrm>
              <a:custGeom>
                <a:avLst/>
                <a:gdLst>
                  <a:gd name="connsiteX0" fmla="*/ 4171 w 4171"/>
                  <a:gd name="connsiteY0" fmla="*/ 4089 h 4473"/>
                  <a:gd name="connsiteX1" fmla="*/ 2387 w 4171"/>
                  <a:gd name="connsiteY1" fmla="*/ 4473 h 4473"/>
                  <a:gd name="connsiteX2" fmla="*/ 0 w 4171"/>
                  <a:gd name="connsiteY2" fmla="*/ 357 h 4473"/>
                  <a:gd name="connsiteX3" fmla="*/ 1152 w 4171"/>
                  <a:gd name="connsiteY3" fmla="*/ 0 h 4473"/>
                  <a:gd name="connsiteX4" fmla="*/ 4171 w 4171"/>
                  <a:gd name="connsiteY4" fmla="*/ 4089 h 4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1" h="4473">
                    <a:moveTo>
                      <a:pt x="4171" y="4089"/>
                    </a:moveTo>
                    <a:lnTo>
                      <a:pt x="2387" y="4473"/>
                    </a:lnTo>
                    <a:lnTo>
                      <a:pt x="0" y="357"/>
                    </a:lnTo>
                    <a:lnTo>
                      <a:pt x="1152" y="0"/>
                    </a:lnTo>
                    <a:lnTo>
                      <a:pt x="4171" y="40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93" name="Freeform: Shape 4892">
                <a:extLst>
                  <a:ext uri="{FF2B5EF4-FFF2-40B4-BE49-F238E27FC236}">
                    <a16:creationId xmlns:a16="http://schemas.microsoft.com/office/drawing/2014/main" id="{803CEF6B-959A-7F84-36E1-E1F0182A7AB0}"/>
                  </a:ext>
                </a:extLst>
              </p:cNvPr>
              <p:cNvSpPr/>
              <p:nvPr/>
            </p:nvSpPr>
            <p:spPr>
              <a:xfrm>
                <a:off x="1877036" y="3880244"/>
                <a:ext cx="501" cy="395"/>
              </a:xfrm>
              <a:custGeom>
                <a:avLst/>
                <a:gdLst>
                  <a:gd name="connsiteX0" fmla="*/ 4803 w 4802"/>
                  <a:gd name="connsiteY0" fmla="*/ 988 h 3787"/>
                  <a:gd name="connsiteX1" fmla="*/ 4665 w 4802"/>
                  <a:gd name="connsiteY1" fmla="*/ 3787 h 3787"/>
                  <a:gd name="connsiteX2" fmla="*/ 2058 w 4802"/>
                  <a:gd name="connsiteY2" fmla="*/ 3787 h 3787"/>
                  <a:gd name="connsiteX3" fmla="*/ 0 w 4802"/>
                  <a:gd name="connsiteY3" fmla="*/ 1043 h 3787"/>
                  <a:gd name="connsiteX4" fmla="*/ 933 w 4802"/>
                  <a:gd name="connsiteY4" fmla="*/ 0 h 3787"/>
                  <a:gd name="connsiteX5" fmla="*/ 4803 w 4802"/>
                  <a:gd name="connsiteY5" fmla="*/ 988 h 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2" h="3787">
                    <a:moveTo>
                      <a:pt x="4803" y="988"/>
                    </a:moveTo>
                    <a:lnTo>
                      <a:pt x="4665" y="3787"/>
                    </a:lnTo>
                    <a:lnTo>
                      <a:pt x="2058" y="3787"/>
                    </a:lnTo>
                    <a:cubicBezTo>
                      <a:pt x="2058" y="3787"/>
                      <a:pt x="0" y="1043"/>
                      <a:pt x="0" y="1043"/>
                    </a:cubicBezTo>
                    <a:lnTo>
                      <a:pt x="933" y="0"/>
                    </a:lnTo>
                    <a:lnTo>
                      <a:pt x="4803"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94" name="Freeform: Shape 4893">
                <a:extLst>
                  <a:ext uri="{FF2B5EF4-FFF2-40B4-BE49-F238E27FC236}">
                    <a16:creationId xmlns:a16="http://schemas.microsoft.com/office/drawing/2014/main" id="{13A42C3B-771C-A339-07AC-C42991A3585E}"/>
                  </a:ext>
                </a:extLst>
              </p:cNvPr>
              <p:cNvSpPr/>
              <p:nvPr/>
            </p:nvSpPr>
            <p:spPr>
              <a:xfrm>
                <a:off x="1883044" y="3882299"/>
                <a:ext cx="495" cy="343"/>
              </a:xfrm>
              <a:custGeom>
                <a:avLst/>
                <a:gdLst>
                  <a:gd name="connsiteX0" fmla="*/ 4748 w 4747"/>
                  <a:gd name="connsiteY0" fmla="*/ 1564 h 3293"/>
                  <a:gd name="connsiteX1" fmla="*/ 741 w 4747"/>
                  <a:gd name="connsiteY1" fmla="*/ 3293 h 3293"/>
                  <a:gd name="connsiteX2" fmla="*/ 0 w 4747"/>
                  <a:gd name="connsiteY2" fmla="*/ 2525 h 3293"/>
                  <a:gd name="connsiteX3" fmla="*/ 2223 w 4747"/>
                  <a:gd name="connsiteY3" fmla="*/ 0 h 3293"/>
                  <a:gd name="connsiteX4" fmla="*/ 4748 w 4747"/>
                  <a:gd name="connsiteY4" fmla="*/ 1592 h 3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7" h="3293">
                    <a:moveTo>
                      <a:pt x="4748" y="1564"/>
                    </a:moveTo>
                    <a:lnTo>
                      <a:pt x="741" y="3293"/>
                    </a:lnTo>
                    <a:lnTo>
                      <a:pt x="0" y="2525"/>
                    </a:lnTo>
                    <a:lnTo>
                      <a:pt x="2223" y="0"/>
                    </a:lnTo>
                    <a:lnTo>
                      <a:pt x="4748" y="1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95" name="Freeform: Shape 4894">
                <a:extLst>
                  <a:ext uri="{FF2B5EF4-FFF2-40B4-BE49-F238E27FC236}">
                    <a16:creationId xmlns:a16="http://schemas.microsoft.com/office/drawing/2014/main" id="{0FA528AC-28E6-4CCE-CB66-EF2DFEFEFDBB}"/>
                  </a:ext>
                </a:extLst>
              </p:cNvPr>
              <p:cNvSpPr/>
              <p:nvPr/>
            </p:nvSpPr>
            <p:spPr>
              <a:xfrm>
                <a:off x="1861362" y="3875845"/>
                <a:ext cx="352" cy="444"/>
              </a:xfrm>
              <a:custGeom>
                <a:avLst/>
                <a:gdLst>
                  <a:gd name="connsiteX0" fmla="*/ 3375 w 3375"/>
                  <a:gd name="connsiteY0" fmla="*/ 2964 h 4253"/>
                  <a:gd name="connsiteX1" fmla="*/ 1948 w 3375"/>
                  <a:gd name="connsiteY1" fmla="*/ 4254 h 4253"/>
                  <a:gd name="connsiteX2" fmla="*/ 0 w 3375"/>
                  <a:gd name="connsiteY2" fmla="*/ 2333 h 4253"/>
                  <a:gd name="connsiteX3" fmla="*/ 1400 w 3375"/>
                  <a:gd name="connsiteY3" fmla="*/ 0 h 4253"/>
                  <a:gd name="connsiteX4" fmla="*/ 3375 w 3375"/>
                  <a:gd name="connsiteY4" fmla="*/ 2992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4253">
                    <a:moveTo>
                      <a:pt x="3375" y="2964"/>
                    </a:moveTo>
                    <a:lnTo>
                      <a:pt x="1948" y="4254"/>
                    </a:lnTo>
                    <a:lnTo>
                      <a:pt x="0" y="2333"/>
                    </a:lnTo>
                    <a:lnTo>
                      <a:pt x="1400" y="0"/>
                    </a:lnTo>
                    <a:lnTo>
                      <a:pt x="3375" y="29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96" name="Freeform: Shape 4895">
                <a:extLst>
                  <a:ext uri="{FF2B5EF4-FFF2-40B4-BE49-F238E27FC236}">
                    <a16:creationId xmlns:a16="http://schemas.microsoft.com/office/drawing/2014/main" id="{C402199D-006C-4A09-E31D-96957DD6CDDA}"/>
                  </a:ext>
                </a:extLst>
              </p:cNvPr>
              <p:cNvSpPr/>
              <p:nvPr/>
            </p:nvSpPr>
            <p:spPr>
              <a:xfrm>
                <a:off x="1850577" y="3867032"/>
                <a:ext cx="383" cy="406"/>
              </a:xfrm>
              <a:custGeom>
                <a:avLst/>
                <a:gdLst>
                  <a:gd name="connsiteX0" fmla="*/ 3677 w 3676"/>
                  <a:gd name="connsiteY0" fmla="*/ 1976 h 3896"/>
                  <a:gd name="connsiteX1" fmla="*/ 1948 w 3676"/>
                  <a:gd name="connsiteY1" fmla="*/ 3897 h 3896"/>
                  <a:gd name="connsiteX2" fmla="*/ 0 w 3676"/>
                  <a:gd name="connsiteY2" fmla="*/ 1729 h 3896"/>
                  <a:gd name="connsiteX3" fmla="*/ 878 w 3676"/>
                  <a:gd name="connsiteY3" fmla="*/ 0 h 3896"/>
                  <a:gd name="connsiteX4" fmla="*/ 3677 w 3676"/>
                  <a:gd name="connsiteY4" fmla="*/ 1948 h 3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 h="3896">
                    <a:moveTo>
                      <a:pt x="3677" y="1976"/>
                    </a:moveTo>
                    <a:lnTo>
                      <a:pt x="1948" y="3897"/>
                    </a:lnTo>
                    <a:lnTo>
                      <a:pt x="0" y="1729"/>
                    </a:lnTo>
                    <a:lnTo>
                      <a:pt x="878" y="0"/>
                    </a:lnTo>
                    <a:lnTo>
                      <a:pt x="3677" y="1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97" name="Freeform: Shape 4896">
                <a:extLst>
                  <a:ext uri="{FF2B5EF4-FFF2-40B4-BE49-F238E27FC236}">
                    <a16:creationId xmlns:a16="http://schemas.microsoft.com/office/drawing/2014/main" id="{29416602-21E1-4489-B14B-7A83C142553A}"/>
                  </a:ext>
                </a:extLst>
              </p:cNvPr>
              <p:cNvSpPr/>
              <p:nvPr/>
            </p:nvSpPr>
            <p:spPr>
              <a:xfrm>
                <a:off x="1876032" y="3879045"/>
                <a:ext cx="389" cy="369"/>
              </a:xfrm>
              <a:custGeom>
                <a:avLst/>
                <a:gdLst>
                  <a:gd name="connsiteX0" fmla="*/ 3732 w 3731"/>
                  <a:gd name="connsiteY0" fmla="*/ 659 h 3540"/>
                  <a:gd name="connsiteX1" fmla="*/ 2305 w 3731"/>
                  <a:gd name="connsiteY1" fmla="*/ 3540 h 3540"/>
                  <a:gd name="connsiteX2" fmla="*/ 0 w 3731"/>
                  <a:gd name="connsiteY2" fmla="*/ 1427 h 3540"/>
                  <a:gd name="connsiteX3" fmla="*/ 1015 w 3731"/>
                  <a:gd name="connsiteY3" fmla="*/ 0 h 3540"/>
                  <a:gd name="connsiteX4" fmla="*/ 3732 w 3731"/>
                  <a:gd name="connsiteY4" fmla="*/ 659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1" h="3540">
                    <a:moveTo>
                      <a:pt x="3732" y="659"/>
                    </a:moveTo>
                    <a:lnTo>
                      <a:pt x="2305" y="3540"/>
                    </a:lnTo>
                    <a:lnTo>
                      <a:pt x="0" y="1427"/>
                    </a:lnTo>
                    <a:lnTo>
                      <a:pt x="1015" y="0"/>
                    </a:lnTo>
                    <a:lnTo>
                      <a:pt x="3732" y="6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98" name="Freeform: Shape 4897">
                <a:extLst>
                  <a:ext uri="{FF2B5EF4-FFF2-40B4-BE49-F238E27FC236}">
                    <a16:creationId xmlns:a16="http://schemas.microsoft.com/office/drawing/2014/main" id="{49BB92FA-B966-2360-1A6C-87AB7675B738}"/>
                  </a:ext>
                </a:extLst>
              </p:cNvPr>
              <p:cNvSpPr/>
              <p:nvPr/>
            </p:nvSpPr>
            <p:spPr>
              <a:xfrm>
                <a:off x="1842416" y="3866972"/>
                <a:ext cx="372" cy="338"/>
              </a:xfrm>
              <a:custGeom>
                <a:avLst/>
                <a:gdLst>
                  <a:gd name="connsiteX0" fmla="*/ 3567 w 3567"/>
                  <a:gd name="connsiteY0" fmla="*/ 1208 h 3238"/>
                  <a:gd name="connsiteX1" fmla="*/ 1948 w 3567"/>
                  <a:gd name="connsiteY1" fmla="*/ 3238 h 3238"/>
                  <a:gd name="connsiteX2" fmla="*/ 0 w 3567"/>
                  <a:gd name="connsiteY2" fmla="*/ 2058 h 3238"/>
                  <a:gd name="connsiteX3" fmla="*/ 0 w 3567"/>
                  <a:gd name="connsiteY3" fmla="*/ 823 h 3238"/>
                  <a:gd name="connsiteX4" fmla="*/ 2250 w 3567"/>
                  <a:gd name="connsiteY4" fmla="*/ 0 h 3238"/>
                  <a:gd name="connsiteX5" fmla="*/ 3567 w 3567"/>
                  <a:gd name="connsiteY5" fmla="*/ 1208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3238">
                    <a:moveTo>
                      <a:pt x="3567" y="1208"/>
                    </a:moveTo>
                    <a:lnTo>
                      <a:pt x="1948" y="3238"/>
                    </a:lnTo>
                    <a:lnTo>
                      <a:pt x="0" y="2058"/>
                    </a:lnTo>
                    <a:lnTo>
                      <a:pt x="0" y="823"/>
                    </a:lnTo>
                    <a:cubicBezTo>
                      <a:pt x="0" y="823"/>
                      <a:pt x="2250" y="0"/>
                      <a:pt x="2250" y="0"/>
                    </a:cubicBezTo>
                    <a:lnTo>
                      <a:pt x="3567" y="12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899" name="Freeform: Shape 4898">
                <a:extLst>
                  <a:ext uri="{FF2B5EF4-FFF2-40B4-BE49-F238E27FC236}">
                    <a16:creationId xmlns:a16="http://schemas.microsoft.com/office/drawing/2014/main" id="{3805B17B-A270-4FF5-E4D9-753C4B84BE11}"/>
                  </a:ext>
                </a:extLst>
              </p:cNvPr>
              <p:cNvSpPr/>
              <p:nvPr/>
            </p:nvSpPr>
            <p:spPr>
              <a:xfrm>
                <a:off x="1862098" y="3874411"/>
                <a:ext cx="283" cy="447"/>
              </a:xfrm>
              <a:custGeom>
                <a:avLst/>
                <a:gdLst>
                  <a:gd name="connsiteX0" fmla="*/ 2717 w 2716"/>
                  <a:gd name="connsiteY0" fmla="*/ 3678 h 4281"/>
                  <a:gd name="connsiteX1" fmla="*/ 1317 w 2716"/>
                  <a:gd name="connsiteY1" fmla="*/ 4281 h 4281"/>
                  <a:gd name="connsiteX2" fmla="*/ 0 w 2716"/>
                  <a:gd name="connsiteY2" fmla="*/ 1016 h 4281"/>
                  <a:gd name="connsiteX3" fmla="*/ 2277 w 2716"/>
                  <a:gd name="connsiteY3" fmla="*/ 0 h 4281"/>
                  <a:gd name="connsiteX4" fmla="*/ 2717 w 2716"/>
                  <a:gd name="connsiteY4" fmla="*/ 3705 h 4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6" h="4281">
                    <a:moveTo>
                      <a:pt x="2717" y="3678"/>
                    </a:moveTo>
                    <a:lnTo>
                      <a:pt x="1317" y="4281"/>
                    </a:lnTo>
                    <a:lnTo>
                      <a:pt x="0" y="1016"/>
                    </a:lnTo>
                    <a:lnTo>
                      <a:pt x="2277" y="0"/>
                    </a:lnTo>
                    <a:lnTo>
                      <a:pt x="2717"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00" name="Freeform: Shape 4899">
                <a:extLst>
                  <a:ext uri="{FF2B5EF4-FFF2-40B4-BE49-F238E27FC236}">
                    <a16:creationId xmlns:a16="http://schemas.microsoft.com/office/drawing/2014/main" id="{CC0BA742-DED3-E75D-F7F2-7D4AD74E8FD1}"/>
                  </a:ext>
                </a:extLst>
              </p:cNvPr>
              <p:cNvSpPr/>
              <p:nvPr/>
            </p:nvSpPr>
            <p:spPr>
              <a:xfrm>
                <a:off x="1876286" y="3889879"/>
                <a:ext cx="2184" cy="3426"/>
              </a:xfrm>
              <a:custGeom>
                <a:avLst/>
                <a:gdLst>
                  <a:gd name="connsiteX0" fmla="*/ 0 w 20939"/>
                  <a:gd name="connsiteY0" fmla="*/ 6120 h 32849"/>
                  <a:gd name="connsiteX1" fmla="*/ 604 w 20939"/>
                  <a:gd name="connsiteY1" fmla="*/ 960 h 32849"/>
                  <a:gd name="connsiteX2" fmla="*/ 2086 w 20939"/>
                  <a:gd name="connsiteY2" fmla="*/ 0 h 32849"/>
                  <a:gd name="connsiteX3" fmla="*/ 6339 w 20939"/>
                  <a:gd name="connsiteY3" fmla="*/ 6175 h 32849"/>
                  <a:gd name="connsiteX4" fmla="*/ 8782 w 20939"/>
                  <a:gd name="connsiteY4" fmla="*/ 15204 h 32849"/>
                  <a:gd name="connsiteX5" fmla="*/ 12075 w 20939"/>
                  <a:gd name="connsiteY5" fmla="*/ 15039 h 32849"/>
                  <a:gd name="connsiteX6" fmla="*/ 13338 w 20939"/>
                  <a:gd name="connsiteY6" fmla="*/ 9934 h 32849"/>
                  <a:gd name="connsiteX7" fmla="*/ 15478 w 20939"/>
                  <a:gd name="connsiteY7" fmla="*/ 9660 h 32849"/>
                  <a:gd name="connsiteX8" fmla="*/ 20939 w 20939"/>
                  <a:gd name="connsiteY8" fmla="*/ 24369 h 32849"/>
                  <a:gd name="connsiteX9" fmla="*/ 20363 w 20939"/>
                  <a:gd name="connsiteY9" fmla="*/ 32849 h 32849"/>
                  <a:gd name="connsiteX10" fmla="*/ 12844 w 20939"/>
                  <a:gd name="connsiteY10" fmla="*/ 28843 h 32849"/>
                  <a:gd name="connsiteX11" fmla="*/ 7245 w 20939"/>
                  <a:gd name="connsiteY11" fmla="*/ 30215 h 32849"/>
                  <a:gd name="connsiteX12" fmla="*/ 3540 w 20939"/>
                  <a:gd name="connsiteY12" fmla="*/ 23272 h 32849"/>
                  <a:gd name="connsiteX13" fmla="*/ 631 w 20939"/>
                  <a:gd name="connsiteY13" fmla="*/ 7821 h 32849"/>
                  <a:gd name="connsiteX14" fmla="*/ 27 w 20939"/>
                  <a:gd name="connsiteY14" fmla="*/ 6120 h 3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39" h="32849">
                    <a:moveTo>
                      <a:pt x="0" y="6120"/>
                    </a:moveTo>
                    <a:lnTo>
                      <a:pt x="604" y="960"/>
                    </a:lnTo>
                    <a:lnTo>
                      <a:pt x="2086" y="0"/>
                    </a:lnTo>
                    <a:lnTo>
                      <a:pt x="6339" y="6175"/>
                    </a:lnTo>
                    <a:lnTo>
                      <a:pt x="8782" y="15204"/>
                    </a:lnTo>
                    <a:lnTo>
                      <a:pt x="12075" y="15039"/>
                    </a:lnTo>
                    <a:lnTo>
                      <a:pt x="13338" y="9934"/>
                    </a:lnTo>
                    <a:lnTo>
                      <a:pt x="15478" y="9660"/>
                    </a:lnTo>
                    <a:lnTo>
                      <a:pt x="20939" y="24369"/>
                    </a:lnTo>
                    <a:lnTo>
                      <a:pt x="20363" y="32849"/>
                    </a:lnTo>
                    <a:lnTo>
                      <a:pt x="12844" y="28843"/>
                    </a:lnTo>
                    <a:lnTo>
                      <a:pt x="7245" y="30215"/>
                    </a:lnTo>
                    <a:lnTo>
                      <a:pt x="3540" y="23272"/>
                    </a:lnTo>
                    <a:lnTo>
                      <a:pt x="631" y="7821"/>
                    </a:lnTo>
                    <a:lnTo>
                      <a:pt x="27" y="61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01" name="Freeform: Shape 4900">
                <a:extLst>
                  <a:ext uri="{FF2B5EF4-FFF2-40B4-BE49-F238E27FC236}">
                    <a16:creationId xmlns:a16="http://schemas.microsoft.com/office/drawing/2014/main" id="{924BDAE0-061D-24DB-2388-CF039A233DAA}"/>
                  </a:ext>
                </a:extLst>
              </p:cNvPr>
              <p:cNvSpPr/>
              <p:nvPr/>
            </p:nvSpPr>
            <p:spPr>
              <a:xfrm>
                <a:off x="1878218" y="3893852"/>
                <a:ext cx="1969" cy="2184"/>
              </a:xfrm>
              <a:custGeom>
                <a:avLst/>
                <a:gdLst>
                  <a:gd name="connsiteX0" fmla="*/ 0 w 18881"/>
                  <a:gd name="connsiteY0" fmla="*/ 4007 h 20939"/>
                  <a:gd name="connsiteX1" fmla="*/ 440 w 18881"/>
                  <a:gd name="connsiteY1" fmla="*/ 905 h 20939"/>
                  <a:gd name="connsiteX2" fmla="*/ 2223 w 18881"/>
                  <a:gd name="connsiteY2" fmla="*/ 0 h 20939"/>
                  <a:gd name="connsiteX3" fmla="*/ 6778 w 18881"/>
                  <a:gd name="connsiteY3" fmla="*/ 4034 h 20939"/>
                  <a:gd name="connsiteX4" fmla="*/ 17591 w 18881"/>
                  <a:gd name="connsiteY4" fmla="*/ 14161 h 20939"/>
                  <a:gd name="connsiteX5" fmla="*/ 18881 w 18881"/>
                  <a:gd name="connsiteY5" fmla="*/ 19375 h 20939"/>
                  <a:gd name="connsiteX6" fmla="*/ 13612 w 18881"/>
                  <a:gd name="connsiteY6" fmla="*/ 18798 h 20939"/>
                  <a:gd name="connsiteX7" fmla="*/ 8755 w 18881"/>
                  <a:gd name="connsiteY7" fmla="*/ 20939 h 20939"/>
                  <a:gd name="connsiteX8" fmla="*/ 5873 w 18881"/>
                  <a:gd name="connsiteY8" fmla="*/ 8700 h 20939"/>
                  <a:gd name="connsiteX9" fmla="*/ 988 w 18881"/>
                  <a:gd name="connsiteY9" fmla="*/ 7026 h 20939"/>
                  <a:gd name="connsiteX10" fmla="*/ 0 w 18881"/>
                  <a:gd name="connsiteY10" fmla="*/ 4007 h 2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81" h="20939">
                    <a:moveTo>
                      <a:pt x="0" y="4007"/>
                    </a:moveTo>
                    <a:lnTo>
                      <a:pt x="440" y="905"/>
                    </a:lnTo>
                    <a:lnTo>
                      <a:pt x="2223" y="0"/>
                    </a:lnTo>
                    <a:lnTo>
                      <a:pt x="6778" y="4034"/>
                    </a:lnTo>
                    <a:lnTo>
                      <a:pt x="17591" y="14161"/>
                    </a:lnTo>
                    <a:lnTo>
                      <a:pt x="18881" y="19375"/>
                    </a:lnTo>
                    <a:lnTo>
                      <a:pt x="13612" y="18798"/>
                    </a:lnTo>
                    <a:lnTo>
                      <a:pt x="8755" y="20939"/>
                    </a:lnTo>
                    <a:lnTo>
                      <a:pt x="5873" y="8700"/>
                    </a:lnTo>
                    <a:lnTo>
                      <a:pt x="988" y="7026"/>
                    </a:lnTo>
                    <a:lnTo>
                      <a:pt x="0" y="40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02" name="Freeform: Shape 4901">
                <a:extLst>
                  <a:ext uri="{FF2B5EF4-FFF2-40B4-BE49-F238E27FC236}">
                    <a16:creationId xmlns:a16="http://schemas.microsoft.com/office/drawing/2014/main" id="{3D43F212-8619-7914-6E6E-F19DCD2C3CFA}"/>
                  </a:ext>
                </a:extLst>
              </p:cNvPr>
              <p:cNvSpPr/>
              <p:nvPr/>
            </p:nvSpPr>
            <p:spPr>
              <a:xfrm>
                <a:off x="1881301" y="3899010"/>
                <a:ext cx="1262" cy="1033"/>
              </a:xfrm>
              <a:custGeom>
                <a:avLst/>
                <a:gdLst>
                  <a:gd name="connsiteX0" fmla="*/ 0 w 12102"/>
                  <a:gd name="connsiteY0" fmla="*/ 5544 h 9906"/>
                  <a:gd name="connsiteX1" fmla="*/ 1482 w 12102"/>
                  <a:gd name="connsiteY1" fmla="*/ 796 h 9906"/>
                  <a:gd name="connsiteX2" fmla="*/ 3184 w 12102"/>
                  <a:gd name="connsiteY2" fmla="*/ 0 h 9906"/>
                  <a:gd name="connsiteX3" fmla="*/ 4830 w 12102"/>
                  <a:gd name="connsiteY3" fmla="*/ 1235 h 9906"/>
                  <a:gd name="connsiteX4" fmla="*/ 7904 w 12102"/>
                  <a:gd name="connsiteY4" fmla="*/ 851 h 9906"/>
                  <a:gd name="connsiteX5" fmla="*/ 10895 w 12102"/>
                  <a:gd name="connsiteY5" fmla="*/ 5406 h 9906"/>
                  <a:gd name="connsiteX6" fmla="*/ 12103 w 12102"/>
                  <a:gd name="connsiteY6" fmla="*/ 5598 h 9906"/>
                  <a:gd name="connsiteX7" fmla="*/ 11224 w 12102"/>
                  <a:gd name="connsiteY7" fmla="*/ 8617 h 9906"/>
                  <a:gd name="connsiteX8" fmla="*/ 9304 w 12102"/>
                  <a:gd name="connsiteY8" fmla="*/ 9633 h 9906"/>
                  <a:gd name="connsiteX9" fmla="*/ 6285 w 12102"/>
                  <a:gd name="connsiteY9" fmla="*/ 9907 h 9906"/>
                  <a:gd name="connsiteX10" fmla="*/ 3430 w 12102"/>
                  <a:gd name="connsiteY10" fmla="*/ 7931 h 9906"/>
                  <a:gd name="connsiteX11" fmla="*/ 2141 w 12102"/>
                  <a:gd name="connsiteY11" fmla="*/ 5626 h 9906"/>
                  <a:gd name="connsiteX12" fmla="*/ 27 w 12102"/>
                  <a:gd name="connsiteY12" fmla="*/ 5571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2" h="9906">
                    <a:moveTo>
                      <a:pt x="0" y="5544"/>
                    </a:moveTo>
                    <a:lnTo>
                      <a:pt x="1482" y="796"/>
                    </a:lnTo>
                    <a:lnTo>
                      <a:pt x="3184" y="0"/>
                    </a:lnTo>
                    <a:lnTo>
                      <a:pt x="4830" y="1235"/>
                    </a:lnTo>
                    <a:lnTo>
                      <a:pt x="7904" y="851"/>
                    </a:lnTo>
                    <a:lnTo>
                      <a:pt x="10895" y="5406"/>
                    </a:lnTo>
                    <a:lnTo>
                      <a:pt x="12103" y="5598"/>
                    </a:lnTo>
                    <a:lnTo>
                      <a:pt x="11224" y="8617"/>
                    </a:lnTo>
                    <a:lnTo>
                      <a:pt x="9304" y="9633"/>
                    </a:lnTo>
                    <a:lnTo>
                      <a:pt x="6285" y="9907"/>
                    </a:lnTo>
                    <a:lnTo>
                      <a:pt x="3430" y="7931"/>
                    </a:lnTo>
                    <a:lnTo>
                      <a:pt x="2141" y="5626"/>
                    </a:lnTo>
                    <a:lnTo>
                      <a:pt x="27" y="55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03" name="Freeform: Shape 4902">
                <a:extLst>
                  <a:ext uri="{FF2B5EF4-FFF2-40B4-BE49-F238E27FC236}">
                    <a16:creationId xmlns:a16="http://schemas.microsoft.com/office/drawing/2014/main" id="{740CB291-B6A6-DBA0-CC13-74B4050B9FB5}"/>
                  </a:ext>
                </a:extLst>
              </p:cNvPr>
              <p:cNvSpPr/>
              <p:nvPr/>
            </p:nvSpPr>
            <p:spPr>
              <a:xfrm>
                <a:off x="1883814" y="3902651"/>
                <a:ext cx="1056" cy="1159"/>
              </a:xfrm>
              <a:custGeom>
                <a:avLst/>
                <a:gdLst>
                  <a:gd name="connsiteX0" fmla="*/ 6147 w 10126"/>
                  <a:gd name="connsiteY0" fmla="*/ 4857 h 11114"/>
                  <a:gd name="connsiteX1" fmla="*/ 9605 w 10126"/>
                  <a:gd name="connsiteY1" fmla="*/ 7821 h 11114"/>
                  <a:gd name="connsiteX2" fmla="*/ 10126 w 10126"/>
                  <a:gd name="connsiteY2" fmla="*/ 9633 h 11114"/>
                  <a:gd name="connsiteX3" fmla="*/ 7931 w 10126"/>
                  <a:gd name="connsiteY3" fmla="*/ 11115 h 11114"/>
                  <a:gd name="connsiteX4" fmla="*/ 906 w 10126"/>
                  <a:gd name="connsiteY4" fmla="*/ 8123 h 11114"/>
                  <a:gd name="connsiteX5" fmla="*/ 0 w 10126"/>
                  <a:gd name="connsiteY5" fmla="*/ 4171 h 11114"/>
                  <a:gd name="connsiteX6" fmla="*/ 2552 w 10126"/>
                  <a:gd name="connsiteY6" fmla="*/ 0 h 11114"/>
                  <a:gd name="connsiteX7" fmla="*/ 7958 w 10126"/>
                  <a:gd name="connsiteY7" fmla="*/ 3623 h 11114"/>
                  <a:gd name="connsiteX8" fmla="*/ 6175 w 10126"/>
                  <a:gd name="connsiteY8" fmla="*/ 4857 h 11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26" h="11114">
                    <a:moveTo>
                      <a:pt x="6147" y="4857"/>
                    </a:moveTo>
                    <a:lnTo>
                      <a:pt x="9605" y="7821"/>
                    </a:lnTo>
                    <a:lnTo>
                      <a:pt x="10126" y="9633"/>
                    </a:lnTo>
                    <a:lnTo>
                      <a:pt x="7931" y="11115"/>
                    </a:lnTo>
                    <a:lnTo>
                      <a:pt x="906" y="8123"/>
                    </a:lnTo>
                    <a:lnTo>
                      <a:pt x="0" y="4171"/>
                    </a:lnTo>
                    <a:lnTo>
                      <a:pt x="2552" y="0"/>
                    </a:lnTo>
                    <a:lnTo>
                      <a:pt x="7958" y="3623"/>
                    </a:lnTo>
                    <a:lnTo>
                      <a:pt x="6175" y="48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04" name="Freeform: Shape 4903">
                <a:extLst>
                  <a:ext uri="{FF2B5EF4-FFF2-40B4-BE49-F238E27FC236}">
                    <a16:creationId xmlns:a16="http://schemas.microsoft.com/office/drawing/2014/main" id="{872C0EF1-5959-D957-AFB4-527091A56D69}"/>
                  </a:ext>
                </a:extLst>
              </p:cNvPr>
              <p:cNvSpPr/>
              <p:nvPr/>
            </p:nvSpPr>
            <p:spPr>
              <a:xfrm>
                <a:off x="1880471" y="3894499"/>
                <a:ext cx="1234" cy="882"/>
              </a:xfrm>
              <a:custGeom>
                <a:avLst/>
                <a:gdLst>
                  <a:gd name="connsiteX0" fmla="*/ 11663 w 11828"/>
                  <a:gd name="connsiteY0" fmla="*/ 7464 h 8452"/>
                  <a:gd name="connsiteX1" fmla="*/ 6531 w 11828"/>
                  <a:gd name="connsiteY1" fmla="*/ 8452 h 8452"/>
                  <a:gd name="connsiteX2" fmla="*/ 2963 w 11828"/>
                  <a:gd name="connsiteY2" fmla="*/ 7053 h 8452"/>
                  <a:gd name="connsiteX3" fmla="*/ 0 w 11828"/>
                  <a:gd name="connsiteY3" fmla="*/ 4363 h 8452"/>
                  <a:gd name="connsiteX4" fmla="*/ 192 w 11828"/>
                  <a:gd name="connsiteY4" fmla="*/ 3705 h 8452"/>
                  <a:gd name="connsiteX5" fmla="*/ 4089 w 11828"/>
                  <a:gd name="connsiteY5" fmla="*/ 2991 h 8452"/>
                  <a:gd name="connsiteX6" fmla="*/ 7821 w 11828"/>
                  <a:gd name="connsiteY6" fmla="*/ 0 h 8452"/>
                  <a:gd name="connsiteX7" fmla="*/ 9550 w 11828"/>
                  <a:gd name="connsiteY7" fmla="*/ 4528 h 8452"/>
                  <a:gd name="connsiteX8" fmla="*/ 11828 w 11828"/>
                  <a:gd name="connsiteY8" fmla="*/ 5928 h 8452"/>
                  <a:gd name="connsiteX9" fmla="*/ 11663 w 11828"/>
                  <a:gd name="connsiteY9" fmla="*/ 7464 h 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28" h="8452">
                    <a:moveTo>
                      <a:pt x="11663" y="7464"/>
                    </a:moveTo>
                    <a:lnTo>
                      <a:pt x="6531" y="8452"/>
                    </a:lnTo>
                    <a:lnTo>
                      <a:pt x="2963" y="7053"/>
                    </a:lnTo>
                    <a:lnTo>
                      <a:pt x="0" y="4363"/>
                    </a:lnTo>
                    <a:lnTo>
                      <a:pt x="192" y="3705"/>
                    </a:lnTo>
                    <a:lnTo>
                      <a:pt x="4089" y="2991"/>
                    </a:lnTo>
                    <a:lnTo>
                      <a:pt x="7821" y="0"/>
                    </a:lnTo>
                    <a:lnTo>
                      <a:pt x="9550" y="4528"/>
                    </a:lnTo>
                    <a:lnTo>
                      <a:pt x="11828" y="5928"/>
                    </a:lnTo>
                    <a:lnTo>
                      <a:pt x="11663" y="74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05" name="Freeform: Shape 4904">
                <a:extLst>
                  <a:ext uri="{FF2B5EF4-FFF2-40B4-BE49-F238E27FC236}">
                    <a16:creationId xmlns:a16="http://schemas.microsoft.com/office/drawing/2014/main" id="{F4245AE4-AD2D-E436-B221-ADADCF5A337D}"/>
                  </a:ext>
                </a:extLst>
              </p:cNvPr>
              <p:cNvSpPr/>
              <p:nvPr/>
            </p:nvSpPr>
            <p:spPr>
              <a:xfrm>
                <a:off x="1881089" y="3892610"/>
                <a:ext cx="509" cy="1637"/>
              </a:xfrm>
              <a:custGeom>
                <a:avLst/>
                <a:gdLst>
                  <a:gd name="connsiteX0" fmla="*/ 2223 w 4884"/>
                  <a:gd name="connsiteY0" fmla="*/ 2772 h 15697"/>
                  <a:gd name="connsiteX1" fmla="*/ 4665 w 4884"/>
                  <a:gd name="connsiteY1" fmla="*/ 10511 h 15697"/>
                  <a:gd name="connsiteX2" fmla="*/ 4885 w 4884"/>
                  <a:gd name="connsiteY2" fmla="*/ 14380 h 15697"/>
                  <a:gd name="connsiteX3" fmla="*/ 3019 w 4884"/>
                  <a:gd name="connsiteY3" fmla="*/ 15697 h 15697"/>
                  <a:gd name="connsiteX4" fmla="*/ 2196 w 4884"/>
                  <a:gd name="connsiteY4" fmla="*/ 14627 h 15697"/>
                  <a:gd name="connsiteX5" fmla="*/ 1702 w 4884"/>
                  <a:gd name="connsiteY5" fmla="*/ 9083 h 15697"/>
                  <a:gd name="connsiteX6" fmla="*/ 0 w 4884"/>
                  <a:gd name="connsiteY6" fmla="*/ 4226 h 15697"/>
                  <a:gd name="connsiteX7" fmla="*/ 1345 w 4884"/>
                  <a:gd name="connsiteY7" fmla="*/ 0 h 15697"/>
                  <a:gd name="connsiteX8" fmla="*/ 2415 w 4884"/>
                  <a:gd name="connsiteY8" fmla="*/ 192 h 15697"/>
                  <a:gd name="connsiteX9" fmla="*/ 2223 w 4884"/>
                  <a:gd name="connsiteY9" fmla="*/ 2799 h 1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4" h="15697">
                    <a:moveTo>
                      <a:pt x="2223" y="2772"/>
                    </a:moveTo>
                    <a:lnTo>
                      <a:pt x="4665" y="10511"/>
                    </a:lnTo>
                    <a:lnTo>
                      <a:pt x="4885" y="14380"/>
                    </a:lnTo>
                    <a:lnTo>
                      <a:pt x="3019" y="15697"/>
                    </a:lnTo>
                    <a:lnTo>
                      <a:pt x="2196" y="14627"/>
                    </a:lnTo>
                    <a:lnTo>
                      <a:pt x="1702" y="9083"/>
                    </a:lnTo>
                    <a:lnTo>
                      <a:pt x="0" y="4226"/>
                    </a:lnTo>
                    <a:lnTo>
                      <a:pt x="1345" y="0"/>
                    </a:lnTo>
                    <a:lnTo>
                      <a:pt x="2415" y="192"/>
                    </a:lnTo>
                    <a:lnTo>
                      <a:pt x="2223" y="27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06" name="Freeform: Shape 4905">
                <a:extLst>
                  <a:ext uri="{FF2B5EF4-FFF2-40B4-BE49-F238E27FC236}">
                    <a16:creationId xmlns:a16="http://schemas.microsoft.com/office/drawing/2014/main" id="{B6FA207B-0D0F-9F6C-307B-E1547809856B}"/>
                  </a:ext>
                </a:extLst>
              </p:cNvPr>
              <p:cNvSpPr/>
              <p:nvPr/>
            </p:nvSpPr>
            <p:spPr>
              <a:xfrm>
                <a:off x="1884507" y="3904923"/>
                <a:ext cx="804" cy="999"/>
              </a:xfrm>
              <a:custGeom>
                <a:avLst/>
                <a:gdLst>
                  <a:gd name="connsiteX0" fmla="*/ 0 w 7711"/>
                  <a:gd name="connsiteY0" fmla="*/ 3595 h 9577"/>
                  <a:gd name="connsiteX1" fmla="*/ 1235 w 7711"/>
                  <a:gd name="connsiteY1" fmla="*/ 0 h 9577"/>
                  <a:gd name="connsiteX2" fmla="*/ 3485 w 7711"/>
                  <a:gd name="connsiteY2" fmla="*/ 55 h 9577"/>
                  <a:gd name="connsiteX3" fmla="*/ 7712 w 7711"/>
                  <a:gd name="connsiteY3" fmla="*/ 7327 h 9577"/>
                  <a:gd name="connsiteX4" fmla="*/ 5215 w 7711"/>
                  <a:gd name="connsiteY4" fmla="*/ 9578 h 9577"/>
                  <a:gd name="connsiteX5" fmla="*/ 1235 w 7711"/>
                  <a:gd name="connsiteY5" fmla="*/ 6202 h 9577"/>
                  <a:gd name="connsiteX6" fmla="*/ 0 w 7711"/>
                  <a:gd name="connsiteY6" fmla="*/ 3595 h 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1" h="9577">
                    <a:moveTo>
                      <a:pt x="0" y="3595"/>
                    </a:moveTo>
                    <a:lnTo>
                      <a:pt x="1235" y="0"/>
                    </a:lnTo>
                    <a:lnTo>
                      <a:pt x="3485" y="55"/>
                    </a:lnTo>
                    <a:lnTo>
                      <a:pt x="7712" y="7327"/>
                    </a:lnTo>
                    <a:lnTo>
                      <a:pt x="5215" y="9578"/>
                    </a:lnTo>
                    <a:lnTo>
                      <a:pt x="1235" y="6202"/>
                    </a:lnTo>
                    <a:lnTo>
                      <a:pt x="0" y="35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07" name="Freeform: Shape 4906">
                <a:extLst>
                  <a:ext uri="{FF2B5EF4-FFF2-40B4-BE49-F238E27FC236}">
                    <a16:creationId xmlns:a16="http://schemas.microsoft.com/office/drawing/2014/main" id="{03A2BCEA-4CF6-A0CB-98A8-D0FF7A348158}"/>
                  </a:ext>
                </a:extLst>
              </p:cNvPr>
              <p:cNvSpPr/>
              <p:nvPr/>
            </p:nvSpPr>
            <p:spPr>
              <a:xfrm>
                <a:off x="1880878" y="3890712"/>
                <a:ext cx="435" cy="1506"/>
              </a:xfrm>
              <a:custGeom>
                <a:avLst/>
                <a:gdLst>
                  <a:gd name="connsiteX0" fmla="*/ 0 w 4171"/>
                  <a:gd name="connsiteY0" fmla="*/ 0 h 14435"/>
                  <a:gd name="connsiteX1" fmla="*/ 1235 w 4171"/>
                  <a:gd name="connsiteY1" fmla="*/ 0 h 14435"/>
                  <a:gd name="connsiteX2" fmla="*/ 3815 w 4171"/>
                  <a:gd name="connsiteY2" fmla="*/ 8370 h 14435"/>
                  <a:gd name="connsiteX3" fmla="*/ 4171 w 4171"/>
                  <a:gd name="connsiteY3" fmla="*/ 12349 h 14435"/>
                  <a:gd name="connsiteX4" fmla="*/ 3787 w 4171"/>
                  <a:gd name="connsiteY4" fmla="*/ 14435 h 14435"/>
                  <a:gd name="connsiteX5" fmla="*/ 2744 w 4171"/>
                  <a:gd name="connsiteY5" fmla="*/ 13859 h 14435"/>
                  <a:gd name="connsiteX6" fmla="*/ 2058 w 4171"/>
                  <a:gd name="connsiteY6" fmla="*/ 8178 h 14435"/>
                  <a:gd name="connsiteX7" fmla="*/ 1207 w 4171"/>
                  <a:gd name="connsiteY7" fmla="*/ 6010 h 14435"/>
                  <a:gd name="connsiteX8" fmla="*/ 27 w 4171"/>
                  <a:gd name="connsiteY8" fmla="*/ 0 h 1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1" h="14435">
                    <a:moveTo>
                      <a:pt x="0" y="0"/>
                    </a:moveTo>
                    <a:lnTo>
                      <a:pt x="1235" y="0"/>
                    </a:lnTo>
                    <a:lnTo>
                      <a:pt x="3815" y="8370"/>
                    </a:lnTo>
                    <a:lnTo>
                      <a:pt x="4171" y="12349"/>
                    </a:lnTo>
                    <a:lnTo>
                      <a:pt x="3787" y="14435"/>
                    </a:lnTo>
                    <a:lnTo>
                      <a:pt x="2744" y="13859"/>
                    </a:lnTo>
                    <a:lnTo>
                      <a:pt x="2058" y="8178"/>
                    </a:lnTo>
                    <a:lnTo>
                      <a:pt x="1207" y="6010"/>
                    </a:lnTo>
                    <a:lnTo>
                      <a:pt x="2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08" name="Freeform: Shape 4907">
                <a:extLst>
                  <a:ext uri="{FF2B5EF4-FFF2-40B4-BE49-F238E27FC236}">
                    <a16:creationId xmlns:a16="http://schemas.microsoft.com/office/drawing/2014/main" id="{F397D0F4-DF0B-ABF1-5703-E568834D989E}"/>
                  </a:ext>
                </a:extLst>
              </p:cNvPr>
              <p:cNvSpPr/>
              <p:nvPr/>
            </p:nvSpPr>
            <p:spPr>
              <a:xfrm>
                <a:off x="1879741" y="3891871"/>
                <a:ext cx="1002" cy="630"/>
              </a:xfrm>
              <a:custGeom>
                <a:avLst/>
                <a:gdLst>
                  <a:gd name="connsiteX0" fmla="*/ 5351 w 9605"/>
                  <a:gd name="connsiteY0" fmla="*/ 6038 h 6037"/>
                  <a:gd name="connsiteX1" fmla="*/ 1016 w 9605"/>
                  <a:gd name="connsiteY1" fmla="*/ 6038 h 6037"/>
                  <a:gd name="connsiteX2" fmla="*/ 0 w 9605"/>
                  <a:gd name="connsiteY2" fmla="*/ 5242 h 6037"/>
                  <a:gd name="connsiteX3" fmla="*/ 4309 w 9605"/>
                  <a:gd name="connsiteY3" fmla="*/ 1345 h 6037"/>
                  <a:gd name="connsiteX4" fmla="*/ 8589 w 9605"/>
                  <a:gd name="connsiteY4" fmla="*/ 0 h 6037"/>
                  <a:gd name="connsiteX5" fmla="*/ 9605 w 9605"/>
                  <a:gd name="connsiteY5" fmla="*/ 577 h 6037"/>
                  <a:gd name="connsiteX6" fmla="*/ 7739 w 9605"/>
                  <a:gd name="connsiteY6" fmla="*/ 3733 h 6037"/>
                  <a:gd name="connsiteX7" fmla="*/ 5379 w 9605"/>
                  <a:gd name="connsiteY7" fmla="*/ 6038 h 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5" h="6037">
                    <a:moveTo>
                      <a:pt x="5351" y="6038"/>
                    </a:moveTo>
                    <a:lnTo>
                      <a:pt x="1016" y="6038"/>
                    </a:lnTo>
                    <a:cubicBezTo>
                      <a:pt x="1016" y="6038"/>
                      <a:pt x="0" y="5242"/>
                      <a:pt x="0" y="5242"/>
                    </a:cubicBezTo>
                    <a:lnTo>
                      <a:pt x="4309" y="1345"/>
                    </a:lnTo>
                    <a:lnTo>
                      <a:pt x="8589" y="0"/>
                    </a:lnTo>
                    <a:lnTo>
                      <a:pt x="9605" y="577"/>
                    </a:lnTo>
                    <a:lnTo>
                      <a:pt x="7739" y="3733"/>
                    </a:lnTo>
                    <a:lnTo>
                      <a:pt x="5379" y="60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09" name="Freeform: Shape 4908">
                <a:extLst>
                  <a:ext uri="{FF2B5EF4-FFF2-40B4-BE49-F238E27FC236}">
                    <a16:creationId xmlns:a16="http://schemas.microsoft.com/office/drawing/2014/main" id="{4B6C9778-51A6-97CA-4DE2-AB84BFB70073}"/>
                  </a:ext>
                </a:extLst>
              </p:cNvPr>
              <p:cNvSpPr/>
              <p:nvPr/>
            </p:nvSpPr>
            <p:spPr>
              <a:xfrm>
                <a:off x="1881107" y="3895993"/>
                <a:ext cx="758" cy="824"/>
              </a:xfrm>
              <a:custGeom>
                <a:avLst/>
                <a:gdLst>
                  <a:gd name="connsiteX0" fmla="*/ 55 w 7272"/>
                  <a:gd name="connsiteY0" fmla="*/ 3815 h 7903"/>
                  <a:gd name="connsiteX1" fmla="*/ 2223 w 7272"/>
                  <a:gd name="connsiteY1" fmla="*/ 0 h 7903"/>
                  <a:gd name="connsiteX2" fmla="*/ 4171 w 7272"/>
                  <a:gd name="connsiteY2" fmla="*/ 3760 h 7903"/>
                  <a:gd name="connsiteX3" fmla="*/ 6037 w 7272"/>
                  <a:gd name="connsiteY3" fmla="*/ 3897 h 7903"/>
                  <a:gd name="connsiteX4" fmla="*/ 7272 w 7272"/>
                  <a:gd name="connsiteY4" fmla="*/ 6339 h 7903"/>
                  <a:gd name="connsiteX5" fmla="*/ 4254 w 7272"/>
                  <a:gd name="connsiteY5" fmla="*/ 7904 h 7903"/>
                  <a:gd name="connsiteX6" fmla="*/ 1784 w 7272"/>
                  <a:gd name="connsiteY6" fmla="*/ 7327 h 7903"/>
                  <a:gd name="connsiteX7" fmla="*/ 0 w 7272"/>
                  <a:gd name="connsiteY7" fmla="*/ 3815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72" h="7903">
                    <a:moveTo>
                      <a:pt x="55" y="3815"/>
                    </a:moveTo>
                    <a:lnTo>
                      <a:pt x="2223" y="0"/>
                    </a:lnTo>
                    <a:lnTo>
                      <a:pt x="4171" y="3760"/>
                    </a:lnTo>
                    <a:lnTo>
                      <a:pt x="6037" y="3897"/>
                    </a:lnTo>
                    <a:lnTo>
                      <a:pt x="7272" y="6339"/>
                    </a:lnTo>
                    <a:lnTo>
                      <a:pt x="4254" y="7904"/>
                    </a:lnTo>
                    <a:lnTo>
                      <a:pt x="1784" y="7327"/>
                    </a:lnTo>
                    <a:lnTo>
                      <a:pt x="0" y="38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10" name="Freeform: Shape 4909">
                <a:extLst>
                  <a:ext uri="{FF2B5EF4-FFF2-40B4-BE49-F238E27FC236}">
                    <a16:creationId xmlns:a16="http://schemas.microsoft.com/office/drawing/2014/main" id="{10344010-08E2-C7BF-BAB3-61B60A23FDEF}"/>
                  </a:ext>
                </a:extLst>
              </p:cNvPr>
              <p:cNvSpPr/>
              <p:nvPr/>
            </p:nvSpPr>
            <p:spPr>
              <a:xfrm>
                <a:off x="1878845" y="3886922"/>
                <a:ext cx="532" cy="750"/>
              </a:xfrm>
              <a:custGeom>
                <a:avLst/>
                <a:gdLst>
                  <a:gd name="connsiteX0" fmla="*/ 5022 w 5104"/>
                  <a:gd name="connsiteY0" fmla="*/ 5845 h 7190"/>
                  <a:gd name="connsiteX1" fmla="*/ 2277 w 5104"/>
                  <a:gd name="connsiteY1" fmla="*/ 7190 h 7190"/>
                  <a:gd name="connsiteX2" fmla="*/ 0 w 5104"/>
                  <a:gd name="connsiteY2" fmla="*/ 3732 h 7190"/>
                  <a:gd name="connsiteX3" fmla="*/ 164 w 5104"/>
                  <a:gd name="connsiteY3" fmla="*/ 1976 h 7190"/>
                  <a:gd name="connsiteX4" fmla="*/ 2936 w 5104"/>
                  <a:gd name="connsiteY4" fmla="*/ 0 h 7190"/>
                  <a:gd name="connsiteX5" fmla="*/ 5104 w 5104"/>
                  <a:gd name="connsiteY5" fmla="*/ 3156 h 7190"/>
                  <a:gd name="connsiteX6" fmla="*/ 5022 w 5104"/>
                  <a:gd name="connsiteY6" fmla="*/ 5845 h 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4" h="7190">
                    <a:moveTo>
                      <a:pt x="5022" y="5845"/>
                    </a:moveTo>
                    <a:lnTo>
                      <a:pt x="2277" y="7190"/>
                    </a:lnTo>
                    <a:lnTo>
                      <a:pt x="0" y="3732"/>
                    </a:lnTo>
                    <a:lnTo>
                      <a:pt x="164" y="1976"/>
                    </a:lnTo>
                    <a:lnTo>
                      <a:pt x="2936" y="0"/>
                    </a:lnTo>
                    <a:lnTo>
                      <a:pt x="5104" y="3156"/>
                    </a:lnTo>
                    <a:lnTo>
                      <a:pt x="5022" y="58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11" name="Freeform: Shape 4910">
                <a:extLst>
                  <a:ext uri="{FF2B5EF4-FFF2-40B4-BE49-F238E27FC236}">
                    <a16:creationId xmlns:a16="http://schemas.microsoft.com/office/drawing/2014/main" id="{8B6255F1-1B76-FAAE-8985-CE8EA979CAD1}"/>
                  </a:ext>
                </a:extLst>
              </p:cNvPr>
              <p:cNvSpPr/>
              <p:nvPr/>
            </p:nvSpPr>
            <p:spPr>
              <a:xfrm>
                <a:off x="1878951" y="3888488"/>
                <a:ext cx="615" cy="538"/>
              </a:xfrm>
              <a:custGeom>
                <a:avLst/>
                <a:gdLst>
                  <a:gd name="connsiteX0" fmla="*/ 0 w 5899"/>
                  <a:gd name="connsiteY0" fmla="*/ 4473 h 5159"/>
                  <a:gd name="connsiteX1" fmla="*/ 357 w 5899"/>
                  <a:gd name="connsiteY1" fmla="*/ 1070 h 5159"/>
                  <a:gd name="connsiteX2" fmla="*/ 1564 w 5899"/>
                  <a:gd name="connsiteY2" fmla="*/ 0 h 5159"/>
                  <a:gd name="connsiteX3" fmla="*/ 5406 w 5899"/>
                  <a:gd name="connsiteY3" fmla="*/ 274 h 5159"/>
                  <a:gd name="connsiteX4" fmla="*/ 5900 w 5899"/>
                  <a:gd name="connsiteY4" fmla="*/ 1921 h 5159"/>
                  <a:gd name="connsiteX5" fmla="*/ 3814 w 5899"/>
                  <a:gd name="connsiteY5" fmla="*/ 5159 h 5159"/>
                  <a:gd name="connsiteX6" fmla="*/ 27 w 5899"/>
                  <a:gd name="connsiteY6" fmla="*/ 4501 h 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99" h="5159">
                    <a:moveTo>
                      <a:pt x="0" y="4473"/>
                    </a:moveTo>
                    <a:lnTo>
                      <a:pt x="357" y="1070"/>
                    </a:lnTo>
                    <a:lnTo>
                      <a:pt x="1564" y="0"/>
                    </a:lnTo>
                    <a:lnTo>
                      <a:pt x="5406" y="274"/>
                    </a:lnTo>
                    <a:lnTo>
                      <a:pt x="5900" y="1921"/>
                    </a:lnTo>
                    <a:lnTo>
                      <a:pt x="3814" y="5159"/>
                    </a:lnTo>
                    <a:lnTo>
                      <a:pt x="27" y="45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12" name="Freeform: Shape 4911">
                <a:extLst>
                  <a:ext uri="{FF2B5EF4-FFF2-40B4-BE49-F238E27FC236}">
                    <a16:creationId xmlns:a16="http://schemas.microsoft.com/office/drawing/2014/main" id="{B5CEBF85-00D0-8AA5-0606-1722A2311ADA}"/>
                  </a:ext>
                </a:extLst>
              </p:cNvPr>
              <p:cNvSpPr/>
              <p:nvPr/>
            </p:nvSpPr>
            <p:spPr>
              <a:xfrm>
                <a:off x="1881267" y="3895546"/>
                <a:ext cx="733" cy="452"/>
              </a:xfrm>
              <a:custGeom>
                <a:avLst/>
                <a:gdLst>
                  <a:gd name="connsiteX0" fmla="*/ 27 w 7024"/>
                  <a:gd name="connsiteY0" fmla="*/ 2772 h 4335"/>
                  <a:gd name="connsiteX1" fmla="*/ 1427 w 7024"/>
                  <a:gd name="connsiteY1" fmla="*/ 0 h 4335"/>
                  <a:gd name="connsiteX2" fmla="*/ 3320 w 7024"/>
                  <a:gd name="connsiteY2" fmla="*/ 1125 h 4335"/>
                  <a:gd name="connsiteX3" fmla="*/ 5955 w 7024"/>
                  <a:gd name="connsiteY3" fmla="*/ 1043 h 4335"/>
                  <a:gd name="connsiteX4" fmla="*/ 7025 w 7024"/>
                  <a:gd name="connsiteY4" fmla="*/ 3924 h 4335"/>
                  <a:gd name="connsiteX5" fmla="*/ 5625 w 7024"/>
                  <a:gd name="connsiteY5" fmla="*/ 4336 h 4335"/>
                  <a:gd name="connsiteX6" fmla="*/ 3073 w 7024"/>
                  <a:gd name="connsiteY6" fmla="*/ 2827 h 4335"/>
                  <a:gd name="connsiteX7" fmla="*/ 0 w 7024"/>
                  <a:gd name="connsiteY7" fmla="*/ 2772 h 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4" h="4335">
                    <a:moveTo>
                      <a:pt x="27" y="2772"/>
                    </a:moveTo>
                    <a:lnTo>
                      <a:pt x="1427" y="0"/>
                    </a:lnTo>
                    <a:lnTo>
                      <a:pt x="3320" y="1125"/>
                    </a:lnTo>
                    <a:lnTo>
                      <a:pt x="5955" y="1043"/>
                    </a:lnTo>
                    <a:lnTo>
                      <a:pt x="7025" y="3924"/>
                    </a:lnTo>
                    <a:lnTo>
                      <a:pt x="5625" y="4336"/>
                    </a:lnTo>
                    <a:lnTo>
                      <a:pt x="3073" y="2827"/>
                    </a:lnTo>
                    <a:lnTo>
                      <a:pt x="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13" name="Freeform: Shape 4912">
                <a:extLst>
                  <a:ext uri="{FF2B5EF4-FFF2-40B4-BE49-F238E27FC236}">
                    <a16:creationId xmlns:a16="http://schemas.microsoft.com/office/drawing/2014/main" id="{349C9BD4-9291-678C-01EF-9C008453D10D}"/>
                  </a:ext>
                </a:extLst>
              </p:cNvPr>
              <p:cNvSpPr/>
              <p:nvPr/>
            </p:nvSpPr>
            <p:spPr>
              <a:xfrm>
                <a:off x="1886084" y="3907528"/>
                <a:ext cx="515" cy="381"/>
              </a:xfrm>
              <a:custGeom>
                <a:avLst/>
                <a:gdLst>
                  <a:gd name="connsiteX0" fmla="*/ 0 w 4939"/>
                  <a:gd name="connsiteY0" fmla="*/ 1619 h 3649"/>
                  <a:gd name="connsiteX1" fmla="*/ 933 w 4939"/>
                  <a:gd name="connsiteY1" fmla="*/ 55 h 3649"/>
                  <a:gd name="connsiteX2" fmla="*/ 2992 w 4939"/>
                  <a:gd name="connsiteY2" fmla="*/ 0 h 3649"/>
                  <a:gd name="connsiteX3" fmla="*/ 4940 w 4939"/>
                  <a:gd name="connsiteY3" fmla="*/ 1839 h 3649"/>
                  <a:gd name="connsiteX4" fmla="*/ 3952 w 4939"/>
                  <a:gd name="connsiteY4" fmla="*/ 3650 h 3649"/>
                  <a:gd name="connsiteX5" fmla="*/ 851 w 4939"/>
                  <a:gd name="connsiteY5" fmla="*/ 3156 h 3649"/>
                  <a:gd name="connsiteX6" fmla="*/ 0 w 4939"/>
                  <a:gd name="connsiteY6" fmla="*/ 1592 h 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39" h="3649">
                    <a:moveTo>
                      <a:pt x="0" y="1619"/>
                    </a:moveTo>
                    <a:lnTo>
                      <a:pt x="933" y="55"/>
                    </a:lnTo>
                    <a:lnTo>
                      <a:pt x="2992" y="0"/>
                    </a:lnTo>
                    <a:lnTo>
                      <a:pt x="4940" y="1839"/>
                    </a:lnTo>
                    <a:lnTo>
                      <a:pt x="3952" y="3650"/>
                    </a:lnTo>
                    <a:lnTo>
                      <a:pt x="851" y="3156"/>
                    </a:lnTo>
                    <a:lnTo>
                      <a:pt x="0" y="1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14" name="Freeform: Shape 4913">
                <a:extLst>
                  <a:ext uri="{FF2B5EF4-FFF2-40B4-BE49-F238E27FC236}">
                    <a16:creationId xmlns:a16="http://schemas.microsoft.com/office/drawing/2014/main" id="{A7897607-4DC2-E9A5-3CD4-9C03A02B54BF}"/>
                  </a:ext>
                </a:extLst>
              </p:cNvPr>
              <p:cNvSpPr/>
              <p:nvPr/>
            </p:nvSpPr>
            <p:spPr>
              <a:xfrm>
                <a:off x="1881865" y="3896568"/>
                <a:ext cx="444" cy="361"/>
              </a:xfrm>
              <a:custGeom>
                <a:avLst/>
                <a:gdLst>
                  <a:gd name="connsiteX0" fmla="*/ 27 w 4253"/>
                  <a:gd name="connsiteY0" fmla="*/ 1427 h 3457"/>
                  <a:gd name="connsiteX1" fmla="*/ 2305 w 4253"/>
                  <a:gd name="connsiteY1" fmla="*/ 0 h 3457"/>
                  <a:gd name="connsiteX2" fmla="*/ 4254 w 4253"/>
                  <a:gd name="connsiteY2" fmla="*/ 1509 h 3457"/>
                  <a:gd name="connsiteX3" fmla="*/ 3925 w 4253"/>
                  <a:gd name="connsiteY3" fmla="*/ 3458 h 3457"/>
                  <a:gd name="connsiteX4" fmla="*/ 0 w 4253"/>
                  <a:gd name="connsiteY4" fmla="*/ 1427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3457">
                    <a:moveTo>
                      <a:pt x="27" y="1427"/>
                    </a:moveTo>
                    <a:lnTo>
                      <a:pt x="2305" y="0"/>
                    </a:lnTo>
                    <a:lnTo>
                      <a:pt x="4254" y="1509"/>
                    </a:lnTo>
                    <a:lnTo>
                      <a:pt x="3925" y="3458"/>
                    </a:lnTo>
                    <a:lnTo>
                      <a:pt x="0"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15" name="Freeform: Shape 4914">
                <a:extLst>
                  <a:ext uri="{FF2B5EF4-FFF2-40B4-BE49-F238E27FC236}">
                    <a16:creationId xmlns:a16="http://schemas.microsoft.com/office/drawing/2014/main" id="{AFDFBA1A-B1AD-7A16-12E1-BABCA2ED7EAD}"/>
                  </a:ext>
                </a:extLst>
              </p:cNvPr>
              <p:cNvSpPr/>
              <p:nvPr/>
            </p:nvSpPr>
            <p:spPr>
              <a:xfrm>
                <a:off x="1878479" y="3886181"/>
                <a:ext cx="426" cy="366"/>
              </a:xfrm>
              <a:custGeom>
                <a:avLst/>
                <a:gdLst>
                  <a:gd name="connsiteX0" fmla="*/ 0 w 4088"/>
                  <a:gd name="connsiteY0" fmla="*/ 1838 h 3512"/>
                  <a:gd name="connsiteX1" fmla="*/ 1729 w 4088"/>
                  <a:gd name="connsiteY1" fmla="*/ 0 h 3512"/>
                  <a:gd name="connsiteX2" fmla="*/ 4089 w 4088"/>
                  <a:gd name="connsiteY2" fmla="*/ 2278 h 3512"/>
                  <a:gd name="connsiteX3" fmla="*/ 1729 w 4088"/>
                  <a:gd name="connsiteY3" fmla="*/ 3512 h 3512"/>
                  <a:gd name="connsiteX4" fmla="*/ 0 w 4088"/>
                  <a:gd name="connsiteY4" fmla="*/ 1838 h 3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3512">
                    <a:moveTo>
                      <a:pt x="0" y="1838"/>
                    </a:moveTo>
                    <a:lnTo>
                      <a:pt x="1729" y="0"/>
                    </a:lnTo>
                    <a:lnTo>
                      <a:pt x="4089" y="2278"/>
                    </a:lnTo>
                    <a:lnTo>
                      <a:pt x="1729" y="3512"/>
                    </a:lnTo>
                    <a:lnTo>
                      <a:pt x="0"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16" name="Freeform: Shape 4915">
                <a:extLst>
                  <a:ext uri="{FF2B5EF4-FFF2-40B4-BE49-F238E27FC236}">
                    <a16:creationId xmlns:a16="http://schemas.microsoft.com/office/drawing/2014/main" id="{8C4D2FA1-5D39-078C-A6D4-A23C15CE3051}"/>
                  </a:ext>
                </a:extLst>
              </p:cNvPr>
              <p:cNvSpPr/>
              <p:nvPr/>
            </p:nvSpPr>
            <p:spPr>
              <a:xfrm>
                <a:off x="1879552" y="3886590"/>
                <a:ext cx="398" cy="395"/>
              </a:xfrm>
              <a:custGeom>
                <a:avLst/>
                <a:gdLst>
                  <a:gd name="connsiteX0" fmla="*/ 0 w 3814"/>
                  <a:gd name="connsiteY0" fmla="*/ 2058 h 3787"/>
                  <a:gd name="connsiteX1" fmla="*/ 2415 w 3814"/>
                  <a:gd name="connsiteY1" fmla="*/ 0 h 3787"/>
                  <a:gd name="connsiteX2" fmla="*/ 3814 w 3814"/>
                  <a:gd name="connsiteY2" fmla="*/ 2251 h 3787"/>
                  <a:gd name="connsiteX3" fmla="*/ 2332 w 3814"/>
                  <a:gd name="connsiteY3" fmla="*/ 3787 h 3787"/>
                  <a:gd name="connsiteX4" fmla="*/ 0 w 3814"/>
                  <a:gd name="connsiteY4" fmla="*/ 2058 h 3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3787">
                    <a:moveTo>
                      <a:pt x="0" y="2058"/>
                    </a:moveTo>
                    <a:lnTo>
                      <a:pt x="2415" y="0"/>
                    </a:lnTo>
                    <a:lnTo>
                      <a:pt x="3814" y="2251"/>
                    </a:lnTo>
                    <a:lnTo>
                      <a:pt x="2332" y="3787"/>
                    </a:lnTo>
                    <a:lnTo>
                      <a:pt x="0"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17" name="Freeform: Shape 4916">
                <a:extLst>
                  <a:ext uri="{FF2B5EF4-FFF2-40B4-BE49-F238E27FC236}">
                    <a16:creationId xmlns:a16="http://schemas.microsoft.com/office/drawing/2014/main" id="{C8C3625E-1899-B88C-08AF-0543B83BEF06}"/>
                  </a:ext>
                </a:extLst>
              </p:cNvPr>
              <p:cNvSpPr/>
              <p:nvPr/>
            </p:nvSpPr>
            <p:spPr>
              <a:xfrm>
                <a:off x="1876584" y="3885800"/>
                <a:ext cx="315" cy="406"/>
              </a:xfrm>
              <a:custGeom>
                <a:avLst/>
                <a:gdLst>
                  <a:gd name="connsiteX0" fmla="*/ 0 w 3018"/>
                  <a:gd name="connsiteY0" fmla="*/ 988 h 3897"/>
                  <a:gd name="connsiteX1" fmla="*/ 1647 w 3018"/>
                  <a:gd name="connsiteY1" fmla="*/ 0 h 3897"/>
                  <a:gd name="connsiteX2" fmla="*/ 3019 w 3018"/>
                  <a:gd name="connsiteY2" fmla="*/ 1592 h 3897"/>
                  <a:gd name="connsiteX3" fmla="*/ 2223 w 3018"/>
                  <a:gd name="connsiteY3" fmla="*/ 3897 h 3897"/>
                  <a:gd name="connsiteX4" fmla="*/ 933 w 3018"/>
                  <a:gd name="connsiteY4" fmla="*/ 3540 h 3897"/>
                  <a:gd name="connsiteX5" fmla="*/ 27 w 3018"/>
                  <a:gd name="connsiteY5" fmla="*/ 988 h 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 h="3897">
                    <a:moveTo>
                      <a:pt x="0" y="988"/>
                    </a:moveTo>
                    <a:lnTo>
                      <a:pt x="1647" y="0"/>
                    </a:lnTo>
                    <a:lnTo>
                      <a:pt x="3019" y="1592"/>
                    </a:lnTo>
                    <a:lnTo>
                      <a:pt x="2223" y="3897"/>
                    </a:lnTo>
                    <a:lnTo>
                      <a:pt x="933" y="3540"/>
                    </a:lnTo>
                    <a:lnTo>
                      <a:pt x="27"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18" name="Freeform: Shape 4917">
                <a:extLst>
                  <a:ext uri="{FF2B5EF4-FFF2-40B4-BE49-F238E27FC236}">
                    <a16:creationId xmlns:a16="http://schemas.microsoft.com/office/drawing/2014/main" id="{3D742B75-0595-7E6F-8A8D-7E76174628EC}"/>
                  </a:ext>
                </a:extLst>
              </p:cNvPr>
              <p:cNvSpPr/>
              <p:nvPr/>
            </p:nvSpPr>
            <p:spPr>
              <a:xfrm>
                <a:off x="1880700" y="3889126"/>
                <a:ext cx="375" cy="335"/>
              </a:xfrm>
              <a:custGeom>
                <a:avLst/>
                <a:gdLst>
                  <a:gd name="connsiteX0" fmla="*/ 2662 w 3594"/>
                  <a:gd name="connsiteY0" fmla="*/ 2909 h 3210"/>
                  <a:gd name="connsiteX1" fmla="*/ 1180 w 3594"/>
                  <a:gd name="connsiteY1" fmla="*/ 3211 h 3210"/>
                  <a:gd name="connsiteX2" fmla="*/ 0 w 3594"/>
                  <a:gd name="connsiteY2" fmla="*/ 1509 h 3210"/>
                  <a:gd name="connsiteX3" fmla="*/ 1481 w 3594"/>
                  <a:gd name="connsiteY3" fmla="*/ 0 h 3210"/>
                  <a:gd name="connsiteX4" fmla="*/ 3595 w 3594"/>
                  <a:gd name="connsiteY4" fmla="*/ 549 h 3210"/>
                  <a:gd name="connsiteX5" fmla="*/ 2662 w 3594"/>
                  <a:gd name="connsiteY5" fmla="*/ 2909 h 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4" h="3210">
                    <a:moveTo>
                      <a:pt x="2662" y="2909"/>
                    </a:moveTo>
                    <a:lnTo>
                      <a:pt x="1180" y="3211"/>
                    </a:lnTo>
                    <a:lnTo>
                      <a:pt x="0" y="1509"/>
                    </a:lnTo>
                    <a:lnTo>
                      <a:pt x="1481" y="0"/>
                    </a:lnTo>
                    <a:lnTo>
                      <a:pt x="3595" y="549"/>
                    </a:lnTo>
                    <a:lnTo>
                      <a:pt x="2662"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19" name="Freeform: Shape 4918">
                <a:extLst>
                  <a:ext uri="{FF2B5EF4-FFF2-40B4-BE49-F238E27FC236}">
                    <a16:creationId xmlns:a16="http://schemas.microsoft.com/office/drawing/2014/main" id="{AA8043C8-E417-C909-97E7-0F2ADEA1A343}"/>
                  </a:ext>
                </a:extLst>
              </p:cNvPr>
              <p:cNvSpPr/>
              <p:nvPr/>
            </p:nvSpPr>
            <p:spPr>
              <a:xfrm>
                <a:off x="1882306" y="3896869"/>
                <a:ext cx="332" cy="384"/>
              </a:xfrm>
              <a:custGeom>
                <a:avLst/>
                <a:gdLst>
                  <a:gd name="connsiteX0" fmla="*/ 2058 w 3183"/>
                  <a:gd name="connsiteY0" fmla="*/ 3320 h 3677"/>
                  <a:gd name="connsiteX1" fmla="*/ 137 w 3183"/>
                  <a:gd name="connsiteY1" fmla="*/ 3677 h 3677"/>
                  <a:gd name="connsiteX2" fmla="*/ 0 w 3183"/>
                  <a:gd name="connsiteY2" fmla="*/ 1893 h 3677"/>
                  <a:gd name="connsiteX3" fmla="*/ 1619 w 3183"/>
                  <a:gd name="connsiteY3" fmla="*/ 0 h 3677"/>
                  <a:gd name="connsiteX4" fmla="*/ 3184 w 3183"/>
                  <a:gd name="connsiteY4" fmla="*/ 549 h 3677"/>
                  <a:gd name="connsiteX5" fmla="*/ 2086 w 3183"/>
                  <a:gd name="connsiteY5" fmla="*/ 3348 h 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3" h="3677">
                    <a:moveTo>
                      <a:pt x="2058" y="3320"/>
                    </a:moveTo>
                    <a:lnTo>
                      <a:pt x="137" y="3677"/>
                    </a:lnTo>
                    <a:lnTo>
                      <a:pt x="0" y="1893"/>
                    </a:lnTo>
                    <a:lnTo>
                      <a:pt x="1619" y="0"/>
                    </a:lnTo>
                    <a:lnTo>
                      <a:pt x="3184" y="549"/>
                    </a:lnTo>
                    <a:lnTo>
                      <a:pt x="2086"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20" name="Freeform: Shape 4919">
                <a:extLst>
                  <a:ext uri="{FF2B5EF4-FFF2-40B4-BE49-F238E27FC236}">
                    <a16:creationId xmlns:a16="http://schemas.microsoft.com/office/drawing/2014/main" id="{09BAC1A7-0D7C-D370-C90D-22E017267757}"/>
                  </a:ext>
                </a:extLst>
              </p:cNvPr>
              <p:cNvSpPr/>
              <p:nvPr/>
            </p:nvSpPr>
            <p:spPr>
              <a:xfrm>
                <a:off x="1876215" y="3884993"/>
                <a:ext cx="283" cy="418"/>
              </a:xfrm>
              <a:custGeom>
                <a:avLst/>
                <a:gdLst>
                  <a:gd name="connsiteX0" fmla="*/ 2251 w 2716"/>
                  <a:gd name="connsiteY0" fmla="*/ 3979 h 4006"/>
                  <a:gd name="connsiteX1" fmla="*/ 440 w 2716"/>
                  <a:gd name="connsiteY1" fmla="*/ 3046 h 4006"/>
                  <a:gd name="connsiteX2" fmla="*/ 0 w 2716"/>
                  <a:gd name="connsiteY2" fmla="*/ 851 h 4006"/>
                  <a:gd name="connsiteX3" fmla="*/ 2086 w 2716"/>
                  <a:gd name="connsiteY3" fmla="*/ 0 h 4006"/>
                  <a:gd name="connsiteX4" fmla="*/ 2717 w 2716"/>
                  <a:gd name="connsiteY4" fmla="*/ 1756 h 4006"/>
                  <a:gd name="connsiteX5" fmla="*/ 2223 w 2716"/>
                  <a:gd name="connsiteY5" fmla="*/ 4007 h 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6" h="4006">
                    <a:moveTo>
                      <a:pt x="2251" y="3979"/>
                    </a:moveTo>
                    <a:lnTo>
                      <a:pt x="440" y="3046"/>
                    </a:lnTo>
                    <a:lnTo>
                      <a:pt x="0" y="851"/>
                    </a:lnTo>
                    <a:lnTo>
                      <a:pt x="2086" y="0"/>
                    </a:lnTo>
                    <a:lnTo>
                      <a:pt x="2717" y="1756"/>
                    </a:lnTo>
                    <a:lnTo>
                      <a:pt x="2223" y="40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921" name="Freeform: Shape 4920">
                <a:extLst>
                  <a:ext uri="{FF2B5EF4-FFF2-40B4-BE49-F238E27FC236}">
                    <a16:creationId xmlns:a16="http://schemas.microsoft.com/office/drawing/2014/main" id="{77D7C961-8A59-0258-C4F0-8F254C50EC20}"/>
                  </a:ext>
                </a:extLst>
              </p:cNvPr>
              <p:cNvSpPr/>
              <p:nvPr/>
            </p:nvSpPr>
            <p:spPr>
              <a:xfrm>
                <a:off x="1876415" y="3885385"/>
                <a:ext cx="195" cy="174"/>
              </a:xfrm>
              <a:custGeom>
                <a:avLst/>
                <a:gdLst>
                  <a:gd name="connsiteX0" fmla="*/ 0 w 1866"/>
                  <a:gd name="connsiteY0" fmla="*/ 302 h 1673"/>
                  <a:gd name="connsiteX1" fmla="*/ 330 w 1866"/>
                  <a:gd name="connsiteY1" fmla="*/ 219 h 1673"/>
                  <a:gd name="connsiteX2" fmla="*/ 1619 w 1866"/>
                  <a:gd name="connsiteY2" fmla="*/ 0 h 1673"/>
                  <a:gd name="connsiteX3" fmla="*/ 1867 w 1866"/>
                  <a:gd name="connsiteY3" fmla="*/ 1345 h 1673"/>
                  <a:gd name="connsiteX4" fmla="*/ 878 w 1866"/>
                  <a:gd name="connsiteY4" fmla="*/ 1674 h 1673"/>
                  <a:gd name="connsiteX5" fmla="*/ 27 w 1866"/>
                  <a:gd name="connsiteY5" fmla="*/ 302 h 1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6" h="1673">
                    <a:moveTo>
                      <a:pt x="0" y="302"/>
                    </a:moveTo>
                    <a:lnTo>
                      <a:pt x="330" y="219"/>
                    </a:lnTo>
                    <a:lnTo>
                      <a:pt x="1619" y="0"/>
                    </a:lnTo>
                    <a:lnTo>
                      <a:pt x="1867" y="1345"/>
                    </a:lnTo>
                    <a:lnTo>
                      <a:pt x="878" y="1674"/>
                    </a:lnTo>
                    <a:lnTo>
                      <a:pt x="27" y="3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sp>
          <p:nvSpPr>
            <p:cNvPr id="3345" name="Freeform: Shape 3344">
              <a:extLst>
                <a:ext uri="{FF2B5EF4-FFF2-40B4-BE49-F238E27FC236}">
                  <a16:creationId xmlns:a16="http://schemas.microsoft.com/office/drawing/2014/main" id="{65996DE0-E5C5-18BD-9B51-0DB7F02FBDF6}"/>
                </a:ext>
              </a:extLst>
            </p:cNvPr>
            <p:cNvSpPr/>
            <p:nvPr/>
          </p:nvSpPr>
          <p:spPr>
            <a:xfrm>
              <a:off x="1813868" y="3686456"/>
              <a:ext cx="5981" cy="4581"/>
            </a:xfrm>
            <a:custGeom>
              <a:avLst/>
              <a:gdLst>
                <a:gd name="connsiteX0" fmla="*/ 56505 w 57465"/>
                <a:gd name="connsiteY0" fmla="*/ 7657 h 44018"/>
                <a:gd name="connsiteX1" fmla="*/ 40890 w 57465"/>
                <a:gd name="connsiteY1" fmla="*/ 13337 h 44018"/>
                <a:gd name="connsiteX2" fmla="*/ 29007 w 57465"/>
                <a:gd name="connsiteY2" fmla="*/ 23546 h 44018"/>
                <a:gd name="connsiteX3" fmla="*/ 22448 w 57465"/>
                <a:gd name="connsiteY3" fmla="*/ 22695 h 44018"/>
                <a:gd name="connsiteX4" fmla="*/ 19759 w 57465"/>
                <a:gd name="connsiteY4" fmla="*/ 28431 h 44018"/>
                <a:gd name="connsiteX5" fmla="*/ 12404 w 57465"/>
                <a:gd name="connsiteY5" fmla="*/ 34084 h 44018"/>
                <a:gd name="connsiteX6" fmla="*/ 8589 w 57465"/>
                <a:gd name="connsiteY6" fmla="*/ 39463 h 44018"/>
                <a:gd name="connsiteX7" fmla="*/ 714 w 57465"/>
                <a:gd name="connsiteY7" fmla="*/ 44019 h 44018"/>
                <a:gd name="connsiteX8" fmla="*/ 0 w 57465"/>
                <a:gd name="connsiteY8" fmla="*/ 43415 h 44018"/>
                <a:gd name="connsiteX9" fmla="*/ 1290 w 57465"/>
                <a:gd name="connsiteY9" fmla="*/ 40149 h 44018"/>
                <a:gd name="connsiteX10" fmla="*/ 8041 w 57465"/>
                <a:gd name="connsiteY10" fmla="*/ 34715 h 44018"/>
                <a:gd name="connsiteX11" fmla="*/ 6285 w 57465"/>
                <a:gd name="connsiteY11" fmla="*/ 30160 h 44018"/>
                <a:gd name="connsiteX12" fmla="*/ 13612 w 57465"/>
                <a:gd name="connsiteY12" fmla="*/ 25988 h 44018"/>
                <a:gd name="connsiteX13" fmla="*/ 18606 w 57465"/>
                <a:gd name="connsiteY13" fmla="*/ 18853 h 44018"/>
                <a:gd name="connsiteX14" fmla="*/ 22311 w 57465"/>
                <a:gd name="connsiteY14" fmla="*/ 18195 h 44018"/>
                <a:gd name="connsiteX15" fmla="*/ 27525 w 57465"/>
                <a:gd name="connsiteY15" fmla="*/ 12679 h 44018"/>
                <a:gd name="connsiteX16" fmla="*/ 29419 w 57465"/>
                <a:gd name="connsiteY16" fmla="*/ 4803 h 44018"/>
                <a:gd name="connsiteX17" fmla="*/ 33233 w 57465"/>
                <a:gd name="connsiteY17" fmla="*/ 10538 h 44018"/>
                <a:gd name="connsiteX18" fmla="*/ 36499 w 57465"/>
                <a:gd name="connsiteY18" fmla="*/ 11252 h 44018"/>
                <a:gd name="connsiteX19" fmla="*/ 42975 w 57465"/>
                <a:gd name="connsiteY19" fmla="*/ 9221 h 44018"/>
                <a:gd name="connsiteX20" fmla="*/ 51373 w 57465"/>
                <a:gd name="connsiteY20" fmla="*/ 0 h 44018"/>
                <a:gd name="connsiteX21" fmla="*/ 57465 w 57465"/>
                <a:gd name="connsiteY21" fmla="*/ 1290 h 44018"/>
                <a:gd name="connsiteX22" fmla="*/ 56505 w 57465"/>
                <a:gd name="connsiteY22" fmla="*/ 7684 h 4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465" h="44018">
                  <a:moveTo>
                    <a:pt x="56505" y="7657"/>
                  </a:moveTo>
                  <a:lnTo>
                    <a:pt x="40890" y="13337"/>
                  </a:lnTo>
                  <a:lnTo>
                    <a:pt x="29007" y="23546"/>
                  </a:lnTo>
                  <a:lnTo>
                    <a:pt x="22448" y="22695"/>
                  </a:lnTo>
                  <a:lnTo>
                    <a:pt x="19759" y="28431"/>
                  </a:lnTo>
                  <a:lnTo>
                    <a:pt x="12404" y="34084"/>
                  </a:lnTo>
                  <a:lnTo>
                    <a:pt x="8589" y="39463"/>
                  </a:lnTo>
                  <a:lnTo>
                    <a:pt x="714" y="44019"/>
                  </a:lnTo>
                  <a:lnTo>
                    <a:pt x="0" y="43415"/>
                  </a:lnTo>
                  <a:lnTo>
                    <a:pt x="1290" y="40149"/>
                  </a:lnTo>
                  <a:lnTo>
                    <a:pt x="8041" y="34715"/>
                  </a:lnTo>
                  <a:lnTo>
                    <a:pt x="6285" y="30160"/>
                  </a:lnTo>
                  <a:lnTo>
                    <a:pt x="13612" y="25988"/>
                  </a:lnTo>
                  <a:lnTo>
                    <a:pt x="18606" y="18853"/>
                  </a:lnTo>
                  <a:lnTo>
                    <a:pt x="22311" y="18195"/>
                  </a:lnTo>
                  <a:lnTo>
                    <a:pt x="27525" y="12679"/>
                  </a:lnTo>
                  <a:lnTo>
                    <a:pt x="29419" y="4803"/>
                  </a:lnTo>
                  <a:lnTo>
                    <a:pt x="33233" y="10538"/>
                  </a:lnTo>
                  <a:lnTo>
                    <a:pt x="36499" y="11252"/>
                  </a:lnTo>
                  <a:lnTo>
                    <a:pt x="42975" y="9221"/>
                  </a:lnTo>
                  <a:lnTo>
                    <a:pt x="51373" y="0"/>
                  </a:lnTo>
                  <a:lnTo>
                    <a:pt x="57465" y="1290"/>
                  </a:lnTo>
                  <a:lnTo>
                    <a:pt x="56505" y="76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6" name="Freeform: Shape 3345">
              <a:extLst>
                <a:ext uri="{FF2B5EF4-FFF2-40B4-BE49-F238E27FC236}">
                  <a16:creationId xmlns:a16="http://schemas.microsoft.com/office/drawing/2014/main" id="{6E277F1E-6A68-97B3-F622-8D9391E0DD81}"/>
                </a:ext>
              </a:extLst>
            </p:cNvPr>
            <p:cNvSpPr/>
            <p:nvPr/>
          </p:nvSpPr>
          <p:spPr>
            <a:xfrm>
              <a:off x="1809261" y="3690878"/>
              <a:ext cx="3441" cy="3325"/>
            </a:xfrm>
            <a:custGeom>
              <a:avLst/>
              <a:gdLst>
                <a:gd name="connsiteX0" fmla="*/ 24480 w 33068"/>
                <a:gd name="connsiteY0" fmla="*/ 2525 h 31943"/>
                <a:gd name="connsiteX1" fmla="*/ 27251 w 33068"/>
                <a:gd name="connsiteY1" fmla="*/ 3952 h 31943"/>
                <a:gd name="connsiteX2" fmla="*/ 33069 w 33068"/>
                <a:gd name="connsiteY2" fmla="*/ 3760 h 31943"/>
                <a:gd name="connsiteX3" fmla="*/ 31642 w 33068"/>
                <a:gd name="connsiteY3" fmla="*/ 6477 h 31943"/>
                <a:gd name="connsiteX4" fmla="*/ 28569 w 33068"/>
                <a:gd name="connsiteY4" fmla="*/ 6477 h 31943"/>
                <a:gd name="connsiteX5" fmla="*/ 25879 w 33068"/>
                <a:gd name="connsiteY5" fmla="*/ 9660 h 31943"/>
                <a:gd name="connsiteX6" fmla="*/ 20418 w 33068"/>
                <a:gd name="connsiteY6" fmla="*/ 10401 h 31943"/>
                <a:gd name="connsiteX7" fmla="*/ 18634 w 33068"/>
                <a:gd name="connsiteY7" fmla="*/ 13337 h 31943"/>
                <a:gd name="connsiteX8" fmla="*/ 14655 w 33068"/>
                <a:gd name="connsiteY8" fmla="*/ 15999 h 31943"/>
                <a:gd name="connsiteX9" fmla="*/ 13612 w 33068"/>
                <a:gd name="connsiteY9" fmla="*/ 19896 h 31943"/>
                <a:gd name="connsiteX10" fmla="*/ 12048 w 33068"/>
                <a:gd name="connsiteY10" fmla="*/ 20088 h 31943"/>
                <a:gd name="connsiteX11" fmla="*/ 10922 w 33068"/>
                <a:gd name="connsiteY11" fmla="*/ 23491 h 31943"/>
                <a:gd name="connsiteX12" fmla="*/ 7519 w 33068"/>
                <a:gd name="connsiteY12" fmla="*/ 24507 h 31943"/>
                <a:gd name="connsiteX13" fmla="*/ 5516 w 33068"/>
                <a:gd name="connsiteY13" fmla="*/ 26208 h 31943"/>
                <a:gd name="connsiteX14" fmla="*/ 4775 w 33068"/>
                <a:gd name="connsiteY14" fmla="*/ 31121 h 31943"/>
                <a:gd name="connsiteX15" fmla="*/ 906 w 33068"/>
                <a:gd name="connsiteY15" fmla="*/ 31944 h 31943"/>
                <a:gd name="connsiteX16" fmla="*/ 0 w 33068"/>
                <a:gd name="connsiteY16" fmla="*/ 27772 h 31943"/>
                <a:gd name="connsiteX17" fmla="*/ 2113 w 33068"/>
                <a:gd name="connsiteY17" fmla="*/ 24946 h 31943"/>
                <a:gd name="connsiteX18" fmla="*/ 9797 w 33068"/>
                <a:gd name="connsiteY18" fmla="*/ 18826 h 31943"/>
                <a:gd name="connsiteX19" fmla="*/ 10045 w 33068"/>
                <a:gd name="connsiteY19" fmla="*/ 16631 h 31943"/>
                <a:gd name="connsiteX20" fmla="*/ 14216 w 33068"/>
                <a:gd name="connsiteY20" fmla="*/ 10758 h 31943"/>
                <a:gd name="connsiteX21" fmla="*/ 16988 w 33068"/>
                <a:gd name="connsiteY21" fmla="*/ 8041 h 31943"/>
                <a:gd name="connsiteX22" fmla="*/ 17646 w 33068"/>
                <a:gd name="connsiteY22" fmla="*/ 5434 h 31943"/>
                <a:gd name="connsiteX23" fmla="*/ 19814 w 33068"/>
                <a:gd name="connsiteY23" fmla="*/ 1647 h 31943"/>
                <a:gd name="connsiteX24" fmla="*/ 22284 w 33068"/>
                <a:gd name="connsiteY24" fmla="*/ 0 h 31943"/>
                <a:gd name="connsiteX25" fmla="*/ 24480 w 33068"/>
                <a:gd name="connsiteY25" fmla="*/ 2497 h 3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068" h="31943">
                  <a:moveTo>
                    <a:pt x="24480" y="2525"/>
                  </a:moveTo>
                  <a:lnTo>
                    <a:pt x="27251" y="3952"/>
                  </a:lnTo>
                  <a:lnTo>
                    <a:pt x="33069" y="3760"/>
                  </a:lnTo>
                  <a:lnTo>
                    <a:pt x="31642" y="6477"/>
                  </a:lnTo>
                  <a:lnTo>
                    <a:pt x="28569" y="6477"/>
                  </a:lnTo>
                  <a:lnTo>
                    <a:pt x="25879" y="9660"/>
                  </a:lnTo>
                  <a:lnTo>
                    <a:pt x="20418" y="10401"/>
                  </a:lnTo>
                  <a:lnTo>
                    <a:pt x="18634" y="13337"/>
                  </a:lnTo>
                  <a:lnTo>
                    <a:pt x="14655" y="15999"/>
                  </a:lnTo>
                  <a:lnTo>
                    <a:pt x="13612" y="19896"/>
                  </a:lnTo>
                  <a:lnTo>
                    <a:pt x="12048" y="20088"/>
                  </a:lnTo>
                  <a:lnTo>
                    <a:pt x="10922" y="23491"/>
                  </a:lnTo>
                  <a:lnTo>
                    <a:pt x="7519" y="24507"/>
                  </a:lnTo>
                  <a:lnTo>
                    <a:pt x="5516" y="26208"/>
                  </a:lnTo>
                  <a:lnTo>
                    <a:pt x="4775" y="31121"/>
                  </a:lnTo>
                  <a:lnTo>
                    <a:pt x="906" y="31944"/>
                  </a:lnTo>
                  <a:lnTo>
                    <a:pt x="0" y="27772"/>
                  </a:lnTo>
                  <a:lnTo>
                    <a:pt x="2113" y="24946"/>
                  </a:lnTo>
                  <a:lnTo>
                    <a:pt x="9797" y="18826"/>
                  </a:lnTo>
                  <a:lnTo>
                    <a:pt x="10045" y="16631"/>
                  </a:lnTo>
                  <a:lnTo>
                    <a:pt x="14216" y="10758"/>
                  </a:lnTo>
                  <a:lnTo>
                    <a:pt x="16988" y="8041"/>
                  </a:lnTo>
                  <a:lnTo>
                    <a:pt x="17646" y="5434"/>
                  </a:lnTo>
                  <a:lnTo>
                    <a:pt x="19814" y="1647"/>
                  </a:lnTo>
                  <a:lnTo>
                    <a:pt x="22284" y="0"/>
                  </a:lnTo>
                  <a:lnTo>
                    <a:pt x="24480"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7" name="Freeform: Shape 3346">
              <a:extLst>
                <a:ext uri="{FF2B5EF4-FFF2-40B4-BE49-F238E27FC236}">
                  <a16:creationId xmlns:a16="http://schemas.microsoft.com/office/drawing/2014/main" id="{3C53BC59-092B-0197-97E2-0D6B64B7EEA5}"/>
                </a:ext>
              </a:extLst>
            </p:cNvPr>
            <p:cNvSpPr/>
            <p:nvPr/>
          </p:nvSpPr>
          <p:spPr>
            <a:xfrm>
              <a:off x="1812846" y="3693525"/>
              <a:ext cx="1051" cy="811"/>
            </a:xfrm>
            <a:custGeom>
              <a:avLst/>
              <a:gdLst>
                <a:gd name="connsiteX0" fmla="*/ 5791 w 10098"/>
                <a:gd name="connsiteY0" fmla="*/ 5571 h 7793"/>
                <a:gd name="connsiteX1" fmla="*/ 1757 w 10098"/>
                <a:gd name="connsiteY1" fmla="*/ 7794 h 7793"/>
                <a:gd name="connsiteX2" fmla="*/ 0 w 10098"/>
                <a:gd name="connsiteY2" fmla="*/ 3677 h 7793"/>
                <a:gd name="connsiteX3" fmla="*/ 4116 w 10098"/>
                <a:gd name="connsiteY3" fmla="*/ 2333 h 7793"/>
                <a:gd name="connsiteX4" fmla="*/ 7904 w 10098"/>
                <a:gd name="connsiteY4" fmla="*/ 0 h 7793"/>
                <a:gd name="connsiteX5" fmla="*/ 10099 w 10098"/>
                <a:gd name="connsiteY5" fmla="*/ 2168 h 7793"/>
                <a:gd name="connsiteX6" fmla="*/ 5791 w 10098"/>
                <a:gd name="connsiteY6" fmla="*/ 5544 h 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98" h="7793">
                  <a:moveTo>
                    <a:pt x="5791" y="5571"/>
                  </a:moveTo>
                  <a:lnTo>
                    <a:pt x="1757" y="7794"/>
                  </a:lnTo>
                  <a:lnTo>
                    <a:pt x="0" y="3677"/>
                  </a:lnTo>
                  <a:lnTo>
                    <a:pt x="4116" y="2333"/>
                  </a:lnTo>
                  <a:lnTo>
                    <a:pt x="7904" y="0"/>
                  </a:lnTo>
                  <a:lnTo>
                    <a:pt x="10099" y="2168"/>
                  </a:lnTo>
                  <a:lnTo>
                    <a:pt x="5791" y="55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48" name="Freeform: Shape 3347">
              <a:extLst>
                <a:ext uri="{FF2B5EF4-FFF2-40B4-BE49-F238E27FC236}">
                  <a16:creationId xmlns:a16="http://schemas.microsoft.com/office/drawing/2014/main" id="{F8F51535-7EF1-2AA7-2D3E-D2CCA304A541}"/>
                </a:ext>
              </a:extLst>
            </p:cNvPr>
            <p:cNvSpPr/>
            <p:nvPr/>
          </p:nvSpPr>
          <p:spPr>
            <a:xfrm>
              <a:off x="1811255" y="3694968"/>
              <a:ext cx="443" cy="385"/>
            </a:xfrm>
            <a:custGeom>
              <a:avLst/>
              <a:gdLst>
                <a:gd name="connsiteX0" fmla="*/ 3650 w 4253"/>
                <a:gd name="connsiteY0" fmla="*/ 2799 h 3704"/>
                <a:gd name="connsiteX1" fmla="*/ 1647 w 4253"/>
                <a:gd name="connsiteY1" fmla="*/ 3705 h 3704"/>
                <a:gd name="connsiteX2" fmla="*/ 0 w 4253"/>
                <a:gd name="connsiteY2" fmla="*/ 988 h 3704"/>
                <a:gd name="connsiteX3" fmla="*/ 2196 w 4253"/>
                <a:gd name="connsiteY3" fmla="*/ 0 h 3704"/>
                <a:gd name="connsiteX4" fmla="*/ 4254 w 4253"/>
                <a:gd name="connsiteY4" fmla="*/ 659 h 3704"/>
                <a:gd name="connsiteX5" fmla="*/ 3623 w 4253"/>
                <a:gd name="connsiteY5" fmla="*/ 2772 h 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3" h="3704">
                  <a:moveTo>
                    <a:pt x="3650" y="2799"/>
                  </a:moveTo>
                  <a:lnTo>
                    <a:pt x="1647" y="3705"/>
                  </a:lnTo>
                  <a:lnTo>
                    <a:pt x="0" y="988"/>
                  </a:lnTo>
                  <a:lnTo>
                    <a:pt x="2196" y="0"/>
                  </a:lnTo>
                  <a:lnTo>
                    <a:pt x="4254" y="659"/>
                  </a:lnTo>
                  <a:lnTo>
                    <a:pt x="3623"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3349" name="Group 3348">
              <a:extLst>
                <a:ext uri="{FF2B5EF4-FFF2-40B4-BE49-F238E27FC236}">
                  <a16:creationId xmlns:a16="http://schemas.microsoft.com/office/drawing/2014/main" id="{C06D5A88-E01C-5206-309A-94DC9A158419}"/>
                </a:ext>
              </a:extLst>
            </p:cNvPr>
            <p:cNvGrpSpPr/>
            <p:nvPr/>
          </p:nvGrpSpPr>
          <p:grpSpPr>
            <a:xfrm>
              <a:off x="815781" y="3391354"/>
              <a:ext cx="903047" cy="657544"/>
              <a:chOff x="815781" y="3391476"/>
              <a:chExt cx="905038" cy="658994"/>
            </a:xfrm>
          </p:grpSpPr>
          <p:sp>
            <p:nvSpPr>
              <p:cNvPr id="3556" name="Freeform: Shape 3555">
                <a:extLst>
                  <a:ext uri="{FF2B5EF4-FFF2-40B4-BE49-F238E27FC236}">
                    <a16:creationId xmlns:a16="http://schemas.microsoft.com/office/drawing/2014/main" id="{CC1261E5-5126-C8C6-A590-C4C9ACB5A3E7}"/>
                  </a:ext>
                </a:extLst>
              </p:cNvPr>
              <p:cNvSpPr/>
              <p:nvPr/>
            </p:nvSpPr>
            <p:spPr>
              <a:xfrm>
                <a:off x="1523653" y="3761635"/>
                <a:ext cx="14678" cy="11472"/>
              </a:xfrm>
              <a:custGeom>
                <a:avLst/>
                <a:gdLst>
                  <a:gd name="connsiteX0" fmla="*/ 140151 w 140727"/>
                  <a:gd name="connsiteY0" fmla="*/ 15341 h 109991"/>
                  <a:gd name="connsiteX1" fmla="*/ 140728 w 140727"/>
                  <a:gd name="connsiteY1" fmla="*/ 34880 h 109991"/>
                  <a:gd name="connsiteX2" fmla="*/ 133318 w 140727"/>
                  <a:gd name="connsiteY2" fmla="*/ 42180 h 109991"/>
                  <a:gd name="connsiteX3" fmla="*/ 130382 w 140727"/>
                  <a:gd name="connsiteY3" fmla="*/ 39271 h 109991"/>
                  <a:gd name="connsiteX4" fmla="*/ 130189 w 140727"/>
                  <a:gd name="connsiteY4" fmla="*/ 35210 h 109991"/>
                  <a:gd name="connsiteX5" fmla="*/ 125085 w 140727"/>
                  <a:gd name="connsiteY5" fmla="*/ 36088 h 109991"/>
                  <a:gd name="connsiteX6" fmla="*/ 123356 w 140727"/>
                  <a:gd name="connsiteY6" fmla="*/ 59140 h 109991"/>
                  <a:gd name="connsiteX7" fmla="*/ 128104 w 140727"/>
                  <a:gd name="connsiteY7" fmla="*/ 59853 h 109991"/>
                  <a:gd name="connsiteX8" fmla="*/ 129723 w 140727"/>
                  <a:gd name="connsiteY8" fmla="*/ 64052 h 109991"/>
                  <a:gd name="connsiteX9" fmla="*/ 125113 w 140727"/>
                  <a:gd name="connsiteY9" fmla="*/ 65699 h 109991"/>
                  <a:gd name="connsiteX10" fmla="*/ 120941 w 140727"/>
                  <a:gd name="connsiteY10" fmla="*/ 65068 h 109991"/>
                  <a:gd name="connsiteX11" fmla="*/ 115425 w 140727"/>
                  <a:gd name="connsiteY11" fmla="*/ 68333 h 109991"/>
                  <a:gd name="connsiteX12" fmla="*/ 116907 w 140727"/>
                  <a:gd name="connsiteY12" fmla="*/ 78240 h 109991"/>
                  <a:gd name="connsiteX13" fmla="*/ 107440 w 140727"/>
                  <a:gd name="connsiteY13" fmla="*/ 94761 h 109991"/>
                  <a:gd name="connsiteX14" fmla="*/ 106835 w 140727"/>
                  <a:gd name="connsiteY14" fmla="*/ 103158 h 109991"/>
                  <a:gd name="connsiteX15" fmla="*/ 106424 w 140727"/>
                  <a:gd name="connsiteY15" fmla="*/ 107933 h 109991"/>
                  <a:gd name="connsiteX16" fmla="*/ 100634 w 140727"/>
                  <a:gd name="connsiteY16" fmla="*/ 109992 h 109991"/>
                  <a:gd name="connsiteX17" fmla="*/ 29117 w 140727"/>
                  <a:gd name="connsiteY17" fmla="*/ 99701 h 109991"/>
                  <a:gd name="connsiteX18" fmla="*/ 1757 w 140727"/>
                  <a:gd name="connsiteY18" fmla="*/ 64793 h 109991"/>
                  <a:gd name="connsiteX19" fmla="*/ 0 w 140727"/>
                  <a:gd name="connsiteY19" fmla="*/ 58701 h 109991"/>
                  <a:gd name="connsiteX20" fmla="*/ 4309 w 140727"/>
                  <a:gd name="connsiteY20" fmla="*/ 59277 h 109991"/>
                  <a:gd name="connsiteX21" fmla="*/ 6751 w 140727"/>
                  <a:gd name="connsiteY21" fmla="*/ 65122 h 109991"/>
                  <a:gd name="connsiteX22" fmla="*/ 11060 w 140727"/>
                  <a:gd name="connsiteY22" fmla="*/ 67208 h 109991"/>
                  <a:gd name="connsiteX23" fmla="*/ 20143 w 140727"/>
                  <a:gd name="connsiteY23" fmla="*/ 66440 h 109991"/>
                  <a:gd name="connsiteX24" fmla="*/ 30627 w 140727"/>
                  <a:gd name="connsiteY24" fmla="*/ 61280 h 109991"/>
                  <a:gd name="connsiteX25" fmla="*/ 63942 w 140727"/>
                  <a:gd name="connsiteY25" fmla="*/ 64354 h 109991"/>
                  <a:gd name="connsiteX26" fmla="*/ 69761 w 140727"/>
                  <a:gd name="connsiteY26" fmla="*/ 63229 h 109991"/>
                  <a:gd name="connsiteX27" fmla="*/ 77856 w 140727"/>
                  <a:gd name="connsiteY27" fmla="*/ 55051 h 109991"/>
                  <a:gd name="connsiteX28" fmla="*/ 82164 w 140727"/>
                  <a:gd name="connsiteY28" fmla="*/ 57054 h 109991"/>
                  <a:gd name="connsiteX29" fmla="*/ 81451 w 140727"/>
                  <a:gd name="connsiteY29" fmla="*/ 51319 h 109991"/>
                  <a:gd name="connsiteX30" fmla="*/ 87324 w 140727"/>
                  <a:gd name="connsiteY30" fmla="*/ 49288 h 109991"/>
                  <a:gd name="connsiteX31" fmla="*/ 91660 w 140727"/>
                  <a:gd name="connsiteY31" fmla="*/ 41137 h 109991"/>
                  <a:gd name="connsiteX32" fmla="*/ 104695 w 140727"/>
                  <a:gd name="connsiteY32" fmla="*/ 29940 h 109991"/>
                  <a:gd name="connsiteX33" fmla="*/ 106149 w 140727"/>
                  <a:gd name="connsiteY33" fmla="*/ 26291 h 109991"/>
                  <a:gd name="connsiteX34" fmla="*/ 116304 w 140727"/>
                  <a:gd name="connsiteY34" fmla="*/ 16164 h 109991"/>
                  <a:gd name="connsiteX35" fmla="*/ 127034 w 140727"/>
                  <a:gd name="connsiteY35" fmla="*/ 8782 h 109991"/>
                  <a:gd name="connsiteX36" fmla="*/ 132138 w 140727"/>
                  <a:gd name="connsiteY36" fmla="*/ 0 h 109991"/>
                  <a:gd name="connsiteX37" fmla="*/ 134855 w 140727"/>
                  <a:gd name="connsiteY37" fmla="*/ 1674 h 109991"/>
                  <a:gd name="connsiteX38" fmla="*/ 134855 w 140727"/>
                  <a:gd name="connsiteY38" fmla="*/ 12871 h 109991"/>
                  <a:gd name="connsiteX39" fmla="*/ 137462 w 140727"/>
                  <a:gd name="connsiteY39" fmla="*/ 13914 h 109991"/>
                  <a:gd name="connsiteX40" fmla="*/ 140097 w 140727"/>
                  <a:gd name="connsiteY40" fmla="*/ 15341 h 109991"/>
                  <a:gd name="connsiteX41" fmla="*/ 135980 w 140727"/>
                  <a:gd name="connsiteY41" fmla="*/ 25879 h 109991"/>
                  <a:gd name="connsiteX42" fmla="*/ 137983 w 140727"/>
                  <a:gd name="connsiteY42" fmla="*/ 26812 h 109991"/>
                  <a:gd name="connsiteX43" fmla="*/ 139959 w 140727"/>
                  <a:gd name="connsiteY43" fmla="*/ 24589 h 109991"/>
                  <a:gd name="connsiteX44" fmla="*/ 137764 w 140727"/>
                  <a:gd name="connsiteY44" fmla="*/ 23025 h 109991"/>
                  <a:gd name="connsiteX45" fmla="*/ 135953 w 140727"/>
                  <a:gd name="connsiteY45" fmla="*/ 25879 h 10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0727" h="109991">
                    <a:moveTo>
                      <a:pt x="140151" y="15341"/>
                    </a:moveTo>
                    <a:lnTo>
                      <a:pt x="140728" y="34880"/>
                    </a:lnTo>
                    <a:lnTo>
                      <a:pt x="133318" y="42180"/>
                    </a:lnTo>
                    <a:lnTo>
                      <a:pt x="130382" y="39271"/>
                    </a:lnTo>
                    <a:lnTo>
                      <a:pt x="130189" y="35210"/>
                    </a:lnTo>
                    <a:lnTo>
                      <a:pt x="125085" y="36088"/>
                    </a:lnTo>
                    <a:lnTo>
                      <a:pt x="123356" y="59140"/>
                    </a:lnTo>
                    <a:lnTo>
                      <a:pt x="128104" y="59853"/>
                    </a:lnTo>
                    <a:lnTo>
                      <a:pt x="129723" y="64052"/>
                    </a:lnTo>
                    <a:lnTo>
                      <a:pt x="125113" y="65699"/>
                    </a:lnTo>
                    <a:lnTo>
                      <a:pt x="120941" y="65068"/>
                    </a:lnTo>
                    <a:lnTo>
                      <a:pt x="115425" y="68333"/>
                    </a:lnTo>
                    <a:lnTo>
                      <a:pt x="116907" y="78240"/>
                    </a:lnTo>
                    <a:lnTo>
                      <a:pt x="107440" y="94761"/>
                    </a:lnTo>
                    <a:lnTo>
                      <a:pt x="106835" y="103158"/>
                    </a:lnTo>
                    <a:lnTo>
                      <a:pt x="106424" y="107933"/>
                    </a:lnTo>
                    <a:lnTo>
                      <a:pt x="100634" y="109992"/>
                    </a:lnTo>
                    <a:lnTo>
                      <a:pt x="29117" y="99701"/>
                    </a:lnTo>
                    <a:lnTo>
                      <a:pt x="1757" y="64793"/>
                    </a:lnTo>
                    <a:lnTo>
                      <a:pt x="0" y="58701"/>
                    </a:lnTo>
                    <a:lnTo>
                      <a:pt x="4309" y="59277"/>
                    </a:lnTo>
                    <a:lnTo>
                      <a:pt x="6751" y="65122"/>
                    </a:lnTo>
                    <a:lnTo>
                      <a:pt x="11060" y="67208"/>
                    </a:lnTo>
                    <a:lnTo>
                      <a:pt x="20143" y="66440"/>
                    </a:lnTo>
                    <a:lnTo>
                      <a:pt x="30627" y="61280"/>
                    </a:lnTo>
                    <a:lnTo>
                      <a:pt x="63942" y="64354"/>
                    </a:lnTo>
                    <a:lnTo>
                      <a:pt x="69761" y="63229"/>
                    </a:lnTo>
                    <a:lnTo>
                      <a:pt x="77856" y="55051"/>
                    </a:lnTo>
                    <a:lnTo>
                      <a:pt x="82164" y="57054"/>
                    </a:lnTo>
                    <a:lnTo>
                      <a:pt x="81451" y="51319"/>
                    </a:lnTo>
                    <a:lnTo>
                      <a:pt x="87324" y="49288"/>
                    </a:lnTo>
                    <a:lnTo>
                      <a:pt x="91660" y="41137"/>
                    </a:lnTo>
                    <a:lnTo>
                      <a:pt x="104695" y="29940"/>
                    </a:lnTo>
                    <a:lnTo>
                      <a:pt x="106149" y="26291"/>
                    </a:lnTo>
                    <a:lnTo>
                      <a:pt x="116304" y="16164"/>
                    </a:lnTo>
                    <a:lnTo>
                      <a:pt x="127034" y="8782"/>
                    </a:lnTo>
                    <a:lnTo>
                      <a:pt x="132138" y="0"/>
                    </a:lnTo>
                    <a:lnTo>
                      <a:pt x="134855" y="1674"/>
                    </a:lnTo>
                    <a:lnTo>
                      <a:pt x="134855" y="12871"/>
                    </a:lnTo>
                    <a:lnTo>
                      <a:pt x="137462" y="13914"/>
                    </a:lnTo>
                    <a:lnTo>
                      <a:pt x="140097" y="15341"/>
                    </a:lnTo>
                    <a:moveTo>
                      <a:pt x="135980" y="25879"/>
                    </a:moveTo>
                    <a:lnTo>
                      <a:pt x="137983" y="26812"/>
                    </a:lnTo>
                    <a:lnTo>
                      <a:pt x="139959" y="24589"/>
                    </a:lnTo>
                    <a:lnTo>
                      <a:pt x="137764" y="23025"/>
                    </a:lnTo>
                    <a:lnTo>
                      <a:pt x="135953" y="258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7" name="Freeform: Shape 3556">
                <a:extLst>
                  <a:ext uri="{FF2B5EF4-FFF2-40B4-BE49-F238E27FC236}">
                    <a16:creationId xmlns:a16="http://schemas.microsoft.com/office/drawing/2014/main" id="{D5EFC0EB-44EB-9BE2-2FA1-98C169248161}"/>
                  </a:ext>
                </a:extLst>
              </p:cNvPr>
              <p:cNvSpPr/>
              <p:nvPr/>
            </p:nvSpPr>
            <p:spPr>
              <a:xfrm>
                <a:off x="1530016" y="3767806"/>
                <a:ext cx="844" cy="292"/>
              </a:xfrm>
              <a:custGeom>
                <a:avLst/>
                <a:gdLst>
                  <a:gd name="connsiteX0" fmla="*/ 8014 w 8095"/>
                  <a:gd name="connsiteY0" fmla="*/ 2717 h 2799"/>
                  <a:gd name="connsiteX1" fmla="*/ 1345 w 8095"/>
                  <a:gd name="connsiteY1" fmla="*/ 2799 h 2799"/>
                  <a:gd name="connsiteX2" fmla="*/ 0 w 8095"/>
                  <a:gd name="connsiteY2" fmla="*/ 1592 h 2799"/>
                  <a:gd name="connsiteX3" fmla="*/ 1702 w 8095"/>
                  <a:gd name="connsiteY3" fmla="*/ 0 h 2799"/>
                  <a:gd name="connsiteX4" fmla="*/ 6230 w 8095"/>
                  <a:gd name="connsiteY4" fmla="*/ 0 h 2799"/>
                  <a:gd name="connsiteX5" fmla="*/ 8096 w 8095"/>
                  <a:gd name="connsiteY5" fmla="*/ 1153 h 2799"/>
                  <a:gd name="connsiteX6" fmla="*/ 7986 w 8095"/>
                  <a:gd name="connsiteY6" fmla="*/ 2717 h 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95" h="2799">
                    <a:moveTo>
                      <a:pt x="8014" y="2717"/>
                    </a:moveTo>
                    <a:lnTo>
                      <a:pt x="1345" y="2799"/>
                    </a:lnTo>
                    <a:lnTo>
                      <a:pt x="0" y="1592"/>
                    </a:lnTo>
                    <a:lnTo>
                      <a:pt x="1702" y="0"/>
                    </a:lnTo>
                    <a:lnTo>
                      <a:pt x="6230" y="0"/>
                    </a:lnTo>
                    <a:lnTo>
                      <a:pt x="8096" y="1153"/>
                    </a:lnTo>
                    <a:lnTo>
                      <a:pt x="7986"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8" name="Freeform: Shape 3557">
                <a:extLst>
                  <a:ext uri="{FF2B5EF4-FFF2-40B4-BE49-F238E27FC236}">
                    <a16:creationId xmlns:a16="http://schemas.microsoft.com/office/drawing/2014/main" id="{D8D303FC-939F-958D-4E3D-E60F18F95B0E}"/>
                  </a:ext>
                </a:extLst>
              </p:cNvPr>
              <p:cNvSpPr/>
              <p:nvPr/>
            </p:nvSpPr>
            <p:spPr>
              <a:xfrm>
                <a:off x="1525651" y="3766627"/>
                <a:ext cx="358" cy="429"/>
              </a:xfrm>
              <a:custGeom>
                <a:avLst/>
                <a:gdLst>
                  <a:gd name="connsiteX0" fmla="*/ 3430 w 3430"/>
                  <a:gd name="connsiteY0" fmla="*/ 1262 h 4116"/>
                  <a:gd name="connsiteX1" fmla="*/ 3156 w 3430"/>
                  <a:gd name="connsiteY1" fmla="*/ 4116 h 4116"/>
                  <a:gd name="connsiteX2" fmla="*/ 0 w 3430"/>
                  <a:gd name="connsiteY2" fmla="*/ 2497 h 4116"/>
                  <a:gd name="connsiteX3" fmla="*/ 2113 w 3430"/>
                  <a:gd name="connsiteY3" fmla="*/ 0 h 4116"/>
                  <a:gd name="connsiteX4" fmla="*/ 3430 w 3430"/>
                  <a:gd name="connsiteY4" fmla="*/ 1262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4116">
                    <a:moveTo>
                      <a:pt x="3430" y="1262"/>
                    </a:moveTo>
                    <a:lnTo>
                      <a:pt x="3156" y="4116"/>
                    </a:lnTo>
                    <a:lnTo>
                      <a:pt x="0" y="2497"/>
                    </a:lnTo>
                    <a:lnTo>
                      <a:pt x="2113" y="0"/>
                    </a:lnTo>
                    <a:lnTo>
                      <a:pt x="3430" y="12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9" name="Freeform: Shape 3558">
                <a:extLst>
                  <a:ext uri="{FF2B5EF4-FFF2-40B4-BE49-F238E27FC236}">
                    <a16:creationId xmlns:a16="http://schemas.microsoft.com/office/drawing/2014/main" id="{0652A8BF-C937-EE01-F308-AA0893FFB589}"/>
                  </a:ext>
                </a:extLst>
              </p:cNvPr>
              <p:cNvSpPr/>
              <p:nvPr/>
            </p:nvSpPr>
            <p:spPr>
              <a:xfrm>
                <a:off x="1531536" y="3764234"/>
                <a:ext cx="349" cy="375"/>
              </a:xfrm>
              <a:custGeom>
                <a:avLst/>
                <a:gdLst>
                  <a:gd name="connsiteX0" fmla="*/ 3238 w 3347"/>
                  <a:gd name="connsiteY0" fmla="*/ 1317 h 3594"/>
                  <a:gd name="connsiteX1" fmla="*/ 3348 w 3347"/>
                  <a:gd name="connsiteY1" fmla="*/ 3595 h 3594"/>
                  <a:gd name="connsiteX2" fmla="*/ 714 w 3347"/>
                  <a:gd name="connsiteY2" fmla="*/ 3046 h 3594"/>
                  <a:gd name="connsiteX3" fmla="*/ 0 w 3347"/>
                  <a:gd name="connsiteY3" fmla="*/ 1838 h 3594"/>
                  <a:gd name="connsiteX4" fmla="*/ 1482 w 3347"/>
                  <a:gd name="connsiteY4" fmla="*/ 0 h 3594"/>
                  <a:gd name="connsiteX5" fmla="*/ 3266 w 3347"/>
                  <a:gd name="connsiteY5" fmla="*/ 1290 h 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7" h="3594">
                    <a:moveTo>
                      <a:pt x="3238" y="1317"/>
                    </a:moveTo>
                    <a:lnTo>
                      <a:pt x="3348" y="3595"/>
                    </a:lnTo>
                    <a:lnTo>
                      <a:pt x="714" y="3046"/>
                    </a:lnTo>
                    <a:lnTo>
                      <a:pt x="0" y="1838"/>
                    </a:lnTo>
                    <a:lnTo>
                      <a:pt x="1482" y="0"/>
                    </a:lnTo>
                    <a:lnTo>
                      <a:pt x="3266" y="12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0" name="Freeform: Shape 3559">
                <a:extLst>
                  <a:ext uri="{FF2B5EF4-FFF2-40B4-BE49-F238E27FC236}">
                    <a16:creationId xmlns:a16="http://schemas.microsoft.com/office/drawing/2014/main" id="{91980E7E-8A16-89E0-79AB-D7B310C6DD2A}"/>
                  </a:ext>
                </a:extLst>
              </p:cNvPr>
              <p:cNvSpPr/>
              <p:nvPr/>
            </p:nvSpPr>
            <p:spPr>
              <a:xfrm>
                <a:off x="1526598" y="3767340"/>
                <a:ext cx="309" cy="372"/>
              </a:xfrm>
              <a:custGeom>
                <a:avLst/>
                <a:gdLst>
                  <a:gd name="connsiteX0" fmla="*/ 2964 w 2964"/>
                  <a:gd name="connsiteY0" fmla="*/ 2360 h 3567"/>
                  <a:gd name="connsiteX1" fmla="*/ 1043 w 2964"/>
                  <a:gd name="connsiteY1" fmla="*/ 3568 h 3567"/>
                  <a:gd name="connsiteX2" fmla="*/ 0 w 2964"/>
                  <a:gd name="connsiteY2" fmla="*/ 1894 h 3567"/>
                  <a:gd name="connsiteX3" fmla="*/ 631 w 2964"/>
                  <a:gd name="connsiteY3" fmla="*/ 0 h 3567"/>
                  <a:gd name="connsiteX4" fmla="*/ 2634 w 2964"/>
                  <a:gd name="connsiteY4" fmla="*/ 0 h 3567"/>
                  <a:gd name="connsiteX5" fmla="*/ 2964 w 2964"/>
                  <a:gd name="connsiteY5" fmla="*/ 2360 h 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4" h="3567">
                    <a:moveTo>
                      <a:pt x="2964" y="2360"/>
                    </a:moveTo>
                    <a:lnTo>
                      <a:pt x="1043" y="3568"/>
                    </a:lnTo>
                    <a:lnTo>
                      <a:pt x="0" y="1894"/>
                    </a:lnTo>
                    <a:lnTo>
                      <a:pt x="631" y="0"/>
                    </a:lnTo>
                    <a:lnTo>
                      <a:pt x="2634" y="0"/>
                    </a:lnTo>
                    <a:cubicBezTo>
                      <a:pt x="2634" y="0"/>
                      <a:pt x="2964" y="2360"/>
                      <a:pt x="2964" y="2360"/>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1" name="Freeform: Shape 3560">
                <a:extLst>
                  <a:ext uri="{FF2B5EF4-FFF2-40B4-BE49-F238E27FC236}">
                    <a16:creationId xmlns:a16="http://schemas.microsoft.com/office/drawing/2014/main" id="{8EF500E2-59C8-BC45-AB6C-D743E7E9FC52}"/>
                  </a:ext>
                </a:extLst>
              </p:cNvPr>
              <p:cNvSpPr/>
              <p:nvPr/>
            </p:nvSpPr>
            <p:spPr>
              <a:xfrm>
                <a:off x="1550957" y="3716465"/>
                <a:ext cx="44171" cy="33575"/>
              </a:xfrm>
              <a:custGeom>
                <a:avLst/>
                <a:gdLst>
                  <a:gd name="connsiteX0" fmla="*/ 423500 w 423499"/>
                  <a:gd name="connsiteY0" fmla="*/ 45665 h 321906"/>
                  <a:gd name="connsiteX1" fmla="*/ 412413 w 423499"/>
                  <a:gd name="connsiteY1" fmla="*/ 45775 h 321906"/>
                  <a:gd name="connsiteX2" fmla="*/ 411233 w 423499"/>
                  <a:gd name="connsiteY2" fmla="*/ 49727 h 321906"/>
                  <a:gd name="connsiteX3" fmla="*/ 413922 w 423499"/>
                  <a:gd name="connsiteY3" fmla="*/ 53157 h 321906"/>
                  <a:gd name="connsiteX4" fmla="*/ 399817 w 423499"/>
                  <a:gd name="connsiteY4" fmla="*/ 60100 h 321906"/>
                  <a:gd name="connsiteX5" fmla="*/ 392599 w 423499"/>
                  <a:gd name="connsiteY5" fmla="*/ 57301 h 321906"/>
                  <a:gd name="connsiteX6" fmla="*/ 386726 w 423499"/>
                  <a:gd name="connsiteY6" fmla="*/ 57850 h 321906"/>
                  <a:gd name="connsiteX7" fmla="*/ 357198 w 423499"/>
                  <a:gd name="connsiteY7" fmla="*/ 60210 h 321906"/>
                  <a:gd name="connsiteX8" fmla="*/ 346961 w 423499"/>
                  <a:gd name="connsiteY8" fmla="*/ 63366 h 321906"/>
                  <a:gd name="connsiteX9" fmla="*/ 332279 w 423499"/>
                  <a:gd name="connsiteY9" fmla="*/ 74810 h 321906"/>
                  <a:gd name="connsiteX10" fmla="*/ 328080 w 423499"/>
                  <a:gd name="connsiteY10" fmla="*/ 74947 h 321906"/>
                  <a:gd name="connsiteX11" fmla="*/ 316857 w 423499"/>
                  <a:gd name="connsiteY11" fmla="*/ 87406 h 321906"/>
                  <a:gd name="connsiteX12" fmla="*/ 316253 w 423499"/>
                  <a:gd name="connsiteY12" fmla="*/ 89327 h 321906"/>
                  <a:gd name="connsiteX13" fmla="*/ 324184 w 423499"/>
                  <a:gd name="connsiteY13" fmla="*/ 100249 h 321906"/>
                  <a:gd name="connsiteX14" fmla="*/ 327340 w 423499"/>
                  <a:gd name="connsiteY14" fmla="*/ 110705 h 321906"/>
                  <a:gd name="connsiteX15" fmla="*/ 326214 w 423499"/>
                  <a:gd name="connsiteY15" fmla="*/ 115974 h 321906"/>
                  <a:gd name="connsiteX16" fmla="*/ 327944 w 423499"/>
                  <a:gd name="connsiteY16" fmla="*/ 120392 h 321906"/>
                  <a:gd name="connsiteX17" fmla="*/ 310407 w 423499"/>
                  <a:gd name="connsiteY17" fmla="*/ 142758 h 321906"/>
                  <a:gd name="connsiteX18" fmla="*/ 310297 w 423499"/>
                  <a:gd name="connsiteY18" fmla="*/ 145832 h 321906"/>
                  <a:gd name="connsiteX19" fmla="*/ 313344 w 423499"/>
                  <a:gd name="connsiteY19" fmla="*/ 150964 h 321906"/>
                  <a:gd name="connsiteX20" fmla="*/ 310956 w 423499"/>
                  <a:gd name="connsiteY20" fmla="*/ 159526 h 321906"/>
                  <a:gd name="connsiteX21" fmla="*/ 305221 w 423499"/>
                  <a:gd name="connsiteY21" fmla="*/ 163313 h 321906"/>
                  <a:gd name="connsiteX22" fmla="*/ 297893 w 423499"/>
                  <a:gd name="connsiteY22" fmla="*/ 164411 h 321906"/>
                  <a:gd name="connsiteX23" fmla="*/ 276982 w 423499"/>
                  <a:gd name="connsiteY23" fmla="*/ 162682 h 321906"/>
                  <a:gd name="connsiteX24" fmla="*/ 277503 w 423499"/>
                  <a:gd name="connsiteY24" fmla="*/ 168088 h 321906"/>
                  <a:gd name="connsiteX25" fmla="*/ 283897 w 423499"/>
                  <a:gd name="connsiteY25" fmla="*/ 174071 h 321906"/>
                  <a:gd name="connsiteX26" fmla="*/ 288096 w 423499"/>
                  <a:gd name="connsiteY26" fmla="*/ 185597 h 321906"/>
                  <a:gd name="connsiteX27" fmla="*/ 279122 w 423499"/>
                  <a:gd name="connsiteY27" fmla="*/ 193144 h 321906"/>
                  <a:gd name="connsiteX28" fmla="*/ 266498 w 423499"/>
                  <a:gd name="connsiteY28" fmla="*/ 196300 h 321906"/>
                  <a:gd name="connsiteX29" fmla="*/ 262492 w 423499"/>
                  <a:gd name="connsiteY29" fmla="*/ 205658 h 321906"/>
                  <a:gd name="connsiteX30" fmla="*/ 262876 w 423499"/>
                  <a:gd name="connsiteY30" fmla="*/ 210405 h 321906"/>
                  <a:gd name="connsiteX31" fmla="*/ 257991 w 423499"/>
                  <a:gd name="connsiteY31" fmla="*/ 217129 h 321906"/>
                  <a:gd name="connsiteX32" fmla="*/ 259254 w 423499"/>
                  <a:gd name="connsiteY32" fmla="*/ 233567 h 321906"/>
                  <a:gd name="connsiteX33" fmla="*/ 257991 w 423499"/>
                  <a:gd name="connsiteY33" fmla="*/ 236641 h 321906"/>
                  <a:gd name="connsiteX34" fmla="*/ 251981 w 423499"/>
                  <a:gd name="connsiteY34" fmla="*/ 244133 h 321906"/>
                  <a:gd name="connsiteX35" fmla="*/ 247069 w 423499"/>
                  <a:gd name="connsiteY35" fmla="*/ 245944 h 321906"/>
                  <a:gd name="connsiteX36" fmla="*/ 240537 w 423499"/>
                  <a:gd name="connsiteY36" fmla="*/ 241333 h 321906"/>
                  <a:gd name="connsiteX37" fmla="*/ 236970 w 423499"/>
                  <a:gd name="connsiteY37" fmla="*/ 243474 h 321906"/>
                  <a:gd name="connsiteX38" fmla="*/ 226075 w 423499"/>
                  <a:gd name="connsiteY38" fmla="*/ 239742 h 321906"/>
                  <a:gd name="connsiteX39" fmla="*/ 220586 w 423499"/>
                  <a:gd name="connsiteY39" fmla="*/ 244654 h 321906"/>
                  <a:gd name="connsiteX40" fmla="*/ 209664 w 423499"/>
                  <a:gd name="connsiteY40" fmla="*/ 249786 h 321906"/>
                  <a:gd name="connsiteX41" fmla="*/ 210021 w 423499"/>
                  <a:gd name="connsiteY41" fmla="*/ 252448 h 321906"/>
                  <a:gd name="connsiteX42" fmla="*/ 213588 w 423499"/>
                  <a:gd name="connsiteY42" fmla="*/ 254424 h 321906"/>
                  <a:gd name="connsiteX43" fmla="*/ 212326 w 423499"/>
                  <a:gd name="connsiteY43" fmla="*/ 256592 h 321906"/>
                  <a:gd name="connsiteX44" fmla="*/ 200443 w 423499"/>
                  <a:gd name="connsiteY44" fmla="*/ 260050 h 321906"/>
                  <a:gd name="connsiteX45" fmla="*/ 189548 w 423499"/>
                  <a:gd name="connsiteY45" fmla="*/ 257470 h 321906"/>
                  <a:gd name="connsiteX46" fmla="*/ 184554 w 423499"/>
                  <a:gd name="connsiteY46" fmla="*/ 260269 h 321906"/>
                  <a:gd name="connsiteX47" fmla="*/ 179642 w 423499"/>
                  <a:gd name="connsiteY47" fmla="*/ 267020 h 321906"/>
                  <a:gd name="connsiteX48" fmla="*/ 173275 w 423499"/>
                  <a:gd name="connsiteY48" fmla="*/ 271082 h 321906"/>
                  <a:gd name="connsiteX49" fmla="*/ 170942 w 423499"/>
                  <a:gd name="connsiteY49" fmla="*/ 280879 h 321906"/>
                  <a:gd name="connsiteX50" fmla="*/ 171574 w 423499"/>
                  <a:gd name="connsiteY50" fmla="*/ 291005 h 321906"/>
                  <a:gd name="connsiteX51" fmla="*/ 169872 w 423499"/>
                  <a:gd name="connsiteY51" fmla="*/ 298278 h 321906"/>
                  <a:gd name="connsiteX52" fmla="*/ 171738 w 423499"/>
                  <a:gd name="connsiteY52" fmla="*/ 302806 h 321906"/>
                  <a:gd name="connsiteX53" fmla="*/ 168143 w 423499"/>
                  <a:gd name="connsiteY53" fmla="*/ 306648 h 321906"/>
                  <a:gd name="connsiteX54" fmla="*/ 135925 w 423499"/>
                  <a:gd name="connsiteY54" fmla="*/ 316857 h 321906"/>
                  <a:gd name="connsiteX55" fmla="*/ 117374 w 423499"/>
                  <a:gd name="connsiteY55" fmla="*/ 316335 h 321906"/>
                  <a:gd name="connsiteX56" fmla="*/ 106342 w 423499"/>
                  <a:gd name="connsiteY56" fmla="*/ 321495 h 321906"/>
                  <a:gd name="connsiteX57" fmla="*/ 89683 w 423499"/>
                  <a:gd name="connsiteY57" fmla="*/ 319107 h 321906"/>
                  <a:gd name="connsiteX58" fmla="*/ 59139 w 423499"/>
                  <a:gd name="connsiteY58" fmla="*/ 321906 h 321906"/>
                  <a:gd name="connsiteX59" fmla="*/ 11196 w 423499"/>
                  <a:gd name="connsiteY59" fmla="*/ 306319 h 321906"/>
                  <a:gd name="connsiteX60" fmla="*/ 37569 w 423499"/>
                  <a:gd name="connsiteY60" fmla="*/ 274018 h 321906"/>
                  <a:gd name="connsiteX61" fmla="*/ 38118 w 423499"/>
                  <a:gd name="connsiteY61" fmla="*/ 269765 h 321906"/>
                  <a:gd name="connsiteX62" fmla="*/ 39243 w 423499"/>
                  <a:gd name="connsiteY62" fmla="*/ 264715 h 321906"/>
                  <a:gd name="connsiteX63" fmla="*/ 36032 w 423499"/>
                  <a:gd name="connsiteY63" fmla="*/ 255028 h 321906"/>
                  <a:gd name="connsiteX64" fmla="*/ 10867 w 423499"/>
                  <a:gd name="connsiteY64" fmla="*/ 249484 h 321906"/>
                  <a:gd name="connsiteX65" fmla="*/ 9550 w 423499"/>
                  <a:gd name="connsiteY65" fmla="*/ 234857 h 321906"/>
                  <a:gd name="connsiteX66" fmla="*/ 11169 w 423499"/>
                  <a:gd name="connsiteY66" fmla="*/ 224484 h 321906"/>
                  <a:gd name="connsiteX67" fmla="*/ 3101 w 423499"/>
                  <a:gd name="connsiteY67" fmla="*/ 193500 h 321906"/>
                  <a:gd name="connsiteX68" fmla="*/ 11361 w 423499"/>
                  <a:gd name="connsiteY68" fmla="*/ 179477 h 321906"/>
                  <a:gd name="connsiteX69" fmla="*/ 4253 w 423499"/>
                  <a:gd name="connsiteY69" fmla="*/ 177528 h 321906"/>
                  <a:gd name="connsiteX70" fmla="*/ 0 w 423499"/>
                  <a:gd name="connsiteY70" fmla="*/ 160651 h 321906"/>
                  <a:gd name="connsiteX71" fmla="*/ 5077 w 423499"/>
                  <a:gd name="connsiteY71" fmla="*/ 152665 h 321906"/>
                  <a:gd name="connsiteX72" fmla="*/ 11086 w 423499"/>
                  <a:gd name="connsiteY72" fmla="*/ 151074 h 321906"/>
                  <a:gd name="connsiteX73" fmla="*/ 8096 w 423499"/>
                  <a:gd name="connsiteY73" fmla="*/ 144213 h 321906"/>
                  <a:gd name="connsiteX74" fmla="*/ 14654 w 423499"/>
                  <a:gd name="connsiteY74" fmla="*/ 139218 h 321906"/>
                  <a:gd name="connsiteX75" fmla="*/ 18551 w 423499"/>
                  <a:gd name="connsiteY75" fmla="*/ 124756 h 321906"/>
                  <a:gd name="connsiteX76" fmla="*/ 18139 w 423499"/>
                  <a:gd name="connsiteY76" fmla="*/ 118197 h 321906"/>
                  <a:gd name="connsiteX77" fmla="*/ 20308 w 423499"/>
                  <a:gd name="connsiteY77" fmla="*/ 115672 h 321906"/>
                  <a:gd name="connsiteX78" fmla="*/ 23024 w 423499"/>
                  <a:gd name="connsiteY78" fmla="*/ 105216 h 321906"/>
                  <a:gd name="connsiteX79" fmla="*/ 25494 w 423499"/>
                  <a:gd name="connsiteY79" fmla="*/ 105134 h 321906"/>
                  <a:gd name="connsiteX80" fmla="*/ 33014 w 423499"/>
                  <a:gd name="connsiteY80" fmla="*/ 111336 h 321906"/>
                  <a:gd name="connsiteX81" fmla="*/ 45747 w 423499"/>
                  <a:gd name="connsiteY81" fmla="*/ 111446 h 321906"/>
                  <a:gd name="connsiteX82" fmla="*/ 52197 w 423499"/>
                  <a:gd name="connsiteY82" fmla="*/ 116907 h 321906"/>
                  <a:gd name="connsiteX83" fmla="*/ 53705 w 423499"/>
                  <a:gd name="connsiteY83" fmla="*/ 121545 h 321906"/>
                  <a:gd name="connsiteX84" fmla="*/ 58316 w 423499"/>
                  <a:gd name="connsiteY84" fmla="*/ 117621 h 321906"/>
                  <a:gd name="connsiteX85" fmla="*/ 64024 w 423499"/>
                  <a:gd name="connsiteY85" fmla="*/ 118855 h 321906"/>
                  <a:gd name="connsiteX86" fmla="*/ 76676 w 423499"/>
                  <a:gd name="connsiteY86" fmla="*/ 111089 h 321906"/>
                  <a:gd name="connsiteX87" fmla="*/ 77636 w 423499"/>
                  <a:gd name="connsiteY87" fmla="*/ 104448 h 321906"/>
                  <a:gd name="connsiteX88" fmla="*/ 80380 w 423499"/>
                  <a:gd name="connsiteY88" fmla="*/ 102170 h 321906"/>
                  <a:gd name="connsiteX89" fmla="*/ 77773 w 423499"/>
                  <a:gd name="connsiteY89" fmla="*/ 96270 h 321906"/>
                  <a:gd name="connsiteX90" fmla="*/ 104393 w 423499"/>
                  <a:gd name="connsiteY90" fmla="*/ 89382 h 321906"/>
                  <a:gd name="connsiteX91" fmla="*/ 106533 w 423499"/>
                  <a:gd name="connsiteY91" fmla="*/ 86144 h 321906"/>
                  <a:gd name="connsiteX92" fmla="*/ 118883 w 423499"/>
                  <a:gd name="connsiteY92" fmla="*/ 79447 h 321906"/>
                  <a:gd name="connsiteX93" fmla="*/ 121435 w 423499"/>
                  <a:gd name="connsiteY93" fmla="*/ 75413 h 321906"/>
                  <a:gd name="connsiteX94" fmla="*/ 121572 w 423499"/>
                  <a:gd name="connsiteY94" fmla="*/ 71269 h 321906"/>
                  <a:gd name="connsiteX95" fmla="*/ 121984 w 423499"/>
                  <a:gd name="connsiteY95" fmla="*/ 66494 h 321906"/>
                  <a:gd name="connsiteX96" fmla="*/ 126320 w 423499"/>
                  <a:gd name="connsiteY96" fmla="*/ 57136 h 321906"/>
                  <a:gd name="connsiteX97" fmla="*/ 125908 w 423499"/>
                  <a:gd name="connsiteY97" fmla="*/ 50550 h 321906"/>
                  <a:gd name="connsiteX98" fmla="*/ 131123 w 423499"/>
                  <a:gd name="connsiteY98" fmla="*/ 46927 h 321906"/>
                  <a:gd name="connsiteX99" fmla="*/ 148055 w 423499"/>
                  <a:gd name="connsiteY99" fmla="*/ 45171 h 321906"/>
                  <a:gd name="connsiteX100" fmla="*/ 153653 w 423499"/>
                  <a:gd name="connsiteY100" fmla="*/ 35100 h 321906"/>
                  <a:gd name="connsiteX101" fmla="*/ 171244 w 423499"/>
                  <a:gd name="connsiteY101" fmla="*/ 41960 h 321906"/>
                  <a:gd name="connsiteX102" fmla="*/ 178297 w 423499"/>
                  <a:gd name="connsiteY102" fmla="*/ 41192 h 321906"/>
                  <a:gd name="connsiteX103" fmla="*/ 190838 w 423499"/>
                  <a:gd name="connsiteY103" fmla="*/ 39930 h 321906"/>
                  <a:gd name="connsiteX104" fmla="*/ 199291 w 423499"/>
                  <a:gd name="connsiteY104" fmla="*/ 46900 h 321906"/>
                  <a:gd name="connsiteX105" fmla="*/ 206124 w 423499"/>
                  <a:gd name="connsiteY105" fmla="*/ 44567 h 321906"/>
                  <a:gd name="connsiteX106" fmla="*/ 214302 w 423499"/>
                  <a:gd name="connsiteY106" fmla="*/ 47641 h 321906"/>
                  <a:gd name="connsiteX107" fmla="*/ 216086 w 423499"/>
                  <a:gd name="connsiteY107" fmla="*/ 51483 h 321906"/>
                  <a:gd name="connsiteX108" fmla="*/ 221849 w 423499"/>
                  <a:gd name="connsiteY108" fmla="*/ 56011 h 321906"/>
                  <a:gd name="connsiteX109" fmla="*/ 245203 w 423499"/>
                  <a:gd name="connsiteY109" fmla="*/ 43333 h 321906"/>
                  <a:gd name="connsiteX110" fmla="*/ 249649 w 423499"/>
                  <a:gd name="connsiteY110" fmla="*/ 43525 h 321906"/>
                  <a:gd name="connsiteX111" fmla="*/ 258403 w 423499"/>
                  <a:gd name="connsiteY111" fmla="*/ 49480 h 321906"/>
                  <a:gd name="connsiteX112" fmla="*/ 262657 w 423499"/>
                  <a:gd name="connsiteY112" fmla="*/ 46159 h 321906"/>
                  <a:gd name="connsiteX113" fmla="*/ 261888 w 423499"/>
                  <a:gd name="connsiteY113" fmla="*/ 39134 h 321906"/>
                  <a:gd name="connsiteX114" fmla="*/ 266361 w 423499"/>
                  <a:gd name="connsiteY114" fmla="*/ 33288 h 321906"/>
                  <a:gd name="connsiteX115" fmla="*/ 285077 w 423499"/>
                  <a:gd name="connsiteY115" fmla="*/ 33151 h 321906"/>
                  <a:gd name="connsiteX116" fmla="*/ 287794 w 423499"/>
                  <a:gd name="connsiteY116" fmla="*/ 28403 h 321906"/>
                  <a:gd name="connsiteX117" fmla="*/ 286257 w 423499"/>
                  <a:gd name="connsiteY117" fmla="*/ 19594 h 321906"/>
                  <a:gd name="connsiteX118" fmla="*/ 293831 w 423499"/>
                  <a:gd name="connsiteY118" fmla="*/ 12487 h 321906"/>
                  <a:gd name="connsiteX119" fmla="*/ 300692 w 423499"/>
                  <a:gd name="connsiteY119" fmla="*/ 1866 h 321906"/>
                  <a:gd name="connsiteX120" fmla="*/ 307773 w 423499"/>
                  <a:gd name="connsiteY120" fmla="*/ 0 h 321906"/>
                  <a:gd name="connsiteX121" fmla="*/ 318970 w 423499"/>
                  <a:gd name="connsiteY121" fmla="*/ 7464 h 321906"/>
                  <a:gd name="connsiteX122" fmla="*/ 318091 w 423499"/>
                  <a:gd name="connsiteY122" fmla="*/ 19951 h 321906"/>
                  <a:gd name="connsiteX123" fmla="*/ 325830 w 423499"/>
                  <a:gd name="connsiteY123" fmla="*/ 21680 h 321906"/>
                  <a:gd name="connsiteX124" fmla="*/ 322180 w 423499"/>
                  <a:gd name="connsiteY124" fmla="*/ 51511 h 321906"/>
                  <a:gd name="connsiteX125" fmla="*/ 325693 w 423499"/>
                  <a:gd name="connsiteY125" fmla="*/ 61939 h 321906"/>
                  <a:gd name="connsiteX126" fmla="*/ 329041 w 423499"/>
                  <a:gd name="connsiteY126" fmla="*/ 65506 h 321906"/>
                  <a:gd name="connsiteX127" fmla="*/ 334146 w 423499"/>
                  <a:gd name="connsiteY127" fmla="*/ 65259 h 321906"/>
                  <a:gd name="connsiteX128" fmla="*/ 347867 w 423499"/>
                  <a:gd name="connsiteY128" fmla="*/ 55462 h 321906"/>
                  <a:gd name="connsiteX129" fmla="*/ 357445 w 423499"/>
                  <a:gd name="connsiteY129" fmla="*/ 53102 h 321906"/>
                  <a:gd name="connsiteX130" fmla="*/ 362796 w 423499"/>
                  <a:gd name="connsiteY130" fmla="*/ 46406 h 321906"/>
                  <a:gd name="connsiteX131" fmla="*/ 377011 w 423499"/>
                  <a:gd name="connsiteY131" fmla="*/ 37871 h 321906"/>
                  <a:gd name="connsiteX132" fmla="*/ 389141 w 423499"/>
                  <a:gd name="connsiteY132" fmla="*/ 38585 h 321906"/>
                  <a:gd name="connsiteX133" fmla="*/ 389827 w 423499"/>
                  <a:gd name="connsiteY133" fmla="*/ 40945 h 321906"/>
                  <a:gd name="connsiteX134" fmla="*/ 387495 w 423499"/>
                  <a:gd name="connsiteY134" fmla="*/ 44019 h 321906"/>
                  <a:gd name="connsiteX135" fmla="*/ 389388 w 423499"/>
                  <a:gd name="connsiteY135" fmla="*/ 45253 h 321906"/>
                  <a:gd name="connsiteX136" fmla="*/ 408297 w 423499"/>
                  <a:gd name="connsiteY136" fmla="*/ 39051 h 321906"/>
                  <a:gd name="connsiteX137" fmla="*/ 418038 w 423499"/>
                  <a:gd name="connsiteY137" fmla="*/ 40177 h 321906"/>
                  <a:gd name="connsiteX138" fmla="*/ 423472 w 423499"/>
                  <a:gd name="connsiteY138" fmla="*/ 45665 h 32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423499" h="321906">
                    <a:moveTo>
                      <a:pt x="423500" y="45665"/>
                    </a:moveTo>
                    <a:lnTo>
                      <a:pt x="412413" y="45775"/>
                    </a:lnTo>
                    <a:lnTo>
                      <a:pt x="411233" y="49727"/>
                    </a:lnTo>
                    <a:lnTo>
                      <a:pt x="413922" y="53157"/>
                    </a:lnTo>
                    <a:lnTo>
                      <a:pt x="399817" y="60100"/>
                    </a:lnTo>
                    <a:lnTo>
                      <a:pt x="392599" y="57301"/>
                    </a:lnTo>
                    <a:lnTo>
                      <a:pt x="386726" y="57850"/>
                    </a:lnTo>
                    <a:lnTo>
                      <a:pt x="357198" y="60210"/>
                    </a:lnTo>
                    <a:lnTo>
                      <a:pt x="346961" y="63366"/>
                    </a:lnTo>
                    <a:lnTo>
                      <a:pt x="332279" y="74810"/>
                    </a:lnTo>
                    <a:lnTo>
                      <a:pt x="328080" y="74947"/>
                    </a:lnTo>
                    <a:lnTo>
                      <a:pt x="316857" y="87406"/>
                    </a:lnTo>
                    <a:lnTo>
                      <a:pt x="316253" y="89327"/>
                    </a:lnTo>
                    <a:lnTo>
                      <a:pt x="324184" y="100249"/>
                    </a:lnTo>
                    <a:lnTo>
                      <a:pt x="327340" y="110705"/>
                    </a:lnTo>
                    <a:lnTo>
                      <a:pt x="326214" y="115974"/>
                    </a:lnTo>
                    <a:lnTo>
                      <a:pt x="327944" y="120392"/>
                    </a:lnTo>
                    <a:lnTo>
                      <a:pt x="310407" y="142758"/>
                    </a:lnTo>
                    <a:lnTo>
                      <a:pt x="310297" y="145832"/>
                    </a:lnTo>
                    <a:lnTo>
                      <a:pt x="313344" y="150964"/>
                    </a:lnTo>
                    <a:lnTo>
                      <a:pt x="310956" y="159526"/>
                    </a:lnTo>
                    <a:lnTo>
                      <a:pt x="305221" y="163313"/>
                    </a:lnTo>
                    <a:lnTo>
                      <a:pt x="297893" y="164411"/>
                    </a:lnTo>
                    <a:lnTo>
                      <a:pt x="276982" y="162682"/>
                    </a:lnTo>
                    <a:lnTo>
                      <a:pt x="277503" y="168088"/>
                    </a:lnTo>
                    <a:lnTo>
                      <a:pt x="283897" y="174071"/>
                    </a:lnTo>
                    <a:lnTo>
                      <a:pt x="288096" y="185597"/>
                    </a:lnTo>
                    <a:lnTo>
                      <a:pt x="279122" y="193144"/>
                    </a:lnTo>
                    <a:lnTo>
                      <a:pt x="266498" y="196300"/>
                    </a:lnTo>
                    <a:lnTo>
                      <a:pt x="262492" y="205658"/>
                    </a:lnTo>
                    <a:lnTo>
                      <a:pt x="262876" y="210405"/>
                    </a:lnTo>
                    <a:lnTo>
                      <a:pt x="257991" y="217129"/>
                    </a:lnTo>
                    <a:lnTo>
                      <a:pt x="259254" y="233567"/>
                    </a:lnTo>
                    <a:lnTo>
                      <a:pt x="257991" y="236641"/>
                    </a:lnTo>
                    <a:lnTo>
                      <a:pt x="251981" y="244133"/>
                    </a:lnTo>
                    <a:lnTo>
                      <a:pt x="247069" y="245944"/>
                    </a:lnTo>
                    <a:lnTo>
                      <a:pt x="240537" y="241333"/>
                    </a:lnTo>
                    <a:lnTo>
                      <a:pt x="236970" y="243474"/>
                    </a:lnTo>
                    <a:lnTo>
                      <a:pt x="226075" y="239742"/>
                    </a:lnTo>
                    <a:lnTo>
                      <a:pt x="220586" y="244654"/>
                    </a:lnTo>
                    <a:lnTo>
                      <a:pt x="209664" y="249786"/>
                    </a:lnTo>
                    <a:lnTo>
                      <a:pt x="210021" y="252448"/>
                    </a:lnTo>
                    <a:lnTo>
                      <a:pt x="213588" y="254424"/>
                    </a:lnTo>
                    <a:lnTo>
                      <a:pt x="212326" y="256592"/>
                    </a:lnTo>
                    <a:lnTo>
                      <a:pt x="200443" y="260050"/>
                    </a:lnTo>
                    <a:lnTo>
                      <a:pt x="189548" y="257470"/>
                    </a:lnTo>
                    <a:lnTo>
                      <a:pt x="184554" y="260269"/>
                    </a:lnTo>
                    <a:lnTo>
                      <a:pt x="179642" y="267020"/>
                    </a:lnTo>
                    <a:lnTo>
                      <a:pt x="173275" y="271082"/>
                    </a:lnTo>
                    <a:lnTo>
                      <a:pt x="170942" y="280879"/>
                    </a:lnTo>
                    <a:lnTo>
                      <a:pt x="171574" y="291005"/>
                    </a:lnTo>
                    <a:lnTo>
                      <a:pt x="169872" y="298278"/>
                    </a:lnTo>
                    <a:lnTo>
                      <a:pt x="171738" y="302806"/>
                    </a:lnTo>
                    <a:lnTo>
                      <a:pt x="168143" y="306648"/>
                    </a:lnTo>
                    <a:lnTo>
                      <a:pt x="135925" y="316857"/>
                    </a:lnTo>
                    <a:lnTo>
                      <a:pt x="117374" y="316335"/>
                    </a:lnTo>
                    <a:lnTo>
                      <a:pt x="106342" y="321495"/>
                    </a:lnTo>
                    <a:lnTo>
                      <a:pt x="89683" y="319107"/>
                    </a:lnTo>
                    <a:lnTo>
                      <a:pt x="59139" y="321906"/>
                    </a:lnTo>
                    <a:lnTo>
                      <a:pt x="11196" y="306319"/>
                    </a:lnTo>
                    <a:lnTo>
                      <a:pt x="37569" y="274018"/>
                    </a:lnTo>
                    <a:lnTo>
                      <a:pt x="38118" y="269765"/>
                    </a:lnTo>
                    <a:lnTo>
                      <a:pt x="39243" y="264715"/>
                    </a:lnTo>
                    <a:lnTo>
                      <a:pt x="36032" y="255028"/>
                    </a:lnTo>
                    <a:lnTo>
                      <a:pt x="10867" y="249484"/>
                    </a:lnTo>
                    <a:lnTo>
                      <a:pt x="9550" y="234857"/>
                    </a:lnTo>
                    <a:lnTo>
                      <a:pt x="11169" y="224484"/>
                    </a:lnTo>
                    <a:lnTo>
                      <a:pt x="3101" y="193500"/>
                    </a:lnTo>
                    <a:lnTo>
                      <a:pt x="11361" y="179477"/>
                    </a:lnTo>
                    <a:lnTo>
                      <a:pt x="4253" y="177528"/>
                    </a:lnTo>
                    <a:lnTo>
                      <a:pt x="0" y="160651"/>
                    </a:lnTo>
                    <a:lnTo>
                      <a:pt x="5077" y="152665"/>
                    </a:lnTo>
                    <a:lnTo>
                      <a:pt x="11086" y="151074"/>
                    </a:lnTo>
                    <a:lnTo>
                      <a:pt x="8096" y="144213"/>
                    </a:lnTo>
                    <a:lnTo>
                      <a:pt x="14654" y="139218"/>
                    </a:lnTo>
                    <a:lnTo>
                      <a:pt x="18551" y="124756"/>
                    </a:lnTo>
                    <a:lnTo>
                      <a:pt x="18139" y="118197"/>
                    </a:lnTo>
                    <a:lnTo>
                      <a:pt x="20308" y="115672"/>
                    </a:lnTo>
                    <a:lnTo>
                      <a:pt x="23024" y="105216"/>
                    </a:lnTo>
                    <a:lnTo>
                      <a:pt x="25494" y="105134"/>
                    </a:lnTo>
                    <a:lnTo>
                      <a:pt x="33014" y="111336"/>
                    </a:lnTo>
                    <a:lnTo>
                      <a:pt x="45747" y="111446"/>
                    </a:lnTo>
                    <a:lnTo>
                      <a:pt x="52197" y="116907"/>
                    </a:lnTo>
                    <a:lnTo>
                      <a:pt x="53705" y="121545"/>
                    </a:lnTo>
                    <a:lnTo>
                      <a:pt x="58316" y="117621"/>
                    </a:lnTo>
                    <a:lnTo>
                      <a:pt x="64024" y="118855"/>
                    </a:lnTo>
                    <a:lnTo>
                      <a:pt x="76676" y="111089"/>
                    </a:lnTo>
                    <a:lnTo>
                      <a:pt x="77636" y="104448"/>
                    </a:lnTo>
                    <a:lnTo>
                      <a:pt x="80380" y="102170"/>
                    </a:lnTo>
                    <a:lnTo>
                      <a:pt x="77773" y="96270"/>
                    </a:lnTo>
                    <a:lnTo>
                      <a:pt x="104393" y="89382"/>
                    </a:lnTo>
                    <a:lnTo>
                      <a:pt x="106533" y="86144"/>
                    </a:lnTo>
                    <a:lnTo>
                      <a:pt x="118883" y="79447"/>
                    </a:lnTo>
                    <a:lnTo>
                      <a:pt x="121435" y="75413"/>
                    </a:lnTo>
                    <a:lnTo>
                      <a:pt x="121572" y="71269"/>
                    </a:lnTo>
                    <a:lnTo>
                      <a:pt x="121984" y="66494"/>
                    </a:lnTo>
                    <a:lnTo>
                      <a:pt x="126320" y="57136"/>
                    </a:lnTo>
                    <a:lnTo>
                      <a:pt x="125908" y="50550"/>
                    </a:lnTo>
                    <a:lnTo>
                      <a:pt x="131123" y="46927"/>
                    </a:lnTo>
                    <a:lnTo>
                      <a:pt x="148055" y="45171"/>
                    </a:lnTo>
                    <a:lnTo>
                      <a:pt x="153653" y="35100"/>
                    </a:lnTo>
                    <a:lnTo>
                      <a:pt x="171244" y="41960"/>
                    </a:lnTo>
                    <a:lnTo>
                      <a:pt x="178297" y="41192"/>
                    </a:lnTo>
                    <a:lnTo>
                      <a:pt x="190838" y="39930"/>
                    </a:lnTo>
                    <a:lnTo>
                      <a:pt x="199291" y="46900"/>
                    </a:lnTo>
                    <a:lnTo>
                      <a:pt x="206124" y="44567"/>
                    </a:lnTo>
                    <a:lnTo>
                      <a:pt x="214302" y="47641"/>
                    </a:lnTo>
                    <a:lnTo>
                      <a:pt x="216086" y="51483"/>
                    </a:lnTo>
                    <a:lnTo>
                      <a:pt x="221849" y="56011"/>
                    </a:lnTo>
                    <a:lnTo>
                      <a:pt x="245203" y="43333"/>
                    </a:lnTo>
                    <a:lnTo>
                      <a:pt x="249649" y="43525"/>
                    </a:lnTo>
                    <a:lnTo>
                      <a:pt x="258403" y="49480"/>
                    </a:lnTo>
                    <a:lnTo>
                      <a:pt x="262657" y="46159"/>
                    </a:lnTo>
                    <a:lnTo>
                      <a:pt x="261888" y="39134"/>
                    </a:lnTo>
                    <a:lnTo>
                      <a:pt x="266361" y="33288"/>
                    </a:lnTo>
                    <a:lnTo>
                      <a:pt x="285077" y="33151"/>
                    </a:lnTo>
                    <a:lnTo>
                      <a:pt x="287794" y="28403"/>
                    </a:lnTo>
                    <a:lnTo>
                      <a:pt x="286257" y="19594"/>
                    </a:lnTo>
                    <a:lnTo>
                      <a:pt x="293831" y="12487"/>
                    </a:lnTo>
                    <a:lnTo>
                      <a:pt x="300692" y="1866"/>
                    </a:lnTo>
                    <a:lnTo>
                      <a:pt x="307773" y="0"/>
                    </a:lnTo>
                    <a:lnTo>
                      <a:pt x="318970" y="7464"/>
                    </a:lnTo>
                    <a:lnTo>
                      <a:pt x="318091" y="19951"/>
                    </a:lnTo>
                    <a:lnTo>
                      <a:pt x="325830" y="21680"/>
                    </a:lnTo>
                    <a:lnTo>
                      <a:pt x="322180" y="51511"/>
                    </a:lnTo>
                    <a:lnTo>
                      <a:pt x="325693" y="61939"/>
                    </a:lnTo>
                    <a:lnTo>
                      <a:pt x="329041" y="65506"/>
                    </a:lnTo>
                    <a:lnTo>
                      <a:pt x="334146" y="65259"/>
                    </a:lnTo>
                    <a:lnTo>
                      <a:pt x="347867" y="55462"/>
                    </a:lnTo>
                    <a:lnTo>
                      <a:pt x="357445" y="53102"/>
                    </a:lnTo>
                    <a:lnTo>
                      <a:pt x="362796" y="46406"/>
                    </a:lnTo>
                    <a:lnTo>
                      <a:pt x="377011" y="37871"/>
                    </a:lnTo>
                    <a:lnTo>
                      <a:pt x="389141" y="38585"/>
                    </a:lnTo>
                    <a:lnTo>
                      <a:pt x="389827" y="40945"/>
                    </a:lnTo>
                    <a:lnTo>
                      <a:pt x="387495" y="44019"/>
                    </a:lnTo>
                    <a:lnTo>
                      <a:pt x="389388" y="45253"/>
                    </a:lnTo>
                    <a:lnTo>
                      <a:pt x="408297" y="39051"/>
                    </a:lnTo>
                    <a:lnTo>
                      <a:pt x="418038" y="40177"/>
                    </a:lnTo>
                    <a:lnTo>
                      <a:pt x="423472" y="456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2" name="Freeform: Shape 3561">
                <a:extLst>
                  <a:ext uri="{FF2B5EF4-FFF2-40B4-BE49-F238E27FC236}">
                    <a16:creationId xmlns:a16="http://schemas.microsoft.com/office/drawing/2014/main" id="{54CDA5DF-0E2E-4153-34F8-7D595682CC54}"/>
                  </a:ext>
                </a:extLst>
              </p:cNvPr>
              <p:cNvSpPr/>
              <p:nvPr/>
            </p:nvSpPr>
            <p:spPr>
              <a:xfrm>
                <a:off x="1175502" y="3790971"/>
                <a:ext cx="650" cy="541"/>
              </a:xfrm>
              <a:custGeom>
                <a:avLst/>
                <a:gdLst>
                  <a:gd name="connsiteX0" fmla="*/ 6230 w 6229"/>
                  <a:gd name="connsiteY0" fmla="*/ 4363 h 5186"/>
                  <a:gd name="connsiteX1" fmla="*/ 2031 w 6229"/>
                  <a:gd name="connsiteY1" fmla="*/ 5186 h 5186"/>
                  <a:gd name="connsiteX2" fmla="*/ 302 w 6229"/>
                  <a:gd name="connsiteY2" fmla="*/ 4528 h 5186"/>
                  <a:gd name="connsiteX3" fmla="*/ 0 w 6229"/>
                  <a:gd name="connsiteY3" fmla="*/ 2771 h 5186"/>
                  <a:gd name="connsiteX4" fmla="*/ 1592 w 6229"/>
                  <a:gd name="connsiteY4" fmla="*/ 137 h 5186"/>
                  <a:gd name="connsiteX5" fmla="*/ 2936 w 6229"/>
                  <a:gd name="connsiteY5" fmla="*/ 0 h 5186"/>
                  <a:gd name="connsiteX6" fmla="*/ 6202 w 6229"/>
                  <a:gd name="connsiteY6" fmla="*/ 4336 h 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29" h="5186">
                    <a:moveTo>
                      <a:pt x="6230" y="4363"/>
                    </a:moveTo>
                    <a:lnTo>
                      <a:pt x="2031" y="5186"/>
                    </a:lnTo>
                    <a:lnTo>
                      <a:pt x="302" y="4528"/>
                    </a:lnTo>
                    <a:lnTo>
                      <a:pt x="0" y="2771"/>
                    </a:lnTo>
                    <a:lnTo>
                      <a:pt x="1592" y="137"/>
                    </a:lnTo>
                    <a:lnTo>
                      <a:pt x="2936" y="0"/>
                    </a:lnTo>
                    <a:lnTo>
                      <a:pt x="6202" y="43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3" name="Freeform: Shape 3562">
                <a:extLst>
                  <a:ext uri="{FF2B5EF4-FFF2-40B4-BE49-F238E27FC236}">
                    <a16:creationId xmlns:a16="http://schemas.microsoft.com/office/drawing/2014/main" id="{651C4A59-2867-32F8-FDD3-B709149FD6F7}"/>
                  </a:ext>
                </a:extLst>
              </p:cNvPr>
              <p:cNvSpPr/>
              <p:nvPr/>
            </p:nvSpPr>
            <p:spPr>
              <a:xfrm>
                <a:off x="1175539" y="3789176"/>
                <a:ext cx="481" cy="595"/>
              </a:xfrm>
              <a:custGeom>
                <a:avLst/>
                <a:gdLst>
                  <a:gd name="connsiteX0" fmla="*/ 4473 w 4610"/>
                  <a:gd name="connsiteY0" fmla="*/ 2826 h 5708"/>
                  <a:gd name="connsiteX1" fmla="*/ 4610 w 4610"/>
                  <a:gd name="connsiteY1" fmla="*/ 5708 h 5708"/>
                  <a:gd name="connsiteX2" fmla="*/ 1647 w 4610"/>
                  <a:gd name="connsiteY2" fmla="*/ 4308 h 5708"/>
                  <a:gd name="connsiteX3" fmla="*/ 0 w 4610"/>
                  <a:gd name="connsiteY3" fmla="*/ 933 h 5708"/>
                  <a:gd name="connsiteX4" fmla="*/ 1400 w 4610"/>
                  <a:gd name="connsiteY4" fmla="*/ 0 h 5708"/>
                  <a:gd name="connsiteX5" fmla="*/ 4473 w 4610"/>
                  <a:gd name="connsiteY5" fmla="*/ 2854 h 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0" h="5708">
                    <a:moveTo>
                      <a:pt x="4473" y="2826"/>
                    </a:moveTo>
                    <a:lnTo>
                      <a:pt x="4610" y="5708"/>
                    </a:lnTo>
                    <a:lnTo>
                      <a:pt x="1647" y="4308"/>
                    </a:lnTo>
                    <a:lnTo>
                      <a:pt x="0" y="933"/>
                    </a:lnTo>
                    <a:lnTo>
                      <a:pt x="1400" y="0"/>
                    </a:lnTo>
                    <a:lnTo>
                      <a:pt x="4473"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4" name="Freeform: Shape 3563">
                <a:extLst>
                  <a:ext uri="{FF2B5EF4-FFF2-40B4-BE49-F238E27FC236}">
                    <a16:creationId xmlns:a16="http://schemas.microsoft.com/office/drawing/2014/main" id="{D936DD3A-9477-79F2-8EC2-41BC84FB94E5}"/>
                  </a:ext>
                </a:extLst>
              </p:cNvPr>
              <p:cNvSpPr/>
              <p:nvPr/>
            </p:nvSpPr>
            <p:spPr>
              <a:xfrm>
                <a:off x="1171835" y="3787396"/>
                <a:ext cx="392" cy="343"/>
              </a:xfrm>
              <a:custGeom>
                <a:avLst/>
                <a:gdLst>
                  <a:gd name="connsiteX0" fmla="*/ 0 w 3759"/>
                  <a:gd name="connsiteY0" fmla="*/ 2635 h 3293"/>
                  <a:gd name="connsiteX1" fmla="*/ 55 w 3759"/>
                  <a:gd name="connsiteY1" fmla="*/ 1427 h 3293"/>
                  <a:gd name="connsiteX2" fmla="*/ 3458 w 3759"/>
                  <a:gd name="connsiteY2" fmla="*/ 0 h 3293"/>
                  <a:gd name="connsiteX3" fmla="*/ 3760 w 3759"/>
                  <a:gd name="connsiteY3" fmla="*/ 1866 h 3293"/>
                  <a:gd name="connsiteX4" fmla="*/ 1263 w 3759"/>
                  <a:gd name="connsiteY4" fmla="*/ 3293 h 3293"/>
                  <a:gd name="connsiteX5" fmla="*/ 0 w 3759"/>
                  <a:gd name="connsiteY5" fmla="*/ 2662 h 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9" h="3293">
                    <a:moveTo>
                      <a:pt x="0" y="2635"/>
                    </a:moveTo>
                    <a:lnTo>
                      <a:pt x="55" y="1427"/>
                    </a:lnTo>
                    <a:lnTo>
                      <a:pt x="3458" y="0"/>
                    </a:lnTo>
                    <a:lnTo>
                      <a:pt x="3760" y="1866"/>
                    </a:lnTo>
                    <a:lnTo>
                      <a:pt x="1263" y="3293"/>
                    </a:lnTo>
                    <a:lnTo>
                      <a:pt x="0"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5" name="Freeform: Shape 3564">
                <a:extLst>
                  <a:ext uri="{FF2B5EF4-FFF2-40B4-BE49-F238E27FC236}">
                    <a16:creationId xmlns:a16="http://schemas.microsoft.com/office/drawing/2014/main" id="{139CA290-F8EF-F891-D2CD-D06EFA2827DB}"/>
                  </a:ext>
                </a:extLst>
              </p:cNvPr>
              <p:cNvSpPr/>
              <p:nvPr/>
            </p:nvSpPr>
            <p:spPr>
              <a:xfrm>
                <a:off x="1498739" y="3705130"/>
                <a:ext cx="9440" cy="9823"/>
              </a:xfrm>
              <a:custGeom>
                <a:avLst/>
                <a:gdLst>
                  <a:gd name="connsiteX0" fmla="*/ 90507 w 90506"/>
                  <a:gd name="connsiteY0" fmla="*/ 92922 h 94184"/>
                  <a:gd name="connsiteX1" fmla="*/ 84442 w 90506"/>
                  <a:gd name="connsiteY1" fmla="*/ 91934 h 94184"/>
                  <a:gd name="connsiteX2" fmla="*/ 78597 w 90506"/>
                  <a:gd name="connsiteY2" fmla="*/ 94184 h 94184"/>
                  <a:gd name="connsiteX3" fmla="*/ 74178 w 90506"/>
                  <a:gd name="connsiteY3" fmla="*/ 78158 h 94184"/>
                  <a:gd name="connsiteX4" fmla="*/ 69458 w 90506"/>
                  <a:gd name="connsiteY4" fmla="*/ 73026 h 94184"/>
                  <a:gd name="connsiteX5" fmla="*/ 67785 w 90506"/>
                  <a:gd name="connsiteY5" fmla="*/ 67427 h 94184"/>
                  <a:gd name="connsiteX6" fmla="*/ 64327 w 90506"/>
                  <a:gd name="connsiteY6" fmla="*/ 66110 h 94184"/>
                  <a:gd name="connsiteX7" fmla="*/ 57740 w 90506"/>
                  <a:gd name="connsiteY7" fmla="*/ 68580 h 94184"/>
                  <a:gd name="connsiteX8" fmla="*/ 51154 w 90506"/>
                  <a:gd name="connsiteY8" fmla="*/ 64930 h 94184"/>
                  <a:gd name="connsiteX9" fmla="*/ 47312 w 90506"/>
                  <a:gd name="connsiteY9" fmla="*/ 59002 h 94184"/>
                  <a:gd name="connsiteX10" fmla="*/ 38201 w 90506"/>
                  <a:gd name="connsiteY10" fmla="*/ 61143 h 94184"/>
                  <a:gd name="connsiteX11" fmla="*/ 33344 w 90506"/>
                  <a:gd name="connsiteY11" fmla="*/ 56615 h 94184"/>
                  <a:gd name="connsiteX12" fmla="*/ 25467 w 90506"/>
                  <a:gd name="connsiteY12" fmla="*/ 49287 h 94184"/>
                  <a:gd name="connsiteX13" fmla="*/ 18140 w 90506"/>
                  <a:gd name="connsiteY13" fmla="*/ 49370 h 94184"/>
                  <a:gd name="connsiteX14" fmla="*/ 13365 w 90506"/>
                  <a:gd name="connsiteY14" fmla="*/ 49370 h 94184"/>
                  <a:gd name="connsiteX15" fmla="*/ 5406 w 90506"/>
                  <a:gd name="connsiteY15" fmla="*/ 45199 h 94184"/>
                  <a:gd name="connsiteX16" fmla="*/ 6669 w 90506"/>
                  <a:gd name="connsiteY16" fmla="*/ 43168 h 94184"/>
                  <a:gd name="connsiteX17" fmla="*/ 3842 w 90506"/>
                  <a:gd name="connsiteY17" fmla="*/ 32218 h 94184"/>
                  <a:gd name="connsiteX18" fmla="*/ 7986 w 90506"/>
                  <a:gd name="connsiteY18" fmla="*/ 21186 h 94184"/>
                  <a:gd name="connsiteX19" fmla="*/ 5544 w 90506"/>
                  <a:gd name="connsiteY19" fmla="*/ 14133 h 94184"/>
                  <a:gd name="connsiteX20" fmla="*/ 0 w 90506"/>
                  <a:gd name="connsiteY20" fmla="*/ 9303 h 94184"/>
                  <a:gd name="connsiteX21" fmla="*/ 137 w 90506"/>
                  <a:gd name="connsiteY21" fmla="*/ 6723 h 94184"/>
                  <a:gd name="connsiteX22" fmla="*/ 8343 w 90506"/>
                  <a:gd name="connsiteY22" fmla="*/ 6833 h 94184"/>
                  <a:gd name="connsiteX23" fmla="*/ 18140 w 90506"/>
                  <a:gd name="connsiteY23" fmla="*/ 3650 h 94184"/>
                  <a:gd name="connsiteX24" fmla="*/ 21543 w 90506"/>
                  <a:gd name="connsiteY24" fmla="*/ 2525 h 94184"/>
                  <a:gd name="connsiteX25" fmla="*/ 30380 w 90506"/>
                  <a:gd name="connsiteY25" fmla="*/ 4089 h 94184"/>
                  <a:gd name="connsiteX26" fmla="*/ 33344 w 90506"/>
                  <a:gd name="connsiteY26" fmla="*/ 3293 h 94184"/>
                  <a:gd name="connsiteX27" fmla="*/ 45418 w 90506"/>
                  <a:gd name="connsiteY27" fmla="*/ 0 h 94184"/>
                  <a:gd name="connsiteX28" fmla="*/ 48766 w 90506"/>
                  <a:gd name="connsiteY28" fmla="*/ 7986 h 94184"/>
                  <a:gd name="connsiteX29" fmla="*/ 59360 w 90506"/>
                  <a:gd name="connsiteY29" fmla="*/ 15450 h 94184"/>
                  <a:gd name="connsiteX30" fmla="*/ 57685 w 90506"/>
                  <a:gd name="connsiteY30" fmla="*/ 22997 h 94184"/>
                  <a:gd name="connsiteX31" fmla="*/ 59688 w 90506"/>
                  <a:gd name="connsiteY31" fmla="*/ 25055 h 94184"/>
                  <a:gd name="connsiteX32" fmla="*/ 59634 w 90506"/>
                  <a:gd name="connsiteY32" fmla="*/ 30132 h 94184"/>
                  <a:gd name="connsiteX33" fmla="*/ 64244 w 90506"/>
                  <a:gd name="connsiteY33" fmla="*/ 34633 h 94184"/>
                  <a:gd name="connsiteX34" fmla="*/ 70995 w 90506"/>
                  <a:gd name="connsiteY34" fmla="*/ 41192 h 94184"/>
                  <a:gd name="connsiteX35" fmla="*/ 70556 w 90506"/>
                  <a:gd name="connsiteY35" fmla="*/ 45775 h 94184"/>
                  <a:gd name="connsiteX36" fmla="*/ 66659 w 90506"/>
                  <a:gd name="connsiteY36" fmla="*/ 49589 h 94184"/>
                  <a:gd name="connsiteX37" fmla="*/ 66714 w 90506"/>
                  <a:gd name="connsiteY37" fmla="*/ 52416 h 94184"/>
                  <a:gd name="connsiteX38" fmla="*/ 78789 w 90506"/>
                  <a:gd name="connsiteY38" fmla="*/ 63311 h 94184"/>
                  <a:gd name="connsiteX39" fmla="*/ 87900 w 90506"/>
                  <a:gd name="connsiteY39" fmla="*/ 68168 h 94184"/>
                  <a:gd name="connsiteX40" fmla="*/ 90425 w 90506"/>
                  <a:gd name="connsiteY40" fmla="*/ 92977 h 94184"/>
                  <a:gd name="connsiteX41" fmla="*/ 43086 w 90506"/>
                  <a:gd name="connsiteY41" fmla="*/ 8645 h 94184"/>
                  <a:gd name="connsiteX42" fmla="*/ 45172 w 90506"/>
                  <a:gd name="connsiteY42" fmla="*/ 11636 h 94184"/>
                  <a:gd name="connsiteX43" fmla="*/ 46790 w 90506"/>
                  <a:gd name="connsiteY43" fmla="*/ 9989 h 94184"/>
                  <a:gd name="connsiteX44" fmla="*/ 46544 w 90506"/>
                  <a:gd name="connsiteY44" fmla="*/ 8233 h 94184"/>
                  <a:gd name="connsiteX45" fmla="*/ 44211 w 90506"/>
                  <a:gd name="connsiteY45" fmla="*/ 7272 h 94184"/>
                  <a:gd name="connsiteX46" fmla="*/ 43086 w 90506"/>
                  <a:gd name="connsiteY46" fmla="*/ 8645 h 9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0506" h="94184">
                    <a:moveTo>
                      <a:pt x="90507" y="92922"/>
                    </a:moveTo>
                    <a:lnTo>
                      <a:pt x="84442" y="91934"/>
                    </a:lnTo>
                    <a:lnTo>
                      <a:pt x="78597" y="94184"/>
                    </a:lnTo>
                    <a:lnTo>
                      <a:pt x="74178" y="78158"/>
                    </a:lnTo>
                    <a:lnTo>
                      <a:pt x="69458" y="73026"/>
                    </a:lnTo>
                    <a:lnTo>
                      <a:pt x="67785" y="67427"/>
                    </a:lnTo>
                    <a:lnTo>
                      <a:pt x="64327" y="66110"/>
                    </a:lnTo>
                    <a:lnTo>
                      <a:pt x="57740" y="68580"/>
                    </a:lnTo>
                    <a:lnTo>
                      <a:pt x="51154" y="64930"/>
                    </a:lnTo>
                    <a:lnTo>
                      <a:pt x="47312" y="59002"/>
                    </a:lnTo>
                    <a:lnTo>
                      <a:pt x="38201" y="61143"/>
                    </a:lnTo>
                    <a:lnTo>
                      <a:pt x="33344" y="56615"/>
                    </a:lnTo>
                    <a:lnTo>
                      <a:pt x="25467" y="49287"/>
                    </a:lnTo>
                    <a:lnTo>
                      <a:pt x="18140" y="49370"/>
                    </a:lnTo>
                    <a:lnTo>
                      <a:pt x="13365" y="49370"/>
                    </a:lnTo>
                    <a:cubicBezTo>
                      <a:pt x="13365" y="49370"/>
                      <a:pt x="5406" y="45199"/>
                      <a:pt x="5406" y="45199"/>
                    </a:cubicBezTo>
                    <a:lnTo>
                      <a:pt x="6669" y="43168"/>
                    </a:lnTo>
                    <a:lnTo>
                      <a:pt x="3842" y="32218"/>
                    </a:lnTo>
                    <a:lnTo>
                      <a:pt x="7986" y="21186"/>
                    </a:lnTo>
                    <a:lnTo>
                      <a:pt x="5544" y="14133"/>
                    </a:lnTo>
                    <a:lnTo>
                      <a:pt x="0" y="9303"/>
                    </a:lnTo>
                    <a:lnTo>
                      <a:pt x="137" y="6723"/>
                    </a:lnTo>
                    <a:lnTo>
                      <a:pt x="8343" y="6833"/>
                    </a:lnTo>
                    <a:lnTo>
                      <a:pt x="18140" y="3650"/>
                    </a:lnTo>
                    <a:lnTo>
                      <a:pt x="21543" y="2525"/>
                    </a:lnTo>
                    <a:lnTo>
                      <a:pt x="30380" y="4089"/>
                    </a:lnTo>
                    <a:lnTo>
                      <a:pt x="33344" y="3293"/>
                    </a:lnTo>
                    <a:lnTo>
                      <a:pt x="45418" y="0"/>
                    </a:lnTo>
                    <a:lnTo>
                      <a:pt x="48766" y="7986"/>
                    </a:lnTo>
                    <a:lnTo>
                      <a:pt x="59360" y="15450"/>
                    </a:lnTo>
                    <a:lnTo>
                      <a:pt x="57685" y="22997"/>
                    </a:lnTo>
                    <a:lnTo>
                      <a:pt x="59688" y="25055"/>
                    </a:lnTo>
                    <a:lnTo>
                      <a:pt x="59634" y="30132"/>
                    </a:lnTo>
                    <a:lnTo>
                      <a:pt x="64244" y="34633"/>
                    </a:lnTo>
                    <a:lnTo>
                      <a:pt x="70995" y="41192"/>
                    </a:lnTo>
                    <a:lnTo>
                      <a:pt x="70556" y="45775"/>
                    </a:lnTo>
                    <a:lnTo>
                      <a:pt x="66659" y="49589"/>
                    </a:lnTo>
                    <a:lnTo>
                      <a:pt x="66714" y="52416"/>
                    </a:lnTo>
                    <a:lnTo>
                      <a:pt x="78789" y="63311"/>
                    </a:lnTo>
                    <a:lnTo>
                      <a:pt x="87900" y="68168"/>
                    </a:lnTo>
                    <a:lnTo>
                      <a:pt x="90425" y="92977"/>
                    </a:lnTo>
                    <a:moveTo>
                      <a:pt x="43086" y="8645"/>
                    </a:moveTo>
                    <a:lnTo>
                      <a:pt x="45172" y="11636"/>
                    </a:lnTo>
                    <a:lnTo>
                      <a:pt x="46790" y="9989"/>
                    </a:lnTo>
                    <a:lnTo>
                      <a:pt x="46544" y="8233"/>
                    </a:lnTo>
                    <a:lnTo>
                      <a:pt x="44211" y="7272"/>
                    </a:lnTo>
                    <a:lnTo>
                      <a:pt x="43086" y="86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6" name="Freeform: Shape 3565">
                <a:extLst>
                  <a:ext uri="{FF2B5EF4-FFF2-40B4-BE49-F238E27FC236}">
                    <a16:creationId xmlns:a16="http://schemas.microsoft.com/office/drawing/2014/main" id="{D652585D-8E32-951D-1FC1-59AA53F93435}"/>
                  </a:ext>
                </a:extLst>
              </p:cNvPr>
              <p:cNvSpPr/>
              <p:nvPr/>
            </p:nvSpPr>
            <p:spPr>
              <a:xfrm>
                <a:off x="1401440" y="3862395"/>
                <a:ext cx="37788" cy="38289"/>
              </a:xfrm>
              <a:custGeom>
                <a:avLst/>
                <a:gdLst>
                  <a:gd name="connsiteX0" fmla="*/ 64738 w 362302"/>
                  <a:gd name="connsiteY0" fmla="*/ 110 h 367104"/>
                  <a:gd name="connsiteX1" fmla="*/ 82878 w 362302"/>
                  <a:gd name="connsiteY1" fmla="*/ 1976 h 367104"/>
                  <a:gd name="connsiteX2" fmla="*/ 140289 w 362302"/>
                  <a:gd name="connsiteY2" fmla="*/ 604 h 367104"/>
                  <a:gd name="connsiteX3" fmla="*/ 145832 w 362302"/>
                  <a:gd name="connsiteY3" fmla="*/ 9468 h 367104"/>
                  <a:gd name="connsiteX4" fmla="*/ 145365 w 362302"/>
                  <a:gd name="connsiteY4" fmla="*/ 16631 h 367104"/>
                  <a:gd name="connsiteX5" fmla="*/ 149674 w 362302"/>
                  <a:gd name="connsiteY5" fmla="*/ 30709 h 367104"/>
                  <a:gd name="connsiteX6" fmla="*/ 151430 w 362302"/>
                  <a:gd name="connsiteY6" fmla="*/ 32300 h 367104"/>
                  <a:gd name="connsiteX7" fmla="*/ 153324 w 362302"/>
                  <a:gd name="connsiteY7" fmla="*/ 42043 h 367104"/>
                  <a:gd name="connsiteX8" fmla="*/ 159334 w 362302"/>
                  <a:gd name="connsiteY8" fmla="*/ 47394 h 367104"/>
                  <a:gd name="connsiteX9" fmla="*/ 169790 w 362302"/>
                  <a:gd name="connsiteY9" fmla="*/ 66275 h 367104"/>
                  <a:gd name="connsiteX10" fmla="*/ 172205 w 362302"/>
                  <a:gd name="connsiteY10" fmla="*/ 67565 h 367104"/>
                  <a:gd name="connsiteX11" fmla="*/ 185761 w 362302"/>
                  <a:gd name="connsiteY11" fmla="*/ 66714 h 367104"/>
                  <a:gd name="connsiteX12" fmla="*/ 188698 w 362302"/>
                  <a:gd name="connsiteY12" fmla="*/ 64354 h 367104"/>
                  <a:gd name="connsiteX13" fmla="*/ 198385 w 362302"/>
                  <a:gd name="connsiteY13" fmla="*/ 63887 h 367104"/>
                  <a:gd name="connsiteX14" fmla="*/ 201322 w 362302"/>
                  <a:gd name="connsiteY14" fmla="*/ 61637 h 367104"/>
                  <a:gd name="connsiteX15" fmla="*/ 205740 w 362302"/>
                  <a:gd name="connsiteY15" fmla="*/ 61829 h 367104"/>
                  <a:gd name="connsiteX16" fmla="*/ 208841 w 362302"/>
                  <a:gd name="connsiteY16" fmla="*/ 64025 h 367104"/>
                  <a:gd name="connsiteX17" fmla="*/ 223605 w 362302"/>
                  <a:gd name="connsiteY17" fmla="*/ 63750 h 367104"/>
                  <a:gd name="connsiteX18" fmla="*/ 224511 w 362302"/>
                  <a:gd name="connsiteY18" fmla="*/ 52443 h 367104"/>
                  <a:gd name="connsiteX19" fmla="*/ 228628 w 362302"/>
                  <a:gd name="connsiteY19" fmla="*/ 48080 h 367104"/>
                  <a:gd name="connsiteX20" fmla="*/ 227749 w 362302"/>
                  <a:gd name="connsiteY20" fmla="*/ 42564 h 367104"/>
                  <a:gd name="connsiteX21" fmla="*/ 230439 w 362302"/>
                  <a:gd name="connsiteY21" fmla="*/ 34578 h 367104"/>
                  <a:gd name="connsiteX22" fmla="*/ 249704 w 362302"/>
                  <a:gd name="connsiteY22" fmla="*/ 34386 h 367104"/>
                  <a:gd name="connsiteX23" fmla="*/ 252969 w 362302"/>
                  <a:gd name="connsiteY23" fmla="*/ 32108 h 367104"/>
                  <a:gd name="connsiteX24" fmla="*/ 259501 w 362302"/>
                  <a:gd name="connsiteY24" fmla="*/ 31999 h 367104"/>
                  <a:gd name="connsiteX25" fmla="*/ 260653 w 362302"/>
                  <a:gd name="connsiteY25" fmla="*/ 33069 h 367104"/>
                  <a:gd name="connsiteX26" fmla="*/ 258815 w 362302"/>
                  <a:gd name="connsiteY26" fmla="*/ 39299 h 367104"/>
                  <a:gd name="connsiteX27" fmla="*/ 259830 w 362302"/>
                  <a:gd name="connsiteY27" fmla="*/ 42619 h 367104"/>
                  <a:gd name="connsiteX28" fmla="*/ 294985 w 362302"/>
                  <a:gd name="connsiteY28" fmla="*/ 43250 h 367104"/>
                  <a:gd name="connsiteX29" fmla="*/ 297098 w 362302"/>
                  <a:gd name="connsiteY29" fmla="*/ 49205 h 367104"/>
                  <a:gd name="connsiteX30" fmla="*/ 294381 w 362302"/>
                  <a:gd name="connsiteY30" fmla="*/ 63037 h 367104"/>
                  <a:gd name="connsiteX31" fmla="*/ 299705 w 362302"/>
                  <a:gd name="connsiteY31" fmla="*/ 79091 h 367104"/>
                  <a:gd name="connsiteX32" fmla="*/ 295698 w 362302"/>
                  <a:gd name="connsiteY32" fmla="*/ 106342 h 367104"/>
                  <a:gd name="connsiteX33" fmla="*/ 298058 w 362302"/>
                  <a:gd name="connsiteY33" fmla="*/ 113093 h 367104"/>
                  <a:gd name="connsiteX34" fmla="*/ 306840 w 362302"/>
                  <a:gd name="connsiteY34" fmla="*/ 122066 h 367104"/>
                  <a:gd name="connsiteX35" fmla="*/ 310517 w 362302"/>
                  <a:gd name="connsiteY35" fmla="*/ 134443 h 367104"/>
                  <a:gd name="connsiteX36" fmla="*/ 310792 w 362302"/>
                  <a:gd name="connsiteY36" fmla="*/ 145530 h 367104"/>
                  <a:gd name="connsiteX37" fmla="*/ 306785 w 362302"/>
                  <a:gd name="connsiteY37" fmla="*/ 149948 h 367104"/>
                  <a:gd name="connsiteX38" fmla="*/ 309063 w 362302"/>
                  <a:gd name="connsiteY38" fmla="*/ 160679 h 367104"/>
                  <a:gd name="connsiteX39" fmla="*/ 314497 w 362302"/>
                  <a:gd name="connsiteY39" fmla="*/ 158264 h 367104"/>
                  <a:gd name="connsiteX40" fmla="*/ 317296 w 362302"/>
                  <a:gd name="connsiteY40" fmla="*/ 154916 h 367104"/>
                  <a:gd name="connsiteX41" fmla="*/ 320973 w 362302"/>
                  <a:gd name="connsiteY41" fmla="*/ 156178 h 367104"/>
                  <a:gd name="connsiteX42" fmla="*/ 335024 w 362302"/>
                  <a:gd name="connsiteY42" fmla="*/ 156837 h 367104"/>
                  <a:gd name="connsiteX43" fmla="*/ 344135 w 362302"/>
                  <a:gd name="connsiteY43" fmla="*/ 151897 h 367104"/>
                  <a:gd name="connsiteX44" fmla="*/ 355469 w 362302"/>
                  <a:gd name="connsiteY44" fmla="*/ 154065 h 367104"/>
                  <a:gd name="connsiteX45" fmla="*/ 360217 w 362302"/>
                  <a:gd name="connsiteY45" fmla="*/ 150141 h 367104"/>
                  <a:gd name="connsiteX46" fmla="*/ 362302 w 362302"/>
                  <a:gd name="connsiteY46" fmla="*/ 165125 h 367104"/>
                  <a:gd name="connsiteX47" fmla="*/ 359421 w 362302"/>
                  <a:gd name="connsiteY47" fmla="*/ 173330 h 367104"/>
                  <a:gd name="connsiteX48" fmla="*/ 359833 w 362302"/>
                  <a:gd name="connsiteY48" fmla="*/ 187792 h 367104"/>
                  <a:gd name="connsiteX49" fmla="*/ 362000 w 362302"/>
                  <a:gd name="connsiteY49" fmla="*/ 193171 h 367104"/>
                  <a:gd name="connsiteX50" fmla="*/ 360903 w 362302"/>
                  <a:gd name="connsiteY50" fmla="*/ 197205 h 367104"/>
                  <a:gd name="connsiteX51" fmla="*/ 357253 w 362302"/>
                  <a:gd name="connsiteY51" fmla="*/ 207661 h 367104"/>
                  <a:gd name="connsiteX52" fmla="*/ 360600 w 362302"/>
                  <a:gd name="connsiteY52" fmla="*/ 213397 h 367104"/>
                  <a:gd name="connsiteX53" fmla="*/ 320973 w 362302"/>
                  <a:gd name="connsiteY53" fmla="*/ 213644 h 367104"/>
                  <a:gd name="connsiteX54" fmla="*/ 301571 w 362302"/>
                  <a:gd name="connsiteY54" fmla="*/ 214961 h 367104"/>
                  <a:gd name="connsiteX55" fmla="*/ 301379 w 362302"/>
                  <a:gd name="connsiteY55" fmla="*/ 306620 h 367104"/>
                  <a:gd name="connsiteX56" fmla="*/ 306428 w 362302"/>
                  <a:gd name="connsiteY56" fmla="*/ 320808 h 367104"/>
                  <a:gd name="connsiteX57" fmla="*/ 320973 w 362302"/>
                  <a:gd name="connsiteY57" fmla="*/ 335545 h 367104"/>
                  <a:gd name="connsiteX58" fmla="*/ 336259 w 362302"/>
                  <a:gd name="connsiteY58" fmla="*/ 350529 h 367104"/>
                  <a:gd name="connsiteX59" fmla="*/ 343449 w 362302"/>
                  <a:gd name="connsiteY59" fmla="*/ 355002 h 367104"/>
                  <a:gd name="connsiteX60" fmla="*/ 326626 w 362302"/>
                  <a:gd name="connsiteY60" fmla="*/ 358433 h 367104"/>
                  <a:gd name="connsiteX61" fmla="*/ 321000 w 362302"/>
                  <a:gd name="connsiteY61" fmla="*/ 359558 h 367104"/>
                  <a:gd name="connsiteX62" fmla="*/ 285956 w 362302"/>
                  <a:gd name="connsiteY62" fmla="*/ 366693 h 367104"/>
                  <a:gd name="connsiteX63" fmla="*/ 277394 w 362302"/>
                  <a:gd name="connsiteY63" fmla="*/ 364278 h 367104"/>
                  <a:gd name="connsiteX64" fmla="*/ 265977 w 362302"/>
                  <a:gd name="connsiteY64" fmla="*/ 367105 h 367104"/>
                  <a:gd name="connsiteX65" fmla="*/ 252448 w 362302"/>
                  <a:gd name="connsiteY65" fmla="*/ 362357 h 367104"/>
                  <a:gd name="connsiteX66" fmla="*/ 244490 w 362302"/>
                  <a:gd name="connsiteY66" fmla="*/ 363373 h 367104"/>
                  <a:gd name="connsiteX67" fmla="*/ 210241 w 362302"/>
                  <a:gd name="connsiteY67" fmla="*/ 360464 h 367104"/>
                  <a:gd name="connsiteX68" fmla="*/ 194790 w 362302"/>
                  <a:gd name="connsiteY68" fmla="*/ 347456 h 367104"/>
                  <a:gd name="connsiteX69" fmla="*/ 65397 w 362302"/>
                  <a:gd name="connsiteY69" fmla="*/ 348389 h 367104"/>
                  <a:gd name="connsiteX70" fmla="*/ 53157 w 362302"/>
                  <a:gd name="connsiteY70" fmla="*/ 340375 h 367104"/>
                  <a:gd name="connsiteX71" fmla="*/ 49672 w 362302"/>
                  <a:gd name="connsiteY71" fmla="*/ 335628 h 367104"/>
                  <a:gd name="connsiteX72" fmla="*/ 41302 w 362302"/>
                  <a:gd name="connsiteY72" fmla="*/ 334448 h 367104"/>
                  <a:gd name="connsiteX73" fmla="*/ 35813 w 362302"/>
                  <a:gd name="connsiteY73" fmla="*/ 335271 h 367104"/>
                  <a:gd name="connsiteX74" fmla="*/ 23272 w 362302"/>
                  <a:gd name="connsiteY74" fmla="*/ 342845 h 367104"/>
                  <a:gd name="connsiteX75" fmla="*/ 15039 w 362302"/>
                  <a:gd name="connsiteY75" fmla="*/ 342434 h 367104"/>
                  <a:gd name="connsiteX76" fmla="*/ 9880 w 362302"/>
                  <a:gd name="connsiteY76" fmla="*/ 340019 h 367104"/>
                  <a:gd name="connsiteX77" fmla="*/ 0 w 362302"/>
                  <a:gd name="connsiteY77" fmla="*/ 343175 h 367104"/>
                  <a:gd name="connsiteX78" fmla="*/ 2113 w 362302"/>
                  <a:gd name="connsiteY78" fmla="*/ 319272 h 367104"/>
                  <a:gd name="connsiteX79" fmla="*/ 27 w 362302"/>
                  <a:gd name="connsiteY79" fmla="*/ 300638 h 367104"/>
                  <a:gd name="connsiteX80" fmla="*/ 7657 w 362302"/>
                  <a:gd name="connsiteY80" fmla="*/ 291609 h 367104"/>
                  <a:gd name="connsiteX81" fmla="*/ 9111 w 362302"/>
                  <a:gd name="connsiteY81" fmla="*/ 282086 h 367104"/>
                  <a:gd name="connsiteX82" fmla="*/ 15423 w 362302"/>
                  <a:gd name="connsiteY82" fmla="*/ 266801 h 367104"/>
                  <a:gd name="connsiteX83" fmla="*/ 18249 w 362302"/>
                  <a:gd name="connsiteY83" fmla="*/ 245779 h 367104"/>
                  <a:gd name="connsiteX84" fmla="*/ 22448 w 362302"/>
                  <a:gd name="connsiteY84" fmla="*/ 238617 h 367104"/>
                  <a:gd name="connsiteX85" fmla="*/ 23436 w 362302"/>
                  <a:gd name="connsiteY85" fmla="*/ 226816 h 367104"/>
                  <a:gd name="connsiteX86" fmla="*/ 35100 w 362302"/>
                  <a:gd name="connsiteY86" fmla="*/ 213891 h 367104"/>
                  <a:gd name="connsiteX87" fmla="*/ 36664 w 362302"/>
                  <a:gd name="connsiteY87" fmla="*/ 207332 h 367104"/>
                  <a:gd name="connsiteX88" fmla="*/ 42674 w 362302"/>
                  <a:gd name="connsiteY88" fmla="*/ 201898 h 367104"/>
                  <a:gd name="connsiteX89" fmla="*/ 48108 w 362302"/>
                  <a:gd name="connsiteY89" fmla="*/ 200691 h 367104"/>
                  <a:gd name="connsiteX90" fmla="*/ 50879 w 362302"/>
                  <a:gd name="connsiteY90" fmla="*/ 197288 h 367104"/>
                  <a:gd name="connsiteX91" fmla="*/ 55983 w 362302"/>
                  <a:gd name="connsiteY91" fmla="*/ 190399 h 367104"/>
                  <a:gd name="connsiteX92" fmla="*/ 59524 w 362302"/>
                  <a:gd name="connsiteY92" fmla="*/ 179642 h 367104"/>
                  <a:gd name="connsiteX93" fmla="*/ 61857 w 362302"/>
                  <a:gd name="connsiteY93" fmla="*/ 153351 h 367104"/>
                  <a:gd name="connsiteX94" fmla="*/ 58783 w 362302"/>
                  <a:gd name="connsiteY94" fmla="*/ 146765 h 367104"/>
                  <a:gd name="connsiteX95" fmla="*/ 58564 w 362302"/>
                  <a:gd name="connsiteY95" fmla="*/ 142512 h 367104"/>
                  <a:gd name="connsiteX96" fmla="*/ 53102 w 362302"/>
                  <a:gd name="connsiteY96" fmla="*/ 135623 h 367104"/>
                  <a:gd name="connsiteX97" fmla="*/ 46735 w 362302"/>
                  <a:gd name="connsiteY97" fmla="*/ 123329 h 367104"/>
                  <a:gd name="connsiteX98" fmla="*/ 39600 w 362302"/>
                  <a:gd name="connsiteY98" fmla="*/ 101512 h 367104"/>
                  <a:gd name="connsiteX99" fmla="*/ 37213 w 362302"/>
                  <a:gd name="connsiteY99" fmla="*/ 97038 h 367104"/>
                  <a:gd name="connsiteX100" fmla="*/ 43964 w 362302"/>
                  <a:gd name="connsiteY100" fmla="*/ 87626 h 367104"/>
                  <a:gd name="connsiteX101" fmla="*/ 48080 w 362302"/>
                  <a:gd name="connsiteY101" fmla="*/ 85650 h 367104"/>
                  <a:gd name="connsiteX102" fmla="*/ 48656 w 362302"/>
                  <a:gd name="connsiteY102" fmla="*/ 83207 h 367104"/>
                  <a:gd name="connsiteX103" fmla="*/ 47614 w 362302"/>
                  <a:gd name="connsiteY103" fmla="*/ 74425 h 367104"/>
                  <a:gd name="connsiteX104" fmla="*/ 39491 w 362302"/>
                  <a:gd name="connsiteY104" fmla="*/ 58179 h 367104"/>
                  <a:gd name="connsiteX105" fmla="*/ 32932 w 362302"/>
                  <a:gd name="connsiteY105" fmla="*/ 42619 h 367104"/>
                  <a:gd name="connsiteX106" fmla="*/ 31642 w 362302"/>
                  <a:gd name="connsiteY106" fmla="*/ 34551 h 367104"/>
                  <a:gd name="connsiteX107" fmla="*/ 29309 w 362302"/>
                  <a:gd name="connsiteY107" fmla="*/ 30489 h 367104"/>
                  <a:gd name="connsiteX108" fmla="*/ 23793 w 362302"/>
                  <a:gd name="connsiteY108" fmla="*/ 23848 h 367104"/>
                  <a:gd name="connsiteX109" fmla="*/ 16054 w 362302"/>
                  <a:gd name="connsiteY109" fmla="*/ 8617 h 367104"/>
                  <a:gd name="connsiteX110" fmla="*/ 17069 w 362302"/>
                  <a:gd name="connsiteY110" fmla="*/ 7602 h 367104"/>
                  <a:gd name="connsiteX111" fmla="*/ 22448 w 362302"/>
                  <a:gd name="connsiteY111" fmla="*/ 8288 h 367104"/>
                  <a:gd name="connsiteX112" fmla="*/ 24946 w 362302"/>
                  <a:gd name="connsiteY112" fmla="*/ 6339 h 367104"/>
                  <a:gd name="connsiteX113" fmla="*/ 28760 w 362302"/>
                  <a:gd name="connsiteY113" fmla="*/ 5571 h 367104"/>
                  <a:gd name="connsiteX114" fmla="*/ 31203 w 362302"/>
                  <a:gd name="connsiteY114" fmla="*/ 3815 h 367104"/>
                  <a:gd name="connsiteX115" fmla="*/ 32438 w 362302"/>
                  <a:gd name="connsiteY115" fmla="*/ 2964 h 367104"/>
                  <a:gd name="connsiteX116" fmla="*/ 33453 w 362302"/>
                  <a:gd name="connsiteY116" fmla="*/ 2882 h 367104"/>
                  <a:gd name="connsiteX117" fmla="*/ 39737 w 362302"/>
                  <a:gd name="connsiteY117" fmla="*/ 1317 h 367104"/>
                  <a:gd name="connsiteX118" fmla="*/ 64793 w 362302"/>
                  <a:gd name="connsiteY118" fmla="*/ 0 h 36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62302" h="367104">
                    <a:moveTo>
                      <a:pt x="64738" y="110"/>
                    </a:moveTo>
                    <a:lnTo>
                      <a:pt x="82878" y="1976"/>
                    </a:lnTo>
                    <a:lnTo>
                      <a:pt x="140289" y="604"/>
                    </a:lnTo>
                    <a:lnTo>
                      <a:pt x="145832" y="9468"/>
                    </a:lnTo>
                    <a:lnTo>
                      <a:pt x="145365" y="16631"/>
                    </a:lnTo>
                    <a:lnTo>
                      <a:pt x="149674" y="30709"/>
                    </a:lnTo>
                    <a:lnTo>
                      <a:pt x="151430" y="32300"/>
                    </a:lnTo>
                    <a:lnTo>
                      <a:pt x="153324" y="42043"/>
                    </a:lnTo>
                    <a:lnTo>
                      <a:pt x="159334" y="47394"/>
                    </a:lnTo>
                    <a:lnTo>
                      <a:pt x="169790" y="66275"/>
                    </a:lnTo>
                    <a:lnTo>
                      <a:pt x="172205" y="67565"/>
                    </a:lnTo>
                    <a:lnTo>
                      <a:pt x="185761" y="66714"/>
                    </a:lnTo>
                    <a:lnTo>
                      <a:pt x="188698" y="64354"/>
                    </a:lnTo>
                    <a:lnTo>
                      <a:pt x="198385" y="63887"/>
                    </a:lnTo>
                    <a:lnTo>
                      <a:pt x="201322" y="61637"/>
                    </a:lnTo>
                    <a:lnTo>
                      <a:pt x="205740" y="61829"/>
                    </a:lnTo>
                    <a:lnTo>
                      <a:pt x="208841" y="64025"/>
                    </a:lnTo>
                    <a:lnTo>
                      <a:pt x="223605" y="63750"/>
                    </a:lnTo>
                    <a:lnTo>
                      <a:pt x="224511" y="52443"/>
                    </a:lnTo>
                    <a:lnTo>
                      <a:pt x="228628" y="48080"/>
                    </a:lnTo>
                    <a:lnTo>
                      <a:pt x="227749" y="42564"/>
                    </a:lnTo>
                    <a:lnTo>
                      <a:pt x="230439" y="34578"/>
                    </a:lnTo>
                    <a:lnTo>
                      <a:pt x="249704" y="34386"/>
                    </a:lnTo>
                    <a:lnTo>
                      <a:pt x="252969" y="32108"/>
                    </a:lnTo>
                    <a:lnTo>
                      <a:pt x="259501" y="31999"/>
                    </a:lnTo>
                    <a:lnTo>
                      <a:pt x="260653" y="33069"/>
                    </a:lnTo>
                    <a:lnTo>
                      <a:pt x="258815" y="39299"/>
                    </a:lnTo>
                    <a:lnTo>
                      <a:pt x="259830" y="42619"/>
                    </a:lnTo>
                    <a:lnTo>
                      <a:pt x="294985" y="43250"/>
                    </a:lnTo>
                    <a:lnTo>
                      <a:pt x="297098" y="49205"/>
                    </a:lnTo>
                    <a:lnTo>
                      <a:pt x="294381" y="63037"/>
                    </a:lnTo>
                    <a:lnTo>
                      <a:pt x="299705" y="79091"/>
                    </a:lnTo>
                    <a:lnTo>
                      <a:pt x="295698" y="106342"/>
                    </a:lnTo>
                    <a:lnTo>
                      <a:pt x="298058" y="113093"/>
                    </a:lnTo>
                    <a:lnTo>
                      <a:pt x="306840" y="122066"/>
                    </a:lnTo>
                    <a:lnTo>
                      <a:pt x="310517" y="134443"/>
                    </a:lnTo>
                    <a:lnTo>
                      <a:pt x="310792" y="145530"/>
                    </a:lnTo>
                    <a:lnTo>
                      <a:pt x="306785" y="149948"/>
                    </a:lnTo>
                    <a:lnTo>
                      <a:pt x="309063" y="160679"/>
                    </a:lnTo>
                    <a:lnTo>
                      <a:pt x="314497" y="158264"/>
                    </a:lnTo>
                    <a:lnTo>
                      <a:pt x="317296" y="154916"/>
                    </a:lnTo>
                    <a:lnTo>
                      <a:pt x="320973" y="156178"/>
                    </a:lnTo>
                    <a:lnTo>
                      <a:pt x="335024" y="156837"/>
                    </a:lnTo>
                    <a:lnTo>
                      <a:pt x="344135" y="151897"/>
                    </a:lnTo>
                    <a:lnTo>
                      <a:pt x="355469" y="154065"/>
                    </a:lnTo>
                    <a:lnTo>
                      <a:pt x="360217" y="150141"/>
                    </a:lnTo>
                    <a:lnTo>
                      <a:pt x="362302" y="165125"/>
                    </a:lnTo>
                    <a:lnTo>
                      <a:pt x="359421" y="173330"/>
                    </a:lnTo>
                    <a:lnTo>
                      <a:pt x="359833" y="187792"/>
                    </a:lnTo>
                    <a:lnTo>
                      <a:pt x="362000" y="193171"/>
                    </a:lnTo>
                    <a:lnTo>
                      <a:pt x="360903" y="197205"/>
                    </a:lnTo>
                    <a:lnTo>
                      <a:pt x="357253" y="207661"/>
                    </a:lnTo>
                    <a:lnTo>
                      <a:pt x="360600" y="213397"/>
                    </a:lnTo>
                    <a:lnTo>
                      <a:pt x="320973" y="213644"/>
                    </a:lnTo>
                    <a:lnTo>
                      <a:pt x="301571" y="214961"/>
                    </a:lnTo>
                    <a:lnTo>
                      <a:pt x="301379" y="306620"/>
                    </a:lnTo>
                    <a:lnTo>
                      <a:pt x="306428" y="320808"/>
                    </a:lnTo>
                    <a:lnTo>
                      <a:pt x="320973" y="335545"/>
                    </a:lnTo>
                    <a:lnTo>
                      <a:pt x="336259" y="350529"/>
                    </a:lnTo>
                    <a:lnTo>
                      <a:pt x="343449" y="355002"/>
                    </a:lnTo>
                    <a:lnTo>
                      <a:pt x="326626" y="358433"/>
                    </a:lnTo>
                    <a:lnTo>
                      <a:pt x="321000" y="359558"/>
                    </a:lnTo>
                    <a:lnTo>
                      <a:pt x="285956" y="366693"/>
                    </a:lnTo>
                    <a:lnTo>
                      <a:pt x="277394" y="364278"/>
                    </a:lnTo>
                    <a:lnTo>
                      <a:pt x="265977" y="367105"/>
                    </a:lnTo>
                    <a:lnTo>
                      <a:pt x="252448" y="362357"/>
                    </a:lnTo>
                    <a:lnTo>
                      <a:pt x="244490" y="363373"/>
                    </a:lnTo>
                    <a:lnTo>
                      <a:pt x="210241" y="360464"/>
                    </a:lnTo>
                    <a:lnTo>
                      <a:pt x="194790" y="347456"/>
                    </a:lnTo>
                    <a:lnTo>
                      <a:pt x="65397" y="348389"/>
                    </a:lnTo>
                    <a:lnTo>
                      <a:pt x="53157" y="340375"/>
                    </a:lnTo>
                    <a:lnTo>
                      <a:pt x="49672" y="335628"/>
                    </a:lnTo>
                    <a:lnTo>
                      <a:pt x="41302" y="334448"/>
                    </a:lnTo>
                    <a:lnTo>
                      <a:pt x="35813" y="335271"/>
                    </a:lnTo>
                    <a:lnTo>
                      <a:pt x="23272" y="342845"/>
                    </a:lnTo>
                    <a:lnTo>
                      <a:pt x="15039" y="342434"/>
                    </a:lnTo>
                    <a:lnTo>
                      <a:pt x="9880" y="340019"/>
                    </a:lnTo>
                    <a:lnTo>
                      <a:pt x="0" y="343175"/>
                    </a:lnTo>
                    <a:lnTo>
                      <a:pt x="2113" y="319272"/>
                    </a:lnTo>
                    <a:lnTo>
                      <a:pt x="27" y="300638"/>
                    </a:lnTo>
                    <a:lnTo>
                      <a:pt x="7657" y="291609"/>
                    </a:lnTo>
                    <a:lnTo>
                      <a:pt x="9111" y="282086"/>
                    </a:lnTo>
                    <a:lnTo>
                      <a:pt x="15423" y="266801"/>
                    </a:lnTo>
                    <a:lnTo>
                      <a:pt x="18249" y="245779"/>
                    </a:lnTo>
                    <a:lnTo>
                      <a:pt x="22448" y="238617"/>
                    </a:lnTo>
                    <a:lnTo>
                      <a:pt x="23436" y="226816"/>
                    </a:lnTo>
                    <a:lnTo>
                      <a:pt x="35100" y="213891"/>
                    </a:lnTo>
                    <a:lnTo>
                      <a:pt x="36664" y="207332"/>
                    </a:lnTo>
                    <a:lnTo>
                      <a:pt x="42674" y="201898"/>
                    </a:lnTo>
                    <a:lnTo>
                      <a:pt x="48108" y="200691"/>
                    </a:lnTo>
                    <a:lnTo>
                      <a:pt x="50879" y="197288"/>
                    </a:lnTo>
                    <a:lnTo>
                      <a:pt x="55983" y="190399"/>
                    </a:lnTo>
                    <a:lnTo>
                      <a:pt x="59524" y="179642"/>
                    </a:lnTo>
                    <a:lnTo>
                      <a:pt x="61857" y="153351"/>
                    </a:lnTo>
                    <a:lnTo>
                      <a:pt x="58783" y="146765"/>
                    </a:lnTo>
                    <a:lnTo>
                      <a:pt x="58564" y="142512"/>
                    </a:lnTo>
                    <a:lnTo>
                      <a:pt x="53102" y="135623"/>
                    </a:lnTo>
                    <a:lnTo>
                      <a:pt x="46735" y="123329"/>
                    </a:lnTo>
                    <a:lnTo>
                      <a:pt x="39600" y="101512"/>
                    </a:lnTo>
                    <a:lnTo>
                      <a:pt x="37213" y="97038"/>
                    </a:lnTo>
                    <a:lnTo>
                      <a:pt x="43964" y="87626"/>
                    </a:lnTo>
                    <a:lnTo>
                      <a:pt x="48080" y="85650"/>
                    </a:lnTo>
                    <a:lnTo>
                      <a:pt x="48656" y="83207"/>
                    </a:lnTo>
                    <a:lnTo>
                      <a:pt x="47614" y="74425"/>
                    </a:lnTo>
                    <a:lnTo>
                      <a:pt x="39491" y="58179"/>
                    </a:lnTo>
                    <a:lnTo>
                      <a:pt x="32932" y="42619"/>
                    </a:lnTo>
                    <a:lnTo>
                      <a:pt x="31642" y="34551"/>
                    </a:lnTo>
                    <a:lnTo>
                      <a:pt x="29309" y="30489"/>
                    </a:lnTo>
                    <a:lnTo>
                      <a:pt x="23793" y="23848"/>
                    </a:lnTo>
                    <a:lnTo>
                      <a:pt x="16054" y="8617"/>
                    </a:lnTo>
                    <a:lnTo>
                      <a:pt x="17069" y="7602"/>
                    </a:lnTo>
                    <a:lnTo>
                      <a:pt x="22448" y="8288"/>
                    </a:lnTo>
                    <a:lnTo>
                      <a:pt x="24946" y="6339"/>
                    </a:lnTo>
                    <a:lnTo>
                      <a:pt x="28760" y="5571"/>
                    </a:lnTo>
                    <a:lnTo>
                      <a:pt x="31203" y="3815"/>
                    </a:lnTo>
                    <a:lnTo>
                      <a:pt x="32438" y="2964"/>
                    </a:lnTo>
                    <a:lnTo>
                      <a:pt x="33453" y="2882"/>
                    </a:lnTo>
                    <a:lnTo>
                      <a:pt x="39737" y="1317"/>
                    </a:lnTo>
                    <a:lnTo>
                      <a:pt x="64793"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7" name="Freeform: Shape 3566">
                <a:extLst>
                  <a:ext uri="{FF2B5EF4-FFF2-40B4-BE49-F238E27FC236}">
                    <a16:creationId xmlns:a16="http://schemas.microsoft.com/office/drawing/2014/main" id="{F3E6E586-3AE2-7550-FDA8-4DC0C42B4D36}"/>
                  </a:ext>
                </a:extLst>
              </p:cNvPr>
              <p:cNvSpPr/>
              <p:nvPr/>
            </p:nvSpPr>
            <p:spPr>
              <a:xfrm>
                <a:off x="1402173" y="3858056"/>
                <a:ext cx="3380" cy="4110"/>
              </a:xfrm>
              <a:custGeom>
                <a:avLst/>
                <a:gdLst>
                  <a:gd name="connsiteX0" fmla="*/ 15670 w 32410"/>
                  <a:gd name="connsiteY0" fmla="*/ 38173 h 39408"/>
                  <a:gd name="connsiteX1" fmla="*/ 6065 w 32410"/>
                  <a:gd name="connsiteY1" fmla="*/ 39408 h 39408"/>
                  <a:gd name="connsiteX2" fmla="*/ 4940 w 32410"/>
                  <a:gd name="connsiteY2" fmla="*/ 35484 h 39408"/>
                  <a:gd name="connsiteX3" fmla="*/ 6559 w 32410"/>
                  <a:gd name="connsiteY3" fmla="*/ 30269 h 39408"/>
                  <a:gd name="connsiteX4" fmla="*/ 0 w 32410"/>
                  <a:gd name="connsiteY4" fmla="*/ 16823 h 39408"/>
                  <a:gd name="connsiteX5" fmla="*/ 9934 w 32410"/>
                  <a:gd name="connsiteY5" fmla="*/ 9797 h 39408"/>
                  <a:gd name="connsiteX6" fmla="*/ 12871 w 32410"/>
                  <a:gd name="connsiteY6" fmla="*/ 5626 h 39408"/>
                  <a:gd name="connsiteX7" fmla="*/ 23244 w 32410"/>
                  <a:gd name="connsiteY7" fmla="*/ 0 h 39408"/>
                  <a:gd name="connsiteX8" fmla="*/ 32410 w 32410"/>
                  <a:gd name="connsiteY8" fmla="*/ 7656 h 39408"/>
                  <a:gd name="connsiteX9" fmla="*/ 26071 w 32410"/>
                  <a:gd name="connsiteY9" fmla="*/ 9578 h 39408"/>
                  <a:gd name="connsiteX10" fmla="*/ 21570 w 32410"/>
                  <a:gd name="connsiteY10" fmla="*/ 14819 h 39408"/>
                  <a:gd name="connsiteX11" fmla="*/ 14737 w 32410"/>
                  <a:gd name="connsiteY11" fmla="*/ 19100 h 39408"/>
                  <a:gd name="connsiteX12" fmla="*/ 16026 w 32410"/>
                  <a:gd name="connsiteY12" fmla="*/ 22668 h 39408"/>
                  <a:gd name="connsiteX13" fmla="*/ 15725 w 32410"/>
                  <a:gd name="connsiteY13" fmla="*/ 38145 h 39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10" h="39408">
                    <a:moveTo>
                      <a:pt x="15670" y="38173"/>
                    </a:moveTo>
                    <a:lnTo>
                      <a:pt x="6065" y="39408"/>
                    </a:lnTo>
                    <a:lnTo>
                      <a:pt x="4940" y="35484"/>
                    </a:lnTo>
                    <a:lnTo>
                      <a:pt x="6559" y="30269"/>
                    </a:lnTo>
                    <a:lnTo>
                      <a:pt x="0" y="16823"/>
                    </a:lnTo>
                    <a:lnTo>
                      <a:pt x="9934" y="9797"/>
                    </a:lnTo>
                    <a:lnTo>
                      <a:pt x="12871" y="5626"/>
                    </a:lnTo>
                    <a:lnTo>
                      <a:pt x="23244" y="0"/>
                    </a:lnTo>
                    <a:lnTo>
                      <a:pt x="32410" y="7656"/>
                    </a:lnTo>
                    <a:lnTo>
                      <a:pt x="26071" y="9578"/>
                    </a:lnTo>
                    <a:lnTo>
                      <a:pt x="21570" y="14819"/>
                    </a:lnTo>
                    <a:lnTo>
                      <a:pt x="14737" y="19100"/>
                    </a:lnTo>
                    <a:lnTo>
                      <a:pt x="16026" y="22668"/>
                    </a:lnTo>
                    <a:lnTo>
                      <a:pt x="15725" y="381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8" name="Freeform: Shape 3567">
                <a:extLst>
                  <a:ext uri="{FF2B5EF4-FFF2-40B4-BE49-F238E27FC236}">
                    <a16:creationId xmlns:a16="http://schemas.microsoft.com/office/drawing/2014/main" id="{A3922BC0-68DF-A86B-E9E7-C3913D32D1FA}"/>
                  </a:ext>
                </a:extLst>
              </p:cNvPr>
              <p:cNvSpPr/>
              <p:nvPr/>
            </p:nvSpPr>
            <p:spPr>
              <a:xfrm>
                <a:off x="1401162" y="3895758"/>
                <a:ext cx="246" cy="515"/>
              </a:xfrm>
              <a:custGeom>
                <a:avLst/>
                <a:gdLst>
                  <a:gd name="connsiteX0" fmla="*/ 2360 w 2360"/>
                  <a:gd name="connsiteY0" fmla="*/ 4336 h 4939"/>
                  <a:gd name="connsiteX1" fmla="*/ 878 w 2360"/>
                  <a:gd name="connsiteY1" fmla="*/ 4940 h 4939"/>
                  <a:gd name="connsiteX2" fmla="*/ 0 w 2360"/>
                  <a:gd name="connsiteY2" fmla="*/ 1455 h 4939"/>
                  <a:gd name="connsiteX3" fmla="*/ 1921 w 2360"/>
                  <a:gd name="connsiteY3" fmla="*/ 0 h 4939"/>
                  <a:gd name="connsiteX4" fmla="*/ 2360 w 2360"/>
                  <a:gd name="connsiteY4" fmla="*/ 4336 h 4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0" h="4939">
                    <a:moveTo>
                      <a:pt x="2360" y="4336"/>
                    </a:moveTo>
                    <a:lnTo>
                      <a:pt x="878" y="4940"/>
                    </a:lnTo>
                    <a:lnTo>
                      <a:pt x="0" y="1455"/>
                    </a:lnTo>
                    <a:lnTo>
                      <a:pt x="1921" y="0"/>
                    </a:lnTo>
                    <a:lnTo>
                      <a:pt x="2360" y="43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69" name="Freeform: Shape 3568">
                <a:extLst>
                  <a:ext uri="{FF2B5EF4-FFF2-40B4-BE49-F238E27FC236}">
                    <a16:creationId xmlns:a16="http://schemas.microsoft.com/office/drawing/2014/main" id="{82ACBFBE-2BCC-1F46-B48D-0D0BCD313CD4}"/>
                  </a:ext>
                </a:extLst>
              </p:cNvPr>
              <p:cNvSpPr/>
              <p:nvPr/>
            </p:nvSpPr>
            <p:spPr>
              <a:xfrm>
                <a:off x="1139851" y="3913064"/>
                <a:ext cx="61045" cy="120762"/>
              </a:xfrm>
              <a:custGeom>
                <a:avLst/>
                <a:gdLst>
                  <a:gd name="connsiteX0" fmla="*/ 261998 w 585276"/>
                  <a:gd name="connsiteY0" fmla="*/ 13255 h 1157818"/>
                  <a:gd name="connsiteX1" fmla="*/ 270753 w 585276"/>
                  <a:gd name="connsiteY1" fmla="*/ 30489 h 1157818"/>
                  <a:gd name="connsiteX2" fmla="*/ 283294 w 585276"/>
                  <a:gd name="connsiteY2" fmla="*/ 6257 h 1157818"/>
                  <a:gd name="connsiteX3" fmla="*/ 313070 w 585276"/>
                  <a:gd name="connsiteY3" fmla="*/ 6010 h 1157818"/>
                  <a:gd name="connsiteX4" fmla="*/ 319958 w 585276"/>
                  <a:gd name="connsiteY4" fmla="*/ 13721 h 1157818"/>
                  <a:gd name="connsiteX5" fmla="*/ 331374 w 585276"/>
                  <a:gd name="connsiteY5" fmla="*/ 22723 h 1157818"/>
                  <a:gd name="connsiteX6" fmla="*/ 339305 w 585276"/>
                  <a:gd name="connsiteY6" fmla="*/ 37844 h 1157818"/>
                  <a:gd name="connsiteX7" fmla="*/ 342928 w 585276"/>
                  <a:gd name="connsiteY7" fmla="*/ 40671 h 1157818"/>
                  <a:gd name="connsiteX8" fmla="*/ 353905 w 585276"/>
                  <a:gd name="connsiteY8" fmla="*/ 50742 h 1157818"/>
                  <a:gd name="connsiteX9" fmla="*/ 364278 w 585276"/>
                  <a:gd name="connsiteY9" fmla="*/ 56313 h 1157818"/>
                  <a:gd name="connsiteX10" fmla="*/ 369081 w 585276"/>
                  <a:gd name="connsiteY10" fmla="*/ 63201 h 1157818"/>
                  <a:gd name="connsiteX11" fmla="*/ 388346 w 585276"/>
                  <a:gd name="connsiteY11" fmla="*/ 70940 h 1157818"/>
                  <a:gd name="connsiteX12" fmla="*/ 397841 w 585276"/>
                  <a:gd name="connsiteY12" fmla="*/ 70556 h 1157818"/>
                  <a:gd name="connsiteX13" fmla="*/ 427123 w 585276"/>
                  <a:gd name="connsiteY13" fmla="*/ 91001 h 1157818"/>
                  <a:gd name="connsiteX14" fmla="*/ 441887 w 585276"/>
                  <a:gd name="connsiteY14" fmla="*/ 97313 h 1157818"/>
                  <a:gd name="connsiteX15" fmla="*/ 446278 w 585276"/>
                  <a:gd name="connsiteY15" fmla="*/ 101210 h 1157818"/>
                  <a:gd name="connsiteX16" fmla="*/ 450312 w 585276"/>
                  <a:gd name="connsiteY16" fmla="*/ 100332 h 1157818"/>
                  <a:gd name="connsiteX17" fmla="*/ 462606 w 585276"/>
                  <a:gd name="connsiteY17" fmla="*/ 106671 h 1157818"/>
                  <a:gd name="connsiteX18" fmla="*/ 469357 w 585276"/>
                  <a:gd name="connsiteY18" fmla="*/ 117429 h 1157818"/>
                  <a:gd name="connsiteX19" fmla="*/ 468452 w 585276"/>
                  <a:gd name="connsiteY19" fmla="*/ 120941 h 1157818"/>
                  <a:gd name="connsiteX20" fmla="*/ 461975 w 585276"/>
                  <a:gd name="connsiteY20" fmla="*/ 127555 h 1157818"/>
                  <a:gd name="connsiteX21" fmla="*/ 460137 w 585276"/>
                  <a:gd name="connsiteY21" fmla="*/ 135019 h 1157818"/>
                  <a:gd name="connsiteX22" fmla="*/ 453358 w 585276"/>
                  <a:gd name="connsiteY22" fmla="*/ 140261 h 1157818"/>
                  <a:gd name="connsiteX23" fmla="*/ 448830 w 585276"/>
                  <a:gd name="connsiteY23" fmla="*/ 159279 h 1157818"/>
                  <a:gd name="connsiteX24" fmla="*/ 437716 w 585276"/>
                  <a:gd name="connsiteY24" fmla="*/ 172370 h 1157818"/>
                  <a:gd name="connsiteX25" fmla="*/ 439252 w 585276"/>
                  <a:gd name="connsiteY25" fmla="*/ 176733 h 1157818"/>
                  <a:gd name="connsiteX26" fmla="*/ 458737 w 585276"/>
                  <a:gd name="connsiteY26" fmla="*/ 176458 h 1157818"/>
                  <a:gd name="connsiteX27" fmla="*/ 482146 w 585276"/>
                  <a:gd name="connsiteY27" fmla="*/ 183182 h 1157818"/>
                  <a:gd name="connsiteX28" fmla="*/ 488321 w 585276"/>
                  <a:gd name="connsiteY28" fmla="*/ 181343 h 1157818"/>
                  <a:gd name="connsiteX29" fmla="*/ 492903 w 585276"/>
                  <a:gd name="connsiteY29" fmla="*/ 183292 h 1157818"/>
                  <a:gd name="connsiteX30" fmla="*/ 497624 w 585276"/>
                  <a:gd name="connsiteY30" fmla="*/ 181975 h 1157818"/>
                  <a:gd name="connsiteX31" fmla="*/ 503442 w 585276"/>
                  <a:gd name="connsiteY31" fmla="*/ 186256 h 1157818"/>
                  <a:gd name="connsiteX32" fmla="*/ 505829 w 585276"/>
                  <a:gd name="connsiteY32" fmla="*/ 184636 h 1157818"/>
                  <a:gd name="connsiteX33" fmla="*/ 507064 w 585276"/>
                  <a:gd name="connsiteY33" fmla="*/ 180822 h 1157818"/>
                  <a:gd name="connsiteX34" fmla="*/ 512168 w 585276"/>
                  <a:gd name="connsiteY34" fmla="*/ 177913 h 1157818"/>
                  <a:gd name="connsiteX35" fmla="*/ 523530 w 585276"/>
                  <a:gd name="connsiteY35" fmla="*/ 181316 h 1157818"/>
                  <a:gd name="connsiteX36" fmla="*/ 527015 w 585276"/>
                  <a:gd name="connsiteY36" fmla="*/ 177995 h 1157818"/>
                  <a:gd name="connsiteX37" fmla="*/ 528113 w 585276"/>
                  <a:gd name="connsiteY37" fmla="*/ 171738 h 1157818"/>
                  <a:gd name="connsiteX38" fmla="*/ 534013 w 585276"/>
                  <a:gd name="connsiteY38" fmla="*/ 166496 h 1157818"/>
                  <a:gd name="connsiteX39" fmla="*/ 540215 w 585276"/>
                  <a:gd name="connsiteY39" fmla="*/ 165371 h 1157818"/>
                  <a:gd name="connsiteX40" fmla="*/ 541944 w 585276"/>
                  <a:gd name="connsiteY40" fmla="*/ 161969 h 1157818"/>
                  <a:gd name="connsiteX41" fmla="*/ 550314 w 585276"/>
                  <a:gd name="connsiteY41" fmla="*/ 155876 h 1157818"/>
                  <a:gd name="connsiteX42" fmla="*/ 555336 w 585276"/>
                  <a:gd name="connsiteY42" fmla="*/ 141798 h 1157818"/>
                  <a:gd name="connsiteX43" fmla="*/ 555968 w 585276"/>
                  <a:gd name="connsiteY43" fmla="*/ 127527 h 1157818"/>
                  <a:gd name="connsiteX44" fmla="*/ 556763 w 585276"/>
                  <a:gd name="connsiteY44" fmla="*/ 121243 h 1157818"/>
                  <a:gd name="connsiteX45" fmla="*/ 561785 w 585276"/>
                  <a:gd name="connsiteY45" fmla="*/ 122670 h 1157818"/>
                  <a:gd name="connsiteX46" fmla="*/ 570841 w 585276"/>
                  <a:gd name="connsiteY46" fmla="*/ 120036 h 1157818"/>
                  <a:gd name="connsiteX47" fmla="*/ 577702 w 585276"/>
                  <a:gd name="connsiteY47" fmla="*/ 123905 h 1157818"/>
                  <a:gd name="connsiteX48" fmla="*/ 579404 w 585276"/>
                  <a:gd name="connsiteY48" fmla="*/ 133208 h 1157818"/>
                  <a:gd name="connsiteX49" fmla="*/ 585276 w 585276"/>
                  <a:gd name="connsiteY49" fmla="*/ 144048 h 1157818"/>
                  <a:gd name="connsiteX50" fmla="*/ 581983 w 585276"/>
                  <a:gd name="connsiteY50" fmla="*/ 156315 h 1157818"/>
                  <a:gd name="connsiteX51" fmla="*/ 582971 w 585276"/>
                  <a:gd name="connsiteY51" fmla="*/ 164685 h 1157818"/>
                  <a:gd name="connsiteX52" fmla="*/ 580337 w 585276"/>
                  <a:gd name="connsiteY52" fmla="*/ 170174 h 1157818"/>
                  <a:gd name="connsiteX53" fmla="*/ 564667 w 585276"/>
                  <a:gd name="connsiteY53" fmla="*/ 181920 h 1157818"/>
                  <a:gd name="connsiteX54" fmla="*/ 550534 w 585276"/>
                  <a:gd name="connsiteY54" fmla="*/ 186447 h 1157818"/>
                  <a:gd name="connsiteX55" fmla="*/ 546033 w 585276"/>
                  <a:gd name="connsiteY55" fmla="*/ 192732 h 1157818"/>
                  <a:gd name="connsiteX56" fmla="*/ 524298 w 585276"/>
                  <a:gd name="connsiteY56" fmla="*/ 208100 h 1157818"/>
                  <a:gd name="connsiteX57" fmla="*/ 523859 w 585276"/>
                  <a:gd name="connsiteY57" fmla="*/ 213232 h 1157818"/>
                  <a:gd name="connsiteX58" fmla="*/ 519743 w 585276"/>
                  <a:gd name="connsiteY58" fmla="*/ 213452 h 1157818"/>
                  <a:gd name="connsiteX59" fmla="*/ 515297 w 585276"/>
                  <a:gd name="connsiteY59" fmla="*/ 218034 h 1157818"/>
                  <a:gd name="connsiteX60" fmla="*/ 487415 w 585276"/>
                  <a:gd name="connsiteY60" fmla="*/ 254753 h 1157818"/>
                  <a:gd name="connsiteX61" fmla="*/ 479209 w 585276"/>
                  <a:gd name="connsiteY61" fmla="*/ 260928 h 1157818"/>
                  <a:gd name="connsiteX62" fmla="*/ 474873 w 585276"/>
                  <a:gd name="connsiteY62" fmla="*/ 268118 h 1157818"/>
                  <a:gd name="connsiteX63" fmla="*/ 467848 w 585276"/>
                  <a:gd name="connsiteY63" fmla="*/ 273799 h 1157818"/>
                  <a:gd name="connsiteX64" fmla="*/ 466613 w 585276"/>
                  <a:gd name="connsiteY64" fmla="*/ 279534 h 1157818"/>
                  <a:gd name="connsiteX65" fmla="*/ 460027 w 585276"/>
                  <a:gd name="connsiteY65" fmla="*/ 285682 h 1157818"/>
                  <a:gd name="connsiteX66" fmla="*/ 462057 w 585276"/>
                  <a:gd name="connsiteY66" fmla="*/ 298031 h 1157818"/>
                  <a:gd name="connsiteX67" fmla="*/ 460054 w 585276"/>
                  <a:gd name="connsiteY67" fmla="*/ 300062 h 1157818"/>
                  <a:gd name="connsiteX68" fmla="*/ 459094 w 585276"/>
                  <a:gd name="connsiteY68" fmla="*/ 309036 h 1157818"/>
                  <a:gd name="connsiteX69" fmla="*/ 454895 w 585276"/>
                  <a:gd name="connsiteY69" fmla="*/ 317598 h 1157818"/>
                  <a:gd name="connsiteX70" fmla="*/ 456514 w 585276"/>
                  <a:gd name="connsiteY70" fmla="*/ 323937 h 1157818"/>
                  <a:gd name="connsiteX71" fmla="*/ 454401 w 585276"/>
                  <a:gd name="connsiteY71" fmla="*/ 329508 h 1157818"/>
                  <a:gd name="connsiteX72" fmla="*/ 451300 w 585276"/>
                  <a:gd name="connsiteY72" fmla="*/ 332445 h 1157818"/>
                  <a:gd name="connsiteX73" fmla="*/ 453386 w 585276"/>
                  <a:gd name="connsiteY73" fmla="*/ 346001 h 1157818"/>
                  <a:gd name="connsiteX74" fmla="*/ 450888 w 585276"/>
                  <a:gd name="connsiteY74" fmla="*/ 352532 h 1157818"/>
                  <a:gd name="connsiteX75" fmla="*/ 452809 w 585276"/>
                  <a:gd name="connsiteY75" fmla="*/ 372264 h 1157818"/>
                  <a:gd name="connsiteX76" fmla="*/ 446360 w 585276"/>
                  <a:gd name="connsiteY76" fmla="*/ 375283 h 1157818"/>
                  <a:gd name="connsiteX77" fmla="*/ 444851 w 585276"/>
                  <a:gd name="connsiteY77" fmla="*/ 375969 h 1157818"/>
                  <a:gd name="connsiteX78" fmla="*/ 441366 w 585276"/>
                  <a:gd name="connsiteY78" fmla="*/ 390980 h 1157818"/>
                  <a:gd name="connsiteX79" fmla="*/ 444906 w 585276"/>
                  <a:gd name="connsiteY79" fmla="*/ 410163 h 1157818"/>
                  <a:gd name="connsiteX80" fmla="*/ 442244 w 585276"/>
                  <a:gd name="connsiteY80" fmla="*/ 417792 h 1157818"/>
                  <a:gd name="connsiteX81" fmla="*/ 442683 w 585276"/>
                  <a:gd name="connsiteY81" fmla="*/ 423583 h 1157818"/>
                  <a:gd name="connsiteX82" fmla="*/ 450641 w 585276"/>
                  <a:gd name="connsiteY82" fmla="*/ 432529 h 1157818"/>
                  <a:gd name="connsiteX83" fmla="*/ 470647 w 585276"/>
                  <a:gd name="connsiteY83" fmla="*/ 443589 h 1157818"/>
                  <a:gd name="connsiteX84" fmla="*/ 479703 w 585276"/>
                  <a:gd name="connsiteY84" fmla="*/ 453221 h 1157818"/>
                  <a:gd name="connsiteX85" fmla="*/ 481322 w 585276"/>
                  <a:gd name="connsiteY85" fmla="*/ 459478 h 1157818"/>
                  <a:gd name="connsiteX86" fmla="*/ 475751 w 585276"/>
                  <a:gd name="connsiteY86" fmla="*/ 470675 h 1157818"/>
                  <a:gd name="connsiteX87" fmla="*/ 475697 w 585276"/>
                  <a:gd name="connsiteY87" fmla="*/ 477343 h 1157818"/>
                  <a:gd name="connsiteX88" fmla="*/ 483298 w 585276"/>
                  <a:gd name="connsiteY88" fmla="*/ 488403 h 1157818"/>
                  <a:gd name="connsiteX89" fmla="*/ 493837 w 585276"/>
                  <a:gd name="connsiteY89" fmla="*/ 492766 h 1157818"/>
                  <a:gd name="connsiteX90" fmla="*/ 495154 w 585276"/>
                  <a:gd name="connsiteY90" fmla="*/ 507036 h 1157818"/>
                  <a:gd name="connsiteX91" fmla="*/ 493205 w 585276"/>
                  <a:gd name="connsiteY91" fmla="*/ 514748 h 1157818"/>
                  <a:gd name="connsiteX92" fmla="*/ 482695 w 585276"/>
                  <a:gd name="connsiteY92" fmla="*/ 532366 h 1157818"/>
                  <a:gd name="connsiteX93" fmla="*/ 472541 w 585276"/>
                  <a:gd name="connsiteY93" fmla="*/ 545209 h 1157818"/>
                  <a:gd name="connsiteX94" fmla="*/ 467875 w 585276"/>
                  <a:gd name="connsiteY94" fmla="*/ 557422 h 1157818"/>
                  <a:gd name="connsiteX95" fmla="*/ 441228 w 585276"/>
                  <a:gd name="connsiteY95" fmla="*/ 572323 h 1157818"/>
                  <a:gd name="connsiteX96" fmla="*/ 424296 w 585276"/>
                  <a:gd name="connsiteY96" fmla="*/ 578114 h 1157818"/>
                  <a:gd name="connsiteX97" fmla="*/ 371715 w 585276"/>
                  <a:gd name="connsiteY97" fmla="*/ 588899 h 1157818"/>
                  <a:gd name="connsiteX98" fmla="*/ 349953 w 585276"/>
                  <a:gd name="connsiteY98" fmla="*/ 589393 h 1157818"/>
                  <a:gd name="connsiteX99" fmla="*/ 339717 w 585276"/>
                  <a:gd name="connsiteY99" fmla="*/ 587390 h 1157818"/>
                  <a:gd name="connsiteX100" fmla="*/ 332335 w 585276"/>
                  <a:gd name="connsiteY100" fmla="*/ 583767 h 1157818"/>
                  <a:gd name="connsiteX101" fmla="*/ 332664 w 585276"/>
                  <a:gd name="connsiteY101" fmla="*/ 588515 h 1157818"/>
                  <a:gd name="connsiteX102" fmla="*/ 330222 w 585276"/>
                  <a:gd name="connsiteY102" fmla="*/ 591835 h 1157818"/>
                  <a:gd name="connsiteX103" fmla="*/ 329810 w 585276"/>
                  <a:gd name="connsiteY103" fmla="*/ 595760 h 1157818"/>
                  <a:gd name="connsiteX104" fmla="*/ 332088 w 585276"/>
                  <a:gd name="connsiteY104" fmla="*/ 601715 h 1157818"/>
                  <a:gd name="connsiteX105" fmla="*/ 336396 w 585276"/>
                  <a:gd name="connsiteY105" fmla="*/ 603059 h 1157818"/>
                  <a:gd name="connsiteX106" fmla="*/ 337027 w 585276"/>
                  <a:gd name="connsiteY106" fmla="*/ 610222 h 1157818"/>
                  <a:gd name="connsiteX107" fmla="*/ 335408 w 585276"/>
                  <a:gd name="connsiteY107" fmla="*/ 623148 h 1157818"/>
                  <a:gd name="connsiteX108" fmla="*/ 330167 w 585276"/>
                  <a:gd name="connsiteY108" fmla="*/ 625755 h 1157818"/>
                  <a:gd name="connsiteX109" fmla="*/ 328932 w 585276"/>
                  <a:gd name="connsiteY109" fmla="*/ 635113 h 1157818"/>
                  <a:gd name="connsiteX110" fmla="*/ 325995 w 585276"/>
                  <a:gd name="connsiteY110" fmla="*/ 640629 h 1157818"/>
                  <a:gd name="connsiteX111" fmla="*/ 327422 w 585276"/>
                  <a:gd name="connsiteY111" fmla="*/ 645267 h 1157818"/>
                  <a:gd name="connsiteX112" fmla="*/ 333075 w 585276"/>
                  <a:gd name="connsiteY112" fmla="*/ 651304 h 1157818"/>
                  <a:gd name="connsiteX113" fmla="*/ 326626 w 585276"/>
                  <a:gd name="connsiteY113" fmla="*/ 662885 h 1157818"/>
                  <a:gd name="connsiteX114" fmla="*/ 306017 w 585276"/>
                  <a:gd name="connsiteY114" fmla="*/ 672078 h 1157818"/>
                  <a:gd name="connsiteX115" fmla="*/ 288700 w 585276"/>
                  <a:gd name="connsiteY115" fmla="*/ 672435 h 1157818"/>
                  <a:gd name="connsiteX116" fmla="*/ 256208 w 585276"/>
                  <a:gd name="connsiteY116" fmla="*/ 656738 h 1157818"/>
                  <a:gd name="connsiteX117" fmla="*/ 248634 w 585276"/>
                  <a:gd name="connsiteY117" fmla="*/ 660333 h 1157818"/>
                  <a:gd name="connsiteX118" fmla="*/ 246685 w 585276"/>
                  <a:gd name="connsiteY118" fmla="*/ 672051 h 1157818"/>
                  <a:gd name="connsiteX119" fmla="*/ 250445 w 585276"/>
                  <a:gd name="connsiteY119" fmla="*/ 687502 h 1157818"/>
                  <a:gd name="connsiteX120" fmla="*/ 250582 w 585276"/>
                  <a:gd name="connsiteY120" fmla="*/ 708495 h 1157818"/>
                  <a:gd name="connsiteX121" fmla="*/ 255878 w 585276"/>
                  <a:gd name="connsiteY121" fmla="*/ 712996 h 1157818"/>
                  <a:gd name="connsiteX122" fmla="*/ 263974 w 585276"/>
                  <a:gd name="connsiteY122" fmla="*/ 715521 h 1157818"/>
                  <a:gd name="connsiteX123" fmla="*/ 263809 w 585276"/>
                  <a:gd name="connsiteY123" fmla="*/ 721064 h 1157818"/>
                  <a:gd name="connsiteX124" fmla="*/ 265401 w 585276"/>
                  <a:gd name="connsiteY124" fmla="*/ 722189 h 1157818"/>
                  <a:gd name="connsiteX125" fmla="*/ 276461 w 585276"/>
                  <a:gd name="connsiteY125" fmla="*/ 720625 h 1157818"/>
                  <a:gd name="connsiteX126" fmla="*/ 276763 w 585276"/>
                  <a:gd name="connsiteY126" fmla="*/ 713600 h 1157818"/>
                  <a:gd name="connsiteX127" fmla="*/ 286532 w 585276"/>
                  <a:gd name="connsiteY127" fmla="*/ 710252 h 1157818"/>
                  <a:gd name="connsiteX128" fmla="*/ 291445 w 585276"/>
                  <a:gd name="connsiteY128" fmla="*/ 719555 h 1157818"/>
                  <a:gd name="connsiteX129" fmla="*/ 291883 w 585276"/>
                  <a:gd name="connsiteY129" fmla="*/ 728364 h 1157818"/>
                  <a:gd name="connsiteX130" fmla="*/ 290704 w 585276"/>
                  <a:gd name="connsiteY130" fmla="*/ 733221 h 1157818"/>
                  <a:gd name="connsiteX131" fmla="*/ 287904 w 585276"/>
                  <a:gd name="connsiteY131" fmla="*/ 737201 h 1157818"/>
                  <a:gd name="connsiteX132" fmla="*/ 277558 w 585276"/>
                  <a:gd name="connsiteY132" fmla="*/ 739643 h 1157818"/>
                  <a:gd name="connsiteX133" fmla="*/ 273936 w 585276"/>
                  <a:gd name="connsiteY133" fmla="*/ 736433 h 1157818"/>
                  <a:gd name="connsiteX134" fmla="*/ 271329 w 585276"/>
                  <a:gd name="connsiteY134" fmla="*/ 729187 h 1157818"/>
                  <a:gd name="connsiteX135" fmla="*/ 262602 w 585276"/>
                  <a:gd name="connsiteY135" fmla="*/ 726224 h 1157818"/>
                  <a:gd name="connsiteX136" fmla="*/ 252366 w 585276"/>
                  <a:gd name="connsiteY136" fmla="*/ 732728 h 1157818"/>
                  <a:gd name="connsiteX137" fmla="*/ 252777 w 585276"/>
                  <a:gd name="connsiteY137" fmla="*/ 737448 h 1157818"/>
                  <a:gd name="connsiteX138" fmla="*/ 266169 w 585276"/>
                  <a:gd name="connsiteY138" fmla="*/ 744308 h 1157818"/>
                  <a:gd name="connsiteX139" fmla="*/ 266965 w 585276"/>
                  <a:gd name="connsiteY139" fmla="*/ 745818 h 1157818"/>
                  <a:gd name="connsiteX140" fmla="*/ 251707 w 585276"/>
                  <a:gd name="connsiteY140" fmla="*/ 756384 h 1157818"/>
                  <a:gd name="connsiteX141" fmla="*/ 242047 w 585276"/>
                  <a:gd name="connsiteY141" fmla="*/ 771367 h 1157818"/>
                  <a:gd name="connsiteX142" fmla="*/ 241828 w 585276"/>
                  <a:gd name="connsiteY142" fmla="*/ 772575 h 1157818"/>
                  <a:gd name="connsiteX143" fmla="*/ 241032 w 585276"/>
                  <a:gd name="connsiteY143" fmla="*/ 776938 h 1157818"/>
                  <a:gd name="connsiteX144" fmla="*/ 243392 w 585276"/>
                  <a:gd name="connsiteY144" fmla="*/ 788464 h 1157818"/>
                  <a:gd name="connsiteX145" fmla="*/ 243200 w 585276"/>
                  <a:gd name="connsiteY145" fmla="*/ 800484 h 1157818"/>
                  <a:gd name="connsiteX146" fmla="*/ 238974 w 585276"/>
                  <a:gd name="connsiteY146" fmla="*/ 808827 h 1157818"/>
                  <a:gd name="connsiteX147" fmla="*/ 231564 w 585276"/>
                  <a:gd name="connsiteY147" fmla="*/ 816291 h 1157818"/>
                  <a:gd name="connsiteX148" fmla="*/ 232579 w 585276"/>
                  <a:gd name="connsiteY148" fmla="*/ 824744 h 1157818"/>
                  <a:gd name="connsiteX149" fmla="*/ 230988 w 585276"/>
                  <a:gd name="connsiteY149" fmla="*/ 827241 h 1157818"/>
                  <a:gd name="connsiteX150" fmla="*/ 215290 w 585276"/>
                  <a:gd name="connsiteY150" fmla="*/ 828064 h 1157818"/>
                  <a:gd name="connsiteX151" fmla="*/ 193171 w 585276"/>
                  <a:gd name="connsiteY151" fmla="*/ 840112 h 1157818"/>
                  <a:gd name="connsiteX152" fmla="*/ 183100 w 585276"/>
                  <a:gd name="connsiteY152" fmla="*/ 852653 h 1157818"/>
                  <a:gd name="connsiteX153" fmla="*/ 175278 w 585276"/>
                  <a:gd name="connsiteY153" fmla="*/ 869339 h 1157818"/>
                  <a:gd name="connsiteX154" fmla="*/ 175196 w 585276"/>
                  <a:gd name="connsiteY154" fmla="*/ 881798 h 1157818"/>
                  <a:gd name="connsiteX155" fmla="*/ 181618 w 585276"/>
                  <a:gd name="connsiteY155" fmla="*/ 894971 h 1157818"/>
                  <a:gd name="connsiteX156" fmla="*/ 200554 w 585276"/>
                  <a:gd name="connsiteY156" fmla="*/ 911793 h 1157818"/>
                  <a:gd name="connsiteX157" fmla="*/ 224456 w 585276"/>
                  <a:gd name="connsiteY157" fmla="*/ 917446 h 1157818"/>
                  <a:gd name="connsiteX158" fmla="*/ 227612 w 585276"/>
                  <a:gd name="connsiteY158" fmla="*/ 921233 h 1157818"/>
                  <a:gd name="connsiteX159" fmla="*/ 228683 w 585276"/>
                  <a:gd name="connsiteY159" fmla="*/ 928588 h 1157818"/>
                  <a:gd name="connsiteX160" fmla="*/ 225801 w 585276"/>
                  <a:gd name="connsiteY160" fmla="*/ 943572 h 1157818"/>
                  <a:gd name="connsiteX161" fmla="*/ 226103 w 585276"/>
                  <a:gd name="connsiteY161" fmla="*/ 952189 h 1157818"/>
                  <a:gd name="connsiteX162" fmla="*/ 222727 w 585276"/>
                  <a:gd name="connsiteY162" fmla="*/ 959324 h 1157818"/>
                  <a:gd name="connsiteX163" fmla="*/ 189713 w 585276"/>
                  <a:gd name="connsiteY163" fmla="*/ 985450 h 1157818"/>
                  <a:gd name="connsiteX164" fmla="*/ 176267 w 585276"/>
                  <a:gd name="connsiteY164" fmla="*/ 1001779 h 1157818"/>
                  <a:gd name="connsiteX165" fmla="*/ 170448 w 585276"/>
                  <a:gd name="connsiteY165" fmla="*/ 1032158 h 1157818"/>
                  <a:gd name="connsiteX166" fmla="*/ 166579 w 585276"/>
                  <a:gd name="connsiteY166" fmla="*/ 1041791 h 1157818"/>
                  <a:gd name="connsiteX167" fmla="*/ 157139 w 585276"/>
                  <a:gd name="connsiteY167" fmla="*/ 1048706 h 1157818"/>
                  <a:gd name="connsiteX168" fmla="*/ 151074 w 585276"/>
                  <a:gd name="connsiteY168" fmla="*/ 1049639 h 1157818"/>
                  <a:gd name="connsiteX169" fmla="*/ 147973 w 585276"/>
                  <a:gd name="connsiteY169" fmla="*/ 1054222 h 1157818"/>
                  <a:gd name="connsiteX170" fmla="*/ 137627 w 585276"/>
                  <a:gd name="connsiteY170" fmla="*/ 1061110 h 1157818"/>
                  <a:gd name="connsiteX171" fmla="*/ 132358 w 585276"/>
                  <a:gd name="connsiteY171" fmla="*/ 1069810 h 1157818"/>
                  <a:gd name="connsiteX172" fmla="*/ 129092 w 585276"/>
                  <a:gd name="connsiteY172" fmla="*/ 1095606 h 1157818"/>
                  <a:gd name="connsiteX173" fmla="*/ 135102 w 585276"/>
                  <a:gd name="connsiteY173" fmla="*/ 1121457 h 1157818"/>
                  <a:gd name="connsiteX174" fmla="*/ 148769 w 585276"/>
                  <a:gd name="connsiteY174" fmla="*/ 1149010 h 1157818"/>
                  <a:gd name="connsiteX175" fmla="*/ 149784 w 585276"/>
                  <a:gd name="connsiteY175" fmla="*/ 1157819 h 1157818"/>
                  <a:gd name="connsiteX176" fmla="*/ 146792 w 585276"/>
                  <a:gd name="connsiteY176" fmla="*/ 1154060 h 1157818"/>
                  <a:gd name="connsiteX177" fmla="*/ 132467 w 585276"/>
                  <a:gd name="connsiteY177" fmla="*/ 1148269 h 1157818"/>
                  <a:gd name="connsiteX178" fmla="*/ 103103 w 585276"/>
                  <a:gd name="connsiteY178" fmla="*/ 1139652 h 1157818"/>
                  <a:gd name="connsiteX179" fmla="*/ 47285 w 585276"/>
                  <a:gd name="connsiteY179" fmla="*/ 1138033 h 1157818"/>
                  <a:gd name="connsiteX180" fmla="*/ 43388 w 585276"/>
                  <a:gd name="connsiteY180" fmla="*/ 1129772 h 1157818"/>
                  <a:gd name="connsiteX181" fmla="*/ 33316 w 585276"/>
                  <a:gd name="connsiteY181" fmla="*/ 1117286 h 1157818"/>
                  <a:gd name="connsiteX182" fmla="*/ 35731 w 585276"/>
                  <a:gd name="connsiteY182" fmla="*/ 1104882 h 1157818"/>
                  <a:gd name="connsiteX183" fmla="*/ 34688 w 585276"/>
                  <a:gd name="connsiteY183" fmla="*/ 1096072 h 1157818"/>
                  <a:gd name="connsiteX184" fmla="*/ 36774 w 585276"/>
                  <a:gd name="connsiteY184" fmla="*/ 1088087 h 1157818"/>
                  <a:gd name="connsiteX185" fmla="*/ 34715 w 585276"/>
                  <a:gd name="connsiteY185" fmla="*/ 1076780 h 1157818"/>
                  <a:gd name="connsiteX186" fmla="*/ 23491 w 585276"/>
                  <a:gd name="connsiteY186" fmla="*/ 1074859 h 1157818"/>
                  <a:gd name="connsiteX187" fmla="*/ 12322 w 585276"/>
                  <a:gd name="connsiteY187" fmla="*/ 1078262 h 1157818"/>
                  <a:gd name="connsiteX188" fmla="*/ 796 w 585276"/>
                  <a:gd name="connsiteY188" fmla="*/ 1060342 h 1157818"/>
                  <a:gd name="connsiteX189" fmla="*/ 0 w 585276"/>
                  <a:gd name="connsiteY189" fmla="*/ 1046730 h 1157818"/>
                  <a:gd name="connsiteX190" fmla="*/ 1400 w 585276"/>
                  <a:gd name="connsiteY190" fmla="*/ 1035067 h 1157818"/>
                  <a:gd name="connsiteX191" fmla="*/ 27 w 585276"/>
                  <a:gd name="connsiteY191" fmla="*/ 1023403 h 1157818"/>
                  <a:gd name="connsiteX192" fmla="*/ 1619 w 585276"/>
                  <a:gd name="connsiteY192" fmla="*/ 1011877 h 1157818"/>
                  <a:gd name="connsiteX193" fmla="*/ 12185 w 585276"/>
                  <a:gd name="connsiteY193" fmla="*/ 1004907 h 1157818"/>
                  <a:gd name="connsiteX194" fmla="*/ 26620 w 585276"/>
                  <a:gd name="connsiteY194" fmla="*/ 990911 h 1157818"/>
                  <a:gd name="connsiteX195" fmla="*/ 28761 w 585276"/>
                  <a:gd name="connsiteY195" fmla="*/ 977739 h 1157818"/>
                  <a:gd name="connsiteX196" fmla="*/ 34935 w 585276"/>
                  <a:gd name="connsiteY196" fmla="*/ 968216 h 1157818"/>
                  <a:gd name="connsiteX197" fmla="*/ 34496 w 585276"/>
                  <a:gd name="connsiteY197" fmla="*/ 961080 h 1157818"/>
                  <a:gd name="connsiteX198" fmla="*/ 31230 w 585276"/>
                  <a:gd name="connsiteY198" fmla="*/ 951037 h 1157818"/>
                  <a:gd name="connsiteX199" fmla="*/ 35127 w 585276"/>
                  <a:gd name="connsiteY199" fmla="*/ 934900 h 1157818"/>
                  <a:gd name="connsiteX200" fmla="*/ 46873 w 585276"/>
                  <a:gd name="connsiteY200" fmla="*/ 920794 h 1157818"/>
                  <a:gd name="connsiteX201" fmla="*/ 47614 w 585276"/>
                  <a:gd name="connsiteY201" fmla="*/ 906414 h 1157818"/>
                  <a:gd name="connsiteX202" fmla="*/ 53679 w 585276"/>
                  <a:gd name="connsiteY202" fmla="*/ 896398 h 1157818"/>
                  <a:gd name="connsiteX203" fmla="*/ 50358 w 585276"/>
                  <a:gd name="connsiteY203" fmla="*/ 877462 h 1157818"/>
                  <a:gd name="connsiteX204" fmla="*/ 54694 w 585276"/>
                  <a:gd name="connsiteY204" fmla="*/ 867253 h 1157818"/>
                  <a:gd name="connsiteX205" fmla="*/ 52746 w 585276"/>
                  <a:gd name="connsiteY205" fmla="*/ 855617 h 1157818"/>
                  <a:gd name="connsiteX206" fmla="*/ 59551 w 585276"/>
                  <a:gd name="connsiteY206" fmla="*/ 846122 h 1157818"/>
                  <a:gd name="connsiteX207" fmla="*/ 62570 w 585276"/>
                  <a:gd name="connsiteY207" fmla="*/ 838136 h 1157818"/>
                  <a:gd name="connsiteX208" fmla="*/ 58042 w 585276"/>
                  <a:gd name="connsiteY208" fmla="*/ 829739 h 1157818"/>
                  <a:gd name="connsiteX209" fmla="*/ 48437 w 585276"/>
                  <a:gd name="connsiteY209" fmla="*/ 823838 h 1157818"/>
                  <a:gd name="connsiteX210" fmla="*/ 46461 w 585276"/>
                  <a:gd name="connsiteY210" fmla="*/ 820270 h 1157818"/>
                  <a:gd name="connsiteX211" fmla="*/ 63091 w 585276"/>
                  <a:gd name="connsiteY211" fmla="*/ 817526 h 1157818"/>
                  <a:gd name="connsiteX212" fmla="*/ 63750 w 585276"/>
                  <a:gd name="connsiteY212" fmla="*/ 816291 h 1157818"/>
                  <a:gd name="connsiteX213" fmla="*/ 67894 w 585276"/>
                  <a:gd name="connsiteY213" fmla="*/ 808607 h 1157818"/>
                  <a:gd name="connsiteX214" fmla="*/ 65781 w 585276"/>
                  <a:gd name="connsiteY214" fmla="*/ 805013 h 1157818"/>
                  <a:gd name="connsiteX215" fmla="*/ 54858 w 585276"/>
                  <a:gd name="connsiteY215" fmla="*/ 801692 h 1157818"/>
                  <a:gd name="connsiteX216" fmla="*/ 51648 w 585276"/>
                  <a:gd name="connsiteY216" fmla="*/ 798343 h 1157818"/>
                  <a:gd name="connsiteX217" fmla="*/ 53734 w 585276"/>
                  <a:gd name="connsiteY217" fmla="*/ 772575 h 1157818"/>
                  <a:gd name="connsiteX218" fmla="*/ 49343 w 585276"/>
                  <a:gd name="connsiteY218" fmla="*/ 764918 h 1157818"/>
                  <a:gd name="connsiteX219" fmla="*/ 50632 w 585276"/>
                  <a:gd name="connsiteY219" fmla="*/ 754078 h 1157818"/>
                  <a:gd name="connsiteX220" fmla="*/ 43772 w 585276"/>
                  <a:gd name="connsiteY220" fmla="*/ 743348 h 1157818"/>
                  <a:gd name="connsiteX221" fmla="*/ 42646 w 585276"/>
                  <a:gd name="connsiteY221" fmla="*/ 738436 h 1157818"/>
                  <a:gd name="connsiteX222" fmla="*/ 43607 w 585276"/>
                  <a:gd name="connsiteY222" fmla="*/ 716344 h 1157818"/>
                  <a:gd name="connsiteX223" fmla="*/ 51291 w 585276"/>
                  <a:gd name="connsiteY223" fmla="*/ 706409 h 1157818"/>
                  <a:gd name="connsiteX224" fmla="*/ 49123 w 585276"/>
                  <a:gd name="connsiteY224" fmla="*/ 691728 h 1157818"/>
                  <a:gd name="connsiteX225" fmla="*/ 47833 w 585276"/>
                  <a:gd name="connsiteY225" fmla="*/ 656463 h 1157818"/>
                  <a:gd name="connsiteX226" fmla="*/ 52471 w 585276"/>
                  <a:gd name="connsiteY226" fmla="*/ 643099 h 1157818"/>
                  <a:gd name="connsiteX227" fmla="*/ 51922 w 585276"/>
                  <a:gd name="connsiteY227" fmla="*/ 635525 h 1157818"/>
                  <a:gd name="connsiteX228" fmla="*/ 55078 w 585276"/>
                  <a:gd name="connsiteY228" fmla="*/ 625425 h 1157818"/>
                  <a:gd name="connsiteX229" fmla="*/ 55078 w 585276"/>
                  <a:gd name="connsiteY229" fmla="*/ 615985 h 1157818"/>
                  <a:gd name="connsiteX230" fmla="*/ 60512 w 585276"/>
                  <a:gd name="connsiteY230" fmla="*/ 606819 h 1157818"/>
                  <a:gd name="connsiteX231" fmla="*/ 63037 w 585276"/>
                  <a:gd name="connsiteY231" fmla="*/ 589530 h 1157818"/>
                  <a:gd name="connsiteX232" fmla="*/ 73602 w 585276"/>
                  <a:gd name="connsiteY232" fmla="*/ 580282 h 1157818"/>
                  <a:gd name="connsiteX233" fmla="*/ 76813 w 585276"/>
                  <a:gd name="connsiteY233" fmla="*/ 574629 h 1157818"/>
                  <a:gd name="connsiteX234" fmla="*/ 69513 w 585276"/>
                  <a:gd name="connsiteY234" fmla="*/ 540792 h 1157818"/>
                  <a:gd name="connsiteX235" fmla="*/ 71105 w 585276"/>
                  <a:gd name="connsiteY235" fmla="*/ 505527 h 1157818"/>
                  <a:gd name="connsiteX236" fmla="*/ 74590 w 585276"/>
                  <a:gd name="connsiteY236" fmla="*/ 497075 h 1157818"/>
                  <a:gd name="connsiteX237" fmla="*/ 82055 w 585276"/>
                  <a:gd name="connsiteY237" fmla="*/ 491531 h 1157818"/>
                  <a:gd name="connsiteX238" fmla="*/ 91193 w 585276"/>
                  <a:gd name="connsiteY238" fmla="*/ 480170 h 1157818"/>
                  <a:gd name="connsiteX239" fmla="*/ 92675 w 585276"/>
                  <a:gd name="connsiteY239" fmla="*/ 467848 h 1157818"/>
                  <a:gd name="connsiteX240" fmla="*/ 89437 w 585276"/>
                  <a:gd name="connsiteY240" fmla="*/ 450833 h 1157818"/>
                  <a:gd name="connsiteX241" fmla="*/ 97121 w 585276"/>
                  <a:gd name="connsiteY241" fmla="*/ 429976 h 1157818"/>
                  <a:gd name="connsiteX242" fmla="*/ 108043 w 585276"/>
                  <a:gd name="connsiteY242" fmla="*/ 408928 h 1157818"/>
                  <a:gd name="connsiteX243" fmla="*/ 108894 w 585276"/>
                  <a:gd name="connsiteY243" fmla="*/ 384943 h 1157818"/>
                  <a:gd name="connsiteX244" fmla="*/ 102911 w 585276"/>
                  <a:gd name="connsiteY244" fmla="*/ 376682 h 1157818"/>
                  <a:gd name="connsiteX245" fmla="*/ 101786 w 585276"/>
                  <a:gd name="connsiteY245" fmla="*/ 365485 h 1157818"/>
                  <a:gd name="connsiteX246" fmla="*/ 95447 w 585276"/>
                  <a:gd name="connsiteY246" fmla="*/ 345150 h 1157818"/>
                  <a:gd name="connsiteX247" fmla="*/ 95282 w 585276"/>
                  <a:gd name="connsiteY247" fmla="*/ 336149 h 1157818"/>
                  <a:gd name="connsiteX248" fmla="*/ 88778 w 585276"/>
                  <a:gd name="connsiteY248" fmla="*/ 322235 h 1157818"/>
                  <a:gd name="connsiteX249" fmla="*/ 88723 w 585276"/>
                  <a:gd name="connsiteY249" fmla="*/ 312877 h 1157818"/>
                  <a:gd name="connsiteX250" fmla="*/ 94788 w 585276"/>
                  <a:gd name="connsiteY250" fmla="*/ 301489 h 1157818"/>
                  <a:gd name="connsiteX251" fmla="*/ 99508 w 585276"/>
                  <a:gd name="connsiteY251" fmla="*/ 285654 h 1157818"/>
                  <a:gd name="connsiteX252" fmla="*/ 107083 w 585276"/>
                  <a:gd name="connsiteY252" fmla="*/ 275720 h 1157818"/>
                  <a:gd name="connsiteX253" fmla="*/ 105107 w 585276"/>
                  <a:gd name="connsiteY253" fmla="*/ 245999 h 1157818"/>
                  <a:gd name="connsiteX254" fmla="*/ 110650 w 585276"/>
                  <a:gd name="connsiteY254" fmla="*/ 234445 h 1157818"/>
                  <a:gd name="connsiteX255" fmla="*/ 115069 w 585276"/>
                  <a:gd name="connsiteY255" fmla="*/ 215071 h 1157818"/>
                  <a:gd name="connsiteX256" fmla="*/ 128351 w 585276"/>
                  <a:gd name="connsiteY256" fmla="*/ 198138 h 1157818"/>
                  <a:gd name="connsiteX257" fmla="*/ 138532 w 585276"/>
                  <a:gd name="connsiteY257" fmla="*/ 174235 h 1157818"/>
                  <a:gd name="connsiteX258" fmla="*/ 147342 w 585276"/>
                  <a:gd name="connsiteY258" fmla="*/ 171107 h 1157818"/>
                  <a:gd name="connsiteX259" fmla="*/ 151705 w 585276"/>
                  <a:gd name="connsiteY259" fmla="*/ 166360 h 1157818"/>
                  <a:gd name="connsiteX260" fmla="*/ 146491 w 585276"/>
                  <a:gd name="connsiteY260" fmla="*/ 150085 h 1157818"/>
                  <a:gd name="connsiteX261" fmla="*/ 149702 w 585276"/>
                  <a:gd name="connsiteY261" fmla="*/ 137407 h 1157818"/>
                  <a:gd name="connsiteX262" fmla="*/ 146409 w 585276"/>
                  <a:gd name="connsiteY262" fmla="*/ 113888 h 1157818"/>
                  <a:gd name="connsiteX263" fmla="*/ 149811 w 585276"/>
                  <a:gd name="connsiteY263" fmla="*/ 103927 h 1157818"/>
                  <a:gd name="connsiteX264" fmla="*/ 147973 w 585276"/>
                  <a:gd name="connsiteY264" fmla="*/ 92895 h 1157818"/>
                  <a:gd name="connsiteX265" fmla="*/ 156974 w 585276"/>
                  <a:gd name="connsiteY265" fmla="*/ 82219 h 1157818"/>
                  <a:gd name="connsiteX266" fmla="*/ 182029 w 585276"/>
                  <a:gd name="connsiteY266" fmla="*/ 67757 h 1157818"/>
                  <a:gd name="connsiteX267" fmla="*/ 190647 w 585276"/>
                  <a:gd name="connsiteY267" fmla="*/ 40616 h 1157818"/>
                  <a:gd name="connsiteX268" fmla="*/ 190098 w 585276"/>
                  <a:gd name="connsiteY268" fmla="*/ 36225 h 1157818"/>
                  <a:gd name="connsiteX269" fmla="*/ 186695 w 585276"/>
                  <a:gd name="connsiteY269" fmla="*/ 31340 h 1157818"/>
                  <a:gd name="connsiteX270" fmla="*/ 192073 w 585276"/>
                  <a:gd name="connsiteY270" fmla="*/ 22887 h 1157818"/>
                  <a:gd name="connsiteX271" fmla="*/ 197837 w 585276"/>
                  <a:gd name="connsiteY271" fmla="*/ 18991 h 1157818"/>
                  <a:gd name="connsiteX272" fmla="*/ 200718 w 585276"/>
                  <a:gd name="connsiteY272" fmla="*/ 13200 h 1157818"/>
                  <a:gd name="connsiteX273" fmla="*/ 211970 w 585276"/>
                  <a:gd name="connsiteY273" fmla="*/ 8370 h 1157818"/>
                  <a:gd name="connsiteX274" fmla="*/ 215976 w 585276"/>
                  <a:gd name="connsiteY274" fmla="*/ 0 h 1157818"/>
                  <a:gd name="connsiteX275" fmla="*/ 229424 w 585276"/>
                  <a:gd name="connsiteY275" fmla="*/ 8809 h 1157818"/>
                  <a:gd name="connsiteX276" fmla="*/ 252942 w 585276"/>
                  <a:gd name="connsiteY276" fmla="*/ 9358 h 1157818"/>
                  <a:gd name="connsiteX277" fmla="*/ 262080 w 585276"/>
                  <a:gd name="connsiteY277" fmla="*/ 13282 h 1157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Lst>
                <a:rect l="l" t="t" r="r" b="b"/>
                <a:pathLst>
                  <a:path w="585276" h="1157818">
                    <a:moveTo>
                      <a:pt x="261998" y="13255"/>
                    </a:moveTo>
                    <a:lnTo>
                      <a:pt x="270753" y="30489"/>
                    </a:lnTo>
                    <a:lnTo>
                      <a:pt x="283294" y="6257"/>
                    </a:lnTo>
                    <a:lnTo>
                      <a:pt x="313070" y="6010"/>
                    </a:lnTo>
                    <a:lnTo>
                      <a:pt x="319958" y="13721"/>
                    </a:lnTo>
                    <a:lnTo>
                      <a:pt x="331374" y="22723"/>
                    </a:lnTo>
                    <a:lnTo>
                      <a:pt x="339305" y="37844"/>
                    </a:lnTo>
                    <a:lnTo>
                      <a:pt x="342928" y="40671"/>
                    </a:lnTo>
                    <a:lnTo>
                      <a:pt x="353905" y="50742"/>
                    </a:lnTo>
                    <a:lnTo>
                      <a:pt x="364278" y="56313"/>
                    </a:lnTo>
                    <a:lnTo>
                      <a:pt x="369081" y="63201"/>
                    </a:lnTo>
                    <a:lnTo>
                      <a:pt x="388346" y="70940"/>
                    </a:lnTo>
                    <a:lnTo>
                      <a:pt x="397841" y="70556"/>
                    </a:lnTo>
                    <a:lnTo>
                      <a:pt x="427123" y="91001"/>
                    </a:lnTo>
                    <a:lnTo>
                      <a:pt x="441887" y="97313"/>
                    </a:lnTo>
                    <a:lnTo>
                      <a:pt x="446278" y="101210"/>
                    </a:lnTo>
                    <a:lnTo>
                      <a:pt x="450312" y="100332"/>
                    </a:lnTo>
                    <a:lnTo>
                      <a:pt x="462606" y="106671"/>
                    </a:lnTo>
                    <a:lnTo>
                      <a:pt x="469357" y="117429"/>
                    </a:lnTo>
                    <a:lnTo>
                      <a:pt x="468452" y="120941"/>
                    </a:lnTo>
                    <a:lnTo>
                      <a:pt x="461975" y="127555"/>
                    </a:lnTo>
                    <a:lnTo>
                      <a:pt x="460137" y="135019"/>
                    </a:lnTo>
                    <a:lnTo>
                      <a:pt x="453358" y="140261"/>
                    </a:lnTo>
                    <a:lnTo>
                      <a:pt x="448830" y="159279"/>
                    </a:lnTo>
                    <a:lnTo>
                      <a:pt x="437716" y="172370"/>
                    </a:lnTo>
                    <a:lnTo>
                      <a:pt x="439252" y="176733"/>
                    </a:lnTo>
                    <a:lnTo>
                      <a:pt x="458737" y="176458"/>
                    </a:lnTo>
                    <a:lnTo>
                      <a:pt x="482146" y="183182"/>
                    </a:lnTo>
                    <a:lnTo>
                      <a:pt x="488321" y="181343"/>
                    </a:lnTo>
                    <a:lnTo>
                      <a:pt x="492903" y="183292"/>
                    </a:lnTo>
                    <a:lnTo>
                      <a:pt x="497624" y="181975"/>
                    </a:lnTo>
                    <a:lnTo>
                      <a:pt x="503442" y="186256"/>
                    </a:lnTo>
                    <a:lnTo>
                      <a:pt x="505829" y="184636"/>
                    </a:lnTo>
                    <a:lnTo>
                      <a:pt x="507064" y="180822"/>
                    </a:lnTo>
                    <a:lnTo>
                      <a:pt x="512168" y="177913"/>
                    </a:lnTo>
                    <a:lnTo>
                      <a:pt x="523530" y="181316"/>
                    </a:lnTo>
                    <a:lnTo>
                      <a:pt x="527015" y="177995"/>
                    </a:lnTo>
                    <a:lnTo>
                      <a:pt x="528113" y="171738"/>
                    </a:lnTo>
                    <a:lnTo>
                      <a:pt x="534013" y="166496"/>
                    </a:lnTo>
                    <a:lnTo>
                      <a:pt x="540215" y="165371"/>
                    </a:lnTo>
                    <a:lnTo>
                      <a:pt x="541944" y="161969"/>
                    </a:lnTo>
                    <a:lnTo>
                      <a:pt x="550314" y="155876"/>
                    </a:lnTo>
                    <a:lnTo>
                      <a:pt x="555336" y="141798"/>
                    </a:lnTo>
                    <a:lnTo>
                      <a:pt x="555968" y="127527"/>
                    </a:lnTo>
                    <a:lnTo>
                      <a:pt x="556763" y="121243"/>
                    </a:lnTo>
                    <a:lnTo>
                      <a:pt x="561785" y="122670"/>
                    </a:lnTo>
                    <a:lnTo>
                      <a:pt x="570841" y="120036"/>
                    </a:lnTo>
                    <a:lnTo>
                      <a:pt x="577702" y="123905"/>
                    </a:lnTo>
                    <a:lnTo>
                      <a:pt x="579404" y="133208"/>
                    </a:lnTo>
                    <a:lnTo>
                      <a:pt x="585276" y="144048"/>
                    </a:lnTo>
                    <a:lnTo>
                      <a:pt x="581983" y="156315"/>
                    </a:lnTo>
                    <a:lnTo>
                      <a:pt x="582971" y="164685"/>
                    </a:lnTo>
                    <a:lnTo>
                      <a:pt x="580337" y="170174"/>
                    </a:lnTo>
                    <a:lnTo>
                      <a:pt x="564667" y="181920"/>
                    </a:lnTo>
                    <a:lnTo>
                      <a:pt x="550534" y="186447"/>
                    </a:lnTo>
                    <a:lnTo>
                      <a:pt x="546033" y="192732"/>
                    </a:lnTo>
                    <a:lnTo>
                      <a:pt x="524298" y="208100"/>
                    </a:lnTo>
                    <a:lnTo>
                      <a:pt x="523859" y="213232"/>
                    </a:lnTo>
                    <a:lnTo>
                      <a:pt x="519743" y="213452"/>
                    </a:lnTo>
                    <a:lnTo>
                      <a:pt x="515297" y="218034"/>
                    </a:lnTo>
                    <a:lnTo>
                      <a:pt x="487415" y="254753"/>
                    </a:lnTo>
                    <a:lnTo>
                      <a:pt x="479209" y="260928"/>
                    </a:lnTo>
                    <a:lnTo>
                      <a:pt x="474873" y="268118"/>
                    </a:lnTo>
                    <a:lnTo>
                      <a:pt x="467848" y="273799"/>
                    </a:lnTo>
                    <a:lnTo>
                      <a:pt x="466613" y="279534"/>
                    </a:lnTo>
                    <a:lnTo>
                      <a:pt x="460027" y="285682"/>
                    </a:lnTo>
                    <a:lnTo>
                      <a:pt x="462057" y="298031"/>
                    </a:lnTo>
                    <a:lnTo>
                      <a:pt x="460054" y="300062"/>
                    </a:lnTo>
                    <a:lnTo>
                      <a:pt x="459094" y="309036"/>
                    </a:lnTo>
                    <a:lnTo>
                      <a:pt x="454895" y="317598"/>
                    </a:lnTo>
                    <a:lnTo>
                      <a:pt x="456514" y="323937"/>
                    </a:lnTo>
                    <a:lnTo>
                      <a:pt x="454401" y="329508"/>
                    </a:lnTo>
                    <a:lnTo>
                      <a:pt x="451300" y="332445"/>
                    </a:lnTo>
                    <a:lnTo>
                      <a:pt x="453386" y="346001"/>
                    </a:lnTo>
                    <a:lnTo>
                      <a:pt x="450888" y="352532"/>
                    </a:lnTo>
                    <a:lnTo>
                      <a:pt x="452809" y="372264"/>
                    </a:lnTo>
                    <a:lnTo>
                      <a:pt x="446360" y="375283"/>
                    </a:lnTo>
                    <a:lnTo>
                      <a:pt x="444851" y="375969"/>
                    </a:lnTo>
                    <a:lnTo>
                      <a:pt x="441366" y="390980"/>
                    </a:lnTo>
                    <a:lnTo>
                      <a:pt x="444906" y="410163"/>
                    </a:lnTo>
                    <a:lnTo>
                      <a:pt x="442244" y="417792"/>
                    </a:lnTo>
                    <a:lnTo>
                      <a:pt x="442683" y="423583"/>
                    </a:lnTo>
                    <a:lnTo>
                      <a:pt x="450641" y="432529"/>
                    </a:lnTo>
                    <a:lnTo>
                      <a:pt x="470647" y="443589"/>
                    </a:lnTo>
                    <a:lnTo>
                      <a:pt x="479703" y="453221"/>
                    </a:lnTo>
                    <a:lnTo>
                      <a:pt x="481322" y="459478"/>
                    </a:lnTo>
                    <a:lnTo>
                      <a:pt x="475751" y="470675"/>
                    </a:lnTo>
                    <a:lnTo>
                      <a:pt x="475697" y="477343"/>
                    </a:lnTo>
                    <a:lnTo>
                      <a:pt x="483298" y="488403"/>
                    </a:lnTo>
                    <a:lnTo>
                      <a:pt x="493837" y="492766"/>
                    </a:lnTo>
                    <a:lnTo>
                      <a:pt x="495154" y="507036"/>
                    </a:lnTo>
                    <a:lnTo>
                      <a:pt x="493205" y="514748"/>
                    </a:lnTo>
                    <a:lnTo>
                      <a:pt x="482695" y="532366"/>
                    </a:lnTo>
                    <a:lnTo>
                      <a:pt x="472541" y="545209"/>
                    </a:lnTo>
                    <a:lnTo>
                      <a:pt x="467875" y="557422"/>
                    </a:lnTo>
                    <a:lnTo>
                      <a:pt x="441228" y="572323"/>
                    </a:lnTo>
                    <a:lnTo>
                      <a:pt x="424296" y="578114"/>
                    </a:lnTo>
                    <a:lnTo>
                      <a:pt x="371715" y="588899"/>
                    </a:lnTo>
                    <a:lnTo>
                      <a:pt x="349953" y="589393"/>
                    </a:lnTo>
                    <a:lnTo>
                      <a:pt x="339717" y="587390"/>
                    </a:lnTo>
                    <a:lnTo>
                      <a:pt x="332335" y="583767"/>
                    </a:lnTo>
                    <a:lnTo>
                      <a:pt x="332664" y="588515"/>
                    </a:lnTo>
                    <a:lnTo>
                      <a:pt x="330222" y="591835"/>
                    </a:lnTo>
                    <a:lnTo>
                      <a:pt x="329810" y="595760"/>
                    </a:lnTo>
                    <a:lnTo>
                      <a:pt x="332088" y="601715"/>
                    </a:lnTo>
                    <a:lnTo>
                      <a:pt x="336396" y="603059"/>
                    </a:lnTo>
                    <a:lnTo>
                      <a:pt x="337027" y="610222"/>
                    </a:lnTo>
                    <a:lnTo>
                      <a:pt x="335408" y="623148"/>
                    </a:lnTo>
                    <a:lnTo>
                      <a:pt x="330167" y="625755"/>
                    </a:lnTo>
                    <a:lnTo>
                      <a:pt x="328932" y="635113"/>
                    </a:lnTo>
                    <a:lnTo>
                      <a:pt x="325995" y="640629"/>
                    </a:lnTo>
                    <a:lnTo>
                      <a:pt x="327422" y="645267"/>
                    </a:lnTo>
                    <a:lnTo>
                      <a:pt x="333075" y="651304"/>
                    </a:lnTo>
                    <a:lnTo>
                      <a:pt x="326626" y="662885"/>
                    </a:lnTo>
                    <a:lnTo>
                      <a:pt x="306017" y="672078"/>
                    </a:lnTo>
                    <a:lnTo>
                      <a:pt x="288700" y="672435"/>
                    </a:lnTo>
                    <a:lnTo>
                      <a:pt x="256208" y="656738"/>
                    </a:lnTo>
                    <a:lnTo>
                      <a:pt x="248634" y="660333"/>
                    </a:lnTo>
                    <a:lnTo>
                      <a:pt x="246685" y="672051"/>
                    </a:lnTo>
                    <a:lnTo>
                      <a:pt x="250445" y="687502"/>
                    </a:lnTo>
                    <a:lnTo>
                      <a:pt x="250582" y="708495"/>
                    </a:lnTo>
                    <a:lnTo>
                      <a:pt x="255878" y="712996"/>
                    </a:lnTo>
                    <a:lnTo>
                      <a:pt x="263974" y="715521"/>
                    </a:lnTo>
                    <a:lnTo>
                      <a:pt x="263809" y="721064"/>
                    </a:lnTo>
                    <a:lnTo>
                      <a:pt x="265401" y="722189"/>
                    </a:lnTo>
                    <a:lnTo>
                      <a:pt x="276461" y="720625"/>
                    </a:lnTo>
                    <a:lnTo>
                      <a:pt x="276763" y="713600"/>
                    </a:lnTo>
                    <a:lnTo>
                      <a:pt x="286532" y="710252"/>
                    </a:lnTo>
                    <a:lnTo>
                      <a:pt x="291445" y="719555"/>
                    </a:lnTo>
                    <a:lnTo>
                      <a:pt x="291883" y="728364"/>
                    </a:lnTo>
                    <a:lnTo>
                      <a:pt x="290704" y="733221"/>
                    </a:lnTo>
                    <a:lnTo>
                      <a:pt x="287904" y="737201"/>
                    </a:lnTo>
                    <a:lnTo>
                      <a:pt x="277558" y="739643"/>
                    </a:lnTo>
                    <a:lnTo>
                      <a:pt x="273936" y="736433"/>
                    </a:lnTo>
                    <a:lnTo>
                      <a:pt x="271329" y="729187"/>
                    </a:lnTo>
                    <a:lnTo>
                      <a:pt x="262602" y="726224"/>
                    </a:lnTo>
                    <a:lnTo>
                      <a:pt x="252366" y="732728"/>
                    </a:lnTo>
                    <a:lnTo>
                      <a:pt x="252777" y="737448"/>
                    </a:lnTo>
                    <a:lnTo>
                      <a:pt x="266169" y="744308"/>
                    </a:lnTo>
                    <a:lnTo>
                      <a:pt x="266965" y="745818"/>
                    </a:lnTo>
                    <a:lnTo>
                      <a:pt x="251707" y="756384"/>
                    </a:lnTo>
                    <a:lnTo>
                      <a:pt x="242047" y="771367"/>
                    </a:lnTo>
                    <a:lnTo>
                      <a:pt x="241828" y="772575"/>
                    </a:lnTo>
                    <a:lnTo>
                      <a:pt x="241032" y="776938"/>
                    </a:lnTo>
                    <a:lnTo>
                      <a:pt x="243392" y="788464"/>
                    </a:lnTo>
                    <a:lnTo>
                      <a:pt x="243200" y="800484"/>
                    </a:lnTo>
                    <a:lnTo>
                      <a:pt x="238974" y="808827"/>
                    </a:lnTo>
                    <a:lnTo>
                      <a:pt x="231564" y="816291"/>
                    </a:lnTo>
                    <a:lnTo>
                      <a:pt x="232579" y="824744"/>
                    </a:lnTo>
                    <a:lnTo>
                      <a:pt x="230988" y="827241"/>
                    </a:lnTo>
                    <a:lnTo>
                      <a:pt x="215290" y="828064"/>
                    </a:lnTo>
                    <a:lnTo>
                      <a:pt x="193171" y="840112"/>
                    </a:lnTo>
                    <a:lnTo>
                      <a:pt x="183100" y="852653"/>
                    </a:lnTo>
                    <a:lnTo>
                      <a:pt x="175278" y="869339"/>
                    </a:lnTo>
                    <a:lnTo>
                      <a:pt x="175196" y="881798"/>
                    </a:lnTo>
                    <a:lnTo>
                      <a:pt x="181618" y="894971"/>
                    </a:lnTo>
                    <a:lnTo>
                      <a:pt x="200554" y="911793"/>
                    </a:lnTo>
                    <a:lnTo>
                      <a:pt x="224456" y="917446"/>
                    </a:lnTo>
                    <a:lnTo>
                      <a:pt x="227612" y="921233"/>
                    </a:lnTo>
                    <a:lnTo>
                      <a:pt x="228683" y="928588"/>
                    </a:lnTo>
                    <a:lnTo>
                      <a:pt x="225801" y="943572"/>
                    </a:lnTo>
                    <a:lnTo>
                      <a:pt x="226103" y="952189"/>
                    </a:lnTo>
                    <a:lnTo>
                      <a:pt x="222727" y="959324"/>
                    </a:lnTo>
                    <a:lnTo>
                      <a:pt x="189713" y="985450"/>
                    </a:lnTo>
                    <a:lnTo>
                      <a:pt x="176267" y="1001779"/>
                    </a:lnTo>
                    <a:lnTo>
                      <a:pt x="170448" y="1032158"/>
                    </a:lnTo>
                    <a:lnTo>
                      <a:pt x="166579" y="1041791"/>
                    </a:lnTo>
                    <a:lnTo>
                      <a:pt x="157139" y="1048706"/>
                    </a:lnTo>
                    <a:lnTo>
                      <a:pt x="151074" y="1049639"/>
                    </a:lnTo>
                    <a:lnTo>
                      <a:pt x="147973" y="1054222"/>
                    </a:lnTo>
                    <a:lnTo>
                      <a:pt x="137627" y="1061110"/>
                    </a:lnTo>
                    <a:lnTo>
                      <a:pt x="132358" y="1069810"/>
                    </a:lnTo>
                    <a:lnTo>
                      <a:pt x="129092" y="1095606"/>
                    </a:lnTo>
                    <a:lnTo>
                      <a:pt x="135102" y="1121457"/>
                    </a:lnTo>
                    <a:lnTo>
                      <a:pt x="148769" y="1149010"/>
                    </a:lnTo>
                    <a:lnTo>
                      <a:pt x="149784" y="1157819"/>
                    </a:lnTo>
                    <a:lnTo>
                      <a:pt x="146792" y="1154060"/>
                    </a:lnTo>
                    <a:lnTo>
                      <a:pt x="132467" y="1148269"/>
                    </a:lnTo>
                    <a:lnTo>
                      <a:pt x="103103" y="1139652"/>
                    </a:lnTo>
                    <a:lnTo>
                      <a:pt x="47285" y="1138033"/>
                    </a:lnTo>
                    <a:lnTo>
                      <a:pt x="43388" y="1129772"/>
                    </a:lnTo>
                    <a:lnTo>
                      <a:pt x="33316" y="1117286"/>
                    </a:lnTo>
                    <a:lnTo>
                      <a:pt x="35731" y="1104882"/>
                    </a:lnTo>
                    <a:lnTo>
                      <a:pt x="34688" y="1096072"/>
                    </a:lnTo>
                    <a:lnTo>
                      <a:pt x="36774" y="1088087"/>
                    </a:lnTo>
                    <a:lnTo>
                      <a:pt x="34715" y="1076780"/>
                    </a:lnTo>
                    <a:lnTo>
                      <a:pt x="23491" y="1074859"/>
                    </a:lnTo>
                    <a:lnTo>
                      <a:pt x="12322" y="1078262"/>
                    </a:lnTo>
                    <a:lnTo>
                      <a:pt x="796" y="1060342"/>
                    </a:lnTo>
                    <a:lnTo>
                      <a:pt x="0" y="1046730"/>
                    </a:lnTo>
                    <a:lnTo>
                      <a:pt x="1400" y="1035067"/>
                    </a:lnTo>
                    <a:lnTo>
                      <a:pt x="27" y="1023403"/>
                    </a:lnTo>
                    <a:lnTo>
                      <a:pt x="1619" y="1011877"/>
                    </a:lnTo>
                    <a:lnTo>
                      <a:pt x="12185" y="1004907"/>
                    </a:lnTo>
                    <a:lnTo>
                      <a:pt x="26620" y="990911"/>
                    </a:lnTo>
                    <a:lnTo>
                      <a:pt x="28761" y="977739"/>
                    </a:lnTo>
                    <a:lnTo>
                      <a:pt x="34935" y="968216"/>
                    </a:lnTo>
                    <a:lnTo>
                      <a:pt x="34496" y="961080"/>
                    </a:lnTo>
                    <a:lnTo>
                      <a:pt x="31230" y="951037"/>
                    </a:lnTo>
                    <a:lnTo>
                      <a:pt x="35127" y="934900"/>
                    </a:lnTo>
                    <a:lnTo>
                      <a:pt x="46873" y="920794"/>
                    </a:lnTo>
                    <a:lnTo>
                      <a:pt x="47614" y="906414"/>
                    </a:lnTo>
                    <a:lnTo>
                      <a:pt x="53679" y="896398"/>
                    </a:lnTo>
                    <a:lnTo>
                      <a:pt x="50358" y="877462"/>
                    </a:lnTo>
                    <a:lnTo>
                      <a:pt x="54694" y="867253"/>
                    </a:lnTo>
                    <a:lnTo>
                      <a:pt x="52746" y="855617"/>
                    </a:lnTo>
                    <a:lnTo>
                      <a:pt x="59551" y="846122"/>
                    </a:lnTo>
                    <a:lnTo>
                      <a:pt x="62570" y="838136"/>
                    </a:lnTo>
                    <a:lnTo>
                      <a:pt x="58042" y="829739"/>
                    </a:lnTo>
                    <a:lnTo>
                      <a:pt x="48437" y="823838"/>
                    </a:lnTo>
                    <a:lnTo>
                      <a:pt x="46461" y="820270"/>
                    </a:lnTo>
                    <a:lnTo>
                      <a:pt x="63091" y="817526"/>
                    </a:lnTo>
                    <a:lnTo>
                      <a:pt x="63750" y="816291"/>
                    </a:lnTo>
                    <a:lnTo>
                      <a:pt x="67894" y="808607"/>
                    </a:lnTo>
                    <a:lnTo>
                      <a:pt x="65781" y="805013"/>
                    </a:lnTo>
                    <a:lnTo>
                      <a:pt x="54858" y="801692"/>
                    </a:lnTo>
                    <a:lnTo>
                      <a:pt x="51648" y="798343"/>
                    </a:lnTo>
                    <a:lnTo>
                      <a:pt x="53734" y="772575"/>
                    </a:lnTo>
                    <a:lnTo>
                      <a:pt x="49343" y="764918"/>
                    </a:lnTo>
                    <a:lnTo>
                      <a:pt x="50632" y="754078"/>
                    </a:lnTo>
                    <a:lnTo>
                      <a:pt x="43772" y="743348"/>
                    </a:lnTo>
                    <a:lnTo>
                      <a:pt x="42646" y="738436"/>
                    </a:lnTo>
                    <a:lnTo>
                      <a:pt x="43607" y="716344"/>
                    </a:lnTo>
                    <a:lnTo>
                      <a:pt x="51291" y="706409"/>
                    </a:lnTo>
                    <a:lnTo>
                      <a:pt x="49123" y="691728"/>
                    </a:lnTo>
                    <a:lnTo>
                      <a:pt x="47833" y="656463"/>
                    </a:lnTo>
                    <a:lnTo>
                      <a:pt x="52471" y="643099"/>
                    </a:lnTo>
                    <a:lnTo>
                      <a:pt x="51922" y="635525"/>
                    </a:lnTo>
                    <a:lnTo>
                      <a:pt x="55078" y="625425"/>
                    </a:lnTo>
                    <a:lnTo>
                      <a:pt x="55078" y="615985"/>
                    </a:lnTo>
                    <a:cubicBezTo>
                      <a:pt x="55078" y="615985"/>
                      <a:pt x="60512" y="606819"/>
                      <a:pt x="60512" y="606819"/>
                    </a:cubicBezTo>
                    <a:lnTo>
                      <a:pt x="63037" y="589530"/>
                    </a:lnTo>
                    <a:lnTo>
                      <a:pt x="73602" y="580282"/>
                    </a:lnTo>
                    <a:lnTo>
                      <a:pt x="76813" y="574629"/>
                    </a:lnTo>
                    <a:lnTo>
                      <a:pt x="69513" y="540792"/>
                    </a:lnTo>
                    <a:lnTo>
                      <a:pt x="71105" y="505527"/>
                    </a:lnTo>
                    <a:lnTo>
                      <a:pt x="74590" y="497075"/>
                    </a:lnTo>
                    <a:lnTo>
                      <a:pt x="82055" y="491531"/>
                    </a:lnTo>
                    <a:lnTo>
                      <a:pt x="91193" y="480170"/>
                    </a:lnTo>
                    <a:lnTo>
                      <a:pt x="92675" y="467848"/>
                    </a:lnTo>
                    <a:lnTo>
                      <a:pt x="89437" y="450833"/>
                    </a:lnTo>
                    <a:lnTo>
                      <a:pt x="97121" y="429976"/>
                    </a:lnTo>
                    <a:lnTo>
                      <a:pt x="108043" y="408928"/>
                    </a:lnTo>
                    <a:lnTo>
                      <a:pt x="108894" y="384943"/>
                    </a:lnTo>
                    <a:lnTo>
                      <a:pt x="102911" y="376682"/>
                    </a:lnTo>
                    <a:lnTo>
                      <a:pt x="101786" y="365485"/>
                    </a:lnTo>
                    <a:lnTo>
                      <a:pt x="95447" y="345150"/>
                    </a:lnTo>
                    <a:lnTo>
                      <a:pt x="95282" y="336149"/>
                    </a:lnTo>
                    <a:lnTo>
                      <a:pt x="88778" y="322235"/>
                    </a:lnTo>
                    <a:lnTo>
                      <a:pt x="88723" y="312877"/>
                    </a:lnTo>
                    <a:lnTo>
                      <a:pt x="94788" y="301489"/>
                    </a:lnTo>
                    <a:lnTo>
                      <a:pt x="99508" y="285654"/>
                    </a:lnTo>
                    <a:lnTo>
                      <a:pt x="107083" y="275720"/>
                    </a:lnTo>
                    <a:lnTo>
                      <a:pt x="105107" y="245999"/>
                    </a:lnTo>
                    <a:lnTo>
                      <a:pt x="110650" y="234445"/>
                    </a:lnTo>
                    <a:lnTo>
                      <a:pt x="115069" y="215071"/>
                    </a:lnTo>
                    <a:lnTo>
                      <a:pt x="128351" y="198138"/>
                    </a:lnTo>
                    <a:lnTo>
                      <a:pt x="138532" y="174235"/>
                    </a:lnTo>
                    <a:lnTo>
                      <a:pt x="147342" y="171107"/>
                    </a:lnTo>
                    <a:lnTo>
                      <a:pt x="151705" y="166360"/>
                    </a:lnTo>
                    <a:lnTo>
                      <a:pt x="146491" y="150085"/>
                    </a:lnTo>
                    <a:lnTo>
                      <a:pt x="149702" y="137407"/>
                    </a:lnTo>
                    <a:lnTo>
                      <a:pt x="146409" y="113888"/>
                    </a:lnTo>
                    <a:lnTo>
                      <a:pt x="149811" y="103927"/>
                    </a:lnTo>
                    <a:lnTo>
                      <a:pt x="147973" y="92895"/>
                    </a:lnTo>
                    <a:lnTo>
                      <a:pt x="156974" y="82219"/>
                    </a:lnTo>
                    <a:lnTo>
                      <a:pt x="182029" y="67757"/>
                    </a:lnTo>
                    <a:lnTo>
                      <a:pt x="190647" y="40616"/>
                    </a:lnTo>
                    <a:lnTo>
                      <a:pt x="190098" y="36225"/>
                    </a:lnTo>
                    <a:lnTo>
                      <a:pt x="186695" y="31340"/>
                    </a:lnTo>
                    <a:lnTo>
                      <a:pt x="192073" y="22887"/>
                    </a:lnTo>
                    <a:lnTo>
                      <a:pt x="197837" y="18991"/>
                    </a:lnTo>
                    <a:lnTo>
                      <a:pt x="200718" y="13200"/>
                    </a:lnTo>
                    <a:lnTo>
                      <a:pt x="211970" y="8370"/>
                    </a:lnTo>
                    <a:lnTo>
                      <a:pt x="215976" y="0"/>
                    </a:lnTo>
                    <a:lnTo>
                      <a:pt x="229424" y="8809"/>
                    </a:lnTo>
                    <a:lnTo>
                      <a:pt x="252942" y="9358"/>
                    </a:lnTo>
                    <a:lnTo>
                      <a:pt x="262080" y="132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0" name="Freeform: Shape 3569">
                <a:extLst>
                  <a:ext uri="{FF2B5EF4-FFF2-40B4-BE49-F238E27FC236}">
                    <a16:creationId xmlns:a16="http://schemas.microsoft.com/office/drawing/2014/main" id="{237C1F36-D95B-2C2B-167B-B1ACED7578DD}"/>
                  </a:ext>
                </a:extLst>
              </p:cNvPr>
              <p:cNvSpPr/>
              <p:nvPr/>
            </p:nvSpPr>
            <p:spPr>
              <a:xfrm>
                <a:off x="1154930" y="4035108"/>
                <a:ext cx="10476" cy="12488"/>
              </a:xfrm>
              <a:custGeom>
                <a:avLst/>
                <a:gdLst>
                  <a:gd name="connsiteX0" fmla="*/ 100441 w 100441"/>
                  <a:gd name="connsiteY0" fmla="*/ 100304 h 119733"/>
                  <a:gd name="connsiteX1" fmla="*/ 97862 w 100441"/>
                  <a:gd name="connsiteY1" fmla="*/ 110156 h 119733"/>
                  <a:gd name="connsiteX2" fmla="*/ 95145 w 100441"/>
                  <a:gd name="connsiteY2" fmla="*/ 113284 h 119733"/>
                  <a:gd name="connsiteX3" fmla="*/ 85924 w 100441"/>
                  <a:gd name="connsiteY3" fmla="*/ 114903 h 119733"/>
                  <a:gd name="connsiteX4" fmla="*/ 79310 w 100441"/>
                  <a:gd name="connsiteY4" fmla="*/ 112653 h 119733"/>
                  <a:gd name="connsiteX5" fmla="*/ 75770 w 100441"/>
                  <a:gd name="connsiteY5" fmla="*/ 116001 h 119733"/>
                  <a:gd name="connsiteX6" fmla="*/ 61719 w 100441"/>
                  <a:gd name="connsiteY6" fmla="*/ 119733 h 119733"/>
                  <a:gd name="connsiteX7" fmla="*/ 50083 w 100441"/>
                  <a:gd name="connsiteY7" fmla="*/ 114135 h 119733"/>
                  <a:gd name="connsiteX8" fmla="*/ 39271 w 100441"/>
                  <a:gd name="connsiteY8" fmla="*/ 111062 h 119733"/>
                  <a:gd name="connsiteX9" fmla="*/ 33865 w 100441"/>
                  <a:gd name="connsiteY9" fmla="*/ 112625 h 119733"/>
                  <a:gd name="connsiteX10" fmla="*/ 24177 w 100441"/>
                  <a:gd name="connsiteY10" fmla="*/ 110622 h 119733"/>
                  <a:gd name="connsiteX11" fmla="*/ 10538 w 100441"/>
                  <a:gd name="connsiteY11" fmla="*/ 107192 h 119733"/>
                  <a:gd name="connsiteX12" fmla="*/ 7464 w 100441"/>
                  <a:gd name="connsiteY12" fmla="*/ 108509 h 119733"/>
                  <a:gd name="connsiteX13" fmla="*/ 0 w 100441"/>
                  <a:gd name="connsiteY13" fmla="*/ 111720 h 119733"/>
                  <a:gd name="connsiteX14" fmla="*/ 0 w 100441"/>
                  <a:gd name="connsiteY14" fmla="*/ 0 h 119733"/>
                  <a:gd name="connsiteX15" fmla="*/ 7464 w 100441"/>
                  <a:gd name="connsiteY15" fmla="*/ 11718 h 119733"/>
                  <a:gd name="connsiteX16" fmla="*/ 8425 w 100441"/>
                  <a:gd name="connsiteY16" fmla="*/ 13227 h 119733"/>
                  <a:gd name="connsiteX17" fmla="*/ 8919 w 100441"/>
                  <a:gd name="connsiteY17" fmla="*/ 17124 h 119733"/>
                  <a:gd name="connsiteX18" fmla="*/ 7464 w 100441"/>
                  <a:gd name="connsiteY18" fmla="*/ 18743 h 119733"/>
                  <a:gd name="connsiteX19" fmla="*/ 2333 w 100441"/>
                  <a:gd name="connsiteY19" fmla="*/ 24451 h 119733"/>
                  <a:gd name="connsiteX20" fmla="*/ 2333 w 100441"/>
                  <a:gd name="connsiteY20" fmla="*/ 29693 h 119733"/>
                  <a:gd name="connsiteX21" fmla="*/ 7464 w 100441"/>
                  <a:gd name="connsiteY21" fmla="*/ 31587 h 119733"/>
                  <a:gd name="connsiteX22" fmla="*/ 13282 w 100441"/>
                  <a:gd name="connsiteY22" fmla="*/ 33727 h 119733"/>
                  <a:gd name="connsiteX23" fmla="*/ 19375 w 100441"/>
                  <a:gd name="connsiteY23" fmla="*/ 47503 h 119733"/>
                  <a:gd name="connsiteX24" fmla="*/ 30132 w 100441"/>
                  <a:gd name="connsiteY24" fmla="*/ 58069 h 119733"/>
                  <a:gd name="connsiteX25" fmla="*/ 32245 w 100441"/>
                  <a:gd name="connsiteY25" fmla="*/ 63393 h 119733"/>
                  <a:gd name="connsiteX26" fmla="*/ 50056 w 100441"/>
                  <a:gd name="connsiteY26" fmla="*/ 77307 h 119733"/>
                  <a:gd name="connsiteX27" fmla="*/ 63174 w 100441"/>
                  <a:gd name="connsiteY27" fmla="*/ 90260 h 119733"/>
                  <a:gd name="connsiteX28" fmla="*/ 81067 w 100441"/>
                  <a:gd name="connsiteY28" fmla="*/ 98685 h 119733"/>
                  <a:gd name="connsiteX29" fmla="*/ 100359 w 100441"/>
                  <a:gd name="connsiteY29" fmla="*/ 100331 h 11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441" h="119733">
                    <a:moveTo>
                      <a:pt x="100441" y="100304"/>
                    </a:moveTo>
                    <a:lnTo>
                      <a:pt x="97862" y="110156"/>
                    </a:lnTo>
                    <a:lnTo>
                      <a:pt x="95145" y="113284"/>
                    </a:lnTo>
                    <a:lnTo>
                      <a:pt x="85924" y="114903"/>
                    </a:lnTo>
                    <a:lnTo>
                      <a:pt x="79310" y="112653"/>
                    </a:lnTo>
                    <a:lnTo>
                      <a:pt x="75770" y="116001"/>
                    </a:lnTo>
                    <a:lnTo>
                      <a:pt x="61719" y="119733"/>
                    </a:lnTo>
                    <a:lnTo>
                      <a:pt x="50083" y="114135"/>
                    </a:lnTo>
                    <a:lnTo>
                      <a:pt x="39271" y="111062"/>
                    </a:lnTo>
                    <a:lnTo>
                      <a:pt x="33865" y="112625"/>
                    </a:lnTo>
                    <a:lnTo>
                      <a:pt x="24177" y="110622"/>
                    </a:lnTo>
                    <a:lnTo>
                      <a:pt x="10538" y="107192"/>
                    </a:lnTo>
                    <a:lnTo>
                      <a:pt x="7464" y="108509"/>
                    </a:lnTo>
                    <a:lnTo>
                      <a:pt x="0" y="111720"/>
                    </a:lnTo>
                    <a:lnTo>
                      <a:pt x="0" y="0"/>
                    </a:lnTo>
                    <a:cubicBezTo>
                      <a:pt x="0" y="0"/>
                      <a:pt x="7464" y="11718"/>
                      <a:pt x="7464" y="11718"/>
                    </a:cubicBezTo>
                    <a:lnTo>
                      <a:pt x="8425" y="13227"/>
                    </a:lnTo>
                    <a:lnTo>
                      <a:pt x="8919" y="17124"/>
                    </a:lnTo>
                    <a:lnTo>
                      <a:pt x="7464" y="18743"/>
                    </a:lnTo>
                    <a:lnTo>
                      <a:pt x="2333" y="24451"/>
                    </a:lnTo>
                    <a:lnTo>
                      <a:pt x="2333" y="29693"/>
                    </a:lnTo>
                    <a:cubicBezTo>
                      <a:pt x="2333" y="29693"/>
                      <a:pt x="7464" y="31587"/>
                      <a:pt x="7464" y="31587"/>
                    </a:cubicBezTo>
                    <a:lnTo>
                      <a:pt x="13282" y="33727"/>
                    </a:lnTo>
                    <a:lnTo>
                      <a:pt x="19375" y="47503"/>
                    </a:lnTo>
                    <a:lnTo>
                      <a:pt x="30132" y="58069"/>
                    </a:lnTo>
                    <a:lnTo>
                      <a:pt x="32245" y="63393"/>
                    </a:lnTo>
                    <a:lnTo>
                      <a:pt x="50056" y="77307"/>
                    </a:lnTo>
                    <a:lnTo>
                      <a:pt x="63174" y="90260"/>
                    </a:lnTo>
                    <a:lnTo>
                      <a:pt x="81067" y="98685"/>
                    </a:lnTo>
                    <a:lnTo>
                      <a:pt x="100359" y="1003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1" name="Freeform: Shape 3570">
                <a:extLst>
                  <a:ext uri="{FF2B5EF4-FFF2-40B4-BE49-F238E27FC236}">
                    <a16:creationId xmlns:a16="http://schemas.microsoft.com/office/drawing/2014/main" id="{E2ECD9DF-2C77-3E8F-1918-6B74232596A2}"/>
                  </a:ext>
                </a:extLst>
              </p:cNvPr>
              <p:cNvSpPr/>
              <p:nvPr/>
            </p:nvSpPr>
            <p:spPr>
              <a:xfrm>
                <a:off x="1124764" y="3764523"/>
                <a:ext cx="2816" cy="5169"/>
              </a:xfrm>
              <a:custGeom>
                <a:avLst/>
                <a:gdLst>
                  <a:gd name="connsiteX0" fmla="*/ 20857 w 27003"/>
                  <a:gd name="connsiteY0" fmla="*/ 29062 h 49561"/>
                  <a:gd name="connsiteX1" fmla="*/ 22613 w 27003"/>
                  <a:gd name="connsiteY1" fmla="*/ 29419 h 49561"/>
                  <a:gd name="connsiteX2" fmla="*/ 25687 w 27003"/>
                  <a:gd name="connsiteY2" fmla="*/ 34194 h 49561"/>
                  <a:gd name="connsiteX3" fmla="*/ 27004 w 27003"/>
                  <a:gd name="connsiteY3" fmla="*/ 40369 h 49561"/>
                  <a:gd name="connsiteX4" fmla="*/ 22640 w 27003"/>
                  <a:gd name="connsiteY4" fmla="*/ 49562 h 49561"/>
                  <a:gd name="connsiteX5" fmla="*/ 18908 w 27003"/>
                  <a:gd name="connsiteY5" fmla="*/ 46186 h 49561"/>
                  <a:gd name="connsiteX6" fmla="*/ 19896 w 27003"/>
                  <a:gd name="connsiteY6" fmla="*/ 41933 h 49561"/>
                  <a:gd name="connsiteX7" fmla="*/ 15835 w 27003"/>
                  <a:gd name="connsiteY7" fmla="*/ 36307 h 49561"/>
                  <a:gd name="connsiteX8" fmla="*/ 16191 w 27003"/>
                  <a:gd name="connsiteY8" fmla="*/ 33865 h 49561"/>
                  <a:gd name="connsiteX9" fmla="*/ 13255 w 27003"/>
                  <a:gd name="connsiteY9" fmla="*/ 33233 h 49561"/>
                  <a:gd name="connsiteX10" fmla="*/ 13255 w 27003"/>
                  <a:gd name="connsiteY10" fmla="*/ 29309 h 49561"/>
                  <a:gd name="connsiteX11" fmla="*/ 11252 w 27003"/>
                  <a:gd name="connsiteY11" fmla="*/ 29419 h 49561"/>
                  <a:gd name="connsiteX12" fmla="*/ 0 w 27003"/>
                  <a:gd name="connsiteY12" fmla="*/ 19128 h 49561"/>
                  <a:gd name="connsiteX13" fmla="*/ 6531 w 27003"/>
                  <a:gd name="connsiteY13" fmla="*/ 11471 h 49561"/>
                  <a:gd name="connsiteX14" fmla="*/ 7931 w 27003"/>
                  <a:gd name="connsiteY14" fmla="*/ 6751 h 49561"/>
                  <a:gd name="connsiteX15" fmla="*/ 6641 w 27003"/>
                  <a:gd name="connsiteY15" fmla="*/ 0 h 49561"/>
                  <a:gd name="connsiteX16" fmla="*/ 12514 w 27003"/>
                  <a:gd name="connsiteY16" fmla="*/ 1207 h 49561"/>
                  <a:gd name="connsiteX17" fmla="*/ 13694 w 27003"/>
                  <a:gd name="connsiteY17" fmla="*/ 3869 h 49561"/>
                  <a:gd name="connsiteX18" fmla="*/ 13255 w 27003"/>
                  <a:gd name="connsiteY18" fmla="*/ 7464 h 49561"/>
                  <a:gd name="connsiteX19" fmla="*/ 20390 w 27003"/>
                  <a:gd name="connsiteY19" fmla="*/ 17728 h 49561"/>
                  <a:gd name="connsiteX20" fmla="*/ 20829 w 27003"/>
                  <a:gd name="connsiteY20" fmla="*/ 23079 h 49561"/>
                  <a:gd name="connsiteX21" fmla="*/ 18524 w 27003"/>
                  <a:gd name="connsiteY21" fmla="*/ 26373 h 49561"/>
                  <a:gd name="connsiteX22" fmla="*/ 21845 w 27003"/>
                  <a:gd name="connsiteY22" fmla="*/ 27388 h 49561"/>
                  <a:gd name="connsiteX23" fmla="*/ 20884 w 27003"/>
                  <a:gd name="connsiteY23" fmla="*/ 29089 h 4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003" h="49561">
                    <a:moveTo>
                      <a:pt x="20857" y="29062"/>
                    </a:moveTo>
                    <a:lnTo>
                      <a:pt x="22613" y="29419"/>
                    </a:lnTo>
                    <a:lnTo>
                      <a:pt x="25687" y="34194"/>
                    </a:lnTo>
                    <a:lnTo>
                      <a:pt x="27004" y="40369"/>
                    </a:lnTo>
                    <a:lnTo>
                      <a:pt x="22640" y="49562"/>
                    </a:lnTo>
                    <a:lnTo>
                      <a:pt x="18908" y="46186"/>
                    </a:lnTo>
                    <a:lnTo>
                      <a:pt x="19896" y="41933"/>
                    </a:lnTo>
                    <a:lnTo>
                      <a:pt x="15835" y="36307"/>
                    </a:lnTo>
                    <a:lnTo>
                      <a:pt x="16191" y="33865"/>
                    </a:lnTo>
                    <a:lnTo>
                      <a:pt x="13255" y="33233"/>
                    </a:lnTo>
                    <a:lnTo>
                      <a:pt x="13255" y="29309"/>
                    </a:lnTo>
                    <a:lnTo>
                      <a:pt x="11252" y="29419"/>
                    </a:lnTo>
                    <a:lnTo>
                      <a:pt x="0" y="19128"/>
                    </a:lnTo>
                    <a:lnTo>
                      <a:pt x="6531" y="11471"/>
                    </a:lnTo>
                    <a:lnTo>
                      <a:pt x="7931" y="6751"/>
                    </a:lnTo>
                    <a:lnTo>
                      <a:pt x="6641" y="0"/>
                    </a:lnTo>
                    <a:lnTo>
                      <a:pt x="12514" y="1207"/>
                    </a:lnTo>
                    <a:lnTo>
                      <a:pt x="13694" y="3869"/>
                    </a:lnTo>
                    <a:lnTo>
                      <a:pt x="13255" y="7464"/>
                    </a:lnTo>
                    <a:lnTo>
                      <a:pt x="20390" y="17728"/>
                    </a:lnTo>
                    <a:lnTo>
                      <a:pt x="20829" y="23079"/>
                    </a:lnTo>
                    <a:lnTo>
                      <a:pt x="18524" y="26373"/>
                    </a:lnTo>
                    <a:lnTo>
                      <a:pt x="21845" y="27388"/>
                    </a:lnTo>
                    <a:lnTo>
                      <a:pt x="20884" y="290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2" name="Freeform: Shape 3571">
                <a:extLst>
                  <a:ext uri="{FF2B5EF4-FFF2-40B4-BE49-F238E27FC236}">
                    <a16:creationId xmlns:a16="http://schemas.microsoft.com/office/drawing/2014/main" id="{5CF49A17-735B-F1D3-C5C2-743C1F8A7284}"/>
                  </a:ext>
                </a:extLst>
              </p:cNvPr>
              <p:cNvSpPr/>
              <p:nvPr/>
            </p:nvSpPr>
            <p:spPr>
              <a:xfrm>
                <a:off x="1139299" y="3777452"/>
                <a:ext cx="2132" cy="1351"/>
              </a:xfrm>
              <a:custGeom>
                <a:avLst/>
                <a:gdLst>
                  <a:gd name="connsiteX0" fmla="*/ 20143 w 20444"/>
                  <a:gd name="connsiteY0" fmla="*/ 4501 h 12953"/>
                  <a:gd name="connsiteX1" fmla="*/ 18140 w 20444"/>
                  <a:gd name="connsiteY1" fmla="*/ 7245 h 12953"/>
                  <a:gd name="connsiteX2" fmla="*/ 16054 w 20444"/>
                  <a:gd name="connsiteY2" fmla="*/ 11499 h 12953"/>
                  <a:gd name="connsiteX3" fmla="*/ 10401 w 20444"/>
                  <a:gd name="connsiteY3" fmla="*/ 11691 h 12953"/>
                  <a:gd name="connsiteX4" fmla="*/ 6175 w 20444"/>
                  <a:gd name="connsiteY4" fmla="*/ 12953 h 12953"/>
                  <a:gd name="connsiteX5" fmla="*/ 4336 w 20444"/>
                  <a:gd name="connsiteY5" fmla="*/ 12185 h 12953"/>
                  <a:gd name="connsiteX6" fmla="*/ 823 w 20444"/>
                  <a:gd name="connsiteY6" fmla="*/ 12624 h 12953"/>
                  <a:gd name="connsiteX7" fmla="*/ 0 w 20444"/>
                  <a:gd name="connsiteY7" fmla="*/ 9989 h 12953"/>
                  <a:gd name="connsiteX8" fmla="*/ 2113 w 20444"/>
                  <a:gd name="connsiteY8" fmla="*/ 7382 h 12953"/>
                  <a:gd name="connsiteX9" fmla="*/ 4418 w 20444"/>
                  <a:gd name="connsiteY9" fmla="*/ 6422 h 12953"/>
                  <a:gd name="connsiteX10" fmla="*/ 5461 w 20444"/>
                  <a:gd name="connsiteY10" fmla="*/ 4666 h 12953"/>
                  <a:gd name="connsiteX11" fmla="*/ 7931 w 20444"/>
                  <a:gd name="connsiteY11" fmla="*/ 4473 h 12953"/>
                  <a:gd name="connsiteX12" fmla="*/ 9303 w 20444"/>
                  <a:gd name="connsiteY12" fmla="*/ 3101 h 12953"/>
                  <a:gd name="connsiteX13" fmla="*/ 10264 w 20444"/>
                  <a:gd name="connsiteY13" fmla="*/ 5022 h 12953"/>
                  <a:gd name="connsiteX14" fmla="*/ 13008 w 20444"/>
                  <a:gd name="connsiteY14" fmla="*/ 6230 h 12953"/>
                  <a:gd name="connsiteX15" fmla="*/ 16713 w 20444"/>
                  <a:gd name="connsiteY15" fmla="*/ 4446 h 12953"/>
                  <a:gd name="connsiteX16" fmla="*/ 18798 w 20444"/>
                  <a:gd name="connsiteY16" fmla="*/ 302 h 12953"/>
                  <a:gd name="connsiteX17" fmla="*/ 20445 w 20444"/>
                  <a:gd name="connsiteY17" fmla="*/ 0 h 12953"/>
                  <a:gd name="connsiteX18" fmla="*/ 20143 w 20444"/>
                  <a:gd name="connsiteY18" fmla="*/ 447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444" h="12953">
                    <a:moveTo>
                      <a:pt x="20143" y="4501"/>
                    </a:moveTo>
                    <a:lnTo>
                      <a:pt x="18140" y="7245"/>
                    </a:lnTo>
                    <a:lnTo>
                      <a:pt x="16054" y="11499"/>
                    </a:lnTo>
                    <a:lnTo>
                      <a:pt x="10401" y="11691"/>
                    </a:lnTo>
                    <a:lnTo>
                      <a:pt x="6175" y="12953"/>
                    </a:lnTo>
                    <a:lnTo>
                      <a:pt x="4336" y="12185"/>
                    </a:lnTo>
                    <a:lnTo>
                      <a:pt x="823" y="12624"/>
                    </a:lnTo>
                    <a:lnTo>
                      <a:pt x="0" y="9989"/>
                    </a:lnTo>
                    <a:lnTo>
                      <a:pt x="2113" y="7382"/>
                    </a:lnTo>
                    <a:lnTo>
                      <a:pt x="4418" y="6422"/>
                    </a:lnTo>
                    <a:lnTo>
                      <a:pt x="5461" y="4666"/>
                    </a:lnTo>
                    <a:lnTo>
                      <a:pt x="7931" y="4473"/>
                    </a:lnTo>
                    <a:lnTo>
                      <a:pt x="9303" y="3101"/>
                    </a:lnTo>
                    <a:lnTo>
                      <a:pt x="10264" y="5022"/>
                    </a:lnTo>
                    <a:lnTo>
                      <a:pt x="13008" y="6230"/>
                    </a:lnTo>
                    <a:lnTo>
                      <a:pt x="16713" y="4446"/>
                    </a:lnTo>
                    <a:lnTo>
                      <a:pt x="18798" y="302"/>
                    </a:lnTo>
                    <a:lnTo>
                      <a:pt x="20445" y="0"/>
                    </a:lnTo>
                    <a:lnTo>
                      <a:pt x="20143" y="44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3" name="Freeform: Shape 3572">
                <a:extLst>
                  <a:ext uri="{FF2B5EF4-FFF2-40B4-BE49-F238E27FC236}">
                    <a16:creationId xmlns:a16="http://schemas.microsoft.com/office/drawing/2014/main" id="{1F6FBC26-0A52-6E86-C629-11029DEBA8A0}"/>
                  </a:ext>
                </a:extLst>
              </p:cNvPr>
              <p:cNvSpPr/>
              <p:nvPr/>
            </p:nvSpPr>
            <p:spPr>
              <a:xfrm>
                <a:off x="1128110" y="3759829"/>
                <a:ext cx="1007" cy="2327"/>
              </a:xfrm>
              <a:custGeom>
                <a:avLst/>
                <a:gdLst>
                  <a:gd name="connsiteX0" fmla="*/ 3897 w 9659"/>
                  <a:gd name="connsiteY0" fmla="*/ 22037 h 22311"/>
                  <a:gd name="connsiteX1" fmla="*/ 2964 w 9659"/>
                  <a:gd name="connsiteY1" fmla="*/ 22311 h 22311"/>
                  <a:gd name="connsiteX2" fmla="*/ 0 w 9659"/>
                  <a:gd name="connsiteY2" fmla="*/ 18414 h 22311"/>
                  <a:gd name="connsiteX3" fmla="*/ 3622 w 9659"/>
                  <a:gd name="connsiteY3" fmla="*/ 14023 h 22311"/>
                  <a:gd name="connsiteX4" fmla="*/ 2085 w 9659"/>
                  <a:gd name="connsiteY4" fmla="*/ 5324 h 22311"/>
                  <a:gd name="connsiteX5" fmla="*/ 2909 w 9659"/>
                  <a:gd name="connsiteY5" fmla="*/ 5324 h 22311"/>
                  <a:gd name="connsiteX6" fmla="*/ 1921 w 9659"/>
                  <a:gd name="connsiteY6" fmla="*/ 1592 h 22311"/>
                  <a:gd name="connsiteX7" fmla="*/ 6202 w 9659"/>
                  <a:gd name="connsiteY7" fmla="*/ 0 h 22311"/>
                  <a:gd name="connsiteX8" fmla="*/ 8672 w 9659"/>
                  <a:gd name="connsiteY8" fmla="*/ 1290 h 22311"/>
                  <a:gd name="connsiteX9" fmla="*/ 9660 w 9659"/>
                  <a:gd name="connsiteY9" fmla="*/ 6614 h 22311"/>
                  <a:gd name="connsiteX10" fmla="*/ 9660 w 9659"/>
                  <a:gd name="connsiteY10" fmla="*/ 9358 h 22311"/>
                  <a:gd name="connsiteX11" fmla="*/ 5351 w 9659"/>
                  <a:gd name="connsiteY11" fmla="*/ 12404 h 22311"/>
                  <a:gd name="connsiteX12" fmla="*/ 3897 w 9659"/>
                  <a:gd name="connsiteY12" fmla="*/ 22037 h 2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59" h="22311">
                    <a:moveTo>
                      <a:pt x="3897" y="22037"/>
                    </a:moveTo>
                    <a:lnTo>
                      <a:pt x="2964" y="22311"/>
                    </a:lnTo>
                    <a:lnTo>
                      <a:pt x="0" y="18414"/>
                    </a:lnTo>
                    <a:lnTo>
                      <a:pt x="3622" y="14023"/>
                    </a:lnTo>
                    <a:lnTo>
                      <a:pt x="2085" y="5324"/>
                    </a:lnTo>
                    <a:lnTo>
                      <a:pt x="2909" y="5324"/>
                    </a:lnTo>
                    <a:lnTo>
                      <a:pt x="1921" y="1592"/>
                    </a:lnTo>
                    <a:lnTo>
                      <a:pt x="6202" y="0"/>
                    </a:lnTo>
                    <a:lnTo>
                      <a:pt x="8672" y="1290"/>
                    </a:lnTo>
                    <a:lnTo>
                      <a:pt x="9660" y="6614"/>
                    </a:lnTo>
                    <a:lnTo>
                      <a:pt x="9660" y="9358"/>
                    </a:lnTo>
                    <a:lnTo>
                      <a:pt x="5351" y="12404"/>
                    </a:lnTo>
                    <a:lnTo>
                      <a:pt x="3897" y="220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4" name="Freeform: Shape 3573">
                <a:extLst>
                  <a:ext uri="{FF2B5EF4-FFF2-40B4-BE49-F238E27FC236}">
                    <a16:creationId xmlns:a16="http://schemas.microsoft.com/office/drawing/2014/main" id="{2BF183E4-28B7-98DF-3E6F-F5EA6F544547}"/>
                  </a:ext>
                </a:extLst>
              </p:cNvPr>
              <p:cNvSpPr/>
              <p:nvPr/>
            </p:nvSpPr>
            <p:spPr>
              <a:xfrm>
                <a:off x="1123977" y="3759173"/>
                <a:ext cx="2599" cy="833"/>
              </a:xfrm>
              <a:custGeom>
                <a:avLst/>
                <a:gdLst>
                  <a:gd name="connsiteX0" fmla="*/ 3705 w 24918"/>
                  <a:gd name="connsiteY0" fmla="*/ 0 h 7986"/>
                  <a:gd name="connsiteX1" fmla="*/ 10127 w 24918"/>
                  <a:gd name="connsiteY1" fmla="*/ 2689 h 7986"/>
                  <a:gd name="connsiteX2" fmla="*/ 22860 w 24918"/>
                  <a:gd name="connsiteY2" fmla="*/ 1070 h 7986"/>
                  <a:gd name="connsiteX3" fmla="*/ 24918 w 24918"/>
                  <a:gd name="connsiteY3" fmla="*/ 5050 h 7986"/>
                  <a:gd name="connsiteX4" fmla="*/ 24314 w 24918"/>
                  <a:gd name="connsiteY4" fmla="*/ 5900 h 7986"/>
                  <a:gd name="connsiteX5" fmla="*/ 18881 w 24918"/>
                  <a:gd name="connsiteY5" fmla="*/ 3870 h 7986"/>
                  <a:gd name="connsiteX6" fmla="*/ 604 w 24918"/>
                  <a:gd name="connsiteY6" fmla="*/ 7986 h 7986"/>
                  <a:gd name="connsiteX7" fmla="*/ 0 w 24918"/>
                  <a:gd name="connsiteY7" fmla="*/ 7465 h 7986"/>
                  <a:gd name="connsiteX8" fmla="*/ 2936 w 24918"/>
                  <a:gd name="connsiteY8" fmla="*/ 4089 h 7986"/>
                  <a:gd name="connsiteX9" fmla="*/ 3732 w 24918"/>
                  <a:gd name="connsiteY9" fmla="*/ 0 h 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18" h="7986">
                    <a:moveTo>
                      <a:pt x="3705" y="0"/>
                    </a:moveTo>
                    <a:lnTo>
                      <a:pt x="10127" y="2689"/>
                    </a:lnTo>
                    <a:lnTo>
                      <a:pt x="22860" y="1070"/>
                    </a:lnTo>
                    <a:lnTo>
                      <a:pt x="24918" y="5050"/>
                    </a:lnTo>
                    <a:lnTo>
                      <a:pt x="24314" y="5900"/>
                    </a:lnTo>
                    <a:lnTo>
                      <a:pt x="18881" y="3870"/>
                    </a:lnTo>
                    <a:lnTo>
                      <a:pt x="604" y="7986"/>
                    </a:lnTo>
                    <a:lnTo>
                      <a:pt x="0" y="7465"/>
                    </a:lnTo>
                    <a:lnTo>
                      <a:pt x="2936" y="4089"/>
                    </a:lnTo>
                    <a:lnTo>
                      <a:pt x="3732"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5" name="Freeform: Shape 3574">
                <a:extLst>
                  <a:ext uri="{FF2B5EF4-FFF2-40B4-BE49-F238E27FC236}">
                    <a16:creationId xmlns:a16="http://schemas.microsoft.com/office/drawing/2014/main" id="{99D666E1-EC52-8C52-9386-BA5C8C30B9EB}"/>
                  </a:ext>
                </a:extLst>
              </p:cNvPr>
              <p:cNvSpPr/>
              <p:nvPr/>
            </p:nvSpPr>
            <p:spPr>
              <a:xfrm>
                <a:off x="1140979" y="3773728"/>
                <a:ext cx="1314" cy="578"/>
              </a:xfrm>
              <a:custGeom>
                <a:avLst/>
                <a:gdLst>
                  <a:gd name="connsiteX0" fmla="*/ 8013 w 12596"/>
                  <a:gd name="connsiteY0" fmla="*/ 1839 h 5543"/>
                  <a:gd name="connsiteX1" fmla="*/ 12596 w 12596"/>
                  <a:gd name="connsiteY1" fmla="*/ 3870 h 5543"/>
                  <a:gd name="connsiteX2" fmla="*/ 11032 w 12596"/>
                  <a:gd name="connsiteY2" fmla="*/ 5544 h 5543"/>
                  <a:gd name="connsiteX3" fmla="*/ 8480 w 12596"/>
                  <a:gd name="connsiteY3" fmla="*/ 3293 h 5543"/>
                  <a:gd name="connsiteX4" fmla="*/ 4171 w 12596"/>
                  <a:gd name="connsiteY4" fmla="*/ 2992 h 5543"/>
                  <a:gd name="connsiteX5" fmla="*/ 2827 w 12596"/>
                  <a:gd name="connsiteY5" fmla="*/ 4007 h 5543"/>
                  <a:gd name="connsiteX6" fmla="*/ 0 w 12596"/>
                  <a:gd name="connsiteY6" fmla="*/ 2442 h 5543"/>
                  <a:gd name="connsiteX7" fmla="*/ 686 w 12596"/>
                  <a:gd name="connsiteY7" fmla="*/ 0 h 5543"/>
                  <a:gd name="connsiteX8" fmla="*/ 5955 w 12596"/>
                  <a:gd name="connsiteY8" fmla="*/ 1811 h 5543"/>
                  <a:gd name="connsiteX9" fmla="*/ 7986 w 12596"/>
                  <a:gd name="connsiteY9" fmla="*/ 1811 h 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96" h="5543">
                    <a:moveTo>
                      <a:pt x="8013" y="1839"/>
                    </a:moveTo>
                    <a:lnTo>
                      <a:pt x="12596" y="3870"/>
                    </a:lnTo>
                    <a:lnTo>
                      <a:pt x="11032" y="5544"/>
                    </a:lnTo>
                    <a:lnTo>
                      <a:pt x="8480" y="3293"/>
                    </a:lnTo>
                    <a:lnTo>
                      <a:pt x="4171" y="2992"/>
                    </a:lnTo>
                    <a:lnTo>
                      <a:pt x="2827" y="4007"/>
                    </a:lnTo>
                    <a:lnTo>
                      <a:pt x="0" y="2442"/>
                    </a:lnTo>
                    <a:lnTo>
                      <a:pt x="686" y="0"/>
                    </a:lnTo>
                    <a:lnTo>
                      <a:pt x="5955" y="1811"/>
                    </a:lnTo>
                    <a:lnTo>
                      <a:pt x="7986"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6" name="Freeform: Shape 3575">
                <a:extLst>
                  <a:ext uri="{FF2B5EF4-FFF2-40B4-BE49-F238E27FC236}">
                    <a16:creationId xmlns:a16="http://schemas.microsoft.com/office/drawing/2014/main" id="{DC95BAB8-10A9-2CDE-6E06-1DA7C6CE22ED}"/>
                  </a:ext>
                </a:extLst>
              </p:cNvPr>
              <p:cNvSpPr/>
              <p:nvPr/>
            </p:nvSpPr>
            <p:spPr>
              <a:xfrm>
                <a:off x="1137373" y="3772566"/>
                <a:ext cx="910" cy="518"/>
              </a:xfrm>
              <a:custGeom>
                <a:avLst/>
                <a:gdLst>
                  <a:gd name="connsiteX0" fmla="*/ 2881 w 8726"/>
                  <a:gd name="connsiteY0" fmla="*/ 0 h 4967"/>
                  <a:gd name="connsiteX1" fmla="*/ 5626 w 8726"/>
                  <a:gd name="connsiteY1" fmla="*/ 2470 h 4967"/>
                  <a:gd name="connsiteX2" fmla="*/ 7519 w 8726"/>
                  <a:gd name="connsiteY2" fmla="*/ 2113 h 4967"/>
                  <a:gd name="connsiteX3" fmla="*/ 8727 w 8726"/>
                  <a:gd name="connsiteY3" fmla="*/ 3622 h 4967"/>
                  <a:gd name="connsiteX4" fmla="*/ 3842 w 8726"/>
                  <a:gd name="connsiteY4" fmla="*/ 4967 h 4967"/>
                  <a:gd name="connsiteX5" fmla="*/ 1592 w 8726"/>
                  <a:gd name="connsiteY5" fmla="*/ 3238 h 4967"/>
                  <a:gd name="connsiteX6" fmla="*/ 0 w 8726"/>
                  <a:gd name="connsiteY6" fmla="*/ 0 h 4967"/>
                  <a:gd name="connsiteX7" fmla="*/ 2881 w 8726"/>
                  <a:gd name="connsiteY7" fmla="*/ 0 h 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26" h="4967">
                    <a:moveTo>
                      <a:pt x="2881" y="0"/>
                    </a:moveTo>
                    <a:lnTo>
                      <a:pt x="5626" y="2470"/>
                    </a:lnTo>
                    <a:lnTo>
                      <a:pt x="7519" y="2113"/>
                    </a:lnTo>
                    <a:lnTo>
                      <a:pt x="8727" y="3622"/>
                    </a:lnTo>
                    <a:lnTo>
                      <a:pt x="3842" y="4967"/>
                    </a:lnTo>
                    <a:lnTo>
                      <a:pt x="1592" y="3238"/>
                    </a:lnTo>
                    <a:lnTo>
                      <a:pt x="0" y="0"/>
                    </a:lnTo>
                    <a:lnTo>
                      <a:pt x="2881"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7" name="Freeform: Shape 3576">
                <a:extLst>
                  <a:ext uri="{FF2B5EF4-FFF2-40B4-BE49-F238E27FC236}">
                    <a16:creationId xmlns:a16="http://schemas.microsoft.com/office/drawing/2014/main" id="{DD7415CF-0FD7-944F-08D0-F0AA4E6D2BC3}"/>
                  </a:ext>
                </a:extLst>
              </p:cNvPr>
              <p:cNvSpPr/>
              <p:nvPr/>
            </p:nvSpPr>
            <p:spPr>
              <a:xfrm>
                <a:off x="1135320" y="3771610"/>
                <a:ext cx="529" cy="810"/>
              </a:xfrm>
              <a:custGeom>
                <a:avLst/>
                <a:gdLst>
                  <a:gd name="connsiteX0" fmla="*/ 5077 w 5076"/>
                  <a:gd name="connsiteY0" fmla="*/ 6751 h 7766"/>
                  <a:gd name="connsiteX1" fmla="*/ 4199 w 5076"/>
                  <a:gd name="connsiteY1" fmla="*/ 7766 h 7766"/>
                  <a:gd name="connsiteX2" fmla="*/ 2388 w 5076"/>
                  <a:gd name="connsiteY2" fmla="*/ 3403 h 7766"/>
                  <a:gd name="connsiteX3" fmla="*/ 0 w 5076"/>
                  <a:gd name="connsiteY3" fmla="*/ 55 h 7766"/>
                  <a:gd name="connsiteX4" fmla="*/ 1921 w 5076"/>
                  <a:gd name="connsiteY4" fmla="*/ 0 h 7766"/>
                  <a:gd name="connsiteX5" fmla="*/ 4171 w 5076"/>
                  <a:gd name="connsiteY5" fmla="*/ 2799 h 7766"/>
                  <a:gd name="connsiteX6" fmla="*/ 5049 w 5076"/>
                  <a:gd name="connsiteY6" fmla="*/ 6778 h 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6" h="7766">
                    <a:moveTo>
                      <a:pt x="5077" y="6751"/>
                    </a:moveTo>
                    <a:lnTo>
                      <a:pt x="4199" y="7766"/>
                    </a:lnTo>
                    <a:lnTo>
                      <a:pt x="2388" y="3403"/>
                    </a:lnTo>
                    <a:lnTo>
                      <a:pt x="0" y="55"/>
                    </a:lnTo>
                    <a:lnTo>
                      <a:pt x="1921" y="0"/>
                    </a:lnTo>
                    <a:lnTo>
                      <a:pt x="4171" y="2799"/>
                    </a:lnTo>
                    <a:lnTo>
                      <a:pt x="5049" y="67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8" name="Freeform: Shape 3577">
                <a:extLst>
                  <a:ext uri="{FF2B5EF4-FFF2-40B4-BE49-F238E27FC236}">
                    <a16:creationId xmlns:a16="http://schemas.microsoft.com/office/drawing/2014/main" id="{AFF49E0C-3F66-66BB-80FD-57621C5B2507}"/>
                  </a:ext>
                </a:extLst>
              </p:cNvPr>
              <p:cNvSpPr/>
              <p:nvPr/>
            </p:nvSpPr>
            <p:spPr>
              <a:xfrm>
                <a:off x="1127792" y="3759125"/>
                <a:ext cx="547" cy="698"/>
              </a:xfrm>
              <a:custGeom>
                <a:avLst/>
                <a:gdLst>
                  <a:gd name="connsiteX0" fmla="*/ 5242 w 5241"/>
                  <a:gd name="connsiteY0" fmla="*/ 5187 h 6695"/>
                  <a:gd name="connsiteX1" fmla="*/ 4501 w 5241"/>
                  <a:gd name="connsiteY1" fmla="*/ 6696 h 6695"/>
                  <a:gd name="connsiteX2" fmla="*/ 1482 w 5241"/>
                  <a:gd name="connsiteY2" fmla="*/ 5927 h 6695"/>
                  <a:gd name="connsiteX3" fmla="*/ 0 w 5241"/>
                  <a:gd name="connsiteY3" fmla="*/ 0 h 6695"/>
                  <a:gd name="connsiteX4" fmla="*/ 1400 w 5241"/>
                  <a:gd name="connsiteY4" fmla="*/ 0 h 6695"/>
                  <a:gd name="connsiteX5" fmla="*/ 5242 w 5241"/>
                  <a:gd name="connsiteY5" fmla="*/ 5214 h 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41" h="6695">
                    <a:moveTo>
                      <a:pt x="5242" y="5187"/>
                    </a:moveTo>
                    <a:lnTo>
                      <a:pt x="4501" y="6696"/>
                    </a:lnTo>
                    <a:lnTo>
                      <a:pt x="1482" y="5927"/>
                    </a:lnTo>
                    <a:lnTo>
                      <a:pt x="0" y="0"/>
                    </a:lnTo>
                    <a:lnTo>
                      <a:pt x="1400" y="0"/>
                    </a:lnTo>
                    <a:lnTo>
                      <a:pt x="5242" y="52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79" name="Freeform: Shape 3578">
                <a:extLst>
                  <a:ext uri="{FF2B5EF4-FFF2-40B4-BE49-F238E27FC236}">
                    <a16:creationId xmlns:a16="http://schemas.microsoft.com/office/drawing/2014/main" id="{F9BDB83A-7BA3-0B4E-B548-443D3183EC31}"/>
                  </a:ext>
                </a:extLst>
              </p:cNvPr>
              <p:cNvSpPr/>
              <p:nvPr/>
            </p:nvSpPr>
            <p:spPr>
              <a:xfrm>
                <a:off x="1127160" y="3758572"/>
                <a:ext cx="647" cy="541"/>
              </a:xfrm>
              <a:custGeom>
                <a:avLst/>
                <a:gdLst>
                  <a:gd name="connsiteX0" fmla="*/ 4775 w 6202"/>
                  <a:gd name="connsiteY0" fmla="*/ 2003 h 5186"/>
                  <a:gd name="connsiteX1" fmla="*/ 6202 w 6202"/>
                  <a:gd name="connsiteY1" fmla="*/ 5077 h 5186"/>
                  <a:gd name="connsiteX2" fmla="*/ 4199 w 6202"/>
                  <a:gd name="connsiteY2" fmla="*/ 5187 h 5186"/>
                  <a:gd name="connsiteX3" fmla="*/ 3595 w 6202"/>
                  <a:gd name="connsiteY3" fmla="*/ 3074 h 5186"/>
                  <a:gd name="connsiteX4" fmla="*/ 1756 w 6202"/>
                  <a:gd name="connsiteY4" fmla="*/ 3458 h 5186"/>
                  <a:gd name="connsiteX5" fmla="*/ 0 w 6202"/>
                  <a:gd name="connsiteY5" fmla="*/ 2113 h 5186"/>
                  <a:gd name="connsiteX6" fmla="*/ 3046 w 6202"/>
                  <a:gd name="connsiteY6" fmla="*/ 0 h 5186"/>
                  <a:gd name="connsiteX7" fmla="*/ 4775 w 6202"/>
                  <a:gd name="connsiteY7" fmla="*/ 2003 h 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02" h="5186">
                    <a:moveTo>
                      <a:pt x="4775" y="2003"/>
                    </a:moveTo>
                    <a:lnTo>
                      <a:pt x="6202" y="5077"/>
                    </a:lnTo>
                    <a:lnTo>
                      <a:pt x="4199" y="5187"/>
                    </a:lnTo>
                    <a:lnTo>
                      <a:pt x="3595" y="3074"/>
                    </a:lnTo>
                    <a:lnTo>
                      <a:pt x="1756" y="3458"/>
                    </a:lnTo>
                    <a:lnTo>
                      <a:pt x="0" y="2113"/>
                    </a:lnTo>
                    <a:lnTo>
                      <a:pt x="3046" y="0"/>
                    </a:lnTo>
                    <a:lnTo>
                      <a:pt x="4775" y="20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0" name="Freeform: Shape 3579">
                <a:extLst>
                  <a:ext uri="{FF2B5EF4-FFF2-40B4-BE49-F238E27FC236}">
                    <a16:creationId xmlns:a16="http://schemas.microsoft.com/office/drawing/2014/main" id="{5653B070-82DD-1E05-185D-A82B5FB76448}"/>
                  </a:ext>
                </a:extLst>
              </p:cNvPr>
              <p:cNvSpPr/>
              <p:nvPr/>
            </p:nvSpPr>
            <p:spPr>
              <a:xfrm>
                <a:off x="1133050" y="3766246"/>
                <a:ext cx="538" cy="627"/>
              </a:xfrm>
              <a:custGeom>
                <a:avLst/>
                <a:gdLst>
                  <a:gd name="connsiteX0" fmla="*/ 5159 w 5159"/>
                  <a:gd name="connsiteY0" fmla="*/ 3979 h 6009"/>
                  <a:gd name="connsiteX1" fmla="*/ 4638 w 5159"/>
                  <a:gd name="connsiteY1" fmla="*/ 6010 h 6009"/>
                  <a:gd name="connsiteX2" fmla="*/ 1345 w 5159"/>
                  <a:gd name="connsiteY2" fmla="*/ 5735 h 6009"/>
                  <a:gd name="connsiteX3" fmla="*/ 2470 w 5159"/>
                  <a:gd name="connsiteY3" fmla="*/ 2964 h 6009"/>
                  <a:gd name="connsiteX4" fmla="*/ 0 w 5159"/>
                  <a:gd name="connsiteY4" fmla="*/ 823 h 6009"/>
                  <a:gd name="connsiteX5" fmla="*/ 1564 w 5159"/>
                  <a:gd name="connsiteY5" fmla="*/ 0 h 6009"/>
                  <a:gd name="connsiteX6" fmla="*/ 5159 w 5159"/>
                  <a:gd name="connsiteY6" fmla="*/ 3979 h 6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9" h="6009">
                    <a:moveTo>
                      <a:pt x="5159" y="3979"/>
                    </a:moveTo>
                    <a:lnTo>
                      <a:pt x="4638" y="6010"/>
                    </a:lnTo>
                    <a:lnTo>
                      <a:pt x="1345" y="5735"/>
                    </a:lnTo>
                    <a:lnTo>
                      <a:pt x="2470" y="2964"/>
                    </a:lnTo>
                    <a:lnTo>
                      <a:pt x="0" y="823"/>
                    </a:lnTo>
                    <a:lnTo>
                      <a:pt x="1564" y="0"/>
                    </a:lnTo>
                    <a:lnTo>
                      <a:pt x="5159" y="39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1" name="Freeform: Shape 3580">
                <a:extLst>
                  <a:ext uri="{FF2B5EF4-FFF2-40B4-BE49-F238E27FC236}">
                    <a16:creationId xmlns:a16="http://schemas.microsoft.com/office/drawing/2014/main" id="{2424104E-5D30-E86D-1C38-15DBDB70D445}"/>
                  </a:ext>
                </a:extLst>
              </p:cNvPr>
              <p:cNvSpPr/>
              <p:nvPr/>
            </p:nvSpPr>
            <p:spPr>
              <a:xfrm>
                <a:off x="1138246" y="3772835"/>
                <a:ext cx="587" cy="535"/>
              </a:xfrm>
              <a:custGeom>
                <a:avLst/>
                <a:gdLst>
                  <a:gd name="connsiteX0" fmla="*/ 5022 w 5625"/>
                  <a:gd name="connsiteY0" fmla="*/ 467 h 5131"/>
                  <a:gd name="connsiteX1" fmla="*/ 5626 w 5625"/>
                  <a:gd name="connsiteY1" fmla="*/ 5132 h 5131"/>
                  <a:gd name="connsiteX2" fmla="*/ 3568 w 5625"/>
                  <a:gd name="connsiteY2" fmla="*/ 4171 h 5131"/>
                  <a:gd name="connsiteX3" fmla="*/ 1784 w 5625"/>
                  <a:gd name="connsiteY3" fmla="*/ 4611 h 5131"/>
                  <a:gd name="connsiteX4" fmla="*/ 0 w 5625"/>
                  <a:gd name="connsiteY4" fmla="*/ 3430 h 5131"/>
                  <a:gd name="connsiteX5" fmla="*/ 2689 w 5625"/>
                  <a:gd name="connsiteY5" fmla="*/ 0 h 5131"/>
                  <a:gd name="connsiteX6" fmla="*/ 4995 w 5625"/>
                  <a:gd name="connsiteY6" fmla="*/ 494 h 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5" h="5131">
                    <a:moveTo>
                      <a:pt x="5022" y="467"/>
                    </a:moveTo>
                    <a:lnTo>
                      <a:pt x="5626" y="5132"/>
                    </a:lnTo>
                    <a:lnTo>
                      <a:pt x="3568" y="4171"/>
                    </a:lnTo>
                    <a:lnTo>
                      <a:pt x="1784" y="4611"/>
                    </a:lnTo>
                    <a:lnTo>
                      <a:pt x="0" y="3430"/>
                    </a:lnTo>
                    <a:lnTo>
                      <a:pt x="2689" y="0"/>
                    </a:lnTo>
                    <a:lnTo>
                      <a:pt x="4995" y="4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2" name="Freeform: Shape 3581">
                <a:extLst>
                  <a:ext uri="{FF2B5EF4-FFF2-40B4-BE49-F238E27FC236}">
                    <a16:creationId xmlns:a16="http://schemas.microsoft.com/office/drawing/2014/main" id="{CEEF1FA0-348B-468F-3CC5-D2F108E2C90C}"/>
                  </a:ext>
                </a:extLst>
              </p:cNvPr>
              <p:cNvSpPr/>
              <p:nvPr/>
            </p:nvSpPr>
            <p:spPr>
              <a:xfrm>
                <a:off x="1133749" y="3767729"/>
                <a:ext cx="630" cy="472"/>
              </a:xfrm>
              <a:custGeom>
                <a:avLst/>
                <a:gdLst>
                  <a:gd name="connsiteX0" fmla="*/ 6037 w 6037"/>
                  <a:gd name="connsiteY0" fmla="*/ 3156 h 4528"/>
                  <a:gd name="connsiteX1" fmla="*/ 1317 w 6037"/>
                  <a:gd name="connsiteY1" fmla="*/ 4528 h 4528"/>
                  <a:gd name="connsiteX2" fmla="*/ 0 w 6037"/>
                  <a:gd name="connsiteY2" fmla="*/ 3677 h 4528"/>
                  <a:gd name="connsiteX3" fmla="*/ 4501 w 6037"/>
                  <a:gd name="connsiteY3" fmla="*/ 0 h 4528"/>
                  <a:gd name="connsiteX4" fmla="*/ 6037 w 6037"/>
                  <a:gd name="connsiteY4" fmla="*/ 3156 h 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7" h="4528">
                    <a:moveTo>
                      <a:pt x="6037" y="3156"/>
                    </a:moveTo>
                    <a:lnTo>
                      <a:pt x="1317" y="4528"/>
                    </a:lnTo>
                    <a:lnTo>
                      <a:pt x="0" y="3677"/>
                    </a:lnTo>
                    <a:lnTo>
                      <a:pt x="4501" y="0"/>
                    </a:lnTo>
                    <a:lnTo>
                      <a:pt x="6037"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3" name="Freeform: Shape 3582">
                <a:extLst>
                  <a:ext uri="{FF2B5EF4-FFF2-40B4-BE49-F238E27FC236}">
                    <a16:creationId xmlns:a16="http://schemas.microsoft.com/office/drawing/2014/main" id="{88F2FB27-CCEE-E247-0B6F-E64EE43E8023}"/>
                  </a:ext>
                </a:extLst>
              </p:cNvPr>
              <p:cNvSpPr/>
              <p:nvPr/>
            </p:nvSpPr>
            <p:spPr>
              <a:xfrm>
                <a:off x="1138057" y="3773703"/>
                <a:ext cx="590" cy="481"/>
              </a:xfrm>
              <a:custGeom>
                <a:avLst/>
                <a:gdLst>
                  <a:gd name="connsiteX0" fmla="*/ 5626 w 5653"/>
                  <a:gd name="connsiteY0" fmla="*/ 631 h 4610"/>
                  <a:gd name="connsiteX1" fmla="*/ 3403 w 5653"/>
                  <a:gd name="connsiteY1" fmla="*/ 4611 h 4610"/>
                  <a:gd name="connsiteX2" fmla="*/ 0 w 5653"/>
                  <a:gd name="connsiteY2" fmla="*/ 4556 h 4610"/>
                  <a:gd name="connsiteX3" fmla="*/ 466 w 5653"/>
                  <a:gd name="connsiteY3" fmla="*/ 2223 h 4610"/>
                  <a:gd name="connsiteX4" fmla="*/ 3156 w 5653"/>
                  <a:gd name="connsiteY4" fmla="*/ 1619 h 4610"/>
                  <a:gd name="connsiteX5" fmla="*/ 3540 w 5653"/>
                  <a:gd name="connsiteY5" fmla="*/ 0 h 4610"/>
                  <a:gd name="connsiteX6" fmla="*/ 5653 w 5653"/>
                  <a:gd name="connsiteY6" fmla="*/ 631 h 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3" h="4610">
                    <a:moveTo>
                      <a:pt x="5626" y="631"/>
                    </a:moveTo>
                    <a:lnTo>
                      <a:pt x="3403" y="4611"/>
                    </a:lnTo>
                    <a:lnTo>
                      <a:pt x="0" y="4556"/>
                    </a:lnTo>
                    <a:lnTo>
                      <a:pt x="466" y="2223"/>
                    </a:lnTo>
                    <a:lnTo>
                      <a:pt x="3156" y="1619"/>
                    </a:lnTo>
                    <a:lnTo>
                      <a:pt x="3540" y="0"/>
                    </a:lnTo>
                    <a:lnTo>
                      <a:pt x="5653" y="6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4" name="Freeform: Shape 3583">
                <a:extLst>
                  <a:ext uri="{FF2B5EF4-FFF2-40B4-BE49-F238E27FC236}">
                    <a16:creationId xmlns:a16="http://schemas.microsoft.com/office/drawing/2014/main" id="{6FF18569-66E1-3774-FCC4-85070BC408E4}"/>
                  </a:ext>
                </a:extLst>
              </p:cNvPr>
              <p:cNvSpPr/>
              <p:nvPr/>
            </p:nvSpPr>
            <p:spPr>
              <a:xfrm>
                <a:off x="1141219" y="3776694"/>
                <a:ext cx="512" cy="464"/>
              </a:xfrm>
              <a:custGeom>
                <a:avLst/>
                <a:gdLst>
                  <a:gd name="connsiteX0" fmla="*/ 4912 w 4912"/>
                  <a:gd name="connsiteY0" fmla="*/ 1701 h 4445"/>
                  <a:gd name="connsiteX1" fmla="*/ 768 w 4912"/>
                  <a:gd name="connsiteY1" fmla="*/ 4446 h 4445"/>
                  <a:gd name="connsiteX2" fmla="*/ 0 w 4912"/>
                  <a:gd name="connsiteY2" fmla="*/ 1701 h 4445"/>
                  <a:gd name="connsiteX3" fmla="*/ 2470 w 4912"/>
                  <a:gd name="connsiteY3" fmla="*/ 0 h 4445"/>
                  <a:gd name="connsiteX4" fmla="*/ 4912 w 4912"/>
                  <a:gd name="connsiteY4" fmla="*/ 1701 h 4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 h="4445">
                    <a:moveTo>
                      <a:pt x="4912" y="1701"/>
                    </a:moveTo>
                    <a:lnTo>
                      <a:pt x="768" y="4446"/>
                    </a:lnTo>
                    <a:lnTo>
                      <a:pt x="0" y="1701"/>
                    </a:lnTo>
                    <a:lnTo>
                      <a:pt x="2470" y="0"/>
                    </a:lnTo>
                    <a:lnTo>
                      <a:pt x="4912"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5" name="Freeform: Shape 3584">
                <a:extLst>
                  <a:ext uri="{FF2B5EF4-FFF2-40B4-BE49-F238E27FC236}">
                    <a16:creationId xmlns:a16="http://schemas.microsoft.com/office/drawing/2014/main" id="{A27F52C1-01DF-0D8F-C830-4A93E123CB45}"/>
                  </a:ext>
                </a:extLst>
              </p:cNvPr>
              <p:cNvSpPr/>
              <p:nvPr/>
            </p:nvSpPr>
            <p:spPr>
              <a:xfrm>
                <a:off x="1136706" y="3768170"/>
                <a:ext cx="361" cy="627"/>
              </a:xfrm>
              <a:custGeom>
                <a:avLst/>
                <a:gdLst>
                  <a:gd name="connsiteX0" fmla="*/ 3458 w 3457"/>
                  <a:gd name="connsiteY0" fmla="*/ 1838 h 6009"/>
                  <a:gd name="connsiteX1" fmla="*/ 2031 w 3457"/>
                  <a:gd name="connsiteY1" fmla="*/ 6010 h 6009"/>
                  <a:gd name="connsiteX2" fmla="*/ 0 w 3457"/>
                  <a:gd name="connsiteY2" fmla="*/ 4857 h 6009"/>
                  <a:gd name="connsiteX3" fmla="*/ 1290 w 3457"/>
                  <a:gd name="connsiteY3" fmla="*/ 110 h 6009"/>
                  <a:gd name="connsiteX4" fmla="*/ 2827 w 3457"/>
                  <a:gd name="connsiteY4" fmla="*/ 0 h 6009"/>
                  <a:gd name="connsiteX5" fmla="*/ 3458 w 3457"/>
                  <a:gd name="connsiteY5" fmla="*/ 1838 h 6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7" h="6009">
                    <a:moveTo>
                      <a:pt x="3458" y="1838"/>
                    </a:moveTo>
                    <a:lnTo>
                      <a:pt x="2031" y="6010"/>
                    </a:lnTo>
                    <a:lnTo>
                      <a:pt x="0" y="4857"/>
                    </a:lnTo>
                    <a:lnTo>
                      <a:pt x="1290" y="110"/>
                    </a:lnTo>
                    <a:lnTo>
                      <a:pt x="2827" y="0"/>
                    </a:lnTo>
                    <a:lnTo>
                      <a:pt x="3458"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6" name="Freeform: Shape 3585">
                <a:extLst>
                  <a:ext uri="{FF2B5EF4-FFF2-40B4-BE49-F238E27FC236}">
                    <a16:creationId xmlns:a16="http://schemas.microsoft.com/office/drawing/2014/main" id="{375CB753-1A3B-0CE8-2986-204ABBD8AB3C}"/>
                  </a:ext>
                </a:extLst>
              </p:cNvPr>
              <p:cNvSpPr/>
              <p:nvPr/>
            </p:nvSpPr>
            <p:spPr>
              <a:xfrm>
                <a:off x="1127595" y="3764975"/>
                <a:ext cx="733" cy="289"/>
              </a:xfrm>
              <a:custGeom>
                <a:avLst/>
                <a:gdLst>
                  <a:gd name="connsiteX0" fmla="*/ 3897 w 7025"/>
                  <a:gd name="connsiteY0" fmla="*/ 2772 h 2771"/>
                  <a:gd name="connsiteX1" fmla="*/ 1372 w 7025"/>
                  <a:gd name="connsiteY1" fmla="*/ 2772 h 2771"/>
                  <a:gd name="connsiteX2" fmla="*/ 0 w 7025"/>
                  <a:gd name="connsiteY2" fmla="*/ 1235 h 2771"/>
                  <a:gd name="connsiteX3" fmla="*/ 1262 w 7025"/>
                  <a:gd name="connsiteY3" fmla="*/ 137 h 2771"/>
                  <a:gd name="connsiteX4" fmla="*/ 6971 w 7025"/>
                  <a:gd name="connsiteY4" fmla="*/ 0 h 2771"/>
                  <a:gd name="connsiteX5" fmla="*/ 7025 w 7025"/>
                  <a:gd name="connsiteY5" fmla="*/ 1482 h 2771"/>
                  <a:gd name="connsiteX6" fmla="*/ 3897 w 7025"/>
                  <a:gd name="connsiteY6" fmla="*/ 2772 h 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5" h="2771">
                    <a:moveTo>
                      <a:pt x="3897" y="2772"/>
                    </a:moveTo>
                    <a:lnTo>
                      <a:pt x="1372" y="2772"/>
                    </a:lnTo>
                    <a:cubicBezTo>
                      <a:pt x="1372" y="2772"/>
                      <a:pt x="0" y="1235"/>
                      <a:pt x="0" y="1235"/>
                    </a:cubicBezTo>
                    <a:lnTo>
                      <a:pt x="1262" y="137"/>
                    </a:lnTo>
                    <a:lnTo>
                      <a:pt x="6971" y="0"/>
                    </a:lnTo>
                    <a:lnTo>
                      <a:pt x="7025" y="1482"/>
                    </a:lnTo>
                    <a:lnTo>
                      <a:pt x="3897"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7" name="Freeform: Shape 3586">
                <a:extLst>
                  <a:ext uri="{FF2B5EF4-FFF2-40B4-BE49-F238E27FC236}">
                    <a16:creationId xmlns:a16="http://schemas.microsoft.com/office/drawing/2014/main" id="{7F1BB975-DBD0-0946-9EC1-02E6DD7C7303}"/>
                  </a:ext>
                </a:extLst>
              </p:cNvPr>
              <p:cNvSpPr/>
              <p:nvPr/>
            </p:nvSpPr>
            <p:spPr>
              <a:xfrm>
                <a:off x="1126413" y="3763524"/>
                <a:ext cx="412" cy="484"/>
              </a:xfrm>
              <a:custGeom>
                <a:avLst/>
                <a:gdLst>
                  <a:gd name="connsiteX0" fmla="*/ 3952 w 3951"/>
                  <a:gd name="connsiteY0" fmla="*/ 2991 h 4637"/>
                  <a:gd name="connsiteX1" fmla="*/ 2470 w 3951"/>
                  <a:gd name="connsiteY1" fmla="*/ 4638 h 4637"/>
                  <a:gd name="connsiteX2" fmla="*/ 0 w 3951"/>
                  <a:gd name="connsiteY2" fmla="*/ 2909 h 4637"/>
                  <a:gd name="connsiteX3" fmla="*/ 1482 w 3951"/>
                  <a:gd name="connsiteY3" fmla="*/ 0 h 4637"/>
                  <a:gd name="connsiteX4" fmla="*/ 2689 w 3951"/>
                  <a:gd name="connsiteY4" fmla="*/ 2552 h 4637"/>
                  <a:gd name="connsiteX5" fmla="*/ 3952 w 3951"/>
                  <a:gd name="connsiteY5" fmla="*/ 2991 h 4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1" h="4637">
                    <a:moveTo>
                      <a:pt x="3952" y="2991"/>
                    </a:moveTo>
                    <a:lnTo>
                      <a:pt x="2470" y="4638"/>
                    </a:lnTo>
                    <a:lnTo>
                      <a:pt x="0" y="2909"/>
                    </a:lnTo>
                    <a:lnTo>
                      <a:pt x="1482" y="0"/>
                    </a:lnTo>
                    <a:lnTo>
                      <a:pt x="2689" y="2552"/>
                    </a:lnTo>
                    <a:lnTo>
                      <a:pt x="3952" y="29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8" name="Freeform: Shape 3587">
                <a:extLst>
                  <a:ext uri="{FF2B5EF4-FFF2-40B4-BE49-F238E27FC236}">
                    <a16:creationId xmlns:a16="http://schemas.microsoft.com/office/drawing/2014/main" id="{077036B0-CFA9-1390-0303-C425FC8D404B}"/>
                  </a:ext>
                </a:extLst>
              </p:cNvPr>
              <p:cNvSpPr/>
              <p:nvPr/>
            </p:nvSpPr>
            <p:spPr>
              <a:xfrm>
                <a:off x="1121950" y="3762451"/>
                <a:ext cx="366" cy="524"/>
              </a:xfrm>
              <a:custGeom>
                <a:avLst/>
                <a:gdLst>
                  <a:gd name="connsiteX0" fmla="*/ 3512 w 3512"/>
                  <a:gd name="connsiteY0" fmla="*/ 219 h 5021"/>
                  <a:gd name="connsiteX1" fmla="*/ 1866 w 3512"/>
                  <a:gd name="connsiteY1" fmla="*/ 5022 h 5021"/>
                  <a:gd name="connsiteX2" fmla="*/ 0 w 3512"/>
                  <a:gd name="connsiteY2" fmla="*/ 4912 h 5021"/>
                  <a:gd name="connsiteX3" fmla="*/ 2360 w 3512"/>
                  <a:gd name="connsiteY3" fmla="*/ 0 h 5021"/>
                  <a:gd name="connsiteX4" fmla="*/ 3512 w 3512"/>
                  <a:gd name="connsiteY4" fmla="*/ 219 h 5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5021">
                    <a:moveTo>
                      <a:pt x="3512" y="219"/>
                    </a:moveTo>
                    <a:lnTo>
                      <a:pt x="1866" y="5022"/>
                    </a:lnTo>
                    <a:lnTo>
                      <a:pt x="0" y="4912"/>
                    </a:lnTo>
                    <a:lnTo>
                      <a:pt x="2360" y="0"/>
                    </a:lnTo>
                    <a:lnTo>
                      <a:pt x="3512" y="2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89" name="Freeform: Shape 3588">
                <a:extLst>
                  <a:ext uri="{FF2B5EF4-FFF2-40B4-BE49-F238E27FC236}">
                    <a16:creationId xmlns:a16="http://schemas.microsoft.com/office/drawing/2014/main" id="{FCE9525F-D542-262B-3B43-FF46FFDCF66C}"/>
                  </a:ext>
                </a:extLst>
              </p:cNvPr>
              <p:cNvSpPr/>
              <p:nvPr/>
            </p:nvSpPr>
            <p:spPr>
              <a:xfrm>
                <a:off x="1131098" y="3768456"/>
                <a:ext cx="352" cy="512"/>
              </a:xfrm>
              <a:custGeom>
                <a:avLst/>
                <a:gdLst>
                  <a:gd name="connsiteX0" fmla="*/ 2579 w 3375"/>
                  <a:gd name="connsiteY0" fmla="*/ 2278 h 4912"/>
                  <a:gd name="connsiteX1" fmla="*/ 3375 w 3375"/>
                  <a:gd name="connsiteY1" fmla="*/ 4912 h 4912"/>
                  <a:gd name="connsiteX2" fmla="*/ 1839 w 3375"/>
                  <a:gd name="connsiteY2" fmla="*/ 4391 h 4912"/>
                  <a:gd name="connsiteX3" fmla="*/ 0 w 3375"/>
                  <a:gd name="connsiteY3" fmla="*/ 2717 h 4912"/>
                  <a:gd name="connsiteX4" fmla="*/ 960 w 3375"/>
                  <a:gd name="connsiteY4" fmla="*/ 0 h 4912"/>
                  <a:gd name="connsiteX5" fmla="*/ 2579 w 3375"/>
                  <a:gd name="connsiteY5" fmla="*/ 2250 h 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5" h="4912">
                    <a:moveTo>
                      <a:pt x="2579" y="2278"/>
                    </a:moveTo>
                    <a:lnTo>
                      <a:pt x="3375" y="4912"/>
                    </a:lnTo>
                    <a:lnTo>
                      <a:pt x="1839" y="4391"/>
                    </a:lnTo>
                    <a:lnTo>
                      <a:pt x="0" y="2717"/>
                    </a:lnTo>
                    <a:lnTo>
                      <a:pt x="960" y="0"/>
                    </a:lnTo>
                    <a:lnTo>
                      <a:pt x="2579" y="22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0" name="Freeform: Shape 3589">
                <a:extLst>
                  <a:ext uri="{FF2B5EF4-FFF2-40B4-BE49-F238E27FC236}">
                    <a16:creationId xmlns:a16="http://schemas.microsoft.com/office/drawing/2014/main" id="{FFE5E7ED-0A6B-7CBC-43F2-60870E19F611}"/>
                  </a:ext>
                </a:extLst>
              </p:cNvPr>
              <p:cNvSpPr/>
              <p:nvPr/>
            </p:nvSpPr>
            <p:spPr>
              <a:xfrm>
                <a:off x="1131399" y="3765771"/>
                <a:ext cx="389" cy="444"/>
              </a:xfrm>
              <a:custGeom>
                <a:avLst/>
                <a:gdLst>
                  <a:gd name="connsiteX0" fmla="*/ 3732 w 3732"/>
                  <a:gd name="connsiteY0" fmla="*/ 714 h 4253"/>
                  <a:gd name="connsiteX1" fmla="*/ 1866 w 3732"/>
                  <a:gd name="connsiteY1" fmla="*/ 4253 h 4253"/>
                  <a:gd name="connsiteX2" fmla="*/ 0 w 3732"/>
                  <a:gd name="connsiteY2" fmla="*/ 2141 h 4253"/>
                  <a:gd name="connsiteX3" fmla="*/ 2333 w 3732"/>
                  <a:gd name="connsiteY3" fmla="*/ 0 h 4253"/>
                  <a:gd name="connsiteX4" fmla="*/ 3732 w 3732"/>
                  <a:gd name="connsiteY4" fmla="*/ 714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4253">
                    <a:moveTo>
                      <a:pt x="3732" y="714"/>
                    </a:moveTo>
                    <a:lnTo>
                      <a:pt x="1866" y="4253"/>
                    </a:lnTo>
                    <a:lnTo>
                      <a:pt x="0" y="2141"/>
                    </a:lnTo>
                    <a:lnTo>
                      <a:pt x="2333" y="0"/>
                    </a:lnTo>
                    <a:lnTo>
                      <a:pt x="3732" y="7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1" name="Freeform: Shape 3590">
                <a:extLst>
                  <a:ext uri="{FF2B5EF4-FFF2-40B4-BE49-F238E27FC236}">
                    <a16:creationId xmlns:a16="http://schemas.microsoft.com/office/drawing/2014/main" id="{B59D515A-BB9C-439C-E356-AFF39BD11F73}"/>
                  </a:ext>
                </a:extLst>
              </p:cNvPr>
              <p:cNvSpPr/>
              <p:nvPr/>
            </p:nvSpPr>
            <p:spPr>
              <a:xfrm>
                <a:off x="1132675" y="3770110"/>
                <a:ext cx="438" cy="389"/>
              </a:xfrm>
              <a:custGeom>
                <a:avLst/>
                <a:gdLst>
                  <a:gd name="connsiteX0" fmla="*/ 4199 w 4198"/>
                  <a:gd name="connsiteY0" fmla="*/ 1866 h 3732"/>
                  <a:gd name="connsiteX1" fmla="*/ 1893 w 4198"/>
                  <a:gd name="connsiteY1" fmla="*/ 3732 h 3732"/>
                  <a:gd name="connsiteX2" fmla="*/ 0 w 4198"/>
                  <a:gd name="connsiteY2" fmla="*/ 2250 h 3732"/>
                  <a:gd name="connsiteX3" fmla="*/ 3129 w 4198"/>
                  <a:gd name="connsiteY3" fmla="*/ 0 h 3732"/>
                  <a:gd name="connsiteX4" fmla="*/ 4199 w 4198"/>
                  <a:gd name="connsiteY4" fmla="*/ 1866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8" h="3732">
                    <a:moveTo>
                      <a:pt x="4199" y="1866"/>
                    </a:moveTo>
                    <a:lnTo>
                      <a:pt x="1893" y="3732"/>
                    </a:lnTo>
                    <a:lnTo>
                      <a:pt x="0" y="2250"/>
                    </a:lnTo>
                    <a:lnTo>
                      <a:pt x="3129" y="0"/>
                    </a:lnTo>
                    <a:lnTo>
                      <a:pt x="4199" y="18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2" name="Freeform: Shape 3591">
                <a:extLst>
                  <a:ext uri="{FF2B5EF4-FFF2-40B4-BE49-F238E27FC236}">
                    <a16:creationId xmlns:a16="http://schemas.microsoft.com/office/drawing/2014/main" id="{763DA4CB-F6D6-8DD7-EA90-9F63FECA9FC7}"/>
                  </a:ext>
                </a:extLst>
              </p:cNvPr>
              <p:cNvSpPr/>
              <p:nvPr/>
            </p:nvSpPr>
            <p:spPr>
              <a:xfrm>
                <a:off x="1129925" y="3763352"/>
                <a:ext cx="469" cy="366"/>
              </a:xfrm>
              <a:custGeom>
                <a:avLst/>
                <a:gdLst>
                  <a:gd name="connsiteX0" fmla="*/ 3732 w 4500"/>
                  <a:gd name="connsiteY0" fmla="*/ 27 h 3512"/>
                  <a:gd name="connsiteX1" fmla="*/ 4501 w 4500"/>
                  <a:gd name="connsiteY1" fmla="*/ 3513 h 3512"/>
                  <a:gd name="connsiteX2" fmla="*/ 0 w 4500"/>
                  <a:gd name="connsiteY2" fmla="*/ 2937 h 3512"/>
                  <a:gd name="connsiteX3" fmla="*/ 521 w 4500"/>
                  <a:gd name="connsiteY3" fmla="*/ 27 h 3512"/>
                  <a:gd name="connsiteX4" fmla="*/ 2223 w 4500"/>
                  <a:gd name="connsiteY4" fmla="*/ 1180 h 3512"/>
                  <a:gd name="connsiteX5" fmla="*/ 3760 w 4500"/>
                  <a:gd name="connsiteY5" fmla="*/ 0 h 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 h="3512">
                    <a:moveTo>
                      <a:pt x="3732" y="27"/>
                    </a:moveTo>
                    <a:lnTo>
                      <a:pt x="4501" y="3513"/>
                    </a:lnTo>
                    <a:lnTo>
                      <a:pt x="0" y="2937"/>
                    </a:lnTo>
                    <a:lnTo>
                      <a:pt x="521" y="27"/>
                    </a:lnTo>
                    <a:lnTo>
                      <a:pt x="2223" y="1180"/>
                    </a:lnTo>
                    <a:lnTo>
                      <a:pt x="376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3" name="Freeform: Shape 3592">
                <a:extLst>
                  <a:ext uri="{FF2B5EF4-FFF2-40B4-BE49-F238E27FC236}">
                    <a16:creationId xmlns:a16="http://schemas.microsoft.com/office/drawing/2014/main" id="{8656D195-E121-7282-60ED-79B1844B4654}"/>
                  </a:ext>
                </a:extLst>
              </p:cNvPr>
              <p:cNvSpPr/>
              <p:nvPr/>
            </p:nvSpPr>
            <p:spPr>
              <a:xfrm>
                <a:off x="1133142" y="3770245"/>
                <a:ext cx="358" cy="464"/>
              </a:xfrm>
              <a:custGeom>
                <a:avLst/>
                <a:gdLst>
                  <a:gd name="connsiteX0" fmla="*/ 3430 w 3430"/>
                  <a:gd name="connsiteY0" fmla="*/ 1372 h 4445"/>
                  <a:gd name="connsiteX1" fmla="*/ 467 w 3430"/>
                  <a:gd name="connsiteY1" fmla="*/ 4446 h 4445"/>
                  <a:gd name="connsiteX2" fmla="*/ 0 w 3430"/>
                  <a:gd name="connsiteY2" fmla="*/ 1180 h 4445"/>
                  <a:gd name="connsiteX3" fmla="*/ 1317 w 3430"/>
                  <a:gd name="connsiteY3" fmla="*/ 0 h 4445"/>
                  <a:gd name="connsiteX4" fmla="*/ 3403 w 3430"/>
                  <a:gd name="connsiteY4" fmla="*/ 1400 h 4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4445">
                    <a:moveTo>
                      <a:pt x="3430" y="1372"/>
                    </a:moveTo>
                    <a:lnTo>
                      <a:pt x="467" y="4446"/>
                    </a:lnTo>
                    <a:lnTo>
                      <a:pt x="0" y="1180"/>
                    </a:lnTo>
                    <a:lnTo>
                      <a:pt x="1317" y="0"/>
                    </a:lnTo>
                    <a:lnTo>
                      <a:pt x="3403" y="14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4" name="Freeform: Shape 3593">
                <a:extLst>
                  <a:ext uri="{FF2B5EF4-FFF2-40B4-BE49-F238E27FC236}">
                    <a16:creationId xmlns:a16="http://schemas.microsoft.com/office/drawing/2014/main" id="{9E5004BE-E508-C05B-0ABA-0021B2978DB9}"/>
                  </a:ext>
                </a:extLst>
              </p:cNvPr>
              <p:cNvSpPr/>
              <p:nvPr/>
            </p:nvSpPr>
            <p:spPr>
              <a:xfrm>
                <a:off x="1134825" y="3771024"/>
                <a:ext cx="300" cy="547"/>
              </a:xfrm>
              <a:custGeom>
                <a:avLst/>
                <a:gdLst>
                  <a:gd name="connsiteX0" fmla="*/ 2881 w 2881"/>
                  <a:gd name="connsiteY0" fmla="*/ 2827 h 5241"/>
                  <a:gd name="connsiteX1" fmla="*/ 1400 w 2881"/>
                  <a:gd name="connsiteY1" fmla="*/ 5242 h 5241"/>
                  <a:gd name="connsiteX2" fmla="*/ 0 w 2881"/>
                  <a:gd name="connsiteY2" fmla="*/ 2744 h 5241"/>
                  <a:gd name="connsiteX3" fmla="*/ 2442 w 2881"/>
                  <a:gd name="connsiteY3" fmla="*/ 0 h 5241"/>
                  <a:gd name="connsiteX4" fmla="*/ 2881 w 2881"/>
                  <a:gd name="connsiteY4" fmla="*/ 2827 h 5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1" h="5241">
                    <a:moveTo>
                      <a:pt x="2881" y="2827"/>
                    </a:moveTo>
                    <a:lnTo>
                      <a:pt x="1400" y="5242"/>
                    </a:lnTo>
                    <a:lnTo>
                      <a:pt x="0" y="2744"/>
                    </a:lnTo>
                    <a:lnTo>
                      <a:pt x="2442" y="0"/>
                    </a:lnTo>
                    <a:lnTo>
                      <a:pt x="2881" y="28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5" name="Freeform: Shape 3594">
                <a:extLst>
                  <a:ext uri="{FF2B5EF4-FFF2-40B4-BE49-F238E27FC236}">
                    <a16:creationId xmlns:a16="http://schemas.microsoft.com/office/drawing/2014/main" id="{3B6607B8-027F-1649-5DE1-9339BEDE72D6}"/>
                  </a:ext>
                </a:extLst>
              </p:cNvPr>
              <p:cNvSpPr/>
              <p:nvPr/>
            </p:nvSpPr>
            <p:spPr>
              <a:xfrm>
                <a:off x="1135515" y="3769509"/>
                <a:ext cx="487" cy="338"/>
              </a:xfrm>
              <a:custGeom>
                <a:avLst/>
                <a:gdLst>
                  <a:gd name="connsiteX0" fmla="*/ 4638 w 4665"/>
                  <a:gd name="connsiteY0" fmla="*/ 329 h 3238"/>
                  <a:gd name="connsiteX1" fmla="*/ 3211 w 4665"/>
                  <a:gd name="connsiteY1" fmla="*/ 3238 h 3238"/>
                  <a:gd name="connsiteX2" fmla="*/ 0 w 4665"/>
                  <a:gd name="connsiteY2" fmla="*/ 1509 h 3238"/>
                  <a:gd name="connsiteX3" fmla="*/ 2964 w 4665"/>
                  <a:gd name="connsiteY3" fmla="*/ 0 h 3238"/>
                  <a:gd name="connsiteX4" fmla="*/ 4665 w 4665"/>
                  <a:gd name="connsiteY4" fmla="*/ 329 h 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5" h="3238">
                    <a:moveTo>
                      <a:pt x="4638" y="329"/>
                    </a:moveTo>
                    <a:lnTo>
                      <a:pt x="3211" y="3238"/>
                    </a:lnTo>
                    <a:lnTo>
                      <a:pt x="0" y="1509"/>
                    </a:lnTo>
                    <a:lnTo>
                      <a:pt x="2964" y="0"/>
                    </a:lnTo>
                    <a:lnTo>
                      <a:pt x="4665" y="3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6" name="Freeform: Shape 3595">
                <a:extLst>
                  <a:ext uri="{FF2B5EF4-FFF2-40B4-BE49-F238E27FC236}">
                    <a16:creationId xmlns:a16="http://schemas.microsoft.com/office/drawing/2014/main" id="{839EF5E2-DFE5-C3AE-7B86-3515158894A8}"/>
                  </a:ext>
                </a:extLst>
              </p:cNvPr>
              <p:cNvSpPr/>
              <p:nvPr/>
            </p:nvSpPr>
            <p:spPr>
              <a:xfrm>
                <a:off x="1132152" y="3769595"/>
                <a:ext cx="398" cy="406"/>
              </a:xfrm>
              <a:custGeom>
                <a:avLst/>
                <a:gdLst>
                  <a:gd name="connsiteX0" fmla="*/ 3814 w 3814"/>
                  <a:gd name="connsiteY0" fmla="*/ 2772 h 3897"/>
                  <a:gd name="connsiteX1" fmla="*/ 3430 w 3814"/>
                  <a:gd name="connsiteY1" fmla="*/ 3897 h 3897"/>
                  <a:gd name="connsiteX2" fmla="*/ 0 w 3814"/>
                  <a:gd name="connsiteY2" fmla="*/ 2772 h 3897"/>
                  <a:gd name="connsiteX3" fmla="*/ 0 w 3814"/>
                  <a:gd name="connsiteY3" fmla="*/ 549 h 3897"/>
                  <a:gd name="connsiteX4" fmla="*/ 1097 w 3814"/>
                  <a:gd name="connsiteY4" fmla="*/ 0 h 3897"/>
                  <a:gd name="connsiteX5" fmla="*/ 3814 w 3814"/>
                  <a:gd name="connsiteY5" fmla="*/ 2772 h 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 h="3897">
                    <a:moveTo>
                      <a:pt x="3814" y="2772"/>
                    </a:moveTo>
                    <a:lnTo>
                      <a:pt x="3430" y="3897"/>
                    </a:lnTo>
                    <a:lnTo>
                      <a:pt x="0" y="2772"/>
                    </a:lnTo>
                    <a:lnTo>
                      <a:pt x="0" y="549"/>
                    </a:lnTo>
                    <a:lnTo>
                      <a:pt x="1097" y="0"/>
                    </a:lnTo>
                    <a:lnTo>
                      <a:pt x="3814"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7" name="Freeform: Shape 3596">
                <a:extLst>
                  <a:ext uri="{FF2B5EF4-FFF2-40B4-BE49-F238E27FC236}">
                    <a16:creationId xmlns:a16="http://schemas.microsoft.com/office/drawing/2014/main" id="{95226E4C-0CDE-B367-6EF0-6D7BB043ACF5}"/>
                  </a:ext>
                </a:extLst>
              </p:cNvPr>
              <p:cNvSpPr/>
              <p:nvPr/>
            </p:nvSpPr>
            <p:spPr>
              <a:xfrm>
                <a:off x="1134527" y="3770090"/>
                <a:ext cx="298" cy="515"/>
              </a:xfrm>
              <a:custGeom>
                <a:avLst/>
                <a:gdLst>
                  <a:gd name="connsiteX0" fmla="*/ 2854 w 2854"/>
                  <a:gd name="connsiteY0" fmla="*/ 4803 h 4939"/>
                  <a:gd name="connsiteX1" fmla="*/ 1647 w 2854"/>
                  <a:gd name="connsiteY1" fmla="*/ 4940 h 4939"/>
                  <a:gd name="connsiteX2" fmla="*/ 0 w 2854"/>
                  <a:gd name="connsiteY2" fmla="*/ 1756 h 4939"/>
                  <a:gd name="connsiteX3" fmla="*/ 82 w 2854"/>
                  <a:gd name="connsiteY3" fmla="*/ 0 h 4939"/>
                  <a:gd name="connsiteX4" fmla="*/ 1674 w 2854"/>
                  <a:gd name="connsiteY4" fmla="*/ 604 h 4939"/>
                  <a:gd name="connsiteX5" fmla="*/ 2854 w 2854"/>
                  <a:gd name="connsiteY5" fmla="*/ 4830 h 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 h="4939">
                    <a:moveTo>
                      <a:pt x="2854" y="4803"/>
                    </a:moveTo>
                    <a:lnTo>
                      <a:pt x="1647" y="4940"/>
                    </a:lnTo>
                    <a:lnTo>
                      <a:pt x="0" y="1756"/>
                    </a:lnTo>
                    <a:lnTo>
                      <a:pt x="82" y="0"/>
                    </a:lnTo>
                    <a:lnTo>
                      <a:pt x="1674" y="604"/>
                    </a:lnTo>
                    <a:lnTo>
                      <a:pt x="2854" y="48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8" name="Freeform: Shape 3597">
                <a:extLst>
                  <a:ext uri="{FF2B5EF4-FFF2-40B4-BE49-F238E27FC236}">
                    <a16:creationId xmlns:a16="http://schemas.microsoft.com/office/drawing/2014/main" id="{C758E219-9686-3CF7-6E62-B4FB8329A877}"/>
                  </a:ext>
                </a:extLst>
              </p:cNvPr>
              <p:cNvSpPr/>
              <p:nvPr/>
            </p:nvSpPr>
            <p:spPr>
              <a:xfrm>
                <a:off x="1126227" y="3758598"/>
                <a:ext cx="429" cy="341"/>
              </a:xfrm>
              <a:custGeom>
                <a:avLst/>
                <a:gdLst>
                  <a:gd name="connsiteX0" fmla="*/ 4116 w 4116"/>
                  <a:gd name="connsiteY0" fmla="*/ 2113 h 3265"/>
                  <a:gd name="connsiteX1" fmla="*/ 1427 w 4116"/>
                  <a:gd name="connsiteY1" fmla="*/ 3266 h 3265"/>
                  <a:gd name="connsiteX2" fmla="*/ 0 w 4116"/>
                  <a:gd name="connsiteY2" fmla="*/ 823 h 3265"/>
                  <a:gd name="connsiteX3" fmla="*/ 3101 w 4116"/>
                  <a:gd name="connsiteY3" fmla="*/ 0 h 3265"/>
                  <a:gd name="connsiteX4" fmla="*/ 4089 w 4116"/>
                  <a:gd name="connsiteY4" fmla="*/ 2113 h 3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3265">
                    <a:moveTo>
                      <a:pt x="4116" y="2113"/>
                    </a:moveTo>
                    <a:lnTo>
                      <a:pt x="1427" y="3266"/>
                    </a:lnTo>
                    <a:lnTo>
                      <a:pt x="0" y="823"/>
                    </a:lnTo>
                    <a:lnTo>
                      <a:pt x="3101" y="0"/>
                    </a:lnTo>
                    <a:lnTo>
                      <a:pt x="4089"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99" name="Freeform: Shape 3598">
                <a:extLst>
                  <a:ext uri="{FF2B5EF4-FFF2-40B4-BE49-F238E27FC236}">
                    <a16:creationId xmlns:a16="http://schemas.microsoft.com/office/drawing/2014/main" id="{DED507BF-2BC6-648E-1CCA-052A217F5B42}"/>
                  </a:ext>
                </a:extLst>
              </p:cNvPr>
              <p:cNvSpPr/>
              <p:nvPr/>
            </p:nvSpPr>
            <p:spPr>
              <a:xfrm>
                <a:off x="1124687" y="3757316"/>
                <a:ext cx="441" cy="326"/>
              </a:xfrm>
              <a:custGeom>
                <a:avLst/>
                <a:gdLst>
                  <a:gd name="connsiteX0" fmla="*/ 4226 w 4226"/>
                  <a:gd name="connsiteY0" fmla="*/ 2141 h 3128"/>
                  <a:gd name="connsiteX1" fmla="*/ 906 w 4226"/>
                  <a:gd name="connsiteY1" fmla="*/ 3129 h 3128"/>
                  <a:gd name="connsiteX2" fmla="*/ 0 w 4226"/>
                  <a:gd name="connsiteY2" fmla="*/ 1400 h 3128"/>
                  <a:gd name="connsiteX3" fmla="*/ 823 w 4226"/>
                  <a:gd name="connsiteY3" fmla="*/ 0 h 3128"/>
                  <a:gd name="connsiteX4" fmla="*/ 3952 w 4226"/>
                  <a:gd name="connsiteY4" fmla="*/ 1153 h 3128"/>
                  <a:gd name="connsiteX5" fmla="*/ 4226 w 4226"/>
                  <a:gd name="connsiteY5" fmla="*/ 2113 h 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6" h="3128">
                    <a:moveTo>
                      <a:pt x="4226" y="2141"/>
                    </a:moveTo>
                    <a:lnTo>
                      <a:pt x="906" y="3129"/>
                    </a:lnTo>
                    <a:lnTo>
                      <a:pt x="0" y="1400"/>
                    </a:lnTo>
                    <a:lnTo>
                      <a:pt x="823" y="0"/>
                    </a:lnTo>
                    <a:lnTo>
                      <a:pt x="3952" y="1153"/>
                    </a:lnTo>
                    <a:lnTo>
                      <a:pt x="4226"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0" name="Freeform: Shape 3599">
                <a:extLst>
                  <a:ext uri="{FF2B5EF4-FFF2-40B4-BE49-F238E27FC236}">
                    <a16:creationId xmlns:a16="http://schemas.microsoft.com/office/drawing/2014/main" id="{1166DC30-8EE8-29CB-F680-BAC34CB35BDA}"/>
                  </a:ext>
                </a:extLst>
              </p:cNvPr>
              <p:cNvSpPr/>
              <p:nvPr/>
            </p:nvSpPr>
            <p:spPr>
              <a:xfrm>
                <a:off x="1133763" y="3767285"/>
                <a:ext cx="346" cy="389"/>
              </a:xfrm>
              <a:custGeom>
                <a:avLst/>
                <a:gdLst>
                  <a:gd name="connsiteX0" fmla="*/ 3320 w 3320"/>
                  <a:gd name="connsiteY0" fmla="*/ 1619 h 3732"/>
                  <a:gd name="connsiteX1" fmla="*/ 3183 w 3320"/>
                  <a:gd name="connsiteY1" fmla="*/ 3732 h 3732"/>
                  <a:gd name="connsiteX2" fmla="*/ 1345 w 3320"/>
                  <a:gd name="connsiteY2" fmla="*/ 3567 h 3732"/>
                  <a:gd name="connsiteX3" fmla="*/ 0 w 3320"/>
                  <a:gd name="connsiteY3" fmla="*/ 768 h 3732"/>
                  <a:gd name="connsiteX4" fmla="*/ 960 w 3320"/>
                  <a:gd name="connsiteY4" fmla="*/ 0 h 3732"/>
                  <a:gd name="connsiteX5" fmla="*/ 3293 w 3320"/>
                  <a:gd name="connsiteY5" fmla="*/ 1619 h 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0" h="3732">
                    <a:moveTo>
                      <a:pt x="3320" y="1619"/>
                    </a:moveTo>
                    <a:lnTo>
                      <a:pt x="3183" y="3732"/>
                    </a:lnTo>
                    <a:lnTo>
                      <a:pt x="1345" y="3567"/>
                    </a:lnTo>
                    <a:lnTo>
                      <a:pt x="0" y="768"/>
                    </a:lnTo>
                    <a:lnTo>
                      <a:pt x="960" y="0"/>
                    </a:lnTo>
                    <a:lnTo>
                      <a:pt x="3293"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1" name="Freeform: Shape 3600">
                <a:extLst>
                  <a:ext uri="{FF2B5EF4-FFF2-40B4-BE49-F238E27FC236}">
                    <a16:creationId xmlns:a16="http://schemas.microsoft.com/office/drawing/2014/main" id="{6857373E-2679-8461-94E0-FE4781ED9CEF}"/>
                  </a:ext>
                </a:extLst>
              </p:cNvPr>
              <p:cNvSpPr/>
              <p:nvPr/>
            </p:nvSpPr>
            <p:spPr>
              <a:xfrm>
                <a:off x="1128399" y="3768287"/>
                <a:ext cx="409" cy="306"/>
              </a:xfrm>
              <a:custGeom>
                <a:avLst/>
                <a:gdLst>
                  <a:gd name="connsiteX0" fmla="*/ 3595 w 3924"/>
                  <a:gd name="connsiteY0" fmla="*/ 0 h 2936"/>
                  <a:gd name="connsiteX1" fmla="*/ 3924 w 3924"/>
                  <a:gd name="connsiteY1" fmla="*/ 2936 h 2936"/>
                  <a:gd name="connsiteX2" fmla="*/ 1482 w 3924"/>
                  <a:gd name="connsiteY2" fmla="*/ 2799 h 2936"/>
                  <a:gd name="connsiteX3" fmla="*/ 0 w 3924"/>
                  <a:gd name="connsiteY3" fmla="*/ 878 h 2936"/>
                  <a:gd name="connsiteX4" fmla="*/ 3595 w 3924"/>
                  <a:gd name="connsiteY4" fmla="*/ 27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2936">
                    <a:moveTo>
                      <a:pt x="3595" y="0"/>
                    </a:moveTo>
                    <a:lnTo>
                      <a:pt x="3924" y="2936"/>
                    </a:lnTo>
                    <a:lnTo>
                      <a:pt x="1482" y="2799"/>
                    </a:lnTo>
                    <a:lnTo>
                      <a:pt x="0" y="878"/>
                    </a:lnTo>
                    <a:lnTo>
                      <a:pt x="3595"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2" name="Freeform: Shape 3601">
                <a:extLst>
                  <a:ext uri="{FF2B5EF4-FFF2-40B4-BE49-F238E27FC236}">
                    <a16:creationId xmlns:a16="http://schemas.microsoft.com/office/drawing/2014/main" id="{2B8DF9F8-2B25-0911-F339-AA4AFA88D080}"/>
                  </a:ext>
                </a:extLst>
              </p:cNvPr>
              <p:cNvSpPr/>
              <p:nvPr/>
            </p:nvSpPr>
            <p:spPr>
              <a:xfrm>
                <a:off x="1131556" y="3765273"/>
                <a:ext cx="306" cy="398"/>
              </a:xfrm>
              <a:custGeom>
                <a:avLst/>
                <a:gdLst>
                  <a:gd name="connsiteX0" fmla="*/ 2223 w 2936"/>
                  <a:gd name="connsiteY0" fmla="*/ 0 h 3814"/>
                  <a:gd name="connsiteX1" fmla="*/ 2937 w 2936"/>
                  <a:gd name="connsiteY1" fmla="*/ 3815 h 3814"/>
                  <a:gd name="connsiteX2" fmla="*/ 0 w 2936"/>
                  <a:gd name="connsiteY2" fmla="*/ 3375 h 3814"/>
                  <a:gd name="connsiteX3" fmla="*/ 686 w 2936"/>
                  <a:gd name="connsiteY3" fmla="*/ 192 h 3814"/>
                  <a:gd name="connsiteX4" fmla="*/ 2196 w 2936"/>
                  <a:gd name="connsiteY4" fmla="*/ 0 h 3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6" h="3814">
                    <a:moveTo>
                      <a:pt x="2223" y="0"/>
                    </a:moveTo>
                    <a:lnTo>
                      <a:pt x="2937" y="3815"/>
                    </a:lnTo>
                    <a:lnTo>
                      <a:pt x="0" y="3375"/>
                    </a:lnTo>
                    <a:lnTo>
                      <a:pt x="686" y="192"/>
                    </a:lnTo>
                    <a:lnTo>
                      <a:pt x="219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3" name="Freeform: Shape 3602">
                <a:extLst>
                  <a:ext uri="{FF2B5EF4-FFF2-40B4-BE49-F238E27FC236}">
                    <a16:creationId xmlns:a16="http://schemas.microsoft.com/office/drawing/2014/main" id="{98A7ABCA-BD78-B740-416B-96A308748DD8}"/>
                  </a:ext>
                </a:extLst>
              </p:cNvPr>
              <p:cNvSpPr/>
              <p:nvPr/>
            </p:nvSpPr>
            <p:spPr>
              <a:xfrm>
                <a:off x="1637743" y="3754187"/>
                <a:ext cx="10204" cy="5172"/>
              </a:xfrm>
              <a:custGeom>
                <a:avLst/>
                <a:gdLst>
                  <a:gd name="connsiteX0" fmla="*/ 42097 w 97833"/>
                  <a:gd name="connsiteY0" fmla="*/ 2360 h 49589"/>
                  <a:gd name="connsiteX1" fmla="*/ 57438 w 97833"/>
                  <a:gd name="connsiteY1" fmla="*/ 5406 h 49589"/>
                  <a:gd name="connsiteX2" fmla="*/ 66714 w 97833"/>
                  <a:gd name="connsiteY2" fmla="*/ 10757 h 49589"/>
                  <a:gd name="connsiteX3" fmla="*/ 71159 w 97833"/>
                  <a:gd name="connsiteY3" fmla="*/ 8809 h 49589"/>
                  <a:gd name="connsiteX4" fmla="*/ 75880 w 97833"/>
                  <a:gd name="connsiteY4" fmla="*/ 6723 h 49589"/>
                  <a:gd name="connsiteX5" fmla="*/ 81533 w 97833"/>
                  <a:gd name="connsiteY5" fmla="*/ 10126 h 49589"/>
                  <a:gd name="connsiteX6" fmla="*/ 84112 w 97833"/>
                  <a:gd name="connsiteY6" fmla="*/ 15121 h 49589"/>
                  <a:gd name="connsiteX7" fmla="*/ 82082 w 97833"/>
                  <a:gd name="connsiteY7" fmla="*/ 19320 h 49589"/>
                  <a:gd name="connsiteX8" fmla="*/ 83207 w 97833"/>
                  <a:gd name="connsiteY8" fmla="*/ 22613 h 49589"/>
                  <a:gd name="connsiteX9" fmla="*/ 94651 w 97833"/>
                  <a:gd name="connsiteY9" fmla="*/ 24863 h 49589"/>
                  <a:gd name="connsiteX10" fmla="*/ 97313 w 97833"/>
                  <a:gd name="connsiteY10" fmla="*/ 29117 h 49589"/>
                  <a:gd name="connsiteX11" fmla="*/ 95611 w 97833"/>
                  <a:gd name="connsiteY11" fmla="*/ 36170 h 49589"/>
                  <a:gd name="connsiteX12" fmla="*/ 97834 w 97833"/>
                  <a:gd name="connsiteY12" fmla="*/ 44924 h 49589"/>
                  <a:gd name="connsiteX13" fmla="*/ 85266 w 97833"/>
                  <a:gd name="connsiteY13" fmla="*/ 46790 h 49589"/>
                  <a:gd name="connsiteX14" fmla="*/ 81533 w 97833"/>
                  <a:gd name="connsiteY14" fmla="*/ 45610 h 49589"/>
                  <a:gd name="connsiteX15" fmla="*/ 78789 w 97833"/>
                  <a:gd name="connsiteY15" fmla="*/ 44759 h 49589"/>
                  <a:gd name="connsiteX16" fmla="*/ 74865 w 97833"/>
                  <a:gd name="connsiteY16" fmla="*/ 47119 h 49589"/>
                  <a:gd name="connsiteX17" fmla="*/ 71132 w 97833"/>
                  <a:gd name="connsiteY17" fmla="*/ 47229 h 49589"/>
                  <a:gd name="connsiteX18" fmla="*/ 56697 w 97833"/>
                  <a:gd name="connsiteY18" fmla="*/ 47586 h 49589"/>
                  <a:gd name="connsiteX19" fmla="*/ 47778 w 97833"/>
                  <a:gd name="connsiteY19" fmla="*/ 43963 h 49589"/>
                  <a:gd name="connsiteX20" fmla="*/ 42070 w 97833"/>
                  <a:gd name="connsiteY20" fmla="*/ 46900 h 49589"/>
                  <a:gd name="connsiteX21" fmla="*/ 39628 w 97833"/>
                  <a:gd name="connsiteY21" fmla="*/ 48162 h 49589"/>
                  <a:gd name="connsiteX22" fmla="*/ 34276 w 97833"/>
                  <a:gd name="connsiteY22" fmla="*/ 48931 h 49589"/>
                  <a:gd name="connsiteX23" fmla="*/ 29611 w 97833"/>
                  <a:gd name="connsiteY23" fmla="*/ 49589 h 49589"/>
                  <a:gd name="connsiteX24" fmla="*/ 17810 w 97833"/>
                  <a:gd name="connsiteY24" fmla="*/ 45308 h 49589"/>
                  <a:gd name="connsiteX25" fmla="*/ 13694 w 97833"/>
                  <a:gd name="connsiteY25" fmla="*/ 45885 h 49589"/>
                  <a:gd name="connsiteX26" fmla="*/ 11087 w 97833"/>
                  <a:gd name="connsiteY26" fmla="*/ 46241 h 49589"/>
                  <a:gd name="connsiteX27" fmla="*/ 4583 w 97833"/>
                  <a:gd name="connsiteY27" fmla="*/ 41905 h 49589"/>
                  <a:gd name="connsiteX28" fmla="*/ 0 w 97833"/>
                  <a:gd name="connsiteY28" fmla="*/ 36197 h 49589"/>
                  <a:gd name="connsiteX29" fmla="*/ 4144 w 97833"/>
                  <a:gd name="connsiteY29" fmla="*/ 31285 h 49589"/>
                  <a:gd name="connsiteX30" fmla="*/ 6971 w 97833"/>
                  <a:gd name="connsiteY30" fmla="*/ 32191 h 49589"/>
                  <a:gd name="connsiteX31" fmla="*/ 9934 w 97833"/>
                  <a:gd name="connsiteY31" fmla="*/ 29831 h 49589"/>
                  <a:gd name="connsiteX32" fmla="*/ 11416 w 97833"/>
                  <a:gd name="connsiteY32" fmla="*/ 18277 h 49589"/>
                  <a:gd name="connsiteX33" fmla="*/ 23655 w 97833"/>
                  <a:gd name="connsiteY33" fmla="*/ 2936 h 49589"/>
                  <a:gd name="connsiteX34" fmla="*/ 29721 w 97833"/>
                  <a:gd name="connsiteY34" fmla="*/ 0 h 49589"/>
                  <a:gd name="connsiteX35" fmla="*/ 42097 w 97833"/>
                  <a:gd name="connsiteY35" fmla="*/ 2442 h 49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7833" h="49589">
                    <a:moveTo>
                      <a:pt x="42097" y="2360"/>
                    </a:moveTo>
                    <a:lnTo>
                      <a:pt x="57438" y="5406"/>
                    </a:lnTo>
                    <a:lnTo>
                      <a:pt x="66714" y="10757"/>
                    </a:lnTo>
                    <a:lnTo>
                      <a:pt x="71159" y="8809"/>
                    </a:lnTo>
                    <a:lnTo>
                      <a:pt x="75880" y="6723"/>
                    </a:lnTo>
                    <a:lnTo>
                      <a:pt x="81533" y="10126"/>
                    </a:lnTo>
                    <a:lnTo>
                      <a:pt x="84112" y="15121"/>
                    </a:lnTo>
                    <a:lnTo>
                      <a:pt x="82082" y="19320"/>
                    </a:lnTo>
                    <a:lnTo>
                      <a:pt x="83207" y="22613"/>
                    </a:lnTo>
                    <a:lnTo>
                      <a:pt x="94651" y="24863"/>
                    </a:lnTo>
                    <a:lnTo>
                      <a:pt x="97313" y="29117"/>
                    </a:lnTo>
                    <a:lnTo>
                      <a:pt x="95611" y="36170"/>
                    </a:lnTo>
                    <a:lnTo>
                      <a:pt x="97834" y="44924"/>
                    </a:lnTo>
                    <a:lnTo>
                      <a:pt x="85266" y="46790"/>
                    </a:lnTo>
                    <a:lnTo>
                      <a:pt x="81533" y="45610"/>
                    </a:lnTo>
                    <a:lnTo>
                      <a:pt x="78789" y="44759"/>
                    </a:lnTo>
                    <a:lnTo>
                      <a:pt x="74865" y="47119"/>
                    </a:lnTo>
                    <a:lnTo>
                      <a:pt x="71132" y="47229"/>
                    </a:lnTo>
                    <a:lnTo>
                      <a:pt x="56697" y="47586"/>
                    </a:lnTo>
                    <a:lnTo>
                      <a:pt x="47778" y="43963"/>
                    </a:lnTo>
                    <a:lnTo>
                      <a:pt x="42070" y="46900"/>
                    </a:lnTo>
                    <a:lnTo>
                      <a:pt x="39628" y="48162"/>
                    </a:lnTo>
                    <a:lnTo>
                      <a:pt x="34276" y="48931"/>
                    </a:lnTo>
                    <a:lnTo>
                      <a:pt x="29611" y="49589"/>
                    </a:lnTo>
                    <a:lnTo>
                      <a:pt x="17810" y="45308"/>
                    </a:lnTo>
                    <a:lnTo>
                      <a:pt x="13694" y="45885"/>
                    </a:lnTo>
                    <a:lnTo>
                      <a:pt x="11087" y="46241"/>
                    </a:lnTo>
                    <a:lnTo>
                      <a:pt x="4583" y="41905"/>
                    </a:lnTo>
                    <a:lnTo>
                      <a:pt x="0" y="36197"/>
                    </a:lnTo>
                    <a:lnTo>
                      <a:pt x="4144" y="31285"/>
                    </a:lnTo>
                    <a:lnTo>
                      <a:pt x="6971" y="32191"/>
                    </a:lnTo>
                    <a:lnTo>
                      <a:pt x="9934" y="29831"/>
                    </a:lnTo>
                    <a:lnTo>
                      <a:pt x="11416" y="18277"/>
                    </a:lnTo>
                    <a:lnTo>
                      <a:pt x="23655" y="2936"/>
                    </a:lnTo>
                    <a:lnTo>
                      <a:pt x="29721" y="0"/>
                    </a:lnTo>
                    <a:lnTo>
                      <a:pt x="42097" y="24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4" name="Freeform: Shape 3603">
                <a:extLst>
                  <a:ext uri="{FF2B5EF4-FFF2-40B4-BE49-F238E27FC236}">
                    <a16:creationId xmlns:a16="http://schemas.microsoft.com/office/drawing/2014/main" id="{380E6A89-7F12-F7A9-DBC8-C35EB1A7A31F}"/>
                  </a:ext>
                </a:extLst>
              </p:cNvPr>
              <p:cNvSpPr/>
              <p:nvPr/>
            </p:nvSpPr>
            <p:spPr>
              <a:xfrm>
                <a:off x="1091724" y="3786732"/>
                <a:ext cx="3429" cy="8312"/>
              </a:xfrm>
              <a:custGeom>
                <a:avLst/>
                <a:gdLst>
                  <a:gd name="connsiteX0" fmla="*/ 32877 w 32876"/>
                  <a:gd name="connsiteY0" fmla="*/ 7108 h 79694"/>
                  <a:gd name="connsiteX1" fmla="*/ 27498 w 32876"/>
                  <a:gd name="connsiteY1" fmla="*/ 26400 h 79694"/>
                  <a:gd name="connsiteX2" fmla="*/ 28843 w 32876"/>
                  <a:gd name="connsiteY2" fmla="*/ 29748 h 79694"/>
                  <a:gd name="connsiteX3" fmla="*/ 26812 w 32876"/>
                  <a:gd name="connsiteY3" fmla="*/ 39436 h 79694"/>
                  <a:gd name="connsiteX4" fmla="*/ 28815 w 32876"/>
                  <a:gd name="connsiteY4" fmla="*/ 46104 h 79694"/>
                  <a:gd name="connsiteX5" fmla="*/ 28019 w 32876"/>
                  <a:gd name="connsiteY5" fmla="*/ 51593 h 79694"/>
                  <a:gd name="connsiteX6" fmla="*/ 22860 w 32876"/>
                  <a:gd name="connsiteY6" fmla="*/ 63640 h 79694"/>
                  <a:gd name="connsiteX7" fmla="*/ 19622 w 32876"/>
                  <a:gd name="connsiteY7" fmla="*/ 67674 h 79694"/>
                  <a:gd name="connsiteX8" fmla="*/ 17207 w 32876"/>
                  <a:gd name="connsiteY8" fmla="*/ 68223 h 79694"/>
                  <a:gd name="connsiteX9" fmla="*/ 9001 w 32876"/>
                  <a:gd name="connsiteY9" fmla="*/ 76813 h 79694"/>
                  <a:gd name="connsiteX10" fmla="*/ 8837 w 32876"/>
                  <a:gd name="connsiteY10" fmla="*/ 79695 h 79694"/>
                  <a:gd name="connsiteX11" fmla="*/ 0 w 32876"/>
                  <a:gd name="connsiteY11" fmla="*/ 78789 h 79694"/>
                  <a:gd name="connsiteX12" fmla="*/ 1509 w 32876"/>
                  <a:gd name="connsiteY12" fmla="*/ 51620 h 79694"/>
                  <a:gd name="connsiteX13" fmla="*/ 1949 w 32876"/>
                  <a:gd name="connsiteY13" fmla="*/ 21021 h 79694"/>
                  <a:gd name="connsiteX14" fmla="*/ 3815 w 32876"/>
                  <a:gd name="connsiteY14" fmla="*/ 16301 h 79694"/>
                  <a:gd name="connsiteX15" fmla="*/ 11526 w 32876"/>
                  <a:gd name="connsiteY15" fmla="*/ 16438 h 79694"/>
                  <a:gd name="connsiteX16" fmla="*/ 21159 w 32876"/>
                  <a:gd name="connsiteY16" fmla="*/ 1153 h 79694"/>
                  <a:gd name="connsiteX17" fmla="*/ 26373 w 32876"/>
                  <a:gd name="connsiteY17" fmla="*/ 0 h 79694"/>
                  <a:gd name="connsiteX18" fmla="*/ 24699 w 32876"/>
                  <a:gd name="connsiteY18" fmla="*/ 3842 h 79694"/>
                  <a:gd name="connsiteX19" fmla="*/ 32191 w 32876"/>
                  <a:gd name="connsiteY19" fmla="*/ 4308 h 79694"/>
                  <a:gd name="connsiteX20" fmla="*/ 32877 w 32876"/>
                  <a:gd name="connsiteY20" fmla="*/ 7163 h 7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876" h="79694">
                    <a:moveTo>
                      <a:pt x="32877" y="7108"/>
                    </a:moveTo>
                    <a:lnTo>
                      <a:pt x="27498" y="26400"/>
                    </a:lnTo>
                    <a:lnTo>
                      <a:pt x="28843" y="29748"/>
                    </a:lnTo>
                    <a:lnTo>
                      <a:pt x="26812" y="39436"/>
                    </a:lnTo>
                    <a:lnTo>
                      <a:pt x="28815" y="46104"/>
                    </a:lnTo>
                    <a:lnTo>
                      <a:pt x="28019" y="51593"/>
                    </a:lnTo>
                    <a:lnTo>
                      <a:pt x="22860" y="63640"/>
                    </a:lnTo>
                    <a:lnTo>
                      <a:pt x="19622" y="67674"/>
                    </a:lnTo>
                    <a:lnTo>
                      <a:pt x="17207" y="68223"/>
                    </a:lnTo>
                    <a:lnTo>
                      <a:pt x="9001" y="76813"/>
                    </a:lnTo>
                    <a:lnTo>
                      <a:pt x="8837" y="79695"/>
                    </a:lnTo>
                    <a:lnTo>
                      <a:pt x="0" y="78789"/>
                    </a:lnTo>
                    <a:lnTo>
                      <a:pt x="1509" y="51620"/>
                    </a:lnTo>
                    <a:lnTo>
                      <a:pt x="1949" y="21021"/>
                    </a:lnTo>
                    <a:lnTo>
                      <a:pt x="3815" y="16301"/>
                    </a:lnTo>
                    <a:lnTo>
                      <a:pt x="11526" y="16438"/>
                    </a:lnTo>
                    <a:lnTo>
                      <a:pt x="21159" y="1153"/>
                    </a:lnTo>
                    <a:lnTo>
                      <a:pt x="26373" y="0"/>
                    </a:lnTo>
                    <a:lnTo>
                      <a:pt x="24699" y="3842"/>
                    </a:lnTo>
                    <a:lnTo>
                      <a:pt x="32191" y="4308"/>
                    </a:lnTo>
                    <a:lnTo>
                      <a:pt x="32877" y="71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5" name="Freeform: Shape 3604">
                <a:extLst>
                  <a:ext uri="{FF2B5EF4-FFF2-40B4-BE49-F238E27FC236}">
                    <a16:creationId xmlns:a16="http://schemas.microsoft.com/office/drawing/2014/main" id="{013941BF-9AB4-92EB-FA0D-A7D467090992}"/>
                  </a:ext>
                </a:extLst>
              </p:cNvPr>
              <p:cNvSpPr/>
              <p:nvPr/>
            </p:nvSpPr>
            <p:spPr>
              <a:xfrm>
                <a:off x="1698610" y="3781391"/>
                <a:ext cx="7328" cy="6366"/>
              </a:xfrm>
              <a:custGeom>
                <a:avLst/>
                <a:gdLst>
                  <a:gd name="connsiteX0" fmla="*/ 63146 w 70254"/>
                  <a:gd name="connsiteY0" fmla="*/ 3211 h 61033"/>
                  <a:gd name="connsiteX1" fmla="*/ 67921 w 70254"/>
                  <a:gd name="connsiteY1" fmla="*/ 4857 h 61033"/>
                  <a:gd name="connsiteX2" fmla="*/ 70254 w 70254"/>
                  <a:gd name="connsiteY2" fmla="*/ 14325 h 61033"/>
                  <a:gd name="connsiteX3" fmla="*/ 68827 w 70254"/>
                  <a:gd name="connsiteY3" fmla="*/ 15698 h 61033"/>
                  <a:gd name="connsiteX4" fmla="*/ 64025 w 70254"/>
                  <a:gd name="connsiteY4" fmla="*/ 20006 h 61033"/>
                  <a:gd name="connsiteX5" fmla="*/ 61966 w 70254"/>
                  <a:gd name="connsiteY5" fmla="*/ 22668 h 61033"/>
                  <a:gd name="connsiteX6" fmla="*/ 60429 w 70254"/>
                  <a:gd name="connsiteY6" fmla="*/ 23135 h 61033"/>
                  <a:gd name="connsiteX7" fmla="*/ 60320 w 70254"/>
                  <a:gd name="connsiteY7" fmla="*/ 25193 h 61033"/>
                  <a:gd name="connsiteX8" fmla="*/ 56862 w 70254"/>
                  <a:gd name="connsiteY8" fmla="*/ 31532 h 61033"/>
                  <a:gd name="connsiteX9" fmla="*/ 56862 w 70254"/>
                  <a:gd name="connsiteY9" fmla="*/ 33919 h 61033"/>
                  <a:gd name="connsiteX10" fmla="*/ 55654 w 70254"/>
                  <a:gd name="connsiteY10" fmla="*/ 35703 h 61033"/>
                  <a:gd name="connsiteX11" fmla="*/ 55462 w 70254"/>
                  <a:gd name="connsiteY11" fmla="*/ 38558 h 61033"/>
                  <a:gd name="connsiteX12" fmla="*/ 53322 w 70254"/>
                  <a:gd name="connsiteY12" fmla="*/ 40588 h 61033"/>
                  <a:gd name="connsiteX13" fmla="*/ 54392 w 70254"/>
                  <a:gd name="connsiteY13" fmla="*/ 42345 h 61033"/>
                  <a:gd name="connsiteX14" fmla="*/ 53020 w 70254"/>
                  <a:gd name="connsiteY14" fmla="*/ 44485 h 61033"/>
                  <a:gd name="connsiteX15" fmla="*/ 48272 w 70254"/>
                  <a:gd name="connsiteY15" fmla="*/ 45665 h 61033"/>
                  <a:gd name="connsiteX16" fmla="*/ 46352 w 70254"/>
                  <a:gd name="connsiteY16" fmla="*/ 47037 h 61033"/>
                  <a:gd name="connsiteX17" fmla="*/ 42701 w 70254"/>
                  <a:gd name="connsiteY17" fmla="*/ 50824 h 61033"/>
                  <a:gd name="connsiteX18" fmla="*/ 42482 w 70254"/>
                  <a:gd name="connsiteY18" fmla="*/ 53404 h 61033"/>
                  <a:gd name="connsiteX19" fmla="*/ 40945 w 70254"/>
                  <a:gd name="connsiteY19" fmla="*/ 54145 h 61033"/>
                  <a:gd name="connsiteX20" fmla="*/ 40423 w 70254"/>
                  <a:gd name="connsiteY20" fmla="*/ 52800 h 61033"/>
                  <a:gd name="connsiteX21" fmla="*/ 35374 w 70254"/>
                  <a:gd name="connsiteY21" fmla="*/ 54420 h 61033"/>
                  <a:gd name="connsiteX22" fmla="*/ 33316 w 70254"/>
                  <a:gd name="connsiteY22" fmla="*/ 53980 h 61033"/>
                  <a:gd name="connsiteX23" fmla="*/ 32383 w 70254"/>
                  <a:gd name="connsiteY23" fmla="*/ 57027 h 61033"/>
                  <a:gd name="connsiteX24" fmla="*/ 32822 w 70254"/>
                  <a:gd name="connsiteY24" fmla="*/ 58783 h 61033"/>
                  <a:gd name="connsiteX25" fmla="*/ 31066 w 70254"/>
                  <a:gd name="connsiteY25" fmla="*/ 59057 h 61033"/>
                  <a:gd name="connsiteX26" fmla="*/ 27937 w 70254"/>
                  <a:gd name="connsiteY26" fmla="*/ 61033 h 61033"/>
                  <a:gd name="connsiteX27" fmla="*/ 27306 w 70254"/>
                  <a:gd name="connsiteY27" fmla="*/ 59387 h 61033"/>
                  <a:gd name="connsiteX28" fmla="*/ 25330 w 70254"/>
                  <a:gd name="connsiteY28" fmla="*/ 58124 h 61033"/>
                  <a:gd name="connsiteX29" fmla="*/ 20198 w 70254"/>
                  <a:gd name="connsiteY29" fmla="*/ 56780 h 61033"/>
                  <a:gd name="connsiteX30" fmla="*/ 16850 w 70254"/>
                  <a:gd name="connsiteY30" fmla="*/ 57273 h 61033"/>
                  <a:gd name="connsiteX31" fmla="*/ 14270 w 70254"/>
                  <a:gd name="connsiteY31" fmla="*/ 55051 h 61033"/>
                  <a:gd name="connsiteX32" fmla="*/ 11142 w 70254"/>
                  <a:gd name="connsiteY32" fmla="*/ 54858 h 61033"/>
                  <a:gd name="connsiteX33" fmla="*/ 5379 w 70254"/>
                  <a:gd name="connsiteY33" fmla="*/ 51401 h 61033"/>
                  <a:gd name="connsiteX34" fmla="*/ 2470 w 70254"/>
                  <a:gd name="connsiteY34" fmla="*/ 50797 h 61033"/>
                  <a:gd name="connsiteX35" fmla="*/ 1757 w 70254"/>
                  <a:gd name="connsiteY35" fmla="*/ 49013 h 61033"/>
                  <a:gd name="connsiteX36" fmla="*/ 2415 w 70254"/>
                  <a:gd name="connsiteY36" fmla="*/ 46626 h 61033"/>
                  <a:gd name="connsiteX37" fmla="*/ 2223 w 70254"/>
                  <a:gd name="connsiteY37" fmla="*/ 43470 h 61033"/>
                  <a:gd name="connsiteX38" fmla="*/ 302 w 70254"/>
                  <a:gd name="connsiteY38" fmla="*/ 40423 h 61033"/>
                  <a:gd name="connsiteX39" fmla="*/ 1153 w 70254"/>
                  <a:gd name="connsiteY39" fmla="*/ 37213 h 61033"/>
                  <a:gd name="connsiteX40" fmla="*/ 0 w 70254"/>
                  <a:gd name="connsiteY40" fmla="*/ 32438 h 61033"/>
                  <a:gd name="connsiteX41" fmla="*/ 1729 w 70254"/>
                  <a:gd name="connsiteY41" fmla="*/ 29831 h 61033"/>
                  <a:gd name="connsiteX42" fmla="*/ 110 w 70254"/>
                  <a:gd name="connsiteY42" fmla="*/ 26867 h 61033"/>
                  <a:gd name="connsiteX43" fmla="*/ 1921 w 70254"/>
                  <a:gd name="connsiteY43" fmla="*/ 23793 h 61033"/>
                  <a:gd name="connsiteX44" fmla="*/ 3787 w 70254"/>
                  <a:gd name="connsiteY44" fmla="*/ 23436 h 61033"/>
                  <a:gd name="connsiteX45" fmla="*/ 7328 w 70254"/>
                  <a:gd name="connsiteY45" fmla="*/ 20966 h 61033"/>
                  <a:gd name="connsiteX46" fmla="*/ 11417 w 70254"/>
                  <a:gd name="connsiteY46" fmla="*/ 17234 h 61033"/>
                  <a:gd name="connsiteX47" fmla="*/ 14792 w 70254"/>
                  <a:gd name="connsiteY47" fmla="*/ 15698 h 61033"/>
                  <a:gd name="connsiteX48" fmla="*/ 16768 w 70254"/>
                  <a:gd name="connsiteY48" fmla="*/ 13639 h 61033"/>
                  <a:gd name="connsiteX49" fmla="*/ 16383 w 70254"/>
                  <a:gd name="connsiteY49" fmla="*/ 10374 h 61033"/>
                  <a:gd name="connsiteX50" fmla="*/ 19073 w 70254"/>
                  <a:gd name="connsiteY50" fmla="*/ 7767 h 61033"/>
                  <a:gd name="connsiteX51" fmla="*/ 25687 w 70254"/>
                  <a:gd name="connsiteY51" fmla="*/ 8453 h 61033"/>
                  <a:gd name="connsiteX52" fmla="*/ 30270 w 70254"/>
                  <a:gd name="connsiteY52" fmla="*/ 4254 h 61033"/>
                  <a:gd name="connsiteX53" fmla="*/ 40561 w 70254"/>
                  <a:gd name="connsiteY53" fmla="*/ 5681 h 61033"/>
                  <a:gd name="connsiteX54" fmla="*/ 50660 w 70254"/>
                  <a:gd name="connsiteY54" fmla="*/ 2223 h 61033"/>
                  <a:gd name="connsiteX55" fmla="*/ 55819 w 70254"/>
                  <a:gd name="connsiteY55" fmla="*/ 3348 h 61033"/>
                  <a:gd name="connsiteX56" fmla="*/ 60210 w 70254"/>
                  <a:gd name="connsiteY56" fmla="*/ 0 h 61033"/>
                  <a:gd name="connsiteX57" fmla="*/ 63201 w 70254"/>
                  <a:gd name="connsiteY57" fmla="*/ 3211 h 6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0254" h="61033">
                    <a:moveTo>
                      <a:pt x="63146" y="3211"/>
                    </a:moveTo>
                    <a:lnTo>
                      <a:pt x="67921" y="4857"/>
                    </a:lnTo>
                    <a:lnTo>
                      <a:pt x="70254" y="14325"/>
                    </a:lnTo>
                    <a:lnTo>
                      <a:pt x="68827" y="15698"/>
                    </a:lnTo>
                    <a:lnTo>
                      <a:pt x="64025" y="20006"/>
                    </a:lnTo>
                    <a:lnTo>
                      <a:pt x="61966" y="22668"/>
                    </a:lnTo>
                    <a:lnTo>
                      <a:pt x="60429" y="23135"/>
                    </a:lnTo>
                    <a:lnTo>
                      <a:pt x="60320" y="25193"/>
                    </a:lnTo>
                    <a:lnTo>
                      <a:pt x="56862" y="31532"/>
                    </a:lnTo>
                    <a:lnTo>
                      <a:pt x="56862" y="33919"/>
                    </a:lnTo>
                    <a:cubicBezTo>
                      <a:pt x="56862" y="33919"/>
                      <a:pt x="55654" y="35703"/>
                      <a:pt x="55654" y="35703"/>
                    </a:cubicBezTo>
                    <a:lnTo>
                      <a:pt x="55462" y="38558"/>
                    </a:lnTo>
                    <a:lnTo>
                      <a:pt x="53322" y="40588"/>
                    </a:lnTo>
                    <a:lnTo>
                      <a:pt x="54392" y="42345"/>
                    </a:lnTo>
                    <a:lnTo>
                      <a:pt x="53020" y="44485"/>
                    </a:lnTo>
                    <a:lnTo>
                      <a:pt x="48272" y="45665"/>
                    </a:lnTo>
                    <a:lnTo>
                      <a:pt x="46352" y="47037"/>
                    </a:lnTo>
                    <a:lnTo>
                      <a:pt x="42701" y="50824"/>
                    </a:lnTo>
                    <a:lnTo>
                      <a:pt x="42482" y="53404"/>
                    </a:lnTo>
                    <a:lnTo>
                      <a:pt x="40945" y="54145"/>
                    </a:lnTo>
                    <a:lnTo>
                      <a:pt x="40423" y="52800"/>
                    </a:lnTo>
                    <a:lnTo>
                      <a:pt x="35374" y="54420"/>
                    </a:lnTo>
                    <a:lnTo>
                      <a:pt x="33316" y="53980"/>
                    </a:lnTo>
                    <a:lnTo>
                      <a:pt x="32383" y="57027"/>
                    </a:lnTo>
                    <a:lnTo>
                      <a:pt x="32822" y="58783"/>
                    </a:lnTo>
                    <a:lnTo>
                      <a:pt x="31066" y="59057"/>
                    </a:lnTo>
                    <a:lnTo>
                      <a:pt x="27937" y="61033"/>
                    </a:lnTo>
                    <a:lnTo>
                      <a:pt x="27306" y="59387"/>
                    </a:lnTo>
                    <a:lnTo>
                      <a:pt x="25330" y="58124"/>
                    </a:lnTo>
                    <a:lnTo>
                      <a:pt x="20198" y="56780"/>
                    </a:lnTo>
                    <a:lnTo>
                      <a:pt x="16850" y="57273"/>
                    </a:lnTo>
                    <a:lnTo>
                      <a:pt x="14270" y="55051"/>
                    </a:lnTo>
                    <a:lnTo>
                      <a:pt x="11142" y="54858"/>
                    </a:lnTo>
                    <a:lnTo>
                      <a:pt x="5379" y="51401"/>
                    </a:lnTo>
                    <a:lnTo>
                      <a:pt x="2470" y="50797"/>
                    </a:lnTo>
                    <a:lnTo>
                      <a:pt x="1757" y="49013"/>
                    </a:lnTo>
                    <a:lnTo>
                      <a:pt x="2415" y="46626"/>
                    </a:lnTo>
                    <a:lnTo>
                      <a:pt x="2223" y="43470"/>
                    </a:lnTo>
                    <a:lnTo>
                      <a:pt x="302" y="40423"/>
                    </a:lnTo>
                    <a:lnTo>
                      <a:pt x="1153" y="37213"/>
                    </a:lnTo>
                    <a:lnTo>
                      <a:pt x="0" y="32438"/>
                    </a:lnTo>
                    <a:lnTo>
                      <a:pt x="1729" y="29831"/>
                    </a:lnTo>
                    <a:lnTo>
                      <a:pt x="110" y="26867"/>
                    </a:lnTo>
                    <a:lnTo>
                      <a:pt x="1921" y="23793"/>
                    </a:lnTo>
                    <a:lnTo>
                      <a:pt x="3787" y="23436"/>
                    </a:lnTo>
                    <a:lnTo>
                      <a:pt x="7328" y="20966"/>
                    </a:lnTo>
                    <a:lnTo>
                      <a:pt x="11417" y="17234"/>
                    </a:lnTo>
                    <a:lnTo>
                      <a:pt x="14792" y="15698"/>
                    </a:lnTo>
                    <a:lnTo>
                      <a:pt x="16768" y="13639"/>
                    </a:lnTo>
                    <a:lnTo>
                      <a:pt x="16383" y="10374"/>
                    </a:lnTo>
                    <a:lnTo>
                      <a:pt x="19073" y="7767"/>
                    </a:lnTo>
                    <a:lnTo>
                      <a:pt x="25687" y="8453"/>
                    </a:lnTo>
                    <a:lnTo>
                      <a:pt x="30270" y="4254"/>
                    </a:lnTo>
                    <a:lnTo>
                      <a:pt x="40561" y="5681"/>
                    </a:lnTo>
                    <a:lnTo>
                      <a:pt x="50660" y="2223"/>
                    </a:lnTo>
                    <a:lnTo>
                      <a:pt x="55819" y="3348"/>
                    </a:lnTo>
                    <a:lnTo>
                      <a:pt x="60210" y="0"/>
                    </a:lnTo>
                    <a:lnTo>
                      <a:pt x="63201"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6" name="Freeform: Shape 3605">
                <a:extLst>
                  <a:ext uri="{FF2B5EF4-FFF2-40B4-BE49-F238E27FC236}">
                    <a16:creationId xmlns:a16="http://schemas.microsoft.com/office/drawing/2014/main" id="{3A97C14E-07CB-1C0F-8B3A-DA0AA06D152E}"/>
                  </a:ext>
                </a:extLst>
              </p:cNvPr>
              <p:cNvSpPr/>
              <p:nvPr/>
            </p:nvSpPr>
            <p:spPr>
              <a:xfrm>
                <a:off x="1699924" y="3778179"/>
                <a:ext cx="381" cy="415"/>
              </a:xfrm>
              <a:custGeom>
                <a:avLst/>
                <a:gdLst>
                  <a:gd name="connsiteX0" fmla="*/ 3650 w 3650"/>
                  <a:gd name="connsiteY0" fmla="*/ 1537 h 3979"/>
                  <a:gd name="connsiteX1" fmla="*/ 2552 w 3650"/>
                  <a:gd name="connsiteY1" fmla="*/ 3979 h 3979"/>
                  <a:gd name="connsiteX2" fmla="*/ 0 w 3650"/>
                  <a:gd name="connsiteY2" fmla="*/ 1976 h 3979"/>
                  <a:gd name="connsiteX3" fmla="*/ 1921 w 3650"/>
                  <a:gd name="connsiteY3" fmla="*/ 0 h 3979"/>
                  <a:gd name="connsiteX4" fmla="*/ 3650 w 3650"/>
                  <a:gd name="connsiteY4" fmla="*/ 1564 h 3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3979">
                    <a:moveTo>
                      <a:pt x="3650" y="1537"/>
                    </a:moveTo>
                    <a:lnTo>
                      <a:pt x="2552" y="3979"/>
                    </a:lnTo>
                    <a:lnTo>
                      <a:pt x="0" y="1976"/>
                    </a:lnTo>
                    <a:lnTo>
                      <a:pt x="1921" y="0"/>
                    </a:lnTo>
                    <a:lnTo>
                      <a:pt x="3650"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7" name="Freeform: Shape 3606">
                <a:extLst>
                  <a:ext uri="{FF2B5EF4-FFF2-40B4-BE49-F238E27FC236}">
                    <a16:creationId xmlns:a16="http://schemas.microsoft.com/office/drawing/2014/main" id="{727DDCDA-5CDE-B0BF-29BB-2DE14E9CA6AD}"/>
                  </a:ext>
                </a:extLst>
              </p:cNvPr>
              <p:cNvSpPr/>
              <p:nvPr/>
            </p:nvSpPr>
            <p:spPr>
              <a:xfrm>
                <a:off x="1711161" y="3775967"/>
                <a:ext cx="449" cy="355"/>
              </a:xfrm>
              <a:custGeom>
                <a:avLst/>
                <a:gdLst>
                  <a:gd name="connsiteX0" fmla="*/ 4309 w 4308"/>
                  <a:gd name="connsiteY0" fmla="*/ 1043 h 3402"/>
                  <a:gd name="connsiteX1" fmla="*/ 2964 w 4308"/>
                  <a:gd name="connsiteY1" fmla="*/ 3403 h 3402"/>
                  <a:gd name="connsiteX2" fmla="*/ 0 w 4308"/>
                  <a:gd name="connsiteY2" fmla="*/ 2909 h 3402"/>
                  <a:gd name="connsiteX3" fmla="*/ 2744 w 4308"/>
                  <a:gd name="connsiteY3" fmla="*/ 0 h 3402"/>
                  <a:gd name="connsiteX4" fmla="*/ 4309 w 4308"/>
                  <a:gd name="connsiteY4" fmla="*/ 1015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3402">
                    <a:moveTo>
                      <a:pt x="4309" y="1043"/>
                    </a:moveTo>
                    <a:lnTo>
                      <a:pt x="2964" y="3403"/>
                    </a:lnTo>
                    <a:lnTo>
                      <a:pt x="0" y="2909"/>
                    </a:lnTo>
                    <a:lnTo>
                      <a:pt x="2744" y="0"/>
                    </a:lnTo>
                    <a:lnTo>
                      <a:pt x="4309" y="10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8" name="Freeform: Shape 3607">
                <a:extLst>
                  <a:ext uri="{FF2B5EF4-FFF2-40B4-BE49-F238E27FC236}">
                    <a16:creationId xmlns:a16="http://schemas.microsoft.com/office/drawing/2014/main" id="{0E7DB206-1756-7A1A-2CC3-739E1374FB4A}"/>
                  </a:ext>
                </a:extLst>
              </p:cNvPr>
              <p:cNvSpPr/>
              <p:nvPr/>
            </p:nvSpPr>
            <p:spPr>
              <a:xfrm>
                <a:off x="1710660" y="3776170"/>
                <a:ext cx="326" cy="461"/>
              </a:xfrm>
              <a:custGeom>
                <a:avLst/>
                <a:gdLst>
                  <a:gd name="connsiteX0" fmla="*/ 3128 w 3128"/>
                  <a:gd name="connsiteY0" fmla="*/ 3101 h 4418"/>
                  <a:gd name="connsiteX1" fmla="*/ 960 w 3128"/>
                  <a:gd name="connsiteY1" fmla="*/ 4418 h 4418"/>
                  <a:gd name="connsiteX2" fmla="*/ 0 w 3128"/>
                  <a:gd name="connsiteY2" fmla="*/ 1949 h 4418"/>
                  <a:gd name="connsiteX3" fmla="*/ 1921 w 3128"/>
                  <a:gd name="connsiteY3" fmla="*/ 0 h 4418"/>
                  <a:gd name="connsiteX4" fmla="*/ 3128 w 3128"/>
                  <a:gd name="connsiteY4" fmla="*/ 3101 h 4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8" h="4418">
                    <a:moveTo>
                      <a:pt x="3128" y="3101"/>
                    </a:moveTo>
                    <a:lnTo>
                      <a:pt x="960" y="4418"/>
                    </a:lnTo>
                    <a:lnTo>
                      <a:pt x="0" y="1949"/>
                    </a:lnTo>
                    <a:lnTo>
                      <a:pt x="1921" y="0"/>
                    </a:lnTo>
                    <a:lnTo>
                      <a:pt x="3128" y="31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09" name="Freeform: Shape 3608">
                <a:extLst>
                  <a:ext uri="{FF2B5EF4-FFF2-40B4-BE49-F238E27FC236}">
                    <a16:creationId xmlns:a16="http://schemas.microsoft.com/office/drawing/2014/main" id="{66B0D6F7-37FC-D7B2-5FCB-8610DDA80D08}"/>
                  </a:ext>
                </a:extLst>
              </p:cNvPr>
              <p:cNvSpPr/>
              <p:nvPr/>
            </p:nvSpPr>
            <p:spPr>
              <a:xfrm>
                <a:off x="1704466" y="3778614"/>
                <a:ext cx="372" cy="392"/>
              </a:xfrm>
              <a:custGeom>
                <a:avLst/>
                <a:gdLst>
                  <a:gd name="connsiteX0" fmla="*/ 3568 w 3567"/>
                  <a:gd name="connsiteY0" fmla="*/ 851 h 3759"/>
                  <a:gd name="connsiteX1" fmla="*/ 2333 w 3567"/>
                  <a:gd name="connsiteY1" fmla="*/ 3760 h 3759"/>
                  <a:gd name="connsiteX2" fmla="*/ 0 w 3567"/>
                  <a:gd name="connsiteY2" fmla="*/ 2552 h 3759"/>
                  <a:gd name="connsiteX3" fmla="*/ 1455 w 3567"/>
                  <a:gd name="connsiteY3" fmla="*/ 0 h 3759"/>
                  <a:gd name="connsiteX4" fmla="*/ 3568 w 3567"/>
                  <a:gd name="connsiteY4" fmla="*/ 851 h 3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759">
                    <a:moveTo>
                      <a:pt x="3568" y="851"/>
                    </a:moveTo>
                    <a:lnTo>
                      <a:pt x="2333" y="3760"/>
                    </a:lnTo>
                    <a:lnTo>
                      <a:pt x="0" y="2552"/>
                    </a:lnTo>
                    <a:lnTo>
                      <a:pt x="1455" y="0"/>
                    </a:lnTo>
                    <a:lnTo>
                      <a:pt x="3568" y="8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0" name="Freeform: Shape 3609">
                <a:extLst>
                  <a:ext uri="{FF2B5EF4-FFF2-40B4-BE49-F238E27FC236}">
                    <a16:creationId xmlns:a16="http://schemas.microsoft.com/office/drawing/2014/main" id="{0F7AFE60-FC7C-06A9-57F2-9D559DA4EA5B}"/>
                  </a:ext>
                </a:extLst>
              </p:cNvPr>
              <p:cNvSpPr/>
              <p:nvPr/>
            </p:nvSpPr>
            <p:spPr>
              <a:xfrm>
                <a:off x="1712627" y="3775317"/>
                <a:ext cx="326" cy="401"/>
              </a:xfrm>
              <a:custGeom>
                <a:avLst/>
                <a:gdLst>
                  <a:gd name="connsiteX0" fmla="*/ 3129 w 3128"/>
                  <a:gd name="connsiteY0" fmla="*/ 1866 h 3842"/>
                  <a:gd name="connsiteX1" fmla="*/ 2141 w 3128"/>
                  <a:gd name="connsiteY1" fmla="*/ 3842 h 3842"/>
                  <a:gd name="connsiteX2" fmla="*/ 0 w 3128"/>
                  <a:gd name="connsiteY2" fmla="*/ 2442 h 3842"/>
                  <a:gd name="connsiteX3" fmla="*/ 659 w 3128"/>
                  <a:gd name="connsiteY3" fmla="*/ 522 h 3842"/>
                  <a:gd name="connsiteX4" fmla="*/ 2443 w 3128"/>
                  <a:gd name="connsiteY4" fmla="*/ 0 h 3842"/>
                  <a:gd name="connsiteX5" fmla="*/ 3129 w 3128"/>
                  <a:gd name="connsiteY5" fmla="*/ 1839 h 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3842">
                    <a:moveTo>
                      <a:pt x="3129" y="1866"/>
                    </a:moveTo>
                    <a:lnTo>
                      <a:pt x="2141" y="3842"/>
                    </a:lnTo>
                    <a:lnTo>
                      <a:pt x="0" y="2442"/>
                    </a:lnTo>
                    <a:lnTo>
                      <a:pt x="659" y="522"/>
                    </a:lnTo>
                    <a:lnTo>
                      <a:pt x="2443" y="0"/>
                    </a:lnTo>
                    <a:lnTo>
                      <a:pt x="3129"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1" name="Freeform: Shape 3610">
                <a:extLst>
                  <a:ext uri="{FF2B5EF4-FFF2-40B4-BE49-F238E27FC236}">
                    <a16:creationId xmlns:a16="http://schemas.microsoft.com/office/drawing/2014/main" id="{9191AA3A-6B44-64A2-0F77-14929A112516}"/>
                  </a:ext>
                </a:extLst>
              </p:cNvPr>
              <p:cNvSpPr/>
              <p:nvPr/>
            </p:nvSpPr>
            <p:spPr>
              <a:xfrm>
                <a:off x="1123144" y="3806010"/>
                <a:ext cx="37110" cy="51428"/>
              </a:xfrm>
              <a:custGeom>
                <a:avLst/>
                <a:gdLst>
                  <a:gd name="connsiteX0" fmla="*/ 228820 w 355798"/>
                  <a:gd name="connsiteY0" fmla="*/ 7081 h 493068"/>
                  <a:gd name="connsiteX1" fmla="*/ 229917 w 355798"/>
                  <a:gd name="connsiteY1" fmla="*/ 12349 h 493068"/>
                  <a:gd name="connsiteX2" fmla="*/ 224868 w 355798"/>
                  <a:gd name="connsiteY2" fmla="*/ 17701 h 493068"/>
                  <a:gd name="connsiteX3" fmla="*/ 206207 w 355798"/>
                  <a:gd name="connsiteY3" fmla="*/ 23848 h 493068"/>
                  <a:gd name="connsiteX4" fmla="*/ 198330 w 355798"/>
                  <a:gd name="connsiteY4" fmla="*/ 37625 h 493068"/>
                  <a:gd name="connsiteX5" fmla="*/ 190482 w 355798"/>
                  <a:gd name="connsiteY5" fmla="*/ 40973 h 493068"/>
                  <a:gd name="connsiteX6" fmla="*/ 178956 w 355798"/>
                  <a:gd name="connsiteY6" fmla="*/ 59853 h 493068"/>
                  <a:gd name="connsiteX7" fmla="*/ 176129 w 355798"/>
                  <a:gd name="connsiteY7" fmla="*/ 76758 h 493068"/>
                  <a:gd name="connsiteX8" fmla="*/ 173220 w 355798"/>
                  <a:gd name="connsiteY8" fmla="*/ 85046 h 493068"/>
                  <a:gd name="connsiteX9" fmla="*/ 165262 w 355798"/>
                  <a:gd name="connsiteY9" fmla="*/ 97176 h 493068"/>
                  <a:gd name="connsiteX10" fmla="*/ 169433 w 355798"/>
                  <a:gd name="connsiteY10" fmla="*/ 97532 h 493068"/>
                  <a:gd name="connsiteX11" fmla="*/ 175114 w 355798"/>
                  <a:gd name="connsiteY11" fmla="*/ 94733 h 493068"/>
                  <a:gd name="connsiteX12" fmla="*/ 177145 w 355798"/>
                  <a:gd name="connsiteY12" fmla="*/ 99371 h 493068"/>
                  <a:gd name="connsiteX13" fmla="*/ 182276 w 355798"/>
                  <a:gd name="connsiteY13" fmla="*/ 100332 h 493068"/>
                  <a:gd name="connsiteX14" fmla="*/ 185707 w 355798"/>
                  <a:gd name="connsiteY14" fmla="*/ 113312 h 493068"/>
                  <a:gd name="connsiteX15" fmla="*/ 192842 w 355798"/>
                  <a:gd name="connsiteY15" fmla="*/ 121435 h 493068"/>
                  <a:gd name="connsiteX16" fmla="*/ 194324 w 355798"/>
                  <a:gd name="connsiteY16" fmla="*/ 127473 h 493068"/>
                  <a:gd name="connsiteX17" fmla="*/ 194269 w 355798"/>
                  <a:gd name="connsiteY17" fmla="*/ 130793 h 493068"/>
                  <a:gd name="connsiteX18" fmla="*/ 191031 w 355798"/>
                  <a:gd name="connsiteY18" fmla="*/ 134498 h 493068"/>
                  <a:gd name="connsiteX19" fmla="*/ 191278 w 355798"/>
                  <a:gd name="connsiteY19" fmla="*/ 148384 h 493068"/>
                  <a:gd name="connsiteX20" fmla="*/ 192897 w 355798"/>
                  <a:gd name="connsiteY20" fmla="*/ 150223 h 493068"/>
                  <a:gd name="connsiteX21" fmla="*/ 199154 w 355798"/>
                  <a:gd name="connsiteY21" fmla="*/ 151513 h 493068"/>
                  <a:gd name="connsiteX22" fmla="*/ 204039 w 355798"/>
                  <a:gd name="connsiteY22" fmla="*/ 161063 h 493068"/>
                  <a:gd name="connsiteX23" fmla="*/ 233842 w 355798"/>
                  <a:gd name="connsiteY23" fmla="*/ 162600 h 493068"/>
                  <a:gd name="connsiteX24" fmla="*/ 241965 w 355798"/>
                  <a:gd name="connsiteY24" fmla="*/ 159773 h 493068"/>
                  <a:gd name="connsiteX25" fmla="*/ 254287 w 355798"/>
                  <a:gd name="connsiteY25" fmla="*/ 163697 h 493068"/>
                  <a:gd name="connsiteX26" fmla="*/ 261175 w 355798"/>
                  <a:gd name="connsiteY26" fmla="*/ 162737 h 493068"/>
                  <a:gd name="connsiteX27" fmla="*/ 280632 w 355798"/>
                  <a:gd name="connsiteY27" fmla="*/ 187957 h 493068"/>
                  <a:gd name="connsiteX28" fmla="*/ 286422 w 355798"/>
                  <a:gd name="connsiteY28" fmla="*/ 188835 h 493068"/>
                  <a:gd name="connsiteX29" fmla="*/ 291938 w 355798"/>
                  <a:gd name="connsiteY29" fmla="*/ 185762 h 493068"/>
                  <a:gd name="connsiteX30" fmla="*/ 302861 w 355798"/>
                  <a:gd name="connsiteY30" fmla="*/ 187546 h 493068"/>
                  <a:gd name="connsiteX31" fmla="*/ 313509 w 355798"/>
                  <a:gd name="connsiteY31" fmla="*/ 186530 h 493068"/>
                  <a:gd name="connsiteX32" fmla="*/ 328355 w 355798"/>
                  <a:gd name="connsiteY32" fmla="*/ 183017 h 493068"/>
                  <a:gd name="connsiteX33" fmla="*/ 337357 w 355798"/>
                  <a:gd name="connsiteY33" fmla="*/ 185981 h 493068"/>
                  <a:gd name="connsiteX34" fmla="*/ 338893 w 355798"/>
                  <a:gd name="connsiteY34" fmla="*/ 191964 h 493068"/>
                  <a:gd name="connsiteX35" fmla="*/ 333679 w 355798"/>
                  <a:gd name="connsiteY35" fmla="*/ 199154 h 493068"/>
                  <a:gd name="connsiteX36" fmla="*/ 333158 w 355798"/>
                  <a:gd name="connsiteY36" fmla="*/ 206536 h 493068"/>
                  <a:gd name="connsiteX37" fmla="*/ 327367 w 355798"/>
                  <a:gd name="connsiteY37" fmla="*/ 213067 h 493068"/>
                  <a:gd name="connsiteX38" fmla="*/ 328328 w 355798"/>
                  <a:gd name="connsiteY38" fmla="*/ 218803 h 493068"/>
                  <a:gd name="connsiteX39" fmla="*/ 326489 w 355798"/>
                  <a:gd name="connsiteY39" fmla="*/ 234775 h 493068"/>
                  <a:gd name="connsiteX40" fmla="*/ 328602 w 355798"/>
                  <a:gd name="connsiteY40" fmla="*/ 241855 h 493068"/>
                  <a:gd name="connsiteX41" fmla="*/ 333487 w 355798"/>
                  <a:gd name="connsiteY41" fmla="*/ 256784 h 493068"/>
                  <a:gd name="connsiteX42" fmla="*/ 337823 w 355798"/>
                  <a:gd name="connsiteY42" fmla="*/ 259693 h 493068"/>
                  <a:gd name="connsiteX43" fmla="*/ 342626 w 355798"/>
                  <a:gd name="connsiteY43" fmla="*/ 268502 h 493068"/>
                  <a:gd name="connsiteX44" fmla="*/ 327258 w 355798"/>
                  <a:gd name="connsiteY44" fmla="*/ 284721 h 493068"/>
                  <a:gd name="connsiteX45" fmla="*/ 333432 w 355798"/>
                  <a:gd name="connsiteY45" fmla="*/ 286038 h 493068"/>
                  <a:gd name="connsiteX46" fmla="*/ 346193 w 355798"/>
                  <a:gd name="connsiteY46" fmla="*/ 298690 h 493068"/>
                  <a:gd name="connsiteX47" fmla="*/ 346276 w 355798"/>
                  <a:gd name="connsiteY47" fmla="*/ 303465 h 493068"/>
                  <a:gd name="connsiteX48" fmla="*/ 355798 w 355798"/>
                  <a:gd name="connsiteY48" fmla="*/ 332527 h 493068"/>
                  <a:gd name="connsiteX49" fmla="*/ 349596 w 355798"/>
                  <a:gd name="connsiteY49" fmla="*/ 333460 h 493068"/>
                  <a:gd name="connsiteX50" fmla="*/ 348691 w 355798"/>
                  <a:gd name="connsiteY50" fmla="*/ 318174 h 493068"/>
                  <a:gd name="connsiteX51" fmla="*/ 339827 w 355798"/>
                  <a:gd name="connsiteY51" fmla="*/ 305715 h 493068"/>
                  <a:gd name="connsiteX52" fmla="*/ 336094 w 355798"/>
                  <a:gd name="connsiteY52" fmla="*/ 307087 h 493068"/>
                  <a:gd name="connsiteX53" fmla="*/ 328548 w 355798"/>
                  <a:gd name="connsiteY53" fmla="*/ 315320 h 493068"/>
                  <a:gd name="connsiteX54" fmla="*/ 325117 w 355798"/>
                  <a:gd name="connsiteY54" fmla="*/ 316747 h 493068"/>
                  <a:gd name="connsiteX55" fmla="*/ 322592 w 355798"/>
                  <a:gd name="connsiteY55" fmla="*/ 316445 h 493068"/>
                  <a:gd name="connsiteX56" fmla="*/ 317131 w 355798"/>
                  <a:gd name="connsiteY56" fmla="*/ 310600 h 493068"/>
                  <a:gd name="connsiteX57" fmla="*/ 314716 w 355798"/>
                  <a:gd name="connsiteY57" fmla="*/ 314085 h 493068"/>
                  <a:gd name="connsiteX58" fmla="*/ 316637 w 355798"/>
                  <a:gd name="connsiteY58" fmla="*/ 317625 h 493068"/>
                  <a:gd name="connsiteX59" fmla="*/ 277641 w 355798"/>
                  <a:gd name="connsiteY59" fmla="*/ 316637 h 493068"/>
                  <a:gd name="connsiteX60" fmla="*/ 268996 w 355798"/>
                  <a:gd name="connsiteY60" fmla="*/ 318997 h 493068"/>
                  <a:gd name="connsiteX61" fmla="*/ 268557 w 355798"/>
                  <a:gd name="connsiteY61" fmla="*/ 336122 h 493068"/>
                  <a:gd name="connsiteX62" fmla="*/ 284693 w 355798"/>
                  <a:gd name="connsiteY62" fmla="*/ 337302 h 493068"/>
                  <a:gd name="connsiteX63" fmla="*/ 288782 w 355798"/>
                  <a:gd name="connsiteY63" fmla="*/ 342900 h 493068"/>
                  <a:gd name="connsiteX64" fmla="*/ 288645 w 355798"/>
                  <a:gd name="connsiteY64" fmla="*/ 348938 h 493068"/>
                  <a:gd name="connsiteX65" fmla="*/ 287081 w 355798"/>
                  <a:gd name="connsiteY65" fmla="*/ 350337 h 493068"/>
                  <a:gd name="connsiteX66" fmla="*/ 283074 w 355798"/>
                  <a:gd name="connsiteY66" fmla="*/ 350200 h 493068"/>
                  <a:gd name="connsiteX67" fmla="*/ 278766 w 355798"/>
                  <a:gd name="connsiteY67" fmla="*/ 347456 h 493068"/>
                  <a:gd name="connsiteX68" fmla="*/ 275308 w 355798"/>
                  <a:gd name="connsiteY68" fmla="*/ 349651 h 493068"/>
                  <a:gd name="connsiteX69" fmla="*/ 264139 w 355798"/>
                  <a:gd name="connsiteY69" fmla="*/ 351956 h 493068"/>
                  <a:gd name="connsiteX70" fmla="*/ 262986 w 355798"/>
                  <a:gd name="connsiteY70" fmla="*/ 353466 h 493068"/>
                  <a:gd name="connsiteX71" fmla="*/ 262712 w 355798"/>
                  <a:gd name="connsiteY71" fmla="*/ 373279 h 493068"/>
                  <a:gd name="connsiteX72" fmla="*/ 274650 w 355798"/>
                  <a:gd name="connsiteY72" fmla="*/ 383763 h 493068"/>
                  <a:gd name="connsiteX73" fmla="*/ 275884 w 355798"/>
                  <a:gd name="connsiteY73" fmla="*/ 391227 h 493068"/>
                  <a:gd name="connsiteX74" fmla="*/ 280879 w 355798"/>
                  <a:gd name="connsiteY74" fmla="*/ 403137 h 493068"/>
                  <a:gd name="connsiteX75" fmla="*/ 279562 w 355798"/>
                  <a:gd name="connsiteY75" fmla="*/ 410547 h 493068"/>
                  <a:gd name="connsiteX76" fmla="*/ 265045 w 355798"/>
                  <a:gd name="connsiteY76" fmla="*/ 493068 h 493068"/>
                  <a:gd name="connsiteX77" fmla="*/ 256317 w 355798"/>
                  <a:gd name="connsiteY77" fmla="*/ 482585 h 493068"/>
                  <a:gd name="connsiteX78" fmla="*/ 248496 w 355798"/>
                  <a:gd name="connsiteY78" fmla="*/ 482009 h 493068"/>
                  <a:gd name="connsiteX79" fmla="*/ 244737 w 355798"/>
                  <a:gd name="connsiteY79" fmla="*/ 479292 h 493068"/>
                  <a:gd name="connsiteX80" fmla="*/ 260653 w 355798"/>
                  <a:gd name="connsiteY80" fmla="*/ 452590 h 493068"/>
                  <a:gd name="connsiteX81" fmla="*/ 259309 w 355798"/>
                  <a:gd name="connsiteY81" fmla="*/ 446799 h 493068"/>
                  <a:gd name="connsiteX82" fmla="*/ 238864 w 355798"/>
                  <a:gd name="connsiteY82" fmla="*/ 435301 h 493068"/>
                  <a:gd name="connsiteX83" fmla="*/ 224539 w 355798"/>
                  <a:gd name="connsiteY83" fmla="*/ 437853 h 493068"/>
                  <a:gd name="connsiteX84" fmla="*/ 213616 w 355798"/>
                  <a:gd name="connsiteY84" fmla="*/ 432721 h 493068"/>
                  <a:gd name="connsiteX85" fmla="*/ 198495 w 355798"/>
                  <a:gd name="connsiteY85" fmla="*/ 440350 h 493068"/>
                  <a:gd name="connsiteX86" fmla="*/ 177501 w 355798"/>
                  <a:gd name="connsiteY86" fmla="*/ 440130 h 493068"/>
                  <a:gd name="connsiteX87" fmla="*/ 172315 w 355798"/>
                  <a:gd name="connsiteY87" fmla="*/ 435822 h 493068"/>
                  <a:gd name="connsiteX88" fmla="*/ 170833 w 355798"/>
                  <a:gd name="connsiteY88" fmla="*/ 424351 h 493068"/>
                  <a:gd name="connsiteX89" fmla="*/ 162243 w 355798"/>
                  <a:gd name="connsiteY89" fmla="*/ 419493 h 493068"/>
                  <a:gd name="connsiteX90" fmla="*/ 158675 w 355798"/>
                  <a:gd name="connsiteY90" fmla="*/ 410547 h 493068"/>
                  <a:gd name="connsiteX91" fmla="*/ 156864 w 355798"/>
                  <a:gd name="connsiteY91" fmla="*/ 407528 h 493068"/>
                  <a:gd name="connsiteX92" fmla="*/ 139109 w 355798"/>
                  <a:gd name="connsiteY92" fmla="*/ 397594 h 493068"/>
                  <a:gd name="connsiteX93" fmla="*/ 133510 w 355798"/>
                  <a:gd name="connsiteY93" fmla="*/ 384860 h 493068"/>
                  <a:gd name="connsiteX94" fmla="*/ 124125 w 355798"/>
                  <a:gd name="connsiteY94" fmla="*/ 377533 h 493068"/>
                  <a:gd name="connsiteX95" fmla="*/ 121655 w 355798"/>
                  <a:gd name="connsiteY95" fmla="*/ 373774 h 493068"/>
                  <a:gd name="connsiteX96" fmla="*/ 112132 w 355798"/>
                  <a:gd name="connsiteY96" fmla="*/ 369767 h 493068"/>
                  <a:gd name="connsiteX97" fmla="*/ 108125 w 355798"/>
                  <a:gd name="connsiteY97" fmla="*/ 371249 h 493068"/>
                  <a:gd name="connsiteX98" fmla="*/ 100963 w 355798"/>
                  <a:gd name="connsiteY98" fmla="*/ 369355 h 493068"/>
                  <a:gd name="connsiteX99" fmla="*/ 98795 w 355798"/>
                  <a:gd name="connsiteY99" fmla="*/ 366501 h 493068"/>
                  <a:gd name="connsiteX100" fmla="*/ 93745 w 355798"/>
                  <a:gd name="connsiteY100" fmla="*/ 365788 h 493068"/>
                  <a:gd name="connsiteX101" fmla="*/ 85457 w 355798"/>
                  <a:gd name="connsiteY101" fmla="*/ 358351 h 493068"/>
                  <a:gd name="connsiteX102" fmla="*/ 79448 w 355798"/>
                  <a:gd name="connsiteY102" fmla="*/ 356018 h 493068"/>
                  <a:gd name="connsiteX103" fmla="*/ 75990 w 355798"/>
                  <a:gd name="connsiteY103" fmla="*/ 357610 h 493068"/>
                  <a:gd name="connsiteX104" fmla="*/ 74645 w 355798"/>
                  <a:gd name="connsiteY104" fmla="*/ 360738 h 493068"/>
                  <a:gd name="connsiteX105" fmla="*/ 70638 w 355798"/>
                  <a:gd name="connsiteY105" fmla="*/ 361424 h 493068"/>
                  <a:gd name="connsiteX106" fmla="*/ 60594 w 355798"/>
                  <a:gd name="connsiteY106" fmla="*/ 361013 h 493068"/>
                  <a:gd name="connsiteX107" fmla="*/ 53569 w 355798"/>
                  <a:gd name="connsiteY107" fmla="*/ 357857 h 493068"/>
                  <a:gd name="connsiteX108" fmla="*/ 45446 w 355798"/>
                  <a:gd name="connsiteY108" fmla="*/ 357308 h 493068"/>
                  <a:gd name="connsiteX109" fmla="*/ 43991 w 355798"/>
                  <a:gd name="connsiteY109" fmla="*/ 353411 h 493068"/>
                  <a:gd name="connsiteX110" fmla="*/ 42893 w 355798"/>
                  <a:gd name="connsiteY110" fmla="*/ 350392 h 493068"/>
                  <a:gd name="connsiteX111" fmla="*/ 38311 w 355798"/>
                  <a:gd name="connsiteY111" fmla="*/ 347154 h 493068"/>
                  <a:gd name="connsiteX112" fmla="*/ 37515 w 355798"/>
                  <a:gd name="connsiteY112" fmla="*/ 344409 h 493068"/>
                  <a:gd name="connsiteX113" fmla="*/ 28651 w 355798"/>
                  <a:gd name="connsiteY113" fmla="*/ 343943 h 493068"/>
                  <a:gd name="connsiteX114" fmla="*/ 6312 w 355798"/>
                  <a:gd name="connsiteY114" fmla="*/ 327587 h 493068"/>
                  <a:gd name="connsiteX115" fmla="*/ 3979 w 355798"/>
                  <a:gd name="connsiteY115" fmla="*/ 325501 h 493068"/>
                  <a:gd name="connsiteX116" fmla="*/ 0 w 355798"/>
                  <a:gd name="connsiteY116" fmla="*/ 319546 h 493068"/>
                  <a:gd name="connsiteX117" fmla="*/ 4748 w 355798"/>
                  <a:gd name="connsiteY117" fmla="*/ 315375 h 493068"/>
                  <a:gd name="connsiteX118" fmla="*/ 11306 w 355798"/>
                  <a:gd name="connsiteY118" fmla="*/ 315320 h 493068"/>
                  <a:gd name="connsiteX119" fmla="*/ 8205 w 355798"/>
                  <a:gd name="connsiteY119" fmla="*/ 304727 h 493068"/>
                  <a:gd name="connsiteX120" fmla="*/ 12487 w 355798"/>
                  <a:gd name="connsiteY120" fmla="*/ 295589 h 493068"/>
                  <a:gd name="connsiteX121" fmla="*/ 18826 w 355798"/>
                  <a:gd name="connsiteY121" fmla="*/ 290841 h 493068"/>
                  <a:gd name="connsiteX122" fmla="*/ 27169 w 355798"/>
                  <a:gd name="connsiteY122" fmla="*/ 290841 h 493068"/>
                  <a:gd name="connsiteX123" fmla="*/ 33700 w 355798"/>
                  <a:gd name="connsiteY123" fmla="*/ 288673 h 493068"/>
                  <a:gd name="connsiteX124" fmla="*/ 42152 w 355798"/>
                  <a:gd name="connsiteY124" fmla="*/ 273332 h 493068"/>
                  <a:gd name="connsiteX125" fmla="*/ 51538 w 355798"/>
                  <a:gd name="connsiteY125" fmla="*/ 261916 h 493068"/>
                  <a:gd name="connsiteX126" fmla="*/ 53569 w 355798"/>
                  <a:gd name="connsiteY126" fmla="*/ 256427 h 493068"/>
                  <a:gd name="connsiteX127" fmla="*/ 47833 w 355798"/>
                  <a:gd name="connsiteY127" fmla="*/ 252366 h 493068"/>
                  <a:gd name="connsiteX128" fmla="*/ 43058 w 355798"/>
                  <a:gd name="connsiteY128" fmla="*/ 245423 h 493068"/>
                  <a:gd name="connsiteX129" fmla="*/ 47943 w 355798"/>
                  <a:gd name="connsiteY129" fmla="*/ 235241 h 493068"/>
                  <a:gd name="connsiteX130" fmla="*/ 46214 w 355798"/>
                  <a:gd name="connsiteY130" fmla="*/ 210597 h 493068"/>
                  <a:gd name="connsiteX131" fmla="*/ 43141 w 355798"/>
                  <a:gd name="connsiteY131" fmla="*/ 205685 h 493068"/>
                  <a:gd name="connsiteX132" fmla="*/ 49809 w 355798"/>
                  <a:gd name="connsiteY132" fmla="*/ 199044 h 493068"/>
                  <a:gd name="connsiteX133" fmla="*/ 44430 w 355798"/>
                  <a:gd name="connsiteY133" fmla="*/ 186310 h 493068"/>
                  <a:gd name="connsiteX134" fmla="*/ 47476 w 355798"/>
                  <a:gd name="connsiteY134" fmla="*/ 175855 h 493068"/>
                  <a:gd name="connsiteX135" fmla="*/ 38640 w 355798"/>
                  <a:gd name="connsiteY135" fmla="*/ 166607 h 493068"/>
                  <a:gd name="connsiteX136" fmla="*/ 36801 w 355798"/>
                  <a:gd name="connsiteY136" fmla="*/ 160157 h 493068"/>
                  <a:gd name="connsiteX137" fmla="*/ 31587 w 355798"/>
                  <a:gd name="connsiteY137" fmla="*/ 155465 h 493068"/>
                  <a:gd name="connsiteX138" fmla="*/ 34194 w 355798"/>
                  <a:gd name="connsiteY138" fmla="*/ 148961 h 493068"/>
                  <a:gd name="connsiteX139" fmla="*/ 36582 w 355798"/>
                  <a:gd name="connsiteY139" fmla="*/ 147232 h 493068"/>
                  <a:gd name="connsiteX140" fmla="*/ 36719 w 355798"/>
                  <a:gd name="connsiteY140" fmla="*/ 142127 h 493068"/>
                  <a:gd name="connsiteX141" fmla="*/ 41905 w 355798"/>
                  <a:gd name="connsiteY141" fmla="*/ 146189 h 493068"/>
                  <a:gd name="connsiteX142" fmla="*/ 48080 w 355798"/>
                  <a:gd name="connsiteY142" fmla="*/ 135953 h 493068"/>
                  <a:gd name="connsiteX143" fmla="*/ 52361 w 355798"/>
                  <a:gd name="connsiteY143" fmla="*/ 133949 h 493068"/>
                  <a:gd name="connsiteX144" fmla="*/ 45994 w 355798"/>
                  <a:gd name="connsiteY144" fmla="*/ 118499 h 493068"/>
                  <a:gd name="connsiteX145" fmla="*/ 45007 w 355798"/>
                  <a:gd name="connsiteY145" fmla="*/ 116715 h 493068"/>
                  <a:gd name="connsiteX146" fmla="*/ 47065 w 355798"/>
                  <a:gd name="connsiteY146" fmla="*/ 112379 h 493068"/>
                  <a:gd name="connsiteX147" fmla="*/ 51154 w 355798"/>
                  <a:gd name="connsiteY147" fmla="*/ 118718 h 493068"/>
                  <a:gd name="connsiteX148" fmla="*/ 61225 w 355798"/>
                  <a:gd name="connsiteY148" fmla="*/ 128598 h 493068"/>
                  <a:gd name="connsiteX149" fmla="*/ 61225 w 355798"/>
                  <a:gd name="connsiteY149" fmla="*/ 133565 h 493068"/>
                  <a:gd name="connsiteX150" fmla="*/ 64518 w 355798"/>
                  <a:gd name="connsiteY150" fmla="*/ 134032 h 493068"/>
                  <a:gd name="connsiteX151" fmla="*/ 65479 w 355798"/>
                  <a:gd name="connsiteY151" fmla="*/ 129229 h 493068"/>
                  <a:gd name="connsiteX152" fmla="*/ 61500 w 355798"/>
                  <a:gd name="connsiteY152" fmla="*/ 114931 h 493068"/>
                  <a:gd name="connsiteX153" fmla="*/ 76539 w 355798"/>
                  <a:gd name="connsiteY153" fmla="*/ 105436 h 493068"/>
                  <a:gd name="connsiteX154" fmla="*/ 86007 w 355798"/>
                  <a:gd name="connsiteY154" fmla="*/ 92318 h 493068"/>
                  <a:gd name="connsiteX155" fmla="*/ 98575 w 355798"/>
                  <a:gd name="connsiteY155" fmla="*/ 88394 h 493068"/>
                  <a:gd name="connsiteX156" fmla="*/ 99536 w 355798"/>
                  <a:gd name="connsiteY156" fmla="*/ 84854 h 493068"/>
                  <a:gd name="connsiteX157" fmla="*/ 97450 w 355798"/>
                  <a:gd name="connsiteY157" fmla="*/ 80298 h 493068"/>
                  <a:gd name="connsiteX158" fmla="*/ 100825 w 355798"/>
                  <a:gd name="connsiteY158" fmla="*/ 67263 h 493068"/>
                  <a:gd name="connsiteX159" fmla="*/ 99316 w 355798"/>
                  <a:gd name="connsiteY159" fmla="*/ 65451 h 493068"/>
                  <a:gd name="connsiteX160" fmla="*/ 102362 w 355798"/>
                  <a:gd name="connsiteY160" fmla="*/ 56039 h 493068"/>
                  <a:gd name="connsiteX161" fmla="*/ 120612 w 355798"/>
                  <a:gd name="connsiteY161" fmla="*/ 41137 h 493068"/>
                  <a:gd name="connsiteX162" fmla="*/ 135843 w 355798"/>
                  <a:gd name="connsiteY162" fmla="*/ 43086 h 493068"/>
                  <a:gd name="connsiteX163" fmla="*/ 138669 w 355798"/>
                  <a:gd name="connsiteY163" fmla="*/ 41247 h 493068"/>
                  <a:gd name="connsiteX164" fmla="*/ 139850 w 355798"/>
                  <a:gd name="connsiteY164" fmla="*/ 35923 h 493068"/>
                  <a:gd name="connsiteX165" fmla="*/ 142484 w 355798"/>
                  <a:gd name="connsiteY165" fmla="*/ 33481 h 493068"/>
                  <a:gd name="connsiteX166" fmla="*/ 155986 w 355798"/>
                  <a:gd name="connsiteY166" fmla="*/ 35237 h 493068"/>
                  <a:gd name="connsiteX167" fmla="*/ 167128 w 355798"/>
                  <a:gd name="connsiteY167" fmla="*/ 34112 h 493068"/>
                  <a:gd name="connsiteX168" fmla="*/ 182551 w 355798"/>
                  <a:gd name="connsiteY168" fmla="*/ 22888 h 493068"/>
                  <a:gd name="connsiteX169" fmla="*/ 196080 w 355798"/>
                  <a:gd name="connsiteY169" fmla="*/ 16932 h 493068"/>
                  <a:gd name="connsiteX170" fmla="*/ 199620 w 355798"/>
                  <a:gd name="connsiteY170" fmla="*/ 12130 h 493068"/>
                  <a:gd name="connsiteX171" fmla="*/ 200883 w 355798"/>
                  <a:gd name="connsiteY171" fmla="*/ 6916 h 493068"/>
                  <a:gd name="connsiteX172" fmla="*/ 207030 w 355798"/>
                  <a:gd name="connsiteY172" fmla="*/ 7245 h 493068"/>
                  <a:gd name="connsiteX173" fmla="*/ 208567 w 355798"/>
                  <a:gd name="connsiteY173" fmla="*/ 3897 h 493068"/>
                  <a:gd name="connsiteX174" fmla="*/ 214467 w 355798"/>
                  <a:gd name="connsiteY174" fmla="*/ 0 h 493068"/>
                  <a:gd name="connsiteX175" fmla="*/ 224511 w 355798"/>
                  <a:gd name="connsiteY175" fmla="*/ 2415 h 493068"/>
                  <a:gd name="connsiteX176" fmla="*/ 228792 w 355798"/>
                  <a:gd name="connsiteY176" fmla="*/ 6998 h 493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355798" h="493068">
                    <a:moveTo>
                      <a:pt x="228820" y="7081"/>
                    </a:moveTo>
                    <a:lnTo>
                      <a:pt x="229917" y="12349"/>
                    </a:lnTo>
                    <a:lnTo>
                      <a:pt x="224868" y="17701"/>
                    </a:lnTo>
                    <a:lnTo>
                      <a:pt x="206207" y="23848"/>
                    </a:lnTo>
                    <a:lnTo>
                      <a:pt x="198330" y="37625"/>
                    </a:lnTo>
                    <a:lnTo>
                      <a:pt x="190482" y="40973"/>
                    </a:lnTo>
                    <a:lnTo>
                      <a:pt x="178956" y="59853"/>
                    </a:lnTo>
                    <a:lnTo>
                      <a:pt x="176129" y="76758"/>
                    </a:lnTo>
                    <a:lnTo>
                      <a:pt x="173220" y="85046"/>
                    </a:lnTo>
                    <a:lnTo>
                      <a:pt x="165262" y="97176"/>
                    </a:lnTo>
                    <a:lnTo>
                      <a:pt x="169433" y="97532"/>
                    </a:lnTo>
                    <a:lnTo>
                      <a:pt x="175114" y="94733"/>
                    </a:lnTo>
                    <a:lnTo>
                      <a:pt x="177145" y="99371"/>
                    </a:lnTo>
                    <a:lnTo>
                      <a:pt x="182276" y="100332"/>
                    </a:lnTo>
                    <a:lnTo>
                      <a:pt x="185707" y="113312"/>
                    </a:lnTo>
                    <a:lnTo>
                      <a:pt x="192842" y="121435"/>
                    </a:lnTo>
                    <a:lnTo>
                      <a:pt x="194324" y="127473"/>
                    </a:lnTo>
                    <a:lnTo>
                      <a:pt x="194269" y="130793"/>
                    </a:lnTo>
                    <a:lnTo>
                      <a:pt x="191031" y="134498"/>
                    </a:lnTo>
                    <a:lnTo>
                      <a:pt x="191278" y="148384"/>
                    </a:lnTo>
                    <a:lnTo>
                      <a:pt x="192897" y="150223"/>
                    </a:lnTo>
                    <a:lnTo>
                      <a:pt x="199154" y="151513"/>
                    </a:lnTo>
                    <a:lnTo>
                      <a:pt x="204039" y="161063"/>
                    </a:lnTo>
                    <a:lnTo>
                      <a:pt x="233842" y="162600"/>
                    </a:lnTo>
                    <a:lnTo>
                      <a:pt x="241965" y="159773"/>
                    </a:lnTo>
                    <a:lnTo>
                      <a:pt x="254287" y="163697"/>
                    </a:lnTo>
                    <a:lnTo>
                      <a:pt x="261175" y="162737"/>
                    </a:lnTo>
                    <a:lnTo>
                      <a:pt x="280632" y="187957"/>
                    </a:lnTo>
                    <a:lnTo>
                      <a:pt x="286422" y="188835"/>
                    </a:lnTo>
                    <a:lnTo>
                      <a:pt x="291938" y="185762"/>
                    </a:lnTo>
                    <a:lnTo>
                      <a:pt x="302861" y="187546"/>
                    </a:lnTo>
                    <a:lnTo>
                      <a:pt x="313509" y="186530"/>
                    </a:lnTo>
                    <a:lnTo>
                      <a:pt x="328355" y="183017"/>
                    </a:lnTo>
                    <a:lnTo>
                      <a:pt x="337357" y="185981"/>
                    </a:lnTo>
                    <a:lnTo>
                      <a:pt x="338893" y="191964"/>
                    </a:lnTo>
                    <a:lnTo>
                      <a:pt x="333679" y="199154"/>
                    </a:lnTo>
                    <a:lnTo>
                      <a:pt x="333158" y="206536"/>
                    </a:lnTo>
                    <a:lnTo>
                      <a:pt x="327367" y="213067"/>
                    </a:lnTo>
                    <a:lnTo>
                      <a:pt x="328328" y="218803"/>
                    </a:lnTo>
                    <a:lnTo>
                      <a:pt x="326489" y="234775"/>
                    </a:lnTo>
                    <a:lnTo>
                      <a:pt x="328602" y="241855"/>
                    </a:lnTo>
                    <a:lnTo>
                      <a:pt x="333487" y="256784"/>
                    </a:lnTo>
                    <a:lnTo>
                      <a:pt x="337823" y="259693"/>
                    </a:lnTo>
                    <a:lnTo>
                      <a:pt x="342626" y="268502"/>
                    </a:lnTo>
                    <a:lnTo>
                      <a:pt x="327258" y="284721"/>
                    </a:lnTo>
                    <a:lnTo>
                      <a:pt x="333432" y="286038"/>
                    </a:lnTo>
                    <a:lnTo>
                      <a:pt x="346193" y="298690"/>
                    </a:lnTo>
                    <a:lnTo>
                      <a:pt x="346276" y="303465"/>
                    </a:lnTo>
                    <a:lnTo>
                      <a:pt x="355798" y="332527"/>
                    </a:lnTo>
                    <a:lnTo>
                      <a:pt x="349596" y="333460"/>
                    </a:lnTo>
                    <a:lnTo>
                      <a:pt x="348691" y="318174"/>
                    </a:lnTo>
                    <a:lnTo>
                      <a:pt x="339827" y="305715"/>
                    </a:lnTo>
                    <a:lnTo>
                      <a:pt x="336094" y="307087"/>
                    </a:lnTo>
                    <a:lnTo>
                      <a:pt x="328548" y="315320"/>
                    </a:lnTo>
                    <a:lnTo>
                      <a:pt x="325117" y="316747"/>
                    </a:lnTo>
                    <a:lnTo>
                      <a:pt x="322592" y="316445"/>
                    </a:lnTo>
                    <a:lnTo>
                      <a:pt x="317131" y="310600"/>
                    </a:lnTo>
                    <a:lnTo>
                      <a:pt x="314716" y="314085"/>
                    </a:lnTo>
                    <a:lnTo>
                      <a:pt x="316637" y="317625"/>
                    </a:lnTo>
                    <a:lnTo>
                      <a:pt x="277641" y="316637"/>
                    </a:lnTo>
                    <a:lnTo>
                      <a:pt x="268996" y="318997"/>
                    </a:lnTo>
                    <a:lnTo>
                      <a:pt x="268557" y="336122"/>
                    </a:lnTo>
                    <a:lnTo>
                      <a:pt x="284693" y="337302"/>
                    </a:lnTo>
                    <a:lnTo>
                      <a:pt x="288782" y="342900"/>
                    </a:lnTo>
                    <a:lnTo>
                      <a:pt x="288645" y="348938"/>
                    </a:lnTo>
                    <a:lnTo>
                      <a:pt x="287081" y="350337"/>
                    </a:lnTo>
                    <a:lnTo>
                      <a:pt x="283074" y="350200"/>
                    </a:lnTo>
                    <a:lnTo>
                      <a:pt x="278766" y="347456"/>
                    </a:lnTo>
                    <a:lnTo>
                      <a:pt x="275308" y="349651"/>
                    </a:lnTo>
                    <a:lnTo>
                      <a:pt x="264139" y="351956"/>
                    </a:lnTo>
                    <a:lnTo>
                      <a:pt x="262986" y="353466"/>
                    </a:lnTo>
                    <a:lnTo>
                      <a:pt x="262712" y="373279"/>
                    </a:lnTo>
                    <a:lnTo>
                      <a:pt x="274650" y="383763"/>
                    </a:lnTo>
                    <a:lnTo>
                      <a:pt x="275884" y="391227"/>
                    </a:lnTo>
                    <a:lnTo>
                      <a:pt x="280879" y="403137"/>
                    </a:lnTo>
                    <a:lnTo>
                      <a:pt x="279562" y="410547"/>
                    </a:lnTo>
                    <a:lnTo>
                      <a:pt x="265045" y="493068"/>
                    </a:lnTo>
                    <a:lnTo>
                      <a:pt x="256317" y="482585"/>
                    </a:lnTo>
                    <a:lnTo>
                      <a:pt x="248496" y="482009"/>
                    </a:lnTo>
                    <a:lnTo>
                      <a:pt x="244737" y="479292"/>
                    </a:lnTo>
                    <a:lnTo>
                      <a:pt x="260653" y="452590"/>
                    </a:lnTo>
                    <a:lnTo>
                      <a:pt x="259309" y="446799"/>
                    </a:lnTo>
                    <a:lnTo>
                      <a:pt x="238864" y="435301"/>
                    </a:lnTo>
                    <a:lnTo>
                      <a:pt x="224539" y="437853"/>
                    </a:lnTo>
                    <a:lnTo>
                      <a:pt x="213616" y="432721"/>
                    </a:lnTo>
                    <a:lnTo>
                      <a:pt x="198495" y="440350"/>
                    </a:lnTo>
                    <a:lnTo>
                      <a:pt x="177501" y="440130"/>
                    </a:lnTo>
                    <a:lnTo>
                      <a:pt x="172315" y="435822"/>
                    </a:lnTo>
                    <a:lnTo>
                      <a:pt x="170833" y="424351"/>
                    </a:lnTo>
                    <a:lnTo>
                      <a:pt x="162243" y="419493"/>
                    </a:lnTo>
                    <a:lnTo>
                      <a:pt x="158675" y="410547"/>
                    </a:lnTo>
                    <a:lnTo>
                      <a:pt x="156864" y="407528"/>
                    </a:lnTo>
                    <a:lnTo>
                      <a:pt x="139109" y="397594"/>
                    </a:lnTo>
                    <a:lnTo>
                      <a:pt x="133510" y="384860"/>
                    </a:lnTo>
                    <a:lnTo>
                      <a:pt x="124125" y="377533"/>
                    </a:lnTo>
                    <a:lnTo>
                      <a:pt x="121655" y="373774"/>
                    </a:lnTo>
                    <a:lnTo>
                      <a:pt x="112132" y="369767"/>
                    </a:lnTo>
                    <a:lnTo>
                      <a:pt x="108125" y="371249"/>
                    </a:lnTo>
                    <a:lnTo>
                      <a:pt x="100963" y="369355"/>
                    </a:lnTo>
                    <a:lnTo>
                      <a:pt x="98795" y="366501"/>
                    </a:lnTo>
                    <a:lnTo>
                      <a:pt x="93745" y="365788"/>
                    </a:lnTo>
                    <a:lnTo>
                      <a:pt x="85457" y="358351"/>
                    </a:lnTo>
                    <a:lnTo>
                      <a:pt x="79448" y="356018"/>
                    </a:lnTo>
                    <a:lnTo>
                      <a:pt x="75990" y="357610"/>
                    </a:lnTo>
                    <a:lnTo>
                      <a:pt x="74645" y="360738"/>
                    </a:lnTo>
                    <a:lnTo>
                      <a:pt x="70638" y="361424"/>
                    </a:lnTo>
                    <a:lnTo>
                      <a:pt x="60594" y="361013"/>
                    </a:lnTo>
                    <a:lnTo>
                      <a:pt x="53569" y="357857"/>
                    </a:lnTo>
                    <a:lnTo>
                      <a:pt x="45446" y="357308"/>
                    </a:lnTo>
                    <a:lnTo>
                      <a:pt x="43991" y="353411"/>
                    </a:lnTo>
                    <a:lnTo>
                      <a:pt x="42893" y="350392"/>
                    </a:lnTo>
                    <a:lnTo>
                      <a:pt x="38311" y="347154"/>
                    </a:lnTo>
                    <a:lnTo>
                      <a:pt x="37515" y="344409"/>
                    </a:lnTo>
                    <a:lnTo>
                      <a:pt x="28651" y="343943"/>
                    </a:lnTo>
                    <a:lnTo>
                      <a:pt x="6312" y="327587"/>
                    </a:lnTo>
                    <a:lnTo>
                      <a:pt x="3979" y="325501"/>
                    </a:lnTo>
                    <a:lnTo>
                      <a:pt x="0" y="319546"/>
                    </a:lnTo>
                    <a:lnTo>
                      <a:pt x="4748" y="315375"/>
                    </a:lnTo>
                    <a:lnTo>
                      <a:pt x="11306" y="315320"/>
                    </a:lnTo>
                    <a:lnTo>
                      <a:pt x="8205" y="304727"/>
                    </a:lnTo>
                    <a:lnTo>
                      <a:pt x="12487" y="295589"/>
                    </a:lnTo>
                    <a:lnTo>
                      <a:pt x="18826" y="290841"/>
                    </a:lnTo>
                    <a:lnTo>
                      <a:pt x="27169" y="290841"/>
                    </a:lnTo>
                    <a:cubicBezTo>
                      <a:pt x="27169" y="290841"/>
                      <a:pt x="33700" y="288673"/>
                      <a:pt x="33700" y="288673"/>
                    </a:cubicBezTo>
                    <a:lnTo>
                      <a:pt x="42152" y="273332"/>
                    </a:lnTo>
                    <a:lnTo>
                      <a:pt x="51538" y="261916"/>
                    </a:lnTo>
                    <a:lnTo>
                      <a:pt x="53569" y="256427"/>
                    </a:lnTo>
                    <a:lnTo>
                      <a:pt x="47833" y="252366"/>
                    </a:lnTo>
                    <a:lnTo>
                      <a:pt x="43058" y="245423"/>
                    </a:lnTo>
                    <a:lnTo>
                      <a:pt x="47943" y="235241"/>
                    </a:lnTo>
                    <a:lnTo>
                      <a:pt x="46214" y="210597"/>
                    </a:lnTo>
                    <a:lnTo>
                      <a:pt x="43141" y="205685"/>
                    </a:lnTo>
                    <a:lnTo>
                      <a:pt x="49809" y="199044"/>
                    </a:lnTo>
                    <a:lnTo>
                      <a:pt x="44430" y="186310"/>
                    </a:lnTo>
                    <a:lnTo>
                      <a:pt x="47476" y="175855"/>
                    </a:lnTo>
                    <a:lnTo>
                      <a:pt x="38640" y="166607"/>
                    </a:lnTo>
                    <a:lnTo>
                      <a:pt x="36801" y="160157"/>
                    </a:lnTo>
                    <a:lnTo>
                      <a:pt x="31587" y="155465"/>
                    </a:lnTo>
                    <a:lnTo>
                      <a:pt x="34194" y="148961"/>
                    </a:lnTo>
                    <a:lnTo>
                      <a:pt x="36582" y="147232"/>
                    </a:lnTo>
                    <a:lnTo>
                      <a:pt x="36719" y="142127"/>
                    </a:lnTo>
                    <a:lnTo>
                      <a:pt x="41905" y="146189"/>
                    </a:lnTo>
                    <a:lnTo>
                      <a:pt x="48080" y="135953"/>
                    </a:lnTo>
                    <a:lnTo>
                      <a:pt x="52361" y="133949"/>
                    </a:lnTo>
                    <a:lnTo>
                      <a:pt x="45994" y="118499"/>
                    </a:lnTo>
                    <a:lnTo>
                      <a:pt x="45007" y="116715"/>
                    </a:lnTo>
                    <a:lnTo>
                      <a:pt x="47065" y="112379"/>
                    </a:lnTo>
                    <a:lnTo>
                      <a:pt x="51154" y="118718"/>
                    </a:lnTo>
                    <a:lnTo>
                      <a:pt x="61225" y="128598"/>
                    </a:lnTo>
                    <a:lnTo>
                      <a:pt x="61225" y="133565"/>
                    </a:lnTo>
                    <a:lnTo>
                      <a:pt x="64518" y="134032"/>
                    </a:lnTo>
                    <a:lnTo>
                      <a:pt x="65479" y="129229"/>
                    </a:lnTo>
                    <a:lnTo>
                      <a:pt x="61500" y="114931"/>
                    </a:lnTo>
                    <a:lnTo>
                      <a:pt x="76539" y="105436"/>
                    </a:lnTo>
                    <a:lnTo>
                      <a:pt x="86007" y="92318"/>
                    </a:lnTo>
                    <a:lnTo>
                      <a:pt x="98575" y="88394"/>
                    </a:lnTo>
                    <a:lnTo>
                      <a:pt x="99536" y="84854"/>
                    </a:lnTo>
                    <a:lnTo>
                      <a:pt x="97450" y="80298"/>
                    </a:lnTo>
                    <a:lnTo>
                      <a:pt x="100825" y="67263"/>
                    </a:lnTo>
                    <a:lnTo>
                      <a:pt x="99316" y="65451"/>
                    </a:lnTo>
                    <a:lnTo>
                      <a:pt x="102362" y="56039"/>
                    </a:lnTo>
                    <a:lnTo>
                      <a:pt x="120612" y="41137"/>
                    </a:lnTo>
                    <a:lnTo>
                      <a:pt x="135843" y="43086"/>
                    </a:lnTo>
                    <a:lnTo>
                      <a:pt x="138669" y="41247"/>
                    </a:lnTo>
                    <a:lnTo>
                      <a:pt x="139850" y="35923"/>
                    </a:lnTo>
                    <a:lnTo>
                      <a:pt x="142484" y="33481"/>
                    </a:lnTo>
                    <a:lnTo>
                      <a:pt x="155986" y="35237"/>
                    </a:lnTo>
                    <a:lnTo>
                      <a:pt x="167128" y="34112"/>
                    </a:lnTo>
                    <a:lnTo>
                      <a:pt x="182551" y="22888"/>
                    </a:lnTo>
                    <a:lnTo>
                      <a:pt x="196080" y="16932"/>
                    </a:lnTo>
                    <a:lnTo>
                      <a:pt x="199620" y="12130"/>
                    </a:lnTo>
                    <a:lnTo>
                      <a:pt x="200883" y="6916"/>
                    </a:lnTo>
                    <a:lnTo>
                      <a:pt x="207030" y="7245"/>
                    </a:lnTo>
                    <a:lnTo>
                      <a:pt x="208567" y="3897"/>
                    </a:lnTo>
                    <a:lnTo>
                      <a:pt x="214467" y="0"/>
                    </a:lnTo>
                    <a:lnTo>
                      <a:pt x="224511" y="2415"/>
                    </a:lnTo>
                    <a:lnTo>
                      <a:pt x="228792" y="69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2" name="Freeform: Shape 3611">
                <a:extLst>
                  <a:ext uri="{FF2B5EF4-FFF2-40B4-BE49-F238E27FC236}">
                    <a16:creationId xmlns:a16="http://schemas.microsoft.com/office/drawing/2014/main" id="{110B1047-41E4-CBB0-D4F0-A7F4789BEA96}"/>
                  </a:ext>
                </a:extLst>
              </p:cNvPr>
              <p:cNvSpPr/>
              <p:nvPr/>
            </p:nvSpPr>
            <p:spPr>
              <a:xfrm>
                <a:off x="1102160" y="3809877"/>
                <a:ext cx="9955" cy="9835"/>
              </a:xfrm>
              <a:custGeom>
                <a:avLst/>
                <a:gdLst>
                  <a:gd name="connsiteX0" fmla="*/ 6175 w 95446"/>
                  <a:gd name="connsiteY0" fmla="*/ 82 h 94294"/>
                  <a:gd name="connsiteX1" fmla="*/ 25604 w 95446"/>
                  <a:gd name="connsiteY1" fmla="*/ 7355 h 94294"/>
                  <a:gd name="connsiteX2" fmla="*/ 33947 w 95446"/>
                  <a:gd name="connsiteY2" fmla="*/ 4062 h 94294"/>
                  <a:gd name="connsiteX3" fmla="*/ 42509 w 95446"/>
                  <a:gd name="connsiteY3" fmla="*/ 6888 h 94294"/>
                  <a:gd name="connsiteX4" fmla="*/ 47970 w 95446"/>
                  <a:gd name="connsiteY4" fmla="*/ 12459 h 94294"/>
                  <a:gd name="connsiteX5" fmla="*/ 55325 w 95446"/>
                  <a:gd name="connsiteY5" fmla="*/ 14298 h 94294"/>
                  <a:gd name="connsiteX6" fmla="*/ 62021 w 95446"/>
                  <a:gd name="connsiteY6" fmla="*/ 12102 h 94294"/>
                  <a:gd name="connsiteX7" fmla="*/ 62295 w 95446"/>
                  <a:gd name="connsiteY7" fmla="*/ 7821 h 94294"/>
                  <a:gd name="connsiteX8" fmla="*/ 64409 w 95446"/>
                  <a:gd name="connsiteY8" fmla="*/ 9879 h 94294"/>
                  <a:gd name="connsiteX9" fmla="*/ 71050 w 95446"/>
                  <a:gd name="connsiteY9" fmla="*/ 24946 h 94294"/>
                  <a:gd name="connsiteX10" fmla="*/ 83921 w 95446"/>
                  <a:gd name="connsiteY10" fmla="*/ 39655 h 94294"/>
                  <a:gd name="connsiteX11" fmla="*/ 89519 w 95446"/>
                  <a:gd name="connsiteY11" fmla="*/ 45693 h 94294"/>
                  <a:gd name="connsiteX12" fmla="*/ 95447 w 95446"/>
                  <a:gd name="connsiteY12" fmla="*/ 48684 h 94294"/>
                  <a:gd name="connsiteX13" fmla="*/ 92648 w 95446"/>
                  <a:gd name="connsiteY13" fmla="*/ 50440 h 94294"/>
                  <a:gd name="connsiteX14" fmla="*/ 87131 w 95446"/>
                  <a:gd name="connsiteY14" fmla="*/ 47806 h 94294"/>
                  <a:gd name="connsiteX15" fmla="*/ 84634 w 95446"/>
                  <a:gd name="connsiteY15" fmla="*/ 52691 h 94294"/>
                  <a:gd name="connsiteX16" fmla="*/ 84716 w 95446"/>
                  <a:gd name="connsiteY16" fmla="*/ 62433 h 94294"/>
                  <a:gd name="connsiteX17" fmla="*/ 90534 w 95446"/>
                  <a:gd name="connsiteY17" fmla="*/ 67510 h 94294"/>
                  <a:gd name="connsiteX18" fmla="*/ 85622 w 95446"/>
                  <a:gd name="connsiteY18" fmla="*/ 72696 h 94294"/>
                  <a:gd name="connsiteX19" fmla="*/ 87077 w 95446"/>
                  <a:gd name="connsiteY19" fmla="*/ 81204 h 94294"/>
                  <a:gd name="connsiteX20" fmla="*/ 82027 w 95446"/>
                  <a:gd name="connsiteY20" fmla="*/ 85567 h 94294"/>
                  <a:gd name="connsiteX21" fmla="*/ 84771 w 95446"/>
                  <a:gd name="connsiteY21" fmla="*/ 88860 h 94294"/>
                  <a:gd name="connsiteX22" fmla="*/ 85567 w 95446"/>
                  <a:gd name="connsiteY22" fmla="*/ 94294 h 94294"/>
                  <a:gd name="connsiteX23" fmla="*/ 75496 w 95446"/>
                  <a:gd name="connsiteY23" fmla="*/ 77719 h 94294"/>
                  <a:gd name="connsiteX24" fmla="*/ 72285 w 95446"/>
                  <a:gd name="connsiteY24" fmla="*/ 77115 h 94294"/>
                  <a:gd name="connsiteX25" fmla="*/ 71242 w 95446"/>
                  <a:gd name="connsiteY25" fmla="*/ 81560 h 94294"/>
                  <a:gd name="connsiteX26" fmla="*/ 63832 w 95446"/>
                  <a:gd name="connsiteY26" fmla="*/ 78569 h 94294"/>
                  <a:gd name="connsiteX27" fmla="*/ 63942 w 95446"/>
                  <a:gd name="connsiteY27" fmla="*/ 68745 h 94294"/>
                  <a:gd name="connsiteX28" fmla="*/ 61582 w 95446"/>
                  <a:gd name="connsiteY28" fmla="*/ 63339 h 94294"/>
                  <a:gd name="connsiteX29" fmla="*/ 47943 w 95446"/>
                  <a:gd name="connsiteY29" fmla="*/ 53267 h 94294"/>
                  <a:gd name="connsiteX30" fmla="*/ 36828 w 95446"/>
                  <a:gd name="connsiteY30" fmla="*/ 48053 h 94294"/>
                  <a:gd name="connsiteX31" fmla="*/ 28211 w 95446"/>
                  <a:gd name="connsiteY31" fmla="*/ 36033 h 94294"/>
                  <a:gd name="connsiteX32" fmla="*/ 22229 w 95446"/>
                  <a:gd name="connsiteY32" fmla="*/ 34359 h 94294"/>
                  <a:gd name="connsiteX33" fmla="*/ 24644 w 95446"/>
                  <a:gd name="connsiteY33" fmla="*/ 41000 h 94294"/>
                  <a:gd name="connsiteX34" fmla="*/ 20033 w 95446"/>
                  <a:gd name="connsiteY34" fmla="*/ 45803 h 94294"/>
                  <a:gd name="connsiteX35" fmla="*/ 4720 w 95446"/>
                  <a:gd name="connsiteY35" fmla="*/ 36746 h 94294"/>
                  <a:gd name="connsiteX36" fmla="*/ 0 w 95446"/>
                  <a:gd name="connsiteY36" fmla="*/ 26620 h 94294"/>
                  <a:gd name="connsiteX37" fmla="*/ 3375 w 95446"/>
                  <a:gd name="connsiteY37" fmla="*/ 16686 h 94294"/>
                  <a:gd name="connsiteX38" fmla="*/ 549 w 95446"/>
                  <a:gd name="connsiteY38" fmla="*/ 9001 h 94294"/>
                  <a:gd name="connsiteX39" fmla="*/ 3375 w 95446"/>
                  <a:gd name="connsiteY39" fmla="*/ 3513 h 94294"/>
                  <a:gd name="connsiteX40" fmla="*/ 6175 w 95446"/>
                  <a:gd name="connsiteY40" fmla="*/ 0 h 94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5446" h="94294">
                    <a:moveTo>
                      <a:pt x="6175" y="82"/>
                    </a:moveTo>
                    <a:lnTo>
                      <a:pt x="25604" y="7355"/>
                    </a:lnTo>
                    <a:lnTo>
                      <a:pt x="33947" y="4062"/>
                    </a:lnTo>
                    <a:lnTo>
                      <a:pt x="42509" y="6888"/>
                    </a:lnTo>
                    <a:lnTo>
                      <a:pt x="47970" y="12459"/>
                    </a:lnTo>
                    <a:lnTo>
                      <a:pt x="55325" y="14298"/>
                    </a:lnTo>
                    <a:lnTo>
                      <a:pt x="62021" y="12102"/>
                    </a:lnTo>
                    <a:lnTo>
                      <a:pt x="62295" y="7821"/>
                    </a:lnTo>
                    <a:lnTo>
                      <a:pt x="64409" y="9879"/>
                    </a:lnTo>
                    <a:lnTo>
                      <a:pt x="71050" y="24946"/>
                    </a:lnTo>
                    <a:lnTo>
                      <a:pt x="83921" y="39655"/>
                    </a:lnTo>
                    <a:lnTo>
                      <a:pt x="89519" y="45693"/>
                    </a:lnTo>
                    <a:lnTo>
                      <a:pt x="95447" y="48684"/>
                    </a:lnTo>
                    <a:lnTo>
                      <a:pt x="92648" y="50440"/>
                    </a:lnTo>
                    <a:lnTo>
                      <a:pt x="87131" y="47806"/>
                    </a:lnTo>
                    <a:lnTo>
                      <a:pt x="84634" y="52691"/>
                    </a:lnTo>
                    <a:lnTo>
                      <a:pt x="84716" y="62433"/>
                    </a:lnTo>
                    <a:lnTo>
                      <a:pt x="90534" y="67510"/>
                    </a:lnTo>
                    <a:lnTo>
                      <a:pt x="85622" y="72696"/>
                    </a:lnTo>
                    <a:lnTo>
                      <a:pt x="87077" y="81204"/>
                    </a:lnTo>
                    <a:lnTo>
                      <a:pt x="82027" y="85567"/>
                    </a:lnTo>
                    <a:lnTo>
                      <a:pt x="84771" y="88860"/>
                    </a:lnTo>
                    <a:lnTo>
                      <a:pt x="85567" y="94294"/>
                    </a:lnTo>
                    <a:lnTo>
                      <a:pt x="75496" y="77719"/>
                    </a:lnTo>
                    <a:lnTo>
                      <a:pt x="72285" y="77115"/>
                    </a:lnTo>
                    <a:lnTo>
                      <a:pt x="71242" y="81560"/>
                    </a:lnTo>
                    <a:lnTo>
                      <a:pt x="63832" y="78569"/>
                    </a:lnTo>
                    <a:lnTo>
                      <a:pt x="63942" y="68745"/>
                    </a:lnTo>
                    <a:lnTo>
                      <a:pt x="61582" y="63339"/>
                    </a:lnTo>
                    <a:lnTo>
                      <a:pt x="47943" y="53267"/>
                    </a:lnTo>
                    <a:lnTo>
                      <a:pt x="36828" y="48053"/>
                    </a:lnTo>
                    <a:lnTo>
                      <a:pt x="28211" y="36033"/>
                    </a:lnTo>
                    <a:lnTo>
                      <a:pt x="22229" y="34359"/>
                    </a:lnTo>
                    <a:lnTo>
                      <a:pt x="24644" y="41000"/>
                    </a:lnTo>
                    <a:lnTo>
                      <a:pt x="20033" y="45803"/>
                    </a:lnTo>
                    <a:lnTo>
                      <a:pt x="4720" y="36746"/>
                    </a:lnTo>
                    <a:lnTo>
                      <a:pt x="0" y="26620"/>
                    </a:lnTo>
                    <a:lnTo>
                      <a:pt x="3375" y="16686"/>
                    </a:lnTo>
                    <a:lnTo>
                      <a:pt x="549" y="9001"/>
                    </a:lnTo>
                    <a:lnTo>
                      <a:pt x="3375" y="3513"/>
                    </a:lnTo>
                    <a:lnTo>
                      <a:pt x="6175"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3" name="Freeform: Shape 3612">
                <a:extLst>
                  <a:ext uri="{FF2B5EF4-FFF2-40B4-BE49-F238E27FC236}">
                    <a16:creationId xmlns:a16="http://schemas.microsoft.com/office/drawing/2014/main" id="{10E73D12-6BC9-10D4-43C1-B551572B64FC}"/>
                  </a:ext>
                </a:extLst>
              </p:cNvPr>
              <p:cNvSpPr/>
              <p:nvPr/>
            </p:nvSpPr>
            <p:spPr>
              <a:xfrm>
                <a:off x="1104908" y="3771258"/>
                <a:ext cx="33008" cy="11074"/>
              </a:xfrm>
              <a:custGeom>
                <a:avLst/>
                <a:gdLst>
                  <a:gd name="connsiteX0" fmla="*/ 121518 w 316472"/>
                  <a:gd name="connsiteY0" fmla="*/ 1976 h 106176"/>
                  <a:gd name="connsiteX1" fmla="*/ 120941 w 316472"/>
                  <a:gd name="connsiteY1" fmla="*/ 3979 h 106176"/>
                  <a:gd name="connsiteX2" fmla="*/ 125360 w 316472"/>
                  <a:gd name="connsiteY2" fmla="*/ 3622 h 106176"/>
                  <a:gd name="connsiteX3" fmla="*/ 130107 w 316472"/>
                  <a:gd name="connsiteY3" fmla="*/ 7163 h 106176"/>
                  <a:gd name="connsiteX4" fmla="*/ 136666 w 316472"/>
                  <a:gd name="connsiteY4" fmla="*/ 9001 h 106176"/>
                  <a:gd name="connsiteX5" fmla="*/ 143445 w 316472"/>
                  <a:gd name="connsiteY5" fmla="*/ 8342 h 106176"/>
                  <a:gd name="connsiteX6" fmla="*/ 154586 w 316472"/>
                  <a:gd name="connsiteY6" fmla="*/ 14545 h 106176"/>
                  <a:gd name="connsiteX7" fmla="*/ 163697 w 316472"/>
                  <a:gd name="connsiteY7" fmla="*/ 24726 h 106176"/>
                  <a:gd name="connsiteX8" fmla="*/ 174730 w 316472"/>
                  <a:gd name="connsiteY8" fmla="*/ 25687 h 106176"/>
                  <a:gd name="connsiteX9" fmla="*/ 191689 w 316472"/>
                  <a:gd name="connsiteY9" fmla="*/ 30297 h 106176"/>
                  <a:gd name="connsiteX10" fmla="*/ 200745 w 316472"/>
                  <a:gd name="connsiteY10" fmla="*/ 35319 h 106176"/>
                  <a:gd name="connsiteX11" fmla="*/ 205987 w 316472"/>
                  <a:gd name="connsiteY11" fmla="*/ 41713 h 106176"/>
                  <a:gd name="connsiteX12" fmla="*/ 216553 w 316472"/>
                  <a:gd name="connsiteY12" fmla="*/ 46269 h 106176"/>
                  <a:gd name="connsiteX13" fmla="*/ 217156 w 316472"/>
                  <a:gd name="connsiteY13" fmla="*/ 45363 h 106176"/>
                  <a:gd name="connsiteX14" fmla="*/ 214906 w 316472"/>
                  <a:gd name="connsiteY14" fmla="*/ 42701 h 106176"/>
                  <a:gd name="connsiteX15" fmla="*/ 215043 w 316472"/>
                  <a:gd name="connsiteY15" fmla="*/ 41192 h 106176"/>
                  <a:gd name="connsiteX16" fmla="*/ 216662 w 316472"/>
                  <a:gd name="connsiteY16" fmla="*/ 41384 h 106176"/>
                  <a:gd name="connsiteX17" fmla="*/ 234692 w 316472"/>
                  <a:gd name="connsiteY17" fmla="*/ 55297 h 106176"/>
                  <a:gd name="connsiteX18" fmla="*/ 244956 w 316472"/>
                  <a:gd name="connsiteY18" fmla="*/ 60704 h 106176"/>
                  <a:gd name="connsiteX19" fmla="*/ 251762 w 316472"/>
                  <a:gd name="connsiteY19" fmla="*/ 61554 h 106176"/>
                  <a:gd name="connsiteX20" fmla="*/ 260379 w 316472"/>
                  <a:gd name="connsiteY20" fmla="*/ 66604 h 106176"/>
                  <a:gd name="connsiteX21" fmla="*/ 270313 w 316472"/>
                  <a:gd name="connsiteY21" fmla="*/ 66165 h 106176"/>
                  <a:gd name="connsiteX22" fmla="*/ 274238 w 316472"/>
                  <a:gd name="connsiteY22" fmla="*/ 70034 h 106176"/>
                  <a:gd name="connsiteX23" fmla="*/ 272564 w 316472"/>
                  <a:gd name="connsiteY23" fmla="*/ 74700 h 106176"/>
                  <a:gd name="connsiteX24" fmla="*/ 269106 w 316472"/>
                  <a:gd name="connsiteY24" fmla="*/ 76044 h 106176"/>
                  <a:gd name="connsiteX25" fmla="*/ 268886 w 316472"/>
                  <a:gd name="connsiteY25" fmla="*/ 77993 h 106176"/>
                  <a:gd name="connsiteX26" fmla="*/ 270066 w 316472"/>
                  <a:gd name="connsiteY26" fmla="*/ 79228 h 106176"/>
                  <a:gd name="connsiteX27" fmla="*/ 273991 w 316472"/>
                  <a:gd name="connsiteY27" fmla="*/ 77389 h 106176"/>
                  <a:gd name="connsiteX28" fmla="*/ 273991 w 316472"/>
                  <a:gd name="connsiteY28" fmla="*/ 78761 h 106176"/>
                  <a:gd name="connsiteX29" fmla="*/ 276104 w 316472"/>
                  <a:gd name="connsiteY29" fmla="*/ 79008 h 106176"/>
                  <a:gd name="connsiteX30" fmla="*/ 275665 w 316472"/>
                  <a:gd name="connsiteY30" fmla="*/ 76264 h 106176"/>
                  <a:gd name="connsiteX31" fmla="*/ 282086 w 316472"/>
                  <a:gd name="connsiteY31" fmla="*/ 79886 h 106176"/>
                  <a:gd name="connsiteX32" fmla="*/ 293942 w 316472"/>
                  <a:gd name="connsiteY32" fmla="*/ 79639 h 106176"/>
                  <a:gd name="connsiteX33" fmla="*/ 298854 w 316472"/>
                  <a:gd name="connsiteY33" fmla="*/ 82164 h 106176"/>
                  <a:gd name="connsiteX34" fmla="*/ 306950 w 316472"/>
                  <a:gd name="connsiteY34" fmla="*/ 90452 h 106176"/>
                  <a:gd name="connsiteX35" fmla="*/ 314606 w 316472"/>
                  <a:gd name="connsiteY35" fmla="*/ 91769 h 106176"/>
                  <a:gd name="connsiteX36" fmla="*/ 316472 w 316472"/>
                  <a:gd name="connsiteY36" fmla="*/ 94623 h 106176"/>
                  <a:gd name="connsiteX37" fmla="*/ 312740 w 316472"/>
                  <a:gd name="connsiteY37" fmla="*/ 98712 h 106176"/>
                  <a:gd name="connsiteX38" fmla="*/ 296796 w 316472"/>
                  <a:gd name="connsiteY38" fmla="*/ 100304 h 106176"/>
                  <a:gd name="connsiteX39" fmla="*/ 290155 w 316472"/>
                  <a:gd name="connsiteY39" fmla="*/ 104118 h 106176"/>
                  <a:gd name="connsiteX40" fmla="*/ 287548 w 316472"/>
                  <a:gd name="connsiteY40" fmla="*/ 102582 h 106176"/>
                  <a:gd name="connsiteX41" fmla="*/ 283102 w 316472"/>
                  <a:gd name="connsiteY41" fmla="*/ 104722 h 106176"/>
                  <a:gd name="connsiteX42" fmla="*/ 273963 w 316472"/>
                  <a:gd name="connsiteY42" fmla="*/ 104475 h 106176"/>
                  <a:gd name="connsiteX43" fmla="*/ 268008 w 316472"/>
                  <a:gd name="connsiteY43" fmla="*/ 102472 h 106176"/>
                  <a:gd name="connsiteX44" fmla="*/ 254726 w 316472"/>
                  <a:gd name="connsiteY44" fmla="*/ 101649 h 106176"/>
                  <a:gd name="connsiteX45" fmla="*/ 212820 w 316472"/>
                  <a:gd name="connsiteY45" fmla="*/ 106177 h 106176"/>
                  <a:gd name="connsiteX46" fmla="*/ 211723 w 316472"/>
                  <a:gd name="connsiteY46" fmla="*/ 104530 h 106176"/>
                  <a:gd name="connsiteX47" fmla="*/ 214604 w 316472"/>
                  <a:gd name="connsiteY47" fmla="*/ 100496 h 106176"/>
                  <a:gd name="connsiteX48" fmla="*/ 228216 w 316472"/>
                  <a:gd name="connsiteY48" fmla="*/ 91220 h 106176"/>
                  <a:gd name="connsiteX49" fmla="*/ 229753 w 316472"/>
                  <a:gd name="connsiteY49" fmla="*/ 86116 h 106176"/>
                  <a:gd name="connsiteX50" fmla="*/ 222617 w 316472"/>
                  <a:gd name="connsiteY50" fmla="*/ 79365 h 106176"/>
                  <a:gd name="connsiteX51" fmla="*/ 203352 w 316472"/>
                  <a:gd name="connsiteY51" fmla="*/ 79255 h 106176"/>
                  <a:gd name="connsiteX52" fmla="*/ 198522 w 316472"/>
                  <a:gd name="connsiteY52" fmla="*/ 76072 h 106176"/>
                  <a:gd name="connsiteX53" fmla="*/ 189466 w 316472"/>
                  <a:gd name="connsiteY53" fmla="*/ 68690 h 106176"/>
                  <a:gd name="connsiteX54" fmla="*/ 184664 w 316472"/>
                  <a:gd name="connsiteY54" fmla="*/ 53733 h 106176"/>
                  <a:gd name="connsiteX55" fmla="*/ 180547 w 316472"/>
                  <a:gd name="connsiteY55" fmla="*/ 50385 h 106176"/>
                  <a:gd name="connsiteX56" fmla="*/ 174757 w 316472"/>
                  <a:gd name="connsiteY56" fmla="*/ 50989 h 106176"/>
                  <a:gd name="connsiteX57" fmla="*/ 167567 w 316472"/>
                  <a:gd name="connsiteY57" fmla="*/ 52443 h 106176"/>
                  <a:gd name="connsiteX58" fmla="*/ 149290 w 316472"/>
                  <a:gd name="connsiteY58" fmla="*/ 48107 h 106176"/>
                  <a:gd name="connsiteX59" fmla="*/ 137023 w 316472"/>
                  <a:gd name="connsiteY59" fmla="*/ 41933 h 106176"/>
                  <a:gd name="connsiteX60" fmla="*/ 131397 w 316472"/>
                  <a:gd name="connsiteY60" fmla="*/ 37075 h 106176"/>
                  <a:gd name="connsiteX61" fmla="*/ 119185 w 316472"/>
                  <a:gd name="connsiteY61" fmla="*/ 36911 h 106176"/>
                  <a:gd name="connsiteX62" fmla="*/ 113202 w 316472"/>
                  <a:gd name="connsiteY62" fmla="*/ 35785 h 106176"/>
                  <a:gd name="connsiteX63" fmla="*/ 111720 w 316472"/>
                  <a:gd name="connsiteY63" fmla="*/ 34441 h 106176"/>
                  <a:gd name="connsiteX64" fmla="*/ 110952 w 316472"/>
                  <a:gd name="connsiteY64" fmla="*/ 31203 h 106176"/>
                  <a:gd name="connsiteX65" fmla="*/ 109388 w 316472"/>
                  <a:gd name="connsiteY65" fmla="*/ 31806 h 106176"/>
                  <a:gd name="connsiteX66" fmla="*/ 105271 w 316472"/>
                  <a:gd name="connsiteY66" fmla="*/ 36087 h 106176"/>
                  <a:gd name="connsiteX67" fmla="*/ 101676 w 316472"/>
                  <a:gd name="connsiteY67" fmla="*/ 32437 h 106176"/>
                  <a:gd name="connsiteX68" fmla="*/ 95008 w 316472"/>
                  <a:gd name="connsiteY68" fmla="*/ 33343 h 106176"/>
                  <a:gd name="connsiteX69" fmla="*/ 90260 w 316472"/>
                  <a:gd name="connsiteY69" fmla="*/ 31806 h 106176"/>
                  <a:gd name="connsiteX70" fmla="*/ 82878 w 316472"/>
                  <a:gd name="connsiteY70" fmla="*/ 26537 h 106176"/>
                  <a:gd name="connsiteX71" fmla="*/ 83097 w 316472"/>
                  <a:gd name="connsiteY71" fmla="*/ 25494 h 106176"/>
                  <a:gd name="connsiteX72" fmla="*/ 94761 w 316472"/>
                  <a:gd name="connsiteY72" fmla="*/ 23464 h 106176"/>
                  <a:gd name="connsiteX73" fmla="*/ 95831 w 316472"/>
                  <a:gd name="connsiteY73" fmla="*/ 20884 h 106176"/>
                  <a:gd name="connsiteX74" fmla="*/ 93553 w 316472"/>
                  <a:gd name="connsiteY74" fmla="*/ 18469 h 106176"/>
                  <a:gd name="connsiteX75" fmla="*/ 89272 w 316472"/>
                  <a:gd name="connsiteY75" fmla="*/ 16905 h 106176"/>
                  <a:gd name="connsiteX76" fmla="*/ 63009 w 316472"/>
                  <a:gd name="connsiteY76" fmla="*/ 16273 h 106176"/>
                  <a:gd name="connsiteX77" fmla="*/ 45857 w 316472"/>
                  <a:gd name="connsiteY77" fmla="*/ 31532 h 106176"/>
                  <a:gd name="connsiteX78" fmla="*/ 42207 w 316472"/>
                  <a:gd name="connsiteY78" fmla="*/ 32794 h 106176"/>
                  <a:gd name="connsiteX79" fmla="*/ 38722 w 316472"/>
                  <a:gd name="connsiteY79" fmla="*/ 31532 h 106176"/>
                  <a:gd name="connsiteX80" fmla="*/ 29391 w 316472"/>
                  <a:gd name="connsiteY80" fmla="*/ 33343 h 106176"/>
                  <a:gd name="connsiteX81" fmla="*/ 26043 w 316472"/>
                  <a:gd name="connsiteY81" fmla="*/ 40423 h 106176"/>
                  <a:gd name="connsiteX82" fmla="*/ 19622 w 316472"/>
                  <a:gd name="connsiteY82" fmla="*/ 41686 h 106176"/>
                  <a:gd name="connsiteX83" fmla="*/ 13694 w 316472"/>
                  <a:gd name="connsiteY83" fmla="*/ 45528 h 106176"/>
                  <a:gd name="connsiteX84" fmla="*/ 12267 w 316472"/>
                  <a:gd name="connsiteY84" fmla="*/ 45308 h 106176"/>
                  <a:gd name="connsiteX85" fmla="*/ 13008 w 316472"/>
                  <a:gd name="connsiteY85" fmla="*/ 42125 h 106176"/>
                  <a:gd name="connsiteX86" fmla="*/ 11581 w 316472"/>
                  <a:gd name="connsiteY86" fmla="*/ 40780 h 106176"/>
                  <a:gd name="connsiteX87" fmla="*/ 1756 w 316472"/>
                  <a:gd name="connsiteY87" fmla="*/ 43991 h 106176"/>
                  <a:gd name="connsiteX88" fmla="*/ 0 w 316472"/>
                  <a:gd name="connsiteY88" fmla="*/ 42399 h 106176"/>
                  <a:gd name="connsiteX89" fmla="*/ 4775 w 316472"/>
                  <a:gd name="connsiteY89" fmla="*/ 40533 h 106176"/>
                  <a:gd name="connsiteX90" fmla="*/ 11114 w 316472"/>
                  <a:gd name="connsiteY90" fmla="*/ 37487 h 106176"/>
                  <a:gd name="connsiteX91" fmla="*/ 17069 w 316472"/>
                  <a:gd name="connsiteY91" fmla="*/ 37816 h 106176"/>
                  <a:gd name="connsiteX92" fmla="*/ 14353 w 316472"/>
                  <a:gd name="connsiteY92" fmla="*/ 31532 h 106176"/>
                  <a:gd name="connsiteX93" fmla="*/ 17701 w 316472"/>
                  <a:gd name="connsiteY93" fmla="*/ 24589 h 106176"/>
                  <a:gd name="connsiteX94" fmla="*/ 25055 w 316472"/>
                  <a:gd name="connsiteY94" fmla="*/ 17399 h 106176"/>
                  <a:gd name="connsiteX95" fmla="*/ 49013 w 316472"/>
                  <a:gd name="connsiteY95" fmla="*/ 7190 h 106176"/>
                  <a:gd name="connsiteX96" fmla="*/ 62982 w 316472"/>
                  <a:gd name="connsiteY96" fmla="*/ 5708 h 106176"/>
                  <a:gd name="connsiteX97" fmla="*/ 82192 w 316472"/>
                  <a:gd name="connsiteY97" fmla="*/ 604 h 106176"/>
                  <a:gd name="connsiteX98" fmla="*/ 97148 w 316472"/>
                  <a:gd name="connsiteY98" fmla="*/ 1756 h 106176"/>
                  <a:gd name="connsiteX99" fmla="*/ 99975 w 316472"/>
                  <a:gd name="connsiteY99" fmla="*/ 4116 h 106176"/>
                  <a:gd name="connsiteX100" fmla="*/ 106287 w 316472"/>
                  <a:gd name="connsiteY100" fmla="*/ 2579 h 106176"/>
                  <a:gd name="connsiteX101" fmla="*/ 110787 w 316472"/>
                  <a:gd name="connsiteY101" fmla="*/ 5351 h 106176"/>
                  <a:gd name="connsiteX102" fmla="*/ 114135 w 316472"/>
                  <a:gd name="connsiteY102" fmla="*/ 3595 h 106176"/>
                  <a:gd name="connsiteX103" fmla="*/ 118828 w 316472"/>
                  <a:gd name="connsiteY103" fmla="*/ 4144 h 106176"/>
                  <a:gd name="connsiteX104" fmla="*/ 118389 w 316472"/>
                  <a:gd name="connsiteY104" fmla="*/ 0 h 106176"/>
                  <a:gd name="connsiteX105" fmla="*/ 120475 w 316472"/>
                  <a:gd name="connsiteY105" fmla="*/ 274 h 106176"/>
                  <a:gd name="connsiteX106" fmla="*/ 121435 w 316472"/>
                  <a:gd name="connsiteY106" fmla="*/ 2031 h 10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316472" h="106176">
                    <a:moveTo>
                      <a:pt x="121518" y="1976"/>
                    </a:moveTo>
                    <a:lnTo>
                      <a:pt x="120941" y="3979"/>
                    </a:lnTo>
                    <a:lnTo>
                      <a:pt x="125360" y="3622"/>
                    </a:lnTo>
                    <a:lnTo>
                      <a:pt x="130107" y="7163"/>
                    </a:lnTo>
                    <a:lnTo>
                      <a:pt x="136666" y="9001"/>
                    </a:lnTo>
                    <a:lnTo>
                      <a:pt x="143445" y="8342"/>
                    </a:lnTo>
                    <a:lnTo>
                      <a:pt x="154586" y="14545"/>
                    </a:lnTo>
                    <a:lnTo>
                      <a:pt x="163697" y="24726"/>
                    </a:lnTo>
                    <a:lnTo>
                      <a:pt x="174730" y="25687"/>
                    </a:lnTo>
                    <a:lnTo>
                      <a:pt x="191689" y="30297"/>
                    </a:lnTo>
                    <a:lnTo>
                      <a:pt x="200745" y="35319"/>
                    </a:lnTo>
                    <a:lnTo>
                      <a:pt x="205987" y="41713"/>
                    </a:lnTo>
                    <a:lnTo>
                      <a:pt x="216553" y="46269"/>
                    </a:lnTo>
                    <a:lnTo>
                      <a:pt x="217156" y="45363"/>
                    </a:lnTo>
                    <a:lnTo>
                      <a:pt x="214906" y="42701"/>
                    </a:lnTo>
                    <a:lnTo>
                      <a:pt x="215043" y="41192"/>
                    </a:lnTo>
                    <a:lnTo>
                      <a:pt x="216662" y="41384"/>
                    </a:lnTo>
                    <a:lnTo>
                      <a:pt x="234692" y="55297"/>
                    </a:lnTo>
                    <a:lnTo>
                      <a:pt x="244956" y="60704"/>
                    </a:lnTo>
                    <a:lnTo>
                      <a:pt x="251762" y="61554"/>
                    </a:lnTo>
                    <a:lnTo>
                      <a:pt x="260379" y="66604"/>
                    </a:lnTo>
                    <a:lnTo>
                      <a:pt x="270313" y="66165"/>
                    </a:lnTo>
                    <a:lnTo>
                      <a:pt x="274238" y="70034"/>
                    </a:lnTo>
                    <a:lnTo>
                      <a:pt x="272564" y="74700"/>
                    </a:lnTo>
                    <a:lnTo>
                      <a:pt x="269106" y="76044"/>
                    </a:lnTo>
                    <a:lnTo>
                      <a:pt x="268886" y="77993"/>
                    </a:lnTo>
                    <a:lnTo>
                      <a:pt x="270066" y="79228"/>
                    </a:lnTo>
                    <a:lnTo>
                      <a:pt x="273991" y="77389"/>
                    </a:lnTo>
                    <a:lnTo>
                      <a:pt x="273991" y="78761"/>
                    </a:lnTo>
                    <a:lnTo>
                      <a:pt x="276104" y="79008"/>
                    </a:lnTo>
                    <a:lnTo>
                      <a:pt x="275665" y="76264"/>
                    </a:lnTo>
                    <a:lnTo>
                      <a:pt x="282086" y="79886"/>
                    </a:lnTo>
                    <a:lnTo>
                      <a:pt x="293942" y="79639"/>
                    </a:lnTo>
                    <a:lnTo>
                      <a:pt x="298854" y="82164"/>
                    </a:lnTo>
                    <a:lnTo>
                      <a:pt x="306950" y="90452"/>
                    </a:lnTo>
                    <a:lnTo>
                      <a:pt x="314606" y="91769"/>
                    </a:lnTo>
                    <a:lnTo>
                      <a:pt x="316472" y="94623"/>
                    </a:lnTo>
                    <a:lnTo>
                      <a:pt x="312740" y="98712"/>
                    </a:lnTo>
                    <a:lnTo>
                      <a:pt x="296796" y="100304"/>
                    </a:lnTo>
                    <a:lnTo>
                      <a:pt x="290155" y="104118"/>
                    </a:lnTo>
                    <a:lnTo>
                      <a:pt x="287548" y="102582"/>
                    </a:lnTo>
                    <a:lnTo>
                      <a:pt x="283102" y="104722"/>
                    </a:lnTo>
                    <a:lnTo>
                      <a:pt x="273963" y="104475"/>
                    </a:lnTo>
                    <a:lnTo>
                      <a:pt x="268008" y="102472"/>
                    </a:lnTo>
                    <a:lnTo>
                      <a:pt x="254726" y="101649"/>
                    </a:lnTo>
                    <a:lnTo>
                      <a:pt x="212820" y="106177"/>
                    </a:lnTo>
                    <a:lnTo>
                      <a:pt x="211723" y="104530"/>
                    </a:lnTo>
                    <a:lnTo>
                      <a:pt x="214604" y="100496"/>
                    </a:lnTo>
                    <a:lnTo>
                      <a:pt x="228216" y="91220"/>
                    </a:lnTo>
                    <a:lnTo>
                      <a:pt x="229753" y="86116"/>
                    </a:lnTo>
                    <a:lnTo>
                      <a:pt x="222617" y="79365"/>
                    </a:lnTo>
                    <a:lnTo>
                      <a:pt x="203352" y="79255"/>
                    </a:lnTo>
                    <a:lnTo>
                      <a:pt x="198522" y="76072"/>
                    </a:lnTo>
                    <a:lnTo>
                      <a:pt x="189466" y="68690"/>
                    </a:lnTo>
                    <a:lnTo>
                      <a:pt x="184664" y="53733"/>
                    </a:lnTo>
                    <a:lnTo>
                      <a:pt x="180547" y="50385"/>
                    </a:lnTo>
                    <a:lnTo>
                      <a:pt x="174757" y="50989"/>
                    </a:lnTo>
                    <a:lnTo>
                      <a:pt x="167567" y="52443"/>
                    </a:lnTo>
                    <a:lnTo>
                      <a:pt x="149290" y="48107"/>
                    </a:lnTo>
                    <a:lnTo>
                      <a:pt x="137023" y="41933"/>
                    </a:lnTo>
                    <a:lnTo>
                      <a:pt x="131397" y="37075"/>
                    </a:lnTo>
                    <a:lnTo>
                      <a:pt x="119185" y="36911"/>
                    </a:lnTo>
                    <a:lnTo>
                      <a:pt x="113202" y="35785"/>
                    </a:lnTo>
                    <a:lnTo>
                      <a:pt x="111720" y="34441"/>
                    </a:lnTo>
                    <a:lnTo>
                      <a:pt x="110952" y="31203"/>
                    </a:lnTo>
                    <a:lnTo>
                      <a:pt x="109388" y="31806"/>
                    </a:lnTo>
                    <a:lnTo>
                      <a:pt x="105271" y="36087"/>
                    </a:lnTo>
                    <a:lnTo>
                      <a:pt x="101676" y="32437"/>
                    </a:lnTo>
                    <a:lnTo>
                      <a:pt x="95008" y="33343"/>
                    </a:lnTo>
                    <a:lnTo>
                      <a:pt x="90260" y="31806"/>
                    </a:lnTo>
                    <a:lnTo>
                      <a:pt x="82878" y="26537"/>
                    </a:lnTo>
                    <a:lnTo>
                      <a:pt x="83097" y="25494"/>
                    </a:lnTo>
                    <a:lnTo>
                      <a:pt x="94761" y="23464"/>
                    </a:lnTo>
                    <a:lnTo>
                      <a:pt x="95831" y="20884"/>
                    </a:lnTo>
                    <a:lnTo>
                      <a:pt x="93553" y="18469"/>
                    </a:lnTo>
                    <a:lnTo>
                      <a:pt x="89272" y="16905"/>
                    </a:lnTo>
                    <a:lnTo>
                      <a:pt x="63009" y="16273"/>
                    </a:lnTo>
                    <a:lnTo>
                      <a:pt x="45857" y="31532"/>
                    </a:lnTo>
                    <a:lnTo>
                      <a:pt x="42207" y="32794"/>
                    </a:lnTo>
                    <a:lnTo>
                      <a:pt x="38722" y="31532"/>
                    </a:lnTo>
                    <a:lnTo>
                      <a:pt x="29391" y="33343"/>
                    </a:lnTo>
                    <a:lnTo>
                      <a:pt x="26043" y="40423"/>
                    </a:lnTo>
                    <a:lnTo>
                      <a:pt x="19622" y="41686"/>
                    </a:lnTo>
                    <a:lnTo>
                      <a:pt x="13694" y="45528"/>
                    </a:lnTo>
                    <a:lnTo>
                      <a:pt x="12267" y="45308"/>
                    </a:lnTo>
                    <a:lnTo>
                      <a:pt x="13008" y="42125"/>
                    </a:lnTo>
                    <a:lnTo>
                      <a:pt x="11581" y="40780"/>
                    </a:lnTo>
                    <a:lnTo>
                      <a:pt x="1756" y="43991"/>
                    </a:lnTo>
                    <a:lnTo>
                      <a:pt x="0" y="42399"/>
                    </a:lnTo>
                    <a:lnTo>
                      <a:pt x="4775" y="40533"/>
                    </a:lnTo>
                    <a:lnTo>
                      <a:pt x="11114" y="37487"/>
                    </a:lnTo>
                    <a:lnTo>
                      <a:pt x="17069" y="37816"/>
                    </a:lnTo>
                    <a:lnTo>
                      <a:pt x="14353" y="31532"/>
                    </a:lnTo>
                    <a:lnTo>
                      <a:pt x="17701" y="24589"/>
                    </a:lnTo>
                    <a:lnTo>
                      <a:pt x="25055" y="17399"/>
                    </a:lnTo>
                    <a:lnTo>
                      <a:pt x="49013" y="7190"/>
                    </a:lnTo>
                    <a:lnTo>
                      <a:pt x="62982" y="5708"/>
                    </a:lnTo>
                    <a:lnTo>
                      <a:pt x="82192" y="604"/>
                    </a:lnTo>
                    <a:lnTo>
                      <a:pt x="97148" y="1756"/>
                    </a:lnTo>
                    <a:lnTo>
                      <a:pt x="99975" y="4116"/>
                    </a:lnTo>
                    <a:lnTo>
                      <a:pt x="106287" y="2579"/>
                    </a:lnTo>
                    <a:lnTo>
                      <a:pt x="110787" y="5351"/>
                    </a:lnTo>
                    <a:lnTo>
                      <a:pt x="114135" y="3595"/>
                    </a:lnTo>
                    <a:lnTo>
                      <a:pt x="118828" y="4144"/>
                    </a:lnTo>
                    <a:lnTo>
                      <a:pt x="118389" y="0"/>
                    </a:lnTo>
                    <a:lnTo>
                      <a:pt x="120475" y="274"/>
                    </a:lnTo>
                    <a:lnTo>
                      <a:pt x="121435"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4" name="Freeform: Shape 3613">
                <a:extLst>
                  <a:ext uri="{FF2B5EF4-FFF2-40B4-BE49-F238E27FC236}">
                    <a16:creationId xmlns:a16="http://schemas.microsoft.com/office/drawing/2014/main" id="{2380DA0F-350E-F1CB-63D5-4F9268778E18}"/>
                  </a:ext>
                </a:extLst>
              </p:cNvPr>
              <p:cNvSpPr/>
              <p:nvPr/>
            </p:nvSpPr>
            <p:spPr>
              <a:xfrm>
                <a:off x="1110398" y="3775503"/>
                <a:ext cx="1786" cy="1514"/>
              </a:xfrm>
              <a:custGeom>
                <a:avLst/>
                <a:gdLst>
                  <a:gd name="connsiteX0" fmla="*/ 10373 w 17124"/>
                  <a:gd name="connsiteY0" fmla="*/ 14517 h 14517"/>
                  <a:gd name="connsiteX1" fmla="*/ 2662 w 17124"/>
                  <a:gd name="connsiteY1" fmla="*/ 14517 h 14517"/>
                  <a:gd name="connsiteX2" fmla="*/ 0 w 17124"/>
                  <a:gd name="connsiteY2" fmla="*/ 11608 h 14517"/>
                  <a:gd name="connsiteX3" fmla="*/ 3760 w 17124"/>
                  <a:gd name="connsiteY3" fmla="*/ 10758 h 14517"/>
                  <a:gd name="connsiteX4" fmla="*/ 1509 w 17124"/>
                  <a:gd name="connsiteY4" fmla="*/ 4007 h 14517"/>
                  <a:gd name="connsiteX5" fmla="*/ 4308 w 17124"/>
                  <a:gd name="connsiteY5" fmla="*/ 0 h 14517"/>
                  <a:gd name="connsiteX6" fmla="*/ 10373 w 17124"/>
                  <a:gd name="connsiteY6" fmla="*/ 604 h 14517"/>
                  <a:gd name="connsiteX7" fmla="*/ 17124 w 17124"/>
                  <a:gd name="connsiteY7" fmla="*/ 6367 h 14517"/>
                  <a:gd name="connsiteX8" fmla="*/ 16575 w 17124"/>
                  <a:gd name="connsiteY8" fmla="*/ 11389 h 14517"/>
                  <a:gd name="connsiteX9" fmla="*/ 10346 w 17124"/>
                  <a:gd name="connsiteY9" fmla="*/ 14517 h 14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24" h="14517">
                    <a:moveTo>
                      <a:pt x="10373" y="14517"/>
                    </a:moveTo>
                    <a:lnTo>
                      <a:pt x="2662" y="14517"/>
                    </a:lnTo>
                    <a:lnTo>
                      <a:pt x="0" y="11608"/>
                    </a:lnTo>
                    <a:lnTo>
                      <a:pt x="3760" y="10758"/>
                    </a:lnTo>
                    <a:lnTo>
                      <a:pt x="1509" y="4007"/>
                    </a:lnTo>
                    <a:lnTo>
                      <a:pt x="4308" y="0"/>
                    </a:lnTo>
                    <a:lnTo>
                      <a:pt x="10373" y="604"/>
                    </a:lnTo>
                    <a:lnTo>
                      <a:pt x="17124" y="6367"/>
                    </a:lnTo>
                    <a:lnTo>
                      <a:pt x="16575" y="11389"/>
                    </a:lnTo>
                    <a:lnTo>
                      <a:pt x="10346" y="145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5" name="Freeform: Shape 3614">
                <a:extLst>
                  <a:ext uri="{FF2B5EF4-FFF2-40B4-BE49-F238E27FC236}">
                    <a16:creationId xmlns:a16="http://schemas.microsoft.com/office/drawing/2014/main" id="{C00F0555-5FF0-6D74-3DAD-EF499F3409AE}"/>
                  </a:ext>
                </a:extLst>
              </p:cNvPr>
              <p:cNvSpPr/>
              <p:nvPr/>
            </p:nvSpPr>
            <p:spPr>
              <a:xfrm>
                <a:off x="1123934" y="3773242"/>
                <a:ext cx="1952" cy="1065"/>
              </a:xfrm>
              <a:custGeom>
                <a:avLst/>
                <a:gdLst>
                  <a:gd name="connsiteX0" fmla="*/ 3979 w 18716"/>
                  <a:gd name="connsiteY0" fmla="*/ 2333 h 10208"/>
                  <a:gd name="connsiteX1" fmla="*/ 7135 w 18716"/>
                  <a:gd name="connsiteY1" fmla="*/ 2552 h 10208"/>
                  <a:gd name="connsiteX2" fmla="*/ 9797 w 18716"/>
                  <a:gd name="connsiteY2" fmla="*/ 1811 h 10208"/>
                  <a:gd name="connsiteX3" fmla="*/ 13008 w 18716"/>
                  <a:gd name="connsiteY3" fmla="*/ 5571 h 10208"/>
                  <a:gd name="connsiteX4" fmla="*/ 14161 w 18716"/>
                  <a:gd name="connsiteY4" fmla="*/ 5818 h 10208"/>
                  <a:gd name="connsiteX5" fmla="*/ 16466 w 18716"/>
                  <a:gd name="connsiteY5" fmla="*/ 4089 h 10208"/>
                  <a:gd name="connsiteX6" fmla="*/ 18222 w 18716"/>
                  <a:gd name="connsiteY6" fmla="*/ 5626 h 10208"/>
                  <a:gd name="connsiteX7" fmla="*/ 18716 w 18716"/>
                  <a:gd name="connsiteY7" fmla="*/ 9660 h 10208"/>
                  <a:gd name="connsiteX8" fmla="*/ 16987 w 18716"/>
                  <a:gd name="connsiteY8" fmla="*/ 10209 h 10208"/>
                  <a:gd name="connsiteX9" fmla="*/ 14380 w 18716"/>
                  <a:gd name="connsiteY9" fmla="*/ 9605 h 10208"/>
                  <a:gd name="connsiteX10" fmla="*/ 11032 w 18716"/>
                  <a:gd name="connsiteY10" fmla="*/ 5845 h 10208"/>
                  <a:gd name="connsiteX11" fmla="*/ 8425 w 18716"/>
                  <a:gd name="connsiteY11" fmla="*/ 6312 h 10208"/>
                  <a:gd name="connsiteX12" fmla="*/ 4473 w 18716"/>
                  <a:gd name="connsiteY12" fmla="*/ 4528 h 10208"/>
                  <a:gd name="connsiteX13" fmla="*/ 192 w 18716"/>
                  <a:gd name="connsiteY13" fmla="*/ 3568 h 10208"/>
                  <a:gd name="connsiteX14" fmla="*/ 0 w 18716"/>
                  <a:gd name="connsiteY14" fmla="*/ 1235 h 10208"/>
                  <a:gd name="connsiteX15" fmla="*/ 1290 w 18716"/>
                  <a:gd name="connsiteY15" fmla="*/ 0 h 10208"/>
                  <a:gd name="connsiteX16" fmla="*/ 3979 w 18716"/>
                  <a:gd name="connsiteY16" fmla="*/ 2360 h 1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16" h="10208">
                    <a:moveTo>
                      <a:pt x="3979" y="2333"/>
                    </a:moveTo>
                    <a:lnTo>
                      <a:pt x="7135" y="2552"/>
                    </a:lnTo>
                    <a:lnTo>
                      <a:pt x="9797" y="1811"/>
                    </a:lnTo>
                    <a:lnTo>
                      <a:pt x="13008" y="5571"/>
                    </a:lnTo>
                    <a:lnTo>
                      <a:pt x="14161" y="5818"/>
                    </a:lnTo>
                    <a:lnTo>
                      <a:pt x="16466" y="4089"/>
                    </a:lnTo>
                    <a:lnTo>
                      <a:pt x="18222" y="5626"/>
                    </a:lnTo>
                    <a:lnTo>
                      <a:pt x="18716" y="9660"/>
                    </a:lnTo>
                    <a:lnTo>
                      <a:pt x="16987" y="10209"/>
                    </a:lnTo>
                    <a:lnTo>
                      <a:pt x="14380" y="9605"/>
                    </a:lnTo>
                    <a:lnTo>
                      <a:pt x="11032" y="5845"/>
                    </a:lnTo>
                    <a:lnTo>
                      <a:pt x="8425" y="6312"/>
                    </a:lnTo>
                    <a:lnTo>
                      <a:pt x="4473" y="4528"/>
                    </a:lnTo>
                    <a:lnTo>
                      <a:pt x="192" y="3568"/>
                    </a:lnTo>
                    <a:lnTo>
                      <a:pt x="0" y="1235"/>
                    </a:lnTo>
                    <a:lnTo>
                      <a:pt x="1290" y="0"/>
                    </a:lnTo>
                    <a:lnTo>
                      <a:pt x="3979" y="23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6" name="Freeform: Shape 3615">
                <a:extLst>
                  <a:ext uri="{FF2B5EF4-FFF2-40B4-BE49-F238E27FC236}">
                    <a16:creationId xmlns:a16="http://schemas.microsoft.com/office/drawing/2014/main" id="{8FF0D1E6-2D5C-35FD-794A-AF83116653FC}"/>
                  </a:ext>
                </a:extLst>
              </p:cNvPr>
              <p:cNvSpPr/>
              <p:nvPr/>
            </p:nvSpPr>
            <p:spPr>
              <a:xfrm>
                <a:off x="1125849" y="3774235"/>
                <a:ext cx="1423" cy="1211"/>
              </a:xfrm>
              <a:custGeom>
                <a:avLst/>
                <a:gdLst>
                  <a:gd name="connsiteX0" fmla="*/ 2250 w 13639"/>
                  <a:gd name="connsiteY0" fmla="*/ 0 h 11608"/>
                  <a:gd name="connsiteX1" fmla="*/ 4940 w 13639"/>
                  <a:gd name="connsiteY1" fmla="*/ 2799 h 11608"/>
                  <a:gd name="connsiteX2" fmla="*/ 5982 w 13639"/>
                  <a:gd name="connsiteY2" fmla="*/ 2278 h 11608"/>
                  <a:gd name="connsiteX3" fmla="*/ 7574 w 13639"/>
                  <a:gd name="connsiteY3" fmla="*/ 6477 h 11608"/>
                  <a:gd name="connsiteX4" fmla="*/ 12514 w 13639"/>
                  <a:gd name="connsiteY4" fmla="*/ 7767 h 11608"/>
                  <a:gd name="connsiteX5" fmla="*/ 13639 w 13639"/>
                  <a:gd name="connsiteY5" fmla="*/ 9468 h 11608"/>
                  <a:gd name="connsiteX6" fmla="*/ 12294 w 13639"/>
                  <a:gd name="connsiteY6" fmla="*/ 11608 h 11608"/>
                  <a:gd name="connsiteX7" fmla="*/ 7684 w 13639"/>
                  <a:gd name="connsiteY7" fmla="*/ 10977 h 11608"/>
                  <a:gd name="connsiteX8" fmla="*/ 7218 w 13639"/>
                  <a:gd name="connsiteY8" fmla="*/ 9468 h 11608"/>
                  <a:gd name="connsiteX9" fmla="*/ 4446 w 13639"/>
                  <a:gd name="connsiteY9" fmla="*/ 8453 h 11608"/>
                  <a:gd name="connsiteX10" fmla="*/ 3924 w 13639"/>
                  <a:gd name="connsiteY10" fmla="*/ 6147 h 11608"/>
                  <a:gd name="connsiteX11" fmla="*/ 2278 w 13639"/>
                  <a:gd name="connsiteY11" fmla="*/ 5681 h 11608"/>
                  <a:gd name="connsiteX12" fmla="*/ 0 w 13639"/>
                  <a:gd name="connsiteY12" fmla="*/ 3513 h 11608"/>
                  <a:gd name="connsiteX13" fmla="*/ 1290 w 13639"/>
                  <a:gd name="connsiteY13" fmla="*/ 3156 h 11608"/>
                  <a:gd name="connsiteX14" fmla="*/ 933 w 13639"/>
                  <a:gd name="connsiteY14" fmla="*/ 1317 h 11608"/>
                  <a:gd name="connsiteX15" fmla="*/ 2223 w 13639"/>
                  <a:gd name="connsiteY15" fmla="*/ 27 h 11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39" h="11608">
                    <a:moveTo>
                      <a:pt x="2250" y="0"/>
                    </a:moveTo>
                    <a:lnTo>
                      <a:pt x="4940" y="2799"/>
                    </a:lnTo>
                    <a:lnTo>
                      <a:pt x="5982" y="2278"/>
                    </a:lnTo>
                    <a:lnTo>
                      <a:pt x="7574" y="6477"/>
                    </a:lnTo>
                    <a:lnTo>
                      <a:pt x="12514" y="7767"/>
                    </a:lnTo>
                    <a:lnTo>
                      <a:pt x="13639" y="9468"/>
                    </a:lnTo>
                    <a:lnTo>
                      <a:pt x="12294" y="11608"/>
                    </a:lnTo>
                    <a:lnTo>
                      <a:pt x="7684" y="10977"/>
                    </a:lnTo>
                    <a:lnTo>
                      <a:pt x="7218" y="9468"/>
                    </a:lnTo>
                    <a:lnTo>
                      <a:pt x="4446" y="8453"/>
                    </a:lnTo>
                    <a:lnTo>
                      <a:pt x="3924" y="6147"/>
                    </a:lnTo>
                    <a:lnTo>
                      <a:pt x="2278" y="5681"/>
                    </a:lnTo>
                    <a:lnTo>
                      <a:pt x="0" y="3513"/>
                    </a:lnTo>
                    <a:lnTo>
                      <a:pt x="1290" y="3156"/>
                    </a:lnTo>
                    <a:lnTo>
                      <a:pt x="933" y="1317"/>
                    </a:lnTo>
                    <a:lnTo>
                      <a:pt x="2223"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7" name="Freeform: Shape 3616">
                <a:extLst>
                  <a:ext uri="{FF2B5EF4-FFF2-40B4-BE49-F238E27FC236}">
                    <a16:creationId xmlns:a16="http://schemas.microsoft.com/office/drawing/2014/main" id="{7B38C480-C667-6E91-F24B-DAF57BAD4C85}"/>
                  </a:ext>
                </a:extLst>
              </p:cNvPr>
              <p:cNvSpPr/>
              <p:nvPr/>
            </p:nvSpPr>
            <p:spPr>
              <a:xfrm>
                <a:off x="1122234" y="3773099"/>
                <a:ext cx="509" cy="424"/>
              </a:xfrm>
              <a:custGeom>
                <a:avLst/>
                <a:gdLst>
                  <a:gd name="connsiteX0" fmla="*/ 4062 w 4884"/>
                  <a:gd name="connsiteY0" fmla="*/ 3458 h 4061"/>
                  <a:gd name="connsiteX1" fmla="*/ 1866 w 4884"/>
                  <a:gd name="connsiteY1" fmla="*/ 4062 h 4061"/>
                  <a:gd name="connsiteX2" fmla="*/ 0 w 4884"/>
                  <a:gd name="connsiteY2" fmla="*/ 2058 h 4061"/>
                  <a:gd name="connsiteX3" fmla="*/ 1043 w 4884"/>
                  <a:gd name="connsiteY3" fmla="*/ 82 h 4061"/>
                  <a:gd name="connsiteX4" fmla="*/ 4885 w 4884"/>
                  <a:gd name="connsiteY4" fmla="*/ 0 h 4061"/>
                  <a:gd name="connsiteX5" fmla="*/ 4089 w 4884"/>
                  <a:gd name="connsiteY5" fmla="*/ 3485 h 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4" h="4061">
                    <a:moveTo>
                      <a:pt x="4062" y="3458"/>
                    </a:moveTo>
                    <a:lnTo>
                      <a:pt x="1866" y="4062"/>
                    </a:lnTo>
                    <a:lnTo>
                      <a:pt x="0" y="2058"/>
                    </a:lnTo>
                    <a:lnTo>
                      <a:pt x="1043" y="82"/>
                    </a:lnTo>
                    <a:lnTo>
                      <a:pt x="4885" y="0"/>
                    </a:lnTo>
                    <a:lnTo>
                      <a:pt x="4089"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8" name="Freeform: Shape 3617">
                <a:extLst>
                  <a:ext uri="{FF2B5EF4-FFF2-40B4-BE49-F238E27FC236}">
                    <a16:creationId xmlns:a16="http://schemas.microsoft.com/office/drawing/2014/main" id="{EA9EA999-64C6-622E-F43C-3B92DC2BBDCD}"/>
                  </a:ext>
                </a:extLst>
              </p:cNvPr>
              <p:cNvSpPr/>
              <p:nvPr/>
            </p:nvSpPr>
            <p:spPr>
              <a:xfrm>
                <a:off x="1121418" y="3772764"/>
                <a:ext cx="509" cy="418"/>
              </a:xfrm>
              <a:custGeom>
                <a:avLst/>
                <a:gdLst>
                  <a:gd name="connsiteX0" fmla="*/ 4857 w 4884"/>
                  <a:gd name="connsiteY0" fmla="*/ 3046 h 4006"/>
                  <a:gd name="connsiteX1" fmla="*/ 4034 w 4884"/>
                  <a:gd name="connsiteY1" fmla="*/ 4007 h 4006"/>
                  <a:gd name="connsiteX2" fmla="*/ 631 w 4884"/>
                  <a:gd name="connsiteY2" fmla="*/ 3458 h 4006"/>
                  <a:gd name="connsiteX3" fmla="*/ 0 w 4884"/>
                  <a:gd name="connsiteY3" fmla="*/ 384 h 4006"/>
                  <a:gd name="connsiteX4" fmla="*/ 1070 w 4884"/>
                  <a:gd name="connsiteY4" fmla="*/ 0 h 4006"/>
                  <a:gd name="connsiteX5" fmla="*/ 4885 w 4884"/>
                  <a:gd name="connsiteY5" fmla="*/ 3046 h 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4" h="4006">
                    <a:moveTo>
                      <a:pt x="4857" y="3046"/>
                    </a:moveTo>
                    <a:lnTo>
                      <a:pt x="4034" y="4007"/>
                    </a:lnTo>
                    <a:lnTo>
                      <a:pt x="631" y="3458"/>
                    </a:lnTo>
                    <a:lnTo>
                      <a:pt x="0" y="384"/>
                    </a:lnTo>
                    <a:lnTo>
                      <a:pt x="1070" y="0"/>
                    </a:lnTo>
                    <a:lnTo>
                      <a:pt x="4885"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19" name="Freeform: Shape 3618">
                <a:extLst>
                  <a:ext uri="{FF2B5EF4-FFF2-40B4-BE49-F238E27FC236}">
                    <a16:creationId xmlns:a16="http://schemas.microsoft.com/office/drawing/2014/main" id="{E25900CD-D131-6E99-C0E7-D8FF4E5160C2}"/>
                  </a:ext>
                </a:extLst>
              </p:cNvPr>
              <p:cNvSpPr/>
              <p:nvPr/>
            </p:nvSpPr>
            <p:spPr>
              <a:xfrm>
                <a:off x="1113423" y="3776359"/>
                <a:ext cx="538" cy="352"/>
              </a:xfrm>
              <a:custGeom>
                <a:avLst/>
                <a:gdLst>
                  <a:gd name="connsiteX0" fmla="*/ 5159 w 5159"/>
                  <a:gd name="connsiteY0" fmla="*/ 1619 h 3375"/>
                  <a:gd name="connsiteX1" fmla="*/ 384 w 5159"/>
                  <a:gd name="connsiteY1" fmla="*/ 3375 h 3375"/>
                  <a:gd name="connsiteX2" fmla="*/ 0 w 5159"/>
                  <a:gd name="connsiteY2" fmla="*/ 2470 h 3375"/>
                  <a:gd name="connsiteX3" fmla="*/ 3293 w 5159"/>
                  <a:gd name="connsiteY3" fmla="*/ 0 h 3375"/>
                  <a:gd name="connsiteX4" fmla="*/ 5132 w 5159"/>
                  <a:gd name="connsiteY4" fmla="*/ 1647 h 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9" h="3375">
                    <a:moveTo>
                      <a:pt x="5159" y="1619"/>
                    </a:moveTo>
                    <a:lnTo>
                      <a:pt x="384" y="3375"/>
                    </a:lnTo>
                    <a:lnTo>
                      <a:pt x="0" y="2470"/>
                    </a:lnTo>
                    <a:lnTo>
                      <a:pt x="3293" y="0"/>
                    </a:lnTo>
                    <a:lnTo>
                      <a:pt x="5132"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0" name="Freeform: Shape 3619">
                <a:extLst>
                  <a:ext uri="{FF2B5EF4-FFF2-40B4-BE49-F238E27FC236}">
                    <a16:creationId xmlns:a16="http://schemas.microsoft.com/office/drawing/2014/main" id="{00665239-2E4E-B282-AD28-F9D961E7DF4B}"/>
                  </a:ext>
                </a:extLst>
              </p:cNvPr>
              <p:cNvSpPr/>
              <p:nvPr/>
            </p:nvSpPr>
            <p:spPr>
              <a:xfrm>
                <a:off x="1120227" y="3772014"/>
                <a:ext cx="446" cy="384"/>
              </a:xfrm>
              <a:custGeom>
                <a:avLst/>
                <a:gdLst>
                  <a:gd name="connsiteX0" fmla="*/ 4253 w 4280"/>
                  <a:gd name="connsiteY0" fmla="*/ 1455 h 3677"/>
                  <a:gd name="connsiteX1" fmla="*/ 3430 w 4280"/>
                  <a:gd name="connsiteY1" fmla="*/ 3678 h 3677"/>
                  <a:gd name="connsiteX2" fmla="*/ 0 w 4280"/>
                  <a:gd name="connsiteY2" fmla="*/ 796 h 3677"/>
                  <a:gd name="connsiteX3" fmla="*/ 2579 w 4280"/>
                  <a:gd name="connsiteY3" fmla="*/ 0 h 3677"/>
                  <a:gd name="connsiteX4" fmla="*/ 4281 w 4280"/>
                  <a:gd name="connsiteY4" fmla="*/ 1455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0" h="3677">
                    <a:moveTo>
                      <a:pt x="4253" y="1455"/>
                    </a:moveTo>
                    <a:lnTo>
                      <a:pt x="3430" y="3678"/>
                    </a:lnTo>
                    <a:lnTo>
                      <a:pt x="0" y="796"/>
                    </a:lnTo>
                    <a:lnTo>
                      <a:pt x="2579" y="0"/>
                    </a:lnTo>
                    <a:lnTo>
                      <a:pt x="4281" y="14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1" name="Freeform: Shape 3620">
                <a:extLst>
                  <a:ext uri="{FF2B5EF4-FFF2-40B4-BE49-F238E27FC236}">
                    <a16:creationId xmlns:a16="http://schemas.microsoft.com/office/drawing/2014/main" id="{872E78B5-EC17-D7F5-8FD8-9678C739481F}"/>
                  </a:ext>
                </a:extLst>
              </p:cNvPr>
              <p:cNvSpPr/>
              <p:nvPr/>
            </p:nvSpPr>
            <p:spPr>
              <a:xfrm>
                <a:off x="1123290" y="3773356"/>
                <a:ext cx="475" cy="349"/>
              </a:xfrm>
              <a:custGeom>
                <a:avLst/>
                <a:gdLst>
                  <a:gd name="connsiteX0" fmla="*/ 4556 w 4555"/>
                  <a:gd name="connsiteY0" fmla="*/ 2689 h 3347"/>
                  <a:gd name="connsiteX1" fmla="*/ 3046 w 4555"/>
                  <a:gd name="connsiteY1" fmla="*/ 3348 h 3347"/>
                  <a:gd name="connsiteX2" fmla="*/ 0 w 4555"/>
                  <a:gd name="connsiteY2" fmla="*/ 1839 h 3347"/>
                  <a:gd name="connsiteX3" fmla="*/ 3101 w 4555"/>
                  <a:gd name="connsiteY3" fmla="*/ 0 h 3347"/>
                  <a:gd name="connsiteX4" fmla="*/ 4528 w 4555"/>
                  <a:gd name="connsiteY4" fmla="*/ 2662 h 3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3347">
                    <a:moveTo>
                      <a:pt x="4556" y="2689"/>
                    </a:moveTo>
                    <a:lnTo>
                      <a:pt x="3046" y="3348"/>
                    </a:lnTo>
                    <a:lnTo>
                      <a:pt x="0" y="1839"/>
                    </a:lnTo>
                    <a:lnTo>
                      <a:pt x="3101" y="0"/>
                    </a:lnTo>
                    <a:lnTo>
                      <a:pt x="4528"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2" name="Freeform: Shape 3621">
                <a:extLst>
                  <a:ext uri="{FF2B5EF4-FFF2-40B4-BE49-F238E27FC236}">
                    <a16:creationId xmlns:a16="http://schemas.microsoft.com/office/drawing/2014/main" id="{FD006BA6-1C5A-4F13-263D-79FDE19BB539}"/>
                  </a:ext>
                </a:extLst>
              </p:cNvPr>
              <p:cNvSpPr/>
              <p:nvPr/>
            </p:nvSpPr>
            <p:spPr>
              <a:xfrm>
                <a:off x="1117834" y="3771155"/>
                <a:ext cx="532" cy="306"/>
              </a:xfrm>
              <a:custGeom>
                <a:avLst/>
                <a:gdLst>
                  <a:gd name="connsiteX0" fmla="*/ 5104 w 5104"/>
                  <a:gd name="connsiteY0" fmla="*/ 1427 h 2936"/>
                  <a:gd name="connsiteX1" fmla="*/ 1372 w 5104"/>
                  <a:gd name="connsiteY1" fmla="*/ 2937 h 2936"/>
                  <a:gd name="connsiteX2" fmla="*/ 0 w 5104"/>
                  <a:gd name="connsiteY2" fmla="*/ 1235 h 2936"/>
                  <a:gd name="connsiteX3" fmla="*/ 3211 w 5104"/>
                  <a:gd name="connsiteY3" fmla="*/ 0 h 2936"/>
                  <a:gd name="connsiteX4" fmla="*/ 5077 w 5104"/>
                  <a:gd name="connsiteY4" fmla="*/ 1427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4" h="2936">
                    <a:moveTo>
                      <a:pt x="5104" y="1427"/>
                    </a:moveTo>
                    <a:lnTo>
                      <a:pt x="1372" y="2937"/>
                    </a:lnTo>
                    <a:lnTo>
                      <a:pt x="0" y="1235"/>
                    </a:lnTo>
                    <a:lnTo>
                      <a:pt x="3211" y="0"/>
                    </a:lnTo>
                    <a:lnTo>
                      <a:pt x="5077"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3" name="Freeform: Shape 3622">
                <a:extLst>
                  <a:ext uri="{FF2B5EF4-FFF2-40B4-BE49-F238E27FC236}">
                    <a16:creationId xmlns:a16="http://schemas.microsoft.com/office/drawing/2014/main" id="{DA507F10-4D9F-4EFB-5B05-6065A4C443BA}"/>
                  </a:ext>
                </a:extLst>
              </p:cNvPr>
              <p:cNvSpPr/>
              <p:nvPr/>
            </p:nvSpPr>
            <p:spPr>
              <a:xfrm>
                <a:off x="1121887" y="3778102"/>
                <a:ext cx="369" cy="426"/>
              </a:xfrm>
              <a:custGeom>
                <a:avLst/>
                <a:gdLst>
                  <a:gd name="connsiteX0" fmla="*/ 3540 w 3540"/>
                  <a:gd name="connsiteY0" fmla="*/ 1866 h 4088"/>
                  <a:gd name="connsiteX1" fmla="*/ 2992 w 3540"/>
                  <a:gd name="connsiteY1" fmla="*/ 4089 h 4088"/>
                  <a:gd name="connsiteX2" fmla="*/ 0 w 3540"/>
                  <a:gd name="connsiteY2" fmla="*/ 2058 h 4088"/>
                  <a:gd name="connsiteX3" fmla="*/ 741 w 3540"/>
                  <a:gd name="connsiteY3" fmla="*/ 0 h 4088"/>
                  <a:gd name="connsiteX4" fmla="*/ 3513 w 3540"/>
                  <a:gd name="connsiteY4" fmla="*/ 1866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 h="4088">
                    <a:moveTo>
                      <a:pt x="3540" y="1866"/>
                    </a:moveTo>
                    <a:lnTo>
                      <a:pt x="2992" y="4089"/>
                    </a:lnTo>
                    <a:lnTo>
                      <a:pt x="0" y="2058"/>
                    </a:lnTo>
                    <a:lnTo>
                      <a:pt x="741" y="0"/>
                    </a:lnTo>
                    <a:lnTo>
                      <a:pt x="3513" y="18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4" name="Freeform: Shape 3623">
                <a:extLst>
                  <a:ext uri="{FF2B5EF4-FFF2-40B4-BE49-F238E27FC236}">
                    <a16:creationId xmlns:a16="http://schemas.microsoft.com/office/drawing/2014/main" id="{EAC856C3-A32A-7B9E-F33D-D0322EE12BC2}"/>
                  </a:ext>
                </a:extLst>
              </p:cNvPr>
              <p:cNvSpPr/>
              <p:nvPr/>
            </p:nvSpPr>
            <p:spPr>
              <a:xfrm>
                <a:off x="1122935" y="3773021"/>
                <a:ext cx="332" cy="426"/>
              </a:xfrm>
              <a:custGeom>
                <a:avLst/>
                <a:gdLst>
                  <a:gd name="connsiteX0" fmla="*/ 3183 w 3183"/>
                  <a:gd name="connsiteY0" fmla="*/ 3787 h 4088"/>
                  <a:gd name="connsiteX1" fmla="*/ 741 w 3183"/>
                  <a:gd name="connsiteY1" fmla="*/ 4089 h 4088"/>
                  <a:gd name="connsiteX2" fmla="*/ 0 w 3183"/>
                  <a:gd name="connsiteY2" fmla="*/ 2442 h 4088"/>
                  <a:gd name="connsiteX3" fmla="*/ 2278 w 3183"/>
                  <a:gd name="connsiteY3" fmla="*/ 0 h 4088"/>
                  <a:gd name="connsiteX4" fmla="*/ 3183 w 3183"/>
                  <a:gd name="connsiteY4" fmla="*/ 3787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 h="4088">
                    <a:moveTo>
                      <a:pt x="3183" y="3787"/>
                    </a:moveTo>
                    <a:lnTo>
                      <a:pt x="741" y="4089"/>
                    </a:lnTo>
                    <a:lnTo>
                      <a:pt x="0" y="2442"/>
                    </a:lnTo>
                    <a:lnTo>
                      <a:pt x="2278" y="0"/>
                    </a:lnTo>
                    <a:lnTo>
                      <a:pt x="3183" y="37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5" name="Freeform: Shape 3624">
                <a:extLst>
                  <a:ext uri="{FF2B5EF4-FFF2-40B4-BE49-F238E27FC236}">
                    <a16:creationId xmlns:a16="http://schemas.microsoft.com/office/drawing/2014/main" id="{3E39D53A-1DE8-7871-0D23-292CE2736906}"/>
                  </a:ext>
                </a:extLst>
              </p:cNvPr>
              <p:cNvSpPr/>
              <p:nvPr/>
            </p:nvSpPr>
            <p:spPr>
              <a:xfrm>
                <a:off x="1119048" y="3771444"/>
                <a:ext cx="464" cy="306"/>
              </a:xfrm>
              <a:custGeom>
                <a:avLst/>
                <a:gdLst>
                  <a:gd name="connsiteX0" fmla="*/ 4446 w 4445"/>
                  <a:gd name="connsiteY0" fmla="*/ 1866 h 2936"/>
                  <a:gd name="connsiteX1" fmla="*/ 4226 w 4445"/>
                  <a:gd name="connsiteY1" fmla="*/ 2937 h 2936"/>
                  <a:gd name="connsiteX2" fmla="*/ 1427 w 4445"/>
                  <a:gd name="connsiteY2" fmla="*/ 2552 h 2936"/>
                  <a:gd name="connsiteX3" fmla="*/ 0 w 4445"/>
                  <a:gd name="connsiteY3" fmla="*/ 412 h 2936"/>
                  <a:gd name="connsiteX4" fmla="*/ 2003 w 4445"/>
                  <a:gd name="connsiteY4" fmla="*/ 0 h 2936"/>
                  <a:gd name="connsiteX5" fmla="*/ 4418 w 4445"/>
                  <a:gd name="connsiteY5" fmla="*/ 1866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5" h="2936">
                    <a:moveTo>
                      <a:pt x="4446" y="1866"/>
                    </a:moveTo>
                    <a:lnTo>
                      <a:pt x="4226" y="2937"/>
                    </a:lnTo>
                    <a:lnTo>
                      <a:pt x="1427" y="2552"/>
                    </a:lnTo>
                    <a:lnTo>
                      <a:pt x="0" y="412"/>
                    </a:lnTo>
                    <a:lnTo>
                      <a:pt x="2003" y="0"/>
                    </a:lnTo>
                    <a:lnTo>
                      <a:pt x="4418" y="18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6" name="Freeform: Shape 3625">
                <a:extLst>
                  <a:ext uri="{FF2B5EF4-FFF2-40B4-BE49-F238E27FC236}">
                    <a16:creationId xmlns:a16="http://schemas.microsoft.com/office/drawing/2014/main" id="{9030A03A-BDA4-D500-C543-6663DF3D608A}"/>
                  </a:ext>
                </a:extLst>
              </p:cNvPr>
              <p:cNvSpPr/>
              <p:nvPr/>
            </p:nvSpPr>
            <p:spPr>
              <a:xfrm>
                <a:off x="1112633" y="3776422"/>
                <a:ext cx="335" cy="375"/>
              </a:xfrm>
              <a:custGeom>
                <a:avLst/>
                <a:gdLst>
                  <a:gd name="connsiteX0" fmla="*/ 3183 w 3210"/>
                  <a:gd name="connsiteY0" fmla="*/ 1811 h 3595"/>
                  <a:gd name="connsiteX1" fmla="*/ 2251 w 3210"/>
                  <a:gd name="connsiteY1" fmla="*/ 3595 h 3595"/>
                  <a:gd name="connsiteX2" fmla="*/ 0 w 3210"/>
                  <a:gd name="connsiteY2" fmla="*/ 2882 h 3595"/>
                  <a:gd name="connsiteX3" fmla="*/ 549 w 3210"/>
                  <a:gd name="connsiteY3" fmla="*/ 659 h 3595"/>
                  <a:gd name="connsiteX4" fmla="*/ 2278 w 3210"/>
                  <a:gd name="connsiteY4" fmla="*/ 0 h 3595"/>
                  <a:gd name="connsiteX5" fmla="*/ 3211 w 3210"/>
                  <a:gd name="connsiteY5" fmla="*/ 1839 h 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0" h="3595">
                    <a:moveTo>
                      <a:pt x="3183" y="1811"/>
                    </a:moveTo>
                    <a:lnTo>
                      <a:pt x="2251" y="3595"/>
                    </a:lnTo>
                    <a:lnTo>
                      <a:pt x="0" y="2882"/>
                    </a:lnTo>
                    <a:lnTo>
                      <a:pt x="549" y="659"/>
                    </a:lnTo>
                    <a:lnTo>
                      <a:pt x="2278" y="0"/>
                    </a:lnTo>
                    <a:lnTo>
                      <a:pt x="3211"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7" name="Freeform: Shape 3626">
                <a:extLst>
                  <a:ext uri="{FF2B5EF4-FFF2-40B4-BE49-F238E27FC236}">
                    <a16:creationId xmlns:a16="http://schemas.microsoft.com/office/drawing/2014/main" id="{3E19DA19-C779-9E3D-8074-FAB02922FD23}"/>
                  </a:ext>
                </a:extLst>
              </p:cNvPr>
              <p:cNvSpPr/>
              <p:nvPr/>
            </p:nvSpPr>
            <p:spPr>
              <a:xfrm>
                <a:off x="1116933" y="3770926"/>
                <a:ext cx="329" cy="358"/>
              </a:xfrm>
              <a:custGeom>
                <a:avLst/>
                <a:gdLst>
                  <a:gd name="connsiteX0" fmla="*/ 2936 w 3156"/>
                  <a:gd name="connsiteY0" fmla="*/ 3101 h 3430"/>
                  <a:gd name="connsiteX1" fmla="*/ 1098 w 3156"/>
                  <a:gd name="connsiteY1" fmla="*/ 3430 h 3430"/>
                  <a:gd name="connsiteX2" fmla="*/ 0 w 3156"/>
                  <a:gd name="connsiteY2" fmla="*/ 1756 h 3430"/>
                  <a:gd name="connsiteX3" fmla="*/ 796 w 3156"/>
                  <a:gd name="connsiteY3" fmla="*/ 0 h 3430"/>
                  <a:gd name="connsiteX4" fmla="*/ 3156 w 3156"/>
                  <a:gd name="connsiteY4" fmla="*/ 823 h 3430"/>
                  <a:gd name="connsiteX5" fmla="*/ 2936 w 3156"/>
                  <a:gd name="connsiteY5" fmla="*/ 3074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6" h="3430">
                    <a:moveTo>
                      <a:pt x="2936" y="3101"/>
                    </a:moveTo>
                    <a:lnTo>
                      <a:pt x="1098" y="3430"/>
                    </a:lnTo>
                    <a:lnTo>
                      <a:pt x="0" y="1756"/>
                    </a:lnTo>
                    <a:lnTo>
                      <a:pt x="796" y="0"/>
                    </a:lnTo>
                    <a:lnTo>
                      <a:pt x="3156" y="823"/>
                    </a:lnTo>
                    <a:lnTo>
                      <a:pt x="2936"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8" name="Freeform: Shape 3627">
                <a:extLst>
                  <a:ext uri="{FF2B5EF4-FFF2-40B4-BE49-F238E27FC236}">
                    <a16:creationId xmlns:a16="http://schemas.microsoft.com/office/drawing/2014/main" id="{81089AE4-11E1-081B-B85D-11A92CDB54D3}"/>
                  </a:ext>
                </a:extLst>
              </p:cNvPr>
              <p:cNvSpPr/>
              <p:nvPr/>
            </p:nvSpPr>
            <p:spPr>
              <a:xfrm>
                <a:off x="1153244" y="3806176"/>
                <a:ext cx="1208" cy="1090"/>
              </a:xfrm>
              <a:custGeom>
                <a:avLst/>
                <a:gdLst>
                  <a:gd name="connsiteX0" fmla="*/ 0 w 11580"/>
                  <a:gd name="connsiteY0" fmla="*/ 2525 h 10455"/>
                  <a:gd name="connsiteX1" fmla="*/ 549 w 11580"/>
                  <a:gd name="connsiteY1" fmla="*/ 0 h 10455"/>
                  <a:gd name="connsiteX2" fmla="*/ 2470 w 11580"/>
                  <a:gd name="connsiteY2" fmla="*/ 823 h 10455"/>
                  <a:gd name="connsiteX3" fmla="*/ 3815 w 11580"/>
                  <a:gd name="connsiteY3" fmla="*/ 4199 h 10455"/>
                  <a:gd name="connsiteX4" fmla="*/ 5242 w 11580"/>
                  <a:gd name="connsiteY4" fmla="*/ 5434 h 10455"/>
                  <a:gd name="connsiteX5" fmla="*/ 9029 w 11580"/>
                  <a:gd name="connsiteY5" fmla="*/ 6229 h 10455"/>
                  <a:gd name="connsiteX6" fmla="*/ 11581 w 11580"/>
                  <a:gd name="connsiteY6" fmla="*/ 9303 h 10455"/>
                  <a:gd name="connsiteX7" fmla="*/ 10867 w 11580"/>
                  <a:gd name="connsiteY7" fmla="*/ 10456 h 10455"/>
                  <a:gd name="connsiteX8" fmla="*/ 5845 w 11580"/>
                  <a:gd name="connsiteY8" fmla="*/ 8068 h 10455"/>
                  <a:gd name="connsiteX9" fmla="*/ 3870 w 11580"/>
                  <a:gd name="connsiteY9" fmla="*/ 5598 h 10455"/>
                  <a:gd name="connsiteX10" fmla="*/ 2360 w 11580"/>
                  <a:gd name="connsiteY10" fmla="*/ 5598 h 10455"/>
                  <a:gd name="connsiteX11" fmla="*/ 27 w 11580"/>
                  <a:gd name="connsiteY11" fmla="*/ 2497 h 1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80" h="10455">
                    <a:moveTo>
                      <a:pt x="0" y="2525"/>
                    </a:moveTo>
                    <a:lnTo>
                      <a:pt x="549" y="0"/>
                    </a:lnTo>
                    <a:lnTo>
                      <a:pt x="2470" y="823"/>
                    </a:lnTo>
                    <a:lnTo>
                      <a:pt x="3815" y="4199"/>
                    </a:lnTo>
                    <a:lnTo>
                      <a:pt x="5242" y="5434"/>
                    </a:lnTo>
                    <a:lnTo>
                      <a:pt x="9029" y="6229"/>
                    </a:lnTo>
                    <a:lnTo>
                      <a:pt x="11581" y="9303"/>
                    </a:lnTo>
                    <a:lnTo>
                      <a:pt x="10867" y="10456"/>
                    </a:lnTo>
                    <a:lnTo>
                      <a:pt x="5845" y="8068"/>
                    </a:lnTo>
                    <a:lnTo>
                      <a:pt x="3870" y="5598"/>
                    </a:lnTo>
                    <a:lnTo>
                      <a:pt x="2360" y="5598"/>
                    </a:lnTo>
                    <a:cubicBezTo>
                      <a:pt x="2360" y="5598"/>
                      <a:pt x="27" y="2497"/>
                      <a:pt x="27" y="2497"/>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29" name="Freeform: Shape 3628">
                <a:extLst>
                  <a:ext uri="{FF2B5EF4-FFF2-40B4-BE49-F238E27FC236}">
                    <a16:creationId xmlns:a16="http://schemas.microsoft.com/office/drawing/2014/main" id="{089F2790-4ED3-F05B-1D95-78DFF5406F52}"/>
                  </a:ext>
                </a:extLst>
              </p:cNvPr>
              <p:cNvSpPr/>
              <p:nvPr/>
            </p:nvSpPr>
            <p:spPr>
              <a:xfrm>
                <a:off x="1464391" y="3727155"/>
                <a:ext cx="7010" cy="4170"/>
              </a:xfrm>
              <a:custGeom>
                <a:avLst/>
                <a:gdLst>
                  <a:gd name="connsiteX0" fmla="*/ 55 w 67207"/>
                  <a:gd name="connsiteY0" fmla="*/ 22147 h 39984"/>
                  <a:gd name="connsiteX1" fmla="*/ 522 w 67207"/>
                  <a:gd name="connsiteY1" fmla="*/ 20747 h 39984"/>
                  <a:gd name="connsiteX2" fmla="*/ 4007 w 67207"/>
                  <a:gd name="connsiteY2" fmla="*/ 23052 h 39984"/>
                  <a:gd name="connsiteX3" fmla="*/ 6477 w 67207"/>
                  <a:gd name="connsiteY3" fmla="*/ 21433 h 39984"/>
                  <a:gd name="connsiteX4" fmla="*/ 8288 w 67207"/>
                  <a:gd name="connsiteY4" fmla="*/ 18222 h 39984"/>
                  <a:gd name="connsiteX5" fmla="*/ 11197 w 67207"/>
                  <a:gd name="connsiteY5" fmla="*/ 17509 h 39984"/>
                  <a:gd name="connsiteX6" fmla="*/ 16329 w 67207"/>
                  <a:gd name="connsiteY6" fmla="*/ 19457 h 39984"/>
                  <a:gd name="connsiteX7" fmla="*/ 18387 w 67207"/>
                  <a:gd name="connsiteY7" fmla="*/ 18305 h 39984"/>
                  <a:gd name="connsiteX8" fmla="*/ 19540 w 67207"/>
                  <a:gd name="connsiteY8" fmla="*/ 14902 h 39984"/>
                  <a:gd name="connsiteX9" fmla="*/ 19155 w 67207"/>
                  <a:gd name="connsiteY9" fmla="*/ 10072 h 39984"/>
                  <a:gd name="connsiteX10" fmla="*/ 21241 w 67207"/>
                  <a:gd name="connsiteY10" fmla="*/ 11306 h 39984"/>
                  <a:gd name="connsiteX11" fmla="*/ 35567 w 67207"/>
                  <a:gd name="connsiteY11" fmla="*/ 12596 h 39984"/>
                  <a:gd name="connsiteX12" fmla="*/ 40561 w 67207"/>
                  <a:gd name="connsiteY12" fmla="*/ 11636 h 39984"/>
                  <a:gd name="connsiteX13" fmla="*/ 44046 w 67207"/>
                  <a:gd name="connsiteY13" fmla="*/ 9715 h 39984"/>
                  <a:gd name="connsiteX14" fmla="*/ 46352 w 67207"/>
                  <a:gd name="connsiteY14" fmla="*/ 9715 h 39984"/>
                  <a:gd name="connsiteX15" fmla="*/ 50166 w 67207"/>
                  <a:gd name="connsiteY15" fmla="*/ 8453 h 39984"/>
                  <a:gd name="connsiteX16" fmla="*/ 54502 w 67207"/>
                  <a:gd name="connsiteY16" fmla="*/ 6312 h 39984"/>
                  <a:gd name="connsiteX17" fmla="*/ 55819 w 67207"/>
                  <a:gd name="connsiteY17" fmla="*/ 4473 h 39984"/>
                  <a:gd name="connsiteX18" fmla="*/ 59167 w 67207"/>
                  <a:gd name="connsiteY18" fmla="*/ 3870 h 39984"/>
                  <a:gd name="connsiteX19" fmla="*/ 60951 w 67207"/>
                  <a:gd name="connsiteY19" fmla="*/ 2223 h 39984"/>
                  <a:gd name="connsiteX20" fmla="*/ 66769 w 67207"/>
                  <a:gd name="connsiteY20" fmla="*/ 0 h 39984"/>
                  <a:gd name="connsiteX21" fmla="*/ 67208 w 67207"/>
                  <a:gd name="connsiteY21" fmla="*/ 1455 h 39984"/>
                  <a:gd name="connsiteX22" fmla="*/ 64436 w 67207"/>
                  <a:gd name="connsiteY22" fmla="*/ 2415 h 39984"/>
                  <a:gd name="connsiteX23" fmla="*/ 62707 w 67207"/>
                  <a:gd name="connsiteY23" fmla="*/ 4446 h 39984"/>
                  <a:gd name="connsiteX24" fmla="*/ 58975 w 67207"/>
                  <a:gd name="connsiteY24" fmla="*/ 7300 h 39984"/>
                  <a:gd name="connsiteX25" fmla="*/ 55792 w 67207"/>
                  <a:gd name="connsiteY25" fmla="*/ 8809 h 39984"/>
                  <a:gd name="connsiteX26" fmla="*/ 52581 w 67207"/>
                  <a:gd name="connsiteY26" fmla="*/ 12789 h 39984"/>
                  <a:gd name="connsiteX27" fmla="*/ 49700 w 67207"/>
                  <a:gd name="connsiteY27" fmla="*/ 13063 h 39984"/>
                  <a:gd name="connsiteX28" fmla="*/ 47970 w 67207"/>
                  <a:gd name="connsiteY28" fmla="*/ 15368 h 39984"/>
                  <a:gd name="connsiteX29" fmla="*/ 48245 w 67207"/>
                  <a:gd name="connsiteY29" fmla="*/ 18826 h 39984"/>
                  <a:gd name="connsiteX30" fmla="*/ 52142 w 67207"/>
                  <a:gd name="connsiteY30" fmla="*/ 23903 h 39984"/>
                  <a:gd name="connsiteX31" fmla="*/ 46626 w 67207"/>
                  <a:gd name="connsiteY31" fmla="*/ 26592 h 39984"/>
                  <a:gd name="connsiteX32" fmla="*/ 44211 w 67207"/>
                  <a:gd name="connsiteY32" fmla="*/ 25302 h 39984"/>
                  <a:gd name="connsiteX33" fmla="*/ 41905 w 67207"/>
                  <a:gd name="connsiteY33" fmla="*/ 25357 h 39984"/>
                  <a:gd name="connsiteX34" fmla="*/ 40232 w 67207"/>
                  <a:gd name="connsiteY34" fmla="*/ 26894 h 39984"/>
                  <a:gd name="connsiteX35" fmla="*/ 39079 w 67207"/>
                  <a:gd name="connsiteY35" fmla="*/ 31148 h 39984"/>
                  <a:gd name="connsiteX36" fmla="*/ 28980 w 67207"/>
                  <a:gd name="connsiteY36" fmla="*/ 35100 h 39984"/>
                  <a:gd name="connsiteX37" fmla="*/ 25769 w 67207"/>
                  <a:gd name="connsiteY37" fmla="*/ 34853 h 39984"/>
                  <a:gd name="connsiteX38" fmla="*/ 21708 w 67207"/>
                  <a:gd name="connsiteY38" fmla="*/ 37158 h 39984"/>
                  <a:gd name="connsiteX39" fmla="*/ 21543 w 67207"/>
                  <a:gd name="connsiteY39" fmla="*/ 39737 h 39984"/>
                  <a:gd name="connsiteX40" fmla="*/ 19567 w 67207"/>
                  <a:gd name="connsiteY40" fmla="*/ 39985 h 39984"/>
                  <a:gd name="connsiteX41" fmla="*/ 17729 w 67207"/>
                  <a:gd name="connsiteY41" fmla="*/ 36472 h 39984"/>
                  <a:gd name="connsiteX42" fmla="*/ 12761 w 67207"/>
                  <a:gd name="connsiteY42" fmla="*/ 37377 h 39984"/>
                  <a:gd name="connsiteX43" fmla="*/ 6614 w 67207"/>
                  <a:gd name="connsiteY43" fmla="*/ 35155 h 39984"/>
                  <a:gd name="connsiteX44" fmla="*/ 4007 w 67207"/>
                  <a:gd name="connsiteY44" fmla="*/ 32959 h 39984"/>
                  <a:gd name="connsiteX45" fmla="*/ 3513 w 67207"/>
                  <a:gd name="connsiteY45" fmla="*/ 30380 h 39984"/>
                  <a:gd name="connsiteX46" fmla="*/ 1372 w 67207"/>
                  <a:gd name="connsiteY46" fmla="*/ 28074 h 39984"/>
                  <a:gd name="connsiteX47" fmla="*/ 1263 w 67207"/>
                  <a:gd name="connsiteY47" fmla="*/ 24754 h 39984"/>
                  <a:gd name="connsiteX48" fmla="*/ 0 w 67207"/>
                  <a:gd name="connsiteY48" fmla="*/ 22229 h 3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7207" h="39984">
                    <a:moveTo>
                      <a:pt x="55" y="22147"/>
                    </a:moveTo>
                    <a:lnTo>
                      <a:pt x="522" y="20747"/>
                    </a:lnTo>
                    <a:lnTo>
                      <a:pt x="4007" y="23052"/>
                    </a:lnTo>
                    <a:lnTo>
                      <a:pt x="6477" y="21433"/>
                    </a:lnTo>
                    <a:lnTo>
                      <a:pt x="8288" y="18222"/>
                    </a:lnTo>
                    <a:lnTo>
                      <a:pt x="11197" y="17509"/>
                    </a:lnTo>
                    <a:lnTo>
                      <a:pt x="16329" y="19457"/>
                    </a:lnTo>
                    <a:lnTo>
                      <a:pt x="18387" y="18305"/>
                    </a:lnTo>
                    <a:lnTo>
                      <a:pt x="19540" y="14902"/>
                    </a:lnTo>
                    <a:lnTo>
                      <a:pt x="19155" y="10072"/>
                    </a:lnTo>
                    <a:lnTo>
                      <a:pt x="21241" y="11306"/>
                    </a:lnTo>
                    <a:lnTo>
                      <a:pt x="35567" y="12596"/>
                    </a:lnTo>
                    <a:lnTo>
                      <a:pt x="40561" y="11636"/>
                    </a:lnTo>
                    <a:lnTo>
                      <a:pt x="44046" y="9715"/>
                    </a:lnTo>
                    <a:lnTo>
                      <a:pt x="46352" y="9715"/>
                    </a:lnTo>
                    <a:lnTo>
                      <a:pt x="50166" y="8453"/>
                    </a:lnTo>
                    <a:lnTo>
                      <a:pt x="54502" y="6312"/>
                    </a:lnTo>
                    <a:lnTo>
                      <a:pt x="55819" y="4473"/>
                    </a:lnTo>
                    <a:lnTo>
                      <a:pt x="59167" y="3870"/>
                    </a:lnTo>
                    <a:lnTo>
                      <a:pt x="60951" y="2223"/>
                    </a:lnTo>
                    <a:lnTo>
                      <a:pt x="66769" y="0"/>
                    </a:lnTo>
                    <a:lnTo>
                      <a:pt x="67208" y="1455"/>
                    </a:lnTo>
                    <a:lnTo>
                      <a:pt x="64436" y="2415"/>
                    </a:lnTo>
                    <a:lnTo>
                      <a:pt x="62707" y="4446"/>
                    </a:lnTo>
                    <a:lnTo>
                      <a:pt x="58975" y="7300"/>
                    </a:lnTo>
                    <a:lnTo>
                      <a:pt x="55792" y="8809"/>
                    </a:lnTo>
                    <a:lnTo>
                      <a:pt x="52581" y="12789"/>
                    </a:lnTo>
                    <a:lnTo>
                      <a:pt x="49700" y="13063"/>
                    </a:lnTo>
                    <a:lnTo>
                      <a:pt x="47970" y="15368"/>
                    </a:lnTo>
                    <a:lnTo>
                      <a:pt x="48245" y="18826"/>
                    </a:lnTo>
                    <a:lnTo>
                      <a:pt x="52142" y="23903"/>
                    </a:lnTo>
                    <a:lnTo>
                      <a:pt x="46626" y="26592"/>
                    </a:lnTo>
                    <a:lnTo>
                      <a:pt x="44211" y="25302"/>
                    </a:lnTo>
                    <a:lnTo>
                      <a:pt x="41905" y="25357"/>
                    </a:lnTo>
                    <a:lnTo>
                      <a:pt x="40232" y="26894"/>
                    </a:lnTo>
                    <a:lnTo>
                      <a:pt x="39079" y="31148"/>
                    </a:lnTo>
                    <a:lnTo>
                      <a:pt x="28980" y="35100"/>
                    </a:lnTo>
                    <a:lnTo>
                      <a:pt x="25769" y="34853"/>
                    </a:lnTo>
                    <a:lnTo>
                      <a:pt x="21708" y="37158"/>
                    </a:lnTo>
                    <a:lnTo>
                      <a:pt x="21543" y="39737"/>
                    </a:lnTo>
                    <a:lnTo>
                      <a:pt x="19567" y="39985"/>
                    </a:lnTo>
                    <a:lnTo>
                      <a:pt x="17729" y="36472"/>
                    </a:lnTo>
                    <a:lnTo>
                      <a:pt x="12761" y="37377"/>
                    </a:lnTo>
                    <a:lnTo>
                      <a:pt x="6614" y="35155"/>
                    </a:lnTo>
                    <a:lnTo>
                      <a:pt x="4007" y="32959"/>
                    </a:lnTo>
                    <a:lnTo>
                      <a:pt x="3513" y="30380"/>
                    </a:lnTo>
                    <a:lnTo>
                      <a:pt x="1372" y="28074"/>
                    </a:lnTo>
                    <a:lnTo>
                      <a:pt x="1263" y="24754"/>
                    </a:lnTo>
                    <a:lnTo>
                      <a:pt x="0" y="222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0" name="Freeform: Shape 3629">
                <a:extLst>
                  <a:ext uri="{FF2B5EF4-FFF2-40B4-BE49-F238E27FC236}">
                    <a16:creationId xmlns:a16="http://schemas.microsoft.com/office/drawing/2014/main" id="{D4CAA9FB-693D-B4CB-00AF-1BAA9828AEDC}"/>
                  </a:ext>
                </a:extLst>
              </p:cNvPr>
              <p:cNvSpPr/>
              <p:nvPr/>
            </p:nvSpPr>
            <p:spPr>
              <a:xfrm>
                <a:off x="1391585" y="3803978"/>
                <a:ext cx="23480" cy="35335"/>
              </a:xfrm>
              <a:custGeom>
                <a:avLst/>
                <a:gdLst>
                  <a:gd name="connsiteX0" fmla="*/ 204971 w 225114"/>
                  <a:gd name="connsiteY0" fmla="*/ 166057 h 338783"/>
                  <a:gd name="connsiteX1" fmla="*/ 197205 w 225114"/>
                  <a:gd name="connsiteY1" fmla="*/ 174098 h 338783"/>
                  <a:gd name="connsiteX2" fmla="*/ 192595 w 225114"/>
                  <a:gd name="connsiteY2" fmla="*/ 186969 h 338783"/>
                  <a:gd name="connsiteX3" fmla="*/ 188203 w 225114"/>
                  <a:gd name="connsiteY3" fmla="*/ 191332 h 338783"/>
                  <a:gd name="connsiteX4" fmla="*/ 183428 w 225114"/>
                  <a:gd name="connsiteY4" fmla="*/ 202447 h 338783"/>
                  <a:gd name="connsiteX5" fmla="*/ 176870 w 225114"/>
                  <a:gd name="connsiteY5" fmla="*/ 206152 h 338783"/>
                  <a:gd name="connsiteX6" fmla="*/ 173549 w 225114"/>
                  <a:gd name="connsiteY6" fmla="*/ 210542 h 338783"/>
                  <a:gd name="connsiteX7" fmla="*/ 178901 w 225114"/>
                  <a:gd name="connsiteY7" fmla="*/ 215702 h 338783"/>
                  <a:gd name="connsiteX8" fmla="*/ 178901 w 225114"/>
                  <a:gd name="connsiteY8" fmla="*/ 226624 h 338783"/>
                  <a:gd name="connsiteX9" fmla="*/ 176733 w 225114"/>
                  <a:gd name="connsiteY9" fmla="*/ 232634 h 338783"/>
                  <a:gd name="connsiteX10" fmla="*/ 180767 w 225114"/>
                  <a:gd name="connsiteY10" fmla="*/ 237272 h 338783"/>
                  <a:gd name="connsiteX11" fmla="*/ 182358 w 225114"/>
                  <a:gd name="connsiteY11" fmla="*/ 251789 h 338783"/>
                  <a:gd name="connsiteX12" fmla="*/ 191222 w 225114"/>
                  <a:gd name="connsiteY12" fmla="*/ 259144 h 338783"/>
                  <a:gd name="connsiteX13" fmla="*/ 194433 w 225114"/>
                  <a:gd name="connsiteY13" fmla="*/ 268228 h 338783"/>
                  <a:gd name="connsiteX14" fmla="*/ 193116 w 225114"/>
                  <a:gd name="connsiteY14" fmla="*/ 271274 h 338783"/>
                  <a:gd name="connsiteX15" fmla="*/ 197535 w 225114"/>
                  <a:gd name="connsiteY15" fmla="*/ 278848 h 338783"/>
                  <a:gd name="connsiteX16" fmla="*/ 212820 w 225114"/>
                  <a:gd name="connsiteY16" fmla="*/ 295890 h 338783"/>
                  <a:gd name="connsiteX17" fmla="*/ 221108 w 225114"/>
                  <a:gd name="connsiteY17" fmla="*/ 301928 h 338783"/>
                  <a:gd name="connsiteX18" fmla="*/ 221958 w 225114"/>
                  <a:gd name="connsiteY18" fmla="*/ 315402 h 338783"/>
                  <a:gd name="connsiteX19" fmla="*/ 225115 w 225114"/>
                  <a:gd name="connsiteY19" fmla="*/ 322729 h 338783"/>
                  <a:gd name="connsiteX20" fmla="*/ 222068 w 225114"/>
                  <a:gd name="connsiteY20" fmla="*/ 324733 h 338783"/>
                  <a:gd name="connsiteX21" fmla="*/ 221465 w 225114"/>
                  <a:gd name="connsiteY21" fmla="*/ 329645 h 338783"/>
                  <a:gd name="connsiteX22" fmla="*/ 223578 w 225114"/>
                  <a:gd name="connsiteY22" fmla="*/ 336561 h 338783"/>
                  <a:gd name="connsiteX23" fmla="*/ 221108 w 225114"/>
                  <a:gd name="connsiteY23" fmla="*/ 338783 h 338783"/>
                  <a:gd name="connsiteX24" fmla="*/ 219489 w 225114"/>
                  <a:gd name="connsiteY24" fmla="*/ 336286 h 338783"/>
                  <a:gd name="connsiteX25" fmla="*/ 211338 w 225114"/>
                  <a:gd name="connsiteY25" fmla="*/ 331731 h 338783"/>
                  <a:gd name="connsiteX26" fmla="*/ 204889 w 225114"/>
                  <a:gd name="connsiteY26" fmla="*/ 330194 h 338783"/>
                  <a:gd name="connsiteX27" fmla="*/ 200444 w 225114"/>
                  <a:gd name="connsiteY27" fmla="*/ 331319 h 338783"/>
                  <a:gd name="connsiteX28" fmla="*/ 196272 w 225114"/>
                  <a:gd name="connsiteY28" fmla="*/ 328355 h 338783"/>
                  <a:gd name="connsiteX29" fmla="*/ 192211 w 225114"/>
                  <a:gd name="connsiteY29" fmla="*/ 329618 h 338783"/>
                  <a:gd name="connsiteX30" fmla="*/ 187902 w 225114"/>
                  <a:gd name="connsiteY30" fmla="*/ 328712 h 338783"/>
                  <a:gd name="connsiteX31" fmla="*/ 177556 w 225114"/>
                  <a:gd name="connsiteY31" fmla="*/ 323388 h 338783"/>
                  <a:gd name="connsiteX32" fmla="*/ 170311 w 225114"/>
                  <a:gd name="connsiteY32" fmla="*/ 323717 h 338783"/>
                  <a:gd name="connsiteX33" fmla="*/ 139987 w 225114"/>
                  <a:gd name="connsiteY33" fmla="*/ 324184 h 338783"/>
                  <a:gd name="connsiteX34" fmla="*/ 137352 w 225114"/>
                  <a:gd name="connsiteY34" fmla="*/ 321138 h 338783"/>
                  <a:gd name="connsiteX35" fmla="*/ 123191 w 225114"/>
                  <a:gd name="connsiteY35" fmla="*/ 322373 h 338783"/>
                  <a:gd name="connsiteX36" fmla="*/ 92318 w 225114"/>
                  <a:gd name="connsiteY36" fmla="*/ 320040 h 338783"/>
                  <a:gd name="connsiteX37" fmla="*/ 84469 w 225114"/>
                  <a:gd name="connsiteY37" fmla="*/ 320534 h 338783"/>
                  <a:gd name="connsiteX38" fmla="*/ 82219 w 225114"/>
                  <a:gd name="connsiteY38" fmla="*/ 324102 h 338783"/>
                  <a:gd name="connsiteX39" fmla="*/ 44567 w 225114"/>
                  <a:gd name="connsiteY39" fmla="*/ 324294 h 338783"/>
                  <a:gd name="connsiteX40" fmla="*/ 39161 w 225114"/>
                  <a:gd name="connsiteY40" fmla="*/ 322043 h 338783"/>
                  <a:gd name="connsiteX41" fmla="*/ 37707 w 225114"/>
                  <a:gd name="connsiteY41" fmla="*/ 318997 h 338783"/>
                  <a:gd name="connsiteX42" fmla="*/ 41521 w 225114"/>
                  <a:gd name="connsiteY42" fmla="*/ 296604 h 338783"/>
                  <a:gd name="connsiteX43" fmla="*/ 38969 w 225114"/>
                  <a:gd name="connsiteY43" fmla="*/ 290127 h 338783"/>
                  <a:gd name="connsiteX44" fmla="*/ 32520 w 225114"/>
                  <a:gd name="connsiteY44" fmla="*/ 282361 h 338783"/>
                  <a:gd name="connsiteX45" fmla="*/ 31614 w 225114"/>
                  <a:gd name="connsiteY45" fmla="*/ 277202 h 338783"/>
                  <a:gd name="connsiteX46" fmla="*/ 33014 w 225114"/>
                  <a:gd name="connsiteY46" fmla="*/ 272509 h 338783"/>
                  <a:gd name="connsiteX47" fmla="*/ 30022 w 225114"/>
                  <a:gd name="connsiteY47" fmla="*/ 270341 h 338783"/>
                  <a:gd name="connsiteX48" fmla="*/ 24671 w 225114"/>
                  <a:gd name="connsiteY48" fmla="*/ 272783 h 338783"/>
                  <a:gd name="connsiteX49" fmla="*/ 14517 w 225114"/>
                  <a:gd name="connsiteY49" fmla="*/ 268255 h 338783"/>
                  <a:gd name="connsiteX50" fmla="*/ 9440 w 225114"/>
                  <a:gd name="connsiteY50" fmla="*/ 255165 h 338783"/>
                  <a:gd name="connsiteX51" fmla="*/ 4912 w 225114"/>
                  <a:gd name="connsiteY51" fmla="*/ 253299 h 338783"/>
                  <a:gd name="connsiteX52" fmla="*/ 3512 w 225114"/>
                  <a:gd name="connsiteY52" fmla="*/ 255494 h 338783"/>
                  <a:gd name="connsiteX53" fmla="*/ 0 w 225114"/>
                  <a:gd name="connsiteY53" fmla="*/ 254808 h 338783"/>
                  <a:gd name="connsiteX54" fmla="*/ 302 w 225114"/>
                  <a:gd name="connsiteY54" fmla="*/ 246712 h 338783"/>
                  <a:gd name="connsiteX55" fmla="*/ 357 w 225114"/>
                  <a:gd name="connsiteY55" fmla="*/ 246603 h 338783"/>
                  <a:gd name="connsiteX56" fmla="*/ 494 w 225114"/>
                  <a:gd name="connsiteY56" fmla="*/ 246466 h 338783"/>
                  <a:gd name="connsiteX57" fmla="*/ 659 w 225114"/>
                  <a:gd name="connsiteY57" fmla="*/ 246383 h 338783"/>
                  <a:gd name="connsiteX58" fmla="*/ 741 w 225114"/>
                  <a:gd name="connsiteY58" fmla="*/ 246383 h 338783"/>
                  <a:gd name="connsiteX59" fmla="*/ 851 w 225114"/>
                  <a:gd name="connsiteY59" fmla="*/ 246438 h 338783"/>
                  <a:gd name="connsiteX60" fmla="*/ 905 w 225114"/>
                  <a:gd name="connsiteY60" fmla="*/ 246575 h 338783"/>
                  <a:gd name="connsiteX61" fmla="*/ 1015 w 225114"/>
                  <a:gd name="connsiteY61" fmla="*/ 246658 h 338783"/>
                  <a:gd name="connsiteX62" fmla="*/ 1152 w 225114"/>
                  <a:gd name="connsiteY62" fmla="*/ 246658 h 338783"/>
                  <a:gd name="connsiteX63" fmla="*/ 1701 w 225114"/>
                  <a:gd name="connsiteY63" fmla="*/ 246658 h 338783"/>
                  <a:gd name="connsiteX64" fmla="*/ 2305 w 225114"/>
                  <a:gd name="connsiteY64" fmla="*/ 246246 h 338783"/>
                  <a:gd name="connsiteX65" fmla="*/ 8342 w 225114"/>
                  <a:gd name="connsiteY65" fmla="*/ 233512 h 338783"/>
                  <a:gd name="connsiteX66" fmla="*/ 11005 w 225114"/>
                  <a:gd name="connsiteY66" fmla="*/ 215098 h 338783"/>
                  <a:gd name="connsiteX67" fmla="*/ 27306 w 225114"/>
                  <a:gd name="connsiteY67" fmla="*/ 199017 h 338783"/>
                  <a:gd name="connsiteX68" fmla="*/ 33590 w 225114"/>
                  <a:gd name="connsiteY68" fmla="*/ 195257 h 338783"/>
                  <a:gd name="connsiteX69" fmla="*/ 37267 w 225114"/>
                  <a:gd name="connsiteY69" fmla="*/ 188561 h 338783"/>
                  <a:gd name="connsiteX70" fmla="*/ 43991 w 225114"/>
                  <a:gd name="connsiteY70" fmla="*/ 183484 h 338783"/>
                  <a:gd name="connsiteX71" fmla="*/ 55380 w 225114"/>
                  <a:gd name="connsiteY71" fmla="*/ 184746 h 338783"/>
                  <a:gd name="connsiteX72" fmla="*/ 61170 w 225114"/>
                  <a:gd name="connsiteY72" fmla="*/ 180026 h 338783"/>
                  <a:gd name="connsiteX73" fmla="*/ 77389 w 225114"/>
                  <a:gd name="connsiteY73" fmla="*/ 195394 h 338783"/>
                  <a:gd name="connsiteX74" fmla="*/ 82795 w 225114"/>
                  <a:gd name="connsiteY74" fmla="*/ 195614 h 338783"/>
                  <a:gd name="connsiteX75" fmla="*/ 86500 w 225114"/>
                  <a:gd name="connsiteY75" fmla="*/ 193199 h 338783"/>
                  <a:gd name="connsiteX76" fmla="*/ 90809 w 225114"/>
                  <a:gd name="connsiteY76" fmla="*/ 183621 h 338783"/>
                  <a:gd name="connsiteX77" fmla="*/ 97423 w 225114"/>
                  <a:gd name="connsiteY77" fmla="*/ 177556 h 338783"/>
                  <a:gd name="connsiteX78" fmla="*/ 102691 w 225114"/>
                  <a:gd name="connsiteY78" fmla="*/ 161008 h 338783"/>
                  <a:gd name="connsiteX79" fmla="*/ 107466 w 225114"/>
                  <a:gd name="connsiteY79" fmla="*/ 152363 h 338783"/>
                  <a:gd name="connsiteX80" fmla="*/ 109717 w 225114"/>
                  <a:gd name="connsiteY80" fmla="*/ 140947 h 338783"/>
                  <a:gd name="connsiteX81" fmla="*/ 110897 w 225114"/>
                  <a:gd name="connsiteY81" fmla="*/ 139547 h 338783"/>
                  <a:gd name="connsiteX82" fmla="*/ 115425 w 225114"/>
                  <a:gd name="connsiteY82" fmla="*/ 134196 h 338783"/>
                  <a:gd name="connsiteX83" fmla="*/ 120091 w 225114"/>
                  <a:gd name="connsiteY83" fmla="*/ 133044 h 338783"/>
                  <a:gd name="connsiteX84" fmla="*/ 125304 w 225114"/>
                  <a:gd name="connsiteY84" fmla="*/ 127967 h 338783"/>
                  <a:gd name="connsiteX85" fmla="*/ 126183 w 225114"/>
                  <a:gd name="connsiteY85" fmla="*/ 122560 h 338783"/>
                  <a:gd name="connsiteX86" fmla="*/ 128021 w 225114"/>
                  <a:gd name="connsiteY86" fmla="*/ 111062 h 338783"/>
                  <a:gd name="connsiteX87" fmla="*/ 137407 w 225114"/>
                  <a:gd name="connsiteY87" fmla="*/ 104311 h 338783"/>
                  <a:gd name="connsiteX88" fmla="*/ 139492 w 225114"/>
                  <a:gd name="connsiteY88" fmla="*/ 91275 h 338783"/>
                  <a:gd name="connsiteX89" fmla="*/ 145722 w 225114"/>
                  <a:gd name="connsiteY89" fmla="*/ 85485 h 338783"/>
                  <a:gd name="connsiteX90" fmla="*/ 148768 w 225114"/>
                  <a:gd name="connsiteY90" fmla="*/ 71955 h 338783"/>
                  <a:gd name="connsiteX91" fmla="*/ 159691 w 225114"/>
                  <a:gd name="connsiteY91" fmla="*/ 54419 h 338783"/>
                  <a:gd name="connsiteX92" fmla="*/ 166634 w 225114"/>
                  <a:gd name="connsiteY92" fmla="*/ 54667 h 338783"/>
                  <a:gd name="connsiteX93" fmla="*/ 179285 w 225114"/>
                  <a:gd name="connsiteY93" fmla="*/ 45116 h 338783"/>
                  <a:gd name="connsiteX94" fmla="*/ 177474 w 225114"/>
                  <a:gd name="connsiteY94" fmla="*/ 40808 h 338783"/>
                  <a:gd name="connsiteX95" fmla="*/ 179944 w 225114"/>
                  <a:gd name="connsiteY95" fmla="*/ 27800 h 338783"/>
                  <a:gd name="connsiteX96" fmla="*/ 174592 w 225114"/>
                  <a:gd name="connsiteY96" fmla="*/ 22037 h 338783"/>
                  <a:gd name="connsiteX97" fmla="*/ 166332 w 225114"/>
                  <a:gd name="connsiteY97" fmla="*/ 20335 h 338783"/>
                  <a:gd name="connsiteX98" fmla="*/ 163176 w 225114"/>
                  <a:gd name="connsiteY98" fmla="*/ 0 h 338783"/>
                  <a:gd name="connsiteX99" fmla="*/ 173961 w 225114"/>
                  <a:gd name="connsiteY99" fmla="*/ 1043 h 338783"/>
                  <a:gd name="connsiteX100" fmla="*/ 177858 w 225114"/>
                  <a:gd name="connsiteY100" fmla="*/ 9221 h 338783"/>
                  <a:gd name="connsiteX101" fmla="*/ 184938 w 225114"/>
                  <a:gd name="connsiteY101" fmla="*/ 14819 h 338783"/>
                  <a:gd name="connsiteX102" fmla="*/ 187243 w 225114"/>
                  <a:gd name="connsiteY102" fmla="*/ 26674 h 338783"/>
                  <a:gd name="connsiteX103" fmla="*/ 191415 w 225114"/>
                  <a:gd name="connsiteY103" fmla="*/ 31148 h 338783"/>
                  <a:gd name="connsiteX104" fmla="*/ 192869 w 225114"/>
                  <a:gd name="connsiteY104" fmla="*/ 38118 h 338783"/>
                  <a:gd name="connsiteX105" fmla="*/ 193555 w 225114"/>
                  <a:gd name="connsiteY105" fmla="*/ 46324 h 338783"/>
                  <a:gd name="connsiteX106" fmla="*/ 191085 w 225114"/>
                  <a:gd name="connsiteY106" fmla="*/ 58179 h 338783"/>
                  <a:gd name="connsiteX107" fmla="*/ 193912 w 225114"/>
                  <a:gd name="connsiteY107" fmla="*/ 71900 h 338783"/>
                  <a:gd name="connsiteX108" fmla="*/ 194543 w 225114"/>
                  <a:gd name="connsiteY108" fmla="*/ 74974 h 338783"/>
                  <a:gd name="connsiteX109" fmla="*/ 199208 w 225114"/>
                  <a:gd name="connsiteY109" fmla="*/ 82494 h 338783"/>
                  <a:gd name="connsiteX110" fmla="*/ 203764 w 225114"/>
                  <a:gd name="connsiteY110" fmla="*/ 87159 h 338783"/>
                  <a:gd name="connsiteX111" fmla="*/ 208484 w 225114"/>
                  <a:gd name="connsiteY111" fmla="*/ 91961 h 338783"/>
                  <a:gd name="connsiteX112" fmla="*/ 203215 w 225114"/>
                  <a:gd name="connsiteY112" fmla="*/ 93910 h 338783"/>
                  <a:gd name="connsiteX113" fmla="*/ 168362 w 225114"/>
                  <a:gd name="connsiteY113" fmla="*/ 92839 h 338783"/>
                  <a:gd name="connsiteX114" fmla="*/ 162133 w 225114"/>
                  <a:gd name="connsiteY114" fmla="*/ 102582 h 338783"/>
                  <a:gd name="connsiteX115" fmla="*/ 178407 w 225114"/>
                  <a:gd name="connsiteY115" fmla="*/ 122478 h 338783"/>
                  <a:gd name="connsiteX116" fmla="*/ 180712 w 225114"/>
                  <a:gd name="connsiteY116" fmla="*/ 125305 h 338783"/>
                  <a:gd name="connsiteX117" fmla="*/ 195229 w 225114"/>
                  <a:gd name="connsiteY117" fmla="*/ 133894 h 338783"/>
                  <a:gd name="connsiteX118" fmla="*/ 197397 w 225114"/>
                  <a:gd name="connsiteY118" fmla="*/ 138148 h 338783"/>
                  <a:gd name="connsiteX119" fmla="*/ 197863 w 225114"/>
                  <a:gd name="connsiteY119" fmla="*/ 139465 h 338783"/>
                  <a:gd name="connsiteX120" fmla="*/ 202227 w 225114"/>
                  <a:gd name="connsiteY120" fmla="*/ 152144 h 338783"/>
                  <a:gd name="connsiteX121" fmla="*/ 207249 w 225114"/>
                  <a:gd name="connsiteY121" fmla="*/ 159444 h 338783"/>
                  <a:gd name="connsiteX122" fmla="*/ 204944 w 225114"/>
                  <a:gd name="connsiteY122" fmla="*/ 165948 h 33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225114" h="338783">
                    <a:moveTo>
                      <a:pt x="204971" y="166057"/>
                    </a:moveTo>
                    <a:lnTo>
                      <a:pt x="197205" y="174098"/>
                    </a:lnTo>
                    <a:lnTo>
                      <a:pt x="192595" y="186969"/>
                    </a:lnTo>
                    <a:lnTo>
                      <a:pt x="188203" y="191332"/>
                    </a:lnTo>
                    <a:lnTo>
                      <a:pt x="183428" y="202447"/>
                    </a:lnTo>
                    <a:lnTo>
                      <a:pt x="176870" y="206152"/>
                    </a:lnTo>
                    <a:lnTo>
                      <a:pt x="173549" y="210542"/>
                    </a:lnTo>
                    <a:lnTo>
                      <a:pt x="178901" y="215702"/>
                    </a:lnTo>
                    <a:lnTo>
                      <a:pt x="178901" y="226624"/>
                    </a:lnTo>
                    <a:lnTo>
                      <a:pt x="176733" y="232634"/>
                    </a:lnTo>
                    <a:lnTo>
                      <a:pt x="180767" y="237272"/>
                    </a:lnTo>
                    <a:lnTo>
                      <a:pt x="182358" y="251789"/>
                    </a:lnTo>
                    <a:lnTo>
                      <a:pt x="191222" y="259144"/>
                    </a:lnTo>
                    <a:lnTo>
                      <a:pt x="194433" y="268228"/>
                    </a:lnTo>
                    <a:lnTo>
                      <a:pt x="193116" y="271274"/>
                    </a:lnTo>
                    <a:lnTo>
                      <a:pt x="197535" y="278848"/>
                    </a:lnTo>
                    <a:lnTo>
                      <a:pt x="212820" y="295890"/>
                    </a:lnTo>
                    <a:lnTo>
                      <a:pt x="221108" y="301928"/>
                    </a:lnTo>
                    <a:lnTo>
                      <a:pt x="221958" y="315402"/>
                    </a:lnTo>
                    <a:lnTo>
                      <a:pt x="225115" y="322729"/>
                    </a:lnTo>
                    <a:lnTo>
                      <a:pt x="222068" y="324733"/>
                    </a:lnTo>
                    <a:lnTo>
                      <a:pt x="221465" y="329645"/>
                    </a:lnTo>
                    <a:lnTo>
                      <a:pt x="223578" y="336561"/>
                    </a:lnTo>
                    <a:lnTo>
                      <a:pt x="221108" y="338783"/>
                    </a:lnTo>
                    <a:lnTo>
                      <a:pt x="219489" y="336286"/>
                    </a:lnTo>
                    <a:lnTo>
                      <a:pt x="211338" y="331731"/>
                    </a:lnTo>
                    <a:lnTo>
                      <a:pt x="204889" y="330194"/>
                    </a:lnTo>
                    <a:lnTo>
                      <a:pt x="200444" y="331319"/>
                    </a:lnTo>
                    <a:lnTo>
                      <a:pt x="196272" y="328355"/>
                    </a:lnTo>
                    <a:lnTo>
                      <a:pt x="192211" y="329618"/>
                    </a:lnTo>
                    <a:lnTo>
                      <a:pt x="187902" y="328712"/>
                    </a:lnTo>
                    <a:lnTo>
                      <a:pt x="177556" y="323388"/>
                    </a:lnTo>
                    <a:lnTo>
                      <a:pt x="170311" y="323717"/>
                    </a:lnTo>
                    <a:lnTo>
                      <a:pt x="139987" y="324184"/>
                    </a:lnTo>
                    <a:lnTo>
                      <a:pt x="137352" y="321138"/>
                    </a:lnTo>
                    <a:lnTo>
                      <a:pt x="123191" y="322373"/>
                    </a:lnTo>
                    <a:lnTo>
                      <a:pt x="92318" y="320040"/>
                    </a:lnTo>
                    <a:lnTo>
                      <a:pt x="84469" y="320534"/>
                    </a:lnTo>
                    <a:lnTo>
                      <a:pt x="82219" y="324102"/>
                    </a:lnTo>
                    <a:lnTo>
                      <a:pt x="44567" y="324294"/>
                    </a:lnTo>
                    <a:lnTo>
                      <a:pt x="39161" y="322043"/>
                    </a:lnTo>
                    <a:lnTo>
                      <a:pt x="37707" y="318997"/>
                    </a:lnTo>
                    <a:lnTo>
                      <a:pt x="41521" y="296604"/>
                    </a:lnTo>
                    <a:lnTo>
                      <a:pt x="38969" y="290127"/>
                    </a:lnTo>
                    <a:lnTo>
                      <a:pt x="32520" y="282361"/>
                    </a:lnTo>
                    <a:lnTo>
                      <a:pt x="31614" y="277202"/>
                    </a:lnTo>
                    <a:lnTo>
                      <a:pt x="33014" y="272509"/>
                    </a:lnTo>
                    <a:lnTo>
                      <a:pt x="30022" y="270341"/>
                    </a:lnTo>
                    <a:lnTo>
                      <a:pt x="24671" y="272783"/>
                    </a:lnTo>
                    <a:lnTo>
                      <a:pt x="14517" y="268255"/>
                    </a:lnTo>
                    <a:lnTo>
                      <a:pt x="9440" y="255165"/>
                    </a:lnTo>
                    <a:lnTo>
                      <a:pt x="4912" y="253299"/>
                    </a:lnTo>
                    <a:lnTo>
                      <a:pt x="3512" y="255494"/>
                    </a:lnTo>
                    <a:lnTo>
                      <a:pt x="0" y="254808"/>
                    </a:lnTo>
                    <a:lnTo>
                      <a:pt x="302" y="246712"/>
                    </a:lnTo>
                    <a:lnTo>
                      <a:pt x="357" y="246603"/>
                    </a:lnTo>
                    <a:lnTo>
                      <a:pt x="494" y="246466"/>
                    </a:lnTo>
                    <a:lnTo>
                      <a:pt x="659" y="246383"/>
                    </a:lnTo>
                    <a:lnTo>
                      <a:pt x="741" y="246383"/>
                    </a:lnTo>
                    <a:lnTo>
                      <a:pt x="851" y="246438"/>
                    </a:lnTo>
                    <a:lnTo>
                      <a:pt x="905" y="246575"/>
                    </a:lnTo>
                    <a:lnTo>
                      <a:pt x="1015" y="246658"/>
                    </a:lnTo>
                    <a:lnTo>
                      <a:pt x="1152" y="246658"/>
                    </a:lnTo>
                    <a:cubicBezTo>
                      <a:pt x="1152" y="246658"/>
                      <a:pt x="1701" y="246658"/>
                      <a:pt x="1701" y="246658"/>
                    </a:cubicBezTo>
                    <a:lnTo>
                      <a:pt x="2305" y="246246"/>
                    </a:lnTo>
                    <a:lnTo>
                      <a:pt x="8342" y="233512"/>
                    </a:lnTo>
                    <a:lnTo>
                      <a:pt x="11005" y="215098"/>
                    </a:lnTo>
                    <a:lnTo>
                      <a:pt x="27306" y="199017"/>
                    </a:lnTo>
                    <a:lnTo>
                      <a:pt x="33590" y="195257"/>
                    </a:lnTo>
                    <a:lnTo>
                      <a:pt x="37267" y="188561"/>
                    </a:lnTo>
                    <a:lnTo>
                      <a:pt x="43991" y="183484"/>
                    </a:lnTo>
                    <a:lnTo>
                      <a:pt x="55380" y="184746"/>
                    </a:lnTo>
                    <a:lnTo>
                      <a:pt x="61170" y="180026"/>
                    </a:lnTo>
                    <a:lnTo>
                      <a:pt x="77389" y="195394"/>
                    </a:lnTo>
                    <a:lnTo>
                      <a:pt x="82795" y="195614"/>
                    </a:lnTo>
                    <a:lnTo>
                      <a:pt x="86500" y="193199"/>
                    </a:lnTo>
                    <a:lnTo>
                      <a:pt x="90809" y="183621"/>
                    </a:lnTo>
                    <a:lnTo>
                      <a:pt x="97423" y="177556"/>
                    </a:lnTo>
                    <a:lnTo>
                      <a:pt x="102691" y="161008"/>
                    </a:lnTo>
                    <a:lnTo>
                      <a:pt x="107466" y="152363"/>
                    </a:lnTo>
                    <a:lnTo>
                      <a:pt x="109717" y="140947"/>
                    </a:lnTo>
                    <a:lnTo>
                      <a:pt x="110897" y="139547"/>
                    </a:lnTo>
                    <a:lnTo>
                      <a:pt x="115425" y="134196"/>
                    </a:lnTo>
                    <a:lnTo>
                      <a:pt x="120091" y="133044"/>
                    </a:lnTo>
                    <a:lnTo>
                      <a:pt x="125304" y="127967"/>
                    </a:lnTo>
                    <a:lnTo>
                      <a:pt x="126183" y="122560"/>
                    </a:lnTo>
                    <a:lnTo>
                      <a:pt x="128021" y="111062"/>
                    </a:lnTo>
                    <a:lnTo>
                      <a:pt x="137407" y="104311"/>
                    </a:lnTo>
                    <a:lnTo>
                      <a:pt x="139492" y="91275"/>
                    </a:lnTo>
                    <a:lnTo>
                      <a:pt x="145722" y="85485"/>
                    </a:lnTo>
                    <a:lnTo>
                      <a:pt x="148768" y="71955"/>
                    </a:lnTo>
                    <a:lnTo>
                      <a:pt x="159691" y="54419"/>
                    </a:lnTo>
                    <a:lnTo>
                      <a:pt x="166634" y="54667"/>
                    </a:lnTo>
                    <a:lnTo>
                      <a:pt x="179285" y="45116"/>
                    </a:lnTo>
                    <a:lnTo>
                      <a:pt x="177474" y="40808"/>
                    </a:lnTo>
                    <a:lnTo>
                      <a:pt x="179944" y="27800"/>
                    </a:lnTo>
                    <a:lnTo>
                      <a:pt x="174592" y="22037"/>
                    </a:lnTo>
                    <a:lnTo>
                      <a:pt x="166332" y="20335"/>
                    </a:lnTo>
                    <a:lnTo>
                      <a:pt x="163176" y="0"/>
                    </a:lnTo>
                    <a:lnTo>
                      <a:pt x="173961" y="1043"/>
                    </a:lnTo>
                    <a:lnTo>
                      <a:pt x="177858" y="9221"/>
                    </a:lnTo>
                    <a:lnTo>
                      <a:pt x="184938" y="14819"/>
                    </a:lnTo>
                    <a:lnTo>
                      <a:pt x="187243" y="26674"/>
                    </a:lnTo>
                    <a:lnTo>
                      <a:pt x="191415" y="31148"/>
                    </a:lnTo>
                    <a:lnTo>
                      <a:pt x="192869" y="38118"/>
                    </a:lnTo>
                    <a:lnTo>
                      <a:pt x="193555" y="46324"/>
                    </a:lnTo>
                    <a:lnTo>
                      <a:pt x="191085" y="58179"/>
                    </a:lnTo>
                    <a:lnTo>
                      <a:pt x="193912" y="71900"/>
                    </a:lnTo>
                    <a:lnTo>
                      <a:pt x="194543" y="74974"/>
                    </a:lnTo>
                    <a:lnTo>
                      <a:pt x="199208" y="82494"/>
                    </a:lnTo>
                    <a:lnTo>
                      <a:pt x="203764" y="87159"/>
                    </a:lnTo>
                    <a:lnTo>
                      <a:pt x="208484" y="91961"/>
                    </a:lnTo>
                    <a:lnTo>
                      <a:pt x="203215" y="93910"/>
                    </a:lnTo>
                    <a:lnTo>
                      <a:pt x="168362" y="92839"/>
                    </a:lnTo>
                    <a:lnTo>
                      <a:pt x="162133" y="102582"/>
                    </a:lnTo>
                    <a:lnTo>
                      <a:pt x="178407" y="122478"/>
                    </a:lnTo>
                    <a:lnTo>
                      <a:pt x="180712" y="125305"/>
                    </a:lnTo>
                    <a:lnTo>
                      <a:pt x="195229" y="133894"/>
                    </a:lnTo>
                    <a:lnTo>
                      <a:pt x="197397" y="138148"/>
                    </a:lnTo>
                    <a:lnTo>
                      <a:pt x="197863" y="139465"/>
                    </a:lnTo>
                    <a:lnTo>
                      <a:pt x="202227" y="152144"/>
                    </a:lnTo>
                    <a:lnTo>
                      <a:pt x="207249" y="159444"/>
                    </a:lnTo>
                    <a:lnTo>
                      <a:pt x="204944" y="165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1" name="Freeform: Shape 3630">
                <a:extLst>
                  <a:ext uri="{FF2B5EF4-FFF2-40B4-BE49-F238E27FC236}">
                    <a16:creationId xmlns:a16="http://schemas.microsoft.com/office/drawing/2014/main" id="{2918A1B8-9DA3-8C78-4967-80E05E581E5E}"/>
                  </a:ext>
                </a:extLst>
              </p:cNvPr>
              <p:cNvSpPr/>
              <p:nvPr/>
            </p:nvSpPr>
            <p:spPr>
              <a:xfrm>
                <a:off x="1150462" y="3805417"/>
                <a:ext cx="521" cy="564"/>
              </a:xfrm>
              <a:custGeom>
                <a:avLst/>
                <a:gdLst>
                  <a:gd name="connsiteX0" fmla="*/ 0 w 4994"/>
                  <a:gd name="connsiteY0" fmla="*/ 2250 h 5406"/>
                  <a:gd name="connsiteX1" fmla="*/ 604 w 4994"/>
                  <a:gd name="connsiteY1" fmla="*/ 0 h 5406"/>
                  <a:gd name="connsiteX2" fmla="*/ 4994 w 4994"/>
                  <a:gd name="connsiteY2" fmla="*/ 3924 h 5406"/>
                  <a:gd name="connsiteX3" fmla="*/ 4446 w 4994"/>
                  <a:gd name="connsiteY3" fmla="*/ 5406 h 5406"/>
                  <a:gd name="connsiteX4" fmla="*/ 0 w 4994"/>
                  <a:gd name="connsiteY4" fmla="*/ 2278 h 5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4" h="5406">
                    <a:moveTo>
                      <a:pt x="0" y="2250"/>
                    </a:moveTo>
                    <a:lnTo>
                      <a:pt x="604" y="0"/>
                    </a:lnTo>
                    <a:lnTo>
                      <a:pt x="4994" y="3924"/>
                    </a:lnTo>
                    <a:lnTo>
                      <a:pt x="4446" y="5406"/>
                    </a:lnTo>
                    <a:lnTo>
                      <a:pt x="0" y="22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2" name="Freeform: Shape 3631">
                <a:extLst>
                  <a:ext uri="{FF2B5EF4-FFF2-40B4-BE49-F238E27FC236}">
                    <a16:creationId xmlns:a16="http://schemas.microsoft.com/office/drawing/2014/main" id="{BD44C021-D227-C40D-76DC-3BD9EB2856C5}"/>
                  </a:ext>
                </a:extLst>
              </p:cNvPr>
              <p:cNvSpPr/>
              <p:nvPr/>
            </p:nvSpPr>
            <p:spPr>
              <a:xfrm>
                <a:off x="1503491" y="3702625"/>
                <a:ext cx="16418" cy="14020"/>
              </a:xfrm>
              <a:custGeom>
                <a:avLst/>
                <a:gdLst>
                  <a:gd name="connsiteX0" fmla="*/ 68936 w 157413"/>
                  <a:gd name="connsiteY0" fmla="*/ 23628 h 134415"/>
                  <a:gd name="connsiteX1" fmla="*/ 82164 w 157413"/>
                  <a:gd name="connsiteY1" fmla="*/ 26592 h 134415"/>
                  <a:gd name="connsiteX2" fmla="*/ 89601 w 157413"/>
                  <a:gd name="connsiteY2" fmla="*/ 16932 h 134415"/>
                  <a:gd name="connsiteX3" fmla="*/ 99234 w 157413"/>
                  <a:gd name="connsiteY3" fmla="*/ 11224 h 134415"/>
                  <a:gd name="connsiteX4" fmla="*/ 99755 w 157413"/>
                  <a:gd name="connsiteY4" fmla="*/ 9770 h 134415"/>
                  <a:gd name="connsiteX5" fmla="*/ 100112 w 157413"/>
                  <a:gd name="connsiteY5" fmla="*/ 9523 h 134415"/>
                  <a:gd name="connsiteX6" fmla="*/ 104777 w 157413"/>
                  <a:gd name="connsiteY6" fmla="*/ 2991 h 134415"/>
                  <a:gd name="connsiteX7" fmla="*/ 109909 w 157413"/>
                  <a:gd name="connsiteY7" fmla="*/ 9358 h 134415"/>
                  <a:gd name="connsiteX8" fmla="*/ 111391 w 157413"/>
                  <a:gd name="connsiteY8" fmla="*/ 11197 h 134415"/>
                  <a:gd name="connsiteX9" fmla="*/ 118526 w 157413"/>
                  <a:gd name="connsiteY9" fmla="*/ 20033 h 134415"/>
                  <a:gd name="connsiteX10" fmla="*/ 124179 w 157413"/>
                  <a:gd name="connsiteY10" fmla="*/ 35237 h 134415"/>
                  <a:gd name="connsiteX11" fmla="*/ 131919 w 157413"/>
                  <a:gd name="connsiteY11" fmla="*/ 43332 h 134415"/>
                  <a:gd name="connsiteX12" fmla="*/ 133730 w 157413"/>
                  <a:gd name="connsiteY12" fmla="*/ 49452 h 134415"/>
                  <a:gd name="connsiteX13" fmla="*/ 146490 w 157413"/>
                  <a:gd name="connsiteY13" fmla="*/ 52169 h 134415"/>
                  <a:gd name="connsiteX14" fmla="*/ 157413 w 157413"/>
                  <a:gd name="connsiteY14" fmla="*/ 59112 h 134415"/>
                  <a:gd name="connsiteX15" fmla="*/ 156480 w 157413"/>
                  <a:gd name="connsiteY15" fmla="*/ 62762 h 134415"/>
                  <a:gd name="connsiteX16" fmla="*/ 143170 w 157413"/>
                  <a:gd name="connsiteY16" fmla="*/ 60978 h 134415"/>
                  <a:gd name="connsiteX17" fmla="*/ 132110 w 157413"/>
                  <a:gd name="connsiteY17" fmla="*/ 68141 h 134415"/>
                  <a:gd name="connsiteX18" fmla="*/ 128955 w 157413"/>
                  <a:gd name="connsiteY18" fmla="*/ 85677 h 134415"/>
                  <a:gd name="connsiteX19" fmla="*/ 125799 w 157413"/>
                  <a:gd name="connsiteY19" fmla="*/ 92098 h 134415"/>
                  <a:gd name="connsiteX20" fmla="*/ 128488 w 157413"/>
                  <a:gd name="connsiteY20" fmla="*/ 99536 h 134415"/>
                  <a:gd name="connsiteX21" fmla="*/ 124673 w 157413"/>
                  <a:gd name="connsiteY21" fmla="*/ 101621 h 134415"/>
                  <a:gd name="connsiteX22" fmla="*/ 123438 w 157413"/>
                  <a:gd name="connsiteY22" fmla="*/ 109744 h 134415"/>
                  <a:gd name="connsiteX23" fmla="*/ 121133 w 157413"/>
                  <a:gd name="connsiteY23" fmla="*/ 112681 h 134415"/>
                  <a:gd name="connsiteX24" fmla="*/ 120859 w 157413"/>
                  <a:gd name="connsiteY24" fmla="*/ 109195 h 134415"/>
                  <a:gd name="connsiteX25" fmla="*/ 118307 w 157413"/>
                  <a:gd name="connsiteY25" fmla="*/ 106149 h 134415"/>
                  <a:gd name="connsiteX26" fmla="*/ 115617 w 157413"/>
                  <a:gd name="connsiteY26" fmla="*/ 107412 h 134415"/>
                  <a:gd name="connsiteX27" fmla="*/ 112599 w 157413"/>
                  <a:gd name="connsiteY27" fmla="*/ 118417 h 134415"/>
                  <a:gd name="connsiteX28" fmla="*/ 113833 w 157413"/>
                  <a:gd name="connsiteY28" fmla="*/ 133373 h 134415"/>
                  <a:gd name="connsiteX29" fmla="*/ 106945 w 157413"/>
                  <a:gd name="connsiteY29" fmla="*/ 134416 h 134415"/>
                  <a:gd name="connsiteX30" fmla="*/ 89025 w 157413"/>
                  <a:gd name="connsiteY30" fmla="*/ 118526 h 134415"/>
                  <a:gd name="connsiteX31" fmla="*/ 89492 w 157413"/>
                  <a:gd name="connsiteY31" fmla="*/ 115261 h 134415"/>
                  <a:gd name="connsiteX32" fmla="*/ 97230 w 157413"/>
                  <a:gd name="connsiteY32" fmla="*/ 111501 h 134415"/>
                  <a:gd name="connsiteX33" fmla="*/ 92071 w 157413"/>
                  <a:gd name="connsiteY33" fmla="*/ 102994 h 134415"/>
                  <a:gd name="connsiteX34" fmla="*/ 97889 w 157413"/>
                  <a:gd name="connsiteY34" fmla="*/ 97642 h 134415"/>
                  <a:gd name="connsiteX35" fmla="*/ 88366 w 157413"/>
                  <a:gd name="connsiteY35" fmla="*/ 86473 h 134415"/>
                  <a:gd name="connsiteX36" fmla="*/ 82219 w 157413"/>
                  <a:gd name="connsiteY36" fmla="*/ 87735 h 134415"/>
                  <a:gd name="connsiteX37" fmla="*/ 53376 w 157413"/>
                  <a:gd name="connsiteY37" fmla="*/ 108098 h 134415"/>
                  <a:gd name="connsiteX38" fmla="*/ 45006 w 157413"/>
                  <a:gd name="connsiteY38" fmla="*/ 116907 h 134415"/>
                  <a:gd name="connsiteX39" fmla="*/ 42482 w 157413"/>
                  <a:gd name="connsiteY39" fmla="*/ 92098 h 134415"/>
                  <a:gd name="connsiteX40" fmla="*/ 33370 w 157413"/>
                  <a:gd name="connsiteY40" fmla="*/ 87241 h 134415"/>
                  <a:gd name="connsiteX41" fmla="*/ 21296 w 157413"/>
                  <a:gd name="connsiteY41" fmla="*/ 76346 h 134415"/>
                  <a:gd name="connsiteX42" fmla="*/ 21241 w 157413"/>
                  <a:gd name="connsiteY42" fmla="*/ 73520 h 134415"/>
                  <a:gd name="connsiteX43" fmla="*/ 25138 w 157413"/>
                  <a:gd name="connsiteY43" fmla="*/ 69705 h 134415"/>
                  <a:gd name="connsiteX44" fmla="*/ 25577 w 157413"/>
                  <a:gd name="connsiteY44" fmla="*/ 65122 h 134415"/>
                  <a:gd name="connsiteX45" fmla="*/ 18826 w 157413"/>
                  <a:gd name="connsiteY45" fmla="*/ 58563 h 134415"/>
                  <a:gd name="connsiteX46" fmla="*/ 14215 w 157413"/>
                  <a:gd name="connsiteY46" fmla="*/ 54063 h 134415"/>
                  <a:gd name="connsiteX47" fmla="*/ 14270 w 157413"/>
                  <a:gd name="connsiteY47" fmla="*/ 48986 h 134415"/>
                  <a:gd name="connsiteX48" fmla="*/ 12267 w 157413"/>
                  <a:gd name="connsiteY48" fmla="*/ 46927 h 134415"/>
                  <a:gd name="connsiteX49" fmla="*/ 13941 w 157413"/>
                  <a:gd name="connsiteY49" fmla="*/ 39381 h 134415"/>
                  <a:gd name="connsiteX50" fmla="*/ 3348 w 157413"/>
                  <a:gd name="connsiteY50" fmla="*/ 31916 h 134415"/>
                  <a:gd name="connsiteX51" fmla="*/ 0 w 157413"/>
                  <a:gd name="connsiteY51" fmla="*/ 23930 h 134415"/>
                  <a:gd name="connsiteX52" fmla="*/ 9111 w 157413"/>
                  <a:gd name="connsiteY52" fmla="*/ 17646 h 134415"/>
                  <a:gd name="connsiteX53" fmla="*/ 18880 w 157413"/>
                  <a:gd name="connsiteY53" fmla="*/ 21158 h 134415"/>
                  <a:gd name="connsiteX54" fmla="*/ 26482 w 157413"/>
                  <a:gd name="connsiteY54" fmla="*/ 27635 h 134415"/>
                  <a:gd name="connsiteX55" fmla="*/ 36252 w 157413"/>
                  <a:gd name="connsiteY55" fmla="*/ 28376 h 134415"/>
                  <a:gd name="connsiteX56" fmla="*/ 43388 w 157413"/>
                  <a:gd name="connsiteY56" fmla="*/ 31971 h 134415"/>
                  <a:gd name="connsiteX57" fmla="*/ 46900 w 157413"/>
                  <a:gd name="connsiteY57" fmla="*/ 30709 h 134415"/>
                  <a:gd name="connsiteX58" fmla="*/ 48904 w 157413"/>
                  <a:gd name="connsiteY58" fmla="*/ 23299 h 134415"/>
                  <a:gd name="connsiteX59" fmla="*/ 34770 w 157413"/>
                  <a:gd name="connsiteY59" fmla="*/ 9303 h 134415"/>
                  <a:gd name="connsiteX60" fmla="*/ 35045 w 157413"/>
                  <a:gd name="connsiteY60" fmla="*/ 6120 h 134415"/>
                  <a:gd name="connsiteX61" fmla="*/ 41412 w 157413"/>
                  <a:gd name="connsiteY61" fmla="*/ 0 h 134415"/>
                  <a:gd name="connsiteX62" fmla="*/ 51839 w 157413"/>
                  <a:gd name="connsiteY62" fmla="*/ 3677 h 134415"/>
                  <a:gd name="connsiteX63" fmla="*/ 56724 w 157413"/>
                  <a:gd name="connsiteY63" fmla="*/ 9303 h 134415"/>
                  <a:gd name="connsiteX64" fmla="*/ 69074 w 157413"/>
                  <a:gd name="connsiteY64" fmla="*/ 23573 h 13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57413" h="134415">
                    <a:moveTo>
                      <a:pt x="68936" y="23628"/>
                    </a:moveTo>
                    <a:lnTo>
                      <a:pt x="82164" y="26592"/>
                    </a:lnTo>
                    <a:lnTo>
                      <a:pt x="89601" y="16932"/>
                    </a:lnTo>
                    <a:lnTo>
                      <a:pt x="99234" y="11224"/>
                    </a:lnTo>
                    <a:lnTo>
                      <a:pt x="99755" y="9770"/>
                    </a:lnTo>
                    <a:lnTo>
                      <a:pt x="100112" y="9523"/>
                    </a:lnTo>
                    <a:lnTo>
                      <a:pt x="104777" y="2991"/>
                    </a:lnTo>
                    <a:lnTo>
                      <a:pt x="109909" y="9358"/>
                    </a:lnTo>
                    <a:lnTo>
                      <a:pt x="111391" y="11197"/>
                    </a:lnTo>
                    <a:lnTo>
                      <a:pt x="118526" y="20033"/>
                    </a:lnTo>
                    <a:lnTo>
                      <a:pt x="124179" y="35237"/>
                    </a:lnTo>
                    <a:lnTo>
                      <a:pt x="131919" y="43332"/>
                    </a:lnTo>
                    <a:lnTo>
                      <a:pt x="133730" y="49452"/>
                    </a:lnTo>
                    <a:lnTo>
                      <a:pt x="146490" y="52169"/>
                    </a:lnTo>
                    <a:lnTo>
                      <a:pt x="157413" y="59112"/>
                    </a:lnTo>
                    <a:lnTo>
                      <a:pt x="156480" y="62762"/>
                    </a:lnTo>
                    <a:lnTo>
                      <a:pt x="143170" y="60978"/>
                    </a:lnTo>
                    <a:lnTo>
                      <a:pt x="132110" y="68141"/>
                    </a:lnTo>
                    <a:lnTo>
                      <a:pt x="128955" y="85677"/>
                    </a:lnTo>
                    <a:lnTo>
                      <a:pt x="125799" y="92098"/>
                    </a:lnTo>
                    <a:lnTo>
                      <a:pt x="128488" y="99536"/>
                    </a:lnTo>
                    <a:lnTo>
                      <a:pt x="124673" y="101621"/>
                    </a:lnTo>
                    <a:lnTo>
                      <a:pt x="123438" y="109744"/>
                    </a:lnTo>
                    <a:lnTo>
                      <a:pt x="121133" y="112681"/>
                    </a:lnTo>
                    <a:lnTo>
                      <a:pt x="120859" y="109195"/>
                    </a:lnTo>
                    <a:lnTo>
                      <a:pt x="118307" y="106149"/>
                    </a:lnTo>
                    <a:lnTo>
                      <a:pt x="115617" y="107412"/>
                    </a:lnTo>
                    <a:lnTo>
                      <a:pt x="112599" y="118417"/>
                    </a:lnTo>
                    <a:lnTo>
                      <a:pt x="113833" y="133373"/>
                    </a:lnTo>
                    <a:lnTo>
                      <a:pt x="106945" y="134416"/>
                    </a:lnTo>
                    <a:lnTo>
                      <a:pt x="89025" y="118526"/>
                    </a:lnTo>
                    <a:lnTo>
                      <a:pt x="89492" y="115261"/>
                    </a:lnTo>
                    <a:lnTo>
                      <a:pt x="97230" y="111501"/>
                    </a:lnTo>
                    <a:lnTo>
                      <a:pt x="92071" y="102994"/>
                    </a:lnTo>
                    <a:lnTo>
                      <a:pt x="97889" y="97642"/>
                    </a:lnTo>
                    <a:lnTo>
                      <a:pt x="88366" y="86473"/>
                    </a:lnTo>
                    <a:lnTo>
                      <a:pt x="82219" y="87735"/>
                    </a:lnTo>
                    <a:lnTo>
                      <a:pt x="53376" y="108098"/>
                    </a:lnTo>
                    <a:lnTo>
                      <a:pt x="45006" y="116907"/>
                    </a:lnTo>
                    <a:lnTo>
                      <a:pt x="42482" y="92098"/>
                    </a:lnTo>
                    <a:lnTo>
                      <a:pt x="33370" y="87241"/>
                    </a:lnTo>
                    <a:lnTo>
                      <a:pt x="21296" y="76346"/>
                    </a:lnTo>
                    <a:lnTo>
                      <a:pt x="21241" y="73520"/>
                    </a:lnTo>
                    <a:lnTo>
                      <a:pt x="25138" y="69705"/>
                    </a:lnTo>
                    <a:lnTo>
                      <a:pt x="25577" y="65122"/>
                    </a:lnTo>
                    <a:lnTo>
                      <a:pt x="18826" y="58563"/>
                    </a:lnTo>
                    <a:lnTo>
                      <a:pt x="14215" y="54063"/>
                    </a:lnTo>
                    <a:lnTo>
                      <a:pt x="14270" y="48986"/>
                    </a:lnTo>
                    <a:lnTo>
                      <a:pt x="12267" y="46927"/>
                    </a:lnTo>
                    <a:lnTo>
                      <a:pt x="13941" y="39381"/>
                    </a:lnTo>
                    <a:lnTo>
                      <a:pt x="3348" y="31916"/>
                    </a:lnTo>
                    <a:lnTo>
                      <a:pt x="0" y="23930"/>
                    </a:lnTo>
                    <a:lnTo>
                      <a:pt x="9111" y="17646"/>
                    </a:lnTo>
                    <a:lnTo>
                      <a:pt x="18880" y="21158"/>
                    </a:lnTo>
                    <a:lnTo>
                      <a:pt x="26482" y="27635"/>
                    </a:lnTo>
                    <a:lnTo>
                      <a:pt x="36252" y="28376"/>
                    </a:lnTo>
                    <a:lnTo>
                      <a:pt x="43388" y="31971"/>
                    </a:lnTo>
                    <a:lnTo>
                      <a:pt x="46900" y="30709"/>
                    </a:lnTo>
                    <a:lnTo>
                      <a:pt x="48904" y="23299"/>
                    </a:lnTo>
                    <a:lnTo>
                      <a:pt x="34770" y="9303"/>
                    </a:lnTo>
                    <a:lnTo>
                      <a:pt x="35045" y="6120"/>
                    </a:lnTo>
                    <a:lnTo>
                      <a:pt x="41412" y="0"/>
                    </a:lnTo>
                    <a:lnTo>
                      <a:pt x="51839" y="3677"/>
                    </a:lnTo>
                    <a:lnTo>
                      <a:pt x="56724" y="9303"/>
                    </a:lnTo>
                    <a:lnTo>
                      <a:pt x="69074" y="235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3" name="Freeform: Shape 3632">
                <a:extLst>
                  <a:ext uri="{FF2B5EF4-FFF2-40B4-BE49-F238E27FC236}">
                    <a16:creationId xmlns:a16="http://schemas.microsoft.com/office/drawing/2014/main" id="{755D03E7-46B0-FBF4-097D-3028CC0B4D7D}"/>
                  </a:ext>
                </a:extLst>
              </p:cNvPr>
              <p:cNvSpPr/>
              <p:nvPr/>
            </p:nvSpPr>
            <p:spPr>
              <a:xfrm>
                <a:off x="1502726" y="3711284"/>
                <a:ext cx="4210" cy="3669"/>
              </a:xfrm>
              <a:custGeom>
                <a:avLst/>
                <a:gdLst>
                  <a:gd name="connsiteX0" fmla="*/ 12926 w 40368"/>
                  <a:gd name="connsiteY0" fmla="*/ 5927 h 35181"/>
                  <a:gd name="connsiteX1" fmla="*/ 19512 w 40368"/>
                  <a:gd name="connsiteY1" fmla="*/ 9578 h 35181"/>
                  <a:gd name="connsiteX2" fmla="*/ 26098 w 40368"/>
                  <a:gd name="connsiteY2" fmla="*/ 7108 h 35181"/>
                  <a:gd name="connsiteX3" fmla="*/ 29556 w 40368"/>
                  <a:gd name="connsiteY3" fmla="*/ 8425 h 35181"/>
                  <a:gd name="connsiteX4" fmla="*/ 31230 w 40368"/>
                  <a:gd name="connsiteY4" fmla="*/ 14023 h 35181"/>
                  <a:gd name="connsiteX5" fmla="*/ 35950 w 40368"/>
                  <a:gd name="connsiteY5" fmla="*/ 19155 h 35181"/>
                  <a:gd name="connsiteX6" fmla="*/ 40369 w 40368"/>
                  <a:gd name="connsiteY6" fmla="*/ 35182 h 35181"/>
                  <a:gd name="connsiteX7" fmla="*/ 26098 w 40368"/>
                  <a:gd name="connsiteY7" fmla="*/ 31203 h 35181"/>
                  <a:gd name="connsiteX8" fmla="*/ 21186 w 40368"/>
                  <a:gd name="connsiteY8" fmla="*/ 29831 h 35181"/>
                  <a:gd name="connsiteX9" fmla="*/ 16767 w 40368"/>
                  <a:gd name="connsiteY9" fmla="*/ 23189 h 35181"/>
                  <a:gd name="connsiteX10" fmla="*/ 11746 w 40368"/>
                  <a:gd name="connsiteY10" fmla="*/ 21021 h 35181"/>
                  <a:gd name="connsiteX11" fmla="*/ 1290 w 40368"/>
                  <a:gd name="connsiteY11" fmla="*/ 5296 h 35181"/>
                  <a:gd name="connsiteX12" fmla="*/ 0 w 40368"/>
                  <a:gd name="connsiteY12" fmla="*/ 2141 h 35181"/>
                  <a:gd name="connsiteX13" fmla="*/ 9111 w 40368"/>
                  <a:gd name="connsiteY13" fmla="*/ 0 h 35181"/>
                  <a:gd name="connsiteX14" fmla="*/ 12953 w 40368"/>
                  <a:gd name="connsiteY14" fmla="*/ 5927 h 3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368" h="35181">
                    <a:moveTo>
                      <a:pt x="12926" y="5927"/>
                    </a:moveTo>
                    <a:lnTo>
                      <a:pt x="19512" y="9578"/>
                    </a:lnTo>
                    <a:lnTo>
                      <a:pt x="26098" y="7108"/>
                    </a:lnTo>
                    <a:lnTo>
                      <a:pt x="29556" y="8425"/>
                    </a:lnTo>
                    <a:lnTo>
                      <a:pt x="31230" y="14023"/>
                    </a:lnTo>
                    <a:lnTo>
                      <a:pt x="35950" y="19155"/>
                    </a:lnTo>
                    <a:lnTo>
                      <a:pt x="40369" y="35182"/>
                    </a:lnTo>
                    <a:lnTo>
                      <a:pt x="26098" y="31203"/>
                    </a:lnTo>
                    <a:lnTo>
                      <a:pt x="21186" y="29831"/>
                    </a:lnTo>
                    <a:lnTo>
                      <a:pt x="16767" y="23189"/>
                    </a:lnTo>
                    <a:lnTo>
                      <a:pt x="11746" y="21021"/>
                    </a:lnTo>
                    <a:lnTo>
                      <a:pt x="1290" y="5296"/>
                    </a:lnTo>
                    <a:lnTo>
                      <a:pt x="0" y="2141"/>
                    </a:lnTo>
                    <a:lnTo>
                      <a:pt x="9111" y="0"/>
                    </a:lnTo>
                    <a:lnTo>
                      <a:pt x="12953" y="59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4" name="Freeform: Shape 3633">
                <a:extLst>
                  <a:ext uri="{FF2B5EF4-FFF2-40B4-BE49-F238E27FC236}">
                    <a16:creationId xmlns:a16="http://schemas.microsoft.com/office/drawing/2014/main" id="{BD2D7E3B-C575-C8B2-2036-DD3262E622C0}"/>
                  </a:ext>
                </a:extLst>
              </p:cNvPr>
              <p:cNvSpPr/>
              <p:nvPr/>
            </p:nvSpPr>
            <p:spPr>
              <a:xfrm>
                <a:off x="1503233" y="3705888"/>
                <a:ext cx="386" cy="455"/>
              </a:xfrm>
              <a:custGeom>
                <a:avLst/>
                <a:gdLst>
                  <a:gd name="connsiteX0" fmla="*/ 3704 w 3704"/>
                  <a:gd name="connsiteY0" fmla="*/ 2717 h 4363"/>
                  <a:gd name="connsiteX1" fmla="*/ 2086 w 3704"/>
                  <a:gd name="connsiteY1" fmla="*/ 4363 h 4363"/>
                  <a:gd name="connsiteX2" fmla="*/ 0 w 3704"/>
                  <a:gd name="connsiteY2" fmla="*/ 1372 h 4363"/>
                  <a:gd name="connsiteX3" fmla="*/ 1125 w 3704"/>
                  <a:gd name="connsiteY3" fmla="*/ 0 h 4363"/>
                  <a:gd name="connsiteX4" fmla="*/ 3458 w 3704"/>
                  <a:gd name="connsiteY4" fmla="*/ 960 h 4363"/>
                  <a:gd name="connsiteX5" fmla="*/ 3704 w 3704"/>
                  <a:gd name="connsiteY5" fmla="*/ 2717 h 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4" h="4363">
                    <a:moveTo>
                      <a:pt x="3704" y="2717"/>
                    </a:moveTo>
                    <a:lnTo>
                      <a:pt x="2086" y="4363"/>
                    </a:lnTo>
                    <a:lnTo>
                      <a:pt x="0" y="1372"/>
                    </a:lnTo>
                    <a:lnTo>
                      <a:pt x="1125" y="0"/>
                    </a:lnTo>
                    <a:lnTo>
                      <a:pt x="3458" y="960"/>
                    </a:lnTo>
                    <a:lnTo>
                      <a:pt x="3704"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5" name="Freeform: Shape 3634">
                <a:extLst>
                  <a:ext uri="{FF2B5EF4-FFF2-40B4-BE49-F238E27FC236}">
                    <a16:creationId xmlns:a16="http://schemas.microsoft.com/office/drawing/2014/main" id="{6720254A-8A9E-0B31-8EA1-F662A5872743}"/>
                  </a:ext>
                </a:extLst>
              </p:cNvPr>
              <p:cNvSpPr/>
              <p:nvPr/>
            </p:nvSpPr>
            <p:spPr>
              <a:xfrm>
                <a:off x="1182400" y="3803165"/>
                <a:ext cx="727" cy="916"/>
              </a:xfrm>
              <a:custGeom>
                <a:avLst/>
                <a:gdLst>
                  <a:gd name="connsiteX0" fmla="*/ 0 w 6970"/>
                  <a:gd name="connsiteY0" fmla="*/ 905 h 8781"/>
                  <a:gd name="connsiteX1" fmla="*/ 1153 w 6970"/>
                  <a:gd name="connsiteY1" fmla="*/ 0 h 8781"/>
                  <a:gd name="connsiteX2" fmla="*/ 3430 w 6970"/>
                  <a:gd name="connsiteY2" fmla="*/ 3320 h 8781"/>
                  <a:gd name="connsiteX3" fmla="*/ 6971 w 6970"/>
                  <a:gd name="connsiteY3" fmla="*/ 5763 h 8781"/>
                  <a:gd name="connsiteX4" fmla="*/ 4418 w 6970"/>
                  <a:gd name="connsiteY4" fmla="*/ 8782 h 8781"/>
                  <a:gd name="connsiteX5" fmla="*/ 1153 w 6970"/>
                  <a:gd name="connsiteY5" fmla="*/ 7959 h 8781"/>
                  <a:gd name="connsiteX6" fmla="*/ 439 w 6970"/>
                  <a:gd name="connsiteY6" fmla="*/ 6257 h 8781"/>
                  <a:gd name="connsiteX7" fmla="*/ 0 w 6970"/>
                  <a:gd name="connsiteY7" fmla="*/ 905 h 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0" h="8781">
                    <a:moveTo>
                      <a:pt x="0" y="905"/>
                    </a:moveTo>
                    <a:lnTo>
                      <a:pt x="1153" y="0"/>
                    </a:lnTo>
                    <a:lnTo>
                      <a:pt x="3430" y="3320"/>
                    </a:lnTo>
                    <a:lnTo>
                      <a:pt x="6971" y="5763"/>
                    </a:lnTo>
                    <a:lnTo>
                      <a:pt x="4418" y="8782"/>
                    </a:lnTo>
                    <a:lnTo>
                      <a:pt x="1153" y="7959"/>
                    </a:lnTo>
                    <a:lnTo>
                      <a:pt x="439" y="6257"/>
                    </a:lnTo>
                    <a:lnTo>
                      <a:pt x="0"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6" name="Freeform: Shape 3635">
                <a:extLst>
                  <a:ext uri="{FF2B5EF4-FFF2-40B4-BE49-F238E27FC236}">
                    <a16:creationId xmlns:a16="http://schemas.microsoft.com/office/drawing/2014/main" id="{D11DD7D7-8549-05B9-B26E-57192E1968A9}"/>
                  </a:ext>
                </a:extLst>
              </p:cNvPr>
              <p:cNvSpPr/>
              <p:nvPr/>
            </p:nvSpPr>
            <p:spPr>
              <a:xfrm>
                <a:off x="1635573" y="3760095"/>
                <a:ext cx="14068" cy="18018"/>
              </a:xfrm>
              <a:custGeom>
                <a:avLst/>
                <a:gdLst>
                  <a:gd name="connsiteX0" fmla="*/ 11252 w 134882"/>
                  <a:gd name="connsiteY0" fmla="*/ 192 h 172753"/>
                  <a:gd name="connsiteX1" fmla="*/ 23299 w 134882"/>
                  <a:gd name="connsiteY1" fmla="*/ 7355 h 172753"/>
                  <a:gd name="connsiteX2" fmla="*/ 26043 w 134882"/>
                  <a:gd name="connsiteY2" fmla="*/ 7135 h 172753"/>
                  <a:gd name="connsiteX3" fmla="*/ 27416 w 134882"/>
                  <a:gd name="connsiteY3" fmla="*/ 3869 h 172753"/>
                  <a:gd name="connsiteX4" fmla="*/ 37899 w 134882"/>
                  <a:gd name="connsiteY4" fmla="*/ 15258 h 172753"/>
                  <a:gd name="connsiteX5" fmla="*/ 42674 w 134882"/>
                  <a:gd name="connsiteY5" fmla="*/ 15341 h 172753"/>
                  <a:gd name="connsiteX6" fmla="*/ 47779 w 134882"/>
                  <a:gd name="connsiteY6" fmla="*/ 11938 h 172753"/>
                  <a:gd name="connsiteX7" fmla="*/ 52004 w 134882"/>
                  <a:gd name="connsiteY7" fmla="*/ 19539 h 172753"/>
                  <a:gd name="connsiteX8" fmla="*/ 51730 w 134882"/>
                  <a:gd name="connsiteY8" fmla="*/ 35429 h 172753"/>
                  <a:gd name="connsiteX9" fmla="*/ 55106 w 134882"/>
                  <a:gd name="connsiteY9" fmla="*/ 39792 h 172753"/>
                  <a:gd name="connsiteX10" fmla="*/ 62899 w 134882"/>
                  <a:gd name="connsiteY10" fmla="*/ 41988 h 172753"/>
                  <a:gd name="connsiteX11" fmla="*/ 69706 w 134882"/>
                  <a:gd name="connsiteY11" fmla="*/ 43881 h 172753"/>
                  <a:gd name="connsiteX12" fmla="*/ 91961 w 134882"/>
                  <a:gd name="connsiteY12" fmla="*/ 43634 h 172753"/>
                  <a:gd name="connsiteX13" fmla="*/ 102362 w 134882"/>
                  <a:gd name="connsiteY13" fmla="*/ 43552 h 172753"/>
                  <a:gd name="connsiteX14" fmla="*/ 116304 w 134882"/>
                  <a:gd name="connsiteY14" fmla="*/ 43387 h 172753"/>
                  <a:gd name="connsiteX15" fmla="*/ 123576 w 134882"/>
                  <a:gd name="connsiteY15" fmla="*/ 47010 h 172753"/>
                  <a:gd name="connsiteX16" fmla="*/ 127610 w 134882"/>
                  <a:gd name="connsiteY16" fmla="*/ 49260 h 172753"/>
                  <a:gd name="connsiteX17" fmla="*/ 128845 w 134882"/>
                  <a:gd name="connsiteY17" fmla="*/ 52032 h 172753"/>
                  <a:gd name="connsiteX18" fmla="*/ 123576 w 134882"/>
                  <a:gd name="connsiteY18" fmla="*/ 55874 h 172753"/>
                  <a:gd name="connsiteX19" fmla="*/ 118663 w 134882"/>
                  <a:gd name="connsiteY19" fmla="*/ 67729 h 172753"/>
                  <a:gd name="connsiteX20" fmla="*/ 114410 w 134882"/>
                  <a:gd name="connsiteY20" fmla="*/ 70528 h 172753"/>
                  <a:gd name="connsiteX21" fmla="*/ 111913 w 134882"/>
                  <a:gd name="connsiteY21" fmla="*/ 74919 h 172753"/>
                  <a:gd name="connsiteX22" fmla="*/ 107631 w 134882"/>
                  <a:gd name="connsiteY22" fmla="*/ 75248 h 172753"/>
                  <a:gd name="connsiteX23" fmla="*/ 102362 w 134882"/>
                  <a:gd name="connsiteY23" fmla="*/ 77608 h 172753"/>
                  <a:gd name="connsiteX24" fmla="*/ 97230 w 134882"/>
                  <a:gd name="connsiteY24" fmla="*/ 79859 h 172753"/>
                  <a:gd name="connsiteX25" fmla="*/ 93526 w 134882"/>
                  <a:gd name="connsiteY25" fmla="*/ 84414 h 172753"/>
                  <a:gd name="connsiteX26" fmla="*/ 91961 w 134882"/>
                  <a:gd name="connsiteY26" fmla="*/ 90397 h 172753"/>
                  <a:gd name="connsiteX27" fmla="*/ 91358 w 134882"/>
                  <a:gd name="connsiteY27" fmla="*/ 92593 h 172753"/>
                  <a:gd name="connsiteX28" fmla="*/ 91961 w 134882"/>
                  <a:gd name="connsiteY28" fmla="*/ 94513 h 172753"/>
                  <a:gd name="connsiteX29" fmla="*/ 96270 w 134882"/>
                  <a:gd name="connsiteY29" fmla="*/ 108674 h 172753"/>
                  <a:gd name="connsiteX30" fmla="*/ 99646 w 134882"/>
                  <a:gd name="connsiteY30" fmla="*/ 108153 h 172753"/>
                  <a:gd name="connsiteX31" fmla="*/ 102335 w 134882"/>
                  <a:gd name="connsiteY31" fmla="*/ 110814 h 172753"/>
                  <a:gd name="connsiteX32" fmla="*/ 104750 w 134882"/>
                  <a:gd name="connsiteY32" fmla="*/ 113229 h 172753"/>
                  <a:gd name="connsiteX33" fmla="*/ 108839 w 134882"/>
                  <a:gd name="connsiteY33" fmla="*/ 110732 h 172753"/>
                  <a:gd name="connsiteX34" fmla="*/ 109607 w 134882"/>
                  <a:gd name="connsiteY34" fmla="*/ 104530 h 172753"/>
                  <a:gd name="connsiteX35" fmla="*/ 113532 w 134882"/>
                  <a:gd name="connsiteY35" fmla="*/ 98273 h 172753"/>
                  <a:gd name="connsiteX36" fmla="*/ 114794 w 134882"/>
                  <a:gd name="connsiteY36" fmla="*/ 92263 h 172753"/>
                  <a:gd name="connsiteX37" fmla="*/ 121984 w 134882"/>
                  <a:gd name="connsiteY37" fmla="*/ 91989 h 172753"/>
                  <a:gd name="connsiteX38" fmla="*/ 123548 w 134882"/>
                  <a:gd name="connsiteY38" fmla="*/ 93059 h 172753"/>
                  <a:gd name="connsiteX39" fmla="*/ 126375 w 134882"/>
                  <a:gd name="connsiteY39" fmla="*/ 102746 h 172753"/>
                  <a:gd name="connsiteX40" fmla="*/ 127445 w 134882"/>
                  <a:gd name="connsiteY40" fmla="*/ 116056 h 172753"/>
                  <a:gd name="connsiteX41" fmla="*/ 130656 w 134882"/>
                  <a:gd name="connsiteY41" fmla="*/ 124454 h 172753"/>
                  <a:gd name="connsiteX42" fmla="*/ 133291 w 134882"/>
                  <a:gd name="connsiteY42" fmla="*/ 146079 h 172753"/>
                  <a:gd name="connsiteX43" fmla="*/ 134883 w 134882"/>
                  <a:gd name="connsiteY43" fmla="*/ 167677 h 172753"/>
                  <a:gd name="connsiteX44" fmla="*/ 133126 w 134882"/>
                  <a:gd name="connsiteY44" fmla="*/ 168335 h 172753"/>
                  <a:gd name="connsiteX45" fmla="*/ 131836 w 134882"/>
                  <a:gd name="connsiteY45" fmla="*/ 165426 h 172753"/>
                  <a:gd name="connsiteX46" fmla="*/ 128681 w 134882"/>
                  <a:gd name="connsiteY46" fmla="*/ 164740 h 172753"/>
                  <a:gd name="connsiteX47" fmla="*/ 127281 w 134882"/>
                  <a:gd name="connsiteY47" fmla="*/ 162435 h 172753"/>
                  <a:gd name="connsiteX48" fmla="*/ 126045 w 134882"/>
                  <a:gd name="connsiteY48" fmla="*/ 162078 h 172753"/>
                  <a:gd name="connsiteX49" fmla="*/ 123548 w 134882"/>
                  <a:gd name="connsiteY49" fmla="*/ 164493 h 172753"/>
                  <a:gd name="connsiteX50" fmla="*/ 121408 w 134882"/>
                  <a:gd name="connsiteY50" fmla="*/ 171985 h 172753"/>
                  <a:gd name="connsiteX51" fmla="*/ 119679 w 134882"/>
                  <a:gd name="connsiteY51" fmla="*/ 172753 h 172753"/>
                  <a:gd name="connsiteX52" fmla="*/ 113450 w 134882"/>
                  <a:gd name="connsiteY52" fmla="*/ 160596 h 172753"/>
                  <a:gd name="connsiteX53" fmla="*/ 111364 w 134882"/>
                  <a:gd name="connsiteY53" fmla="*/ 143362 h 172753"/>
                  <a:gd name="connsiteX54" fmla="*/ 107412 w 134882"/>
                  <a:gd name="connsiteY54" fmla="*/ 131973 h 172753"/>
                  <a:gd name="connsiteX55" fmla="*/ 102335 w 134882"/>
                  <a:gd name="connsiteY55" fmla="*/ 125908 h 172753"/>
                  <a:gd name="connsiteX56" fmla="*/ 98383 w 134882"/>
                  <a:gd name="connsiteY56" fmla="*/ 121160 h 172753"/>
                  <a:gd name="connsiteX57" fmla="*/ 95035 w 134882"/>
                  <a:gd name="connsiteY57" fmla="*/ 122231 h 172753"/>
                  <a:gd name="connsiteX58" fmla="*/ 91961 w 134882"/>
                  <a:gd name="connsiteY58" fmla="*/ 126512 h 172753"/>
                  <a:gd name="connsiteX59" fmla="*/ 90370 w 134882"/>
                  <a:gd name="connsiteY59" fmla="*/ 128707 h 172753"/>
                  <a:gd name="connsiteX60" fmla="*/ 83152 w 134882"/>
                  <a:gd name="connsiteY60" fmla="*/ 132330 h 172753"/>
                  <a:gd name="connsiteX61" fmla="*/ 79118 w 134882"/>
                  <a:gd name="connsiteY61" fmla="*/ 141413 h 172753"/>
                  <a:gd name="connsiteX62" fmla="*/ 73054 w 134882"/>
                  <a:gd name="connsiteY62" fmla="*/ 147067 h 172753"/>
                  <a:gd name="connsiteX63" fmla="*/ 69568 w 134882"/>
                  <a:gd name="connsiteY63" fmla="*/ 146408 h 172753"/>
                  <a:gd name="connsiteX64" fmla="*/ 68004 w 134882"/>
                  <a:gd name="connsiteY64" fmla="*/ 143828 h 172753"/>
                  <a:gd name="connsiteX65" fmla="*/ 64573 w 134882"/>
                  <a:gd name="connsiteY65" fmla="*/ 149976 h 172753"/>
                  <a:gd name="connsiteX66" fmla="*/ 62872 w 134882"/>
                  <a:gd name="connsiteY66" fmla="*/ 149756 h 172753"/>
                  <a:gd name="connsiteX67" fmla="*/ 60237 w 134882"/>
                  <a:gd name="connsiteY67" fmla="*/ 149427 h 172753"/>
                  <a:gd name="connsiteX68" fmla="*/ 52800 w 134882"/>
                  <a:gd name="connsiteY68" fmla="*/ 144377 h 172753"/>
                  <a:gd name="connsiteX69" fmla="*/ 50715 w 134882"/>
                  <a:gd name="connsiteY69" fmla="*/ 148549 h 172753"/>
                  <a:gd name="connsiteX70" fmla="*/ 47422 w 134882"/>
                  <a:gd name="connsiteY70" fmla="*/ 150442 h 172753"/>
                  <a:gd name="connsiteX71" fmla="*/ 45199 w 134882"/>
                  <a:gd name="connsiteY71" fmla="*/ 150634 h 172753"/>
                  <a:gd name="connsiteX72" fmla="*/ 42729 w 134882"/>
                  <a:gd name="connsiteY72" fmla="*/ 146655 h 172753"/>
                  <a:gd name="connsiteX73" fmla="*/ 39381 w 134882"/>
                  <a:gd name="connsiteY73" fmla="*/ 151485 h 172753"/>
                  <a:gd name="connsiteX74" fmla="*/ 33563 w 134882"/>
                  <a:gd name="connsiteY74" fmla="*/ 153132 h 172753"/>
                  <a:gd name="connsiteX75" fmla="*/ 30380 w 134882"/>
                  <a:gd name="connsiteY75" fmla="*/ 150168 h 172753"/>
                  <a:gd name="connsiteX76" fmla="*/ 29776 w 134882"/>
                  <a:gd name="connsiteY76" fmla="*/ 140672 h 172753"/>
                  <a:gd name="connsiteX77" fmla="*/ 29776 w 134882"/>
                  <a:gd name="connsiteY77" fmla="*/ 140535 h 172753"/>
                  <a:gd name="connsiteX78" fmla="*/ 24205 w 134882"/>
                  <a:gd name="connsiteY78" fmla="*/ 114519 h 172753"/>
                  <a:gd name="connsiteX79" fmla="*/ 24506 w 134882"/>
                  <a:gd name="connsiteY79" fmla="*/ 107878 h 172753"/>
                  <a:gd name="connsiteX80" fmla="*/ 20884 w 134882"/>
                  <a:gd name="connsiteY80" fmla="*/ 104448 h 172753"/>
                  <a:gd name="connsiteX81" fmla="*/ 19896 w 134882"/>
                  <a:gd name="connsiteY81" fmla="*/ 98328 h 172753"/>
                  <a:gd name="connsiteX82" fmla="*/ 15587 w 134882"/>
                  <a:gd name="connsiteY82" fmla="*/ 91028 h 172753"/>
                  <a:gd name="connsiteX83" fmla="*/ 19210 w 134882"/>
                  <a:gd name="connsiteY83" fmla="*/ 81286 h 172753"/>
                  <a:gd name="connsiteX84" fmla="*/ 18606 w 134882"/>
                  <a:gd name="connsiteY84" fmla="*/ 73739 h 172753"/>
                  <a:gd name="connsiteX85" fmla="*/ 3705 w 134882"/>
                  <a:gd name="connsiteY85" fmla="*/ 65232 h 172753"/>
                  <a:gd name="connsiteX86" fmla="*/ 0 w 134882"/>
                  <a:gd name="connsiteY86" fmla="*/ 58618 h 172753"/>
                  <a:gd name="connsiteX87" fmla="*/ 2579 w 134882"/>
                  <a:gd name="connsiteY87" fmla="*/ 52553 h 172753"/>
                  <a:gd name="connsiteX88" fmla="*/ 8782 w 134882"/>
                  <a:gd name="connsiteY88" fmla="*/ 49809 h 172753"/>
                  <a:gd name="connsiteX89" fmla="*/ 12020 w 134882"/>
                  <a:gd name="connsiteY89" fmla="*/ 43305 h 172753"/>
                  <a:gd name="connsiteX90" fmla="*/ 23299 w 134882"/>
                  <a:gd name="connsiteY90" fmla="*/ 42125 h 172753"/>
                  <a:gd name="connsiteX91" fmla="*/ 25412 w 134882"/>
                  <a:gd name="connsiteY91" fmla="*/ 39600 h 172753"/>
                  <a:gd name="connsiteX92" fmla="*/ 20884 w 134882"/>
                  <a:gd name="connsiteY92" fmla="*/ 33069 h 172753"/>
                  <a:gd name="connsiteX93" fmla="*/ 13914 w 134882"/>
                  <a:gd name="connsiteY93" fmla="*/ 31203 h 172753"/>
                  <a:gd name="connsiteX94" fmla="*/ 2333 w 134882"/>
                  <a:gd name="connsiteY94" fmla="*/ 21598 h 172753"/>
                  <a:gd name="connsiteX95" fmla="*/ 3897 w 134882"/>
                  <a:gd name="connsiteY95" fmla="*/ 12157 h 172753"/>
                  <a:gd name="connsiteX96" fmla="*/ 11115 w 134882"/>
                  <a:gd name="connsiteY96" fmla="*/ 4391 h 172753"/>
                  <a:gd name="connsiteX97" fmla="*/ 11252 w 134882"/>
                  <a:gd name="connsiteY97" fmla="*/ 0 h 17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34882" h="172753">
                    <a:moveTo>
                      <a:pt x="11252" y="192"/>
                    </a:moveTo>
                    <a:lnTo>
                      <a:pt x="23299" y="7355"/>
                    </a:lnTo>
                    <a:lnTo>
                      <a:pt x="26043" y="7135"/>
                    </a:lnTo>
                    <a:lnTo>
                      <a:pt x="27416" y="3869"/>
                    </a:lnTo>
                    <a:lnTo>
                      <a:pt x="37899" y="15258"/>
                    </a:lnTo>
                    <a:lnTo>
                      <a:pt x="42674" y="15341"/>
                    </a:lnTo>
                    <a:lnTo>
                      <a:pt x="47779" y="11938"/>
                    </a:lnTo>
                    <a:lnTo>
                      <a:pt x="52004" y="19539"/>
                    </a:lnTo>
                    <a:lnTo>
                      <a:pt x="51730" y="35429"/>
                    </a:lnTo>
                    <a:lnTo>
                      <a:pt x="55106" y="39792"/>
                    </a:lnTo>
                    <a:lnTo>
                      <a:pt x="62899" y="41988"/>
                    </a:lnTo>
                    <a:lnTo>
                      <a:pt x="69706" y="43881"/>
                    </a:lnTo>
                    <a:lnTo>
                      <a:pt x="91961" y="43634"/>
                    </a:lnTo>
                    <a:lnTo>
                      <a:pt x="102362" y="43552"/>
                    </a:lnTo>
                    <a:lnTo>
                      <a:pt x="116304" y="43387"/>
                    </a:lnTo>
                    <a:lnTo>
                      <a:pt x="123576" y="47010"/>
                    </a:lnTo>
                    <a:lnTo>
                      <a:pt x="127610" y="49260"/>
                    </a:lnTo>
                    <a:lnTo>
                      <a:pt x="128845" y="52032"/>
                    </a:lnTo>
                    <a:lnTo>
                      <a:pt x="123576" y="55874"/>
                    </a:lnTo>
                    <a:lnTo>
                      <a:pt x="118663" y="67729"/>
                    </a:lnTo>
                    <a:lnTo>
                      <a:pt x="114410" y="70528"/>
                    </a:lnTo>
                    <a:lnTo>
                      <a:pt x="111913" y="74919"/>
                    </a:lnTo>
                    <a:lnTo>
                      <a:pt x="107631" y="75248"/>
                    </a:lnTo>
                    <a:lnTo>
                      <a:pt x="102362" y="77608"/>
                    </a:lnTo>
                    <a:lnTo>
                      <a:pt x="97230" y="79859"/>
                    </a:lnTo>
                    <a:lnTo>
                      <a:pt x="93526" y="84414"/>
                    </a:lnTo>
                    <a:lnTo>
                      <a:pt x="91961" y="90397"/>
                    </a:lnTo>
                    <a:lnTo>
                      <a:pt x="91358" y="92593"/>
                    </a:lnTo>
                    <a:lnTo>
                      <a:pt x="91961" y="94513"/>
                    </a:lnTo>
                    <a:lnTo>
                      <a:pt x="96270" y="108674"/>
                    </a:lnTo>
                    <a:lnTo>
                      <a:pt x="99646" y="108153"/>
                    </a:lnTo>
                    <a:lnTo>
                      <a:pt x="102335" y="110814"/>
                    </a:lnTo>
                    <a:lnTo>
                      <a:pt x="104750" y="113229"/>
                    </a:lnTo>
                    <a:lnTo>
                      <a:pt x="108839" y="110732"/>
                    </a:lnTo>
                    <a:lnTo>
                      <a:pt x="109607" y="104530"/>
                    </a:lnTo>
                    <a:lnTo>
                      <a:pt x="113532" y="98273"/>
                    </a:lnTo>
                    <a:lnTo>
                      <a:pt x="114794" y="92263"/>
                    </a:lnTo>
                    <a:lnTo>
                      <a:pt x="121984" y="91989"/>
                    </a:lnTo>
                    <a:lnTo>
                      <a:pt x="123548" y="93059"/>
                    </a:lnTo>
                    <a:lnTo>
                      <a:pt x="126375" y="102746"/>
                    </a:lnTo>
                    <a:lnTo>
                      <a:pt x="127445" y="116056"/>
                    </a:lnTo>
                    <a:lnTo>
                      <a:pt x="130656" y="124454"/>
                    </a:lnTo>
                    <a:lnTo>
                      <a:pt x="133291" y="146079"/>
                    </a:lnTo>
                    <a:lnTo>
                      <a:pt x="134883" y="167677"/>
                    </a:lnTo>
                    <a:lnTo>
                      <a:pt x="133126" y="168335"/>
                    </a:lnTo>
                    <a:lnTo>
                      <a:pt x="131836" y="165426"/>
                    </a:lnTo>
                    <a:lnTo>
                      <a:pt x="128681" y="164740"/>
                    </a:lnTo>
                    <a:lnTo>
                      <a:pt x="127281" y="162435"/>
                    </a:lnTo>
                    <a:lnTo>
                      <a:pt x="126045" y="162078"/>
                    </a:lnTo>
                    <a:lnTo>
                      <a:pt x="123548" y="164493"/>
                    </a:lnTo>
                    <a:lnTo>
                      <a:pt x="121408" y="171985"/>
                    </a:lnTo>
                    <a:lnTo>
                      <a:pt x="119679" y="172753"/>
                    </a:lnTo>
                    <a:lnTo>
                      <a:pt x="113450" y="160596"/>
                    </a:lnTo>
                    <a:lnTo>
                      <a:pt x="111364" y="143362"/>
                    </a:lnTo>
                    <a:lnTo>
                      <a:pt x="107412" y="131973"/>
                    </a:lnTo>
                    <a:lnTo>
                      <a:pt x="102335" y="125908"/>
                    </a:lnTo>
                    <a:lnTo>
                      <a:pt x="98383" y="121160"/>
                    </a:lnTo>
                    <a:lnTo>
                      <a:pt x="95035" y="122231"/>
                    </a:lnTo>
                    <a:lnTo>
                      <a:pt x="91961" y="126512"/>
                    </a:lnTo>
                    <a:lnTo>
                      <a:pt x="90370" y="128707"/>
                    </a:lnTo>
                    <a:lnTo>
                      <a:pt x="83152" y="132330"/>
                    </a:lnTo>
                    <a:lnTo>
                      <a:pt x="79118" y="141413"/>
                    </a:lnTo>
                    <a:lnTo>
                      <a:pt x="73054" y="147067"/>
                    </a:lnTo>
                    <a:lnTo>
                      <a:pt x="69568" y="146408"/>
                    </a:lnTo>
                    <a:lnTo>
                      <a:pt x="68004" y="143828"/>
                    </a:lnTo>
                    <a:lnTo>
                      <a:pt x="64573" y="149976"/>
                    </a:lnTo>
                    <a:lnTo>
                      <a:pt x="62872" y="149756"/>
                    </a:lnTo>
                    <a:lnTo>
                      <a:pt x="60237" y="149427"/>
                    </a:lnTo>
                    <a:lnTo>
                      <a:pt x="52800" y="144377"/>
                    </a:lnTo>
                    <a:lnTo>
                      <a:pt x="50715" y="148549"/>
                    </a:lnTo>
                    <a:lnTo>
                      <a:pt x="47422" y="150442"/>
                    </a:lnTo>
                    <a:lnTo>
                      <a:pt x="45199" y="150634"/>
                    </a:lnTo>
                    <a:lnTo>
                      <a:pt x="42729" y="146655"/>
                    </a:lnTo>
                    <a:lnTo>
                      <a:pt x="39381" y="151485"/>
                    </a:lnTo>
                    <a:lnTo>
                      <a:pt x="33563" y="153132"/>
                    </a:lnTo>
                    <a:lnTo>
                      <a:pt x="30380" y="150168"/>
                    </a:lnTo>
                    <a:lnTo>
                      <a:pt x="29776" y="140672"/>
                    </a:lnTo>
                    <a:lnTo>
                      <a:pt x="29776" y="140535"/>
                    </a:lnTo>
                    <a:cubicBezTo>
                      <a:pt x="29776" y="140535"/>
                      <a:pt x="24205" y="114519"/>
                      <a:pt x="24205" y="114519"/>
                    </a:cubicBezTo>
                    <a:lnTo>
                      <a:pt x="24506" y="107878"/>
                    </a:lnTo>
                    <a:lnTo>
                      <a:pt x="20884" y="104448"/>
                    </a:lnTo>
                    <a:lnTo>
                      <a:pt x="19896" y="98328"/>
                    </a:lnTo>
                    <a:lnTo>
                      <a:pt x="15587" y="91028"/>
                    </a:lnTo>
                    <a:lnTo>
                      <a:pt x="19210" y="81286"/>
                    </a:lnTo>
                    <a:lnTo>
                      <a:pt x="18606" y="73739"/>
                    </a:lnTo>
                    <a:lnTo>
                      <a:pt x="3705" y="65232"/>
                    </a:lnTo>
                    <a:lnTo>
                      <a:pt x="0" y="58618"/>
                    </a:lnTo>
                    <a:lnTo>
                      <a:pt x="2579" y="52553"/>
                    </a:lnTo>
                    <a:lnTo>
                      <a:pt x="8782" y="49809"/>
                    </a:lnTo>
                    <a:lnTo>
                      <a:pt x="12020" y="43305"/>
                    </a:lnTo>
                    <a:lnTo>
                      <a:pt x="23299" y="42125"/>
                    </a:lnTo>
                    <a:lnTo>
                      <a:pt x="25412" y="39600"/>
                    </a:lnTo>
                    <a:lnTo>
                      <a:pt x="20884" y="33069"/>
                    </a:lnTo>
                    <a:lnTo>
                      <a:pt x="13914" y="31203"/>
                    </a:lnTo>
                    <a:lnTo>
                      <a:pt x="2333" y="21598"/>
                    </a:lnTo>
                    <a:lnTo>
                      <a:pt x="3897" y="12157"/>
                    </a:lnTo>
                    <a:lnTo>
                      <a:pt x="11115" y="4391"/>
                    </a:lnTo>
                    <a:lnTo>
                      <a:pt x="11252"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7" name="Freeform: Shape 3636">
                <a:extLst>
                  <a:ext uri="{FF2B5EF4-FFF2-40B4-BE49-F238E27FC236}">
                    <a16:creationId xmlns:a16="http://schemas.microsoft.com/office/drawing/2014/main" id="{89CFBE00-A493-284D-2F64-B6122F3B5564}"/>
                  </a:ext>
                </a:extLst>
              </p:cNvPr>
              <p:cNvSpPr/>
              <p:nvPr/>
            </p:nvSpPr>
            <p:spPr>
              <a:xfrm>
                <a:off x="1644609" y="3773897"/>
                <a:ext cx="518" cy="1047"/>
              </a:xfrm>
              <a:custGeom>
                <a:avLst/>
                <a:gdLst>
                  <a:gd name="connsiteX0" fmla="*/ 4062 w 4967"/>
                  <a:gd name="connsiteY0" fmla="*/ 7464 h 10043"/>
                  <a:gd name="connsiteX1" fmla="*/ 1235 w 4967"/>
                  <a:gd name="connsiteY1" fmla="*/ 10044 h 10043"/>
                  <a:gd name="connsiteX2" fmla="*/ 0 w 4967"/>
                  <a:gd name="connsiteY2" fmla="*/ 9824 h 10043"/>
                  <a:gd name="connsiteX3" fmla="*/ 1400 w 4967"/>
                  <a:gd name="connsiteY3" fmla="*/ 5022 h 10043"/>
                  <a:gd name="connsiteX4" fmla="*/ 768 w 4967"/>
                  <a:gd name="connsiteY4" fmla="*/ 55 h 10043"/>
                  <a:gd name="connsiteX5" fmla="*/ 3293 w 4967"/>
                  <a:gd name="connsiteY5" fmla="*/ 0 h 10043"/>
                  <a:gd name="connsiteX6" fmla="*/ 4967 w 4967"/>
                  <a:gd name="connsiteY6" fmla="*/ 3375 h 10043"/>
                  <a:gd name="connsiteX7" fmla="*/ 4089 w 4967"/>
                  <a:gd name="connsiteY7" fmla="*/ 7464 h 1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7" h="10043">
                    <a:moveTo>
                      <a:pt x="4062" y="7464"/>
                    </a:moveTo>
                    <a:lnTo>
                      <a:pt x="1235" y="10044"/>
                    </a:lnTo>
                    <a:lnTo>
                      <a:pt x="0" y="9824"/>
                    </a:lnTo>
                    <a:lnTo>
                      <a:pt x="1400" y="5022"/>
                    </a:lnTo>
                    <a:lnTo>
                      <a:pt x="768" y="55"/>
                    </a:lnTo>
                    <a:lnTo>
                      <a:pt x="3293" y="0"/>
                    </a:lnTo>
                    <a:lnTo>
                      <a:pt x="4967" y="3375"/>
                    </a:lnTo>
                    <a:lnTo>
                      <a:pt x="4089" y="74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8" name="Freeform: Shape 3637">
                <a:extLst>
                  <a:ext uri="{FF2B5EF4-FFF2-40B4-BE49-F238E27FC236}">
                    <a16:creationId xmlns:a16="http://schemas.microsoft.com/office/drawing/2014/main" id="{D93153D8-C4EF-7302-5509-CF6D185B9E15}"/>
                  </a:ext>
                </a:extLst>
              </p:cNvPr>
              <p:cNvSpPr/>
              <p:nvPr/>
            </p:nvSpPr>
            <p:spPr>
              <a:xfrm>
                <a:off x="1645820" y="3773205"/>
                <a:ext cx="426" cy="753"/>
              </a:xfrm>
              <a:custGeom>
                <a:avLst/>
                <a:gdLst>
                  <a:gd name="connsiteX0" fmla="*/ 4089 w 4088"/>
                  <a:gd name="connsiteY0" fmla="*/ 6861 h 7217"/>
                  <a:gd name="connsiteX1" fmla="*/ 1948 w 4088"/>
                  <a:gd name="connsiteY1" fmla="*/ 7218 h 7217"/>
                  <a:gd name="connsiteX2" fmla="*/ 0 w 4088"/>
                  <a:gd name="connsiteY2" fmla="*/ 3019 h 7217"/>
                  <a:gd name="connsiteX3" fmla="*/ 714 w 4088"/>
                  <a:gd name="connsiteY3" fmla="*/ 0 h 7217"/>
                  <a:gd name="connsiteX4" fmla="*/ 2662 w 4088"/>
                  <a:gd name="connsiteY4" fmla="*/ 1784 h 7217"/>
                  <a:gd name="connsiteX5" fmla="*/ 4089 w 4088"/>
                  <a:gd name="connsiteY5" fmla="*/ 5516 h 7217"/>
                  <a:gd name="connsiteX6" fmla="*/ 4089 w 4088"/>
                  <a:gd name="connsiteY6" fmla="*/ 6861 h 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8" h="7217">
                    <a:moveTo>
                      <a:pt x="4089" y="6861"/>
                    </a:moveTo>
                    <a:lnTo>
                      <a:pt x="1948" y="7218"/>
                    </a:lnTo>
                    <a:lnTo>
                      <a:pt x="0" y="3019"/>
                    </a:lnTo>
                    <a:lnTo>
                      <a:pt x="714" y="0"/>
                    </a:lnTo>
                    <a:lnTo>
                      <a:pt x="2662" y="1784"/>
                    </a:lnTo>
                    <a:lnTo>
                      <a:pt x="4089" y="5516"/>
                    </a:lnTo>
                    <a:lnTo>
                      <a:pt x="4089" y="68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39" name="Freeform: Shape 3638">
                <a:extLst>
                  <a:ext uri="{FF2B5EF4-FFF2-40B4-BE49-F238E27FC236}">
                    <a16:creationId xmlns:a16="http://schemas.microsoft.com/office/drawing/2014/main" id="{CCFE305B-F7C9-42D1-E079-4C9F1B48F890}"/>
                  </a:ext>
                </a:extLst>
              </p:cNvPr>
              <p:cNvSpPr/>
              <p:nvPr/>
            </p:nvSpPr>
            <p:spPr>
              <a:xfrm>
                <a:off x="1644286" y="3774264"/>
                <a:ext cx="272" cy="561"/>
              </a:xfrm>
              <a:custGeom>
                <a:avLst/>
                <a:gdLst>
                  <a:gd name="connsiteX0" fmla="*/ 2278 w 2607"/>
                  <a:gd name="connsiteY0" fmla="*/ 3019 h 5378"/>
                  <a:gd name="connsiteX1" fmla="*/ 988 w 2607"/>
                  <a:gd name="connsiteY1" fmla="*/ 5379 h 5378"/>
                  <a:gd name="connsiteX2" fmla="*/ 0 w 2607"/>
                  <a:gd name="connsiteY2" fmla="*/ 4500 h 5378"/>
                  <a:gd name="connsiteX3" fmla="*/ 1427 w 2607"/>
                  <a:gd name="connsiteY3" fmla="*/ 0 h 5378"/>
                  <a:gd name="connsiteX4" fmla="*/ 2608 w 2607"/>
                  <a:gd name="connsiteY4" fmla="*/ 274 h 5378"/>
                  <a:gd name="connsiteX5" fmla="*/ 2278 w 2607"/>
                  <a:gd name="connsiteY5" fmla="*/ 3046 h 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7" h="5378">
                    <a:moveTo>
                      <a:pt x="2278" y="3019"/>
                    </a:moveTo>
                    <a:lnTo>
                      <a:pt x="988" y="5379"/>
                    </a:lnTo>
                    <a:lnTo>
                      <a:pt x="0" y="4500"/>
                    </a:lnTo>
                    <a:lnTo>
                      <a:pt x="1427" y="0"/>
                    </a:lnTo>
                    <a:lnTo>
                      <a:pt x="2608" y="274"/>
                    </a:lnTo>
                    <a:lnTo>
                      <a:pt x="2278"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0" name="Freeform: Shape 3639">
                <a:extLst>
                  <a:ext uri="{FF2B5EF4-FFF2-40B4-BE49-F238E27FC236}">
                    <a16:creationId xmlns:a16="http://schemas.microsoft.com/office/drawing/2014/main" id="{7E16BD44-62FF-5F33-54F5-257637E5266D}"/>
                  </a:ext>
                </a:extLst>
              </p:cNvPr>
              <p:cNvSpPr/>
              <p:nvPr/>
            </p:nvSpPr>
            <p:spPr>
              <a:xfrm>
                <a:off x="1348467" y="3797715"/>
                <a:ext cx="24301" cy="17675"/>
              </a:xfrm>
              <a:custGeom>
                <a:avLst/>
                <a:gdLst>
                  <a:gd name="connsiteX0" fmla="*/ 169049 w 232990"/>
                  <a:gd name="connsiteY0" fmla="*/ 2141 h 169460"/>
                  <a:gd name="connsiteX1" fmla="*/ 167786 w 232990"/>
                  <a:gd name="connsiteY1" fmla="*/ 16219 h 169460"/>
                  <a:gd name="connsiteX2" fmla="*/ 170009 w 232990"/>
                  <a:gd name="connsiteY2" fmla="*/ 19292 h 169460"/>
                  <a:gd name="connsiteX3" fmla="*/ 173083 w 232990"/>
                  <a:gd name="connsiteY3" fmla="*/ 23601 h 169460"/>
                  <a:gd name="connsiteX4" fmla="*/ 174620 w 232990"/>
                  <a:gd name="connsiteY4" fmla="*/ 31587 h 169460"/>
                  <a:gd name="connsiteX5" fmla="*/ 181398 w 232990"/>
                  <a:gd name="connsiteY5" fmla="*/ 40780 h 169460"/>
                  <a:gd name="connsiteX6" fmla="*/ 188945 w 232990"/>
                  <a:gd name="connsiteY6" fmla="*/ 44101 h 169460"/>
                  <a:gd name="connsiteX7" fmla="*/ 196190 w 232990"/>
                  <a:gd name="connsiteY7" fmla="*/ 50303 h 169460"/>
                  <a:gd name="connsiteX8" fmla="*/ 192183 w 232990"/>
                  <a:gd name="connsiteY8" fmla="*/ 53514 h 169460"/>
                  <a:gd name="connsiteX9" fmla="*/ 193418 w 232990"/>
                  <a:gd name="connsiteY9" fmla="*/ 62213 h 169460"/>
                  <a:gd name="connsiteX10" fmla="*/ 209198 w 232990"/>
                  <a:gd name="connsiteY10" fmla="*/ 72971 h 169460"/>
                  <a:gd name="connsiteX11" fmla="*/ 215784 w 232990"/>
                  <a:gd name="connsiteY11" fmla="*/ 73684 h 169460"/>
                  <a:gd name="connsiteX12" fmla="*/ 221904 w 232990"/>
                  <a:gd name="connsiteY12" fmla="*/ 71654 h 169460"/>
                  <a:gd name="connsiteX13" fmla="*/ 226267 w 232990"/>
                  <a:gd name="connsiteY13" fmla="*/ 74288 h 169460"/>
                  <a:gd name="connsiteX14" fmla="*/ 227694 w 232990"/>
                  <a:gd name="connsiteY14" fmla="*/ 78761 h 169460"/>
                  <a:gd name="connsiteX15" fmla="*/ 224813 w 232990"/>
                  <a:gd name="connsiteY15" fmla="*/ 83537 h 169460"/>
                  <a:gd name="connsiteX16" fmla="*/ 232991 w 232990"/>
                  <a:gd name="connsiteY16" fmla="*/ 95557 h 169460"/>
                  <a:gd name="connsiteX17" fmla="*/ 229506 w 232990"/>
                  <a:gd name="connsiteY17" fmla="*/ 101923 h 169460"/>
                  <a:gd name="connsiteX18" fmla="*/ 221712 w 232990"/>
                  <a:gd name="connsiteY18" fmla="*/ 108592 h 169460"/>
                  <a:gd name="connsiteX19" fmla="*/ 204423 w 232990"/>
                  <a:gd name="connsiteY19" fmla="*/ 109827 h 169460"/>
                  <a:gd name="connsiteX20" fmla="*/ 188917 w 232990"/>
                  <a:gd name="connsiteY20" fmla="*/ 122697 h 169460"/>
                  <a:gd name="connsiteX21" fmla="*/ 177419 w 232990"/>
                  <a:gd name="connsiteY21" fmla="*/ 124097 h 169460"/>
                  <a:gd name="connsiteX22" fmla="*/ 175306 w 232990"/>
                  <a:gd name="connsiteY22" fmla="*/ 122011 h 169460"/>
                  <a:gd name="connsiteX23" fmla="*/ 169954 w 232990"/>
                  <a:gd name="connsiteY23" fmla="*/ 120886 h 169460"/>
                  <a:gd name="connsiteX24" fmla="*/ 158071 w 232990"/>
                  <a:gd name="connsiteY24" fmla="*/ 118417 h 169460"/>
                  <a:gd name="connsiteX25" fmla="*/ 154531 w 232990"/>
                  <a:gd name="connsiteY25" fmla="*/ 118334 h 169460"/>
                  <a:gd name="connsiteX26" fmla="*/ 144954 w 232990"/>
                  <a:gd name="connsiteY26" fmla="*/ 124070 h 169460"/>
                  <a:gd name="connsiteX27" fmla="*/ 129174 w 232990"/>
                  <a:gd name="connsiteY27" fmla="*/ 122697 h 169460"/>
                  <a:gd name="connsiteX28" fmla="*/ 118910 w 232990"/>
                  <a:gd name="connsiteY28" fmla="*/ 121819 h 169460"/>
                  <a:gd name="connsiteX29" fmla="*/ 103899 w 232990"/>
                  <a:gd name="connsiteY29" fmla="*/ 122588 h 169460"/>
                  <a:gd name="connsiteX30" fmla="*/ 100661 w 232990"/>
                  <a:gd name="connsiteY30" fmla="*/ 122670 h 169460"/>
                  <a:gd name="connsiteX31" fmla="*/ 88311 w 232990"/>
                  <a:gd name="connsiteY31" fmla="*/ 123000 h 169460"/>
                  <a:gd name="connsiteX32" fmla="*/ 86253 w 232990"/>
                  <a:gd name="connsiteY32" fmla="*/ 123054 h 169460"/>
                  <a:gd name="connsiteX33" fmla="*/ 79310 w 232990"/>
                  <a:gd name="connsiteY33" fmla="*/ 123247 h 169460"/>
                  <a:gd name="connsiteX34" fmla="*/ 76154 w 232990"/>
                  <a:gd name="connsiteY34" fmla="*/ 134224 h 169460"/>
                  <a:gd name="connsiteX35" fmla="*/ 80435 w 232990"/>
                  <a:gd name="connsiteY35" fmla="*/ 144844 h 169460"/>
                  <a:gd name="connsiteX36" fmla="*/ 80545 w 232990"/>
                  <a:gd name="connsiteY36" fmla="*/ 159773 h 169460"/>
                  <a:gd name="connsiteX37" fmla="*/ 81286 w 232990"/>
                  <a:gd name="connsiteY37" fmla="*/ 165262 h 169460"/>
                  <a:gd name="connsiteX38" fmla="*/ 83262 w 232990"/>
                  <a:gd name="connsiteY38" fmla="*/ 167704 h 169460"/>
                  <a:gd name="connsiteX39" fmla="*/ 79886 w 232990"/>
                  <a:gd name="connsiteY39" fmla="*/ 169460 h 169460"/>
                  <a:gd name="connsiteX40" fmla="*/ 71489 w 232990"/>
                  <a:gd name="connsiteY40" fmla="*/ 159800 h 169460"/>
                  <a:gd name="connsiteX41" fmla="*/ 67894 w 232990"/>
                  <a:gd name="connsiteY41" fmla="*/ 156041 h 169460"/>
                  <a:gd name="connsiteX42" fmla="*/ 54529 w 232990"/>
                  <a:gd name="connsiteY42" fmla="*/ 154147 h 169460"/>
                  <a:gd name="connsiteX43" fmla="*/ 37734 w 232990"/>
                  <a:gd name="connsiteY43" fmla="*/ 159800 h 169460"/>
                  <a:gd name="connsiteX44" fmla="*/ 34194 w 232990"/>
                  <a:gd name="connsiteY44" fmla="*/ 164219 h 169460"/>
                  <a:gd name="connsiteX45" fmla="*/ 29089 w 232990"/>
                  <a:gd name="connsiteY45" fmla="*/ 160679 h 169460"/>
                  <a:gd name="connsiteX46" fmla="*/ 24479 w 232990"/>
                  <a:gd name="connsiteY46" fmla="*/ 161584 h 169460"/>
                  <a:gd name="connsiteX47" fmla="*/ 21268 w 232990"/>
                  <a:gd name="connsiteY47" fmla="*/ 159773 h 169460"/>
                  <a:gd name="connsiteX48" fmla="*/ 20747 w 232990"/>
                  <a:gd name="connsiteY48" fmla="*/ 157276 h 169460"/>
                  <a:gd name="connsiteX49" fmla="*/ 16768 w 232990"/>
                  <a:gd name="connsiteY49" fmla="*/ 155437 h 169460"/>
                  <a:gd name="connsiteX50" fmla="*/ 11142 w 232990"/>
                  <a:gd name="connsiteY50" fmla="*/ 143801 h 169460"/>
                  <a:gd name="connsiteX51" fmla="*/ 3211 w 232990"/>
                  <a:gd name="connsiteY51" fmla="*/ 143280 h 169460"/>
                  <a:gd name="connsiteX52" fmla="*/ 0 w 232990"/>
                  <a:gd name="connsiteY52" fmla="*/ 139575 h 169460"/>
                  <a:gd name="connsiteX53" fmla="*/ 2415 w 232990"/>
                  <a:gd name="connsiteY53" fmla="*/ 127143 h 169460"/>
                  <a:gd name="connsiteX54" fmla="*/ 905 w 232990"/>
                  <a:gd name="connsiteY54" fmla="*/ 121325 h 169460"/>
                  <a:gd name="connsiteX55" fmla="*/ 6861 w 232990"/>
                  <a:gd name="connsiteY55" fmla="*/ 115480 h 169460"/>
                  <a:gd name="connsiteX56" fmla="*/ 9221 w 232990"/>
                  <a:gd name="connsiteY56" fmla="*/ 108811 h 169460"/>
                  <a:gd name="connsiteX57" fmla="*/ 5818 w 232990"/>
                  <a:gd name="connsiteY57" fmla="*/ 98356 h 169460"/>
                  <a:gd name="connsiteX58" fmla="*/ 11773 w 232990"/>
                  <a:gd name="connsiteY58" fmla="*/ 93828 h 169460"/>
                  <a:gd name="connsiteX59" fmla="*/ 23079 w 232990"/>
                  <a:gd name="connsiteY59" fmla="*/ 92291 h 169460"/>
                  <a:gd name="connsiteX60" fmla="*/ 26126 w 232990"/>
                  <a:gd name="connsiteY60" fmla="*/ 90041 h 169460"/>
                  <a:gd name="connsiteX61" fmla="*/ 31340 w 232990"/>
                  <a:gd name="connsiteY61" fmla="*/ 82137 h 169460"/>
                  <a:gd name="connsiteX62" fmla="*/ 32383 w 232990"/>
                  <a:gd name="connsiteY62" fmla="*/ 75029 h 169460"/>
                  <a:gd name="connsiteX63" fmla="*/ 30763 w 232990"/>
                  <a:gd name="connsiteY63" fmla="*/ 71544 h 169460"/>
                  <a:gd name="connsiteX64" fmla="*/ 36197 w 232990"/>
                  <a:gd name="connsiteY64" fmla="*/ 70940 h 169460"/>
                  <a:gd name="connsiteX65" fmla="*/ 37816 w 232990"/>
                  <a:gd name="connsiteY65" fmla="*/ 68580 h 169460"/>
                  <a:gd name="connsiteX66" fmla="*/ 35127 w 232990"/>
                  <a:gd name="connsiteY66" fmla="*/ 58179 h 169460"/>
                  <a:gd name="connsiteX67" fmla="*/ 43305 w 232990"/>
                  <a:gd name="connsiteY67" fmla="*/ 49672 h 169460"/>
                  <a:gd name="connsiteX68" fmla="*/ 45555 w 232990"/>
                  <a:gd name="connsiteY68" fmla="*/ 48574 h 169460"/>
                  <a:gd name="connsiteX69" fmla="*/ 46900 w 232990"/>
                  <a:gd name="connsiteY69" fmla="*/ 50907 h 169460"/>
                  <a:gd name="connsiteX70" fmla="*/ 60567 w 232990"/>
                  <a:gd name="connsiteY70" fmla="*/ 57246 h 169460"/>
                  <a:gd name="connsiteX71" fmla="*/ 61911 w 232990"/>
                  <a:gd name="connsiteY71" fmla="*/ 54996 h 169460"/>
                  <a:gd name="connsiteX72" fmla="*/ 66220 w 232990"/>
                  <a:gd name="connsiteY72" fmla="*/ 53322 h 169460"/>
                  <a:gd name="connsiteX73" fmla="*/ 66412 w 232990"/>
                  <a:gd name="connsiteY73" fmla="*/ 41357 h 169460"/>
                  <a:gd name="connsiteX74" fmla="*/ 77142 w 232990"/>
                  <a:gd name="connsiteY74" fmla="*/ 42537 h 169460"/>
                  <a:gd name="connsiteX75" fmla="*/ 79694 w 232990"/>
                  <a:gd name="connsiteY75" fmla="*/ 30160 h 169460"/>
                  <a:gd name="connsiteX76" fmla="*/ 86308 w 232990"/>
                  <a:gd name="connsiteY76" fmla="*/ 25851 h 169460"/>
                  <a:gd name="connsiteX77" fmla="*/ 88366 w 232990"/>
                  <a:gd name="connsiteY77" fmla="*/ 24507 h 169460"/>
                  <a:gd name="connsiteX78" fmla="*/ 89793 w 232990"/>
                  <a:gd name="connsiteY78" fmla="*/ 23546 h 169460"/>
                  <a:gd name="connsiteX79" fmla="*/ 100716 w 232990"/>
                  <a:gd name="connsiteY79" fmla="*/ 26894 h 169460"/>
                  <a:gd name="connsiteX80" fmla="*/ 103432 w 232990"/>
                  <a:gd name="connsiteY80" fmla="*/ 25001 h 169460"/>
                  <a:gd name="connsiteX81" fmla="*/ 105436 w 232990"/>
                  <a:gd name="connsiteY81" fmla="*/ 18112 h 169460"/>
                  <a:gd name="connsiteX82" fmla="*/ 113778 w 232990"/>
                  <a:gd name="connsiteY82" fmla="*/ 16219 h 169460"/>
                  <a:gd name="connsiteX83" fmla="*/ 130738 w 232990"/>
                  <a:gd name="connsiteY83" fmla="*/ 7629 h 169460"/>
                  <a:gd name="connsiteX84" fmla="*/ 141386 w 232990"/>
                  <a:gd name="connsiteY84" fmla="*/ 0 h 169460"/>
                  <a:gd name="connsiteX85" fmla="*/ 169021 w 232990"/>
                  <a:gd name="connsiteY85" fmla="*/ 2168 h 16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32990" h="169460">
                    <a:moveTo>
                      <a:pt x="169049" y="2141"/>
                    </a:moveTo>
                    <a:lnTo>
                      <a:pt x="167786" y="16219"/>
                    </a:lnTo>
                    <a:lnTo>
                      <a:pt x="170009" y="19292"/>
                    </a:lnTo>
                    <a:lnTo>
                      <a:pt x="173083" y="23601"/>
                    </a:lnTo>
                    <a:lnTo>
                      <a:pt x="174620" y="31587"/>
                    </a:lnTo>
                    <a:lnTo>
                      <a:pt x="181398" y="40780"/>
                    </a:lnTo>
                    <a:lnTo>
                      <a:pt x="188945" y="44101"/>
                    </a:lnTo>
                    <a:lnTo>
                      <a:pt x="196190" y="50303"/>
                    </a:lnTo>
                    <a:lnTo>
                      <a:pt x="192183" y="53514"/>
                    </a:lnTo>
                    <a:lnTo>
                      <a:pt x="193418" y="62213"/>
                    </a:lnTo>
                    <a:lnTo>
                      <a:pt x="209198" y="72971"/>
                    </a:lnTo>
                    <a:lnTo>
                      <a:pt x="215784" y="73684"/>
                    </a:lnTo>
                    <a:lnTo>
                      <a:pt x="221904" y="71654"/>
                    </a:lnTo>
                    <a:lnTo>
                      <a:pt x="226267" y="74288"/>
                    </a:lnTo>
                    <a:lnTo>
                      <a:pt x="227694" y="78761"/>
                    </a:lnTo>
                    <a:lnTo>
                      <a:pt x="224813" y="83537"/>
                    </a:lnTo>
                    <a:lnTo>
                      <a:pt x="232991" y="95557"/>
                    </a:lnTo>
                    <a:lnTo>
                      <a:pt x="229506" y="101923"/>
                    </a:lnTo>
                    <a:lnTo>
                      <a:pt x="221712" y="108592"/>
                    </a:lnTo>
                    <a:lnTo>
                      <a:pt x="204423" y="109827"/>
                    </a:lnTo>
                    <a:lnTo>
                      <a:pt x="188917" y="122697"/>
                    </a:lnTo>
                    <a:lnTo>
                      <a:pt x="177419" y="124097"/>
                    </a:lnTo>
                    <a:lnTo>
                      <a:pt x="175306" y="122011"/>
                    </a:lnTo>
                    <a:lnTo>
                      <a:pt x="169954" y="120886"/>
                    </a:lnTo>
                    <a:lnTo>
                      <a:pt x="158071" y="118417"/>
                    </a:lnTo>
                    <a:lnTo>
                      <a:pt x="154531" y="118334"/>
                    </a:lnTo>
                    <a:lnTo>
                      <a:pt x="144954" y="124070"/>
                    </a:lnTo>
                    <a:lnTo>
                      <a:pt x="129174" y="122697"/>
                    </a:lnTo>
                    <a:lnTo>
                      <a:pt x="118910" y="121819"/>
                    </a:lnTo>
                    <a:lnTo>
                      <a:pt x="103899" y="122588"/>
                    </a:lnTo>
                    <a:lnTo>
                      <a:pt x="100661" y="122670"/>
                    </a:lnTo>
                    <a:lnTo>
                      <a:pt x="88311" y="123000"/>
                    </a:lnTo>
                    <a:lnTo>
                      <a:pt x="86253" y="123054"/>
                    </a:lnTo>
                    <a:lnTo>
                      <a:pt x="79310" y="123247"/>
                    </a:lnTo>
                    <a:lnTo>
                      <a:pt x="76154" y="134224"/>
                    </a:lnTo>
                    <a:lnTo>
                      <a:pt x="80435" y="144844"/>
                    </a:lnTo>
                    <a:lnTo>
                      <a:pt x="80545" y="159773"/>
                    </a:lnTo>
                    <a:lnTo>
                      <a:pt x="81286" y="165262"/>
                    </a:lnTo>
                    <a:lnTo>
                      <a:pt x="83262" y="167704"/>
                    </a:lnTo>
                    <a:lnTo>
                      <a:pt x="79886" y="169460"/>
                    </a:lnTo>
                    <a:lnTo>
                      <a:pt x="71489" y="159800"/>
                    </a:lnTo>
                    <a:lnTo>
                      <a:pt x="67894" y="156041"/>
                    </a:lnTo>
                    <a:lnTo>
                      <a:pt x="54529" y="154147"/>
                    </a:lnTo>
                    <a:lnTo>
                      <a:pt x="37734" y="159800"/>
                    </a:lnTo>
                    <a:lnTo>
                      <a:pt x="34194" y="164219"/>
                    </a:lnTo>
                    <a:lnTo>
                      <a:pt x="29089" y="160679"/>
                    </a:lnTo>
                    <a:lnTo>
                      <a:pt x="24479" y="161584"/>
                    </a:lnTo>
                    <a:lnTo>
                      <a:pt x="21268" y="159773"/>
                    </a:lnTo>
                    <a:lnTo>
                      <a:pt x="20747" y="157276"/>
                    </a:lnTo>
                    <a:lnTo>
                      <a:pt x="16768" y="155437"/>
                    </a:lnTo>
                    <a:lnTo>
                      <a:pt x="11142" y="143801"/>
                    </a:lnTo>
                    <a:lnTo>
                      <a:pt x="3211" y="143280"/>
                    </a:lnTo>
                    <a:lnTo>
                      <a:pt x="0" y="139575"/>
                    </a:lnTo>
                    <a:lnTo>
                      <a:pt x="2415" y="127143"/>
                    </a:lnTo>
                    <a:lnTo>
                      <a:pt x="905" y="121325"/>
                    </a:lnTo>
                    <a:lnTo>
                      <a:pt x="6861" y="115480"/>
                    </a:lnTo>
                    <a:lnTo>
                      <a:pt x="9221" y="108811"/>
                    </a:lnTo>
                    <a:lnTo>
                      <a:pt x="5818" y="98356"/>
                    </a:lnTo>
                    <a:lnTo>
                      <a:pt x="11773" y="93828"/>
                    </a:lnTo>
                    <a:lnTo>
                      <a:pt x="23079" y="92291"/>
                    </a:lnTo>
                    <a:lnTo>
                      <a:pt x="26126" y="90041"/>
                    </a:lnTo>
                    <a:lnTo>
                      <a:pt x="31340" y="82137"/>
                    </a:lnTo>
                    <a:lnTo>
                      <a:pt x="32383" y="75029"/>
                    </a:lnTo>
                    <a:lnTo>
                      <a:pt x="30763" y="71544"/>
                    </a:lnTo>
                    <a:lnTo>
                      <a:pt x="36197" y="70940"/>
                    </a:lnTo>
                    <a:lnTo>
                      <a:pt x="37816" y="68580"/>
                    </a:lnTo>
                    <a:lnTo>
                      <a:pt x="35127" y="58179"/>
                    </a:lnTo>
                    <a:lnTo>
                      <a:pt x="43305" y="49672"/>
                    </a:lnTo>
                    <a:lnTo>
                      <a:pt x="45555" y="48574"/>
                    </a:lnTo>
                    <a:lnTo>
                      <a:pt x="46900" y="50907"/>
                    </a:lnTo>
                    <a:lnTo>
                      <a:pt x="60567" y="57246"/>
                    </a:lnTo>
                    <a:lnTo>
                      <a:pt x="61911" y="54996"/>
                    </a:lnTo>
                    <a:lnTo>
                      <a:pt x="66220" y="53322"/>
                    </a:lnTo>
                    <a:lnTo>
                      <a:pt x="66412" y="41357"/>
                    </a:lnTo>
                    <a:lnTo>
                      <a:pt x="77142" y="42537"/>
                    </a:lnTo>
                    <a:lnTo>
                      <a:pt x="79694" y="30160"/>
                    </a:lnTo>
                    <a:lnTo>
                      <a:pt x="86308" y="25851"/>
                    </a:lnTo>
                    <a:lnTo>
                      <a:pt x="88366" y="24507"/>
                    </a:lnTo>
                    <a:lnTo>
                      <a:pt x="89793" y="23546"/>
                    </a:lnTo>
                    <a:lnTo>
                      <a:pt x="100716" y="26894"/>
                    </a:lnTo>
                    <a:lnTo>
                      <a:pt x="103432" y="25001"/>
                    </a:lnTo>
                    <a:lnTo>
                      <a:pt x="105436" y="18112"/>
                    </a:lnTo>
                    <a:lnTo>
                      <a:pt x="113778" y="16219"/>
                    </a:lnTo>
                    <a:lnTo>
                      <a:pt x="130738" y="7629"/>
                    </a:lnTo>
                    <a:lnTo>
                      <a:pt x="141386" y="0"/>
                    </a:lnTo>
                    <a:lnTo>
                      <a:pt x="169021"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1" name="Freeform: Shape 3640">
                <a:extLst>
                  <a:ext uri="{FF2B5EF4-FFF2-40B4-BE49-F238E27FC236}">
                    <a16:creationId xmlns:a16="http://schemas.microsoft.com/office/drawing/2014/main" id="{38B4905B-F063-2DF5-A1F8-B2402213E303}"/>
                  </a:ext>
                </a:extLst>
              </p:cNvPr>
              <p:cNvSpPr/>
              <p:nvPr/>
            </p:nvSpPr>
            <p:spPr>
              <a:xfrm>
                <a:off x="1520089" y="3761034"/>
                <a:ext cx="650" cy="1457"/>
              </a:xfrm>
              <a:custGeom>
                <a:avLst/>
                <a:gdLst>
                  <a:gd name="connsiteX0" fmla="*/ 0 w 6229"/>
                  <a:gd name="connsiteY0" fmla="*/ 2497 h 13968"/>
                  <a:gd name="connsiteX1" fmla="*/ 1290 w 6229"/>
                  <a:gd name="connsiteY1" fmla="*/ 0 h 13968"/>
                  <a:gd name="connsiteX2" fmla="*/ 3650 w 6229"/>
                  <a:gd name="connsiteY2" fmla="*/ 55 h 13968"/>
                  <a:gd name="connsiteX3" fmla="*/ 6230 w 6229"/>
                  <a:gd name="connsiteY3" fmla="*/ 3678 h 13968"/>
                  <a:gd name="connsiteX4" fmla="*/ 5461 w 6229"/>
                  <a:gd name="connsiteY4" fmla="*/ 12404 h 13968"/>
                  <a:gd name="connsiteX5" fmla="*/ 4254 w 6229"/>
                  <a:gd name="connsiteY5" fmla="*/ 13969 h 13968"/>
                  <a:gd name="connsiteX6" fmla="*/ 3019 w 6229"/>
                  <a:gd name="connsiteY6" fmla="*/ 11087 h 13968"/>
                  <a:gd name="connsiteX7" fmla="*/ 1125 w 6229"/>
                  <a:gd name="connsiteY7" fmla="*/ 9139 h 13968"/>
                  <a:gd name="connsiteX8" fmla="*/ 1921 w 6229"/>
                  <a:gd name="connsiteY8" fmla="*/ 6038 h 13968"/>
                  <a:gd name="connsiteX9" fmla="*/ 1097 w 6229"/>
                  <a:gd name="connsiteY9" fmla="*/ 3129 h 13968"/>
                  <a:gd name="connsiteX10" fmla="*/ 27 w 6229"/>
                  <a:gd name="connsiteY10" fmla="*/ 2497 h 1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29" h="13968">
                    <a:moveTo>
                      <a:pt x="0" y="2497"/>
                    </a:moveTo>
                    <a:lnTo>
                      <a:pt x="1290" y="0"/>
                    </a:lnTo>
                    <a:lnTo>
                      <a:pt x="3650" y="55"/>
                    </a:lnTo>
                    <a:lnTo>
                      <a:pt x="6230" y="3678"/>
                    </a:lnTo>
                    <a:lnTo>
                      <a:pt x="5461" y="12404"/>
                    </a:lnTo>
                    <a:lnTo>
                      <a:pt x="4254" y="13969"/>
                    </a:lnTo>
                    <a:lnTo>
                      <a:pt x="3019" y="11087"/>
                    </a:lnTo>
                    <a:lnTo>
                      <a:pt x="1125" y="9139"/>
                    </a:lnTo>
                    <a:lnTo>
                      <a:pt x="1921" y="6038"/>
                    </a:lnTo>
                    <a:lnTo>
                      <a:pt x="1097" y="3129"/>
                    </a:lnTo>
                    <a:lnTo>
                      <a:pt x="27"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2" name="Freeform: Shape 3641">
                <a:extLst>
                  <a:ext uri="{FF2B5EF4-FFF2-40B4-BE49-F238E27FC236}">
                    <a16:creationId xmlns:a16="http://schemas.microsoft.com/office/drawing/2014/main" id="{A6BF8669-8FC1-D2ED-02FC-BB76862B73DC}"/>
                  </a:ext>
                </a:extLst>
              </p:cNvPr>
              <p:cNvSpPr/>
              <p:nvPr/>
            </p:nvSpPr>
            <p:spPr>
              <a:xfrm>
                <a:off x="1454476" y="3851601"/>
                <a:ext cx="5467" cy="6517"/>
              </a:xfrm>
              <a:custGeom>
                <a:avLst/>
                <a:gdLst>
                  <a:gd name="connsiteX0" fmla="*/ 44238 w 52416"/>
                  <a:gd name="connsiteY0" fmla="*/ 2497 h 62487"/>
                  <a:gd name="connsiteX1" fmla="*/ 41219 w 52416"/>
                  <a:gd name="connsiteY1" fmla="*/ 9111 h 62487"/>
                  <a:gd name="connsiteX2" fmla="*/ 42262 w 52416"/>
                  <a:gd name="connsiteY2" fmla="*/ 11115 h 62487"/>
                  <a:gd name="connsiteX3" fmla="*/ 41713 w 52416"/>
                  <a:gd name="connsiteY3" fmla="*/ 12596 h 62487"/>
                  <a:gd name="connsiteX4" fmla="*/ 40643 w 52416"/>
                  <a:gd name="connsiteY4" fmla="*/ 15615 h 62487"/>
                  <a:gd name="connsiteX5" fmla="*/ 42509 w 52416"/>
                  <a:gd name="connsiteY5" fmla="*/ 17701 h 62487"/>
                  <a:gd name="connsiteX6" fmla="*/ 51757 w 52416"/>
                  <a:gd name="connsiteY6" fmla="*/ 20061 h 62487"/>
                  <a:gd name="connsiteX7" fmla="*/ 52416 w 52416"/>
                  <a:gd name="connsiteY7" fmla="*/ 26949 h 62487"/>
                  <a:gd name="connsiteX8" fmla="*/ 41823 w 52416"/>
                  <a:gd name="connsiteY8" fmla="*/ 36143 h 62487"/>
                  <a:gd name="connsiteX9" fmla="*/ 39490 w 52416"/>
                  <a:gd name="connsiteY9" fmla="*/ 42042 h 62487"/>
                  <a:gd name="connsiteX10" fmla="*/ 28623 w 52416"/>
                  <a:gd name="connsiteY10" fmla="*/ 57795 h 62487"/>
                  <a:gd name="connsiteX11" fmla="*/ 20802 w 52416"/>
                  <a:gd name="connsiteY11" fmla="*/ 62488 h 62487"/>
                  <a:gd name="connsiteX12" fmla="*/ 11252 w 52416"/>
                  <a:gd name="connsiteY12" fmla="*/ 62433 h 62487"/>
                  <a:gd name="connsiteX13" fmla="*/ 9687 w 52416"/>
                  <a:gd name="connsiteY13" fmla="*/ 53404 h 62487"/>
                  <a:gd name="connsiteX14" fmla="*/ 5736 w 52416"/>
                  <a:gd name="connsiteY14" fmla="*/ 44430 h 62487"/>
                  <a:gd name="connsiteX15" fmla="*/ 5927 w 52416"/>
                  <a:gd name="connsiteY15" fmla="*/ 22284 h 62487"/>
                  <a:gd name="connsiteX16" fmla="*/ 301 w 52416"/>
                  <a:gd name="connsiteY16" fmla="*/ 14847 h 62487"/>
                  <a:gd name="connsiteX17" fmla="*/ 0 w 52416"/>
                  <a:gd name="connsiteY17" fmla="*/ 12212 h 62487"/>
                  <a:gd name="connsiteX18" fmla="*/ 796 w 52416"/>
                  <a:gd name="connsiteY18" fmla="*/ 8617 h 62487"/>
                  <a:gd name="connsiteX19" fmla="*/ 3101 w 52416"/>
                  <a:gd name="connsiteY19" fmla="*/ 7959 h 62487"/>
                  <a:gd name="connsiteX20" fmla="*/ 7848 w 52416"/>
                  <a:gd name="connsiteY20" fmla="*/ 9687 h 62487"/>
                  <a:gd name="connsiteX21" fmla="*/ 9111 w 52416"/>
                  <a:gd name="connsiteY21" fmla="*/ 12596 h 62487"/>
                  <a:gd name="connsiteX22" fmla="*/ 9907 w 52416"/>
                  <a:gd name="connsiteY22" fmla="*/ 14435 h 62487"/>
                  <a:gd name="connsiteX23" fmla="*/ 19979 w 52416"/>
                  <a:gd name="connsiteY23" fmla="*/ 13913 h 62487"/>
                  <a:gd name="connsiteX24" fmla="*/ 22668 w 52416"/>
                  <a:gd name="connsiteY24" fmla="*/ 12569 h 62487"/>
                  <a:gd name="connsiteX25" fmla="*/ 25412 w 52416"/>
                  <a:gd name="connsiteY25" fmla="*/ 11197 h 62487"/>
                  <a:gd name="connsiteX26" fmla="*/ 27443 w 52416"/>
                  <a:gd name="connsiteY26" fmla="*/ 494 h 62487"/>
                  <a:gd name="connsiteX27" fmla="*/ 32684 w 52416"/>
                  <a:gd name="connsiteY27" fmla="*/ 2854 h 62487"/>
                  <a:gd name="connsiteX28" fmla="*/ 40478 w 52416"/>
                  <a:gd name="connsiteY28" fmla="*/ 0 h 62487"/>
                  <a:gd name="connsiteX29" fmla="*/ 44183 w 52416"/>
                  <a:gd name="connsiteY29" fmla="*/ 2470 h 6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416" h="62487">
                    <a:moveTo>
                      <a:pt x="44238" y="2497"/>
                    </a:moveTo>
                    <a:lnTo>
                      <a:pt x="41219" y="9111"/>
                    </a:lnTo>
                    <a:lnTo>
                      <a:pt x="42262" y="11115"/>
                    </a:lnTo>
                    <a:lnTo>
                      <a:pt x="41713" y="12596"/>
                    </a:lnTo>
                    <a:lnTo>
                      <a:pt x="40643" y="15615"/>
                    </a:lnTo>
                    <a:lnTo>
                      <a:pt x="42509" y="17701"/>
                    </a:lnTo>
                    <a:lnTo>
                      <a:pt x="51757" y="20061"/>
                    </a:lnTo>
                    <a:lnTo>
                      <a:pt x="52416" y="26949"/>
                    </a:lnTo>
                    <a:lnTo>
                      <a:pt x="41823" y="36143"/>
                    </a:lnTo>
                    <a:lnTo>
                      <a:pt x="39490" y="42042"/>
                    </a:lnTo>
                    <a:lnTo>
                      <a:pt x="28623" y="57795"/>
                    </a:lnTo>
                    <a:lnTo>
                      <a:pt x="20802" y="62488"/>
                    </a:lnTo>
                    <a:lnTo>
                      <a:pt x="11252" y="62433"/>
                    </a:lnTo>
                    <a:lnTo>
                      <a:pt x="9687" y="53404"/>
                    </a:lnTo>
                    <a:lnTo>
                      <a:pt x="5736" y="44430"/>
                    </a:lnTo>
                    <a:lnTo>
                      <a:pt x="5927" y="22284"/>
                    </a:lnTo>
                    <a:lnTo>
                      <a:pt x="301" y="14847"/>
                    </a:lnTo>
                    <a:lnTo>
                      <a:pt x="0" y="12212"/>
                    </a:lnTo>
                    <a:lnTo>
                      <a:pt x="796" y="8617"/>
                    </a:lnTo>
                    <a:lnTo>
                      <a:pt x="3101" y="7959"/>
                    </a:lnTo>
                    <a:lnTo>
                      <a:pt x="7848" y="9687"/>
                    </a:lnTo>
                    <a:lnTo>
                      <a:pt x="9111" y="12596"/>
                    </a:lnTo>
                    <a:lnTo>
                      <a:pt x="9907" y="14435"/>
                    </a:lnTo>
                    <a:lnTo>
                      <a:pt x="19979" y="13913"/>
                    </a:lnTo>
                    <a:lnTo>
                      <a:pt x="22668" y="12569"/>
                    </a:lnTo>
                    <a:lnTo>
                      <a:pt x="25412" y="11197"/>
                    </a:lnTo>
                    <a:lnTo>
                      <a:pt x="27443" y="494"/>
                    </a:lnTo>
                    <a:lnTo>
                      <a:pt x="32684" y="2854"/>
                    </a:lnTo>
                    <a:lnTo>
                      <a:pt x="40478" y="0"/>
                    </a:lnTo>
                    <a:lnTo>
                      <a:pt x="44183" y="24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3" name="Freeform: Shape 3642">
                <a:extLst>
                  <a:ext uri="{FF2B5EF4-FFF2-40B4-BE49-F238E27FC236}">
                    <a16:creationId xmlns:a16="http://schemas.microsoft.com/office/drawing/2014/main" id="{24E54D71-1F30-A215-B881-CE64A350C3D5}"/>
                  </a:ext>
                </a:extLst>
              </p:cNvPr>
              <p:cNvSpPr/>
              <p:nvPr/>
            </p:nvSpPr>
            <p:spPr>
              <a:xfrm>
                <a:off x="1367845" y="3806150"/>
                <a:ext cx="9277" cy="19146"/>
              </a:xfrm>
              <a:custGeom>
                <a:avLst/>
                <a:gdLst>
                  <a:gd name="connsiteX0" fmla="*/ 82548 w 88942"/>
                  <a:gd name="connsiteY0" fmla="*/ 20829 h 183566"/>
                  <a:gd name="connsiteX1" fmla="*/ 79063 w 88942"/>
                  <a:gd name="connsiteY1" fmla="*/ 28321 h 183566"/>
                  <a:gd name="connsiteX2" fmla="*/ 85897 w 88942"/>
                  <a:gd name="connsiteY2" fmla="*/ 39353 h 183566"/>
                  <a:gd name="connsiteX3" fmla="*/ 88943 w 88942"/>
                  <a:gd name="connsiteY3" fmla="*/ 55188 h 183566"/>
                  <a:gd name="connsiteX4" fmla="*/ 87626 w 88942"/>
                  <a:gd name="connsiteY4" fmla="*/ 58261 h 183566"/>
                  <a:gd name="connsiteX5" fmla="*/ 83317 w 88942"/>
                  <a:gd name="connsiteY5" fmla="*/ 60375 h 183566"/>
                  <a:gd name="connsiteX6" fmla="*/ 83537 w 88942"/>
                  <a:gd name="connsiteY6" fmla="*/ 66961 h 183566"/>
                  <a:gd name="connsiteX7" fmla="*/ 81560 w 88942"/>
                  <a:gd name="connsiteY7" fmla="*/ 72999 h 183566"/>
                  <a:gd name="connsiteX8" fmla="*/ 74206 w 88942"/>
                  <a:gd name="connsiteY8" fmla="*/ 79557 h 183566"/>
                  <a:gd name="connsiteX9" fmla="*/ 69925 w 88942"/>
                  <a:gd name="connsiteY9" fmla="*/ 86940 h 183566"/>
                  <a:gd name="connsiteX10" fmla="*/ 67098 w 88942"/>
                  <a:gd name="connsiteY10" fmla="*/ 96736 h 183566"/>
                  <a:gd name="connsiteX11" fmla="*/ 58454 w 88942"/>
                  <a:gd name="connsiteY11" fmla="*/ 101814 h 183566"/>
                  <a:gd name="connsiteX12" fmla="*/ 56972 w 88942"/>
                  <a:gd name="connsiteY12" fmla="*/ 118773 h 183566"/>
                  <a:gd name="connsiteX13" fmla="*/ 55627 w 88942"/>
                  <a:gd name="connsiteY13" fmla="*/ 134004 h 183566"/>
                  <a:gd name="connsiteX14" fmla="*/ 58399 w 88942"/>
                  <a:gd name="connsiteY14" fmla="*/ 147835 h 183566"/>
                  <a:gd name="connsiteX15" fmla="*/ 56176 w 88942"/>
                  <a:gd name="connsiteY15" fmla="*/ 179395 h 183566"/>
                  <a:gd name="connsiteX16" fmla="*/ 44019 w 88942"/>
                  <a:gd name="connsiteY16" fmla="*/ 180987 h 183566"/>
                  <a:gd name="connsiteX17" fmla="*/ 24397 w 88942"/>
                  <a:gd name="connsiteY17" fmla="*/ 183566 h 183566"/>
                  <a:gd name="connsiteX18" fmla="*/ 28705 w 88942"/>
                  <a:gd name="connsiteY18" fmla="*/ 180685 h 183566"/>
                  <a:gd name="connsiteX19" fmla="*/ 23354 w 88942"/>
                  <a:gd name="connsiteY19" fmla="*/ 169570 h 183566"/>
                  <a:gd name="connsiteX20" fmla="*/ 24946 w 88942"/>
                  <a:gd name="connsiteY20" fmla="*/ 144789 h 183566"/>
                  <a:gd name="connsiteX21" fmla="*/ 24068 w 88942"/>
                  <a:gd name="connsiteY21" fmla="*/ 102472 h 183566"/>
                  <a:gd name="connsiteX22" fmla="*/ 18332 w 88942"/>
                  <a:gd name="connsiteY22" fmla="*/ 90754 h 183566"/>
                  <a:gd name="connsiteX23" fmla="*/ 15149 w 88942"/>
                  <a:gd name="connsiteY23" fmla="*/ 71873 h 183566"/>
                  <a:gd name="connsiteX24" fmla="*/ 0 w 88942"/>
                  <a:gd name="connsiteY24" fmla="*/ 59579 h 183566"/>
                  <a:gd name="connsiteX25" fmla="*/ 3156 w 88942"/>
                  <a:gd name="connsiteY25" fmla="*/ 41878 h 183566"/>
                  <a:gd name="connsiteX26" fmla="*/ 18661 w 88942"/>
                  <a:gd name="connsiteY26" fmla="*/ 29007 h 183566"/>
                  <a:gd name="connsiteX27" fmla="*/ 35950 w 88942"/>
                  <a:gd name="connsiteY27" fmla="*/ 27772 h 183566"/>
                  <a:gd name="connsiteX28" fmla="*/ 43744 w 88942"/>
                  <a:gd name="connsiteY28" fmla="*/ 21104 h 183566"/>
                  <a:gd name="connsiteX29" fmla="*/ 47229 w 88942"/>
                  <a:gd name="connsiteY29" fmla="*/ 14737 h 183566"/>
                  <a:gd name="connsiteX30" fmla="*/ 48464 w 88942"/>
                  <a:gd name="connsiteY30" fmla="*/ 11883 h 183566"/>
                  <a:gd name="connsiteX31" fmla="*/ 46900 w 88942"/>
                  <a:gd name="connsiteY31" fmla="*/ 4693 h 183566"/>
                  <a:gd name="connsiteX32" fmla="*/ 59881 w 88942"/>
                  <a:gd name="connsiteY32" fmla="*/ 0 h 183566"/>
                  <a:gd name="connsiteX33" fmla="*/ 70830 w 88942"/>
                  <a:gd name="connsiteY33" fmla="*/ 9578 h 183566"/>
                  <a:gd name="connsiteX34" fmla="*/ 74233 w 88942"/>
                  <a:gd name="connsiteY34" fmla="*/ 14764 h 183566"/>
                  <a:gd name="connsiteX35" fmla="*/ 80874 w 88942"/>
                  <a:gd name="connsiteY35" fmla="*/ 18360 h 183566"/>
                  <a:gd name="connsiteX36" fmla="*/ 81204 w 88942"/>
                  <a:gd name="connsiteY36" fmla="*/ 19814 h 183566"/>
                  <a:gd name="connsiteX37" fmla="*/ 82521 w 88942"/>
                  <a:gd name="connsiteY37" fmla="*/ 20829 h 18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8942" h="183566">
                    <a:moveTo>
                      <a:pt x="82548" y="20829"/>
                    </a:moveTo>
                    <a:lnTo>
                      <a:pt x="79063" y="28321"/>
                    </a:lnTo>
                    <a:lnTo>
                      <a:pt x="85897" y="39353"/>
                    </a:lnTo>
                    <a:lnTo>
                      <a:pt x="88943" y="55188"/>
                    </a:lnTo>
                    <a:lnTo>
                      <a:pt x="87626" y="58261"/>
                    </a:lnTo>
                    <a:lnTo>
                      <a:pt x="83317" y="60375"/>
                    </a:lnTo>
                    <a:lnTo>
                      <a:pt x="83537" y="66961"/>
                    </a:lnTo>
                    <a:lnTo>
                      <a:pt x="81560" y="72999"/>
                    </a:lnTo>
                    <a:lnTo>
                      <a:pt x="74206" y="79557"/>
                    </a:lnTo>
                    <a:lnTo>
                      <a:pt x="69925" y="86940"/>
                    </a:lnTo>
                    <a:lnTo>
                      <a:pt x="67098" y="96736"/>
                    </a:lnTo>
                    <a:lnTo>
                      <a:pt x="58454" y="101814"/>
                    </a:lnTo>
                    <a:lnTo>
                      <a:pt x="56972" y="118773"/>
                    </a:lnTo>
                    <a:lnTo>
                      <a:pt x="55627" y="134004"/>
                    </a:lnTo>
                    <a:lnTo>
                      <a:pt x="58399" y="147835"/>
                    </a:lnTo>
                    <a:lnTo>
                      <a:pt x="56176" y="179395"/>
                    </a:lnTo>
                    <a:lnTo>
                      <a:pt x="44019" y="180987"/>
                    </a:lnTo>
                    <a:lnTo>
                      <a:pt x="24397" y="183566"/>
                    </a:lnTo>
                    <a:lnTo>
                      <a:pt x="28705" y="180685"/>
                    </a:lnTo>
                    <a:lnTo>
                      <a:pt x="23354" y="169570"/>
                    </a:lnTo>
                    <a:lnTo>
                      <a:pt x="24946" y="144789"/>
                    </a:lnTo>
                    <a:lnTo>
                      <a:pt x="24068" y="102472"/>
                    </a:lnTo>
                    <a:lnTo>
                      <a:pt x="18332" y="90754"/>
                    </a:lnTo>
                    <a:lnTo>
                      <a:pt x="15149" y="71873"/>
                    </a:lnTo>
                    <a:lnTo>
                      <a:pt x="0" y="59579"/>
                    </a:lnTo>
                    <a:lnTo>
                      <a:pt x="3156" y="41878"/>
                    </a:lnTo>
                    <a:lnTo>
                      <a:pt x="18661" y="29007"/>
                    </a:lnTo>
                    <a:lnTo>
                      <a:pt x="35950" y="27772"/>
                    </a:lnTo>
                    <a:lnTo>
                      <a:pt x="43744" y="21104"/>
                    </a:lnTo>
                    <a:lnTo>
                      <a:pt x="47229" y="14737"/>
                    </a:lnTo>
                    <a:lnTo>
                      <a:pt x="48464" y="11883"/>
                    </a:lnTo>
                    <a:lnTo>
                      <a:pt x="46900" y="4693"/>
                    </a:lnTo>
                    <a:lnTo>
                      <a:pt x="59881" y="0"/>
                    </a:lnTo>
                    <a:lnTo>
                      <a:pt x="70830" y="9578"/>
                    </a:lnTo>
                    <a:lnTo>
                      <a:pt x="74233" y="14764"/>
                    </a:lnTo>
                    <a:lnTo>
                      <a:pt x="80874" y="18360"/>
                    </a:lnTo>
                    <a:lnTo>
                      <a:pt x="81204" y="19814"/>
                    </a:lnTo>
                    <a:lnTo>
                      <a:pt x="82521" y="208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4" name="Freeform: Shape 3643">
                <a:extLst>
                  <a:ext uri="{FF2B5EF4-FFF2-40B4-BE49-F238E27FC236}">
                    <a16:creationId xmlns:a16="http://schemas.microsoft.com/office/drawing/2014/main" id="{9F245ACF-B383-66B9-A65F-2DD269E6F9F4}"/>
                  </a:ext>
                </a:extLst>
              </p:cNvPr>
              <p:cNvSpPr/>
              <p:nvPr/>
            </p:nvSpPr>
            <p:spPr>
              <a:xfrm>
                <a:off x="1172468" y="3788492"/>
                <a:ext cx="352" cy="332"/>
              </a:xfrm>
              <a:custGeom>
                <a:avLst/>
                <a:gdLst>
                  <a:gd name="connsiteX0" fmla="*/ 0 w 3375"/>
                  <a:gd name="connsiteY0" fmla="*/ 1647 h 3183"/>
                  <a:gd name="connsiteX1" fmla="*/ 412 w 3375"/>
                  <a:gd name="connsiteY1" fmla="*/ 55 h 3183"/>
                  <a:gd name="connsiteX2" fmla="*/ 2936 w 3375"/>
                  <a:gd name="connsiteY2" fmla="*/ 0 h 3183"/>
                  <a:gd name="connsiteX3" fmla="*/ 3375 w 3375"/>
                  <a:gd name="connsiteY3" fmla="*/ 1674 h 3183"/>
                  <a:gd name="connsiteX4" fmla="*/ 1152 w 3375"/>
                  <a:gd name="connsiteY4" fmla="*/ 3183 h 3183"/>
                  <a:gd name="connsiteX5" fmla="*/ 27 w 3375"/>
                  <a:gd name="connsiteY5" fmla="*/ 1647 h 3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5" h="3183">
                    <a:moveTo>
                      <a:pt x="0" y="1647"/>
                    </a:moveTo>
                    <a:lnTo>
                      <a:pt x="412" y="55"/>
                    </a:lnTo>
                    <a:lnTo>
                      <a:pt x="2936" y="0"/>
                    </a:lnTo>
                    <a:lnTo>
                      <a:pt x="3375" y="1674"/>
                    </a:lnTo>
                    <a:lnTo>
                      <a:pt x="1152" y="3183"/>
                    </a:lnTo>
                    <a:lnTo>
                      <a:pt x="27"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5" name="Freeform: Shape 3644">
                <a:extLst>
                  <a:ext uri="{FF2B5EF4-FFF2-40B4-BE49-F238E27FC236}">
                    <a16:creationId xmlns:a16="http://schemas.microsoft.com/office/drawing/2014/main" id="{C3C9CFBA-D73F-52B5-48A5-8F84E9E06117}"/>
                  </a:ext>
                </a:extLst>
              </p:cNvPr>
              <p:cNvSpPr/>
              <p:nvPr/>
            </p:nvSpPr>
            <p:spPr>
              <a:xfrm>
                <a:off x="1715323" y="3829017"/>
                <a:ext cx="2885" cy="3097"/>
              </a:xfrm>
              <a:custGeom>
                <a:avLst/>
                <a:gdLst>
                  <a:gd name="connsiteX0" fmla="*/ 19924 w 27662"/>
                  <a:gd name="connsiteY0" fmla="*/ 27937 h 29693"/>
                  <a:gd name="connsiteX1" fmla="*/ 16795 w 27662"/>
                  <a:gd name="connsiteY1" fmla="*/ 29693 h 29693"/>
                  <a:gd name="connsiteX2" fmla="*/ 11553 w 27662"/>
                  <a:gd name="connsiteY2" fmla="*/ 24068 h 29693"/>
                  <a:gd name="connsiteX3" fmla="*/ 7931 w 27662"/>
                  <a:gd name="connsiteY3" fmla="*/ 22201 h 29693"/>
                  <a:gd name="connsiteX4" fmla="*/ 4830 w 27662"/>
                  <a:gd name="connsiteY4" fmla="*/ 15149 h 29693"/>
                  <a:gd name="connsiteX5" fmla="*/ 0 w 27662"/>
                  <a:gd name="connsiteY5" fmla="*/ 12953 h 29693"/>
                  <a:gd name="connsiteX6" fmla="*/ 11636 w 27662"/>
                  <a:gd name="connsiteY6" fmla="*/ 10099 h 29693"/>
                  <a:gd name="connsiteX7" fmla="*/ 27662 w 27662"/>
                  <a:gd name="connsiteY7" fmla="*/ 0 h 29693"/>
                  <a:gd name="connsiteX8" fmla="*/ 27662 w 27662"/>
                  <a:gd name="connsiteY8" fmla="*/ 4007 h 29693"/>
                  <a:gd name="connsiteX9" fmla="*/ 21241 w 27662"/>
                  <a:gd name="connsiteY9" fmla="*/ 8919 h 29693"/>
                  <a:gd name="connsiteX10" fmla="*/ 23463 w 27662"/>
                  <a:gd name="connsiteY10" fmla="*/ 18634 h 29693"/>
                  <a:gd name="connsiteX11" fmla="*/ 22146 w 27662"/>
                  <a:gd name="connsiteY11" fmla="*/ 24095 h 29693"/>
                  <a:gd name="connsiteX12" fmla="*/ 19951 w 27662"/>
                  <a:gd name="connsiteY12" fmla="*/ 27992 h 2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62" h="29693">
                    <a:moveTo>
                      <a:pt x="19924" y="27937"/>
                    </a:moveTo>
                    <a:lnTo>
                      <a:pt x="16795" y="29693"/>
                    </a:lnTo>
                    <a:lnTo>
                      <a:pt x="11553" y="24068"/>
                    </a:lnTo>
                    <a:lnTo>
                      <a:pt x="7931" y="22201"/>
                    </a:lnTo>
                    <a:lnTo>
                      <a:pt x="4830" y="15149"/>
                    </a:lnTo>
                    <a:lnTo>
                      <a:pt x="0" y="12953"/>
                    </a:lnTo>
                    <a:lnTo>
                      <a:pt x="11636" y="10099"/>
                    </a:lnTo>
                    <a:lnTo>
                      <a:pt x="27662" y="0"/>
                    </a:lnTo>
                    <a:lnTo>
                      <a:pt x="27662" y="4007"/>
                    </a:lnTo>
                    <a:lnTo>
                      <a:pt x="21241" y="8919"/>
                    </a:lnTo>
                    <a:lnTo>
                      <a:pt x="23463" y="18634"/>
                    </a:lnTo>
                    <a:lnTo>
                      <a:pt x="22146" y="24095"/>
                    </a:lnTo>
                    <a:lnTo>
                      <a:pt x="19951" y="279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6" name="Freeform: Shape 3645">
                <a:extLst>
                  <a:ext uri="{FF2B5EF4-FFF2-40B4-BE49-F238E27FC236}">
                    <a16:creationId xmlns:a16="http://schemas.microsoft.com/office/drawing/2014/main" id="{3A8D23D0-F356-8591-0488-9CA67190FC6F}"/>
                  </a:ext>
                </a:extLst>
              </p:cNvPr>
              <p:cNvSpPr/>
              <p:nvPr/>
            </p:nvSpPr>
            <p:spPr>
              <a:xfrm>
                <a:off x="1718283" y="3829369"/>
                <a:ext cx="913" cy="1806"/>
              </a:xfrm>
              <a:custGeom>
                <a:avLst/>
                <a:gdLst>
                  <a:gd name="connsiteX0" fmla="*/ 5763 w 8754"/>
                  <a:gd name="connsiteY0" fmla="*/ 3760 h 17316"/>
                  <a:gd name="connsiteX1" fmla="*/ 8755 w 8754"/>
                  <a:gd name="connsiteY1" fmla="*/ 17317 h 17316"/>
                  <a:gd name="connsiteX2" fmla="*/ 1948 w 8754"/>
                  <a:gd name="connsiteY2" fmla="*/ 14984 h 17316"/>
                  <a:gd name="connsiteX3" fmla="*/ 0 w 8754"/>
                  <a:gd name="connsiteY3" fmla="*/ 3183 h 17316"/>
                  <a:gd name="connsiteX4" fmla="*/ 3485 w 8754"/>
                  <a:gd name="connsiteY4" fmla="*/ 0 h 17316"/>
                  <a:gd name="connsiteX5" fmla="*/ 5791 w 8754"/>
                  <a:gd name="connsiteY5" fmla="*/ 3787 h 17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54" h="17316">
                    <a:moveTo>
                      <a:pt x="5763" y="3760"/>
                    </a:moveTo>
                    <a:lnTo>
                      <a:pt x="8755" y="17317"/>
                    </a:lnTo>
                    <a:lnTo>
                      <a:pt x="1948" y="14984"/>
                    </a:lnTo>
                    <a:lnTo>
                      <a:pt x="0" y="3183"/>
                    </a:lnTo>
                    <a:lnTo>
                      <a:pt x="3485" y="0"/>
                    </a:lnTo>
                    <a:lnTo>
                      <a:pt x="5791" y="37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7" name="Freeform: Shape 3646">
                <a:extLst>
                  <a:ext uri="{FF2B5EF4-FFF2-40B4-BE49-F238E27FC236}">
                    <a16:creationId xmlns:a16="http://schemas.microsoft.com/office/drawing/2014/main" id="{07AE34ED-6ED4-B7C2-0564-7E5AB60D2C19}"/>
                  </a:ext>
                </a:extLst>
              </p:cNvPr>
              <p:cNvSpPr/>
              <p:nvPr/>
            </p:nvSpPr>
            <p:spPr>
              <a:xfrm>
                <a:off x="1151916" y="3874362"/>
                <a:ext cx="37107" cy="42262"/>
              </a:xfrm>
              <a:custGeom>
                <a:avLst/>
                <a:gdLst>
                  <a:gd name="connsiteX0" fmla="*/ 336094 w 355770"/>
                  <a:gd name="connsiteY0" fmla="*/ 318915 h 405195"/>
                  <a:gd name="connsiteX1" fmla="*/ 335051 w 355770"/>
                  <a:gd name="connsiteY1" fmla="*/ 307663 h 405195"/>
                  <a:gd name="connsiteX2" fmla="*/ 308980 w 355770"/>
                  <a:gd name="connsiteY2" fmla="*/ 291692 h 405195"/>
                  <a:gd name="connsiteX3" fmla="*/ 282608 w 355770"/>
                  <a:gd name="connsiteY3" fmla="*/ 291856 h 405195"/>
                  <a:gd name="connsiteX4" fmla="*/ 231948 w 355770"/>
                  <a:gd name="connsiteY4" fmla="*/ 302669 h 405195"/>
                  <a:gd name="connsiteX5" fmla="*/ 225334 w 355770"/>
                  <a:gd name="connsiteY5" fmla="*/ 316692 h 405195"/>
                  <a:gd name="connsiteX6" fmla="*/ 215674 w 355770"/>
                  <a:gd name="connsiteY6" fmla="*/ 331401 h 405195"/>
                  <a:gd name="connsiteX7" fmla="*/ 215290 w 355770"/>
                  <a:gd name="connsiteY7" fmla="*/ 347483 h 405195"/>
                  <a:gd name="connsiteX8" fmla="*/ 204231 w 355770"/>
                  <a:gd name="connsiteY8" fmla="*/ 384805 h 405195"/>
                  <a:gd name="connsiteX9" fmla="*/ 197343 w 355770"/>
                  <a:gd name="connsiteY9" fmla="*/ 377094 h 405195"/>
                  <a:gd name="connsiteX10" fmla="*/ 167567 w 355770"/>
                  <a:gd name="connsiteY10" fmla="*/ 377341 h 405195"/>
                  <a:gd name="connsiteX11" fmla="*/ 155025 w 355770"/>
                  <a:gd name="connsiteY11" fmla="*/ 401573 h 405195"/>
                  <a:gd name="connsiteX12" fmla="*/ 146271 w 355770"/>
                  <a:gd name="connsiteY12" fmla="*/ 384339 h 405195"/>
                  <a:gd name="connsiteX13" fmla="*/ 137132 w 355770"/>
                  <a:gd name="connsiteY13" fmla="*/ 380415 h 405195"/>
                  <a:gd name="connsiteX14" fmla="*/ 113614 w 355770"/>
                  <a:gd name="connsiteY14" fmla="*/ 379865 h 405195"/>
                  <a:gd name="connsiteX15" fmla="*/ 100167 w 355770"/>
                  <a:gd name="connsiteY15" fmla="*/ 371056 h 405195"/>
                  <a:gd name="connsiteX16" fmla="*/ 96160 w 355770"/>
                  <a:gd name="connsiteY16" fmla="*/ 379427 h 405195"/>
                  <a:gd name="connsiteX17" fmla="*/ 84909 w 355770"/>
                  <a:gd name="connsiteY17" fmla="*/ 384257 h 405195"/>
                  <a:gd name="connsiteX18" fmla="*/ 82027 w 355770"/>
                  <a:gd name="connsiteY18" fmla="*/ 390047 h 405195"/>
                  <a:gd name="connsiteX19" fmla="*/ 76264 w 355770"/>
                  <a:gd name="connsiteY19" fmla="*/ 393944 h 405195"/>
                  <a:gd name="connsiteX20" fmla="*/ 70885 w 355770"/>
                  <a:gd name="connsiteY20" fmla="*/ 402396 h 405195"/>
                  <a:gd name="connsiteX21" fmla="*/ 58865 w 355770"/>
                  <a:gd name="connsiteY21" fmla="*/ 405196 h 405195"/>
                  <a:gd name="connsiteX22" fmla="*/ 50605 w 355770"/>
                  <a:gd name="connsiteY22" fmla="*/ 402643 h 405195"/>
                  <a:gd name="connsiteX23" fmla="*/ 50824 w 355770"/>
                  <a:gd name="connsiteY23" fmla="*/ 394246 h 405195"/>
                  <a:gd name="connsiteX24" fmla="*/ 47668 w 355770"/>
                  <a:gd name="connsiteY24" fmla="*/ 379042 h 405195"/>
                  <a:gd name="connsiteX25" fmla="*/ 45171 w 355770"/>
                  <a:gd name="connsiteY25" fmla="*/ 375804 h 405195"/>
                  <a:gd name="connsiteX26" fmla="*/ 44732 w 355770"/>
                  <a:gd name="connsiteY26" fmla="*/ 369245 h 405195"/>
                  <a:gd name="connsiteX27" fmla="*/ 41714 w 355770"/>
                  <a:gd name="connsiteY27" fmla="*/ 363839 h 405195"/>
                  <a:gd name="connsiteX28" fmla="*/ 41274 w 355770"/>
                  <a:gd name="connsiteY28" fmla="*/ 354179 h 405195"/>
                  <a:gd name="connsiteX29" fmla="*/ 35539 w 355770"/>
                  <a:gd name="connsiteY29" fmla="*/ 344300 h 405195"/>
                  <a:gd name="connsiteX30" fmla="*/ 30956 w 355770"/>
                  <a:gd name="connsiteY30" fmla="*/ 341555 h 405195"/>
                  <a:gd name="connsiteX31" fmla="*/ 30709 w 355770"/>
                  <a:gd name="connsiteY31" fmla="*/ 337247 h 405195"/>
                  <a:gd name="connsiteX32" fmla="*/ 33014 w 355770"/>
                  <a:gd name="connsiteY32" fmla="*/ 333405 h 405195"/>
                  <a:gd name="connsiteX33" fmla="*/ 25110 w 355770"/>
                  <a:gd name="connsiteY33" fmla="*/ 326654 h 405195"/>
                  <a:gd name="connsiteX34" fmla="*/ 26620 w 355770"/>
                  <a:gd name="connsiteY34" fmla="*/ 323525 h 405195"/>
                  <a:gd name="connsiteX35" fmla="*/ 24616 w 355770"/>
                  <a:gd name="connsiteY35" fmla="*/ 316582 h 405195"/>
                  <a:gd name="connsiteX36" fmla="*/ 29858 w 355770"/>
                  <a:gd name="connsiteY36" fmla="*/ 314908 h 405195"/>
                  <a:gd name="connsiteX37" fmla="*/ 31148 w 355770"/>
                  <a:gd name="connsiteY37" fmla="*/ 311340 h 405195"/>
                  <a:gd name="connsiteX38" fmla="*/ 27278 w 355770"/>
                  <a:gd name="connsiteY38" fmla="*/ 305221 h 405195"/>
                  <a:gd name="connsiteX39" fmla="*/ 34029 w 355770"/>
                  <a:gd name="connsiteY39" fmla="*/ 294985 h 405195"/>
                  <a:gd name="connsiteX40" fmla="*/ 19484 w 355770"/>
                  <a:gd name="connsiteY40" fmla="*/ 282059 h 405195"/>
                  <a:gd name="connsiteX41" fmla="*/ 13859 w 355770"/>
                  <a:gd name="connsiteY41" fmla="*/ 256784 h 405195"/>
                  <a:gd name="connsiteX42" fmla="*/ 14709 w 355770"/>
                  <a:gd name="connsiteY42" fmla="*/ 253546 h 405195"/>
                  <a:gd name="connsiteX43" fmla="*/ 8919 w 355770"/>
                  <a:gd name="connsiteY43" fmla="*/ 249786 h 405195"/>
                  <a:gd name="connsiteX44" fmla="*/ 3375 w 355770"/>
                  <a:gd name="connsiteY44" fmla="*/ 236147 h 405195"/>
                  <a:gd name="connsiteX45" fmla="*/ 3293 w 355770"/>
                  <a:gd name="connsiteY45" fmla="*/ 232607 h 405195"/>
                  <a:gd name="connsiteX46" fmla="*/ 0 w 355770"/>
                  <a:gd name="connsiteY46" fmla="*/ 227667 h 405195"/>
                  <a:gd name="connsiteX47" fmla="*/ 5544 w 355770"/>
                  <a:gd name="connsiteY47" fmla="*/ 223276 h 405195"/>
                  <a:gd name="connsiteX48" fmla="*/ 12651 w 355770"/>
                  <a:gd name="connsiteY48" fmla="*/ 212957 h 405195"/>
                  <a:gd name="connsiteX49" fmla="*/ 16411 w 355770"/>
                  <a:gd name="connsiteY49" fmla="*/ 210817 h 405195"/>
                  <a:gd name="connsiteX50" fmla="*/ 17591 w 355770"/>
                  <a:gd name="connsiteY50" fmla="*/ 204230 h 405195"/>
                  <a:gd name="connsiteX51" fmla="*/ 22119 w 355770"/>
                  <a:gd name="connsiteY51" fmla="*/ 200059 h 405195"/>
                  <a:gd name="connsiteX52" fmla="*/ 18798 w 355770"/>
                  <a:gd name="connsiteY52" fmla="*/ 196492 h 405195"/>
                  <a:gd name="connsiteX53" fmla="*/ 14216 w 355770"/>
                  <a:gd name="connsiteY53" fmla="*/ 196437 h 405195"/>
                  <a:gd name="connsiteX54" fmla="*/ 10703 w 355770"/>
                  <a:gd name="connsiteY54" fmla="*/ 194351 h 405195"/>
                  <a:gd name="connsiteX55" fmla="*/ 5489 w 355770"/>
                  <a:gd name="connsiteY55" fmla="*/ 178709 h 405195"/>
                  <a:gd name="connsiteX56" fmla="*/ 9605 w 355770"/>
                  <a:gd name="connsiteY56" fmla="*/ 170037 h 405195"/>
                  <a:gd name="connsiteX57" fmla="*/ 12926 w 355770"/>
                  <a:gd name="connsiteY57" fmla="*/ 166936 h 405195"/>
                  <a:gd name="connsiteX58" fmla="*/ 6998 w 355770"/>
                  <a:gd name="connsiteY58" fmla="*/ 159224 h 405195"/>
                  <a:gd name="connsiteX59" fmla="*/ 6998 w 355770"/>
                  <a:gd name="connsiteY59" fmla="*/ 153955 h 405195"/>
                  <a:gd name="connsiteX60" fmla="*/ 17317 w 355770"/>
                  <a:gd name="connsiteY60" fmla="*/ 141112 h 405195"/>
                  <a:gd name="connsiteX61" fmla="*/ 18332 w 355770"/>
                  <a:gd name="connsiteY61" fmla="*/ 136748 h 405195"/>
                  <a:gd name="connsiteX62" fmla="*/ 21598 w 355770"/>
                  <a:gd name="connsiteY62" fmla="*/ 134937 h 405195"/>
                  <a:gd name="connsiteX63" fmla="*/ 15615 w 355770"/>
                  <a:gd name="connsiteY63" fmla="*/ 119349 h 405195"/>
                  <a:gd name="connsiteX64" fmla="*/ 18853 w 355770"/>
                  <a:gd name="connsiteY64" fmla="*/ 113504 h 405195"/>
                  <a:gd name="connsiteX65" fmla="*/ 18524 w 355770"/>
                  <a:gd name="connsiteY65" fmla="*/ 95200 h 405195"/>
                  <a:gd name="connsiteX66" fmla="*/ 24095 w 355770"/>
                  <a:gd name="connsiteY66" fmla="*/ 90068 h 405195"/>
                  <a:gd name="connsiteX67" fmla="*/ 26153 w 355770"/>
                  <a:gd name="connsiteY67" fmla="*/ 84222 h 405195"/>
                  <a:gd name="connsiteX68" fmla="*/ 23848 w 355770"/>
                  <a:gd name="connsiteY68" fmla="*/ 77911 h 405195"/>
                  <a:gd name="connsiteX69" fmla="*/ 576 w 355770"/>
                  <a:gd name="connsiteY69" fmla="*/ 37569 h 405195"/>
                  <a:gd name="connsiteX70" fmla="*/ 23573 w 355770"/>
                  <a:gd name="connsiteY70" fmla="*/ 39381 h 405195"/>
                  <a:gd name="connsiteX71" fmla="*/ 24616 w 355770"/>
                  <a:gd name="connsiteY71" fmla="*/ 42646 h 405195"/>
                  <a:gd name="connsiteX72" fmla="*/ 28458 w 355770"/>
                  <a:gd name="connsiteY72" fmla="*/ 42317 h 405195"/>
                  <a:gd name="connsiteX73" fmla="*/ 37926 w 355770"/>
                  <a:gd name="connsiteY73" fmla="*/ 38393 h 405195"/>
                  <a:gd name="connsiteX74" fmla="*/ 45116 w 355770"/>
                  <a:gd name="connsiteY74" fmla="*/ 29446 h 405195"/>
                  <a:gd name="connsiteX75" fmla="*/ 54667 w 355770"/>
                  <a:gd name="connsiteY75" fmla="*/ 29529 h 405195"/>
                  <a:gd name="connsiteX76" fmla="*/ 64134 w 355770"/>
                  <a:gd name="connsiteY76" fmla="*/ 20445 h 405195"/>
                  <a:gd name="connsiteX77" fmla="*/ 74782 w 355770"/>
                  <a:gd name="connsiteY77" fmla="*/ 16466 h 405195"/>
                  <a:gd name="connsiteX78" fmla="*/ 83619 w 355770"/>
                  <a:gd name="connsiteY78" fmla="*/ 8699 h 405195"/>
                  <a:gd name="connsiteX79" fmla="*/ 90370 w 355770"/>
                  <a:gd name="connsiteY79" fmla="*/ 5351 h 405195"/>
                  <a:gd name="connsiteX80" fmla="*/ 109964 w 355770"/>
                  <a:gd name="connsiteY80" fmla="*/ 1756 h 405195"/>
                  <a:gd name="connsiteX81" fmla="*/ 118115 w 355770"/>
                  <a:gd name="connsiteY81" fmla="*/ 3595 h 405195"/>
                  <a:gd name="connsiteX82" fmla="*/ 121627 w 355770"/>
                  <a:gd name="connsiteY82" fmla="*/ 0 h 405195"/>
                  <a:gd name="connsiteX83" fmla="*/ 124152 w 355770"/>
                  <a:gd name="connsiteY83" fmla="*/ 714 h 405195"/>
                  <a:gd name="connsiteX84" fmla="*/ 125826 w 355770"/>
                  <a:gd name="connsiteY84" fmla="*/ 4418 h 405195"/>
                  <a:gd name="connsiteX85" fmla="*/ 126403 w 355770"/>
                  <a:gd name="connsiteY85" fmla="*/ 15395 h 405195"/>
                  <a:gd name="connsiteX86" fmla="*/ 122314 w 355770"/>
                  <a:gd name="connsiteY86" fmla="*/ 25247 h 405195"/>
                  <a:gd name="connsiteX87" fmla="*/ 126046 w 355770"/>
                  <a:gd name="connsiteY87" fmla="*/ 37295 h 405195"/>
                  <a:gd name="connsiteX88" fmla="*/ 123603 w 355770"/>
                  <a:gd name="connsiteY88" fmla="*/ 45528 h 405195"/>
                  <a:gd name="connsiteX89" fmla="*/ 125497 w 355770"/>
                  <a:gd name="connsiteY89" fmla="*/ 52004 h 405195"/>
                  <a:gd name="connsiteX90" fmla="*/ 128763 w 355770"/>
                  <a:gd name="connsiteY90" fmla="*/ 55901 h 405195"/>
                  <a:gd name="connsiteX91" fmla="*/ 129750 w 355770"/>
                  <a:gd name="connsiteY91" fmla="*/ 61116 h 405195"/>
                  <a:gd name="connsiteX92" fmla="*/ 133483 w 355770"/>
                  <a:gd name="connsiteY92" fmla="*/ 62405 h 405195"/>
                  <a:gd name="connsiteX93" fmla="*/ 135459 w 355770"/>
                  <a:gd name="connsiteY93" fmla="*/ 68553 h 405195"/>
                  <a:gd name="connsiteX94" fmla="*/ 140892 w 355770"/>
                  <a:gd name="connsiteY94" fmla="*/ 70391 h 405195"/>
                  <a:gd name="connsiteX95" fmla="*/ 150443 w 355770"/>
                  <a:gd name="connsiteY95" fmla="*/ 77883 h 405195"/>
                  <a:gd name="connsiteX96" fmla="*/ 151046 w 355770"/>
                  <a:gd name="connsiteY96" fmla="*/ 80957 h 405195"/>
                  <a:gd name="connsiteX97" fmla="*/ 156206 w 355770"/>
                  <a:gd name="connsiteY97" fmla="*/ 83646 h 405195"/>
                  <a:gd name="connsiteX98" fmla="*/ 165618 w 355770"/>
                  <a:gd name="connsiteY98" fmla="*/ 85156 h 405195"/>
                  <a:gd name="connsiteX99" fmla="*/ 172479 w 355770"/>
                  <a:gd name="connsiteY99" fmla="*/ 82795 h 405195"/>
                  <a:gd name="connsiteX100" fmla="*/ 184664 w 355770"/>
                  <a:gd name="connsiteY100" fmla="*/ 89903 h 405195"/>
                  <a:gd name="connsiteX101" fmla="*/ 190564 w 355770"/>
                  <a:gd name="connsiteY101" fmla="*/ 88586 h 405195"/>
                  <a:gd name="connsiteX102" fmla="*/ 193665 w 355770"/>
                  <a:gd name="connsiteY102" fmla="*/ 93772 h 405195"/>
                  <a:gd name="connsiteX103" fmla="*/ 199812 w 355770"/>
                  <a:gd name="connsiteY103" fmla="*/ 98877 h 405195"/>
                  <a:gd name="connsiteX104" fmla="*/ 203133 w 355770"/>
                  <a:gd name="connsiteY104" fmla="*/ 98575 h 405195"/>
                  <a:gd name="connsiteX105" fmla="*/ 212326 w 355770"/>
                  <a:gd name="connsiteY105" fmla="*/ 103048 h 405195"/>
                  <a:gd name="connsiteX106" fmla="*/ 219132 w 355770"/>
                  <a:gd name="connsiteY106" fmla="*/ 103487 h 405195"/>
                  <a:gd name="connsiteX107" fmla="*/ 220834 w 355770"/>
                  <a:gd name="connsiteY107" fmla="*/ 107576 h 405195"/>
                  <a:gd name="connsiteX108" fmla="*/ 228545 w 355770"/>
                  <a:gd name="connsiteY108" fmla="*/ 114821 h 405195"/>
                  <a:gd name="connsiteX109" fmla="*/ 250280 w 355770"/>
                  <a:gd name="connsiteY109" fmla="*/ 113614 h 405195"/>
                  <a:gd name="connsiteX110" fmla="*/ 259172 w 355770"/>
                  <a:gd name="connsiteY110" fmla="*/ 120008 h 405195"/>
                  <a:gd name="connsiteX111" fmla="*/ 267432 w 355770"/>
                  <a:gd name="connsiteY111" fmla="*/ 123466 h 405195"/>
                  <a:gd name="connsiteX112" fmla="*/ 269957 w 355770"/>
                  <a:gd name="connsiteY112" fmla="*/ 129366 h 405195"/>
                  <a:gd name="connsiteX113" fmla="*/ 267981 w 355770"/>
                  <a:gd name="connsiteY113" fmla="*/ 135267 h 405195"/>
                  <a:gd name="connsiteX114" fmla="*/ 273661 w 355770"/>
                  <a:gd name="connsiteY114" fmla="*/ 148851 h 405195"/>
                  <a:gd name="connsiteX115" fmla="*/ 274265 w 355770"/>
                  <a:gd name="connsiteY115" fmla="*/ 160733 h 405195"/>
                  <a:gd name="connsiteX116" fmla="*/ 273497 w 355770"/>
                  <a:gd name="connsiteY116" fmla="*/ 162462 h 405195"/>
                  <a:gd name="connsiteX117" fmla="*/ 266554 w 355770"/>
                  <a:gd name="connsiteY117" fmla="*/ 163917 h 405195"/>
                  <a:gd name="connsiteX118" fmla="*/ 274869 w 355770"/>
                  <a:gd name="connsiteY118" fmla="*/ 174702 h 405195"/>
                  <a:gd name="connsiteX119" fmla="*/ 277119 w 355770"/>
                  <a:gd name="connsiteY119" fmla="*/ 197672 h 405195"/>
                  <a:gd name="connsiteX120" fmla="*/ 325227 w 355770"/>
                  <a:gd name="connsiteY120" fmla="*/ 199977 h 405195"/>
                  <a:gd name="connsiteX121" fmla="*/ 330798 w 355770"/>
                  <a:gd name="connsiteY121" fmla="*/ 198715 h 405195"/>
                  <a:gd name="connsiteX122" fmla="*/ 330386 w 355770"/>
                  <a:gd name="connsiteY122" fmla="*/ 206508 h 405195"/>
                  <a:gd name="connsiteX123" fmla="*/ 327312 w 355770"/>
                  <a:gd name="connsiteY123" fmla="*/ 211805 h 405195"/>
                  <a:gd name="connsiteX124" fmla="*/ 328932 w 355770"/>
                  <a:gd name="connsiteY124" fmla="*/ 225883 h 405195"/>
                  <a:gd name="connsiteX125" fmla="*/ 337878 w 355770"/>
                  <a:gd name="connsiteY125" fmla="*/ 234747 h 405195"/>
                  <a:gd name="connsiteX126" fmla="*/ 345672 w 355770"/>
                  <a:gd name="connsiteY126" fmla="*/ 236476 h 405195"/>
                  <a:gd name="connsiteX127" fmla="*/ 347785 w 355770"/>
                  <a:gd name="connsiteY127" fmla="*/ 241718 h 405195"/>
                  <a:gd name="connsiteX128" fmla="*/ 355771 w 355770"/>
                  <a:gd name="connsiteY128" fmla="*/ 258678 h 405195"/>
                  <a:gd name="connsiteX129" fmla="*/ 352917 w 355770"/>
                  <a:gd name="connsiteY129" fmla="*/ 261751 h 405195"/>
                  <a:gd name="connsiteX130" fmla="*/ 348443 w 355770"/>
                  <a:gd name="connsiteY130" fmla="*/ 276625 h 405195"/>
                  <a:gd name="connsiteX131" fmla="*/ 348663 w 355770"/>
                  <a:gd name="connsiteY131" fmla="*/ 283349 h 405195"/>
                  <a:gd name="connsiteX132" fmla="*/ 337686 w 355770"/>
                  <a:gd name="connsiteY132" fmla="*/ 304754 h 405195"/>
                  <a:gd name="connsiteX133" fmla="*/ 344354 w 355770"/>
                  <a:gd name="connsiteY133" fmla="*/ 313618 h 405195"/>
                  <a:gd name="connsiteX134" fmla="*/ 335930 w 355770"/>
                  <a:gd name="connsiteY134" fmla="*/ 319052 h 40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355770" h="405195">
                    <a:moveTo>
                      <a:pt x="336094" y="318915"/>
                    </a:moveTo>
                    <a:lnTo>
                      <a:pt x="335051" y="307663"/>
                    </a:lnTo>
                    <a:lnTo>
                      <a:pt x="308980" y="291692"/>
                    </a:lnTo>
                    <a:lnTo>
                      <a:pt x="282608" y="291856"/>
                    </a:lnTo>
                    <a:lnTo>
                      <a:pt x="231948" y="302669"/>
                    </a:lnTo>
                    <a:lnTo>
                      <a:pt x="225334" y="316692"/>
                    </a:lnTo>
                    <a:lnTo>
                      <a:pt x="215674" y="331401"/>
                    </a:lnTo>
                    <a:lnTo>
                      <a:pt x="215290" y="347483"/>
                    </a:lnTo>
                    <a:lnTo>
                      <a:pt x="204231" y="384805"/>
                    </a:lnTo>
                    <a:lnTo>
                      <a:pt x="197343" y="377094"/>
                    </a:lnTo>
                    <a:lnTo>
                      <a:pt x="167567" y="377341"/>
                    </a:lnTo>
                    <a:lnTo>
                      <a:pt x="155025" y="401573"/>
                    </a:lnTo>
                    <a:lnTo>
                      <a:pt x="146271" y="384339"/>
                    </a:lnTo>
                    <a:lnTo>
                      <a:pt x="137132" y="380415"/>
                    </a:lnTo>
                    <a:lnTo>
                      <a:pt x="113614" y="379865"/>
                    </a:lnTo>
                    <a:lnTo>
                      <a:pt x="100167" y="371056"/>
                    </a:lnTo>
                    <a:lnTo>
                      <a:pt x="96160" y="379427"/>
                    </a:lnTo>
                    <a:lnTo>
                      <a:pt x="84909" y="384257"/>
                    </a:lnTo>
                    <a:lnTo>
                      <a:pt x="82027" y="390047"/>
                    </a:lnTo>
                    <a:lnTo>
                      <a:pt x="76264" y="393944"/>
                    </a:lnTo>
                    <a:lnTo>
                      <a:pt x="70885" y="402396"/>
                    </a:lnTo>
                    <a:lnTo>
                      <a:pt x="58865" y="405196"/>
                    </a:lnTo>
                    <a:lnTo>
                      <a:pt x="50605" y="402643"/>
                    </a:lnTo>
                    <a:lnTo>
                      <a:pt x="50824" y="394246"/>
                    </a:lnTo>
                    <a:lnTo>
                      <a:pt x="47668" y="379042"/>
                    </a:lnTo>
                    <a:lnTo>
                      <a:pt x="45171" y="375804"/>
                    </a:lnTo>
                    <a:lnTo>
                      <a:pt x="44732" y="369245"/>
                    </a:lnTo>
                    <a:lnTo>
                      <a:pt x="41714" y="363839"/>
                    </a:lnTo>
                    <a:lnTo>
                      <a:pt x="41274" y="354179"/>
                    </a:lnTo>
                    <a:lnTo>
                      <a:pt x="35539" y="344300"/>
                    </a:lnTo>
                    <a:lnTo>
                      <a:pt x="30956" y="341555"/>
                    </a:lnTo>
                    <a:lnTo>
                      <a:pt x="30709" y="337247"/>
                    </a:lnTo>
                    <a:lnTo>
                      <a:pt x="33014" y="333405"/>
                    </a:lnTo>
                    <a:lnTo>
                      <a:pt x="25110" y="326654"/>
                    </a:lnTo>
                    <a:lnTo>
                      <a:pt x="26620" y="323525"/>
                    </a:lnTo>
                    <a:lnTo>
                      <a:pt x="24616" y="316582"/>
                    </a:lnTo>
                    <a:lnTo>
                      <a:pt x="29858" y="314908"/>
                    </a:lnTo>
                    <a:lnTo>
                      <a:pt x="31148" y="311340"/>
                    </a:lnTo>
                    <a:lnTo>
                      <a:pt x="27278" y="305221"/>
                    </a:lnTo>
                    <a:lnTo>
                      <a:pt x="34029" y="294985"/>
                    </a:lnTo>
                    <a:lnTo>
                      <a:pt x="19484" y="282059"/>
                    </a:lnTo>
                    <a:lnTo>
                      <a:pt x="13859" y="256784"/>
                    </a:lnTo>
                    <a:lnTo>
                      <a:pt x="14709" y="253546"/>
                    </a:lnTo>
                    <a:lnTo>
                      <a:pt x="8919" y="249786"/>
                    </a:lnTo>
                    <a:lnTo>
                      <a:pt x="3375" y="236147"/>
                    </a:lnTo>
                    <a:lnTo>
                      <a:pt x="3293" y="232607"/>
                    </a:lnTo>
                    <a:lnTo>
                      <a:pt x="0" y="227667"/>
                    </a:lnTo>
                    <a:lnTo>
                      <a:pt x="5544" y="223276"/>
                    </a:lnTo>
                    <a:lnTo>
                      <a:pt x="12651" y="212957"/>
                    </a:lnTo>
                    <a:lnTo>
                      <a:pt x="16411" y="210817"/>
                    </a:lnTo>
                    <a:lnTo>
                      <a:pt x="17591" y="204230"/>
                    </a:lnTo>
                    <a:lnTo>
                      <a:pt x="22119" y="200059"/>
                    </a:lnTo>
                    <a:lnTo>
                      <a:pt x="18798" y="196492"/>
                    </a:lnTo>
                    <a:lnTo>
                      <a:pt x="14216" y="196437"/>
                    </a:lnTo>
                    <a:lnTo>
                      <a:pt x="10703" y="194351"/>
                    </a:lnTo>
                    <a:lnTo>
                      <a:pt x="5489" y="178709"/>
                    </a:lnTo>
                    <a:lnTo>
                      <a:pt x="9605" y="170037"/>
                    </a:lnTo>
                    <a:lnTo>
                      <a:pt x="12926" y="166936"/>
                    </a:lnTo>
                    <a:lnTo>
                      <a:pt x="6998" y="159224"/>
                    </a:lnTo>
                    <a:lnTo>
                      <a:pt x="6998" y="153955"/>
                    </a:lnTo>
                    <a:cubicBezTo>
                      <a:pt x="6998" y="153955"/>
                      <a:pt x="17317" y="141112"/>
                      <a:pt x="17317" y="141112"/>
                    </a:cubicBezTo>
                    <a:lnTo>
                      <a:pt x="18332" y="136748"/>
                    </a:lnTo>
                    <a:lnTo>
                      <a:pt x="21598" y="134937"/>
                    </a:lnTo>
                    <a:lnTo>
                      <a:pt x="15615" y="119349"/>
                    </a:lnTo>
                    <a:lnTo>
                      <a:pt x="18853" y="113504"/>
                    </a:lnTo>
                    <a:lnTo>
                      <a:pt x="18524" y="95200"/>
                    </a:lnTo>
                    <a:lnTo>
                      <a:pt x="24095" y="90068"/>
                    </a:lnTo>
                    <a:lnTo>
                      <a:pt x="26153" y="84222"/>
                    </a:lnTo>
                    <a:lnTo>
                      <a:pt x="23848" y="77911"/>
                    </a:lnTo>
                    <a:lnTo>
                      <a:pt x="576" y="37569"/>
                    </a:lnTo>
                    <a:lnTo>
                      <a:pt x="23573" y="39381"/>
                    </a:lnTo>
                    <a:lnTo>
                      <a:pt x="24616" y="42646"/>
                    </a:lnTo>
                    <a:lnTo>
                      <a:pt x="28458" y="42317"/>
                    </a:lnTo>
                    <a:lnTo>
                      <a:pt x="37926" y="38393"/>
                    </a:lnTo>
                    <a:lnTo>
                      <a:pt x="45116" y="29446"/>
                    </a:lnTo>
                    <a:lnTo>
                      <a:pt x="54667" y="29529"/>
                    </a:lnTo>
                    <a:lnTo>
                      <a:pt x="64134" y="20445"/>
                    </a:lnTo>
                    <a:lnTo>
                      <a:pt x="74782" y="16466"/>
                    </a:lnTo>
                    <a:lnTo>
                      <a:pt x="83619" y="8699"/>
                    </a:lnTo>
                    <a:lnTo>
                      <a:pt x="90370" y="5351"/>
                    </a:lnTo>
                    <a:lnTo>
                      <a:pt x="109964" y="1756"/>
                    </a:lnTo>
                    <a:lnTo>
                      <a:pt x="118115" y="3595"/>
                    </a:lnTo>
                    <a:lnTo>
                      <a:pt x="121627" y="0"/>
                    </a:lnTo>
                    <a:lnTo>
                      <a:pt x="124152" y="714"/>
                    </a:lnTo>
                    <a:lnTo>
                      <a:pt x="125826" y="4418"/>
                    </a:lnTo>
                    <a:lnTo>
                      <a:pt x="126403" y="15395"/>
                    </a:lnTo>
                    <a:lnTo>
                      <a:pt x="122314" y="25247"/>
                    </a:lnTo>
                    <a:lnTo>
                      <a:pt x="126046" y="37295"/>
                    </a:lnTo>
                    <a:lnTo>
                      <a:pt x="123603" y="45528"/>
                    </a:lnTo>
                    <a:lnTo>
                      <a:pt x="125497" y="52004"/>
                    </a:lnTo>
                    <a:lnTo>
                      <a:pt x="128763" y="55901"/>
                    </a:lnTo>
                    <a:lnTo>
                      <a:pt x="129750" y="61116"/>
                    </a:lnTo>
                    <a:lnTo>
                      <a:pt x="133483" y="62405"/>
                    </a:lnTo>
                    <a:lnTo>
                      <a:pt x="135459" y="68553"/>
                    </a:lnTo>
                    <a:lnTo>
                      <a:pt x="140892" y="70391"/>
                    </a:lnTo>
                    <a:lnTo>
                      <a:pt x="150443" y="77883"/>
                    </a:lnTo>
                    <a:lnTo>
                      <a:pt x="151046" y="80957"/>
                    </a:lnTo>
                    <a:lnTo>
                      <a:pt x="156206" y="83646"/>
                    </a:lnTo>
                    <a:lnTo>
                      <a:pt x="165618" y="85156"/>
                    </a:lnTo>
                    <a:lnTo>
                      <a:pt x="172479" y="82795"/>
                    </a:lnTo>
                    <a:lnTo>
                      <a:pt x="184664" y="89903"/>
                    </a:lnTo>
                    <a:lnTo>
                      <a:pt x="190564" y="88586"/>
                    </a:lnTo>
                    <a:lnTo>
                      <a:pt x="193665" y="93772"/>
                    </a:lnTo>
                    <a:lnTo>
                      <a:pt x="199812" y="98877"/>
                    </a:lnTo>
                    <a:lnTo>
                      <a:pt x="203133" y="98575"/>
                    </a:lnTo>
                    <a:lnTo>
                      <a:pt x="212326" y="103048"/>
                    </a:lnTo>
                    <a:lnTo>
                      <a:pt x="219132" y="103487"/>
                    </a:lnTo>
                    <a:lnTo>
                      <a:pt x="220834" y="107576"/>
                    </a:lnTo>
                    <a:lnTo>
                      <a:pt x="228545" y="114821"/>
                    </a:lnTo>
                    <a:lnTo>
                      <a:pt x="250280" y="113614"/>
                    </a:lnTo>
                    <a:lnTo>
                      <a:pt x="259172" y="120008"/>
                    </a:lnTo>
                    <a:lnTo>
                      <a:pt x="267432" y="123466"/>
                    </a:lnTo>
                    <a:lnTo>
                      <a:pt x="269957" y="129366"/>
                    </a:lnTo>
                    <a:lnTo>
                      <a:pt x="267981" y="135267"/>
                    </a:lnTo>
                    <a:lnTo>
                      <a:pt x="273661" y="148851"/>
                    </a:lnTo>
                    <a:lnTo>
                      <a:pt x="274265" y="160733"/>
                    </a:lnTo>
                    <a:lnTo>
                      <a:pt x="273497" y="162462"/>
                    </a:lnTo>
                    <a:lnTo>
                      <a:pt x="266554" y="163917"/>
                    </a:lnTo>
                    <a:lnTo>
                      <a:pt x="274869" y="174702"/>
                    </a:lnTo>
                    <a:lnTo>
                      <a:pt x="277119" y="197672"/>
                    </a:lnTo>
                    <a:lnTo>
                      <a:pt x="325227" y="199977"/>
                    </a:lnTo>
                    <a:lnTo>
                      <a:pt x="330798" y="198715"/>
                    </a:lnTo>
                    <a:lnTo>
                      <a:pt x="330386" y="206508"/>
                    </a:lnTo>
                    <a:lnTo>
                      <a:pt x="327312" y="211805"/>
                    </a:lnTo>
                    <a:lnTo>
                      <a:pt x="328932" y="225883"/>
                    </a:lnTo>
                    <a:lnTo>
                      <a:pt x="337878" y="234747"/>
                    </a:lnTo>
                    <a:lnTo>
                      <a:pt x="345672" y="236476"/>
                    </a:lnTo>
                    <a:lnTo>
                      <a:pt x="347785" y="241718"/>
                    </a:lnTo>
                    <a:lnTo>
                      <a:pt x="355771" y="258678"/>
                    </a:lnTo>
                    <a:lnTo>
                      <a:pt x="352917" y="261751"/>
                    </a:lnTo>
                    <a:lnTo>
                      <a:pt x="348443" y="276625"/>
                    </a:lnTo>
                    <a:lnTo>
                      <a:pt x="348663" y="283349"/>
                    </a:lnTo>
                    <a:lnTo>
                      <a:pt x="337686" y="304754"/>
                    </a:lnTo>
                    <a:lnTo>
                      <a:pt x="344354" y="313618"/>
                    </a:lnTo>
                    <a:lnTo>
                      <a:pt x="335930" y="3190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8" name="Freeform: Shape 3647">
                <a:extLst>
                  <a:ext uri="{FF2B5EF4-FFF2-40B4-BE49-F238E27FC236}">
                    <a16:creationId xmlns:a16="http://schemas.microsoft.com/office/drawing/2014/main" id="{5B2F0D35-446B-BDF2-C207-98FAC68C1249}"/>
                  </a:ext>
                </a:extLst>
              </p:cNvPr>
              <p:cNvSpPr/>
              <p:nvPr/>
            </p:nvSpPr>
            <p:spPr>
              <a:xfrm>
                <a:off x="1155497" y="3806385"/>
                <a:ext cx="707" cy="799"/>
              </a:xfrm>
              <a:custGeom>
                <a:avLst/>
                <a:gdLst>
                  <a:gd name="connsiteX0" fmla="*/ 6778 w 6778"/>
                  <a:gd name="connsiteY0" fmla="*/ 5489 h 7656"/>
                  <a:gd name="connsiteX1" fmla="*/ 4720 w 6778"/>
                  <a:gd name="connsiteY1" fmla="*/ 7656 h 7656"/>
                  <a:gd name="connsiteX2" fmla="*/ 3019 w 6778"/>
                  <a:gd name="connsiteY2" fmla="*/ 3156 h 7656"/>
                  <a:gd name="connsiteX3" fmla="*/ 302 w 6778"/>
                  <a:gd name="connsiteY3" fmla="*/ 2607 h 7656"/>
                  <a:gd name="connsiteX4" fmla="*/ 0 w 6778"/>
                  <a:gd name="connsiteY4" fmla="*/ 1647 h 7656"/>
                  <a:gd name="connsiteX5" fmla="*/ 988 w 6778"/>
                  <a:gd name="connsiteY5" fmla="*/ 0 h 7656"/>
                  <a:gd name="connsiteX6" fmla="*/ 4226 w 6778"/>
                  <a:gd name="connsiteY6" fmla="*/ 2333 h 7656"/>
                  <a:gd name="connsiteX7" fmla="*/ 6641 w 6778"/>
                  <a:gd name="connsiteY7" fmla="*/ 2772 h 7656"/>
                  <a:gd name="connsiteX8" fmla="*/ 6751 w 6778"/>
                  <a:gd name="connsiteY8" fmla="*/ 5489 h 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78" h="7656">
                    <a:moveTo>
                      <a:pt x="6778" y="5489"/>
                    </a:moveTo>
                    <a:lnTo>
                      <a:pt x="4720" y="7656"/>
                    </a:lnTo>
                    <a:lnTo>
                      <a:pt x="3019" y="3156"/>
                    </a:lnTo>
                    <a:lnTo>
                      <a:pt x="302" y="2607"/>
                    </a:lnTo>
                    <a:lnTo>
                      <a:pt x="0" y="1647"/>
                    </a:lnTo>
                    <a:lnTo>
                      <a:pt x="988" y="0"/>
                    </a:lnTo>
                    <a:lnTo>
                      <a:pt x="4226" y="2333"/>
                    </a:lnTo>
                    <a:lnTo>
                      <a:pt x="6641" y="2772"/>
                    </a:lnTo>
                    <a:lnTo>
                      <a:pt x="6751" y="54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49" name="Freeform: Shape 3648">
                <a:extLst>
                  <a:ext uri="{FF2B5EF4-FFF2-40B4-BE49-F238E27FC236}">
                    <a16:creationId xmlns:a16="http://schemas.microsoft.com/office/drawing/2014/main" id="{3E7B2A22-3A82-0D1E-B5F7-FB186C43615C}"/>
                  </a:ext>
                </a:extLst>
              </p:cNvPr>
              <p:cNvSpPr/>
              <p:nvPr/>
            </p:nvSpPr>
            <p:spPr>
              <a:xfrm>
                <a:off x="1171197" y="3789351"/>
                <a:ext cx="392" cy="269"/>
              </a:xfrm>
              <a:custGeom>
                <a:avLst/>
                <a:gdLst>
                  <a:gd name="connsiteX0" fmla="*/ 3760 w 3759"/>
                  <a:gd name="connsiteY0" fmla="*/ 0 h 2579"/>
                  <a:gd name="connsiteX1" fmla="*/ 3348 w 3759"/>
                  <a:gd name="connsiteY1" fmla="*/ 2579 h 2579"/>
                  <a:gd name="connsiteX2" fmla="*/ 0 w 3759"/>
                  <a:gd name="connsiteY2" fmla="*/ 2003 h 2579"/>
                  <a:gd name="connsiteX3" fmla="*/ 604 w 3759"/>
                  <a:gd name="connsiteY3" fmla="*/ 164 h 2579"/>
                  <a:gd name="connsiteX4" fmla="*/ 3760 w 3759"/>
                  <a:gd name="connsiteY4" fmla="*/ 0 h 2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9" h="2579">
                    <a:moveTo>
                      <a:pt x="3760" y="0"/>
                    </a:moveTo>
                    <a:lnTo>
                      <a:pt x="3348" y="2579"/>
                    </a:lnTo>
                    <a:lnTo>
                      <a:pt x="0" y="2003"/>
                    </a:lnTo>
                    <a:lnTo>
                      <a:pt x="604" y="164"/>
                    </a:lnTo>
                    <a:lnTo>
                      <a:pt x="376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0" name="Freeform: Shape 3649">
                <a:extLst>
                  <a:ext uri="{FF2B5EF4-FFF2-40B4-BE49-F238E27FC236}">
                    <a16:creationId xmlns:a16="http://schemas.microsoft.com/office/drawing/2014/main" id="{3E0B726C-C95E-7ED3-C6CD-F44CC9A064E8}"/>
                  </a:ext>
                </a:extLst>
              </p:cNvPr>
              <p:cNvSpPr/>
              <p:nvPr/>
            </p:nvSpPr>
            <p:spPr>
              <a:xfrm>
                <a:off x="1138529" y="3828302"/>
                <a:ext cx="119955" cy="126243"/>
              </a:xfrm>
              <a:custGeom>
                <a:avLst/>
                <a:gdLst>
                  <a:gd name="connsiteX0" fmla="*/ 406705 w 1150080"/>
                  <a:gd name="connsiteY0" fmla="*/ 714 h 1210372"/>
                  <a:gd name="connsiteX1" fmla="*/ 408214 w 1150080"/>
                  <a:gd name="connsiteY1" fmla="*/ 3458 h 1210372"/>
                  <a:gd name="connsiteX2" fmla="*/ 411206 w 1150080"/>
                  <a:gd name="connsiteY2" fmla="*/ 5790 h 1210372"/>
                  <a:gd name="connsiteX3" fmla="*/ 409367 w 1150080"/>
                  <a:gd name="connsiteY3" fmla="*/ 16301 h 1210372"/>
                  <a:gd name="connsiteX4" fmla="*/ 407858 w 1150080"/>
                  <a:gd name="connsiteY4" fmla="*/ 19210 h 1210372"/>
                  <a:gd name="connsiteX5" fmla="*/ 405882 w 1150080"/>
                  <a:gd name="connsiteY5" fmla="*/ 20500 h 1210372"/>
                  <a:gd name="connsiteX6" fmla="*/ 405799 w 1150080"/>
                  <a:gd name="connsiteY6" fmla="*/ 21570 h 1210372"/>
                  <a:gd name="connsiteX7" fmla="*/ 408818 w 1150080"/>
                  <a:gd name="connsiteY7" fmla="*/ 22449 h 1210372"/>
                  <a:gd name="connsiteX8" fmla="*/ 412441 w 1150080"/>
                  <a:gd name="connsiteY8" fmla="*/ 22256 h 1210372"/>
                  <a:gd name="connsiteX9" fmla="*/ 417490 w 1150080"/>
                  <a:gd name="connsiteY9" fmla="*/ 24507 h 1210372"/>
                  <a:gd name="connsiteX10" fmla="*/ 419493 w 1150080"/>
                  <a:gd name="connsiteY10" fmla="*/ 26181 h 1210372"/>
                  <a:gd name="connsiteX11" fmla="*/ 418972 w 1150080"/>
                  <a:gd name="connsiteY11" fmla="*/ 31450 h 1210372"/>
                  <a:gd name="connsiteX12" fmla="*/ 423994 w 1150080"/>
                  <a:gd name="connsiteY12" fmla="*/ 38914 h 1210372"/>
                  <a:gd name="connsiteX13" fmla="*/ 419686 w 1150080"/>
                  <a:gd name="connsiteY13" fmla="*/ 46049 h 1210372"/>
                  <a:gd name="connsiteX14" fmla="*/ 414966 w 1150080"/>
                  <a:gd name="connsiteY14" fmla="*/ 49535 h 1210372"/>
                  <a:gd name="connsiteX15" fmla="*/ 416173 w 1150080"/>
                  <a:gd name="connsiteY15" fmla="*/ 55353 h 1210372"/>
                  <a:gd name="connsiteX16" fmla="*/ 411727 w 1150080"/>
                  <a:gd name="connsiteY16" fmla="*/ 65424 h 1210372"/>
                  <a:gd name="connsiteX17" fmla="*/ 410794 w 1150080"/>
                  <a:gd name="connsiteY17" fmla="*/ 75496 h 1210372"/>
                  <a:gd name="connsiteX18" fmla="*/ 413511 w 1150080"/>
                  <a:gd name="connsiteY18" fmla="*/ 84634 h 1210372"/>
                  <a:gd name="connsiteX19" fmla="*/ 418094 w 1150080"/>
                  <a:gd name="connsiteY19" fmla="*/ 88339 h 1210372"/>
                  <a:gd name="connsiteX20" fmla="*/ 417929 w 1150080"/>
                  <a:gd name="connsiteY20" fmla="*/ 99701 h 1210372"/>
                  <a:gd name="connsiteX21" fmla="*/ 425311 w 1150080"/>
                  <a:gd name="connsiteY21" fmla="*/ 106287 h 1210372"/>
                  <a:gd name="connsiteX22" fmla="*/ 433023 w 1150080"/>
                  <a:gd name="connsiteY22" fmla="*/ 114026 h 1210372"/>
                  <a:gd name="connsiteX23" fmla="*/ 440954 w 1150080"/>
                  <a:gd name="connsiteY23" fmla="*/ 116441 h 1210372"/>
                  <a:gd name="connsiteX24" fmla="*/ 445702 w 1150080"/>
                  <a:gd name="connsiteY24" fmla="*/ 120337 h 1210372"/>
                  <a:gd name="connsiteX25" fmla="*/ 449132 w 1150080"/>
                  <a:gd name="connsiteY25" fmla="*/ 117401 h 1210372"/>
                  <a:gd name="connsiteX26" fmla="*/ 454566 w 1150080"/>
                  <a:gd name="connsiteY26" fmla="*/ 117099 h 1210372"/>
                  <a:gd name="connsiteX27" fmla="*/ 455334 w 1150080"/>
                  <a:gd name="connsiteY27" fmla="*/ 112516 h 1210372"/>
                  <a:gd name="connsiteX28" fmla="*/ 459450 w 1150080"/>
                  <a:gd name="connsiteY28" fmla="*/ 108757 h 1210372"/>
                  <a:gd name="connsiteX29" fmla="*/ 468452 w 1150080"/>
                  <a:gd name="connsiteY29" fmla="*/ 110431 h 1210372"/>
                  <a:gd name="connsiteX30" fmla="*/ 469275 w 1150080"/>
                  <a:gd name="connsiteY30" fmla="*/ 106287 h 1210372"/>
                  <a:gd name="connsiteX31" fmla="*/ 472047 w 1150080"/>
                  <a:gd name="connsiteY31" fmla="*/ 106287 h 1210372"/>
                  <a:gd name="connsiteX32" fmla="*/ 482283 w 1150080"/>
                  <a:gd name="connsiteY32" fmla="*/ 104668 h 1210372"/>
                  <a:gd name="connsiteX33" fmla="*/ 489555 w 1150080"/>
                  <a:gd name="connsiteY33" fmla="*/ 96901 h 1210372"/>
                  <a:gd name="connsiteX34" fmla="*/ 495895 w 1150080"/>
                  <a:gd name="connsiteY34" fmla="*/ 96023 h 1210372"/>
                  <a:gd name="connsiteX35" fmla="*/ 504265 w 1150080"/>
                  <a:gd name="connsiteY35" fmla="*/ 99646 h 1210372"/>
                  <a:gd name="connsiteX36" fmla="*/ 514062 w 1150080"/>
                  <a:gd name="connsiteY36" fmla="*/ 97669 h 1210372"/>
                  <a:gd name="connsiteX37" fmla="*/ 527152 w 1150080"/>
                  <a:gd name="connsiteY37" fmla="*/ 100716 h 1210372"/>
                  <a:gd name="connsiteX38" fmla="*/ 530144 w 1150080"/>
                  <a:gd name="connsiteY38" fmla="*/ 99673 h 1210372"/>
                  <a:gd name="connsiteX39" fmla="*/ 530144 w 1150080"/>
                  <a:gd name="connsiteY39" fmla="*/ 94514 h 1210372"/>
                  <a:gd name="connsiteX40" fmla="*/ 524682 w 1150080"/>
                  <a:gd name="connsiteY40" fmla="*/ 87982 h 1210372"/>
                  <a:gd name="connsiteX41" fmla="*/ 529485 w 1150080"/>
                  <a:gd name="connsiteY41" fmla="*/ 80847 h 1210372"/>
                  <a:gd name="connsiteX42" fmla="*/ 535769 w 1150080"/>
                  <a:gd name="connsiteY42" fmla="*/ 83921 h 1210372"/>
                  <a:gd name="connsiteX43" fmla="*/ 545951 w 1150080"/>
                  <a:gd name="connsiteY43" fmla="*/ 83482 h 1210372"/>
                  <a:gd name="connsiteX44" fmla="*/ 548119 w 1150080"/>
                  <a:gd name="connsiteY44" fmla="*/ 81259 h 1210372"/>
                  <a:gd name="connsiteX45" fmla="*/ 557065 w 1150080"/>
                  <a:gd name="connsiteY45" fmla="*/ 79365 h 1210372"/>
                  <a:gd name="connsiteX46" fmla="*/ 561484 w 1150080"/>
                  <a:gd name="connsiteY46" fmla="*/ 82741 h 1210372"/>
                  <a:gd name="connsiteX47" fmla="*/ 565737 w 1150080"/>
                  <a:gd name="connsiteY47" fmla="*/ 82631 h 1210372"/>
                  <a:gd name="connsiteX48" fmla="*/ 566752 w 1150080"/>
                  <a:gd name="connsiteY48" fmla="*/ 85842 h 1210372"/>
                  <a:gd name="connsiteX49" fmla="*/ 569634 w 1150080"/>
                  <a:gd name="connsiteY49" fmla="*/ 86583 h 1210372"/>
                  <a:gd name="connsiteX50" fmla="*/ 577455 w 1150080"/>
                  <a:gd name="connsiteY50" fmla="*/ 91330 h 1210372"/>
                  <a:gd name="connsiteX51" fmla="*/ 583054 w 1150080"/>
                  <a:gd name="connsiteY51" fmla="*/ 92346 h 1210372"/>
                  <a:gd name="connsiteX52" fmla="*/ 593839 w 1150080"/>
                  <a:gd name="connsiteY52" fmla="*/ 85595 h 1210372"/>
                  <a:gd name="connsiteX53" fmla="*/ 601221 w 1150080"/>
                  <a:gd name="connsiteY53" fmla="*/ 88394 h 1210372"/>
                  <a:gd name="connsiteX54" fmla="*/ 607094 w 1150080"/>
                  <a:gd name="connsiteY54" fmla="*/ 86610 h 1210372"/>
                  <a:gd name="connsiteX55" fmla="*/ 610058 w 1150080"/>
                  <a:gd name="connsiteY55" fmla="*/ 89986 h 1210372"/>
                  <a:gd name="connsiteX56" fmla="*/ 618181 w 1150080"/>
                  <a:gd name="connsiteY56" fmla="*/ 90617 h 1210372"/>
                  <a:gd name="connsiteX57" fmla="*/ 626194 w 1150080"/>
                  <a:gd name="connsiteY57" fmla="*/ 84634 h 1210372"/>
                  <a:gd name="connsiteX58" fmla="*/ 629378 w 1150080"/>
                  <a:gd name="connsiteY58" fmla="*/ 80298 h 1210372"/>
                  <a:gd name="connsiteX59" fmla="*/ 636348 w 1150080"/>
                  <a:gd name="connsiteY59" fmla="*/ 61335 h 1210372"/>
                  <a:gd name="connsiteX60" fmla="*/ 655860 w 1150080"/>
                  <a:gd name="connsiteY60" fmla="*/ 35484 h 1210372"/>
                  <a:gd name="connsiteX61" fmla="*/ 660415 w 1150080"/>
                  <a:gd name="connsiteY61" fmla="*/ 26620 h 1210372"/>
                  <a:gd name="connsiteX62" fmla="*/ 668100 w 1150080"/>
                  <a:gd name="connsiteY62" fmla="*/ 33151 h 1210372"/>
                  <a:gd name="connsiteX63" fmla="*/ 672792 w 1150080"/>
                  <a:gd name="connsiteY63" fmla="*/ 43744 h 1210372"/>
                  <a:gd name="connsiteX64" fmla="*/ 675427 w 1150080"/>
                  <a:gd name="connsiteY64" fmla="*/ 66165 h 1210372"/>
                  <a:gd name="connsiteX65" fmla="*/ 684181 w 1150080"/>
                  <a:gd name="connsiteY65" fmla="*/ 90342 h 1210372"/>
                  <a:gd name="connsiteX66" fmla="*/ 688407 w 1150080"/>
                  <a:gd name="connsiteY66" fmla="*/ 95447 h 1210372"/>
                  <a:gd name="connsiteX67" fmla="*/ 689834 w 1150080"/>
                  <a:gd name="connsiteY67" fmla="*/ 92428 h 1210372"/>
                  <a:gd name="connsiteX68" fmla="*/ 691618 w 1150080"/>
                  <a:gd name="connsiteY68" fmla="*/ 92428 h 1210372"/>
                  <a:gd name="connsiteX69" fmla="*/ 694664 w 1150080"/>
                  <a:gd name="connsiteY69" fmla="*/ 100496 h 1210372"/>
                  <a:gd name="connsiteX70" fmla="*/ 703309 w 1150080"/>
                  <a:gd name="connsiteY70" fmla="*/ 103872 h 1210372"/>
                  <a:gd name="connsiteX71" fmla="*/ 706739 w 1150080"/>
                  <a:gd name="connsiteY71" fmla="*/ 108537 h 1210372"/>
                  <a:gd name="connsiteX72" fmla="*/ 705065 w 1150080"/>
                  <a:gd name="connsiteY72" fmla="*/ 126512 h 1210372"/>
                  <a:gd name="connsiteX73" fmla="*/ 700949 w 1150080"/>
                  <a:gd name="connsiteY73" fmla="*/ 131260 h 1210372"/>
                  <a:gd name="connsiteX74" fmla="*/ 691755 w 1150080"/>
                  <a:gd name="connsiteY74" fmla="*/ 136282 h 1210372"/>
                  <a:gd name="connsiteX75" fmla="*/ 689258 w 1150080"/>
                  <a:gd name="connsiteY75" fmla="*/ 139767 h 1210372"/>
                  <a:gd name="connsiteX76" fmla="*/ 683961 w 1150080"/>
                  <a:gd name="connsiteY76" fmla="*/ 147094 h 1210372"/>
                  <a:gd name="connsiteX77" fmla="*/ 683330 w 1150080"/>
                  <a:gd name="connsiteY77" fmla="*/ 163917 h 1210372"/>
                  <a:gd name="connsiteX78" fmla="*/ 694801 w 1150080"/>
                  <a:gd name="connsiteY78" fmla="*/ 158456 h 1210372"/>
                  <a:gd name="connsiteX79" fmla="*/ 713902 w 1150080"/>
                  <a:gd name="connsiteY79" fmla="*/ 161310 h 1210372"/>
                  <a:gd name="connsiteX80" fmla="*/ 730340 w 1150080"/>
                  <a:gd name="connsiteY80" fmla="*/ 159608 h 1210372"/>
                  <a:gd name="connsiteX81" fmla="*/ 749605 w 1150080"/>
                  <a:gd name="connsiteY81" fmla="*/ 162874 h 1210372"/>
                  <a:gd name="connsiteX82" fmla="*/ 750483 w 1150080"/>
                  <a:gd name="connsiteY82" fmla="*/ 166140 h 1210372"/>
                  <a:gd name="connsiteX83" fmla="*/ 746724 w 1150080"/>
                  <a:gd name="connsiteY83" fmla="*/ 181865 h 1210372"/>
                  <a:gd name="connsiteX84" fmla="*/ 737667 w 1150080"/>
                  <a:gd name="connsiteY84" fmla="*/ 196821 h 1210372"/>
                  <a:gd name="connsiteX85" fmla="*/ 732920 w 1150080"/>
                  <a:gd name="connsiteY85" fmla="*/ 202145 h 1210372"/>
                  <a:gd name="connsiteX86" fmla="*/ 739177 w 1150080"/>
                  <a:gd name="connsiteY86" fmla="*/ 200636 h 1210372"/>
                  <a:gd name="connsiteX87" fmla="*/ 745187 w 1150080"/>
                  <a:gd name="connsiteY87" fmla="*/ 196821 h 1210372"/>
                  <a:gd name="connsiteX88" fmla="*/ 761021 w 1150080"/>
                  <a:gd name="connsiteY88" fmla="*/ 176568 h 1210372"/>
                  <a:gd name="connsiteX89" fmla="*/ 770023 w 1150080"/>
                  <a:gd name="connsiteY89" fmla="*/ 172287 h 1210372"/>
                  <a:gd name="connsiteX90" fmla="*/ 783772 w 1150080"/>
                  <a:gd name="connsiteY90" fmla="*/ 173961 h 1210372"/>
                  <a:gd name="connsiteX91" fmla="*/ 791730 w 1150080"/>
                  <a:gd name="connsiteY91" fmla="*/ 177556 h 1210372"/>
                  <a:gd name="connsiteX92" fmla="*/ 801417 w 1150080"/>
                  <a:gd name="connsiteY92" fmla="*/ 179230 h 1210372"/>
                  <a:gd name="connsiteX93" fmla="*/ 819310 w 1150080"/>
                  <a:gd name="connsiteY93" fmla="*/ 187106 h 1210372"/>
                  <a:gd name="connsiteX94" fmla="*/ 830644 w 1150080"/>
                  <a:gd name="connsiteY94" fmla="*/ 189384 h 1210372"/>
                  <a:gd name="connsiteX95" fmla="*/ 841649 w 1150080"/>
                  <a:gd name="connsiteY95" fmla="*/ 196848 h 1210372"/>
                  <a:gd name="connsiteX96" fmla="*/ 844256 w 1150080"/>
                  <a:gd name="connsiteY96" fmla="*/ 199620 h 1210372"/>
                  <a:gd name="connsiteX97" fmla="*/ 854602 w 1150080"/>
                  <a:gd name="connsiteY97" fmla="*/ 199126 h 1210372"/>
                  <a:gd name="connsiteX98" fmla="*/ 859816 w 1150080"/>
                  <a:gd name="connsiteY98" fmla="*/ 202612 h 1210372"/>
                  <a:gd name="connsiteX99" fmla="*/ 864262 w 1150080"/>
                  <a:gd name="connsiteY99" fmla="*/ 210186 h 1210372"/>
                  <a:gd name="connsiteX100" fmla="*/ 864454 w 1150080"/>
                  <a:gd name="connsiteY100" fmla="*/ 218775 h 1210372"/>
                  <a:gd name="connsiteX101" fmla="*/ 867994 w 1150080"/>
                  <a:gd name="connsiteY101" fmla="*/ 222919 h 1210372"/>
                  <a:gd name="connsiteX102" fmla="*/ 863466 w 1150080"/>
                  <a:gd name="connsiteY102" fmla="*/ 237492 h 1210372"/>
                  <a:gd name="connsiteX103" fmla="*/ 865853 w 1150080"/>
                  <a:gd name="connsiteY103" fmla="*/ 240593 h 1210372"/>
                  <a:gd name="connsiteX104" fmla="*/ 868406 w 1150080"/>
                  <a:gd name="connsiteY104" fmla="*/ 239248 h 1210372"/>
                  <a:gd name="connsiteX105" fmla="*/ 873345 w 1150080"/>
                  <a:gd name="connsiteY105" fmla="*/ 229066 h 1210372"/>
                  <a:gd name="connsiteX106" fmla="*/ 877791 w 1150080"/>
                  <a:gd name="connsiteY106" fmla="*/ 228573 h 1210372"/>
                  <a:gd name="connsiteX107" fmla="*/ 876392 w 1150080"/>
                  <a:gd name="connsiteY107" fmla="*/ 233650 h 1210372"/>
                  <a:gd name="connsiteX108" fmla="*/ 877572 w 1150080"/>
                  <a:gd name="connsiteY108" fmla="*/ 234555 h 1210372"/>
                  <a:gd name="connsiteX109" fmla="*/ 890525 w 1150080"/>
                  <a:gd name="connsiteY109" fmla="*/ 223990 h 1210372"/>
                  <a:gd name="connsiteX110" fmla="*/ 893708 w 1150080"/>
                  <a:gd name="connsiteY110" fmla="*/ 226268 h 1210372"/>
                  <a:gd name="connsiteX111" fmla="*/ 902627 w 1150080"/>
                  <a:gd name="connsiteY111" fmla="*/ 225252 h 1210372"/>
                  <a:gd name="connsiteX112" fmla="*/ 923347 w 1150080"/>
                  <a:gd name="connsiteY112" fmla="*/ 233156 h 1210372"/>
                  <a:gd name="connsiteX113" fmla="*/ 942886 w 1150080"/>
                  <a:gd name="connsiteY113" fmla="*/ 235488 h 1210372"/>
                  <a:gd name="connsiteX114" fmla="*/ 953726 w 1150080"/>
                  <a:gd name="connsiteY114" fmla="*/ 239495 h 1210372"/>
                  <a:gd name="connsiteX115" fmla="*/ 983584 w 1150080"/>
                  <a:gd name="connsiteY115" fmla="*/ 237574 h 1210372"/>
                  <a:gd name="connsiteX116" fmla="*/ 999638 w 1150080"/>
                  <a:gd name="connsiteY116" fmla="*/ 239687 h 1210372"/>
                  <a:gd name="connsiteX117" fmla="*/ 1042614 w 1150080"/>
                  <a:gd name="connsiteY117" fmla="*/ 264495 h 1210372"/>
                  <a:gd name="connsiteX118" fmla="*/ 1065501 w 1150080"/>
                  <a:gd name="connsiteY118" fmla="*/ 286971 h 1210372"/>
                  <a:gd name="connsiteX119" fmla="*/ 1083559 w 1150080"/>
                  <a:gd name="connsiteY119" fmla="*/ 299650 h 1210372"/>
                  <a:gd name="connsiteX120" fmla="*/ 1097198 w 1150080"/>
                  <a:gd name="connsiteY120" fmla="*/ 304288 h 1210372"/>
                  <a:gd name="connsiteX121" fmla="*/ 1117945 w 1150080"/>
                  <a:gd name="connsiteY121" fmla="*/ 304205 h 1210372"/>
                  <a:gd name="connsiteX122" fmla="*/ 1129745 w 1150080"/>
                  <a:gd name="connsiteY122" fmla="*/ 307444 h 1210372"/>
                  <a:gd name="connsiteX123" fmla="*/ 1138994 w 1150080"/>
                  <a:gd name="connsiteY123" fmla="*/ 321000 h 1210372"/>
                  <a:gd name="connsiteX124" fmla="*/ 1150081 w 1150080"/>
                  <a:gd name="connsiteY124" fmla="*/ 361671 h 1210372"/>
                  <a:gd name="connsiteX125" fmla="*/ 1149312 w 1150080"/>
                  <a:gd name="connsiteY125" fmla="*/ 391749 h 1210372"/>
                  <a:gd name="connsiteX126" fmla="*/ 1134767 w 1150080"/>
                  <a:gd name="connsiteY126" fmla="*/ 428001 h 1210372"/>
                  <a:gd name="connsiteX127" fmla="*/ 1106309 w 1150080"/>
                  <a:gd name="connsiteY127" fmla="*/ 462579 h 1210372"/>
                  <a:gd name="connsiteX128" fmla="*/ 1087785 w 1150080"/>
                  <a:gd name="connsiteY128" fmla="*/ 477179 h 1210372"/>
                  <a:gd name="connsiteX129" fmla="*/ 1056061 w 1150080"/>
                  <a:gd name="connsiteY129" fmla="*/ 528607 h 1210372"/>
                  <a:gd name="connsiteX130" fmla="*/ 1045523 w 1150080"/>
                  <a:gd name="connsiteY130" fmla="*/ 538184 h 1210372"/>
                  <a:gd name="connsiteX131" fmla="*/ 1039623 w 1150080"/>
                  <a:gd name="connsiteY131" fmla="*/ 532394 h 1210372"/>
                  <a:gd name="connsiteX132" fmla="*/ 1036165 w 1150080"/>
                  <a:gd name="connsiteY132" fmla="*/ 533354 h 1210372"/>
                  <a:gd name="connsiteX133" fmla="*/ 1036220 w 1150080"/>
                  <a:gd name="connsiteY133" fmla="*/ 541450 h 1210372"/>
                  <a:gd name="connsiteX134" fmla="*/ 1030539 w 1150080"/>
                  <a:gd name="connsiteY134" fmla="*/ 549409 h 1210372"/>
                  <a:gd name="connsiteX135" fmla="*/ 1027108 w 1150080"/>
                  <a:gd name="connsiteY135" fmla="*/ 567164 h 1210372"/>
                  <a:gd name="connsiteX136" fmla="*/ 1028234 w 1150080"/>
                  <a:gd name="connsiteY136" fmla="*/ 576083 h 1210372"/>
                  <a:gd name="connsiteX137" fmla="*/ 1026834 w 1150080"/>
                  <a:gd name="connsiteY137" fmla="*/ 592713 h 1210372"/>
                  <a:gd name="connsiteX138" fmla="*/ 1031115 w 1150080"/>
                  <a:gd name="connsiteY138" fmla="*/ 627100 h 1210372"/>
                  <a:gd name="connsiteX139" fmla="*/ 1022608 w 1150080"/>
                  <a:gd name="connsiteY139" fmla="*/ 665355 h 1210372"/>
                  <a:gd name="connsiteX140" fmla="*/ 1022306 w 1150080"/>
                  <a:gd name="connsiteY140" fmla="*/ 682617 h 1210372"/>
                  <a:gd name="connsiteX141" fmla="*/ 1013250 w 1150080"/>
                  <a:gd name="connsiteY141" fmla="*/ 694719 h 1210372"/>
                  <a:gd name="connsiteX142" fmla="*/ 1008063 w 1150080"/>
                  <a:gd name="connsiteY142" fmla="*/ 706053 h 1210372"/>
                  <a:gd name="connsiteX143" fmla="*/ 1006362 w 1150080"/>
                  <a:gd name="connsiteY143" fmla="*/ 718924 h 1210372"/>
                  <a:gd name="connsiteX144" fmla="*/ 1006965 w 1150080"/>
                  <a:gd name="connsiteY144" fmla="*/ 733029 h 1210372"/>
                  <a:gd name="connsiteX145" fmla="*/ 1005127 w 1150080"/>
                  <a:gd name="connsiteY145" fmla="*/ 740192 h 1210372"/>
                  <a:gd name="connsiteX146" fmla="*/ 996400 w 1150080"/>
                  <a:gd name="connsiteY146" fmla="*/ 751828 h 1210372"/>
                  <a:gd name="connsiteX147" fmla="*/ 986630 w 1150080"/>
                  <a:gd name="connsiteY147" fmla="*/ 772602 h 1210372"/>
                  <a:gd name="connsiteX148" fmla="*/ 976559 w 1150080"/>
                  <a:gd name="connsiteY148" fmla="*/ 783634 h 1210372"/>
                  <a:gd name="connsiteX149" fmla="*/ 971866 w 1150080"/>
                  <a:gd name="connsiteY149" fmla="*/ 792471 h 1210372"/>
                  <a:gd name="connsiteX150" fmla="*/ 968079 w 1150080"/>
                  <a:gd name="connsiteY150" fmla="*/ 803421 h 1210372"/>
                  <a:gd name="connsiteX151" fmla="*/ 966899 w 1150080"/>
                  <a:gd name="connsiteY151" fmla="*/ 818267 h 1210372"/>
                  <a:gd name="connsiteX152" fmla="*/ 945740 w 1150080"/>
                  <a:gd name="connsiteY152" fmla="*/ 831550 h 1210372"/>
                  <a:gd name="connsiteX153" fmla="*/ 941788 w 1150080"/>
                  <a:gd name="connsiteY153" fmla="*/ 836846 h 1210372"/>
                  <a:gd name="connsiteX154" fmla="*/ 939511 w 1150080"/>
                  <a:gd name="connsiteY154" fmla="*/ 844750 h 1210372"/>
                  <a:gd name="connsiteX155" fmla="*/ 936162 w 1150080"/>
                  <a:gd name="connsiteY155" fmla="*/ 847796 h 1210372"/>
                  <a:gd name="connsiteX156" fmla="*/ 910942 w 1150080"/>
                  <a:gd name="connsiteY156" fmla="*/ 848372 h 1210372"/>
                  <a:gd name="connsiteX157" fmla="*/ 906057 w 1150080"/>
                  <a:gd name="connsiteY157" fmla="*/ 842472 h 1210372"/>
                  <a:gd name="connsiteX158" fmla="*/ 902737 w 1150080"/>
                  <a:gd name="connsiteY158" fmla="*/ 848619 h 1210372"/>
                  <a:gd name="connsiteX159" fmla="*/ 899087 w 1150080"/>
                  <a:gd name="connsiteY159" fmla="*/ 850623 h 1210372"/>
                  <a:gd name="connsiteX160" fmla="*/ 893544 w 1150080"/>
                  <a:gd name="connsiteY160" fmla="*/ 851089 h 1210372"/>
                  <a:gd name="connsiteX161" fmla="*/ 883307 w 1150080"/>
                  <a:gd name="connsiteY161" fmla="*/ 848619 h 1210372"/>
                  <a:gd name="connsiteX162" fmla="*/ 863686 w 1150080"/>
                  <a:gd name="connsiteY162" fmla="*/ 852708 h 1210372"/>
                  <a:gd name="connsiteX163" fmla="*/ 861051 w 1150080"/>
                  <a:gd name="connsiteY163" fmla="*/ 860447 h 1210372"/>
                  <a:gd name="connsiteX164" fmla="*/ 852406 w 1150080"/>
                  <a:gd name="connsiteY164" fmla="*/ 863246 h 1210372"/>
                  <a:gd name="connsiteX165" fmla="*/ 841978 w 1150080"/>
                  <a:gd name="connsiteY165" fmla="*/ 870217 h 1210372"/>
                  <a:gd name="connsiteX166" fmla="*/ 841045 w 1150080"/>
                  <a:gd name="connsiteY166" fmla="*/ 877819 h 1210372"/>
                  <a:gd name="connsiteX167" fmla="*/ 823920 w 1150080"/>
                  <a:gd name="connsiteY167" fmla="*/ 876529 h 1210372"/>
                  <a:gd name="connsiteX168" fmla="*/ 808607 w 1150080"/>
                  <a:gd name="connsiteY168" fmla="*/ 883335 h 1210372"/>
                  <a:gd name="connsiteX169" fmla="*/ 770380 w 1150080"/>
                  <a:gd name="connsiteY169" fmla="*/ 910256 h 1210372"/>
                  <a:gd name="connsiteX170" fmla="*/ 757948 w 1150080"/>
                  <a:gd name="connsiteY170" fmla="*/ 927024 h 1210372"/>
                  <a:gd name="connsiteX171" fmla="*/ 753145 w 1150080"/>
                  <a:gd name="connsiteY171" fmla="*/ 925789 h 1210372"/>
                  <a:gd name="connsiteX172" fmla="*/ 749413 w 1150080"/>
                  <a:gd name="connsiteY172" fmla="*/ 928232 h 1210372"/>
                  <a:gd name="connsiteX173" fmla="*/ 748672 w 1150080"/>
                  <a:gd name="connsiteY173" fmla="*/ 930399 h 1210372"/>
                  <a:gd name="connsiteX174" fmla="*/ 750593 w 1150080"/>
                  <a:gd name="connsiteY174" fmla="*/ 935256 h 1210372"/>
                  <a:gd name="connsiteX175" fmla="*/ 745544 w 1150080"/>
                  <a:gd name="connsiteY175" fmla="*/ 951009 h 1210372"/>
                  <a:gd name="connsiteX176" fmla="*/ 746751 w 1150080"/>
                  <a:gd name="connsiteY176" fmla="*/ 957623 h 1210372"/>
                  <a:gd name="connsiteX177" fmla="*/ 744309 w 1150080"/>
                  <a:gd name="connsiteY177" fmla="*/ 969396 h 1210372"/>
                  <a:gd name="connsiteX178" fmla="*/ 747245 w 1150080"/>
                  <a:gd name="connsiteY178" fmla="*/ 985176 h 1210372"/>
                  <a:gd name="connsiteX179" fmla="*/ 746476 w 1150080"/>
                  <a:gd name="connsiteY179" fmla="*/ 995549 h 1210372"/>
                  <a:gd name="connsiteX180" fmla="*/ 750319 w 1150080"/>
                  <a:gd name="connsiteY180" fmla="*/ 997443 h 1210372"/>
                  <a:gd name="connsiteX181" fmla="*/ 745598 w 1150080"/>
                  <a:gd name="connsiteY181" fmla="*/ 1008776 h 1210372"/>
                  <a:gd name="connsiteX182" fmla="*/ 740631 w 1150080"/>
                  <a:gd name="connsiteY182" fmla="*/ 1028700 h 1210372"/>
                  <a:gd name="connsiteX183" fmla="*/ 723672 w 1150080"/>
                  <a:gd name="connsiteY183" fmla="*/ 1044864 h 1210372"/>
                  <a:gd name="connsiteX184" fmla="*/ 712886 w 1150080"/>
                  <a:gd name="connsiteY184" fmla="*/ 1058146 h 1210372"/>
                  <a:gd name="connsiteX185" fmla="*/ 703034 w 1150080"/>
                  <a:gd name="connsiteY185" fmla="*/ 1075408 h 1210372"/>
                  <a:gd name="connsiteX186" fmla="*/ 693210 w 1150080"/>
                  <a:gd name="connsiteY186" fmla="*/ 1099338 h 1210372"/>
                  <a:gd name="connsiteX187" fmla="*/ 680504 w 1150080"/>
                  <a:gd name="connsiteY187" fmla="*/ 1119509 h 1210372"/>
                  <a:gd name="connsiteX188" fmla="*/ 664806 w 1150080"/>
                  <a:gd name="connsiteY188" fmla="*/ 1136057 h 1210372"/>
                  <a:gd name="connsiteX189" fmla="*/ 646173 w 1150080"/>
                  <a:gd name="connsiteY189" fmla="*/ 1148242 h 1210372"/>
                  <a:gd name="connsiteX190" fmla="*/ 646639 w 1150080"/>
                  <a:gd name="connsiteY190" fmla="*/ 1144043 h 1210372"/>
                  <a:gd name="connsiteX191" fmla="*/ 655037 w 1150080"/>
                  <a:gd name="connsiteY191" fmla="*/ 1140174 h 1210372"/>
                  <a:gd name="connsiteX192" fmla="*/ 667194 w 1150080"/>
                  <a:gd name="connsiteY192" fmla="*/ 1129032 h 1210372"/>
                  <a:gd name="connsiteX193" fmla="*/ 671639 w 1150080"/>
                  <a:gd name="connsiteY193" fmla="*/ 1117945 h 1210372"/>
                  <a:gd name="connsiteX194" fmla="*/ 681739 w 1150080"/>
                  <a:gd name="connsiteY194" fmla="*/ 1106666 h 1210372"/>
                  <a:gd name="connsiteX195" fmla="*/ 686651 w 1150080"/>
                  <a:gd name="connsiteY195" fmla="*/ 1091572 h 1210372"/>
                  <a:gd name="connsiteX196" fmla="*/ 682562 w 1150080"/>
                  <a:gd name="connsiteY196" fmla="*/ 1089843 h 1210372"/>
                  <a:gd name="connsiteX197" fmla="*/ 668045 w 1150080"/>
                  <a:gd name="connsiteY197" fmla="*/ 1097829 h 1210372"/>
                  <a:gd name="connsiteX198" fmla="*/ 659757 w 1150080"/>
                  <a:gd name="connsiteY198" fmla="*/ 1117616 h 1210372"/>
                  <a:gd name="connsiteX199" fmla="*/ 648148 w 1150080"/>
                  <a:gd name="connsiteY199" fmla="*/ 1127440 h 1210372"/>
                  <a:gd name="connsiteX200" fmla="*/ 641123 w 1150080"/>
                  <a:gd name="connsiteY200" fmla="*/ 1139762 h 1210372"/>
                  <a:gd name="connsiteX201" fmla="*/ 640492 w 1150080"/>
                  <a:gd name="connsiteY201" fmla="*/ 1155596 h 1210372"/>
                  <a:gd name="connsiteX202" fmla="*/ 627045 w 1150080"/>
                  <a:gd name="connsiteY202" fmla="*/ 1186854 h 1210372"/>
                  <a:gd name="connsiteX203" fmla="*/ 620047 w 1150080"/>
                  <a:gd name="connsiteY203" fmla="*/ 1196267 h 1210372"/>
                  <a:gd name="connsiteX204" fmla="*/ 605118 w 1150080"/>
                  <a:gd name="connsiteY204" fmla="*/ 1210372 h 1210372"/>
                  <a:gd name="connsiteX205" fmla="*/ 601001 w 1150080"/>
                  <a:gd name="connsiteY205" fmla="*/ 1206915 h 1210372"/>
                  <a:gd name="connsiteX206" fmla="*/ 601385 w 1150080"/>
                  <a:gd name="connsiteY206" fmla="*/ 1189845 h 1210372"/>
                  <a:gd name="connsiteX207" fmla="*/ 613515 w 1150080"/>
                  <a:gd name="connsiteY207" fmla="*/ 1174916 h 1210372"/>
                  <a:gd name="connsiteX208" fmla="*/ 599080 w 1150080"/>
                  <a:gd name="connsiteY208" fmla="*/ 1164159 h 1210372"/>
                  <a:gd name="connsiteX209" fmla="*/ 594333 w 1150080"/>
                  <a:gd name="connsiteY209" fmla="*/ 1152687 h 1210372"/>
                  <a:gd name="connsiteX210" fmla="*/ 592192 w 1150080"/>
                  <a:gd name="connsiteY210" fmla="*/ 1151151 h 1210372"/>
                  <a:gd name="connsiteX211" fmla="*/ 574821 w 1150080"/>
                  <a:gd name="connsiteY211" fmla="*/ 1138692 h 1210372"/>
                  <a:gd name="connsiteX212" fmla="*/ 571500 w 1150080"/>
                  <a:gd name="connsiteY212" fmla="*/ 1132297 h 1210372"/>
                  <a:gd name="connsiteX213" fmla="*/ 550397 w 1150080"/>
                  <a:gd name="connsiteY213" fmla="*/ 1123077 h 1210372"/>
                  <a:gd name="connsiteX214" fmla="*/ 540270 w 1150080"/>
                  <a:gd name="connsiteY214" fmla="*/ 1110014 h 1210372"/>
                  <a:gd name="connsiteX215" fmla="*/ 532421 w 1150080"/>
                  <a:gd name="connsiteY215" fmla="*/ 1116655 h 1210372"/>
                  <a:gd name="connsiteX216" fmla="*/ 528552 w 1150080"/>
                  <a:gd name="connsiteY216" fmla="*/ 1116600 h 1210372"/>
                  <a:gd name="connsiteX217" fmla="*/ 527811 w 1150080"/>
                  <a:gd name="connsiteY217" fmla="*/ 1108642 h 1210372"/>
                  <a:gd name="connsiteX218" fmla="*/ 522267 w 1150080"/>
                  <a:gd name="connsiteY218" fmla="*/ 1101067 h 1210372"/>
                  <a:gd name="connsiteX219" fmla="*/ 503442 w 1150080"/>
                  <a:gd name="connsiteY219" fmla="*/ 1084053 h 1210372"/>
                  <a:gd name="connsiteX220" fmla="*/ 496334 w 1150080"/>
                  <a:gd name="connsiteY220" fmla="*/ 1084245 h 1210372"/>
                  <a:gd name="connsiteX221" fmla="*/ 492437 w 1150080"/>
                  <a:gd name="connsiteY221" fmla="*/ 1089377 h 1210372"/>
                  <a:gd name="connsiteX222" fmla="*/ 487388 w 1150080"/>
                  <a:gd name="connsiteY222" fmla="*/ 1090173 h 1210372"/>
                  <a:gd name="connsiteX223" fmla="*/ 483271 w 1150080"/>
                  <a:gd name="connsiteY223" fmla="*/ 1089487 h 1210372"/>
                  <a:gd name="connsiteX224" fmla="*/ 480362 w 1150080"/>
                  <a:gd name="connsiteY224" fmla="*/ 1086440 h 1210372"/>
                  <a:gd name="connsiteX225" fmla="*/ 487388 w 1150080"/>
                  <a:gd name="connsiteY225" fmla="*/ 1080759 h 1210372"/>
                  <a:gd name="connsiteX226" fmla="*/ 491723 w 1150080"/>
                  <a:gd name="connsiteY226" fmla="*/ 1073570 h 1210372"/>
                  <a:gd name="connsiteX227" fmla="*/ 499929 w 1150080"/>
                  <a:gd name="connsiteY227" fmla="*/ 1067395 h 1210372"/>
                  <a:gd name="connsiteX228" fmla="*/ 527811 w 1150080"/>
                  <a:gd name="connsiteY228" fmla="*/ 1030676 h 1210372"/>
                  <a:gd name="connsiteX229" fmla="*/ 532257 w 1150080"/>
                  <a:gd name="connsiteY229" fmla="*/ 1026093 h 1210372"/>
                  <a:gd name="connsiteX230" fmla="*/ 536373 w 1150080"/>
                  <a:gd name="connsiteY230" fmla="*/ 1025873 h 1210372"/>
                  <a:gd name="connsiteX231" fmla="*/ 536812 w 1150080"/>
                  <a:gd name="connsiteY231" fmla="*/ 1020742 h 1210372"/>
                  <a:gd name="connsiteX232" fmla="*/ 558547 w 1150080"/>
                  <a:gd name="connsiteY232" fmla="*/ 1005373 h 1210372"/>
                  <a:gd name="connsiteX233" fmla="*/ 563048 w 1150080"/>
                  <a:gd name="connsiteY233" fmla="*/ 999089 h 1210372"/>
                  <a:gd name="connsiteX234" fmla="*/ 577181 w 1150080"/>
                  <a:gd name="connsiteY234" fmla="*/ 994561 h 1210372"/>
                  <a:gd name="connsiteX235" fmla="*/ 592851 w 1150080"/>
                  <a:gd name="connsiteY235" fmla="*/ 982815 h 1210372"/>
                  <a:gd name="connsiteX236" fmla="*/ 595485 w 1150080"/>
                  <a:gd name="connsiteY236" fmla="*/ 977327 h 1210372"/>
                  <a:gd name="connsiteX237" fmla="*/ 594497 w 1150080"/>
                  <a:gd name="connsiteY237" fmla="*/ 968957 h 1210372"/>
                  <a:gd name="connsiteX238" fmla="*/ 597791 w 1150080"/>
                  <a:gd name="connsiteY238" fmla="*/ 956690 h 1210372"/>
                  <a:gd name="connsiteX239" fmla="*/ 591918 w 1150080"/>
                  <a:gd name="connsiteY239" fmla="*/ 945850 h 1210372"/>
                  <a:gd name="connsiteX240" fmla="*/ 590216 w 1150080"/>
                  <a:gd name="connsiteY240" fmla="*/ 936547 h 1210372"/>
                  <a:gd name="connsiteX241" fmla="*/ 583356 w 1150080"/>
                  <a:gd name="connsiteY241" fmla="*/ 932677 h 1210372"/>
                  <a:gd name="connsiteX242" fmla="*/ 574299 w 1150080"/>
                  <a:gd name="connsiteY242" fmla="*/ 935311 h 1210372"/>
                  <a:gd name="connsiteX243" fmla="*/ 569277 w 1150080"/>
                  <a:gd name="connsiteY243" fmla="*/ 933884 h 1210372"/>
                  <a:gd name="connsiteX244" fmla="*/ 568976 w 1150080"/>
                  <a:gd name="connsiteY244" fmla="*/ 929384 h 1210372"/>
                  <a:gd name="connsiteX245" fmla="*/ 573503 w 1150080"/>
                  <a:gd name="connsiteY245" fmla="*/ 920300 h 1210372"/>
                  <a:gd name="connsiteX246" fmla="*/ 578772 w 1150080"/>
                  <a:gd name="connsiteY246" fmla="*/ 894065 h 1210372"/>
                  <a:gd name="connsiteX247" fmla="*/ 577730 w 1150080"/>
                  <a:gd name="connsiteY247" fmla="*/ 883829 h 1210372"/>
                  <a:gd name="connsiteX248" fmla="*/ 572927 w 1150080"/>
                  <a:gd name="connsiteY248" fmla="*/ 879026 h 1210372"/>
                  <a:gd name="connsiteX249" fmla="*/ 567740 w 1150080"/>
                  <a:gd name="connsiteY249" fmla="*/ 876913 h 1210372"/>
                  <a:gd name="connsiteX250" fmla="*/ 557120 w 1150080"/>
                  <a:gd name="connsiteY250" fmla="*/ 881606 h 1210372"/>
                  <a:gd name="connsiteX251" fmla="*/ 545622 w 1150080"/>
                  <a:gd name="connsiteY251" fmla="*/ 880975 h 1210372"/>
                  <a:gd name="connsiteX252" fmla="*/ 541670 w 1150080"/>
                  <a:gd name="connsiteY252" fmla="*/ 868680 h 1210372"/>
                  <a:gd name="connsiteX253" fmla="*/ 541533 w 1150080"/>
                  <a:gd name="connsiteY253" fmla="*/ 856715 h 1210372"/>
                  <a:gd name="connsiteX254" fmla="*/ 539200 w 1150080"/>
                  <a:gd name="connsiteY254" fmla="*/ 853257 h 1210372"/>
                  <a:gd name="connsiteX255" fmla="*/ 538761 w 1150080"/>
                  <a:gd name="connsiteY255" fmla="*/ 838822 h 1210372"/>
                  <a:gd name="connsiteX256" fmla="*/ 531873 w 1150080"/>
                  <a:gd name="connsiteY256" fmla="*/ 827680 h 1210372"/>
                  <a:gd name="connsiteX257" fmla="*/ 521581 w 1150080"/>
                  <a:gd name="connsiteY257" fmla="*/ 827049 h 1210372"/>
                  <a:gd name="connsiteX258" fmla="*/ 515187 w 1150080"/>
                  <a:gd name="connsiteY258" fmla="*/ 821231 h 1210372"/>
                  <a:gd name="connsiteX259" fmla="*/ 509451 w 1150080"/>
                  <a:gd name="connsiteY259" fmla="*/ 825594 h 1210372"/>
                  <a:gd name="connsiteX260" fmla="*/ 503194 w 1150080"/>
                  <a:gd name="connsiteY260" fmla="*/ 827323 h 1210372"/>
                  <a:gd name="connsiteX261" fmla="*/ 489089 w 1150080"/>
                  <a:gd name="connsiteY261" fmla="*/ 825567 h 1210372"/>
                  <a:gd name="connsiteX262" fmla="*/ 479237 w 1150080"/>
                  <a:gd name="connsiteY262" fmla="*/ 821505 h 1210372"/>
                  <a:gd name="connsiteX263" fmla="*/ 474023 w 1150080"/>
                  <a:gd name="connsiteY263" fmla="*/ 822741 h 1210372"/>
                  <a:gd name="connsiteX264" fmla="*/ 470043 w 1150080"/>
                  <a:gd name="connsiteY264" fmla="*/ 820902 h 1210372"/>
                  <a:gd name="connsiteX265" fmla="*/ 471662 w 1150080"/>
                  <a:gd name="connsiteY265" fmla="*/ 808690 h 1210372"/>
                  <a:gd name="connsiteX266" fmla="*/ 470675 w 1150080"/>
                  <a:gd name="connsiteY266" fmla="*/ 803668 h 1210372"/>
                  <a:gd name="connsiteX267" fmla="*/ 473831 w 1150080"/>
                  <a:gd name="connsiteY267" fmla="*/ 786434 h 1210372"/>
                  <a:gd name="connsiteX268" fmla="*/ 471196 w 1150080"/>
                  <a:gd name="connsiteY268" fmla="*/ 779792 h 1210372"/>
                  <a:gd name="connsiteX269" fmla="*/ 472129 w 1150080"/>
                  <a:gd name="connsiteY269" fmla="*/ 777953 h 1210372"/>
                  <a:gd name="connsiteX270" fmla="*/ 469440 w 1150080"/>
                  <a:gd name="connsiteY270" fmla="*/ 776225 h 1210372"/>
                  <a:gd name="connsiteX271" fmla="*/ 468671 w 1150080"/>
                  <a:gd name="connsiteY271" fmla="*/ 769309 h 1210372"/>
                  <a:gd name="connsiteX272" fmla="*/ 464280 w 1150080"/>
                  <a:gd name="connsiteY272" fmla="*/ 760472 h 1210372"/>
                  <a:gd name="connsiteX273" fmla="*/ 472705 w 1150080"/>
                  <a:gd name="connsiteY273" fmla="*/ 755039 h 1210372"/>
                  <a:gd name="connsiteX274" fmla="*/ 466037 w 1150080"/>
                  <a:gd name="connsiteY274" fmla="*/ 746175 h 1210372"/>
                  <a:gd name="connsiteX275" fmla="*/ 477014 w 1150080"/>
                  <a:gd name="connsiteY275" fmla="*/ 724769 h 1210372"/>
                  <a:gd name="connsiteX276" fmla="*/ 476794 w 1150080"/>
                  <a:gd name="connsiteY276" fmla="*/ 718046 h 1210372"/>
                  <a:gd name="connsiteX277" fmla="*/ 481268 w 1150080"/>
                  <a:gd name="connsiteY277" fmla="*/ 703171 h 1210372"/>
                  <a:gd name="connsiteX278" fmla="*/ 484122 w 1150080"/>
                  <a:gd name="connsiteY278" fmla="*/ 700098 h 1210372"/>
                  <a:gd name="connsiteX279" fmla="*/ 476136 w 1150080"/>
                  <a:gd name="connsiteY279" fmla="*/ 683138 h 1210372"/>
                  <a:gd name="connsiteX280" fmla="*/ 474023 w 1150080"/>
                  <a:gd name="connsiteY280" fmla="*/ 677897 h 1210372"/>
                  <a:gd name="connsiteX281" fmla="*/ 466229 w 1150080"/>
                  <a:gd name="connsiteY281" fmla="*/ 676168 h 1210372"/>
                  <a:gd name="connsiteX282" fmla="*/ 457282 w 1150080"/>
                  <a:gd name="connsiteY282" fmla="*/ 667304 h 1210372"/>
                  <a:gd name="connsiteX283" fmla="*/ 455663 w 1150080"/>
                  <a:gd name="connsiteY283" fmla="*/ 653225 h 1210372"/>
                  <a:gd name="connsiteX284" fmla="*/ 458737 w 1150080"/>
                  <a:gd name="connsiteY284" fmla="*/ 647929 h 1210372"/>
                  <a:gd name="connsiteX285" fmla="*/ 459149 w 1150080"/>
                  <a:gd name="connsiteY285" fmla="*/ 640135 h 1210372"/>
                  <a:gd name="connsiteX286" fmla="*/ 453578 w 1150080"/>
                  <a:gd name="connsiteY286" fmla="*/ 641397 h 1210372"/>
                  <a:gd name="connsiteX287" fmla="*/ 405470 w 1150080"/>
                  <a:gd name="connsiteY287" fmla="*/ 639092 h 1210372"/>
                  <a:gd name="connsiteX288" fmla="*/ 403220 w 1150080"/>
                  <a:gd name="connsiteY288" fmla="*/ 616122 h 1210372"/>
                  <a:gd name="connsiteX289" fmla="*/ 394905 w 1150080"/>
                  <a:gd name="connsiteY289" fmla="*/ 605337 h 1210372"/>
                  <a:gd name="connsiteX290" fmla="*/ 401848 w 1150080"/>
                  <a:gd name="connsiteY290" fmla="*/ 603883 h 1210372"/>
                  <a:gd name="connsiteX291" fmla="*/ 402616 w 1150080"/>
                  <a:gd name="connsiteY291" fmla="*/ 602154 h 1210372"/>
                  <a:gd name="connsiteX292" fmla="*/ 402012 w 1150080"/>
                  <a:gd name="connsiteY292" fmla="*/ 590271 h 1210372"/>
                  <a:gd name="connsiteX293" fmla="*/ 396332 w 1150080"/>
                  <a:gd name="connsiteY293" fmla="*/ 576687 h 1210372"/>
                  <a:gd name="connsiteX294" fmla="*/ 398307 w 1150080"/>
                  <a:gd name="connsiteY294" fmla="*/ 570786 h 1210372"/>
                  <a:gd name="connsiteX295" fmla="*/ 395783 w 1150080"/>
                  <a:gd name="connsiteY295" fmla="*/ 564886 h 1210372"/>
                  <a:gd name="connsiteX296" fmla="*/ 387523 w 1150080"/>
                  <a:gd name="connsiteY296" fmla="*/ 561429 h 1210372"/>
                  <a:gd name="connsiteX297" fmla="*/ 378631 w 1150080"/>
                  <a:gd name="connsiteY297" fmla="*/ 555034 h 1210372"/>
                  <a:gd name="connsiteX298" fmla="*/ 356896 w 1150080"/>
                  <a:gd name="connsiteY298" fmla="*/ 556242 h 1210372"/>
                  <a:gd name="connsiteX299" fmla="*/ 349184 w 1150080"/>
                  <a:gd name="connsiteY299" fmla="*/ 548997 h 1210372"/>
                  <a:gd name="connsiteX300" fmla="*/ 347483 w 1150080"/>
                  <a:gd name="connsiteY300" fmla="*/ 544908 h 1210372"/>
                  <a:gd name="connsiteX301" fmla="*/ 340677 w 1150080"/>
                  <a:gd name="connsiteY301" fmla="*/ 544469 h 1210372"/>
                  <a:gd name="connsiteX302" fmla="*/ 331484 w 1150080"/>
                  <a:gd name="connsiteY302" fmla="*/ 539996 h 1210372"/>
                  <a:gd name="connsiteX303" fmla="*/ 328163 w 1150080"/>
                  <a:gd name="connsiteY303" fmla="*/ 540297 h 1210372"/>
                  <a:gd name="connsiteX304" fmla="*/ 322016 w 1150080"/>
                  <a:gd name="connsiteY304" fmla="*/ 535193 h 1210372"/>
                  <a:gd name="connsiteX305" fmla="*/ 318915 w 1150080"/>
                  <a:gd name="connsiteY305" fmla="*/ 530006 h 1210372"/>
                  <a:gd name="connsiteX306" fmla="*/ 313015 w 1150080"/>
                  <a:gd name="connsiteY306" fmla="*/ 531323 h 1210372"/>
                  <a:gd name="connsiteX307" fmla="*/ 300830 w 1150080"/>
                  <a:gd name="connsiteY307" fmla="*/ 524216 h 1210372"/>
                  <a:gd name="connsiteX308" fmla="*/ 293969 w 1150080"/>
                  <a:gd name="connsiteY308" fmla="*/ 526576 h 1210372"/>
                  <a:gd name="connsiteX309" fmla="*/ 284556 w 1150080"/>
                  <a:gd name="connsiteY309" fmla="*/ 525067 h 1210372"/>
                  <a:gd name="connsiteX310" fmla="*/ 279397 w 1150080"/>
                  <a:gd name="connsiteY310" fmla="*/ 522377 h 1210372"/>
                  <a:gd name="connsiteX311" fmla="*/ 278793 w 1150080"/>
                  <a:gd name="connsiteY311" fmla="*/ 519303 h 1210372"/>
                  <a:gd name="connsiteX312" fmla="*/ 269243 w 1150080"/>
                  <a:gd name="connsiteY312" fmla="*/ 511812 h 1210372"/>
                  <a:gd name="connsiteX313" fmla="*/ 263809 w 1150080"/>
                  <a:gd name="connsiteY313" fmla="*/ 509973 h 1210372"/>
                  <a:gd name="connsiteX314" fmla="*/ 261834 w 1150080"/>
                  <a:gd name="connsiteY314" fmla="*/ 503826 h 1210372"/>
                  <a:gd name="connsiteX315" fmla="*/ 258101 w 1150080"/>
                  <a:gd name="connsiteY315" fmla="*/ 502536 h 1210372"/>
                  <a:gd name="connsiteX316" fmla="*/ 257113 w 1150080"/>
                  <a:gd name="connsiteY316" fmla="*/ 497322 h 1210372"/>
                  <a:gd name="connsiteX317" fmla="*/ 253848 w 1150080"/>
                  <a:gd name="connsiteY317" fmla="*/ 493425 h 1210372"/>
                  <a:gd name="connsiteX318" fmla="*/ 251954 w 1150080"/>
                  <a:gd name="connsiteY318" fmla="*/ 486948 h 1210372"/>
                  <a:gd name="connsiteX319" fmla="*/ 254397 w 1150080"/>
                  <a:gd name="connsiteY319" fmla="*/ 478715 h 1210372"/>
                  <a:gd name="connsiteX320" fmla="*/ 250664 w 1150080"/>
                  <a:gd name="connsiteY320" fmla="*/ 466668 h 1210372"/>
                  <a:gd name="connsiteX321" fmla="*/ 254753 w 1150080"/>
                  <a:gd name="connsiteY321" fmla="*/ 456816 h 1210372"/>
                  <a:gd name="connsiteX322" fmla="*/ 254177 w 1150080"/>
                  <a:gd name="connsiteY322" fmla="*/ 445839 h 1210372"/>
                  <a:gd name="connsiteX323" fmla="*/ 252503 w 1150080"/>
                  <a:gd name="connsiteY323" fmla="*/ 442134 h 1210372"/>
                  <a:gd name="connsiteX324" fmla="*/ 249978 w 1150080"/>
                  <a:gd name="connsiteY324" fmla="*/ 441420 h 1210372"/>
                  <a:gd name="connsiteX325" fmla="*/ 246466 w 1150080"/>
                  <a:gd name="connsiteY325" fmla="*/ 445015 h 1210372"/>
                  <a:gd name="connsiteX326" fmla="*/ 238315 w 1150080"/>
                  <a:gd name="connsiteY326" fmla="*/ 443177 h 1210372"/>
                  <a:gd name="connsiteX327" fmla="*/ 218721 w 1150080"/>
                  <a:gd name="connsiteY327" fmla="*/ 446772 h 1210372"/>
                  <a:gd name="connsiteX328" fmla="*/ 211970 w 1150080"/>
                  <a:gd name="connsiteY328" fmla="*/ 450120 h 1210372"/>
                  <a:gd name="connsiteX329" fmla="*/ 203133 w 1150080"/>
                  <a:gd name="connsiteY329" fmla="*/ 457886 h 1210372"/>
                  <a:gd name="connsiteX330" fmla="*/ 192485 w 1150080"/>
                  <a:gd name="connsiteY330" fmla="*/ 461865 h 1210372"/>
                  <a:gd name="connsiteX331" fmla="*/ 183017 w 1150080"/>
                  <a:gd name="connsiteY331" fmla="*/ 470949 h 1210372"/>
                  <a:gd name="connsiteX332" fmla="*/ 173467 w 1150080"/>
                  <a:gd name="connsiteY332" fmla="*/ 470867 h 1210372"/>
                  <a:gd name="connsiteX333" fmla="*/ 166277 w 1150080"/>
                  <a:gd name="connsiteY333" fmla="*/ 479813 h 1210372"/>
                  <a:gd name="connsiteX334" fmla="*/ 156809 w 1150080"/>
                  <a:gd name="connsiteY334" fmla="*/ 483737 h 1210372"/>
                  <a:gd name="connsiteX335" fmla="*/ 152967 w 1150080"/>
                  <a:gd name="connsiteY335" fmla="*/ 484067 h 1210372"/>
                  <a:gd name="connsiteX336" fmla="*/ 151924 w 1150080"/>
                  <a:gd name="connsiteY336" fmla="*/ 480801 h 1210372"/>
                  <a:gd name="connsiteX337" fmla="*/ 128927 w 1150080"/>
                  <a:gd name="connsiteY337" fmla="*/ 478990 h 1210372"/>
                  <a:gd name="connsiteX338" fmla="*/ 118032 w 1150080"/>
                  <a:gd name="connsiteY338" fmla="*/ 478496 h 1210372"/>
                  <a:gd name="connsiteX339" fmla="*/ 107329 w 1150080"/>
                  <a:gd name="connsiteY339" fmla="*/ 481707 h 1210372"/>
                  <a:gd name="connsiteX340" fmla="*/ 98520 w 1150080"/>
                  <a:gd name="connsiteY340" fmla="*/ 478990 h 1210372"/>
                  <a:gd name="connsiteX341" fmla="*/ 97944 w 1150080"/>
                  <a:gd name="connsiteY341" fmla="*/ 448912 h 1210372"/>
                  <a:gd name="connsiteX342" fmla="*/ 100002 w 1150080"/>
                  <a:gd name="connsiteY342" fmla="*/ 442299 h 1210372"/>
                  <a:gd name="connsiteX343" fmla="*/ 98905 w 1150080"/>
                  <a:gd name="connsiteY343" fmla="*/ 435493 h 1210372"/>
                  <a:gd name="connsiteX344" fmla="*/ 78569 w 1150080"/>
                  <a:gd name="connsiteY344" fmla="*/ 449681 h 1210372"/>
                  <a:gd name="connsiteX345" fmla="*/ 55764 w 1150080"/>
                  <a:gd name="connsiteY345" fmla="*/ 450312 h 1210372"/>
                  <a:gd name="connsiteX346" fmla="*/ 53212 w 1150080"/>
                  <a:gd name="connsiteY346" fmla="*/ 449269 h 1210372"/>
                  <a:gd name="connsiteX347" fmla="*/ 46845 w 1150080"/>
                  <a:gd name="connsiteY347" fmla="*/ 435959 h 1210372"/>
                  <a:gd name="connsiteX348" fmla="*/ 35978 w 1150080"/>
                  <a:gd name="connsiteY348" fmla="*/ 433187 h 1210372"/>
                  <a:gd name="connsiteX349" fmla="*/ 23711 w 1150080"/>
                  <a:gd name="connsiteY349" fmla="*/ 432419 h 1210372"/>
                  <a:gd name="connsiteX350" fmla="*/ 28651 w 1150080"/>
                  <a:gd name="connsiteY350" fmla="*/ 424159 h 1210372"/>
                  <a:gd name="connsiteX351" fmla="*/ 28733 w 1150080"/>
                  <a:gd name="connsiteY351" fmla="*/ 420152 h 1210372"/>
                  <a:gd name="connsiteX352" fmla="*/ 12926 w 1150080"/>
                  <a:gd name="connsiteY352" fmla="*/ 401107 h 1210372"/>
                  <a:gd name="connsiteX353" fmla="*/ 9742 w 1150080"/>
                  <a:gd name="connsiteY353" fmla="*/ 392901 h 1210372"/>
                  <a:gd name="connsiteX354" fmla="*/ 6285 w 1150080"/>
                  <a:gd name="connsiteY354" fmla="*/ 388675 h 1210372"/>
                  <a:gd name="connsiteX355" fmla="*/ 6669 w 1150080"/>
                  <a:gd name="connsiteY355" fmla="*/ 384394 h 1210372"/>
                  <a:gd name="connsiteX356" fmla="*/ 0 w 1150080"/>
                  <a:gd name="connsiteY356" fmla="*/ 376737 h 1210372"/>
                  <a:gd name="connsiteX357" fmla="*/ 988 w 1150080"/>
                  <a:gd name="connsiteY357" fmla="*/ 372237 h 1210372"/>
                  <a:gd name="connsiteX358" fmla="*/ 6586 w 1150080"/>
                  <a:gd name="connsiteY358" fmla="*/ 369822 h 1210372"/>
                  <a:gd name="connsiteX359" fmla="*/ 5269 w 1150080"/>
                  <a:gd name="connsiteY359" fmla="*/ 364086 h 1210372"/>
                  <a:gd name="connsiteX360" fmla="*/ 6751 w 1150080"/>
                  <a:gd name="connsiteY360" fmla="*/ 358405 h 1210372"/>
                  <a:gd name="connsiteX361" fmla="*/ 11883 w 1150080"/>
                  <a:gd name="connsiteY361" fmla="*/ 352615 h 1210372"/>
                  <a:gd name="connsiteX362" fmla="*/ 23190 w 1150080"/>
                  <a:gd name="connsiteY362" fmla="*/ 344547 h 1210372"/>
                  <a:gd name="connsiteX363" fmla="*/ 23052 w 1150080"/>
                  <a:gd name="connsiteY363" fmla="*/ 333103 h 1210372"/>
                  <a:gd name="connsiteX364" fmla="*/ 28623 w 1150080"/>
                  <a:gd name="connsiteY364" fmla="*/ 322126 h 1210372"/>
                  <a:gd name="connsiteX365" fmla="*/ 33014 w 1150080"/>
                  <a:gd name="connsiteY365" fmla="*/ 305358 h 1210372"/>
                  <a:gd name="connsiteX366" fmla="*/ 42564 w 1150080"/>
                  <a:gd name="connsiteY366" fmla="*/ 301050 h 1210372"/>
                  <a:gd name="connsiteX367" fmla="*/ 62625 w 1150080"/>
                  <a:gd name="connsiteY367" fmla="*/ 287301 h 1210372"/>
                  <a:gd name="connsiteX368" fmla="*/ 86967 w 1150080"/>
                  <a:gd name="connsiteY368" fmla="*/ 283706 h 1210372"/>
                  <a:gd name="connsiteX369" fmla="*/ 94980 w 1150080"/>
                  <a:gd name="connsiteY369" fmla="*/ 277531 h 1210372"/>
                  <a:gd name="connsiteX370" fmla="*/ 105107 w 1150080"/>
                  <a:gd name="connsiteY370" fmla="*/ 276927 h 1210372"/>
                  <a:gd name="connsiteX371" fmla="*/ 109306 w 1150080"/>
                  <a:gd name="connsiteY371" fmla="*/ 280851 h 1210372"/>
                  <a:gd name="connsiteX372" fmla="*/ 115425 w 1150080"/>
                  <a:gd name="connsiteY372" fmla="*/ 281620 h 1210372"/>
                  <a:gd name="connsiteX373" fmla="*/ 117538 w 1150080"/>
                  <a:gd name="connsiteY373" fmla="*/ 279315 h 1210372"/>
                  <a:gd name="connsiteX374" fmla="*/ 132056 w 1150080"/>
                  <a:gd name="connsiteY374" fmla="*/ 196794 h 1210372"/>
                  <a:gd name="connsiteX375" fmla="*/ 133373 w 1150080"/>
                  <a:gd name="connsiteY375" fmla="*/ 189384 h 1210372"/>
                  <a:gd name="connsiteX376" fmla="*/ 128378 w 1150080"/>
                  <a:gd name="connsiteY376" fmla="*/ 177474 h 1210372"/>
                  <a:gd name="connsiteX377" fmla="*/ 127144 w 1150080"/>
                  <a:gd name="connsiteY377" fmla="*/ 170009 h 1210372"/>
                  <a:gd name="connsiteX378" fmla="*/ 115206 w 1150080"/>
                  <a:gd name="connsiteY378" fmla="*/ 159526 h 1210372"/>
                  <a:gd name="connsiteX379" fmla="*/ 115480 w 1150080"/>
                  <a:gd name="connsiteY379" fmla="*/ 139712 h 1210372"/>
                  <a:gd name="connsiteX380" fmla="*/ 116633 w 1150080"/>
                  <a:gd name="connsiteY380" fmla="*/ 138203 h 1210372"/>
                  <a:gd name="connsiteX381" fmla="*/ 127802 w 1150080"/>
                  <a:gd name="connsiteY381" fmla="*/ 135898 h 1210372"/>
                  <a:gd name="connsiteX382" fmla="*/ 131260 w 1150080"/>
                  <a:gd name="connsiteY382" fmla="*/ 133702 h 1210372"/>
                  <a:gd name="connsiteX383" fmla="*/ 135568 w 1150080"/>
                  <a:gd name="connsiteY383" fmla="*/ 136446 h 1210372"/>
                  <a:gd name="connsiteX384" fmla="*/ 139575 w 1150080"/>
                  <a:gd name="connsiteY384" fmla="*/ 136584 h 1210372"/>
                  <a:gd name="connsiteX385" fmla="*/ 141139 w 1150080"/>
                  <a:gd name="connsiteY385" fmla="*/ 135184 h 1210372"/>
                  <a:gd name="connsiteX386" fmla="*/ 141276 w 1150080"/>
                  <a:gd name="connsiteY386" fmla="*/ 129147 h 1210372"/>
                  <a:gd name="connsiteX387" fmla="*/ 137187 w 1150080"/>
                  <a:gd name="connsiteY387" fmla="*/ 123548 h 1210372"/>
                  <a:gd name="connsiteX388" fmla="*/ 121051 w 1150080"/>
                  <a:gd name="connsiteY388" fmla="*/ 122368 h 1210372"/>
                  <a:gd name="connsiteX389" fmla="*/ 121490 w 1150080"/>
                  <a:gd name="connsiteY389" fmla="*/ 105244 h 1210372"/>
                  <a:gd name="connsiteX390" fmla="*/ 130135 w 1150080"/>
                  <a:gd name="connsiteY390" fmla="*/ 102884 h 1210372"/>
                  <a:gd name="connsiteX391" fmla="*/ 169131 w 1150080"/>
                  <a:gd name="connsiteY391" fmla="*/ 103872 h 1210372"/>
                  <a:gd name="connsiteX392" fmla="*/ 167210 w 1150080"/>
                  <a:gd name="connsiteY392" fmla="*/ 100332 h 1210372"/>
                  <a:gd name="connsiteX393" fmla="*/ 169625 w 1150080"/>
                  <a:gd name="connsiteY393" fmla="*/ 96846 h 1210372"/>
                  <a:gd name="connsiteX394" fmla="*/ 175086 w 1150080"/>
                  <a:gd name="connsiteY394" fmla="*/ 102692 h 1210372"/>
                  <a:gd name="connsiteX395" fmla="*/ 177611 w 1150080"/>
                  <a:gd name="connsiteY395" fmla="*/ 102994 h 1210372"/>
                  <a:gd name="connsiteX396" fmla="*/ 181042 w 1150080"/>
                  <a:gd name="connsiteY396" fmla="*/ 101566 h 1210372"/>
                  <a:gd name="connsiteX397" fmla="*/ 188588 w 1150080"/>
                  <a:gd name="connsiteY397" fmla="*/ 93334 h 1210372"/>
                  <a:gd name="connsiteX398" fmla="*/ 192321 w 1150080"/>
                  <a:gd name="connsiteY398" fmla="*/ 91961 h 1210372"/>
                  <a:gd name="connsiteX399" fmla="*/ 201185 w 1150080"/>
                  <a:gd name="connsiteY399" fmla="*/ 104421 h 1210372"/>
                  <a:gd name="connsiteX400" fmla="*/ 202090 w 1150080"/>
                  <a:gd name="connsiteY400" fmla="*/ 119706 h 1210372"/>
                  <a:gd name="connsiteX401" fmla="*/ 208292 w 1150080"/>
                  <a:gd name="connsiteY401" fmla="*/ 118773 h 1210372"/>
                  <a:gd name="connsiteX402" fmla="*/ 225609 w 1150080"/>
                  <a:gd name="connsiteY402" fmla="*/ 131946 h 1210372"/>
                  <a:gd name="connsiteX403" fmla="*/ 230384 w 1150080"/>
                  <a:gd name="connsiteY403" fmla="*/ 131946 h 1210372"/>
                  <a:gd name="connsiteX404" fmla="*/ 240154 w 1150080"/>
                  <a:gd name="connsiteY404" fmla="*/ 126457 h 1210372"/>
                  <a:gd name="connsiteX405" fmla="*/ 244572 w 1150080"/>
                  <a:gd name="connsiteY405" fmla="*/ 125991 h 1210372"/>
                  <a:gd name="connsiteX406" fmla="*/ 247069 w 1150080"/>
                  <a:gd name="connsiteY406" fmla="*/ 127857 h 1210372"/>
                  <a:gd name="connsiteX407" fmla="*/ 247234 w 1150080"/>
                  <a:gd name="connsiteY407" fmla="*/ 132797 h 1210372"/>
                  <a:gd name="connsiteX408" fmla="*/ 248826 w 1150080"/>
                  <a:gd name="connsiteY408" fmla="*/ 133839 h 1210372"/>
                  <a:gd name="connsiteX409" fmla="*/ 260956 w 1150080"/>
                  <a:gd name="connsiteY409" fmla="*/ 121682 h 1210372"/>
                  <a:gd name="connsiteX410" fmla="*/ 271987 w 1150080"/>
                  <a:gd name="connsiteY410" fmla="*/ 117182 h 1210372"/>
                  <a:gd name="connsiteX411" fmla="*/ 279370 w 1150080"/>
                  <a:gd name="connsiteY411" fmla="*/ 111940 h 1210372"/>
                  <a:gd name="connsiteX412" fmla="*/ 284474 w 1150080"/>
                  <a:gd name="connsiteY412" fmla="*/ 111803 h 1210372"/>
                  <a:gd name="connsiteX413" fmla="*/ 289771 w 1150080"/>
                  <a:gd name="connsiteY413" fmla="*/ 106259 h 1210372"/>
                  <a:gd name="connsiteX414" fmla="*/ 293229 w 1150080"/>
                  <a:gd name="connsiteY414" fmla="*/ 97368 h 1210372"/>
                  <a:gd name="connsiteX415" fmla="*/ 309529 w 1150080"/>
                  <a:gd name="connsiteY415" fmla="*/ 90507 h 1210372"/>
                  <a:gd name="connsiteX416" fmla="*/ 310682 w 1150080"/>
                  <a:gd name="connsiteY416" fmla="*/ 86281 h 1210372"/>
                  <a:gd name="connsiteX417" fmla="*/ 309529 w 1150080"/>
                  <a:gd name="connsiteY417" fmla="*/ 84113 h 1210372"/>
                  <a:gd name="connsiteX418" fmla="*/ 292597 w 1150080"/>
                  <a:gd name="connsiteY418" fmla="*/ 80627 h 1210372"/>
                  <a:gd name="connsiteX419" fmla="*/ 291966 w 1150080"/>
                  <a:gd name="connsiteY419" fmla="*/ 72477 h 1210372"/>
                  <a:gd name="connsiteX420" fmla="*/ 286752 w 1150080"/>
                  <a:gd name="connsiteY420" fmla="*/ 61362 h 1210372"/>
                  <a:gd name="connsiteX421" fmla="*/ 286340 w 1150080"/>
                  <a:gd name="connsiteY421" fmla="*/ 49891 h 1210372"/>
                  <a:gd name="connsiteX422" fmla="*/ 274787 w 1150080"/>
                  <a:gd name="connsiteY422" fmla="*/ 38201 h 1210372"/>
                  <a:gd name="connsiteX423" fmla="*/ 271740 w 1150080"/>
                  <a:gd name="connsiteY423" fmla="*/ 31258 h 1210372"/>
                  <a:gd name="connsiteX424" fmla="*/ 287273 w 1150080"/>
                  <a:gd name="connsiteY424" fmla="*/ 34029 h 1210372"/>
                  <a:gd name="connsiteX425" fmla="*/ 293695 w 1150080"/>
                  <a:gd name="connsiteY425" fmla="*/ 39600 h 1210372"/>
                  <a:gd name="connsiteX426" fmla="*/ 312768 w 1150080"/>
                  <a:gd name="connsiteY426" fmla="*/ 39490 h 1210372"/>
                  <a:gd name="connsiteX427" fmla="*/ 324513 w 1150080"/>
                  <a:gd name="connsiteY427" fmla="*/ 46900 h 1210372"/>
                  <a:gd name="connsiteX428" fmla="*/ 329014 w 1150080"/>
                  <a:gd name="connsiteY428" fmla="*/ 44732 h 1210372"/>
                  <a:gd name="connsiteX429" fmla="*/ 330935 w 1150080"/>
                  <a:gd name="connsiteY429" fmla="*/ 36884 h 1210372"/>
                  <a:gd name="connsiteX430" fmla="*/ 337357 w 1150080"/>
                  <a:gd name="connsiteY430" fmla="*/ 33481 h 1210372"/>
                  <a:gd name="connsiteX431" fmla="*/ 354509 w 1150080"/>
                  <a:gd name="connsiteY431" fmla="*/ 32602 h 1210372"/>
                  <a:gd name="connsiteX432" fmla="*/ 363674 w 1150080"/>
                  <a:gd name="connsiteY432" fmla="*/ 28952 h 1210372"/>
                  <a:gd name="connsiteX433" fmla="*/ 372374 w 1150080"/>
                  <a:gd name="connsiteY433" fmla="*/ 22229 h 1210372"/>
                  <a:gd name="connsiteX434" fmla="*/ 381512 w 1150080"/>
                  <a:gd name="connsiteY434" fmla="*/ 20335 h 1210372"/>
                  <a:gd name="connsiteX435" fmla="*/ 391803 w 1150080"/>
                  <a:gd name="connsiteY435" fmla="*/ 9934 h 1210372"/>
                  <a:gd name="connsiteX436" fmla="*/ 388840 w 1150080"/>
                  <a:gd name="connsiteY436" fmla="*/ 1811 h 1210372"/>
                  <a:gd name="connsiteX437" fmla="*/ 390870 w 1150080"/>
                  <a:gd name="connsiteY437" fmla="*/ 1153 h 1210372"/>
                  <a:gd name="connsiteX438" fmla="*/ 397429 w 1150080"/>
                  <a:gd name="connsiteY438" fmla="*/ 2168 h 1210372"/>
                  <a:gd name="connsiteX439" fmla="*/ 400640 w 1150080"/>
                  <a:gd name="connsiteY439" fmla="*/ 1564 h 1210372"/>
                  <a:gd name="connsiteX440" fmla="*/ 403823 w 1150080"/>
                  <a:gd name="connsiteY440" fmla="*/ 0 h 1210372"/>
                  <a:gd name="connsiteX441" fmla="*/ 406623 w 1150080"/>
                  <a:gd name="connsiteY441" fmla="*/ 686 h 121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Lst>
                <a:rect l="l" t="t" r="r" b="b"/>
                <a:pathLst>
                  <a:path w="1150080" h="1210372">
                    <a:moveTo>
                      <a:pt x="406705" y="714"/>
                    </a:moveTo>
                    <a:lnTo>
                      <a:pt x="408214" y="3458"/>
                    </a:lnTo>
                    <a:lnTo>
                      <a:pt x="411206" y="5790"/>
                    </a:lnTo>
                    <a:lnTo>
                      <a:pt x="409367" y="16301"/>
                    </a:lnTo>
                    <a:lnTo>
                      <a:pt x="407858" y="19210"/>
                    </a:lnTo>
                    <a:lnTo>
                      <a:pt x="405882" y="20500"/>
                    </a:lnTo>
                    <a:lnTo>
                      <a:pt x="405799" y="21570"/>
                    </a:lnTo>
                    <a:lnTo>
                      <a:pt x="408818" y="22449"/>
                    </a:lnTo>
                    <a:lnTo>
                      <a:pt x="412441" y="22256"/>
                    </a:lnTo>
                    <a:lnTo>
                      <a:pt x="417490" y="24507"/>
                    </a:lnTo>
                    <a:lnTo>
                      <a:pt x="419493" y="26181"/>
                    </a:lnTo>
                    <a:lnTo>
                      <a:pt x="418972" y="31450"/>
                    </a:lnTo>
                    <a:lnTo>
                      <a:pt x="423994" y="38914"/>
                    </a:lnTo>
                    <a:lnTo>
                      <a:pt x="419686" y="46049"/>
                    </a:lnTo>
                    <a:lnTo>
                      <a:pt x="414966" y="49535"/>
                    </a:lnTo>
                    <a:lnTo>
                      <a:pt x="416173" y="55353"/>
                    </a:lnTo>
                    <a:lnTo>
                      <a:pt x="411727" y="65424"/>
                    </a:lnTo>
                    <a:lnTo>
                      <a:pt x="410794" y="75496"/>
                    </a:lnTo>
                    <a:lnTo>
                      <a:pt x="413511" y="84634"/>
                    </a:lnTo>
                    <a:lnTo>
                      <a:pt x="418094" y="88339"/>
                    </a:lnTo>
                    <a:lnTo>
                      <a:pt x="417929" y="99701"/>
                    </a:lnTo>
                    <a:lnTo>
                      <a:pt x="425311" y="106287"/>
                    </a:lnTo>
                    <a:lnTo>
                      <a:pt x="433023" y="114026"/>
                    </a:lnTo>
                    <a:lnTo>
                      <a:pt x="440954" y="116441"/>
                    </a:lnTo>
                    <a:lnTo>
                      <a:pt x="445702" y="120337"/>
                    </a:lnTo>
                    <a:lnTo>
                      <a:pt x="449132" y="117401"/>
                    </a:lnTo>
                    <a:lnTo>
                      <a:pt x="454566" y="117099"/>
                    </a:lnTo>
                    <a:lnTo>
                      <a:pt x="455334" y="112516"/>
                    </a:lnTo>
                    <a:lnTo>
                      <a:pt x="459450" y="108757"/>
                    </a:lnTo>
                    <a:lnTo>
                      <a:pt x="468452" y="110431"/>
                    </a:lnTo>
                    <a:lnTo>
                      <a:pt x="469275" y="106287"/>
                    </a:lnTo>
                    <a:lnTo>
                      <a:pt x="472047" y="106287"/>
                    </a:lnTo>
                    <a:lnTo>
                      <a:pt x="482283" y="104668"/>
                    </a:lnTo>
                    <a:lnTo>
                      <a:pt x="489555" y="96901"/>
                    </a:lnTo>
                    <a:lnTo>
                      <a:pt x="495895" y="96023"/>
                    </a:lnTo>
                    <a:lnTo>
                      <a:pt x="504265" y="99646"/>
                    </a:lnTo>
                    <a:lnTo>
                      <a:pt x="514062" y="97669"/>
                    </a:lnTo>
                    <a:lnTo>
                      <a:pt x="527152" y="100716"/>
                    </a:lnTo>
                    <a:lnTo>
                      <a:pt x="530144" y="99673"/>
                    </a:lnTo>
                    <a:lnTo>
                      <a:pt x="530144" y="94514"/>
                    </a:lnTo>
                    <a:cubicBezTo>
                      <a:pt x="530144" y="94514"/>
                      <a:pt x="524682" y="87982"/>
                      <a:pt x="524682" y="87982"/>
                    </a:cubicBezTo>
                    <a:lnTo>
                      <a:pt x="529485" y="80847"/>
                    </a:lnTo>
                    <a:lnTo>
                      <a:pt x="535769" y="83921"/>
                    </a:lnTo>
                    <a:lnTo>
                      <a:pt x="545951" y="83482"/>
                    </a:lnTo>
                    <a:lnTo>
                      <a:pt x="548119" y="81259"/>
                    </a:lnTo>
                    <a:lnTo>
                      <a:pt x="557065" y="79365"/>
                    </a:lnTo>
                    <a:lnTo>
                      <a:pt x="561484" y="82741"/>
                    </a:lnTo>
                    <a:lnTo>
                      <a:pt x="565737" y="82631"/>
                    </a:lnTo>
                    <a:lnTo>
                      <a:pt x="566752" y="85842"/>
                    </a:lnTo>
                    <a:lnTo>
                      <a:pt x="569634" y="86583"/>
                    </a:lnTo>
                    <a:lnTo>
                      <a:pt x="577455" y="91330"/>
                    </a:lnTo>
                    <a:lnTo>
                      <a:pt x="583054" y="92346"/>
                    </a:lnTo>
                    <a:lnTo>
                      <a:pt x="593839" y="85595"/>
                    </a:lnTo>
                    <a:lnTo>
                      <a:pt x="601221" y="88394"/>
                    </a:lnTo>
                    <a:lnTo>
                      <a:pt x="607094" y="86610"/>
                    </a:lnTo>
                    <a:lnTo>
                      <a:pt x="610058" y="89986"/>
                    </a:lnTo>
                    <a:lnTo>
                      <a:pt x="618181" y="90617"/>
                    </a:lnTo>
                    <a:lnTo>
                      <a:pt x="626194" y="84634"/>
                    </a:lnTo>
                    <a:lnTo>
                      <a:pt x="629378" y="80298"/>
                    </a:lnTo>
                    <a:lnTo>
                      <a:pt x="636348" y="61335"/>
                    </a:lnTo>
                    <a:lnTo>
                      <a:pt x="655860" y="35484"/>
                    </a:lnTo>
                    <a:lnTo>
                      <a:pt x="660415" y="26620"/>
                    </a:lnTo>
                    <a:lnTo>
                      <a:pt x="668100" y="33151"/>
                    </a:lnTo>
                    <a:lnTo>
                      <a:pt x="672792" y="43744"/>
                    </a:lnTo>
                    <a:lnTo>
                      <a:pt x="675427" y="66165"/>
                    </a:lnTo>
                    <a:lnTo>
                      <a:pt x="684181" y="90342"/>
                    </a:lnTo>
                    <a:lnTo>
                      <a:pt x="688407" y="95447"/>
                    </a:lnTo>
                    <a:lnTo>
                      <a:pt x="689834" y="92428"/>
                    </a:lnTo>
                    <a:lnTo>
                      <a:pt x="691618" y="92428"/>
                    </a:lnTo>
                    <a:cubicBezTo>
                      <a:pt x="691618" y="92428"/>
                      <a:pt x="694664" y="100496"/>
                      <a:pt x="694664" y="100496"/>
                    </a:cubicBezTo>
                    <a:lnTo>
                      <a:pt x="703309" y="103872"/>
                    </a:lnTo>
                    <a:lnTo>
                      <a:pt x="706739" y="108537"/>
                    </a:lnTo>
                    <a:lnTo>
                      <a:pt x="705065" y="126512"/>
                    </a:lnTo>
                    <a:lnTo>
                      <a:pt x="700949" y="131260"/>
                    </a:lnTo>
                    <a:lnTo>
                      <a:pt x="691755" y="136282"/>
                    </a:lnTo>
                    <a:lnTo>
                      <a:pt x="689258" y="139767"/>
                    </a:lnTo>
                    <a:lnTo>
                      <a:pt x="683961" y="147094"/>
                    </a:lnTo>
                    <a:lnTo>
                      <a:pt x="683330" y="163917"/>
                    </a:lnTo>
                    <a:lnTo>
                      <a:pt x="694801" y="158456"/>
                    </a:lnTo>
                    <a:lnTo>
                      <a:pt x="713902" y="161310"/>
                    </a:lnTo>
                    <a:lnTo>
                      <a:pt x="730340" y="159608"/>
                    </a:lnTo>
                    <a:lnTo>
                      <a:pt x="749605" y="162874"/>
                    </a:lnTo>
                    <a:lnTo>
                      <a:pt x="750483" y="166140"/>
                    </a:lnTo>
                    <a:lnTo>
                      <a:pt x="746724" y="181865"/>
                    </a:lnTo>
                    <a:lnTo>
                      <a:pt x="737667" y="196821"/>
                    </a:lnTo>
                    <a:lnTo>
                      <a:pt x="732920" y="202145"/>
                    </a:lnTo>
                    <a:lnTo>
                      <a:pt x="739177" y="200636"/>
                    </a:lnTo>
                    <a:lnTo>
                      <a:pt x="745187" y="196821"/>
                    </a:lnTo>
                    <a:lnTo>
                      <a:pt x="761021" y="176568"/>
                    </a:lnTo>
                    <a:lnTo>
                      <a:pt x="770023" y="172287"/>
                    </a:lnTo>
                    <a:lnTo>
                      <a:pt x="783772" y="173961"/>
                    </a:lnTo>
                    <a:lnTo>
                      <a:pt x="791730" y="177556"/>
                    </a:lnTo>
                    <a:lnTo>
                      <a:pt x="801417" y="179230"/>
                    </a:lnTo>
                    <a:lnTo>
                      <a:pt x="819310" y="187106"/>
                    </a:lnTo>
                    <a:lnTo>
                      <a:pt x="830644" y="189384"/>
                    </a:lnTo>
                    <a:lnTo>
                      <a:pt x="841649" y="196848"/>
                    </a:lnTo>
                    <a:lnTo>
                      <a:pt x="844256" y="199620"/>
                    </a:lnTo>
                    <a:lnTo>
                      <a:pt x="854602" y="199126"/>
                    </a:lnTo>
                    <a:lnTo>
                      <a:pt x="859816" y="202612"/>
                    </a:lnTo>
                    <a:lnTo>
                      <a:pt x="864262" y="210186"/>
                    </a:lnTo>
                    <a:lnTo>
                      <a:pt x="864454" y="218775"/>
                    </a:lnTo>
                    <a:lnTo>
                      <a:pt x="867994" y="222919"/>
                    </a:lnTo>
                    <a:lnTo>
                      <a:pt x="863466" y="237492"/>
                    </a:lnTo>
                    <a:lnTo>
                      <a:pt x="865853" y="240593"/>
                    </a:lnTo>
                    <a:lnTo>
                      <a:pt x="868406" y="239248"/>
                    </a:lnTo>
                    <a:lnTo>
                      <a:pt x="873345" y="229066"/>
                    </a:lnTo>
                    <a:lnTo>
                      <a:pt x="877791" y="228573"/>
                    </a:lnTo>
                    <a:lnTo>
                      <a:pt x="876392" y="233650"/>
                    </a:lnTo>
                    <a:lnTo>
                      <a:pt x="877572" y="234555"/>
                    </a:lnTo>
                    <a:lnTo>
                      <a:pt x="890525" y="223990"/>
                    </a:lnTo>
                    <a:lnTo>
                      <a:pt x="893708" y="226268"/>
                    </a:lnTo>
                    <a:lnTo>
                      <a:pt x="902627" y="225252"/>
                    </a:lnTo>
                    <a:lnTo>
                      <a:pt x="923347" y="233156"/>
                    </a:lnTo>
                    <a:lnTo>
                      <a:pt x="942886" y="235488"/>
                    </a:lnTo>
                    <a:lnTo>
                      <a:pt x="953726" y="239495"/>
                    </a:lnTo>
                    <a:lnTo>
                      <a:pt x="983584" y="237574"/>
                    </a:lnTo>
                    <a:lnTo>
                      <a:pt x="999638" y="239687"/>
                    </a:lnTo>
                    <a:lnTo>
                      <a:pt x="1042614" y="264495"/>
                    </a:lnTo>
                    <a:lnTo>
                      <a:pt x="1065501" y="286971"/>
                    </a:lnTo>
                    <a:lnTo>
                      <a:pt x="1083559" y="299650"/>
                    </a:lnTo>
                    <a:lnTo>
                      <a:pt x="1097198" y="304288"/>
                    </a:lnTo>
                    <a:lnTo>
                      <a:pt x="1117945" y="304205"/>
                    </a:lnTo>
                    <a:lnTo>
                      <a:pt x="1129745" y="307444"/>
                    </a:lnTo>
                    <a:lnTo>
                      <a:pt x="1138994" y="321000"/>
                    </a:lnTo>
                    <a:lnTo>
                      <a:pt x="1150081" y="361671"/>
                    </a:lnTo>
                    <a:lnTo>
                      <a:pt x="1149312" y="391749"/>
                    </a:lnTo>
                    <a:lnTo>
                      <a:pt x="1134767" y="428001"/>
                    </a:lnTo>
                    <a:lnTo>
                      <a:pt x="1106309" y="462579"/>
                    </a:lnTo>
                    <a:lnTo>
                      <a:pt x="1087785" y="477179"/>
                    </a:lnTo>
                    <a:lnTo>
                      <a:pt x="1056061" y="528607"/>
                    </a:lnTo>
                    <a:lnTo>
                      <a:pt x="1045523" y="538184"/>
                    </a:lnTo>
                    <a:lnTo>
                      <a:pt x="1039623" y="532394"/>
                    </a:lnTo>
                    <a:lnTo>
                      <a:pt x="1036165" y="533354"/>
                    </a:lnTo>
                    <a:lnTo>
                      <a:pt x="1036220" y="541450"/>
                    </a:lnTo>
                    <a:lnTo>
                      <a:pt x="1030539" y="549409"/>
                    </a:lnTo>
                    <a:lnTo>
                      <a:pt x="1027108" y="567164"/>
                    </a:lnTo>
                    <a:lnTo>
                      <a:pt x="1028234" y="576083"/>
                    </a:lnTo>
                    <a:lnTo>
                      <a:pt x="1026834" y="592713"/>
                    </a:lnTo>
                    <a:lnTo>
                      <a:pt x="1031115" y="627100"/>
                    </a:lnTo>
                    <a:lnTo>
                      <a:pt x="1022608" y="665355"/>
                    </a:lnTo>
                    <a:lnTo>
                      <a:pt x="1022306" y="682617"/>
                    </a:lnTo>
                    <a:lnTo>
                      <a:pt x="1013250" y="694719"/>
                    </a:lnTo>
                    <a:lnTo>
                      <a:pt x="1008063" y="706053"/>
                    </a:lnTo>
                    <a:lnTo>
                      <a:pt x="1006362" y="718924"/>
                    </a:lnTo>
                    <a:lnTo>
                      <a:pt x="1006965" y="733029"/>
                    </a:lnTo>
                    <a:lnTo>
                      <a:pt x="1005127" y="740192"/>
                    </a:lnTo>
                    <a:lnTo>
                      <a:pt x="996400" y="751828"/>
                    </a:lnTo>
                    <a:lnTo>
                      <a:pt x="986630" y="772602"/>
                    </a:lnTo>
                    <a:lnTo>
                      <a:pt x="976559" y="783634"/>
                    </a:lnTo>
                    <a:lnTo>
                      <a:pt x="971866" y="792471"/>
                    </a:lnTo>
                    <a:lnTo>
                      <a:pt x="968079" y="803421"/>
                    </a:lnTo>
                    <a:lnTo>
                      <a:pt x="966899" y="818267"/>
                    </a:lnTo>
                    <a:lnTo>
                      <a:pt x="945740" y="831550"/>
                    </a:lnTo>
                    <a:lnTo>
                      <a:pt x="941788" y="836846"/>
                    </a:lnTo>
                    <a:lnTo>
                      <a:pt x="939511" y="844750"/>
                    </a:lnTo>
                    <a:lnTo>
                      <a:pt x="936162" y="847796"/>
                    </a:lnTo>
                    <a:lnTo>
                      <a:pt x="910942" y="848372"/>
                    </a:lnTo>
                    <a:lnTo>
                      <a:pt x="906057" y="842472"/>
                    </a:lnTo>
                    <a:lnTo>
                      <a:pt x="902737" y="848619"/>
                    </a:lnTo>
                    <a:lnTo>
                      <a:pt x="899087" y="850623"/>
                    </a:lnTo>
                    <a:lnTo>
                      <a:pt x="893544" y="851089"/>
                    </a:lnTo>
                    <a:lnTo>
                      <a:pt x="883307" y="848619"/>
                    </a:lnTo>
                    <a:lnTo>
                      <a:pt x="863686" y="852708"/>
                    </a:lnTo>
                    <a:lnTo>
                      <a:pt x="861051" y="860447"/>
                    </a:lnTo>
                    <a:lnTo>
                      <a:pt x="852406" y="863246"/>
                    </a:lnTo>
                    <a:lnTo>
                      <a:pt x="841978" y="870217"/>
                    </a:lnTo>
                    <a:lnTo>
                      <a:pt x="841045" y="877819"/>
                    </a:lnTo>
                    <a:lnTo>
                      <a:pt x="823920" y="876529"/>
                    </a:lnTo>
                    <a:lnTo>
                      <a:pt x="808607" y="883335"/>
                    </a:lnTo>
                    <a:lnTo>
                      <a:pt x="770380" y="910256"/>
                    </a:lnTo>
                    <a:lnTo>
                      <a:pt x="757948" y="927024"/>
                    </a:lnTo>
                    <a:lnTo>
                      <a:pt x="753145" y="925789"/>
                    </a:lnTo>
                    <a:lnTo>
                      <a:pt x="749413" y="928232"/>
                    </a:lnTo>
                    <a:lnTo>
                      <a:pt x="748672" y="930399"/>
                    </a:lnTo>
                    <a:lnTo>
                      <a:pt x="750593" y="935256"/>
                    </a:lnTo>
                    <a:lnTo>
                      <a:pt x="745544" y="951009"/>
                    </a:lnTo>
                    <a:lnTo>
                      <a:pt x="746751" y="957623"/>
                    </a:lnTo>
                    <a:lnTo>
                      <a:pt x="744309" y="969396"/>
                    </a:lnTo>
                    <a:lnTo>
                      <a:pt x="747245" y="985176"/>
                    </a:lnTo>
                    <a:lnTo>
                      <a:pt x="746476" y="995549"/>
                    </a:lnTo>
                    <a:lnTo>
                      <a:pt x="750319" y="997443"/>
                    </a:lnTo>
                    <a:lnTo>
                      <a:pt x="745598" y="1008776"/>
                    </a:lnTo>
                    <a:lnTo>
                      <a:pt x="740631" y="1028700"/>
                    </a:lnTo>
                    <a:lnTo>
                      <a:pt x="723672" y="1044864"/>
                    </a:lnTo>
                    <a:lnTo>
                      <a:pt x="712886" y="1058146"/>
                    </a:lnTo>
                    <a:lnTo>
                      <a:pt x="703034" y="1075408"/>
                    </a:lnTo>
                    <a:lnTo>
                      <a:pt x="693210" y="1099338"/>
                    </a:lnTo>
                    <a:lnTo>
                      <a:pt x="680504" y="1119509"/>
                    </a:lnTo>
                    <a:lnTo>
                      <a:pt x="664806" y="1136057"/>
                    </a:lnTo>
                    <a:lnTo>
                      <a:pt x="646173" y="1148242"/>
                    </a:lnTo>
                    <a:lnTo>
                      <a:pt x="646639" y="1144043"/>
                    </a:lnTo>
                    <a:lnTo>
                      <a:pt x="655037" y="1140174"/>
                    </a:lnTo>
                    <a:lnTo>
                      <a:pt x="667194" y="1129032"/>
                    </a:lnTo>
                    <a:lnTo>
                      <a:pt x="671639" y="1117945"/>
                    </a:lnTo>
                    <a:lnTo>
                      <a:pt x="681739" y="1106666"/>
                    </a:lnTo>
                    <a:lnTo>
                      <a:pt x="686651" y="1091572"/>
                    </a:lnTo>
                    <a:lnTo>
                      <a:pt x="682562" y="1089843"/>
                    </a:lnTo>
                    <a:lnTo>
                      <a:pt x="668045" y="1097829"/>
                    </a:lnTo>
                    <a:lnTo>
                      <a:pt x="659757" y="1117616"/>
                    </a:lnTo>
                    <a:lnTo>
                      <a:pt x="648148" y="1127440"/>
                    </a:lnTo>
                    <a:lnTo>
                      <a:pt x="641123" y="1139762"/>
                    </a:lnTo>
                    <a:lnTo>
                      <a:pt x="640492" y="1155596"/>
                    </a:lnTo>
                    <a:lnTo>
                      <a:pt x="627045" y="1186854"/>
                    </a:lnTo>
                    <a:lnTo>
                      <a:pt x="620047" y="1196267"/>
                    </a:lnTo>
                    <a:lnTo>
                      <a:pt x="605118" y="1210372"/>
                    </a:lnTo>
                    <a:lnTo>
                      <a:pt x="601001" y="1206915"/>
                    </a:lnTo>
                    <a:lnTo>
                      <a:pt x="601385" y="1189845"/>
                    </a:lnTo>
                    <a:lnTo>
                      <a:pt x="613515" y="1174916"/>
                    </a:lnTo>
                    <a:lnTo>
                      <a:pt x="599080" y="1164159"/>
                    </a:lnTo>
                    <a:lnTo>
                      <a:pt x="594333" y="1152687"/>
                    </a:lnTo>
                    <a:lnTo>
                      <a:pt x="592192" y="1151151"/>
                    </a:lnTo>
                    <a:lnTo>
                      <a:pt x="574821" y="1138692"/>
                    </a:lnTo>
                    <a:lnTo>
                      <a:pt x="571500" y="1132297"/>
                    </a:lnTo>
                    <a:lnTo>
                      <a:pt x="550397" y="1123077"/>
                    </a:lnTo>
                    <a:lnTo>
                      <a:pt x="540270" y="1110014"/>
                    </a:lnTo>
                    <a:lnTo>
                      <a:pt x="532421" y="1116655"/>
                    </a:lnTo>
                    <a:lnTo>
                      <a:pt x="528552" y="1116600"/>
                    </a:lnTo>
                    <a:lnTo>
                      <a:pt x="527811" y="1108642"/>
                    </a:lnTo>
                    <a:lnTo>
                      <a:pt x="522267" y="1101067"/>
                    </a:lnTo>
                    <a:lnTo>
                      <a:pt x="503442" y="1084053"/>
                    </a:lnTo>
                    <a:lnTo>
                      <a:pt x="496334" y="1084245"/>
                    </a:lnTo>
                    <a:lnTo>
                      <a:pt x="492437" y="1089377"/>
                    </a:lnTo>
                    <a:lnTo>
                      <a:pt x="487388" y="1090173"/>
                    </a:lnTo>
                    <a:lnTo>
                      <a:pt x="483271" y="1089487"/>
                    </a:lnTo>
                    <a:lnTo>
                      <a:pt x="480362" y="1086440"/>
                    </a:lnTo>
                    <a:lnTo>
                      <a:pt x="487388" y="1080759"/>
                    </a:lnTo>
                    <a:lnTo>
                      <a:pt x="491723" y="1073570"/>
                    </a:lnTo>
                    <a:lnTo>
                      <a:pt x="499929" y="1067395"/>
                    </a:lnTo>
                    <a:lnTo>
                      <a:pt x="527811" y="1030676"/>
                    </a:lnTo>
                    <a:lnTo>
                      <a:pt x="532257" y="1026093"/>
                    </a:lnTo>
                    <a:lnTo>
                      <a:pt x="536373" y="1025873"/>
                    </a:lnTo>
                    <a:lnTo>
                      <a:pt x="536812" y="1020742"/>
                    </a:lnTo>
                    <a:lnTo>
                      <a:pt x="558547" y="1005373"/>
                    </a:lnTo>
                    <a:lnTo>
                      <a:pt x="563048" y="999089"/>
                    </a:lnTo>
                    <a:lnTo>
                      <a:pt x="577181" y="994561"/>
                    </a:lnTo>
                    <a:lnTo>
                      <a:pt x="592851" y="982815"/>
                    </a:lnTo>
                    <a:lnTo>
                      <a:pt x="595485" y="977327"/>
                    </a:lnTo>
                    <a:lnTo>
                      <a:pt x="594497" y="968957"/>
                    </a:lnTo>
                    <a:lnTo>
                      <a:pt x="597791" y="956690"/>
                    </a:lnTo>
                    <a:lnTo>
                      <a:pt x="591918" y="945850"/>
                    </a:lnTo>
                    <a:lnTo>
                      <a:pt x="590216" y="936547"/>
                    </a:lnTo>
                    <a:lnTo>
                      <a:pt x="583356" y="932677"/>
                    </a:lnTo>
                    <a:lnTo>
                      <a:pt x="574299" y="935311"/>
                    </a:lnTo>
                    <a:lnTo>
                      <a:pt x="569277" y="933884"/>
                    </a:lnTo>
                    <a:lnTo>
                      <a:pt x="568976" y="929384"/>
                    </a:lnTo>
                    <a:lnTo>
                      <a:pt x="573503" y="920300"/>
                    </a:lnTo>
                    <a:lnTo>
                      <a:pt x="578772" y="894065"/>
                    </a:lnTo>
                    <a:lnTo>
                      <a:pt x="577730" y="883829"/>
                    </a:lnTo>
                    <a:lnTo>
                      <a:pt x="572927" y="879026"/>
                    </a:lnTo>
                    <a:lnTo>
                      <a:pt x="567740" y="876913"/>
                    </a:lnTo>
                    <a:lnTo>
                      <a:pt x="557120" y="881606"/>
                    </a:lnTo>
                    <a:lnTo>
                      <a:pt x="545622" y="880975"/>
                    </a:lnTo>
                    <a:lnTo>
                      <a:pt x="541670" y="868680"/>
                    </a:lnTo>
                    <a:lnTo>
                      <a:pt x="541533" y="856715"/>
                    </a:lnTo>
                    <a:lnTo>
                      <a:pt x="539200" y="853257"/>
                    </a:lnTo>
                    <a:lnTo>
                      <a:pt x="538761" y="838822"/>
                    </a:lnTo>
                    <a:lnTo>
                      <a:pt x="531873" y="827680"/>
                    </a:lnTo>
                    <a:lnTo>
                      <a:pt x="521581" y="827049"/>
                    </a:lnTo>
                    <a:lnTo>
                      <a:pt x="515187" y="821231"/>
                    </a:lnTo>
                    <a:lnTo>
                      <a:pt x="509451" y="825594"/>
                    </a:lnTo>
                    <a:lnTo>
                      <a:pt x="503194" y="827323"/>
                    </a:lnTo>
                    <a:lnTo>
                      <a:pt x="489089" y="825567"/>
                    </a:lnTo>
                    <a:lnTo>
                      <a:pt x="479237" y="821505"/>
                    </a:lnTo>
                    <a:lnTo>
                      <a:pt x="474023" y="822741"/>
                    </a:lnTo>
                    <a:lnTo>
                      <a:pt x="470043" y="820902"/>
                    </a:lnTo>
                    <a:lnTo>
                      <a:pt x="471662" y="808690"/>
                    </a:lnTo>
                    <a:lnTo>
                      <a:pt x="470675" y="803668"/>
                    </a:lnTo>
                    <a:lnTo>
                      <a:pt x="473831" y="786434"/>
                    </a:lnTo>
                    <a:lnTo>
                      <a:pt x="471196" y="779792"/>
                    </a:lnTo>
                    <a:lnTo>
                      <a:pt x="472129" y="777953"/>
                    </a:lnTo>
                    <a:lnTo>
                      <a:pt x="469440" y="776225"/>
                    </a:lnTo>
                    <a:lnTo>
                      <a:pt x="468671" y="769309"/>
                    </a:lnTo>
                    <a:lnTo>
                      <a:pt x="464280" y="760472"/>
                    </a:lnTo>
                    <a:lnTo>
                      <a:pt x="472705" y="755039"/>
                    </a:lnTo>
                    <a:lnTo>
                      <a:pt x="466037" y="746175"/>
                    </a:lnTo>
                    <a:lnTo>
                      <a:pt x="477014" y="724769"/>
                    </a:lnTo>
                    <a:lnTo>
                      <a:pt x="476794" y="718046"/>
                    </a:lnTo>
                    <a:lnTo>
                      <a:pt x="481268" y="703171"/>
                    </a:lnTo>
                    <a:lnTo>
                      <a:pt x="484122" y="700098"/>
                    </a:lnTo>
                    <a:lnTo>
                      <a:pt x="476136" y="683138"/>
                    </a:lnTo>
                    <a:lnTo>
                      <a:pt x="474023" y="677897"/>
                    </a:lnTo>
                    <a:lnTo>
                      <a:pt x="466229" y="676168"/>
                    </a:lnTo>
                    <a:lnTo>
                      <a:pt x="457282" y="667304"/>
                    </a:lnTo>
                    <a:lnTo>
                      <a:pt x="455663" y="653225"/>
                    </a:lnTo>
                    <a:lnTo>
                      <a:pt x="458737" y="647929"/>
                    </a:lnTo>
                    <a:lnTo>
                      <a:pt x="459149" y="640135"/>
                    </a:lnTo>
                    <a:lnTo>
                      <a:pt x="453578" y="641397"/>
                    </a:lnTo>
                    <a:lnTo>
                      <a:pt x="405470" y="639092"/>
                    </a:lnTo>
                    <a:lnTo>
                      <a:pt x="403220" y="616122"/>
                    </a:lnTo>
                    <a:lnTo>
                      <a:pt x="394905" y="605337"/>
                    </a:lnTo>
                    <a:lnTo>
                      <a:pt x="401848" y="603883"/>
                    </a:lnTo>
                    <a:lnTo>
                      <a:pt x="402616" y="602154"/>
                    </a:lnTo>
                    <a:lnTo>
                      <a:pt x="402012" y="590271"/>
                    </a:lnTo>
                    <a:lnTo>
                      <a:pt x="396332" y="576687"/>
                    </a:lnTo>
                    <a:lnTo>
                      <a:pt x="398307" y="570786"/>
                    </a:lnTo>
                    <a:lnTo>
                      <a:pt x="395783" y="564886"/>
                    </a:lnTo>
                    <a:lnTo>
                      <a:pt x="387523" y="561429"/>
                    </a:lnTo>
                    <a:lnTo>
                      <a:pt x="378631" y="555034"/>
                    </a:lnTo>
                    <a:lnTo>
                      <a:pt x="356896" y="556242"/>
                    </a:lnTo>
                    <a:lnTo>
                      <a:pt x="349184" y="548997"/>
                    </a:lnTo>
                    <a:lnTo>
                      <a:pt x="347483" y="544908"/>
                    </a:lnTo>
                    <a:lnTo>
                      <a:pt x="340677" y="544469"/>
                    </a:lnTo>
                    <a:lnTo>
                      <a:pt x="331484" y="539996"/>
                    </a:lnTo>
                    <a:lnTo>
                      <a:pt x="328163" y="540297"/>
                    </a:lnTo>
                    <a:lnTo>
                      <a:pt x="322016" y="535193"/>
                    </a:lnTo>
                    <a:lnTo>
                      <a:pt x="318915" y="530006"/>
                    </a:lnTo>
                    <a:lnTo>
                      <a:pt x="313015" y="531323"/>
                    </a:lnTo>
                    <a:lnTo>
                      <a:pt x="300830" y="524216"/>
                    </a:lnTo>
                    <a:lnTo>
                      <a:pt x="293969" y="526576"/>
                    </a:lnTo>
                    <a:lnTo>
                      <a:pt x="284556" y="525067"/>
                    </a:lnTo>
                    <a:lnTo>
                      <a:pt x="279397" y="522377"/>
                    </a:lnTo>
                    <a:lnTo>
                      <a:pt x="278793" y="519303"/>
                    </a:lnTo>
                    <a:lnTo>
                      <a:pt x="269243" y="511812"/>
                    </a:lnTo>
                    <a:lnTo>
                      <a:pt x="263809" y="509973"/>
                    </a:lnTo>
                    <a:lnTo>
                      <a:pt x="261834" y="503826"/>
                    </a:lnTo>
                    <a:lnTo>
                      <a:pt x="258101" y="502536"/>
                    </a:lnTo>
                    <a:lnTo>
                      <a:pt x="257113" y="497322"/>
                    </a:lnTo>
                    <a:lnTo>
                      <a:pt x="253848" y="493425"/>
                    </a:lnTo>
                    <a:lnTo>
                      <a:pt x="251954" y="486948"/>
                    </a:lnTo>
                    <a:lnTo>
                      <a:pt x="254397" y="478715"/>
                    </a:lnTo>
                    <a:lnTo>
                      <a:pt x="250664" y="466668"/>
                    </a:lnTo>
                    <a:lnTo>
                      <a:pt x="254753" y="456816"/>
                    </a:lnTo>
                    <a:lnTo>
                      <a:pt x="254177" y="445839"/>
                    </a:lnTo>
                    <a:lnTo>
                      <a:pt x="252503" y="442134"/>
                    </a:lnTo>
                    <a:lnTo>
                      <a:pt x="249978" y="441420"/>
                    </a:lnTo>
                    <a:lnTo>
                      <a:pt x="246466" y="445015"/>
                    </a:lnTo>
                    <a:lnTo>
                      <a:pt x="238315" y="443177"/>
                    </a:lnTo>
                    <a:lnTo>
                      <a:pt x="218721" y="446772"/>
                    </a:lnTo>
                    <a:lnTo>
                      <a:pt x="211970" y="450120"/>
                    </a:lnTo>
                    <a:lnTo>
                      <a:pt x="203133" y="457886"/>
                    </a:lnTo>
                    <a:lnTo>
                      <a:pt x="192485" y="461865"/>
                    </a:lnTo>
                    <a:lnTo>
                      <a:pt x="183017" y="470949"/>
                    </a:lnTo>
                    <a:lnTo>
                      <a:pt x="173467" y="470867"/>
                    </a:lnTo>
                    <a:lnTo>
                      <a:pt x="166277" y="479813"/>
                    </a:lnTo>
                    <a:lnTo>
                      <a:pt x="156809" y="483737"/>
                    </a:lnTo>
                    <a:lnTo>
                      <a:pt x="152967" y="484067"/>
                    </a:lnTo>
                    <a:lnTo>
                      <a:pt x="151924" y="480801"/>
                    </a:lnTo>
                    <a:lnTo>
                      <a:pt x="128927" y="478990"/>
                    </a:lnTo>
                    <a:lnTo>
                      <a:pt x="118032" y="478496"/>
                    </a:lnTo>
                    <a:lnTo>
                      <a:pt x="107329" y="481707"/>
                    </a:lnTo>
                    <a:lnTo>
                      <a:pt x="98520" y="478990"/>
                    </a:lnTo>
                    <a:lnTo>
                      <a:pt x="97944" y="448912"/>
                    </a:lnTo>
                    <a:lnTo>
                      <a:pt x="100002" y="442299"/>
                    </a:lnTo>
                    <a:lnTo>
                      <a:pt x="98905" y="435493"/>
                    </a:lnTo>
                    <a:lnTo>
                      <a:pt x="78569" y="449681"/>
                    </a:lnTo>
                    <a:lnTo>
                      <a:pt x="55764" y="450312"/>
                    </a:lnTo>
                    <a:lnTo>
                      <a:pt x="53212" y="449269"/>
                    </a:lnTo>
                    <a:lnTo>
                      <a:pt x="46845" y="435959"/>
                    </a:lnTo>
                    <a:lnTo>
                      <a:pt x="35978" y="433187"/>
                    </a:lnTo>
                    <a:lnTo>
                      <a:pt x="23711" y="432419"/>
                    </a:lnTo>
                    <a:lnTo>
                      <a:pt x="28651" y="424159"/>
                    </a:lnTo>
                    <a:lnTo>
                      <a:pt x="28733" y="420152"/>
                    </a:lnTo>
                    <a:lnTo>
                      <a:pt x="12926" y="401107"/>
                    </a:lnTo>
                    <a:lnTo>
                      <a:pt x="9742" y="392901"/>
                    </a:lnTo>
                    <a:lnTo>
                      <a:pt x="6285" y="388675"/>
                    </a:lnTo>
                    <a:lnTo>
                      <a:pt x="6669" y="384394"/>
                    </a:lnTo>
                    <a:lnTo>
                      <a:pt x="0" y="376737"/>
                    </a:lnTo>
                    <a:lnTo>
                      <a:pt x="988" y="372237"/>
                    </a:lnTo>
                    <a:lnTo>
                      <a:pt x="6586" y="369822"/>
                    </a:lnTo>
                    <a:lnTo>
                      <a:pt x="5269" y="364086"/>
                    </a:lnTo>
                    <a:lnTo>
                      <a:pt x="6751" y="358405"/>
                    </a:lnTo>
                    <a:lnTo>
                      <a:pt x="11883" y="352615"/>
                    </a:lnTo>
                    <a:lnTo>
                      <a:pt x="23190" y="344547"/>
                    </a:lnTo>
                    <a:lnTo>
                      <a:pt x="23052" y="333103"/>
                    </a:lnTo>
                    <a:lnTo>
                      <a:pt x="28623" y="322126"/>
                    </a:lnTo>
                    <a:lnTo>
                      <a:pt x="33014" y="305358"/>
                    </a:lnTo>
                    <a:lnTo>
                      <a:pt x="42564" y="301050"/>
                    </a:lnTo>
                    <a:lnTo>
                      <a:pt x="62625" y="287301"/>
                    </a:lnTo>
                    <a:lnTo>
                      <a:pt x="86967" y="283706"/>
                    </a:lnTo>
                    <a:lnTo>
                      <a:pt x="94980" y="277531"/>
                    </a:lnTo>
                    <a:lnTo>
                      <a:pt x="105107" y="276927"/>
                    </a:lnTo>
                    <a:lnTo>
                      <a:pt x="109306" y="280851"/>
                    </a:lnTo>
                    <a:lnTo>
                      <a:pt x="115425" y="281620"/>
                    </a:lnTo>
                    <a:lnTo>
                      <a:pt x="117538" y="279315"/>
                    </a:lnTo>
                    <a:lnTo>
                      <a:pt x="132056" y="196794"/>
                    </a:lnTo>
                    <a:lnTo>
                      <a:pt x="133373" y="189384"/>
                    </a:lnTo>
                    <a:lnTo>
                      <a:pt x="128378" y="177474"/>
                    </a:lnTo>
                    <a:lnTo>
                      <a:pt x="127144" y="170009"/>
                    </a:lnTo>
                    <a:lnTo>
                      <a:pt x="115206" y="159526"/>
                    </a:lnTo>
                    <a:lnTo>
                      <a:pt x="115480" y="139712"/>
                    </a:lnTo>
                    <a:lnTo>
                      <a:pt x="116633" y="138203"/>
                    </a:lnTo>
                    <a:lnTo>
                      <a:pt x="127802" y="135898"/>
                    </a:lnTo>
                    <a:lnTo>
                      <a:pt x="131260" y="133702"/>
                    </a:lnTo>
                    <a:lnTo>
                      <a:pt x="135568" y="136446"/>
                    </a:lnTo>
                    <a:lnTo>
                      <a:pt x="139575" y="136584"/>
                    </a:lnTo>
                    <a:lnTo>
                      <a:pt x="141139" y="135184"/>
                    </a:lnTo>
                    <a:lnTo>
                      <a:pt x="141276" y="129147"/>
                    </a:lnTo>
                    <a:lnTo>
                      <a:pt x="137187" y="123548"/>
                    </a:lnTo>
                    <a:lnTo>
                      <a:pt x="121051" y="122368"/>
                    </a:lnTo>
                    <a:lnTo>
                      <a:pt x="121490" y="105244"/>
                    </a:lnTo>
                    <a:lnTo>
                      <a:pt x="130135" y="102884"/>
                    </a:lnTo>
                    <a:lnTo>
                      <a:pt x="169131" y="103872"/>
                    </a:lnTo>
                    <a:lnTo>
                      <a:pt x="167210" y="100332"/>
                    </a:lnTo>
                    <a:lnTo>
                      <a:pt x="169625" y="96846"/>
                    </a:lnTo>
                    <a:lnTo>
                      <a:pt x="175086" y="102692"/>
                    </a:lnTo>
                    <a:lnTo>
                      <a:pt x="177611" y="102994"/>
                    </a:lnTo>
                    <a:lnTo>
                      <a:pt x="181042" y="101566"/>
                    </a:lnTo>
                    <a:lnTo>
                      <a:pt x="188588" y="93334"/>
                    </a:lnTo>
                    <a:lnTo>
                      <a:pt x="192321" y="91961"/>
                    </a:lnTo>
                    <a:lnTo>
                      <a:pt x="201185" y="104421"/>
                    </a:lnTo>
                    <a:lnTo>
                      <a:pt x="202090" y="119706"/>
                    </a:lnTo>
                    <a:lnTo>
                      <a:pt x="208292" y="118773"/>
                    </a:lnTo>
                    <a:lnTo>
                      <a:pt x="225609" y="131946"/>
                    </a:lnTo>
                    <a:lnTo>
                      <a:pt x="230384" y="131946"/>
                    </a:lnTo>
                    <a:lnTo>
                      <a:pt x="240154" y="126457"/>
                    </a:lnTo>
                    <a:lnTo>
                      <a:pt x="244572" y="125991"/>
                    </a:lnTo>
                    <a:lnTo>
                      <a:pt x="247069" y="127857"/>
                    </a:lnTo>
                    <a:lnTo>
                      <a:pt x="247234" y="132797"/>
                    </a:lnTo>
                    <a:lnTo>
                      <a:pt x="248826" y="133839"/>
                    </a:lnTo>
                    <a:lnTo>
                      <a:pt x="260956" y="121682"/>
                    </a:lnTo>
                    <a:lnTo>
                      <a:pt x="271987" y="117182"/>
                    </a:lnTo>
                    <a:lnTo>
                      <a:pt x="279370" y="111940"/>
                    </a:lnTo>
                    <a:lnTo>
                      <a:pt x="284474" y="111803"/>
                    </a:lnTo>
                    <a:lnTo>
                      <a:pt x="289771" y="106259"/>
                    </a:lnTo>
                    <a:lnTo>
                      <a:pt x="293229" y="97368"/>
                    </a:lnTo>
                    <a:lnTo>
                      <a:pt x="309529" y="90507"/>
                    </a:lnTo>
                    <a:lnTo>
                      <a:pt x="310682" y="86281"/>
                    </a:lnTo>
                    <a:lnTo>
                      <a:pt x="309529" y="84113"/>
                    </a:lnTo>
                    <a:lnTo>
                      <a:pt x="292597" y="80627"/>
                    </a:lnTo>
                    <a:lnTo>
                      <a:pt x="291966" y="72477"/>
                    </a:lnTo>
                    <a:lnTo>
                      <a:pt x="286752" y="61362"/>
                    </a:lnTo>
                    <a:lnTo>
                      <a:pt x="286340" y="49891"/>
                    </a:lnTo>
                    <a:lnTo>
                      <a:pt x="274787" y="38201"/>
                    </a:lnTo>
                    <a:lnTo>
                      <a:pt x="271740" y="31258"/>
                    </a:lnTo>
                    <a:lnTo>
                      <a:pt x="287273" y="34029"/>
                    </a:lnTo>
                    <a:lnTo>
                      <a:pt x="293695" y="39600"/>
                    </a:lnTo>
                    <a:lnTo>
                      <a:pt x="312768" y="39490"/>
                    </a:lnTo>
                    <a:lnTo>
                      <a:pt x="324513" y="46900"/>
                    </a:lnTo>
                    <a:lnTo>
                      <a:pt x="329014" y="44732"/>
                    </a:lnTo>
                    <a:lnTo>
                      <a:pt x="330935" y="36884"/>
                    </a:lnTo>
                    <a:lnTo>
                      <a:pt x="337357" y="33481"/>
                    </a:lnTo>
                    <a:lnTo>
                      <a:pt x="354509" y="32602"/>
                    </a:lnTo>
                    <a:lnTo>
                      <a:pt x="363674" y="28952"/>
                    </a:lnTo>
                    <a:lnTo>
                      <a:pt x="372374" y="22229"/>
                    </a:lnTo>
                    <a:lnTo>
                      <a:pt x="381512" y="20335"/>
                    </a:lnTo>
                    <a:lnTo>
                      <a:pt x="391803" y="9934"/>
                    </a:lnTo>
                    <a:lnTo>
                      <a:pt x="388840" y="1811"/>
                    </a:lnTo>
                    <a:lnTo>
                      <a:pt x="390870" y="1153"/>
                    </a:lnTo>
                    <a:lnTo>
                      <a:pt x="397429" y="2168"/>
                    </a:lnTo>
                    <a:lnTo>
                      <a:pt x="400640" y="1564"/>
                    </a:lnTo>
                    <a:lnTo>
                      <a:pt x="403823" y="0"/>
                    </a:lnTo>
                    <a:lnTo>
                      <a:pt x="406623" y="6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1" name="Freeform: Shape 3650">
                <a:extLst>
                  <a:ext uri="{FF2B5EF4-FFF2-40B4-BE49-F238E27FC236}">
                    <a16:creationId xmlns:a16="http://schemas.microsoft.com/office/drawing/2014/main" id="{B73337B2-6469-4F77-CD15-E33911F72CBB}"/>
                  </a:ext>
                </a:extLst>
              </p:cNvPr>
              <p:cNvSpPr/>
              <p:nvPr/>
            </p:nvSpPr>
            <p:spPr>
              <a:xfrm>
                <a:off x="1210067" y="3842570"/>
                <a:ext cx="3240" cy="1941"/>
              </a:xfrm>
              <a:custGeom>
                <a:avLst/>
                <a:gdLst>
                  <a:gd name="connsiteX0" fmla="*/ 10401 w 31065"/>
                  <a:gd name="connsiteY0" fmla="*/ 10044 h 18606"/>
                  <a:gd name="connsiteX1" fmla="*/ 10922 w 31065"/>
                  <a:gd name="connsiteY1" fmla="*/ 10868 h 18606"/>
                  <a:gd name="connsiteX2" fmla="*/ 29282 w 31065"/>
                  <a:gd name="connsiteY2" fmla="*/ 7355 h 18606"/>
                  <a:gd name="connsiteX3" fmla="*/ 31065 w 31065"/>
                  <a:gd name="connsiteY3" fmla="*/ 9468 h 18606"/>
                  <a:gd name="connsiteX4" fmla="*/ 19869 w 31065"/>
                  <a:gd name="connsiteY4" fmla="*/ 18606 h 18606"/>
                  <a:gd name="connsiteX5" fmla="*/ 10017 w 31065"/>
                  <a:gd name="connsiteY5" fmla="*/ 16795 h 18606"/>
                  <a:gd name="connsiteX6" fmla="*/ 6339 w 31065"/>
                  <a:gd name="connsiteY6" fmla="*/ 14051 h 18606"/>
                  <a:gd name="connsiteX7" fmla="*/ 4967 w 31065"/>
                  <a:gd name="connsiteY7" fmla="*/ 17179 h 18606"/>
                  <a:gd name="connsiteX8" fmla="*/ 2195 w 31065"/>
                  <a:gd name="connsiteY8" fmla="*/ 17179 h 18606"/>
                  <a:gd name="connsiteX9" fmla="*/ 0 w 31065"/>
                  <a:gd name="connsiteY9" fmla="*/ 13721 h 18606"/>
                  <a:gd name="connsiteX10" fmla="*/ 2634 w 31065"/>
                  <a:gd name="connsiteY10" fmla="*/ 12322 h 18606"/>
                  <a:gd name="connsiteX11" fmla="*/ 8150 w 31065"/>
                  <a:gd name="connsiteY11" fmla="*/ 0 h 18606"/>
                  <a:gd name="connsiteX12" fmla="*/ 16219 w 31065"/>
                  <a:gd name="connsiteY12" fmla="*/ 0 h 18606"/>
                  <a:gd name="connsiteX13" fmla="*/ 15944 w 31065"/>
                  <a:gd name="connsiteY13" fmla="*/ 2992 h 18606"/>
                  <a:gd name="connsiteX14" fmla="*/ 10401 w 31065"/>
                  <a:gd name="connsiteY14" fmla="*/ 10017 h 1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65" h="18606">
                    <a:moveTo>
                      <a:pt x="10401" y="10044"/>
                    </a:moveTo>
                    <a:lnTo>
                      <a:pt x="10922" y="10868"/>
                    </a:lnTo>
                    <a:lnTo>
                      <a:pt x="29282" y="7355"/>
                    </a:lnTo>
                    <a:lnTo>
                      <a:pt x="31065" y="9468"/>
                    </a:lnTo>
                    <a:lnTo>
                      <a:pt x="19869" y="18606"/>
                    </a:lnTo>
                    <a:lnTo>
                      <a:pt x="10017" y="16795"/>
                    </a:lnTo>
                    <a:lnTo>
                      <a:pt x="6339" y="14051"/>
                    </a:lnTo>
                    <a:lnTo>
                      <a:pt x="4967" y="17179"/>
                    </a:lnTo>
                    <a:lnTo>
                      <a:pt x="2195" y="17179"/>
                    </a:lnTo>
                    <a:cubicBezTo>
                      <a:pt x="2195" y="17179"/>
                      <a:pt x="0" y="13721"/>
                      <a:pt x="0" y="13721"/>
                    </a:cubicBezTo>
                    <a:lnTo>
                      <a:pt x="2634" y="12322"/>
                    </a:lnTo>
                    <a:lnTo>
                      <a:pt x="8150" y="0"/>
                    </a:lnTo>
                    <a:lnTo>
                      <a:pt x="16219" y="0"/>
                    </a:lnTo>
                    <a:lnTo>
                      <a:pt x="15944" y="2992"/>
                    </a:lnTo>
                    <a:lnTo>
                      <a:pt x="10401" y="100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2" name="Freeform: Shape 3651">
                <a:extLst>
                  <a:ext uri="{FF2B5EF4-FFF2-40B4-BE49-F238E27FC236}">
                    <a16:creationId xmlns:a16="http://schemas.microsoft.com/office/drawing/2014/main" id="{4903EFD5-8A1B-49B5-3E65-6ACDC6BA5627}"/>
                  </a:ext>
                </a:extLst>
              </p:cNvPr>
              <p:cNvSpPr/>
              <p:nvPr/>
            </p:nvSpPr>
            <p:spPr>
              <a:xfrm>
                <a:off x="1212506" y="3844179"/>
                <a:ext cx="1491" cy="710"/>
              </a:xfrm>
              <a:custGeom>
                <a:avLst/>
                <a:gdLst>
                  <a:gd name="connsiteX0" fmla="*/ 11416 w 14297"/>
                  <a:gd name="connsiteY0" fmla="*/ 6257 h 6806"/>
                  <a:gd name="connsiteX1" fmla="*/ 3403 w 14297"/>
                  <a:gd name="connsiteY1" fmla="*/ 6806 h 6806"/>
                  <a:gd name="connsiteX2" fmla="*/ 0 w 14297"/>
                  <a:gd name="connsiteY2" fmla="*/ 5132 h 6806"/>
                  <a:gd name="connsiteX3" fmla="*/ 4391 w 14297"/>
                  <a:gd name="connsiteY3" fmla="*/ 1427 h 6806"/>
                  <a:gd name="connsiteX4" fmla="*/ 7547 w 14297"/>
                  <a:gd name="connsiteY4" fmla="*/ 0 h 6806"/>
                  <a:gd name="connsiteX5" fmla="*/ 13090 w 14297"/>
                  <a:gd name="connsiteY5" fmla="*/ 878 h 6806"/>
                  <a:gd name="connsiteX6" fmla="*/ 14298 w 14297"/>
                  <a:gd name="connsiteY6" fmla="*/ 3321 h 6806"/>
                  <a:gd name="connsiteX7" fmla="*/ 11389 w 14297"/>
                  <a:gd name="connsiteY7" fmla="*/ 6257 h 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97" h="6806">
                    <a:moveTo>
                      <a:pt x="11416" y="6257"/>
                    </a:moveTo>
                    <a:lnTo>
                      <a:pt x="3403" y="6806"/>
                    </a:lnTo>
                    <a:lnTo>
                      <a:pt x="0" y="5132"/>
                    </a:lnTo>
                    <a:lnTo>
                      <a:pt x="4391" y="1427"/>
                    </a:lnTo>
                    <a:lnTo>
                      <a:pt x="7547" y="0"/>
                    </a:lnTo>
                    <a:lnTo>
                      <a:pt x="13090" y="878"/>
                    </a:lnTo>
                    <a:lnTo>
                      <a:pt x="14298" y="3321"/>
                    </a:lnTo>
                    <a:lnTo>
                      <a:pt x="11389" y="62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3" name="Freeform: Shape 3652">
                <a:extLst>
                  <a:ext uri="{FF2B5EF4-FFF2-40B4-BE49-F238E27FC236}">
                    <a16:creationId xmlns:a16="http://schemas.microsoft.com/office/drawing/2014/main" id="{43FCF7AC-78E2-39FC-75F0-2424D71789FE}"/>
                  </a:ext>
                </a:extLst>
              </p:cNvPr>
              <p:cNvSpPr/>
              <p:nvPr/>
            </p:nvSpPr>
            <p:spPr>
              <a:xfrm>
                <a:off x="1229359" y="3917266"/>
                <a:ext cx="621" cy="401"/>
              </a:xfrm>
              <a:custGeom>
                <a:avLst/>
                <a:gdLst>
                  <a:gd name="connsiteX0" fmla="*/ 5927 w 5954"/>
                  <a:gd name="connsiteY0" fmla="*/ 1866 h 3842"/>
                  <a:gd name="connsiteX1" fmla="*/ 3348 w 5954"/>
                  <a:gd name="connsiteY1" fmla="*/ 3842 h 3842"/>
                  <a:gd name="connsiteX2" fmla="*/ 0 w 5954"/>
                  <a:gd name="connsiteY2" fmla="*/ 2881 h 3842"/>
                  <a:gd name="connsiteX3" fmla="*/ 2909 w 5954"/>
                  <a:gd name="connsiteY3" fmla="*/ 0 h 3842"/>
                  <a:gd name="connsiteX4" fmla="*/ 5955 w 5954"/>
                  <a:gd name="connsiteY4" fmla="*/ 1838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4" h="3842">
                    <a:moveTo>
                      <a:pt x="5927" y="1866"/>
                    </a:moveTo>
                    <a:lnTo>
                      <a:pt x="3348" y="3842"/>
                    </a:lnTo>
                    <a:lnTo>
                      <a:pt x="0" y="2881"/>
                    </a:lnTo>
                    <a:lnTo>
                      <a:pt x="2909" y="0"/>
                    </a:lnTo>
                    <a:lnTo>
                      <a:pt x="5955"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4" name="Freeform: Shape 3653">
                <a:extLst>
                  <a:ext uri="{FF2B5EF4-FFF2-40B4-BE49-F238E27FC236}">
                    <a16:creationId xmlns:a16="http://schemas.microsoft.com/office/drawing/2014/main" id="{4F274D13-B702-45EB-6695-3BFEFD72DF80}"/>
                  </a:ext>
                </a:extLst>
              </p:cNvPr>
              <p:cNvSpPr/>
              <p:nvPr/>
            </p:nvSpPr>
            <p:spPr>
              <a:xfrm>
                <a:off x="1426746" y="3899946"/>
                <a:ext cx="28712" cy="30060"/>
              </a:xfrm>
              <a:custGeom>
                <a:avLst/>
                <a:gdLst>
                  <a:gd name="connsiteX0" fmla="*/ 154999 w 275280"/>
                  <a:gd name="connsiteY0" fmla="*/ 110 h 288205"/>
                  <a:gd name="connsiteX1" fmla="*/ 156288 w 275280"/>
                  <a:gd name="connsiteY1" fmla="*/ 7766 h 288205"/>
                  <a:gd name="connsiteX2" fmla="*/ 174922 w 275280"/>
                  <a:gd name="connsiteY2" fmla="*/ 35895 h 288205"/>
                  <a:gd name="connsiteX3" fmla="*/ 181810 w 275280"/>
                  <a:gd name="connsiteY3" fmla="*/ 53980 h 288205"/>
                  <a:gd name="connsiteX4" fmla="*/ 198248 w 275280"/>
                  <a:gd name="connsiteY4" fmla="*/ 66796 h 288205"/>
                  <a:gd name="connsiteX5" fmla="*/ 211586 w 275280"/>
                  <a:gd name="connsiteY5" fmla="*/ 72175 h 288205"/>
                  <a:gd name="connsiteX6" fmla="*/ 215208 w 275280"/>
                  <a:gd name="connsiteY6" fmla="*/ 83344 h 288205"/>
                  <a:gd name="connsiteX7" fmla="*/ 226103 w 275280"/>
                  <a:gd name="connsiteY7" fmla="*/ 85265 h 288205"/>
                  <a:gd name="connsiteX8" fmla="*/ 226707 w 275280"/>
                  <a:gd name="connsiteY8" fmla="*/ 102143 h 288205"/>
                  <a:gd name="connsiteX9" fmla="*/ 235791 w 275280"/>
                  <a:gd name="connsiteY9" fmla="*/ 116852 h 288205"/>
                  <a:gd name="connsiteX10" fmla="*/ 263782 w 275280"/>
                  <a:gd name="connsiteY10" fmla="*/ 124344 h 288205"/>
                  <a:gd name="connsiteX11" fmla="*/ 267185 w 275280"/>
                  <a:gd name="connsiteY11" fmla="*/ 131946 h 288205"/>
                  <a:gd name="connsiteX12" fmla="*/ 275281 w 275280"/>
                  <a:gd name="connsiteY12" fmla="*/ 137791 h 288205"/>
                  <a:gd name="connsiteX13" fmla="*/ 266554 w 275280"/>
                  <a:gd name="connsiteY13" fmla="*/ 138999 h 288205"/>
                  <a:gd name="connsiteX14" fmla="*/ 260928 w 275280"/>
                  <a:gd name="connsiteY14" fmla="*/ 146189 h 288205"/>
                  <a:gd name="connsiteX15" fmla="*/ 243749 w 275280"/>
                  <a:gd name="connsiteY15" fmla="*/ 151485 h 288205"/>
                  <a:gd name="connsiteX16" fmla="*/ 229067 w 275280"/>
                  <a:gd name="connsiteY16" fmla="*/ 168857 h 288205"/>
                  <a:gd name="connsiteX17" fmla="*/ 214550 w 275280"/>
                  <a:gd name="connsiteY17" fmla="*/ 177830 h 288205"/>
                  <a:gd name="connsiteX18" fmla="*/ 207085 w 275280"/>
                  <a:gd name="connsiteY18" fmla="*/ 184801 h 288205"/>
                  <a:gd name="connsiteX19" fmla="*/ 200966 w 275280"/>
                  <a:gd name="connsiteY19" fmla="*/ 203462 h 288205"/>
                  <a:gd name="connsiteX20" fmla="*/ 188753 w 275280"/>
                  <a:gd name="connsiteY20" fmla="*/ 215455 h 288205"/>
                  <a:gd name="connsiteX21" fmla="*/ 173468 w 275280"/>
                  <a:gd name="connsiteY21" fmla="*/ 220312 h 288205"/>
                  <a:gd name="connsiteX22" fmla="*/ 165371 w 275280"/>
                  <a:gd name="connsiteY22" fmla="*/ 245450 h 288205"/>
                  <a:gd name="connsiteX23" fmla="*/ 158374 w 275280"/>
                  <a:gd name="connsiteY23" fmla="*/ 251734 h 288205"/>
                  <a:gd name="connsiteX24" fmla="*/ 136227 w 275280"/>
                  <a:gd name="connsiteY24" fmla="*/ 254040 h 288205"/>
                  <a:gd name="connsiteX25" fmla="*/ 127994 w 275280"/>
                  <a:gd name="connsiteY25" fmla="*/ 252036 h 288205"/>
                  <a:gd name="connsiteX26" fmla="*/ 122588 w 275280"/>
                  <a:gd name="connsiteY26" fmla="*/ 248606 h 288205"/>
                  <a:gd name="connsiteX27" fmla="*/ 115370 w 275280"/>
                  <a:gd name="connsiteY27" fmla="*/ 247837 h 288205"/>
                  <a:gd name="connsiteX28" fmla="*/ 101649 w 275280"/>
                  <a:gd name="connsiteY28" fmla="*/ 237766 h 288205"/>
                  <a:gd name="connsiteX29" fmla="*/ 89492 w 275280"/>
                  <a:gd name="connsiteY29" fmla="*/ 238040 h 288205"/>
                  <a:gd name="connsiteX30" fmla="*/ 83921 w 275280"/>
                  <a:gd name="connsiteY30" fmla="*/ 244654 h 288205"/>
                  <a:gd name="connsiteX31" fmla="*/ 80079 w 275280"/>
                  <a:gd name="connsiteY31" fmla="*/ 260022 h 288205"/>
                  <a:gd name="connsiteX32" fmla="*/ 76868 w 275280"/>
                  <a:gd name="connsiteY32" fmla="*/ 265099 h 288205"/>
                  <a:gd name="connsiteX33" fmla="*/ 65918 w 275280"/>
                  <a:gd name="connsiteY33" fmla="*/ 272756 h 288205"/>
                  <a:gd name="connsiteX34" fmla="*/ 60183 w 275280"/>
                  <a:gd name="connsiteY34" fmla="*/ 280577 h 288205"/>
                  <a:gd name="connsiteX35" fmla="*/ 53679 w 275280"/>
                  <a:gd name="connsiteY35" fmla="*/ 282910 h 288205"/>
                  <a:gd name="connsiteX36" fmla="*/ 48931 w 275280"/>
                  <a:gd name="connsiteY36" fmla="*/ 288206 h 288205"/>
                  <a:gd name="connsiteX37" fmla="*/ 19814 w 275280"/>
                  <a:gd name="connsiteY37" fmla="*/ 287246 h 288205"/>
                  <a:gd name="connsiteX38" fmla="*/ 18415 w 275280"/>
                  <a:gd name="connsiteY38" fmla="*/ 276762 h 288205"/>
                  <a:gd name="connsiteX39" fmla="*/ 24699 w 275280"/>
                  <a:gd name="connsiteY39" fmla="*/ 264824 h 288205"/>
                  <a:gd name="connsiteX40" fmla="*/ 23272 w 275280"/>
                  <a:gd name="connsiteY40" fmla="*/ 255686 h 288205"/>
                  <a:gd name="connsiteX41" fmla="*/ 11746 w 275280"/>
                  <a:gd name="connsiteY41" fmla="*/ 230274 h 288205"/>
                  <a:gd name="connsiteX42" fmla="*/ 0 w 275280"/>
                  <a:gd name="connsiteY42" fmla="*/ 219846 h 288205"/>
                  <a:gd name="connsiteX43" fmla="*/ 0 w 275280"/>
                  <a:gd name="connsiteY43" fmla="*/ 177172 h 288205"/>
                  <a:gd name="connsiteX44" fmla="*/ 330 w 275280"/>
                  <a:gd name="connsiteY44" fmla="*/ 132302 h 288205"/>
                  <a:gd name="connsiteX45" fmla="*/ 29310 w 275280"/>
                  <a:gd name="connsiteY45" fmla="*/ 130409 h 288205"/>
                  <a:gd name="connsiteX46" fmla="*/ 29693 w 275280"/>
                  <a:gd name="connsiteY46" fmla="*/ 17015 h 288205"/>
                  <a:gd name="connsiteX47" fmla="*/ 78432 w 275280"/>
                  <a:gd name="connsiteY47" fmla="*/ 8946 h 288205"/>
                  <a:gd name="connsiteX48" fmla="*/ 96353 w 275280"/>
                  <a:gd name="connsiteY48" fmla="*/ 6778 h 288205"/>
                  <a:gd name="connsiteX49" fmla="*/ 106754 w 275280"/>
                  <a:gd name="connsiteY49" fmla="*/ 21213 h 288205"/>
                  <a:gd name="connsiteX50" fmla="*/ 123109 w 275280"/>
                  <a:gd name="connsiteY50" fmla="*/ 7876 h 288205"/>
                  <a:gd name="connsiteX51" fmla="*/ 129422 w 275280"/>
                  <a:gd name="connsiteY51" fmla="*/ 5159 h 288205"/>
                  <a:gd name="connsiteX52" fmla="*/ 134334 w 275280"/>
                  <a:gd name="connsiteY52" fmla="*/ 8233 h 288205"/>
                  <a:gd name="connsiteX53" fmla="*/ 141688 w 275280"/>
                  <a:gd name="connsiteY53" fmla="*/ 2031 h 288205"/>
                  <a:gd name="connsiteX54" fmla="*/ 154806 w 275280"/>
                  <a:gd name="connsiteY54" fmla="*/ 0 h 288205"/>
                  <a:gd name="connsiteX55" fmla="*/ 155025 w 275280"/>
                  <a:gd name="connsiteY55" fmla="*/ 247 h 288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75280" h="288205">
                    <a:moveTo>
                      <a:pt x="154999" y="110"/>
                    </a:moveTo>
                    <a:lnTo>
                      <a:pt x="156288" y="7766"/>
                    </a:lnTo>
                    <a:lnTo>
                      <a:pt x="174922" y="35895"/>
                    </a:lnTo>
                    <a:lnTo>
                      <a:pt x="181810" y="53980"/>
                    </a:lnTo>
                    <a:lnTo>
                      <a:pt x="198248" y="66796"/>
                    </a:lnTo>
                    <a:lnTo>
                      <a:pt x="211586" y="72175"/>
                    </a:lnTo>
                    <a:lnTo>
                      <a:pt x="215208" y="83344"/>
                    </a:lnTo>
                    <a:lnTo>
                      <a:pt x="226103" y="85265"/>
                    </a:lnTo>
                    <a:lnTo>
                      <a:pt x="226707" y="102143"/>
                    </a:lnTo>
                    <a:lnTo>
                      <a:pt x="235791" y="116852"/>
                    </a:lnTo>
                    <a:lnTo>
                      <a:pt x="263782" y="124344"/>
                    </a:lnTo>
                    <a:lnTo>
                      <a:pt x="267185" y="131946"/>
                    </a:lnTo>
                    <a:lnTo>
                      <a:pt x="275281" y="137791"/>
                    </a:lnTo>
                    <a:lnTo>
                      <a:pt x="266554" y="138999"/>
                    </a:lnTo>
                    <a:lnTo>
                      <a:pt x="260928" y="146189"/>
                    </a:lnTo>
                    <a:lnTo>
                      <a:pt x="243749" y="151485"/>
                    </a:lnTo>
                    <a:lnTo>
                      <a:pt x="229067" y="168857"/>
                    </a:lnTo>
                    <a:lnTo>
                      <a:pt x="214550" y="177830"/>
                    </a:lnTo>
                    <a:lnTo>
                      <a:pt x="207085" y="184801"/>
                    </a:lnTo>
                    <a:lnTo>
                      <a:pt x="200966" y="203462"/>
                    </a:lnTo>
                    <a:lnTo>
                      <a:pt x="188753" y="215455"/>
                    </a:lnTo>
                    <a:lnTo>
                      <a:pt x="173468" y="220312"/>
                    </a:lnTo>
                    <a:lnTo>
                      <a:pt x="165371" y="245450"/>
                    </a:lnTo>
                    <a:lnTo>
                      <a:pt x="158374" y="251734"/>
                    </a:lnTo>
                    <a:lnTo>
                      <a:pt x="136227" y="254040"/>
                    </a:lnTo>
                    <a:lnTo>
                      <a:pt x="127994" y="252036"/>
                    </a:lnTo>
                    <a:lnTo>
                      <a:pt x="122588" y="248606"/>
                    </a:lnTo>
                    <a:lnTo>
                      <a:pt x="115370" y="247837"/>
                    </a:lnTo>
                    <a:lnTo>
                      <a:pt x="101649" y="237766"/>
                    </a:lnTo>
                    <a:lnTo>
                      <a:pt x="89492" y="238040"/>
                    </a:lnTo>
                    <a:lnTo>
                      <a:pt x="83921" y="244654"/>
                    </a:lnTo>
                    <a:lnTo>
                      <a:pt x="80079" y="260022"/>
                    </a:lnTo>
                    <a:lnTo>
                      <a:pt x="76868" y="265099"/>
                    </a:lnTo>
                    <a:lnTo>
                      <a:pt x="65918" y="272756"/>
                    </a:lnTo>
                    <a:lnTo>
                      <a:pt x="60183" y="280577"/>
                    </a:lnTo>
                    <a:lnTo>
                      <a:pt x="53679" y="282910"/>
                    </a:lnTo>
                    <a:lnTo>
                      <a:pt x="48931" y="288206"/>
                    </a:lnTo>
                    <a:lnTo>
                      <a:pt x="19814" y="287246"/>
                    </a:lnTo>
                    <a:lnTo>
                      <a:pt x="18415" y="276762"/>
                    </a:lnTo>
                    <a:lnTo>
                      <a:pt x="24699" y="264824"/>
                    </a:lnTo>
                    <a:lnTo>
                      <a:pt x="23272" y="255686"/>
                    </a:lnTo>
                    <a:lnTo>
                      <a:pt x="11746" y="230274"/>
                    </a:lnTo>
                    <a:lnTo>
                      <a:pt x="0" y="219846"/>
                    </a:lnTo>
                    <a:lnTo>
                      <a:pt x="0" y="177172"/>
                    </a:lnTo>
                    <a:lnTo>
                      <a:pt x="330" y="132302"/>
                    </a:lnTo>
                    <a:lnTo>
                      <a:pt x="29310" y="130409"/>
                    </a:lnTo>
                    <a:lnTo>
                      <a:pt x="29693" y="17015"/>
                    </a:lnTo>
                    <a:lnTo>
                      <a:pt x="78432" y="8946"/>
                    </a:lnTo>
                    <a:lnTo>
                      <a:pt x="96353" y="6778"/>
                    </a:lnTo>
                    <a:lnTo>
                      <a:pt x="106754" y="21213"/>
                    </a:lnTo>
                    <a:lnTo>
                      <a:pt x="123109" y="7876"/>
                    </a:lnTo>
                    <a:lnTo>
                      <a:pt x="129422" y="5159"/>
                    </a:lnTo>
                    <a:lnTo>
                      <a:pt x="134334" y="8233"/>
                    </a:lnTo>
                    <a:lnTo>
                      <a:pt x="141688" y="2031"/>
                    </a:lnTo>
                    <a:lnTo>
                      <a:pt x="154806" y="0"/>
                    </a:lnTo>
                    <a:lnTo>
                      <a:pt x="155025" y="2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5" name="Freeform: Shape 3654">
                <a:extLst>
                  <a:ext uri="{FF2B5EF4-FFF2-40B4-BE49-F238E27FC236}">
                    <a16:creationId xmlns:a16="http://schemas.microsoft.com/office/drawing/2014/main" id="{BD3416A7-6756-C307-8702-FB380AD57C14}"/>
                  </a:ext>
                </a:extLst>
              </p:cNvPr>
              <p:cNvSpPr/>
              <p:nvPr/>
            </p:nvSpPr>
            <p:spPr>
              <a:xfrm>
                <a:off x="932847" y="3497891"/>
                <a:ext cx="261757" cy="205616"/>
              </a:xfrm>
              <a:custGeom>
                <a:avLst/>
                <a:gdLst>
                  <a:gd name="connsiteX0" fmla="*/ 1346682 w 2509632"/>
                  <a:gd name="connsiteY0" fmla="*/ 41768 h 1971366"/>
                  <a:gd name="connsiteX1" fmla="*/ 1349755 w 2509632"/>
                  <a:gd name="connsiteY1" fmla="*/ 21543 h 1971366"/>
                  <a:gd name="connsiteX2" fmla="*/ 1352061 w 2509632"/>
                  <a:gd name="connsiteY2" fmla="*/ 17344 h 1971366"/>
                  <a:gd name="connsiteX3" fmla="*/ 1363367 w 2509632"/>
                  <a:gd name="connsiteY3" fmla="*/ 7849 h 1971366"/>
                  <a:gd name="connsiteX4" fmla="*/ 1398192 w 2509632"/>
                  <a:gd name="connsiteY4" fmla="*/ 0 h 1971366"/>
                  <a:gd name="connsiteX5" fmla="*/ 1420696 w 2509632"/>
                  <a:gd name="connsiteY5" fmla="*/ 4803 h 1971366"/>
                  <a:gd name="connsiteX6" fmla="*/ 1436832 w 2509632"/>
                  <a:gd name="connsiteY6" fmla="*/ 17673 h 1971366"/>
                  <a:gd name="connsiteX7" fmla="*/ 1459006 w 2509632"/>
                  <a:gd name="connsiteY7" fmla="*/ 15862 h 1971366"/>
                  <a:gd name="connsiteX8" fmla="*/ 1476734 w 2509632"/>
                  <a:gd name="connsiteY8" fmla="*/ 26702 h 1971366"/>
                  <a:gd name="connsiteX9" fmla="*/ 1483266 w 2509632"/>
                  <a:gd name="connsiteY9" fmla="*/ 30818 h 1971366"/>
                  <a:gd name="connsiteX10" fmla="*/ 1484061 w 2509632"/>
                  <a:gd name="connsiteY10" fmla="*/ 33618 h 1971366"/>
                  <a:gd name="connsiteX11" fmla="*/ 1476734 w 2509632"/>
                  <a:gd name="connsiteY11" fmla="*/ 54666 h 1971366"/>
                  <a:gd name="connsiteX12" fmla="*/ 1450965 w 2509632"/>
                  <a:gd name="connsiteY12" fmla="*/ 120804 h 1971366"/>
                  <a:gd name="connsiteX13" fmla="*/ 1438863 w 2509632"/>
                  <a:gd name="connsiteY13" fmla="*/ 139877 h 1971366"/>
                  <a:gd name="connsiteX14" fmla="*/ 1404779 w 2509632"/>
                  <a:gd name="connsiteY14" fmla="*/ 139740 h 1971366"/>
                  <a:gd name="connsiteX15" fmla="*/ 1391688 w 2509632"/>
                  <a:gd name="connsiteY15" fmla="*/ 144707 h 1971366"/>
                  <a:gd name="connsiteX16" fmla="*/ 1393390 w 2509632"/>
                  <a:gd name="connsiteY16" fmla="*/ 179175 h 1971366"/>
                  <a:gd name="connsiteX17" fmla="*/ 1381205 w 2509632"/>
                  <a:gd name="connsiteY17" fmla="*/ 206069 h 1971366"/>
                  <a:gd name="connsiteX18" fmla="*/ 1372506 w 2509632"/>
                  <a:gd name="connsiteY18" fmla="*/ 217815 h 1971366"/>
                  <a:gd name="connsiteX19" fmla="*/ 1370530 w 2509632"/>
                  <a:gd name="connsiteY19" fmla="*/ 230741 h 1971366"/>
                  <a:gd name="connsiteX20" fmla="*/ 1374893 w 2509632"/>
                  <a:gd name="connsiteY20" fmla="*/ 240949 h 1971366"/>
                  <a:gd name="connsiteX21" fmla="*/ 1389520 w 2509632"/>
                  <a:gd name="connsiteY21" fmla="*/ 244517 h 1971366"/>
                  <a:gd name="connsiteX22" fmla="*/ 1408127 w 2509632"/>
                  <a:gd name="connsiteY22" fmla="*/ 273826 h 1971366"/>
                  <a:gd name="connsiteX23" fmla="*/ 1414795 w 2509632"/>
                  <a:gd name="connsiteY23" fmla="*/ 296110 h 1971366"/>
                  <a:gd name="connsiteX24" fmla="*/ 1419708 w 2509632"/>
                  <a:gd name="connsiteY24" fmla="*/ 327834 h 1971366"/>
                  <a:gd name="connsiteX25" fmla="*/ 1448029 w 2509632"/>
                  <a:gd name="connsiteY25" fmla="*/ 375146 h 1971366"/>
                  <a:gd name="connsiteX26" fmla="*/ 1446080 w 2509632"/>
                  <a:gd name="connsiteY26" fmla="*/ 382720 h 1971366"/>
                  <a:gd name="connsiteX27" fmla="*/ 1435734 w 2509632"/>
                  <a:gd name="connsiteY27" fmla="*/ 386068 h 1971366"/>
                  <a:gd name="connsiteX28" fmla="*/ 1436997 w 2509632"/>
                  <a:gd name="connsiteY28" fmla="*/ 398362 h 1971366"/>
                  <a:gd name="connsiteX29" fmla="*/ 1427337 w 2509632"/>
                  <a:gd name="connsiteY29" fmla="*/ 415404 h 1971366"/>
                  <a:gd name="connsiteX30" fmla="*/ 1426815 w 2509632"/>
                  <a:gd name="connsiteY30" fmla="*/ 423994 h 1971366"/>
                  <a:gd name="connsiteX31" fmla="*/ 1446190 w 2509632"/>
                  <a:gd name="connsiteY31" fmla="*/ 437029 h 1971366"/>
                  <a:gd name="connsiteX32" fmla="*/ 1469132 w 2509632"/>
                  <a:gd name="connsiteY32" fmla="*/ 430745 h 1971366"/>
                  <a:gd name="connsiteX33" fmla="*/ 1476762 w 2509632"/>
                  <a:gd name="connsiteY33" fmla="*/ 436069 h 1971366"/>
                  <a:gd name="connsiteX34" fmla="*/ 1486312 w 2509632"/>
                  <a:gd name="connsiteY34" fmla="*/ 448967 h 1971366"/>
                  <a:gd name="connsiteX35" fmla="*/ 1492239 w 2509632"/>
                  <a:gd name="connsiteY35" fmla="*/ 450422 h 1971366"/>
                  <a:gd name="connsiteX36" fmla="*/ 1490703 w 2509632"/>
                  <a:gd name="connsiteY36" fmla="*/ 458078 h 1971366"/>
                  <a:gd name="connsiteX37" fmla="*/ 1480631 w 2509632"/>
                  <a:gd name="connsiteY37" fmla="*/ 469961 h 1971366"/>
                  <a:gd name="connsiteX38" fmla="*/ 1485681 w 2509632"/>
                  <a:gd name="connsiteY38" fmla="*/ 495593 h 1971366"/>
                  <a:gd name="connsiteX39" fmla="*/ 1486284 w 2509632"/>
                  <a:gd name="connsiteY39" fmla="*/ 523914 h 1971366"/>
                  <a:gd name="connsiteX40" fmla="*/ 1491855 w 2509632"/>
                  <a:gd name="connsiteY40" fmla="*/ 532394 h 1971366"/>
                  <a:gd name="connsiteX41" fmla="*/ 1498332 w 2509632"/>
                  <a:gd name="connsiteY41" fmla="*/ 530116 h 1971366"/>
                  <a:gd name="connsiteX42" fmla="*/ 1502695 w 2509632"/>
                  <a:gd name="connsiteY42" fmla="*/ 504731 h 1971366"/>
                  <a:gd name="connsiteX43" fmla="*/ 1514743 w 2509632"/>
                  <a:gd name="connsiteY43" fmla="*/ 474462 h 1971366"/>
                  <a:gd name="connsiteX44" fmla="*/ 1521055 w 2509632"/>
                  <a:gd name="connsiteY44" fmla="*/ 466201 h 1971366"/>
                  <a:gd name="connsiteX45" fmla="*/ 1533239 w 2509632"/>
                  <a:gd name="connsiteY45" fmla="*/ 469000 h 1971366"/>
                  <a:gd name="connsiteX46" fmla="*/ 1553300 w 2509632"/>
                  <a:gd name="connsiteY46" fmla="*/ 492931 h 1971366"/>
                  <a:gd name="connsiteX47" fmla="*/ 1559063 w 2509632"/>
                  <a:gd name="connsiteY47" fmla="*/ 506899 h 1971366"/>
                  <a:gd name="connsiteX48" fmla="*/ 1561862 w 2509632"/>
                  <a:gd name="connsiteY48" fmla="*/ 533135 h 1971366"/>
                  <a:gd name="connsiteX49" fmla="*/ 1559173 w 2509632"/>
                  <a:gd name="connsiteY49" fmla="*/ 540435 h 1971366"/>
                  <a:gd name="connsiteX50" fmla="*/ 1551681 w 2509632"/>
                  <a:gd name="connsiteY50" fmla="*/ 545676 h 1971366"/>
                  <a:gd name="connsiteX51" fmla="*/ 1551791 w 2509632"/>
                  <a:gd name="connsiteY51" fmla="*/ 570347 h 1971366"/>
                  <a:gd name="connsiteX52" fmla="*/ 1559996 w 2509632"/>
                  <a:gd name="connsiteY52" fmla="*/ 591808 h 1971366"/>
                  <a:gd name="connsiteX53" fmla="*/ 1583762 w 2509632"/>
                  <a:gd name="connsiteY53" fmla="*/ 621007 h 1971366"/>
                  <a:gd name="connsiteX54" fmla="*/ 1601133 w 2509632"/>
                  <a:gd name="connsiteY54" fmla="*/ 600041 h 1971366"/>
                  <a:gd name="connsiteX55" fmla="*/ 1600557 w 2509632"/>
                  <a:gd name="connsiteY55" fmla="*/ 585414 h 1971366"/>
                  <a:gd name="connsiteX56" fmla="*/ 1592598 w 2509632"/>
                  <a:gd name="connsiteY56" fmla="*/ 566505 h 1971366"/>
                  <a:gd name="connsiteX57" fmla="*/ 1593751 w 2509632"/>
                  <a:gd name="connsiteY57" fmla="*/ 552482 h 1971366"/>
                  <a:gd name="connsiteX58" fmla="*/ 1602505 w 2509632"/>
                  <a:gd name="connsiteY58" fmla="*/ 550095 h 1971366"/>
                  <a:gd name="connsiteX59" fmla="*/ 1612851 w 2509632"/>
                  <a:gd name="connsiteY59" fmla="*/ 566313 h 1971366"/>
                  <a:gd name="connsiteX60" fmla="*/ 1621139 w 2509632"/>
                  <a:gd name="connsiteY60" fmla="*/ 551000 h 1971366"/>
                  <a:gd name="connsiteX61" fmla="*/ 1630442 w 2509632"/>
                  <a:gd name="connsiteY61" fmla="*/ 509561 h 1971366"/>
                  <a:gd name="connsiteX62" fmla="*/ 1644438 w 2509632"/>
                  <a:gd name="connsiteY62" fmla="*/ 493589 h 1971366"/>
                  <a:gd name="connsiteX63" fmla="*/ 1645069 w 2509632"/>
                  <a:gd name="connsiteY63" fmla="*/ 481679 h 1971366"/>
                  <a:gd name="connsiteX64" fmla="*/ 1638785 w 2509632"/>
                  <a:gd name="connsiteY64" fmla="*/ 470235 h 1971366"/>
                  <a:gd name="connsiteX65" fmla="*/ 1634668 w 2509632"/>
                  <a:gd name="connsiteY65" fmla="*/ 450778 h 1971366"/>
                  <a:gd name="connsiteX66" fmla="*/ 1634147 w 2509632"/>
                  <a:gd name="connsiteY66" fmla="*/ 431019 h 1971366"/>
                  <a:gd name="connsiteX67" fmla="*/ 1637193 w 2509632"/>
                  <a:gd name="connsiteY67" fmla="*/ 416941 h 1971366"/>
                  <a:gd name="connsiteX68" fmla="*/ 1663346 w 2509632"/>
                  <a:gd name="connsiteY68" fmla="*/ 412084 h 1971366"/>
                  <a:gd name="connsiteX69" fmla="*/ 1693396 w 2509632"/>
                  <a:gd name="connsiteY69" fmla="*/ 422320 h 1971366"/>
                  <a:gd name="connsiteX70" fmla="*/ 1707502 w 2509632"/>
                  <a:gd name="connsiteY70" fmla="*/ 420811 h 1971366"/>
                  <a:gd name="connsiteX71" fmla="*/ 1710740 w 2509632"/>
                  <a:gd name="connsiteY71" fmla="*/ 416667 h 1971366"/>
                  <a:gd name="connsiteX72" fmla="*/ 1709231 w 2509632"/>
                  <a:gd name="connsiteY72" fmla="*/ 407062 h 1971366"/>
                  <a:gd name="connsiteX73" fmla="*/ 1699846 w 2509632"/>
                  <a:gd name="connsiteY73" fmla="*/ 399185 h 1971366"/>
                  <a:gd name="connsiteX74" fmla="*/ 1680498 w 2509632"/>
                  <a:gd name="connsiteY74" fmla="*/ 400174 h 1971366"/>
                  <a:gd name="connsiteX75" fmla="*/ 1642188 w 2509632"/>
                  <a:gd name="connsiteY75" fmla="*/ 391831 h 1971366"/>
                  <a:gd name="connsiteX76" fmla="*/ 1623938 w 2509632"/>
                  <a:gd name="connsiteY76" fmla="*/ 394767 h 1971366"/>
                  <a:gd name="connsiteX77" fmla="*/ 1593449 w 2509632"/>
                  <a:gd name="connsiteY77" fmla="*/ 366364 h 1971366"/>
                  <a:gd name="connsiteX78" fmla="*/ 1560216 w 2509632"/>
                  <a:gd name="connsiteY78" fmla="*/ 372977 h 1971366"/>
                  <a:gd name="connsiteX79" fmla="*/ 1531400 w 2509632"/>
                  <a:gd name="connsiteY79" fmla="*/ 345315 h 1971366"/>
                  <a:gd name="connsiteX80" fmla="*/ 1523140 w 2509632"/>
                  <a:gd name="connsiteY80" fmla="*/ 329371 h 1971366"/>
                  <a:gd name="connsiteX81" fmla="*/ 1522015 w 2509632"/>
                  <a:gd name="connsiteY81" fmla="*/ 316527 h 1971366"/>
                  <a:gd name="connsiteX82" fmla="*/ 1523799 w 2509632"/>
                  <a:gd name="connsiteY82" fmla="*/ 311615 h 1971366"/>
                  <a:gd name="connsiteX83" fmla="*/ 1540621 w 2509632"/>
                  <a:gd name="connsiteY83" fmla="*/ 307526 h 1971366"/>
                  <a:gd name="connsiteX84" fmla="*/ 1561258 w 2509632"/>
                  <a:gd name="connsiteY84" fmla="*/ 314167 h 1971366"/>
                  <a:gd name="connsiteX85" fmla="*/ 1573690 w 2509632"/>
                  <a:gd name="connsiteY85" fmla="*/ 307608 h 1971366"/>
                  <a:gd name="connsiteX86" fmla="*/ 1560518 w 2509632"/>
                  <a:gd name="connsiteY86" fmla="*/ 288618 h 1971366"/>
                  <a:gd name="connsiteX87" fmla="*/ 1510324 w 2509632"/>
                  <a:gd name="connsiteY87" fmla="*/ 278189 h 1971366"/>
                  <a:gd name="connsiteX88" fmla="*/ 1503656 w 2509632"/>
                  <a:gd name="connsiteY88" fmla="*/ 264934 h 1971366"/>
                  <a:gd name="connsiteX89" fmla="*/ 1500884 w 2509632"/>
                  <a:gd name="connsiteY89" fmla="*/ 225911 h 1971366"/>
                  <a:gd name="connsiteX90" fmla="*/ 1505549 w 2509632"/>
                  <a:gd name="connsiteY90" fmla="*/ 202584 h 1971366"/>
                  <a:gd name="connsiteX91" fmla="*/ 1505604 w 2509632"/>
                  <a:gd name="connsiteY91" fmla="*/ 175223 h 1971366"/>
                  <a:gd name="connsiteX92" fmla="*/ 1518557 w 2509632"/>
                  <a:gd name="connsiteY92" fmla="*/ 136145 h 1971366"/>
                  <a:gd name="connsiteX93" fmla="*/ 1526406 w 2509632"/>
                  <a:gd name="connsiteY93" fmla="*/ 103817 h 1971366"/>
                  <a:gd name="connsiteX94" fmla="*/ 1540566 w 2509632"/>
                  <a:gd name="connsiteY94" fmla="*/ 76785 h 1971366"/>
                  <a:gd name="connsiteX95" fmla="*/ 1564799 w 2509632"/>
                  <a:gd name="connsiteY95" fmla="*/ 50632 h 1971366"/>
                  <a:gd name="connsiteX96" fmla="*/ 1601106 w 2509632"/>
                  <a:gd name="connsiteY96" fmla="*/ 34084 h 1971366"/>
                  <a:gd name="connsiteX97" fmla="*/ 1632446 w 2509632"/>
                  <a:gd name="connsiteY97" fmla="*/ 35264 h 1971366"/>
                  <a:gd name="connsiteX98" fmla="*/ 1644191 w 2509632"/>
                  <a:gd name="connsiteY98" fmla="*/ 44018 h 1971366"/>
                  <a:gd name="connsiteX99" fmla="*/ 1641255 w 2509632"/>
                  <a:gd name="connsiteY99" fmla="*/ 59167 h 1971366"/>
                  <a:gd name="connsiteX100" fmla="*/ 1612604 w 2509632"/>
                  <a:gd name="connsiteY100" fmla="*/ 100084 h 1971366"/>
                  <a:gd name="connsiteX101" fmla="*/ 1601819 w 2509632"/>
                  <a:gd name="connsiteY101" fmla="*/ 127088 h 1971366"/>
                  <a:gd name="connsiteX102" fmla="*/ 1599130 w 2509632"/>
                  <a:gd name="connsiteY102" fmla="*/ 145393 h 1971366"/>
                  <a:gd name="connsiteX103" fmla="*/ 1606155 w 2509632"/>
                  <a:gd name="connsiteY103" fmla="*/ 175004 h 1971366"/>
                  <a:gd name="connsiteX104" fmla="*/ 1606924 w 2509632"/>
                  <a:gd name="connsiteY104" fmla="*/ 202063 h 1971366"/>
                  <a:gd name="connsiteX105" fmla="*/ 1610162 w 2509632"/>
                  <a:gd name="connsiteY105" fmla="*/ 220696 h 1971366"/>
                  <a:gd name="connsiteX106" fmla="*/ 1631759 w 2509632"/>
                  <a:gd name="connsiteY106" fmla="*/ 258129 h 1971366"/>
                  <a:gd name="connsiteX107" fmla="*/ 1646579 w 2509632"/>
                  <a:gd name="connsiteY107" fmla="*/ 275033 h 1971366"/>
                  <a:gd name="connsiteX108" fmla="*/ 1647484 w 2509632"/>
                  <a:gd name="connsiteY108" fmla="*/ 280604 h 1971366"/>
                  <a:gd name="connsiteX109" fmla="*/ 1645673 w 2509632"/>
                  <a:gd name="connsiteY109" fmla="*/ 291499 h 1971366"/>
                  <a:gd name="connsiteX110" fmla="*/ 1651024 w 2509632"/>
                  <a:gd name="connsiteY110" fmla="*/ 303135 h 1971366"/>
                  <a:gd name="connsiteX111" fmla="*/ 1656952 w 2509632"/>
                  <a:gd name="connsiteY111" fmla="*/ 273661 h 1971366"/>
                  <a:gd name="connsiteX112" fmla="*/ 1656129 w 2509632"/>
                  <a:gd name="connsiteY112" fmla="*/ 257278 h 1971366"/>
                  <a:gd name="connsiteX113" fmla="*/ 1651656 w 2509632"/>
                  <a:gd name="connsiteY113" fmla="*/ 249347 h 1971366"/>
                  <a:gd name="connsiteX114" fmla="*/ 1638209 w 2509632"/>
                  <a:gd name="connsiteY114" fmla="*/ 241828 h 1971366"/>
                  <a:gd name="connsiteX115" fmla="*/ 1627670 w 2509632"/>
                  <a:gd name="connsiteY115" fmla="*/ 218885 h 1971366"/>
                  <a:gd name="connsiteX116" fmla="*/ 1635848 w 2509632"/>
                  <a:gd name="connsiteY116" fmla="*/ 198330 h 1971366"/>
                  <a:gd name="connsiteX117" fmla="*/ 1647677 w 2509632"/>
                  <a:gd name="connsiteY117" fmla="*/ 195174 h 1971366"/>
                  <a:gd name="connsiteX118" fmla="*/ 1649817 w 2509632"/>
                  <a:gd name="connsiteY118" fmla="*/ 189878 h 1971366"/>
                  <a:gd name="connsiteX119" fmla="*/ 1632308 w 2509632"/>
                  <a:gd name="connsiteY119" fmla="*/ 164960 h 1971366"/>
                  <a:gd name="connsiteX120" fmla="*/ 1629344 w 2509632"/>
                  <a:gd name="connsiteY120" fmla="*/ 150964 h 1971366"/>
                  <a:gd name="connsiteX121" fmla="*/ 1630360 w 2509632"/>
                  <a:gd name="connsiteY121" fmla="*/ 135733 h 1971366"/>
                  <a:gd name="connsiteX122" fmla="*/ 1638181 w 2509632"/>
                  <a:gd name="connsiteY122" fmla="*/ 125277 h 1971366"/>
                  <a:gd name="connsiteX123" fmla="*/ 1640541 w 2509632"/>
                  <a:gd name="connsiteY123" fmla="*/ 110293 h 1971366"/>
                  <a:gd name="connsiteX124" fmla="*/ 1647045 w 2509632"/>
                  <a:gd name="connsiteY124" fmla="*/ 105024 h 1971366"/>
                  <a:gd name="connsiteX125" fmla="*/ 1647539 w 2509632"/>
                  <a:gd name="connsiteY125" fmla="*/ 93251 h 1971366"/>
                  <a:gd name="connsiteX126" fmla="*/ 1650915 w 2509632"/>
                  <a:gd name="connsiteY126" fmla="*/ 85814 h 1971366"/>
                  <a:gd name="connsiteX127" fmla="*/ 1669960 w 2509632"/>
                  <a:gd name="connsiteY127" fmla="*/ 74645 h 1971366"/>
                  <a:gd name="connsiteX128" fmla="*/ 1681541 w 2509632"/>
                  <a:gd name="connsiteY128" fmla="*/ 76044 h 1971366"/>
                  <a:gd name="connsiteX129" fmla="*/ 1688457 w 2509632"/>
                  <a:gd name="connsiteY129" fmla="*/ 62460 h 1971366"/>
                  <a:gd name="connsiteX130" fmla="*/ 1708792 w 2509632"/>
                  <a:gd name="connsiteY130" fmla="*/ 47586 h 1971366"/>
                  <a:gd name="connsiteX131" fmla="*/ 1740763 w 2509632"/>
                  <a:gd name="connsiteY131" fmla="*/ 47723 h 1971366"/>
                  <a:gd name="connsiteX132" fmla="*/ 1754814 w 2509632"/>
                  <a:gd name="connsiteY132" fmla="*/ 63997 h 1971366"/>
                  <a:gd name="connsiteX133" fmla="*/ 1763129 w 2509632"/>
                  <a:gd name="connsiteY133" fmla="*/ 91769 h 1971366"/>
                  <a:gd name="connsiteX134" fmla="*/ 1775286 w 2509632"/>
                  <a:gd name="connsiteY134" fmla="*/ 110540 h 1971366"/>
                  <a:gd name="connsiteX135" fmla="*/ 1780747 w 2509632"/>
                  <a:gd name="connsiteY135" fmla="*/ 135404 h 1971366"/>
                  <a:gd name="connsiteX136" fmla="*/ 1770346 w 2509632"/>
                  <a:gd name="connsiteY136" fmla="*/ 204670 h 1971366"/>
                  <a:gd name="connsiteX137" fmla="*/ 1771966 w 2509632"/>
                  <a:gd name="connsiteY137" fmla="*/ 215098 h 1971366"/>
                  <a:gd name="connsiteX138" fmla="*/ 1781708 w 2509632"/>
                  <a:gd name="connsiteY138" fmla="*/ 207990 h 1971366"/>
                  <a:gd name="connsiteX139" fmla="*/ 1795374 w 2509632"/>
                  <a:gd name="connsiteY139" fmla="*/ 174318 h 1971366"/>
                  <a:gd name="connsiteX140" fmla="*/ 1838926 w 2509632"/>
                  <a:gd name="connsiteY140" fmla="*/ 186146 h 1971366"/>
                  <a:gd name="connsiteX141" fmla="*/ 1841287 w 2509632"/>
                  <a:gd name="connsiteY141" fmla="*/ 181453 h 1971366"/>
                  <a:gd name="connsiteX142" fmla="*/ 1842192 w 2509632"/>
                  <a:gd name="connsiteY142" fmla="*/ 166908 h 1971366"/>
                  <a:gd name="connsiteX143" fmla="*/ 1846693 w 2509632"/>
                  <a:gd name="connsiteY143" fmla="*/ 158675 h 1971366"/>
                  <a:gd name="connsiteX144" fmla="*/ 1865683 w 2509632"/>
                  <a:gd name="connsiteY144" fmla="*/ 146408 h 1971366"/>
                  <a:gd name="connsiteX145" fmla="*/ 1886074 w 2509632"/>
                  <a:gd name="connsiteY145" fmla="*/ 148192 h 1971366"/>
                  <a:gd name="connsiteX146" fmla="*/ 1907424 w 2509632"/>
                  <a:gd name="connsiteY146" fmla="*/ 163807 h 1971366"/>
                  <a:gd name="connsiteX147" fmla="*/ 1930229 w 2509632"/>
                  <a:gd name="connsiteY147" fmla="*/ 169433 h 1971366"/>
                  <a:gd name="connsiteX148" fmla="*/ 1937776 w 2509632"/>
                  <a:gd name="connsiteY148" fmla="*/ 186996 h 1971366"/>
                  <a:gd name="connsiteX149" fmla="*/ 1937447 w 2509632"/>
                  <a:gd name="connsiteY149" fmla="*/ 207304 h 1971366"/>
                  <a:gd name="connsiteX150" fmla="*/ 1948753 w 2509632"/>
                  <a:gd name="connsiteY150" fmla="*/ 209088 h 1971366"/>
                  <a:gd name="connsiteX151" fmla="*/ 1962420 w 2509632"/>
                  <a:gd name="connsiteY151" fmla="*/ 220093 h 1971366"/>
                  <a:gd name="connsiteX152" fmla="*/ 1960472 w 2509632"/>
                  <a:gd name="connsiteY152" fmla="*/ 232222 h 1971366"/>
                  <a:gd name="connsiteX153" fmla="*/ 1946558 w 2509632"/>
                  <a:gd name="connsiteY153" fmla="*/ 248441 h 1971366"/>
                  <a:gd name="connsiteX154" fmla="*/ 1949906 w 2509632"/>
                  <a:gd name="connsiteY154" fmla="*/ 263562 h 1971366"/>
                  <a:gd name="connsiteX155" fmla="*/ 1961020 w 2509632"/>
                  <a:gd name="connsiteY155" fmla="*/ 249182 h 1971366"/>
                  <a:gd name="connsiteX156" fmla="*/ 1972519 w 2509632"/>
                  <a:gd name="connsiteY156" fmla="*/ 244462 h 1971366"/>
                  <a:gd name="connsiteX157" fmla="*/ 1975593 w 2509632"/>
                  <a:gd name="connsiteY157" fmla="*/ 248963 h 1971366"/>
                  <a:gd name="connsiteX158" fmla="*/ 1975373 w 2509632"/>
                  <a:gd name="connsiteY158" fmla="*/ 262218 h 1971366"/>
                  <a:gd name="connsiteX159" fmla="*/ 1982234 w 2509632"/>
                  <a:gd name="connsiteY159" fmla="*/ 266142 h 1971366"/>
                  <a:gd name="connsiteX160" fmla="*/ 1985499 w 2509632"/>
                  <a:gd name="connsiteY160" fmla="*/ 280495 h 1971366"/>
                  <a:gd name="connsiteX161" fmla="*/ 1993485 w 2509632"/>
                  <a:gd name="connsiteY161" fmla="*/ 265044 h 1971366"/>
                  <a:gd name="connsiteX162" fmla="*/ 2006713 w 2509632"/>
                  <a:gd name="connsiteY162" fmla="*/ 253957 h 1971366"/>
                  <a:gd name="connsiteX163" fmla="*/ 2019007 w 2509632"/>
                  <a:gd name="connsiteY163" fmla="*/ 254918 h 1971366"/>
                  <a:gd name="connsiteX164" fmla="*/ 2042114 w 2509632"/>
                  <a:gd name="connsiteY164" fmla="*/ 269270 h 1971366"/>
                  <a:gd name="connsiteX165" fmla="*/ 2048810 w 2509632"/>
                  <a:gd name="connsiteY165" fmla="*/ 284913 h 1971366"/>
                  <a:gd name="connsiteX166" fmla="*/ 2043706 w 2509632"/>
                  <a:gd name="connsiteY166" fmla="*/ 303135 h 1971366"/>
                  <a:gd name="connsiteX167" fmla="*/ 2044337 w 2509632"/>
                  <a:gd name="connsiteY167" fmla="*/ 317872 h 1971366"/>
                  <a:gd name="connsiteX168" fmla="*/ 2050045 w 2509632"/>
                  <a:gd name="connsiteY168" fmla="*/ 317488 h 1971366"/>
                  <a:gd name="connsiteX169" fmla="*/ 2061407 w 2509632"/>
                  <a:gd name="connsiteY169" fmla="*/ 306483 h 1971366"/>
                  <a:gd name="connsiteX170" fmla="*/ 2067801 w 2509632"/>
                  <a:gd name="connsiteY170" fmla="*/ 313756 h 1971366"/>
                  <a:gd name="connsiteX171" fmla="*/ 2064810 w 2509632"/>
                  <a:gd name="connsiteY171" fmla="*/ 328575 h 1971366"/>
                  <a:gd name="connsiteX172" fmla="*/ 2053256 w 2509632"/>
                  <a:gd name="connsiteY172" fmla="*/ 347922 h 1971366"/>
                  <a:gd name="connsiteX173" fmla="*/ 2052872 w 2509632"/>
                  <a:gd name="connsiteY173" fmla="*/ 362796 h 1971366"/>
                  <a:gd name="connsiteX174" fmla="*/ 2063218 w 2509632"/>
                  <a:gd name="connsiteY174" fmla="*/ 342571 h 1971366"/>
                  <a:gd name="connsiteX175" fmla="*/ 2084486 w 2509632"/>
                  <a:gd name="connsiteY175" fmla="*/ 327806 h 1971366"/>
                  <a:gd name="connsiteX176" fmla="*/ 2087780 w 2509632"/>
                  <a:gd name="connsiteY176" fmla="*/ 329124 h 1971366"/>
                  <a:gd name="connsiteX177" fmla="*/ 2090881 w 2509632"/>
                  <a:gd name="connsiteY177" fmla="*/ 339113 h 1971366"/>
                  <a:gd name="connsiteX178" fmla="*/ 2110008 w 2509632"/>
                  <a:gd name="connsiteY178" fmla="*/ 332993 h 1971366"/>
                  <a:gd name="connsiteX179" fmla="*/ 2131524 w 2509632"/>
                  <a:gd name="connsiteY179" fmla="*/ 348910 h 1971366"/>
                  <a:gd name="connsiteX180" fmla="*/ 2133033 w 2509632"/>
                  <a:gd name="connsiteY180" fmla="*/ 355414 h 1971366"/>
                  <a:gd name="connsiteX181" fmla="*/ 2129465 w 2509632"/>
                  <a:gd name="connsiteY181" fmla="*/ 363455 h 1971366"/>
                  <a:gd name="connsiteX182" fmla="*/ 2100129 w 2509632"/>
                  <a:gd name="connsiteY182" fmla="*/ 381073 h 1971366"/>
                  <a:gd name="connsiteX183" fmla="*/ 2096945 w 2509632"/>
                  <a:gd name="connsiteY183" fmla="*/ 389141 h 1971366"/>
                  <a:gd name="connsiteX184" fmla="*/ 2118927 w 2509632"/>
                  <a:gd name="connsiteY184" fmla="*/ 386123 h 1971366"/>
                  <a:gd name="connsiteX185" fmla="*/ 2121177 w 2509632"/>
                  <a:gd name="connsiteY185" fmla="*/ 389526 h 1971366"/>
                  <a:gd name="connsiteX186" fmla="*/ 2121480 w 2509632"/>
                  <a:gd name="connsiteY186" fmla="*/ 398307 h 1971366"/>
                  <a:gd name="connsiteX187" fmla="*/ 2123428 w 2509632"/>
                  <a:gd name="connsiteY187" fmla="*/ 399707 h 1971366"/>
                  <a:gd name="connsiteX188" fmla="*/ 2135009 w 2509632"/>
                  <a:gd name="connsiteY188" fmla="*/ 391117 h 1971366"/>
                  <a:gd name="connsiteX189" fmla="*/ 2144010 w 2509632"/>
                  <a:gd name="connsiteY189" fmla="*/ 375255 h 1971366"/>
                  <a:gd name="connsiteX190" fmla="*/ 2152024 w 2509632"/>
                  <a:gd name="connsiteY190" fmla="*/ 377615 h 1971366"/>
                  <a:gd name="connsiteX191" fmla="*/ 2164071 w 2509632"/>
                  <a:gd name="connsiteY191" fmla="*/ 394438 h 1971366"/>
                  <a:gd name="connsiteX192" fmla="*/ 2166925 w 2509632"/>
                  <a:gd name="connsiteY192" fmla="*/ 417353 h 1971366"/>
                  <a:gd name="connsiteX193" fmla="*/ 2146535 w 2509632"/>
                  <a:gd name="connsiteY193" fmla="*/ 421222 h 1971366"/>
                  <a:gd name="connsiteX194" fmla="*/ 2141019 w 2509632"/>
                  <a:gd name="connsiteY194" fmla="*/ 433599 h 1971366"/>
                  <a:gd name="connsiteX195" fmla="*/ 2149581 w 2509632"/>
                  <a:gd name="connsiteY195" fmla="*/ 427287 h 1971366"/>
                  <a:gd name="connsiteX196" fmla="*/ 2151118 w 2509632"/>
                  <a:gd name="connsiteY196" fmla="*/ 438978 h 1971366"/>
                  <a:gd name="connsiteX197" fmla="*/ 2164620 w 2509632"/>
                  <a:gd name="connsiteY197" fmla="*/ 439637 h 1971366"/>
                  <a:gd name="connsiteX198" fmla="*/ 2177683 w 2509632"/>
                  <a:gd name="connsiteY198" fmla="*/ 451547 h 1971366"/>
                  <a:gd name="connsiteX199" fmla="*/ 2181195 w 2509632"/>
                  <a:gd name="connsiteY199" fmla="*/ 460658 h 1971366"/>
                  <a:gd name="connsiteX200" fmla="*/ 2175570 w 2509632"/>
                  <a:gd name="connsiteY200" fmla="*/ 467546 h 1971366"/>
                  <a:gd name="connsiteX201" fmla="*/ 2147139 w 2509632"/>
                  <a:gd name="connsiteY201" fmla="*/ 461563 h 1971366"/>
                  <a:gd name="connsiteX202" fmla="*/ 2137534 w 2509632"/>
                  <a:gd name="connsiteY202" fmla="*/ 465104 h 1971366"/>
                  <a:gd name="connsiteX203" fmla="*/ 2137479 w 2509632"/>
                  <a:gd name="connsiteY203" fmla="*/ 471553 h 1971366"/>
                  <a:gd name="connsiteX204" fmla="*/ 2144477 w 2509632"/>
                  <a:gd name="connsiteY204" fmla="*/ 482502 h 1971366"/>
                  <a:gd name="connsiteX205" fmla="*/ 2135174 w 2509632"/>
                  <a:gd name="connsiteY205" fmla="*/ 499544 h 1971366"/>
                  <a:gd name="connsiteX206" fmla="*/ 2139235 w 2509632"/>
                  <a:gd name="connsiteY206" fmla="*/ 515050 h 1971366"/>
                  <a:gd name="connsiteX207" fmla="*/ 2166184 w 2509632"/>
                  <a:gd name="connsiteY207" fmla="*/ 528250 h 1971366"/>
                  <a:gd name="connsiteX208" fmla="*/ 2185477 w 2509632"/>
                  <a:gd name="connsiteY208" fmla="*/ 551247 h 1971366"/>
                  <a:gd name="connsiteX209" fmla="*/ 2193353 w 2509632"/>
                  <a:gd name="connsiteY209" fmla="*/ 550314 h 1971366"/>
                  <a:gd name="connsiteX210" fmla="*/ 2197853 w 2509632"/>
                  <a:gd name="connsiteY210" fmla="*/ 565572 h 1971366"/>
                  <a:gd name="connsiteX211" fmla="*/ 2205921 w 2509632"/>
                  <a:gd name="connsiteY211" fmla="*/ 571226 h 1971366"/>
                  <a:gd name="connsiteX212" fmla="*/ 2235944 w 2509632"/>
                  <a:gd name="connsiteY212" fmla="*/ 565161 h 1971366"/>
                  <a:gd name="connsiteX213" fmla="*/ 2240362 w 2509632"/>
                  <a:gd name="connsiteY213" fmla="*/ 578690 h 1971366"/>
                  <a:gd name="connsiteX214" fmla="*/ 2249693 w 2509632"/>
                  <a:gd name="connsiteY214" fmla="*/ 581517 h 1971366"/>
                  <a:gd name="connsiteX215" fmla="*/ 2266598 w 2509632"/>
                  <a:gd name="connsiteY215" fmla="*/ 596446 h 1971366"/>
                  <a:gd name="connsiteX216" fmla="*/ 2265281 w 2509632"/>
                  <a:gd name="connsiteY216" fmla="*/ 612445 h 1971366"/>
                  <a:gd name="connsiteX217" fmla="*/ 2267805 w 2509632"/>
                  <a:gd name="connsiteY217" fmla="*/ 621940 h 1971366"/>
                  <a:gd name="connsiteX218" fmla="*/ 2278563 w 2509632"/>
                  <a:gd name="connsiteY218" fmla="*/ 624822 h 1971366"/>
                  <a:gd name="connsiteX219" fmla="*/ 2290144 w 2509632"/>
                  <a:gd name="connsiteY219" fmla="*/ 621721 h 1971366"/>
                  <a:gd name="connsiteX220" fmla="*/ 2286302 w 2509632"/>
                  <a:gd name="connsiteY220" fmla="*/ 644992 h 1971366"/>
                  <a:gd name="connsiteX221" fmla="*/ 2292669 w 2509632"/>
                  <a:gd name="connsiteY221" fmla="*/ 641809 h 1971366"/>
                  <a:gd name="connsiteX222" fmla="*/ 2302274 w 2509632"/>
                  <a:gd name="connsiteY222" fmla="*/ 649575 h 1971366"/>
                  <a:gd name="connsiteX223" fmla="*/ 2321950 w 2509632"/>
                  <a:gd name="connsiteY223" fmla="*/ 640684 h 1971366"/>
                  <a:gd name="connsiteX224" fmla="*/ 2331309 w 2509632"/>
                  <a:gd name="connsiteY224" fmla="*/ 648148 h 1971366"/>
                  <a:gd name="connsiteX225" fmla="*/ 2339212 w 2509632"/>
                  <a:gd name="connsiteY225" fmla="*/ 662309 h 1971366"/>
                  <a:gd name="connsiteX226" fmla="*/ 2338855 w 2509632"/>
                  <a:gd name="connsiteY226" fmla="*/ 668017 h 1971366"/>
                  <a:gd name="connsiteX227" fmla="*/ 2330897 w 2509632"/>
                  <a:gd name="connsiteY227" fmla="*/ 687721 h 1971366"/>
                  <a:gd name="connsiteX228" fmla="*/ 2314459 w 2509632"/>
                  <a:gd name="connsiteY228" fmla="*/ 691097 h 1971366"/>
                  <a:gd name="connsiteX229" fmla="*/ 2314019 w 2509632"/>
                  <a:gd name="connsiteY229" fmla="*/ 700070 h 1971366"/>
                  <a:gd name="connsiteX230" fmla="*/ 2316187 w 2509632"/>
                  <a:gd name="connsiteY230" fmla="*/ 709922 h 1971366"/>
                  <a:gd name="connsiteX231" fmla="*/ 2303042 w 2509632"/>
                  <a:gd name="connsiteY231" fmla="*/ 738765 h 1971366"/>
                  <a:gd name="connsiteX232" fmla="*/ 2293711 w 2509632"/>
                  <a:gd name="connsiteY232" fmla="*/ 741399 h 1971366"/>
                  <a:gd name="connsiteX233" fmla="*/ 2282625 w 2509632"/>
                  <a:gd name="connsiteY233" fmla="*/ 738490 h 1971366"/>
                  <a:gd name="connsiteX234" fmla="*/ 2280731 w 2509632"/>
                  <a:gd name="connsiteY234" fmla="*/ 748644 h 1971366"/>
                  <a:gd name="connsiteX235" fmla="*/ 2282076 w 2509632"/>
                  <a:gd name="connsiteY235" fmla="*/ 767333 h 1971366"/>
                  <a:gd name="connsiteX236" fmla="*/ 2279194 w 2509632"/>
                  <a:gd name="connsiteY236" fmla="*/ 779710 h 1971366"/>
                  <a:gd name="connsiteX237" fmla="*/ 2275023 w 2509632"/>
                  <a:gd name="connsiteY237" fmla="*/ 786406 h 1971366"/>
                  <a:gd name="connsiteX238" fmla="*/ 2253370 w 2509632"/>
                  <a:gd name="connsiteY238" fmla="*/ 768047 h 1971366"/>
                  <a:gd name="connsiteX239" fmla="*/ 2243683 w 2509632"/>
                  <a:gd name="connsiteY239" fmla="*/ 767772 h 1971366"/>
                  <a:gd name="connsiteX240" fmla="*/ 2232926 w 2509632"/>
                  <a:gd name="connsiteY240" fmla="*/ 751938 h 1971366"/>
                  <a:gd name="connsiteX241" fmla="*/ 2226284 w 2509632"/>
                  <a:gd name="connsiteY241" fmla="*/ 735746 h 1971366"/>
                  <a:gd name="connsiteX242" fmla="*/ 2226284 w 2509632"/>
                  <a:gd name="connsiteY242" fmla="*/ 726196 h 1971366"/>
                  <a:gd name="connsiteX243" fmla="*/ 2236630 w 2509632"/>
                  <a:gd name="connsiteY243" fmla="*/ 713106 h 1971366"/>
                  <a:gd name="connsiteX244" fmla="*/ 2237426 w 2509632"/>
                  <a:gd name="connsiteY244" fmla="*/ 706218 h 1971366"/>
                  <a:gd name="connsiteX245" fmla="*/ 2213304 w 2509632"/>
                  <a:gd name="connsiteY245" fmla="*/ 713462 h 1971366"/>
                  <a:gd name="connsiteX246" fmla="*/ 2203150 w 2509632"/>
                  <a:gd name="connsiteY246" fmla="*/ 702046 h 1971366"/>
                  <a:gd name="connsiteX247" fmla="*/ 2181442 w 2509632"/>
                  <a:gd name="connsiteY247" fmla="*/ 690822 h 1971366"/>
                  <a:gd name="connsiteX248" fmla="*/ 2160064 w 2509632"/>
                  <a:gd name="connsiteY248" fmla="*/ 693896 h 1971366"/>
                  <a:gd name="connsiteX249" fmla="*/ 2168242 w 2509632"/>
                  <a:gd name="connsiteY249" fmla="*/ 712447 h 1971366"/>
                  <a:gd name="connsiteX250" fmla="*/ 2170383 w 2509632"/>
                  <a:gd name="connsiteY250" fmla="*/ 736323 h 1971366"/>
                  <a:gd name="connsiteX251" fmla="*/ 2178369 w 2509632"/>
                  <a:gd name="connsiteY251" fmla="*/ 755066 h 1971366"/>
                  <a:gd name="connsiteX252" fmla="*/ 2185120 w 2509632"/>
                  <a:gd name="connsiteY252" fmla="*/ 783991 h 1971366"/>
                  <a:gd name="connsiteX253" fmla="*/ 2191239 w 2509632"/>
                  <a:gd name="connsiteY253" fmla="*/ 783744 h 1971366"/>
                  <a:gd name="connsiteX254" fmla="*/ 2202875 w 2509632"/>
                  <a:gd name="connsiteY254" fmla="*/ 797795 h 1971366"/>
                  <a:gd name="connsiteX255" fmla="*/ 2212096 w 2509632"/>
                  <a:gd name="connsiteY255" fmla="*/ 796587 h 1971366"/>
                  <a:gd name="connsiteX256" fmla="*/ 2218353 w 2509632"/>
                  <a:gd name="connsiteY256" fmla="*/ 806247 h 1971366"/>
                  <a:gd name="connsiteX257" fmla="*/ 2224116 w 2509632"/>
                  <a:gd name="connsiteY257" fmla="*/ 806549 h 1971366"/>
                  <a:gd name="connsiteX258" fmla="*/ 2226668 w 2509632"/>
                  <a:gd name="connsiteY258" fmla="*/ 810748 h 1971366"/>
                  <a:gd name="connsiteX259" fmla="*/ 2231718 w 2509632"/>
                  <a:gd name="connsiteY259" fmla="*/ 822274 h 1971366"/>
                  <a:gd name="connsiteX260" fmla="*/ 2229111 w 2509632"/>
                  <a:gd name="connsiteY260" fmla="*/ 834486 h 1971366"/>
                  <a:gd name="connsiteX261" fmla="*/ 2235231 w 2509632"/>
                  <a:gd name="connsiteY261" fmla="*/ 835364 h 1971366"/>
                  <a:gd name="connsiteX262" fmla="*/ 2236081 w 2509632"/>
                  <a:gd name="connsiteY262" fmla="*/ 848564 h 1971366"/>
                  <a:gd name="connsiteX263" fmla="*/ 2243683 w 2509632"/>
                  <a:gd name="connsiteY263" fmla="*/ 860804 h 1971366"/>
                  <a:gd name="connsiteX264" fmla="*/ 2251477 w 2509632"/>
                  <a:gd name="connsiteY264" fmla="*/ 866183 h 1971366"/>
                  <a:gd name="connsiteX265" fmla="*/ 2258200 w 2509632"/>
                  <a:gd name="connsiteY265" fmla="*/ 863274 h 1971366"/>
                  <a:gd name="connsiteX266" fmla="*/ 2260423 w 2509632"/>
                  <a:gd name="connsiteY266" fmla="*/ 869970 h 1971366"/>
                  <a:gd name="connsiteX267" fmla="*/ 2257981 w 2509632"/>
                  <a:gd name="connsiteY267" fmla="*/ 880865 h 1971366"/>
                  <a:gd name="connsiteX268" fmla="*/ 2257789 w 2509632"/>
                  <a:gd name="connsiteY268" fmla="*/ 892528 h 1971366"/>
                  <a:gd name="connsiteX269" fmla="*/ 2251230 w 2509632"/>
                  <a:gd name="connsiteY269" fmla="*/ 884377 h 1971366"/>
                  <a:gd name="connsiteX270" fmla="*/ 2247004 w 2509632"/>
                  <a:gd name="connsiteY270" fmla="*/ 898373 h 1971366"/>
                  <a:gd name="connsiteX271" fmla="*/ 2239841 w 2509632"/>
                  <a:gd name="connsiteY271" fmla="*/ 889729 h 1971366"/>
                  <a:gd name="connsiteX272" fmla="*/ 2235121 w 2509632"/>
                  <a:gd name="connsiteY272" fmla="*/ 890168 h 1971366"/>
                  <a:gd name="connsiteX273" fmla="*/ 2236822 w 2509632"/>
                  <a:gd name="connsiteY273" fmla="*/ 903258 h 1971366"/>
                  <a:gd name="connsiteX274" fmla="*/ 2241186 w 2509632"/>
                  <a:gd name="connsiteY274" fmla="*/ 912534 h 1971366"/>
                  <a:gd name="connsiteX275" fmla="*/ 2242668 w 2509632"/>
                  <a:gd name="connsiteY275" fmla="*/ 920932 h 1971366"/>
                  <a:gd name="connsiteX276" fmla="*/ 2240966 w 2509632"/>
                  <a:gd name="connsiteY276" fmla="*/ 925514 h 1971366"/>
                  <a:gd name="connsiteX277" fmla="*/ 2235039 w 2509632"/>
                  <a:gd name="connsiteY277" fmla="*/ 926804 h 1971366"/>
                  <a:gd name="connsiteX278" fmla="*/ 2234353 w 2509632"/>
                  <a:gd name="connsiteY278" fmla="*/ 932046 h 1971366"/>
                  <a:gd name="connsiteX279" fmla="*/ 2240033 w 2509632"/>
                  <a:gd name="connsiteY279" fmla="*/ 947633 h 1971366"/>
                  <a:gd name="connsiteX280" fmla="*/ 2249117 w 2509632"/>
                  <a:gd name="connsiteY280" fmla="*/ 950652 h 1971366"/>
                  <a:gd name="connsiteX281" fmla="*/ 2248156 w 2509632"/>
                  <a:gd name="connsiteY281" fmla="*/ 956470 h 1971366"/>
                  <a:gd name="connsiteX282" fmla="*/ 2238249 w 2509632"/>
                  <a:gd name="connsiteY282" fmla="*/ 953671 h 1971366"/>
                  <a:gd name="connsiteX283" fmla="*/ 2222058 w 2509632"/>
                  <a:gd name="connsiteY283" fmla="*/ 929658 h 1971366"/>
                  <a:gd name="connsiteX284" fmla="*/ 2194890 w 2509632"/>
                  <a:gd name="connsiteY284" fmla="*/ 915909 h 1971366"/>
                  <a:gd name="connsiteX285" fmla="*/ 2188605 w 2509632"/>
                  <a:gd name="connsiteY285" fmla="*/ 919093 h 1971366"/>
                  <a:gd name="connsiteX286" fmla="*/ 2182458 w 2509632"/>
                  <a:gd name="connsiteY286" fmla="*/ 910421 h 1971366"/>
                  <a:gd name="connsiteX287" fmla="*/ 2162013 w 2509632"/>
                  <a:gd name="connsiteY287" fmla="*/ 886984 h 1971366"/>
                  <a:gd name="connsiteX288" fmla="*/ 2160640 w 2509632"/>
                  <a:gd name="connsiteY288" fmla="*/ 885365 h 1971366"/>
                  <a:gd name="connsiteX289" fmla="*/ 2152298 w 2509632"/>
                  <a:gd name="connsiteY289" fmla="*/ 889015 h 1971366"/>
                  <a:gd name="connsiteX290" fmla="*/ 2132210 w 2509632"/>
                  <a:gd name="connsiteY290" fmla="*/ 872330 h 1971366"/>
                  <a:gd name="connsiteX291" fmla="*/ 2126282 w 2509632"/>
                  <a:gd name="connsiteY291" fmla="*/ 874141 h 1971366"/>
                  <a:gd name="connsiteX292" fmla="*/ 2129109 w 2509632"/>
                  <a:gd name="connsiteY292" fmla="*/ 884268 h 1971366"/>
                  <a:gd name="connsiteX293" fmla="*/ 2135064 w 2509632"/>
                  <a:gd name="connsiteY293" fmla="*/ 892555 h 1971366"/>
                  <a:gd name="connsiteX294" fmla="*/ 2146453 w 2509632"/>
                  <a:gd name="connsiteY294" fmla="*/ 903066 h 1971366"/>
                  <a:gd name="connsiteX295" fmla="*/ 2153615 w 2509632"/>
                  <a:gd name="connsiteY295" fmla="*/ 905042 h 1971366"/>
                  <a:gd name="connsiteX296" fmla="*/ 2156085 w 2509632"/>
                  <a:gd name="connsiteY296" fmla="*/ 913055 h 1971366"/>
                  <a:gd name="connsiteX297" fmla="*/ 2162013 w 2509632"/>
                  <a:gd name="connsiteY297" fmla="*/ 919312 h 1971366"/>
                  <a:gd name="connsiteX298" fmla="*/ 2182458 w 2509632"/>
                  <a:gd name="connsiteY298" fmla="*/ 940690 h 1971366"/>
                  <a:gd name="connsiteX299" fmla="*/ 2188303 w 2509632"/>
                  <a:gd name="connsiteY299" fmla="*/ 946755 h 1971366"/>
                  <a:gd name="connsiteX300" fmla="*/ 2195932 w 2509632"/>
                  <a:gd name="connsiteY300" fmla="*/ 960038 h 1971366"/>
                  <a:gd name="connsiteX301" fmla="*/ 2205757 w 2509632"/>
                  <a:gd name="connsiteY301" fmla="*/ 967996 h 1971366"/>
                  <a:gd name="connsiteX302" fmla="*/ 2208666 w 2509632"/>
                  <a:gd name="connsiteY302" fmla="*/ 979440 h 1971366"/>
                  <a:gd name="connsiteX303" fmla="*/ 2204632 w 2509632"/>
                  <a:gd name="connsiteY303" fmla="*/ 988194 h 1971366"/>
                  <a:gd name="connsiteX304" fmla="*/ 2197359 w 2509632"/>
                  <a:gd name="connsiteY304" fmla="*/ 989457 h 1971366"/>
                  <a:gd name="connsiteX305" fmla="*/ 2182458 w 2509632"/>
                  <a:gd name="connsiteY305" fmla="*/ 982678 h 1971366"/>
                  <a:gd name="connsiteX306" fmla="*/ 2162013 w 2509632"/>
                  <a:gd name="connsiteY306" fmla="*/ 973430 h 1971366"/>
                  <a:gd name="connsiteX307" fmla="*/ 2131304 w 2509632"/>
                  <a:gd name="connsiteY307" fmla="*/ 964868 h 1971366"/>
                  <a:gd name="connsiteX308" fmla="*/ 2112067 w 2509632"/>
                  <a:gd name="connsiteY308" fmla="*/ 952710 h 1971366"/>
                  <a:gd name="connsiteX309" fmla="*/ 2107154 w 2509632"/>
                  <a:gd name="connsiteY309" fmla="*/ 946755 h 1971366"/>
                  <a:gd name="connsiteX310" fmla="*/ 2097247 w 2509632"/>
                  <a:gd name="connsiteY310" fmla="*/ 935366 h 1971366"/>
                  <a:gd name="connsiteX311" fmla="*/ 2078668 w 2509632"/>
                  <a:gd name="connsiteY311" fmla="*/ 932238 h 1971366"/>
                  <a:gd name="connsiteX312" fmla="*/ 2077077 w 2509632"/>
                  <a:gd name="connsiteY312" fmla="*/ 933665 h 1971366"/>
                  <a:gd name="connsiteX313" fmla="*/ 2076857 w 2509632"/>
                  <a:gd name="connsiteY313" fmla="*/ 944038 h 1971366"/>
                  <a:gd name="connsiteX314" fmla="*/ 2068432 w 2509632"/>
                  <a:gd name="connsiteY314" fmla="*/ 943544 h 1971366"/>
                  <a:gd name="connsiteX315" fmla="*/ 2058608 w 2509632"/>
                  <a:gd name="connsiteY315" fmla="*/ 931689 h 1971366"/>
                  <a:gd name="connsiteX316" fmla="*/ 2051774 w 2509632"/>
                  <a:gd name="connsiteY316" fmla="*/ 917446 h 1971366"/>
                  <a:gd name="connsiteX317" fmla="*/ 2041044 w 2509632"/>
                  <a:gd name="connsiteY317" fmla="*/ 907731 h 1971366"/>
                  <a:gd name="connsiteX318" fmla="*/ 2030671 w 2509632"/>
                  <a:gd name="connsiteY318" fmla="*/ 892226 h 1971366"/>
                  <a:gd name="connsiteX319" fmla="*/ 2031933 w 2509632"/>
                  <a:gd name="connsiteY319" fmla="*/ 887918 h 1971366"/>
                  <a:gd name="connsiteX320" fmla="*/ 2039233 w 2509632"/>
                  <a:gd name="connsiteY320" fmla="*/ 885256 h 1971366"/>
                  <a:gd name="connsiteX321" fmla="*/ 2038382 w 2509632"/>
                  <a:gd name="connsiteY321" fmla="*/ 877325 h 1971366"/>
                  <a:gd name="connsiteX322" fmla="*/ 2014123 w 2509632"/>
                  <a:gd name="connsiteY322" fmla="*/ 865771 h 1971366"/>
                  <a:gd name="connsiteX323" fmla="*/ 1996038 w 2509632"/>
                  <a:gd name="connsiteY323" fmla="*/ 838356 h 1971366"/>
                  <a:gd name="connsiteX324" fmla="*/ 1978913 w 2509632"/>
                  <a:gd name="connsiteY324" fmla="*/ 837917 h 1971366"/>
                  <a:gd name="connsiteX325" fmla="*/ 1957233 w 2509632"/>
                  <a:gd name="connsiteY325" fmla="*/ 815523 h 1971366"/>
                  <a:gd name="connsiteX326" fmla="*/ 1949138 w 2509632"/>
                  <a:gd name="connsiteY326" fmla="*/ 824524 h 1971366"/>
                  <a:gd name="connsiteX327" fmla="*/ 1923259 w 2509632"/>
                  <a:gd name="connsiteY327" fmla="*/ 819036 h 1971366"/>
                  <a:gd name="connsiteX328" fmla="*/ 1913764 w 2509632"/>
                  <a:gd name="connsiteY328" fmla="*/ 827433 h 1971366"/>
                  <a:gd name="connsiteX329" fmla="*/ 1894169 w 2509632"/>
                  <a:gd name="connsiteY329" fmla="*/ 836736 h 1971366"/>
                  <a:gd name="connsiteX330" fmla="*/ 1874822 w 2509632"/>
                  <a:gd name="connsiteY330" fmla="*/ 834925 h 1971366"/>
                  <a:gd name="connsiteX331" fmla="*/ 1861732 w 2509632"/>
                  <a:gd name="connsiteY331" fmla="*/ 828586 h 1971366"/>
                  <a:gd name="connsiteX332" fmla="*/ 1850946 w 2509632"/>
                  <a:gd name="connsiteY332" fmla="*/ 810775 h 1971366"/>
                  <a:gd name="connsiteX333" fmla="*/ 1850727 w 2509632"/>
                  <a:gd name="connsiteY333" fmla="*/ 796176 h 1971366"/>
                  <a:gd name="connsiteX334" fmla="*/ 1853883 w 2509632"/>
                  <a:gd name="connsiteY334" fmla="*/ 785528 h 1971366"/>
                  <a:gd name="connsiteX335" fmla="*/ 1867220 w 2509632"/>
                  <a:gd name="connsiteY335" fmla="*/ 771120 h 1971366"/>
                  <a:gd name="connsiteX336" fmla="*/ 1871007 w 2509632"/>
                  <a:gd name="connsiteY336" fmla="*/ 759539 h 1971366"/>
                  <a:gd name="connsiteX337" fmla="*/ 1875233 w 2509632"/>
                  <a:gd name="connsiteY337" fmla="*/ 754023 h 1971366"/>
                  <a:gd name="connsiteX338" fmla="*/ 1904872 w 2509632"/>
                  <a:gd name="connsiteY338" fmla="*/ 762778 h 1971366"/>
                  <a:gd name="connsiteX339" fmla="*/ 1932589 w 2509632"/>
                  <a:gd name="connsiteY339" fmla="*/ 763683 h 1971366"/>
                  <a:gd name="connsiteX340" fmla="*/ 1955175 w 2509632"/>
                  <a:gd name="connsiteY340" fmla="*/ 757042 h 1971366"/>
                  <a:gd name="connsiteX341" fmla="*/ 1965329 w 2509632"/>
                  <a:gd name="connsiteY341" fmla="*/ 750236 h 1971366"/>
                  <a:gd name="connsiteX342" fmla="*/ 1979874 w 2509632"/>
                  <a:gd name="connsiteY342" fmla="*/ 748672 h 1971366"/>
                  <a:gd name="connsiteX343" fmla="*/ 1978035 w 2509632"/>
                  <a:gd name="connsiteY343" fmla="*/ 733633 h 1971366"/>
                  <a:gd name="connsiteX344" fmla="*/ 1963161 w 2509632"/>
                  <a:gd name="connsiteY344" fmla="*/ 712557 h 1971366"/>
                  <a:gd name="connsiteX345" fmla="*/ 1961213 w 2509632"/>
                  <a:gd name="connsiteY345" fmla="*/ 702732 h 1971366"/>
                  <a:gd name="connsiteX346" fmla="*/ 1996724 w 2509632"/>
                  <a:gd name="connsiteY346" fmla="*/ 661293 h 1971366"/>
                  <a:gd name="connsiteX347" fmla="*/ 2006905 w 2509632"/>
                  <a:gd name="connsiteY347" fmla="*/ 640684 h 1971366"/>
                  <a:gd name="connsiteX348" fmla="*/ 2016400 w 2509632"/>
                  <a:gd name="connsiteY348" fmla="*/ 629432 h 1971366"/>
                  <a:gd name="connsiteX349" fmla="*/ 2018376 w 2509632"/>
                  <a:gd name="connsiteY349" fmla="*/ 612637 h 1971366"/>
                  <a:gd name="connsiteX350" fmla="*/ 1999139 w 2509632"/>
                  <a:gd name="connsiteY350" fmla="*/ 552482 h 1971366"/>
                  <a:gd name="connsiteX351" fmla="*/ 1978309 w 2509632"/>
                  <a:gd name="connsiteY351" fmla="*/ 532970 h 1971366"/>
                  <a:gd name="connsiteX352" fmla="*/ 1973864 w 2509632"/>
                  <a:gd name="connsiteY352" fmla="*/ 515105 h 1971366"/>
                  <a:gd name="connsiteX353" fmla="*/ 1966043 w 2509632"/>
                  <a:gd name="connsiteY353" fmla="*/ 522734 h 1971366"/>
                  <a:gd name="connsiteX354" fmla="*/ 1962996 w 2509632"/>
                  <a:gd name="connsiteY354" fmla="*/ 532311 h 1971366"/>
                  <a:gd name="connsiteX355" fmla="*/ 1954132 w 2509632"/>
                  <a:gd name="connsiteY355" fmla="*/ 517904 h 1971366"/>
                  <a:gd name="connsiteX356" fmla="*/ 1942990 w 2509632"/>
                  <a:gd name="connsiteY356" fmla="*/ 528689 h 1971366"/>
                  <a:gd name="connsiteX357" fmla="*/ 1934785 w 2509632"/>
                  <a:gd name="connsiteY357" fmla="*/ 517218 h 1971366"/>
                  <a:gd name="connsiteX358" fmla="*/ 1936678 w 2509632"/>
                  <a:gd name="connsiteY358" fmla="*/ 509506 h 1971366"/>
                  <a:gd name="connsiteX359" fmla="*/ 1945433 w 2509632"/>
                  <a:gd name="connsiteY359" fmla="*/ 505582 h 1971366"/>
                  <a:gd name="connsiteX360" fmla="*/ 1944856 w 2509632"/>
                  <a:gd name="connsiteY360" fmla="*/ 495840 h 1971366"/>
                  <a:gd name="connsiteX361" fmla="*/ 1940575 w 2509632"/>
                  <a:gd name="connsiteY361" fmla="*/ 490077 h 1971366"/>
                  <a:gd name="connsiteX362" fmla="*/ 1928665 w 2509632"/>
                  <a:gd name="connsiteY362" fmla="*/ 486591 h 1971366"/>
                  <a:gd name="connsiteX363" fmla="*/ 1906628 w 2509632"/>
                  <a:gd name="connsiteY363" fmla="*/ 502508 h 1971366"/>
                  <a:gd name="connsiteX364" fmla="*/ 1897929 w 2509632"/>
                  <a:gd name="connsiteY364" fmla="*/ 503112 h 1971366"/>
                  <a:gd name="connsiteX365" fmla="*/ 1895432 w 2509632"/>
                  <a:gd name="connsiteY365" fmla="*/ 494056 h 1971366"/>
                  <a:gd name="connsiteX366" fmla="*/ 1896776 w 2509632"/>
                  <a:gd name="connsiteY366" fmla="*/ 485466 h 1971366"/>
                  <a:gd name="connsiteX367" fmla="*/ 1917111 w 2509632"/>
                  <a:gd name="connsiteY367" fmla="*/ 476739 h 1971366"/>
                  <a:gd name="connsiteX368" fmla="*/ 1919993 w 2509632"/>
                  <a:gd name="connsiteY368" fmla="*/ 472129 h 1971366"/>
                  <a:gd name="connsiteX369" fmla="*/ 1920158 w 2509632"/>
                  <a:gd name="connsiteY369" fmla="*/ 465707 h 1971366"/>
                  <a:gd name="connsiteX370" fmla="*/ 1913132 w 2509632"/>
                  <a:gd name="connsiteY370" fmla="*/ 453632 h 1971366"/>
                  <a:gd name="connsiteX371" fmla="*/ 1885443 w 2509632"/>
                  <a:gd name="connsiteY371" fmla="*/ 430471 h 1971366"/>
                  <a:gd name="connsiteX372" fmla="*/ 1878719 w 2509632"/>
                  <a:gd name="connsiteY372" fmla="*/ 416337 h 1971366"/>
                  <a:gd name="connsiteX373" fmla="*/ 1867001 w 2509632"/>
                  <a:gd name="connsiteY373" fmla="*/ 412111 h 1971366"/>
                  <a:gd name="connsiteX374" fmla="*/ 1858274 w 2509632"/>
                  <a:gd name="connsiteY374" fmla="*/ 382637 h 1971366"/>
                  <a:gd name="connsiteX375" fmla="*/ 1843647 w 2509632"/>
                  <a:gd name="connsiteY375" fmla="*/ 377890 h 1971366"/>
                  <a:gd name="connsiteX376" fmla="*/ 1829706 w 2509632"/>
                  <a:gd name="connsiteY376" fmla="*/ 363180 h 1971366"/>
                  <a:gd name="connsiteX377" fmla="*/ 1822104 w 2509632"/>
                  <a:gd name="connsiteY377" fmla="*/ 360985 h 1971366"/>
                  <a:gd name="connsiteX378" fmla="*/ 1819964 w 2509632"/>
                  <a:gd name="connsiteY378" fmla="*/ 366748 h 1971366"/>
                  <a:gd name="connsiteX379" fmla="*/ 1828937 w 2509632"/>
                  <a:gd name="connsiteY379" fmla="*/ 384860 h 1971366"/>
                  <a:gd name="connsiteX380" fmla="*/ 1830309 w 2509632"/>
                  <a:gd name="connsiteY380" fmla="*/ 393670 h 1971366"/>
                  <a:gd name="connsiteX381" fmla="*/ 1829157 w 2509632"/>
                  <a:gd name="connsiteY381" fmla="*/ 399872 h 1971366"/>
                  <a:gd name="connsiteX382" fmla="*/ 1805172 w 2509632"/>
                  <a:gd name="connsiteY382" fmla="*/ 407446 h 1971366"/>
                  <a:gd name="connsiteX383" fmla="*/ 1773832 w 2509632"/>
                  <a:gd name="connsiteY383" fmla="*/ 394328 h 1971366"/>
                  <a:gd name="connsiteX384" fmla="*/ 1764748 w 2509632"/>
                  <a:gd name="connsiteY384" fmla="*/ 398856 h 1971366"/>
                  <a:gd name="connsiteX385" fmla="*/ 1774628 w 2509632"/>
                  <a:gd name="connsiteY385" fmla="*/ 417435 h 1971366"/>
                  <a:gd name="connsiteX386" fmla="*/ 1803141 w 2509632"/>
                  <a:gd name="connsiteY386" fmla="*/ 416722 h 1971366"/>
                  <a:gd name="connsiteX387" fmla="*/ 1806681 w 2509632"/>
                  <a:gd name="connsiteY387" fmla="*/ 420097 h 1971366"/>
                  <a:gd name="connsiteX388" fmla="*/ 1795759 w 2509632"/>
                  <a:gd name="connsiteY388" fmla="*/ 433928 h 1971366"/>
                  <a:gd name="connsiteX389" fmla="*/ 1747706 w 2509632"/>
                  <a:gd name="connsiteY389" fmla="*/ 404949 h 1971366"/>
                  <a:gd name="connsiteX390" fmla="*/ 1728414 w 2509632"/>
                  <a:gd name="connsiteY390" fmla="*/ 420426 h 1971366"/>
                  <a:gd name="connsiteX391" fmla="*/ 1723062 w 2509632"/>
                  <a:gd name="connsiteY391" fmla="*/ 430635 h 1971366"/>
                  <a:gd name="connsiteX392" fmla="*/ 1723886 w 2509632"/>
                  <a:gd name="connsiteY392" fmla="*/ 440295 h 1971366"/>
                  <a:gd name="connsiteX393" fmla="*/ 1730088 w 2509632"/>
                  <a:gd name="connsiteY393" fmla="*/ 456240 h 1971366"/>
                  <a:gd name="connsiteX394" fmla="*/ 1743919 w 2509632"/>
                  <a:gd name="connsiteY394" fmla="*/ 462689 h 1971366"/>
                  <a:gd name="connsiteX395" fmla="*/ 1750972 w 2509632"/>
                  <a:gd name="connsiteY395" fmla="*/ 471827 h 1971366"/>
                  <a:gd name="connsiteX396" fmla="*/ 1749819 w 2509632"/>
                  <a:gd name="connsiteY396" fmla="*/ 486921 h 1971366"/>
                  <a:gd name="connsiteX397" fmla="*/ 1754100 w 2509632"/>
                  <a:gd name="connsiteY397" fmla="*/ 501905 h 1971366"/>
                  <a:gd name="connsiteX398" fmla="*/ 1752701 w 2509632"/>
                  <a:gd name="connsiteY398" fmla="*/ 512745 h 1971366"/>
                  <a:gd name="connsiteX399" fmla="*/ 1741888 w 2509632"/>
                  <a:gd name="connsiteY399" fmla="*/ 523530 h 1971366"/>
                  <a:gd name="connsiteX400" fmla="*/ 1730005 w 2509632"/>
                  <a:gd name="connsiteY400" fmla="*/ 525506 h 1971366"/>
                  <a:gd name="connsiteX401" fmla="*/ 1724188 w 2509632"/>
                  <a:gd name="connsiteY401" fmla="*/ 533711 h 1971366"/>
                  <a:gd name="connsiteX402" fmla="*/ 1734067 w 2509632"/>
                  <a:gd name="connsiteY402" fmla="*/ 567027 h 1971366"/>
                  <a:gd name="connsiteX403" fmla="*/ 1751219 w 2509632"/>
                  <a:gd name="connsiteY403" fmla="*/ 594250 h 1971366"/>
                  <a:gd name="connsiteX404" fmla="*/ 1754457 w 2509632"/>
                  <a:gd name="connsiteY404" fmla="*/ 614366 h 1971366"/>
                  <a:gd name="connsiteX405" fmla="*/ 1747020 w 2509632"/>
                  <a:gd name="connsiteY405" fmla="*/ 637638 h 1971366"/>
                  <a:gd name="connsiteX406" fmla="*/ 1737689 w 2509632"/>
                  <a:gd name="connsiteY406" fmla="*/ 645486 h 1971366"/>
                  <a:gd name="connsiteX407" fmla="*/ 1725395 w 2509632"/>
                  <a:gd name="connsiteY407" fmla="*/ 662830 h 1971366"/>
                  <a:gd name="connsiteX408" fmla="*/ 1701794 w 2509632"/>
                  <a:gd name="connsiteY408" fmla="*/ 680696 h 1971366"/>
                  <a:gd name="connsiteX409" fmla="*/ 1690241 w 2509632"/>
                  <a:gd name="connsiteY409" fmla="*/ 681354 h 1971366"/>
                  <a:gd name="connsiteX410" fmla="*/ 1676300 w 2509632"/>
                  <a:gd name="connsiteY410" fmla="*/ 668319 h 1971366"/>
                  <a:gd name="connsiteX411" fmla="*/ 1679455 w 2509632"/>
                  <a:gd name="connsiteY411" fmla="*/ 691920 h 1971366"/>
                  <a:gd name="connsiteX412" fmla="*/ 1670207 w 2509632"/>
                  <a:gd name="connsiteY412" fmla="*/ 693539 h 1971366"/>
                  <a:gd name="connsiteX413" fmla="*/ 1668451 w 2509632"/>
                  <a:gd name="connsiteY413" fmla="*/ 698753 h 1971366"/>
                  <a:gd name="connsiteX414" fmla="*/ 1683407 w 2509632"/>
                  <a:gd name="connsiteY414" fmla="*/ 719253 h 1971366"/>
                  <a:gd name="connsiteX415" fmla="*/ 1686673 w 2509632"/>
                  <a:gd name="connsiteY415" fmla="*/ 732261 h 1971366"/>
                  <a:gd name="connsiteX416" fmla="*/ 1677342 w 2509632"/>
                  <a:gd name="connsiteY416" fmla="*/ 729681 h 1971366"/>
                  <a:gd name="connsiteX417" fmla="*/ 1661371 w 2509632"/>
                  <a:gd name="connsiteY417" fmla="*/ 703226 h 1971366"/>
                  <a:gd name="connsiteX418" fmla="*/ 1643615 w 2509632"/>
                  <a:gd name="connsiteY418" fmla="*/ 692194 h 1971366"/>
                  <a:gd name="connsiteX419" fmla="*/ 1629839 w 2509632"/>
                  <a:gd name="connsiteY419" fmla="*/ 675454 h 1971366"/>
                  <a:gd name="connsiteX420" fmla="*/ 1601764 w 2509632"/>
                  <a:gd name="connsiteY420" fmla="*/ 680531 h 1971366"/>
                  <a:gd name="connsiteX421" fmla="*/ 1602752 w 2509632"/>
                  <a:gd name="connsiteY421" fmla="*/ 687145 h 1971366"/>
                  <a:gd name="connsiteX422" fmla="*/ 1614388 w 2509632"/>
                  <a:gd name="connsiteY422" fmla="*/ 698341 h 1971366"/>
                  <a:gd name="connsiteX423" fmla="*/ 1615349 w 2509632"/>
                  <a:gd name="connsiteY423" fmla="*/ 708413 h 1971366"/>
                  <a:gd name="connsiteX424" fmla="*/ 1589031 w 2509632"/>
                  <a:gd name="connsiteY424" fmla="*/ 750785 h 1971366"/>
                  <a:gd name="connsiteX425" fmla="*/ 1579398 w 2509632"/>
                  <a:gd name="connsiteY425" fmla="*/ 758716 h 1971366"/>
                  <a:gd name="connsiteX426" fmla="*/ 1556236 w 2509632"/>
                  <a:gd name="connsiteY426" fmla="*/ 756603 h 1971366"/>
                  <a:gd name="connsiteX427" fmla="*/ 1537410 w 2509632"/>
                  <a:gd name="connsiteY427" fmla="*/ 737612 h 1971366"/>
                  <a:gd name="connsiteX428" fmla="*/ 1513343 w 2509632"/>
                  <a:gd name="connsiteY428" fmla="*/ 721037 h 1971366"/>
                  <a:gd name="connsiteX429" fmla="*/ 1506180 w 2509632"/>
                  <a:gd name="connsiteY429" fmla="*/ 725675 h 1971366"/>
                  <a:gd name="connsiteX430" fmla="*/ 1530193 w 2509632"/>
                  <a:gd name="connsiteY430" fmla="*/ 759375 h 1971366"/>
                  <a:gd name="connsiteX431" fmla="*/ 1586314 w 2509632"/>
                  <a:gd name="connsiteY431" fmla="*/ 772767 h 1971366"/>
                  <a:gd name="connsiteX432" fmla="*/ 1587878 w 2509632"/>
                  <a:gd name="connsiteY432" fmla="*/ 778804 h 1971366"/>
                  <a:gd name="connsiteX433" fmla="*/ 1585408 w 2509632"/>
                  <a:gd name="connsiteY433" fmla="*/ 787449 h 1971366"/>
                  <a:gd name="connsiteX434" fmla="*/ 1572620 w 2509632"/>
                  <a:gd name="connsiteY434" fmla="*/ 810885 h 1971366"/>
                  <a:gd name="connsiteX435" fmla="*/ 1571577 w 2509632"/>
                  <a:gd name="connsiteY435" fmla="*/ 812751 h 1971366"/>
                  <a:gd name="connsiteX436" fmla="*/ 1570507 w 2509632"/>
                  <a:gd name="connsiteY436" fmla="*/ 813849 h 1971366"/>
                  <a:gd name="connsiteX437" fmla="*/ 1564360 w 2509632"/>
                  <a:gd name="connsiteY437" fmla="*/ 821012 h 1971366"/>
                  <a:gd name="connsiteX438" fmla="*/ 1556648 w 2509632"/>
                  <a:gd name="connsiteY438" fmla="*/ 839783 h 1971366"/>
                  <a:gd name="connsiteX439" fmla="*/ 1543475 w 2509632"/>
                  <a:gd name="connsiteY439" fmla="*/ 850897 h 1971366"/>
                  <a:gd name="connsiteX440" fmla="*/ 1524512 w 2509632"/>
                  <a:gd name="connsiteY440" fmla="*/ 853888 h 1971366"/>
                  <a:gd name="connsiteX441" fmla="*/ 1505220 w 2509632"/>
                  <a:gd name="connsiteY441" fmla="*/ 846479 h 1971366"/>
                  <a:gd name="connsiteX442" fmla="*/ 1497014 w 2509632"/>
                  <a:gd name="connsiteY442" fmla="*/ 871040 h 1971366"/>
                  <a:gd name="connsiteX443" fmla="*/ 1492624 w 2509632"/>
                  <a:gd name="connsiteY443" fmla="*/ 874937 h 1971366"/>
                  <a:gd name="connsiteX444" fmla="*/ 1491004 w 2509632"/>
                  <a:gd name="connsiteY444" fmla="*/ 876337 h 1971366"/>
                  <a:gd name="connsiteX445" fmla="*/ 1479506 w 2509632"/>
                  <a:gd name="connsiteY445" fmla="*/ 886408 h 1971366"/>
                  <a:gd name="connsiteX446" fmla="*/ 1476487 w 2509632"/>
                  <a:gd name="connsiteY446" fmla="*/ 885146 h 1971366"/>
                  <a:gd name="connsiteX447" fmla="*/ 1459335 w 2509632"/>
                  <a:gd name="connsiteY447" fmla="*/ 878120 h 1971366"/>
                  <a:gd name="connsiteX448" fmla="*/ 1460790 w 2509632"/>
                  <a:gd name="connsiteY448" fmla="*/ 882950 h 1971366"/>
                  <a:gd name="connsiteX449" fmla="*/ 1467266 w 2509632"/>
                  <a:gd name="connsiteY449" fmla="*/ 884542 h 1971366"/>
                  <a:gd name="connsiteX450" fmla="*/ 1476130 w 2509632"/>
                  <a:gd name="connsiteY450" fmla="*/ 895574 h 1971366"/>
                  <a:gd name="connsiteX451" fmla="*/ 1476515 w 2509632"/>
                  <a:gd name="connsiteY451" fmla="*/ 899636 h 1971366"/>
                  <a:gd name="connsiteX452" fmla="*/ 1478298 w 2509632"/>
                  <a:gd name="connsiteY452" fmla="*/ 918324 h 1971366"/>
                  <a:gd name="connsiteX453" fmla="*/ 1476515 w 2509632"/>
                  <a:gd name="connsiteY453" fmla="*/ 920712 h 1971366"/>
                  <a:gd name="connsiteX454" fmla="*/ 1474539 w 2509632"/>
                  <a:gd name="connsiteY454" fmla="*/ 923401 h 1971366"/>
                  <a:gd name="connsiteX455" fmla="*/ 1460433 w 2509632"/>
                  <a:gd name="connsiteY455" fmla="*/ 930152 h 1971366"/>
                  <a:gd name="connsiteX456" fmla="*/ 1434088 w 2509632"/>
                  <a:gd name="connsiteY456" fmla="*/ 932348 h 1971366"/>
                  <a:gd name="connsiteX457" fmla="*/ 1439275 w 2509632"/>
                  <a:gd name="connsiteY457" fmla="*/ 946728 h 1971366"/>
                  <a:gd name="connsiteX458" fmla="*/ 1433923 w 2509632"/>
                  <a:gd name="connsiteY458" fmla="*/ 951009 h 1971366"/>
                  <a:gd name="connsiteX459" fmla="*/ 1432084 w 2509632"/>
                  <a:gd name="connsiteY459" fmla="*/ 957980 h 1971366"/>
                  <a:gd name="connsiteX460" fmla="*/ 1422836 w 2509632"/>
                  <a:gd name="connsiteY460" fmla="*/ 956443 h 1971366"/>
                  <a:gd name="connsiteX461" fmla="*/ 1420558 w 2509632"/>
                  <a:gd name="connsiteY461" fmla="*/ 965224 h 1971366"/>
                  <a:gd name="connsiteX462" fmla="*/ 1406590 w 2509632"/>
                  <a:gd name="connsiteY462" fmla="*/ 980675 h 1971366"/>
                  <a:gd name="connsiteX463" fmla="*/ 1406590 w 2509632"/>
                  <a:gd name="connsiteY463" fmla="*/ 988880 h 1971366"/>
                  <a:gd name="connsiteX464" fmla="*/ 1400992 w 2509632"/>
                  <a:gd name="connsiteY464" fmla="*/ 990829 h 1971366"/>
                  <a:gd name="connsiteX465" fmla="*/ 1399208 w 2509632"/>
                  <a:gd name="connsiteY465" fmla="*/ 1000543 h 1971366"/>
                  <a:gd name="connsiteX466" fmla="*/ 1386200 w 2509632"/>
                  <a:gd name="connsiteY466" fmla="*/ 1014539 h 1971366"/>
                  <a:gd name="connsiteX467" fmla="*/ 1378214 w 2509632"/>
                  <a:gd name="connsiteY467" fmla="*/ 1043849 h 1971366"/>
                  <a:gd name="connsiteX468" fmla="*/ 1368142 w 2509632"/>
                  <a:gd name="connsiteY468" fmla="*/ 1066077 h 1971366"/>
                  <a:gd name="connsiteX469" fmla="*/ 1362215 w 2509632"/>
                  <a:gd name="connsiteY469" fmla="*/ 1074393 h 1971366"/>
                  <a:gd name="connsiteX470" fmla="*/ 1358729 w 2509632"/>
                  <a:gd name="connsiteY470" fmla="*/ 1110782 h 1971366"/>
                  <a:gd name="connsiteX471" fmla="*/ 1360266 w 2509632"/>
                  <a:gd name="connsiteY471" fmla="*/ 1154307 h 1971366"/>
                  <a:gd name="connsiteX472" fmla="*/ 1368444 w 2509632"/>
                  <a:gd name="connsiteY472" fmla="*/ 1172584 h 1971366"/>
                  <a:gd name="connsiteX473" fmla="*/ 1406947 w 2509632"/>
                  <a:gd name="connsiteY473" fmla="*/ 1182024 h 1971366"/>
                  <a:gd name="connsiteX474" fmla="*/ 1426568 w 2509632"/>
                  <a:gd name="connsiteY474" fmla="*/ 1247338 h 1971366"/>
                  <a:gd name="connsiteX475" fmla="*/ 1427007 w 2509632"/>
                  <a:gd name="connsiteY475" fmla="*/ 1258233 h 1971366"/>
                  <a:gd name="connsiteX476" fmla="*/ 1425059 w 2509632"/>
                  <a:gd name="connsiteY476" fmla="*/ 1270967 h 1971366"/>
                  <a:gd name="connsiteX477" fmla="*/ 1447123 w 2509632"/>
                  <a:gd name="connsiteY477" fmla="*/ 1267097 h 1971366"/>
                  <a:gd name="connsiteX478" fmla="*/ 1466772 w 2509632"/>
                  <a:gd name="connsiteY478" fmla="*/ 1259715 h 1971366"/>
                  <a:gd name="connsiteX479" fmla="*/ 1476542 w 2509632"/>
                  <a:gd name="connsiteY479" fmla="*/ 1261444 h 1971366"/>
                  <a:gd name="connsiteX480" fmla="*/ 1486367 w 2509632"/>
                  <a:gd name="connsiteY480" fmla="*/ 1263173 h 1971366"/>
                  <a:gd name="connsiteX481" fmla="*/ 1491032 w 2509632"/>
                  <a:gd name="connsiteY481" fmla="*/ 1265725 h 1971366"/>
                  <a:gd name="connsiteX482" fmla="*/ 1492651 w 2509632"/>
                  <a:gd name="connsiteY482" fmla="*/ 1266603 h 1971366"/>
                  <a:gd name="connsiteX483" fmla="*/ 1503930 w 2509632"/>
                  <a:gd name="connsiteY483" fmla="*/ 1272751 h 1971366"/>
                  <a:gd name="connsiteX484" fmla="*/ 1533102 w 2509632"/>
                  <a:gd name="connsiteY484" fmla="*/ 1281368 h 1971366"/>
                  <a:gd name="connsiteX485" fmla="*/ 1541006 w 2509632"/>
                  <a:gd name="connsiteY485" fmla="*/ 1289683 h 1971366"/>
                  <a:gd name="connsiteX486" fmla="*/ 1558843 w 2509632"/>
                  <a:gd name="connsiteY486" fmla="*/ 1301373 h 1971366"/>
                  <a:gd name="connsiteX487" fmla="*/ 1570534 w 2509632"/>
                  <a:gd name="connsiteY487" fmla="*/ 1321434 h 1971366"/>
                  <a:gd name="connsiteX488" fmla="*/ 1575858 w 2509632"/>
                  <a:gd name="connsiteY488" fmla="*/ 1326127 h 1971366"/>
                  <a:gd name="connsiteX489" fmla="*/ 1597593 w 2509632"/>
                  <a:gd name="connsiteY489" fmla="*/ 1334195 h 1971366"/>
                  <a:gd name="connsiteX490" fmla="*/ 1621057 w 2509632"/>
                  <a:gd name="connsiteY490" fmla="*/ 1344349 h 1971366"/>
                  <a:gd name="connsiteX491" fmla="*/ 1645810 w 2509632"/>
                  <a:gd name="connsiteY491" fmla="*/ 1363312 h 1971366"/>
                  <a:gd name="connsiteX492" fmla="*/ 1659724 w 2509632"/>
                  <a:gd name="connsiteY492" fmla="*/ 1365563 h 1971366"/>
                  <a:gd name="connsiteX493" fmla="*/ 1679510 w 2509632"/>
                  <a:gd name="connsiteY493" fmla="*/ 1363120 h 1971366"/>
                  <a:gd name="connsiteX494" fmla="*/ 1700861 w 2509632"/>
                  <a:gd name="connsiteY494" fmla="*/ 1367648 h 1971366"/>
                  <a:gd name="connsiteX495" fmla="*/ 1706542 w 2509632"/>
                  <a:gd name="connsiteY495" fmla="*/ 1365233 h 1971366"/>
                  <a:gd name="connsiteX496" fmla="*/ 1711426 w 2509632"/>
                  <a:gd name="connsiteY496" fmla="*/ 1370255 h 1971366"/>
                  <a:gd name="connsiteX497" fmla="*/ 1715378 w 2509632"/>
                  <a:gd name="connsiteY497" fmla="*/ 1368554 h 1971366"/>
                  <a:gd name="connsiteX498" fmla="*/ 1726987 w 2509632"/>
                  <a:gd name="connsiteY498" fmla="*/ 1372313 h 1971366"/>
                  <a:gd name="connsiteX499" fmla="*/ 1729182 w 2509632"/>
                  <a:gd name="connsiteY499" fmla="*/ 1387819 h 1971366"/>
                  <a:gd name="connsiteX500" fmla="*/ 1725175 w 2509632"/>
                  <a:gd name="connsiteY500" fmla="*/ 1406123 h 1971366"/>
                  <a:gd name="connsiteX501" fmla="*/ 1723117 w 2509632"/>
                  <a:gd name="connsiteY501" fmla="*/ 1415564 h 1971366"/>
                  <a:gd name="connsiteX502" fmla="*/ 1726959 w 2509632"/>
                  <a:gd name="connsiteY502" fmla="*/ 1425278 h 1971366"/>
                  <a:gd name="connsiteX503" fmla="*/ 1731103 w 2509632"/>
                  <a:gd name="connsiteY503" fmla="*/ 1437189 h 1971366"/>
                  <a:gd name="connsiteX504" fmla="*/ 1731103 w 2509632"/>
                  <a:gd name="connsiteY504" fmla="*/ 1439329 h 1971366"/>
                  <a:gd name="connsiteX505" fmla="*/ 1731295 w 2509632"/>
                  <a:gd name="connsiteY505" fmla="*/ 1448495 h 1971366"/>
                  <a:gd name="connsiteX506" fmla="*/ 1731295 w 2509632"/>
                  <a:gd name="connsiteY506" fmla="*/ 1450608 h 1971366"/>
                  <a:gd name="connsiteX507" fmla="*/ 1731515 w 2509632"/>
                  <a:gd name="connsiteY507" fmla="*/ 1461146 h 1971366"/>
                  <a:gd name="connsiteX508" fmla="*/ 1728359 w 2509632"/>
                  <a:gd name="connsiteY508" fmla="*/ 1472453 h 1971366"/>
                  <a:gd name="connsiteX509" fmla="*/ 1729704 w 2509632"/>
                  <a:gd name="connsiteY509" fmla="*/ 1481701 h 1971366"/>
                  <a:gd name="connsiteX510" fmla="*/ 1746965 w 2509632"/>
                  <a:gd name="connsiteY510" fmla="*/ 1503601 h 1971366"/>
                  <a:gd name="connsiteX511" fmla="*/ 1754402 w 2509632"/>
                  <a:gd name="connsiteY511" fmla="*/ 1519463 h 1971366"/>
                  <a:gd name="connsiteX512" fmla="*/ 1773914 w 2509632"/>
                  <a:gd name="connsiteY512" fmla="*/ 1536011 h 1971366"/>
                  <a:gd name="connsiteX513" fmla="*/ 1783602 w 2509632"/>
                  <a:gd name="connsiteY513" fmla="*/ 1555962 h 1971366"/>
                  <a:gd name="connsiteX514" fmla="*/ 1798064 w 2509632"/>
                  <a:gd name="connsiteY514" fmla="*/ 1563975 h 1971366"/>
                  <a:gd name="connsiteX515" fmla="*/ 1801165 w 2509632"/>
                  <a:gd name="connsiteY515" fmla="*/ 1562082 h 1971366"/>
                  <a:gd name="connsiteX516" fmla="*/ 1805144 w 2509632"/>
                  <a:gd name="connsiteY516" fmla="*/ 1552971 h 1971366"/>
                  <a:gd name="connsiteX517" fmla="*/ 1812307 w 2509632"/>
                  <a:gd name="connsiteY517" fmla="*/ 1544381 h 1971366"/>
                  <a:gd name="connsiteX518" fmla="*/ 1826522 w 2509632"/>
                  <a:gd name="connsiteY518" fmla="*/ 1554617 h 1971366"/>
                  <a:gd name="connsiteX519" fmla="*/ 1827812 w 2509632"/>
                  <a:gd name="connsiteY519" fmla="*/ 1549623 h 1971366"/>
                  <a:gd name="connsiteX520" fmla="*/ 1824245 w 2509632"/>
                  <a:gd name="connsiteY520" fmla="*/ 1539633 h 1971366"/>
                  <a:gd name="connsiteX521" fmla="*/ 1823888 w 2509632"/>
                  <a:gd name="connsiteY521" fmla="*/ 1531456 h 1971366"/>
                  <a:gd name="connsiteX522" fmla="*/ 1833520 w 2509632"/>
                  <a:gd name="connsiteY522" fmla="*/ 1522289 h 1971366"/>
                  <a:gd name="connsiteX523" fmla="*/ 1836566 w 2509632"/>
                  <a:gd name="connsiteY523" fmla="*/ 1512877 h 1971366"/>
                  <a:gd name="connsiteX524" fmla="*/ 1836045 w 2509632"/>
                  <a:gd name="connsiteY524" fmla="*/ 1507498 h 1971366"/>
                  <a:gd name="connsiteX525" fmla="*/ 1828306 w 2509632"/>
                  <a:gd name="connsiteY525" fmla="*/ 1491910 h 1971366"/>
                  <a:gd name="connsiteX526" fmla="*/ 1827620 w 2509632"/>
                  <a:gd name="connsiteY526" fmla="*/ 1485104 h 1971366"/>
                  <a:gd name="connsiteX527" fmla="*/ 1823449 w 2509632"/>
                  <a:gd name="connsiteY527" fmla="*/ 1480329 h 1971366"/>
                  <a:gd name="connsiteX528" fmla="*/ 1823943 w 2509632"/>
                  <a:gd name="connsiteY528" fmla="*/ 1463836 h 1971366"/>
                  <a:gd name="connsiteX529" fmla="*/ 1820595 w 2509632"/>
                  <a:gd name="connsiteY529" fmla="*/ 1453106 h 1971366"/>
                  <a:gd name="connsiteX530" fmla="*/ 1820512 w 2509632"/>
                  <a:gd name="connsiteY530" fmla="*/ 1450581 h 1971366"/>
                  <a:gd name="connsiteX531" fmla="*/ 1820457 w 2509632"/>
                  <a:gd name="connsiteY531" fmla="*/ 1448468 h 1971366"/>
                  <a:gd name="connsiteX532" fmla="*/ 1819497 w 2509632"/>
                  <a:gd name="connsiteY532" fmla="*/ 1429999 h 1971366"/>
                  <a:gd name="connsiteX533" fmla="*/ 1810276 w 2509632"/>
                  <a:gd name="connsiteY533" fmla="*/ 1415509 h 1971366"/>
                  <a:gd name="connsiteX534" fmla="*/ 1805281 w 2509632"/>
                  <a:gd name="connsiteY534" fmla="*/ 1398906 h 1971366"/>
                  <a:gd name="connsiteX535" fmla="*/ 1806955 w 2509632"/>
                  <a:gd name="connsiteY535" fmla="*/ 1388779 h 1971366"/>
                  <a:gd name="connsiteX536" fmla="*/ 1818866 w 2509632"/>
                  <a:gd name="connsiteY536" fmla="*/ 1386886 h 1971366"/>
                  <a:gd name="connsiteX537" fmla="*/ 1840299 w 2509632"/>
                  <a:gd name="connsiteY537" fmla="*/ 1376759 h 1971366"/>
                  <a:gd name="connsiteX538" fmla="*/ 1858576 w 2509632"/>
                  <a:gd name="connsiteY538" fmla="*/ 1363916 h 1971366"/>
                  <a:gd name="connsiteX539" fmla="*/ 1885717 w 2509632"/>
                  <a:gd name="connsiteY539" fmla="*/ 1331506 h 1971366"/>
                  <a:gd name="connsiteX540" fmla="*/ 1893757 w 2509632"/>
                  <a:gd name="connsiteY540" fmla="*/ 1308920 h 1971366"/>
                  <a:gd name="connsiteX541" fmla="*/ 1894142 w 2509632"/>
                  <a:gd name="connsiteY541" fmla="*/ 1276620 h 1971366"/>
                  <a:gd name="connsiteX542" fmla="*/ 1890711 w 2509632"/>
                  <a:gd name="connsiteY542" fmla="*/ 1272201 h 1971366"/>
                  <a:gd name="connsiteX543" fmla="*/ 1889888 w 2509632"/>
                  <a:gd name="connsiteY543" fmla="*/ 1262844 h 1971366"/>
                  <a:gd name="connsiteX544" fmla="*/ 1891178 w 2509632"/>
                  <a:gd name="connsiteY544" fmla="*/ 1261746 h 1971366"/>
                  <a:gd name="connsiteX545" fmla="*/ 1893236 w 2509632"/>
                  <a:gd name="connsiteY545" fmla="*/ 1268634 h 1971366"/>
                  <a:gd name="connsiteX546" fmla="*/ 1893236 w 2509632"/>
                  <a:gd name="connsiteY546" fmla="*/ 1262158 h 1971366"/>
                  <a:gd name="connsiteX547" fmla="*/ 1881381 w 2509632"/>
                  <a:gd name="connsiteY547" fmla="*/ 1227085 h 1971366"/>
                  <a:gd name="connsiteX548" fmla="*/ 1865766 w 2509632"/>
                  <a:gd name="connsiteY548" fmla="*/ 1205680 h 1971366"/>
                  <a:gd name="connsiteX549" fmla="*/ 1835030 w 2509632"/>
                  <a:gd name="connsiteY549" fmla="*/ 1178072 h 1971366"/>
                  <a:gd name="connsiteX550" fmla="*/ 1837335 w 2509632"/>
                  <a:gd name="connsiteY550" fmla="*/ 1168248 h 1971366"/>
                  <a:gd name="connsiteX551" fmla="*/ 1854487 w 2509632"/>
                  <a:gd name="connsiteY551" fmla="*/ 1144400 h 1971366"/>
                  <a:gd name="connsiteX552" fmla="*/ 1859975 w 2509632"/>
                  <a:gd name="connsiteY552" fmla="*/ 1123021 h 1971366"/>
                  <a:gd name="connsiteX553" fmla="*/ 1867083 w 2509632"/>
                  <a:gd name="connsiteY553" fmla="*/ 1115914 h 1971366"/>
                  <a:gd name="connsiteX554" fmla="*/ 1868949 w 2509632"/>
                  <a:gd name="connsiteY554" fmla="*/ 1110508 h 1971366"/>
                  <a:gd name="connsiteX555" fmla="*/ 1863021 w 2509632"/>
                  <a:gd name="connsiteY555" fmla="*/ 1090776 h 1971366"/>
                  <a:gd name="connsiteX556" fmla="*/ 1859975 w 2509632"/>
                  <a:gd name="connsiteY556" fmla="*/ 1063443 h 1971366"/>
                  <a:gd name="connsiteX557" fmla="*/ 1851989 w 2509632"/>
                  <a:gd name="connsiteY557" fmla="*/ 1051752 h 1971366"/>
                  <a:gd name="connsiteX558" fmla="*/ 1858137 w 2509632"/>
                  <a:gd name="connsiteY558" fmla="*/ 1034216 h 1971366"/>
                  <a:gd name="connsiteX559" fmla="*/ 1861018 w 2509632"/>
                  <a:gd name="connsiteY559" fmla="*/ 1014073 h 1971366"/>
                  <a:gd name="connsiteX560" fmla="*/ 1852429 w 2509632"/>
                  <a:gd name="connsiteY560" fmla="*/ 992530 h 1971366"/>
                  <a:gd name="connsiteX561" fmla="*/ 1849849 w 2509632"/>
                  <a:gd name="connsiteY561" fmla="*/ 977135 h 1971366"/>
                  <a:gd name="connsiteX562" fmla="*/ 1850068 w 2509632"/>
                  <a:gd name="connsiteY562" fmla="*/ 970933 h 1971366"/>
                  <a:gd name="connsiteX563" fmla="*/ 1853801 w 2509632"/>
                  <a:gd name="connsiteY563" fmla="*/ 959544 h 1971366"/>
                  <a:gd name="connsiteX564" fmla="*/ 1868318 w 2509632"/>
                  <a:gd name="connsiteY564" fmla="*/ 948210 h 1971366"/>
                  <a:gd name="connsiteX565" fmla="*/ 1883439 w 2509632"/>
                  <a:gd name="connsiteY565" fmla="*/ 949033 h 1971366"/>
                  <a:gd name="connsiteX566" fmla="*/ 1919389 w 2509632"/>
                  <a:gd name="connsiteY566" fmla="*/ 963907 h 1971366"/>
                  <a:gd name="connsiteX567" fmla="*/ 1947354 w 2509632"/>
                  <a:gd name="connsiteY567" fmla="*/ 968243 h 1971366"/>
                  <a:gd name="connsiteX568" fmla="*/ 1980230 w 2509632"/>
                  <a:gd name="connsiteY568" fmla="*/ 956086 h 1971366"/>
                  <a:gd name="connsiteX569" fmla="*/ 2007070 w 2509632"/>
                  <a:gd name="connsiteY569" fmla="*/ 974363 h 1971366"/>
                  <a:gd name="connsiteX570" fmla="*/ 2012339 w 2509632"/>
                  <a:gd name="connsiteY570" fmla="*/ 983886 h 1971366"/>
                  <a:gd name="connsiteX571" fmla="*/ 2022191 w 2509632"/>
                  <a:gd name="connsiteY571" fmla="*/ 991652 h 1971366"/>
                  <a:gd name="connsiteX572" fmla="*/ 2029518 w 2509632"/>
                  <a:gd name="connsiteY572" fmla="*/ 1002904 h 1971366"/>
                  <a:gd name="connsiteX573" fmla="*/ 2039480 w 2509632"/>
                  <a:gd name="connsiteY573" fmla="*/ 1004907 h 1971366"/>
                  <a:gd name="connsiteX574" fmla="*/ 2038986 w 2509632"/>
                  <a:gd name="connsiteY574" fmla="*/ 1020714 h 1971366"/>
                  <a:gd name="connsiteX575" fmla="*/ 2047740 w 2509632"/>
                  <a:gd name="connsiteY575" fmla="*/ 1033557 h 1971366"/>
                  <a:gd name="connsiteX576" fmla="*/ 2067828 w 2509632"/>
                  <a:gd name="connsiteY576" fmla="*/ 1040995 h 1971366"/>
                  <a:gd name="connsiteX577" fmla="*/ 2080809 w 2509632"/>
                  <a:gd name="connsiteY577" fmla="*/ 1041269 h 1971366"/>
                  <a:gd name="connsiteX578" fmla="*/ 2086325 w 2509632"/>
                  <a:gd name="connsiteY578" fmla="*/ 1046456 h 1971366"/>
                  <a:gd name="connsiteX579" fmla="*/ 2089783 w 2509632"/>
                  <a:gd name="connsiteY579" fmla="*/ 1041571 h 1971366"/>
                  <a:gd name="connsiteX580" fmla="*/ 2089124 w 2509632"/>
                  <a:gd name="connsiteY580" fmla="*/ 1047910 h 1971366"/>
                  <a:gd name="connsiteX581" fmla="*/ 2090826 w 2509632"/>
                  <a:gd name="connsiteY581" fmla="*/ 1050709 h 1971366"/>
                  <a:gd name="connsiteX582" fmla="*/ 2102352 w 2509632"/>
                  <a:gd name="connsiteY582" fmla="*/ 1044727 h 1971366"/>
                  <a:gd name="connsiteX583" fmla="*/ 2104382 w 2509632"/>
                  <a:gd name="connsiteY583" fmla="*/ 1053591 h 1971366"/>
                  <a:gd name="connsiteX584" fmla="*/ 2097165 w 2509632"/>
                  <a:gd name="connsiteY584" fmla="*/ 1074091 h 1971366"/>
                  <a:gd name="connsiteX585" fmla="*/ 2099168 w 2509632"/>
                  <a:gd name="connsiteY585" fmla="*/ 1091764 h 1971366"/>
                  <a:gd name="connsiteX586" fmla="*/ 2096973 w 2509632"/>
                  <a:gd name="connsiteY586" fmla="*/ 1105156 h 1971366"/>
                  <a:gd name="connsiteX587" fmla="*/ 2100623 w 2509632"/>
                  <a:gd name="connsiteY587" fmla="*/ 1119619 h 1971366"/>
                  <a:gd name="connsiteX588" fmla="*/ 2098318 w 2509632"/>
                  <a:gd name="connsiteY588" fmla="*/ 1135124 h 1971366"/>
                  <a:gd name="connsiteX589" fmla="*/ 2099388 w 2509632"/>
                  <a:gd name="connsiteY589" fmla="*/ 1139405 h 1971366"/>
                  <a:gd name="connsiteX590" fmla="*/ 2106276 w 2509632"/>
                  <a:gd name="connsiteY590" fmla="*/ 1145141 h 1971366"/>
                  <a:gd name="connsiteX591" fmla="*/ 2107319 w 2509632"/>
                  <a:gd name="connsiteY591" fmla="*/ 1155075 h 1971366"/>
                  <a:gd name="connsiteX592" fmla="*/ 2112176 w 2509632"/>
                  <a:gd name="connsiteY592" fmla="*/ 1157682 h 1971366"/>
                  <a:gd name="connsiteX593" fmla="*/ 2112478 w 2509632"/>
                  <a:gd name="connsiteY593" fmla="*/ 1165723 h 1971366"/>
                  <a:gd name="connsiteX594" fmla="*/ 2130453 w 2509632"/>
                  <a:gd name="connsiteY594" fmla="*/ 1169236 h 1971366"/>
                  <a:gd name="connsiteX595" fmla="*/ 2140937 w 2509632"/>
                  <a:gd name="connsiteY595" fmla="*/ 1185509 h 1971366"/>
                  <a:gd name="connsiteX596" fmla="*/ 2151776 w 2509632"/>
                  <a:gd name="connsiteY596" fmla="*/ 1195718 h 1971366"/>
                  <a:gd name="connsiteX597" fmla="*/ 2163769 w 2509632"/>
                  <a:gd name="connsiteY597" fmla="*/ 1201179 h 1971366"/>
                  <a:gd name="connsiteX598" fmla="*/ 2181881 w 2509632"/>
                  <a:gd name="connsiteY598" fmla="*/ 1190202 h 1971366"/>
                  <a:gd name="connsiteX599" fmla="*/ 2193161 w 2509632"/>
                  <a:gd name="connsiteY599" fmla="*/ 1174422 h 1971366"/>
                  <a:gd name="connsiteX600" fmla="*/ 2203973 w 2509632"/>
                  <a:gd name="connsiteY600" fmla="*/ 1175328 h 1971366"/>
                  <a:gd name="connsiteX601" fmla="*/ 2207074 w 2509632"/>
                  <a:gd name="connsiteY601" fmla="*/ 1164543 h 1971366"/>
                  <a:gd name="connsiteX602" fmla="*/ 2212371 w 2509632"/>
                  <a:gd name="connsiteY602" fmla="*/ 1155981 h 1971366"/>
                  <a:gd name="connsiteX603" fmla="*/ 2214100 w 2509632"/>
                  <a:gd name="connsiteY603" fmla="*/ 1145086 h 1971366"/>
                  <a:gd name="connsiteX604" fmla="*/ 2220247 w 2509632"/>
                  <a:gd name="connsiteY604" fmla="*/ 1130980 h 1971366"/>
                  <a:gd name="connsiteX605" fmla="*/ 2225049 w 2509632"/>
                  <a:gd name="connsiteY605" fmla="*/ 1111029 h 1971366"/>
                  <a:gd name="connsiteX606" fmla="*/ 2240061 w 2509632"/>
                  <a:gd name="connsiteY606" fmla="*/ 1081308 h 1971366"/>
                  <a:gd name="connsiteX607" fmla="*/ 2248842 w 2509632"/>
                  <a:gd name="connsiteY607" fmla="*/ 1080595 h 1971366"/>
                  <a:gd name="connsiteX608" fmla="*/ 2252822 w 2509632"/>
                  <a:gd name="connsiteY608" fmla="*/ 1088251 h 1971366"/>
                  <a:gd name="connsiteX609" fmla="*/ 2255703 w 2509632"/>
                  <a:gd name="connsiteY609" fmla="*/ 1100793 h 1971366"/>
                  <a:gd name="connsiteX610" fmla="*/ 2292833 w 2509632"/>
                  <a:gd name="connsiteY610" fmla="*/ 1171760 h 1971366"/>
                  <a:gd name="connsiteX611" fmla="*/ 2295276 w 2509632"/>
                  <a:gd name="connsiteY611" fmla="*/ 1188473 h 1971366"/>
                  <a:gd name="connsiteX612" fmla="*/ 2302823 w 2509632"/>
                  <a:gd name="connsiteY612" fmla="*/ 1194373 h 1971366"/>
                  <a:gd name="connsiteX613" fmla="*/ 2309244 w 2509632"/>
                  <a:gd name="connsiteY613" fmla="*/ 1211525 h 1971366"/>
                  <a:gd name="connsiteX614" fmla="*/ 2328043 w 2509632"/>
                  <a:gd name="connsiteY614" fmla="*/ 1230049 h 1971366"/>
                  <a:gd name="connsiteX615" fmla="*/ 2327412 w 2509632"/>
                  <a:gd name="connsiteY615" fmla="*/ 1236745 h 1971366"/>
                  <a:gd name="connsiteX616" fmla="*/ 2330814 w 2509632"/>
                  <a:gd name="connsiteY616" fmla="*/ 1246323 h 1971366"/>
                  <a:gd name="connsiteX617" fmla="*/ 2331940 w 2509632"/>
                  <a:gd name="connsiteY617" fmla="*/ 1256175 h 1971366"/>
                  <a:gd name="connsiteX618" fmla="*/ 2338032 w 2509632"/>
                  <a:gd name="connsiteY618" fmla="*/ 1262816 h 1971366"/>
                  <a:gd name="connsiteX619" fmla="*/ 2340941 w 2509632"/>
                  <a:gd name="connsiteY619" fmla="*/ 1272201 h 1971366"/>
                  <a:gd name="connsiteX620" fmla="*/ 2343246 w 2509632"/>
                  <a:gd name="connsiteY620" fmla="*/ 1298629 h 1971366"/>
                  <a:gd name="connsiteX621" fmla="*/ 2336660 w 2509632"/>
                  <a:gd name="connsiteY621" fmla="*/ 1311719 h 1971366"/>
                  <a:gd name="connsiteX622" fmla="*/ 2340419 w 2509632"/>
                  <a:gd name="connsiteY622" fmla="*/ 1320035 h 1971366"/>
                  <a:gd name="connsiteX623" fmla="*/ 2350875 w 2509632"/>
                  <a:gd name="connsiteY623" fmla="*/ 1323657 h 1971366"/>
                  <a:gd name="connsiteX624" fmla="*/ 2362017 w 2509632"/>
                  <a:gd name="connsiteY624" fmla="*/ 1335540 h 1971366"/>
                  <a:gd name="connsiteX625" fmla="*/ 2370113 w 2509632"/>
                  <a:gd name="connsiteY625" fmla="*/ 1339135 h 1971366"/>
                  <a:gd name="connsiteX626" fmla="*/ 2377413 w 2509632"/>
                  <a:gd name="connsiteY626" fmla="*/ 1358290 h 1971366"/>
                  <a:gd name="connsiteX627" fmla="*/ 2383807 w 2509632"/>
                  <a:gd name="connsiteY627" fmla="*/ 1356507 h 1971366"/>
                  <a:gd name="connsiteX628" fmla="*/ 2384411 w 2509632"/>
                  <a:gd name="connsiteY628" fmla="*/ 1362736 h 1971366"/>
                  <a:gd name="connsiteX629" fmla="*/ 2394372 w 2509632"/>
                  <a:gd name="connsiteY629" fmla="*/ 1371545 h 1971366"/>
                  <a:gd name="connsiteX630" fmla="*/ 2406859 w 2509632"/>
                  <a:gd name="connsiteY630" fmla="*/ 1371271 h 1971366"/>
                  <a:gd name="connsiteX631" fmla="*/ 2420718 w 2509632"/>
                  <a:gd name="connsiteY631" fmla="*/ 1385404 h 1971366"/>
                  <a:gd name="connsiteX632" fmla="*/ 2440586 w 2509632"/>
                  <a:gd name="connsiteY632" fmla="*/ 1386364 h 1971366"/>
                  <a:gd name="connsiteX633" fmla="*/ 2458369 w 2509632"/>
                  <a:gd name="connsiteY633" fmla="*/ 1399482 h 1971366"/>
                  <a:gd name="connsiteX634" fmla="*/ 2458369 w 2509632"/>
                  <a:gd name="connsiteY634" fmla="*/ 1403598 h 1971366"/>
                  <a:gd name="connsiteX635" fmla="*/ 2443056 w 2509632"/>
                  <a:gd name="connsiteY635" fmla="*/ 1409883 h 1971366"/>
                  <a:gd name="connsiteX636" fmla="*/ 2440916 w 2509632"/>
                  <a:gd name="connsiteY636" fmla="*/ 1413560 h 1971366"/>
                  <a:gd name="connsiteX637" fmla="*/ 2454665 w 2509632"/>
                  <a:gd name="connsiteY637" fmla="*/ 1419543 h 1971366"/>
                  <a:gd name="connsiteX638" fmla="*/ 2467069 w 2509632"/>
                  <a:gd name="connsiteY638" fmla="*/ 1435048 h 1971366"/>
                  <a:gd name="connsiteX639" fmla="*/ 2475878 w 2509632"/>
                  <a:gd name="connsiteY639" fmla="*/ 1437134 h 1971366"/>
                  <a:gd name="connsiteX640" fmla="*/ 2490835 w 2509632"/>
                  <a:gd name="connsiteY640" fmla="*/ 1448386 h 1971366"/>
                  <a:gd name="connsiteX641" fmla="*/ 2504803 w 2509632"/>
                  <a:gd name="connsiteY641" fmla="*/ 1454423 h 1971366"/>
                  <a:gd name="connsiteX642" fmla="*/ 2504391 w 2509632"/>
                  <a:gd name="connsiteY642" fmla="*/ 1462436 h 1971366"/>
                  <a:gd name="connsiteX643" fmla="*/ 2508178 w 2509632"/>
                  <a:gd name="connsiteY643" fmla="*/ 1468501 h 1971366"/>
                  <a:gd name="connsiteX644" fmla="*/ 2504089 w 2509632"/>
                  <a:gd name="connsiteY644" fmla="*/ 1488782 h 1971366"/>
                  <a:gd name="connsiteX645" fmla="*/ 2509633 w 2509632"/>
                  <a:gd name="connsiteY645" fmla="*/ 1506455 h 1971366"/>
                  <a:gd name="connsiteX646" fmla="*/ 2506669 w 2509632"/>
                  <a:gd name="connsiteY646" fmla="*/ 1523497 h 1971366"/>
                  <a:gd name="connsiteX647" fmla="*/ 2493908 w 2509632"/>
                  <a:gd name="connsiteY647" fmla="*/ 1535545 h 1971366"/>
                  <a:gd name="connsiteX648" fmla="*/ 2479912 w 2509632"/>
                  <a:gd name="connsiteY648" fmla="*/ 1543256 h 1971366"/>
                  <a:gd name="connsiteX649" fmla="*/ 2473298 w 2509632"/>
                  <a:gd name="connsiteY649" fmla="*/ 1551297 h 1971366"/>
                  <a:gd name="connsiteX650" fmla="*/ 2456257 w 2509632"/>
                  <a:gd name="connsiteY650" fmla="*/ 1552065 h 1971366"/>
                  <a:gd name="connsiteX651" fmla="*/ 2432655 w 2509632"/>
                  <a:gd name="connsiteY651" fmla="*/ 1561121 h 1971366"/>
                  <a:gd name="connsiteX652" fmla="*/ 2414351 w 2509632"/>
                  <a:gd name="connsiteY652" fmla="*/ 1574596 h 1971366"/>
                  <a:gd name="connsiteX653" fmla="*/ 2406283 w 2509632"/>
                  <a:gd name="connsiteY653" fmla="*/ 1590485 h 1971366"/>
                  <a:gd name="connsiteX654" fmla="*/ 2398160 w 2509632"/>
                  <a:gd name="connsiteY654" fmla="*/ 1592818 h 1971366"/>
                  <a:gd name="connsiteX655" fmla="*/ 2380267 w 2509632"/>
                  <a:gd name="connsiteY655" fmla="*/ 1610079 h 1971366"/>
                  <a:gd name="connsiteX656" fmla="*/ 2351452 w 2509632"/>
                  <a:gd name="connsiteY656" fmla="*/ 1611013 h 1971366"/>
                  <a:gd name="connsiteX657" fmla="*/ 2333312 w 2509632"/>
                  <a:gd name="connsiteY657" fmla="*/ 1614498 h 1971366"/>
                  <a:gd name="connsiteX658" fmla="*/ 2325106 w 2509632"/>
                  <a:gd name="connsiteY658" fmla="*/ 1610052 h 1971366"/>
                  <a:gd name="connsiteX659" fmla="*/ 2301643 w 2509632"/>
                  <a:gd name="connsiteY659" fmla="*/ 1606210 h 1971366"/>
                  <a:gd name="connsiteX660" fmla="*/ 2282076 w 2509632"/>
                  <a:gd name="connsiteY660" fmla="*/ 1609558 h 1971366"/>
                  <a:gd name="connsiteX661" fmla="*/ 2271702 w 2509632"/>
                  <a:gd name="connsiteY661" fmla="*/ 1607280 h 1971366"/>
                  <a:gd name="connsiteX662" fmla="*/ 2267915 w 2509632"/>
                  <a:gd name="connsiteY662" fmla="*/ 1610546 h 1971366"/>
                  <a:gd name="connsiteX663" fmla="*/ 2262948 w 2509632"/>
                  <a:gd name="connsiteY663" fmla="*/ 1606869 h 1971366"/>
                  <a:gd name="connsiteX664" fmla="*/ 2226339 w 2509632"/>
                  <a:gd name="connsiteY664" fmla="*/ 1605853 h 1971366"/>
                  <a:gd name="connsiteX665" fmla="*/ 2209462 w 2509632"/>
                  <a:gd name="connsiteY665" fmla="*/ 1606951 h 1971366"/>
                  <a:gd name="connsiteX666" fmla="*/ 2201997 w 2509632"/>
                  <a:gd name="connsiteY666" fmla="*/ 1609887 h 1971366"/>
                  <a:gd name="connsiteX667" fmla="*/ 2192913 w 2509632"/>
                  <a:gd name="connsiteY667" fmla="*/ 1609119 h 1971366"/>
                  <a:gd name="connsiteX668" fmla="*/ 2178369 w 2509632"/>
                  <a:gd name="connsiteY668" fmla="*/ 1620975 h 1971366"/>
                  <a:gd name="connsiteX669" fmla="*/ 2172880 w 2509632"/>
                  <a:gd name="connsiteY669" fmla="*/ 1629372 h 1971366"/>
                  <a:gd name="connsiteX670" fmla="*/ 2168352 w 2509632"/>
                  <a:gd name="connsiteY670" fmla="*/ 1644548 h 1971366"/>
                  <a:gd name="connsiteX671" fmla="*/ 2162205 w 2509632"/>
                  <a:gd name="connsiteY671" fmla="*/ 1649625 h 1971366"/>
                  <a:gd name="connsiteX672" fmla="*/ 2144477 w 2509632"/>
                  <a:gd name="connsiteY672" fmla="*/ 1653138 h 1971366"/>
                  <a:gd name="connsiteX673" fmla="*/ 2140333 w 2509632"/>
                  <a:gd name="connsiteY673" fmla="*/ 1659751 h 1971366"/>
                  <a:gd name="connsiteX674" fmla="*/ 2134048 w 2509632"/>
                  <a:gd name="connsiteY674" fmla="*/ 1661700 h 1971366"/>
                  <a:gd name="connsiteX675" fmla="*/ 2130837 w 2509632"/>
                  <a:gd name="connsiteY675" fmla="*/ 1662688 h 1971366"/>
                  <a:gd name="connsiteX676" fmla="*/ 2127188 w 2509632"/>
                  <a:gd name="connsiteY676" fmla="*/ 1668670 h 1971366"/>
                  <a:gd name="connsiteX677" fmla="*/ 2116540 w 2509632"/>
                  <a:gd name="connsiteY677" fmla="*/ 1676684 h 1971366"/>
                  <a:gd name="connsiteX678" fmla="*/ 2107346 w 2509632"/>
                  <a:gd name="connsiteY678" fmla="*/ 1691750 h 1971366"/>
                  <a:gd name="connsiteX679" fmla="*/ 2105343 w 2509632"/>
                  <a:gd name="connsiteY679" fmla="*/ 1695016 h 1971366"/>
                  <a:gd name="connsiteX680" fmla="*/ 2095766 w 2509632"/>
                  <a:gd name="connsiteY680" fmla="*/ 1706487 h 1971366"/>
                  <a:gd name="connsiteX681" fmla="*/ 2092225 w 2509632"/>
                  <a:gd name="connsiteY681" fmla="*/ 1714912 h 1971366"/>
                  <a:gd name="connsiteX682" fmla="*/ 2079492 w 2509632"/>
                  <a:gd name="connsiteY682" fmla="*/ 1732805 h 1971366"/>
                  <a:gd name="connsiteX683" fmla="*/ 2073015 w 2509632"/>
                  <a:gd name="connsiteY683" fmla="*/ 1737250 h 1971366"/>
                  <a:gd name="connsiteX684" fmla="*/ 2065908 w 2509632"/>
                  <a:gd name="connsiteY684" fmla="*/ 1753689 h 1971366"/>
                  <a:gd name="connsiteX685" fmla="*/ 2069475 w 2509632"/>
                  <a:gd name="connsiteY685" fmla="*/ 1753085 h 1971366"/>
                  <a:gd name="connsiteX686" fmla="*/ 2072192 w 2509632"/>
                  <a:gd name="connsiteY686" fmla="*/ 1748776 h 1971366"/>
                  <a:gd name="connsiteX687" fmla="*/ 2076034 w 2509632"/>
                  <a:gd name="connsiteY687" fmla="*/ 1748721 h 1971366"/>
                  <a:gd name="connsiteX688" fmla="*/ 2092225 w 2509632"/>
                  <a:gd name="connsiteY688" fmla="*/ 1727179 h 1971366"/>
                  <a:gd name="connsiteX689" fmla="*/ 2105480 w 2509632"/>
                  <a:gd name="connsiteY689" fmla="*/ 1709313 h 1971366"/>
                  <a:gd name="connsiteX690" fmla="*/ 2107346 w 2509632"/>
                  <a:gd name="connsiteY690" fmla="*/ 1707914 h 1971366"/>
                  <a:gd name="connsiteX691" fmla="*/ 2134076 w 2509632"/>
                  <a:gd name="connsiteY691" fmla="*/ 1687935 h 1971366"/>
                  <a:gd name="connsiteX692" fmla="*/ 2144504 w 2509632"/>
                  <a:gd name="connsiteY692" fmla="*/ 1680114 h 1971366"/>
                  <a:gd name="connsiteX693" fmla="*/ 2162232 w 2509632"/>
                  <a:gd name="connsiteY693" fmla="*/ 1671579 h 1971366"/>
                  <a:gd name="connsiteX694" fmla="*/ 2199033 w 2509632"/>
                  <a:gd name="connsiteY694" fmla="*/ 1656348 h 1971366"/>
                  <a:gd name="connsiteX695" fmla="*/ 2220796 w 2509632"/>
                  <a:gd name="connsiteY695" fmla="*/ 1653851 h 1971366"/>
                  <a:gd name="connsiteX696" fmla="*/ 2241378 w 2509632"/>
                  <a:gd name="connsiteY696" fmla="*/ 1657748 h 1971366"/>
                  <a:gd name="connsiteX697" fmla="*/ 2255127 w 2509632"/>
                  <a:gd name="connsiteY697" fmla="*/ 1668121 h 1971366"/>
                  <a:gd name="connsiteX698" fmla="*/ 2256801 w 2509632"/>
                  <a:gd name="connsiteY698" fmla="*/ 1681349 h 1971366"/>
                  <a:gd name="connsiteX699" fmla="*/ 2255977 w 2509632"/>
                  <a:gd name="connsiteY699" fmla="*/ 1687277 h 1971366"/>
                  <a:gd name="connsiteX700" fmla="*/ 2240143 w 2509632"/>
                  <a:gd name="connsiteY700" fmla="*/ 1700724 h 1971366"/>
                  <a:gd name="connsiteX701" fmla="*/ 2225351 w 2509632"/>
                  <a:gd name="connsiteY701" fmla="*/ 1707337 h 1971366"/>
                  <a:gd name="connsiteX702" fmla="*/ 2208611 w 2509632"/>
                  <a:gd name="connsiteY702" fmla="*/ 1701821 h 1971366"/>
                  <a:gd name="connsiteX703" fmla="*/ 2200131 w 2509632"/>
                  <a:gd name="connsiteY703" fmla="*/ 1705993 h 1971366"/>
                  <a:gd name="connsiteX704" fmla="*/ 2199966 w 2509632"/>
                  <a:gd name="connsiteY704" fmla="*/ 1706102 h 1971366"/>
                  <a:gd name="connsiteX705" fmla="*/ 2199857 w 2509632"/>
                  <a:gd name="connsiteY705" fmla="*/ 1706295 h 1971366"/>
                  <a:gd name="connsiteX706" fmla="*/ 2199774 w 2509632"/>
                  <a:gd name="connsiteY706" fmla="*/ 1706542 h 1971366"/>
                  <a:gd name="connsiteX707" fmla="*/ 2199774 w 2509632"/>
                  <a:gd name="connsiteY707" fmla="*/ 1706816 h 1971366"/>
                  <a:gd name="connsiteX708" fmla="*/ 2199774 w 2509632"/>
                  <a:gd name="connsiteY708" fmla="*/ 1707063 h 1971366"/>
                  <a:gd name="connsiteX709" fmla="*/ 2199884 w 2509632"/>
                  <a:gd name="connsiteY709" fmla="*/ 1707310 h 1971366"/>
                  <a:gd name="connsiteX710" fmla="*/ 2200021 w 2509632"/>
                  <a:gd name="connsiteY710" fmla="*/ 1707474 h 1971366"/>
                  <a:gd name="connsiteX711" fmla="*/ 2218628 w 2509632"/>
                  <a:gd name="connsiteY711" fmla="*/ 1721910 h 1971366"/>
                  <a:gd name="connsiteX712" fmla="*/ 2231608 w 2509632"/>
                  <a:gd name="connsiteY712" fmla="*/ 1717903 h 1971366"/>
                  <a:gd name="connsiteX713" fmla="*/ 2244973 w 2509632"/>
                  <a:gd name="connsiteY713" fmla="*/ 1717162 h 1971366"/>
                  <a:gd name="connsiteX714" fmla="*/ 2229248 w 2509632"/>
                  <a:gd name="connsiteY714" fmla="*/ 1748173 h 1971366"/>
                  <a:gd name="connsiteX715" fmla="*/ 2238798 w 2509632"/>
                  <a:gd name="connsiteY715" fmla="*/ 1751136 h 1971366"/>
                  <a:gd name="connsiteX716" fmla="*/ 2238963 w 2509632"/>
                  <a:gd name="connsiteY716" fmla="*/ 1760632 h 1971366"/>
                  <a:gd name="connsiteX717" fmla="*/ 2249638 w 2509632"/>
                  <a:gd name="connsiteY717" fmla="*/ 1782696 h 1971366"/>
                  <a:gd name="connsiteX718" fmla="*/ 2267421 w 2509632"/>
                  <a:gd name="connsiteY718" fmla="*/ 1789447 h 1971366"/>
                  <a:gd name="connsiteX719" fmla="*/ 2266872 w 2509632"/>
                  <a:gd name="connsiteY719" fmla="*/ 1795237 h 1971366"/>
                  <a:gd name="connsiteX720" fmla="*/ 2269562 w 2509632"/>
                  <a:gd name="connsiteY720" fmla="*/ 1797734 h 1971366"/>
                  <a:gd name="connsiteX721" fmla="*/ 2286576 w 2509632"/>
                  <a:gd name="connsiteY721" fmla="*/ 1805858 h 1971366"/>
                  <a:gd name="connsiteX722" fmla="*/ 2299228 w 2509632"/>
                  <a:gd name="connsiteY722" fmla="*/ 1805858 h 1971366"/>
                  <a:gd name="connsiteX723" fmla="*/ 2309766 w 2509632"/>
                  <a:gd name="connsiteY723" fmla="*/ 1809398 h 1971366"/>
                  <a:gd name="connsiteX724" fmla="*/ 2324009 w 2509632"/>
                  <a:gd name="connsiteY724" fmla="*/ 1803168 h 1971366"/>
                  <a:gd name="connsiteX725" fmla="*/ 2329827 w 2509632"/>
                  <a:gd name="connsiteY725" fmla="*/ 1808904 h 1971366"/>
                  <a:gd name="connsiteX726" fmla="*/ 2335644 w 2509632"/>
                  <a:gd name="connsiteY726" fmla="*/ 1808794 h 1971366"/>
                  <a:gd name="connsiteX727" fmla="*/ 2338087 w 2509632"/>
                  <a:gd name="connsiteY727" fmla="*/ 1805199 h 1971366"/>
                  <a:gd name="connsiteX728" fmla="*/ 2340145 w 2509632"/>
                  <a:gd name="connsiteY728" fmla="*/ 1789666 h 1971366"/>
                  <a:gd name="connsiteX729" fmla="*/ 2358340 w 2509632"/>
                  <a:gd name="connsiteY729" fmla="*/ 1761208 h 1971366"/>
                  <a:gd name="connsiteX730" fmla="*/ 2367424 w 2509632"/>
                  <a:gd name="connsiteY730" fmla="*/ 1752920 h 1971366"/>
                  <a:gd name="connsiteX731" fmla="*/ 2370003 w 2509632"/>
                  <a:gd name="connsiteY731" fmla="*/ 1754732 h 1971366"/>
                  <a:gd name="connsiteX732" fmla="*/ 2372144 w 2509632"/>
                  <a:gd name="connsiteY732" fmla="*/ 1760961 h 1971366"/>
                  <a:gd name="connsiteX733" fmla="*/ 2369153 w 2509632"/>
                  <a:gd name="connsiteY733" fmla="*/ 1780501 h 1971366"/>
                  <a:gd name="connsiteX734" fmla="*/ 2384740 w 2509632"/>
                  <a:gd name="connsiteY734" fmla="*/ 1789776 h 1971366"/>
                  <a:gd name="connsiteX735" fmla="*/ 2384740 w 2509632"/>
                  <a:gd name="connsiteY735" fmla="*/ 1795704 h 1971366"/>
                  <a:gd name="connsiteX736" fmla="*/ 2369344 w 2509632"/>
                  <a:gd name="connsiteY736" fmla="*/ 1809755 h 1971366"/>
                  <a:gd name="connsiteX737" fmla="*/ 2345332 w 2509632"/>
                  <a:gd name="connsiteY737" fmla="*/ 1816094 h 1971366"/>
                  <a:gd name="connsiteX738" fmla="*/ 2343082 w 2509632"/>
                  <a:gd name="connsiteY738" fmla="*/ 1820924 h 1971366"/>
                  <a:gd name="connsiteX739" fmla="*/ 2350958 w 2509632"/>
                  <a:gd name="connsiteY739" fmla="*/ 1823750 h 1971366"/>
                  <a:gd name="connsiteX740" fmla="*/ 2349256 w 2509632"/>
                  <a:gd name="connsiteY740" fmla="*/ 1827592 h 1971366"/>
                  <a:gd name="connsiteX741" fmla="*/ 2341682 w 2509632"/>
                  <a:gd name="connsiteY741" fmla="*/ 1828718 h 1971366"/>
                  <a:gd name="connsiteX742" fmla="*/ 2298871 w 2509632"/>
                  <a:gd name="connsiteY742" fmla="*/ 1849382 h 1971366"/>
                  <a:gd name="connsiteX743" fmla="*/ 2283942 w 2509632"/>
                  <a:gd name="connsiteY743" fmla="*/ 1852675 h 1971366"/>
                  <a:gd name="connsiteX744" fmla="*/ 2275242 w 2509632"/>
                  <a:gd name="connsiteY744" fmla="*/ 1858878 h 1971366"/>
                  <a:gd name="connsiteX745" fmla="*/ 2263305 w 2509632"/>
                  <a:gd name="connsiteY745" fmla="*/ 1854761 h 1971366"/>
                  <a:gd name="connsiteX746" fmla="*/ 2259106 w 2509632"/>
                  <a:gd name="connsiteY746" fmla="*/ 1857862 h 1971366"/>
                  <a:gd name="connsiteX747" fmla="*/ 2258200 w 2509632"/>
                  <a:gd name="connsiteY747" fmla="*/ 1864119 h 1971366"/>
                  <a:gd name="connsiteX748" fmla="*/ 2255209 w 2509632"/>
                  <a:gd name="connsiteY748" fmla="*/ 1868812 h 1971366"/>
                  <a:gd name="connsiteX749" fmla="*/ 2246674 w 2509632"/>
                  <a:gd name="connsiteY749" fmla="*/ 1876578 h 1971366"/>
                  <a:gd name="connsiteX750" fmla="*/ 2243930 w 2509632"/>
                  <a:gd name="connsiteY750" fmla="*/ 1878911 h 1971366"/>
                  <a:gd name="connsiteX751" fmla="*/ 2238359 w 2509632"/>
                  <a:gd name="connsiteY751" fmla="*/ 1886869 h 1971366"/>
                  <a:gd name="connsiteX752" fmla="*/ 2221976 w 2509632"/>
                  <a:gd name="connsiteY752" fmla="*/ 1898697 h 1971366"/>
                  <a:gd name="connsiteX753" fmla="*/ 2214731 w 2509632"/>
                  <a:gd name="connsiteY753" fmla="*/ 1898999 h 1971366"/>
                  <a:gd name="connsiteX754" fmla="*/ 2210450 w 2509632"/>
                  <a:gd name="connsiteY754" fmla="*/ 1892550 h 1971366"/>
                  <a:gd name="connsiteX755" fmla="*/ 2204220 w 2509632"/>
                  <a:gd name="connsiteY755" fmla="*/ 1891370 h 1971366"/>
                  <a:gd name="connsiteX756" fmla="*/ 2202052 w 2509632"/>
                  <a:gd name="connsiteY756" fmla="*/ 1885579 h 1971366"/>
                  <a:gd name="connsiteX757" fmla="*/ 2202217 w 2509632"/>
                  <a:gd name="connsiteY757" fmla="*/ 1876551 h 1971366"/>
                  <a:gd name="connsiteX758" fmla="*/ 2202354 w 2509632"/>
                  <a:gd name="connsiteY758" fmla="*/ 1867385 h 1971366"/>
                  <a:gd name="connsiteX759" fmla="*/ 2209187 w 2509632"/>
                  <a:gd name="connsiteY759" fmla="*/ 1853828 h 1971366"/>
                  <a:gd name="connsiteX760" fmla="*/ 2250955 w 2509632"/>
                  <a:gd name="connsiteY760" fmla="*/ 1826577 h 1971366"/>
                  <a:gd name="connsiteX761" fmla="*/ 2258283 w 2509632"/>
                  <a:gd name="connsiteY761" fmla="*/ 1831489 h 1971366"/>
                  <a:gd name="connsiteX762" fmla="*/ 2272389 w 2509632"/>
                  <a:gd name="connsiteY762" fmla="*/ 1824080 h 1971366"/>
                  <a:gd name="connsiteX763" fmla="*/ 2272526 w 2509632"/>
                  <a:gd name="connsiteY763" fmla="*/ 1823970 h 1971366"/>
                  <a:gd name="connsiteX764" fmla="*/ 2272635 w 2509632"/>
                  <a:gd name="connsiteY764" fmla="*/ 1823805 h 1971366"/>
                  <a:gd name="connsiteX765" fmla="*/ 2272718 w 2509632"/>
                  <a:gd name="connsiteY765" fmla="*/ 1823613 h 1971366"/>
                  <a:gd name="connsiteX766" fmla="*/ 2272718 w 2509632"/>
                  <a:gd name="connsiteY766" fmla="*/ 1823394 h 1971366"/>
                  <a:gd name="connsiteX767" fmla="*/ 2272718 w 2509632"/>
                  <a:gd name="connsiteY767" fmla="*/ 1823147 h 1971366"/>
                  <a:gd name="connsiteX768" fmla="*/ 2272663 w 2509632"/>
                  <a:gd name="connsiteY768" fmla="*/ 1822955 h 1971366"/>
                  <a:gd name="connsiteX769" fmla="*/ 2272553 w 2509632"/>
                  <a:gd name="connsiteY769" fmla="*/ 1822790 h 1971366"/>
                  <a:gd name="connsiteX770" fmla="*/ 2272416 w 2509632"/>
                  <a:gd name="connsiteY770" fmla="*/ 1822653 h 1971366"/>
                  <a:gd name="connsiteX771" fmla="*/ 2272251 w 2509632"/>
                  <a:gd name="connsiteY771" fmla="*/ 1822598 h 1971366"/>
                  <a:gd name="connsiteX772" fmla="*/ 2259216 w 2509632"/>
                  <a:gd name="connsiteY772" fmla="*/ 1820759 h 1971366"/>
                  <a:gd name="connsiteX773" fmla="*/ 2239210 w 2509632"/>
                  <a:gd name="connsiteY773" fmla="*/ 1822351 h 1971366"/>
                  <a:gd name="connsiteX774" fmla="*/ 2239951 w 2509632"/>
                  <a:gd name="connsiteY774" fmla="*/ 1818372 h 1971366"/>
                  <a:gd name="connsiteX775" fmla="*/ 2249391 w 2509632"/>
                  <a:gd name="connsiteY775" fmla="*/ 1808327 h 1971366"/>
                  <a:gd name="connsiteX776" fmla="*/ 2248156 w 2509632"/>
                  <a:gd name="connsiteY776" fmla="*/ 1804074 h 1971366"/>
                  <a:gd name="connsiteX777" fmla="*/ 2241460 w 2509632"/>
                  <a:gd name="connsiteY777" fmla="*/ 1811291 h 1971366"/>
                  <a:gd name="connsiteX778" fmla="*/ 2209791 w 2509632"/>
                  <a:gd name="connsiteY778" fmla="*/ 1827840 h 1971366"/>
                  <a:gd name="connsiteX779" fmla="*/ 2203781 w 2509632"/>
                  <a:gd name="connsiteY779" fmla="*/ 1827236 h 1971366"/>
                  <a:gd name="connsiteX780" fmla="*/ 2194066 w 2509632"/>
                  <a:gd name="connsiteY780" fmla="*/ 1832834 h 1971366"/>
                  <a:gd name="connsiteX781" fmla="*/ 2182567 w 2509632"/>
                  <a:gd name="connsiteY781" fmla="*/ 1835030 h 1971366"/>
                  <a:gd name="connsiteX782" fmla="*/ 2179137 w 2509632"/>
                  <a:gd name="connsiteY782" fmla="*/ 1835633 h 1971366"/>
                  <a:gd name="connsiteX783" fmla="*/ 2177381 w 2509632"/>
                  <a:gd name="connsiteY783" fmla="*/ 1831517 h 1971366"/>
                  <a:gd name="connsiteX784" fmla="*/ 2177381 w 2509632"/>
                  <a:gd name="connsiteY784" fmla="*/ 1830172 h 1971366"/>
                  <a:gd name="connsiteX785" fmla="*/ 2174060 w 2509632"/>
                  <a:gd name="connsiteY785" fmla="*/ 1833054 h 1971366"/>
                  <a:gd name="connsiteX786" fmla="*/ 2172084 w 2509632"/>
                  <a:gd name="connsiteY786" fmla="*/ 1830584 h 1971366"/>
                  <a:gd name="connsiteX787" fmla="*/ 2168819 w 2509632"/>
                  <a:gd name="connsiteY787" fmla="*/ 1829596 h 1971366"/>
                  <a:gd name="connsiteX788" fmla="*/ 2168489 w 2509632"/>
                  <a:gd name="connsiteY788" fmla="*/ 1829514 h 1971366"/>
                  <a:gd name="connsiteX789" fmla="*/ 2165827 w 2509632"/>
                  <a:gd name="connsiteY789" fmla="*/ 1830309 h 1971366"/>
                  <a:gd name="connsiteX790" fmla="*/ 2163357 w 2509632"/>
                  <a:gd name="connsiteY790" fmla="*/ 1826851 h 1971366"/>
                  <a:gd name="connsiteX791" fmla="*/ 2162918 w 2509632"/>
                  <a:gd name="connsiteY791" fmla="*/ 1814448 h 1971366"/>
                  <a:gd name="connsiteX792" fmla="*/ 2153066 w 2509632"/>
                  <a:gd name="connsiteY792" fmla="*/ 1806489 h 1971366"/>
                  <a:gd name="connsiteX793" fmla="*/ 2151969 w 2509632"/>
                  <a:gd name="connsiteY793" fmla="*/ 1749490 h 1971366"/>
                  <a:gd name="connsiteX794" fmla="*/ 2140552 w 2509632"/>
                  <a:gd name="connsiteY794" fmla="*/ 1738156 h 1971366"/>
                  <a:gd name="connsiteX795" fmla="*/ 2120574 w 2509632"/>
                  <a:gd name="connsiteY795" fmla="*/ 1743836 h 1971366"/>
                  <a:gd name="connsiteX796" fmla="*/ 2117034 w 2509632"/>
                  <a:gd name="connsiteY796" fmla="*/ 1741202 h 1971366"/>
                  <a:gd name="connsiteX797" fmla="*/ 2115140 w 2509632"/>
                  <a:gd name="connsiteY797" fmla="*/ 1734808 h 1971366"/>
                  <a:gd name="connsiteX798" fmla="*/ 2112231 w 2509632"/>
                  <a:gd name="connsiteY798" fmla="*/ 1733847 h 1971366"/>
                  <a:gd name="connsiteX799" fmla="*/ 2107237 w 2509632"/>
                  <a:gd name="connsiteY799" fmla="*/ 1740461 h 1971366"/>
                  <a:gd name="connsiteX800" fmla="*/ 2089344 w 2509632"/>
                  <a:gd name="connsiteY800" fmla="*/ 1764995 h 1971366"/>
                  <a:gd name="connsiteX801" fmla="*/ 2086133 w 2509632"/>
                  <a:gd name="connsiteY801" fmla="*/ 1776713 h 1971366"/>
                  <a:gd name="connsiteX802" fmla="*/ 2080425 w 2509632"/>
                  <a:gd name="connsiteY802" fmla="*/ 1786071 h 1971366"/>
                  <a:gd name="connsiteX803" fmla="*/ 2079848 w 2509632"/>
                  <a:gd name="connsiteY803" fmla="*/ 1800287 h 1971366"/>
                  <a:gd name="connsiteX804" fmla="*/ 2068652 w 2509632"/>
                  <a:gd name="connsiteY804" fmla="*/ 1814338 h 1971366"/>
                  <a:gd name="connsiteX805" fmla="*/ 2068597 w 2509632"/>
                  <a:gd name="connsiteY805" fmla="*/ 1819991 h 1971366"/>
                  <a:gd name="connsiteX806" fmla="*/ 2064947 w 2509632"/>
                  <a:gd name="connsiteY806" fmla="*/ 1821061 h 1971366"/>
                  <a:gd name="connsiteX807" fmla="*/ 2062889 w 2509632"/>
                  <a:gd name="connsiteY807" fmla="*/ 1825452 h 1971366"/>
                  <a:gd name="connsiteX808" fmla="*/ 2058800 w 2509632"/>
                  <a:gd name="connsiteY808" fmla="*/ 1823750 h 1971366"/>
                  <a:gd name="connsiteX809" fmla="*/ 2049359 w 2509632"/>
                  <a:gd name="connsiteY809" fmla="*/ 1826165 h 1971366"/>
                  <a:gd name="connsiteX810" fmla="*/ 2040440 w 2509632"/>
                  <a:gd name="connsiteY810" fmla="*/ 1837115 h 1971366"/>
                  <a:gd name="connsiteX811" fmla="*/ 1945735 w 2509632"/>
                  <a:gd name="connsiteY811" fmla="*/ 1837390 h 1971366"/>
                  <a:gd name="connsiteX812" fmla="*/ 1927704 w 2509632"/>
                  <a:gd name="connsiteY812" fmla="*/ 1848559 h 1971366"/>
                  <a:gd name="connsiteX813" fmla="*/ 1915273 w 2509632"/>
                  <a:gd name="connsiteY813" fmla="*/ 1862308 h 1971366"/>
                  <a:gd name="connsiteX814" fmla="*/ 1899603 w 2509632"/>
                  <a:gd name="connsiteY814" fmla="*/ 1874520 h 1971366"/>
                  <a:gd name="connsiteX815" fmla="*/ 1898396 w 2509632"/>
                  <a:gd name="connsiteY815" fmla="*/ 1876386 h 1971366"/>
                  <a:gd name="connsiteX816" fmla="*/ 1887446 w 2509632"/>
                  <a:gd name="connsiteY816" fmla="*/ 1892934 h 1971366"/>
                  <a:gd name="connsiteX817" fmla="*/ 1834316 w 2509632"/>
                  <a:gd name="connsiteY817" fmla="*/ 1893648 h 1971366"/>
                  <a:gd name="connsiteX818" fmla="*/ 1820046 w 2509632"/>
                  <a:gd name="connsiteY818" fmla="*/ 1899960 h 1971366"/>
                  <a:gd name="connsiteX819" fmla="*/ 1822131 w 2509632"/>
                  <a:gd name="connsiteY819" fmla="*/ 1915328 h 1971366"/>
                  <a:gd name="connsiteX820" fmla="*/ 1825644 w 2509632"/>
                  <a:gd name="connsiteY820" fmla="*/ 1923149 h 1971366"/>
                  <a:gd name="connsiteX821" fmla="*/ 1823339 w 2509632"/>
                  <a:gd name="connsiteY821" fmla="*/ 1926991 h 1971366"/>
                  <a:gd name="connsiteX822" fmla="*/ 1815435 w 2509632"/>
                  <a:gd name="connsiteY822" fmla="*/ 1931053 h 1971366"/>
                  <a:gd name="connsiteX823" fmla="*/ 1808931 w 2509632"/>
                  <a:gd name="connsiteY823" fmla="*/ 1934373 h 1971366"/>
                  <a:gd name="connsiteX824" fmla="*/ 1795484 w 2509632"/>
                  <a:gd name="connsiteY824" fmla="*/ 1941124 h 1971366"/>
                  <a:gd name="connsiteX825" fmla="*/ 1791203 w 2509632"/>
                  <a:gd name="connsiteY825" fmla="*/ 1943265 h 1971366"/>
                  <a:gd name="connsiteX826" fmla="*/ 1763101 w 2509632"/>
                  <a:gd name="connsiteY826" fmla="*/ 1949741 h 1971366"/>
                  <a:gd name="connsiteX827" fmla="*/ 1757531 w 2509632"/>
                  <a:gd name="connsiteY827" fmla="*/ 1951031 h 1971366"/>
                  <a:gd name="connsiteX828" fmla="*/ 1725093 w 2509632"/>
                  <a:gd name="connsiteY828" fmla="*/ 1970598 h 1971366"/>
                  <a:gd name="connsiteX829" fmla="*/ 1716037 w 2509632"/>
                  <a:gd name="connsiteY829" fmla="*/ 1971366 h 1971366"/>
                  <a:gd name="connsiteX830" fmla="*/ 1703907 w 2509632"/>
                  <a:gd name="connsiteY830" fmla="*/ 1963326 h 1971366"/>
                  <a:gd name="connsiteX831" fmla="*/ 1702151 w 2509632"/>
                  <a:gd name="connsiteY831" fmla="*/ 1952294 h 1971366"/>
                  <a:gd name="connsiteX832" fmla="*/ 1703111 w 2509632"/>
                  <a:gd name="connsiteY832" fmla="*/ 1949741 h 1971366"/>
                  <a:gd name="connsiteX833" fmla="*/ 1704099 w 2509632"/>
                  <a:gd name="connsiteY833" fmla="*/ 1947107 h 1971366"/>
                  <a:gd name="connsiteX834" fmla="*/ 1711180 w 2509632"/>
                  <a:gd name="connsiteY834" fmla="*/ 1943237 h 1971366"/>
                  <a:gd name="connsiteX835" fmla="*/ 1713100 w 2509632"/>
                  <a:gd name="connsiteY835" fmla="*/ 1941124 h 1971366"/>
                  <a:gd name="connsiteX836" fmla="*/ 1719275 w 2509632"/>
                  <a:gd name="connsiteY836" fmla="*/ 1934373 h 1971366"/>
                  <a:gd name="connsiteX837" fmla="*/ 1720236 w 2509632"/>
                  <a:gd name="connsiteY837" fmla="*/ 1931053 h 1971366"/>
                  <a:gd name="connsiteX838" fmla="*/ 1722541 w 2509632"/>
                  <a:gd name="connsiteY838" fmla="*/ 1923149 h 1971366"/>
                  <a:gd name="connsiteX839" fmla="*/ 1731048 w 2509632"/>
                  <a:gd name="connsiteY839" fmla="*/ 1893757 h 1971366"/>
                  <a:gd name="connsiteX840" fmla="*/ 1728167 w 2509632"/>
                  <a:gd name="connsiteY840" fmla="*/ 1876359 h 1971366"/>
                  <a:gd name="connsiteX841" fmla="*/ 1719824 w 2509632"/>
                  <a:gd name="connsiteY841" fmla="*/ 1825040 h 1971366"/>
                  <a:gd name="connsiteX842" fmla="*/ 1690350 w 2509632"/>
                  <a:gd name="connsiteY842" fmla="*/ 1803937 h 1971366"/>
                  <a:gd name="connsiteX843" fmla="*/ 1691832 w 2509632"/>
                  <a:gd name="connsiteY843" fmla="*/ 1795621 h 1971366"/>
                  <a:gd name="connsiteX844" fmla="*/ 1689390 w 2509632"/>
                  <a:gd name="connsiteY844" fmla="*/ 1791972 h 1971366"/>
                  <a:gd name="connsiteX845" fmla="*/ 1677232 w 2509632"/>
                  <a:gd name="connsiteY845" fmla="*/ 1791066 h 1971366"/>
                  <a:gd name="connsiteX846" fmla="*/ 1673363 w 2509632"/>
                  <a:gd name="connsiteY846" fmla="*/ 1784013 h 1971366"/>
                  <a:gd name="connsiteX847" fmla="*/ 1671607 w 2509632"/>
                  <a:gd name="connsiteY847" fmla="*/ 1774243 h 1971366"/>
                  <a:gd name="connsiteX848" fmla="*/ 1659779 w 2509632"/>
                  <a:gd name="connsiteY848" fmla="*/ 1774682 h 1971366"/>
                  <a:gd name="connsiteX849" fmla="*/ 1654400 w 2509632"/>
                  <a:gd name="connsiteY849" fmla="*/ 1768343 h 1971366"/>
                  <a:gd name="connsiteX850" fmla="*/ 1648527 w 2509632"/>
                  <a:gd name="connsiteY850" fmla="*/ 1755994 h 1971366"/>
                  <a:gd name="connsiteX851" fmla="*/ 1570507 w 2509632"/>
                  <a:gd name="connsiteY851" fmla="*/ 1709807 h 1971366"/>
                  <a:gd name="connsiteX852" fmla="*/ 1548196 w 2509632"/>
                  <a:gd name="connsiteY852" fmla="*/ 1696415 h 1971366"/>
                  <a:gd name="connsiteX853" fmla="*/ 1538536 w 2509632"/>
                  <a:gd name="connsiteY853" fmla="*/ 1698638 h 1971366"/>
                  <a:gd name="connsiteX854" fmla="*/ 1518118 w 2509632"/>
                  <a:gd name="connsiteY854" fmla="*/ 1709643 h 1971366"/>
                  <a:gd name="connsiteX855" fmla="*/ 1503354 w 2509632"/>
                  <a:gd name="connsiteY855" fmla="*/ 1709039 h 1971366"/>
                  <a:gd name="connsiteX856" fmla="*/ 1495231 w 2509632"/>
                  <a:gd name="connsiteY856" fmla="*/ 1704456 h 1971366"/>
                  <a:gd name="connsiteX857" fmla="*/ 1491004 w 2509632"/>
                  <a:gd name="connsiteY857" fmla="*/ 1704456 h 1971366"/>
                  <a:gd name="connsiteX858" fmla="*/ 1486339 w 2509632"/>
                  <a:gd name="connsiteY858" fmla="*/ 1704456 h 1971366"/>
                  <a:gd name="connsiteX859" fmla="*/ 1479067 w 2509632"/>
                  <a:gd name="connsiteY859" fmla="*/ 1704456 h 1971366"/>
                  <a:gd name="connsiteX860" fmla="*/ 1476515 w 2509632"/>
                  <a:gd name="connsiteY860" fmla="*/ 1702151 h 1971366"/>
                  <a:gd name="connsiteX861" fmla="*/ 1473414 w 2509632"/>
                  <a:gd name="connsiteY861" fmla="*/ 1699379 h 1971366"/>
                  <a:gd name="connsiteX862" fmla="*/ 1462272 w 2509632"/>
                  <a:gd name="connsiteY862" fmla="*/ 1705307 h 1971366"/>
                  <a:gd name="connsiteX863" fmla="*/ 1455301 w 2509632"/>
                  <a:gd name="connsiteY863" fmla="*/ 1706102 h 1971366"/>
                  <a:gd name="connsiteX864" fmla="*/ 1447864 w 2509632"/>
                  <a:gd name="connsiteY864" fmla="*/ 1700175 h 1971366"/>
                  <a:gd name="connsiteX865" fmla="*/ 1442129 w 2509632"/>
                  <a:gd name="connsiteY865" fmla="*/ 1697952 h 1971366"/>
                  <a:gd name="connsiteX866" fmla="*/ 1438890 w 2509632"/>
                  <a:gd name="connsiteY866" fmla="*/ 1693369 h 1971366"/>
                  <a:gd name="connsiteX867" fmla="*/ 1433100 w 2509632"/>
                  <a:gd name="connsiteY867" fmla="*/ 1693589 h 1971366"/>
                  <a:gd name="connsiteX868" fmla="*/ 1432084 w 2509632"/>
                  <a:gd name="connsiteY868" fmla="*/ 1698007 h 1971366"/>
                  <a:gd name="connsiteX869" fmla="*/ 1430218 w 2509632"/>
                  <a:gd name="connsiteY869" fmla="*/ 1698281 h 1971366"/>
                  <a:gd name="connsiteX870" fmla="*/ 1425937 w 2509632"/>
                  <a:gd name="connsiteY870" fmla="*/ 1689993 h 1971366"/>
                  <a:gd name="connsiteX871" fmla="*/ 1421409 w 2509632"/>
                  <a:gd name="connsiteY871" fmla="*/ 1688759 h 1971366"/>
                  <a:gd name="connsiteX872" fmla="*/ 1421958 w 2509632"/>
                  <a:gd name="connsiteY872" fmla="*/ 1685603 h 1971366"/>
                  <a:gd name="connsiteX873" fmla="*/ 1412682 w 2509632"/>
                  <a:gd name="connsiteY873" fmla="*/ 1681459 h 1971366"/>
                  <a:gd name="connsiteX874" fmla="*/ 1401842 w 2509632"/>
                  <a:gd name="connsiteY874" fmla="*/ 1681294 h 1971366"/>
                  <a:gd name="connsiteX875" fmla="*/ 1396518 w 2509632"/>
                  <a:gd name="connsiteY875" fmla="*/ 1685191 h 1971366"/>
                  <a:gd name="connsiteX876" fmla="*/ 1389603 w 2509632"/>
                  <a:gd name="connsiteY876" fmla="*/ 1685795 h 1971366"/>
                  <a:gd name="connsiteX877" fmla="*/ 1386117 w 2509632"/>
                  <a:gd name="connsiteY877" fmla="*/ 1681184 h 1971366"/>
                  <a:gd name="connsiteX878" fmla="*/ 1365124 w 2509632"/>
                  <a:gd name="connsiteY878" fmla="*/ 1677013 h 1971366"/>
                  <a:gd name="connsiteX879" fmla="*/ 1362215 w 2509632"/>
                  <a:gd name="connsiteY879" fmla="*/ 1673857 h 1971366"/>
                  <a:gd name="connsiteX880" fmla="*/ 1357385 w 2509632"/>
                  <a:gd name="connsiteY880" fmla="*/ 1650915 h 1971366"/>
                  <a:gd name="connsiteX881" fmla="*/ 1349015 w 2509632"/>
                  <a:gd name="connsiteY881" fmla="*/ 1648061 h 1971366"/>
                  <a:gd name="connsiteX882" fmla="*/ 1347889 w 2509632"/>
                  <a:gd name="connsiteY882" fmla="*/ 1663484 h 1971366"/>
                  <a:gd name="connsiteX883" fmla="*/ 1345886 w 2509632"/>
                  <a:gd name="connsiteY883" fmla="*/ 1664718 h 1971366"/>
                  <a:gd name="connsiteX884" fmla="*/ 912863 w 2509632"/>
                  <a:gd name="connsiteY884" fmla="*/ 1664856 h 1971366"/>
                  <a:gd name="connsiteX885" fmla="*/ 841155 w 2509632"/>
                  <a:gd name="connsiteY885" fmla="*/ 1664801 h 1971366"/>
                  <a:gd name="connsiteX886" fmla="*/ 560056 w 2509632"/>
                  <a:gd name="connsiteY886" fmla="*/ 1664664 h 1971366"/>
                  <a:gd name="connsiteX887" fmla="*/ 536538 w 2509632"/>
                  <a:gd name="connsiteY887" fmla="*/ 1664664 h 1971366"/>
                  <a:gd name="connsiteX888" fmla="*/ 531186 w 2509632"/>
                  <a:gd name="connsiteY888" fmla="*/ 1661343 h 1971366"/>
                  <a:gd name="connsiteX889" fmla="*/ 528332 w 2509632"/>
                  <a:gd name="connsiteY889" fmla="*/ 1664581 h 1971366"/>
                  <a:gd name="connsiteX890" fmla="*/ 526686 w 2509632"/>
                  <a:gd name="connsiteY890" fmla="*/ 1664581 h 1971366"/>
                  <a:gd name="connsiteX891" fmla="*/ 523722 w 2509632"/>
                  <a:gd name="connsiteY891" fmla="*/ 1657940 h 1971366"/>
                  <a:gd name="connsiteX892" fmla="*/ 521609 w 2509632"/>
                  <a:gd name="connsiteY892" fmla="*/ 1640678 h 1971366"/>
                  <a:gd name="connsiteX893" fmla="*/ 515297 w 2509632"/>
                  <a:gd name="connsiteY893" fmla="*/ 1646194 h 1971366"/>
                  <a:gd name="connsiteX894" fmla="*/ 504073 w 2509632"/>
                  <a:gd name="connsiteY894" fmla="*/ 1643093 h 1971366"/>
                  <a:gd name="connsiteX895" fmla="*/ 495648 w 2509632"/>
                  <a:gd name="connsiteY895" fmla="*/ 1634257 h 1971366"/>
                  <a:gd name="connsiteX896" fmla="*/ 494275 w 2509632"/>
                  <a:gd name="connsiteY896" fmla="*/ 1629948 h 1971366"/>
                  <a:gd name="connsiteX897" fmla="*/ 484835 w 2509632"/>
                  <a:gd name="connsiteY897" fmla="*/ 1627478 h 1971366"/>
                  <a:gd name="connsiteX898" fmla="*/ 476904 w 2509632"/>
                  <a:gd name="connsiteY898" fmla="*/ 1619520 h 1971366"/>
                  <a:gd name="connsiteX899" fmla="*/ 473995 w 2509632"/>
                  <a:gd name="connsiteY899" fmla="*/ 1613812 h 1971366"/>
                  <a:gd name="connsiteX900" fmla="*/ 471278 w 2509632"/>
                  <a:gd name="connsiteY900" fmla="*/ 1615705 h 1971366"/>
                  <a:gd name="connsiteX901" fmla="*/ 468671 w 2509632"/>
                  <a:gd name="connsiteY901" fmla="*/ 1613098 h 1971366"/>
                  <a:gd name="connsiteX902" fmla="*/ 466915 w 2509632"/>
                  <a:gd name="connsiteY902" fmla="*/ 1613894 h 1971366"/>
                  <a:gd name="connsiteX903" fmla="*/ 466009 w 2509632"/>
                  <a:gd name="connsiteY903" fmla="*/ 1621496 h 1971366"/>
                  <a:gd name="connsiteX904" fmla="*/ 472623 w 2509632"/>
                  <a:gd name="connsiteY904" fmla="*/ 1630963 h 1971366"/>
                  <a:gd name="connsiteX905" fmla="*/ 474599 w 2509632"/>
                  <a:gd name="connsiteY905" fmla="*/ 1637632 h 1971366"/>
                  <a:gd name="connsiteX906" fmla="*/ 479484 w 2509632"/>
                  <a:gd name="connsiteY906" fmla="*/ 1640898 h 1971366"/>
                  <a:gd name="connsiteX907" fmla="*/ 483710 w 2509632"/>
                  <a:gd name="connsiteY907" fmla="*/ 1647265 h 1971366"/>
                  <a:gd name="connsiteX908" fmla="*/ 507146 w 2509632"/>
                  <a:gd name="connsiteY908" fmla="*/ 1658105 h 1971366"/>
                  <a:gd name="connsiteX909" fmla="*/ 506789 w 2509632"/>
                  <a:gd name="connsiteY909" fmla="*/ 1661837 h 1971366"/>
                  <a:gd name="connsiteX910" fmla="*/ 508107 w 2509632"/>
                  <a:gd name="connsiteY910" fmla="*/ 1666502 h 1971366"/>
                  <a:gd name="connsiteX911" fmla="*/ 509534 w 2509632"/>
                  <a:gd name="connsiteY911" fmla="*/ 1667298 h 1971366"/>
                  <a:gd name="connsiteX912" fmla="*/ 512415 w 2509632"/>
                  <a:gd name="connsiteY912" fmla="*/ 1665953 h 1971366"/>
                  <a:gd name="connsiteX913" fmla="*/ 515763 w 2509632"/>
                  <a:gd name="connsiteY913" fmla="*/ 1670948 h 1971366"/>
                  <a:gd name="connsiteX914" fmla="*/ 520209 w 2509632"/>
                  <a:gd name="connsiteY914" fmla="*/ 1689115 h 1971366"/>
                  <a:gd name="connsiteX915" fmla="*/ 507997 w 2509632"/>
                  <a:gd name="connsiteY915" fmla="*/ 1693808 h 1971366"/>
                  <a:gd name="connsiteX916" fmla="*/ 467134 w 2509632"/>
                  <a:gd name="connsiteY916" fmla="*/ 1675037 h 1971366"/>
                  <a:gd name="connsiteX917" fmla="*/ 465460 w 2509632"/>
                  <a:gd name="connsiteY917" fmla="*/ 1672704 h 1971366"/>
                  <a:gd name="connsiteX918" fmla="*/ 465323 w 2509632"/>
                  <a:gd name="connsiteY918" fmla="*/ 1666749 h 1971366"/>
                  <a:gd name="connsiteX919" fmla="*/ 462414 w 2509632"/>
                  <a:gd name="connsiteY919" fmla="*/ 1668478 h 1971366"/>
                  <a:gd name="connsiteX920" fmla="*/ 460274 w 2509632"/>
                  <a:gd name="connsiteY920" fmla="*/ 1665651 h 1971366"/>
                  <a:gd name="connsiteX921" fmla="*/ 453797 w 2509632"/>
                  <a:gd name="connsiteY921" fmla="*/ 1666502 h 1971366"/>
                  <a:gd name="connsiteX922" fmla="*/ 444357 w 2509632"/>
                  <a:gd name="connsiteY922" fmla="*/ 1660026 h 1971366"/>
                  <a:gd name="connsiteX923" fmla="*/ 438594 w 2509632"/>
                  <a:gd name="connsiteY923" fmla="*/ 1652781 h 1971366"/>
                  <a:gd name="connsiteX924" fmla="*/ 425970 w 2509632"/>
                  <a:gd name="connsiteY924" fmla="*/ 1645646 h 1971366"/>
                  <a:gd name="connsiteX925" fmla="*/ 423335 w 2509632"/>
                  <a:gd name="connsiteY925" fmla="*/ 1638840 h 1971366"/>
                  <a:gd name="connsiteX926" fmla="*/ 416694 w 2509632"/>
                  <a:gd name="connsiteY926" fmla="*/ 1635245 h 1971366"/>
                  <a:gd name="connsiteX927" fmla="*/ 412715 w 2509632"/>
                  <a:gd name="connsiteY927" fmla="*/ 1628357 h 1971366"/>
                  <a:gd name="connsiteX928" fmla="*/ 407309 w 2509632"/>
                  <a:gd name="connsiteY928" fmla="*/ 1624103 h 1971366"/>
                  <a:gd name="connsiteX929" fmla="*/ 405525 w 2509632"/>
                  <a:gd name="connsiteY929" fmla="*/ 1620261 h 1971366"/>
                  <a:gd name="connsiteX930" fmla="*/ 399433 w 2509632"/>
                  <a:gd name="connsiteY930" fmla="*/ 1618697 h 1971366"/>
                  <a:gd name="connsiteX931" fmla="*/ 392709 w 2509632"/>
                  <a:gd name="connsiteY931" fmla="*/ 1614223 h 1971366"/>
                  <a:gd name="connsiteX932" fmla="*/ 386150 w 2509632"/>
                  <a:gd name="connsiteY932" fmla="*/ 1613730 h 1971366"/>
                  <a:gd name="connsiteX933" fmla="*/ 386644 w 2509632"/>
                  <a:gd name="connsiteY933" fmla="*/ 1605497 h 1971366"/>
                  <a:gd name="connsiteX934" fmla="*/ 382802 w 2509632"/>
                  <a:gd name="connsiteY934" fmla="*/ 1598608 h 1971366"/>
                  <a:gd name="connsiteX935" fmla="*/ 377561 w 2509632"/>
                  <a:gd name="connsiteY935" fmla="*/ 1595425 h 1971366"/>
                  <a:gd name="connsiteX936" fmla="*/ 373966 w 2509632"/>
                  <a:gd name="connsiteY936" fmla="*/ 1590814 h 1971366"/>
                  <a:gd name="connsiteX937" fmla="*/ 372813 w 2509632"/>
                  <a:gd name="connsiteY937" fmla="*/ 1583131 h 1971366"/>
                  <a:gd name="connsiteX938" fmla="*/ 386781 w 2509632"/>
                  <a:gd name="connsiteY938" fmla="*/ 1576791 h 1971366"/>
                  <a:gd name="connsiteX939" fmla="*/ 392023 w 2509632"/>
                  <a:gd name="connsiteY939" fmla="*/ 1578987 h 1971366"/>
                  <a:gd name="connsiteX940" fmla="*/ 401436 w 2509632"/>
                  <a:gd name="connsiteY940" fmla="*/ 1587714 h 1971366"/>
                  <a:gd name="connsiteX941" fmla="*/ 409586 w 2509632"/>
                  <a:gd name="connsiteY941" fmla="*/ 1590787 h 1971366"/>
                  <a:gd name="connsiteX942" fmla="*/ 413840 w 2509632"/>
                  <a:gd name="connsiteY942" fmla="*/ 1590101 h 1971366"/>
                  <a:gd name="connsiteX943" fmla="*/ 417600 w 2509632"/>
                  <a:gd name="connsiteY943" fmla="*/ 1592022 h 1971366"/>
                  <a:gd name="connsiteX944" fmla="*/ 421113 w 2509632"/>
                  <a:gd name="connsiteY944" fmla="*/ 1587768 h 1971366"/>
                  <a:gd name="connsiteX945" fmla="*/ 416722 w 2509632"/>
                  <a:gd name="connsiteY945" fmla="*/ 1583185 h 1971366"/>
                  <a:gd name="connsiteX946" fmla="*/ 399323 w 2509632"/>
                  <a:gd name="connsiteY946" fmla="*/ 1576078 h 1971366"/>
                  <a:gd name="connsiteX947" fmla="*/ 390349 w 2509632"/>
                  <a:gd name="connsiteY947" fmla="*/ 1565841 h 1971366"/>
                  <a:gd name="connsiteX948" fmla="*/ 389718 w 2509632"/>
                  <a:gd name="connsiteY948" fmla="*/ 1549513 h 1971366"/>
                  <a:gd name="connsiteX949" fmla="*/ 385766 w 2509632"/>
                  <a:gd name="connsiteY949" fmla="*/ 1537246 h 1971366"/>
                  <a:gd name="connsiteX950" fmla="*/ 386370 w 2509632"/>
                  <a:gd name="connsiteY950" fmla="*/ 1519929 h 1971366"/>
                  <a:gd name="connsiteX951" fmla="*/ 385958 w 2509632"/>
                  <a:gd name="connsiteY951" fmla="*/ 1518832 h 1971366"/>
                  <a:gd name="connsiteX952" fmla="*/ 384613 w 2509632"/>
                  <a:gd name="connsiteY952" fmla="*/ 1520286 h 1971366"/>
                  <a:gd name="connsiteX953" fmla="*/ 382226 w 2509632"/>
                  <a:gd name="connsiteY953" fmla="*/ 1534008 h 1971366"/>
                  <a:gd name="connsiteX954" fmla="*/ 384229 w 2509632"/>
                  <a:gd name="connsiteY954" fmla="*/ 1549760 h 1971366"/>
                  <a:gd name="connsiteX955" fmla="*/ 379674 w 2509632"/>
                  <a:gd name="connsiteY955" fmla="*/ 1547565 h 1971366"/>
                  <a:gd name="connsiteX956" fmla="*/ 378301 w 2509632"/>
                  <a:gd name="connsiteY956" fmla="*/ 1537685 h 1971366"/>
                  <a:gd name="connsiteX957" fmla="*/ 375310 w 2509632"/>
                  <a:gd name="connsiteY957" fmla="*/ 1533075 h 1971366"/>
                  <a:gd name="connsiteX958" fmla="*/ 373499 w 2509632"/>
                  <a:gd name="connsiteY958" fmla="*/ 1524814 h 1971366"/>
                  <a:gd name="connsiteX959" fmla="*/ 369602 w 2509632"/>
                  <a:gd name="connsiteY959" fmla="*/ 1517350 h 1971366"/>
                  <a:gd name="connsiteX960" fmla="*/ 371194 w 2509632"/>
                  <a:gd name="connsiteY960" fmla="*/ 1513535 h 1971366"/>
                  <a:gd name="connsiteX961" fmla="*/ 370014 w 2509632"/>
                  <a:gd name="connsiteY961" fmla="*/ 1506921 h 1971366"/>
                  <a:gd name="connsiteX962" fmla="*/ 373664 w 2509632"/>
                  <a:gd name="connsiteY962" fmla="*/ 1499951 h 1971366"/>
                  <a:gd name="connsiteX963" fmla="*/ 370535 w 2509632"/>
                  <a:gd name="connsiteY963" fmla="*/ 1498002 h 1971366"/>
                  <a:gd name="connsiteX964" fmla="*/ 368751 w 2509632"/>
                  <a:gd name="connsiteY964" fmla="*/ 1495094 h 1971366"/>
                  <a:gd name="connsiteX965" fmla="*/ 367407 w 2509632"/>
                  <a:gd name="connsiteY965" fmla="*/ 1500774 h 1971366"/>
                  <a:gd name="connsiteX966" fmla="*/ 361698 w 2509632"/>
                  <a:gd name="connsiteY966" fmla="*/ 1511038 h 1971366"/>
                  <a:gd name="connsiteX967" fmla="*/ 359613 w 2509632"/>
                  <a:gd name="connsiteY967" fmla="*/ 1504753 h 1971366"/>
                  <a:gd name="connsiteX968" fmla="*/ 359942 w 2509632"/>
                  <a:gd name="connsiteY968" fmla="*/ 1499512 h 1971366"/>
                  <a:gd name="connsiteX969" fmla="*/ 352148 w 2509632"/>
                  <a:gd name="connsiteY969" fmla="*/ 1490373 h 1971366"/>
                  <a:gd name="connsiteX970" fmla="*/ 348142 w 2509632"/>
                  <a:gd name="connsiteY970" fmla="*/ 1481646 h 1971366"/>
                  <a:gd name="connsiteX971" fmla="*/ 346660 w 2509632"/>
                  <a:gd name="connsiteY971" fmla="*/ 1474484 h 1971366"/>
                  <a:gd name="connsiteX972" fmla="*/ 343641 w 2509632"/>
                  <a:gd name="connsiteY972" fmla="*/ 1470532 h 1971366"/>
                  <a:gd name="connsiteX973" fmla="*/ 346028 w 2509632"/>
                  <a:gd name="connsiteY973" fmla="*/ 1465016 h 1971366"/>
                  <a:gd name="connsiteX974" fmla="*/ 348718 w 2509632"/>
                  <a:gd name="connsiteY974" fmla="*/ 1468529 h 1971366"/>
                  <a:gd name="connsiteX975" fmla="*/ 349980 w 2509632"/>
                  <a:gd name="connsiteY975" fmla="*/ 1467788 h 1971366"/>
                  <a:gd name="connsiteX976" fmla="*/ 347373 w 2509632"/>
                  <a:gd name="connsiteY976" fmla="*/ 1449209 h 1971366"/>
                  <a:gd name="connsiteX977" fmla="*/ 346001 w 2509632"/>
                  <a:gd name="connsiteY977" fmla="*/ 1450855 h 1971366"/>
                  <a:gd name="connsiteX978" fmla="*/ 345150 w 2509632"/>
                  <a:gd name="connsiteY978" fmla="*/ 1458869 h 1971366"/>
                  <a:gd name="connsiteX979" fmla="*/ 339223 w 2509632"/>
                  <a:gd name="connsiteY979" fmla="*/ 1462573 h 1971366"/>
                  <a:gd name="connsiteX980" fmla="*/ 339113 w 2509632"/>
                  <a:gd name="connsiteY980" fmla="*/ 1467705 h 1971366"/>
                  <a:gd name="connsiteX981" fmla="*/ 342516 w 2509632"/>
                  <a:gd name="connsiteY981" fmla="*/ 1474648 h 1971366"/>
                  <a:gd name="connsiteX982" fmla="*/ 342269 w 2509632"/>
                  <a:gd name="connsiteY982" fmla="*/ 1477310 h 1971366"/>
                  <a:gd name="connsiteX983" fmla="*/ 326764 w 2509632"/>
                  <a:gd name="connsiteY983" fmla="*/ 1455521 h 1971366"/>
                  <a:gd name="connsiteX984" fmla="*/ 325748 w 2509632"/>
                  <a:gd name="connsiteY984" fmla="*/ 1457689 h 1971366"/>
                  <a:gd name="connsiteX985" fmla="*/ 329316 w 2509632"/>
                  <a:gd name="connsiteY985" fmla="*/ 1467952 h 1971366"/>
                  <a:gd name="connsiteX986" fmla="*/ 329371 w 2509632"/>
                  <a:gd name="connsiteY986" fmla="*/ 1468748 h 1971366"/>
                  <a:gd name="connsiteX987" fmla="*/ 328986 w 2509632"/>
                  <a:gd name="connsiteY987" fmla="*/ 1469325 h 1971366"/>
                  <a:gd name="connsiteX988" fmla="*/ 314963 w 2509632"/>
                  <a:gd name="connsiteY988" fmla="*/ 1458869 h 1971366"/>
                  <a:gd name="connsiteX989" fmla="*/ 309118 w 2509632"/>
                  <a:gd name="connsiteY989" fmla="*/ 1449648 h 1971366"/>
                  <a:gd name="connsiteX990" fmla="*/ 312301 w 2509632"/>
                  <a:gd name="connsiteY990" fmla="*/ 1445943 h 1971366"/>
                  <a:gd name="connsiteX991" fmla="*/ 313509 w 2509632"/>
                  <a:gd name="connsiteY991" fmla="*/ 1438973 h 1971366"/>
                  <a:gd name="connsiteX992" fmla="*/ 308075 w 2509632"/>
                  <a:gd name="connsiteY992" fmla="*/ 1438973 h 1971366"/>
                  <a:gd name="connsiteX993" fmla="*/ 306456 w 2509632"/>
                  <a:gd name="connsiteY993" fmla="*/ 1437573 h 1971366"/>
                  <a:gd name="connsiteX994" fmla="*/ 305440 w 2509632"/>
                  <a:gd name="connsiteY994" fmla="*/ 1433594 h 1971366"/>
                  <a:gd name="connsiteX995" fmla="*/ 302998 w 2509632"/>
                  <a:gd name="connsiteY995" fmla="*/ 1432715 h 1971366"/>
                  <a:gd name="connsiteX996" fmla="*/ 304891 w 2509632"/>
                  <a:gd name="connsiteY996" fmla="*/ 1425855 h 1971366"/>
                  <a:gd name="connsiteX997" fmla="*/ 310023 w 2509632"/>
                  <a:gd name="connsiteY997" fmla="*/ 1424071 h 1971366"/>
                  <a:gd name="connsiteX998" fmla="*/ 313865 w 2509632"/>
                  <a:gd name="connsiteY998" fmla="*/ 1425800 h 1971366"/>
                  <a:gd name="connsiteX999" fmla="*/ 316911 w 2509632"/>
                  <a:gd name="connsiteY999" fmla="*/ 1432139 h 1971366"/>
                  <a:gd name="connsiteX1000" fmla="*/ 320424 w 2509632"/>
                  <a:gd name="connsiteY1000" fmla="*/ 1431371 h 1971366"/>
                  <a:gd name="connsiteX1001" fmla="*/ 320287 w 2509632"/>
                  <a:gd name="connsiteY1001" fmla="*/ 1428654 h 1971366"/>
                  <a:gd name="connsiteX1002" fmla="*/ 319656 w 2509632"/>
                  <a:gd name="connsiteY1002" fmla="*/ 1428434 h 1971366"/>
                  <a:gd name="connsiteX1003" fmla="*/ 318915 w 2509632"/>
                  <a:gd name="connsiteY1003" fmla="*/ 1430273 h 1971366"/>
                  <a:gd name="connsiteX1004" fmla="*/ 317076 w 2509632"/>
                  <a:gd name="connsiteY1004" fmla="*/ 1427776 h 1971366"/>
                  <a:gd name="connsiteX1005" fmla="*/ 316527 w 2509632"/>
                  <a:gd name="connsiteY1005" fmla="*/ 1424867 h 1971366"/>
                  <a:gd name="connsiteX1006" fmla="*/ 318723 w 2509632"/>
                  <a:gd name="connsiteY1006" fmla="*/ 1424620 h 1971366"/>
                  <a:gd name="connsiteX1007" fmla="*/ 319519 w 2509632"/>
                  <a:gd name="connsiteY1007" fmla="*/ 1426431 h 1971366"/>
                  <a:gd name="connsiteX1008" fmla="*/ 320067 w 2509632"/>
                  <a:gd name="connsiteY1008" fmla="*/ 1426486 h 1971366"/>
                  <a:gd name="connsiteX1009" fmla="*/ 320369 w 2509632"/>
                  <a:gd name="connsiteY1009" fmla="*/ 1425580 h 1971366"/>
                  <a:gd name="connsiteX1010" fmla="*/ 320260 w 2509632"/>
                  <a:gd name="connsiteY1010" fmla="*/ 1421848 h 1971366"/>
                  <a:gd name="connsiteX1011" fmla="*/ 315457 w 2509632"/>
                  <a:gd name="connsiteY1011" fmla="*/ 1419516 h 1971366"/>
                  <a:gd name="connsiteX1012" fmla="*/ 309996 w 2509632"/>
                  <a:gd name="connsiteY1012" fmla="*/ 1409279 h 1971366"/>
                  <a:gd name="connsiteX1013" fmla="*/ 313179 w 2509632"/>
                  <a:gd name="connsiteY1013" fmla="*/ 1392731 h 1971366"/>
                  <a:gd name="connsiteX1014" fmla="*/ 319491 w 2509632"/>
                  <a:gd name="connsiteY1014" fmla="*/ 1385898 h 1971366"/>
                  <a:gd name="connsiteX1015" fmla="*/ 322592 w 2509632"/>
                  <a:gd name="connsiteY1015" fmla="*/ 1378543 h 1971366"/>
                  <a:gd name="connsiteX1016" fmla="*/ 319601 w 2509632"/>
                  <a:gd name="connsiteY1016" fmla="*/ 1373384 h 1971366"/>
                  <a:gd name="connsiteX1017" fmla="*/ 323772 w 2509632"/>
                  <a:gd name="connsiteY1017" fmla="*/ 1362791 h 1971366"/>
                  <a:gd name="connsiteX1018" fmla="*/ 323882 w 2509632"/>
                  <a:gd name="connsiteY1018" fmla="*/ 1362516 h 1971366"/>
                  <a:gd name="connsiteX1019" fmla="*/ 320122 w 2509632"/>
                  <a:gd name="connsiteY1019" fmla="*/ 1339657 h 1971366"/>
                  <a:gd name="connsiteX1020" fmla="*/ 323086 w 2509632"/>
                  <a:gd name="connsiteY1020" fmla="*/ 1329914 h 1971366"/>
                  <a:gd name="connsiteX1021" fmla="*/ 319546 w 2509632"/>
                  <a:gd name="connsiteY1021" fmla="*/ 1320748 h 1971366"/>
                  <a:gd name="connsiteX1022" fmla="*/ 306181 w 2509632"/>
                  <a:gd name="connsiteY1022" fmla="*/ 1310923 h 1971366"/>
                  <a:gd name="connsiteX1023" fmla="*/ 270588 w 2509632"/>
                  <a:gd name="connsiteY1023" fmla="*/ 1291878 h 1971366"/>
                  <a:gd name="connsiteX1024" fmla="*/ 262657 w 2509632"/>
                  <a:gd name="connsiteY1024" fmla="*/ 1277882 h 1971366"/>
                  <a:gd name="connsiteX1025" fmla="*/ 261449 w 2509632"/>
                  <a:gd name="connsiteY1025" fmla="*/ 1270637 h 1971366"/>
                  <a:gd name="connsiteX1026" fmla="*/ 255741 w 2509632"/>
                  <a:gd name="connsiteY1026" fmla="*/ 1266247 h 1971366"/>
                  <a:gd name="connsiteX1027" fmla="*/ 254588 w 2509632"/>
                  <a:gd name="connsiteY1027" fmla="*/ 1255955 h 1971366"/>
                  <a:gd name="connsiteX1028" fmla="*/ 225362 w 2509632"/>
                  <a:gd name="connsiteY1028" fmla="*/ 1202469 h 1971366"/>
                  <a:gd name="connsiteX1029" fmla="*/ 221382 w 2509632"/>
                  <a:gd name="connsiteY1029" fmla="*/ 1191053 h 1971366"/>
                  <a:gd name="connsiteX1030" fmla="*/ 210213 w 2509632"/>
                  <a:gd name="connsiteY1030" fmla="*/ 1176947 h 1971366"/>
                  <a:gd name="connsiteX1031" fmla="*/ 198166 w 2509632"/>
                  <a:gd name="connsiteY1031" fmla="*/ 1167534 h 1971366"/>
                  <a:gd name="connsiteX1032" fmla="*/ 188012 w 2509632"/>
                  <a:gd name="connsiteY1032" fmla="*/ 1150739 h 1971366"/>
                  <a:gd name="connsiteX1033" fmla="*/ 177227 w 2509632"/>
                  <a:gd name="connsiteY1033" fmla="*/ 1143631 h 1971366"/>
                  <a:gd name="connsiteX1034" fmla="*/ 173001 w 2509632"/>
                  <a:gd name="connsiteY1034" fmla="*/ 1126424 h 1971366"/>
                  <a:gd name="connsiteX1035" fmla="*/ 161941 w 2509632"/>
                  <a:gd name="connsiteY1035" fmla="*/ 1116106 h 1971366"/>
                  <a:gd name="connsiteX1036" fmla="*/ 152363 w 2509632"/>
                  <a:gd name="connsiteY1036" fmla="*/ 1119811 h 1971366"/>
                  <a:gd name="connsiteX1037" fmla="*/ 139959 w 2509632"/>
                  <a:gd name="connsiteY1037" fmla="*/ 1125684 h 1971366"/>
                  <a:gd name="connsiteX1038" fmla="*/ 137983 w 2509632"/>
                  <a:gd name="connsiteY1038" fmla="*/ 1132627 h 1971366"/>
                  <a:gd name="connsiteX1039" fmla="*/ 134141 w 2509632"/>
                  <a:gd name="connsiteY1039" fmla="*/ 1135947 h 1971366"/>
                  <a:gd name="connsiteX1040" fmla="*/ 133126 w 2509632"/>
                  <a:gd name="connsiteY1040" fmla="*/ 1144647 h 1971366"/>
                  <a:gd name="connsiteX1041" fmla="*/ 130272 w 2509632"/>
                  <a:gd name="connsiteY1041" fmla="*/ 1150300 h 1971366"/>
                  <a:gd name="connsiteX1042" fmla="*/ 104311 w 2509632"/>
                  <a:gd name="connsiteY1042" fmla="*/ 1165037 h 1971366"/>
                  <a:gd name="connsiteX1043" fmla="*/ 97752 w 2509632"/>
                  <a:gd name="connsiteY1043" fmla="*/ 1145195 h 1971366"/>
                  <a:gd name="connsiteX1044" fmla="*/ 71873 w 2509632"/>
                  <a:gd name="connsiteY1044" fmla="*/ 1118494 h 1971366"/>
                  <a:gd name="connsiteX1045" fmla="*/ 66247 w 2509632"/>
                  <a:gd name="connsiteY1045" fmla="*/ 1108230 h 1971366"/>
                  <a:gd name="connsiteX1046" fmla="*/ 54941 w 2509632"/>
                  <a:gd name="connsiteY1046" fmla="*/ 1099146 h 1971366"/>
                  <a:gd name="connsiteX1047" fmla="*/ 55929 w 2509632"/>
                  <a:gd name="connsiteY1047" fmla="*/ 1082900 h 1971366"/>
                  <a:gd name="connsiteX1048" fmla="*/ 39326 w 2509632"/>
                  <a:gd name="connsiteY1048" fmla="*/ 1083723 h 1971366"/>
                  <a:gd name="connsiteX1049" fmla="*/ 29254 w 2509632"/>
                  <a:gd name="connsiteY1049" fmla="*/ 1091215 h 1971366"/>
                  <a:gd name="connsiteX1050" fmla="*/ 17618 w 2509632"/>
                  <a:gd name="connsiteY1050" fmla="*/ 1086028 h 1971366"/>
                  <a:gd name="connsiteX1051" fmla="*/ 11279 w 2509632"/>
                  <a:gd name="connsiteY1051" fmla="*/ 1088471 h 1971366"/>
                  <a:gd name="connsiteX1052" fmla="*/ 631 w 2509632"/>
                  <a:gd name="connsiteY1052" fmla="*/ 1082378 h 1971366"/>
                  <a:gd name="connsiteX1053" fmla="*/ 0 w 2509632"/>
                  <a:gd name="connsiteY1053" fmla="*/ 827955 h 1971366"/>
                  <a:gd name="connsiteX1054" fmla="*/ 0 w 2509632"/>
                  <a:gd name="connsiteY1054" fmla="*/ 825485 h 1971366"/>
                  <a:gd name="connsiteX1055" fmla="*/ 0 w 2509632"/>
                  <a:gd name="connsiteY1055" fmla="*/ 810199 h 1971366"/>
                  <a:gd name="connsiteX1056" fmla="*/ 0 w 2509632"/>
                  <a:gd name="connsiteY1056" fmla="*/ 806714 h 1971366"/>
                  <a:gd name="connsiteX1057" fmla="*/ 0 w 2509632"/>
                  <a:gd name="connsiteY1057" fmla="*/ 804052 h 1971366"/>
                  <a:gd name="connsiteX1058" fmla="*/ 0 w 2509632"/>
                  <a:gd name="connsiteY1058" fmla="*/ 781329 h 1971366"/>
                  <a:gd name="connsiteX1059" fmla="*/ 137 w 2509632"/>
                  <a:gd name="connsiteY1059" fmla="*/ 572982 h 1971366"/>
                  <a:gd name="connsiteX1060" fmla="*/ 220 w 2509632"/>
                  <a:gd name="connsiteY1060" fmla="*/ 430635 h 1971366"/>
                  <a:gd name="connsiteX1061" fmla="*/ 30517 w 2509632"/>
                  <a:gd name="connsiteY1061" fmla="*/ 431678 h 1971366"/>
                  <a:gd name="connsiteX1062" fmla="*/ 49754 w 2509632"/>
                  <a:gd name="connsiteY1062" fmla="*/ 438127 h 1971366"/>
                  <a:gd name="connsiteX1063" fmla="*/ 55929 w 2509632"/>
                  <a:gd name="connsiteY1063" fmla="*/ 433489 h 1971366"/>
                  <a:gd name="connsiteX1064" fmla="*/ 61884 w 2509632"/>
                  <a:gd name="connsiteY1064" fmla="*/ 448610 h 1971366"/>
                  <a:gd name="connsiteX1065" fmla="*/ 91797 w 2509632"/>
                  <a:gd name="connsiteY1065" fmla="*/ 475065 h 1971366"/>
                  <a:gd name="connsiteX1066" fmla="*/ 120118 w 2509632"/>
                  <a:gd name="connsiteY1066" fmla="*/ 490735 h 1971366"/>
                  <a:gd name="connsiteX1067" fmla="*/ 143691 w 2509632"/>
                  <a:gd name="connsiteY1067" fmla="*/ 493727 h 1971366"/>
                  <a:gd name="connsiteX1068" fmla="*/ 152473 w 2509632"/>
                  <a:gd name="connsiteY1068" fmla="*/ 498364 h 1971366"/>
                  <a:gd name="connsiteX1069" fmla="*/ 161584 w 2509632"/>
                  <a:gd name="connsiteY1069" fmla="*/ 503194 h 1971366"/>
                  <a:gd name="connsiteX1070" fmla="*/ 162572 w 2509632"/>
                  <a:gd name="connsiteY1070" fmla="*/ 500670 h 1971366"/>
                  <a:gd name="connsiteX1071" fmla="*/ 160569 w 2509632"/>
                  <a:gd name="connsiteY1071" fmla="*/ 496635 h 1971366"/>
                  <a:gd name="connsiteX1072" fmla="*/ 152473 w 2509632"/>
                  <a:gd name="connsiteY1072" fmla="*/ 489445 h 1971366"/>
                  <a:gd name="connsiteX1073" fmla="*/ 146902 w 2509632"/>
                  <a:gd name="connsiteY1073" fmla="*/ 484506 h 1971366"/>
                  <a:gd name="connsiteX1074" fmla="*/ 143444 w 2509632"/>
                  <a:gd name="connsiteY1074" fmla="*/ 471498 h 1971366"/>
                  <a:gd name="connsiteX1075" fmla="*/ 152473 w 2509632"/>
                  <a:gd name="connsiteY1075" fmla="*/ 460768 h 1971366"/>
                  <a:gd name="connsiteX1076" fmla="*/ 167128 w 2509632"/>
                  <a:gd name="connsiteY1076" fmla="*/ 443204 h 1971366"/>
                  <a:gd name="connsiteX1077" fmla="*/ 183264 w 2509632"/>
                  <a:gd name="connsiteY1077" fmla="*/ 444247 h 1971366"/>
                  <a:gd name="connsiteX1078" fmla="*/ 189027 w 2509632"/>
                  <a:gd name="connsiteY1078" fmla="*/ 439060 h 1971366"/>
                  <a:gd name="connsiteX1079" fmla="*/ 190537 w 2509632"/>
                  <a:gd name="connsiteY1079" fmla="*/ 440213 h 1971366"/>
                  <a:gd name="connsiteX1080" fmla="*/ 195229 w 2509632"/>
                  <a:gd name="connsiteY1080" fmla="*/ 428879 h 1971366"/>
                  <a:gd name="connsiteX1081" fmla="*/ 207414 w 2509632"/>
                  <a:gd name="connsiteY1081" fmla="*/ 437770 h 1971366"/>
                  <a:gd name="connsiteX1082" fmla="*/ 211503 w 2509632"/>
                  <a:gd name="connsiteY1082" fmla="*/ 452480 h 1971366"/>
                  <a:gd name="connsiteX1083" fmla="*/ 230658 w 2509632"/>
                  <a:gd name="connsiteY1083" fmla="*/ 447485 h 1971366"/>
                  <a:gd name="connsiteX1084" fmla="*/ 239440 w 2509632"/>
                  <a:gd name="connsiteY1084" fmla="*/ 430910 h 1971366"/>
                  <a:gd name="connsiteX1085" fmla="*/ 251048 w 2509632"/>
                  <a:gd name="connsiteY1085" fmla="*/ 422704 h 1971366"/>
                  <a:gd name="connsiteX1086" fmla="*/ 262629 w 2509632"/>
                  <a:gd name="connsiteY1086" fmla="*/ 422046 h 1971366"/>
                  <a:gd name="connsiteX1087" fmla="*/ 281181 w 2509632"/>
                  <a:gd name="connsiteY1087" fmla="*/ 406046 h 1971366"/>
                  <a:gd name="connsiteX1088" fmla="*/ 289468 w 2509632"/>
                  <a:gd name="connsiteY1088" fmla="*/ 407309 h 1971366"/>
                  <a:gd name="connsiteX1089" fmla="*/ 299211 w 2509632"/>
                  <a:gd name="connsiteY1089" fmla="*/ 391666 h 1971366"/>
                  <a:gd name="connsiteX1090" fmla="*/ 320506 w 2509632"/>
                  <a:gd name="connsiteY1090" fmla="*/ 393093 h 1971366"/>
                  <a:gd name="connsiteX1091" fmla="*/ 330578 w 2509632"/>
                  <a:gd name="connsiteY1091" fmla="*/ 384531 h 1971366"/>
                  <a:gd name="connsiteX1092" fmla="*/ 335435 w 2509632"/>
                  <a:gd name="connsiteY1092" fmla="*/ 390486 h 1971366"/>
                  <a:gd name="connsiteX1093" fmla="*/ 328108 w 2509632"/>
                  <a:gd name="connsiteY1093" fmla="*/ 403906 h 1971366"/>
                  <a:gd name="connsiteX1094" fmla="*/ 305166 w 2509632"/>
                  <a:gd name="connsiteY1094" fmla="*/ 423774 h 1971366"/>
                  <a:gd name="connsiteX1095" fmla="*/ 299321 w 2509632"/>
                  <a:gd name="connsiteY1095" fmla="*/ 434038 h 1971366"/>
                  <a:gd name="connsiteX1096" fmla="*/ 266389 w 2509632"/>
                  <a:gd name="connsiteY1096" fmla="*/ 441063 h 1971366"/>
                  <a:gd name="connsiteX1097" fmla="*/ 259007 w 2509632"/>
                  <a:gd name="connsiteY1097" fmla="*/ 460877 h 1971366"/>
                  <a:gd name="connsiteX1098" fmla="*/ 262657 w 2509632"/>
                  <a:gd name="connsiteY1098" fmla="*/ 462579 h 1971366"/>
                  <a:gd name="connsiteX1099" fmla="*/ 276296 w 2509632"/>
                  <a:gd name="connsiteY1099" fmla="*/ 447046 h 1971366"/>
                  <a:gd name="connsiteX1100" fmla="*/ 286807 w 2509632"/>
                  <a:gd name="connsiteY1100" fmla="*/ 447897 h 1971366"/>
                  <a:gd name="connsiteX1101" fmla="*/ 294216 w 2509632"/>
                  <a:gd name="connsiteY1101" fmla="*/ 442655 h 1971366"/>
                  <a:gd name="connsiteX1102" fmla="*/ 300583 w 2509632"/>
                  <a:gd name="connsiteY1102" fmla="*/ 448610 h 1971366"/>
                  <a:gd name="connsiteX1103" fmla="*/ 319903 w 2509632"/>
                  <a:gd name="connsiteY1103" fmla="*/ 423390 h 1971366"/>
                  <a:gd name="connsiteX1104" fmla="*/ 342571 w 2509632"/>
                  <a:gd name="connsiteY1104" fmla="*/ 414197 h 1971366"/>
                  <a:gd name="connsiteX1105" fmla="*/ 354453 w 2509632"/>
                  <a:gd name="connsiteY1105" fmla="*/ 421030 h 1971366"/>
                  <a:gd name="connsiteX1106" fmla="*/ 367352 w 2509632"/>
                  <a:gd name="connsiteY1106" fmla="*/ 407885 h 1971366"/>
                  <a:gd name="connsiteX1107" fmla="*/ 373471 w 2509632"/>
                  <a:gd name="connsiteY1107" fmla="*/ 391666 h 1971366"/>
                  <a:gd name="connsiteX1108" fmla="*/ 386342 w 2509632"/>
                  <a:gd name="connsiteY1108" fmla="*/ 381457 h 1971366"/>
                  <a:gd name="connsiteX1109" fmla="*/ 379289 w 2509632"/>
                  <a:gd name="connsiteY1109" fmla="*/ 362384 h 1971366"/>
                  <a:gd name="connsiteX1110" fmla="*/ 380167 w 2509632"/>
                  <a:gd name="connsiteY1110" fmla="*/ 356100 h 1971366"/>
                  <a:gd name="connsiteX1111" fmla="*/ 383269 w 2509632"/>
                  <a:gd name="connsiteY1111" fmla="*/ 352834 h 1971366"/>
                  <a:gd name="connsiteX1112" fmla="*/ 401875 w 2509632"/>
                  <a:gd name="connsiteY1112" fmla="*/ 371715 h 1971366"/>
                  <a:gd name="connsiteX1113" fmla="*/ 422814 w 2509632"/>
                  <a:gd name="connsiteY1113" fmla="*/ 421881 h 1971366"/>
                  <a:gd name="connsiteX1114" fmla="*/ 445811 w 2509632"/>
                  <a:gd name="connsiteY1114" fmla="*/ 449351 h 1971366"/>
                  <a:gd name="connsiteX1115" fmla="*/ 457502 w 2509632"/>
                  <a:gd name="connsiteY1115" fmla="*/ 449187 h 1971366"/>
                  <a:gd name="connsiteX1116" fmla="*/ 463155 w 2509632"/>
                  <a:gd name="connsiteY1116" fmla="*/ 413950 h 1971366"/>
                  <a:gd name="connsiteX1117" fmla="*/ 467820 w 2509632"/>
                  <a:gd name="connsiteY1117" fmla="*/ 415761 h 1971366"/>
                  <a:gd name="connsiteX1118" fmla="*/ 475916 w 2509632"/>
                  <a:gd name="connsiteY1118" fmla="*/ 393422 h 1971366"/>
                  <a:gd name="connsiteX1119" fmla="*/ 482695 w 2509632"/>
                  <a:gd name="connsiteY1119" fmla="*/ 386480 h 1971366"/>
                  <a:gd name="connsiteX1120" fmla="*/ 487579 w 2509632"/>
                  <a:gd name="connsiteY1120" fmla="*/ 396386 h 1971366"/>
                  <a:gd name="connsiteX1121" fmla="*/ 487634 w 2509632"/>
                  <a:gd name="connsiteY1121" fmla="*/ 418368 h 1971366"/>
                  <a:gd name="connsiteX1122" fmla="*/ 492574 w 2509632"/>
                  <a:gd name="connsiteY1122" fmla="*/ 426821 h 1971366"/>
                  <a:gd name="connsiteX1123" fmla="*/ 488979 w 2509632"/>
                  <a:gd name="connsiteY1123" fmla="*/ 442353 h 1971366"/>
                  <a:gd name="connsiteX1124" fmla="*/ 491504 w 2509632"/>
                  <a:gd name="connsiteY1124" fmla="*/ 451519 h 1971366"/>
                  <a:gd name="connsiteX1125" fmla="*/ 506241 w 2509632"/>
                  <a:gd name="connsiteY1125" fmla="*/ 453303 h 1971366"/>
                  <a:gd name="connsiteX1126" fmla="*/ 514528 w 2509632"/>
                  <a:gd name="connsiteY1126" fmla="*/ 449242 h 1971366"/>
                  <a:gd name="connsiteX1127" fmla="*/ 522075 w 2509632"/>
                  <a:gd name="connsiteY1127" fmla="*/ 438621 h 1971366"/>
                  <a:gd name="connsiteX1128" fmla="*/ 527289 w 2509632"/>
                  <a:gd name="connsiteY1128" fmla="*/ 421195 h 1971366"/>
                  <a:gd name="connsiteX1129" fmla="*/ 531625 w 2509632"/>
                  <a:gd name="connsiteY1129" fmla="*/ 415267 h 1971366"/>
                  <a:gd name="connsiteX1130" fmla="*/ 575946 w 2509632"/>
                  <a:gd name="connsiteY1130" fmla="*/ 418999 h 1971366"/>
                  <a:gd name="connsiteX1131" fmla="*/ 610085 w 2509632"/>
                  <a:gd name="connsiteY1131" fmla="*/ 447567 h 1971366"/>
                  <a:gd name="connsiteX1132" fmla="*/ 653445 w 2509632"/>
                  <a:gd name="connsiteY1132" fmla="*/ 462524 h 1971366"/>
                  <a:gd name="connsiteX1133" fmla="*/ 682507 w 2509632"/>
                  <a:gd name="connsiteY1133" fmla="*/ 482338 h 1971366"/>
                  <a:gd name="connsiteX1134" fmla="*/ 726306 w 2509632"/>
                  <a:gd name="connsiteY1134" fmla="*/ 494385 h 1971366"/>
                  <a:gd name="connsiteX1135" fmla="*/ 733441 w 2509632"/>
                  <a:gd name="connsiteY1135" fmla="*/ 485741 h 1971366"/>
                  <a:gd name="connsiteX1136" fmla="*/ 746422 w 2509632"/>
                  <a:gd name="connsiteY1136" fmla="*/ 484753 h 1971366"/>
                  <a:gd name="connsiteX1137" fmla="*/ 764452 w 2509632"/>
                  <a:gd name="connsiteY1137" fmla="*/ 493534 h 1971366"/>
                  <a:gd name="connsiteX1138" fmla="*/ 786845 w 2509632"/>
                  <a:gd name="connsiteY1138" fmla="*/ 516669 h 1971366"/>
                  <a:gd name="connsiteX1139" fmla="*/ 793569 w 2509632"/>
                  <a:gd name="connsiteY1139" fmla="*/ 532805 h 1971366"/>
                  <a:gd name="connsiteX1140" fmla="*/ 790138 w 2509632"/>
                  <a:gd name="connsiteY1140" fmla="*/ 541724 h 1971366"/>
                  <a:gd name="connsiteX1141" fmla="*/ 774715 w 2509632"/>
                  <a:gd name="connsiteY1141" fmla="*/ 543453 h 1971366"/>
                  <a:gd name="connsiteX1142" fmla="*/ 762723 w 2509632"/>
                  <a:gd name="connsiteY1142" fmla="*/ 550479 h 1971366"/>
                  <a:gd name="connsiteX1143" fmla="*/ 755450 w 2509632"/>
                  <a:gd name="connsiteY1143" fmla="*/ 568234 h 1971366"/>
                  <a:gd name="connsiteX1144" fmla="*/ 762119 w 2509632"/>
                  <a:gd name="connsiteY1144" fmla="*/ 577098 h 1971366"/>
                  <a:gd name="connsiteX1145" fmla="*/ 802460 w 2509632"/>
                  <a:gd name="connsiteY1145" fmla="*/ 582367 h 1971366"/>
                  <a:gd name="connsiteX1146" fmla="*/ 829244 w 2509632"/>
                  <a:gd name="connsiteY1146" fmla="*/ 585633 h 1971366"/>
                  <a:gd name="connsiteX1147" fmla="*/ 880261 w 2509632"/>
                  <a:gd name="connsiteY1147" fmla="*/ 578855 h 1971366"/>
                  <a:gd name="connsiteX1148" fmla="*/ 910503 w 2509632"/>
                  <a:gd name="connsiteY1148" fmla="*/ 567548 h 1971366"/>
                  <a:gd name="connsiteX1149" fmla="*/ 924197 w 2509632"/>
                  <a:gd name="connsiteY1149" fmla="*/ 581983 h 1971366"/>
                  <a:gd name="connsiteX1150" fmla="*/ 937397 w 2509632"/>
                  <a:gd name="connsiteY1150" fmla="*/ 586209 h 1971366"/>
                  <a:gd name="connsiteX1151" fmla="*/ 945685 w 2509632"/>
                  <a:gd name="connsiteY1151" fmla="*/ 602154 h 1971366"/>
                  <a:gd name="connsiteX1152" fmla="*/ 961382 w 2509632"/>
                  <a:gd name="connsiteY1152" fmla="*/ 600562 h 1971366"/>
                  <a:gd name="connsiteX1153" fmla="*/ 971975 w 2509632"/>
                  <a:gd name="connsiteY1153" fmla="*/ 626551 h 1971366"/>
                  <a:gd name="connsiteX1154" fmla="*/ 969368 w 2509632"/>
                  <a:gd name="connsiteY1154" fmla="*/ 648423 h 1971366"/>
                  <a:gd name="connsiteX1155" fmla="*/ 978287 w 2509632"/>
                  <a:gd name="connsiteY1155" fmla="*/ 661458 h 1971366"/>
                  <a:gd name="connsiteX1156" fmla="*/ 981443 w 2509632"/>
                  <a:gd name="connsiteY1156" fmla="*/ 645431 h 1971366"/>
                  <a:gd name="connsiteX1157" fmla="*/ 987755 w 2509632"/>
                  <a:gd name="connsiteY1157" fmla="*/ 638461 h 1971366"/>
                  <a:gd name="connsiteX1158" fmla="*/ 979467 w 2509632"/>
                  <a:gd name="connsiteY1158" fmla="*/ 600919 h 1971366"/>
                  <a:gd name="connsiteX1159" fmla="*/ 974198 w 2509632"/>
                  <a:gd name="connsiteY1159" fmla="*/ 586511 h 1971366"/>
                  <a:gd name="connsiteX1160" fmla="*/ 975076 w 2509632"/>
                  <a:gd name="connsiteY1160" fmla="*/ 573339 h 1971366"/>
                  <a:gd name="connsiteX1161" fmla="*/ 984242 w 2509632"/>
                  <a:gd name="connsiteY1161" fmla="*/ 559919 h 1971366"/>
                  <a:gd name="connsiteX1162" fmla="*/ 1005785 w 2509632"/>
                  <a:gd name="connsiteY1162" fmla="*/ 551055 h 1971366"/>
                  <a:gd name="connsiteX1163" fmla="*/ 1030319 w 2509632"/>
                  <a:gd name="connsiteY1163" fmla="*/ 530226 h 1971366"/>
                  <a:gd name="connsiteX1164" fmla="*/ 1033228 w 2509632"/>
                  <a:gd name="connsiteY1164" fmla="*/ 521993 h 1971366"/>
                  <a:gd name="connsiteX1165" fmla="*/ 1022937 w 2509632"/>
                  <a:gd name="connsiteY1165" fmla="*/ 520401 h 1971366"/>
                  <a:gd name="connsiteX1166" fmla="*/ 1009600 w 2509632"/>
                  <a:gd name="connsiteY1166" fmla="*/ 535001 h 1971366"/>
                  <a:gd name="connsiteX1167" fmla="*/ 981498 w 2509632"/>
                  <a:gd name="connsiteY1167" fmla="*/ 538706 h 1971366"/>
                  <a:gd name="connsiteX1168" fmla="*/ 965636 w 2509632"/>
                  <a:gd name="connsiteY1168" fmla="*/ 550945 h 1971366"/>
                  <a:gd name="connsiteX1169" fmla="*/ 954851 w 2509632"/>
                  <a:gd name="connsiteY1169" fmla="*/ 543563 h 1971366"/>
                  <a:gd name="connsiteX1170" fmla="*/ 953204 w 2509632"/>
                  <a:gd name="connsiteY1170" fmla="*/ 534891 h 1971366"/>
                  <a:gd name="connsiteX1171" fmla="*/ 966597 w 2509632"/>
                  <a:gd name="connsiteY1171" fmla="*/ 513184 h 1971366"/>
                  <a:gd name="connsiteX1172" fmla="*/ 1022361 w 2509632"/>
                  <a:gd name="connsiteY1172" fmla="*/ 491119 h 1971366"/>
                  <a:gd name="connsiteX1173" fmla="*/ 1039869 w 2509632"/>
                  <a:gd name="connsiteY1173" fmla="*/ 501493 h 1971366"/>
                  <a:gd name="connsiteX1174" fmla="*/ 1050901 w 2509632"/>
                  <a:gd name="connsiteY1174" fmla="*/ 529210 h 1971366"/>
                  <a:gd name="connsiteX1175" fmla="*/ 1079415 w 2509632"/>
                  <a:gd name="connsiteY1175" fmla="*/ 557971 h 1971366"/>
                  <a:gd name="connsiteX1176" fmla="*/ 1105787 w 2509632"/>
                  <a:gd name="connsiteY1176" fmla="*/ 556132 h 1971366"/>
                  <a:gd name="connsiteX1177" fmla="*/ 1137704 w 2509632"/>
                  <a:gd name="connsiteY1177" fmla="*/ 579157 h 1971366"/>
                  <a:gd name="connsiteX1178" fmla="*/ 1156255 w 2509632"/>
                  <a:gd name="connsiteY1178" fmla="*/ 574436 h 1971366"/>
                  <a:gd name="connsiteX1179" fmla="*/ 1161991 w 2509632"/>
                  <a:gd name="connsiteY1179" fmla="*/ 580090 h 1971366"/>
                  <a:gd name="connsiteX1180" fmla="*/ 1170416 w 2509632"/>
                  <a:gd name="connsiteY1180" fmla="*/ 579596 h 1971366"/>
                  <a:gd name="connsiteX1181" fmla="*/ 1188802 w 2509632"/>
                  <a:gd name="connsiteY1181" fmla="*/ 571857 h 1971366"/>
                  <a:gd name="connsiteX1182" fmla="*/ 1231641 w 2509632"/>
                  <a:gd name="connsiteY1182" fmla="*/ 581050 h 1971366"/>
                  <a:gd name="connsiteX1183" fmla="*/ 1243249 w 2509632"/>
                  <a:gd name="connsiteY1183" fmla="*/ 579404 h 1971366"/>
                  <a:gd name="connsiteX1184" fmla="*/ 1248024 w 2509632"/>
                  <a:gd name="connsiteY1184" fmla="*/ 572625 h 1971366"/>
                  <a:gd name="connsiteX1185" fmla="*/ 1246762 w 2509632"/>
                  <a:gd name="connsiteY1185" fmla="*/ 559398 h 1971366"/>
                  <a:gd name="connsiteX1186" fmla="*/ 1249561 w 2509632"/>
                  <a:gd name="connsiteY1186" fmla="*/ 537498 h 1971366"/>
                  <a:gd name="connsiteX1187" fmla="*/ 1260154 w 2509632"/>
                  <a:gd name="connsiteY1187" fmla="*/ 526027 h 1971366"/>
                  <a:gd name="connsiteX1188" fmla="*/ 1265012 w 2509632"/>
                  <a:gd name="connsiteY1188" fmla="*/ 511510 h 1971366"/>
                  <a:gd name="connsiteX1189" fmla="*/ 1256147 w 2509632"/>
                  <a:gd name="connsiteY1189" fmla="*/ 499654 h 1971366"/>
                  <a:gd name="connsiteX1190" fmla="*/ 1229692 w 2509632"/>
                  <a:gd name="connsiteY1190" fmla="*/ 489555 h 1971366"/>
                  <a:gd name="connsiteX1191" fmla="*/ 1224945 w 2509632"/>
                  <a:gd name="connsiteY1191" fmla="*/ 476108 h 1971366"/>
                  <a:gd name="connsiteX1192" fmla="*/ 1245006 w 2509632"/>
                  <a:gd name="connsiteY1192" fmla="*/ 459368 h 1971366"/>
                  <a:gd name="connsiteX1193" fmla="*/ 1258809 w 2509632"/>
                  <a:gd name="connsiteY1193" fmla="*/ 422814 h 1971366"/>
                  <a:gd name="connsiteX1194" fmla="*/ 1268881 w 2509632"/>
                  <a:gd name="connsiteY1194" fmla="*/ 411754 h 1971366"/>
                  <a:gd name="connsiteX1195" fmla="*/ 1299178 w 2509632"/>
                  <a:gd name="connsiteY1195" fmla="*/ 435053 h 1971366"/>
                  <a:gd name="connsiteX1196" fmla="*/ 1322614 w 2509632"/>
                  <a:gd name="connsiteY1196" fmla="*/ 468561 h 1971366"/>
                  <a:gd name="connsiteX1197" fmla="*/ 1330875 w 2509632"/>
                  <a:gd name="connsiteY1197" fmla="*/ 486674 h 1971366"/>
                  <a:gd name="connsiteX1198" fmla="*/ 1339629 w 2509632"/>
                  <a:gd name="connsiteY1198" fmla="*/ 494632 h 1971366"/>
                  <a:gd name="connsiteX1199" fmla="*/ 1336199 w 2509632"/>
                  <a:gd name="connsiteY1199" fmla="*/ 504923 h 1971366"/>
                  <a:gd name="connsiteX1200" fmla="*/ 1317153 w 2509632"/>
                  <a:gd name="connsiteY1200" fmla="*/ 522240 h 1971366"/>
                  <a:gd name="connsiteX1201" fmla="*/ 1297147 w 2509632"/>
                  <a:gd name="connsiteY1201" fmla="*/ 520785 h 1971366"/>
                  <a:gd name="connsiteX1202" fmla="*/ 1293086 w 2509632"/>
                  <a:gd name="connsiteY1202" fmla="*/ 526054 h 1971366"/>
                  <a:gd name="connsiteX1203" fmla="*/ 1300084 w 2509632"/>
                  <a:gd name="connsiteY1203" fmla="*/ 537965 h 1971366"/>
                  <a:gd name="connsiteX1204" fmla="*/ 1320144 w 2509632"/>
                  <a:gd name="connsiteY1204" fmla="*/ 549518 h 1971366"/>
                  <a:gd name="connsiteX1205" fmla="*/ 1320995 w 2509632"/>
                  <a:gd name="connsiteY1205" fmla="*/ 574629 h 1971366"/>
                  <a:gd name="connsiteX1206" fmla="*/ 1316714 w 2509632"/>
                  <a:gd name="connsiteY1206" fmla="*/ 597077 h 1971366"/>
                  <a:gd name="connsiteX1207" fmla="*/ 1320556 w 2509632"/>
                  <a:gd name="connsiteY1207" fmla="*/ 610195 h 1971366"/>
                  <a:gd name="connsiteX1208" fmla="*/ 1341632 w 2509632"/>
                  <a:gd name="connsiteY1208" fmla="*/ 614668 h 1971366"/>
                  <a:gd name="connsiteX1209" fmla="*/ 1342757 w 2509632"/>
                  <a:gd name="connsiteY1209" fmla="*/ 603718 h 1971366"/>
                  <a:gd name="connsiteX1210" fmla="*/ 1337269 w 2509632"/>
                  <a:gd name="connsiteY1210" fmla="*/ 583136 h 1971366"/>
                  <a:gd name="connsiteX1211" fmla="*/ 1339684 w 2509632"/>
                  <a:gd name="connsiteY1211" fmla="*/ 568454 h 1971366"/>
                  <a:gd name="connsiteX1212" fmla="*/ 1346023 w 2509632"/>
                  <a:gd name="connsiteY1212" fmla="*/ 559014 h 1971366"/>
                  <a:gd name="connsiteX1213" fmla="*/ 1364849 w 2509632"/>
                  <a:gd name="connsiteY1213" fmla="*/ 552290 h 1971366"/>
                  <a:gd name="connsiteX1214" fmla="*/ 1389520 w 2509632"/>
                  <a:gd name="connsiteY1214" fmla="*/ 520017 h 1971366"/>
                  <a:gd name="connsiteX1215" fmla="*/ 1391963 w 2509632"/>
                  <a:gd name="connsiteY1215" fmla="*/ 500889 h 1971366"/>
                  <a:gd name="connsiteX1216" fmla="*/ 1389246 w 2509632"/>
                  <a:gd name="connsiteY1216" fmla="*/ 489665 h 1971366"/>
                  <a:gd name="connsiteX1217" fmla="*/ 1384498 w 2509632"/>
                  <a:gd name="connsiteY1217" fmla="*/ 489089 h 1971366"/>
                  <a:gd name="connsiteX1218" fmla="*/ 1373960 w 2509632"/>
                  <a:gd name="connsiteY1218" fmla="*/ 499298 h 1971366"/>
                  <a:gd name="connsiteX1219" fmla="*/ 1369954 w 2509632"/>
                  <a:gd name="connsiteY1219" fmla="*/ 497569 h 1971366"/>
                  <a:gd name="connsiteX1220" fmla="*/ 1368856 w 2509632"/>
                  <a:gd name="connsiteY1220" fmla="*/ 492162 h 1971366"/>
                  <a:gd name="connsiteX1221" fmla="*/ 1378571 w 2509632"/>
                  <a:gd name="connsiteY1221" fmla="*/ 457776 h 1971366"/>
                  <a:gd name="connsiteX1222" fmla="*/ 1386035 w 2509632"/>
                  <a:gd name="connsiteY1222" fmla="*/ 453962 h 1971366"/>
                  <a:gd name="connsiteX1223" fmla="*/ 1391441 w 2509632"/>
                  <a:gd name="connsiteY1223" fmla="*/ 458462 h 1971366"/>
                  <a:gd name="connsiteX1224" fmla="*/ 1395009 w 2509632"/>
                  <a:gd name="connsiteY1224" fmla="*/ 449955 h 1971366"/>
                  <a:gd name="connsiteX1225" fmla="*/ 1391771 w 2509632"/>
                  <a:gd name="connsiteY1225" fmla="*/ 442326 h 1971366"/>
                  <a:gd name="connsiteX1226" fmla="*/ 1377061 w 2509632"/>
                  <a:gd name="connsiteY1226" fmla="*/ 442271 h 1971366"/>
                  <a:gd name="connsiteX1227" fmla="*/ 1365672 w 2509632"/>
                  <a:gd name="connsiteY1227" fmla="*/ 431760 h 1971366"/>
                  <a:gd name="connsiteX1228" fmla="*/ 1352335 w 2509632"/>
                  <a:gd name="connsiteY1228" fmla="*/ 430278 h 1971366"/>
                  <a:gd name="connsiteX1229" fmla="*/ 1326209 w 2509632"/>
                  <a:gd name="connsiteY1229" fmla="*/ 413730 h 1971366"/>
                  <a:gd name="connsiteX1230" fmla="*/ 1311088 w 2509632"/>
                  <a:gd name="connsiteY1230" fmla="*/ 381320 h 1971366"/>
                  <a:gd name="connsiteX1231" fmla="*/ 1311692 w 2509632"/>
                  <a:gd name="connsiteY1231" fmla="*/ 365733 h 1971366"/>
                  <a:gd name="connsiteX1232" fmla="*/ 1316193 w 2509632"/>
                  <a:gd name="connsiteY1232" fmla="*/ 346824 h 1971366"/>
                  <a:gd name="connsiteX1233" fmla="*/ 1309716 w 2509632"/>
                  <a:gd name="connsiteY1233" fmla="*/ 323964 h 1971366"/>
                  <a:gd name="connsiteX1234" fmla="*/ 1310539 w 2509632"/>
                  <a:gd name="connsiteY1234" fmla="*/ 294930 h 1971366"/>
                  <a:gd name="connsiteX1235" fmla="*/ 1322011 w 2509632"/>
                  <a:gd name="connsiteY1235" fmla="*/ 277064 h 1971366"/>
                  <a:gd name="connsiteX1236" fmla="*/ 1334415 w 2509632"/>
                  <a:gd name="connsiteY1236" fmla="*/ 274539 h 1971366"/>
                  <a:gd name="connsiteX1237" fmla="*/ 1332823 w 2509632"/>
                  <a:gd name="connsiteY1237" fmla="*/ 253683 h 1971366"/>
                  <a:gd name="connsiteX1238" fmla="*/ 1341989 w 2509632"/>
                  <a:gd name="connsiteY1238" fmla="*/ 234363 h 1971366"/>
                  <a:gd name="connsiteX1239" fmla="*/ 1345612 w 2509632"/>
                  <a:gd name="connsiteY1239" fmla="*/ 218144 h 1971366"/>
                  <a:gd name="connsiteX1240" fmla="*/ 1344953 w 2509632"/>
                  <a:gd name="connsiteY1240" fmla="*/ 171491 h 1971366"/>
                  <a:gd name="connsiteX1241" fmla="*/ 1332329 w 2509632"/>
                  <a:gd name="connsiteY1241" fmla="*/ 125360 h 1971366"/>
                  <a:gd name="connsiteX1242" fmla="*/ 1336007 w 2509632"/>
                  <a:gd name="connsiteY1242" fmla="*/ 56423 h 1971366"/>
                  <a:gd name="connsiteX1243" fmla="*/ 1346462 w 2509632"/>
                  <a:gd name="connsiteY1243" fmla="*/ 41741 h 1971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Lst>
                <a:rect l="l" t="t" r="r" b="b"/>
                <a:pathLst>
                  <a:path w="2509632" h="1971366">
                    <a:moveTo>
                      <a:pt x="1346682" y="41768"/>
                    </a:moveTo>
                    <a:lnTo>
                      <a:pt x="1349755" y="21543"/>
                    </a:lnTo>
                    <a:lnTo>
                      <a:pt x="1352061" y="17344"/>
                    </a:lnTo>
                    <a:lnTo>
                      <a:pt x="1363367" y="7849"/>
                    </a:lnTo>
                    <a:lnTo>
                      <a:pt x="1398192" y="0"/>
                    </a:lnTo>
                    <a:lnTo>
                      <a:pt x="1420696" y="4803"/>
                    </a:lnTo>
                    <a:lnTo>
                      <a:pt x="1436832" y="17673"/>
                    </a:lnTo>
                    <a:lnTo>
                      <a:pt x="1459006" y="15862"/>
                    </a:lnTo>
                    <a:lnTo>
                      <a:pt x="1476734" y="26702"/>
                    </a:lnTo>
                    <a:lnTo>
                      <a:pt x="1483266" y="30818"/>
                    </a:lnTo>
                    <a:lnTo>
                      <a:pt x="1484061" y="33618"/>
                    </a:lnTo>
                    <a:lnTo>
                      <a:pt x="1476734" y="54666"/>
                    </a:lnTo>
                    <a:lnTo>
                      <a:pt x="1450965" y="120804"/>
                    </a:lnTo>
                    <a:lnTo>
                      <a:pt x="1438863" y="139877"/>
                    </a:lnTo>
                    <a:lnTo>
                      <a:pt x="1404779" y="139740"/>
                    </a:lnTo>
                    <a:lnTo>
                      <a:pt x="1391688" y="144707"/>
                    </a:lnTo>
                    <a:lnTo>
                      <a:pt x="1393390" y="179175"/>
                    </a:lnTo>
                    <a:lnTo>
                      <a:pt x="1381205" y="206069"/>
                    </a:lnTo>
                    <a:lnTo>
                      <a:pt x="1372506" y="217815"/>
                    </a:lnTo>
                    <a:lnTo>
                      <a:pt x="1370530" y="230741"/>
                    </a:lnTo>
                    <a:lnTo>
                      <a:pt x="1374893" y="240949"/>
                    </a:lnTo>
                    <a:lnTo>
                      <a:pt x="1389520" y="244517"/>
                    </a:lnTo>
                    <a:lnTo>
                      <a:pt x="1408127" y="273826"/>
                    </a:lnTo>
                    <a:lnTo>
                      <a:pt x="1414795" y="296110"/>
                    </a:lnTo>
                    <a:lnTo>
                      <a:pt x="1419708" y="327834"/>
                    </a:lnTo>
                    <a:lnTo>
                      <a:pt x="1448029" y="375146"/>
                    </a:lnTo>
                    <a:lnTo>
                      <a:pt x="1446080" y="382720"/>
                    </a:lnTo>
                    <a:lnTo>
                      <a:pt x="1435734" y="386068"/>
                    </a:lnTo>
                    <a:lnTo>
                      <a:pt x="1436997" y="398362"/>
                    </a:lnTo>
                    <a:lnTo>
                      <a:pt x="1427337" y="415404"/>
                    </a:lnTo>
                    <a:lnTo>
                      <a:pt x="1426815" y="423994"/>
                    </a:lnTo>
                    <a:lnTo>
                      <a:pt x="1446190" y="437029"/>
                    </a:lnTo>
                    <a:lnTo>
                      <a:pt x="1469132" y="430745"/>
                    </a:lnTo>
                    <a:lnTo>
                      <a:pt x="1476762" y="436069"/>
                    </a:lnTo>
                    <a:lnTo>
                      <a:pt x="1486312" y="448967"/>
                    </a:lnTo>
                    <a:lnTo>
                      <a:pt x="1492239" y="450422"/>
                    </a:lnTo>
                    <a:lnTo>
                      <a:pt x="1490703" y="458078"/>
                    </a:lnTo>
                    <a:lnTo>
                      <a:pt x="1480631" y="469961"/>
                    </a:lnTo>
                    <a:lnTo>
                      <a:pt x="1485681" y="495593"/>
                    </a:lnTo>
                    <a:lnTo>
                      <a:pt x="1486284" y="523914"/>
                    </a:lnTo>
                    <a:lnTo>
                      <a:pt x="1491855" y="532394"/>
                    </a:lnTo>
                    <a:lnTo>
                      <a:pt x="1498332" y="530116"/>
                    </a:lnTo>
                    <a:lnTo>
                      <a:pt x="1502695" y="504731"/>
                    </a:lnTo>
                    <a:lnTo>
                      <a:pt x="1514743" y="474462"/>
                    </a:lnTo>
                    <a:lnTo>
                      <a:pt x="1521055" y="466201"/>
                    </a:lnTo>
                    <a:lnTo>
                      <a:pt x="1533239" y="469000"/>
                    </a:lnTo>
                    <a:lnTo>
                      <a:pt x="1553300" y="492931"/>
                    </a:lnTo>
                    <a:lnTo>
                      <a:pt x="1559063" y="506899"/>
                    </a:lnTo>
                    <a:lnTo>
                      <a:pt x="1561862" y="533135"/>
                    </a:lnTo>
                    <a:lnTo>
                      <a:pt x="1559173" y="540435"/>
                    </a:lnTo>
                    <a:lnTo>
                      <a:pt x="1551681" y="545676"/>
                    </a:lnTo>
                    <a:lnTo>
                      <a:pt x="1551791" y="570347"/>
                    </a:lnTo>
                    <a:lnTo>
                      <a:pt x="1559996" y="591808"/>
                    </a:lnTo>
                    <a:lnTo>
                      <a:pt x="1583762" y="621007"/>
                    </a:lnTo>
                    <a:lnTo>
                      <a:pt x="1601133" y="600041"/>
                    </a:lnTo>
                    <a:lnTo>
                      <a:pt x="1600557" y="585414"/>
                    </a:lnTo>
                    <a:lnTo>
                      <a:pt x="1592598" y="566505"/>
                    </a:lnTo>
                    <a:lnTo>
                      <a:pt x="1593751" y="552482"/>
                    </a:lnTo>
                    <a:lnTo>
                      <a:pt x="1602505" y="550095"/>
                    </a:lnTo>
                    <a:lnTo>
                      <a:pt x="1612851" y="566313"/>
                    </a:lnTo>
                    <a:lnTo>
                      <a:pt x="1621139" y="551000"/>
                    </a:lnTo>
                    <a:lnTo>
                      <a:pt x="1630442" y="509561"/>
                    </a:lnTo>
                    <a:lnTo>
                      <a:pt x="1644438" y="493589"/>
                    </a:lnTo>
                    <a:lnTo>
                      <a:pt x="1645069" y="481679"/>
                    </a:lnTo>
                    <a:lnTo>
                      <a:pt x="1638785" y="470235"/>
                    </a:lnTo>
                    <a:lnTo>
                      <a:pt x="1634668" y="450778"/>
                    </a:lnTo>
                    <a:lnTo>
                      <a:pt x="1634147" y="431019"/>
                    </a:lnTo>
                    <a:lnTo>
                      <a:pt x="1637193" y="416941"/>
                    </a:lnTo>
                    <a:lnTo>
                      <a:pt x="1663346" y="412084"/>
                    </a:lnTo>
                    <a:lnTo>
                      <a:pt x="1693396" y="422320"/>
                    </a:lnTo>
                    <a:lnTo>
                      <a:pt x="1707502" y="420811"/>
                    </a:lnTo>
                    <a:lnTo>
                      <a:pt x="1710740" y="416667"/>
                    </a:lnTo>
                    <a:lnTo>
                      <a:pt x="1709231" y="407062"/>
                    </a:lnTo>
                    <a:lnTo>
                      <a:pt x="1699846" y="399185"/>
                    </a:lnTo>
                    <a:lnTo>
                      <a:pt x="1680498" y="400174"/>
                    </a:lnTo>
                    <a:lnTo>
                      <a:pt x="1642188" y="391831"/>
                    </a:lnTo>
                    <a:lnTo>
                      <a:pt x="1623938" y="394767"/>
                    </a:lnTo>
                    <a:lnTo>
                      <a:pt x="1593449" y="366364"/>
                    </a:lnTo>
                    <a:lnTo>
                      <a:pt x="1560216" y="372977"/>
                    </a:lnTo>
                    <a:lnTo>
                      <a:pt x="1531400" y="345315"/>
                    </a:lnTo>
                    <a:lnTo>
                      <a:pt x="1523140" y="329371"/>
                    </a:lnTo>
                    <a:lnTo>
                      <a:pt x="1522015" y="316527"/>
                    </a:lnTo>
                    <a:lnTo>
                      <a:pt x="1523799" y="311615"/>
                    </a:lnTo>
                    <a:lnTo>
                      <a:pt x="1540621" y="307526"/>
                    </a:lnTo>
                    <a:lnTo>
                      <a:pt x="1561258" y="314167"/>
                    </a:lnTo>
                    <a:lnTo>
                      <a:pt x="1573690" y="307608"/>
                    </a:lnTo>
                    <a:lnTo>
                      <a:pt x="1560518" y="288618"/>
                    </a:lnTo>
                    <a:lnTo>
                      <a:pt x="1510324" y="278189"/>
                    </a:lnTo>
                    <a:lnTo>
                      <a:pt x="1503656" y="264934"/>
                    </a:lnTo>
                    <a:lnTo>
                      <a:pt x="1500884" y="225911"/>
                    </a:lnTo>
                    <a:lnTo>
                      <a:pt x="1505549" y="202584"/>
                    </a:lnTo>
                    <a:lnTo>
                      <a:pt x="1505604" y="175223"/>
                    </a:lnTo>
                    <a:lnTo>
                      <a:pt x="1518557" y="136145"/>
                    </a:lnTo>
                    <a:lnTo>
                      <a:pt x="1526406" y="103817"/>
                    </a:lnTo>
                    <a:lnTo>
                      <a:pt x="1540566" y="76785"/>
                    </a:lnTo>
                    <a:lnTo>
                      <a:pt x="1564799" y="50632"/>
                    </a:lnTo>
                    <a:lnTo>
                      <a:pt x="1601106" y="34084"/>
                    </a:lnTo>
                    <a:lnTo>
                      <a:pt x="1632446" y="35264"/>
                    </a:lnTo>
                    <a:lnTo>
                      <a:pt x="1644191" y="44018"/>
                    </a:lnTo>
                    <a:lnTo>
                      <a:pt x="1641255" y="59167"/>
                    </a:lnTo>
                    <a:lnTo>
                      <a:pt x="1612604" y="100084"/>
                    </a:lnTo>
                    <a:lnTo>
                      <a:pt x="1601819" y="127088"/>
                    </a:lnTo>
                    <a:lnTo>
                      <a:pt x="1599130" y="145393"/>
                    </a:lnTo>
                    <a:lnTo>
                      <a:pt x="1606155" y="175004"/>
                    </a:lnTo>
                    <a:lnTo>
                      <a:pt x="1606924" y="202063"/>
                    </a:lnTo>
                    <a:lnTo>
                      <a:pt x="1610162" y="220696"/>
                    </a:lnTo>
                    <a:lnTo>
                      <a:pt x="1631759" y="258129"/>
                    </a:lnTo>
                    <a:lnTo>
                      <a:pt x="1646579" y="275033"/>
                    </a:lnTo>
                    <a:lnTo>
                      <a:pt x="1647484" y="280604"/>
                    </a:lnTo>
                    <a:lnTo>
                      <a:pt x="1645673" y="291499"/>
                    </a:lnTo>
                    <a:lnTo>
                      <a:pt x="1651024" y="303135"/>
                    </a:lnTo>
                    <a:lnTo>
                      <a:pt x="1656952" y="273661"/>
                    </a:lnTo>
                    <a:lnTo>
                      <a:pt x="1656129" y="257278"/>
                    </a:lnTo>
                    <a:lnTo>
                      <a:pt x="1651656" y="249347"/>
                    </a:lnTo>
                    <a:lnTo>
                      <a:pt x="1638209" y="241828"/>
                    </a:lnTo>
                    <a:lnTo>
                      <a:pt x="1627670" y="218885"/>
                    </a:lnTo>
                    <a:lnTo>
                      <a:pt x="1635848" y="198330"/>
                    </a:lnTo>
                    <a:lnTo>
                      <a:pt x="1647677" y="195174"/>
                    </a:lnTo>
                    <a:lnTo>
                      <a:pt x="1649817" y="189878"/>
                    </a:lnTo>
                    <a:lnTo>
                      <a:pt x="1632308" y="164960"/>
                    </a:lnTo>
                    <a:lnTo>
                      <a:pt x="1629344" y="150964"/>
                    </a:lnTo>
                    <a:lnTo>
                      <a:pt x="1630360" y="135733"/>
                    </a:lnTo>
                    <a:lnTo>
                      <a:pt x="1638181" y="125277"/>
                    </a:lnTo>
                    <a:lnTo>
                      <a:pt x="1640541" y="110293"/>
                    </a:lnTo>
                    <a:lnTo>
                      <a:pt x="1647045" y="105024"/>
                    </a:lnTo>
                    <a:lnTo>
                      <a:pt x="1647539" y="93251"/>
                    </a:lnTo>
                    <a:lnTo>
                      <a:pt x="1650915" y="85814"/>
                    </a:lnTo>
                    <a:lnTo>
                      <a:pt x="1669960" y="74645"/>
                    </a:lnTo>
                    <a:lnTo>
                      <a:pt x="1681541" y="76044"/>
                    </a:lnTo>
                    <a:lnTo>
                      <a:pt x="1688457" y="62460"/>
                    </a:lnTo>
                    <a:lnTo>
                      <a:pt x="1708792" y="47586"/>
                    </a:lnTo>
                    <a:lnTo>
                      <a:pt x="1740763" y="47723"/>
                    </a:lnTo>
                    <a:lnTo>
                      <a:pt x="1754814" y="63997"/>
                    </a:lnTo>
                    <a:lnTo>
                      <a:pt x="1763129" y="91769"/>
                    </a:lnTo>
                    <a:lnTo>
                      <a:pt x="1775286" y="110540"/>
                    </a:lnTo>
                    <a:lnTo>
                      <a:pt x="1780747" y="135404"/>
                    </a:lnTo>
                    <a:lnTo>
                      <a:pt x="1770346" y="204670"/>
                    </a:lnTo>
                    <a:lnTo>
                      <a:pt x="1771966" y="215098"/>
                    </a:lnTo>
                    <a:lnTo>
                      <a:pt x="1781708" y="207990"/>
                    </a:lnTo>
                    <a:lnTo>
                      <a:pt x="1795374" y="174318"/>
                    </a:lnTo>
                    <a:lnTo>
                      <a:pt x="1838926" y="186146"/>
                    </a:lnTo>
                    <a:lnTo>
                      <a:pt x="1841287" y="181453"/>
                    </a:lnTo>
                    <a:lnTo>
                      <a:pt x="1842192" y="166908"/>
                    </a:lnTo>
                    <a:lnTo>
                      <a:pt x="1846693" y="158675"/>
                    </a:lnTo>
                    <a:lnTo>
                      <a:pt x="1865683" y="146408"/>
                    </a:lnTo>
                    <a:lnTo>
                      <a:pt x="1886074" y="148192"/>
                    </a:lnTo>
                    <a:lnTo>
                      <a:pt x="1907424" y="163807"/>
                    </a:lnTo>
                    <a:lnTo>
                      <a:pt x="1930229" y="169433"/>
                    </a:lnTo>
                    <a:lnTo>
                      <a:pt x="1937776" y="186996"/>
                    </a:lnTo>
                    <a:lnTo>
                      <a:pt x="1937447" y="207304"/>
                    </a:lnTo>
                    <a:lnTo>
                      <a:pt x="1948753" y="209088"/>
                    </a:lnTo>
                    <a:lnTo>
                      <a:pt x="1962420" y="220093"/>
                    </a:lnTo>
                    <a:lnTo>
                      <a:pt x="1960472" y="232222"/>
                    </a:lnTo>
                    <a:lnTo>
                      <a:pt x="1946558" y="248441"/>
                    </a:lnTo>
                    <a:lnTo>
                      <a:pt x="1949906" y="263562"/>
                    </a:lnTo>
                    <a:lnTo>
                      <a:pt x="1961020" y="249182"/>
                    </a:lnTo>
                    <a:lnTo>
                      <a:pt x="1972519" y="244462"/>
                    </a:lnTo>
                    <a:lnTo>
                      <a:pt x="1975593" y="248963"/>
                    </a:lnTo>
                    <a:lnTo>
                      <a:pt x="1975373" y="262218"/>
                    </a:lnTo>
                    <a:lnTo>
                      <a:pt x="1982234" y="266142"/>
                    </a:lnTo>
                    <a:lnTo>
                      <a:pt x="1985499" y="280495"/>
                    </a:lnTo>
                    <a:lnTo>
                      <a:pt x="1993485" y="265044"/>
                    </a:lnTo>
                    <a:lnTo>
                      <a:pt x="2006713" y="253957"/>
                    </a:lnTo>
                    <a:lnTo>
                      <a:pt x="2019007" y="254918"/>
                    </a:lnTo>
                    <a:lnTo>
                      <a:pt x="2042114" y="269270"/>
                    </a:lnTo>
                    <a:lnTo>
                      <a:pt x="2048810" y="284913"/>
                    </a:lnTo>
                    <a:lnTo>
                      <a:pt x="2043706" y="303135"/>
                    </a:lnTo>
                    <a:lnTo>
                      <a:pt x="2044337" y="317872"/>
                    </a:lnTo>
                    <a:lnTo>
                      <a:pt x="2050045" y="317488"/>
                    </a:lnTo>
                    <a:lnTo>
                      <a:pt x="2061407" y="306483"/>
                    </a:lnTo>
                    <a:lnTo>
                      <a:pt x="2067801" y="313756"/>
                    </a:lnTo>
                    <a:lnTo>
                      <a:pt x="2064810" y="328575"/>
                    </a:lnTo>
                    <a:lnTo>
                      <a:pt x="2053256" y="347922"/>
                    </a:lnTo>
                    <a:lnTo>
                      <a:pt x="2052872" y="362796"/>
                    </a:lnTo>
                    <a:lnTo>
                      <a:pt x="2063218" y="342571"/>
                    </a:lnTo>
                    <a:lnTo>
                      <a:pt x="2084486" y="327806"/>
                    </a:lnTo>
                    <a:lnTo>
                      <a:pt x="2087780" y="329124"/>
                    </a:lnTo>
                    <a:lnTo>
                      <a:pt x="2090881" y="339113"/>
                    </a:lnTo>
                    <a:lnTo>
                      <a:pt x="2110008" y="332993"/>
                    </a:lnTo>
                    <a:lnTo>
                      <a:pt x="2131524" y="348910"/>
                    </a:lnTo>
                    <a:lnTo>
                      <a:pt x="2133033" y="355414"/>
                    </a:lnTo>
                    <a:lnTo>
                      <a:pt x="2129465" y="363455"/>
                    </a:lnTo>
                    <a:lnTo>
                      <a:pt x="2100129" y="381073"/>
                    </a:lnTo>
                    <a:lnTo>
                      <a:pt x="2096945" y="389141"/>
                    </a:lnTo>
                    <a:lnTo>
                      <a:pt x="2118927" y="386123"/>
                    </a:lnTo>
                    <a:lnTo>
                      <a:pt x="2121177" y="389526"/>
                    </a:lnTo>
                    <a:lnTo>
                      <a:pt x="2121480" y="398307"/>
                    </a:lnTo>
                    <a:lnTo>
                      <a:pt x="2123428" y="399707"/>
                    </a:lnTo>
                    <a:lnTo>
                      <a:pt x="2135009" y="391117"/>
                    </a:lnTo>
                    <a:lnTo>
                      <a:pt x="2144010" y="375255"/>
                    </a:lnTo>
                    <a:lnTo>
                      <a:pt x="2152024" y="377615"/>
                    </a:lnTo>
                    <a:lnTo>
                      <a:pt x="2164071" y="394438"/>
                    </a:lnTo>
                    <a:lnTo>
                      <a:pt x="2166925" y="417353"/>
                    </a:lnTo>
                    <a:lnTo>
                      <a:pt x="2146535" y="421222"/>
                    </a:lnTo>
                    <a:lnTo>
                      <a:pt x="2141019" y="433599"/>
                    </a:lnTo>
                    <a:lnTo>
                      <a:pt x="2149581" y="427287"/>
                    </a:lnTo>
                    <a:lnTo>
                      <a:pt x="2151118" y="438978"/>
                    </a:lnTo>
                    <a:lnTo>
                      <a:pt x="2164620" y="439637"/>
                    </a:lnTo>
                    <a:lnTo>
                      <a:pt x="2177683" y="451547"/>
                    </a:lnTo>
                    <a:lnTo>
                      <a:pt x="2181195" y="460658"/>
                    </a:lnTo>
                    <a:lnTo>
                      <a:pt x="2175570" y="467546"/>
                    </a:lnTo>
                    <a:lnTo>
                      <a:pt x="2147139" y="461563"/>
                    </a:lnTo>
                    <a:lnTo>
                      <a:pt x="2137534" y="465104"/>
                    </a:lnTo>
                    <a:lnTo>
                      <a:pt x="2137479" y="471553"/>
                    </a:lnTo>
                    <a:lnTo>
                      <a:pt x="2144477" y="482502"/>
                    </a:lnTo>
                    <a:lnTo>
                      <a:pt x="2135174" y="499544"/>
                    </a:lnTo>
                    <a:lnTo>
                      <a:pt x="2139235" y="515050"/>
                    </a:lnTo>
                    <a:lnTo>
                      <a:pt x="2166184" y="528250"/>
                    </a:lnTo>
                    <a:lnTo>
                      <a:pt x="2185477" y="551247"/>
                    </a:lnTo>
                    <a:lnTo>
                      <a:pt x="2193353" y="550314"/>
                    </a:lnTo>
                    <a:lnTo>
                      <a:pt x="2197853" y="565572"/>
                    </a:lnTo>
                    <a:lnTo>
                      <a:pt x="2205921" y="571226"/>
                    </a:lnTo>
                    <a:lnTo>
                      <a:pt x="2235944" y="565161"/>
                    </a:lnTo>
                    <a:lnTo>
                      <a:pt x="2240362" y="578690"/>
                    </a:lnTo>
                    <a:lnTo>
                      <a:pt x="2249693" y="581517"/>
                    </a:lnTo>
                    <a:lnTo>
                      <a:pt x="2266598" y="596446"/>
                    </a:lnTo>
                    <a:lnTo>
                      <a:pt x="2265281" y="612445"/>
                    </a:lnTo>
                    <a:lnTo>
                      <a:pt x="2267805" y="621940"/>
                    </a:lnTo>
                    <a:lnTo>
                      <a:pt x="2278563" y="624822"/>
                    </a:lnTo>
                    <a:lnTo>
                      <a:pt x="2290144" y="621721"/>
                    </a:lnTo>
                    <a:lnTo>
                      <a:pt x="2286302" y="644992"/>
                    </a:lnTo>
                    <a:lnTo>
                      <a:pt x="2292669" y="641809"/>
                    </a:lnTo>
                    <a:lnTo>
                      <a:pt x="2302274" y="649575"/>
                    </a:lnTo>
                    <a:lnTo>
                      <a:pt x="2321950" y="640684"/>
                    </a:lnTo>
                    <a:lnTo>
                      <a:pt x="2331309" y="648148"/>
                    </a:lnTo>
                    <a:lnTo>
                      <a:pt x="2339212" y="662309"/>
                    </a:lnTo>
                    <a:lnTo>
                      <a:pt x="2338855" y="668017"/>
                    </a:lnTo>
                    <a:lnTo>
                      <a:pt x="2330897" y="687721"/>
                    </a:lnTo>
                    <a:lnTo>
                      <a:pt x="2314459" y="691097"/>
                    </a:lnTo>
                    <a:lnTo>
                      <a:pt x="2314019" y="700070"/>
                    </a:lnTo>
                    <a:lnTo>
                      <a:pt x="2316187" y="709922"/>
                    </a:lnTo>
                    <a:lnTo>
                      <a:pt x="2303042" y="738765"/>
                    </a:lnTo>
                    <a:lnTo>
                      <a:pt x="2293711" y="741399"/>
                    </a:lnTo>
                    <a:lnTo>
                      <a:pt x="2282625" y="738490"/>
                    </a:lnTo>
                    <a:lnTo>
                      <a:pt x="2280731" y="748644"/>
                    </a:lnTo>
                    <a:lnTo>
                      <a:pt x="2282076" y="767333"/>
                    </a:lnTo>
                    <a:lnTo>
                      <a:pt x="2279194" y="779710"/>
                    </a:lnTo>
                    <a:lnTo>
                      <a:pt x="2275023" y="786406"/>
                    </a:lnTo>
                    <a:lnTo>
                      <a:pt x="2253370" y="768047"/>
                    </a:lnTo>
                    <a:lnTo>
                      <a:pt x="2243683" y="767772"/>
                    </a:lnTo>
                    <a:lnTo>
                      <a:pt x="2232926" y="751938"/>
                    </a:lnTo>
                    <a:lnTo>
                      <a:pt x="2226284" y="735746"/>
                    </a:lnTo>
                    <a:lnTo>
                      <a:pt x="2226284" y="726196"/>
                    </a:lnTo>
                    <a:cubicBezTo>
                      <a:pt x="2226284" y="726196"/>
                      <a:pt x="2236630" y="713106"/>
                      <a:pt x="2236630" y="713106"/>
                    </a:cubicBezTo>
                    <a:lnTo>
                      <a:pt x="2237426" y="706218"/>
                    </a:lnTo>
                    <a:lnTo>
                      <a:pt x="2213304" y="713462"/>
                    </a:lnTo>
                    <a:lnTo>
                      <a:pt x="2203150" y="702046"/>
                    </a:lnTo>
                    <a:lnTo>
                      <a:pt x="2181442" y="690822"/>
                    </a:lnTo>
                    <a:lnTo>
                      <a:pt x="2160064" y="693896"/>
                    </a:lnTo>
                    <a:lnTo>
                      <a:pt x="2168242" y="712447"/>
                    </a:lnTo>
                    <a:lnTo>
                      <a:pt x="2170383" y="736323"/>
                    </a:lnTo>
                    <a:lnTo>
                      <a:pt x="2178369" y="755066"/>
                    </a:lnTo>
                    <a:lnTo>
                      <a:pt x="2185120" y="783991"/>
                    </a:lnTo>
                    <a:lnTo>
                      <a:pt x="2191239" y="783744"/>
                    </a:lnTo>
                    <a:lnTo>
                      <a:pt x="2202875" y="797795"/>
                    </a:lnTo>
                    <a:lnTo>
                      <a:pt x="2212096" y="796587"/>
                    </a:lnTo>
                    <a:lnTo>
                      <a:pt x="2218353" y="806247"/>
                    </a:lnTo>
                    <a:lnTo>
                      <a:pt x="2224116" y="806549"/>
                    </a:lnTo>
                    <a:lnTo>
                      <a:pt x="2226668" y="810748"/>
                    </a:lnTo>
                    <a:lnTo>
                      <a:pt x="2231718" y="822274"/>
                    </a:lnTo>
                    <a:lnTo>
                      <a:pt x="2229111" y="834486"/>
                    </a:lnTo>
                    <a:lnTo>
                      <a:pt x="2235231" y="835364"/>
                    </a:lnTo>
                    <a:lnTo>
                      <a:pt x="2236081" y="848564"/>
                    </a:lnTo>
                    <a:lnTo>
                      <a:pt x="2243683" y="860804"/>
                    </a:lnTo>
                    <a:lnTo>
                      <a:pt x="2251477" y="866183"/>
                    </a:lnTo>
                    <a:lnTo>
                      <a:pt x="2258200" y="863274"/>
                    </a:lnTo>
                    <a:lnTo>
                      <a:pt x="2260423" y="869970"/>
                    </a:lnTo>
                    <a:lnTo>
                      <a:pt x="2257981" y="880865"/>
                    </a:lnTo>
                    <a:lnTo>
                      <a:pt x="2257789" y="892528"/>
                    </a:lnTo>
                    <a:lnTo>
                      <a:pt x="2251230" y="884377"/>
                    </a:lnTo>
                    <a:lnTo>
                      <a:pt x="2247004" y="898373"/>
                    </a:lnTo>
                    <a:lnTo>
                      <a:pt x="2239841" y="889729"/>
                    </a:lnTo>
                    <a:lnTo>
                      <a:pt x="2235121" y="890168"/>
                    </a:lnTo>
                    <a:lnTo>
                      <a:pt x="2236822" y="903258"/>
                    </a:lnTo>
                    <a:lnTo>
                      <a:pt x="2241186" y="912534"/>
                    </a:lnTo>
                    <a:lnTo>
                      <a:pt x="2242668" y="920932"/>
                    </a:lnTo>
                    <a:lnTo>
                      <a:pt x="2240966" y="925514"/>
                    </a:lnTo>
                    <a:lnTo>
                      <a:pt x="2235039" y="926804"/>
                    </a:lnTo>
                    <a:lnTo>
                      <a:pt x="2234353" y="932046"/>
                    </a:lnTo>
                    <a:lnTo>
                      <a:pt x="2240033" y="947633"/>
                    </a:lnTo>
                    <a:lnTo>
                      <a:pt x="2249117" y="950652"/>
                    </a:lnTo>
                    <a:lnTo>
                      <a:pt x="2248156" y="956470"/>
                    </a:lnTo>
                    <a:lnTo>
                      <a:pt x="2238249" y="953671"/>
                    </a:lnTo>
                    <a:lnTo>
                      <a:pt x="2222058" y="929658"/>
                    </a:lnTo>
                    <a:lnTo>
                      <a:pt x="2194890" y="915909"/>
                    </a:lnTo>
                    <a:lnTo>
                      <a:pt x="2188605" y="919093"/>
                    </a:lnTo>
                    <a:lnTo>
                      <a:pt x="2182458" y="910421"/>
                    </a:lnTo>
                    <a:lnTo>
                      <a:pt x="2162013" y="886984"/>
                    </a:lnTo>
                    <a:lnTo>
                      <a:pt x="2160640" y="885365"/>
                    </a:lnTo>
                    <a:lnTo>
                      <a:pt x="2152298" y="889015"/>
                    </a:lnTo>
                    <a:lnTo>
                      <a:pt x="2132210" y="872330"/>
                    </a:lnTo>
                    <a:lnTo>
                      <a:pt x="2126282" y="874141"/>
                    </a:lnTo>
                    <a:lnTo>
                      <a:pt x="2129109" y="884268"/>
                    </a:lnTo>
                    <a:lnTo>
                      <a:pt x="2135064" y="892555"/>
                    </a:lnTo>
                    <a:lnTo>
                      <a:pt x="2146453" y="903066"/>
                    </a:lnTo>
                    <a:lnTo>
                      <a:pt x="2153615" y="905042"/>
                    </a:lnTo>
                    <a:lnTo>
                      <a:pt x="2156085" y="913055"/>
                    </a:lnTo>
                    <a:lnTo>
                      <a:pt x="2162013" y="919312"/>
                    </a:lnTo>
                    <a:lnTo>
                      <a:pt x="2182458" y="940690"/>
                    </a:lnTo>
                    <a:lnTo>
                      <a:pt x="2188303" y="946755"/>
                    </a:lnTo>
                    <a:lnTo>
                      <a:pt x="2195932" y="960038"/>
                    </a:lnTo>
                    <a:lnTo>
                      <a:pt x="2205757" y="967996"/>
                    </a:lnTo>
                    <a:lnTo>
                      <a:pt x="2208666" y="979440"/>
                    </a:lnTo>
                    <a:lnTo>
                      <a:pt x="2204632" y="988194"/>
                    </a:lnTo>
                    <a:lnTo>
                      <a:pt x="2197359" y="989457"/>
                    </a:lnTo>
                    <a:lnTo>
                      <a:pt x="2182458" y="982678"/>
                    </a:lnTo>
                    <a:lnTo>
                      <a:pt x="2162013" y="973430"/>
                    </a:lnTo>
                    <a:lnTo>
                      <a:pt x="2131304" y="964868"/>
                    </a:lnTo>
                    <a:lnTo>
                      <a:pt x="2112067" y="952710"/>
                    </a:lnTo>
                    <a:lnTo>
                      <a:pt x="2107154" y="946755"/>
                    </a:lnTo>
                    <a:lnTo>
                      <a:pt x="2097247" y="935366"/>
                    </a:lnTo>
                    <a:lnTo>
                      <a:pt x="2078668" y="932238"/>
                    </a:lnTo>
                    <a:lnTo>
                      <a:pt x="2077077" y="933665"/>
                    </a:lnTo>
                    <a:lnTo>
                      <a:pt x="2076857" y="944038"/>
                    </a:lnTo>
                    <a:lnTo>
                      <a:pt x="2068432" y="943544"/>
                    </a:lnTo>
                    <a:lnTo>
                      <a:pt x="2058608" y="931689"/>
                    </a:lnTo>
                    <a:lnTo>
                      <a:pt x="2051774" y="917446"/>
                    </a:lnTo>
                    <a:lnTo>
                      <a:pt x="2041044" y="907731"/>
                    </a:lnTo>
                    <a:lnTo>
                      <a:pt x="2030671" y="892226"/>
                    </a:lnTo>
                    <a:lnTo>
                      <a:pt x="2031933" y="887918"/>
                    </a:lnTo>
                    <a:lnTo>
                      <a:pt x="2039233" y="885256"/>
                    </a:lnTo>
                    <a:lnTo>
                      <a:pt x="2038382" y="877325"/>
                    </a:lnTo>
                    <a:lnTo>
                      <a:pt x="2014123" y="865771"/>
                    </a:lnTo>
                    <a:lnTo>
                      <a:pt x="1996038" y="838356"/>
                    </a:lnTo>
                    <a:lnTo>
                      <a:pt x="1978913" y="837917"/>
                    </a:lnTo>
                    <a:lnTo>
                      <a:pt x="1957233" y="815523"/>
                    </a:lnTo>
                    <a:lnTo>
                      <a:pt x="1949138" y="824524"/>
                    </a:lnTo>
                    <a:lnTo>
                      <a:pt x="1923259" y="819036"/>
                    </a:lnTo>
                    <a:lnTo>
                      <a:pt x="1913764" y="827433"/>
                    </a:lnTo>
                    <a:lnTo>
                      <a:pt x="1894169" y="836736"/>
                    </a:lnTo>
                    <a:lnTo>
                      <a:pt x="1874822" y="834925"/>
                    </a:lnTo>
                    <a:lnTo>
                      <a:pt x="1861732" y="828586"/>
                    </a:lnTo>
                    <a:lnTo>
                      <a:pt x="1850946" y="810775"/>
                    </a:lnTo>
                    <a:lnTo>
                      <a:pt x="1850727" y="796176"/>
                    </a:lnTo>
                    <a:lnTo>
                      <a:pt x="1853883" y="785528"/>
                    </a:lnTo>
                    <a:lnTo>
                      <a:pt x="1867220" y="771120"/>
                    </a:lnTo>
                    <a:lnTo>
                      <a:pt x="1871007" y="759539"/>
                    </a:lnTo>
                    <a:lnTo>
                      <a:pt x="1875233" y="754023"/>
                    </a:lnTo>
                    <a:lnTo>
                      <a:pt x="1904872" y="762778"/>
                    </a:lnTo>
                    <a:lnTo>
                      <a:pt x="1932589" y="763683"/>
                    </a:lnTo>
                    <a:lnTo>
                      <a:pt x="1955175" y="757042"/>
                    </a:lnTo>
                    <a:lnTo>
                      <a:pt x="1965329" y="750236"/>
                    </a:lnTo>
                    <a:lnTo>
                      <a:pt x="1979874" y="748672"/>
                    </a:lnTo>
                    <a:lnTo>
                      <a:pt x="1978035" y="733633"/>
                    </a:lnTo>
                    <a:lnTo>
                      <a:pt x="1963161" y="712557"/>
                    </a:lnTo>
                    <a:lnTo>
                      <a:pt x="1961213" y="702732"/>
                    </a:lnTo>
                    <a:lnTo>
                      <a:pt x="1996724" y="661293"/>
                    </a:lnTo>
                    <a:lnTo>
                      <a:pt x="2006905" y="640684"/>
                    </a:lnTo>
                    <a:lnTo>
                      <a:pt x="2016400" y="629432"/>
                    </a:lnTo>
                    <a:lnTo>
                      <a:pt x="2018376" y="612637"/>
                    </a:lnTo>
                    <a:lnTo>
                      <a:pt x="1999139" y="552482"/>
                    </a:lnTo>
                    <a:lnTo>
                      <a:pt x="1978309" y="532970"/>
                    </a:lnTo>
                    <a:lnTo>
                      <a:pt x="1973864" y="515105"/>
                    </a:lnTo>
                    <a:lnTo>
                      <a:pt x="1966043" y="522734"/>
                    </a:lnTo>
                    <a:lnTo>
                      <a:pt x="1962996" y="532311"/>
                    </a:lnTo>
                    <a:lnTo>
                      <a:pt x="1954132" y="517904"/>
                    </a:lnTo>
                    <a:lnTo>
                      <a:pt x="1942990" y="528689"/>
                    </a:lnTo>
                    <a:lnTo>
                      <a:pt x="1934785" y="517218"/>
                    </a:lnTo>
                    <a:lnTo>
                      <a:pt x="1936678" y="509506"/>
                    </a:lnTo>
                    <a:lnTo>
                      <a:pt x="1945433" y="505582"/>
                    </a:lnTo>
                    <a:lnTo>
                      <a:pt x="1944856" y="495840"/>
                    </a:lnTo>
                    <a:lnTo>
                      <a:pt x="1940575" y="490077"/>
                    </a:lnTo>
                    <a:lnTo>
                      <a:pt x="1928665" y="486591"/>
                    </a:lnTo>
                    <a:lnTo>
                      <a:pt x="1906628" y="502508"/>
                    </a:lnTo>
                    <a:lnTo>
                      <a:pt x="1897929" y="503112"/>
                    </a:lnTo>
                    <a:lnTo>
                      <a:pt x="1895432" y="494056"/>
                    </a:lnTo>
                    <a:lnTo>
                      <a:pt x="1896776" y="485466"/>
                    </a:lnTo>
                    <a:lnTo>
                      <a:pt x="1917111" y="476739"/>
                    </a:lnTo>
                    <a:lnTo>
                      <a:pt x="1919993" y="472129"/>
                    </a:lnTo>
                    <a:lnTo>
                      <a:pt x="1920158" y="465707"/>
                    </a:lnTo>
                    <a:lnTo>
                      <a:pt x="1913132" y="453632"/>
                    </a:lnTo>
                    <a:lnTo>
                      <a:pt x="1885443" y="430471"/>
                    </a:lnTo>
                    <a:lnTo>
                      <a:pt x="1878719" y="416337"/>
                    </a:lnTo>
                    <a:lnTo>
                      <a:pt x="1867001" y="412111"/>
                    </a:lnTo>
                    <a:lnTo>
                      <a:pt x="1858274" y="382637"/>
                    </a:lnTo>
                    <a:lnTo>
                      <a:pt x="1843647" y="377890"/>
                    </a:lnTo>
                    <a:lnTo>
                      <a:pt x="1829706" y="363180"/>
                    </a:lnTo>
                    <a:lnTo>
                      <a:pt x="1822104" y="360985"/>
                    </a:lnTo>
                    <a:lnTo>
                      <a:pt x="1819964" y="366748"/>
                    </a:lnTo>
                    <a:lnTo>
                      <a:pt x="1828937" y="384860"/>
                    </a:lnTo>
                    <a:lnTo>
                      <a:pt x="1830309" y="393670"/>
                    </a:lnTo>
                    <a:lnTo>
                      <a:pt x="1829157" y="399872"/>
                    </a:lnTo>
                    <a:lnTo>
                      <a:pt x="1805172" y="407446"/>
                    </a:lnTo>
                    <a:lnTo>
                      <a:pt x="1773832" y="394328"/>
                    </a:lnTo>
                    <a:lnTo>
                      <a:pt x="1764748" y="398856"/>
                    </a:lnTo>
                    <a:lnTo>
                      <a:pt x="1774628" y="417435"/>
                    </a:lnTo>
                    <a:lnTo>
                      <a:pt x="1803141" y="416722"/>
                    </a:lnTo>
                    <a:lnTo>
                      <a:pt x="1806681" y="420097"/>
                    </a:lnTo>
                    <a:lnTo>
                      <a:pt x="1795759" y="433928"/>
                    </a:lnTo>
                    <a:lnTo>
                      <a:pt x="1747706" y="404949"/>
                    </a:lnTo>
                    <a:lnTo>
                      <a:pt x="1728414" y="420426"/>
                    </a:lnTo>
                    <a:lnTo>
                      <a:pt x="1723062" y="430635"/>
                    </a:lnTo>
                    <a:lnTo>
                      <a:pt x="1723886" y="440295"/>
                    </a:lnTo>
                    <a:lnTo>
                      <a:pt x="1730088" y="456240"/>
                    </a:lnTo>
                    <a:lnTo>
                      <a:pt x="1743919" y="462689"/>
                    </a:lnTo>
                    <a:lnTo>
                      <a:pt x="1750972" y="471827"/>
                    </a:lnTo>
                    <a:lnTo>
                      <a:pt x="1749819" y="486921"/>
                    </a:lnTo>
                    <a:lnTo>
                      <a:pt x="1754100" y="501905"/>
                    </a:lnTo>
                    <a:lnTo>
                      <a:pt x="1752701" y="512745"/>
                    </a:lnTo>
                    <a:lnTo>
                      <a:pt x="1741888" y="523530"/>
                    </a:lnTo>
                    <a:lnTo>
                      <a:pt x="1730005" y="525506"/>
                    </a:lnTo>
                    <a:lnTo>
                      <a:pt x="1724188" y="533711"/>
                    </a:lnTo>
                    <a:lnTo>
                      <a:pt x="1734067" y="567027"/>
                    </a:lnTo>
                    <a:lnTo>
                      <a:pt x="1751219" y="594250"/>
                    </a:lnTo>
                    <a:lnTo>
                      <a:pt x="1754457" y="614366"/>
                    </a:lnTo>
                    <a:lnTo>
                      <a:pt x="1747020" y="637638"/>
                    </a:lnTo>
                    <a:lnTo>
                      <a:pt x="1737689" y="645486"/>
                    </a:lnTo>
                    <a:lnTo>
                      <a:pt x="1725395" y="662830"/>
                    </a:lnTo>
                    <a:lnTo>
                      <a:pt x="1701794" y="680696"/>
                    </a:lnTo>
                    <a:lnTo>
                      <a:pt x="1690241" y="681354"/>
                    </a:lnTo>
                    <a:lnTo>
                      <a:pt x="1676300" y="668319"/>
                    </a:lnTo>
                    <a:lnTo>
                      <a:pt x="1679455" y="691920"/>
                    </a:lnTo>
                    <a:lnTo>
                      <a:pt x="1670207" y="693539"/>
                    </a:lnTo>
                    <a:lnTo>
                      <a:pt x="1668451" y="698753"/>
                    </a:lnTo>
                    <a:lnTo>
                      <a:pt x="1683407" y="719253"/>
                    </a:lnTo>
                    <a:lnTo>
                      <a:pt x="1686673" y="732261"/>
                    </a:lnTo>
                    <a:lnTo>
                      <a:pt x="1677342" y="729681"/>
                    </a:lnTo>
                    <a:lnTo>
                      <a:pt x="1661371" y="703226"/>
                    </a:lnTo>
                    <a:lnTo>
                      <a:pt x="1643615" y="692194"/>
                    </a:lnTo>
                    <a:lnTo>
                      <a:pt x="1629839" y="675454"/>
                    </a:lnTo>
                    <a:lnTo>
                      <a:pt x="1601764" y="680531"/>
                    </a:lnTo>
                    <a:lnTo>
                      <a:pt x="1602752" y="687145"/>
                    </a:lnTo>
                    <a:lnTo>
                      <a:pt x="1614388" y="698341"/>
                    </a:lnTo>
                    <a:lnTo>
                      <a:pt x="1615349" y="708413"/>
                    </a:lnTo>
                    <a:lnTo>
                      <a:pt x="1589031" y="750785"/>
                    </a:lnTo>
                    <a:lnTo>
                      <a:pt x="1579398" y="758716"/>
                    </a:lnTo>
                    <a:lnTo>
                      <a:pt x="1556236" y="756603"/>
                    </a:lnTo>
                    <a:lnTo>
                      <a:pt x="1537410" y="737612"/>
                    </a:lnTo>
                    <a:lnTo>
                      <a:pt x="1513343" y="721037"/>
                    </a:lnTo>
                    <a:lnTo>
                      <a:pt x="1506180" y="725675"/>
                    </a:lnTo>
                    <a:lnTo>
                      <a:pt x="1530193" y="759375"/>
                    </a:lnTo>
                    <a:lnTo>
                      <a:pt x="1586314" y="772767"/>
                    </a:lnTo>
                    <a:lnTo>
                      <a:pt x="1587878" y="778804"/>
                    </a:lnTo>
                    <a:lnTo>
                      <a:pt x="1585408" y="787449"/>
                    </a:lnTo>
                    <a:lnTo>
                      <a:pt x="1572620" y="810885"/>
                    </a:lnTo>
                    <a:lnTo>
                      <a:pt x="1571577" y="812751"/>
                    </a:lnTo>
                    <a:lnTo>
                      <a:pt x="1570507" y="813849"/>
                    </a:lnTo>
                    <a:lnTo>
                      <a:pt x="1564360" y="821012"/>
                    </a:lnTo>
                    <a:lnTo>
                      <a:pt x="1556648" y="839783"/>
                    </a:lnTo>
                    <a:lnTo>
                      <a:pt x="1543475" y="850897"/>
                    </a:lnTo>
                    <a:lnTo>
                      <a:pt x="1524512" y="853888"/>
                    </a:lnTo>
                    <a:lnTo>
                      <a:pt x="1505220" y="846479"/>
                    </a:lnTo>
                    <a:lnTo>
                      <a:pt x="1497014" y="871040"/>
                    </a:lnTo>
                    <a:lnTo>
                      <a:pt x="1492624" y="874937"/>
                    </a:lnTo>
                    <a:lnTo>
                      <a:pt x="1491004" y="876337"/>
                    </a:lnTo>
                    <a:lnTo>
                      <a:pt x="1479506" y="886408"/>
                    </a:lnTo>
                    <a:lnTo>
                      <a:pt x="1476487" y="885146"/>
                    </a:lnTo>
                    <a:lnTo>
                      <a:pt x="1459335" y="878120"/>
                    </a:lnTo>
                    <a:lnTo>
                      <a:pt x="1460790" y="882950"/>
                    </a:lnTo>
                    <a:lnTo>
                      <a:pt x="1467266" y="884542"/>
                    </a:lnTo>
                    <a:lnTo>
                      <a:pt x="1476130" y="895574"/>
                    </a:lnTo>
                    <a:lnTo>
                      <a:pt x="1476515" y="899636"/>
                    </a:lnTo>
                    <a:lnTo>
                      <a:pt x="1478298" y="918324"/>
                    </a:lnTo>
                    <a:lnTo>
                      <a:pt x="1476515" y="920712"/>
                    </a:lnTo>
                    <a:lnTo>
                      <a:pt x="1474539" y="923401"/>
                    </a:lnTo>
                    <a:lnTo>
                      <a:pt x="1460433" y="930152"/>
                    </a:lnTo>
                    <a:lnTo>
                      <a:pt x="1434088" y="932348"/>
                    </a:lnTo>
                    <a:lnTo>
                      <a:pt x="1439275" y="946728"/>
                    </a:lnTo>
                    <a:lnTo>
                      <a:pt x="1433923" y="951009"/>
                    </a:lnTo>
                    <a:lnTo>
                      <a:pt x="1432084" y="957980"/>
                    </a:lnTo>
                    <a:lnTo>
                      <a:pt x="1422836" y="956443"/>
                    </a:lnTo>
                    <a:lnTo>
                      <a:pt x="1420558" y="965224"/>
                    </a:lnTo>
                    <a:lnTo>
                      <a:pt x="1406590" y="980675"/>
                    </a:lnTo>
                    <a:lnTo>
                      <a:pt x="1406590" y="988880"/>
                    </a:lnTo>
                    <a:cubicBezTo>
                      <a:pt x="1406590" y="988880"/>
                      <a:pt x="1400992" y="990829"/>
                      <a:pt x="1400992" y="990829"/>
                    </a:cubicBezTo>
                    <a:lnTo>
                      <a:pt x="1399208" y="1000543"/>
                    </a:lnTo>
                    <a:lnTo>
                      <a:pt x="1386200" y="1014539"/>
                    </a:lnTo>
                    <a:lnTo>
                      <a:pt x="1378214" y="1043849"/>
                    </a:lnTo>
                    <a:lnTo>
                      <a:pt x="1368142" y="1066077"/>
                    </a:lnTo>
                    <a:lnTo>
                      <a:pt x="1362215" y="1074393"/>
                    </a:lnTo>
                    <a:lnTo>
                      <a:pt x="1358729" y="1110782"/>
                    </a:lnTo>
                    <a:lnTo>
                      <a:pt x="1360266" y="1154307"/>
                    </a:lnTo>
                    <a:lnTo>
                      <a:pt x="1368444" y="1172584"/>
                    </a:lnTo>
                    <a:lnTo>
                      <a:pt x="1406947" y="1182024"/>
                    </a:lnTo>
                    <a:lnTo>
                      <a:pt x="1426568" y="1247338"/>
                    </a:lnTo>
                    <a:lnTo>
                      <a:pt x="1427007" y="1258233"/>
                    </a:lnTo>
                    <a:lnTo>
                      <a:pt x="1425059" y="1270967"/>
                    </a:lnTo>
                    <a:lnTo>
                      <a:pt x="1447123" y="1267097"/>
                    </a:lnTo>
                    <a:lnTo>
                      <a:pt x="1466772" y="1259715"/>
                    </a:lnTo>
                    <a:lnTo>
                      <a:pt x="1476542" y="1261444"/>
                    </a:lnTo>
                    <a:lnTo>
                      <a:pt x="1486367" y="1263173"/>
                    </a:lnTo>
                    <a:lnTo>
                      <a:pt x="1491032" y="1265725"/>
                    </a:lnTo>
                    <a:lnTo>
                      <a:pt x="1492651" y="1266603"/>
                    </a:lnTo>
                    <a:lnTo>
                      <a:pt x="1503930" y="1272751"/>
                    </a:lnTo>
                    <a:lnTo>
                      <a:pt x="1533102" y="1281368"/>
                    </a:lnTo>
                    <a:lnTo>
                      <a:pt x="1541006" y="1289683"/>
                    </a:lnTo>
                    <a:lnTo>
                      <a:pt x="1558843" y="1301373"/>
                    </a:lnTo>
                    <a:lnTo>
                      <a:pt x="1570534" y="1321434"/>
                    </a:lnTo>
                    <a:lnTo>
                      <a:pt x="1575858" y="1326127"/>
                    </a:lnTo>
                    <a:lnTo>
                      <a:pt x="1597593" y="1334195"/>
                    </a:lnTo>
                    <a:lnTo>
                      <a:pt x="1621057" y="1344349"/>
                    </a:lnTo>
                    <a:lnTo>
                      <a:pt x="1645810" y="1363312"/>
                    </a:lnTo>
                    <a:lnTo>
                      <a:pt x="1659724" y="1365563"/>
                    </a:lnTo>
                    <a:lnTo>
                      <a:pt x="1679510" y="1363120"/>
                    </a:lnTo>
                    <a:lnTo>
                      <a:pt x="1700861" y="1367648"/>
                    </a:lnTo>
                    <a:lnTo>
                      <a:pt x="1706542" y="1365233"/>
                    </a:lnTo>
                    <a:lnTo>
                      <a:pt x="1711426" y="1370255"/>
                    </a:lnTo>
                    <a:lnTo>
                      <a:pt x="1715378" y="1368554"/>
                    </a:lnTo>
                    <a:lnTo>
                      <a:pt x="1726987" y="1372313"/>
                    </a:lnTo>
                    <a:lnTo>
                      <a:pt x="1729182" y="1387819"/>
                    </a:lnTo>
                    <a:lnTo>
                      <a:pt x="1725175" y="1406123"/>
                    </a:lnTo>
                    <a:lnTo>
                      <a:pt x="1723117" y="1415564"/>
                    </a:lnTo>
                    <a:lnTo>
                      <a:pt x="1726959" y="1425278"/>
                    </a:lnTo>
                    <a:lnTo>
                      <a:pt x="1731103" y="1437189"/>
                    </a:lnTo>
                    <a:lnTo>
                      <a:pt x="1731103" y="1439329"/>
                    </a:lnTo>
                    <a:cubicBezTo>
                      <a:pt x="1731103" y="1439329"/>
                      <a:pt x="1731295" y="1448495"/>
                      <a:pt x="1731295" y="1448495"/>
                    </a:cubicBezTo>
                    <a:lnTo>
                      <a:pt x="1731295" y="1450608"/>
                    </a:lnTo>
                    <a:cubicBezTo>
                      <a:pt x="1731295" y="1450608"/>
                      <a:pt x="1731515" y="1461146"/>
                      <a:pt x="1731515" y="1461146"/>
                    </a:cubicBezTo>
                    <a:lnTo>
                      <a:pt x="1728359" y="1472453"/>
                    </a:lnTo>
                    <a:lnTo>
                      <a:pt x="1729704" y="1481701"/>
                    </a:lnTo>
                    <a:lnTo>
                      <a:pt x="1746965" y="1503601"/>
                    </a:lnTo>
                    <a:lnTo>
                      <a:pt x="1754402" y="1519463"/>
                    </a:lnTo>
                    <a:lnTo>
                      <a:pt x="1773914" y="1536011"/>
                    </a:lnTo>
                    <a:lnTo>
                      <a:pt x="1783602" y="1555962"/>
                    </a:lnTo>
                    <a:lnTo>
                      <a:pt x="1798064" y="1563975"/>
                    </a:lnTo>
                    <a:lnTo>
                      <a:pt x="1801165" y="1562082"/>
                    </a:lnTo>
                    <a:lnTo>
                      <a:pt x="1805144" y="1552971"/>
                    </a:lnTo>
                    <a:lnTo>
                      <a:pt x="1812307" y="1544381"/>
                    </a:lnTo>
                    <a:lnTo>
                      <a:pt x="1826522" y="1554617"/>
                    </a:lnTo>
                    <a:lnTo>
                      <a:pt x="1827812" y="1549623"/>
                    </a:lnTo>
                    <a:lnTo>
                      <a:pt x="1824245" y="1539633"/>
                    </a:lnTo>
                    <a:lnTo>
                      <a:pt x="1823888" y="1531456"/>
                    </a:lnTo>
                    <a:lnTo>
                      <a:pt x="1833520" y="1522289"/>
                    </a:lnTo>
                    <a:lnTo>
                      <a:pt x="1836566" y="1512877"/>
                    </a:lnTo>
                    <a:lnTo>
                      <a:pt x="1836045" y="1507498"/>
                    </a:lnTo>
                    <a:lnTo>
                      <a:pt x="1828306" y="1491910"/>
                    </a:lnTo>
                    <a:lnTo>
                      <a:pt x="1827620" y="1485104"/>
                    </a:lnTo>
                    <a:lnTo>
                      <a:pt x="1823449" y="1480329"/>
                    </a:lnTo>
                    <a:lnTo>
                      <a:pt x="1823943" y="1463836"/>
                    </a:lnTo>
                    <a:lnTo>
                      <a:pt x="1820595" y="1453106"/>
                    </a:lnTo>
                    <a:lnTo>
                      <a:pt x="1820512" y="1450581"/>
                    </a:lnTo>
                    <a:lnTo>
                      <a:pt x="1820457" y="1448468"/>
                    </a:lnTo>
                    <a:lnTo>
                      <a:pt x="1819497" y="1429999"/>
                    </a:lnTo>
                    <a:lnTo>
                      <a:pt x="1810276" y="1415509"/>
                    </a:lnTo>
                    <a:lnTo>
                      <a:pt x="1805281" y="1398906"/>
                    </a:lnTo>
                    <a:lnTo>
                      <a:pt x="1806955" y="1388779"/>
                    </a:lnTo>
                    <a:lnTo>
                      <a:pt x="1818866" y="1386886"/>
                    </a:lnTo>
                    <a:lnTo>
                      <a:pt x="1840299" y="1376759"/>
                    </a:lnTo>
                    <a:lnTo>
                      <a:pt x="1858576" y="1363916"/>
                    </a:lnTo>
                    <a:lnTo>
                      <a:pt x="1885717" y="1331506"/>
                    </a:lnTo>
                    <a:lnTo>
                      <a:pt x="1893757" y="1308920"/>
                    </a:lnTo>
                    <a:lnTo>
                      <a:pt x="1894142" y="1276620"/>
                    </a:lnTo>
                    <a:lnTo>
                      <a:pt x="1890711" y="1272201"/>
                    </a:lnTo>
                    <a:lnTo>
                      <a:pt x="1889888" y="1262844"/>
                    </a:lnTo>
                    <a:lnTo>
                      <a:pt x="1891178" y="1261746"/>
                    </a:lnTo>
                    <a:lnTo>
                      <a:pt x="1893236" y="1268634"/>
                    </a:lnTo>
                    <a:lnTo>
                      <a:pt x="1893236" y="1262158"/>
                    </a:lnTo>
                    <a:cubicBezTo>
                      <a:pt x="1893236" y="1262158"/>
                      <a:pt x="1881381" y="1227085"/>
                      <a:pt x="1881381" y="1227085"/>
                    </a:cubicBezTo>
                    <a:lnTo>
                      <a:pt x="1865766" y="1205680"/>
                    </a:lnTo>
                    <a:lnTo>
                      <a:pt x="1835030" y="1178072"/>
                    </a:lnTo>
                    <a:lnTo>
                      <a:pt x="1837335" y="1168248"/>
                    </a:lnTo>
                    <a:lnTo>
                      <a:pt x="1854487" y="1144400"/>
                    </a:lnTo>
                    <a:lnTo>
                      <a:pt x="1859975" y="1123021"/>
                    </a:lnTo>
                    <a:lnTo>
                      <a:pt x="1867083" y="1115914"/>
                    </a:lnTo>
                    <a:lnTo>
                      <a:pt x="1868949" y="1110508"/>
                    </a:lnTo>
                    <a:lnTo>
                      <a:pt x="1863021" y="1090776"/>
                    </a:lnTo>
                    <a:lnTo>
                      <a:pt x="1859975" y="1063443"/>
                    </a:lnTo>
                    <a:lnTo>
                      <a:pt x="1851989" y="1051752"/>
                    </a:lnTo>
                    <a:lnTo>
                      <a:pt x="1858137" y="1034216"/>
                    </a:lnTo>
                    <a:lnTo>
                      <a:pt x="1861018" y="1014073"/>
                    </a:lnTo>
                    <a:lnTo>
                      <a:pt x="1852429" y="992530"/>
                    </a:lnTo>
                    <a:lnTo>
                      <a:pt x="1849849" y="977135"/>
                    </a:lnTo>
                    <a:lnTo>
                      <a:pt x="1850068" y="970933"/>
                    </a:lnTo>
                    <a:lnTo>
                      <a:pt x="1853801" y="959544"/>
                    </a:lnTo>
                    <a:lnTo>
                      <a:pt x="1868318" y="948210"/>
                    </a:lnTo>
                    <a:lnTo>
                      <a:pt x="1883439" y="949033"/>
                    </a:lnTo>
                    <a:lnTo>
                      <a:pt x="1919389" y="963907"/>
                    </a:lnTo>
                    <a:lnTo>
                      <a:pt x="1947354" y="968243"/>
                    </a:lnTo>
                    <a:lnTo>
                      <a:pt x="1980230" y="956086"/>
                    </a:lnTo>
                    <a:lnTo>
                      <a:pt x="2007070" y="974363"/>
                    </a:lnTo>
                    <a:lnTo>
                      <a:pt x="2012339" y="983886"/>
                    </a:lnTo>
                    <a:lnTo>
                      <a:pt x="2022191" y="991652"/>
                    </a:lnTo>
                    <a:lnTo>
                      <a:pt x="2029518" y="1002904"/>
                    </a:lnTo>
                    <a:lnTo>
                      <a:pt x="2039480" y="1004907"/>
                    </a:lnTo>
                    <a:lnTo>
                      <a:pt x="2038986" y="1020714"/>
                    </a:lnTo>
                    <a:lnTo>
                      <a:pt x="2047740" y="1033557"/>
                    </a:lnTo>
                    <a:lnTo>
                      <a:pt x="2067828" y="1040995"/>
                    </a:lnTo>
                    <a:lnTo>
                      <a:pt x="2080809" y="1041269"/>
                    </a:lnTo>
                    <a:lnTo>
                      <a:pt x="2086325" y="1046456"/>
                    </a:lnTo>
                    <a:lnTo>
                      <a:pt x="2089783" y="1041571"/>
                    </a:lnTo>
                    <a:lnTo>
                      <a:pt x="2089124" y="1047910"/>
                    </a:lnTo>
                    <a:lnTo>
                      <a:pt x="2090826" y="1050709"/>
                    </a:lnTo>
                    <a:lnTo>
                      <a:pt x="2102352" y="1044727"/>
                    </a:lnTo>
                    <a:lnTo>
                      <a:pt x="2104382" y="1053591"/>
                    </a:lnTo>
                    <a:lnTo>
                      <a:pt x="2097165" y="1074091"/>
                    </a:lnTo>
                    <a:lnTo>
                      <a:pt x="2099168" y="1091764"/>
                    </a:lnTo>
                    <a:lnTo>
                      <a:pt x="2096973" y="1105156"/>
                    </a:lnTo>
                    <a:lnTo>
                      <a:pt x="2100623" y="1119619"/>
                    </a:lnTo>
                    <a:lnTo>
                      <a:pt x="2098318" y="1135124"/>
                    </a:lnTo>
                    <a:lnTo>
                      <a:pt x="2099388" y="1139405"/>
                    </a:lnTo>
                    <a:lnTo>
                      <a:pt x="2106276" y="1145141"/>
                    </a:lnTo>
                    <a:lnTo>
                      <a:pt x="2107319" y="1155075"/>
                    </a:lnTo>
                    <a:lnTo>
                      <a:pt x="2112176" y="1157682"/>
                    </a:lnTo>
                    <a:lnTo>
                      <a:pt x="2112478" y="1165723"/>
                    </a:lnTo>
                    <a:lnTo>
                      <a:pt x="2130453" y="1169236"/>
                    </a:lnTo>
                    <a:lnTo>
                      <a:pt x="2140937" y="1185509"/>
                    </a:lnTo>
                    <a:lnTo>
                      <a:pt x="2151776" y="1195718"/>
                    </a:lnTo>
                    <a:lnTo>
                      <a:pt x="2163769" y="1201179"/>
                    </a:lnTo>
                    <a:lnTo>
                      <a:pt x="2181881" y="1190202"/>
                    </a:lnTo>
                    <a:lnTo>
                      <a:pt x="2193161" y="1174422"/>
                    </a:lnTo>
                    <a:lnTo>
                      <a:pt x="2203973" y="1175328"/>
                    </a:lnTo>
                    <a:lnTo>
                      <a:pt x="2207074" y="1164543"/>
                    </a:lnTo>
                    <a:lnTo>
                      <a:pt x="2212371" y="1155981"/>
                    </a:lnTo>
                    <a:lnTo>
                      <a:pt x="2214100" y="1145086"/>
                    </a:lnTo>
                    <a:lnTo>
                      <a:pt x="2220247" y="1130980"/>
                    </a:lnTo>
                    <a:lnTo>
                      <a:pt x="2225049" y="1111029"/>
                    </a:lnTo>
                    <a:lnTo>
                      <a:pt x="2240061" y="1081308"/>
                    </a:lnTo>
                    <a:lnTo>
                      <a:pt x="2248842" y="1080595"/>
                    </a:lnTo>
                    <a:lnTo>
                      <a:pt x="2252822" y="1088251"/>
                    </a:lnTo>
                    <a:lnTo>
                      <a:pt x="2255703" y="1100793"/>
                    </a:lnTo>
                    <a:lnTo>
                      <a:pt x="2292833" y="1171760"/>
                    </a:lnTo>
                    <a:lnTo>
                      <a:pt x="2295276" y="1188473"/>
                    </a:lnTo>
                    <a:lnTo>
                      <a:pt x="2302823" y="1194373"/>
                    </a:lnTo>
                    <a:lnTo>
                      <a:pt x="2309244" y="1211525"/>
                    </a:lnTo>
                    <a:lnTo>
                      <a:pt x="2328043" y="1230049"/>
                    </a:lnTo>
                    <a:lnTo>
                      <a:pt x="2327412" y="1236745"/>
                    </a:lnTo>
                    <a:lnTo>
                      <a:pt x="2330814" y="1246323"/>
                    </a:lnTo>
                    <a:lnTo>
                      <a:pt x="2331940" y="1256175"/>
                    </a:lnTo>
                    <a:lnTo>
                      <a:pt x="2338032" y="1262816"/>
                    </a:lnTo>
                    <a:lnTo>
                      <a:pt x="2340941" y="1272201"/>
                    </a:lnTo>
                    <a:lnTo>
                      <a:pt x="2343246" y="1298629"/>
                    </a:lnTo>
                    <a:lnTo>
                      <a:pt x="2336660" y="1311719"/>
                    </a:lnTo>
                    <a:lnTo>
                      <a:pt x="2340419" y="1320035"/>
                    </a:lnTo>
                    <a:lnTo>
                      <a:pt x="2350875" y="1323657"/>
                    </a:lnTo>
                    <a:lnTo>
                      <a:pt x="2362017" y="1335540"/>
                    </a:lnTo>
                    <a:lnTo>
                      <a:pt x="2370113" y="1339135"/>
                    </a:lnTo>
                    <a:lnTo>
                      <a:pt x="2377413" y="1358290"/>
                    </a:lnTo>
                    <a:lnTo>
                      <a:pt x="2383807" y="1356507"/>
                    </a:lnTo>
                    <a:lnTo>
                      <a:pt x="2384411" y="1362736"/>
                    </a:lnTo>
                    <a:lnTo>
                      <a:pt x="2394372" y="1371545"/>
                    </a:lnTo>
                    <a:lnTo>
                      <a:pt x="2406859" y="1371271"/>
                    </a:lnTo>
                    <a:lnTo>
                      <a:pt x="2420718" y="1385404"/>
                    </a:lnTo>
                    <a:lnTo>
                      <a:pt x="2440586" y="1386364"/>
                    </a:lnTo>
                    <a:lnTo>
                      <a:pt x="2458369" y="1399482"/>
                    </a:lnTo>
                    <a:lnTo>
                      <a:pt x="2458369" y="1403598"/>
                    </a:lnTo>
                    <a:lnTo>
                      <a:pt x="2443056" y="1409883"/>
                    </a:lnTo>
                    <a:lnTo>
                      <a:pt x="2440916" y="1413560"/>
                    </a:lnTo>
                    <a:lnTo>
                      <a:pt x="2454665" y="1419543"/>
                    </a:lnTo>
                    <a:lnTo>
                      <a:pt x="2467069" y="1435048"/>
                    </a:lnTo>
                    <a:lnTo>
                      <a:pt x="2475878" y="1437134"/>
                    </a:lnTo>
                    <a:lnTo>
                      <a:pt x="2490835" y="1448386"/>
                    </a:lnTo>
                    <a:lnTo>
                      <a:pt x="2504803" y="1454423"/>
                    </a:lnTo>
                    <a:lnTo>
                      <a:pt x="2504391" y="1462436"/>
                    </a:lnTo>
                    <a:lnTo>
                      <a:pt x="2508178" y="1468501"/>
                    </a:lnTo>
                    <a:lnTo>
                      <a:pt x="2504089" y="1488782"/>
                    </a:lnTo>
                    <a:lnTo>
                      <a:pt x="2509633" y="1506455"/>
                    </a:lnTo>
                    <a:lnTo>
                      <a:pt x="2506669" y="1523497"/>
                    </a:lnTo>
                    <a:lnTo>
                      <a:pt x="2493908" y="1535545"/>
                    </a:lnTo>
                    <a:lnTo>
                      <a:pt x="2479912" y="1543256"/>
                    </a:lnTo>
                    <a:lnTo>
                      <a:pt x="2473298" y="1551297"/>
                    </a:lnTo>
                    <a:lnTo>
                      <a:pt x="2456257" y="1552065"/>
                    </a:lnTo>
                    <a:lnTo>
                      <a:pt x="2432655" y="1561121"/>
                    </a:lnTo>
                    <a:lnTo>
                      <a:pt x="2414351" y="1574596"/>
                    </a:lnTo>
                    <a:lnTo>
                      <a:pt x="2406283" y="1590485"/>
                    </a:lnTo>
                    <a:lnTo>
                      <a:pt x="2398160" y="1592818"/>
                    </a:lnTo>
                    <a:lnTo>
                      <a:pt x="2380267" y="1610079"/>
                    </a:lnTo>
                    <a:lnTo>
                      <a:pt x="2351452" y="1611013"/>
                    </a:lnTo>
                    <a:lnTo>
                      <a:pt x="2333312" y="1614498"/>
                    </a:lnTo>
                    <a:lnTo>
                      <a:pt x="2325106" y="1610052"/>
                    </a:lnTo>
                    <a:lnTo>
                      <a:pt x="2301643" y="1606210"/>
                    </a:lnTo>
                    <a:lnTo>
                      <a:pt x="2282076" y="1609558"/>
                    </a:lnTo>
                    <a:lnTo>
                      <a:pt x="2271702" y="1607280"/>
                    </a:lnTo>
                    <a:lnTo>
                      <a:pt x="2267915" y="1610546"/>
                    </a:lnTo>
                    <a:lnTo>
                      <a:pt x="2262948" y="1606869"/>
                    </a:lnTo>
                    <a:lnTo>
                      <a:pt x="2226339" y="1605853"/>
                    </a:lnTo>
                    <a:lnTo>
                      <a:pt x="2209462" y="1606951"/>
                    </a:lnTo>
                    <a:lnTo>
                      <a:pt x="2201997" y="1609887"/>
                    </a:lnTo>
                    <a:lnTo>
                      <a:pt x="2192913" y="1609119"/>
                    </a:lnTo>
                    <a:lnTo>
                      <a:pt x="2178369" y="1620975"/>
                    </a:lnTo>
                    <a:lnTo>
                      <a:pt x="2172880" y="1629372"/>
                    </a:lnTo>
                    <a:lnTo>
                      <a:pt x="2168352" y="1644548"/>
                    </a:lnTo>
                    <a:lnTo>
                      <a:pt x="2162205" y="1649625"/>
                    </a:lnTo>
                    <a:lnTo>
                      <a:pt x="2144477" y="1653138"/>
                    </a:lnTo>
                    <a:lnTo>
                      <a:pt x="2140333" y="1659751"/>
                    </a:lnTo>
                    <a:lnTo>
                      <a:pt x="2134048" y="1661700"/>
                    </a:lnTo>
                    <a:lnTo>
                      <a:pt x="2130837" y="1662688"/>
                    </a:lnTo>
                    <a:lnTo>
                      <a:pt x="2127188" y="1668670"/>
                    </a:lnTo>
                    <a:lnTo>
                      <a:pt x="2116540" y="1676684"/>
                    </a:lnTo>
                    <a:lnTo>
                      <a:pt x="2107346" y="1691750"/>
                    </a:lnTo>
                    <a:lnTo>
                      <a:pt x="2105343" y="1695016"/>
                    </a:lnTo>
                    <a:lnTo>
                      <a:pt x="2095766" y="1706487"/>
                    </a:lnTo>
                    <a:lnTo>
                      <a:pt x="2092225" y="1714912"/>
                    </a:lnTo>
                    <a:lnTo>
                      <a:pt x="2079492" y="1732805"/>
                    </a:lnTo>
                    <a:lnTo>
                      <a:pt x="2073015" y="1737250"/>
                    </a:lnTo>
                    <a:lnTo>
                      <a:pt x="2065908" y="1753689"/>
                    </a:lnTo>
                    <a:lnTo>
                      <a:pt x="2069475" y="1753085"/>
                    </a:lnTo>
                    <a:lnTo>
                      <a:pt x="2072192" y="1748776"/>
                    </a:lnTo>
                    <a:lnTo>
                      <a:pt x="2076034" y="1748721"/>
                    </a:lnTo>
                    <a:lnTo>
                      <a:pt x="2092225" y="1727179"/>
                    </a:lnTo>
                    <a:lnTo>
                      <a:pt x="2105480" y="1709313"/>
                    </a:lnTo>
                    <a:lnTo>
                      <a:pt x="2107346" y="1707914"/>
                    </a:lnTo>
                    <a:lnTo>
                      <a:pt x="2134076" y="1687935"/>
                    </a:lnTo>
                    <a:lnTo>
                      <a:pt x="2144504" y="1680114"/>
                    </a:lnTo>
                    <a:lnTo>
                      <a:pt x="2162232" y="1671579"/>
                    </a:lnTo>
                    <a:lnTo>
                      <a:pt x="2199033" y="1656348"/>
                    </a:lnTo>
                    <a:lnTo>
                      <a:pt x="2220796" y="1653851"/>
                    </a:lnTo>
                    <a:lnTo>
                      <a:pt x="2241378" y="1657748"/>
                    </a:lnTo>
                    <a:lnTo>
                      <a:pt x="2255127" y="1668121"/>
                    </a:lnTo>
                    <a:lnTo>
                      <a:pt x="2256801" y="1681349"/>
                    </a:lnTo>
                    <a:lnTo>
                      <a:pt x="2255977" y="1687277"/>
                    </a:lnTo>
                    <a:lnTo>
                      <a:pt x="2240143" y="1700724"/>
                    </a:lnTo>
                    <a:lnTo>
                      <a:pt x="2225351" y="1707337"/>
                    </a:lnTo>
                    <a:lnTo>
                      <a:pt x="2208611" y="1701821"/>
                    </a:lnTo>
                    <a:lnTo>
                      <a:pt x="2200131" y="1705993"/>
                    </a:lnTo>
                    <a:lnTo>
                      <a:pt x="2199966" y="1706102"/>
                    </a:lnTo>
                    <a:lnTo>
                      <a:pt x="2199857" y="1706295"/>
                    </a:lnTo>
                    <a:lnTo>
                      <a:pt x="2199774" y="1706542"/>
                    </a:lnTo>
                    <a:lnTo>
                      <a:pt x="2199774" y="1706816"/>
                    </a:lnTo>
                    <a:cubicBezTo>
                      <a:pt x="2199774" y="1706816"/>
                      <a:pt x="2199774" y="1707063"/>
                      <a:pt x="2199774" y="1707063"/>
                    </a:cubicBezTo>
                    <a:lnTo>
                      <a:pt x="2199884" y="1707310"/>
                    </a:lnTo>
                    <a:lnTo>
                      <a:pt x="2200021" y="1707474"/>
                    </a:lnTo>
                    <a:lnTo>
                      <a:pt x="2218628" y="1721910"/>
                    </a:lnTo>
                    <a:lnTo>
                      <a:pt x="2231608" y="1717903"/>
                    </a:lnTo>
                    <a:lnTo>
                      <a:pt x="2244973" y="1717162"/>
                    </a:lnTo>
                    <a:lnTo>
                      <a:pt x="2229248" y="1748173"/>
                    </a:lnTo>
                    <a:lnTo>
                      <a:pt x="2238798" y="1751136"/>
                    </a:lnTo>
                    <a:lnTo>
                      <a:pt x="2238963" y="1760632"/>
                    </a:lnTo>
                    <a:lnTo>
                      <a:pt x="2249638" y="1782696"/>
                    </a:lnTo>
                    <a:lnTo>
                      <a:pt x="2267421" y="1789447"/>
                    </a:lnTo>
                    <a:lnTo>
                      <a:pt x="2266872" y="1795237"/>
                    </a:lnTo>
                    <a:lnTo>
                      <a:pt x="2269562" y="1797734"/>
                    </a:lnTo>
                    <a:lnTo>
                      <a:pt x="2286576" y="1805858"/>
                    </a:lnTo>
                    <a:lnTo>
                      <a:pt x="2299228" y="1805858"/>
                    </a:lnTo>
                    <a:lnTo>
                      <a:pt x="2309766" y="1809398"/>
                    </a:lnTo>
                    <a:lnTo>
                      <a:pt x="2324009" y="1803168"/>
                    </a:lnTo>
                    <a:lnTo>
                      <a:pt x="2329827" y="1808904"/>
                    </a:lnTo>
                    <a:lnTo>
                      <a:pt x="2335644" y="1808794"/>
                    </a:lnTo>
                    <a:lnTo>
                      <a:pt x="2338087" y="1805199"/>
                    </a:lnTo>
                    <a:lnTo>
                      <a:pt x="2340145" y="1789666"/>
                    </a:lnTo>
                    <a:lnTo>
                      <a:pt x="2358340" y="1761208"/>
                    </a:lnTo>
                    <a:lnTo>
                      <a:pt x="2367424" y="1752920"/>
                    </a:lnTo>
                    <a:lnTo>
                      <a:pt x="2370003" y="1754732"/>
                    </a:lnTo>
                    <a:lnTo>
                      <a:pt x="2372144" y="1760961"/>
                    </a:lnTo>
                    <a:lnTo>
                      <a:pt x="2369153" y="1780501"/>
                    </a:lnTo>
                    <a:lnTo>
                      <a:pt x="2384740" y="1789776"/>
                    </a:lnTo>
                    <a:lnTo>
                      <a:pt x="2384740" y="1795704"/>
                    </a:lnTo>
                    <a:lnTo>
                      <a:pt x="2369344" y="1809755"/>
                    </a:lnTo>
                    <a:lnTo>
                      <a:pt x="2345332" y="1816094"/>
                    </a:lnTo>
                    <a:lnTo>
                      <a:pt x="2343082" y="1820924"/>
                    </a:lnTo>
                    <a:lnTo>
                      <a:pt x="2350958" y="1823750"/>
                    </a:lnTo>
                    <a:lnTo>
                      <a:pt x="2349256" y="1827592"/>
                    </a:lnTo>
                    <a:lnTo>
                      <a:pt x="2341682" y="1828718"/>
                    </a:lnTo>
                    <a:lnTo>
                      <a:pt x="2298871" y="1849382"/>
                    </a:lnTo>
                    <a:lnTo>
                      <a:pt x="2283942" y="1852675"/>
                    </a:lnTo>
                    <a:lnTo>
                      <a:pt x="2275242" y="1858878"/>
                    </a:lnTo>
                    <a:lnTo>
                      <a:pt x="2263305" y="1854761"/>
                    </a:lnTo>
                    <a:lnTo>
                      <a:pt x="2259106" y="1857862"/>
                    </a:lnTo>
                    <a:lnTo>
                      <a:pt x="2258200" y="1864119"/>
                    </a:lnTo>
                    <a:lnTo>
                      <a:pt x="2255209" y="1868812"/>
                    </a:lnTo>
                    <a:lnTo>
                      <a:pt x="2246674" y="1876578"/>
                    </a:lnTo>
                    <a:lnTo>
                      <a:pt x="2243930" y="1878911"/>
                    </a:lnTo>
                    <a:lnTo>
                      <a:pt x="2238359" y="1886869"/>
                    </a:lnTo>
                    <a:lnTo>
                      <a:pt x="2221976" y="1898697"/>
                    </a:lnTo>
                    <a:lnTo>
                      <a:pt x="2214731" y="1898999"/>
                    </a:lnTo>
                    <a:lnTo>
                      <a:pt x="2210450" y="1892550"/>
                    </a:lnTo>
                    <a:lnTo>
                      <a:pt x="2204220" y="1891370"/>
                    </a:lnTo>
                    <a:lnTo>
                      <a:pt x="2202052" y="1885579"/>
                    </a:lnTo>
                    <a:lnTo>
                      <a:pt x="2202217" y="1876551"/>
                    </a:lnTo>
                    <a:lnTo>
                      <a:pt x="2202354" y="1867385"/>
                    </a:lnTo>
                    <a:lnTo>
                      <a:pt x="2209187" y="1853828"/>
                    </a:lnTo>
                    <a:lnTo>
                      <a:pt x="2250955" y="1826577"/>
                    </a:lnTo>
                    <a:lnTo>
                      <a:pt x="2258283" y="1831489"/>
                    </a:lnTo>
                    <a:lnTo>
                      <a:pt x="2272389" y="1824080"/>
                    </a:lnTo>
                    <a:lnTo>
                      <a:pt x="2272526" y="1823970"/>
                    </a:lnTo>
                    <a:lnTo>
                      <a:pt x="2272635" y="1823805"/>
                    </a:lnTo>
                    <a:lnTo>
                      <a:pt x="2272718" y="1823613"/>
                    </a:lnTo>
                    <a:lnTo>
                      <a:pt x="2272718" y="1823394"/>
                    </a:lnTo>
                    <a:cubicBezTo>
                      <a:pt x="2272718" y="1823394"/>
                      <a:pt x="2272718" y="1823147"/>
                      <a:pt x="2272718" y="1823147"/>
                    </a:cubicBezTo>
                    <a:lnTo>
                      <a:pt x="2272663" y="1822955"/>
                    </a:lnTo>
                    <a:lnTo>
                      <a:pt x="2272553" y="1822790"/>
                    </a:lnTo>
                    <a:lnTo>
                      <a:pt x="2272416" y="1822653"/>
                    </a:lnTo>
                    <a:lnTo>
                      <a:pt x="2272251" y="1822598"/>
                    </a:lnTo>
                    <a:lnTo>
                      <a:pt x="2259216" y="1820759"/>
                    </a:lnTo>
                    <a:lnTo>
                      <a:pt x="2239210" y="1822351"/>
                    </a:lnTo>
                    <a:lnTo>
                      <a:pt x="2239951" y="1818372"/>
                    </a:lnTo>
                    <a:lnTo>
                      <a:pt x="2249391" y="1808327"/>
                    </a:lnTo>
                    <a:lnTo>
                      <a:pt x="2248156" y="1804074"/>
                    </a:lnTo>
                    <a:lnTo>
                      <a:pt x="2241460" y="1811291"/>
                    </a:lnTo>
                    <a:lnTo>
                      <a:pt x="2209791" y="1827840"/>
                    </a:lnTo>
                    <a:lnTo>
                      <a:pt x="2203781" y="1827236"/>
                    </a:lnTo>
                    <a:lnTo>
                      <a:pt x="2194066" y="1832834"/>
                    </a:lnTo>
                    <a:lnTo>
                      <a:pt x="2182567" y="1835030"/>
                    </a:lnTo>
                    <a:lnTo>
                      <a:pt x="2179137" y="1835633"/>
                    </a:lnTo>
                    <a:lnTo>
                      <a:pt x="2177381" y="1831517"/>
                    </a:lnTo>
                    <a:lnTo>
                      <a:pt x="2177381" y="1830172"/>
                    </a:lnTo>
                    <a:lnTo>
                      <a:pt x="2174060" y="1833054"/>
                    </a:lnTo>
                    <a:lnTo>
                      <a:pt x="2172084" y="1830584"/>
                    </a:lnTo>
                    <a:lnTo>
                      <a:pt x="2168819" y="1829596"/>
                    </a:lnTo>
                    <a:lnTo>
                      <a:pt x="2168489" y="1829514"/>
                    </a:lnTo>
                    <a:lnTo>
                      <a:pt x="2165827" y="1830309"/>
                    </a:lnTo>
                    <a:lnTo>
                      <a:pt x="2163357" y="1826851"/>
                    </a:lnTo>
                    <a:lnTo>
                      <a:pt x="2162918" y="1814448"/>
                    </a:lnTo>
                    <a:lnTo>
                      <a:pt x="2153066" y="1806489"/>
                    </a:lnTo>
                    <a:lnTo>
                      <a:pt x="2151969" y="1749490"/>
                    </a:lnTo>
                    <a:lnTo>
                      <a:pt x="2140552" y="1738156"/>
                    </a:lnTo>
                    <a:lnTo>
                      <a:pt x="2120574" y="1743836"/>
                    </a:lnTo>
                    <a:lnTo>
                      <a:pt x="2117034" y="1741202"/>
                    </a:lnTo>
                    <a:lnTo>
                      <a:pt x="2115140" y="1734808"/>
                    </a:lnTo>
                    <a:lnTo>
                      <a:pt x="2112231" y="1733847"/>
                    </a:lnTo>
                    <a:lnTo>
                      <a:pt x="2107237" y="1740461"/>
                    </a:lnTo>
                    <a:lnTo>
                      <a:pt x="2089344" y="1764995"/>
                    </a:lnTo>
                    <a:lnTo>
                      <a:pt x="2086133" y="1776713"/>
                    </a:lnTo>
                    <a:lnTo>
                      <a:pt x="2080425" y="1786071"/>
                    </a:lnTo>
                    <a:lnTo>
                      <a:pt x="2079848" y="1800287"/>
                    </a:lnTo>
                    <a:lnTo>
                      <a:pt x="2068652" y="1814338"/>
                    </a:lnTo>
                    <a:lnTo>
                      <a:pt x="2068597" y="1819991"/>
                    </a:lnTo>
                    <a:lnTo>
                      <a:pt x="2064947" y="1821061"/>
                    </a:lnTo>
                    <a:lnTo>
                      <a:pt x="2062889" y="1825452"/>
                    </a:lnTo>
                    <a:lnTo>
                      <a:pt x="2058800" y="1823750"/>
                    </a:lnTo>
                    <a:lnTo>
                      <a:pt x="2049359" y="1826165"/>
                    </a:lnTo>
                    <a:lnTo>
                      <a:pt x="2040440" y="1837115"/>
                    </a:lnTo>
                    <a:lnTo>
                      <a:pt x="1945735" y="1837390"/>
                    </a:lnTo>
                    <a:lnTo>
                      <a:pt x="1927704" y="1848559"/>
                    </a:lnTo>
                    <a:lnTo>
                      <a:pt x="1915273" y="1862308"/>
                    </a:lnTo>
                    <a:lnTo>
                      <a:pt x="1899603" y="1874520"/>
                    </a:lnTo>
                    <a:lnTo>
                      <a:pt x="1898396" y="1876386"/>
                    </a:lnTo>
                    <a:lnTo>
                      <a:pt x="1887446" y="1892934"/>
                    </a:lnTo>
                    <a:lnTo>
                      <a:pt x="1834316" y="1893648"/>
                    </a:lnTo>
                    <a:lnTo>
                      <a:pt x="1820046" y="1899960"/>
                    </a:lnTo>
                    <a:lnTo>
                      <a:pt x="1822131" y="1915328"/>
                    </a:lnTo>
                    <a:lnTo>
                      <a:pt x="1825644" y="1923149"/>
                    </a:lnTo>
                    <a:lnTo>
                      <a:pt x="1823339" y="1926991"/>
                    </a:lnTo>
                    <a:lnTo>
                      <a:pt x="1815435" y="1931053"/>
                    </a:lnTo>
                    <a:lnTo>
                      <a:pt x="1808931" y="1934373"/>
                    </a:lnTo>
                    <a:lnTo>
                      <a:pt x="1795484" y="1941124"/>
                    </a:lnTo>
                    <a:lnTo>
                      <a:pt x="1791203" y="1943265"/>
                    </a:lnTo>
                    <a:lnTo>
                      <a:pt x="1763101" y="1949741"/>
                    </a:lnTo>
                    <a:lnTo>
                      <a:pt x="1757531" y="1951031"/>
                    </a:lnTo>
                    <a:lnTo>
                      <a:pt x="1725093" y="1970598"/>
                    </a:lnTo>
                    <a:lnTo>
                      <a:pt x="1716037" y="1971366"/>
                    </a:lnTo>
                    <a:lnTo>
                      <a:pt x="1703907" y="1963326"/>
                    </a:lnTo>
                    <a:lnTo>
                      <a:pt x="1702151" y="1952294"/>
                    </a:lnTo>
                    <a:lnTo>
                      <a:pt x="1703111" y="1949741"/>
                    </a:lnTo>
                    <a:lnTo>
                      <a:pt x="1704099" y="1947107"/>
                    </a:lnTo>
                    <a:lnTo>
                      <a:pt x="1711180" y="1943237"/>
                    </a:lnTo>
                    <a:lnTo>
                      <a:pt x="1713100" y="1941124"/>
                    </a:lnTo>
                    <a:lnTo>
                      <a:pt x="1719275" y="1934373"/>
                    </a:lnTo>
                    <a:lnTo>
                      <a:pt x="1720236" y="1931053"/>
                    </a:lnTo>
                    <a:lnTo>
                      <a:pt x="1722541" y="1923149"/>
                    </a:lnTo>
                    <a:lnTo>
                      <a:pt x="1731048" y="1893757"/>
                    </a:lnTo>
                    <a:lnTo>
                      <a:pt x="1728167" y="1876359"/>
                    </a:lnTo>
                    <a:lnTo>
                      <a:pt x="1719824" y="1825040"/>
                    </a:lnTo>
                    <a:lnTo>
                      <a:pt x="1690350" y="1803937"/>
                    </a:lnTo>
                    <a:lnTo>
                      <a:pt x="1691832" y="1795621"/>
                    </a:lnTo>
                    <a:lnTo>
                      <a:pt x="1689390" y="1791972"/>
                    </a:lnTo>
                    <a:lnTo>
                      <a:pt x="1677232" y="1791066"/>
                    </a:lnTo>
                    <a:lnTo>
                      <a:pt x="1673363" y="1784013"/>
                    </a:lnTo>
                    <a:lnTo>
                      <a:pt x="1671607" y="1774243"/>
                    </a:lnTo>
                    <a:lnTo>
                      <a:pt x="1659779" y="1774682"/>
                    </a:lnTo>
                    <a:lnTo>
                      <a:pt x="1654400" y="1768343"/>
                    </a:lnTo>
                    <a:lnTo>
                      <a:pt x="1648527" y="1755994"/>
                    </a:lnTo>
                    <a:lnTo>
                      <a:pt x="1570507" y="1709807"/>
                    </a:lnTo>
                    <a:lnTo>
                      <a:pt x="1548196" y="1696415"/>
                    </a:lnTo>
                    <a:lnTo>
                      <a:pt x="1538536" y="1698638"/>
                    </a:lnTo>
                    <a:lnTo>
                      <a:pt x="1518118" y="1709643"/>
                    </a:lnTo>
                    <a:lnTo>
                      <a:pt x="1503354" y="1709039"/>
                    </a:lnTo>
                    <a:lnTo>
                      <a:pt x="1495231" y="1704456"/>
                    </a:lnTo>
                    <a:lnTo>
                      <a:pt x="1491004" y="1704456"/>
                    </a:lnTo>
                    <a:cubicBezTo>
                      <a:pt x="1491004" y="1704456"/>
                      <a:pt x="1486339" y="1704456"/>
                      <a:pt x="1486339" y="1704456"/>
                    </a:cubicBezTo>
                    <a:lnTo>
                      <a:pt x="1479067" y="1704456"/>
                    </a:lnTo>
                    <a:cubicBezTo>
                      <a:pt x="1479067" y="1704456"/>
                      <a:pt x="1476515" y="1702151"/>
                      <a:pt x="1476515" y="1702151"/>
                    </a:cubicBezTo>
                    <a:lnTo>
                      <a:pt x="1473414" y="1699379"/>
                    </a:lnTo>
                    <a:lnTo>
                      <a:pt x="1462272" y="1705307"/>
                    </a:lnTo>
                    <a:lnTo>
                      <a:pt x="1455301" y="1706102"/>
                    </a:lnTo>
                    <a:lnTo>
                      <a:pt x="1447864" y="1700175"/>
                    </a:lnTo>
                    <a:lnTo>
                      <a:pt x="1442129" y="1697952"/>
                    </a:lnTo>
                    <a:lnTo>
                      <a:pt x="1438890" y="1693369"/>
                    </a:lnTo>
                    <a:lnTo>
                      <a:pt x="1433100" y="1693589"/>
                    </a:lnTo>
                    <a:lnTo>
                      <a:pt x="1432084" y="1698007"/>
                    </a:lnTo>
                    <a:lnTo>
                      <a:pt x="1430218" y="1698281"/>
                    </a:lnTo>
                    <a:lnTo>
                      <a:pt x="1425937" y="1689993"/>
                    </a:lnTo>
                    <a:lnTo>
                      <a:pt x="1421409" y="1688759"/>
                    </a:lnTo>
                    <a:lnTo>
                      <a:pt x="1421958" y="1685603"/>
                    </a:lnTo>
                    <a:lnTo>
                      <a:pt x="1412682" y="1681459"/>
                    </a:lnTo>
                    <a:lnTo>
                      <a:pt x="1401842" y="1681294"/>
                    </a:lnTo>
                    <a:lnTo>
                      <a:pt x="1396518" y="1685191"/>
                    </a:lnTo>
                    <a:lnTo>
                      <a:pt x="1389603" y="1685795"/>
                    </a:lnTo>
                    <a:lnTo>
                      <a:pt x="1386117" y="1681184"/>
                    </a:lnTo>
                    <a:lnTo>
                      <a:pt x="1365124" y="1677013"/>
                    </a:lnTo>
                    <a:lnTo>
                      <a:pt x="1362215" y="1673857"/>
                    </a:lnTo>
                    <a:lnTo>
                      <a:pt x="1357385" y="1650915"/>
                    </a:lnTo>
                    <a:lnTo>
                      <a:pt x="1349015" y="1648061"/>
                    </a:lnTo>
                    <a:lnTo>
                      <a:pt x="1347889" y="1663484"/>
                    </a:lnTo>
                    <a:lnTo>
                      <a:pt x="1345886" y="1664718"/>
                    </a:lnTo>
                    <a:lnTo>
                      <a:pt x="912863" y="1664856"/>
                    </a:lnTo>
                    <a:lnTo>
                      <a:pt x="841155" y="1664801"/>
                    </a:lnTo>
                    <a:lnTo>
                      <a:pt x="560056" y="1664664"/>
                    </a:lnTo>
                    <a:lnTo>
                      <a:pt x="536538" y="1664664"/>
                    </a:lnTo>
                    <a:cubicBezTo>
                      <a:pt x="536538" y="1664664"/>
                      <a:pt x="531186" y="1661343"/>
                      <a:pt x="531186" y="1661343"/>
                    </a:cubicBezTo>
                    <a:lnTo>
                      <a:pt x="528332" y="1664581"/>
                    </a:lnTo>
                    <a:lnTo>
                      <a:pt x="526686" y="1664581"/>
                    </a:lnTo>
                    <a:lnTo>
                      <a:pt x="523722" y="1657940"/>
                    </a:lnTo>
                    <a:lnTo>
                      <a:pt x="521609" y="1640678"/>
                    </a:lnTo>
                    <a:lnTo>
                      <a:pt x="515297" y="1646194"/>
                    </a:lnTo>
                    <a:lnTo>
                      <a:pt x="504073" y="1643093"/>
                    </a:lnTo>
                    <a:lnTo>
                      <a:pt x="495648" y="1634257"/>
                    </a:lnTo>
                    <a:lnTo>
                      <a:pt x="494275" y="1629948"/>
                    </a:lnTo>
                    <a:lnTo>
                      <a:pt x="484835" y="1627478"/>
                    </a:lnTo>
                    <a:lnTo>
                      <a:pt x="476904" y="1619520"/>
                    </a:lnTo>
                    <a:lnTo>
                      <a:pt x="473995" y="1613812"/>
                    </a:lnTo>
                    <a:lnTo>
                      <a:pt x="471278" y="1615705"/>
                    </a:lnTo>
                    <a:lnTo>
                      <a:pt x="468671" y="1613098"/>
                    </a:lnTo>
                    <a:lnTo>
                      <a:pt x="466915" y="1613894"/>
                    </a:lnTo>
                    <a:lnTo>
                      <a:pt x="466009" y="1621496"/>
                    </a:lnTo>
                    <a:lnTo>
                      <a:pt x="472623" y="1630963"/>
                    </a:lnTo>
                    <a:lnTo>
                      <a:pt x="474599" y="1637632"/>
                    </a:lnTo>
                    <a:lnTo>
                      <a:pt x="479484" y="1640898"/>
                    </a:lnTo>
                    <a:lnTo>
                      <a:pt x="483710" y="1647265"/>
                    </a:lnTo>
                    <a:lnTo>
                      <a:pt x="507146" y="1658105"/>
                    </a:lnTo>
                    <a:lnTo>
                      <a:pt x="506789" y="1661837"/>
                    </a:lnTo>
                    <a:lnTo>
                      <a:pt x="508107" y="1666502"/>
                    </a:lnTo>
                    <a:lnTo>
                      <a:pt x="509534" y="1667298"/>
                    </a:lnTo>
                    <a:lnTo>
                      <a:pt x="512415" y="1665953"/>
                    </a:lnTo>
                    <a:lnTo>
                      <a:pt x="515763" y="1670948"/>
                    </a:lnTo>
                    <a:lnTo>
                      <a:pt x="520209" y="1689115"/>
                    </a:lnTo>
                    <a:lnTo>
                      <a:pt x="507997" y="1693808"/>
                    </a:lnTo>
                    <a:lnTo>
                      <a:pt x="467134" y="1675037"/>
                    </a:lnTo>
                    <a:lnTo>
                      <a:pt x="465460" y="1672704"/>
                    </a:lnTo>
                    <a:lnTo>
                      <a:pt x="465323" y="1666749"/>
                    </a:lnTo>
                    <a:lnTo>
                      <a:pt x="462414" y="1668478"/>
                    </a:lnTo>
                    <a:lnTo>
                      <a:pt x="460274" y="1665651"/>
                    </a:lnTo>
                    <a:lnTo>
                      <a:pt x="453797" y="1666502"/>
                    </a:lnTo>
                    <a:lnTo>
                      <a:pt x="444357" y="1660026"/>
                    </a:lnTo>
                    <a:lnTo>
                      <a:pt x="438594" y="1652781"/>
                    </a:lnTo>
                    <a:lnTo>
                      <a:pt x="425970" y="1645646"/>
                    </a:lnTo>
                    <a:lnTo>
                      <a:pt x="423335" y="1638840"/>
                    </a:lnTo>
                    <a:lnTo>
                      <a:pt x="416694" y="1635245"/>
                    </a:lnTo>
                    <a:lnTo>
                      <a:pt x="412715" y="1628357"/>
                    </a:lnTo>
                    <a:lnTo>
                      <a:pt x="407309" y="1624103"/>
                    </a:lnTo>
                    <a:lnTo>
                      <a:pt x="405525" y="1620261"/>
                    </a:lnTo>
                    <a:lnTo>
                      <a:pt x="399433" y="1618697"/>
                    </a:lnTo>
                    <a:lnTo>
                      <a:pt x="392709" y="1614223"/>
                    </a:lnTo>
                    <a:lnTo>
                      <a:pt x="386150" y="1613730"/>
                    </a:lnTo>
                    <a:lnTo>
                      <a:pt x="386644" y="1605497"/>
                    </a:lnTo>
                    <a:lnTo>
                      <a:pt x="382802" y="1598608"/>
                    </a:lnTo>
                    <a:lnTo>
                      <a:pt x="377561" y="1595425"/>
                    </a:lnTo>
                    <a:lnTo>
                      <a:pt x="373966" y="1590814"/>
                    </a:lnTo>
                    <a:lnTo>
                      <a:pt x="372813" y="1583131"/>
                    </a:lnTo>
                    <a:lnTo>
                      <a:pt x="386781" y="1576791"/>
                    </a:lnTo>
                    <a:lnTo>
                      <a:pt x="392023" y="1578987"/>
                    </a:lnTo>
                    <a:lnTo>
                      <a:pt x="401436" y="1587714"/>
                    </a:lnTo>
                    <a:lnTo>
                      <a:pt x="409586" y="1590787"/>
                    </a:lnTo>
                    <a:lnTo>
                      <a:pt x="413840" y="1590101"/>
                    </a:lnTo>
                    <a:lnTo>
                      <a:pt x="417600" y="1592022"/>
                    </a:lnTo>
                    <a:lnTo>
                      <a:pt x="421113" y="1587768"/>
                    </a:lnTo>
                    <a:lnTo>
                      <a:pt x="416722" y="1583185"/>
                    </a:lnTo>
                    <a:lnTo>
                      <a:pt x="399323" y="1576078"/>
                    </a:lnTo>
                    <a:lnTo>
                      <a:pt x="390349" y="1565841"/>
                    </a:lnTo>
                    <a:lnTo>
                      <a:pt x="389718" y="1549513"/>
                    </a:lnTo>
                    <a:lnTo>
                      <a:pt x="385766" y="1537246"/>
                    </a:lnTo>
                    <a:lnTo>
                      <a:pt x="386370" y="1519929"/>
                    </a:lnTo>
                    <a:lnTo>
                      <a:pt x="385958" y="1518832"/>
                    </a:lnTo>
                    <a:lnTo>
                      <a:pt x="384613" y="1520286"/>
                    </a:lnTo>
                    <a:lnTo>
                      <a:pt x="382226" y="1534008"/>
                    </a:lnTo>
                    <a:lnTo>
                      <a:pt x="384229" y="1549760"/>
                    </a:lnTo>
                    <a:lnTo>
                      <a:pt x="379674" y="1547565"/>
                    </a:lnTo>
                    <a:lnTo>
                      <a:pt x="378301" y="1537685"/>
                    </a:lnTo>
                    <a:lnTo>
                      <a:pt x="375310" y="1533075"/>
                    </a:lnTo>
                    <a:lnTo>
                      <a:pt x="373499" y="1524814"/>
                    </a:lnTo>
                    <a:lnTo>
                      <a:pt x="369602" y="1517350"/>
                    </a:lnTo>
                    <a:lnTo>
                      <a:pt x="371194" y="1513535"/>
                    </a:lnTo>
                    <a:lnTo>
                      <a:pt x="370014" y="1506921"/>
                    </a:lnTo>
                    <a:lnTo>
                      <a:pt x="373664" y="1499951"/>
                    </a:lnTo>
                    <a:lnTo>
                      <a:pt x="370535" y="1498002"/>
                    </a:lnTo>
                    <a:lnTo>
                      <a:pt x="368751" y="1495094"/>
                    </a:lnTo>
                    <a:lnTo>
                      <a:pt x="367407" y="1500774"/>
                    </a:lnTo>
                    <a:lnTo>
                      <a:pt x="361698" y="1511038"/>
                    </a:lnTo>
                    <a:lnTo>
                      <a:pt x="359613" y="1504753"/>
                    </a:lnTo>
                    <a:lnTo>
                      <a:pt x="359942" y="1499512"/>
                    </a:lnTo>
                    <a:lnTo>
                      <a:pt x="352148" y="1490373"/>
                    </a:lnTo>
                    <a:lnTo>
                      <a:pt x="348142" y="1481646"/>
                    </a:lnTo>
                    <a:lnTo>
                      <a:pt x="346660" y="1474484"/>
                    </a:lnTo>
                    <a:lnTo>
                      <a:pt x="343641" y="1470532"/>
                    </a:lnTo>
                    <a:lnTo>
                      <a:pt x="346028" y="1465016"/>
                    </a:lnTo>
                    <a:lnTo>
                      <a:pt x="348718" y="1468529"/>
                    </a:lnTo>
                    <a:lnTo>
                      <a:pt x="349980" y="1467788"/>
                    </a:lnTo>
                    <a:lnTo>
                      <a:pt x="347373" y="1449209"/>
                    </a:lnTo>
                    <a:lnTo>
                      <a:pt x="346001" y="1450855"/>
                    </a:lnTo>
                    <a:lnTo>
                      <a:pt x="345150" y="1458869"/>
                    </a:lnTo>
                    <a:lnTo>
                      <a:pt x="339223" y="1462573"/>
                    </a:lnTo>
                    <a:lnTo>
                      <a:pt x="339113" y="1467705"/>
                    </a:lnTo>
                    <a:lnTo>
                      <a:pt x="342516" y="1474648"/>
                    </a:lnTo>
                    <a:lnTo>
                      <a:pt x="342269" y="1477310"/>
                    </a:lnTo>
                    <a:lnTo>
                      <a:pt x="326764" y="1455521"/>
                    </a:lnTo>
                    <a:lnTo>
                      <a:pt x="325748" y="1457689"/>
                    </a:lnTo>
                    <a:lnTo>
                      <a:pt x="329316" y="1467952"/>
                    </a:lnTo>
                    <a:lnTo>
                      <a:pt x="329371" y="1468748"/>
                    </a:lnTo>
                    <a:lnTo>
                      <a:pt x="328986" y="1469325"/>
                    </a:lnTo>
                    <a:lnTo>
                      <a:pt x="314963" y="1458869"/>
                    </a:lnTo>
                    <a:lnTo>
                      <a:pt x="309118" y="1449648"/>
                    </a:lnTo>
                    <a:lnTo>
                      <a:pt x="312301" y="1445943"/>
                    </a:lnTo>
                    <a:lnTo>
                      <a:pt x="313509" y="1438973"/>
                    </a:lnTo>
                    <a:lnTo>
                      <a:pt x="308075" y="1438973"/>
                    </a:lnTo>
                    <a:cubicBezTo>
                      <a:pt x="308075" y="1438973"/>
                      <a:pt x="306456" y="1437573"/>
                      <a:pt x="306456" y="1437573"/>
                    </a:cubicBezTo>
                    <a:lnTo>
                      <a:pt x="305440" y="1433594"/>
                    </a:lnTo>
                    <a:lnTo>
                      <a:pt x="302998" y="1432715"/>
                    </a:lnTo>
                    <a:lnTo>
                      <a:pt x="304891" y="1425855"/>
                    </a:lnTo>
                    <a:lnTo>
                      <a:pt x="310023" y="1424071"/>
                    </a:lnTo>
                    <a:lnTo>
                      <a:pt x="313865" y="1425800"/>
                    </a:lnTo>
                    <a:lnTo>
                      <a:pt x="316911" y="1432139"/>
                    </a:lnTo>
                    <a:lnTo>
                      <a:pt x="320424" y="1431371"/>
                    </a:lnTo>
                    <a:lnTo>
                      <a:pt x="320287" y="1428654"/>
                    </a:lnTo>
                    <a:lnTo>
                      <a:pt x="319656" y="1428434"/>
                    </a:lnTo>
                    <a:lnTo>
                      <a:pt x="318915" y="1430273"/>
                    </a:lnTo>
                    <a:lnTo>
                      <a:pt x="317076" y="1427776"/>
                    </a:lnTo>
                    <a:lnTo>
                      <a:pt x="316527" y="1424867"/>
                    </a:lnTo>
                    <a:lnTo>
                      <a:pt x="318723" y="1424620"/>
                    </a:lnTo>
                    <a:lnTo>
                      <a:pt x="319519" y="1426431"/>
                    </a:lnTo>
                    <a:lnTo>
                      <a:pt x="320067" y="1426486"/>
                    </a:lnTo>
                    <a:lnTo>
                      <a:pt x="320369" y="1425580"/>
                    </a:lnTo>
                    <a:lnTo>
                      <a:pt x="320260" y="1421848"/>
                    </a:lnTo>
                    <a:lnTo>
                      <a:pt x="315457" y="1419516"/>
                    </a:lnTo>
                    <a:lnTo>
                      <a:pt x="309996" y="1409279"/>
                    </a:lnTo>
                    <a:lnTo>
                      <a:pt x="313179" y="1392731"/>
                    </a:lnTo>
                    <a:lnTo>
                      <a:pt x="319491" y="1385898"/>
                    </a:lnTo>
                    <a:lnTo>
                      <a:pt x="322592" y="1378543"/>
                    </a:lnTo>
                    <a:lnTo>
                      <a:pt x="319601" y="1373384"/>
                    </a:lnTo>
                    <a:lnTo>
                      <a:pt x="323772" y="1362791"/>
                    </a:lnTo>
                    <a:lnTo>
                      <a:pt x="323882" y="1362516"/>
                    </a:lnTo>
                    <a:lnTo>
                      <a:pt x="320122" y="1339657"/>
                    </a:lnTo>
                    <a:lnTo>
                      <a:pt x="323086" y="1329914"/>
                    </a:lnTo>
                    <a:lnTo>
                      <a:pt x="319546" y="1320748"/>
                    </a:lnTo>
                    <a:lnTo>
                      <a:pt x="306181" y="1310923"/>
                    </a:lnTo>
                    <a:lnTo>
                      <a:pt x="270588" y="1291878"/>
                    </a:lnTo>
                    <a:lnTo>
                      <a:pt x="262657" y="1277882"/>
                    </a:lnTo>
                    <a:lnTo>
                      <a:pt x="261449" y="1270637"/>
                    </a:lnTo>
                    <a:lnTo>
                      <a:pt x="255741" y="1266247"/>
                    </a:lnTo>
                    <a:lnTo>
                      <a:pt x="254588" y="1255955"/>
                    </a:lnTo>
                    <a:lnTo>
                      <a:pt x="225362" y="1202469"/>
                    </a:lnTo>
                    <a:lnTo>
                      <a:pt x="221382" y="1191053"/>
                    </a:lnTo>
                    <a:lnTo>
                      <a:pt x="210213" y="1176947"/>
                    </a:lnTo>
                    <a:lnTo>
                      <a:pt x="198166" y="1167534"/>
                    </a:lnTo>
                    <a:lnTo>
                      <a:pt x="188012" y="1150739"/>
                    </a:lnTo>
                    <a:lnTo>
                      <a:pt x="177227" y="1143631"/>
                    </a:lnTo>
                    <a:lnTo>
                      <a:pt x="173001" y="1126424"/>
                    </a:lnTo>
                    <a:lnTo>
                      <a:pt x="161941" y="1116106"/>
                    </a:lnTo>
                    <a:lnTo>
                      <a:pt x="152363" y="1119811"/>
                    </a:lnTo>
                    <a:lnTo>
                      <a:pt x="139959" y="1125684"/>
                    </a:lnTo>
                    <a:lnTo>
                      <a:pt x="137983" y="1132627"/>
                    </a:lnTo>
                    <a:lnTo>
                      <a:pt x="134141" y="1135947"/>
                    </a:lnTo>
                    <a:lnTo>
                      <a:pt x="133126" y="1144647"/>
                    </a:lnTo>
                    <a:lnTo>
                      <a:pt x="130272" y="1150300"/>
                    </a:lnTo>
                    <a:lnTo>
                      <a:pt x="104311" y="1165037"/>
                    </a:lnTo>
                    <a:lnTo>
                      <a:pt x="97752" y="1145195"/>
                    </a:lnTo>
                    <a:lnTo>
                      <a:pt x="71873" y="1118494"/>
                    </a:lnTo>
                    <a:lnTo>
                      <a:pt x="66247" y="1108230"/>
                    </a:lnTo>
                    <a:lnTo>
                      <a:pt x="54941" y="1099146"/>
                    </a:lnTo>
                    <a:lnTo>
                      <a:pt x="55929" y="1082900"/>
                    </a:lnTo>
                    <a:lnTo>
                      <a:pt x="39326" y="1083723"/>
                    </a:lnTo>
                    <a:lnTo>
                      <a:pt x="29254" y="1091215"/>
                    </a:lnTo>
                    <a:lnTo>
                      <a:pt x="17618" y="1086028"/>
                    </a:lnTo>
                    <a:lnTo>
                      <a:pt x="11279" y="1088471"/>
                    </a:lnTo>
                    <a:lnTo>
                      <a:pt x="631" y="1082378"/>
                    </a:lnTo>
                    <a:lnTo>
                      <a:pt x="0" y="827955"/>
                    </a:lnTo>
                    <a:lnTo>
                      <a:pt x="0" y="825485"/>
                    </a:lnTo>
                    <a:cubicBezTo>
                      <a:pt x="0" y="825485"/>
                      <a:pt x="0" y="810199"/>
                      <a:pt x="0" y="810199"/>
                    </a:cubicBezTo>
                    <a:lnTo>
                      <a:pt x="0" y="806714"/>
                    </a:lnTo>
                    <a:cubicBezTo>
                      <a:pt x="0" y="806714"/>
                      <a:pt x="0" y="804052"/>
                      <a:pt x="0" y="804052"/>
                    </a:cubicBezTo>
                    <a:lnTo>
                      <a:pt x="0" y="781329"/>
                    </a:lnTo>
                    <a:cubicBezTo>
                      <a:pt x="0" y="781329"/>
                      <a:pt x="137" y="572982"/>
                      <a:pt x="137" y="572982"/>
                    </a:cubicBezTo>
                    <a:lnTo>
                      <a:pt x="220" y="430635"/>
                    </a:lnTo>
                    <a:lnTo>
                      <a:pt x="30517" y="431678"/>
                    </a:lnTo>
                    <a:lnTo>
                      <a:pt x="49754" y="438127"/>
                    </a:lnTo>
                    <a:lnTo>
                      <a:pt x="55929" y="433489"/>
                    </a:lnTo>
                    <a:lnTo>
                      <a:pt x="61884" y="448610"/>
                    </a:lnTo>
                    <a:lnTo>
                      <a:pt x="91797" y="475065"/>
                    </a:lnTo>
                    <a:lnTo>
                      <a:pt x="120118" y="490735"/>
                    </a:lnTo>
                    <a:lnTo>
                      <a:pt x="143691" y="493727"/>
                    </a:lnTo>
                    <a:lnTo>
                      <a:pt x="152473" y="498364"/>
                    </a:lnTo>
                    <a:lnTo>
                      <a:pt x="161584" y="503194"/>
                    </a:lnTo>
                    <a:lnTo>
                      <a:pt x="162572" y="500670"/>
                    </a:lnTo>
                    <a:lnTo>
                      <a:pt x="160569" y="496635"/>
                    </a:lnTo>
                    <a:lnTo>
                      <a:pt x="152473" y="489445"/>
                    </a:lnTo>
                    <a:lnTo>
                      <a:pt x="146902" y="484506"/>
                    </a:lnTo>
                    <a:lnTo>
                      <a:pt x="143444" y="471498"/>
                    </a:lnTo>
                    <a:lnTo>
                      <a:pt x="152473" y="460768"/>
                    </a:lnTo>
                    <a:lnTo>
                      <a:pt x="167128" y="443204"/>
                    </a:lnTo>
                    <a:lnTo>
                      <a:pt x="183264" y="444247"/>
                    </a:lnTo>
                    <a:lnTo>
                      <a:pt x="189027" y="439060"/>
                    </a:lnTo>
                    <a:lnTo>
                      <a:pt x="190537" y="440213"/>
                    </a:lnTo>
                    <a:lnTo>
                      <a:pt x="195229" y="428879"/>
                    </a:lnTo>
                    <a:lnTo>
                      <a:pt x="207414" y="437770"/>
                    </a:lnTo>
                    <a:lnTo>
                      <a:pt x="211503" y="452480"/>
                    </a:lnTo>
                    <a:lnTo>
                      <a:pt x="230658" y="447485"/>
                    </a:lnTo>
                    <a:lnTo>
                      <a:pt x="239440" y="430910"/>
                    </a:lnTo>
                    <a:lnTo>
                      <a:pt x="251048" y="422704"/>
                    </a:lnTo>
                    <a:lnTo>
                      <a:pt x="262629" y="422046"/>
                    </a:lnTo>
                    <a:lnTo>
                      <a:pt x="281181" y="406046"/>
                    </a:lnTo>
                    <a:lnTo>
                      <a:pt x="289468" y="407309"/>
                    </a:lnTo>
                    <a:lnTo>
                      <a:pt x="299211" y="391666"/>
                    </a:lnTo>
                    <a:lnTo>
                      <a:pt x="320506" y="393093"/>
                    </a:lnTo>
                    <a:lnTo>
                      <a:pt x="330578" y="384531"/>
                    </a:lnTo>
                    <a:lnTo>
                      <a:pt x="335435" y="390486"/>
                    </a:lnTo>
                    <a:lnTo>
                      <a:pt x="328108" y="403906"/>
                    </a:lnTo>
                    <a:lnTo>
                      <a:pt x="305166" y="423774"/>
                    </a:lnTo>
                    <a:lnTo>
                      <a:pt x="299321" y="434038"/>
                    </a:lnTo>
                    <a:lnTo>
                      <a:pt x="266389" y="441063"/>
                    </a:lnTo>
                    <a:lnTo>
                      <a:pt x="259007" y="460877"/>
                    </a:lnTo>
                    <a:lnTo>
                      <a:pt x="262657" y="462579"/>
                    </a:lnTo>
                    <a:lnTo>
                      <a:pt x="276296" y="447046"/>
                    </a:lnTo>
                    <a:lnTo>
                      <a:pt x="286807" y="447897"/>
                    </a:lnTo>
                    <a:lnTo>
                      <a:pt x="294216" y="442655"/>
                    </a:lnTo>
                    <a:lnTo>
                      <a:pt x="300583" y="448610"/>
                    </a:lnTo>
                    <a:lnTo>
                      <a:pt x="319903" y="423390"/>
                    </a:lnTo>
                    <a:lnTo>
                      <a:pt x="342571" y="414197"/>
                    </a:lnTo>
                    <a:lnTo>
                      <a:pt x="354453" y="421030"/>
                    </a:lnTo>
                    <a:lnTo>
                      <a:pt x="367352" y="407885"/>
                    </a:lnTo>
                    <a:lnTo>
                      <a:pt x="373471" y="391666"/>
                    </a:lnTo>
                    <a:lnTo>
                      <a:pt x="386342" y="381457"/>
                    </a:lnTo>
                    <a:lnTo>
                      <a:pt x="379289" y="362384"/>
                    </a:lnTo>
                    <a:lnTo>
                      <a:pt x="380167" y="356100"/>
                    </a:lnTo>
                    <a:lnTo>
                      <a:pt x="383269" y="352834"/>
                    </a:lnTo>
                    <a:lnTo>
                      <a:pt x="401875" y="371715"/>
                    </a:lnTo>
                    <a:lnTo>
                      <a:pt x="422814" y="421881"/>
                    </a:lnTo>
                    <a:lnTo>
                      <a:pt x="445811" y="449351"/>
                    </a:lnTo>
                    <a:lnTo>
                      <a:pt x="457502" y="449187"/>
                    </a:lnTo>
                    <a:lnTo>
                      <a:pt x="463155" y="413950"/>
                    </a:lnTo>
                    <a:lnTo>
                      <a:pt x="467820" y="415761"/>
                    </a:lnTo>
                    <a:lnTo>
                      <a:pt x="475916" y="393422"/>
                    </a:lnTo>
                    <a:lnTo>
                      <a:pt x="482695" y="386480"/>
                    </a:lnTo>
                    <a:lnTo>
                      <a:pt x="487579" y="396386"/>
                    </a:lnTo>
                    <a:lnTo>
                      <a:pt x="487634" y="418368"/>
                    </a:lnTo>
                    <a:lnTo>
                      <a:pt x="492574" y="426821"/>
                    </a:lnTo>
                    <a:lnTo>
                      <a:pt x="488979" y="442353"/>
                    </a:lnTo>
                    <a:lnTo>
                      <a:pt x="491504" y="451519"/>
                    </a:lnTo>
                    <a:lnTo>
                      <a:pt x="506241" y="453303"/>
                    </a:lnTo>
                    <a:lnTo>
                      <a:pt x="514528" y="449242"/>
                    </a:lnTo>
                    <a:lnTo>
                      <a:pt x="522075" y="438621"/>
                    </a:lnTo>
                    <a:lnTo>
                      <a:pt x="527289" y="421195"/>
                    </a:lnTo>
                    <a:lnTo>
                      <a:pt x="531625" y="415267"/>
                    </a:lnTo>
                    <a:lnTo>
                      <a:pt x="575946" y="418999"/>
                    </a:lnTo>
                    <a:lnTo>
                      <a:pt x="610085" y="447567"/>
                    </a:lnTo>
                    <a:lnTo>
                      <a:pt x="653445" y="462524"/>
                    </a:lnTo>
                    <a:lnTo>
                      <a:pt x="682507" y="482338"/>
                    </a:lnTo>
                    <a:lnTo>
                      <a:pt x="726306" y="494385"/>
                    </a:lnTo>
                    <a:lnTo>
                      <a:pt x="733441" y="485741"/>
                    </a:lnTo>
                    <a:lnTo>
                      <a:pt x="746422" y="484753"/>
                    </a:lnTo>
                    <a:lnTo>
                      <a:pt x="764452" y="493534"/>
                    </a:lnTo>
                    <a:lnTo>
                      <a:pt x="786845" y="516669"/>
                    </a:lnTo>
                    <a:lnTo>
                      <a:pt x="793569" y="532805"/>
                    </a:lnTo>
                    <a:lnTo>
                      <a:pt x="790138" y="541724"/>
                    </a:lnTo>
                    <a:lnTo>
                      <a:pt x="774715" y="543453"/>
                    </a:lnTo>
                    <a:lnTo>
                      <a:pt x="762723" y="550479"/>
                    </a:lnTo>
                    <a:lnTo>
                      <a:pt x="755450" y="568234"/>
                    </a:lnTo>
                    <a:lnTo>
                      <a:pt x="762119" y="577098"/>
                    </a:lnTo>
                    <a:lnTo>
                      <a:pt x="802460" y="582367"/>
                    </a:lnTo>
                    <a:lnTo>
                      <a:pt x="829244" y="585633"/>
                    </a:lnTo>
                    <a:lnTo>
                      <a:pt x="880261" y="578855"/>
                    </a:lnTo>
                    <a:lnTo>
                      <a:pt x="910503" y="567548"/>
                    </a:lnTo>
                    <a:lnTo>
                      <a:pt x="924197" y="581983"/>
                    </a:lnTo>
                    <a:lnTo>
                      <a:pt x="937397" y="586209"/>
                    </a:lnTo>
                    <a:lnTo>
                      <a:pt x="945685" y="602154"/>
                    </a:lnTo>
                    <a:lnTo>
                      <a:pt x="961382" y="600562"/>
                    </a:lnTo>
                    <a:lnTo>
                      <a:pt x="971975" y="626551"/>
                    </a:lnTo>
                    <a:lnTo>
                      <a:pt x="969368" y="648423"/>
                    </a:lnTo>
                    <a:lnTo>
                      <a:pt x="978287" y="661458"/>
                    </a:lnTo>
                    <a:lnTo>
                      <a:pt x="981443" y="645431"/>
                    </a:lnTo>
                    <a:lnTo>
                      <a:pt x="987755" y="638461"/>
                    </a:lnTo>
                    <a:lnTo>
                      <a:pt x="979467" y="600919"/>
                    </a:lnTo>
                    <a:lnTo>
                      <a:pt x="974198" y="586511"/>
                    </a:lnTo>
                    <a:lnTo>
                      <a:pt x="975076" y="573339"/>
                    </a:lnTo>
                    <a:lnTo>
                      <a:pt x="984242" y="559919"/>
                    </a:lnTo>
                    <a:lnTo>
                      <a:pt x="1005785" y="551055"/>
                    </a:lnTo>
                    <a:lnTo>
                      <a:pt x="1030319" y="530226"/>
                    </a:lnTo>
                    <a:lnTo>
                      <a:pt x="1033228" y="521993"/>
                    </a:lnTo>
                    <a:lnTo>
                      <a:pt x="1022937" y="520401"/>
                    </a:lnTo>
                    <a:lnTo>
                      <a:pt x="1009600" y="535001"/>
                    </a:lnTo>
                    <a:lnTo>
                      <a:pt x="981498" y="538706"/>
                    </a:lnTo>
                    <a:lnTo>
                      <a:pt x="965636" y="550945"/>
                    </a:lnTo>
                    <a:lnTo>
                      <a:pt x="954851" y="543563"/>
                    </a:lnTo>
                    <a:lnTo>
                      <a:pt x="953204" y="534891"/>
                    </a:lnTo>
                    <a:lnTo>
                      <a:pt x="966597" y="513184"/>
                    </a:lnTo>
                    <a:lnTo>
                      <a:pt x="1022361" y="491119"/>
                    </a:lnTo>
                    <a:lnTo>
                      <a:pt x="1039869" y="501493"/>
                    </a:lnTo>
                    <a:lnTo>
                      <a:pt x="1050901" y="529210"/>
                    </a:lnTo>
                    <a:lnTo>
                      <a:pt x="1079415" y="557971"/>
                    </a:lnTo>
                    <a:lnTo>
                      <a:pt x="1105787" y="556132"/>
                    </a:lnTo>
                    <a:lnTo>
                      <a:pt x="1137704" y="579157"/>
                    </a:lnTo>
                    <a:lnTo>
                      <a:pt x="1156255" y="574436"/>
                    </a:lnTo>
                    <a:lnTo>
                      <a:pt x="1161991" y="580090"/>
                    </a:lnTo>
                    <a:lnTo>
                      <a:pt x="1170416" y="579596"/>
                    </a:lnTo>
                    <a:lnTo>
                      <a:pt x="1188802" y="571857"/>
                    </a:lnTo>
                    <a:lnTo>
                      <a:pt x="1231641" y="581050"/>
                    </a:lnTo>
                    <a:lnTo>
                      <a:pt x="1243249" y="579404"/>
                    </a:lnTo>
                    <a:lnTo>
                      <a:pt x="1248024" y="572625"/>
                    </a:lnTo>
                    <a:lnTo>
                      <a:pt x="1246762" y="559398"/>
                    </a:lnTo>
                    <a:lnTo>
                      <a:pt x="1249561" y="537498"/>
                    </a:lnTo>
                    <a:lnTo>
                      <a:pt x="1260154" y="526027"/>
                    </a:lnTo>
                    <a:lnTo>
                      <a:pt x="1265012" y="511510"/>
                    </a:lnTo>
                    <a:lnTo>
                      <a:pt x="1256147" y="499654"/>
                    </a:lnTo>
                    <a:lnTo>
                      <a:pt x="1229692" y="489555"/>
                    </a:lnTo>
                    <a:lnTo>
                      <a:pt x="1224945" y="476108"/>
                    </a:lnTo>
                    <a:lnTo>
                      <a:pt x="1245006" y="459368"/>
                    </a:lnTo>
                    <a:lnTo>
                      <a:pt x="1258809" y="422814"/>
                    </a:lnTo>
                    <a:lnTo>
                      <a:pt x="1268881" y="411754"/>
                    </a:lnTo>
                    <a:lnTo>
                      <a:pt x="1299178" y="435053"/>
                    </a:lnTo>
                    <a:lnTo>
                      <a:pt x="1322614" y="468561"/>
                    </a:lnTo>
                    <a:lnTo>
                      <a:pt x="1330875" y="486674"/>
                    </a:lnTo>
                    <a:lnTo>
                      <a:pt x="1339629" y="494632"/>
                    </a:lnTo>
                    <a:lnTo>
                      <a:pt x="1336199" y="504923"/>
                    </a:lnTo>
                    <a:lnTo>
                      <a:pt x="1317153" y="522240"/>
                    </a:lnTo>
                    <a:lnTo>
                      <a:pt x="1297147" y="520785"/>
                    </a:lnTo>
                    <a:lnTo>
                      <a:pt x="1293086" y="526054"/>
                    </a:lnTo>
                    <a:lnTo>
                      <a:pt x="1300084" y="537965"/>
                    </a:lnTo>
                    <a:lnTo>
                      <a:pt x="1320144" y="549518"/>
                    </a:lnTo>
                    <a:lnTo>
                      <a:pt x="1320995" y="574629"/>
                    </a:lnTo>
                    <a:lnTo>
                      <a:pt x="1316714" y="597077"/>
                    </a:lnTo>
                    <a:lnTo>
                      <a:pt x="1320556" y="610195"/>
                    </a:lnTo>
                    <a:lnTo>
                      <a:pt x="1341632" y="614668"/>
                    </a:lnTo>
                    <a:lnTo>
                      <a:pt x="1342757" y="603718"/>
                    </a:lnTo>
                    <a:lnTo>
                      <a:pt x="1337269" y="583136"/>
                    </a:lnTo>
                    <a:lnTo>
                      <a:pt x="1339684" y="568454"/>
                    </a:lnTo>
                    <a:lnTo>
                      <a:pt x="1346023" y="559014"/>
                    </a:lnTo>
                    <a:lnTo>
                      <a:pt x="1364849" y="552290"/>
                    </a:lnTo>
                    <a:lnTo>
                      <a:pt x="1389520" y="520017"/>
                    </a:lnTo>
                    <a:lnTo>
                      <a:pt x="1391963" y="500889"/>
                    </a:lnTo>
                    <a:lnTo>
                      <a:pt x="1389246" y="489665"/>
                    </a:lnTo>
                    <a:lnTo>
                      <a:pt x="1384498" y="489089"/>
                    </a:lnTo>
                    <a:lnTo>
                      <a:pt x="1373960" y="499298"/>
                    </a:lnTo>
                    <a:lnTo>
                      <a:pt x="1369954" y="497569"/>
                    </a:lnTo>
                    <a:lnTo>
                      <a:pt x="1368856" y="492162"/>
                    </a:lnTo>
                    <a:lnTo>
                      <a:pt x="1378571" y="457776"/>
                    </a:lnTo>
                    <a:lnTo>
                      <a:pt x="1386035" y="453962"/>
                    </a:lnTo>
                    <a:lnTo>
                      <a:pt x="1391441" y="458462"/>
                    </a:lnTo>
                    <a:lnTo>
                      <a:pt x="1395009" y="449955"/>
                    </a:lnTo>
                    <a:lnTo>
                      <a:pt x="1391771" y="442326"/>
                    </a:lnTo>
                    <a:lnTo>
                      <a:pt x="1377061" y="442271"/>
                    </a:lnTo>
                    <a:lnTo>
                      <a:pt x="1365672" y="431760"/>
                    </a:lnTo>
                    <a:lnTo>
                      <a:pt x="1352335" y="430278"/>
                    </a:lnTo>
                    <a:lnTo>
                      <a:pt x="1326209" y="413730"/>
                    </a:lnTo>
                    <a:lnTo>
                      <a:pt x="1311088" y="381320"/>
                    </a:lnTo>
                    <a:lnTo>
                      <a:pt x="1311692" y="365733"/>
                    </a:lnTo>
                    <a:lnTo>
                      <a:pt x="1316193" y="346824"/>
                    </a:lnTo>
                    <a:lnTo>
                      <a:pt x="1309716" y="323964"/>
                    </a:lnTo>
                    <a:lnTo>
                      <a:pt x="1310539" y="294930"/>
                    </a:lnTo>
                    <a:lnTo>
                      <a:pt x="1322011" y="277064"/>
                    </a:lnTo>
                    <a:lnTo>
                      <a:pt x="1334415" y="274539"/>
                    </a:lnTo>
                    <a:lnTo>
                      <a:pt x="1332823" y="253683"/>
                    </a:lnTo>
                    <a:lnTo>
                      <a:pt x="1341989" y="234363"/>
                    </a:lnTo>
                    <a:lnTo>
                      <a:pt x="1345612" y="218144"/>
                    </a:lnTo>
                    <a:lnTo>
                      <a:pt x="1344953" y="171491"/>
                    </a:lnTo>
                    <a:lnTo>
                      <a:pt x="1332329" y="125360"/>
                    </a:lnTo>
                    <a:lnTo>
                      <a:pt x="1336007" y="56423"/>
                    </a:lnTo>
                    <a:lnTo>
                      <a:pt x="1346462" y="417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6" name="Freeform: Shape 3655">
                <a:extLst>
                  <a:ext uri="{FF2B5EF4-FFF2-40B4-BE49-F238E27FC236}">
                    <a16:creationId xmlns:a16="http://schemas.microsoft.com/office/drawing/2014/main" id="{5F29F29D-585C-ED48-E55F-06106D0C956B}"/>
                  </a:ext>
                </a:extLst>
              </p:cNvPr>
              <p:cNvSpPr/>
              <p:nvPr/>
            </p:nvSpPr>
            <p:spPr>
              <a:xfrm>
                <a:off x="1000244" y="3502482"/>
                <a:ext cx="55618" cy="50242"/>
              </a:xfrm>
              <a:custGeom>
                <a:avLst/>
                <a:gdLst>
                  <a:gd name="connsiteX0" fmla="*/ 424735 w 533244"/>
                  <a:gd name="connsiteY0" fmla="*/ 42207 h 481706"/>
                  <a:gd name="connsiteX1" fmla="*/ 414114 w 533244"/>
                  <a:gd name="connsiteY1" fmla="*/ 69842 h 481706"/>
                  <a:gd name="connsiteX2" fmla="*/ 401820 w 533244"/>
                  <a:gd name="connsiteY2" fmla="*/ 90287 h 481706"/>
                  <a:gd name="connsiteX3" fmla="*/ 408242 w 533244"/>
                  <a:gd name="connsiteY3" fmla="*/ 135596 h 481706"/>
                  <a:gd name="connsiteX4" fmla="*/ 415267 w 533244"/>
                  <a:gd name="connsiteY4" fmla="*/ 167320 h 481706"/>
                  <a:gd name="connsiteX5" fmla="*/ 431019 w 533244"/>
                  <a:gd name="connsiteY5" fmla="*/ 213534 h 481706"/>
                  <a:gd name="connsiteX6" fmla="*/ 432172 w 533244"/>
                  <a:gd name="connsiteY6" fmla="*/ 228133 h 481706"/>
                  <a:gd name="connsiteX7" fmla="*/ 428906 w 533244"/>
                  <a:gd name="connsiteY7" fmla="*/ 248139 h 481706"/>
                  <a:gd name="connsiteX8" fmla="*/ 429592 w 533244"/>
                  <a:gd name="connsiteY8" fmla="*/ 259748 h 481706"/>
                  <a:gd name="connsiteX9" fmla="*/ 445043 w 533244"/>
                  <a:gd name="connsiteY9" fmla="*/ 287218 h 481706"/>
                  <a:gd name="connsiteX10" fmla="*/ 456569 w 533244"/>
                  <a:gd name="connsiteY10" fmla="*/ 300336 h 481706"/>
                  <a:gd name="connsiteX11" fmla="*/ 466284 w 533244"/>
                  <a:gd name="connsiteY11" fmla="*/ 304645 h 481706"/>
                  <a:gd name="connsiteX12" fmla="*/ 473419 w 533244"/>
                  <a:gd name="connsiteY12" fmla="*/ 300995 h 481706"/>
                  <a:gd name="connsiteX13" fmla="*/ 515928 w 533244"/>
                  <a:gd name="connsiteY13" fmla="*/ 339360 h 481706"/>
                  <a:gd name="connsiteX14" fmla="*/ 527427 w 533244"/>
                  <a:gd name="connsiteY14" fmla="*/ 340128 h 481706"/>
                  <a:gd name="connsiteX15" fmla="*/ 533245 w 533244"/>
                  <a:gd name="connsiteY15" fmla="*/ 363976 h 481706"/>
                  <a:gd name="connsiteX16" fmla="*/ 531872 w 533244"/>
                  <a:gd name="connsiteY16" fmla="*/ 374761 h 481706"/>
                  <a:gd name="connsiteX17" fmla="*/ 528250 w 533244"/>
                  <a:gd name="connsiteY17" fmla="*/ 379866 h 481706"/>
                  <a:gd name="connsiteX18" fmla="*/ 516833 w 533244"/>
                  <a:gd name="connsiteY18" fmla="*/ 369986 h 481706"/>
                  <a:gd name="connsiteX19" fmla="*/ 508354 w 533244"/>
                  <a:gd name="connsiteY19" fmla="*/ 374652 h 481706"/>
                  <a:gd name="connsiteX20" fmla="*/ 495099 w 533244"/>
                  <a:gd name="connsiteY20" fmla="*/ 365952 h 481706"/>
                  <a:gd name="connsiteX21" fmla="*/ 487607 w 533244"/>
                  <a:gd name="connsiteY21" fmla="*/ 374130 h 481706"/>
                  <a:gd name="connsiteX22" fmla="*/ 482255 w 533244"/>
                  <a:gd name="connsiteY22" fmla="*/ 389279 h 481706"/>
                  <a:gd name="connsiteX23" fmla="*/ 468589 w 533244"/>
                  <a:gd name="connsiteY23" fmla="*/ 388647 h 481706"/>
                  <a:gd name="connsiteX24" fmla="*/ 471745 w 533244"/>
                  <a:gd name="connsiteY24" fmla="*/ 413868 h 481706"/>
                  <a:gd name="connsiteX25" fmla="*/ 480307 w 533244"/>
                  <a:gd name="connsiteY25" fmla="*/ 405113 h 481706"/>
                  <a:gd name="connsiteX26" fmla="*/ 494879 w 533244"/>
                  <a:gd name="connsiteY26" fmla="*/ 398582 h 481706"/>
                  <a:gd name="connsiteX27" fmla="*/ 500395 w 533244"/>
                  <a:gd name="connsiteY27" fmla="*/ 403741 h 481706"/>
                  <a:gd name="connsiteX28" fmla="*/ 505417 w 533244"/>
                  <a:gd name="connsiteY28" fmla="*/ 423637 h 481706"/>
                  <a:gd name="connsiteX29" fmla="*/ 501218 w 533244"/>
                  <a:gd name="connsiteY29" fmla="*/ 439033 h 481706"/>
                  <a:gd name="connsiteX30" fmla="*/ 479566 w 533244"/>
                  <a:gd name="connsiteY30" fmla="*/ 452151 h 481706"/>
                  <a:gd name="connsiteX31" fmla="*/ 459862 w 533244"/>
                  <a:gd name="connsiteY31" fmla="*/ 454318 h 481706"/>
                  <a:gd name="connsiteX32" fmla="*/ 432611 w 533244"/>
                  <a:gd name="connsiteY32" fmla="*/ 444686 h 481706"/>
                  <a:gd name="connsiteX33" fmla="*/ 413977 w 533244"/>
                  <a:gd name="connsiteY33" fmla="*/ 446168 h 481706"/>
                  <a:gd name="connsiteX34" fmla="*/ 408351 w 533244"/>
                  <a:gd name="connsiteY34" fmla="*/ 431321 h 481706"/>
                  <a:gd name="connsiteX35" fmla="*/ 377231 w 533244"/>
                  <a:gd name="connsiteY35" fmla="*/ 422704 h 481706"/>
                  <a:gd name="connsiteX36" fmla="*/ 371990 w 533244"/>
                  <a:gd name="connsiteY36" fmla="*/ 406403 h 481706"/>
                  <a:gd name="connsiteX37" fmla="*/ 366062 w 533244"/>
                  <a:gd name="connsiteY37" fmla="*/ 401216 h 481706"/>
                  <a:gd name="connsiteX38" fmla="*/ 359064 w 533244"/>
                  <a:gd name="connsiteY38" fmla="*/ 407199 h 481706"/>
                  <a:gd name="connsiteX39" fmla="*/ 351105 w 533244"/>
                  <a:gd name="connsiteY39" fmla="*/ 424817 h 481706"/>
                  <a:gd name="connsiteX40" fmla="*/ 340650 w 533244"/>
                  <a:gd name="connsiteY40" fmla="*/ 436371 h 481706"/>
                  <a:gd name="connsiteX41" fmla="*/ 311917 w 533244"/>
                  <a:gd name="connsiteY41" fmla="*/ 444027 h 481706"/>
                  <a:gd name="connsiteX42" fmla="*/ 288837 w 533244"/>
                  <a:gd name="connsiteY42" fmla="*/ 461536 h 481706"/>
                  <a:gd name="connsiteX43" fmla="*/ 251268 w 533244"/>
                  <a:gd name="connsiteY43" fmla="*/ 469741 h 481706"/>
                  <a:gd name="connsiteX44" fmla="*/ 240949 w 533244"/>
                  <a:gd name="connsiteY44" fmla="*/ 478798 h 481706"/>
                  <a:gd name="connsiteX45" fmla="*/ 229643 w 533244"/>
                  <a:gd name="connsiteY45" fmla="*/ 472925 h 481706"/>
                  <a:gd name="connsiteX46" fmla="*/ 184993 w 533244"/>
                  <a:gd name="connsiteY46" fmla="*/ 479978 h 481706"/>
                  <a:gd name="connsiteX47" fmla="*/ 182688 w 533244"/>
                  <a:gd name="connsiteY47" fmla="*/ 480362 h 481706"/>
                  <a:gd name="connsiteX48" fmla="*/ 174235 w 533244"/>
                  <a:gd name="connsiteY48" fmla="*/ 481707 h 481706"/>
                  <a:gd name="connsiteX49" fmla="*/ 160980 w 533244"/>
                  <a:gd name="connsiteY49" fmla="*/ 455307 h 481706"/>
                  <a:gd name="connsiteX50" fmla="*/ 158236 w 533244"/>
                  <a:gd name="connsiteY50" fmla="*/ 427726 h 481706"/>
                  <a:gd name="connsiteX51" fmla="*/ 156425 w 533244"/>
                  <a:gd name="connsiteY51" fmla="*/ 422649 h 481706"/>
                  <a:gd name="connsiteX52" fmla="*/ 138093 w 533244"/>
                  <a:gd name="connsiteY52" fmla="*/ 415295 h 481706"/>
                  <a:gd name="connsiteX53" fmla="*/ 104283 w 533244"/>
                  <a:gd name="connsiteY53" fmla="*/ 415816 h 481706"/>
                  <a:gd name="connsiteX54" fmla="*/ 76127 w 533244"/>
                  <a:gd name="connsiteY54" fmla="*/ 403220 h 481706"/>
                  <a:gd name="connsiteX55" fmla="*/ 54721 w 533244"/>
                  <a:gd name="connsiteY55" fmla="*/ 373966 h 481706"/>
                  <a:gd name="connsiteX56" fmla="*/ 50742 w 533244"/>
                  <a:gd name="connsiteY56" fmla="*/ 355002 h 481706"/>
                  <a:gd name="connsiteX57" fmla="*/ 56395 w 533244"/>
                  <a:gd name="connsiteY57" fmla="*/ 346687 h 481706"/>
                  <a:gd name="connsiteX58" fmla="*/ 86116 w 533244"/>
                  <a:gd name="connsiteY58" fmla="*/ 335984 h 481706"/>
                  <a:gd name="connsiteX59" fmla="*/ 127226 w 533244"/>
                  <a:gd name="connsiteY59" fmla="*/ 328383 h 481706"/>
                  <a:gd name="connsiteX60" fmla="*/ 156398 w 533244"/>
                  <a:gd name="connsiteY60" fmla="*/ 329810 h 481706"/>
                  <a:gd name="connsiteX61" fmla="*/ 182880 w 533244"/>
                  <a:gd name="connsiteY61" fmla="*/ 330962 h 481706"/>
                  <a:gd name="connsiteX62" fmla="*/ 204587 w 533244"/>
                  <a:gd name="connsiteY62" fmla="*/ 319683 h 481706"/>
                  <a:gd name="connsiteX63" fmla="*/ 198358 w 533244"/>
                  <a:gd name="connsiteY63" fmla="*/ 309914 h 481706"/>
                  <a:gd name="connsiteX64" fmla="*/ 156370 w 533244"/>
                  <a:gd name="connsiteY64" fmla="*/ 294985 h 481706"/>
                  <a:gd name="connsiteX65" fmla="*/ 101923 w 533244"/>
                  <a:gd name="connsiteY65" fmla="*/ 306099 h 481706"/>
                  <a:gd name="connsiteX66" fmla="*/ 88174 w 533244"/>
                  <a:gd name="connsiteY66" fmla="*/ 306209 h 481706"/>
                  <a:gd name="connsiteX67" fmla="*/ 76785 w 533244"/>
                  <a:gd name="connsiteY67" fmla="*/ 299787 h 481706"/>
                  <a:gd name="connsiteX68" fmla="*/ 47943 w 533244"/>
                  <a:gd name="connsiteY68" fmla="*/ 301297 h 481706"/>
                  <a:gd name="connsiteX69" fmla="*/ 28925 w 533244"/>
                  <a:gd name="connsiteY69" fmla="*/ 282032 h 481706"/>
                  <a:gd name="connsiteX70" fmla="*/ 24342 w 533244"/>
                  <a:gd name="connsiteY70" fmla="*/ 266718 h 481706"/>
                  <a:gd name="connsiteX71" fmla="*/ 33041 w 533244"/>
                  <a:gd name="connsiteY71" fmla="*/ 254863 h 481706"/>
                  <a:gd name="connsiteX72" fmla="*/ 76237 w 533244"/>
                  <a:gd name="connsiteY72" fmla="*/ 235131 h 481706"/>
                  <a:gd name="connsiteX73" fmla="*/ 78899 w 533244"/>
                  <a:gd name="connsiteY73" fmla="*/ 228710 h 481706"/>
                  <a:gd name="connsiteX74" fmla="*/ 31504 w 533244"/>
                  <a:gd name="connsiteY74" fmla="*/ 228984 h 481706"/>
                  <a:gd name="connsiteX75" fmla="*/ 28266 w 533244"/>
                  <a:gd name="connsiteY75" fmla="*/ 223852 h 481706"/>
                  <a:gd name="connsiteX76" fmla="*/ 30132 w 533244"/>
                  <a:gd name="connsiteY76" fmla="*/ 211311 h 481706"/>
                  <a:gd name="connsiteX77" fmla="*/ 4967 w 533244"/>
                  <a:gd name="connsiteY77" fmla="*/ 207167 h 481706"/>
                  <a:gd name="connsiteX78" fmla="*/ 1427 w 533244"/>
                  <a:gd name="connsiteY78" fmla="*/ 202996 h 481706"/>
                  <a:gd name="connsiteX79" fmla="*/ 0 w 533244"/>
                  <a:gd name="connsiteY79" fmla="*/ 195120 h 481706"/>
                  <a:gd name="connsiteX80" fmla="*/ 4418 w 533244"/>
                  <a:gd name="connsiteY80" fmla="*/ 175415 h 481706"/>
                  <a:gd name="connsiteX81" fmla="*/ 22201 w 533244"/>
                  <a:gd name="connsiteY81" fmla="*/ 148933 h 481706"/>
                  <a:gd name="connsiteX82" fmla="*/ 22256 w 533244"/>
                  <a:gd name="connsiteY82" fmla="*/ 141716 h 481706"/>
                  <a:gd name="connsiteX83" fmla="*/ 19183 w 533244"/>
                  <a:gd name="connsiteY83" fmla="*/ 131287 h 481706"/>
                  <a:gd name="connsiteX84" fmla="*/ 21954 w 533244"/>
                  <a:gd name="connsiteY84" fmla="*/ 119843 h 481706"/>
                  <a:gd name="connsiteX85" fmla="*/ 57328 w 533244"/>
                  <a:gd name="connsiteY85" fmla="*/ 80106 h 481706"/>
                  <a:gd name="connsiteX86" fmla="*/ 129668 w 533244"/>
                  <a:gd name="connsiteY86" fmla="*/ 41878 h 481706"/>
                  <a:gd name="connsiteX87" fmla="*/ 139410 w 533244"/>
                  <a:gd name="connsiteY87" fmla="*/ 45610 h 481706"/>
                  <a:gd name="connsiteX88" fmla="*/ 146381 w 533244"/>
                  <a:gd name="connsiteY88" fmla="*/ 62817 h 481706"/>
                  <a:gd name="connsiteX89" fmla="*/ 146299 w 533244"/>
                  <a:gd name="connsiteY89" fmla="*/ 83509 h 481706"/>
                  <a:gd name="connsiteX90" fmla="*/ 140179 w 533244"/>
                  <a:gd name="connsiteY90" fmla="*/ 102060 h 481706"/>
                  <a:gd name="connsiteX91" fmla="*/ 139849 w 533244"/>
                  <a:gd name="connsiteY91" fmla="*/ 111995 h 481706"/>
                  <a:gd name="connsiteX92" fmla="*/ 156370 w 533244"/>
                  <a:gd name="connsiteY92" fmla="*/ 108372 h 481706"/>
                  <a:gd name="connsiteX93" fmla="*/ 158675 w 533244"/>
                  <a:gd name="connsiteY93" fmla="*/ 107741 h 481706"/>
                  <a:gd name="connsiteX94" fmla="*/ 173165 w 533244"/>
                  <a:gd name="connsiteY94" fmla="*/ 80627 h 481706"/>
                  <a:gd name="connsiteX95" fmla="*/ 182606 w 533244"/>
                  <a:gd name="connsiteY95" fmla="*/ 82192 h 481706"/>
                  <a:gd name="connsiteX96" fmla="*/ 184911 w 533244"/>
                  <a:gd name="connsiteY96" fmla="*/ 83015 h 481706"/>
                  <a:gd name="connsiteX97" fmla="*/ 225334 w 533244"/>
                  <a:gd name="connsiteY97" fmla="*/ 102198 h 481706"/>
                  <a:gd name="connsiteX98" fmla="*/ 227996 w 533244"/>
                  <a:gd name="connsiteY98" fmla="*/ 112626 h 481706"/>
                  <a:gd name="connsiteX99" fmla="*/ 225993 w 533244"/>
                  <a:gd name="connsiteY99" fmla="*/ 129476 h 481706"/>
                  <a:gd name="connsiteX100" fmla="*/ 230494 w 533244"/>
                  <a:gd name="connsiteY100" fmla="*/ 135212 h 481706"/>
                  <a:gd name="connsiteX101" fmla="*/ 246081 w 533244"/>
                  <a:gd name="connsiteY101" fmla="*/ 121929 h 481706"/>
                  <a:gd name="connsiteX102" fmla="*/ 264687 w 533244"/>
                  <a:gd name="connsiteY102" fmla="*/ 120777 h 481706"/>
                  <a:gd name="connsiteX103" fmla="*/ 259418 w 533244"/>
                  <a:gd name="connsiteY103" fmla="*/ 99838 h 481706"/>
                  <a:gd name="connsiteX104" fmla="*/ 249676 w 533244"/>
                  <a:gd name="connsiteY104" fmla="*/ 83811 h 481706"/>
                  <a:gd name="connsiteX105" fmla="*/ 249402 w 533244"/>
                  <a:gd name="connsiteY105" fmla="*/ 78542 h 481706"/>
                  <a:gd name="connsiteX106" fmla="*/ 274512 w 533244"/>
                  <a:gd name="connsiteY106" fmla="*/ 84003 h 481706"/>
                  <a:gd name="connsiteX107" fmla="*/ 291115 w 533244"/>
                  <a:gd name="connsiteY107" fmla="*/ 99947 h 481706"/>
                  <a:gd name="connsiteX108" fmla="*/ 303821 w 533244"/>
                  <a:gd name="connsiteY108" fmla="*/ 120777 h 481706"/>
                  <a:gd name="connsiteX109" fmla="*/ 318860 w 533244"/>
                  <a:gd name="connsiteY109" fmla="*/ 189713 h 481706"/>
                  <a:gd name="connsiteX110" fmla="*/ 329343 w 533244"/>
                  <a:gd name="connsiteY110" fmla="*/ 203078 h 481706"/>
                  <a:gd name="connsiteX111" fmla="*/ 340842 w 533244"/>
                  <a:gd name="connsiteY111" fmla="*/ 179999 h 481706"/>
                  <a:gd name="connsiteX112" fmla="*/ 332636 w 533244"/>
                  <a:gd name="connsiteY112" fmla="*/ 153653 h 481706"/>
                  <a:gd name="connsiteX113" fmla="*/ 320095 w 533244"/>
                  <a:gd name="connsiteY113" fmla="*/ 74974 h 481706"/>
                  <a:gd name="connsiteX114" fmla="*/ 319738 w 533244"/>
                  <a:gd name="connsiteY114" fmla="*/ 61198 h 481706"/>
                  <a:gd name="connsiteX115" fmla="*/ 322757 w 533244"/>
                  <a:gd name="connsiteY115" fmla="*/ 50221 h 481706"/>
                  <a:gd name="connsiteX116" fmla="*/ 334448 w 533244"/>
                  <a:gd name="connsiteY116" fmla="*/ 44540 h 481706"/>
                  <a:gd name="connsiteX117" fmla="*/ 349706 w 533244"/>
                  <a:gd name="connsiteY117" fmla="*/ 52965 h 481706"/>
                  <a:gd name="connsiteX118" fmla="*/ 359366 w 533244"/>
                  <a:gd name="connsiteY118" fmla="*/ 47559 h 481706"/>
                  <a:gd name="connsiteX119" fmla="*/ 377176 w 533244"/>
                  <a:gd name="connsiteY119" fmla="*/ 59688 h 481706"/>
                  <a:gd name="connsiteX120" fmla="*/ 378301 w 533244"/>
                  <a:gd name="connsiteY120" fmla="*/ 56258 h 481706"/>
                  <a:gd name="connsiteX121" fmla="*/ 377313 w 533244"/>
                  <a:gd name="connsiteY121" fmla="*/ 49891 h 481706"/>
                  <a:gd name="connsiteX122" fmla="*/ 363290 w 533244"/>
                  <a:gd name="connsiteY122" fmla="*/ 16411 h 481706"/>
                  <a:gd name="connsiteX123" fmla="*/ 374322 w 533244"/>
                  <a:gd name="connsiteY123" fmla="*/ 3266 h 481706"/>
                  <a:gd name="connsiteX124" fmla="*/ 406732 w 533244"/>
                  <a:gd name="connsiteY124" fmla="*/ 0 h 481706"/>
                  <a:gd name="connsiteX125" fmla="*/ 419850 w 533244"/>
                  <a:gd name="connsiteY125" fmla="*/ 9084 h 481706"/>
                  <a:gd name="connsiteX126" fmla="*/ 425915 w 533244"/>
                  <a:gd name="connsiteY126" fmla="*/ 22229 h 481706"/>
                  <a:gd name="connsiteX127" fmla="*/ 424625 w 533244"/>
                  <a:gd name="connsiteY127" fmla="*/ 42152 h 48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533244" h="481706">
                    <a:moveTo>
                      <a:pt x="424735" y="42207"/>
                    </a:moveTo>
                    <a:lnTo>
                      <a:pt x="414114" y="69842"/>
                    </a:lnTo>
                    <a:lnTo>
                      <a:pt x="401820" y="90287"/>
                    </a:lnTo>
                    <a:lnTo>
                      <a:pt x="408242" y="135596"/>
                    </a:lnTo>
                    <a:lnTo>
                      <a:pt x="415267" y="167320"/>
                    </a:lnTo>
                    <a:lnTo>
                      <a:pt x="431019" y="213534"/>
                    </a:lnTo>
                    <a:lnTo>
                      <a:pt x="432172" y="228133"/>
                    </a:lnTo>
                    <a:lnTo>
                      <a:pt x="428906" y="248139"/>
                    </a:lnTo>
                    <a:lnTo>
                      <a:pt x="429592" y="259748"/>
                    </a:lnTo>
                    <a:lnTo>
                      <a:pt x="445043" y="287218"/>
                    </a:lnTo>
                    <a:lnTo>
                      <a:pt x="456569" y="300336"/>
                    </a:lnTo>
                    <a:lnTo>
                      <a:pt x="466284" y="304645"/>
                    </a:lnTo>
                    <a:lnTo>
                      <a:pt x="473419" y="300995"/>
                    </a:lnTo>
                    <a:lnTo>
                      <a:pt x="515928" y="339360"/>
                    </a:lnTo>
                    <a:lnTo>
                      <a:pt x="527427" y="340128"/>
                    </a:lnTo>
                    <a:lnTo>
                      <a:pt x="533245" y="363976"/>
                    </a:lnTo>
                    <a:lnTo>
                      <a:pt x="531872" y="374761"/>
                    </a:lnTo>
                    <a:lnTo>
                      <a:pt x="528250" y="379866"/>
                    </a:lnTo>
                    <a:lnTo>
                      <a:pt x="516833" y="369986"/>
                    </a:lnTo>
                    <a:lnTo>
                      <a:pt x="508354" y="374652"/>
                    </a:lnTo>
                    <a:lnTo>
                      <a:pt x="495099" y="365952"/>
                    </a:lnTo>
                    <a:lnTo>
                      <a:pt x="487607" y="374130"/>
                    </a:lnTo>
                    <a:lnTo>
                      <a:pt x="482255" y="389279"/>
                    </a:lnTo>
                    <a:lnTo>
                      <a:pt x="468589" y="388647"/>
                    </a:lnTo>
                    <a:lnTo>
                      <a:pt x="471745" y="413868"/>
                    </a:lnTo>
                    <a:lnTo>
                      <a:pt x="480307" y="405113"/>
                    </a:lnTo>
                    <a:lnTo>
                      <a:pt x="494879" y="398582"/>
                    </a:lnTo>
                    <a:lnTo>
                      <a:pt x="500395" y="403741"/>
                    </a:lnTo>
                    <a:lnTo>
                      <a:pt x="505417" y="423637"/>
                    </a:lnTo>
                    <a:lnTo>
                      <a:pt x="501218" y="439033"/>
                    </a:lnTo>
                    <a:lnTo>
                      <a:pt x="479566" y="452151"/>
                    </a:lnTo>
                    <a:lnTo>
                      <a:pt x="459862" y="454318"/>
                    </a:lnTo>
                    <a:lnTo>
                      <a:pt x="432611" y="444686"/>
                    </a:lnTo>
                    <a:lnTo>
                      <a:pt x="413977" y="446168"/>
                    </a:lnTo>
                    <a:lnTo>
                      <a:pt x="408351" y="431321"/>
                    </a:lnTo>
                    <a:lnTo>
                      <a:pt x="377231" y="422704"/>
                    </a:lnTo>
                    <a:lnTo>
                      <a:pt x="371990" y="406403"/>
                    </a:lnTo>
                    <a:lnTo>
                      <a:pt x="366062" y="401216"/>
                    </a:lnTo>
                    <a:lnTo>
                      <a:pt x="359064" y="407199"/>
                    </a:lnTo>
                    <a:lnTo>
                      <a:pt x="351105" y="424817"/>
                    </a:lnTo>
                    <a:lnTo>
                      <a:pt x="340650" y="436371"/>
                    </a:lnTo>
                    <a:lnTo>
                      <a:pt x="311917" y="444027"/>
                    </a:lnTo>
                    <a:lnTo>
                      <a:pt x="288837" y="461536"/>
                    </a:lnTo>
                    <a:lnTo>
                      <a:pt x="251268" y="469741"/>
                    </a:lnTo>
                    <a:lnTo>
                      <a:pt x="240949" y="478798"/>
                    </a:lnTo>
                    <a:lnTo>
                      <a:pt x="229643" y="472925"/>
                    </a:lnTo>
                    <a:lnTo>
                      <a:pt x="184993" y="479978"/>
                    </a:lnTo>
                    <a:lnTo>
                      <a:pt x="182688" y="480362"/>
                    </a:lnTo>
                    <a:lnTo>
                      <a:pt x="174235" y="481707"/>
                    </a:lnTo>
                    <a:lnTo>
                      <a:pt x="160980" y="455307"/>
                    </a:lnTo>
                    <a:lnTo>
                      <a:pt x="158236" y="427726"/>
                    </a:lnTo>
                    <a:lnTo>
                      <a:pt x="156425" y="422649"/>
                    </a:lnTo>
                    <a:lnTo>
                      <a:pt x="138093" y="415295"/>
                    </a:lnTo>
                    <a:lnTo>
                      <a:pt x="104283" y="415816"/>
                    </a:lnTo>
                    <a:lnTo>
                      <a:pt x="76127" y="403220"/>
                    </a:lnTo>
                    <a:lnTo>
                      <a:pt x="54721" y="373966"/>
                    </a:lnTo>
                    <a:lnTo>
                      <a:pt x="50742" y="355002"/>
                    </a:lnTo>
                    <a:lnTo>
                      <a:pt x="56395" y="346687"/>
                    </a:lnTo>
                    <a:lnTo>
                      <a:pt x="86116" y="335984"/>
                    </a:lnTo>
                    <a:lnTo>
                      <a:pt x="127226" y="328383"/>
                    </a:lnTo>
                    <a:lnTo>
                      <a:pt x="156398" y="329810"/>
                    </a:lnTo>
                    <a:lnTo>
                      <a:pt x="182880" y="330962"/>
                    </a:lnTo>
                    <a:lnTo>
                      <a:pt x="204587" y="319683"/>
                    </a:lnTo>
                    <a:lnTo>
                      <a:pt x="198358" y="309914"/>
                    </a:lnTo>
                    <a:lnTo>
                      <a:pt x="156370" y="294985"/>
                    </a:lnTo>
                    <a:lnTo>
                      <a:pt x="101923" y="306099"/>
                    </a:lnTo>
                    <a:lnTo>
                      <a:pt x="88174" y="306209"/>
                    </a:lnTo>
                    <a:lnTo>
                      <a:pt x="76785" y="299787"/>
                    </a:lnTo>
                    <a:lnTo>
                      <a:pt x="47943" y="301297"/>
                    </a:lnTo>
                    <a:lnTo>
                      <a:pt x="28925" y="282032"/>
                    </a:lnTo>
                    <a:lnTo>
                      <a:pt x="24342" y="266718"/>
                    </a:lnTo>
                    <a:lnTo>
                      <a:pt x="33041" y="254863"/>
                    </a:lnTo>
                    <a:lnTo>
                      <a:pt x="76237" y="235131"/>
                    </a:lnTo>
                    <a:lnTo>
                      <a:pt x="78899" y="228710"/>
                    </a:lnTo>
                    <a:lnTo>
                      <a:pt x="31504" y="228984"/>
                    </a:lnTo>
                    <a:lnTo>
                      <a:pt x="28266" y="223852"/>
                    </a:lnTo>
                    <a:lnTo>
                      <a:pt x="30132" y="211311"/>
                    </a:lnTo>
                    <a:lnTo>
                      <a:pt x="4967" y="207167"/>
                    </a:lnTo>
                    <a:lnTo>
                      <a:pt x="1427" y="202996"/>
                    </a:lnTo>
                    <a:lnTo>
                      <a:pt x="0" y="195120"/>
                    </a:lnTo>
                    <a:lnTo>
                      <a:pt x="4418" y="175415"/>
                    </a:lnTo>
                    <a:lnTo>
                      <a:pt x="22201" y="148933"/>
                    </a:lnTo>
                    <a:lnTo>
                      <a:pt x="22256" y="141716"/>
                    </a:lnTo>
                    <a:lnTo>
                      <a:pt x="19183" y="131287"/>
                    </a:lnTo>
                    <a:lnTo>
                      <a:pt x="21954" y="119843"/>
                    </a:lnTo>
                    <a:lnTo>
                      <a:pt x="57328" y="80106"/>
                    </a:lnTo>
                    <a:lnTo>
                      <a:pt x="129668" y="41878"/>
                    </a:lnTo>
                    <a:lnTo>
                      <a:pt x="139410" y="45610"/>
                    </a:lnTo>
                    <a:lnTo>
                      <a:pt x="146381" y="62817"/>
                    </a:lnTo>
                    <a:lnTo>
                      <a:pt x="146299" y="83509"/>
                    </a:lnTo>
                    <a:lnTo>
                      <a:pt x="140179" y="102060"/>
                    </a:lnTo>
                    <a:lnTo>
                      <a:pt x="139849" y="111995"/>
                    </a:lnTo>
                    <a:lnTo>
                      <a:pt x="156370" y="108372"/>
                    </a:lnTo>
                    <a:lnTo>
                      <a:pt x="158675" y="107741"/>
                    </a:lnTo>
                    <a:lnTo>
                      <a:pt x="173165" y="80627"/>
                    </a:lnTo>
                    <a:lnTo>
                      <a:pt x="182606" y="82192"/>
                    </a:lnTo>
                    <a:lnTo>
                      <a:pt x="184911" y="83015"/>
                    </a:lnTo>
                    <a:lnTo>
                      <a:pt x="225334" y="102198"/>
                    </a:lnTo>
                    <a:lnTo>
                      <a:pt x="227996" y="112626"/>
                    </a:lnTo>
                    <a:lnTo>
                      <a:pt x="225993" y="129476"/>
                    </a:lnTo>
                    <a:lnTo>
                      <a:pt x="230494" y="135212"/>
                    </a:lnTo>
                    <a:lnTo>
                      <a:pt x="246081" y="121929"/>
                    </a:lnTo>
                    <a:lnTo>
                      <a:pt x="264687" y="120777"/>
                    </a:lnTo>
                    <a:lnTo>
                      <a:pt x="259418" y="99838"/>
                    </a:lnTo>
                    <a:lnTo>
                      <a:pt x="249676" y="83811"/>
                    </a:lnTo>
                    <a:lnTo>
                      <a:pt x="249402" y="78542"/>
                    </a:lnTo>
                    <a:lnTo>
                      <a:pt x="274512" y="84003"/>
                    </a:lnTo>
                    <a:lnTo>
                      <a:pt x="291115" y="99947"/>
                    </a:lnTo>
                    <a:lnTo>
                      <a:pt x="303821" y="120777"/>
                    </a:lnTo>
                    <a:lnTo>
                      <a:pt x="318860" y="189713"/>
                    </a:lnTo>
                    <a:lnTo>
                      <a:pt x="329343" y="203078"/>
                    </a:lnTo>
                    <a:lnTo>
                      <a:pt x="340842" y="179999"/>
                    </a:lnTo>
                    <a:lnTo>
                      <a:pt x="332636" y="153653"/>
                    </a:lnTo>
                    <a:lnTo>
                      <a:pt x="320095" y="74974"/>
                    </a:lnTo>
                    <a:lnTo>
                      <a:pt x="319738" y="61198"/>
                    </a:lnTo>
                    <a:lnTo>
                      <a:pt x="322757" y="50221"/>
                    </a:lnTo>
                    <a:lnTo>
                      <a:pt x="334448" y="44540"/>
                    </a:lnTo>
                    <a:lnTo>
                      <a:pt x="349706" y="52965"/>
                    </a:lnTo>
                    <a:lnTo>
                      <a:pt x="359366" y="47559"/>
                    </a:lnTo>
                    <a:lnTo>
                      <a:pt x="377176" y="59688"/>
                    </a:lnTo>
                    <a:lnTo>
                      <a:pt x="378301" y="56258"/>
                    </a:lnTo>
                    <a:lnTo>
                      <a:pt x="377313" y="49891"/>
                    </a:lnTo>
                    <a:lnTo>
                      <a:pt x="363290" y="16411"/>
                    </a:lnTo>
                    <a:lnTo>
                      <a:pt x="374322" y="3266"/>
                    </a:lnTo>
                    <a:lnTo>
                      <a:pt x="406732" y="0"/>
                    </a:lnTo>
                    <a:lnTo>
                      <a:pt x="419850" y="9084"/>
                    </a:lnTo>
                    <a:lnTo>
                      <a:pt x="425915" y="22229"/>
                    </a:lnTo>
                    <a:lnTo>
                      <a:pt x="424625" y="421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7" name="Freeform: Shape 3656">
                <a:extLst>
                  <a:ext uri="{FF2B5EF4-FFF2-40B4-BE49-F238E27FC236}">
                    <a16:creationId xmlns:a16="http://schemas.microsoft.com/office/drawing/2014/main" id="{38AB5610-BB09-CC48-49FE-23D4573D39D6}"/>
                  </a:ext>
                </a:extLst>
              </p:cNvPr>
              <p:cNvSpPr/>
              <p:nvPr/>
            </p:nvSpPr>
            <p:spPr>
              <a:xfrm>
                <a:off x="1068631" y="3462064"/>
                <a:ext cx="53231" cy="32201"/>
              </a:xfrm>
              <a:custGeom>
                <a:avLst/>
                <a:gdLst>
                  <a:gd name="connsiteX0" fmla="*/ 27 w 510356"/>
                  <a:gd name="connsiteY0" fmla="*/ 23628 h 308733"/>
                  <a:gd name="connsiteX1" fmla="*/ 3732 w 510356"/>
                  <a:gd name="connsiteY1" fmla="*/ 11389 h 308733"/>
                  <a:gd name="connsiteX2" fmla="*/ 14408 w 510356"/>
                  <a:gd name="connsiteY2" fmla="*/ 1948 h 308733"/>
                  <a:gd name="connsiteX3" fmla="*/ 36582 w 510356"/>
                  <a:gd name="connsiteY3" fmla="*/ 0 h 308733"/>
                  <a:gd name="connsiteX4" fmla="*/ 89217 w 510356"/>
                  <a:gd name="connsiteY4" fmla="*/ 19896 h 308733"/>
                  <a:gd name="connsiteX5" fmla="*/ 100057 w 510356"/>
                  <a:gd name="connsiteY5" fmla="*/ 40753 h 308733"/>
                  <a:gd name="connsiteX6" fmla="*/ 102225 w 510356"/>
                  <a:gd name="connsiteY6" fmla="*/ 64244 h 308733"/>
                  <a:gd name="connsiteX7" fmla="*/ 112763 w 510356"/>
                  <a:gd name="connsiteY7" fmla="*/ 55846 h 308733"/>
                  <a:gd name="connsiteX8" fmla="*/ 163835 w 510356"/>
                  <a:gd name="connsiteY8" fmla="*/ 51154 h 308733"/>
                  <a:gd name="connsiteX9" fmla="*/ 173412 w 510356"/>
                  <a:gd name="connsiteY9" fmla="*/ 63476 h 308733"/>
                  <a:gd name="connsiteX10" fmla="*/ 174812 w 510356"/>
                  <a:gd name="connsiteY10" fmla="*/ 78761 h 308733"/>
                  <a:gd name="connsiteX11" fmla="*/ 189302 w 510356"/>
                  <a:gd name="connsiteY11" fmla="*/ 85430 h 308733"/>
                  <a:gd name="connsiteX12" fmla="*/ 190921 w 510356"/>
                  <a:gd name="connsiteY12" fmla="*/ 86171 h 308733"/>
                  <a:gd name="connsiteX13" fmla="*/ 216882 w 510356"/>
                  <a:gd name="connsiteY13" fmla="*/ 98054 h 308733"/>
                  <a:gd name="connsiteX14" fmla="*/ 217541 w 510356"/>
                  <a:gd name="connsiteY14" fmla="*/ 102829 h 308733"/>
                  <a:gd name="connsiteX15" fmla="*/ 213918 w 510356"/>
                  <a:gd name="connsiteY15" fmla="*/ 109058 h 308733"/>
                  <a:gd name="connsiteX16" fmla="*/ 190921 w 510356"/>
                  <a:gd name="connsiteY16" fmla="*/ 114410 h 308733"/>
                  <a:gd name="connsiteX17" fmla="*/ 189302 w 510356"/>
                  <a:gd name="connsiteY17" fmla="*/ 115096 h 308733"/>
                  <a:gd name="connsiteX18" fmla="*/ 187298 w 510356"/>
                  <a:gd name="connsiteY18" fmla="*/ 117346 h 308733"/>
                  <a:gd name="connsiteX19" fmla="*/ 187051 w 510356"/>
                  <a:gd name="connsiteY19" fmla="*/ 128762 h 308733"/>
                  <a:gd name="connsiteX20" fmla="*/ 189302 w 510356"/>
                  <a:gd name="connsiteY20" fmla="*/ 135047 h 308733"/>
                  <a:gd name="connsiteX21" fmla="*/ 190921 w 510356"/>
                  <a:gd name="connsiteY21" fmla="*/ 136886 h 308733"/>
                  <a:gd name="connsiteX22" fmla="*/ 198934 w 510356"/>
                  <a:gd name="connsiteY22" fmla="*/ 134800 h 308733"/>
                  <a:gd name="connsiteX23" fmla="*/ 207167 w 510356"/>
                  <a:gd name="connsiteY23" fmla="*/ 153022 h 308733"/>
                  <a:gd name="connsiteX24" fmla="*/ 217842 w 510356"/>
                  <a:gd name="connsiteY24" fmla="*/ 157550 h 308733"/>
                  <a:gd name="connsiteX25" fmla="*/ 220916 w 510356"/>
                  <a:gd name="connsiteY25" fmla="*/ 182139 h 308733"/>
                  <a:gd name="connsiteX26" fmla="*/ 228627 w 510356"/>
                  <a:gd name="connsiteY26" fmla="*/ 194708 h 308733"/>
                  <a:gd name="connsiteX27" fmla="*/ 231564 w 510356"/>
                  <a:gd name="connsiteY27" fmla="*/ 193747 h 308733"/>
                  <a:gd name="connsiteX28" fmla="*/ 236751 w 510356"/>
                  <a:gd name="connsiteY28" fmla="*/ 176047 h 308733"/>
                  <a:gd name="connsiteX29" fmla="*/ 251652 w 510356"/>
                  <a:gd name="connsiteY29" fmla="*/ 191662 h 308733"/>
                  <a:gd name="connsiteX30" fmla="*/ 278766 w 510356"/>
                  <a:gd name="connsiteY30" fmla="*/ 180328 h 308733"/>
                  <a:gd name="connsiteX31" fmla="*/ 311395 w 510356"/>
                  <a:gd name="connsiteY31" fmla="*/ 201624 h 308733"/>
                  <a:gd name="connsiteX32" fmla="*/ 319217 w 510356"/>
                  <a:gd name="connsiteY32" fmla="*/ 187737 h 308733"/>
                  <a:gd name="connsiteX33" fmla="*/ 376051 w 510356"/>
                  <a:gd name="connsiteY33" fmla="*/ 155958 h 308733"/>
                  <a:gd name="connsiteX34" fmla="*/ 395316 w 510356"/>
                  <a:gd name="connsiteY34" fmla="*/ 162106 h 308733"/>
                  <a:gd name="connsiteX35" fmla="*/ 424104 w 510356"/>
                  <a:gd name="connsiteY35" fmla="*/ 152610 h 308733"/>
                  <a:gd name="connsiteX36" fmla="*/ 446662 w 510356"/>
                  <a:gd name="connsiteY36" fmla="*/ 155684 h 308733"/>
                  <a:gd name="connsiteX37" fmla="*/ 484725 w 510356"/>
                  <a:gd name="connsiteY37" fmla="*/ 175855 h 308733"/>
                  <a:gd name="connsiteX38" fmla="*/ 502014 w 510356"/>
                  <a:gd name="connsiteY38" fmla="*/ 195229 h 308733"/>
                  <a:gd name="connsiteX39" fmla="*/ 507036 w 510356"/>
                  <a:gd name="connsiteY39" fmla="*/ 211723 h 308733"/>
                  <a:gd name="connsiteX40" fmla="*/ 510357 w 510356"/>
                  <a:gd name="connsiteY40" fmla="*/ 255961 h 308733"/>
                  <a:gd name="connsiteX41" fmla="*/ 485027 w 510356"/>
                  <a:gd name="connsiteY41" fmla="*/ 293777 h 308733"/>
                  <a:gd name="connsiteX42" fmla="*/ 456541 w 510356"/>
                  <a:gd name="connsiteY42" fmla="*/ 296933 h 308733"/>
                  <a:gd name="connsiteX43" fmla="*/ 440185 w 510356"/>
                  <a:gd name="connsiteY43" fmla="*/ 306648 h 308733"/>
                  <a:gd name="connsiteX44" fmla="*/ 409065 w 510356"/>
                  <a:gd name="connsiteY44" fmla="*/ 299046 h 308733"/>
                  <a:gd name="connsiteX45" fmla="*/ 402918 w 510356"/>
                  <a:gd name="connsiteY45" fmla="*/ 289661 h 308733"/>
                  <a:gd name="connsiteX46" fmla="*/ 398280 w 510356"/>
                  <a:gd name="connsiteY46" fmla="*/ 270588 h 308733"/>
                  <a:gd name="connsiteX47" fmla="*/ 391886 w 510356"/>
                  <a:gd name="connsiteY47" fmla="*/ 265044 h 308733"/>
                  <a:gd name="connsiteX48" fmla="*/ 390514 w 510356"/>
                  <a:gd name="connsiteY48" fmla="*/ 268420 h 308733"/>
                  <a:gd name="connsiteX49" fmla="*/ 392105 w 510356"/>
                  <a:gd name="connsiteY49" fmla="*/ 281400 h 308733"/>
                  <a:gd name="connsiteX50" fmla="*/ 390047 w 510356"/>
                  <a:gd name="connsiteY50" fmla="*/ 291060 h 308733"/>
                  <a:gd name="connsiteX51" fmla="*/ 377780 w 510356"/>
                  <a:gd name="connsiteY51" fmla="*/ 300501 h 308733"/>
                  <a:gd name="connsiteX52" fmla="*/ 352450 w 510356"/>
                  <a:gd name="connsiteY52" fmla="*/ 303190 h 308733"/>
                  <a:gd name="connsiteX53" fmla="*/ 345150 w 510356"/>
                  <a:gd name="connsiteY53" fmla="*/ 295616 h 308733"/>
                  <a:gd name="connsiteX54" fmla="*/ 338619 w 510356"/>
                  <a:gd name="connsiteY54" fmla="*/ 303355 h 308733"/>
                  <a:gd name="connsiteX55" fmla="*/ 331154 w 510356"/>
                  <a:gd name="connsiteY55" fmla="*/ 294161 h 308733"/>
                  <a:gd name="connsiteX56" fmla="*/ 321659 w 510356"/>
                  <a:gd name="connsiteY56" fmla="*/ 305934 h 308733"/>
                  <a:gd name="connsiteX57" fmla="*/ 308926 w 510356"/>
                  <a:gd name="connsiteY57" fmla="*/ 300007 h 308733"/>
                  <a:gd name="connsiteX58" fmla="*/ 290786 w 510356"/>
                  <a:gd name="connsiteY58" fmla="*/ 308734 h 308733"/>
                  <a:gd name="connsiteX59" fmla="*/ 246081 w 510356"/>
                  <a:gd name="connsiteY59" fmla="*/ 304013 h 308733"/>
                  <a:gd name="connsiteX60" fmla="*/ 242459 w 510356"/>
                  <a:gd name="connsiteY60" fmla="*/ 298525 h 308733"/>
                  <a:gd name="connsiteX61" fmla="*/ 242239 w 510356"/>
                  <a:gd name="connsiteY61" fmla="*/ 277778 h 308733"/>
                  <a:gd name="connsiteX62" fmla="*/ 239632 w 510356"/>
                  <a:gd name="connsiteY62" fmla="*/ 269984 h 308733"/>
                  <a:gd name="connsiteX63" fmla="*/ 211201 w 510356"/>
                  <a:gd name="connsiteY63" fmla="*/ 298552 h 308733"/>
                  <a:gd name="connsiteX64" fmla="*/ 190948 w 510356"/>
                  <a:gd name="connsiteY64" fmla="*/ 293914 h 308733"/>
                  <a:gd name="connsiteX65" fmla="*/ 189329 w 510356"/>
                  <a:gd name="connsiteY65" fmla="*/ 293420 h 308733"/>
                  <a:gd name="connsiteX66" fmla="*/ 183868 w 510356"/>
                  <a:gd name="connsiteY66" fmla="*/ 291746 h 308733"/>
                  <a:gd name="connsiteX67" fmla="*/ 174812 w 510356"/>
                  <a:gd name="connsiteY67" fmla="*/ 283184 h 308733"/>
                  <a:gd name="connsiteX68" fmla="*/ 173000 w 510356"/>
                  <a:gd name="connsiteY68" fmla="*/ 281483 h 308733"/>
                  <a:gd name="connsiteX69" fmla="*/ 171272 w 510356"/>
                  <a:gd name="connsiteY69" fmla="*/ 270752 h 308733"/>
                  <a:gd name="connsiteX70" fmla="*/ 165481 w 510356"/>
                  <a:gd name="connsiteY70" fmla="*/ 277092 h 308733"/>
                  <a:gd name="connsiteX71" fmla="*/ 162051 w 510356"/>
                  <a:gd name="connsiteY71" fmla="*/ 288069 h 308733"/>
                  <a:gd name="connsiteX72" fmla="*/ 152638 w 510356"/>
                  <a:gd name="connsiteY72" fmla="*/ 287163 h 308733"/>
                  <a:gd name="connsiteX73" fmla="*/ 139795 w 510356"/>
                  <a:gd name="connsiteY73" fmla="*/ 274347 h 308733"/>
                  <a:gd name="connsiteX74" fmla="*/ 135019 w 510356"/>
                  <a:gd name="connsiteY74" fmla="*/ 246740 h 308733"/>
                  <a:gd name="connsiteX75" fmla="*/ 135266 w 510356"/>
                  <a:gd name="connsiteY75" fmla="*/ 234500 h 308733"/>
                  <a:gd name="connsiteX76" fmla="*/ 131809 w 510356"/>
                  <a:gd name="connsiteY76" fmla="*/ 229204 h 308733"/>
                  <a:gd name="connsiteX77" fmla="*/ 127555 w 510356"/>
                  <a:gd name="connsiteY77" fmla="*/ 217458 h 308733"/>
                  <a:gd name="connsiteX78" fmla="*/ 129174 w 510356"/>
                  <a:gd name="connsiteY78" fmla="*/ 199703 h 308733"/>
                  <a:gd name="connsiteX79" fmla="*/ 134992 w 510356"/>
                  <a:gd name="connsiteY79" fmla="*/ 178270 h 308733"/>
                  <a:gd name="connsiteX80" fmla="*/ 134608 w 510356"/>
                  <a:gd name="connsiteY80" fmla="*/ 158483 h 308733"/>
                  <a:gd name="connsiteX81" fmla="*/ 108619 w 510356"/>
                  <a:gd name="connsiteY81" fmla="*/ 95831 h 308733"/>
                  <a:gd name="connsiteX82" fmla="*/ 47449 w 510356"/>
                  <a:gd name="connsiteY82" fmla="*/ 100139 h 308733"/>
                  <a:gd name="connsiteX83" fmla="*/ 41905 w 510356"/>
                  <a:gd name="connsiteY83" fmla="*/ 88970 h 308733"/>
                  <a:gd name="connsiteX84" fmla="*/ 26263 w 510356"/>
                  <a:gd name="connsiteY84" fmla="*/ 79255 h 308733"/>
                  <a:gd name="connsiteX85" fmla="*/ 741 w 510356"/>
                  <a:gd name="connsiteY85" fmla="*/ 41988 h 308733"/>
                  <a:gd name="connsiteX86" fmla="*/ 0 w 510356"/>
                  <a:gd name="connsiteY86" fmla="*/ 23574 h 30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10356" h="308733">
                    <a:moveTo>
                      <a:pt x="27" y="23628"/>
                    </a:moveTo>
                    <a:lnTo>
                      <a:pt x="3732" y="11389"/>
                    </a:lnTo>
                    <a:lnTo>
                      <a:pt x="14408" y="1948"/>
                    </a:lnTo>
                    <a:lnTo>
                      <a:pt x="36582" y="0"/>
                    </a:lnTo>
                    <a:lnTo>
                      <a:pt x="89217" y="19896"/>
                    </a:lnTo>
                    <a:lnTo>
                      <a:pt x="100057" y="40753"/>
                    </a:lnTo>
                    <a:lnTo>
                      <a:pt x="102225" y="64244"/>
                    </a:lnTo>
                    <a:lnTo>
                      <a:pt x="112763" y="55846"/>
                    </a:lnTo>
                    <a:lnTo>
                      <a:pt x="163835" y="51154"/>
                    </a:lnTo>
                    <a:lnTo>
                      <a:pt x="173412" y="63476"/>
                    </a:lnTo>
                    <a:lnTo>
                      <a:pt x="174812" y="78761"/>
                    </a:lnTo>
                    <a:lnTo>
                      <a:pt x="189302" y="85430"/>
                    </a:lnTo>
                    <a:lnTo>
                      <a:pt x="190921" y="86171"/>
                    </a:lnTo>
                    <a:lnTo>
                      <a:pt x="216882" y="98054"/>
                    </a:lnTo>
                    <a:lnTo>
                      <a:pt x="217541" y="102829"/>
                    </a:lnTo>
                    <a:lnTo>
                      <a:pt x="213918" y="109058"/>
                    </a:lnTo>
                    <a:lnTo>
                      <a:pt x="190921" y="114410"/>
                    </a:lnTo>
                    <a:lnTo>
                      <a:pt x="189302" y="115096"/>
                    </a:lnTo>
                    <a:lnTo>
                      <a:pt x="187298" y="117346"/>
                    </a:lnTo>
                    <a:lnTo>
                      <a:pt x="187051" y="128762"/>
                    </a:lnTo>
                    <a:lnTo>
                      <a:pt x="189302" y="135047"/>
                    </a:lnTo>
                    <a:lnTo>
                      <a:pt x="190921" y="136886"/>
                    </a:lnTo>
                    <a:lnTo>
                      <a:pt x="198934" y="134800"/>
                    </a:lnTo>
                    <a:lnTo>
                      <a:pt x="207167" y="153022"/>
                    </a:lnTo>
                    <a:lnTo>
                      <a:pt x="217842" y="157550"/>
                    </a:lnTo>
                    <a:lnTo>
                      <a:pt x="220916" y="182139"/>
                    </a:lnTo>
                    <a:lnTo>
                      <a:pt x="228627" y="194708"/>
                    </a:lnTo>
                    <a:lnTo>
                      <a:pt x="231564" y="193747"/>
                    </a:lnTo>
                    <a:lnTo>
                      <a:pt x="236751" y="176047"/>
                    </a:lnTo>
                    <a:lnTo>
                      <a:pt x="251652" y="191662"/>
                    </a:lnTo>
                    <a:lnTo>
                      <a:pt x="278766" y="180328"/>
                    </a:lnTo>
                    <a:lnTo>
                      <a:pt x="311395" y="201624"/>
                    </a:lnTo>
                    <a:lnTo>
                      <a:pt x="319217" y="187737"/>
                    </a:lnTo>
                    <a:lnTo>
                      <a:pt x="376051" y="155958"/>
                    </a:lnTo>
                    <a:lnTo>
                      <a:pt x="395316" y="162106"/>
                    </a:lnTo>
                    <a:lnTo>
                      <a:pt x="424104" y="152610"/>
                    </a:lnTo>
                    <a:lnTo>
                      <a:pt x="446662" y="155684"/>
                    </a:lnTo>
                    <a:lnTo>
                      <a:pt x="484725" y="175855"/>
                    </a:lnTo>
                    <a:lnTo>
                      <a:pt x="502014" y="195229"/>
                    </a:lnTo>
                    <a:lnTo>
                      <a:pt x="507036" y="211723"/>
                    </a:lnTo>
                    <a:lnTo>
                      <a:pt x="510357" y="255961"/>
                    </a:lnTo>
                    <a:lnTo>
                      <a:pt x="485027" y="293777"/>
                    </a:lnTo>
                    <a:lnTo>
                      <a:pt x="456541" y="296933"/>
                    </a:lnTo>
                    <a:lnTo>
                      <a:pt x="440185" y="306648"/>
                    </a:lnTo>
                    <a:lnTo>
                      <a:pt x="409065" y="299046"/>
                    </a:lnTo>
                    <a:lnTo>
                      <a:pt x="402918" y="289661"/>
                    </a:lnTo>
                    <a:lnTo>
                      <a:pt x="398280" y="270588"/>
                    </a:lnTo>
                    <a:lnTo>
                      <a:pt x="391886" y="265044"/>
                    </a:lnTo>
                    <a:lnTo>
                      <a:pt x="390514" y="268420"/>
                    </a:lnTo>
                    <a:lnTo>
                      <a:pt x="392105" y="281400"/>
                    </a:lnTo>
                    <a:lnTo>
                      <a:pt x="390047" y="291060"/>
                    </a:lnTo>
                    <a:lnTo>
                      <a:pt x="377780" y="300501"/>
                    </a:lnTo>
                    <a:lnTo>
                      <a:pt x="352450" y="303190"/>
                    </a:lnTo>
                    <a:lnTo>
                      <a:pt x="345150" y="295616"/>
                    </a:lnTo>
                    <a:lnTo>
                      <a:pt x="338619" y="303355"/>
                    </a:lnTo>
                    <a:lnTo>
                      <a:pt x="331154" y="294161"/>
                    </a:lnTo>
                    <a:lnTo>
                      <a:pt x="321659" y="305934"/>
                    </a:lnTo>
                    <a:lnTo>
                      <a:pt x="308926" y="300007"/>
                    </a:lnTo>
                    <a:lnTo>
                      <a:pt x="290786" y="308734"/>
                    </a:lnTo>
                    <a:lnTo>
                      <a:pt x="246081" y="304013"/>
                    </a:lnTo>
                    <a:lnTo>
                      <a:pt x="242459" y="298525"/>
                    </a:lnTo>
                    <a:lnTo>
                      <a:pt x="242239" y="277778"/>
                    </a:lnTo>
                    <a:lnTo>
                      <a:pt x="239632" y="269984"/>
                    </a:lnTo>
                    <a:lnTo>
                      <a:pt x="211201" y="298552"/>
                    </a:lnTo>
                    <a:lnTo>
                      <a:pt x="190948" y="293914"/>
                    </a:lnTo>
                    <a:lnTo>
                      <a:pt x="189329" y="293420"/>
                    </a:lnTo>
                    <a:lnTo>
                      <a:pt x="183868" y="291746"/>
                    </a:lnTo>
                    <a:lnTo>
                      <a:pt x="174812" y="283184"/>
                    </a:lnTo>
                    <a:lnTo>
                      <a:pt x="173000" y="281483"/>
                    </a:lnTo>
                    <a:lnTo>
                      <a:pt x="171272" y="270752"/>
                    </a:lnTo>
                    <a:lnTo>
                      <a:pt x="165481" y="277092"/>
                    </a:lnTo>
                    <a:lnTo>
                      <a:pt x="162051" y="288069"/>
                    </a:lnTo>
                    <a:lnTo>
                      <a:pt x="152638" y="287163"/>
                    </a:lnTo>
                    <a:lnTo>
                      <a:pt x="139795" y="274347"/>
                    </a:lnTo>
                    <a:lnTo>
                      <a:pt x="135019" y="246740"/>
                    </a:lnTo>
                    <a:lnTo>
                      <a:pt x="135266" y="234500"/>
                    </a:lnTo>
                    <a:lnTo>
                      <a:pt x="131809" y="229204"/>
                    </a:lnTo>
                    <a:lnTo>
                      <a:pt x="127555" y="217458"/>
                    </a:lnTo>
                    <a:lnTo>
                      <a:pt x="129174" y="199703"/>
                    </a:lnTo>
                    <a:lnTo>
                      <a:pt x="134992" y="178270"/>
                    </a:lnTo>
                    <a:lnTo>
                      <a:pt x="134608" y="158483"/>
                    </a:lnTo>
                    <a:lnTo>
                      <a:pt x="108619" y="95831"/>
                    </a:lnTo>
                    <a:lnTo>
                      <a:pt x="47449" y="100139"/>
                    </a:lnTo>
                    <a:lnTo>
                      <a:pt x="41905" y="88970"/>
                    </a:lnTo>
                    <a:lnTo>
                      <a:pt x="26263" y="79255"/>
                    </a:lnTo>
                    <a:lnTo>
                      <a:pt x="741" y="41988"/>
                    </a:lnTo>
                    <a:lnTo>
                      <a:pt x="0" y="235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8" name="Freeform: Shape 3657">
                <a:extLst>
                  <a:ext uri="{FF2B5EF4-FFF2-40B4-BE49-F238E27FC236}">
                    <a16:creationId xmlns:a16="http://schemas.microsoft.com/office/drawing/2014/main" id="{96A5876D-817B-5F5A-8004-81B2009E4131}"/>
                  </a:ext>
                </a:extLst>
              </p:cNvPr>
              <p:cNvSpPr/>
              <p:nvPr/>
            </p:nvSpPr>
            <p:spPr>
              <a:xfrm>
                <a:off x="979609" y="3493257"/>
                <a:ext cx="31912" cy="36220"/>
              </a:xfrm>
              <a:custGeom>
                <a:avLst/>
                <a:gdLst>
                  <a:gd name="connsiteX0" fmla="*/ 31916 w 305961"/>
                  <a:gd name="connsiteY0" fmla="*/ 23244 h 347263"/>
                  <a:gd name="connsiteX1" fmla="*/ 110321 w 305961"/>
                  <a:gd name="connsiteY1" fmla="*/ 4638 h 347263"/>
                  <a:gd name="connsiteX2" fmla="*/ 123082 w 305961"/>
                  <a:gd name="connsiteY2" fmla="*/ 0 h 347263"/>
                  <a:gd name="connsiteX3" fmla="*/ 135733 w 305961"/>
                  <a:gd name="connsiteY3" fmla="*/ 3485 h 347263"/>
                  <a:gd name="connsiteX4" fmla="*/ 157029 w 305961"/>
                  <a:gd name="connsiteY4" fmla="*/ 24836 h 347263"/>
                  <a:gd name="connsiteX5" fmla="*/ 178270 w 305961"/>
                  <a:gd name="connsiteY5" fmla="*/ 34578 h 347263"/>
                  <a:gd name="connsiteX6" fmla="*/ 179999 w 305961"/>
                  <a:gd name="connsiteY6" fmla="*/ 45089 h 347263"/>
                  <a:gd name="connsiteX7" fmla="*/ 185926 w 305961"/>
                  <a:gd name="connsiteY7" fmla="*/ 36527 h 347263"/>
                  <a:gd name="connsiteX8" fmla="*/ 193967 w 305961"/>
                  <a:gd name="connsiteY8" fmla="*/ 37048 h 347263"/>
                  <a:gd name="connsiteX9" fmla="*/ 196464 w 305961"/>
                  <a:gd name="connsiteY9" fmla="*/ 45308 h 347263"/>
                  <a:gd name="connsiteX10" fmla="*/ 195806 w 305961"/>
                  <a:gd name="connsiteY10" fmla="*/ 60320 h 347263"/>
                  <a:gd name="connsiteX11" fmla="*/ 203407 w 305961"/>
                  <a:gd name="connsiteY11" fmla="*/ 53541 h 347263"/>
                  <a:gd name="connsiteX12" fmla="*/ 204807 w 305961"/>
                  <a:gd name="connsiteY12" fmla="*/ 47998 h 347263"/>
                  <a:gd name="connsiteX13" fmla="*/ 203709 w 305961"/>
                  <a:gd name="connsiteY13" fmla="*/ 41274 h 347263"/>
                  <a:gd name="connsiteX14" fmla="*/ 206865 w 305961"/>
                  <a:gd name="connsiteY14" fmla="*/ 37515 h 347263"/>
                  <a:gd name="connsiteX15" fmla="*/ 224703 w 305961"/>
                  <a:gd name="connsiteY15" fmla="*/ 30489 h 347263"/>
                  <a:gd name="connsiteX16" fmla="*/ 245066 w 305961"/>
                  <a:gd name="connsiteY16" fmla="*/ 36417 h 347263"/>
                  <a:gd name="connsiteX17" fmla="*/ 282086 w 305961"/>
                  <a:gd name="connsiteY17" fmla="*/ 77554 h 347263"/>
                  <a:gd name="connsiteX18" fmla="*/ 298772 w 305961"/>
                  <a:gd name="connsiteY18" fmla="*/ 96380 h 347263"/>
                  <a:gd name="connsiteX19" fmla="*/ 305962 w 305961"/>
                  <a:gd name="connsiteY19" fmla="*/ 110403 h 347263"/>
                  <a:gd name="connsiteX20" fmla="*/ 305880 w 305961"/>
                  <a:gd name="connsiteY20" fmla="*/ 113779 h 347263"/>
                  <a:gd name="connsiteX21" fmla="*/ 296220 w 305961"/>
                  <a:gd name="connsiteY21" fmla="*/ 126622 h 347263"/>
                  <a:gd name="connsiteX22" fmla="*/ 282086 w 305961"/>
                  <a:gd name="connsiteY22" fmla="*/ 133839 h 347263"/>
                  <a:gd name="connsiteX23" fmla="*/ 194955 w 305961"/>
                  <a:gd name="connsiteY23" fmla="*/ 200142 h 347263"/>
                  <a:gd name="connsiteX24" fmla="*/ 188835 w 305961"/>
                  <a:gd name="connsiteY24" fmla="*/ 227969 h 347263"/>
                  <a:gd name="connsiteX25" fmla="*/ 175004 w 305961"/>
                  <a:gd name="connsiteY25" fmla="*/ 239934 h 347263"/>
                  <a:gd name="connsiteX26" fmla="*/ 163258 w 305961"/>
                  <a:gd name="connsiteY26" fmla="*/ 236476 h 347263"/>
                  <a:gd name="connsiteX27" fmla="*/ 164932 w 305961"/>
                  <a:gd name="connsiteY27" fmla="*/ 249704 h 347263"/>
                  <a:gd name="connsiteX28" fmla="*/ 157248 w 305961"/>
                  <a:gd name="connsiteY28" fmla="*/ 266389 h 347263"/>
                  <a:gd name="connsiteX29" fmla="*/ 157962 w 305961"/>
                  <a:gd name="connsiteY29" fmla="*/ 291938 h 347263"/>
                  <a:gd name="connsiteX30" fmla="*/ 154394 w 305961"/>
                  <a:gd name="connsiteY30" fmla="*/ 304068 h 347263"/>
                  <a:gd name="connsiteX31" fmla="*/ 131068 w 305961"/>
                  <a:gd name="connsiteY31" fmla="*/ 319217 h 347263"/>
                  <a:gd name="connsiteX32" fmla="*/ 118142 w 305961"/>
                  <a:gd name="connsiteY32" fmla="*/ 313783 h 347263"/>
                  <a:gd name="connsiteX33" fmla="*/ 109662 w 305961"/>
                  <a:gd name="connsiteY33" fmla="*/ 326928 h 347263"/>
                  <a:gd name="connsiteX34" fmla="*/ 87269 w 305961"/>
                  <a:gd name="connsiteY34" fmla="*/ 346330 h 347263"/>
                  <a:gd name="connsiteX35" fmla="*/ 79200 w 305961"/>
                  <a:gd name="connsiteY35" fmla="*/ 347263 h 347263"/>
                  <a:gd name="connsiteX36" fmla="*/ 70117 w 305961"/>
                  <a:gd name="connsiteY36" fmla="*/ 336863 h 347263"/>
                  <a:gd name="connsiteX37" fmla="*/ 67071 w 305961"/>
                  <a:gd name="connsiteY37" fmla="*/ 326928 h 347263"/>
                  <a:gd name="connsiteX38" fmla="*/ 62954 w 305961"/>
                  <a:gd name="connsiteY38" fmla="*/ 310572 h 347263"/>
                  <a:gd name="connsiteX39" fmla="*/ 51785 w 305961"/>
                  <a:gd name="connsiteY39" fmla="*/ 292295 h 347263"/>
                  <a:gd name="connsiteX40" fmla="*/ 25302 w 305961"/>
                  <a:gd name="connsiteY40" fmla="*/ 274814 h 347263"/>
                  <a:gd name="connsiteX41" fmla="*/ 13612 w 305961"/>
                  <a:gd name="connsiteY41" fmla="*/ 263727 h 347263"/>
                  <a:gd name="connsiteX42" fmla="*/ 0 w 305961"/>
                  <a:gd name="connsiteY42" fmla="*/ 263727 h 347263"/>
                  <a:gd name="connsiteX43" fmla="*/ 741 w 305961"/>
                  <a:gd name="connsiteY43" fmla="*/ 247975 h 347263"/>
                  <a:gd name="connsiteX44" fmla="*/ 3458 w 305961"/>
                  <a:gd name="connsiteY44" fmla="*/ 238589 h 347263"/>
                  <a:gd name="connsiteX45" fmla="*/ 7629 w 305961"/>
                  <a:gd name="connsiteY45" fmla="*/ 235214 h 347263"/>
                  <a:gd name="connsiteX46" fmla="*/ 12212 w 305961"/>
                  <a:gd name="connsiteY46" fmla="*/ 216937 h 347263"/>
                  <a:gd name="connsiteX47" fmla="*/ 21570 w 305961"/>
                  <a:gd name="connsiteY47" fmla="*/ 207249 h 347263"/>
                  <a:gd name="connsiteX48" fmla="*/ 19622 w 305961"/>
                  <a:gd name="connsiteY48" fmla="*/ 197370 h 347263"/>
                  <a:gd name="connsiteX49" fmla="*/ 23628 w 305961"/>
                  <a:gd name="connsiteY49" fmla="*/ 194927 h 347263"/>
                  <a:gd name="connsiteX50" fmla="*/ 20555 w 305961"/>
                  <a:gd name="connsiteY50" fmla="*/ 177254 h 347263"/>
                  <a:gd name="connsiteX51" fmla="*/ 27306 w 305961"/>
                  <a:gd name="connsiteY51" fmla="*/ 175717 h 347263"/>
                  <a:gd name="connsiteX52" fmla="*/ 37762 w 305961"/>
                  <a:gd name="connsiteY52" fmla="*/ 169021 h 347263"/>
                  <a:gd name="connsiteX53" fmla="*/ 36664 w 305961"/>
                  <a:gd name="connsiteY53" fmla="*/ 164493 h 347263"/>
                  <a:gd name="connsiteX54" fmla="*/ 27306 w 305961"/>
                  <a:gd name="connsiteY54" fmla="*/ 157550 h 347263"/>
                  <a:gd name="connsiteX55" fmla="*/ 26455 w 305961"/>
                  <a:gd name="connsiteY55" fmla="*/ 153818 h 347263"/>
                  <a:gd name="connsiteX56" fmla="*/ 34002 w 305961"/>
                  <a:gd name="connsiteY56" fmla="*/ 145283 h 347263"/>
                  <a:gd name="connsiteX57" fmla="*/ 40917 w 305961"/>
                  <a:gd name="connsiteY57" fmla="*/ 118526 h 347263"/>
                  <a:gd name="connsiteX58" fmla="*/ 48739 w 305961"/>
                  <a:gd name="connsiteY58" fmla="*/ 111336 h 347263"/>
                  <a:gd name="connsiteX59" fmla="*/ 51620 w 305961"/>
                  <a:gd name="connsiteY59" fmla="*/ 96188 h 347263"/>
                  <a:gd name="connsiteX60" fmla="*/ 58124 w 305961"/>
                  <a:gd name="connsiteY60" fmla="*/ 85210 h 347263"/>
                  <a:gd name="connsiteX61" fmla="*/ 55682 w 305961"/>
                  <a:gd name="connsiteY61" fmla="*/ 77389 h 347263"/>
                  <a:gd name="connsiteX62" fmla="*/ 47504 w 305961"/>
                  <a:gd name="connsiteY62" fmla="*/ 73575 h 347263"/>
                  <a:gd name="connsiteX63" fmla="*/ 42262 w 305961"/>
                  <a:gd name="connsiteY63" fmla="*/ 59332 h 347263"/>
                  <a:gd name="connsiteX64" fmla="*/ 35539 w 305961"/>
                  <a:gd name="connsiteY64" fmla="*/ 33837 h 347263"/>
                  <a:gd name="connsiteX65" fmla="*/ 32053 w 305961"/>
                  <a:gd name="connsiteY65" fmla="*/ 32904 h 347263"/>
                  <a:gd name="connsiteX66" fmla="*/ 32053 w 305961"/>
                  <a:gd name="connsiteY66" fmla="*/ 23244 h 34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5961" h="347263">
                    <a:moveTo>
                      <a:pt x="31916" y="23244"/>
                    </a:moveTo>
                    <a:lnTo>
                      <a:pt x="110321" y="4638"/>
                    </a:lnTo>
                    <a:lnTo>
                      <a:pt x="123082" y="0"/>
                    </a:lnTo>
                    <a:lnTo>
                      <a:pt x="135733" y="3485"/>
                    </a:lnTo>
                    <a:lnTo>
                      <a:pt x="157029" y="24836"/>
                    </a:lnTo>
                    <a:lnTo>
                      <a:pt x="178270" y="34578"/>
                    </a:lnTo>
                    <a:lnTo>
                      <a:pt x="179999" y="45089"/>
                    </a:lnTo>
                    <a:lnTo>
                      <a:pt x="185926" y="36527"/>
                    </a:lnTo>
                    <a:lnTo>
                      <a:pt x="193967" y="37048"/>
                    </a:lnTo>
                    <a:lnTo>
                      <a:pt x="196464" y="45308"/>
                    </a:lnTo>
                    <a:lnTo>
                      <a:pt x="195806" y="60320"/>
                    </a:lnTo>
                    <a:lnTo>
                      <a:pt x="203407" y="53541"/>
                    </a:lnTo>
                    <a:lnTo>
                      <a:pt x="204807" y="47998"/>
                    </a:lnTo>
                    <a:lnTo>
                      <a:pt x="203709" y="41274"/>
                    </a:lnTo>
                    <a:lnTo>
                      <a:pt x="206865" y="37515"/>
                    </a:lnTo>
                    <a:lnTo>
                      <a:pt x="224703" y="30489"/>
                    </a:lnTo>
                    <a:lnTo>
                      <a:pt x="245066" y="36417"/>
                    </a:lnTo>
                    <a:lnTo>
                      <a:pt x="282086" y="77554"/>
                    </a:lnTo>
                    <a:lnTo>
                      <a:pt x="298772" y="96380"/>
                    </a:lnTo>
                    <a:lnTo>
                      <a:pt x="305962" y="110403"/>
                    </a:lnTo>
                    <a:lnTo>
                      <a:pt x="305880" y="113779"/>
                    </a:lnTo>
                    <a:lnTo>
                      <a:pt x="296220" y="126622"/>
                    </a:lnTo>
                    <a:lnTo>
                      <a:pt x="282086" y="133839"/>
                    </a:lnTo>
                    <a:lnTo>
                      <a:pt x="194955" y="200142"/>
                    </a:lnTo>
                    <a:lnTo>
                      <a:pt x="188835" y="227969"/>
                    </a:lnTo>
                    <a:lnTo>
                      <a:pt x="175004" y="239934"/>
                    </a:lnTo>
                    <a:lnTo>
                      <a:pt x="163258" y="236476"/>
                    </a:lnTo>
                    <a:lnTo>
                      <a:pt x="164932" y="249704"/>
                    </a:lnTo>
                    <a:lnTo>
                      <a:pt x="157248" y="266389"/>
                    </a:lnTo>
                    <a:lnTo>
                      <a:pt x="157962" y="291938"/>
                    </a:lnTo>
                    <a:lnTo>
                      <a:pt x="154394" y="304068"/>
                    </a:lnTo>
                    <a:lnTo>
                      <a:pt x="131068" y="319217"/>
                    </a:lnTo>
                    <a:lnTo>
                      <a:pt x="118142" y="313783"/>
                    </a:lnTo>
                    <a:lnTo>
                      <a:pt x="109662" y="326928"/>
                    </a:lnTo>
                    <a:lnTo>
                      <a:pt x="87269" y="346330"/>
                    </a:lnTo>
                    <a:lnTo>
                      <a:pt x="79200" y="347263"/>
                    </a:lnTo>
                    <a:lnTo>
                      <a:pt x="70117" y="336863"/>
                    </a:lnTo>
                    <a:lnTo>
                      <a:pt x="67071" y="326928"/>
                    </a:lnTo>
                    <a:lnTo>
                      <a:pt x="62954" y="310572"/>
                    </a:lnTo>
                    <a:lnTo>
                      <a:pt x="51785" y="292295"/>
                    </a:lnTo>
                    <a:lnTo>
                      <a:pt x="25302" y="274814"/>
                    </a:lnTo>
                    <a:lnTo>
                      <a:pt x="13612" y="263727"/>
                    </a:lnTo>
                    <a:lnTo>
                      <a:pt x="0" y="263727"/>
                    </a:lnTo>
                    <a:lnTo>
                      <a:pt x="741" y="247975"/>
                    </a:lnTo>
                    <a:lnTo>
                      <a:pt x="3458" y="238589"/>
                    </a:lnTo>
                    <a:lnTo>
                      <a:pt x="7629" y="235214"/>
                    </a:lnTo>
                    <a:lnTo>
                      <a:pt x="12212" y="216937"/>
                    </a:lnTo>
                    <a:lnTo>
                      <a:pt x="21570" y="207249"/>
                    </a:lnTo>
                    <a:lnTo>
                      <a:pt x="19622" y="197370"/>
                    </a:lnTo>
                    <a:lnTo>
                      <a:pt x="23628" y="194927"/>
                    </a:lnTo>
                    <a:lnTo>
                      <a:pt x="20555" y="177254"/>
                    </a:lnTo>
                    <a:lnTo>
                      <a:pt x="27306" y="175717"/>
                    </a:lnTo>
                    <a:lnTo>
                      <a:pt x="37762" y="169021"/>
                    </a:lnTo>
                    <a:lnTo>
                      <a:pt x="36664" y="164493"/>
                    </a:lnTo>
                    <a:lnTo>
                      <a:pt x="27306" y="157550"/>
                    </a:lnTo>
                    <a:lnTo>
                      <a:pt x="26455" y="153818"/>
                    </a:lnTo>
                    <a:lnTo>
                      <a:pt x="34002" y="145283"/>
                    </a:lnTo>
                    <a:lnTo>
                      <a:pt x="40917" y="118526"/>
                    </a:lnTo>
                    <a:lnTo>
                      <a:pt x="48739" y="111336"/>
                    </a:lnTo>
                    <a:lnTo>
                      <a:pt x="51620" y="96188"/>
                    </a:lnTo>
                    <a:lnTo>
                      <a:pt x="58124" y="85210"/>
                    </a:lnTo>
                    <a:lnTo>
                      <a:pt x="55682" y="77389"/>
                    </a:lnTo>
                    <a:lnTo>
                      <a:pt x="47504" y="73575"/>
                    </a:lnTo>
                    <a:lnTo>
                      <a:pt x="42262" y="59332"/>
                    </a:lnTo>
                    <a:lnTo>
                      <a:pt x="35539" y="33837"/>
                    </a:lnTo>
                    <a:lnTo>
                      <a:pt x="32053" y="32904"/>
                    </a:lnTo>
                    <a:lnTo>
                      <a:pt x="32053" y="232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59" name="Freeform: Shape 3658">
                <a:extLst>
                  <a:ext uri="{FF2B5EF4-FFF2-40B4-BE49-F238E27FC236}">
                    <a16:creationId xmlns:a16="http://schemas.microsoft.com/office/drawing/2014/main" id="{E05E66DE-72DC-2229-6AB8-67B49EFC20A4}"/>
                  </a:ext>
                </a:extLst>
              </p:cNvPr>
              <p:cNvSpPr/>
              <p:nvPr/>
            </p:nvSpPr>
            <p:spPr>
              <a:xfrm>
                <a:off x="1183273" y="3659078"/>
                <a:ext cx="20580" cy="23245"/>
              </a:xfrm>
              <a:custGeom>
                <a:avLst/>
                <a:gdLst>
                  <a:gd name="connsiteX0" fmla="*/ 61061 w 197315"/>
                  <a:gd name="connsiteY0" fmla="*/ 41631 h 222864"/>
                  <a:gd name="connsiteX1" fmla="*/ 68909 w 197315"/>
                  <a:gd name="connsiteY1" fmla="*/ 34359 h 222864"/>
                  <a:gd name="connsiteX2" fmla="*/ 69294 w 197315"/>
                  <a:gd name="connsiteY2" fmla="*/ 29117 h 222864"/>
                  <a:gd name="connsiteX3" fmla="*/ 77609 w 197315"/>
                  <a:gd name="connsiteY3" fmla="*/ 13721 h 222864"/>
                  <a:gd name="connsiteX4" fmla="*/ 99865 w 197315"/>
                  <a:gd name="connsiteY4" fmla="*/ 0 h 222864"/>
                  <a:gd name="connsiteX5" fmla="*/ 105244 w 197315"/>
                  <a:gd name="connsiteY5" fmla="*/ 4144 h 222864"/>
                  <a:gd name="connsiteX6" fmla="*/ 112983 w 197315"/>
                  <a:gd name="connsiteY6" fmla="*/ 1400 h 222864"/>
                  <a:gd name="connsiteX7" fmla="*/ 114273 w 197315"/>
                  <a:gd name="connsiteY7" fmla="*/ 6147 h 222864"/>
                  <a:gd name="connsiteX8" fmla="*/ 111638 w 197315"/>
                  <a:gd name="connsiteY8" fmla="*/ 11306 h 222864"/>
                  <a:gd name="connsiteX9" fmla="*/ 97340 w 197315"/>
                  <a:gd name="connsiteY9" fmla="*/ 12953 h 222864"/>
                  <a:gd name="connsiteX10" fmla="*/ 99371 w 197315"/>
                  <a:gd name="connsiteY10" fmla="*/ 16521 h 222864"/>
                  <a:gd name="connsiteX11" fmla="*/ 105326 w 197315"/>
                  <a:gd name="connsiteY11" fmla="*/ 18908 h 222864"/>
                  <a:gd name="connsiteX12" fmla="*/ 106616 w 197315"/>
                  <a:gd name="connsiteY12" fmla="*/ 22777 h 222864"/>
                  <a:gd name="connsiteX13" fmla="*/ 78158 w 197315"/>
                  <a:gd name="connsiteY13" fmla="*/ 71681 h 222864"/>
                  <a:gd name="connsiteX14" fmla="*/ 74810 w 197315"/>
                  <a:gd name="connsiteY14" fmla="*/ 83015 h 222864"/>
                  <a:gd name="connsiteX15" fmla="*/ 75194 w 197315"/>
                  <a:gd name="connsiteY15" fmla="*/ 86747 h 222864"/>
                  <a:gd name="connsiteX16" fmla="*/ 77499 w 197315"/>
                  <a:gd name="connsiteY16" fmla="*/ 88339 h 222864"/>
                  <a:gd name="connsiteX17" fmla="*/ 94294 w 197315"/>
                  <a:gd name="connsiteY17" fmla="*/ 68799 h 222864"/>
                  <a:gd name="connsiteX18" fmla="*/ 96791 w 197315"/>
                  <a:gd name="connsiteY18" fmla="*/ 73136 h 222864"/>
                  <a:gd name="connsiteX19" fmla="*/ 105161 w 197315"/>
                  <a:gd name="connsiteY19" fmla="*/ 76072 h 222864"/>
                  <a:gd name="connsiteX20" fmla="*/ 110897 w 197315"/>
                  <a:gd name="connsiteY20" fmla="*/ 75770 h 222864"/>
                  <a:gd name="connsiteX21" fmla="*/ 111172 w 197315"/>
                  <a:gd name="connsiteY21" fmla="*/ 77334 h 222864"/>
                  <a:gd name="connsiteX22" fmla="*/ 98246 w 197315"/>
                  <a:gd name="connsiteY22" fmla="*/ 87872 h 222864"/>
                  <a:gd name="connsiteX23" fmla="*/ 103570 w 197315"/>
                  <a:gd name="connsiteY23" fmla="*/ 91687 h 222864"/>
                  <a:gd name="connsiteX24" fmla="*/ 103680 w 197315"/>
                  <a:gd name="connsiteY24" fmla="*/ 95749 h 222864"/>
                  <a:gd name="connsiteX25" fmla="*/ 108619 w 197315"/>
                  <a:gd name="connsiteY25" fmla="*/ 94075 h 222864"/>
                  <a:gd name="connsiteX26" fmla="*/ 108016 w 197315"/>
                  <a:gd name="connsiteY26" fmla="*/ 98959 h 222864"/>
                  <a:gd name="connsiteX27" fmla="*/ 115590 w 197315"/>
                  <a:gd name="connsiteY27" fmla="*/ 97093 h 222864"/>
                  <a:gd name="connsiteX28" fmla="*/ 118691 w 197315"/>
                  <a:gd name="connsiteY28" fmla="*/ 102445 h 222864"/>
                  <a:gd name="connsiteX29" fmla="*/ 119349 w 197315"/>
                  <a:gd name="connsiteY29" fmla="*/ 96325 h 222864"/>
                  <a:gd name="connsiteX30" fmla="*/ 122478 w 197315"/>
                  <a:gd name="connsiteY30" fmla="*/ 95913 h 222864"/>
                  <a:gd name="connsiteX31" fmla="*/ 122917 w 197315"/>
                  <a:gd name="connsiteY31" fmla="*/ 104283 h 222864"/>
                  <a:gd name="connsiteX32" fmla="*/ 128708 w 197315"/>
                  <a:gd name="connsiteY32" fmla="*/ 105326 h 222864"/>
                  <a:gd name="connsiteX33" fmla="*/ 132111 w 197315"/>
                  <a:gd name="connsiteY33" fmla="*/ 101072 h 222864"/>
                  <a:gd name="connsiteX34" fmla="*/ 133894 w 197315"/>
                  <a:gd name="connsiteY34" fmla="*/ 100990 h 222864"/>
                  <a:gd name="connsiteX35" fmla="*/ 132934 w 197315"/>
                  <a:gd name="connsiteY35" fmla="*/ 94980 h 222864"/>
                  <a:gd name="connsiteX36" fmla="*/ 135596 w 197315"/>
                  <a:gd name="connsiteY36" fmla="*/ 89793 h 222864"/>
                  <a:gd name="connsiteX37" fmla="*/ 139712 w 197315"/>
                  <a:gd name="connsiteY37" fmla="*/ 89683 h 222864"/>
                  <a:gd name="connsiteX38" fmla="*/ 144487 w 197315"/>
                  <a:gd name="connsiteY38" fmla="*/ 103295 h 222864"/>
                  <a:gd name="connsiteX39" fmla="*/ 156507 w 197315"/>
                  <a:gd name="connsiteY39" fmla="*/ 98712 h 222864"/>
                  <a:gd name="connsiteX40" fmla="*/ 171381 w 197315"/>
                  <a:gd name="connsiteY40" fmla="*/ 107769 h 222864"/>
                  <a:gd name="connsiteX41" fmla="*/ 172424 w 197315"/>
                  <a:gd name="connsiteY41" fmla="*/ 110129 h 222864"/>
                  <a:gd name="connsiteX42" fmla="*/ 170393 w 197315"/>
                  <a:gd name="connsiteY42" fmla="*/ 116002 h 222864"/>
                  <a:gd name="connsiteX43" fmla="*/ 160432 w 197315"/>
                  <a:gd name="connsiteY43" fmla="*/ 124920 h 222864"/>
                  <a:gd name="connsiteX44" fmla="*/ 162270 w 197315"/>
                  <a:gd name="connsiteY44" fmla="*/ 127500 h 222864"/>
                  <a:gd name="connsiteX45" fmla="*/ 166140 w 197315"/>
                  <a:gd name="connsiteY45" fmla="*/ 125195 h 222864"/>
                  <a:gd name="connsiteX46" fmla="*/ 168610 w 197315"/>
                  <a:gd name="connsiteY46" fmla="*/ 127527 h 222864"/>
                  <a:gd name="connsiteX47" fmla="*/ 168994 w 197315"/>
                  <a:gd name="connsiteY47" fmla="*/ 133867 h 222864"/>
                  <a:gd name="connsiteX48" fmla="*/ 165591 w 197315"/>
                  <a:gd name="connsiteY48" fmla="*/ 135678 h 222864"/>
                  <a:gd name="connsiteX49" fmla="*/ 163505 w 197315"/>
                  <a:gd name="connsiteY49" fmla="*/ 142374 h 222864"/>
                  <a:gd name="connsiteX50" fmla="*/ 170833 w 197315"/>
                  <a:gd name="connsiteY50" fmla="*/ 141990 h 222864"/>
                  <a:gd name="connsiteX51" fmla="*/ 175113 w 197315"/>
                  <a:gd name="connsiteY51" fmla="*/ 137627 h 222864"/>
                  <a:gd name="connsiteX52" fmla="*/ 179861 w 197315"/>
                  <a:gd name="connsiteY52" fmla="*/ 139081 h 222864"/>
                  <a:gd name="connsiteX53" fmla="*/ 184170 w 197315"/>
                  <a:gd name="connsiteY53" fmla="*/ 135431 h 222864"/>
                  <a:gd name="connsiteX54" fmla="*/ 185871 w 197315"/>
                  <a:gd name="connsiteY54" fmla="*/ 138450 h 222864"/>
                  <a:gd name="connsiteX55" fmla="*/ 184389 w 197315"/>
                  <a:gd name="connsiteY55" fmla="*/ 144597 h 222864"/>
                  <a:gd name="connsiteX56" fmla="*/ 177638 w 197315"/>
                  <a:gd name="connsiteY56" fmla="*/ 148274 h 222864"/>
                  <a:gd name="connsiteX57" fmla="*/ 171409 w 197315"/>
                  <a:gd name="connsiteY57" fmla="*/ 156178 h 222864"/>
                  <a:gd name="connsiteX58" fmla="*/ 162709 w 197315"/>
                  <a:gd name="connsiteY58" fmla="*/ 176266 h 222864"/>
                  <a:gd name="connsiteX59" fmla="*/ 164438 w 197315"/>
                  <a:gd name="connsiteY59" fmla="*/ 179614 h 222864"/>
                  <a:gd name="connsiteX60" fmla="*/ 169954 w 197315"/>
                  <a:gd name="connsiteY60" fmla="*/ 182057 h 222864"/>
                  <a:gd name="connsiteX61" fmla="*/ 178516 w 197315"/>
                  <a:gd name="connsiteY61" fmla="*/ 164658 h 222864"/>
                  <a:gd name="connsiteX62" fmla="*/ 187518 w 197315"/>
                  <a:gd name="connsiteY62" fmla="*/ 160020 h 222864"/>
                  <a:gd name="connsiteX63" fmla="*/ 188149 w 197315"/>
                  <a:gd name="connsiteY63" fmla="*/ 161090 h 222864"/>
                  <a:gd name="connsiteX64" fmla="*/ 181782 w 197315"/>
                  <a:gd name="connsiteY64" fmla="*/ 181261 h 222864"/>
                  <a:gd name="connsiteX65" fmla="*/ 184609 w 197315"/>
                  <a:gd name="connsiteY65" fmla="*/ 186887 h 222864"/>
                  <a:gd name="connsiteX66" fmla="*/ 187655 w 197315"/>
                  <a:gd name="connsiteY66" fmla="*/ 184335 h 222864"/>
                  <a:gd name="connsiteX67" fmla="*/ 187490 w 197315"/>
                  <a:gd name="connsiteY67" fmla="*/ 179367 h 222864"/>
                  <a:gd name="connsiteX68" fmla="*/ 194351 w 197315"/>
                  <a:gd name="connsiteY68" fmla="*/ 175663 h 222864"/>
                  <a:gd name="connsiteX69" fmla="*/ 197315 w 197315"/>
                  <a:gd name="connsiteY69" fmla="*/ 185075 h 222864"/>
                  <a:gd name="connsiteX70" fmla="*/ 192430 w 197315"/>
                  <a:gd name="connsiteY70" fmla="*/ 197644 h 222864"/>
                  <a:gd name="connsiteX71" fmla="*/ 189082 w 197315"/>
                  <a:gd name="connsiteY71" fmla="*/ 213177 h 222864"/>
                  <a:gd name="connsiteX72" fmla="*/ 184773 w 197315"/>
                  <a:gd name="connsiteY72" fmla="*/ 221135 h 222864"/>
                  <a:gd name="connsiteX73" fmla="*/ 181947 w 197315"/>
                  <a:gd name="connsiteY73" fmla="*/ 222288 h 222864"/>
                  <a:gd name="connsiteX74" fmla="*/ 177364 w 197315"/>
                  <a:gd name="connsiteY74" fmla="*/ 219846 h 222864"/>
                  <a:gd name="connsiteX75" fmla="*/ 171601 w 197315"/>
                  <a:gd name="connsiteY75" fmla="*/ 222864 h 222864"/>
                  <a:gd name="connsiteX76" fmla="*/ 168802 w 197315"/>
                  <a:gd name="connsiteY76" fmla="*/ 219187 h 222864"/>
                  <a:gd name="connsiteX77" fmla="*/ 170009 w 197315"/>
                  <a:gd name="connsiteY77" fmla="*/ 204203 h 222864"/>
                  <a:gd name="connsiteX78" fmla="*/ 169213 w 197315"/>
                  <a:gd name="connsiteY78" fmla="*/ 203462 h 222864"/>
                  <a:gd name="connsiteX79" fmla="*/ 157715 w 197315"/>
                  <a:gd name="connsiteY79" fmla="*/ 214769 h 222864"/>
                  <a:gd name="connsiteX80" fmla="*/ 153077 w 197315"/>
                  <a:gd name="connsiteY80" fmla="*/ 214714 h 222864"/>
                  <a:gd name="connsiteX81" fmla="*/ 157303 w 197315"/>
                  <a:gd name="connsiteY81" fmla="*/ 197672 h 222864"/>
                  <a:gd name="connsiteX82" fmla="*/ 160432 w 197315"/>
                  <a:gd name="connsiteY82" fmla="*/ 192211 h 222864"/>
                  <a:gd name="connsiteX83" fmla="*/ 160761 w 197315"/>
                  <a:gd name="connsiteY83" fmla="*/ 185652 h 222864"/>
                  <a:gd name="connsiteX84" fmla="*/ 158538 w 197315"/>
                  <a:gd name="connsiteY84" fmla="*/ 174757 h 222864"/>
                  <a:gd name="connsiteX85" fmla="*/ 155876 w 197315"/>
                  <a:gd name="connsiteY85" fmla="*/ 172534 h 222864"/>
                  <a:gd name="connsiteX86" fmla="*/ 142731 w 197315"/>
                  <a:gd name="connsiteY86" fmla="*/ 189494 h 222864"/>
                  <a:gd name="connsiteX87" fmla="*/ 133867 w 197315"/>
                  <a:gd name="connsiteY87" fmla="*/ 191963 h 222864"/>
                  <a:gd name="connsiteX88" fmla="*/ 127829 w 197315"/>
                  <a:gd name="connsiteY88" fmla="*/ 197644 h 222864"/>
                  <a:gd name="connsiteX89" fmla="*/ 124920 w 197315"/>
                  <a:gd name="connsiteY89" fmla="*/ 205603 h 222864"/>
                  <a:gd name="connsiteX90" fmla="*/ 120777 w 197315"/>
                  <a:gd name="connsiteY90" fmla="*/ 210131 h 222864"/>
                  <a:gd name="connsiteX91" fmla="*/ 106918 w 197315"/>
                  <a:gd name="connsiteY91" fmla="*/ 213534 h 222864"/>
                  <a:gd name="connsiteX92" fmla="*/ 100331 w 197315"/>
                  <a:gd name="connsiteY92" fmla="*/ 210241 h 222864"/>
                  <a:gd name="connsiteX93" fmla="*/ 103268 w 197315"/>
                  <a:gd name="connsiteY93" fmla="*/ 204944 h 222864"/>
                  <a:gd name="connsiteX94" fmla="*/ 117401 w 197315"/>
                  <a:gd name="connsiteY94" fmla="*/ 197617 h 222864"/>
                  <a:gd name="connsiteX95" fmla="*/ 122149 w 197315"/>
                  <a:gd name="connsiteY95" fmla="*/ 188945 h 222864"/>
                  <a:gd name="connsiteX96" fmla="*/ 130189 w 197315"/>
                  <a:gd name="connsiteY96" fmla="*/ 182715 h 222864"/>
                  <a:gd name="connsiteX97" fmla="*/ 129942 w 197315"/>
                  <a:gd name="connsiteY97" fmla="*/ 181234 h 222864"/>
                  <a:gd name="connsiteX98" fmla="*/ 124564 w 197315"/>
                  <a:gd name="connsiteY98" fmla="*/ 181234 h 222864"/>
                  <a:gd name="connsiteX99" fmla="*/ 117154 w 197315"/>
                  <a:gd name="connsiteY99" fmla="*/ 177309 h 222864"/>
                  <a:gd name="connsiteX100" fmla="*/ 115782 w 197315"/>
                  <a:gd name="connsiteY100" fmla="*/ 185569 h 222864"/>
                  <a:gd name="connsiteX101" fmla="*/ 112599 w 197315"/>
                  <a:gd name="connsiteY101" fmla="*/ 187683 h 222864"/>
                  <a:gd name="connsiteX102" fmla="*/ 109881 w 197315"/>
                  <a:gd name="connsiteY102" fmla="*/ 185021 h 222864"/>
                  <a:gd name="connsiteX103" fmla="*/ 105271 w 197315"/>
                  <a:gd name="connsiteY103" fmla="*/ 186695 h 222864"/>
                  <a:gd name="connsiteX104" fmla="*/ 105820 w 197315"/>
                  <a:gd name="connsiteY104" fmla="*/ 183346 h 222864"/>
                  <a:gd name="connsiteX105" fmla="*/ 97944 w 197315"/>
                  <a:gd name="connsiteY105" fmla="*/ 185816 h 222864"/>
                  <a:gd name="connsiteX106" fmla="*/ 97532 w 197315"/>
                  <a:gd name="connsiteY106" fmla="*/ 184389 h 222864"/>
                  <a:gd name="connsiteX107" fmla="*/ 99645 w 197315"/>
                  <a:gd name="connsiteY107" fmla="*/ 182139 h 222864"/>
                  <a:gd name="connsiteX108" fmla="*/ 95063 w 197315"/>
                  <a:gd name="connsiteY108" fmla="*/ 177199 h 222864"/>
                  <a:gd name="connsiteX109" fmla="*/ 91961 w 197315"/>
                  <a:gd name="connsiteY109" fmla="*/ 180245 h 222864"/>
                  <a:gd name="connsiteX110" fmla="*/ 74892 w 197315"/>
                  <a:gd name="connsiteY110" fmla="*/ 183539 h 222864"/>
                  <a:gd name="connsiteX111" fmla="*/ 58179 w 197315"/>
                  <a:gd name="connsiteY111" fmla="*/ 179998 h 222864"/>
                  <a:gd name="connsiteX112" fmla="*/ 49919 w 197315"/>
                  <a:gd name="connsiteY112" fmla="*/ 181672 h 222864"/>
                  <a:gd name="connsiteX113" fmla="*/ 43442 w 197315"/>
                  <a:gd name="connsiteY113" fmla="*/ 179038 h 222864"/>
                  <a:gd name="connsiteX114" fmla="*/ 29995 w 197315"/>
                  <a:gd name="connsiteY114" fmla="*/ 175964 h 222864"/>
                  <a:gd name="connsiteX115" fmla="*/ 24671 w 197315"/>
                  <a:gd name="connsiteY115" fmla="*/ 180081 h 222864"/>
                  <a:gd name="connsiteX116" fmla="*/ 4007 w 197315"/>
                  <a:gd name="connsiteY116" fmla="*/ 181069 h 222864"/>
                  <a:gd name="connsiteX117" fmla="*/ 0 w 197315"/>
                  <a:gd name="connsiteY117" fmla="*/ 168966 h 222864"/>
                  <a:gd name="connsiteX118" fmla="*/ 25961 w 197315"/>
                  <a:gd name="connsiteY118" fmla="*/ 143856 h 222864"/>
                  <a:gd name="connsiteX119" fmla="*/ 20857 w 197315"/>
                  <a:gd name="connsiteY119" fmla="*/ 138477 h 222864"/>
                  <a:gd name="connsiteX120" fmla="*/ 21213 w 197315"/>
                  <a:gd name="connsiteY120" fmla="*/ 131534 h 222864"/>
                  <a:gd name="connsiteX121" fmla="*/ 27745 w 197315"/>
                  <a:gd name="connsiteY121" fmla="*/ 115864 h 222864"/>
                  <a:gd name="connsiteX122" fmla="*/ 32849 w 197315"/>
                  <a:gd name="connsiteY122" fmla="*/ 115480 h 222864"/>
                  <a:gd name="connsiteX123" fmla="*/ 37240 w 197315"/>
                  <a:gd name="connsiteY123" fmla="*/ 111089 h 222864"/>
                  <a:gd name="connsiteX124" fmla="*/ 33974 w 197315"/>
                  <a:gd name="connsiteY124" fmla="*/ 107055 h 222864"/>
                  <a:gd name="connsiteX125" fmla="*/ 34166 w 197315"/>
                  <a:gd name="connsiteY125" fmla="*/ 102143 h 222864"/>
                  <a:gd name="connsiteX126" fmla="*/ 38777 w 197315"/>
                  <a:gd name="connsiteY126" fmla="*/ 96187 h 222864"/>
                  <a:gd name="connsiteX127" fmla="*/ 42619 w 197315"/>
                  <a:gd name="connsiteY127" fmla="*/ 96544 h 222864"/>
                  <a:gd name="connsiteX128" fmla="*/ 41796 w 197315"/>
                  <a:gd name="connsiteY128" fmla="*/ 88997 h 222864"/>
                  <a:gd name="connsiteX129" fmla="*/ 43470 w 197315"/>
                  <a:gd name="connsiteY129" fmla="*/ 83783 h 222864"/>
                  <a:gd name="connsiteX130" fmla="*/ 55819 w 197315"/>
                  <a:gd name="connsiteY130" fmla="*/ 53047 h 222864"/>
                  <a:gd name="connsiteX131" fmla="*/ 61143 w 197315"/>
                  <a:gd name="connsiteY131" fmla="*/ 45445 h 222864"/>
                  <a:gd name="connsiteX132" fmla="*/ 61143 w 197315"/>
                  <a:gd name="connsiteY132" fmla="*/ 41658 h 22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97315" h="222864">
                    <a:moveTo>
                      <a:pt x="61061" y="41631"/>
                    </a:moveTo>
                    <a:lnTo>
                      <a:pt x="68909" y="34359"/>
                    </a:lnTo>
                    <a:lnTo>
                      <a:pt x="69294" y="29117"/>
                    </a:lnTo>
                    <a:lnTo>
                      <a:pt x="77609" y="13721"/>
                    </a:lnTo>
                    <a:lnTo>
                      <a:pt x="99865" y="0"/>
                    </a:lnTo>
                    <a:lnTo>
                      <a:pt x="105244" y="4144"/>
                    </a:lnTo>
                    <a:lnTo>
                      <a:pt x="112983" y="1400"/>
                    </a:lnTo>
                    <a:lnTo>
                      <a:pt x="114273" y="6147"/>
                    </a:lnTo>
                    <a:lnTo>
                      <a:pt x="111638" y="11306"/>
                    </a:lnTo>
                    <a:lnTo>
                      <a:pt x="97340" y="12953"/>
                    </a:lnTo>
                    <a:lnTo>
                      <a:pt x="99371" y="16521"/>
                    </a:lnTo>
                    <a:lnTo>
                      <a:pt x="105326" y="18908"/>
                    </a:lnTo>
                    <a:lnTo>
                      <a:pt x="106616" y="22777"/>
                    </a:lnTo>
                    <a:lnTo>
                      <a:pt x="78158" y="71681"/>
                    </a:lnTo>
                    <a:lnTo>
                      <a:pt x="74810" y="83015"/>
                    </a:lnTo>
                    <a:lnTo>
                      <a:pt x="75194" y="86747"/>
                    </a:lnTo>
                    <a:lnTo>
                      <a:pt x="77499" y="88339"/>
                    </a:lnTo>
                    <a:lnTo>
                      <a:pt x="94294" y="68799"/>
                    </a:lnTo>
                    <a:lnTo>
                      <a:pt x="96791" y="73136"/>
                    </a:lnTo>
                    <a:lnTo>
                      <a:pt x="105161" y="76072"/>
                    </a:lnTo>
                    <a:lnTo>
                      <a:pt x="110897" y="75770"/>
                    </a:lnTo>
                    <a:lnTo>
                      <a:pt x="111172" y="77334"/>
                    </a:lnTo>
                    <a:lnTo>
                      <a:pt x="98246" y="87872"/>
                    </a:lnTo>
                    <a:lnTo>
                      <a:pt x="103570" y="91687"/>
                    </a:lnTo>
                    <a:lnTo>
                      <a:pt x="103680" y="95749"/>
                    </a:lnTo>
                    <a:lnTo>
                      <a:pt x="108619" y="94075"/>
                    </a:lnTo>
                    <a:lnTo>
                      <a:pt x="108016" y="98959"/>
                    </a:lnTo>
                    <a:lnTo>
                      <a:pt x="115590" y="97093"/>
                    </a:lnTo>
                    <a:lnTo>
                      <a:pt x="118691" y="102445"/>
                    </a:lnTo>
                    <a:lnTo>
                      <a:pt x="119349" y="96325"/>
                    </a:lnTo>
                    <a:lnTo>
                      <a:pt x="122478" y="95913"/>
                    </a:lnTo>
                    <a:lnTo>
                      <a:pt x="122917" y="104283"/>
                    </a:lnTo>
                    <a:lnTo>
                      <a:pt x="128708" y="105326"/>
                    </a:lnTo>
                    <a:lnTo>
                      <a:pt x="132111" y="101072"/>
                    </a:lnTo>
                    <a:lnTo>
                      <a:pt x="133894" y="100990"/>
                    </a:lnTo>
                    <a:lnTo>
                      <a:pt x="132934" y="94980"/>
                    </a:lnTo>
                    <a:lnTo>
                      <a:pt x="135596" y="89793"/>
                    </a:lnTo>
                    <a:lnTo>
                      <a:pt x="139712" y="89683"/>
                    </a:lnTo>
                    <a:lnTo>
                      <a:pt x="144487" y="103295"/>
                    </a:lnTo>
                    <a:lnTo>
                      <a:pt x="156507" y="98712"/>
                    </a:lnTo>
                    <a:lnTo>
                      <a:pt x="171381" y="107769"/>
                    </a:lnTo>
                    <a:lnTo>
                      <a:pt x="172424" y="110129"/>
                    </a:lnTo>
                    <a:lnTo>
                      <a:pt x="170393" y="116002"/>
                    </a:lnTo>
                    <a:lnTo>
                      <a:pt x="160432" y="124920"/>
                    </a:lnTo>
                    <a:lnTo>
                      <a:pt x="162270" y="127500"/>
                    </a:lnTo>
                    <a:lnTo>
                      <a:pt x="166140" y="125195"/>
                    </a:lnTo>
                    <a:lnTo>
                      <a:pt x="168610" y="127527"/>
                    </a:lnTo>
                    <a:lnTo>
                      <a:pt x="168994" y="133867"/>
                    </a:lnTo>
                    <a:lnTo>
                      <a:pt x="165591" y="135678"/>
                    </a:lnTo>
                    <a:lnTo>
                      <a:pt x="163505" y="142374"/>
                    </a:lnTo>
                    <a:lnTo>
                      <a:pt x="170833" y="141990"/>
                    </a:lnTo>
                    <a:lnTo>
                      <a:pt x="175113" y="137627"/>
                    </a:lnTo>
                    <a:lnTo>
                      <a:pt x="179861" y="139081"/>
                    </a:lnTo>
                    <a:lnTo>
                      <a:pt x="184170" y="135431"/>
                    </a:lnTo>
                    <a:lnTo>
                      <a:pt x="185871" y="138450"/>
                    </a:lnTo>
                    <a:lnTo>
                      <a:pt x="184389" y="144597"/>
                    </a:lnTo>
                    <a:lnTo>
                      <a:pt x="177638" y="148274"/>
                    </a:lnTo>
                    <a:lnTo>
                      <a:pt x="171409" y="156178"/>
                    </a:lnTo>
                    <a:lnTo>
                      <a:pt x="162709" y="176266"/>
                    </a:lnTo>
                    <a:lnTo>
                      <a:pt x="164438" y="179614"/>
                    </a:lnTo>
                    <a:lnTo>
                      <a:pt x="169954" y="182057"/>
                    </a:lnTo>
                    <a:lnTo>
                      <a:pt x="178516" y="164658"/>
                    </a:lnTo>
                    <a:lnTo>
                      <a:pt x="187518" y="160020"/>
                    </a:lnTo>
                    <a:lnTo>
                      <a:pt x="188149" y="161090"/>
                    </a:lnTo>
                    <a:lnTo>
                      <a:pt x="181782" y="181261"/>
                    </a:lnTo>
                    <a:lnTo>
                      <a:pt x="184609" y="186887"/>
                    </a:lnTo>
                    <a:lnTo>
                      <a:pt x="187655" y="184335"/>
                    </a:lnTo>
                    <a:lnTo>
                      <a:pt x="187490" y="179367"/>
                    </a:lnTo>
                    <a:lnTo>
                      <a:pt x="194351" y="175663"/>
                    </a:lnTo>
                    <a:lnTo>
                      <a:pt x="197315" y="185075"/>
                    </a:lnTo>
                    <a:lnTo>
                      <a:pt x="192430" y="197644"/>
                    </a:lnTo>
                    <a:lnTo>
                      <a:pt x="189082" y="213177"/>
                    </a:lnTo>
                    <a:lnTo>
                      <a:pt x="184773" y="221135"/>
                    </a:lnTo>
                    <a:lnTo>
                      <a:pt x="181947" y="222288"/>
                    </a:lnTo>
                    <a:lnTo>
                      <a:pt x="177364" y="219846"/>
                    </a:lnTo>
                    <a:lnTo>
                      <a:pt x="171601" y="222864"/>
                    </a:lnTo>
                    <a:lnTo>
                      <a:pt x="168802" y="219187"/>
                    </a:lnTo>
                    <a:lnTo>
                      <a:pt x="170009" y="204203"/>
                    </a:lnTo>
                    <a:lnTo>
                      <a:pt x="169213" y="203462"/>
                    </a:lnTo>
                    <a:lnTo>
                      <a:pt x="157715" y="214769"/>
                    </a:lnTo>
                    <a:lnTo>
                      <a:pt x="153077" y="214714"/>
                    </a:lnTo>
                    <a:lnTo>
                      <a:pt x="157303" y="197672"/>
                    </a:lnTo>
                    <a:lnTo>
                      <a:pt x="160432" y="192211"/>
                    </a:lnTo>
                    <a:lnTo>
                      <a:pt x="160761" y="185652"/>
                    </a:lnTo>
                    <a:lnTo>
                      <a:pt x="158538" y="174757"/>
                    </a:lnTo>
                    <a:lnTo>
                      <a:pt x="155876" y="172534"/>
                    </a:lnTo>
                    <a:lnTo>
                      <a:pt x="142731" y="189494"/>
                    </a:lnTo>
                    <a:lnTo>
                      <a:pt x="133867" y="191963"/>
                    </a:lnTo>
                    <a:lnTo>
                      <a:pt x="127829" y="197644"/>
                    </a:lnTo>
                    <a:lnTo>
                      <a:pt x="124920" y="205603"/>
                    </a:lnTo>
                    <a:lnTo>
                      <a:pt x="120777" y="210131"/>
                    </a:lnTo>
                    <a:lnTo>
                      <a:pt x="106918" y="213534"/>
                    </a:lnTo>
                    <a:lnTo>
                      <a:pt x="100331" y="210241"/>
                    </a:lnTo>
                    <a:lnTo>
                      <a:pt x="103268" y="204944"/>
                    </a:lnTo>
                    <a:lnTo>
                      <a:pt x="117401" y="197617"/>
                    </a:lnTo>
                    <a:lnTo>
                      <a:pt x="122149" y="188945"/>
                    </a:lnTo>
                    <a:lnTo>
                      <a:pt x="130189" y="182715"/>
                    </a:lnTo>
                    <a:lnTo>
                      <a:pt x="129942" y="181234"/>
                    </a:lnTo>
                    <a:lnTo>
                      <a:pt x="124564" y="181234"/>
                    </a:lnTo>
                    <a:cubicBezTo>
                      <a:pt x="124564" y="181234"/>
                      <a:pt x="117154" y="177309"/>
                      <a:pt x="117154" y="177309"/>
                    </a:cubicBezTo>
                    <a:lnTo>
                      <a:pt x="115782" y="185569"/>
                    </a:lnTo>
                    <a:lnTo>
                      <a:pt x="112599" y="187683"/>
                    </a:lnTo>
                    <a:lnTo>
                      <a:pt x="109881" y="185021"/>
                    </a:lnTo>
                    <a:lnTo>
                      <a:pt x="105271" y="186695"/>
                    </a:lnTo>
                    <a:lnTo>
                      <a:pt x="105820" y="183346"/>
                    </a:lnTo>
                    <a:lnTo>
                      <a:pt x="97944" y="185816"/>
                    </a:lnTo>
                    <a:lnTo>
                      <a:pt x="97532" y="184389"/>
                    </a:lnTo>
                    <a:lnTo>
                      <a:pt x="99645" y="182139"/>
                    </a:lnTo>
                    <a:lnTo>
                      <a:pt x="95063" y="177199"/>
                    </a:lnTo>
                    <a:lnTo>
                      <a:pt x="91961" y="180245"/>
                    </a:lnTo>
                    <a:lnTo>
                      <a:pt x="74892" y="183539"/>
                    </a:lnTo>
                    <a:lnTo>
                      <a:pt x="58179" y="179998"/>
                    </a:lnTo>
                    <a:lnTo>
                      <a:pt x="49919" y="181672"/>
                    </a:lnTo>
                    <a:lnTo>
                      <a:pt x="43442" y="179038"/>
                    </a:lnTo>
                    <a:lnTo>
                      <a:pt x="29995" y="175964"/>
                    </a:lnTo>
                    <a:lnTo>
                      <a:pt x="24671" y="180081"/>
                    </a:lnTo>
                    <a:lnTo>
                      <a:pt x="4007" y="181069"/>
                    </a:lnTo>
                    <a:lnTo>
                      <a:pt x="0" y="168966"/>
                    </a:lnTo>
                    <a:lnTo>
                      <a:pt x="25961" y="143856"/>
                    </a:lnTo>
                    <a:lnTo>
                      <a:pt x="20857" y="138477"/>
                    </a:lnTo>
                    <a:lnTo>
                      <a:pt x="21213" y="131534"/>
                    </a:lnTo>
                    <a:lnTo>
                      <a:pt x="27745" y="115864"/>
                    </a:lnTo>
                    <a:lnTo>
                      <a:pt x="32849" y="115480"/>
                    </a:lnTo>
                    <a:lnTo>
                      <a:pt x="37240" y="111089"/>
                    </a:lnTo>
                    <a:lnTo>
                      <a:pt x="33974" y="107055"/>
                    </a:lnTo>
                    <a:lnTo>
                      <a:pt x="34166" y="102143"/>
                    </a:lnTo>
                    <a:lnTo>
                      <a:pt x="38777" y="96187"/>
                    </a:lnTo>
                    <a:lnTo>
                      <a:pt x="42619" y="96544"/>
                    </a:lnTo>
                    <a:lnTo>
                      <a:pt x="41796" y="88997"/>
                    </a:lnTo>
                    <a:lnTo>
                      <a:pt x="43470" y="83783"/>
                    </a:lnTo>
                    <a:lnTo>
                      <a:pt x="55819" y="53047"/>
                    </a:lnTo>
                    <a:lnTo>
                      <a:pt x="61143" y="45445"/>
                    </a:lnTo>
                    <a:lnTo>
                      <a:pt x="61143" y="416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0" name="Freeform: Shape 3659">
                <a:extLst>
                  <a:ext uri="{FF2B5EF4-FFF2-40B4-BE49-F238E27FC236}">
                    <a16:creationId xmlns:a16="http://schemas.microsoft.com/office/drawing/2014/main" id="{A1E32E94-5AA9-190B-EBD4-97F44EF17F4B}"/>
                  </a:ext>
                </a:extLst>
              </p:cNvPr>
              <p:cNvSpPr/>
              <p:nvPr/>
            </p:nvSpPr>
            <p:spPr>
              <a:xfrm>
                <a:off x="1004975" y="3464977"/>
                <a:ext cx="37013" cy="29625"/>
              </a:xfrm>
              <a:custGeom>
                <a:avLst/>
                <a:gdLst>
                  <a:gd name="connsiteX0" fmla="*/ 270643 w 354865"/>
                  <a:gd name="connsiteY0" fmla="*/ 91303 h 284034"/>
                  <a:gd name="connsiteX1" fmla="*/ 285242 w 354865"/>
                  <a:gd name="connsiteY1" fmla="*/ 100716 h 284034"/>
                  <a:gd name="connsiteX2" fmla="*/ 288398 w 354865"/>
                  <a:gd name="connsiteY2" fmla="*/ 117264 h 284034"/>
                  <a:gd name="connsiteX3" fmla="*/ 302339 w 354865"/>
                  <a:gd name="connsiteY3" fmla="*/ 116935 h 284034"/>
                  <a:gd name="connsiteX4" fmla="*/ 310764 w 354865"/>
                  <a:gd name="connsiteY4" fmla="*/ 131891 h 284034"/>
                  <a:gd name="connsiteX5" fmla="*/ 314606 w 354865"/>
                  <a:gd name="connsiteY5" fmla="*/ 109690 h 284034"/>
                  <a:gd name="connsiteX6" fmla="*/ 323196 w 354865"/>
                  <a:gd name="connsiteY6" fmla="*/ 98630 h 284034"/>
                  <a:gd name="connsiteX7" fmla="*/ 351298 w 354865"/>
                  <a:gd name="connsiteY7" fmla="*/ 115864 h 284034"/>
                  <a:gd name="connsiteX8" fmla="*/ 354152 w 354865"/>
                  <a:gd name="connsiteY8" fmla="*/ 125799 h 284034"/>
                  <a:gd name="connsiteX9" fmla="*/ 354865 w 354865"/>
                  <a:gd name="connsiteY9" fmla="*/ 140975 h 284034"/>
                  <a:gd name="connsiteX10" fmla="*/ 350968 w 354865"/>
                  <a:gd name="connsiteY10" fmla="*/ 157660 h 284034"/>
                  <a:gd name="connsiteX11" fmla="*/ 344135 w 354865"/>
                  <a:gd name="connsiteY11" fmla="*/ 185679 h 284034"/>
                  <a:gd name="connsiteX12" fmla="*/ 337576 w 354865"/>
                  <a:gd name="connsiteY12" fmla="*/ 201294 h 284034"/>
                  <a:gd name="connsiteX13" fmla="*/ 330715 w 354865"/>
                  <a:gd name="connsiteY13" fmla="*/ 217595 h 284034"/>
                  <a:gd name="connsiteX14" fmla="*/ 303382 w 354865"/>
                  <a:gd name="connsiteY14" fmla="*/ 228353 h 284034"/>
                  <a:gd name="connsiteX15" fmla="*/ 286779 w 354865"/>
                  <a:gd name="connsiteY15" fmla="*/ 217980 h 284034"/>
                  <a:gd name="connsiteX16" fmla="*/ 271740 w 354865"/>
                  <a:gd name="connsiteY16" fmla="*/ 229039 h 284034"/>
                  <a:gd name="connsiteX17" fmla="*/ 260105 w 354865"/>
                  <a:gd name="connsiteY17" fmla="*/ 220696 h 284034"/>
                  <a:gd name="connsiteX18" fmla="*/ 256647 w 354865"/>
                  <a:gd name="connsiteY18" fmla="*/ 228518 h 284034"/>
                  <a:gd name="connsiteX19" fmla="*/ 253985 w 354865"/>
                  <a:gd name="connsiteY19" fmla="*/ 217513 h 284034"/>
                  <a:gd name="connsiteX20" fmla="*/ 234939 w 354865"/>
                  <a:gd name="connsiteY20" fmla="*/ 235132 h 284034"/>
                  <a:gd name="connsiteX21" fmla="*/ 209664 w 354865"/>
                  <a:gd name="connsiteY21" fmla="*/ 241361 h 284034"/>
                  <a:gd name="connsiteX22" fmla="*/ 198138 w 354865"/>
                  <a:gd name="connsiteY22" fmla="*/ 257717 h 284034"/>
                  <a:gd name="connsiteX23" fmla="*/ 172534 w 354865"/>
                  <a:gd name="connsiteY23" fmla="*/ 275857 h 284034"/>
                  <a:gd name="connsiteX24" fmla="*/ 137380 w 354865"/>
                  <a:gd name="connsiteY24" fmla="*/ 284035 h 284034"/>
                  <a:gd name="connsiteX25" fmla="*/ 113120 w 354865"/>
                  <a:gd name="connsiteY25" fmla="*/ 280824 h 284034"/>
                  <a:gd name="connsiteX26" fmla="*/ 111144 w 354865"/>
                  <a:gd name="connsiteY26" fmla="*/ 277449 h 284034"/>
                  <a:gd name="connsiteX27" fmla="*/ 98410 w 354865"/>
                  <a:gd name="connsiteY27" fmla="*/ 255741 h 284034"/>
                  <a:gd name="connsiteX28" fmla="*/ 103405 w 354865"/>
                  <a:gd name="connsiteY28" fmla="*/ 245395 h 284034"/>
                  <a:gd name="connsiteX29" fmla="*/ 111144 w 354865"/>
                  <a:gd name="connsiteY29" fmla="*/ 241526 h 284034"/>
                  <a:gd name="connsiteX30" fmla="*/ 137407 w 354865"/>
                  <a:gd name="connsiteY30" fmla="*/ 228298 h 284034"/>
                  <a:gd name="connsiteX31" fmla="*/ 139712 w 354865"/>
                  <a:gd name="connsiteY31" fmla="*/ 227118 h 284034"/>
                  <a:gd name="connsiteX32" fmla="*/ 171381 w 354865"/>
                  <a:gd name="connsiteY32" fmla="*/ 220971 h 284034"/>
                  <a:gd name="connsiteX33" fmla="*/ 186640 w 354865"/>
                  <a:gd name="connsiteY33" fmla="*/ 204615 h 284034"/>
                  <a:gd name="connsiteX34" fmla="*/ 187683 w 354865"/>
                  <a:gd name="connsiteY34" fmla="*/ 201322 h 284034"/>
                  <a:gd name="connsiteX35" fmla="*/ 189658 w 354865"/>
                  <a:gd name="connsiteY35" fmla="*/ 195092 h 284034"/>
                  <a:gd name="connsiteX36" fmla="*/ 186063 w 354865"/>
                  <a:gd name="connsiteY36" fmla="*/ 191278 h 284034"/>
                  <a:gd name="connsiteX37" fmla="*/ 176925 w 354865"/>
                  <a:gd name="connsiteY37" fmla="*/ 201322 h 284034"/>
                  <a:gd name="connsiteX38" fmla="*/ 175937 w 354865"/>
                  <a:gd name="connsiteY38" fmla="*/ 202420 h 284034"/>
                  <a:gd name="connsiteX39" fmla="*/ 154147 w 354865"/>
                  <a:gd name="connsiteY39" fmla="*/ 206316 h 284034"/>
                  <a:gd name="connsiteX40" fmla="*/ 151211 w 354865"/>
                  <a:gd name="connsiteY40" fmla="*/ 201349 h 284034"/>
                  <a:gd name="connsiteX41" fmla="*/ 149235 w 354865"/>
                  <a:gd name="connsiteY41" fmla="*/ 198001 h 284034"/>
                  <a:gd name="connsiteX42" fmla="*/ 139712 w 354865"/>
                  <a:gd name="connsiteY42" fmla="*/ 199565 h 284034"/>
                  <a:gd name="connsiteX43" fmla="*/ 138752 w 354865"/>
                  <a:gd name="connsiteY43" fmla="*/ 201349 h 284034"/>
                  <a:gd name="connsiteX44" fmla="*/ 137407 w 354865"/>
                  <a:gd name="connsiteY44" fmla="*/ 203737 h 284034"/>
                  <a:gd name="connsiteX45" fmla="*/ 111144 w 354865"/>
                  <a:gd name="connsiteY45" fmla="*/ 211036 h 284034"/>
                  <a:gd name="connsiteX46" fmla="*/ 109141 w 354865"/>
                  <a:gd name="connsiteY46" fmla="*/ 211585 h 284034"/>
                  <a:gd name="connsiteX47" fmla="*/ 107357 w 354865"/>
                  <a:gd name="connsiteY47" fmla="*/ 201349 h 284034"/>
                  <a:gd name="connsiteX48" fmla="*/ 108866 w 354865"/>
                  <a:gd name="connsiteY48" fmla="*/ 179916 h 284034"/>
                  <a:gd name="connsiteX49" fmla="*/ 104723 w 354865"/>
                  <a:gd name="connsiteY49" fmla="*/ 174098 h 284034"/>
                  <a:gd name="connsiteX50" fmla="*/ 93141 w 354865"/>
                  <a:gd name="connsiteY50" fmla="*/ 201349 h 284034"/>
                  <a:gd name="connsiteX51" fmla="*/ 88751 w 354865"/>
                  <a:gd name="connsiteY51" fmla="*/ 212573 h 284034"/>
                  <a:gd name="connsiteX52" fmla="*/ 72751 w 354865"/>
                  <a:gd name="connsiteY52" fmla="*/ 221108 h 284034"/>
                  <a:gd name="connsiteX53" fmla="*/ 63256 w 354865"/>
                  <a:gd name="connsiteY53" fmla="*/ 205767 h 284034"/>
                  <a:gd name="connsiteX54" fmla="*/ 51757 w 354865"/>
                  <a:gd name="connsiteY54" fmla="*/ 222041 h 284034"/>
                  <a:gd name="connsiteX55" fmla="*/ 41000 w 354865"/>
                  <a:gd name="connsiteY55" fmla="*/ 215565 h 284034"/>
                  <a:gd name="connsiteX56" fmla="*/ 34468 w 354865"/>
                  <a:gd name="connsiteY56" fmla="*/ 201377 h 284034"/>
                  <a:gd name="connsiteX57" fmla="*/ 33700 w 354865"/>
                  <a:gd name="connsiteY57" fmla="*/ 201377 h 284034"/>
                  <a:gd name="connsiteX58" fmla="*/ 20445 w 354865"/>
                  <a:gd name="connsiteY58" fmla="*/ 205630 h 284034"/>
                  <a:gd name="connsiteX59" fmla="*/ 9276 w 354865"/>
                  <a:gd name="connsiteY59" fmla="*/ 201377 h 284034"/>
                  <a:gd name="connsiteX60" fmla="*/ 2525 w 354865"/>
                  <a:gd name="connsiteY60" fmla="*/ 197919 h 284034"/>
                  <a:gd name="connsiteX61" fmla="*/ 0 w 354865"/>
                  <a:gd name="connsiteY61" fmla="*/ 187298 h 284034"/>
                  <a:gd name="connsiteX62" fmla="*/ 10483 w 354865"/>
                  <a:gd name="connsiteY62" fmla="*/ 168857 h 284034"/>
                  <a:gd name="connsiteX63" fmla="*/ 32657 w 354865"/>
                  <a:gd name="connsiteY63" fmla="*/ 158538 h 284034"/>
                  <a:gd name="connsiteX64" fmla="*/ 20500 w 354865"/>
                  <a:gd name="connsiteY64" fmla="*/ 136941 h 284034"/>
                  <a:gd name="connsiteX65" fmla="*/ 29995 w 354865"/>
                  <a:gd name="connsiteY65" fmla="*/ 122917 h 284034"/>
                  <a:gd name="connsiteX66" fmla="*/ 28486 w 354865"/>
                  <a:gd name="connsiteY66" fmla="*/ 105628 h 284034"/>
                  <a:gd name="connsiteX67" fmla="*/ 29995 w 354865"/>
                  <a:gd name="connsiteY67" fmla="*/ 94569 h 284034"/>
                  <a:gd name="connsiteX68" fmla="*/ 47367 w 354865"/>
                  <a:gd name="connsiteY68" fmla="*/ 77225 h 284034"/>
                  <a:gd name="connsiteX69" fmla="*/ 57548 w 354865"/>
                  <a:gd name="connsiteY69" fmla="*/ 53953 h 284034"/>
                  <a:gd name="connsiteX70" fmla="*/ 81314 w 354865"/>
                  <a:gd name="connsiteY70" fmla="*/ 43854 h 284034"/>
                  <a:gd name="connsiteX71" fmla="*/ 95639 w 354865"/>
                  <a:gd name="connsiteY71" fmla="*/ 50824 h 284034"/>
                  <a:gd name="connsiteX72" fmla="*/ 106314 w 354865"/>
                  <a:gd name="connsiteY72" fmla="*/ 73328 h 284034"/>
                  <a:gd name="connsiteX73" fmla="*/ 111117 w 354865"/>
                  <a:gd name="connsiteY73" fmla="*/ 75743 h 284034"/>
                  <a:gd name="connsiteX74" fmla="*/ 137380 w 354865"/>
                  <a:gd name="connsiteY74" fmla="*/ 79338 h 284034"/>
                  <a:gd name="connsiteX75" fmla="*/ 139685 w 354865"/>
                  <a:gd name="connsiteY75" fmla="*/ 80627 h 284034"/>
                  <a:gd name="connsiteX76" fmla="*/ 141551 w 354865"/>
                  <a:gd name="connsiteY76" fmla="*/ 81725 h 284034"/>
                  <a:gd name="connsiteX77" fmla="*/ 163094 w 354865"/>
                  <a:gd name="connsiteY77" fmla="*/ 108619 h 284034"/>
                  <a:gd name="connsiteX78" fmla="*/ 166387 w 354865"/>
                  <a:gd name="connsiteY78" fmla="*/ 124344 h 284034"/>
                  <a:gd name="connsiteX79" fmla="*/ 176596 w 354865"/>
                  <a:gd name="connsiteY79" fmla="*/ 132632 h 284034"/>
                  <a:gd name="connsiteX80" fmla="*/ 185624 w 354865"/>
                  <a:gd name="connsiteY80" fmla="*/ 157770 h 284034"/>
                  <a:gd name="connsiteX81" fmla="*/ 218172 w 354865"/>
                  <a:gd name="connsiteY81" fmla="*/ 158044 h 284034"/>
                  <a:gd name="connsiteX82" fmla="*/ 246465 w 354865"/>
                  <a:gd name="connsiteY82" fmla="*/ 162600 h 284034"/>
                  <a:gd name="connsiteX83" fmla="*/ 249045 w 354865"/>
                  <a:gd name="connsiteY83" fmla="*/ 157742 h 284034"/>
                  <a:gd name="connsiteX84" fmla="*/ 251844 w 354865"/>
                  <a:gd name="connsiteY84" fmla="*/ 150525 h 284034"/>
                  <a:gd name="connsiteX85" fmla="*/ 249374 w 354865"/>
                  <a:gd name="connsiteY85" fmla="*/ 140014 h 284034"/>
                  <a:gd name="connsiteX86" fmla="*/ 229506 w 354865"/>
                  <a:gd name="connsiteY86" fmla="*/ 119267 h 284034"/>
                  <a:gd name="connsiteX87" fmla="*/ 235488 w 354865"/>
                  <a:gd name="connsiteY87" fmla="*/ 99783 h 284034"/>
                  <a:gd name="connsiteX88" fmla="*/ 235845 w 354865"/>
                  <a:gd name="connsiteY88" fmla="*/ 89162 h 284034"/>
                  <a:gd name="connsiteX89" fmla="*/ 218227 w 354865"/>
                  <a:gd name="connsiteY89" fmla="*/ 71379 h 284034"/>
                  <a:gd name="connsiteX90" fmla="*/ 214988 w 354865"/>
                  <a:gd name="connsiteY90" fmla="*/ 68196 h 284034"/>
                  <a:gd name="connsiteX91" fmla="*/ 211613 w 354865"/>
                  <a:gd name="connsiteY91" fmla="*/ 57575 h 284034"/>
                  <a:gd name="connsiteX92" fmla="*/ 218254 w 354865"/>
                  <a:gd name="connsiteY92" fmla="*/ 50248 h 284034"/>
                  <a:gd name="connsiteX93" fmla="*/ 226926 w 354865"/>
                  <a:gd name="connsiteY93" fmla="*/ 40616 h 284034"/>
                  <a:gd name="connsiteX94" fmla="*/ 242212 w 354865"/>
                  <a:gd name="connsiteY94" fmla="*/ 6175 h 284034"/>
                  <a:gd name="connsiteX95" fmla="*/ 256866 w 354865"/>
                  <a:gd name="connsiteY95" fmla="*/ 0 h 284034"/>
                  <a:gd name="connsiteX96" fmla="*/ 264221 w 354865"/>
                  <a:gd name="connsiteY96" fmla="*/ 11389 h 284034"/>
                  <a:gd name="connsiteX97" fmla="*/ 263041 w 354865"/>
                  <a:gd name="connsiteY97" fmla="*/ 28952 h 284034"/>
                  <a:gd name="connsiteX98" fmla="*/ 264303 w 354865"/>
                  <a:gd name="connsiteY98" fmla="*/ 42262 h 284034"/>
                  <a:gd name="connsiteX99" fmla="*/ 273826 w 354865"/>
                  <a:gd name="connsiteY99" fmla="*/ 67235 h 284034"/>
                  <a:gd name="connsiteX100" fmla="*/ 270698 w 354865"/>
                  <a:gd name="connsiteY100" fmla="*/ 91358 h 28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54865" h="284034">
                    <a:moveTo>
                      <a:pt x="270643" y="91303"/>
                    </a:moveTo>
                    <a:lnTo>
                      <a:pt x="285242" y="100716"/>
                    </a:lnTo>
                    <a:lnTo>
                      <a:pt x="288398" y="117264"/>
                    </a:lnTo>
                    <a:lnTo>
                      <a:pt x="302339" y="116935"/>
                    </a:lnTo>
                    <a:lnTo>
                      <a:pt x="310764" y="131891"/>
                    </a:lnTo>
                    <a:lnTo>
                      <a:pt x="314606" y="109690"/>
                    </a:lnTo>
                    <a:lnTo>
                      <a:pt x="323196" y="98630"/>
                    </a:lnTo>
                    <a:lnTo>
                      <a:pt x="351298" y="115864"/>
                    </a:lnTo>
                    <a:lnTo>
                      <a:pt x="354152" y="125799"/>
                    </a:lnTo>
                    <a:lnTo>
                      <a:pt x="354865" y="140975"/>
                    </a:lnTo>
                    <a:lnTo>
                      <a:pt x="350968" y="157660"/>
                    </a:lnTo>
                    <a:lnTo>
                      <a:pt x="344135" y="185679"/>
                    </a:lnTo>
                    <a:lnTo>
                      <a:pt x="337576" y="201294"/>
                    </a:lnTo>
                    <a:lnTo>
                      <a:pt x="330715" y="217595"/>
                    </a:lnTo>
                    <a:lnTo>
                      <a:pt x="303382" y="228353"/>
                    </a:lnTo>
                    <a:lnTo>
                      <a:pt x="286779" y="217980"/>
                    </a:lnTo>
                    <a:lnTo>
                      <a:pt x="271740" y="229039"/>
                    </a:lnTo>
                    <a:lnTo>
                      <a:pt x="260105" y="220696"/>
                    </a:lnTo>
                    <a:lnTo>
                      <a:pt x="256647" y="228518"/>
                    </a:lnTo>
                    <a:lnTo>
                      <a:pt x="253985" y="217513"/>
                    </a:lnTo>
                    <a:lnTo>
                      <a:pt x="234939" y="235132"/>
                    </a:lnTo>
                    <a:lnTo>
                      <a:pt x="209664" y="241361"/>
                    </a:lnTo>
                    <a:lnTo>
                      <a:pt x="198138" y="257717"/>
                    </a:lnTo>
                    <a:lnTo>
                      <a:pt x="172534" y="275857"/>
                    </a:lnTo>
                    <a:lnTo>
                      <a:pt x="137380" y="284035"/>
                    </a:lnTo>
                    <a:lnTo>
                      <a:pt x="113120" y="280824"/>
                    </a:lnTo>
                    <a:lnTo>
                      <a:pt x="111144" y="277449"/>
                    </a:lnTo>
                    <a:lnTo>
                      <a:pt x="98410" y="255741"/>
                    </a:lnTo>
                    <a:lnTo>
                      <a:pt x="103405" y="245395"/>
                    </a:lnTo>
                    <a:lnTo>
                      <a:pt x="111144" y="241526"/>
                    </a:lnTo>
                    <a:lnTo>
                      <a:pt x="137407" y="228298"/>
                    </a:lnTo>
                    <a:lnTo>
                      <a:pt x="139712" y="227118"/>
                    </a:lnTo>
                    <a:lnTo>
                      <a:pt x="171381" y="220971"/>
                    </a:lnTo>
                    <a:lnTo>
                      <a:pt x="186640" y="204615"/>
                    </a:lnTo>
                    <a:lnTo>
                      <a:pt x="187683" y="201322"/>
                    </a:lnTo>
                    <a:lnTo>
                      <a:pt x="189658" y="195092"/>
                    </a:lnTo>
                    <a:lnTo>
                      <a:pt x="186063" y="191278"/>
                    </a:lnTo>
                    <a:lnTo>
                      <a:pt x="176925" y="201322"/>
                    </a:lnTo>
                    <a:lnTo>
                      <a:pt x="175937" y="202420"/>
                    </a:lnTo>
                    <a:lnTo>
                      <a:pt x="154147" y="206316"/>
                    </a:lnTo>
                    <a:lnTo>
                      <a:pt x="151211" y="201349"/>
                    </a:lnTo>
                    <a:lnTo>
                      <a:pt x="149235" y="198001"/>
                    </a:lnTo>
                    <a:lnTo>
                      <a:pt x="139712" y="199565"/>
                    </a:lnTo>
                    <a:lnTo>
                      <a:pt x="138752" y="201349"/>
                    </a:lnTo>
                    <a:lnTo>
                      <a:pt x="137407" y="203737"/>
                    </a:lnTo>
                    <a:lnTo>
                      <a:pt x="111144" y="211036"/>
                    </a:lnTo>
                    <a:lnTo>
                      <a:pt x="109141" y="211585"/>
                    </a:lnTo>
                    <a:lnTo>
                      <a:pt x="107357" y="201349"/>
                    </a:lnTo>
                    <a:lnTo>
                      <a:pt x="108866" y="179916"/>
                    </a:lnTo>
                    <a:lnTo>
                      <a:pt x="104723" y="174098"/>
                    </a:lnTo>
                    <a:lnTo>
                      <a:pt x="93141" y="201349"/>
                    </a:lnTo>
                    <a:lnTo>
                      <a:pt x="88751" y="212573"/>
                    </a:lnTo>
                    <a:lnTo>
                      <a:pt x="72751" y="221108"/>
                    </a:lnTo>
                    <a:lnTo>
                      <a:pt x="63256" y="205767"/>
                    </a:lnTo>
                    <a:lnTo>
                      <a:pt x="51757" y="222041"/>
                    </a:lnTo>
                    <a:lnTo>
                      <a:pt x="41000" y="215565"/>
                    </a:lnTo>
                    <a:lnTo>
                      <a:pt x="34468" y="201377"/>
                    </a:lnTo>
                    <a:lnTo>
                      <a:pt x="33700" y="201377"/>
                    </a:lnTo>
                    <a:lnTo>
                      <a:pt x="20445" y="205630"/>
                    </a:lnTo>
                    <a:lnTo>
                      <a:pt x="9276" y="201377"/>
                    </a:lnTo>
                    <a:lnTo>
                      <a:pt x="2525" y="197919"/>
                    </a:lnTo>
                    <a:lnTo>
                      <a:pt x="0" y="187298"/>
                    </a:lnTo>
                    <a:lnTo>
                      <a:pt x="10483" y="168857"/>
                    </a:lnTo>
                    <a:lnTo>
                      <a:pt x="32657" y="158538"/>
                    </a:lnTo>
                    <a:lnTo>
                      <a:pt x="20500" y="136941"/>
                    </a:lnTo>
                    <a:lnTo>
                      <a:pt x="29995" y="122917"/>
                    </a:lnTo>
                    <a:lnTo>
                      <a:pt x="28486" y="105628"/>
                    </a:lnTo>
                    <a:lnTo>
                      <a:pt x="29995" y="94569"/>
                    </a:lnTo>
                    <a:lnTo>
                      <a:pt x="47367" y="77225"/>
                    </a:lnTo>
                    <a:lnTo>
                      <a:pt x="57548" y="53953"/>
                    </a:lnTo>
                    <a:lnTo>
                      <a:pt x="81314" y="43854"/>
                    </a:lnTo>
                    <a:lnTo>
                      <a:pt x="95639" y="50824"/>
                    </a:lnTo>
                    <a:lnTo>
                      <a:pt x="106314" y="73328"/>
                    </a:lnTo>
                    <a:lnTo>
                      <a:pt x="111117" y="75743"/>
                    </a:lnTo>
                    <a:lnTo>
                      <a:pt x="137380" y="79338"/>
                    </a:lnTo>
                    <a:lnTo>
                      <a:pt x="139685" y="80627"/>
                    </a:lnTo>
                    <a:lnTo>
                      <a:pt x="141551" y="81725"/>
                    </a:lnTo>
                    <a:lnTo>
                      <a:pt x="163094" y="108619"/>
                    </a:lnTo>
                    <a:lnTo>
                      <a:pt x="166387" y="124344"/>
                    </a:lnTo>
                    <a:lnTo>
                      <a:pt x="176596" y="132632"/>
                    </a:lnTo>
                    <a:lnTo>
                      <a:pt x="185624" y="157770"/>
                    </a:lnTo>
                    <a:lnTo>
                      <a:pt x="218172" y="158044"/>
                    </a:lnTo>
                    <a:lnTo>
                      <a:pt x="246465" y="162600"/>
                    </a:lnTo>
                    <a:lnTo>
                      <a:pt x="249045" y="157742"/>
                    </a:lnTo>
                    <a:lnTo>
                      <a:pt x="251844" y="150525"/>
                    </a:lnTo>
                    <a:lnTo>
                      <a:pt x="249374" y="140014"/>
                    </a:lnTo>
                    <a:lnTo>
                      <a:pt x="229506" y="119267"/>
                    </a:lnTo>
                    <a:lnTo>
                      <a:pt x="235488" y="99783"/>
                    </a:lnTo>
                    <a:lnTo>
                      <a:pt x="235845" y="89162"/>
                    </a:lnTo>
                    <a:lnTo>
                      <a:pt x="218227" y="71379"/>
                    </a:lnTo>
                    <a:lnTo>
                      <a:pt x="214988" y="68196"/>
                    </a:lnTo>
                    <a:lnTo>
                      <a:pt x="211613" y="57575"/>
                    </a:lnTo>
                    <a:lnTo>
                      <a:pt x="218254" y="50248"/>
                    </a:lnTo>
                    <a:lnTo>
                      <a:pt x="226926" y="40616"/>
                    </a:lnTo>
                    <a:lnTo>
                      <a:pt x="242212" y="6175"/>
                    </a:lnTo>
                    <a:lnTo>
                      <a:pt x="256866" y="0"/>
                    </a:lnTo>
                    <a:lnTo>
                      <a:pt x="264221" y="11389"/>
                    </a:lnTo>
                    <a:lnTo>
                      <a:pt x="263041" y="28952"/>
                    </a:lnTo>
                    <a:lnTo>
                      <a:pt x="264303" y="42262"/>
                    </a:lnTo>
                    <a:lnTo>
                      <a:pt x="273826" y="67235"/>
                    </a:lnTo>
                    <a:lnTo>
                      <a:pt x="270698" y="913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1" name="Freeform: Shape 3660">
                <a:extLst>
                  <a:ext uri="{FF2B5EF4-FFF2-40B4-BE49-F238E27FC236}">
                    <a16:creationId xmlns:a16="http://schemas.microsoft.com/office/drawing/2014/main" id="{5FECDEB2-8102-227B-5538-05E3C087D1D7}"/>
                  </a:ext>
                </a:extLst>
              </p:cNvPr>
              <p:cNvSpPr/>
              <p:nvPr/>
            </p:nvSpPr>
            <p:spPr>
              <a:xfrm>
                <a:off x="1098041" y="3572157"/>
                <a:ext cx="20872" cy="20700"/>
              </a:xfrm>
              <a:custGeom>
                <a:avLst/>
                <a:gdLst>
                  <a:gd name="connsiteX0" fmla="*/ 35895 w 200114"/>
                  <a:gd name="connsiteY0" fmla="*/ 20747 h 198467"/>
                  <a:gd name="connsiteX1" fmla="*/ 46324 w 200114"/>
                  <a:gd name="connsiteY1" fmla="*/ 9276 h 198467"/>
                  <a:gd name="connsiteX2" fmla="*/ 57273 w 200114"/>
                  <a:gd name="connsiteY2" fmla="*/ 13831 h 198467"/>
                  <a:gd name="connsiteX3" fmla="*/ 60320 w 200114"/>
                  <a:gd name="connsiteY3" fmla="*/ 2936 h 198467"/>
                  <a:gd name="connsiteX4" fmla="*/ 64491 w 200114"/>
                  <a:gd name="connsiteY4" fmla="*/ 0 h 198467"/>
                  <a:gd name="connsiteX5" fmla="*/ 70611 w 200114"/>
                  <a:gd name="connsiteY5" fmla="*/ 7355 h 198467"/>
                  <a:gd name="connsiteX6" fmla="*/ 75194 w 200114"/>
                  <a:gd name="connsiteY6" fmla="*/ 25055 h 198467"/>
                  <a:gd name="connsiteX7" fmla="*/ 71846 w 200114"/>
                  <a:gd name="connsiteY7" fmla="*/ 31614 h 198467"/>
                  <a:gd name="connsiteX8" fmla="*/ 62817 w 200114"/>
                  <a:gd name="connsiteY8" fmla="*/ 24726 h 198467"/>
                  <a:gd name="connsiteX9" fmla="*/ 58344 w 200114"/>
                  <a:gd name="connsiteY9" fmla="*/ 33590 h 198467"/>
                  <a:gd name="connsiteX10" fmla="*/ 65589 w 200114"/>
                  <a:gd name="connsiteY10" fmla="*/ 52581 h 198467"/>
                  <a:gd name="connsiteX11" fmla="*/ 66357 w 200114"/>
                  <a:gd name="connsiteY11" fmla="*/ 54584 h 198467"/>
                  <a:gd name="connsiteX12" fmla="*/ 69842 w 200114"/>
                  <a:gd name="connsiteY12" fmla="*/ 54694 h 198467"/>
                  <a:gd name="connsiteX13" fmla="*/ 70830 w 200114"/>
                  <a:gd name="connsiteY13" fmla="*/ 52581 h 198467"/>
                  <a:gd name="connsiteX14" fmla="*/ 75743 w 200114"/>
                  <a:gd name="connsiteY14" fmla="*/ 41960 h 198467"/>
                  <a:gd name="connsiteX15" fmla="*/ 79365 w 200114"/>
                  <a:gd name="connsiteY15" fmla="*/ 40808 h 198467"/>
                  <a:gd name="connsiteX16" fmla="*/ 87708 w 200114"/>
                  <a:gd name="connsiteY16" fmla="*/ 52581 h 198467"/>
                  <a:gd name="connsiteX17" fmla="*/ 90891 w 200114"/>
                  <a:gd name="connsiteY17" fmla="*/ 57054 h 198467"/>
                  <a:gd name="connsiteX18" fmla="*/ 95721 w 200114"/>
                  <a:gd name="connsiteY18" fmla="*/ 58618 h 198467"/>
                  <a:gd name="connsiteX19" fmla="*/ 108948 w 200114"/>
                  <a:gd name="connsiteY19" fmla="*/ 62817 h 198467"/>
                  <a:gd name="connsiteX20" fmla="*/ 110952 w 200114"/>
                  <a:gd name="connsiteY20" fmla="*/ 65644 h 198467"/>
                  <a:gd name="connsiteX21" fmla="*/ 119130 w 200114"/>
                  <a:gd name="connsiteY21" fmla="*/ 77060 h 198467"/>
                  <a:gd name="connsiteX22" fmla="*/ 143582 w 200114"/>
                  <a:gd name="connsiteY22" fmla="*/ 91303 h 198467"/>
                  <a:gd name="connsiteX23" fmla="*/ 150635 w 200114"/>
                  <a:gd name="connsiteY23" fmla="*/ 98795 h 198467"/>
                  <a:gd name="connsiteX24" fmla="*/ 156699 w 200114"/>
                  <a:gd name="connsiteY24" fmla="*/ 105189 h 198467"/>
                  <a:gd name="connsiteX25" fmla="*/ 158071 w 200114"/>
                  <a:gd name="connsiteY25" fmla="*/ 110815 h 198467"/>
                  <a:gd name="connsiteX26" fmla="*/ 162270 w 200114"/>
                  <a:gd name="connsiteY26" fmla="*/ 127802 h 198467"/>
                  <a:gd name="connsiteX27" fmla="*/ 159389 w 200114"/>
                  <a:gd name="connsiteY27" fmla="*/ 137105 h 198467"/>
                  <a:gd name="connsiteX28" fmla="*/ 168939 w 200114"/>
                  <a:gd name="connsiteY28" fmla="*/ 135925 h 198467"/>
                  <a:gd name="connsiteX29" fmla="*/ 180684 w 200114"/>
                  <a:gd name="connsiteY29" fmla="*/ 140289 h 198467"/>
                  <a:gd name="connsiteX30" fmla="*/ 186585 w 200114"/>
                  <a:gd name="connsiteY30" fmla="*/ 135843 h 198467"/>
                  <a:gd name="connsiteX31" fmla="*/ 192348 w 200114"/>
                  <a:gd name="connsiteY31" fmla="*/ 141441 h 198467"/>
                  <a:gd name="connsiteX32" fmla="*/ 200114 w 200114"/>
                  <a:gd name="connsiteY32" fmla="*/ 157029 h 198467"/>
                  <a:gd name="connsiteX33" fmla="*/ 182853 w 200114"/>
                  <a:gd name="connsiteY33" fmla="*/ 175059 h 198467"/>
                  <a:gd name="connsiteX34" fmla="*/ 175882 w 200114"/>
                  <a:gd name="connsiteY34" fmla="*/ 175525 h 198467"/>
                  <a:gd name="connsiteX35" fmla="*/ 150497 w 200114"/>
                  <a:gd name="connsiteY35" fmla="*/ 162572 h 198467"/>
                  <a:gd name="connsiteX36" fmla="*/ 139328 w 200114"/>
                  <a:gd name="connsiteY36" fmla="*/ 161282 h 198467"/>
                  <a:gd name="connsiteX37" fmla="*/ 137874 w 200114"/>
                  <a:gd name="connsiteY37" fmla="*/ 158099 h 198467"/>
                  <a:gd name="connsiteX38" fmla="*/ 139493 w 200114"/>
                  <a:gd name="connsiteY38" fmla="*/ 151321 h 198467"/>
                  <a:gd name="connsiteX39" fmla="*/ 138505 w 200114"/>
                  <a:gd name="connsiteY39" fmla="*/ 147506 h 198467"/>
                  <a:gd name="connsiteX40" fmla="*/ 121655 w 200114"/>
                  <a:gd name="connsiteY40" fmla="*/ 142347 h 198467"/>
                  <a:gd name="connsiteX41" fmla="*/ 121956 w 200114"/>
                  <a:gd name="connsiteY41" fmla="*/ 131918 h 198467"/>
                  <a:gd name="connsiteX42" fmla="*/ 118307 w 200114"/>
                  <a:gd name="connsiteY42" fmla="*/ 129998 h 198467"/>
                  <a:gd name="connsiteX43" fmla="*/ 106314 w 200114"/>
                  <a:gd name="connsiteY43" fmla="*/ 135733 h 198467"/>
                  <a:gd name="connsiteX44" fmla="*/ 104009 w 200114"/>
                  <a:gd name="connsiteY44" fmla="*/ 141277 h 198467"/>
                  <a:gd name="connsiteX45" fmla="*/ 102308 w 200114"/>
                  <a:gd name="connsiteY45" fmla="*/ 155602 h 198467"/>
                  <a:gd name="connsiteX46" fmla="*/ 84607 w 200114"/>
                  <a:gd name="connsiteY46" fmla="*/ 167979 h 198467"/>
                  <a:gd name="connsiteX47" fmla="*/ 75715 w 200114"/>
                  <a:gd name="connsiteY47" fmla="*/ 185487 h 198467"/>
                  <a:gd name="connsiteX48" fmla="*/ 54035 w 200114"/>
                  <a:gd name="connsiteY48" fmla="*/ 198468 h 198467"/>
                  <a:gd name="connsiteX49" fmla="*/ 49260 w 200114"/>
                  <a:gd name="connsiteY49" fmla="*/ 197837 h 198467"/>
                  <a:gd name="connsiteX50" fmla="*/ 45336 w 200114"/>
                  <a:gd name="connsiteY50" fmla="*/ 190482 h 198467"/>
                  <a:gd name="connsiteX51" fmla="*/ 45336 w 200114"/>
                  <a:gd name="connsiteY51" fmla="*/ 168500 h 198467"/>
                  <a:gd name="connsiteX52" fmla="*/ 43470 w 200114"/>
                  <a:gd name="connsiteY52" fmla="*/ 162956 h 198467"/>
                  <a:gd name="connsiteX53" fmla="*/ 15780 w 200114"/>
                  <a:gd name="connsiteY53" fmla="*/ 164850 h 198467"/>
                  <a:gd name="connsiteX54" fmla="*/ 4363 w 200114"/>
                  <a:gd name="connsiteY54" fmla="*/ 169351 h 198467"/>
                  <a:gd name="connsiteX55" fmla="*/ 220 w 200114"/>
                  <a:gd name="connsiteY55" fmla="*/ 166277 h 198467"/>
                  <a:gd name="connsiteX56" fmla="*/ 0 w 200114"/>
                  <a:gd name="connsiteY56" fmla="*/ 160404 h 198467"/>
                  <a:gd name="connsiteX57" fmla="*/ 6147 w 200114"/>
                  <a:gd name="connsiteY57" fmla="*/ 148768 h 198467"/>
                  <a:gd name="connsiteX58" fmla="*/ 26400 w 200114"/>
                  <a:gd name="connsiteY58" fmla="*/ 132797 h 198467"/>
                  <a:gd name="connsiteX59" fmla="*/ 24122 w 200114"/>
                  <a:gd name="connsiteY59" fmla="*/ 110760 h 198467"/>
                  <a:gd name="connsiteX60" fmla="*/ 23272 w 200114"/>
                  <a:gd name="connsiteY60" fmla="*/ 102225 h 198467"/>
                  <a:gd name="connsiteX61" fmla="*/ 24040 w 200114"/>
                  <a:gd name="connsiteY61" fmla="*/ 98740 h 198467"/>
                  <a:gd name="connsiteX62" fmla="*/ 28870 w 200114"/>
                  <a:gd name="connsiteY62" fmla="*/ 77005 h 198467"/>
                  <a:gd name="connsiteX63" fmla="*/ 29474 w 200114"/>
                  <a:gd name="connsiteY63" fmla="*/ 65589 h 198467"/>
                  <a:gd name="connsiteX64" fmla="*/ 29831 w 200114"/>
                  <a:gd name="connsiteY64" fmla="*/ 58591 h 198467"/>
                  <a:gd name="connsiteX65" fmla="*/ 30160 w 200114"/>
                  <a:gd name="connsiteY65" fmla="*/ 52553 h 198467"/>
                  <a:gd name="connsiteX66" fmla="*/ 30434 w 200114"/>
                  <a:gd name="connsiteY66" fmla="*/ 47120 h 198467"/>
                  <a:gd name="connsiteX67" fmla="*/ 35868 w 200114"/>
                  <a:gd name="connsiteY67" fmla="*/ 20747 h 19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00114" h="198467">
                    <a:moveTo>
                      <a:pt x="35895" y="20747"/>
                    </a:moveTo>
                    <a:lnTo>
                      <a:pt x="46324" y="9276"/>
                    </a:lnTo>
                    <a:lnTo>
                      <a:pt x="57273" y="13831"/>
                    </a:lnTo>
                    <a:lnTo>
                      <a:pt x="60320" y="2936"/>
                    </a:lnTo>
                    <a:lnTo>
                      <a:pt x="64491" y="0"/>
                    </a:lnTo>
                    <a:lnTo>
                      <a:pt x="70611" y="7355"/>
                    </a:lnTo>
                    <a:lnTo>
                      <a:pt x="75194" y="25055"/>
                    </a:lnTo>
                    <a:lnTo>
                      <a:pt x="71846" y="31614"/>
                    </a:lnTo>
                    <a:lnTo>
                      <a:pt x="62817" y="24726"/>
                    </a:lnTo>
                    <a:lnTo>
                      <a:pt x="58344" y="33590"/>
                    </a:lnTo>
                    <a:lnTo>
                      <a:pt x="65589" y="52581"/>
                    </a:lnTo>
                    <a:lnTo>
                      <a:pt x="66357" y="54584"/>
                    </a:lnTo>
                    <a:lnTo>
                      <a:pt x="69842" y="54694"/>
                    </a:lnTo>
                    <a:lnTo>
                      <a:pt x="70830" y="52581"/>
                    </a:lnTo>
                    <a:lnTo>
                      <a:pt x="75743" y="41960"/>
                    </a:lnTo>
                    <a:lnTo>
                      <a:pt x="79365" y="40808"/>
                    </a:lnTo>
                    <a:lnTo>
                      <a:pt x="87708" y="52581"/>
                    </a:lnTo>
                    <a:lnTo>
                      <a:pt x="90891" y="57054"/>
                    </a:lnTo>
                    <a:lnTo>
                      <a:pt x="95721" y="58618"/>
                    </a:lnTo>
                    <a:lnTo>
                      <a:pt x="108948" y="62817"/>
                    </a:lnTo>
                    <a:lnTo>
                      <a:pt x="110952" y="65644"/>
                    </a:lnTo>
                    <a:lnTo>
                      <a:pt x="119130" y="77060"/>
                    </a:lnTo>
                    <a:lnTo>
                      <a:pt x="143582" y="91303"/>
                    </a:lnTo>
                    <a:lnTo>
                      <a:pt x="150635" y="98795"/>
                    </a:lnTo>
                    <a:lnTo>
                      <a:pt x="156699" y="105189"/>
                    </a:lnTo>
                    <a:lnTo>
                      <a:pt x="158071" y="110815"/>
                    </a:lnTo>
                    <a:lnTo>
                      <a:pt x="162270" y="127802"/>
                    </a:lnTo>
                    <a:lnTo>
                      <a:pt x="159389" y="137105"/>
                    </a:lnTo>
                    <a:lnTo>
                      <a:pt x="168939" y="135925"/>
                    </a:lnTo>
                    <a:lnTo>
                      <a:pt x="180684" y="140289"/>
                    </a:lnTo>
                    <a:lnTo>
                      <a:pt x="186585" y="135843"/>
                    </a:lnTo>
                    <a:lnTo>
                      <a:pt x="192348" y="141441"/>
                    </a:lnTo>
                    <a:lnTo>
                      <a:pt x="200114" y="157029"/>
                    </a:lnTo>
                    <a:lnTo>
                      <a:pt x="182853" y="175059"/>
                    </a:lnTo>
                    <a:lnTo>
                      <a:pt x="175882" y="175525"/>
                    </a:lnTo>
                    <a:lnTo>
                      <a:pt x="150497" y="162572"/>
                    </a:lnTo>
                    <a:lnTo>
                      <a:pt x="139328" y="161282"/>
                    </a:lnTo>
                    <a:lnTo>
                      <a:pt x="137874" y="158099"/>
                    </a:lnTo>
                    <a:lnTo>
                      <a:pt x="139493" y="151321"/>
                    </a:lnTo>
                    <a:lnTo>
                      <a:pt x="138505" y="147506"/>
                    </a:lnTo>
                    <a:lnTo>
                      <a:pt x="121655" y="142347"/>
                    </a:lnTo>
                    <a:lnTo>
                      <a:pt x="121956" y="131918"/>
                    </a:lnTo>
                    <a:lnTo>
                      <a:pt x="118307" y="129998"/>
                    </a:lnTo>
                    <a:lnTo>
                      <a:pt x="106314" y="135733"/>
                    </a:lnTo>
                    <a:lnTo>
                      <a:pt x="104009" y="141277"/>
                    </a:lnTo>
                    <a:lnTo>
                      <a:pt x="102308" y="155602"/>
                    </a:lnTo>
                    <a:lnTo>
                      <a:pt x="84607" y="167979"/>
                    </a:lnTo>
                    <a:lnTo>
                      <a:pt x="75715" y="185487"/>
                    </a:lnTo>
                    <a:lnTo>
                      <a:pt x="54035" y="198468"/>
                    </a:lnTo>
                    <a:lnTo>
                      <a:pt x="49260" y="197837"/>
                    </a:lnTo>
                    <a:lnTo>
                      <a:pt x="45336" y="190482"/>
                    </a:lnTo>
                    <a:lnTo>
                      <a:pt x="45336" y="168500"/>
                    </a:lnTo>
                    <a:cubicBezTo>
                      <a:pt x="45336" y="168500"/>
                      <a:pt x="43470" y="162956"/>
                      <a:pt x="43470" y="162956"/>
                    </a:cubicBezTo>
                    <a:lnTo>
                      <a:pt x="15780" y="164850"/>
                    </a:lnTo>
                    <a:lnTo>
                      <a:pt x="4363" y="169351"/>
                    </a:lnTo>
                    <a:lnTo>
                      <a:pt x="220" y="166277"/>
                    </a:lnTo>
                    <a:lnTo>
                      <a:pt x="0" y="160404"/>
                    </a:lnTo>
                    <a:lnTo>
                      <a:pt x="6147" y="148768"/>
                    </a:lnTo>
                    <a:lnTo>
                      <a:pt x="26400" y="132797"/>
                    </a:lnTo>
                    <a:lnTo>
                      <a:pt x="24122" y="110760"/>
                    </a:lnTo>
                    <a:lnTo>
                      <a:pt x="23272" y="102225"/>
                    </a:lnTo>
                    <a:lnTo>
                      <a:pt x="24040" y="98740"/>
                    </a:lnTo>
                    <a:lnTo>
                      <a:pt x="28870" y="77005"/>
                    </a:lnTo>
                    <a:lnTo>
                      <a:pt x="29474" y="65589"/>
                    </a:lnTo>
                    <a:lnTo>
                      <a:pt x="29831" y="58591"/>
                    </a:lnTo>
                    <a:lnTo>
                      <a:pt x="30160" y="52553"/>
                    </a:lnTo>
                    <a:lnTo>
                      <a:pt x="30434" y="47120"/>
                    </a:lnTo>
                    <a:lnTo>
                      <a:pt x="35868" y="207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2" name="Freeform: Shape 3661">
                <a:extLst>
                  <a:ext uri="{FF2B5EF4-FFF2-40B4-BE49-F238E27FC236}">
                    <a16:creationId xmlns:a16="http://schemas.microsoft.com/office/drawing/2014/main" id="{0020140E-5E68-C7AB-4C46-84572F477F22}"/>
                  </a:ext>
                </a:extLst>
              </p:cNvPr>
              <p:cNvSpPr/>
              <p:nvPr/>
            </p:nvSpPr>
            <p:spPr>
              <a:xfrm>
                <a:off x="1050289" y="3500178"/>
                <a:ext cx="19615" cy="27195"/>
              </a:xfrm>
              <a:custGeom>
                <a:avLst/>
                <a:gdLst>
                  <a:gd name="connsiteX0" fmla="*/ 51017 w 188066"/>
                  <a:gd name="connsiteY0" fmla="*/ 20061 h 260735"/>
                  <a:gd name="connsiteX1" fmla="*/ 52636 w 188066"/>
                  <a:gd name="connsiteY1" fmla="*/ 15972 h 260735"/>
                  <a:gd name="connsiteX2" fmla="*/ 63723 w 188066"/>
                  <a:gd name="connsiteY2" fmla="*/ 9468 h 260735"/>
                  <a:gd name="connsiteX3" fmla="*/ 70611 w 188066"/>
                  <a:gd name="connsiteY3" fmla="*/ 11993 h 260735"/>
                  <a:gd name="connsiteX4" fmla="*/ 73767 w 188066"/>
                  <a:gd name="connsiteY4" fmla="*/ 3211 h 260735"/>
                  <a:gd name="connsiteX5" fmla="*/ 78926 w 188066"/>
                  <a:gd name="connsiteY5" fmla="*/ 0 h 260735"/>
                  <a:gd name="connsiteX6" fmla="*/ 104640 w 188066"/>
                  <a:gd name="connsiteY6" fmla="*/ 21460 h 260735"/>
                  <a:gd name="connsiteX7" fmla="*/ 149153 w 188066"/>
                  <a:gd name="connsiteY7" fmla="*/ 6010 h 260735"/>
                  <a:gd name="connsiteX8" fmla="*/ 161090 w 188066"/>
                  <a:gd name="connsiteY8" fmla="*/ 6861 h 260735"/>
                  <a:gd name="connsiteX9" fmla="*/ 169378 w 188066"/>
                  <a:gd name="connsiteY9" fmla="*/ 27141 h 260735"/>
                  <a:gd name="connsiteX10" fmla="*/ 157825 w 188066"/>
                  <a:gd name="connsiteY10" fmla="*/ 41905 h 260735"/>
                  <a:gd name="connsiteX11" fmla="*/ 162106 w 188066"/>
                  <a:gd name="connsiteY11" fmla="*/ 51785 h 260735"/>
                  <a:gd name="connsiteX12" fmla="*/ 162600 w 188066"/>
                  <a:gd name="connsiteY12" fmla="*/ 59002 h 260735"/>
                  <a:gd name="connsiteX13" fmla="*/ 144131 w 188066"/>
                  <a:gd name="connsiteY13" fmla="*/ 70062 h 260735"/>
                  <a:gd name="connsiteX14" fmla="*/ 129641 w 188066"/>
                  <a:gd name="connsiteY14" fmla="*/ 91907 h 260735"/>
                  <a:gd name="connsiteX15" fmla="*/ 129641 w 188066"/>
                  <a:gd name="connsiteY15" fmla="*/ 97834 h 260735"/>
                  <a:gd name="connsiteX16" fmla="*/ 140618 w 188066"/>
                  <a:gd name="connsiteY16" fmla="*/ 90095 h 260735"/>
                  <a:gd name="connsiteX17" fmla="*/ 158291 w 188066"/>
                  <a:gd name="connsiteY17" fmla="*/ 100057 h 260735"/>
                  <a:gd name="connsiteX18" fmla="*/ 166469 w 188066"/>
                  <a:gd name="connsiteY18" fmla="*/ 122862 h 260735"/>
                  <a:gd name="connsiteX19" fmla="*/ 164164 w 188066"/>
                  <a:gd name="connsiteY19" fmla="*/ 133839 h 260735"/>
                  <a:gd name="connsiteX20" fmla="*/ 165097 w 188066"/>
                  <a:gd name="connsiteY20" fmla="*/ 137325 h 260735"/>
                  <a:gd name="connsiteX21" fmla="*/ 171930 w 188066"/>
                  <a:gd name="connsiteY21" fmla="*/ 128708 h 260735"/>
                  <a:gd name="connsiteX22" fmla="*/ 170887 w 188066"/>
                  <a:gd name="connsiteY22" fmla="*/ 119871 h 260735"/>
                  <a:gd name="connsiteX23" fmla="*/ 176431 w 188066"/>
                  <a:gd name="connsiteY23" fmla="*/ 109827 h 260735"/>
                  <a:gd name="connsiteX24" fmla="*/ 178544 w 188066"/>
                  <a:gd name="connsiteY24" fmla="*/ 122835 h 260735"/>
                  <a:gd name="connsiteX25" fmla="*/ 183484 w 188066"/>
                  <a:gd name="connsiteY25" fmla="*/ 130299 h 260735"/>
                  <a:gd name="connsiteX26" fmla="*/ 188067 w 188066"/>
                  <a:gd name="connsiteY26" fmla="*/ 152748 h 260735"/>
                  <a:gd name="connsiteX27" fmla="*/ 179861 w 188066"/>
                  <a:gd name="connsiteY27" fmla="*/ 167073 h 260735"/>
                  <a:gd name="connsiteX28" fmla="*/ 182935 w 188066"/>
                  <a:gd name="connsiteY28" fmla="*/ 179642 h 260735"/>
                  <a:gd name="connsiteX29" fmla="*/ 183456 w 188066"/>
                  <a:gd name="connsiteY29" fmla="*/ 192869 h 260735"/>
                  <a:gd name="connsiteX30" fmla="*/ 180355 w 188066"/>
                  <a:gd name="connsiteY30" fmla="*/ 212381 h 260735"/>
                  <a:gd name="connsiteX31" fmla="*/ 171464 w 188066"/>
                  <a:gd name="connsiteY31" fmla="*/ 213781 h 260735"/>
                  <a:gd name="connsiteX32" fmla="*/ 169735 w 188066"/>
                  <a:gd name="connsiteY32" fmla="*/ 221575 h 260735"/>
                  <a:gd name="connsiteX33" fmla="*/ 154257 w 188066"/>
                  <a:gd name="connsiteY33" fmla="*/ 230823 h 260735"/>
                  <a:gd name="connsiteX34" fmla="*/ 132632 w 188066"/>
                  <a:gd name="connsiteY34" fmla="*/ 227585 h 260735"/>
                  <a:gd name="connsiteX35" fmla="*/ 135212 w 188066"/>
                  <a:gd name="connsiteY35" fmla="*/ 243556 h 260735"/>
                  <a:gd name="connsiteX36" fmla="*/ 120310 w 188066"/>
                  <a:gd name="connsiteY36" fmla="*/ 260736 h 260735"/>
                  <a:gd name="connsiteX37" fmla="*/ 103268 w 188066"/>
                  <a:gd name="connsiteY37" fmla="*/ 254204 h 260735"/>
                  <a:gd name="connsiteX38" fmla="*/ 89025 w 188066"/>
                  <a:gd name="connsiteY38" fmla="*/ 217733 h 260735"/>
                  <a:gd name="connsiteX39" fmla="*/ 60237 w 188066"/>
                  <a:gd name="connsiteY39" fmla="*/ 178517 h 260735"/>
                  <a:gd name="connsiteX40" fmla="*/ 51950 w 188066"/>
                  <a:gd name="connsiteY40" fmla="*/ 177446 h 260735"/>
                  <a:gd name="connsiteX41" fmla="*/ 44293 w 188066"/>
                  <a:gd name="connsiteY41" fmla="*/ 164575 h 260735"/>
                  <a:gd name="connsiteX42" fmla="*/ 37569 w 188066"/>
                  <a:gd name="connsiteY42" fmla="*/ 172205 h 260735"/>
                  <a:gd name="connsiteX43" fmla="*/ 31916 w 188066"/>
                  <a:gd name="connsiteY43" fmla="*/ 166853 h 260735"/>
                  <a:gd name="connsiteX44" fmla="*/ 26537 w 188066"/>
                  <a:gd name="connsiteY44" fmla="*/ 165893 h 260735"/>
                  <a:gd name="connsiteX45" fmla="*/ 22366 w 188066"/>
                  <a:gd name="connsiteY45" fmla="*/ 148000 h 260735"/>
                  <a:gd name="connsiteX46" fmla="*/ 5461 w 188066"/>
                  <a:gd name="connsiteY46" fmla="*/ 132934 h 260735"/>
                  <a:gd name="connsiteX47" fmla="*/ 576 w 188066"/>
                  <a:gd name="connsiteY47" fmla="*/ 125030 h 260735"/>
                  <a:gd name="connsiteX48" fmla="*/ 0 w 188066"/>
                  <a:gd name="connsiteY48" fmla="*/ 116578 h 260735"/>
                  <a:gd name="connsiteX49" fmla="*/ 6230 w 188066"/>
                  <a:gd name="connsiteY49" fmla="*/ 95941 h 260735"/>
                  <a:gd name="connsiteX50" fmla="*/ 13721 w 188066"/>
                  <a:gd name="connsiteY50" fmla="*/ 88723 h 260735"/>
                  <a:gd name="connsiteX51" fmla="*/ 23711 w 188066"/>
                  <a:gd name="connsiteY51" fmla="*/ 89766 h 260735"/>
                  <a:gd name="connsiteX52" fmla="*/ 30379 w 188066"/>
                  <a:gd name="connsiteY52" fmla="*/ 105354 h 260735"/>
                  <a:gd name="connsiteX53" fmla="*/ 31916 w 188066"/>
                  <a:gd name="connsiteY53" fmla="*/ 106012 h 260735"/>
                  <a:gd name="connsiteX54" fmla="*/ 42921 w 188066"/>
                  <a:gd name="connsiteY54" fmla="*/ 123823 h 260735"/>
                  <a:gd name="connsiteX55" fmla="*/ 52004 w 188066"/>
                  <a:gd name="connsiteY55" fmla="*/ 126759 h 260735"/>
                  <a:gd name="connsiteX56" fmla="*/ 69239 w 188066"/>
                  <a:gd name="connsiteY56" fmla="*/ 118471 h 260735"/>
                  <a:gd name="connsiteX57" fmla="*/ 67482 w 188066"/>
                  <a:gd name="connsiteY57" fmla="*/ 101018 h 260735"/>
                  <a:gd name="connsiteX58" fmla="*/ 68196 w 188066"/>
                  <a:gd name="connsiteY58" fmla="*/ 98822 h 260735"/>
                  <a:gd name="connsiteX59" fmla="*/ 73382 w 188066"/>
                  <a:gd name="connsiteY59" fmla="*/ 107302 h 260735"/>
                  <a:gd name="connsiteX60" fmla="*/ 75523 w 188066"/>
                  <a:gd name="connsiteY60" fmla="*/ 105463 h 260735"/>
                  <a:gd name="connsiteX61" fmla="*/ 72889 w 188066"/>
                  <a:gd name="connsiteY61" fmla="*/ 91083 h 260735"/>
                  <a:gd name="connsiteX62" fmla="*/ 69842 w 188066"/>
                  <a:gd name="connsiteY62" fmla="*/ 95200 h 260735"/>
                  <a:gd name="connsiteX63" fmla="*/ 64409 w 188066"/>
                  <a:gd name="connsiteY63" fmla="*/ 80874 h 260735"/>
                  <a:gd name="connsiteX64" fmla="*/ 68772 w 188066"/>
                  <a:gd name="connsiteY64" fmla="*/ 70227 h 260735"/>
                  <a:gd name="connsiteX65" fmla="*/ 73108 w 188066"/>
                  <a:gd name="connsiteY65" fmla="*/ 70117 h 260735"/>
                  <a:gd name="connsiteX66" fmla="*/ 73410 w 188066"/>
                  <a:gd name="connsiteY66" fmla="*/ 66796 h 260735"/>
                  <a:gd name="connsiteX67" fmla="*/ 70528 w 188066"/>
                  <a:gd name="connsiteY67" fmla="*/ 59743 h 260735"/>
                  <a:gd name="connsiteX68" fmla="*/ 62296 w 188066"/>
                  <a:gd name="connsiteY68" fmla="*/ 68415 h 260735"/>
                  <a:gd name="connsiteX69" fmla="*/ 53871 w 188066"/>
                  <a:gd name="connsiteY69" fmla="*/ 69623 h 260735"/>
                  <a:gd name="connsiteX70" fmla="*/ 35456 w 188066"/>
                  <a:gd name="connsiteY70" fmla="*/ 51017 h 260735"/>
                  <a:gd name="connsiteX71" fmla="*/ 35347 w 188066"/>
                  <a:gd name="connsiteY71" fmla="*/ 47586 h 260735"/>
                  <a:gd name="connsiteX72" fmla="*/ 38749 w 188066"/>
                  <a:gd name="connsiteY72" fmla="*/ 41027 h 260735"/>
                  <a:gd name="connsiteX73" fmla="*/ 51017 w 188066"/>
                  <a:gd name="connsiteY73" fmla="*/ 36993 h 260735"/>
                  <a:gd name="connsiteX74" fmla="*/ 60594 w 188066"/>
                  <a:gd name="connsiteY74" fmla="*/ 47120 h 260735"/>
                  <a:gd name="connsiteX75" fmla="*/ 62351 w 188066"/>
                  <a:gd name="connsiteY75" fmla="*/ 44403 h 260735"/>
                  <a:gd name="connsiteX76" fmla="*/ 62268 w 188066"/>
                  <a:gd name="connsiteY76" fmla="*/ 37789 h 260735"/>
                  <a:gd name="connsiteX77" fmla="*/ 51373 w 188066"/>
                  <a:gd name="connsiteY77" fmla="*/ 26510 h 260735"/>
                  <a:gd name="connsiteX78" fmla="*/ 50962 w 188066"/>
                  <a:gd name="connsiteY78" fmla="*/ 19979 h 26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88066" h="260735">
                    <a:moveTo>
                      <a:pt x="51017" y="20061"/>
                    </a:moveTo>
                    <a:lnTo>
                      <a:pt x="52636" y="15972"/>
                    </a:lnTo>
                    <a:lnTo>
                      <a:pt x="63723" y="9468"/>
                    </a:lnTo>
                    <a:lnTo>
                      <a:pt x="70611" y="11993"/>
                    </a:lnTo>
                    <a:lnTo>
                      <a:pt x="73767" y="3211"/>
                    </a:lnTo>
                    <a:lnTo>
                      <a:pt x="78926" y="0"/>
                    </a:lnTo>
                    <a:lnTo>
                      <a:pt x="104640" y="21460"/>
                    </a:lnTo>
                    <a:lnTo>
                      <a:pt x="149153" y="6010"/>
                    </a:lnTo>
                    <a:lnTo>
                      <a:pt x="161090" y="6861"/>
                    </a:lnTo>
                    <a:lnTo>
                      <a:pt x="169378" y="27141"/>
                    </a:lnTo>
                    <a:lnTo>
                      <a:pt x="157825" y="41905"/>
                    </a:lnTo>
                    <a:lnTo>
                      <a:pt x="162106" y="51785"/>
                    </a:lnTo>
                    <a:lnTo>
                      <a:pt x="162600" y="59002"/>
                    </a:lnTo>
                    <a:lnTo>
                      <a:pt x="144131" y="70062"/>
                    </a:lnTo>
                    <a:lnTo>
                      <a:pt x="129641" y="91907"/>
                    </a:lnTo>
                    <a:lnTo>
                      <a:pt x="129641" y="97834"/>
                    </a:lnTo>
                    <a:cubicBezTo>
                      <a:pt x="129641" y="97834"/>
                      <a:pt x="140618" y="90095"/>
                      <a:pt x="140618" y="90095"/>
                    </a:cubicBezTo>
                    <a:lnTo>
                      <a:pt x="158291" y="100057"/>
                    </a:lnTo>
                    <a:lnTo>
                      <a:pt x="166469" y="122862"/>
                    </a:lnTo>
                    <a:lnTo>
                      <a:pt x="164164" y="133839"/>
                    </a:lnTo>
                    <a:lnTo>
                      <a:pt x="165097" y="137325"/>
                    </a:lnTo>
                    <a:lnTo>
                      <a:pt x="171930" y="128708"/>
                    </a:lnTo>
                    <a:lnTo>
                      <a:pt x="170887" y="119871"/>
                    </a:lnTo>
                    <a:lnTo>
                      <a:pt x="176431" y="109827"/>
                    </a:lnTo>
                    <a:lnTo>
                      <a:pt x="178544" y="122835"/>
                    </a:lnTo>
                    <a:lnTo>
                      <a:pt x="183484" y="130299"/>
                    </a:lnTo>
                    <a:lnTo>
                      <a:pt x="188067" y="152748"/>
                    </a:lnTo>
                    <a:lnTo>
                      <a:pt x="179861" y="167073"/>
                    </a:lnTo>
                    <a:lnTo>
                      <a:pt x="182935" y="179642"/>
                    </a:lnTo>
                    <a:lnTo>
                      <a:pt x="183456" y="192869"/>
                    </a:lnTo>
                    <a:lnTo>
                      <a:pt x="180355" y="212381"/>
                    </a:lnTo>
                    <a:lnTo>
                      <a:pt x="171464" y="213781"/>
                    </a:lnTo>
                    <a:lnTo>
                      <a:pt x="169735" y="221575"/>
                    </a:lnTo>
                    <a:lnTo>
                      <a:pt x="154257" y="230823"/>
                    </a:lnTo>
                    <a:lnTo>
                      <a:pt x="132632" y="227585"/>
                    </a:lnTo>
                    <a:lnTo>
                      <a:pt x="135212" y="243556"/>
                    </a:lnTo>
                    <a:lnTo>
                      <a:pt x="120310" y="260736"/>
                    </a:lnTo>
                    <a:lnTo>
                      <a:pt x="103268" y="254204"/>
                    </a:lnTo>
                    <a:lnTo>
                      <a:pt x="89025" y="217733"/>
                    </a:lnTo>
                    <a:lnTo>
                      <a:pt x="60237" y="178517"/>
                    </a:lnTo>
                    <a:lnTo>
                      <a:pt x="51950" y="177446"/>
                    </a:lnTo>
                    <a:lnTo>
                      <a:pt x="44293" y="164575"/>
                    </a:lnTo>
                    <a:lnTo>
                      <a:pt x="37569" y="172205"/>
                    </a:lnTo>
                    <a:lnTo>
                      <a:pt x="31916" y="166853"/>
                    </a:lnTo>
                    <a:lnTo>
                      <a:pt x="26537" y="165893"/>
                    </a:lnTo>
                    <a:lnTo>
                      <a:pt x="22366" y="148000"/>
                    </a:lnTo>
                    <a:lnTo>
                      <a:pt x="5461" y="132934"/>
                    </a:lnTo>
                    <a:lnTo>
                      <a:pt x="576" y="125030"/>
                    </a:lnTo>
                    <a:lnTo>
                      <a:pt x="0" y="116578"/>
                    </a:lnTo>
                    <a:lnTo>
                      <a:pt x="6230" y="95941"/>
                    </a:lnTo>
                    <a:lnTo>
                      <a:pt x="13721" y="88723"/>
                    </a:lnTo>
                    <a:lnTo>
                      <a:pt x="23711" y="89766"/>
                    </a:lnTo>
                    <a:lnTo>
                      <a:pt x="30379" y="105354"/>
                    </a:lnTo>
                    <a:lnTo>
                      <a:pt x="31916" y="106012"/>
                    </a:lnTo>
                    <a:lnTo>
                      <a:pt x="42921" y="123823"/>
                    </a:lnTo>
                    <a:lnTo>
                      <a:pt x="52004" y="126759"/>
                    </a:lnTo>
                    <a:lnTo>
                      <a:pt x="69239" y="118471"/>
                    </a:lnTo>
                    <a:lnTo>
                      <a:pt x="67482" y="101018"/>
                    </a:lnTo>
                    <a:lnTo>
                      <a:pt x="68196" y="98822"/>
                    </a:lnTo>
                    <a:lnTo>
                      <a:pt x="73382" y="107302"/>
                    </a:lnTo>
                    <a:lnTo>
                      <a:pt x="75523" y="105463"/>
                    </a:lnTo>
                    <a:lnTo>
                      <a:pt x="72889" y="91083"/>
                    </a:lnTo>
                    <a:lnTo>
                      <a:pt x="69842" y="95200"/>
                    </a:lnTo>
                    <a:lnTo>
                      <a:pt x="64409" y="80874"/>
                    </a:lnTo>
                    <a:lnTo>
                      <a:pt x="68772" y="70227"/>
                    </a:lnTo>
                    <a:lnTo>
                      <a:pt x="73108" y="70117"/>
                    </a:lnTo>
                    <a:lnTo>
                      <a:pt x="73410" y="66796"/>
                    </a:lnTo>
                    <a:lnTo>
                      <a:pt x="70528" y="59743"/>
                    </a:lnTo>
                    <a:lnTo>
                      <a:pt x="62296" y="68415"/>
                    </a:lnTo>
                    <a:lnTo>
                      <a:pt x="53871" y="69623"/>
                    </a:lnTo>
                    <a:lnTo>
                      <a:pt x="35456" y="51017"/>
                    </a:lnTo>
                    <a:lnTo>
                      <a:pt x="35347" y="47586"/>
                    </a:lnTo>
                    <a:lnTo>
                      <a:pt x="38749" y="41027"/>
                    </a:lnTo>
                    <a:lnTo>
                      <a:pt x="51017" y="36993"/>
                    </a:lnTo>
                    <a:lnTo>
                      <a:pt x="60594" y="47120"/>
                    </a:lnTo>
                    <a:lnTo>
                      <a:pt x="62351" y="44403"/>
                    </a:lnTo>
                    <a:lnTo>
                      <a:pt x="62268" y="37789"/>
                    </a:lnTo>
                    <a:lnTo>
                      <a:pt x="51373" y="26510"/>
                    </a:lnTo>
                    <a:lnTo>
                      <a:pt x="50962" y="199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3" name="Freeform: Shape 3662">
                <a:extLst>
                  <a:ext uri="{FF2B5EF4-FFF2-40B4-BE49-F238E27FC236}">
                    <a16:creationId xmlns:a16="http://schemas.microsoft.com/office/drawing/2014/main" id="{D1593A88-13F2-9854-27D0-84C0CAA1AA6E}"/>
                  </a:ext>
                </a:extLst>
              </p:cNvPr>
              <p:cNvSpPr/>
              <p:nvPr/>
            </p:nvSpPr>
            <p:spPr>
              <a:xfrm>
                <a:off x="988234" y="3455202"/>
                <a:ext cx="22904" cy="23915"/>
              </a:xfrm>
              <a:custGeom>
                <a:avLst/>
                <a:gdLst>
                  <a:gd name="connsiteX0" fmla="*/ 177309 w 219598"/>
                  <a:gd name="connsiteY0" fmla="*/ 13886 h 229286"/>
                  <a:gd name="connsiteX1" fmla="*/ 177309 w 219598"/>
                  <a:gd name="connsiteY1" fmla="*/ 9221 h 229286"/>
                  <a:gd name="connsiteX2" fmla="*/ 184088 w 219598"/>
                  <a:gd name="connsiteY2" fmla="*/ 0 h 229286"/>
                  <a:gd name="connsiteX3" fmla="*/ 199428 w 219598"/>
                  <a:gd name="connsiteY3" fmla="*/ 1674 h 229286"/>
                  <a:gd name="connsiteX4" fmla="*/ 219599 w 219598"/>
                  <a:gd name="connsiteY4" fmla="*/ 27937 h 229286"/>
                  <a:gd name="connsiteX5" fmla="*/ 217815 w 219598"/>
                  <a:gd name="connsiteY5" fmla="*/ 35676 h 229286"/>
                  <a:gd name="connsiteX6" fmla="*/ 197178 w 219598"/>
                  <a:gd name="connsiteY6" fmla="*/ 47037 h 229286"/>
                  <a:gd name="connsiteX7" fmla="*/ 195998 w 219598"/>
                  <a:gd name="connsiteY7" fmla="*/ 55325 h 229286"/>
                  <a:gd name="connsiteX8" fmla="*/ 199428 w 219598"/>
                  <a:gd name="connsiteY8" fmla="*/ 67235 h 229286"/>
                  <a:gd name="connsiteX9" fmla="*/ 209088 w 219598"/>
                  <a:gd name="connsiteY9" fmla="*/ 76566 h 229286"/>
                  <a:gd name="connsiteX10" fmla="*/ 209088 w 219598"/>
                  <a:gd name="connsiteY10" fmla="*/ 81121 h 229286"/>
                  <a:gd name="connsiteX11" fmla="*/ 206289 w 219598"/>
                  <a:gd name="connsiteY11" fmla="*/ 84332 h 229286"/>
                  <a:gd name="connsiteX12" fmla="*/ 196739 w 219598"/>
                  <a:gd name="connsiteY12" fmla="*/ 78706 h 229286"/>
                  <a:gd name="connsiteX13" fmla="*/ 196300 w 219598"/>
                  <a:gd name="connsiteY13" fmla="*/ 87296 h 229286"/>
                  <a:gd name="connsiteX14" fmla="*/ 204176 w 219598"/>
                  <a:gd name="connsiteY14" fmla="*/ 94623 h 229286"/>
                  <a:gd name="connsiteX15" fmla="*/ 206673 w 219598"/>
                  <a:gd name="connsiteY15" fmla="*/ 107028 h 229286"/>
                  <a:gd name="connsiteX16" fmla="*/ 199428 w 219598"/>
                  <a:gd name="connsiteY16" fmla="*/ 121682 h 229286"/>
                  <a:gd name="connsiteX17" fmla="*/ 176403 w 219598"/>
                  <a:gd name="connsiteY17" fmla="*/ 128625 h 229286"/>
                  <a:gd name="connsiteX18" fmla="*/ 174839 w 219598"/>
                  <a:gd name="connsiteY18" fmla="*/ 133373 h 229286"/>
                  <a:gd name="connsiteX19" fmla="*/ 176211 w 219598"/>
                  <a:gd name="connsiteY19" fmla="*/ 140590 h 229286"/>
                  <a:gd name="connsiteX20" fmla="*/ 174839 w 219598"/>
                  <a:gd name="connsiteY20" fmla="*/ 156892 h 229286"/>
                  <a:gd name="connsiteX21" fmla="*/ 164685 w 219598"/>
                  <a:gd name="connsiteY21" fmla="*/ 165344 h 229286"/>
                  <a:gd name="connsiteX22" fmla="*/ 150580 w 219598"/>
                  <a:gd name="connsiteY22" fmla="*/ 155986 h 229286"/>
                  <a:gd name="connsiteX23" fmla="*/ 145064 w 219598"/>
                  <a:gd name="connsiteY23" fmla="*/ 146518 h 229286"/>
                  <a:gd name="connsiteX24" fmla="*/ 145311 w 219598"/>
                  <a:gd name="connsiteY24" fmla="*/ 140590 h 229286"/>
                  <a:gd name="connsiteX25" fmla="*/ 147945 w 219598"/>
                  <a:gd name="connsiteY25" fmla="*/ 128076 h 229286"/>
                  <a:gd name="connsiteX26" fmla="*/ 148247 w 219598"/>
                  <a:gd name="connsiteY26" fmla="*/ 113504 h 229286"/>
                  <a:gd name="connsiteX27" fmla="*/ 151869 w 219598"/>
                  <a:gd name="connsiteY27" fmla="*/ 105930 h 229286"/>
                  <a:gd name="connsiteX28" fmla="*/ 152144 w 219598"/>
                  <a:gd name="connsiteY28" fmla="*/ 97230 h 229286"/>
                  <a:gd name="connsiteX29" fmla="*/ 138697 w 219598"/>
                  <a:gd name="connsiteY29" fmla="*/ 101018 h 229286"/>
                  <a:gd name="connsiteX30" fmla="*/ 133675 w 219598"/>
                  <a:gd name="connsiteY30" fmla="*/ 109004 h 229286"/>
                  <a:gd name="connsiteX31" fmla="*/ 135925 w 219598"/>
                  <a:gd name="connsiteY31" fmla="*/ 120200 h 229286"/>
                  <a:gd name="connsiteX32" fmla="*/ 134196 w 219598"/>
                  <a:gd name="connsiteY32" fmla="*/ 129009 h 229286"/>
                  <a:gd name="connsiteX33" fmla="*/ 120941 w 219598"/>
                  <a:gd name="connsiteY33" fmla="*/ 133181 h 229286"/>
                  <a:gd name="connsiteX34" fmla="*/ 120502 w 219598"/>
                  <a:gd name="connsiteY34" fmla="*/ 136419 h 229286"/>
                  <a:gd name="connsiteX35" fmla="*/ 128022 w 219598"/>
                  <a:gd name="connsiteY35" fmla="*/ 147616 h 229286"/>
                  <a:gd name="connsiteX36" fmla="*/ 127939 w 219598"/>
                  <a:gd name="connsiteY36" fmla="*/ 158703 h 229286"/>
                  <a:gd name="connsiteX37" fmla="*/ 119020 w 219598"/>
                  <a:gd name="connsiteY37" fmla="*/ 164576 h 229286"/>
                  <a:gd name="connsiteX38" fmla="*/ 117922 w 219598"/>
                  <a:gd name="connsiteY38" fmla="*/ 179971 h 229286"/>
                  <a:gd name="connsiteX39" fmla="*/ 111638 w 219598"/>
                  <a:gd name="connsiteY39" fmla="*/ 183923 h 229286"/>
                  <a:gd name="connsiteX40" fmla="*/ 100524 w 219598"/>
                  <a:gd name="connsiteY40" fmla="*/ 156645 h 229286"/>
                  <a:gd name="connsiteX41" fmla="*/ 97697 w 219598"/>
                  <a:gd name="connsiteY41" fmla="*/ 165124 h 229286"/>
                  <a:gd name="connsiteX42" fmla="*/ 101210 w 219598"/>
                  <a:gd name="connsiteY42" fmla="*/ 199510 h 229286"/>
                  <a:gd name="connsiteX43" fmla="*/ 92483 w 219598"/>
                  <a:gd name="connsiteY43" fmla="*/ 213232 h 229286"/>
                  <a:gd name="connsiteX44" fmla="*/ 82274 w 219598"/>
                  <a:gd name="connsiteY44" fmla="*/ 210625 h 229286"/>
                  <a:gd name="connsiteX45" fmla="*/ 77032 w 219598"/>
                  <a:gd name="connsiteY45" fmla="*/ 219736 h 229286"/>
                  <a:gd name="connsiteX46" fmla="*/ 73053 w 219598"/>
                  <a:gd name="connsiteY46" fmla="*/ 215894 h 229286"/>
                  <a:gd name="connsiteX47" fmla="*/ 73136 w 219598"/>
                  <a:gd name="connsiteY47" fmla="*/ 198001 h 229286"/>
                  <a:gd name="connsiteX48" fmla="*/ 66933 w 219598"/>
                  <a:gd name="connsiteY48" fmla="*/ 195559 h 229286"/>
                  <a:gd name="connsiteX49" fmla="*/ 64134 w 219598"/>
                  <a:gd name="connsiteY49" fmla="*/ 176596 h 229286"/>
                  <a:gd name="connsiteX50" fmla="*/ 60649 w 219598"/>
                  <a:gd name="connsiteY50" fmla="*/ 173275 h 229286"/>
                  <a:gd name="connsiteX51" fmla="*/ 56560 w 219598"/>
                  <a:gd name="connsiteY51" fmla="*/ 186009 h 229286"/>
                  <a:gd name="connsiteX52" fmla="*/ 61335 w 219598"/>
                  <a:gd name="connsiteY52" fmla="*/ 210982 h 229286"/>
                  <a:gd name="connsiteX53" fmla="*/ 54968 w 219598"/>
                  <a:gd name="connsiteY53" fmla="*/ 229286 h 229286"/>
                  <a:gd name="connsiteX54" fmla="*/ 52608 w 219598"/>
                  <a:gd name="connsiteY54" fmla="*/ 227475 h 229286"/>
                  <a:gd name="connsiteX55" fmla="*/ 52526 w 219598"/>
                  <a:gd name="connsiteY55" fmla="*/ 223331 h 229286"/>
                  <a:gd name="connsiteX56" fmla="*/ 56258 w 219598"/>
                  <a:gd name="connsiteY56" fmla="*/ 218062 h 229286"/>
                  <a:gd name="connsiteX57" fmla="*/ 57191 w 219598"/>
                  <a:gd name="connsiteY57" fmla="*/ 203874 h 229286"/>
                  <a:gd name="connsiteX58" fmla="*/ 55901 w 219598"/>
                  <a:gd name="connsiteY58" fmla="*/ 197891 h 229286"/>
                  <a:gd name="connsiteX59" fmla="*/ 47888 w 219598"/>
                  <a:gd name="connsiteY59" fmla="*/ 207414 h 229286"/>
                  <a:gd name="connsiteX60" fmla="*/ 39079 w 219598"/>
                  <a:gd name="connsiteY60" fmla="*/ 195861 h 229286"/>
                  <a:gd name="connsiteX61" fmla="*/ 24781 w 219598"/>
                  <a:gd name="connsiteY61" fmla="*/ 193253 h 229286"/>
                  <a:gd name="connsiteX62" fmla="*/ 16932 w 219598"/>
                  <a:gd name="connsiteY62" fmla="*/ 212573 h 229286"/>
                  <a:gd name="connsiteX63" fmla="*/ 11800 w 219598"/>
                  <a:gd name="connsiteY63" fmla="*/ 210680 h 229286"/>
                  <a:gd name="connsiteX64" fmla="*/ 9413 w 219598"/>
                  <a:gd name="connsiteY64" fmla="*/ 206975 h 229286"/>
                  <a:gd name="connsiteX65" fmla="*/ 7959 w 219598"/>
                  <a:gd name="connsiteY65" fmla="*/ 192567 h 229286"/>
                  <a:gd name="connsiteX66" fmla="*/ 12020 w 219598"/>
                  <a:gd name="connsiteY66" fmla="*/ 190399 h 229286"/>
                  <a:gd name="connsiteX67" fmla="*/ 12459 w 219598"/>
                  <a:gd name="connsiteY67" fmla="*/ 184774 h 229286"/>
                  <a:gd name="connsiteX68" fmla="*/ 7904 w 219598"/>
                  <a:gd name="connsiteY68" fmla="*/ 177638 h 229286"/>
                  <a:gd name="connsiteX69" fmla="*/ 960 w 219598"/>
                  <a:gd name="connsiteY69" fmla="*/ 184005 h 229286"/>
                  <a:gd name="connsiteX70" fmla="*/ 0 w 219598"/>
                  <a:gd name="connsiteY70" fmla="*/ 179285 h 229286"/>
                  <a:gd name="connsiteX71" fmla="*/ 10703 w 219598"/>
                  <a:gd name="connsiteY71" fmla="*/ 154778 h 229286"/>
                  <a:gd name="connsiteX72" fmla="*/ 29501 w 219598"/>
                  <a:gd name="connsiteY72" fmla="*/ 142868 h 229286"/>
                  <a:gd name="connsiteX73" fmla="*/ 35539 w 219598"/>
                  <a:gd name="connsiteY73" fmla="*/ 145695 h 229286"/>
                  <a:gd name="connsiteX74" fmla="*/ 43031 w 219598"/>
                  <a:gd name="connsiteY74" fmla="*/ 140618 h 229286"/>
                  <a:gd name="connsiteX75" fmla="*/ 52142 w 219598"/>
                  <a:gd name="connsiteY75" fmla="*/ 112736 h 229286"/>
                  <a:gd name="connsiteX76" fmla="*/ 73547 w 219598"/>
                  <a:gd name="connsiteY76" fmla="*/ 98658 h 229286"/>
                  <a:gd name="connsiteX77" fmla="*/ 76703 w 219598"/>
                  <a:gd name="connsiteY77" fmla="*/ 86198 h 229286"/>
                  <a:gd name="connsiteX78" fmla="*/ 104366 w 219598"/>
                  <a:gd name="connsiteY78" fmla="*/ 47476 h 229286"/>
                  <a:gd name="connsiteX79" fmla="*/ 111611 w 219598"/>
                  <a:gd name="connsiteY79" fmla="*/ 28596 h 229286"/>
                  <a:gd name="connsiteX80" fmla="*/ 144048 w 219598"/>
                  <a:gd name="connsiteY80" fmla="*/ 19539 h 229286"/>
                  <a:gd name="connsiteX81" fmla="*/ 168829 w 219598"/>
                  <a:gd name="connsiteY81" fmla="*/ 32438 h 229286"/>
                  <a:gd name="connsiteX82" fmla="*/ 181535 w 219598"/>
                  <a:gd name="connsiteY82" fmla="*/ 26757 h 229286"/>
                  <a:gd name="connsiteX83" fmla="*/ 181947 w 219598"/>
                  <a:gd name="connsiteY83" fmla="*/ 20472 h 229286"/>
                  <a:gd name="connsiteX84" fmla="*/ 177254 w 219598"/>
                  <a:gd name="connsiteY84" fmla="*/ 13968 h 229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19598" h="229286">
                    <a:moveTo>
                      <a:pt x="177309" y="13886"/>
                    </a:moveTo>
                    <a:lnTo>
                      <a:pt x="177309" y="9221"/>
                    </a:lnTo>
                    <a:lnTo>
                      <a:pt x="184088" y="0"/>
                    </a:lnTo>
                    <a:lnTo>
                      <a:pt x="199428" y="1674"/>
                    </a:lnTo>
                    <a:lnTo>
                      <a:pt x="219599" y="27937"/>
                    </a:lnTo>
                    <a:lnTo>
                      <a:pt x="217815" y="35676"/>
                    </a:lnTo>
                    <a:lnTo>
                      <a:pt x="197178" y="47037"/>
                    </a:lnTo>
                    <a:lnTo>
                      <a:pt x="195998" y="55325"/>
                    </a:lnTo>
                    <a:lnTo>
                      <a:pt x="199428" y="67235"/>
                    </a:lnTo>
                    <a:lnTo>
                      <a:pt x="209088" y="76566"/>
                    </a:lnTo>
                    <a:lnTo>
                      <a:pt x="209088" y="81121"/>
                    </a:lnTo>
                    <a:lnTo>
                      <a:pt x="206289" y="84332"/>
                    </a:lnTo>
                    <a:lnTo>
                      <a:pt x="196739" y="78706"/>
                    </a:lnTo>
                    <a:lnTo>
                      <a:pt x="196300" y="87296"/>
                    </a:lnTo>
                    <a:lnTo>
                      <a:pt x="204176" y="94623"/>
                    </a:lnTo>
                    <a:lnTo>
                      <a:pt x="206673" y="107028"/>
                    </a:lnTo>
                    <a:lnTo>
                      <a:pt x="199428" y="121682"/>
                    </a:lnTo>
                    <a:lnTo>
                      <a:pt x="176403" y="128625"/>
                    </a:lnTo>
                    <a:lnTo>
                      <a:pt x="174839" y="133373"/>
                    </a:lnTo>
                    <a:lnTo>
                      <a:pt x="176211" y="140590"/>
                    </a:lnTo>
                    <a:lnTo>
                      <a:pt x="174839" y="156892"/>
                    </a:lnTo>
                    <a:lnTo>
                      <a:pt x="164685" y="165344"/>
                    </a:lnTo>
                    <a:lnTo>
                      <a:pt x="150580" y="155986"/>
                    </a:lnTo>
                    <a:lnTo>
                      <a:pt x="145064" y="146518"/>
                    </a:lnTo>
                    <a:lnTo>
                      <a:pt x="145311" y="140590"/>
                    </a:lnTo>
                    <a:lnTo>
                      <a:pt x="147945" y="128076"/>
                    </a:lnTo>
                    <a:lnTo>
                      <a:pt x="148247" y="113504"/>
                    </a:lnTo>
                    <a:lnTo>
                      <a:pt x="151869" y="105930"/>
                    </a:lnTo>
                    <a:lnTo>
                      <a:pt x="152144" y="97230"/>
                    </a:lnTo>
                    <a:lnTo>
                      <a:pt x="138697" y="101018"/>
                    </a:lnTo>
                    <a:lnTo>
                      <a:pt x="133675" y="109004"/>
                    </a:lnTo>
                    <a:lnTo>
                      <a:pt x="135925" y="120200"/>
                    </a:lnTo>
                    <a:lnTo>
                      <a:pt x="134196" y="129009"/>
                    </a:lnTo>
                    <a:lnTo>
                      <a:pt x="120941" y="133181"/>
                    </a:lnTo>
                    <a:lnTo>
                      <a:pt x="120502" y="136419"/>
                    </a:lnTo>
                    <a:lnTo>
                      <a:pt x="128022" y="147616"/>
                    </a:lnTo>
                    <a:lnTo>
                      <a:pt x="127939" y="158703"/>
                    </a:lnTo>
                    <a:lnTo>
                      <a:pt x="119020" y="164576"/>
                    </a:lnTo>
                    <a:lnTo>
                      <a:pt x="117922" y="179971"/>
                    </a:lnTo>
                    <a:lnTo>
                      <a:pt x="111638" y="183923"/>
                    </a:lnTo>
                    <a:lnTo>
                      <a:pt x="100524" y="156645"/>
                    </a:lnTo>
                    <a:lnTo>
                      <a:pt x="97697" y="165124"/>
                    </a:lnTo>
                    <a:lnTo>
                      <a:pt x="101210" y="199510"/>
                    </a:lnTo>
                    <a:lnTo>
                      <a:pt x="92483" y="213232"/>
                    </a:lnTo>
                    <a:lnTo>
                      <a:pt x="82274" y="210625"/>
                    </a:lnTo>
                    <a:lnTo>
                      <a:pt x="77032" y="219736"/>
                    </a:lnTo>
                    <a:lnTo>
                      <a:pt x="73053" y="215894"/>
                    </a:lnTo>
                    <a:lnTo>
                      <a:pt x="73136" y="198001"/>
                    </a:lnTo>
                    <a:lnTo>
                      <a:pt x="66933" y="195559"/>
                    </a:lnTo>
                    <a:lnTo>
                      <a:pt x="64134" y="176596"/>
                    </a:lnTo>
                    <a:lnTo>
                      <a:pt x="60649" y="173275"/>
                    </a:lnTo>
                    <a:lnTo>
                      <a:pt x="56560" y="186009"/>
                    </a:lnTo>
                    <a:lnTo>
                      <a:pt x="61335" y="210982"/>
                    </a:lnTo>
                    <a:lnTo>
                      <a:pt x="54968" y="229286"/>
                    </a:lnTo>
                    <a:lnTo>
                      <a:pt x="52608" y="227475"/>
                    </a:lnTo>
                    <a:lnTo>
                      <a:pt x="52526" y="223331"/>
                    </a:lnTo>
                    <a:lnTo>
                      <a:pt x="56258" y="218062"/>
                    </a:lnTo>
                    <a:lnTo>
                      <a:pt x="57191" y="203874"/>
                    </a:lnTo>
                    <a:lnTo>
                      <a:pt x="55901" y="197891"/>
                    </a:lnTo>
                    <a:lnTo>
                      <a:pt x="47888" y="207414"/>
                    </a:lnTo>
                    <a:lnTo>
                      <a:pt x="39079" y="195861"/>
                    </a:lnTo>
                    <a:lnTo>
                      <a:pt x="24781" y="193253"/>
                    </a:lnTo>
                    <a:lnTo>
                      <a:pt x="16932" y="212573"/>
                    </a:lnTo>
                    <a:lnTo>
                      <a:pt x="11800" y="210680"/>
                    </a:lnTo>
                    <a:lnTo>
                      <a:pt x="9413" y="206975"/>
                    </a:lnTo>
                    <a:lnTo>
                      <a:pt x="7959" y="192567"/>
                    </a:lnTo>
                    <a:lnTo>
                      <a:pt x="12020" y="190399"/>
                    </a:lnTo>
                    <a:lnTo>
                      <a:pt x="12459" y="184774"/>
                    </a:lnTo>
                    <a:lnTo>
                      <a:pt x="7904" y="177638"/>
                    </a:lnTo>
                    <a:lnTo>
                      <a:pt x="960" y="184005"/>
                    </a:lnTo>
                    <a:lnTo>
                      <a:pt x="0" y="179285"/>
                    </a:lnTo>
                    <a:lnTo>
                      <a:pt x="10703" y="154778"/>
                    </a:lnTo>
                    <a:lnTo>
                      <a:pt x="29501" y="142868"/>
                    </a:lnTo>
                    <a:lnTo>
                      <a:pt x="35539" y="145695"/>
                    </a:lnTo>
                    <a:lnTo>
                      <a:pt x="43031" y="140618"/>
                    </a:lnTo>
                    <a:lnTo>
                      <a:pt x="52142" y="112736"/>
                    </a:lnTo>
                    <a:lnTo>
                      <a:pt x="73547" y="98658"/>
                    </a:lnTo>
                    <a:lnTo>
                      <a:pt x="76703" y="86198"/>
                    </a:lnTo>
                    <a:lnTo>
                      <a:pt x="104366" y="47476"/>
                    </a:lnTo>
                    <a:lnTo>
                      <a:pt x="111611" y="28596"/>
                    </a:lnTo>
                    <a:lnTo>
                      <a:pt x="144048" y="19539"/>
                    </a:lnTo>
                    <a:lnTo>
                      <a:pt x="168829" y="32438"/>
                    </a:lnTo>
                    <a:lnTo>
                      <a:pt x="181535" y="26757"/>
                    </a:lnTo>
                    <a:lnTo>
                      <a:pt x="181947" y="20472"/>
                    </a:lnTo>
                    <a:lnTo>
                      <a:pt x="177254" y="139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4" name="Freeform: Shape 3663">
                <a:extLst>
                  <a:ext uri="{FF2B5EF4-FFF2-40B4-BE49-F238E27FC236}">
                    <a16:creationId xmlns:a16="http://schemas.microsoft.com/office/drawing/2014/main" id="{033F88CF-5FEE-753F-C967-6CA47C3C304D}"/>
                  </a:ext>
                </a:extLst>
              </p:cNvPr>
              <p:cNvSpPr/>
              <p:nvPr/>
            </p:nvSpPr>
            <p:spPr>
              <a:xfrm>
                <a:off x="1045704" y="3467493"/>
                <a:ext cx="20652" cy="20709"/>
              </a:xfrm>
              <a:custGeom>
                <a:avLst/>
                <a:gdLst>
                  <a:gd name="connsiteX0" fmla="*/ 103954 w 198001"/>
                  <a:gd name="connsiteY0" fmla="*/ 18250 h 198549"/>
                  <a:gd name="connsiteX1" fmla="*/ 113257 w 198001"/>
                  <a:gd name="connsiteY1" fmla="*/ 5242 h 198549"/>
                  <a:gd name="connsiteX2" fmla="*/ 127665 w 198001"/>
                  <a:gd name="connsiteY2" fmla="*/ 3650 h 198549"/>
                  <a:gd name="connsiteX3" fmla="*/ 148741 w 198001"/>
                  <a:gd name="connsiteY3" fmla="*/ 20061 h 198549"/>
                  <a:gd name="connsiteX4" fmla="*/ 160157 w 198001"/>
                  <a:gd name="connsiteY4" fmla="*/ 1400 h 198549"/>
                  <a:gd name="connsiteX5" fmla="*/ 169598 w 198001"/>
                  <a:gd name="connsiteY5" fmla="*/ 0 h 198549"/>
                  <a:gd name="connsiteX6" fmla="*/ 188780 w 198001"/>
                  <a:gd name="connsiteY6" fmla="*/ 24561 h 198549"/>
                  <a:gd name="connsiteX7" fmla="*/ 194296 w 198001"/>
                  <a:gd name="connsiteY7" fmla="*/ 56176 h 198549"/>
                  <a:gd name="connsiteX8" fmla="*/ 193638 w 198001"/>
                  <a:gd name="connsiteY8" fmla="*/ 100112 h 198549"/>
                  <a:gd name="connsiteX9" fmla="*/ 198001 w 198001"/>
                  <a:gd name="connsiteY9" fmla="*/ 130546 h 198549"/>
                  <a:gd name="connsiteX10" fmla="*/ 190674 w 198001"/>
                  <a:gd name="connsiteY10" fmla="*/ 141222 h 198549"/>
                  <a:gd name="connsiteX11" fmla="*/ 185487 w 198001"/>
                  <a:gd name="connsiteY11" fmla="*/ 157440 h 198549"/>
                  <a:gd name="connsiteX12" fmla="*/ 186859 w 198001"/>
                  <a:gd name="connsiteY12" fmla="*/ 177199 h 198549"/>
                  <a:gd name="connsiteX13" fmla="*/ 178544 w 198001"/>
                  <a:gd name="connsiteY13" fmla="*/ 192869 h 198549"/>
                  <a:gd name="connsiteX14" fmla="*/ 134910 w 198001"/>
                  <a:gd name="connsiteY14" fmla="*/ 198550 h 198549"/>
                  <a:gd name="connsiteX15" fmla="*/ 117758 w 198001"/>
                  <a:gd name="connsiteY15" fmla="*/ 192595 h 198549"/>
                  <a:gd name="connsiteX16" fmla="*/ 113422 w 198001"/>
                  <a:gd name="connsiteY16" fmla="*/ 177172 h 198549"/>
                  <a:gd name="connsiteX17" fmla="*/ 112269 w 198001"/>
                  <a:gd name="connsiteY17" fmla="*/ 153461 h 198549"/>
                  <a:gd name="connsiteX18" fmla="*/ 120694 w 198001"/>
                  <a:gd name="connsiteY18" fmla="*/ 142456 h 198549"/>
                  <a:gd name="connsiteX19" fmla="*/ 122807 w 198001"/>
                  <a:gd name="connsiteY19" fmla="*/ 129943 h 198549"/>
                  <a:gd name="connsiteX20" fmla="*/ 51758 w 198001"/>
                  <a:gd name="connsiteY20" fmla="*/ 135184 h 198549"/>
                  <a:gd name="connsiteX21" fmla="*/ 48217 w 198001"/>
                  <a:gd name="connsiteY21" fmla="*/ 124015 h 198549"/>
                  <a:gd name="connsiteX22" fmla="*/ 52279 w 198001"/>
                  <a:gd name="connsiteY22" fmla="*/ 109580 h 198549"/>
                  <a:gd name="connsiteX23" fmla="*/ 51758 w 198001"/>
                  <a:gd name="connsiteY23" fmla="*/ 102829 h 198549"/>
                  <a:gd name="connsiteX24" fmla="*/ 32245 w 198001"/>
                  <a:gd name="connsiteY24" fmla="*/ 104393 h 198549"/>
                  <a:gd name="connsiteX25" fmla="*/ 20692 w 198001"/>
                  <a:gd name="connsiteY25" fmla="*/ 91934 h 198549"/>
                  <a:gd name="connsiteX26" fmla="*/ 16658 w 198001"/>
                  <a:gd name="connsiteY26" fmla="*/ 75907 h 198549"/>
                  <a:gd name="connsiteX27" fmla="*/ 2744 w 198001"/>
                  <a:gd name="connsiteY27" fmla="*/ 68882 h 198549"/>
                  <a:gd name="connsiteX28" fmla="*/ 0 w 198001"/>
                  <a:gd name="connsiteY28" fmla="*/ 60676 h 198549"/>
                  <a:gd name="connsiteX29" fmla="*/ 5324 w 198001"/>
                  <a:gd name="connsiteY29" fmla="*/ 51922 h 198549"/>
                  <a:gd name="connsiteX30" fmla="*/ 38338 w 198001"/>
                  <a:gd name="connsiteY30" fmla="*/ 44128 h 198549"/>
                  <a:gd name="connsiteX31" fmla="*/ 59112 w 198001"/>
                  <a:gd name="connsiteY31" fmla="*/ 83454 h 198549"/>
                  <a:gd name="connsiteX32" fmla="*/ 71928 w 198001"/>
                  <a:gd name="connsiteY32" fmla="*/ 91220 h 198549"/>
                  <a:gd name="connsiteX33" fmla="*/ 74426 w 198001"/>
                  <a:gd name="connsiteY33" fmla="*/ 79475 h 198549"/>
                  <a:gd name="connsiteX34" fmla="*/ 67098 w 198001"/>
                  <a:gd name="connsiteY34" fmla="*/ 41960 h 198549"/>
                  <a:gd name="connsiteX35" fmla="*/ 69705 w 198001"/>
                  <a:gd name="connsiteY35" fmla="*/ 32191 h 198549"/>
                  <a:gd name="connsiteX36" fmla="*/ 76978 w 198001"/>
                  <a:gd name="connsiteY36" fmla="*/ 28074 h 198549"/>
                  <a:gd name="connsiteX37" fmla="*/ 85320 w 198001"/>
                  <a:gd name="connsiteY37" fmla="*/ 33206 h 198549"/>
                  <a:gd name="connsiteX38" fmla="*/ 121627 w 198001"/>
                  <a:gd name="connsiteY38" fmla="*/ 81533 h 198549"/>
                  <a:gd name="connsiteX39" fmla="*/ 119267 w 198001"/>
                  <a:gd name="connsiteY39" fmla="*/ 52855 h 198549"/>
                  <a:gd name="connsiteX40" fmla="*/ 105848 w 198001"/>
                  <a:gd name="connsiteY40" fmla="*/ 29803 h 198549"/>
                  <a:gd name="connsiteX41" fmla="*/ 103954 w 198001"/>
                  <a:gd name="connsiteY41" fmla="*/ 18167 h 19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8001" h="198549">
                    <a:moveTo>
                      <a:pt x="103954" y="18250"/>
                    </a:moveTo>
                    <a:lnTo>
                      <a:pt x="113257" y="5242"/>
                    </a:lnTo>
                    <a:lnTo>
                      <a:pt x="127665" y="3650"/>
                    </a:lnTo>
                    <a:lnTo>
                      <a:pt x="148741" y="20061"/>
                    </a:lnTo>
                    <a:lnTo>
                      <a:pt x="160157" y="1400"/>
                    </a:lnTo>
                    <a:lnTo>
                      <a:pt x="169598" y="0"/>
                    </a:lnTo>
                    <a:lnTo>
                      <a:pt x="188780" y="24561"/>
                    </a:lnTo>
                    <a:lnTo>
                      <a:pt x="194296" y="56176"/>
                    </a:lnTo>
                    <a:lnTo>
                      <a:pt x="193638" y="100112"/>
                    </a:lnTo>
                    <a:lnTo>
                      <a:pt x="198001" y="130546"/>
                    </a:lnTo>
                    <a:lnTo>
                      <a:pt x="190674" y="141222"/>
                    </a:lnTo>
                    <a:lnTo>
                      <a:pt x="185487" y="157440"/>
                    </a:lnTo>
                    <a:lnTo>
                      <a:pt x="186859" y="177199"/>
                    </a:lnTo>
                    <a:lnTo>
                      <a:pt x="178544" y="192869"/>
                    </a:lnTo>
                    <a:lnTo>
                      <a:pt x="134910" y="198550"/>
                    </a:lnTo>
                    <a:lnTo>
                      <a:pt x="117758" y="192595"/>
                    </a:lnTo>
                    <a:lnTo>
                      <a:pt x="113422" y="177172"/>
                    </a:lnTo>
                    <a:lnTo>
                      <a:pt x="112269" y="153461"/>
                    </a:lnTo>
                    <a:lnTo>
                      <a:pt x="120694" y="142456"/>
                    </a:lnTo>
                    <a:lnTo>
                      <a:pt x="122807" y="129943"/>
                    </a:lnTo>
                    <a:lnTo>
                      <a:pt x="51758" y="135184"/>
                    </a:lnTo>
                    <a:lnTo>
                      <a:pt x="48217" y="124015"/>
                    </a:lnTo>
                    <a:lnTo>
                      <a:pt x="52279" y="109580"/>
                    </a:lnTo>
                    <a:lnTo>
                      <a:pt x="51758" y="102829"/>
                    </a:lnTo>
                    <a:lnTo>
                      <a:pt x="32245" y="104393"/>
                    </a:lnTo>
                    <a:lnTo>
                      <a:pt x="20692" y="91934"/>
                    </a:lnTo>
                    <a:lnTo>
                      <a:pt x="16658" y="75907"/>
                    </a:lnTo>
                    <a:lnTo>
                      <a:pt x="2744" y="68882"/>
                    </a:lnTo>
                    <a:lnTo>
                      <a:pt x="0" y="60676"/>
                    </a:lnTo>
                    <a:lnTo>
                      <a:pt x="5324" y="51922"/>
                    </a:lnTo>
                    <a:lnTo>
                      <a:pt x="38338" y="44128"/>
                    </a:lnTo>
                    <a:lnTo>
                      <a:pt x="59112" y="83454"/>
                    </a:lnTo>
                    <a:lnTo>
                      <a:pt x="71928" y="91220"/>
                    </a:lnTo>
                    <a:lnTo>
                      <a:pt x="74426" y="79475"/>
                    </a:lnTo>
                    <a:lnTo>
                      <a:pt x="67098" y="41960"/>
                    </a:lnTo>
                    <a:lnTo>
                      <a:pt x="69705" y="32191"/>
                    </a:lnTo>
                    <a:lnTo>
                      <a:pt x="76978" y="28074"/>
                    </a:lnTo>
                    <a:lnTo>
                      <a:pt x="85320" y="33206"/>
                    </a:lnTo>
                    <a:lnTo>
                      <a:pt x="121627" y="81533"/>
                    </a:lnTo>
                    <a:lnTo>
                      <a:pt x="119267" y="52855"/>
                    </a:lnTo>
                    <a:lnTo>
                      <a:pt x="105848" y="29803"/>
                    </a:lnTo>
                    <a:lnTo>
                      <a:pt x="103954" y="181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5" name="Freeform: Shape 3664">
                <a:extLst>
                  <a:ext uri="{FF2B5EF4-FFF2-40B4-BE49-F238E27FC236}">
                    <a16:creationId xmlns:a16="http://schemas.microsoft.com/office/drawing/2014/main" id="{CFCA2DF7-2CD9-8FEE-87B0-B8235DB67388}"/>
                  </a:ext>
                </a:extLst>
              </p:cNvPr>
              <p:cNvSpPr/>
              <p:nvPr/>
            </p:nvSpPr>
            <p:spPr>
              <a:xfrm>
                <a:off x="1041399" y="3427054"/>
                <a:ext cx="20217" cy="24424"/>
              </a:xfrm>
              <a:custGeom>
                <a:avLst/>
                <a:gdLst>
                  <a:gd name="connsiteX0" fmla="*/ 0 w 193829"/>
                  <a:gd name="connsiteY0" fmla="*/ 38338 h 234170"/>
                  <a:gd name="connsiteX1" fmla="*/ 6888 w 193829"/>
                  <a:gd name="connsiteY1" fmla="*/ 6504 h 234170"/>
                  <a:gd name="connsiteX2" fmla="*/ 52965 w 193829"/>
                  <a:gd name="connsiteY2" fmla="*/ 0 h 234170"/>
                  <a:gd name="connsiteX3" fmla="*/ 79722 w 193829"/>
                  <a:gd name="connsiteY3" fmla="*/ 21927 h 234170"/>
                  <a:gd name="connsiteX4" fmla="*/ 86445 w 193829"/>
                  <a:gd name="connsiteY4" fmla="*/ 41768 h 234170"/>
                  <a:gd name="connsiteX5" fmla="*/ 90068 w 193829"/>
                  <a:gd name="connsiteY5" fmla="*/ 73629 h 234170"/>
                  <a:gd name="connsiteX6" fmla="*/ 96490 w 193829"/>
                  <a:gd name="connsiteY6" fmla="*/ 55764 h 234170"/>
                  <a:gd name="connsiteX7" fmla="*/ 106890 w 193829"/>
                  <a:gd name="connsiteY7" fmla="*/ 45885 h 234170"/>
                  <a:gd name="connsiteX8" fmla="*/ 122698 w 193829"/>
                  <a:gd name="connsiteY8" fmla="*/ 49041 h 234170"/>
                  <a:gd name="connsiteX9" fmla="*/ 125387 w 193829"/>
                  <a:gd name="connsiteY9" fmla="*/ 57411 h 234170"/>
                  <a:gd name="connsiteX10" fmla="*/ 133922 w 193829"/>
                  <a:gd name="connsiteY10" fmla="*/ 65918 h 234170"/>
                  <a:gd name="connsiteX11" fmla="*/ 134032 w 193829"/>
                  <a:gd name="connsiteY11" fmla="*/ 88229 h 234170"/>
                  <a:gd name="connsiteX12" fmla="*/ 154971 w 193829"/>
                  <a:gd name="connsiteY12" fmla="*/ 85650 h 234170"/>
                  <a:gd name="connsiteX13" fmla="*/ 165481 w 193829"/>
                  <a:gd name="connsiteY13" fmla="*/ 99426 h 234170"/>
                  <a:gd name="connsiteX14" fmla="*/ 168472 w 193829"/>
                  <a:gd name="connsiteY14" fmla="*/ 112763 h 234170"/>
                  <a:gd name="connsiteX15" fmla="*/ 176596 w 193829"/>
                  <a:gd name="connsiteY15" fmla="*/ 119816 h 234170"/>
                  <a:gd name="connsiteX16" fmla="*/ 176898 w 193829"/>
                  <a:gd name="connsiteY16" fmla="*/ 128955 h 234170"/>
                  <a:gd name="connsiteX17" fmla="*/ 172863 w 193829"/>
                  <a:gd name="connsiteY17" fmla="*/ 145997 h 234170"/>
                  <a:gd name="connsiteX18" fmla="*/ 173248 w 193829"/>
                  <a:gd name="connsiteY18" fmla="*/ 158867 h 234170"/>
                  <a:gd name="connsiteX19" fmla="*/ 180822 w 193829"/>
                  <a:gd name="connsiteY19" fmla="*/ 167704 h 234170"/>
                  <a:gd name="connsiteX20" fmla="*/ 193830 w 193829"/>
                  <a:gd name="connsiteY20" fmla="*/ 199016 h 234170"/>
                  <a:gd name="connsiteX21" fmla="*/ 191826 w 193829"/>
                  <a:gd name="connsiteY21" fmla="*/ 219352 h 234170"/>
                  <a:gd name="connsiteX22" fmla="*/ 189219 w 193829"/>
                  <a:gd name="connsiteY22" fmla="*/ 226405 h 234170"/>
                  <a:gd name="connsiteX23" fmla="*/ 167814 w 193829"/>
                  <a:gd name="connsiteY23" fmla="*/ 234171 h 234170"/>
                  <a:gd name="connsiteX24" fmla="*/ 151074 w 193829"/>
                  <a:gd name="connsiteY24" fmla="*/ 223935 h 234170"/>
                  <a:gd name="connsiteX25" fmla="*/ 134471 w 193829"/>
                  <a:gd name="connsiteY25" fmla="*/ 180026 h 234170"/>
                  <a:gd name="connsiteX26" fmla="*/ 125387 w 193829"/>
                  <a:gd name="connsiteY26" fmla="*/ 176266 h 234170"/>
                  <a:gd name="connsiteX27" fmla="*/ 120584 w 193829"/>
                  <a:gd name="connsiteY27" fmla="*/ 172534 h 234170"/>
                  <a:gd name="connsiteX28" fmla="*/ 115206 w 193829"/>
                  <a:gd name="connsiteY28" fmla="*/ 181179 h 234170"/>
                  <a:gd name="connsiteX29" fmla="*/ 111089 w 193829"/>
                  <a:gd name="connsiteY29" fmla="*/ 168061 h 234170"/>
                  <a:gd name="connsiteX30" fmla="*/ 100963 w 193829"/>
                  <a:gd name="connsiteY30" fmla="*/ 164274 h 234170"/>
                  <a:gd name="connsiteX31" fmla="*/ 85156 w 193829"/>
                  <a:gd name="connsiteY31" fmla="*/ 168582 h 234170"/>
                  <a:gd name="connsiteX32" fmla="*/ 74535 w 193829"/>
                  <a:gd name="connsiteY32" fmla="*/ 186063 h 234170"/>
                  <a:gd name="connsiteX33" fmla="*/ 73437 w 193829"/>
                  <a:gd name="connsiteY33" fmla="*/ 180245 h 234170"/>
                  <a:gd name="connsiteX34" fmla="*/ 81286 w 193829"/>
                  <a:gd name="connsiteY34" fmla="*/ 166030 h 234170"/>
                  <a:gd name="connsiteX35" fmla="*/ 81972 w 193829"/>
                  <a:gd name="connsiteY35" fmla="*/ 152802 h 234170"/>
                  <a:gd name="connsiteX36" fmla="*/ 49150 w 193829"/>
                  <a:gd name="connsiteY36" fmla="*/ 169982 h 234170"/>
                  <a:gd name="connsiteX37" fmla="*/ 35813 w 193829"/>
                  <a:gd name="connsiteY37" fmla="*/ 166222 h 234170"/>
                  <a:gd name="connsiteX38" fmla="*/ 24177 w 193829"/>
                  <a:gd name="connsiteY38" fmla="*/ 152940 h 234170"/>
                  <a:gd name="connsiteX39" fmla="*/ 19045 w 193829"/>
                  <a:gd name="connsiteY39" fmla="*/ 134718 h 234170"/>
                  <a:gd name="connsiteX40" fmla="*/ 26373 w 193829"/>
                  <a:gd name="connsiteY40" fmla="*/ 122039 h 234170"/>
                  <a:gd name="connsiteX41" fmla="*/ 61088 w 193829"/>
                  <a:gd name="connsiteY41" fmla="*/ 130546 h 234170"/>
                  <a:gd name="connsiteX42" fmla="*/ 62213 w 193829"/>
                  <a:gd name="connsiteY42" fmla="*/ 117758 h 234170"/>
                  <a:gd name="connsiteX43" fmla="*/ 57685 w 193829"/>
                  <a:gd name="connsiteY43" fmla="*/ 112269 h 234170"/>
                  <a:gd name="connsiteX44" fmla="*/ 57630 w 193829"/>
                  <a:gd name="connsiteY44" fmla="*/ 107137 h 234170"/>
                  <a:gd name="connsiteX45" fmla="*/ 61225 w 193829"/>
                  <a:gd name="connsiteY45" fmla="*/ 100249 h 234170"/>
                  <a:gd name="connsiteX46" fmla="*/ 61061 w 193829"/>
                  <a:gd name="connsiteY46" fmla="*/ 95008 h 234170"/>
                  <a:gd name="connsiteX47" fmla="*/ 45857 w 193829"/>
                  <a:gd name="connsiteY47" fmla="*/ 91687 h 234170"/>
                  <a:gd name="connsiteX48" fmla="*/ 45583 w 193829"/>
                  <a:gd name="connsiteY48" fmla="*/ 86720 h 234170"/>
                  <a:gd name="connsiteX49" fmla="*/ 49727 w 193829"/>
                  <a:gd name="connsiteY49" fmla="*/ 72340 h 234170"/>
                  <a:gd name="connsiteX50" fmla="*/ 43607 w 193829"/>
                  <a:gd name="connsiteY50" fmla="*/ 61911 h 234170"/>
                  <a:gd name="connsiteX51" fmla="*/ 20692 w 193829"/>
                  <a:gd name="connsiteY51" fmla="*/ 86445 h 234170"/>
                  <a:gd name="connsiteX52" fmla="*/ 19786 w 193829"/>
                  <a:gd name="connsiteY52" fmla="*/ 79393 h 234170"/>
                  <a:gd name="connsiteX53" fmla="*/ 23327 w 193829"/>
                  <a:gd name="connsiteY53" fmla="*/ 60018 h 234170"/>
                  <a:gd name="connsiteX54" fmla="*/ 22942 w 193829"/>
                  <a:gd name="connsiteY54" fmla="*/ 55325 h 234170"/>
                  <a:gd name="connsiteX55" fmla="*/ 2909 w 193829"/>
                  <a:gd name="connsiteY55" fmla="*/ 53596 h 234170"/>
                  <a:gd name="connsiteX56" fmla="*/ 0 w 193829"/>
                  <a:gd name="connsiteY56" fmla="*/ 38338 h 2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93829" h="234170">
                    <a:moveTo>
                      <a:pt x="0" y="38338"/>
                    </a:moveTo>
                    <a:lnTo>
                      <a:pt x="6888" y="6504"/>
                    </a:lnTo>
                    <a:lnTo>
                      <a:pt x="52965" y="0"/>
                    </a:lnTo>
                    <a:lnTo>
                      <a:pt x="79722" y="21927"/>
                    </a:lnTo>
                    <a:lnTo>
                      <a:pt x="86445" y="41768"/>
                    </a:lnTo>
                    <a:lnTo>
                      <a:pt x="90068" y="73629"/>
                    </a:lnTo>
                    <a:lnTo>
                      <a:pt x="96490" y="55764"/>
                    </a:lnTo>
                    <a:lnTo>
                      <a:pt x="106890" y="45885"/>
                    </a:lnTo>
                    <a:lnTo>
                      <a:pt x="122698" y="49041"/>
                    </a:lnTo>
                    <a:lnTo>
                      <a:pt x="125387" y="57411"/>
                    </a:lnTo>
                    <a:lnTo>
                      <a:pt x="133922" y="65918"/>
                    </a:lnTo>
                    <a:lnTo>
                      <a:pt x="134032" y="88229"/>
                    </a:lnTo>
                    <a:lnTo>
                      <a:pt x="154971" y="85650"/>
                    </a:lnTo>
                    <a:lnTo>
                      <a:pt x="165481" y="99426"/>
                    </a:lnTo>
                    <a:lnTo>
                      <a:pt x="168472" y="112763"/>
                    </a:lnTo>
                    <a:lnTo>
                      <a:pt x="176596" y="119816"/>
                    </a:lnTo>
                    <a:lnTo>
                      <a:pt x="176898" y="128955"/>
                    </a:lnTo>
                    <a:lnTo>
                      <a:pt x="172863" y="145997"/>
                    </a:lnTo>
                    <a:lnTo>
                      <a:pt x="173248" y="158867"/>
                    </a:lnTo>
                    <a:lnTo>
                      <a:pt x="180822" y="167704"/>
                    </a:lnTo>
                    <a:lnTo>
                      <a:pt x="193830" y="199016"/>
                    </a:lnTo>
                    <a:lnTo>
                      <a:pt x="191826" y="219352"/>
                    </a:lnTo>
                    <a:lnTo>
                      <a:pt x="189219" y="226405"/>
                    </a:lnTo>
                    <a:lnTo>
                      <a:pt x="167814" y="234171"/>
                    </a:lnTo>
                    <a:lnTo>
                      <a:pt x="151074" y="223935"/>
                    </a:lnTo>
                    <a:lnTo>
                      <a:pt x="134471" y="180026"/>
                    </a:lnTo>
                    <a:lnTo>
                      <a:pt x="125387" y="176266"/>
                    </a:lnTo>
                    <a:lnTo>
                      <a:pt x="120584" y="172534"/>
                    </a:lnTo>
                    <a:lnTo>
                      <a:pt x="115206" y="181179"/>
                    </a:lnTo>
                    <a:lnTo>
                      <a:pt x="111089" y="168061"/>
                    </a:lnTo>
                    <a:lnTo>
                      <a:pt x="100963" y="164274"/>
                    </a:lnTo>
                    <a:lnTo>
                      <a:pt x="85156" y="168582"/>
                    </a:lnTo>
                    <a:lnTo>
                      <a:pt x="74535" y="186063"/>
                    </a:lnTo>
                    <a:lnTo>
                      <a:pt x="73437" y="180245"/>
                    </a:lnTo>
                    <a:lnTo>
                      <a:pt x="81286" y="166030"/>
                    </a:lnTo>
                    <a:lnTo>
                      <a:pt x="81972" y="152802"/>
                    </a:lnTo>
                    <a:lnTo>
                      <a:pt x="49150" y="169982"/>
                    </a:lnTo>
                    <a:lnTo>
                      <a:pt x="35813" y="166222"/>
                    </a:lnTo>
                    <a:lnTo>
                      <a:pt x="24177" y="152940"/>
                    </a:lnTo>
                    <a:lnTo>
                      <a:pt x="19045" y="134718"/>
                    </a:lnTo>
                    <a:lnTo>
                      <a:pt x="26373" y="122039"/>
                    </a:lnTo>
                    <a:lnTo>
                      <a:pt x="61088" y="130546"/>
                    </a:lnTo>
                    <a:lnTo>
                      <a:pt x="62213" y="117758"/>
                    </a:lnTo>
                    <a:lnTo>
                      <a:pt x="57685" y="112269"/>
                    </a:lnTo>
                    <a:lnTo>
                      <a:pt x="57630" y="107137"/>
                    </a:lnTo>
                    <a:lnTo>
                      <a:pt x="61225" y="100249"/>
                    </a:lnTo>
                    <a:lnTo>
                      <a:pt x="61061" y="95008"/>
                    </a:lnTo>
                    <a:lnTo>
                      <a:pt x="45857" y="91687"/>
                    </a:lnTo>
                    <a:lnTo>
                      <a:pt x="45583" y="86720"/>
                    </a:lnTo>
                    <a:lnTo>
                      <a:pt x="49727" y="72340"/>
                    </a:lnTo>
                    <a:lnTo>
                      <a:pt x="43607" y="61911"/>
                    </a:lnTo>
                    <a:lnTo>
                      <a:pt x="20692" y="86445"/>
                    </a:lnTo>
                    <a:lnTo>
                      <a:pt x="19786" y="79393"/>
                    </a:lnTo>
                    <a:lnTo>
                      <a:pt x="23327" y="60018"/>
                    </a:lnTo>
                    <a:lnTo>
                      <a:pt x="22942" y="55325"/>
                    </a:lnTo>
                    <a:lnTo>
                      <a:pt x="2909" y="53596"/>
                    </a:lnTo>
                    <a:lnTo>
                      <a:pt x="0" y="383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6" name="Freeform: Shape 3665">
                <a:extLst>
                  <a:ext uri="{FF2B5EF4-FFF2-40B4-BE49-F238E27FC236}">
                    <a16:creationId xmlns:a16="http://schemas.microsoft.com/office/drawing/2014/main" id="{42CA2926-2A5E-28C3-B720-3C66A8548C64}"/>
                  </a:ext>
                </a:extLst>
              </p:cNvPr>
              <p:cNvSpPr/>
              <p:nvPr/>
            </p:nvSpPr>
            <p:spPr>
              <a:xfrm>
                <a:off x="957008" y="3645742"/>
                <a:ext cx="6512" cy="11386"/>
              </a:xfrm>
              <a:custGeom>
                <a:avLst/>
                <a:gdLst>
                  <a:gd name="connsiteX0" fmla="*/ 0 w 62432"/>
                  <a:gd name="connsiteY0" fmla="*/ 15478 h 109167"/>
                  <a:gd name="connsiteX1" fmla="*/ 3375 w 62432"/>
                  <a:gd name="connsiteY1" fmla="*/ 0 h 109167"/>
                  <a:gd name="connsiteX2" fmla="*/ 17399 w 62432"/>
                  <a:gd name="connsiteY2" fmla="*/ 7711 h 109167"/>
                  <a:gd name="connsiteX3" fmla="*/ 22997 w 62432"/>
                  <a:gd name="connsiteY3" fmla="*/ 5571 h 109167"/>
                  <a:gd name="connsiteX4" fmla="*/ 32904 w 62432"/>
                  <a:gd name="connsiteY4" fmla="*/ 9166 h 109167"/>
                  <a:gd name="connsiteX5" fmla="*/ 42152 w 62432"/>
                  <a:gd name="connsiteY5" fmla="*/ 5571 h 109167"/>
                  <a:gd name="connsiteX6" fmla="*/ 35484 w 62432"/>
                  <a:gd name="connsiteY6" fmla="*/ 29721 h 109167"/>
                  <a:gd name="connsiteX7" fmla="*/ 33480 w 62432"/>
                  <a:gd name="connsiteY7" fmla="*/ 48053 h 109167"/>
                  <a:gd name="connsiteX8" fmla="*/ 38228 w 62432"/>
                  <a:gd name="connsiteY8" fmla="*/ 49041 h 109167"/>
                  <a:gd name="connsiteX9" fmla="*/ 42537 w 62432"/>
                  <a:gd name="connsiteY9" fmla="*/ 54666 h 109167"/>
                  <a:gd name="connsiteX10" fmla="*/ 43964 w 62432"/>
                  <a:gd name="connsiteY10" fmla="*/ 69705 h 109167"/>
                  <a:gd name="connsiteX11" fmla="*/ 48903 w 62432"/>
                  <a:gd name="connsiteY11" fmla="*/ 75221 h 109167"/>
                  <a:gd name="connsiteX12" fmla="*/ 44814 w 62432"/>
                  <a:gd name="connsiteY12" fmla="*/ 79639 h 109167"/>
                  <a:gd name="connsiteX13" fmla="*/ 46022 w 62432"/>
                  <a:gd name="connsiteY13" fmla="*/ 82466 h 109167"/>
                  <a:gd name="connsiteX14" fmla="*/ 54172 w 62432"/>
                  <a:gd name="connsiteY14" fmla="*/ 88092 h 109167"/>
                  <a:gd name="connsiteX15" fmla="*/ 55243 w 62432"/>
                  <a:gd name="connsiteY15" fmla="*/ 94760 h 109167"/>
                  <a:gd name="connsiteX16" fmla="*/ 59194 w 62432"/>
                  <a:gd name="connsiteY16" fmla="*/ 94815 h 109167"/>
                  <a:gd name="connsiteX17" fmla="*/ 61829 w 62432"/>
                  <a:gd name="connsiteY17" fmla="*/ 98932 h 109167"/>
                  <a:gd name="connsiteX18" fmla="*/ 62433 w 62432"/>
                  <a:gd name="connsiteY18" fmla="*/ 107384 h 109167"/>
                  <a:gd name="connsiteX19" fmla="*/ 61006 w 62432"/>
                  <a:gd name="connsiteY19" fmla="*/ 109168 h 109167"/>
                  <a:gd name="connsiteX20" fmla="*/ 60210 w 62432"/>
                  <a:gd name="connsiteY20" fmla="*/ 107384 h 109167"/>
                  <a:gd name="connsiteX21" fmla="*/ 49891 w 62432"/>
                  <a:gd name="connsiteY21" fmla="*/ 97340 h 109167"/>
                  <a:gd name="connsiteX22" fmla="*/ 39436 w 62432"/>
                  <a:gd name="connsiteY22" fmla="*/ 82466 h 109167"/>
                  <a:gd name="connsiteX23" fmla="*/ 17371 w 62432"/>
                  <a:gd name="connsiteY23" fmla="*/ 56368 h 109167"/>
                  <a:gd name="connsiteX24" fmla="*/ 13365 w 62432"/>
                  <a:gd name="connsiteY24" fmla="*/ 43387 h 109167"/>
                  <a:gd name="connsiteX25" fmla="*/ 14984 w 62432"/>
                  <a:gd name="connsiteY25" fmla="*/ 40012 h 109167"/>
                  <a:gd name="connsiteX26" fmla="*/ 4693 w 62432"/>
                  <a:gd name="connsiteY26" fmla="*/ 32959 h 109167"/>
                  <a:gd name="connsiteX27" fmla="*/ 0 w 62432"/>
                  <a:gd name="connsiteY27" fmla="*/ 15478 h 10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2432" h="109167">
                    <a:moveTo>
                      <a:pt x="0" y="15478"/>
                    </a:moveTo>
                    <a:lnTo>
                      <a:pt x="3375" y="0"/>
                    </a:lnTo>
                    <a:lnTo>
                      <a:pt x="17399" y="7711"/>
                    </a:lnTo>
                    <a:lnTo>
                      <a:pt x="22997" y="5571"/>
                    </a:lnTo>
                    <a:lnTo>
                      <a:pt x="32904" y="9166"/>
                    </a:lnTo>
                    <a:lnTo>
                      <a:pt x="42152" y="5571"/>
                    </a:lnTo>
                    <a:lnTo>
                      <a:pt x="35484" y="29721"/>
                    </a:lnTo>
                    <a:lnTo>
                      <a:pt x="33480" y="48053"/>
                    </a:lnTo>
                    <a:lnTo>
                      <a:pt x="38228" y="49041"/>
                    </a:lnTo>
                    <a:lnTo>
                      <a:pt x="42537" y="54666"/>
                    </a:lnTo>
                    <a:lnTo>
                      <a:pt x="43964" y="69705"/>
                    </a:lnTo>
                    <a:lnTo>
                      <a:pt x="48903" y="75221"/>
                    </a:lnTo>
                    <a:lnTo>
                      <a:pt x="44814" y="79639"/>
                    </a:lnTo>
                    <a:lnTo>
                      <a:pt x="46022" y="82466"/>
                    </a:lnTo>
                    <a:lnTo>
                      <a:pt x="54172" y="88092"/>
                    </a:lnTo>
                    <a:lnTo>
                      <a:pt x="55243" y="94760"/>
                    </a:lnTo>
                    <a:lnTo>
                      <a:pt x="59194" y="94815"/>
                    </a:lnTo>
                    <a:lnTo>
                      <a:pt x="61829" y="98932"/>
                    </a:lnTo>
                    <a:lnTo>
                      <a:pt x="62433" y="107384"/>
                    </a:lnTo>
                    <a:lnTo>
                      <a:pt x="61006" y="109168"/>
                    </a:lnTo>
                    <a:lnTo>
                      <a:pt x="60210" y="107384"/>
                    </a:lnTo>
                    <a:lnTo>
                      <a:pt x="49891" y="97340"/>
                    </a:lnTo>
                    <a:lnTo>
                      <a:pt x="39436" y="82466"/>
                    </a:lnTo>
                    <a:lnTo>
                      <a:pt x="17371" y="56368"/>
                    </a:lnTo>
                    <a:lnTo>
                      <a:pt x="13365" y="43387"/>
                    </a:lnTo>
                    <a:lnTo>
                      <a:pt x="14984" y="40012"/>
                    </a:lnTo>
                    <a:lnTo>
                      <a:pt x="4693" y="32959"/>
                    </a:lnTo>
                    <a:lnTo>
                      <a:pt x="0" y="154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7" name="Freeform: Shape 3666">
                <a:extLst>
                  <a:ext uri="{FF2B5EF4-FFF2-40B4-BE49-F238E27FC236}">
                    <a16:creationId xmlns:a16="http://schemas.microsoft.com/office/drawing/2014/main" id="{E9F8C4D2-851B-B435-E2E4-3E003FE41809}"/>
                  </a:ext>
                </a:extLst>
              </p:cNvPr>
              <p:cNvSpPr/>
              <p:nvPr/>
            </p:nvSpPr>
            <p:spPr>
              <a:xfrm>
                <a:off x="1117319" y="3502325"/>
                <a:ext cx="14486" cy="10659"/>
              </a:xfrm>
              <a:custGeom>
                <a:avLst/>
                <a:gdLst>
                  <a:gd name="connsiteX0" fmla="*/ 0 w 138888"/>
                  <a:gd name="connsiteY0" fmla="*/ 34935 h 102197"/>
                  <a:gd name="connsiteX1" fmla="*/ 1015 w 138888"/>
                  <a:gd name="connsiteY1" fmla="*/ 14600 h 102197"/>
                  <a:gd name="connsiteX2" fmla="*/ 5297 w 138888"/>
                  <a:gd name="connsiteY2" fmla="*/ 0 h 102197"/>
                  <a:gd name="connsiteX3" fmla="*/ 41960 w 138888"/>
                  <a:gd name="connsiteY3" fmla="*/ 11718 h 102197"/>
                  <a:gd name="connsiteX4" fmla="*/ 80353 w 138888"/>
                  <a:gd name="connsiteY4" fmla="*/ 9166 h 102197"/>
                  <a:gd name="connsiteX5" fmla="*/ 106396 w 138888"/>
                  <a:gd name="connsiteY5" fmla="*/ 24781 h 102197"/>
                  <a:gd name="connsiteX6" fmla="*/ 114190 w 138888"/>
                  <a:gd name="connsiteY6" fmla="*/ 40753 h 102197"/>
                  <a:gd name="connsiteX7" fmla="*/ 122011 w 138888"/>
                  <a:gd name="connsiteY7" fmla="*/ 46433 h 102197"/>
                  <a:gd name="connsiteX8" fmla="*/ 126951 w 138888"/>
                  <a:gd name="connsiteY8" fmla="*/ 61472 h 102197"/>
                  <a:gd name="connsiteX9" fmla="*/ 133510 w 138888"/>
                  <a:gd name="connsiteY9" fmla="*/ 68251 h 102197"/>
                  <a:gd name="connsiteX10" fmla="*/ 135925 w 138888"/>
                  <a:gd name="connsiteY10" fmla="*/ 80271 h 102197"/>
                  <a:gd name="connsiteX11" fmla="*/ 138889 w 138888"/>
                  <a:gd name="connsiteY11" fmla="*/ 85457 h 102197"/>
                  <a:gd name="connsiteX12" fmla="*/ 138779 w 138888"/>
                  <a:gd name="connsiteY12" fmla="*/ 88805 h 102197"/>
                  <a:gd name="connsiteX13" fmla="*/ 130574 w 138888"/>
                  <a:gd name="connsiteY13" fmla="*/ 94980 h 102197"/>
                  <a:gd name="connsiteX14" fmla="*/ 84140 w 138888"/>
                  <a:gd name="connsiteY14" fmla="*/ 87872 h 102197"/>
                  <a:gd name="connsiteX15" fmla="*/ 42015 w 138888"/>
                  <a:gd name="connsiteY15" fmla="*/ 102198 h 102197"/>
                  <a:gd name="connsiteX16" fmla="*/ 26345 w 138888"/>
                  <a:gd name="connsiteY16" fmla="*/ 89354 h 102197"/>
                  <a:gd name="connsiteX17" fmla="*/ 22284 w 138888"/>
                  <a:gd name="connsiteY17" fmla="*/ 76703 h 102197"/>
                  <a:gd name="connsiteX18" fmla="*/ 20088 w 138888"/>
                  <a:gd name="connsiteY18" fmla="*/ 54063 h 102197"/>
                  <a:gd name="connsiteX19" fmla="*/ 4089 w 138888"/>
                  <a:gd name="connsiteY19" fmla="*/ 48409 h 102197"/>
                  <a:gd name="connsiteX20" fmla="*/ 27 w 138888"/>
                  <a:gd name="connsiteY20" fmla="*/ 34880 h 10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8888" h="102197">
                    <a:moveTo>
                      <a:pt x="0" y="34935"/>
                    </a:moveTo>
                    <a:lnTo>
                      <a:pt x="1015" y="14600"/>
                    </a:lnTo>
                    <a:lnTo>
                      <a:pt x="5297" y="0"/>
                    </a:lnTo>
                    <a:lnTo>
                      <a:pt x="41960" y="11718"/>
                    </a:lnTo>
                    <a:lnTo>
                      <a:pt x="80353" y="9166"/>
                    </a:lnTo>
                    <a:lnTo>
                      <a:pt x="106396" y="24781"/>
                    </a:lnTo>
                    <a:lnTo>
                      <a:pt x="114190" y="40753"/>
                    </a:lnTo>
                    <a:lnTo>
                      <a:pt x="122011" y="46433"/>
                    </a:lnTo>
                    <a:lnTo>
                      <a:pt x="126951" y="61472"/>
                    </a:lnTo>
                    <a:lnTo>
                      <a:pt x="133510" y="68251"/>
                    </a:lnTo>
                    <a:lnTo>
                      <a:pt x="135925" y="80271"/>
                    </a:lnTo>
                    <a:lnTo>
                      <a:pt x="138889" y="85457"/>
                    </a:lnTo>
                    <a:lnTo>
                      <a:pt x="138779" y="88805"/>
                    </a:lnTo>
                    <a:lnTo>
                      <a:pt x="130574" y="94980"/>
                    </a:lnTo>
                    <a:lnTo>
                      <a:pt x="84140" y="87872"/>
                    </a:lnTo>
                    <a:lnTo>
                      <a:pt x="42015" y="102198"/>
                    </a:lnTo>
                    <a:lnTo>
                      <a:pt x="26345" y="89354"/>
                    </a:lnTo>
                    <a:lnTo>
                      <a:pt x="22284" y="76703"/>
                    </a:lnTo>
                    <a:lnTo>
                      <a:pt x="20088" y="54063"/>
                    </a:lnTo>
                    <a:lnTo>
                      <a:pt x="4089" y="48409"/>
                    </a:lnTo>
                    <a:lnTo>
                      <a:pt x="27" y="348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8" name="Freeform: Shape 3667">
                <a:extLst>
                  <a:ext uri="{FF2B5EF4-FFF2-40B4-BE49-F238E27FC236}">
                    <a16:creationId xmlns:a16="http://schemas.microsoft.com/office/drawing/2014/main" id="{D3BAB7D3-F300-DF30-93A6-E93DDA479391}"/>
                  </a:ext>
                </a:extLst>
              </p:cNvPr>
              <p:cNvSpPr/>
              <p:nvPr/>
            </p:nvSpPr>
            <p:spPr>
              <a:xfrm>
                <a:off x="1063613" y="3435985"/>
                <a:ext cx="10591" cy="15502"/>
              </a:xfrm>
              <a:custGeom>
                <a:avLst/>
                <a:gdLst>
                  <a:gd name="connsiteX0" fmla="*/ 1235 w 101539"/>
                  <a:gd name="connsiteY0" fmla="*/ 24424 h 148631"/>
                  <a:gd name="connsiteX1" fmla="*/ 2031 w 101539"/>
                  <a:gd name="connsiteY1" fmla="*/ 6504 h 148631"/>
                  <a:gd name="connsiteX2" fmla="*/ 8343 w 101539"/>
                  <a:gd name="connsiteY2" fmla="*/ 0 h 148631"/>
                  <a:gd name="connsiteX3" fmla="*/ 25961 w 101539"/>
                  <a:gd name="connsiteY3" fmla="*/ 2936 h 148631"/>
                  <a:gd name="connsiteX4" fmla="*/ 63201 w 101539"/>
                  <a:gd name="connsiteY4" fmla="*/ 28897 h 148631"/>
                  <a:gd name="connsiteX5" fmla="*/ 63887 w 101539"/>
                  <a:gd name="connsiteY5" fmla="*/ 43305 h 148631"/>
                  <a:gd name="connsiteX6" fmla="*/ 69541 w 101539"/>
                  <a:gd name="connsiteY6" fmla="*/ 49370 h 148631"/>
                  <a:gd name="connsiteX7" fmla="*/ 81396 w 101539"/>
                  <a:gd name="connsiteY7" fmla="*/ 45006 h 148631"/>
                  <a:gd name="connsiteX8" fmla="*/ 101073 w 101539"/>
                  <a:gd name="connsiteY8" fmla="*/ 63476 h 148631"/>
                  <a:gd name="connsiteX9" fmla="*/ 101155 w 101539"/>
                  <a:gd name="connsiteY9" fmla="*/ 68525 h 148631"/>
                  <a:gd name="connsiteX10" fmla="*/ 93169 w 101539"/>
                  <a:gd name="connsiteY10" fmla="*/ 82494 h 148631"/>
                  <a:gd name="connsiteX11" fmla="*/ 93114 w 101539"/>
                  <a:gd name="connsiteY11" fmla="*/ 87323 h 148631"/>
                  <a:gd name="connsiteX12" fmla="*/ 101100 w 101539"/>
                  <a:gd name="connsiteY12" fmla="*/ 104503 h 148631"/>
                  <a:gd name="connsiteX13" fmla="*/ 101539 w 101539"/>
                  <a:gd name="connsiteY13" fmla="*/ 111089 h 148631"/>
                  <a:gd name="connsiteX14" fmla="*/ 95804 w 101539"/>
                  <a:gd name="connsiteY14" fmla="*/ 126018 h 148631"/>
                  <a:gd name="connsiteX15" fmla="*/ 82356 w 101539"/>
                  <a:gd name="connsiteY15" fmla="*/ 129723 h 148631"/>
                  <a:gd name="connsiteX16" fmla="*/ 62076 w 101539"/>
                  <a:gd name="connsiteY16" fmla="*/ 139163 h 148631"/>
                  <a:gd name="connsiteX17" fmla="*/ 53953 w 101539"/>
                  <a:gd name="connsiteY17" fmla="*/ 133592 h 148631"/>
                  <a:gd name="connsiteX18" fmla="*/ 44375 w 101539"/>
                  <a:gd name="connsiteY18" fmla="*/ 148631 h 148631"/>
                  <a:gd name="connsiteX19" fmla="*/ 38146 w 101539"/>
                  <a:gd name="connsiteY19" fmla="*/ 146792 h 148631"/>
                  <a:gd name="connsiteX20" fmla="*/ 36993 w 101539"/>
                  <a:gd name="connsiteY20" fmla="*/ 143307 h 148631"/>
                  <a:gd name="connsiteX21" fmla="*/ 38146 w 101539"/>
                  <a:gd name="connsiteY21" fmla="*/ 131260 h 148631"/>
                  <a:gd name="connsiteX22" fmla="*/ 25330 w 101539"/>
                  <a:gd name="connsiteY22" fmla="*/ 119569 h 148631"/>
                  <a:gd name="connsiteX23" fmla="*/ 20720 w 101539"/>
                  <a:gd name="connsiteY23" fmla="*/ 117785 h 148631"/>
                  <a:gd name="connsiteX24" fmla="*/ 22256 w 101539"/>
                  <a:gd name="connsiteY24" fmla="*/ 107906 h 148631"/>
                  <a:gd name="connsiteX25" fmla="*/ 39683 w 101539"/>
                  <a:gd name="connsiteY25" fmla="*/ 105271 h 148631"/>
                  <a:gd name="connsiteX26" fmla="*/ 39792 w 101539"/>
                  <a:gd name="connsiteY26" fmla="*/ 100194 h 148631"/>
                  <a:gd name="connsiteX27" fmla="*/ 31285 w 101539"/>
                  <a:gd name="connsiteY27" fmla="*/ 90562 h 148631"/>
                  <a:gd name="connsiteX28" fmla="*/ 17289 w 101539"/>
                  <a:gd name="connsiteY28" fmla="*/ 87488 h 148631"/>
                  <a:gd name="connsiteX29" fmla="*/ 10620 w 101539"/>
                  <a:gd name="connsiteY29" fmla="*/ 75578 h 148631"/>
                  <a:gd name="connsiteX30" fmla="*/ 7904 w 101539"/>
                  <a:gd name="connsiteY30" fmla="*/ 62021 h 148631"/>
                  <a:gd name="connsiteX31" fmla="*/ 1180 w 101539"/>
                  <a:gd name="connsiteY31" fmla="*/ 54913 h 148631"/>
                  <a:gd name="connsiteX32" fmla="*/ 0 w 101539"/>
                  <a:gd name="connsiteY32" fmla="*/ 45610 h 148631"/>
                  <a:gd name="connsiteX33" fmla="*/ 6614 w 101539"/>
                  <a:gd name="connsiteY33" fmla="*/ 40286 h 148631"/>
                  <a:gd name="connsiteX34" fmla="*/ 6724 w 101539"/>
                  <a:gd name="connsiteY34" fmla="*/ 35154 h 148631"/>
                  <a:gd name="connsiteX35" fmla="*/ 1262 w 101539"/>
                  <a:gd name="connsiteY35" fmla="*/ 24452 h 14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1539" h="148631">
                    <a:moveTo>
                      <a:pt x="1235" y="24424"/>
                    </a:moveTo>
                    <a:lnTo>
                      <a:pt x="2031" y="6504"/>
                    </a:lnTo>
                    <a:lnTo>
                      <a:pt x="8343" y="0"/>
                    </a:lnTo>
                    <a:lnTo>
                      <a:pt x="25961" y="2936"/>
                    </a:lnTo>
                    <a:lnTo>
                      <a:pt x="63201" y="28897"/>
                    </a:lnTo>
                    <a:lnTo>
                      <a:pt x="63887" y="43305"/>
                    </a:lnTo>
                    <a:lnTo>
                      <a:pt x="69541" y="49370"/>
                    </a:lnTo>
                    <a:lnTo>
                      <a:pt x="81396" y="45006"/>
                    </a:lnTo>
                    <a:lnTo>
                      <a:pt x="101073" y="63476"/>
                    </a:lnTo>
                    <a:lnTo>
                      <a:pt x="101155" y="68525"/>
                    </a:lnTo>
                    <a:lnTo>
                      <a:pt x="93169" y="82494"/>
                    </a:lnTo>
                    <a:lnTo>
                      <a:pt x="93114" y="87323"/>
                    </a:lnTo>
                    <a:lnTo>
                      <a:pt x="101100" y="104503"/>
                    </a:lnTo>
                    <a:lnTo>
                      <a:pt x="101539" y="111089"/>
                    </a:lnTo>
                    <a:lnTo>
                      <a:pt x="95804" y="126018"/>
                    </a:lnTo>
                    <a:lnTo>
                      <a:pt x="82356" y="129723"/>
                    </a:lnTo>
                    <a:lnTo>
                      <a:pt x="62076" y="139163"/>
                    </a:lnTo>
                    <a:lnTo>
                      <a:pt x="53953" y="133592"/>
                    </a:lnTo>
                    <a:lnTo>
                      <a:pt x="44375" y="148631"/>
                    </a:lnTo>
                    <a:lnTo>
                      <a:pt x="38146" y="146792"/>
                    </a:lnTo>
                    <a:lnTo>
                      <a:pt x="36993" y="143307"/>
                    </a:lnTo>
                    <a:lnTo>
                      <a:pt x="38146" y="131260"/>
                    </a:lnTo>
                    <a:lnTo>
                      <a:pt x="25330" y="119569"/>
                    </a:lnTo>
                    <a:lnTo>
                      <a:pt x="20720" y="117785"/>
                    </a:lnTo>
                    <a:lnTo>
                      <a:pt x="22256" y="107906"/>
                    </a:lnTo>
                    <a:lnTo>
                      <a:pt x="39683" y="105271"/>
                    </a:lnTo>
                    <a:lnTo>
                      <a:pt x="39792" y="100194"/>
                    </a:lnTo>
                    <a:lnTo>
                      <a:pt x="31285" y="90562"/>
                    </a:lnTo>
                    <a:lnTo>
                      <a:pt x="17289" y="87488"/>
                    </a:lnTo>
                    <a:lnTo>
                      <a:pt x="10620" y="75578"/>
                    </a:lnTo>
                    <a:lnTo>
                      <a:pt x="7904" y="62021"/>
                    </a:lnTo>
                    <a:lnTo>
                      <a:pt x="1180" y="54913"/>
                    </a:lnTo>
                    <a:lnTo>
                      <a:pt x="0" y="45610"/>
                    </a:lnTo>
                    <a:lnTo>
                      <a:pt x="6614" y="40286"/>
                    </a:lnTo>
                    <a:lnTo>
                      <a:pt x="6724" y="35154"/>
                    </a:lnTo>
                    <a:lnTo>
                      <a:pt x="1262" y="244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69" name="Freeform: Shape 3668">
                <a:extLst>
                  <a:ext uri="{FF2B5EF4-FFF2-40B4-BE49-F238E27FC236}">
                    <a16:creationId xmlns:a16="http://schemas.microsoft.com/office/drawing/2014/main" id="{068DEAFD-2968-98CE-407B-DB07FCF62BE1}"/>
                  </a:ext>
                </a:extLst>
              </p:cNvPr>
              <p:cNvSpPr/>
              <p:nvPr/>
            </p:nvSpPr>
            <p:spPr>
              <a:xfrm>
                <a:off x="1069484" y="3480526"/>
                <a:ext cx="9274" cy="11693"/>
              </a:xfrm>
              <a:custGeom>
                <a:avLst/>
                <a:gdLst>
                  <a:gd name="connsiteX0" fmla="*/ 12048 w 88915"/>
                  <a:gd name="connsiteY0" fmla="*/ 20802 h 112104"/>
                  <a:gd name="connsiteX1" fmla="*/ 13529 w 88915"/>
                  <a:gd name="connsiteY1" fmla="*/ 26702 h 112104"/>
                  <a:gd name="connsiteX2" fmla="*/ 24369 w 88915"/>
                  <a:gd name="connsiteY2" fmla="*/ 12102 h 112104"/>
                  <a:gd name="connsiteX3" fmla="*/ 48464 w 88915"/>
                  <a:gd name="connsiteY3" fmla="*/ 0 h 112104"/>
                  <a:gd name="connsiteX4" fmla="*/ 62378 w 88915"/>
                  <a:gd name="connsiteY4" fmla="*/ 7437 h 112104"/>
                  <a:gd name="connsiteX5" fmla="*/ 83591 w 88915"/>
                  <a:gd name="connsiteY5" fmla="*/ 41741 h 112104"/>
                  <a:gd name="connsiteX6" fmla="*/ 86006 w 88915"/>
                  <a:gd name="connsiteY6" fmla="*/ 52251 h 112104"/>
                  <a:gd name="connsiteX7" fmla="*/ 88915 w 88915"/>
                  <a:gd name="connsiteY7" fmla="*/ 78734 h 112104"/>
                  <a:gd name="connsiteX8" fmla="*/ 86967 w 88915"/>
                  <a:gd name="connsiteY8" fmla="*/ 99563 h 112104"/>
                  <a:gd name="connsiteX9" fmla="*/ 56642 w 88915"/>
                  <a:gd name="connsiteY9" fmla="*/ 112105 h 112104"/>
                  <a:gd name="connsiteX10" fmla="*/ 6285 w 88915"/>
                  <a:gd name="connsiteY10" fmla="*/ 80490 h 112104"/>
                  <a:gd name="connsiteX11" fmla="*/ 0 w 88915"/>
                  <a:gd name="connsiteY11" fmla="*/ 68251 h 112104"/>
                  <a:gd name="connsiteX12" fmla="*/ 2141 w 88915"/>
                  <a:gd name="connsiteY12" fmla="*/ 52251 h 112104"/>
                  <a:gd name="connsiteX13" fmla="*/ 8672 w 88915"/>
                  <a:gd name="connsiteY13" fmla="*/ 32877 h 112104"/>
                  <a:gd name="connsiteX14" fmla="*/ 2964 w 88915"/>
                  <a:gd name="connsiteY14" fmla="*/ 8343 h 112104"/>
                  <a:gd name="connsiteX15" fmla="*/ 3375 w 88915"/>
                  <a:gd name="connsiteY15" fmla="*/ 1317 h 112104"/>
                  <a:gd name="connsiteX16" fmla="*/ 12953 w 88915"/>
                  <a:gd name="connsiteY16" fmla="*/ 5845 h 112104"/>
                  <a:gd name="connsiteX17" fmla="*/ 12102 w 88915"/>
                  <a:gd name="connsiteY17" fmla="*/ 20802 h 11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15" h="112104">
                    <a:moveTo>
                      <a:pt x="12048" y="20802"/>
                    </a:moveTo>
                    <a:lnTo>
                      <a:pt x="13529" y="26702"/>
                    </a:lnTo>
                    <a:lnTo>
                      <a:pt x="24369" y="12102"/>
                    </a:lnTo>
                    <a:lnTo>
                      <a:pt x="48464" y="0"/>
                    </a:lnTo>
                    <a:lnTo>
                      <a:pt x="62378" y="7437"/>
                    </a:lnTo>
                    <a:lnTo>
                      <a:pt x="83591" y="41741"/>
                    </a:lnTo>
                    <a:lnTo>
                      <a:pt x="86006" y="52251"/>
                    </a:lnTo>
                    <a:lnTo>
                      <a:pt x="88915" y="78734"/>
                    </a:lnTo>
                    <a:lnTo>
                      <a:pt x="86967" y="99563"/>
                    </a:lnTo>
                    <a:lnTo>
                      <a:pt x="56642" y="112105"/>
                    </a:lnTo>
                    <a:lnTo>
                      <a:pt x="6285" y="80490"/>
                    </a:lnTo>
                    <a:lnTo>
                      <a:pt x="0" y="68251"/>
                    </a:lnTo>
                    <a:lnTo>
                      <a:pt x="2141" y="52251"/>
                    </a:lnTo>
                    <a:lnTo>
                      <a:pt x="8672" y="32877"/>
                    </a:lnTo>
                    <a:lnTo>
                      <a:pt x="2964" y="8343"/>
                    </a:lnTo>
                    <a:lnTo>
                      <a:pt x="3375" y="1317"/>
                    </a:lnTo>
                    <a:lnTo>
                      <a:pt x="12953" y="5845"/>
                    </a:lnTo>
                    <a:lnTo>
                      <a:pt x="12102" y="208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0" name="Freeform: Shape 3669">
                <a:extLst>
                  <a:ext uri="{FF2B5EF4-FFF2-40B4-BE49-F238E27FC236}">
                    <a16:creationId xmlns:a16="http://schemas.microsoft.com/office/drawing/2014/main" id="{5E863918-2997-44E7-F76E-470943216803}"/>
                  </a:ext>
                </a:extLst>
              </p:cNvPr>
              <p:cNvSpPr/>
              <p:nvPr/>
            </p:nvSpPr>
            <p:spPr>
              <a:xfrm>
                <a:off x="1017822" y="3446799"/>
                <a:ext cx="11401" cy="11229"/>
              </a:xfrm>
              <a:custGeom>
                <a:avLst/>
                <a:gdLst>
                  <a:gd name="connsiteX0" fmla="*/ 71132 w 109305"/>
                  <a:gd name="connsiteY0" fmla="*/ 96956 h 107658"/>
                  <a:gd name="connsiteX1" fmla="*/ 38228 w 109305"/>
                  <a:gd name="connsiteY1" fmla="*/ 107659 h 107658"/>
                  <a:gd name="connsiteX2" fmla="*/ 23409 w 109305"/>
                  <a:gd name="connsiteY2" fmla="*/ 96435 h 107658"/>
                  <a:gd name="connsiteX3" fmla="*/ 17838 w 109305"/>
                  <a:gd name="connsiteY3" fmla="*/ 91769 h 107658"/>
                  <a:gd name="connsiteX4" fmla="*/ 16493 w 109305"/>
                  <a:gd name="connsiteY4" fmla="*/ 90644 h 107658"/>
                  <a:gd name="connsiteX5" fmla="*/ 14188 w 109305"/>
                  <a:gd name="connsiteY5" fmla="*/ 88723 h 107658"/>
                  <a:gd name="connsiteX6" fmla="*/ 3897 w 109305"/>
                  <a:gd name="connsiteY6" fmla="*/ 80079 h 107658"/>
                  <a:gd name="connsiteX7" fmla="*/ 3677 w 109305"/>
                  <a:gd name="connsiteY7" fmla="*/ 63750 h 107658"/>
                  <a:gd name="connsiteX8" fmla="*/ 0 w 109305"/>
                  <a:gd name="connsiteY8" fmla="*/ 40698 h 107658"/>
                  <a:gd name="connsiteX9" fmla="*/ 6037 w 109305"/>
                  <a:gd name="connsiteY9" fmla="*/ 27059 h 107658"/>
                  <a:gd name="connsiteX10" fmla="*/ 14161 w 109305"/>
                  <a:gd name="connsiteY10" fmla="*/ 23574 h 107658"/>
                  <a:gd name="connsiteX11" fmla="*/ 16466 w 109305"/>
                  <a:gd name="connsiteY11" fmla="*/ 22586 h 107658"/>
                  <a:gd name="connsiteX12" fmla="*/ 17810 w 109305"/>
                  <a:gd name="connsiteY12" fmla="*/ 22009 h 107658"/>
                  <a:gd name="connsiteX13" fmla="*/ 61966 w 109305"/>
                  <a:gd name="connsiteY13" fmla="*/ 3046 h 107658"/>
                  <a:gd name="connsiteX14" fmla="*/ 90150 w 109305"/>
                  <a:gd name="connsiteY14" fmla="*/ 0 h 107658"/>
                  <a:gd name="connsiteX15" fmla="*/ 95035 w 109305"/>
                  <a:gd name="connsiteY15" fmla="*/ 604 h 107658"/>
                  <a:gd name="connsiteX16" fmla="*/ 105601 w 109305"/>
                  <a:gd name="connsiteY16" fmla="*/ 1921 h 107658"/>
                  <a:gd name="connsiteX17" fmla="*/ 109305 w 109305"/>
                  <a:gd name="connsiteY17" fmla="*/ 11169 h 107658"/>
                  <a:gd name="connsiteX18" fmla="*/ 103899 w 109305"/>
                  <a:gd name="connsiteY18" fmla="*/ 23354 h 107658"/>
                  <a:gd name="connsiteX19" fmla="*/ 95008 w 109305"/>
                  <a:gd name="connsiteY19" fmla="*/ 27882 h 107658"/>
                  <a:gd name="connsiteX20" fmla="*/ 76045 w 109305"/>
                  <a:gd name="connsiteY20" fmla="*/ 37487 h 107658"/>
                  <a:gd name="connsiteX21" fmla="*/ 77609 w 109305"/>
                  <a:gd name="connsiteY21" fmla="*/ 47120 h 107658"/>
                  <a:gd name="connsiteX22" fmla="*/ 93965 w 109305"/>
                  <a:gd name="connsiteY22" fmla="*/ 49150 h 107658"/>
                  <a:gd name="connsiteX23" fmla="*/ 94815 w 109305"/>
                  <a:gd name="connsiteY23" fmla="*/ 69211 h 107658"/>
                  <a:gd name="connsiteX24" fmla="*/ 91248 w 109305"/>
                  <a:gd name="connsiteY24" fmla="*/ 82027 h 107658"/>
                  <a:gd name="connsiteX25" fmla="*/ 71077 w 109305"/>
                  <a:gd name="connsiteY25" fmla="*/ 96983 h 107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9305" h="107658">
                    <a:moveTo>
                      <a:pt x="71132" y="96956"/>
                    </a:moveTo>
                    <a:lnTo>
                      <a:pt x="38228" y="107659"/>
                    </a:lnTo>
                    <a:lnTo>
                      <a:pt x="23409" y="96435"/>
                    </a:lnTo>
                    <a:lnTo>
                      <a:pt x="17838" y="91769"/>
                    </a:lnTo>
                    <a:lnTo>
                      <a:pt x="16493" y="90644"/>
                    </a:lnTo>
                    <a:lnTo>
                      <a:pt x="14188" y="88723"/>
                    </a:lnTo>
                    <a:lnTo>
                      <a:pt x="3897" y="80079"/>
                    </a:lnTo>
                    <a:lnTo>
                      <a:pt x="3677" y="63750"/>
                    </a:lnTo>
                    <a:lnTo>
                      <a:pt x="0" y="40698"/>
                    </a:lnTo>
                    <a:lnTo>
                      <a:pt x="6037" y="27059"/>
                    </a:lnTo>
                    <a:lnTo>
                      <a:pt x="14161" y="23574"/>
                    </a:lnTo>
                    <a:lnTo>
                      <a:pt x="16466" y="22586"/>
                    </a:lnTo>
                    <a:lnTo>
                      <a:pt x="17810" y="22009"/>
                    </a:lnTo>
                    <a:lnTo>
                      <a:pt x="61966" y="3046"/>
                    </a:lnTo>
                    <a:lnTo>
                      <a:pt x="90150" y="0"/>
                    </a:lnTo>
                    <a:lnTo>
                      <a:pt x="95035" y="604"/>
                    </a:lnTo>
                    <a:lnTo>
                      <a:pt x="105601" y="1921"/>
                    </a:lnTo>
                    <a:lnTo>
                      <a:pt x="109305" y="11169"/>
                    </a:lnTo>
                    <a:lnTo>
                      <a:pt x="103899" y="23354"/>
                    </a:lnTo>
                    <a:lnTo>
                      <a:pt x="95008" y="27882"/>
                    </a:lnTo>
                    <a:lnTo>
                      <a:pt x="76045" y="37487"/>
                    </a:lnTo>
                    <a:lnTo>
                      <a:pt x="77609" y="47120"/>
                    </a:lnTo>
                    <a:lnTo>
                      <a:pt x="93965" y="49150"/>
                    </a:lnTo>
                    <a:lnTo>
                      <a:pt x="94815" y="69211"/>
                    </a:lnTo>
                    <a:lnTo>
                      <a:pt x="91248" y="82027"/>
                    </a:lnTo>
                    <a:lnTo>
                      <a:pt x="71077" y="969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1" name="Freeform: Shape 3670">
                <a:extLst>
                  <a:ext uri="{FF2B5EF4-FFF2-40B4-BE49-F238E27FC236}">
                    <a16:creationId xmlns:a16="http://schemas.microsoft.com/office/drawing/2014/main" id="{3A7FCD6B-2DFE-F987-52E4-E26600C40871}"/>
                  </a:ext>
                </a:extLst>
              </p:cNvPr>
              <p:cNvSpPr/>
              <p:nvPr/>
            </p:nvSpPr>
            <p:spPr>
              <a:xfrm>
                <a:off x="1128451" y="3553784"/>
                <a:ext cx="6861" cy="9134"/>
              </a:xfrm>
              <a:custGeom>
                <a:avLst/>
                <a:gdLst>
                  <a:gd name="connsiteX0" fmla="*/ 42976 w 65780"/>
                  <a:gd name="connsiteY0" fmla="*/ 83591 h 87570"/>
                  <a:gd name="connsiteX1" fmla="*/ 16631 w 65780"/>
                  <a:gd name="connsiteY1" fmla="*/ 87570 h 87570"/>
                  <a:gd name="connsiteX2" fmla="*/ 5900 w 65780"/>
                  <a:gd name="connsiteY2" fmla="*/ 84030 h 87570"/>
                  <a:gd name="connsiteX3" fmla="*/ 851 w 65780"/>
                  <a:gd name="connsiteY3" fmla="*/ 74398 h 87570"/>
                  <a:gd name="connsiteX4" fmla="*/ 55 w 65780"/>
                  <a:gd name="connsiteY4" fmla="*/ 67921 h 87570"/>
                  <a:gd name="connsiteX5" fmla="*/ 0 w 65780"/>
                  <a:gd name="connsiteY5" fmla="*/ 43497 h 87570"/>
                  <a:gd name="connsiteX6" fmla="*/ 8809 w 65780"/>
                  <a:gd name="connsiteY6" fmla="*/ 19594 h 87570"/>
                  <a:gd name="connsiteX7" fmla="*/ 16960 w 65780"/>
                  <a:gd name="connsiteY7" fmla="*/ 6669 h 87570"/>
                  <a:gd name="connsiteX8" fmla="*/ 41686 w 65780"/>
                  <a:gd name="connsiteY8" fmla="*/ 0 h 87570"/>
                  <a:gd name="connsiteX9" fmla="*/ 60676 w 65780"/>
                  <a:gd name="connsiteY9" fmla="*/ 7684 h 87570"/>
                  <a:gd name="connsiteX10" fmla="*/ 64738 w 65780"/>
                  <a:gd name="connsiteY10" fmla="*/ 13008 h 87570"/>
                  <a:gd name="connsiteX11" fmla="*/ 65781 w 65780"/>
                  <a:gd name="connsiteY11" fmla="*/ 17563 h 87570"/>
                  <a:gd name="connsiteX12" fmla="*/ 62213 w 65780"/>
                  <a:gd name="connsiteY12" fmla="*/ 31175 h 87570"/>
                  <a:gd name="connsiteX13" fmla="*/ 64464 w 65780"/>
                  <a:gd name="connsiteY13" fmla="*/ 56862 h 87570"/>
                  <a:gd name="connsiteX14" fmla="*/ 61198 w 65780"/>
                  <a:gd name="connsiteY14" fmla="*/ 67921 h 87570"/>
                  <a:gd name="connsiteX15" fmla="*/ 43031 w 65780"/>
                  <a:gd name="connsiteY15" fmla="*/ 83591 h 8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780" h="87570">
                    <a:moveTo>
                      <a:pt x="42976" y="83591"/>
                    </a:moveTo>
                    <a:lnTo>
                      <a:pt x="16631" y="87570"/>
                    </a:lnTo>
                    <a:lnTo>
                      <a:pt x="5900" y="84030"/>
                    </a:lnTo>
                    <a:lnTo>
                      <a:pt x="851" y="74398"/>
                    </a:lnTo>
                    <a:lnTo>
                      <a:pt x="55" y="67921"/>
                    </a:lnTo>
                    <a:lnTo>
                      <a:pt x="0" y="43497"/>
                    </a:lnTo>
                    <a:lnTo>
                      <a:pt x="8809" y="19594"/>
                    </a:lnTo>
                    <a:lnTo>
                      <a:pt x="16960" y="6669"/>
                    </a:lnTo>
                    <a:lnTo>
                      <a:pt x="41686" y="0"/>
                    </a:lnTo>
                    <a:lnTo>
                      <a:pt x="60676" y="7684"/>
                    </a:lnTo>
                    <a:lnTo>
                      <a:pt x="64738" y="13008"/>
                    </a:lnTo>
                    <a:lnTo>
                      <a:pt x="65781" y="17563"/>
                    </a:lnTo>
                    <a:lnTo>
                      <a:pt x="62213" y="31175"/>
                    </a:lnTo>
                    <a:lnTo>
                      <a:pt x="64464" y="56862"/>
                    </a:lnTo>
                    <a:lnTo>
                      <a:pt x="61198" y="67921"/>
                    </a:lnTo>
                    <a:lnTo>
                      <a:pt x="43031" y="835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2" name="Freeform: Shape 3671">
                <a:extLst>
                  <a:ext uri="{FF2B5EF4-FFF2-40B4-BE49-F238E27FC236}">
                    <a16:creationId xmlns:a16="http://schemas.microsoft.com/office/drawing/2014/main" id="{CE9B421D-FDA3-B0E7-5F7A-4BCE160E6505}"/>
                  </a:ext>
                </a:extLst>
              </p:cNvPr>
              <p:cNvSpPr/>
              <p:nvPr/>
            </p:nvSpPr>
            <p:spPr>
              <a:xfrm>
                <a:off x="1167865" y="3680674"/>
                <a:ext cx="7290" cy="4671"/>
              </a:xfrm>
              <a:custGeom>
                <a:avLst/>
                <a:gdLst>
                  <a:gd name="connsiteX0" fmla="*/ 10017 w 69897"/>
                  <a:gd name="connsiteY0" fmla="*/ 11856 h 44787"/>
                  <a:gd name="connsiteX1" fmla="*/ 14161 w 69897"/>
                  <a:gd name="connsiteY1" fmla="*/ 14051 h 44787"/>
                  <a:gd name="connsiteX2" fmla="*/ 17948 w 69897"/>
                  <a:gd name="connsiteY2" fmla="*/ 23711 h 44787"/>
                  <a:gd name="connsiteX3" fmla="*/ 19842 w 69897"/>
                  <a:gd name="connsiteY3" fmla="*/ 23217 h 44787"/>
                  <a:gd name="connsiteX4" fmla="*/ 18579 w 69897"/>
                  <a:gd name="connsiteY4" fmla="*/ 21159 h 44787"/>
                  <a:gd name="connsiteX5" fmla="*/ 22202 w 69897"/>
                  <a:gd name="connsiteY5" fmla="*/ 19457 h 44787"/>
                  <a:gd name="connsiteX6" fmla="*/ 39957 w 69897"/>
                  <a:gd name="connsiteY6" fmla="*/ 25467 h 44787"/>
                  <a:gd name="connsiteX7" fmla="*/ 67647 w 69897"/>
                  <a:gd name="connsiteY7" fmla="*/ 22915 h 44787"/>
                  <a:gd name="connsiteX8" fmla="*/ 69898 w 69897"/>
                  <a:gd name="connsiteY8" fmla="*/ 24314 h 44787"/>
                  <a:gd name="connsiteX9" fmla="*/ 67647 w 69897"/>
                  <a:gd name="connsiteY9" fmla="*/ 26620 h 44787"/>
                  <a:gd name="connsiteX10" fmla="*/ 61363 w 69897"/>
                  <a:gd name="connsiteY10" fmla="*/ 28020 h 44787"/>
                  <a:gd name="connsiteX11" fmla="*/ 57713 w 69897"/>
                  <a:gd name="connsiteY11" fmla="*/ 33536 h 44787"/>
                  <a:gd name="connsiteX12" fmla="*/ 52993 w 69897"/>
                  <a:gd name="connsiteY12" fmla="*/ 33837 h 44787"/>
                  <a:gd name="connsiteX13" fmla="*/ 56258 w 69897"/>
                  <a:gd name="connsiteY13" fmla="*/ 41082 h 44787"/>
                  <a:gd name="connsiteX14" fmla="*/ 54255 w 69897"/>
                  <a:gd name="connsiteY14" fmla="*/ 44046 h 44787"/>
                  <a:gd name="connsiteX15" fmla="*/ 49068 w 69897"/>
                  <a:gd name="connsiteY15" fmla="*/ 44787 h 44787"/>
                  <a:gd name="connsiteX16" fmla="*/ 44540 w 69897"/>
                  <a:gd name="connsiteY16" fmla="*/ 42838 h 44787"/>
                  <a:gd name="connsiteX17" fmla="*/ 40561 w 69897"/>
                  <a:gd name="connsiteY17" fmla="*/ 34853 h 44787"/>
                  <a:gd name="connsiteX18" fmla="*/ 35786 w 69897"/>
                  <a:gd name="connsiteY18" fmla="*/ 34276 h 44787"/>
                  <a:gd name="connsiteX19" fmla="*/ 32218 w 69897"/>
                  <a:gd name="connsiteY19" fmla="*/ 36829 h 44787"/>
                  <a:gd name="connsiteX20" fmla="*/ 21433 w 69897"/>
                  <a:gd name="connsiteY20" fmla="*/ 33014 h 44787"/>
                  <a:gd name="connsiteX21" fmla="*/ 15780 w 69897"/>
                  <a:gd name="connsiteY21" fmla="*/ 26016 h 44787"/>
                  <a:gd name="connsiteX22" fmla="*/ 7657 w 69897"/>
                  <a:gd name="connsiteY22" fmla="*/ 25906 h 44787"/>
                  <a:gd name="connsiteX23" fmla="*/ 8480 w 69897"/>
                  <a:gd name="connsiteY23" fmla="*/ 20720 h 44787"/>
                  <a:gd name="connsiteX24" fmla="*/ 9742 w 69897"/>
                  <a:gd name="connsiteY24" fmla="*/ 18442 h 44787"/>
                  <a:gd name="connsiteX25" fmla="*/ 0 w 69897"/>
                  <a:gd name="connsiteY25" fmla="*/ 15258 h 44787"/>
                  <a:gd name="connsiteX26" fmla="*/ 55 w 69897"/>
                  <a:gd name="connsiteY26" fmla="*/ 12487 h 44787"/>
                  <a:gd name="connsiteX27" fmla="*/ 6010 w 69897"/>
                  <a:gd name="connsiteY27" fmla="*/ 3266 h 44787"/>
                  <a:gd name="connsiteX28" fmla="*/ 11526 w 69897"/>
                  <a:gd name="connsiteY28" fmla="*/ 0 h 44787"/>
                  <a:gd name="connsiteX29" fmla="*/ 10950 w 69897"/>
                  <a:gd name="connsiteY29" fmla="*/ 7327 h 44787"/>
                  <a:gd name="connsiteX30" fmla="*/ 10044 w 69897"/>
                  <a:gd name="connsiteY30" fmla="*/ 11883 h 4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897" h="44787">
                    <a:moveTo>
                      <a:pt x="10017" y="11856"/>
                    </a:moveTo>
                    <a:lnTo>
                      <a:pt x="14161" y="14051"/>
                    </a:lnTo>
                    <a:lnTo>
                      <a:pt x="17948" y="23711"/>
                    </a:lnTo>
                    <a:lnTo>
                      <a:pt x="19842" y="23217"/>
                    </a:lnTo>
                    <a:lnTo>
                      <a:pt x="18579" y="21159"/>
                    </a:lnTo>
                    <a:lnTo>
                      <a:pt x="22202" y="19457"/>
                    </a:lnTo>
                    <a:lnTo>
                      <a:pt x="39957" y="25467"/>
                    </a:lnTo>
                    <a:lnTo>
                      <a:pt x="67647" y="22915"/>
                    </a:lnTo>
                    <a:lnTo>
                      <a:pt x="69898" y="24314"/>
                    </a:lnTo>
                    <a:lnTo>
                      <a:pt x="67647" y="26620"/>
                    </a:lnTo>
                    <a:lnTo>
                      <a:pt x="61363" y="28020"/>
                    </a:lnTo>
                    <a:lnTo>
                      <a:pt x="57713" y="33536"/>
                    </a:lnTo>
                    <a:lnTo>
                      <a:pt x="52993" y="33837"/>
                    </a:lnTo>
                    <a:lnTo>
                      <a:pt x="56258" y="41082"/>
                    </a:lnTo>
                    <a:lnTo>
                      <a:pt x="54255" y="44046"/>
                    </a:lnTo>
                    <a:lnTo>
                      <a:pt x="49068" y="44787"/>
                    </a:lnTo>
                    <a:lnTo>
                      <a:pt x="44540" y="42838"/>
                    </a:lnTo>
                    <a:lnTo>
                      <a:pt x="40561" y="34853"/>
                    </a:lnTo>
                    <a:lnTo>
                      <a:pt x="35786" y="34276"/>
                    </a:lnTo>
                    <a:lnTo>
                      <a:pt x="32218" y="36829"/>
                    </a:lnTo>
                    <a:lnTo>
                      <a:pt x="21433" y="33014"/>
                    </a:lnTo>
                    <a:lnTo>
                      <a:pt x="15780" y="26016"/>
                    </a:lnTo>
                    <a:lnTo>
                      <a:pt x="7657" y="25906"/>
                    </a:lnTo>
                    <a:lnTo>
                      <a:pt x="8480" y="20720"/>
                    </a:lnTo>
                    <a:lnTo>
                      <a:pt x="9742" y="18442"/>
                    </a:lnTo>
                    <a:lnTo>
                      <a:pt x="0" y="15258"/>
                    </a:lnTo>
                    <a:lnTo>
                      <a:pt x="55" y="12487"/>
                    </a:lnTo>
                    <a:lnTo>
                      <a:pt x="6010" y="3266"/>
                    </a:lnTo>
                    <a:lnTo>
                      <a:pt x="11526" y="0"/>
                    </a:lnTo>
                    <a:lnTo>
                      <a:pt x="10950" y="7327"/>
                    </a:lnTo>
                    <a:lnTo>
                      <a:pt x="10044" y="118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3" name="Freeform: Shape 3672">
                <a:extLst>
                  <a:ext uri="{FF2B5EF4-FFF2-40B4-BE49-F238E27FC236}">
                    <a16:creationId xmlns:a16="http://schemas.microsoft.com/office/drawing/2014/main" id="{D69A3675-8DF6-C66A-8D85-9B55D8678A48}"/>
                  </a:ext>
                </a:extLst>
              </p:cNvPr>
              <p:cNvSpPr/>
              <p:nvPr/>
            </p:nvSpPr>
            <p:spPr>
              <a:xfrm>
                <a:off x="1167519" y="3667069"/>
                <a:ext cx="8630" cy="4133"/>
              </a:xfrm>
              <a:custGeom>
                <a:avLst/>
                <a:gdLst>
                  <a:gd name="connsiteX0" fmla="*/ 79310 w 82740"/>
                  <a:gd name="connsiteY0" fmla="*/ 39573 h 39627"/>
                  <a:gd name="connsiteX1" fmla="*/ 70391 w 82740"/>
                  <a:gd name="connsiteY1" fmla="*/ 39628 h 39627"/>
                  <a:gd name="connsiteX2" fmla="*/ 39710 w 82740"/>
                  <a:gd name="connsiteY2" fmla="*/ 31532 h 39627"/>
                  <a:gd name="connsiteX3" fmla="*/ 27635 w 82740"/>
                  <a:gd name="connsiteY3" fmla="*/ 25357 h 39627"/>
                  <a:gd name="connsiteX4" fmla="*/ 20994 w 82740"/>
                  <a:gd name="connsiteY4" fmla="*/ 15368 h 39627"/>
                  <a:gd name="connsiteX5" fmla="*/ 15258 w 82740"/>
                  <a:gd name="connsiteY5" fmla="*/ 11389 h 39627"/>
                  <a:gd name="connsiteX6" fmla="*/ 10950 w 82740"/>
                  <a:gd name="connsiteY6" fmla="*/ 9989 h 39627"/>
                  <a:gd name="connsiteX7" fmla="*/ 0 w 82740"/>
                  <a:gd name="connsiteY7" fmla="*/ 3705 h 39627"/>
                  <a:gd name="connsiteX8" fmla="*/ 2278 w 82740"/>
                  <a:gd name="connsiteY8" fmla="*/ 1290 h 39627"/>
                  <a:gd name="connsiteX9" fmla="*/ 10950 w 82740"/>
                  <a:gd name="connsiteY9" fmla="*/ 0 h 39627"/>
                  <a:gd name="connsiteX10" fmla="*/ 42070 w 82740"/>
                  <a:gd name="connsiteY10" fmla="*/ 8342 h 39627"/>
                  <a:gd name="connsiteX11" fmla="*/ 56450 w 82740"/>
                  <a:gd name="connsiteY11" fmla="*/ 15341 h 39627"/>
                  <a:gd name="connsiteX12" fmla="*/ 61829 w 82740"/>
                  <a:gd name="connsiteY12" fmla="*/ 20500 h 39627"/>
                  <a:gd name="connsiteX13" fmla="*/ 70419 w 82740"/>
                  <a:gd name="connsiteY13" fmla="*/ 25522 h 39627"/>
                  <a:gd name="connsiteX14" fmla="*/ 76895 w 82740"/>
                  <a:gd name="connsiteY14" fmla="*/ 27607 h 39627"/>
                  <a:gd name="connsiteX15" fmla="*/ 82741 w 82740"/>
                  <a:gd name="connsiteY15" fmla="*/ 36554 h 39627"/>
                  <a:gd name="connsiteX16" fmla="*/ 79338 w 82740"/>
                  <a:gd name="connsiteY16" fmla="*/ 39573 h 3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2740" h="39627">
                    <a:moveTo>
                      <a:pt x="79310" y="39573"/>
                    </a:moveTo>
                    <a:lnTo>
                      <a:pt x="70391" y="39628"/>
                    </a:lnTo>
                    <a:lnTo>
                      <a:pt x="39710" y="31532"/>
                    </a:lnTo>
                    <a:lnTo>
                      <a:pt x="27635" y="25357"/>
                    </a:lnTo>
                    <a:lnTo>
                      <a:pt x="20994" y="15368"/>
                    </a:lnTo>
                    <a:lnTo>
                      <a:pt x="15258" y="11389"/>
                    </a:lnTo>
                    <a:lnTo>
                      <a:pt x="10950" y="9989"/>
                    </a:lnTo>
                    <a:lnTo>
                      <a:pt x="0" y="3705"/>
                    </a:lnTo>
                    <a:lnTo>
                      <a:pt x="2278" y="1290"/>
                    </a:lnTo>
                    <a:lnTo>
                      <a:pt x="10950" y="0"/>
                    </a:lnTo>
                    <a:lnTo>
                      <a:pt x="42070" y="8342"/>
                    </a:lnTo>
                    <a:lnTo>
                      <a:pt x="56450" y="15341"/>
                    </a:lnTo>
                    <a:lnTo>
                      <a:pt x="61829" y="20500"/>
                    </a:lnTo>
                    <a:lnTo>
                      <a:pt x="70419" y="25522"/>
                    </a:lnTo>
                    <a:lnTo>
                      <a:pt x="76895" y="27607"/>
                    </a:lnTo>
                    <a:lnTo>
                      <a:pt x="82741" y="36554"/>
                    </a:lnTo>
                    <a:lnTo>
                      <a:pt x="79338" y="395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4" name="Freeform: Shape 3673">
                <a:extLst>
                  <a:ext uri="{FF2B5EF4-FFF2-40B4-BE49-F238E27FC236}">
                    <a16:creationId xmlns:a16="http://schemas.microsoft.com/office/drawing/2014/main" id="{A2194B2E-BCAD-5F62-282A-1807F19BEA34}"/>
                  </a:ext>
                </a:extLst>
              </p:cNvPr>
              <p:cNvSpPr/>
              <p:nvPr/>
            </p:nvSpPr>
            <p:spPr>
              <a:xfrm>
                <a:off x="1017990" y="3436540"/>
                <a:ext cx="12234" cy="7854"/>
              </a:xfrm>
              <a:custGeom>
                <a:avLst/>
                <a:gdLst>
                  <a:gd name="connsiteX0" fmla="*/ 21762 w 117291"/>
                  <a:gd name="connsiteY0" fmla="*/ 40204 h 75303"/>
                  <a:gd name="connsiteX1" fmla="*/ 45994 w 117291"/>
                  <a:gd name="connsiteY1" fmla="*/ 32932 h 75303"/>
                  <a:gd name="connsiteX2" fmla="*/ 76127 w 117291"/>
                  <a:gd name="connsiteY2" fmla="*/ 0 h 75303"/>
                  <a:gd name="connsiteX3" fmla="*/ 93416 w 117291"/>
                  <a:gd name="connsiteY3" fmla="*/ 14161 h 75303"/>
                  <a:gd name="connsiteX4" fmla="*/ 110952 w 117291"/>
                  <a:gd name="connsiteY4" fmla="*/ 28403 h 75303"/>
                  <a:gd name="connsiteX5" fmla="*/ 117291 w 117291"/>
                  <a:gd name="connsiteY5" fmla="*/ 46955 h 75303"/>
                  <a:gd name="connsiteX6" fmla="*/ 111501 w 117291"/>
                  <a:gd name="connsiteY6" fmla="*/ 68553 h 75303"/>
                  <a:gd name="connsiteX7" fmla="*/ 93443 w 117291"/>
                  <a:gd name="connsiteY7" fmla="*/ 70556 h 75303"/>
                  <a:gd name="connsiteX8" fmla="*/ 77718 w 117291"/>
                  <a:gd name="connsiteY8" fmla="*/ 72312 h 75303"/>
                  <a:gd name="connsiteX9" fmla="*/ 61719 w 117291"/>
                  <a:gd name="connsiteY9" fmla="*/ 60567 h 75303"/>
                  <a:gd name="connsiteX10" fmla="*/ 47778 w 117291"/>
                  <a:gd name="connsiteY10" fmla="*/ 75276 h 75303"/>
                  <a:gd name="connsiteX11" fmla="*/ 31834 w 117291"/>
                  <a:gd name="connsiteY11" fmla="*/ 61994 h 75303"/>
                  <a:gd name="connsiteX12" fmla="*/ 21762 w 117291"/>
                  <a:gd name="connsiteY12" fmla="*/ 66412 h 75303"/>
                  <a:gd name="connsiteX13" fmla="*/ 16219 w 117291"/>
                  <a:gd name="connsiteY13" fmla="*/ 69266 h 75303"/>
                  <a:gd name="connsiteX14" fmla="*/ 14874 w 117291"/>
                  <a:gd name="connsiteY14" fmla="*/ 69952 h 75303"/>
                  <a:gd name="connsiteX15" fmla="*/ 12569 w 117291"/>
                  <a:gd name="connsiteY15" fmla="*/ 71132 h 75303"/>
                  <a:gd name="connsiteX16" fmla="*/ 4418 w 117291"/>
                  <a:gd name="connsiteY16" fmla="*/ 75303 h 75303"/>
                  <a:gd name="connsiteX17" fmla="*/ 0 w 117291"/>
                  <a:gd name="connsiteY17" fmla="*/ 68882 h 75303"/>
                  <a:gd name="connsiteX18" fmla="*/ 1427 w 117291"/>
                  <a:gd name="connsiteY18" fmla="*/ 56807 h 75303"/>
                  <a:gd name="connsiteX19" fmla="*/ 4446 w 117291"/>
                  <a:gd name="connsiteY19" fmla="*/ 52636 h 75303"/>
                  <a:gd name="connsiteX20" fmla="*/ 12596 w 117291"/>
                  <a:gd name="connsiteY20" fmla="*/ 46790 h 75303"/>
                  <a:gd name="connsiteX21" fmla="*/ 14902 w 117291"/>
                  <a:gd name="connsiteY21" fmla="*/ 45144 h 75303"/>
                  <a:gd name="connsiteX22" fmla="*/ 16246 w 117291"/>
                  <a:gd name="connsiteY22" fmla="*/ 44183 h 75303"/>
                  <a:gd name="connsiteX23" fmla="*/ 21790 w 117291"/>
                  <a:gd name="connsiteY23" fmla="*/ 40176 h 7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7291" h="75303">
                    <a:moveTo>
                      <a:pt x="21762" y="40204"/>
                    </a:moveTo>
                    <a:lnTo>
                      <a:pt x="45994" y="32932"/>
                    </a:lnTo>
                    <a:lnTo>
                      <a:pt x="76127" y="0"/>
                    </a:lnTo>
                    <a:lnTo>
                      <a:pt x="93416" y="14161"/>
                    </a:lnTo>
                    <a:lnTo>
                      <a:pt x="110952" y="28403"/>
                    </a:lnTo>
                    <a:lnTo>
                      <a:pt x="117291" y="46955"/>
                    </a:lnTo>
                    <a:lnTo>
                      <a:pt x="111501" y="68553"/>
                    </a:lnTo>
                    <a:lnTo>
                      <a:pt x="93443" y="70556"/>
                    </a:lnTo>
                    <a:lnTo>
                      <a:pt x="77718" y="72312"/>
                    </a:lnTo>
                    <a:lnTo>
                      <a:pt x="61719" y="60567"/>
                    </a:lnTo>
                    <a:lnTo>
                      <a:pt x="47778" y="75276"/>
                    </a:lnTo>
                    <a:lnTo>
                      <a:pt x="31834" y="61994"/>
                    </a:lnTo>
                    <a:lnTo>
                      <a:pt x="21762" y="66412"/>
                    </a:lnTo>
                    <a:lnTo>
                      <a:pt x="16219" y="69266"/>
                    </a:lnTo>
                    <a:lnTo>
                      <a:pt x="14874" y="69952"/>
                    </a:lnTo>
                    <a:lnTo>
                      <a:pt x="12569" y="71132"/>
                    </a:lnTo>
                    <a:lnTo>
                      <a:pt x="4418" y="75303"/>
                    </a:lnTo>
                    <a:lnTo>
                      <a:pt x="0" y="68882"/>
                    </a:lnTo>
                    <a:lnTo>
                      <a:pt x="1427" y="56807"/>
                    </a:lnTo>
                    <a:lnTo>
                      <a:pt x="4446" y="52636"/>
                    </a:lnTo>
                    <a:lnTo>
                      <a:pt x="12596" y="46790"/>
                    </a:lnTo>
                    <a:lnTo>
                      <a:pt x="14902" y="45144"/>
                    </a:lnTo>
                    <a:lnTo>
                      <a:pt x="16246" y="44183"/>
                    </a:lnTo>
                    <a:lnTo>
                      <a:pt x="21790" y="401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5" name="Freeform: Shape 3674">
                <a:extLst>
                  <a:ext uri="{FF2B5EF4-FFF2-40B4-BE49-F238E27FC236}">
                    <a16:creationId xmlns:a16="http://schemas.microsoft.com/office/drawing/2014/main" id="{32901609-C428-C7F2-4E34-B86ADD29D8EA}"/>
                  </a:ext>
                </a:extLst>
              </p:cNvPr>
              <p:cNvSpPr/>
              <p:nvPr/>
            </p:nvSpPr>
            <p:spPr>
              <a:xfrm>
                <a:off x="1107839" y="3593771"/>
                <a:ext cx="6420" cy="5639"/>
              </a:xfrm>
              <a:custGeom>
                <a:avLst/>
                <a:gdLst>
                  <a:gd name="connsiteX0" fmla="*/ 36252 w 61554"/>
                  <a:gd name="connsiteY0" fmla="*/ 3101 h 54062"/>
                  <a:gd name="connsiteX1" fmla="*/ 44787 w 61554"/>
                  <a:gd name="connsiteY1" fmla="*/ 3815 h 54062"/>
                  <a:gd name="connsiteX2" fmla="*/ 48218 w 61554"/>
                  <a:gd name="connsiteY2" fmla="*/ 192 h 54062"/>
                  <a:gd name="connsiteX3" fmla="*/ 52169 w 61554"/>
                  <a:gd name="connsiteY3" fmla="*/ 0 h 54062"/>
                  <a:gd name="connsiteX4" fmla="*/ 57411 w 61554"/>
                  <a:gd name="connsiteY4" fmla="*/ 2690 h 54062"/>
                  <a:gd name="connsiteX5" fmla="*/ 60457 w 61554"/>
                  <a:gd name="connsiteY5" fmla="*/ 2744 h 54062"/>
                  <a:gd name="connsiteX6" fmla="*/ 61555 w 61554"/>
                  <a:gd name="connsiteY6" fmla="*/ 4610 h 54062"/>
                  <a:gd name="connsiteX7" fmla="*/ 58563 w 61554"/>
                  <a:gd name="connsiteY7" fmla="*/ 12185 h 54062"/>
                  <a:gd name="connsiteX8" fmla="*/ 58893 w 61554"/>
                  <a:gd name="connsiteY8" fmla="*/ 17865 h 54062"/>
                  <a:gd name="connsiteX9" fmla="*/ 53953 w 61554"/>
                  <a:gd name="connsiteY9" fmla="*/ 23985 h 54062"/>
                  <a:gd name="connsiteX10" fmla="*/ 50687 w 61554"/>
                  <a:gd name="connsiteY10" fmla="*/ 25001 h 54062"/>
                  <a:gd name="connsiteX11" fmla="*/ 47229 w 61554"/>
                  <a:gd name="connsiteY11" fmla="*/ 27718 h 54062"/>
                  <a:gd name="connsiteX12" fmla="*/ 43771 w 61554"/>
                  <a:gd name="connsiteY12" fmla="*/ 34523 h 54062"/>
                  <a:gd name="connsiteX13" fmla="*/ 37954 w 61554"/>
                  <a:gd name="connsiteY13" fmla="*/ 39490 h 54062"/>
                  <a:gd name="connsiteX14" fmla="*/ 34002 w 61554"/>
                  <a:gd name="connsiteY14" fmla="*/ 45171 h 54062"/>
                  <a:gd name="connsiteX15" fmla="*/ 26318 w 61554"/>
                  <a:gd name="connsiteY15" fmla="*/ 51099 h 54062"/>
                  <a:gd name="connsiteX16" fmla="*/ 23546 w 61554"/>
                  <a:gd name="connsiteY16" fmla="*/ 51703 h 54062"/>
                  <a:gd name="connsiteX17" fmla="*/ 23354 w 61554"/>
                  <a:gd name="connsiteY17" fmla="*/ 49946 h 54062"/>
                  <a:gd name="connsiteX18" fmla="*/ 19073 w 61554"/>
                  <a:gd name="connsiteY18" fmla="*/ 46626 h 54062"/>
                  <a:gd name="connsiteX19" fmla="*/ 13776 w 61554"/>
                  <a:gd name="connsiteY19" fmla="*/ 48300 h 54062"/>
                  <a:gd name="connsiteX20" fmla="*/ 11306 w 61554"/>
                  <a:gd name="connsiteY20" fmla="*/ 51456 h 54062"/>
                  <a:gd name="connsiteX21" fmla="*/ 7080 w 61554"/>
                  <a:gd name="connsiteY21" fmla="*/ 54063 h 54062"/>
                  <a:gd name="connsiteX22" fmla="*/ 6037 w 61554"/>
                  <a:gd name="connsiteY22" fmla="*/ 43442 h 54062"/>
                  <a:gd name="connsiteX23" fmla="*/ 1564 w 61554"/>
                  <a:gd name="connsiteY23" fmla="*/ 38530 h 54062"/>
                  <a:gd name="connsiteX24" fmla="*/ 0 w 61554"/>
                  <a:gd name="connsiteY24" fmla="*/ 35621 h 54062"/>
                  <a:gd name="connsiteX25" fmla="*/ 1015 w 61554"/>
                  <a:gd name="connsiteY25" fmla="*/ 31752 h 54062"/>
                  <a:gd name="connsiteX26" fmla="*/ 6065 w 61554"/>
                  <a:gd name="connsiteY26" fmla="*/ 27251 h 54062"/>
                  <a:gd name="connsiteX27" fmla="*/ 11197 w 61554"/>
                  <a:gd name="connsiteY27" fmla="*/ 18853 h 54062"/>
                  <a:gd name="connsiteX28" fmla="*/ 10895 w 61554"/>
                  <a:gd name="connsiteY28" fmla="*/ 15231 h 54062"/>
                  <a:gd name="connsiteX29" fmla="*/ 12102 w 61554"/>
                  <a:gd name="connsiteY29" fmla="*/ 10291 h 54062"/>
                  <a:gd name="connsiteX30" fmla="*/ 16603 w 61554"/>
                  <a:gd name="connsiteY30" fmla="*/ 5296 h 54062"/>
                  <a:gd name="connsiteX31" fmla="*/ 19347 w 61554"/>
                  <a:gd name="connsiteY31" fmla="*/ 3650 h 54062"/>
                  <a:gd name="connsiteX32" fmla="*/ 23244 w 61554"/>
                  <a:gd name="connsiteY32" fmla="*/ 4857 h 54062"/>
                  <a:gd name="connsiteX33" fmla="*/ 24507 w 61554"/>
                  <a:gd name="connsiteY33" fmla="*/ 8288 h 54062"/>
                  <a:gd name="connsiteX34" fmla="*/ 27882 w 61554"/>
                  <a:gd name="connsiteY34" fmla="*/ 9056 h 54062"/>
                  <a:gd name="connsiteX35" fmla="*/ 36252 w 61554"/>
                  <a:gd name="connsiteY35" fmla="*/ 3046 h 54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1554" h="54062">
                    <a:moveTo>
                      <a:pt x="36252" y="3101"/>
                    </a:moveTo>
                    <a:lnTo>
                      <a:pt x="44787" y="3815"/>
                    </a:lnTo>
                    <a:lnTo>
                      <a:pt x="48218" y="192"/>
                    </a:lnTo>
                    <a:lnTo>
                      <a:pt x="52169" y="0"/>
                    </a:lnTo>
                    <a:lnTo>
                      <a:pt x="57411" y="2690"/>
                    </a:lnTo>
                    <a:lnTo>
                      <a:pt x="60457" y="2744"/>
                    </a:lnTo>
                    <a:lnTo>
                      <a:pt x="61555" y="4610"/>
                    </a:lnTo>
                    <a:lnTo>
                      <a:pt x="58563" y="12185"/>
                    </a:lnTo>
                    <a:lnTo>
                      <a:pt x="58893" y="17865"/>
                    </a:lnTo>
                    <a:lnTo>
                      <a:pt x="53953" y="23985"/>
                    </a:lnTo>
                    <a:lnTo>
                      <a:pt x="50687" y="25001"/>
                    </a:lnTo>
                    <a:lnTo>
                      <a:pt x="47229" y="27718"/>
                    </a:lnTo>
                    <a:lnTo>
                      <a:pt x="43771" y="34523"/>
                    </a:lnTo>
                    <a:lnTo>
                      <a:pt x="37954" y="39490"/>
                    </a:lnTo>
                    <a:lnTo>
                      <a:pt x="34002" y="45171"/>
                    </a:lnTo>
                    <a:lnTo>
                      <a:pt x="26318" y="51099"/>
                    </a:lnTo>
                    <a:lnTo>
                      <a:pt x="23546" y="51703"/>
                    </a:lnTo>
                    <a:lnTo>
                      <a:pt x="23354" y="49946"/>
                    </a:lnTo>
                    <a:lnTo>
                      <a:pt x="19073" y="46626"/>
                    </a:lnTo>
                    <a:lnTo>
                      <a:pt x="13776" y="48300"/>
                    </a:lnTo>
                    <a:lnTo>
                      <a:pt x="11306" y="51456"/>
                    </a:lnTo>
                    <a:lnTo>
                      <a:pt x="7080" y="54063"/>
                    </a:lnTo>
                    <a:lnTo>
                      <a:pt x="6037" y="43442"/>
                    </a:lnTo>
                    <a:lnTo>
                      <a:pt x="1564" y="38530"/>
                    </a:lnTo>
                    <a:lnTo>
                      <a:pt x="0" y="35621"/>
                    </a:lnTo>
                    <a:lnTo>
                      <a:pt x="1015" y="31752"/>
                    </a:lnTo>
                    <a:lnTo>
                      <a:pt x="6065" y="27251"/>
                    </a:lnTo>
                    <a:lnTo>
                      <a:pt x="11197" y="18853"/>
                    </a:lnTo>
                    <a:lnTo>
                      <a:pt x="10895" y="15231"/>
                    </a:lnTo>
                    <a:lnTo>
                      <a:pt x="12102" y="10291"/>
                    </a:lnTo>
                    <a:lnTo>
                      <a:pt x="16603" y="5296"/>
                    </a:lnTo>
                    <a:lnTo>
                      <a:pt x="19347" y="3650"/>
                    </a:lnTo>
                    <a:lnTo>
                      <a:pt x="23244" y="4857"/>
                    </a:lnTo>
                    <a:lnTo>
                      <a:pt x="24507" y="8288"/>
                    </a:lnTo>
                    <a:lnTo>
                      <a:pt x="27882" y="9056"/>
                    </a:lnTo>
                    <a:lnTo>
                      <a:pt x="36252"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6" name="Freeform: Shape 3675">
                <a:extLst>
                  <a:ext uri="{FF2B5EF4-FFF2-40B4-BE49-F238E27FC236}">
                    <a16:creationId xmlns:a16="http://schemas.microsoft.com/office/drawing/2014/main" id="{FD09AE9E-80EB-5404-801A-7F4EF913E6C8}"/>
                  </a:ext>
                </a:extLst>
              </p:cNvPr>
              <p:cNvSpPr/>
              <p:nvPr/>
            </p:nvSpPr>
            <p:spPr>
              <a:xfrm>
                <a:off x="1040173" y="3452054"/>
                <a:ext cx="6080" cy="9517"/>
              </a:xfrm>
              <a:custGeom>
                <a:avLst/>
                <a:gdLst>
                  <a:gd name="connsiteX0" fmla="*/ 29940 w 58288"/>
                  <a:gd name="connsiteY0" fmla="*/ 46187 h 91247"/>
                  <a:gd name="connsiteX1" fmla="*/ 36664 w 58288"/>
                  <a:gd name="connsiteY1" fmla="*/ 47010 h 91247"/>
                  <a:gd name="connsiteX2" fmla="*/ 47092 w 58288"/>
                  <a:gd name="connsiteY2" fmla="*/ 64189 h 91247"/>
                  <a:gd name="connsiteX3" fmla="*/ 49535 w 58288"/>
                  <a:gd name="connsiteY3" fmla="*/ 82411 h 91247"/>
                  <a:gd name="connsiteX4" fmla="*/ 56862 w 58288"/>
                  <a:gd name="connsiteY4" fmla="*/ 79310 h 91247"/>
                  <a:gd name="connsiteX5" fmla="*/ 58289 w 58288"/>
                  <a:gd name="connsiteY5" fmla="*/ 82054 h 91247"/>
                  <a:gd name="connsiteX6" fmla="*/ 56478 w 58288"/>
                  <a:gd name="connsiteY6" fmla="*/ 89162 h 91247"/>
                  <a:gd name="connsiteX7" fmla="*/ 49535 w 58288"/>
                  <a:gd name="connsiteY7" fmla="*/ 91248 h 91247"/>
                  <a:gd name="connsiteX8" fmla="*/ 46461 w 58288"/>
                  <a:gd name="connsiteY8" fmla="*/ 82494 h 91247"/>
                  <a:gd name="connsiteX9" fmla="*/ 37926 w 58288"/>
                  <a:gd name="connsiteY9" fmla="*/ 87516 h 91247"/>
                  <a:gd name="connsiteX10" fmla="*/ 22448 w 58288"/>
                  <a:gd name="connsiteY10" fmla="*/ 80271 h 91247"/>
                  <a:gd name="connsiteX11" fmla="*/ 12130 w 58288"/>
                  <a:gd name="connsiteY11" fmla="*/ 54721 h 91247"/>
                  <a:gd name="connsiteX12" fmla="*/ 4473 w 58288"/>
                  <a:gd name="connsiteY12" fmla="*/ 17289 h 91247"/>
                  <a:gd name="connsiteX13" fmla="*/ 0 w 58288"/>
                  <a:gd name="connsiteY13" fmla="*/ 5489 h 91247"/>
                  <a:gd name="connsiteX14" fmla="*/ 494 w 58288"/>
                  <a:gd name="connsiteY14" fmla="*/ 2689 h 91247"/>
                  <a:gd name="connsiteX15" fmla="*/ 8782 w 58288"/>
                  <a:gd name="connsiteY15" fmla="*/ 0 h 91247"/>
                  <a:gd name="connsiteX16" fmla="*/ 22503 w 58288"/>
                  <a:gd name="connsiteY16" fmla="*/ 15094 h 91247"/>
                  <a:gd name="connsiteX17" fmla="*/ 30050 w 58288"/>
                  <a:gd name="connsiteY17" fmla="*/ 31724 h 91247"/>
                  <a:gd name="connsiteX18" fmla="*/ 29940 w 58288"/>
                  <a:gd name="connsiteY18" fmla="*/ 46159 h 91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88" h="91247">
                    <a:moveTo>
                      <a:pt x="29940" y="46187"/>
                    </a:moveTo>
                    <a:lnTo>
                      <a:pt x="36664" y="47010"/>
                    </a:lnTo>
                    <a:lnTo>
                      <a:pt x="47092" y="64189"/>
                    </a:lnTo>
                    <a:lnTo>
                      <a:pt x="49535" y="82411"/>
                    </a:lnTo>
                    <a:lnTo>
                      <a:pt x="56862" y="79310"/>
                    </a:lnTo>
                    <a:lnTo>
                      <a:pt x="58289" y="82054"/>
                    </a:lnTo>
                    <a:lnTo>
                      <a:pt x="56478" y="89162"/>
                    </a:lnTo>
                    <a:lnTo>
                      <a:pt x="49535" y="91248"/>
                    </a:lnTo>
                    <a:lnTo>
                      <a:pt x="46461" y="82494"/>
                    </a:lnTo>
                    <a:lnTo>
                      <a:pt x="37926" y="87516"/>
                    </a:lnTo>
                    <a:lnTo>
                      <a:pt x="22448" y="80271"/>
                    </a:lnTo>
                    <a:lnTo>
                      <a:pt x="12130" y="54721"/>
                    </a:lnTo>
                    <a:lnTo>
                      <a:pt x="4473" y="17289"/>
                    </a:lnTo>
                    <a:lnTo>
                      <a:pt x="0" y="5489"/>
                    </a:lnTo>
                    <a:lnTo>
                      <a:pt x="494" y="2689"/>
                    </a:lnTo>
                    <a:lnTo>
                      <a:pt x="8782" y="0"/>
                    </a:lnTo>
                    <a:lnTo>
                      <a:pt x="22503" y="15094"/>
                    </a:lnTo>
                    <a:lnTo>
                      <a:pt x="30050" y="31724"/>
                    </a:lnTo>
                    <a:lnTo>
                      <a:pt x="29940" y="461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7" name="Freeform: Shape 3676">
                <a:extLst>
                  <a:ext uri="{FF2B5EF4-FFF2-40B4-BE49-F238E27FC236}">
                    <a16:creationId xmlns:a16="http://schemas.microsoft.com/office/drawing/2014/main" id="{9DD5F19F-8349-6E1D-8B32-7F5E1C509F23}"/>
                  </a:ext>
                </a:extLst>
              </p:cNvPr>
              <p:cNvSpPr/>
              <p:nvPr/>
            </p:nvSpPr>
            <p:spPr>
              <a:xfrm>
                <a:off x="999299" y="3474412"/>
                <a:ext cx="5530" cy="7502"/>
              </a:xfrm>
              <a:custGeom>
                <a:avLst/>
                <a:gdLst>
                  <a:gd name="connsiteX0" fmla="*/ 27580 w 53019"/>
                  <a:gd name="connsiteY0" fmla="*/ 67235 h 71928"/>
                  <a:gd name="connsiteX1" fmla="*/ 21845 w 53019"/>
                  <a:gd name="connsiteY1" fmla="*/ 71928 h 71928"/>
                  <a:gd name="connsiteX2" fmla="*/ 11691 w 53019"/>
                  <a:gd name="connsiteY2" fmla="*/ 67235 h 71928"/>
                  <a:gd name="connsiteX3" fmla="*/ 5379 w 53019"/>
                  <a:gd name="connsiteY3" fmla="*/ 64162 h 71928"/>
                  <a:gd name="connsiteX4" fmla="*/ 0 w 53019"/>
                  <a:gd name="connsiteY4" fmla="*/ 58152 h 71928"/>
                  <a:gd name="connsiteX5" fmla="*/ 1180 w 53019"/>
                  <a:gd name="connsiteY5" fmla="*/ 53733 h 71928"/>
                  <a:gd name="connsiteX6" fmla="*/ 20500 w 53019"/>
                  <a:gd name="connsiteY6" fmla="*/ 25001 h 71928"/>
                  <a:gd name="connsiteX7" fmla="*/ 45830 w 53019"/>
                  <a:gd name="connsiteY7" fmla="*/ 0 h 71928"/>
                  <a:gd name="connsiteX8" fmla="*/ 53020 w 53019"/>
                  <a:gd name="connsiteY8" fmla="*/ 4528 h 71928"/>
                  <a:gd name="connsiteX9" fmla="*/ 52663 w 53019"/>
                  <a:gd name="connsiteY9" fmla="*/ 9248 h 71928"/>
                  <a:gd name="connsiteX10" fmla="*/ 40094 w 53019"/>
                  <a:gd name="connsiteY10" fmla="*/ 46379 h 71928"/>
                  <a:gd name="connsiteX11" fmla="*/ 30654 w 53019"/>
                  <a:gd name="connsiteY11" fmla="*/ 64217 h 71928"/>
                  <a:gd name="connsiteX12" fmla="*/ 27553 w 53019"/>
                  <a:gd name="connsiteY12" fmla="*/ 67235 h 7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019" h="71928">
                    <a:moveTo>
                      <a:pt x="27580" y="67235"/>
                    </a:moveTo>
                    <a:lnTo>
                      <a:pt x="21845" y="71928"/>
                    </a:lnTo>
                    <a:lnTo>
                      <a:pt x="11691" y="67235"/>
                    </a:lnTo>
                    <a:lnTo>
                      <a:pt x="5379" y="64162"/>
                    </a:lnTo>
                    <a:lnTo>
                      <a:pt x="0" y="58152"/>
                    </a:lnTo>
                    <a:lnTo>
                      <a:pt x="1180" y="53733"/>
                    </a:lnTo>
                    <a:lnTo>
                      <a:pt x="20500" y="25001"/>
                    </a:lnTo>
                    <a:lnTo>
                      <a:pt x="45830" y="0"/>
                    </a:lnTo>
                    <a:lnTo>
                      <a:pt x="53020" y="4528"/>
                    </a:lnTo>
                    <a:lnTo>
                      <a:pt x="52663" y="9248"/>
                    </a:lnTo>
                    <a:lnTo>
                      <a:pt x="40094" y="46379"/>
                    </a:lnTo>
                    <a:lnTo>
                      <a:pt x="30654" y="64217"/>
                    </a:lnTo>
                    <a:lnTo>
                      <a:pt x="27553" y="67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8" name="Freeform: Shape 3677">
                <a:extLst>
                  <a:ext uri="{FF2B5EF4-FFF2-40B4-BE49-F238E27FC236}">
                    <a16:creationId xmlns:a16="http://schemas.microsoft.com/office/drawing/2014/main" id="{889D1254-4739-6B6A-6FFD-B91C939237F5}"/>
                  </a:ext>
                </a:extLst>
              </p:cNvPr>
              <p:cNvSpPr/>
              <p:nvPr/>
            </p:nvSpPr>
            <p:spPr>
              <a:xfrm>
                <a:off x="1070134" y="3451710"/>
                <a:ext cx="9288" cy="5052"/>
              </a:xfrm>
              <a:custGeom>
                <a:avLst/>
                <a:gdLst>
                  <a:gd name="connsiteX0" fmla="*/ 0 w 89052"/>
                  <a:gd name="connsiteY0" fmla="*/ 23519 h 48436"/>
                  <a:gd name="connsiteX1" fmla="*/ 906 w 89052"/>
                  <a:gd name="connsiteY1" fmla="*/ 13282 h 48436"/>
                  <a:gd name="connsiteX2" fmla="*/ 6092 w 89052"/>
                  <a:gd name="connsiteY2" fmla="*/ 6230 h 48436"/>
                  <a:gd name="connsiteX3" fmla="*/ 19786 w 89052"/>
                  <a:gd name="connsiteY3" fmla="*/ 0 h 48436"/>
                  <a:gd name="connsiteX4" fmla="*/ 68113 w 89052"/>
                  <a:gd name="connsiteY4" fmla="*/ 5434 h 48436"/>
                  <a:gd name="connsiteX5" fmla="*/ 77499 w 89052"/>
                  <a:gd name="connsiteY5" fmla="*/ 165 h 48436"/>
                  <a:gd name="connsiteX6" fmla="*/ 89052 w 89052"/>
                  <a:gd name="connsiteY6" fmla="*/ 12294 h 48436"/>
                  <a:gd name="connsiteX7" fmla="*/ 89052 w 89052"/>
                  <a:gd name="connsiteY7" fmla="*/ 17152 h 48436"/>
                  <a:gd name="connsiteX8" fmla="*/ 85073 w 89052"/>
                  <a:gd name="connsiteY8" fmla="*/ 20692 h 48436"/>
                  <a:gd name="connsiteX9" fmla="*/ 80902 w 89052"/>
                  <a:gd name="connsiteY9" fmla="*/ 42729 h 48436"/>
                  <a:gd name="connsiteX10" fmla="*/ 74837 w 89052"/>
                  <a:gd name="connsiteY10" fmla="*/ 48437 h 48436"/>
                  <a:gd name="connsiteX11" fmla="*/ 19786 w 89052"/>
                  <a:gd name="connsiteY11" fmla="*/ 42043 h 48436"/>
                  <a:gd name="connsiteX12" fmla="*/ 6202 w 89052"/>
                  <a:gd name="connsiteY12" fmla="*/ 38914 h 48436"/>
                  <a:gd name="connsiteX13" fmla="*/ 0 w 89052"/>
                  <a:gd name="connsiteY13" fmla="*/ 23574 h 48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52" h="48436">
                    <a:moveTo>
                      <a:pt x="0" y="23519"/>
                    </a:moveTo>
                    <a:lnTo>
                      <a:pt x="906" y="13282"/>
                    </a:lnTo>
                    <a:lnTo>
                      <a:pt x="6092" y="6230"/>
                    </a:lnTo>
                    <a:lnTo>
                      <a:pt x="19786" y="0"/>
                    </a:lnTo>
                    <a:lnTo>
                      <a:pt x="68113" y="5434"/>
                    </a:lnTo>
                    <a:lnTo>
                      <a:pt x="77499" y="165"/>
                    </a:lnTo>
                    <a:lnTo>
                      <a:pt x="89052" y="12294"/>
                    </a:lnTo>
                    <a:lnTo>
                      <a:pt x="89052" y="17152"/>
                    </a:lnTo>
                    <a:lnTo>
                      <a:pt x="85073" y="20692"/>
                    </a:lnTo>
                    <a:lnTo>
                      <a:pt x="80902" y="42729"/>
                    </a:lnTo>
                    <a:lnTo>
                      <a:pt x="74837" y="48437"/>
                    </a:lnTo>
                    <a:lnTo>
                      <a:pt x="19786" y="42043"/>
                    </a:lnTo>
                    <a:lnTo>
                      <a:pt x="6202" y="38914"/>
                    </a:lnTo>
                    <a:lnTo>
                      <a:pt x="0" y="235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79" name="Freeform: Shape 3678">
                <a:extLst>
                  <a:ext uri="{FF2B5EF4-FFF2-40B4-BE49-F238E27FC236}">
                    <a16:creationId xmlns:a16="http://schemas.microsoft.com/office/drawing/2014/main" id="{2F9D5F58-0AAF-0846-93BD-175D164033E8}"/>
                  </a:ext>
                </a:extLst>
              </p:cNvPr>
              <p:cNvSpPr/>
              <p:nvPr/>
            </p:nvSpPr>
            <p:spPr>
              <a:xfrm>
                <a:off x="1119188" y="3597655"/>
                <a:ext cx="3003" cy="5364"/>
              </a:xfrm>
              <a:custGeom>
                <a:avLst/>
                <a:gdLst>
                  <a:gd name="connsiteX0" fmla="*/ 16576 w 28787"/>
                  <a:gd name="connsiteY0" fmla="*/ 49480 h 51428"/>
                  <a:gd name="connsiteX1" fmla="*/ 13063 w 28787"/>
                  <a:gd name="connsiteY1" fmla="*/ 51428 h 51428"/>
                  <a:gd name="connsiteX2" fmla="*/ 1811 w 28787"/>
                  <a:gd name="connsiteY2" fmla="*/ 36362 h 51428"/>
                  <a:gd name="connsiteX3" fmla="*/ 0 w 28787"/>
                  <a:gd name="connsiteY3" fmla="*/ 26098 h 51428"/>
                  <a:gd name="connsiteX4" fmla="*/ 2662 w 28787"/>
                  <a:gd name="connsiteY4" fmla="*/ 14270 h 51428"/>
                  <a:gd name="connsiteX5" fmla="*/ 10044 w 28787"/>
                  <a:gd name="connsiteY5" fmla="*/ 2360 h 51428"/>
                  <a:gd name="connsiteX6" fmla="*/ 19594 w 28787"/>
                  <a:gd name="connsiteY6" fmla="*/ 0 h 51428"/>
                  <a:gd name="connsiteX7" fmla="*/ 25714 w 28787"/>
                  <a:gd name="connsiteY7" fmla="*/ 7437 h 51428"/>
                  <a:gd name="connsiteX8" fmla="*/ 28788 w 28787"/>
                  <a:gd name="connsiteY8" fmla="*/ 11142 h 51428"/>
                  <a:gd name="connsiteX9" fmla="*/ 25714 w 28787"/>
                  <a:gd name="connsiteY9" fmla="*/ 22778 h 51428"/>
                  <a:gd name="connsiteX10" fmla="*/ 22119 w 28787"/>
                  <a:gd name="connsiteY10" fmla="*/ 36389 h 51428"/>
                  <a:gd name="connsiteX11" fmla="*/ 16603 w 28787"/>
                  <a:gd name="connsiteY11" fmla="*/ 49480 h 51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787" h="51428">
                    <a:moveTo>
                      <a:pt x="16576" y="49480"/>
                    </a:moveTo>
                    <a:lnTo>
                      <a:pt x="13063" y="51428"/>
                    </a:lnTo>
                    <a:lnTo>
                      <a:pt x="1811" y="36362"/>
                    </a:lnTo>
                    <a:lnTo>
                      <a:pt x="0" y="26098"/>
                    </a:lnTo>
                    <a:lnTo>
                      <a:pt x="2662" y="14270"/>
                    </a:lnTo>
                    <a:lnTo>
                      <a:pt x="10044" y="2360"/>
                    </a:lnTo>
                    <a:lnTo>
                      <a:pt x="19594" y="0"/>
                    </a:lnTo>
                    <a:lnTo>
                      <a:pt x="25714" y="7437"/>
                    </a:lnTo>
                    <a:lnTo>
                      <a:pt x="28788" y="11142"/>
                    </a:lnTo>
                    <a:lnTo>
                      <a:pt x="25714" y="22778"/>
                    </a:lnTo>
                    <a:lnTo>
                      <a:pt x="22119" y="36389"/>
                    </a:lnTo>
                    <a:lnTo>
                      <a:pt x="16603" y="494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0" name="Freeform: Shape 3679">
                <a:extLst>
                  <a:ext uri="{FF2B5EF4-FFF2-40B4-BE49-F238E27FC236}">
                    <a16:creationId xmlns:a16="http://schemas.microsoft.com/office/drawing/2014/main" id="{3CD30974-B074-7F56-E286-52FE85894ABE}"/>
                  </a:ext>
                </a:extLst>
              </p:cNvPr>
              <p:cNvSpPr/>
              <p:nvPr/>
            </p:nvSpPr>
            <p:spPr>
              <a:xfrm>
                <a:off x="1119978" y="3633111"/>
                <a:ext cx="3323" cy="3927"/>
              </a:xfrm>
              <a:custGeom>
                <a:avLst/>
                <a:gdLst>
                  <a:gd name="connsiteX0" fmla="*/ 24068 w 31861"/>
                  <a:gd name="connsiteY0" fmla="*/ 18606 h 37651"/>
                  <a:gd name="connsiteX1" fmla="*/ 20143 w 31861"/>
                  <a:gd name="connsiteY1" fmla="*/ 28458 h 37651"/>
                  <a:gd name="connsiteX2" fmla="*/ 18140 w 31861"/>
                  <a:gd name="connsiteY2" fmla="*/ 30818 h 37651"/>
                  <a:gd name="connsiteX3" fmla="*/ 12322 w 31861"/>
                  <a:gd name="connsiteY3" fmla="*/ 34358 h 37651"/>
                  <a:gd name="connsiteX4" fmla="*/ 11883 w 31861"/>
                  <a:gd name="connsiteY4" fmla="*/ 29803 h 37651"/>
                  <a:gd name="connsiteX5" fmla="*/ 14600 w 31861"/>
                  <a:gd name="connsiteY5" fmla="*/ 24150 h 37651"/>
                  <a:gd name="connsiteX6" fmla="*/ 12843 w 31861"/>
                  <a:gd name="connsiteY6" fmla="*/ 21790 h 37651"/>
                  <a:gd name="connsiteX7" fmla="*/ 3129 w 31861"/>
                  <a:gd name="connsiteY7" fmla="*/ 37652 h 37651"/>
                  <a:gd name="connsiteX8" fmla="*/ 0 w 31861"/>
                  <a:gd name="connsiteY8" fmla="*/ 34386 h 37651"/>
                  <a:gd name="connsiteX9" fmla="*/ 11005 w 31861"/>
                  <a:gd name="connsiteY9" fmla="*/ 18414 h 37651"/>
                  <a:gd name="connsiteX10" fmla="*/ 18140 w 31861"/>
                  <a:gd name="connsiteY10" fmla="*/ 14517 h 37651"/>
                  <a:gd name="connsiteX11" fmla="*/ 19457 w 31861"/>
                  <a:gd name="connsiteY11" fmla="*/ 10950 h 37651"/>
                  <a:gd name="connsiteX12" fmla="*/ 21213 w 31861"/>
                  <a:gd name="connsiteY12" fmla="*/ 1454 h 37651"/>
                  <a:gd name="connsiteX13" fmla="*/ 23052 w 31861"/>
                  <a:gd name="connsiteY13" fmla="*/ 0 h 37651"/>
                  <a:gd name="connsiteX14" fmla="*/ 31010 w 31861"/>
                  <a:gd name="connsiteY14" fmla="*/ 7437 h 37651"/>
                  <a:gd name="connsiteX15" fmla="*/ 31669 w 31861"/>
                  <a:gd name="connsiteY15" fmla="*/ 10950 h 37651"/>
                  <a:gd name="connsiteX16" fmla="*/ 31861 w 31861"/>
                  <a:gd name="connsiteY16" fmla="*/ 14133 h 37651"/>
                  <a:gd name="connsiteX17" fmla="*/ 28266 w 31861"/>
                  <a:gd name="connsiteY17" fmla="*/ 16795 h 37651"/>
                  <a:gd name="connsiteX18" fmla="*/ 24068 w 31861"/>
                  <a:gd name="connsiteY18" fmla="*/ 18634 h 37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861" h="37651">
                    <a:moveTo>
                      <a:pt x="24068" y="18606"/>
                    </a:moveTo>
                    <a:lnTo>
                      <a:pt x="20143" y="28458"/>
                    </a:lnTo>
                    <a:lnTo>
                      <a:pt x="18140" y="30818"/>
                    </a:lnTo>
                    <a:lnTo>
                      <a:pt x="12322" y="34358"/>
                    </a:lnTo>
                    <a:lnTo>
                      <a:pt x="11883" y="29803"/>
                    </a:lnTo>
                    <a:lnTo>
                      <a:pt x="14600" y="24150"/>
                    </a:lnTo>
                    <a:lnTo>
                      <a:pt x="12843" y="21790"/>
                    </a:lnTo>
                    <a:lnTo>
                      <a:pt x="3129" y="37652"/>
                    </a:lnTo>
                    <a:lnTo>
                      <a:pt x="0" y="34386"/>
                    </a:lnTo>
                    <a:lnTo>
                      <a:pt x="11005" y="18414"/>
                    </a:lnTo>
                    <a:lnTo>
                      <a:pt x="18140" y="14517"/>
                    </a:lnTo>
                    <a:lnTo>
                      <a:pt x="19457" y="10950"/>
                    </a:lnTo>
                    <a:lnTo>
                      <a:pt x="21213" y="1454"/>
                    </a:lnTo>
                    <a:lnTo>
                      <a:pt x="23052" y="0"/>
                    </a:lnTo>
                    <a:lnTo>
                      <a:pt x="31010" y="7437"/>
                    </a:lnTo>
                    <a:lnTo>
                      <a:pt x="31669" y="10950"/>
                    </a:lnTo>
                    <a:lnTo>
                      <a:pt x="31861" y="14133"/>
                    </a:lnTo>
                    <a:lnTo>
                      <a:pt x="28266" y="16795"/>
                    </a:lnTo>
                    <a:lnTo>
                      <a:pt x="24068" y="18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1" name="Freeform: Shape 3680">
                <a:extLst>
                  <a:ext uri="{FF2B5EF4-FFF2-40B4-BE49-F238E27FC236}">
                    <a16:creationId xmlns:a16="http://schemas.microsoft.com/office/drawing/2014/main" id="{6B366DEE-2B82-F79A-B4F0-8A5B88B67D2E}"/>
                  </a:ext>
                </a:extLst>
              </p:cNvPr>
              <p:cNvSpPr/>
              <p:nvPr/>
            </p:nvSpPr>
            <p:spPr>
              <a:xfrm>
                <a:off x="1058146" y="3413882"/>
                <a:ext cx="4691" cy="8092"/>
              </a:xfrm>
              <a:custGeom>
                <a:avLst/>
                <a:gdLst>
                  <a:gd name="connsiteX0" fmla="*/ 41137 w 44979"/>
                  <a:gd name="connsiteY0" fmla="*/ 34633 h 77581"/>
                  <a:gd name="connsiteX1" fmla="*/ 44211 w 44979"/>
                  <a:gd name="connsiteY1" fmla="*/ 48629 h 77581"/>
                  <a:gd name="connsiteX2" fmla="*/ 44979 w 44979"/>
                  <a:gd name="connsiteY2" fmla="*/ 57795 h 77581"/>
                  <a:gd name="connsiteX3" fmla="*/ 42921 w 44979"/>
                  <a:gd name="connsiteY3" fmla="*/ 67839 h 77581"/>
                  <a:gd name="connsiteX4" fmla="*/ 38997 w 44979"/>
                  <a:gd name="connsiteY4" fmla="*/ 77581 h 77581"/>
                  <a:gd name="connsiteX5" fmla="*/ 37103 w 44979"/>
                  <a:gd name="connsiteY5" fmla="*/ 76456 h 77581"/>
                  <a:gd name="connsiteX6" fmla="*/ 35676 w 44979"/>
                  <a:gd name="connsiteY6" fmla="*/ 68909 h 77581"/>
                  <a:gd name="connsiteX7" fmla="*/ 25604 w 44979"/>
                  <a:gd name="connsiteY7" fmla="*/ 64326 h 77581"/>
                  <a:gd name="connsiteX8" fmla="*/ 24589 w 44979"/>
                  <a:gd name="connsiteY8" fmla="*/ 59826 h 77581"/>
                  <a:gd name="connsiteX9" fmla="*/ 25879 w 44979"/>
                  <a:gd name="connsiteY9" fmla="*/ 49809 h 77581"/>
                  <a:gd name="connsiteX10" fmla="*/ 18963 w 44979"/>
                  <a:gd name="connsiteY10" fmla="*/ 41110 h 77581"/>
                  <a:gd name="connsiteX11" fmla="*/ 14600 w 44979"/>
                  <a:gd name="connsiteY11" fmla="*/ 40012 h 77581"/>
                  <a:gd name="connsiteX12" fmla="*/ 11883 w 44979"/>
                  <a:gd name="connsiteY12" fmla="*/ 42893 h 77581"/>
                  <a:gd name="connsiteX13" fmla="*/ 4089 w 44979"/>
                  <a:gd name="connsiteY13" fmla="*/ 43689 h 77581"/>
                  <a:gd name="connsiteX14" fmla="*/ 0 w 44979"/>
                  <a:gd name="connsiteY14" fmla="*/ 40231 h 77581"/>
                  <a:gd name="connsiteX15" fmla="*/ 1317 w 44979"/>
                  <a:gd name="connsiteY15" fmla="*/ 21351 h 77581"/>
                  <a:gd name="connsiteX16" fmla="*/ 8370 w 44979"/>
                  <a:gd name="connsiteY16" fmla="*/ 19622 h 77581"/>
                  <a:gd name="connsiteX17" fmla="*/ 20006 w 44979"/>
                  <a:gd name="connsiteY17" fmla="*/ 9166 h 77581"/>
                  <a:gd name="connsiteX18" fmla="*/ 23025 w 44979"/>
                  <a:gd name="connsiteY18" fmla="*/ 4363 h 77581"/>
                  <a:gd name="connsiteX19" fmla="*/ 31642 w 44979"/>
                  <a:gd name="connsiteY19" fmla="*/ 0 h 77581"/>
                  <a:gd name="connsiteX20" fmla="*/ 39106 w 44979"/>
                  <a:gd name="connsiteY20" fmla="*/ 9578 h 77581"/>
                  <a:gd name="connsiteX21" fmla="*/ 41741 w 44979"/>
                  <a:gd name="connsiteY21" fmla="*/ 22860 h 77581"/>
                  <a:gd name="connsiteX22" fmla="*/ 41137 w 44979"/>
                  <a:gd name="connsiteY22" fmla="*/ 34606 h 7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979" h="77581">
                    <a:moveTo>
                      <a:pt x="41137" y="34633"/>
                    </a:moveTo>
                    <a:lnTo>
                      <a:pt x="44211" y="48629"/>
                    </a:lnTo>
                    <a:lnTo>
                      <a:pt x="44979" y="57795"/>
                    </a:lnTo>
                    <a:lnTo>
                      <a:pt x="42921" y="67839"/>
                    </a:lnTo>
                    <a:lnTo>
                      <a:pt x="38997" y="77581"/>
                    </a:lnTo>
                    <a:lnTo>
                      <a:pt x="37103" y="76456"/>
                    </a:lnTo>
                    <a:lnTo>
                      <a:pt x="35676" y="68909"/>
                    </a:lnTo>
                    <a:lnTo>
                      <a:pt x="25604" y="64326"/>
                    </a:lnTo>
                    <a:lnTo>
                      <a:pt x="24589" y="59826"/>
                    </a:lnTo>
                    <a:lnTo>
                      <a:pt x="25879" y="49809"/>
                    </a:lnTo>
                    <a:lnTo>
                      <a:pt x="18963" y="41110"/>
                    </a:lnTo>
                    <a:lnTo>
                      <a:pt x="14600" y="40012"/>
                    </a:lnTo>
                    <a:lnTo>
                      <a:pt x="11883" y="42893"/>
                    </a:lnTo>
                    <a:lnTo>
                      <a:pt x="4089" y="43689"/>
                    </a:lnTo>
                    <a:lnTo>
                      <a:pt x="0" y="40231"/>
                    </a:lnTo>
                    <a:lnTo>
                      <a:pt x="1317" y="21351"/>
                    </a:lnTo>
                    <a:lnTo>
                      <a:pt x="8370" y="19622"/>
                    </a:lnTo>
                    <a:lnTo>
                      <a:pt x="20006" y="9166"/>
                    </a:lnTo>
                    <a:lnTo>
                      <a:pt x="23025" y="4363"/>
                    </a:lnTo>
                    <a:lnTo>
                      <a:pt x="31642" y="0"/>
                    </a:lnTo>
                    <a:lnTo>
                      <a:pt x="39106" y="9578"/>
                    </a:lnTo>
                    <a:lnTo>
                      <a:pt x="41741" y="22860"/>
                    </a:lnTo>
                    <a:lnTo>
                      <a:pt x="41137" y="346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2" name="Freeform: Shape 3681">
                <a:extLst>
                  <a:ext uri="{FF2B5EF4-FFF2-40B4-BE49-F238E27FC236}">
                    <a16:creationId xmlns:a16="http://schemas.microsoft.com/office/drawing/2014/main" id="{E2167E4B-7260-098C-015C-3C413F6A9090}"/>
                  </a:ext>
                </a:extLst>
              </p:cNvPr>
              <p:cNvSpPr/>
              <p:nvPr/>
            </p:nvSpPr>
            <p:spPr>
              <a:xfrm>
                <a:off x="1121793" y="3544851"/>
                <a:ext cx="3678" cy="4720"/>
              </a:xfrm>
              <a:custGeom>
                <a:avLst/>
                <a:gdLst>
                  <a:gd name="connsiteX0" fmla="*/ 20418 w 35264"/>
                  <a:gd name="connsiteY0" fmla="*/ 3595 h 45253"/>
                  <a:gd name="connsiteX1" fmla="*/ 24369 w 35264"/>
                  <a:gd name="connsiteY1" fmla="*/ 0 h 45253"/>
                  <a:gd name="connsiteX2" fmla="*/ 32849 w 35264"/>
                  <a:gd name="connsiteY2" fmla="*/ 549 h 45253"/>
                  <a:gd name="connsiteX3" fmla="*/ 35264 w 35264"/>
                  <a:gd name="connsiteY3" fmla="*/ 7437 h 45253"/>
                  <a:gd name="connsiteX4" fmla="*/ 30572 w 35264"/>
                  <a:gd name="connsiteY4" fmla="*/ 15450 h 45253"/>
                  <a:gd name="connsiteX5" fmla="*/ 27717 w 35264"/>
                  <a:gd name="connsiteY5" fmla="*/ 13557 h 45253"/>
                  <a:gd name="connsiteX6" fmla="*/ 28184 w 35264"/>
                  <a:gd name="connsiteY6" fmla="*/ 17262 h 45253"/>
                  <a:gd name="connsiteX7" fmla="*/ 25714 w 35264"/>
                  <a:gd name="connsiteY7" fmla="*/ 19073 h 45253"/>
                  <a:gd name="connsiteX8" fmla="*/ 25193 w 35264"/>
                  <a:gd name="connsiteY8" fmla="*/ 24699 h 45253"/>
                  <a:gd name="connsiteX9" fmla="*/ 20445 w 35264"/>
                  <a:gd name="connsiteY9" fmla="*/ 30901 h 45253"/>
                  <a:gd name="connsiteX10" fmla="*/ 20280 w 35264"/>
                  <a:gd name="connsiteY10" fmla="*/ 34194 h 45253"/>
                  <a:gd name="connsiteX11" fmla="*/ 17619 w 35264"/>
                  <a:gd name="connsiteY11" fmla="*/ 38640 h 45253"/>
                  <a:gd name="connsiteX12" fmla="*/ 9550 w 35264"/>
                  <a:gd name="connsiteY12" fmla="*/ 41713 h 45253"/>
                  <a:gd name="connsiteX13" fmla="*/ 5653 w 35264"/>
                  <a:gd name="connsiteY13" fmla="*/ 45253 h 45253"/>
                  <a:gd name="connsiteX14" fmla="*/ 1372 w 35264"/>
                  <a:gd name="connsiteY14" fmla="*/ 43278 h 45253"/>
                  <a:gd name="connsiteX15" fmla="*/ 0 w 35264"/>
                  <a:gd name="connsiteY15" fmla="*/ 38365 h 45253"/>
                  <a:gd name="connsiteX16" fmla="*/ 2854 w 35264"/>
                  <a:gd name="connsiteY16" fmla="*/ 34386 h 45253"/>
                  <a:gd name="connsiteX17" fmla="*/ 5598 w 35264"/>
                  <a:gd name="connsiteY17" fmla="*/ 24946 h 45253"/>
                  <a:gd name="connsiteX18" fmla="*/ 9111 w 35264"/>
                  <a:gd name="connsiteY18" fmla="*/ 24534 h 45253"/>
                  <a:gd name="connsiteX19" fmla="*/ 11499 w 35264"/>
                  <a:gd name="connsiteY19" fmla="*/ 22284 h 45253"/>
                  <a:gd name="connsiteX20" fmla="*/ 13475 w 35264"/>
                  <a:gd name="connsiteY20" fmla="*/ 23162 h 45253"/>
                  <a:gd name="connsiteX21" fmla="*/ 16713 w 35264"/>
                  <a:gd name="connsiteY21" fmla="*/ 19677 h 45253"/>
                  <a:gd name="connsiteX22" fmla="*/ 16493 w 35264"/>
                  <a:gd name="connsiteY22" fmla="*/ 15011 h 45253"/>
                  <a:gd name="connsiteX23" fmla="*/ 20802 w 35264"/>
                  <a:gd name="connsiteY23" fmla="*/ 7794 h 45253"/>
                  <a:gd name="connsiteX24" fmla="*/ 20363 w 35264"/>
                  <a:gd name="connsiteY24" fmla="*/ 3568 h 4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264" h="45253">
                    <a:moveTo>
                      <a:pt x="20418" y="3595"/>
                    </a:moveTo>
                    <a:lnTo>
                      <a:pt x="24369" y="0"/>
                    </a:lnTo>
                    <a:lnTo>
                      <a:pt x="32849" y="549"/>
                    </a:lnTo>
                    <a:lnTo>
                      <a:pt x="35264" y="7437"/>
                    </a:lnTo>
                    <a:lnTo>
                      <a:pt x="30572" y="15450"/>
                    </a:lnTo>
                    <a:lnTo>
                      <a:pt x="27717" y="13557"/>
                    </a:lnTo>
                    <a:lnTo>
                      <a:pt x="28184" y="17262"/>
                    </a:lnTo>
                    <a:lnTo>
                      <a:pt x="25714" y="19073"/>
                    </a:lnTo>
                    <a:lnTo>
                      <a:pt x="25193" y="24699"/>
                    </a:lnTo>
                    <a:lnTo>
                      <a:pt x="20445" y="30901"/>
                    </a:lnTo>
                    <a:lnTo>
                      <a:pt x="20280" y="34194"/>
                    </a:lnTo>
                    <a:lnTo>
                      <a:pt x="17619" y="38640"/>
                    </a:lnTo>
                    <a:lnTo>
                      <a:pt x="9550" y="41713"/>
                    </a:lnTo>
                    <a:lnTo>
                      <a:pt x="5653" y="45253"/>
                    </a:lnTo>
                    <a:lnTo>
                      <a:pt x="1372" y="43278"/>
                    </a:lnTo>
                    <a:lnTo>
                      <a:pt x="0" y="38365"/>
                    </a:lnTo>
                    <a:lnTo>
                      <a:pt x="2854" y="34386"/>
                    </a:lnTo>
                    <a:lnTo>
                      <a:pt x="5598" y="24946"/>
                    </a:lnTo>
                    <a:lnTo>
                      <a:pt x="9111" y="24534"/>
                    </a:lnTo>
                    <a:lnTo>
                      <a:pt x="11499" y="22284"/>
                    </a:lnTo>
                    <a:lnTo>
                      <a:pt x="13475" y="23162"/>
                    </a:lnTo>
                    <a:lnTo>
                      <a:pt x="16713" y="19677"/>
                    </a:lnTo>
                    <a:lnTo>
                      <a:pt x="16493" y="15011"/>
                    </a:lnTo>
                    <a:lnTo>
                      <a:pt x="20802" y="7794"/>
                    </a:lnTo>
                    <a:lnTo>
                      <a:pt x="20363" y="35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3" name="Freeform: Shape 3682">
                <a:extLst>
                  <a:ext uri="{FF2B5EF4-FFF2-40B4-BE49-F238E27FC236}">
                    <a16:creationId xmlns:a16="http://schemas.microsoft.com/office/drawing/2014/main" id="{36352AE2-8DDB-5F3B-3273-41F16EC7CE74}"/>
                  </a:ext>
                </a:extLst>
              </p:cNvPr>
              <p:cNvSpPr/>
              <p:nvPr/>
            </p:nvSpPr>
            <p:spPr>
              <a:xfrm>
                <a:off x="1113773" y="3650983"/>
                <a:ext cx="4099" cy="2464"/>
              </a:xfrm>
              <a:custGeom>
                <a:avLst/>
                <a:gdLst>
                  <a:gd name="connsiteX0" fmla="*/ 29364 w 39298"/>
                  <a:gd name="connsiteY0" fmla="*/ 3348 h 23628"/>
                  <a:gd name="connsiteX1" fmla="*/ 31093 w 39298"/>
                  <a:gd name="connsiteY1" fmla="*/ 4611 h 23628"/>
                  <a:gd name="connsiteX2" fmla="*/ 31889 w 39298"/>
                  <a:gd name="connsiteY2" fmla="*/ 6065 h 23628"/>
                  <a:gd name="connsiteX3" fmla="*/ 35841 w 39298"/>
                  <a:gd name="connsiteY3" fmla="*/ 10511 h 23628"/>
                  <a:gd name="connsiteX4" fmla="*/ 37542 w 39298"/>
                  <a:gd name="connsiteY4" fmla="*/ 15149 h 23628"/>
                  <a:gd name="connsiteX5" fmla="*/ 39299 w 39298"/>
                  <a:gd name="connsiteY5" fmla="*/ 19896 h 23628"/>
                  <a:gd name="connsiteX6" fmla="*/ 38749 w 39298"/>
                  <a:gd name="connsiteY6" fmla="*/ 23628 h 23628"/>
                  <a:gd name="connsiteX7" fmla="*/ 29392 w 39298"/>
                  <a:gd name="connsiteY7" fmla="*/ 22339 h 23628"/>
                  <a:gd name="connsiteX8" fmla="*/ 13694 w 39298"/>
                  <a:gd name="connsiteY8" fmla="*/ 15149 h 23628"/>
                  <a:gd name="connsiteX9" fmla="*/ 0 w 39298"/>
                  <a:gd name="connsiteY9" fmla="*/ 8837 h 23628"/>
                  <a:gd name="connsiteX10" fmla="*/ 4007 w 39298"/>
                  <a:gd name="connsiteY10" fmla="*/ 3019 h 23628"/>
                  <a:gd name="connsiteX11" fmla="*/ 12597 w 39298"/>
                  <a:gd name="connsiteY11" fmla="*/ 686 h 23628"/>
                  <a:gd name="connsiteX12" fmla="*/ 20966 w 39298"/>
                  <a:gd name="connsiteY12" fmla="*/ 0 h 23628"/>
                  <a:gd name="connsiteX13" fmla="*/ 29392 w 39298"/>
                  <a:gd name="connsiteY13" fmla="*/ 3348 h 2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298" h="23628">
                    <a:moveTo>
                      <a:pt x="29364" y="3348"/>
                    </a:moveTo>
                    <a:lnTo>
                      <a:pt x="31093" y="4611"/>
                    </a:lnTo>
                    <a:lnTo>
                      <a:pt x="31889" y="6065"/>
                    </a:lnTo>
                    <a:lnTo>
                      <a:pt x="35841" y="10511"/>
                    </a:lnTo>
                    <a:lnTo>
                      <a:pt x="37542" y="15149"/>
                    </a:lnTo>
                    <a:lnTo>
                      <a:pt x="39299" y="19896"/>
                    </a:lnTo>
                    <a:lnTo>
                      <a:pt x="38749" y="23628"/>
                    </a:lnTo>
                    <a:lnTo>
                      <a:pt x="29392" y="22339"/>
                    </a:lnTo>
                    <a:lnTo>
                      <a:pt x="13694" y="15149"/>
                    </a:lnTo>
                    <a:lnTo>
                      <a:pt x="0" y="8837"/>
                    </a:lnTo>
                    <a:lnTo>
                      <a:pt x="4007" y="3019"/>
                    </a:lnTo>
                    <a:lnTo>
                      <a:pt x="12597" y="686"/>
                    </a:lnTo>
                    <a:lnTo>
                      <a:pt x="20966" y="0"/>
                    </a:lnTo>
                    <a:lnTo>
                      <a:pt x="29392"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4" name="Freeform: Shape 3683">
                <a:extLst>
                  <a:ext uri="{FF2B5EF4-FFF2-40B4-BE49-F238E27FC236}">
                    <a16:creationId xmlns:a16="http://schemas.microsoft.com/office/drawing/2014/main" id="{328DFE91-BE1D-C6D0-DF7D-2BC643B106DD}"/>
                  </a:ext>
                </a:extLst>
              </p:cNvPr>
              <p:cNvSpPr/>
              <p:nvPr/>
            </p:nvSpPr>
            <p:spPr>
              <a:xfrm>
                <a:off x="1085659" y="3453660"/>
                <a:ext cx="4494" cy="5991"/>
              </a:xfrm>
              <a:custGeom>
                <a:avLst/>
                <a:gdLst>
                  <a:gd name="connsiteX0" fmla="*/ 27717 w 43085"/>
                  <a:gd name="connsiteY0" fmla="*/ 57081 h 57438"/>
                  <a:gd name="connsiteX1" fmla="*/ 26098 w 43085"/>
                  <a:gd name="connsiteY1" fmla="*/ 57438 h 57438"/>
                  <a:gd name="connsiteX2" fmla="*/ 11608 w 43085"/>
                  <a:gd name="connsiteY2" fmla="*/ 47202 h 57438"/>
                  <a:gd name="connsiteX3" fmla="*/ 5242 w 43085"/>
                  <a:gd name="connsiteY3" fmla="*/ 42701 h 57438"/>
                  <a:gd name="connsiteX4" fmla="*/ 851 w 43085"/>
                  <a:gd name="connsiteY4" fmla="*/ 34194 h 57438"/>
                  <a:gd name="connsiteX5" fmla="*/ 0 w 43085"/>
                  <a:gd name="connsiteY5" fmla="*/ 21570 h 57438"/>
                  <a:gd name="connsiteX6" fmla="*/ 1729 w 43085"/>
                  <a:gd name="connsiteY6" fmla="*/ 5928 h 57438"/>
                  <a:gd name="connsiteX7" fmla="*/ 7821 w 43085"/>
                  <a:gd name="connsiteY7" fmla="*/ 0 h 57438"/>
                  <a:gd name="connsiteX8" fmla="*/ 11636 w 43085"/>
                  <a:gd name="connsiteY8" fmla="*/ 1125 h 57438"/>
                  <a:gd name="connsiteX9" fmla="*/ 26126 w 43085"/>
                  <a:gd name="connsiteY9" fmla="*/ 5434 h 57438"/>
                  <a:gd name="connsiteX10" fmla="*/ 27745 w 43085"/>
                  <a:gd name="connsiteY10" fmla="*/ 7190 h 57438"/>
                  <a:gd name="connsiteX11" fmla="*/ 39710 w 43085"/>
                  <a:gd name="connsiteY11" fmla="*/ 20363 h 57438"/>
                  <a:gd name="connsiteX12" fmla="*/ 43086 w 43085"/>
                  <a:gd name="connsiteY12" fmla="*/ 35648 h 57438"/>
                  <a:gd name="connsiteX13" fmla="*/ 37789 w 43085"/>
                  <a:gd name="connsiteY13" fmla="*/ 54886 h 57438"/>
                  <a:gd name="connsiteX14" fmla="*/ 27717 w 43085"/>
                  <a:gd name="connsiteY14" fmla="*/ 57081 h 5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85" h="57438">
                    <a:moveTo>
                      <a:pt x="27717" y="57081"/>
                    </a:moveTo>
                    <a:lnTo>
                      <a:pt x="26098" y="57438"/>
                    </a:lnTo>
                    <a:lnTo>
                      <a:pt x="11608" y="47202"/>
                    </a:lnTo>
                    <a:lnTo>
                      <a:pt x="5242" y="42701"/>
                    </a:lnTo>
                    <a:lnTo>
                      <a:pt x="851" y="34194"/>
                    </a:lnTo>
                    <a:lnTo>
                      <a:pt x="0" y="21570"/>
                    </a:lnTo>
                    <a:lnTo>
                      <a:pt x="1729" y="5928"/>
                    </a:lnTo>
                    <a:lnTo>
                      <a:pt x="7821" y="0"/>
                    </a:lnTo>
                    <a:lnTo>
                      <a:pt x="11636" y="1125"/>
                    </a:lnTo>
                    <a:lnTo>
                      <a:pt x="26126" y="5434"/>
                    </a:lnTo>
                    <a:lnTo>
                      <a:pt x="27745" y="7190"/>
                    </a:lnTo>
                    <a:lnTo>
                      <a:pt x="39710" y="20363"/>
                    </a:lnTo>
                    <a:lnTo>
                      <a:pt x="43086" y="35648"/>
                    </a:lnTo>
                    <a:lnTo>
                      <a:pt x="37789" y="54886"/>
                    </a:lnTo>
                    <a:lnTo>
                      <a:pt x="27717" y="570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5" name="Freeform: Shape 3684">
                <a:extLst>
                  <a:ext uri="{FF2B5EF4-FFF2-40B4-BE49-F238E27FC236}">
                    <a16:creationId xmlns:a16="http://schemas.microsoft.com/office/drawing/2014/main" id="{F5DCC06D-53A0-0FB2-B166-C69D12CD7EB9}"/>
                  </a:ext>
                </a:extLst>
              </p:cNvPr>
              <p:cNvSpPr/>
              <p:nvPr/>
            </p:nvSpPr>
            <p:spPr>
              <a:xfrm>
                <a:off x="1136062" y="3555086"/>
                <a:ext cx="4311" cy="3395"/>
              </a:xfrm>
              <a:custGeom>
                <a:avLst/>
                <a:gdLst>
                  <a:gd name="connsiteX0" fmla="*/ 15505 w 41329"/>
                  <a:gd name="connsiteY0" fmla="*/ 8096 h 32547"/>
                  <a:gd name="connsiteX1" fmla="*/ 23354 w 41329"/>
                  <a:gd name="connsiteY1" fmla="*/ 11636 h 32547"/>
                  <a:gd name="connsiteX2" fmla="*/ 29556 w 41329"/>
                  <a:gd name="connsiteY2" fmla="*/ 14408 h 32547"/>
                  <a:gd name="connsiteX3" fmla="*/ 37460 w 41329"/>
                  <a:gd name="connsiteY3" fmla="*/ 13584 h 32547"/>
                  <a:gd name="connsiteX4" fmla="*/ 41329 w 41329"/>
                  <a:gd name="connsiteY4" fmla="*/ 26400 h 32547"/>
                  <a:gd name="connsiteX5" fmla="*/ 38722 w 41329"/>
                  <a:gd name="connsiteY5" fmla="*/ 32547 h 32547"/>
                  <a:gd name="connsiteX6" fmla="*/ 29556 w 41329"/>
                  <a:gd name="connsiteY6" fmla="*/ 32465 h 32547"/>
                  <a:gd name="connsiteX7" fmla="*/ 23354 w 41329"/>
                  <a:gd name="connsiteY7" fmla="*/ 31779 h 32547"/>
                  <a:gd name="connsiteX8" fmla="*/ 8205 w 41329"/>
                  <a:gd name="connsiteY8" fmla="*/ 30077 h 32547"/>
                  <a:gd name="connsiteX9" fmla="*/ 0 w 41329"/>
                  <a:gd name="connsiteY9" fmla="*/ 15889 h 32547"/>
                  <a:gd name="connsiteX10" fmla="*/ 1537 w 41329"/>
                  <a:gd name="connsiteY10" fmla="*/ 8864 h 32547"/>
                  <a:gd name="connsiteX11" fmla="*/ 10950 w 41329"/>
                  <a:gd name="connsiteY11" fmla="*/ 5104 h 32547"/>
                  <a:gd name="connsiteX12" fmla="*/ 12459 w 41329"/>
                  <a:gd name="connsiteY12" fmla="*/ 0 h 32547"/>
                  <a:gd name="connsiteX13" fmla="*/ 15533 w 41329"/>
                  <a:gd name="connsiteY13" fmla="*/ 2223 h 32547"/>
                  <a:gd name="connsiteX14" fmla="*/ 16164 w 41329"/>
                  <a:gd name="connsiteY14" fmla="*/ 5104 h 32547"/>
                  <a:gd name="connsiteX15" fmla="*/ 15505 w 41329"/>
                  <a:gd name="connsiteY15" fmla="*/ 8150 h 3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329" h="32547">
                    <a:moveTo>
                      <a:pt x="15505" y="8096"/>
                    </a:moveTo>
                    <a:lnTo>
                      <a:pt x="23354" y="11636"/>
                    </a:lnTo>
                    <a:lnTo>
                      <a:pt x="29556" y="14408"/>
                    </a:lnTo>
                    <a:lnTo>
                      <a:pt x="37460" y="13584"/>
                    </a:lnTo>
                    <a:lnTo>
                      <a:pt x="41329" y="26400"/>
                    </a:lnTo>
                    <a:lnTo>
                      <a:pt x="38722" y="32547"/>
                    </a:lnTo>
                    <a:lnTo>
                      <a:pt x="29556" y="32465"/>
                    </a:lnTo>
                    <a:lnTo>
                      <a:pt x="23354" y="31779"/>
                    </a:lnTo>
                    <a:lnTo>
                      <a:pt x="8205" y="30077"/>
                    </a:lnTo>
                    <a:lnTo>
                      <a:pt x="0" y="15889"/>
                    </a:lnTo>
                    <a:lnTo>
                      <a:pt x="1537" y="8864"/>
                    </a:lnTo>
                    <a:lnTo>
                      <a:pt x="10950" y="5104"/>
                    </a:lnTo>
                    <a:lnTo>
                      <a:pt x="12459" y="0"/>
                    </a:lnTo>
                    <a:lnTo>
                      <a:pt x="15533" y="2223"/>
                    </a:lnTo>
                    <a:lnTo>
                      <a:pt x="16164" y="5104"/>
                    </a:lnTo>
                    <a:lnTo>
                      <a:pt x="15505" y="81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6" name="Freeform: Shape 3685">
                <a:extLst>
                  <a:ext uri="{FF2B5EF4-FFF2-40B4-BE49-F238E27FC236}">
                    <a16:creationId xmlns:a16="http://schemas.microsoft.com/office/drawing/2014/main" id="{5F957073-7442-3F65-09FF-18EAA8877FE2}"/>
                  </a:ext>
                </a:extLst>
              </p:cNvPr>
              <p:cNvSpPr/>
              <p:nvPr/>
            </p:nvSpPr>
            <p:spPr>
              <a:xfrm>
                <a:off x="1044444" y="3466992"/>
                <a:ext cx="4617" cy="4751"/>
              </a:xfrm>
              <a:custGeom>
                <a:avLst/>
                <a:gdLst>
                  <a:gd name="connsiteX0" fmla="*/ 44266 w 44265"/>
                  <a:gd name="connsiteY0" fmla="*/ 34112 h 45555"/>
                  <a:gd name="connsiteX1" fmla="*/ 31038 w 44265"/>
                  <a:gd name="connsiteY1" fmla="*/ 45555 h 45555"/>
                  <a:gd name="connsiteX2" fmla="*/ 8507 w 44265"/>
                  <a:gd name="connsiteY2" fmla="*/ 39161 h 45555"/>
                  <a:gd name="connsiteX3" fmla="*/ 5269 w 44265"/>
                  <a:gd name="connsiteY3" fmla="*/ 24616 h 45555"/>
                  <a:gd name="connsiteX4" fmla="*/ 0 w 44265"/>
                  <a:gd name="connsiteY4" fmla="*/ 13941 h 45555"/>
                  <a:gd name="connsiteX5" fmla="*/ 357 w 44265"/>
                  <a:gd name="connsiteY5" fmla="*/ 11828 h 45555"/>
                  <a:gd name="connsiteX6" fmla="*/ 6998 w 44265"/>
                  <a:gd name="connsiteY6" fmla="*/ 2141 h 45555"/>
                  <a:gd name="connsiteX7" fmla="*/ 10648 w 44265"/>
                  <a:gd name="connsiteY7" fmla="*/ 0 h 45555"/>
                  <a:gd name="connsiteX8" fmla="*/ 17563 w 44265"/>
                  <a:gd name="connsiteY8" fmla="*/ 851 h 45555"/>
                  <a:gd name="connsiteX9" fmla="*/ 44266 w 44265"/>
                  <a:gd name="connsiteY9" fmla="*/ 29666 h 45555"/>
                  <a:gd name="connsiteX10" fmla="*/ 44266 w 44265"/>
                  <a:gd name="connsiteY10" fmla="*/ 34084 h 45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65" h="45555">
                    <a:moveTo>
                      <a:pt x="44266" y="34112"/>
                    </a:moveTo>
                    <a:lnTo>
                      <a:pt x="31038" y="45555"/>
                    </a:lnTo>
                    <a:lnTo>
                      <a:pt x="8507" y="39161"/>
                    </a:lnTo>
                    <a:lnTo>
                      <a:pt x="5269" y="24616"/>
                    </a:lnTo>
                    <a:lnTo>
                      <a:pt x="0" y="13941"/>
                    </a:lnTo>
                    <a:lnTo>
                      <a:pt x="357" y="11828"/>
                    </a:lnTo>
                    <a:lnTo>
                      <a:pt x="6998" y="2141"/>
                    </a:lnTo>
                    <a:lnTo>
                      <a:pt x="10648" y="0"/>
                    </a:lnTo>
                    <a:lnTo>
                      <a:pt x="17563" y="851"/>
                    </a:lnTo>
                    <a:lnTo>
                      <a:pt x="44266" y="29666"/>
                    </a:lnTo>
                    <a:lnTo>
                      <a:pt x="44266" y="340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7" name="Freeform: Shape 3686">
                <a:extLst>
                  <a:ext uri="{FF2B5EF4-FFF2-40B4-BE49-F238E27FC236}">
                    <a16:creationId xmlns:a16="http://schemas.microsoft.com/office/drawing/2014/main" id="{92F84A02-386F-97FB-E745-37FF7FB0BDE9}"/>
                  </a:ext>
                </a:extLst>
              </p:cNvPr>
              <p:cNvSpPr/>
              <p:nvPr/>
            </p:nvSpPr>
            <p:spPr>
              <a:xfrm>
                <a:off x="1060759" y="3498298"/>
                <a:ext cx="4940" cy="3274"/>
              </a:xfrm>
              <a:custGeom>
                <a:avLst/>
                <a:gdLst>
                  <a:gd name="connsiteX0" fmla="*/ 19732 w 47366"/>
                  <a:gd name="connsiteY0" fmla="*/ 29117 h 31394"/>
                  <a:gd name="connsiteX1" fmla="*/ 7464 w 47366"/>
                  <a:gd name="connsiteY1" fmla="*/ 31395 h 31394"/>
                  <a:gd name="connsiteX2" fmla="*/ 412 w 47366"/>
                  <a:gd name="connsiteY2" fmla="*/ 24397 h 31394"/>
                  <a:gd name="connsiteX3" fmla="*/ 0 w 47366"/>
                  <a:gd name="connsiteY3" fmla="*/ 22723 h 31394"/>
                  <a:gd name="connsiteX4" fmla="*/ 439 w 47366"/>
                  <a:gd name="connsiteY4" fmla="*/ 20665 h 31394"/>
                  <a:gd name="connsiteX5" fmla="*/ 9084 w 47366"/>
                  <a:gd name="connsiteY5" fmla="*/ 15286 h 31394"/>
                  <a:gd name="connsiteX6" fmla="*/ 10072 w 47366"/>
                  <a:gd name="connsiteY6" fmla="*/ 12596 h 31394"/>
                  <a:gd name="connsiteX7" fmla="*/ 19732 w 47366"/>
                  <a:gd name="connsiteY7" fmla="*/ 7437 h 31394"/>
                  <a:gd name="connsiteX8" fmla="*/ 39710 w 47366"/>
                  <a:gd name="connsiteY8" fmla="*/ 0 h 31394"/>
                  <a:gd name="connsiteX9" fmla="*/ 47147 w 47366"/>
                  <a:gd name="connsiteY9" fmla="*/ 2635 h 31394"/>
                  <a:gd name="connsiteX10" fmla="*/ 47367 w 47366"/>
                  <a:gd name="connsiteY10" fmla="*/ 6257 h 31394"/>
                  <a:gd name="connsiteX11" fmla="*/ 41960 w 47366"/>
                  <a:gd name="connsiteY11" fmla="*/ 16603 h 31394"/>
                  <a:gd name="connsiteX12" fmla="*/ 34578 w 47366"/>
                  <a:gd name="connsiteY12" fmla="*/ 23985 h 31394"/>
                  <a:gd name="connsiteX13" fmla="*/ 19732 w 47366"/>
                  <a:gd name="connsiteY13" fmla="*/ 29117 h 3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366" h="31394">
                    <a:moveTo>
                      <a:pt x="19732" y="29117"/>
                    </a:moveTo>
                    <a:lnTo>
                      <a:pt x="7464" y="31395"/>
                    </a:lnTo>
                    <a:lnTo>
                      <a:pt x="412" y="24397"/>
                    </a:lnTo>
                    <a:lnTo>
                      <a:pt x="0" y="22723"/>
                    </a:lnTo>
                    <a:lnTo>
                      <a:pt x="439" y="20665"/>
                    </a:lnTo>
                    <a:lnTo>
                      <a:pt x="9084" y="15286"/>
                    </a:lnTo>
                    <a:lnTo>
                      <a:pt x="10072" y="12596"/>
                    </a:lnTo>
                    <a:lnTo>
                      <a:pt x="19732" y="7437"/>
                    </a:lnTo>
                    <a:lnTo>
                      <a:pt x="39710" y="0"/>
                    </a:lnTo>
                    <a:lnTo>
                      <a:pt x="47147" y="2635"/>
                    </a:lnTo>
                    <a:lnTo>
                      <a:pt x="47367" y="6257"/>
                    </a:lnTo>
                    <a:lnTo>
                      <a:pt x="41960" y="16603"/>
                    </a:lnTo>
                    <a:lnTo>
                      <a:pt x="34578" y="23985"/>
                    </a:lnTo>
                    <a:lnTo>
                      <a:pt x="19732" y="291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8" name="Freeform: Shape 3687">
                <a:extLst>
                  <a:ext uri="{FF2B5EF4-FFF2-40B4-BE49-F238E27FC236}">
                    <a16:creationId xmlns:a16="http://schemas.microsoft.com/office/drawing/2014/main" id="{6BB16A0B-E332-58CA-77E8-199F31CEFCBF}"/>
                  </a:ext>
                </a:extLst>
              </p:cNvPr>
              <p:cNvSpPr/>
              <p:nvPr/>
            </p:nvSpPr>
            <p:spPr>
              <a:xfrm>
                <a:off x="1012781" y="3447686"/>
                <a:ext cx="3987" cy="4915"/>
              </a:xfrm>
              <a:custGeom>
                <a:avLst/>
                <a:gdLst>
                  <a:gd name="connsiteX0" fmla="*/ 36252 w 38228"/>
                  <a:gd name="connsiteY0" fmla="*/ 38201 h 47119"/>
                  <a:gd name="connsiteX1" fmla="*/ 20857 w 38228"/>
                  <a:gd name="connsiteY1" fmla="*/ 47120 h 47119"/>
                  <a:gd name="connsiteX2" fmla="*/ 3375 w 38228"/>
                  <a:gd name="connsiteY2" fmla="*/ 27882 h 47119"/>
                  <a:gd name="connsiteX3" fmla="*/ 0 w 38228"/>
                  <a:gd name="connsiteY3" fmla="*/ 17426 h 47119"/>
                  <a:gd name="connsiteX4" fmla="*/ 16575 w 38228"/>
                  <a:gd name="connsiteY4" fmla="*/ 0 h 47119"/>
                  <a:gd name="connsiteX5" fmla="*/ 36252 w 38228"/>
                  <a:gd name="connsiteY5" fmla="*/ 25055 h 47119"/>
                  <a:gd name="connsiteX6" fmla="*/ 38228 w 38228"/>
                  <a:gd name="connsiteY6" fmla="*/ 30434 h 47119"/>
                  <a:gd name="connsiteX7" fmla="*/ 38146 w 38228"/>
                  <a:gd name="connsiteY7" fmla="*/ 34990 h 47119"/>
                  <a:gd name="connsiteX8" fmla="*/ 36252 w 38228"/>
                  <a:gd name="connsiteY8" fmla="*/ 38173 h 47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228" h="47119">
                    <a:moveTo>
                      <a:pt x="36252" y="38201"/>
                    </a:moveTo>
                    <a:lnTo>
                      <a:pt x="20857" y="47120"/>
                    </a:lnTo>
                    <a:lnTo>
                      <a:pt x="3375" y="27882"/>
                    </a:lnTo>
                    <a:lnTo>
                      <a:pt x="0" y="17426"/>
                    </a:lnTo>
                    <a:lnTo>
                      <a:pt x="16575" y="0"/>
                    </a:lnTo>
                    <a:lnTo>
                      <a:pt x="36252" y="25055"/>
                    </a:lnTo>
                    <a:lnTo>
                      <a:pt x="38228" y="30434"/>
                    </a:lnTo>
                    <a:lnTo>
                      <a:pt x="38146" y="34990"/>
                    </a:lnTo>
                    <a:lnTo>
                      <a:pt x="36252" y="381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9" name="Freeform: Shape 3688">
                <a:extLst>
                  <a:ext uri="{FF2B5EF4-FFF2-40B4-BE49-F238E27FC236}">
                    <a16:creationId xmlns:a16="http://schemas.microsoft.com/office/drawing/2014/main" id="{B2F2AAE5-B8D7-15E5-1C1F-1EBF29183B9A}"/>
                  </a:ext>
                </a:extLst>
              </p:cNvPr>
              <p:cNvSpPr/>
              <p:nvPr/>
            </p:nvSpPr>
            <p:spPr>
              <a:xfrm>
                <a:off x="1043995" y="3482804"/>
                <a:ext cx="3335" cy="4766"/>
              </a:xfrm>
              <a:custGeom>
                <a:avLst/>
                <a:gdLst>
                  <a:gd name="connsiteX0" fmla="*/ 29419 w 31971"/>
                  <a:gd name="connsiteY0" fmla="*/ 37542 h 45692"/>
                  <a:gd name="connsiteX1" fmla="*/ 15505 w 31971"/>
                  <a:gd name="connsiteY1" fmla="*/ 45693 h 45692"/>
                  <a:gd name="connsiteX2" fmla="*/ 631 w 31971"/>
                  <a:gd name="connsiteY2" fmla="*/ 36362 h 45692"/>
                  <a:gd name="connsiteX3" fmla="*/ 0 w 31971"/>
                  <a:gd name="connsiteY3" fmla="*/ 30407 h 45692"/>
                  <a:gd name="connsiteX4" fmla="*/ 1372 w 31971"/>
                  <a:gd name="connsiteY4" fmla="*/ 23217 h 45692"/>
                  <a:gd name="connsiteX5" fmla="*/ 3842 w 31971"/>
                  <a:gd name="connsiteY5" fmla="*/ 13557 h 45692"/>
                  <a:gd name="connsiteX6" fmla="*/ 4748 w 31971"/>
                  <a:gd name="connsiteY6" fmla="*/ 9934 h 45692"/>
                  <a:gd name="connsiteX7" fmla="*/ 8480 w 31971"/>
                  <a:gd name="connsiteY7" fmla="*/ 2744 h 45692"/>
                  <a:gd name="connsiteX8" fmla="*/ 12843 w 31971"/>
                  <a:gd name="connsiteY8" fmla="*/ 110 h 45692"/>
                  <a:gd name="connsiteX9" fmla="*/ 20363 w 31971"/>
                  <a:gd name="connsiteY9" fmla="*/ 0 h 45692"/>
                  <a:gd name="connsiteX10" fmla="*/ 27251 w 31971"/>
                  <a:gd name="connsiteY10" fmla="*/ 9962 h 45692"/>
                  <a:gd name="connsiteX11" fmla="*/ 28157 w 31971"/>
                  <a:gd name="connsiteY11" fmla="*/ 13584 h 45692"/>
                  <a:gd name="connsiteX12" fmla="*/ 30572 w 31971"/>
                  <a:gd name="connsiteY12" fmla="*/ 23244 h 45692"/>
                  <a:gd name="connsiteX13" fmla="*/ 31971 w 31971"/>
                  <a:gd name="connsiteY13" fmla="*/ 30434 h 45692"/>
                  <a:gd name="connsiteX14" fmla="*/ 29391 w 31971"/>
                  <a:gd name="connsiteY14" fmla="*/ 37569 h 4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71" h="45692">
                    <a:moveTo>
                      <a:pt x="29419" y="37542"/>
                    </a:moveTo>
                    <a:lnTo>
                      <a:pt x="15505" y="45693"/>
                    </a:lnTo>
                    <a:lnTo>
                      <a:pt x="631" y="36362"/>
                    </a:lnTo>
                    <a:lnTo>
                      <a:pt x="0" y="30407"/>
                    </a:lnTo>
                    <a:lnTo>
                      <a:pt x="1372" y="23217"/>
                    </a:lnTo>
                    <a:lnTo>
                      <a:pt x="3842" y="13557"/>
                    </a:lnTo>
                    <a:lnTo>
                      <a:pt x="4748" y="9934"/>
                    </a:lnTo>
                    <a:lnTo>
                      <a:pt x="8480" y="2744"/>
                    </a:lnTo>
                    <a:lnTo>
                      <a:pt x="12843" y="110"/>
                    </a:lnTo>
                    <a:lnTo>
                      <a:pt x="20363" y="0"/>
                    </a:lnTo>
                    <a:lnTo>
                      <a:pt x="27251" y="9962"/>
                    </a:lnTo>
                    <a:lnTo>
                      <a:pt x="28157" y="13584"/>
                    </a:lnTo>
                    <a:lnTo>
                      <a:pt x="30572" y="23244"/>
                    </a:lnTo>
                    <a:lnTo>
                      <a:pt x="31971" y="30434"/>
                    </a:lnTo>
                    <a:lnTo>
                      <a:pt x="29391" y="375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0" name="Freeform: Shape 3689">
                <a:extLst>
                  <a:ext uri="{FF2B5EF4-FFF2-40B4-BE49-F238E27FC236}">
                    <a16:creationId xmlns:a16="http://schemas.microsoft.com/office/drawing/2014/main" id="{C76EB4D4-71D0-0E68-4448-6961D914028C}"/>
                  </a:ext>
                </a:extLst>
              </p:cNvPr>
              <p:cNvSpPr/>
              <p:nvPr/>
            </p:nvSpPr>
            <p:spPr>
              <a:xfrm>
                <a:off x="1124572" y="3590356"/>
                <a:ext cx="3071" cy="2688"/>
              </a:xfrm>
              <a:custGeom>
                <a:avLst/>
                <a:gdLst>
                  <a:gd name="connsiteX0" fmla="*/ 26894 w 29446"/>
                  <a:gd name="connsiteY0" fmla="*/ 21762 h 25768"/>
                  <a:gd name="connsiteX1" fmla="*/ 17975 w 29446"/>
                  <a:gd name="connsiteY1" fmla="*/ 25769 h 25768"/>
                  <a:gd name="connsiteX2" fmla="*/ 8562 w 29446"/>
                  <a:gd name="connsiteY2" fmla="*/ 16576 h 25768"/>
                  <a:gd name="connsiteX3" fmla="*/ 7327 w 29446"/>
                  <a:gd name="connsiteY3" fmla="*/ 15588 h 25768"/>
                  <a:gd name="connsiteX4" fmla="*/ 3979 w 29446"/>
                  <a:gd name="connsiteY4" fmla="*/ 10566 h 25768"/>
                  <a:gd name="connsiteX5" fmla="*/ 0 w 29446"/>
                  <a:gd name="connsiteY5" fmla="*/ 3815 h 25768"/>
                  <a:gd name="connsiteX6" fmla="*/ 1263 w 29446"/>
                  <a:gd name="connsiteY6" fmla="*/ 0 h 25768"/>
                  <a:gd name="connsiteX7" fmla="*/ 3979 w 29446"/>
                  <a:gd name="connsiteY7" fmla="*/ 2003 h 25768"/>
                  <a:gd name="connsiteX8" fmla="*/ 20390 w 29446"/>
                  <a:gd name="connsiteY8" fmla="*/ 2607 h 25768"/>
                  <a:gd name="connsiteX9" fmla="*/ 25138 w 29446"/>
                  <a:gd name="connsiteY9" fmla="*/ 5708 h 25768"/>
                  <a:gd name="connsiteX10" fmla="*/ 29447 w 29446"/>
                  <a:gd name="connsiteY10" fmla="*/ 16576 h 25768"/>
                  <a:gd name="connsiteX11" fmla="*/ 26894 w 29446"/>
                  <a:gd name="connsiteY11" fmla="*/ 21762 h 2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46" h="25768">
                    <a:moveTo>
                      <a:pt x="26894" y="21762"/>
                    </a:moveTo>
                    <a:lnTo>
                      <a:pt x="17975" y="25769"/>
                    </a:lnTo>
                    <a:lnTo>
                      <a:pt x="8562" y="16576"/>
                    </a:lnTo>
                    <a:lnTo>
                      <a:pt x="7327" y="15588"/>
                    </a:lnTo>
                    <a:lnTo>
                      <a:pt x="3979" y="10566"/>
                    </a:lnTo>
                    <a:lnTo>
                      <a:pt x="0" y="3815"/>
                    </a:lnTo>
                    <a:lnTo>
                      <a:pt x="1263" y="0"/>
                    </a:lnTo>
                    <a:lnTo>
                      <a:pt x="3979" y="2003"/>
                    </a:lnTo>
                    <a:lnTo>
                      <a:pt x="20390" y="2607"/>
                    </a:lnTo>
                    <a:lnTo>
                      <a:pt x="25138" y="5708"/>
                    </a:lnTo>
                    <a:lnTo>
                      <a:pt x="29447" y="16576"/>
                    </a:lnTo>
                    <a:lnTo>
                      <a:pt x="26894" y="217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1" name="Freeform: Shape 3690">
                <a:extLst>
                  <a:ext uri="{FF2B5EF4-FFF2-40B4-BE49-F238E27FC236}">
                    <a16:creationId xmlns:a16="http://schemas.microsoft.com/office/drawing/2014/main" id="{279BE4C4-5D09-5FBA-3508-0C5DA986D62C}"/>
                  </a:ext>
                </a:extLst>
              </p:cNvPr>
              <p:cNvSpPr/>
              <p:nvPr/>
            </p:nvSpPr>
            <p:spPr>
              <a:xfrm>
                <a:off x="1164616" y="3601963"/>
                <a:ext cx="2373" cy="2731"/>
              </a:xfrm>
              <a:custGeom>
                <a:avLst/>
                <a:gdLst>
                  <a:gd name="connsiteX0" fmla="*/ 1537 w 22750"/>
                  <a:gd name="connsiteY0" fmla="*/ 3979 h 26180"/>
                  <a:gd name="connsiteX1" fmla="*/ 6367 w 22750"/>
                  <a:gd name="connsiteY1" fmla="*/ 2772 h 26180"/>
                  <a:gd name="connsiteX2" fmla="*/ 7026 w 22750"/>
                  <a:gd name="connsiteY2" fmla="*/ 0 h 26180"/>
                  <a:gd name="connsiteX3" fmla="*/ 9413 w 22750"/>
                  <a:gd name="connsiteY3" fmla="*/ 2964 h 26180"/>
                  <a:gd name="connsiteX4" fmla="*/ 18085 w 22750"/>
                  <a:gd name="connsiteY4" fmla="*/ 5187 h 26180"/>
                  <a:gd name="connsiteX5" fmla="*/ 22750 w 22750"/>
                  <a:gd name="connsiteY5" fmla="*/ 10264 h 26180"/>
                  <a:gd name="connsiteX6" fmla="*/ 18305 w 22750"/>
                  <a:gd name="connsiteY6" fmla="*/ 26181 h 26180"/>
                  <a:gd name="connsiteX7" fmla="*/ 9413 w 22750"/>
                  <a:gd name="connsiteY7" fmla="*/ 19238 h 26180"/>
                  <a:gd name="connsiteX8" fmla="*/ 2662 w 22750"/>
                  <a:gd name="connsiteY8" fmla="*/ 13035 h 26180"/>
                  <a:gd name="connsiteX9" fmla="*/ 0 w 22750"/>
                  <a:gd name="connsiteY9" fmla="*/ 7547 h 26180"/>
                  <a:gd name="connsiteX10" fmla="*/ 1537 w 22750"/>
                  <a:gd name="connsiteY10" fmla="*/ 3979 h 2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50" h="26180">
                    <a:moveTo>
                      <a:pt x="1537" y="3979"/>
                    </a:moveTo>
                    <a:lnTo>
                      <a:pt x="6367" y="2772"/>
                    </a:lnTo>
                    <a:lnTo>
                      <a:pt x="7026" y="0"/>
                    </a:lnTo>
                    <a:lnTo>
                      <a:pt x="9413" y="2964"/>
                    </a:lnTo>
                    <a:lnTo>
                      <a:pt x="18085" y="5187"/>
                    </a:lnTo>
                    <a:lnTo>
                      <a:pt x="22750" y="10264"/>
                    </a:lnTo>
                    <a:lnTo>
                      <a:pt x="18305" y="26181"/>
                    </a:lnTo>
                    <a:lnTo>
                      <a:pt x="9413" y="19238"/>
                    </a:lnTo>
                    <a:lnTo>
                      <a:pt x="2662" y="13035"/>
                    </a:lnTo>
                    <a:lnTo>
                      <a:pt x="0" y="7547"/>
                    </a:lnTo>
                    <a:lnTo>
                      <a:pt x="1537" y="39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2" name="Freeform: Shape 3691">
                <a:extLst>
                  <a:ext uri="{FF2B5EF4-FFF2-40B4-BE49-F238E27FC236}">
                    <a16:creationId xmlns:a16="http://schemas.microsoft.com/office/drawing/2014/main" id="{5F1F7DDD-128D-33FF-369A-90D57276C906}"/>
                  </a:ext>
                </a:extLst>
              </p:cNvPr>
              <p:cNvSpPr/>
              <p:nvPr/>
            </p:nvSpPr>
            <p:spPr>
              <a:xfrm>
                <a:off x="1050956" y="3449939"/>
                <a:ext cx="4482" cy="3111"/>
              </a:xfrm>
              <a:custGeom>
                <a:avLst/>
                <a:gdLst>
                  <a:gd name="connsiteX0" fmla="*/ 0 w 42975"/>
                  <a:gd name="connsiteY0" fmla="*/ 13584 h 29830"/>
                  <a:gd name="connsiteX1" fmla="*/ 1921 w 42975"/>
                  <a:gd name="connsiteY1" fmla="*/ 3760 h 29830"/>
                  <a:gd name="connsiteX2" fmla="*/ 10675 w 42975"/>
                  <a:gd name="connsiteY2" fmla="*/ 0 h 29830"/>
                  <a:gd name="connsiteX3" fmla="*/ 32136 w 42975"/>
                  <a:gd name="connsiteY3" fmla="*/ 3650 h 29830"/>
                  <a:gd name="connsiteX4" fmla="*/ 39682 w 42975"/>
                  <a:gd name="connsiteY4" fmla="*/ 10181 h 29830"/>
                  <a:gd name="connsiteX5" fmla="*/ 42976 w 42975"/>
                  <a:gd name="connsiteY5" fmla="*/ 17673 h 29830"/>
                  <a:gd name="connsiteX6" fmla="*/ 41384 w 42975"/>
                  <a:gd name="connsiteY6" fmla="*/ 25110 h 29830"/>
                  <a:gd name="connsiteX7" fmla="*/ 32136 w 42975"/>
                  <a:gd name="connsiteY7" fmla="*/ 24561 h 29830"/>
                  <a:gd name="connsiteX8" fmla="*/ 12898 w 42975"/>
                  <a:gd name="connsiteY8" fmla="*/ 29831 h 29830"/>
                  <a:gd name="connsiteX9" fmla="*/ 0 w 42975"/>
                  <a:gd name="connsiteY9" fmla="*/ 13584 h 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75" h="29830">
                    <a:moveTo>
                      <a:pt x="0" y="13584"/>
                    </a:moveTo>
                    <a:lnTo>
                      <a:pt x="1921" y="3760"/>
                    </a:lnTo>
                    <a:lnTo>
                      <a:pt x="10675" y="0"/>
                    </a:lnTo>
                    <a:lnTo>
                      <a:pt x="32136" y="3650"/>
                    </a:lnTo>
                    <a:lnTo>
                      <a:pt x="39682" y="10181"/>
                    </a:lnTo>
                    <a:lnTo>
                      <a:pt x="42976" y="17673"/>
                    </a:lnTo>
                    <a:lnTo>
                      <a:pt x="41384" y="25110"/>
                    </a:lnTo>
                    <a:lnTo>
                      <a:pt x="32136" y="24561"/>
                    </a:lnTo>
                    <a:lnTo>
                      <a:pt x="12898" y="29831"/>
                    </a:lnTo>
                    <a:lnTo>
                      <a:pt x="0" y="135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3" name="Freeform: Shape 3692">
                <a:extLst>
                  <a:ext uri="{FF2B5EF4-FFF2-40B4-BE49-F238E27FC236}">
                    <a16:creationId xmlns:a16="http://schemas.microsoft.com/office/drawing/2014/main" id="{F4A9F4A0-5297-6E97-3859-2CBDCADA1421}"/>
                  </a:ext>
                </a:extLst>
              </p:cNvPr>
              <p:cNvSpPr/>
              <p:nvPr/>
            </p:nvSpPr>
            <p:spPr>
              <a:xfrm>
                <a:off x="1056775" y="3547109"/>
                <a:ext cx="1998" cy="3844"/>
              </a:xfrm>
              <a:custGeom>
                <a:avLst/>
                <a:gdLst>
                  <a:gd name="connsiteX0" fmla="*/ 15231 w 19155"/>
                  <a:gd name="connsiteY0" fmla="*/ 14106 h 36855"/>
                  <a:gd name="connsiteX1" fmla="*/ 13447 w 19155"/>
                  <a:gd name="connsiteY1" fmla="*/ 16960 h 36855"/>
                  <a:gd name="connsiteX2" fmla="*/ 13502 w 19155"/>
                  <a:gd name="connsiteY2" fmla="*/ 26235 h 36855"/>
                  <a:gd name="connsiteX3" fmla="*/ 12349 w 19155"/>
                  <a:gd name="connsiteY3" fmla="*/ 35456 h 36855"/>
                  <a:gd name="connsiteX4" fmla="*/ 4418 w 19155"/>
                  <a:gd name="connsiteY4" fmla="*/ 31916 h 36855"/>
                  <a:gd name="connsiteX5" fmla="*/ 3705 w 19155"/>
                  <a:gd name="connsiteY5" fmla="*/ 36856 h 36855"/>
                  <a:gd name="connsiteX6" fmla="*/ 1317 w 19155"/>
                  <a:gd name="connsiteY6" fmla="*/ 35511 h 36855"/>
                  <a:gd name="connsiteX7" fmla="*/ 0 w 19155"/>
                  <a:gd name="connsiteY7" fmla="*/ 26235 h 36855"/>
                  <a:gd name="connsiteX8" fmla="*/ 988 w 19155"/>
                  <a:gd name="connsiteY8" fmla="*/ 9523 h 36855"/>
                  <a:gd name="connsiteX9" fmla="*/ 6614 w 19155"/>
                  <a:gd name="connsiteY9" fmla="*/ 7135 h 36855"/>
                  <a:gd name="connsiteX10" fmla="*/ 11800 w 19155"/>
                  <a:gd name="connsiteY10" fmla="*/ 14764 h 36855"/>
                  <a:gd name="connsiteX11" fmla="*/ 11636 w 19155"/>
                  <a:gd name="connsiteY11" fmla="*/ 5516 h 36855"/>
                  <a:gd name="connsiteX12" fmla="*/ 15203 w 19155"/>
                  <a:gd name="connsiteY12" fmla="*/ 0 h 36855"/>
                  <a:gd name="connsiteX13" fmla="*/ 19155 w 19155"/>
                  <a:gd name="connsiteY13" fmla="*/ 9797 h 36855"/>
                  <a:gd name="connsiteX14" fmla="*/ 18524 w 19155"/>
                  <a:gd name="connsiteY14" fmla="*/ 13721 h 36855"/>
                  <a:gd name="connsiteX15" fmla="*/ 15203 w 19155"/>
                  <a:gd name="connsiteY15" fmla="*/ 14161 h 36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155" h="36855">
                    <a:moveTo>
                      <a:pt x="15231" y="14106"/>
                    </a:moveTo>
                    <a:lnTo>
                      <a:pt x="13447" y="16960"/>
                    </a:lnTo>
                    <a:lnTo>
                      <a:pt x="13502" y="26235"/>
                    </a:lnTo>
                    <a:lnTo>
                      <a:pt x="12349" y="35456"/>
                    </a:lnTo>
                    <a:lnTo>
                      <a:pt x="4418" y="31916"/>
                    </a:lnTo>
                    <a:lnTo>
                      <a:pt x="3705" y="36856"/>
                    </a:lnTo>
                    <a:lnTo>
                      <a:pt x="1317" y="35511"/>
                    </a:lnTo>
                    <a:lnTo>
                      <a:pt x="0" y="26235"/>
                    </a:lnTo>
                    <a:lnTo>
                      <a:pt x="988" y="9523"/>
                    </a:lnTo>
                    <a:lnTo>
                      <a:pt x="6614" y="7135"/>
                    </a:lnTo>
                    <a:lnTo>
                      <a:pt x="11800" y="14764"/>
                    </a:lnTo>
                    <a:lnTo>
                      <a:pt x="11636" y="5516"/>
                    </a:lnTo>
                    <a:lnTo>
                      <a:pt x="15203" y="0"/>
                    </a:lnTo>
                    <a:lnTo>
                      <a:pt x="19155" y="9797"/>
                    </a:lnTo>
                    <a:lnTo>
                      <a:pt x="18524" y="13721"/>
                    </a:lnTo>
                    <a:lnTo>
                      <a:pt x="15203" y="141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4" name="Freeform: Shape 3693">
                <a:extLst>
                  <a:ext uri="{FF2B5EF4-FFF2-40B4-BE49-F238E27FC236}">
                    <a16:creationId xmlns:a16="http://schemas.microsoft.com/office/drawing/2014/main" id="{0EA1F50F-74A3-CDC7-6256-D1FBC369C043}"/>
                  </a:ext>
                </a:extLst>
              </p:cNvPr>
              <p:cNvSpPr/>
              <p:nvPr/>
            </p:nvSpPr>
            <p:spPr>
              <a:xfrm>
                <a:off x="1087571" y="3464963"/>
                <a:ext cx="2585" cy="4577"/>
              </a:xfrm>
              <a:custGeom>
                <a:avLst/>
                <a:gdLst>
                  <a:gd name="connsiteX0" fmla="*/ 21515 w 24781"/>
                  <a:gd name="connsiteY0" fmla="*/ 25055 h 43881"/>
                  <a:gd name="connsiteX1" fmla="*/ 21899 w 24781"/>
                  <a:gd name="connsiteY1" fmla="*/ 42262 h 43881"/>
                  <a:gd name="connsiteX2" fmla="*/ 16082 w 24781"/>
                  <a:gd name="connsiteY2" fmla="*/ 43881 h 43881"/>
                  <a:gd name="connsiteX3" fmla="*/ 9385 w 24781"/>
                  <a:gd name="connsiteY3" fmla="*/ 32547 h 43881"/>
                  <a:gd name="connsiteX4" fmla="*/ 7766 w 24781"/>
                  <a:gd name="connsiteY4" fmla="*/ 29831 h 43881"/>
                  <a:gd name="connsiteX5" fmla="*/ 2909 w 24781"/>
                  <a:gd name="connsiteY5" fmla="*/ 21515 h 43881"/>
                  <a:gd name="connsiteX6" fmla="*/ 0 w 24781"/>
                  <a:gd name="connsiteY6" fmla="*/ 10072 h 43881"/>
                  <a:gd name="connsiteX7" fmla="*/ 4528 w 24781"/>
                  <a:gd name="connsiteY7" fmla="*/ 3074 h 43881"/>
                  <a:gd name="connsiteX8" fmla="*/ 7739 w 24781"/>
                  <a:gd name="connsiteY8" fmla="*/ 2305 h 43881"/>
                  <a:gd name="connsiteX9" fmla="*/ 9358 w 24781"/>
                  <a:gd name="connsiteY9" fmla="*/ 1921 h 43881"/>
                  <a:gd name="connsiteX10" fmla="*/ 17426 w 24781"/>
                  <a:gd name="connsiteY10" fmla="*/ 0 h 43881"/>
                  <a:gd name="connsiteX11" fmla="*/ 24781 w 24781"/>
                  <a:gd name="connsiteY11" fmla="*/ 14133 h 43881"/>
                  <a:gd name="connsiteX12" fmla="*/ 21488 w 24781"/>
                  <a:gd name="connsiteY12" fmla="*/ 25001 h 4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781" h="43881">
                    <a:moveTo>
                      <a:pt x="21515" y="25055"/>
                    </a:moveTo>
                    <a:lnTo>
                      <a:pt x="21899" y="42262"/>
                    </a:lnTo>
                    <a:lnTo>
                      <a:pt x="16082" y="43881"/>
                    </a:lnTo>
                    <a:lnTo>
                      <a:pt x="9385" y="32547"/>
                    </a:lnTo>
                    <a:lnTo>
                      <a:pt x="7766" y="29831"/>
                    </a:lnTo>
                    <a:lnTo>
                      <a:pt x="2909" y="21515"/>
                    </a:lnTo>
                    <a:lnTo>
                      <a:pt x="0" y="10072"/>
                    </a:lnTo>
                    <a:lnTo>
                      <a:pt x="4528" y="3074"/>
                    </a:lnTo>
                    <a:lnTo>
                      <a:pt x="7739" y="2305"/>
                    </a:lnTo>
                    <a:lnTo>
                      <a:pt x="9358" y="1921"/>
                    </a:lnTo>
                    <a:lnTo>
                      <a:pt x="17426" y="0"/>
                    </a:lnTo>
                    <a:lnTo>
                      <a:pt x="24781" y="14133"/>
                    </a:lnTo>
                    <a:lnTo>
                      <a:pt x="21488" y="250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5" name="Freeform: Shape 3694">
                <a:extLst>
                  <a:ext uri="{FF2B5EF4-FFF2-40B4-BE49-F238E27FC236}">
                    <a16:creationId xmlns:a16="http://schemas.microsoft.com/office/drawing/2014/main" id="{4BF878C8-C6E2-2F00-7232-7F059C24B479}"/>
                  </a:ext>
                </a:extLst>
              </p:cNvPr>
              <p:cNvSpPr/>
              <p:nvPr/>
            </p:nvSpPr>
            <p:spPr>
              <a:xfrm>
                <a:off x="1127858" y="3588919"/>
                <a:ext cx="2516" cy="2235"/>
              </a:xfrm>
              <a:custGeom>
                <a:avLst/>
                <a:gdLst>
                  <a:gd name="connsiteX0" fmla="*/ 27 w 24122"/>
                  <a:gd name="connsiteY0" fmla="*/ 3156 h 21432"/>
                  <a:gd name="connsiteX1" fmla="*/ 3375 w 24122"/>
                  <a:gd name="connsiteY1" fmla="*/ 0 h 21432"/>
                  <a:gd name="connsiteX2" fmla="*/ 15121 w 24122"/>
                  <a:gd name="connsiteY2" fmla="*/ 4144 h 21432"/>
                  <a:gd name="connsiteX3" fmla="*/ 20417 w 24122"/>
                  <a:gd name="connsiteY3" fmla="*/ 8041 h 21432"/>
                  <a:gd name="connsiteX4" fmla="*/ 24122 w 24122"/>
                  <a:gd name="connsiteY4" fmla="*/ 17069 h 21432"/>
                  <a:gd name="connsiteX5" fmla="*/ 21131 w 24122"/>
                  <a:gd name="connsiteY5" fmla="*/ 21433 h 21432"/>
                  <a:gd name="connsiteX6" fmla="*/ 15121 w 24122"/>
                  <a:gd name="connsiteY6" fmla="*/ 19649 h 21432"/>
                  <a:gd name="connsiteX7" fmla="*/ 302 w 24122"/>
                  <a:gd name="connsiteY7" fmla="*/ 4336 h 21432"/>
                  <a:gd name="connsiteX8" fmla="*/ 0 w 24122"/>
                  <a:gd name="connsiteY8" fmla="*/ 3156 h 2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22" h="21432">
                    <a:moveTo>
                      <a:pt x="27" y="3156"/>
                    </a:moveTo>
                    <a:lnTo>
                      <a:pt x="3375" y="0"/>
                    </a:lnTo>
                    <a:lnTo>
                      <a:pt x="15121" y="4144"/>
                    </a:lnTo>
                    <a:lnTo>
                      <a:pt x="20417" y="8041"/>
                    </a:lnTo>
                    <a:lnTo>
                      <a:pt x="24122" y="17069"/>
                    </a:lnTo>
                    <a:lnTo>
                      <a:pt x="21131" y="21433"/>
                    </a:lnTo>
                    <a:lnTo>
                      <a:pt x="15121" y="19649"/>
                    </a:lnTo>
                    <a:lnTo>
                      <a:pt x="302" y="4336"/>
                    </a:lnTo>
                    <a:lnTo>
                      <a:pt x="0"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6" name="Freeform: Shape 3695">
                <a:extLst>
                  <a:ext uri="{FF2B5EF4-FFF2-40B4-BE49-F238E27FC236}">
                    <a16:creationId xmlns:a16="http://schemas.microsoft.com/office/drawing/2014/main" id="{03B53C58-9D2B-7BB9-DA61-78988D117012}"/>
                  </a:ext>
                </a:extLst>
              </p:cNvPr>
              <p:cNvSpPr/>
              <p:nvPr/>
            </p:nvSpPr>
            <p:spPr>
              <a:xfrm>
                <a:off x="1123502" y="3541711"/>
                <a:ext cx="2768" cy="2490"/>
              </a:xfrm>
              <a:custGeom>
                <a:avLst/>
                <a:gdLst>
                  <a:gd name="connsiteX0" fmla="*/ 18003 w 26537"/>
                  <a:gd name="connsiteY0" fmla="*/ 14929 h 23875"/>
                  <a:gd name="connsiteX1" fmla="*/ 9797 w 26537"/>
                  <a:gd name="connsiteY1" fmla="*/ 21598 h 23875"/>
                  <a:gd name="connsiteX2" fmla="*/ 5873 w 26537"/>
                  <a:gd name="connsiteY2" fmla="*/ 19539 h 23875"/>
                  <a:gd name="connsiteX3" fmla="*/ 1263 w 26537"/>
                  <a:gd name="connsiteY3" fmla="*/ 23875 h 23875"/>
                  <a:gd name="connsiteX4" fmla="*/ 0 w 26537"/>
                  <a:gd name="connsiteY4" fmla="*/ 22311 h 23875"/>
                  <a:gd name="connsiteX5" fmla="*/ 329 w 26537"/>
                  <a:gd name="connsiteY5" fmla="*/ 19512 h 23875"/>
                  <a:gd name="connsiteX6" fmla="*/ 19814 w 26537"/>
                  <a:gd name="connsiteY6" fmla="*/ 0 h 23875"/>
                  <a:gd name="connsiteX7" fmla="*/ 25495 w 26537"/>
                  <a:gd name="connsiteY7" fmla="*/ 3430 h 23875"/>
                  <a:gd name="connsiteX8" fmla="*/ 26537 w 26537"/>
                  <a:gd name="connsiteY8" fmla="*/ 8068 h 23875"/>
                  <a:gd name="connsiteX9" fmla="*/ 22997 w 26537"/>
                  <a:gd name="connsiteY9" fmla="*/ 13337 h 23875"/>
                  <a:gd name="connsiteX10" fmla="*/ 18003 w 26537"/>
                  <a:gd name="connsiteY10" fmla="*/ 14929 h 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37" h="23875">
                    <a:moveTo>
                      <a:pt x="18003" y="14929"/>
                    </a:moveTo>
                    <a:lnTo>
                      <a:pt x="9797" y="21598"/>
                    </a:lnTo>
                    <a:lnTo>
                      <a:pt x="5873" y="19539"/>
                    </a:lnTo>
                    <a:lnTo>
                      <a:pt x="1263" y="23875"/>
                    </a:lnTo>
                    <a:lnTo>
                      <a:pt x="0" y="22311"/>
                    </a:lnTo>
                    <a:lnTo>
                      <a:pt x="329" y="19512"/>
                    </a:lnTo>
                    <a:lnTo>
                      <a:pt x="19814" y="0"/>
                    </a:lnTo>
                    <a:lnTo>
                      <a:pt x="25495" y="3430"/>
                    </a:lnTo>
                    <a:lnTo>
                      <a:pt x="26537" y="8068"/>
                    </a:lnTo>
                    <a:lnTo>
                      <a:pt x="22997" y="13337"/>
                    </a:lnTo>
                    <a:lnTo>
                      <a:pt x="18003" y="149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7" name="Freeform: Shape 3696">
                <a:extLst>
                  <a:ext uri="{FF2B5EF4-FFF2-40B4-BE49-F238E27FC236}">
                    <a16:creationId xmlns:a16="http://schemas.microsoft.com/office/drawing/2014/main" id="{3F10E722-8FB5-3D3D-253D-681BB9D19A15}"/>
                  </a:ext>
                </a:extLst>
              </p:cNvPr>
              <p:cNvSpPr/>
              <p:nvPr/>
            </p:nvSpPr>
            <p:spPr>
              <a:xfrm>
                <a:off x="1013096" y="3464247"/>
                <a:ext cx="4150" cy="2164"/>
              </a:xfrm>
              <a:custGeom>
                <a:avLst/>
                <a:gdLst>
                  <a:gd name="connsiteX0" fmla="*/ 37213 w 39792"/>
                  <a:gd name="connsiteY0" fmla="*/ 20390 h 20746"/>
                  <a:gd name="connsiteX1" fmla="*/ 33233 w 39792"/>
                  <a:gd name="connsiteY1" fmla="*/ 20747 h 20746"/>
                  <a:gd name="connsiteX2" fmla="*/ 12020 w 39792"/>
                  <a:gd name="connsiteY2" fmla="*/ 19814 h 20746"/>
                  <a:gd name="connsiteX3" fmla="*/ 0 w 39792"/>
                  <a:gd name="connsiteY3" fmla="*/ 12541 h 20746"/>
                  <a:gd name="connsiteX4" fmla="*/ 6065 w 39792"/>
                  <a:gd name="connsiteY4" fmla="*/ 2607 h 20746"/>
                  <a:gd name="connsiteX5" fmla="*/ 33233 w 39792"/>
                  <a:gd name="connsiteY5" fmla="*/ 0 h 20746"/>
                  <a:gd name="connsiteX6" fmla="*/ 39655 w 39792"/>
                  <a:gd name="connsiteY6" fmla="*/ 9221 h 20746"/>
                  <a:gd name="connsiteX7" fmla="*/ 39792 w 39792"/>
                  <a:gd name="connsiteY7" fmla="*/ 13392 h 20746"/>
                  <a:gd name="connsiteX8" fmla="*/ 37213 w 39792"/>
                  <a:gd name="connsiteY8" fmla="*/ 20418 h 2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2" h="20746">
                    <a:moveTo>
                      <a:pt x="37213" y="20390"/>
                    </a:moveTo>
                    <a:lnTo>
                      <a:pt x="33233" y="20747"/>
                    </a:lnTo>
                    <a:lnTo>
                      <a:pt x="12020" y="19814"/>
                    </a:lnTo>
                    <a:lnTo>
                      <a:pt x="0" y="12541"/>
                    </a:lnTo>
                    <a:lnTo>
                      <a:pt x="6065" y="2607"/>
                    </a:lnTo>
                    <a:lnTo>
                      <a:pt x="33233" y="0"/>
                    </a:lnTo>
                    <a:lnTo>
                      <a:pt x="39655" y="9221"/>
                    </a:lnTo>
                    <a:lnTo>
                      <a:pt x="39792" y="13392"/>
                    </a:lnTo>
                    <a:lnTo>
                      <a:pt x="37213" y="204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8" name="Freeform: Shape 3697">
                <a:extLst>
                  <a:ext uri="{FF2B5EF4-FFF2-40B4-BE49-F238E27FC236}">
                    <a16:creationId xmlns:a16="http://schemas.microsoft.com/office/drawing/2014/main" id="{6042435C-E685-1E1B-9DEA-02B9C82C9AAC}"/>
                  </a:ext>
                </a:extLst>
              </p:cNvPr>
              <p:cNvSpPr/>
              <p:nvPr/>
            </p:nvSpPr>
            <p:spPr>
              <a:xfrm>
                <a:off x="1100371" y="3431912"/>
                <a:ext cx="3672" cy="2871"/>
              </a:xfrm>
              <a:custGeom>
                <a:avLst/>
                <a:gdLst>
                  <a:gd name="connsiteX0" fmla="*/ 5845 w 35209"/>
                  <a:gd name="connsiteY0" fmla="*/ 27223 h 27525"/>
                  <a:gd name="connsiteX1" fmla="*/ 549 w 35209"/>
                  <a:gd name="connsiteY1" fmla="*/ 27525 h 27525"/>
                  <a:gd name="connsiteX2" fmla="*/ 0 w 35209"/>
                  <a:gd name="connsiteY2" fmla="*/ 25028 h 27525"/>
                  <a:gd name="connsiteX3" fmla="*/ 3320 w 35209"/>
                  <a:gd name="connsiteY3" fmla="*/ 8919 h 27525"/>
                  <a:gd name="connsiteX4" fmla="*/ 7602 w 35209"/>
                  <a:gd name="connsiteY4" fmla="*/ 8754 h 27525"/>
                  <a:gd name="connsiteX5" fmla="*/ 11883 w 35209"/>
                  <a:gd name="connsiteY5" fmla="*/ 3540 h 27525"/>
                  <a:gd name="connsiteX6" fmla="*/ 18085 w 35209"/>
                  <a:gd name="connsiteY6" fmla="*/ 0 h 27525"/>
                  <a:gd name="connsiteX7" fmla="*/ 31312 w 35209"/>
                  <a:gd name="connsiteY7" fmla="*/ 2058 h 27525"/>
                  <a:gd name="connsiteX8" fmla="*/ 35209 w 35209"/>
                  <a:gd name="connsiteY8" fmla="*/ 5434 h 27525"/>
                  <a:gd name="connsiteX9" fmla="*/ 35209 w 35209"/>
                  <a:gd name="connsiteY9" fmla="*/ 10867 h 27525"/>
                  <a:gd name="connsiteX10" fmla="*/ 32712 w 35209"/>
                  <a:gd name="connsiteY10" fmla="*/ 13804 h 27525"/>
                  <a:gd name="connsiteX11" fmla="*/ 19951 w 35209"/>
                  <a:gd name="connsiteY11" fmla="*/ 20829 h 27525"/>
                  <a:gd name="connsiteX12" fmla="*/ 5818 w 35209"/>
                  <a:gd name="connsiteY12" fmla="*/ 27251 h 2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09" h="27525">
                    <a:moveTo>
                      <a:pt x="5845" y="27223"/>
                    </a:moveTo>
                    <a:lnTo>
                      <a:pt x="549" y="27525"/>
                    </a:lnTo>
                    <a:lnTo>
                      <a:pt x="0" y="25028"/>
                    </a:lnTo>
                    <a:lnTo>
                      <a:pt x="3320" y="8919"/>
                    </a:lnTo>
                    <a:lnTo>
                      <a:pt x="7602" y="8754"/>
                    </a:lnTo>
                    <a:lnTo>
                      <a:pt x="11883" y="3540"/>
                    </a:lnTo>
                    <a:lnTo>
                      <a:pt x="18085" y="0"/>
                    </a:lnTo>
                    <a:lnTo>
                      <a:pt x="31312" y="2058"/>
                    </a:lnTo>
                    <a:lnTo>
                      <a:pt x="35209" y="5434"/>
                    </a:lnTo>
                    <a:lnTo>
                      <a:pt x="35209" y="10867"/>
                    </a:lnTo>
                    <a:cubicBezTo>
                      <a:pt x="35209" y="10867"/>
                      <a:pt x="32712" y="13804"/>
                      <a:pt x="32712" y="13804"/>
                    </a:cubicBezTo>
                    <a:lnTo>
                      <a:pt x="19951" y="20829"/>
                    </a:lnTo>
                    <a:lnTo>
                      <a:pt x="5818" y="272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99" name="Freeform: Shape 3698">
                <a:extLst>
                  <a:ext uri="{FF2B5EF4-FFF2-40B4-BE49-F238E27FC236}">
                    <a16:creationId xmlns:a16="http://schemas.microsoft.com/office/drawing/2014/main" id="{4E9273F7-380A-6AFB-230B-60F8633C5A3B}"/>
                  </a:ext>
                </a:extLst>
              </p:cNvPr>
              <p:cNvSpPr/>
              <p:nvPr/>
            </p:nvSpPr>
            <p:spPr>
              <a:xfrm>
                <a:off x="1155500" y="3609402"/>
                <a:ext cx="1795" cy="2230"/>
              </a:xfrm>
              <a:custGeom>
                <a:avLst/>
                <a:gdLst>
                  <a:gd name="connsiteX0" fmla="*/ 9797 w 17206"/>
                  <a:gd name="connsiteY0" fmla="*/ 17948 h 21378"/>
                  <a:gd name="connsiteX1" fmla="*/ 1564 w 17206"/>
                  <a:gd name="connsiteY1" fmla="*/ 21378 h 21378"/>
                  <a:gd name="connsiteX2" fmla="*/ 0 w 17206"/>
                  <a:gd name="connsiteY2" fmla="*/ 18963 h 21378"/>
                  <a:gd name="connsiteX3" fmla="*/ 5187 w 17206"/>
                  <a:gd name="connsiteY3" fmla="*/ 1976 h 21378"/>
                  <a:gd name="connsiteX4" fmla="*/ 9797 w 17206"/>
                  <a:gd name="connsiteY4" fmla="*/ 0 h 21378"/>
                  <a:gd name="connsiteX5" fmla="*/ 17207 w 17206"/>
                  <a:gd name="connsiteY5" fmla="*/ 5516 h 21378"/>
                  <a:gd name="connsiteX6" fmla="*/ 13118 w 17206"/>
                  <a:gd name="connsiteY6" fmla="*/ 16466 h 21378"/>
                  <a:gd name="connsiteX7" fmla="*/ 9797 w 17206"/>
                  <a:gd name="connsiteY7" fmla="*/ 17948 h 21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06" h="21378">
                    <a:moveTo>
                      <a:pt x="9797" y="17948"/>
                    </a:moveTo>
                    <a:lnTo>
                      <a:pt x="1564" y="21378"/>
                    </a:lnTo>
                    <a:lnTo>
                      <a:pt x="0" y="18963"/>
                    </a:lnTo>
                    <a:lnTo>
                      <a:pt x="5187" y="1976"/>
                    </a:lnTo>
                    <a:lnTo>
                      <a:pt x="9797" y="0"/>
                    </a:lnTo>
                    <a:lnTo>
                      <a:pt x="17207" y="5516"/>
                    </a:lnTo>
                    <a:lnTo>
                      <a:pt x="13118" y="16466"/>
                    </a:lnTo>
                    <a:lnTo>
                      <a:pt x="9797" y="17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0" name="Freeform: Shape 3699">
                <a:extLst>
                  <a:ext uri="{FF2B5EF4-FFF2-40B4-BE49-F238E27FC236}">
                    <a16:creationId xmlns:a16="http://schemas.microsoft.com/office/drawing/2014/main" id="{C1CBB18B-DE9A-73B9-7D9C-58DD69B879CC}"/>
                  </a:ext>
                </a:extLst>
              </p:cNvPr>
              <p:cNvSpPr/>
              <p:nvPr/>
            </p:nvSpPr>
            <p:spPr>
              <a:xfrm>
                <a:off x="1128113" y="3544504"/>
                <a:ext cx="2158" cy="2499"/>
              </a:xfrm>
              <a:custGeom>
                <a:avLst/>
                <a:gdLst>
                  <a:gd name="connsiteX0" fmla="*/ 20692 w 20692"/>
                  <a:gd name="connsiteY0" fmla="*/ 4885 h 23957"/>
                  <a:gd name="connsiteX1" fmla="*/ 8892 w 20692"/>
                  <a:gd name="connsiteY1" fmla="*/ 23958 h 23957"/>
                  <a:gd name="connsiteX2" fmla="*/ 2717 w 20692"/>
                  <a:gd name="connsiteY2" fmla="*/ 22503 h 23957"/>
                  <a:gd name="connsiteX3" fmla="*/ 0 w 20692"/>
                  <a:gd name="connsiteY3" fmla="*/ 14682 h 23957"/>
                  <a:gd name="connsiteX4" fmla="*/ 796 w 20692"/>
                  <a:gd name="connsiteY4" fmla="*/ 2031 h 23957"/>
                  <a:gd name="connsiteX5" fmla="*/ 2360 w 20692"/>
                  <a:gd name="connsiteY5" fmla="*/ 0 h 23957"/>
                  <a:gd name="connsiteX6" fmla="*/ 20692 w 20692"/>
                  <a:gd name="connsiteY6" fmla="*/ 2607 h 23957"/>
                  <a:gd name="connsiteX7" fmla="*/ 20692 w 20692"/>
                  <a:gd name="connsiteY7" fmla="*/ 4857 h 2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92" h="23957">
                    <a:moveTo>
                      <a:pt x="20692" y="4885"/>
                    </a:moveTo>
                    <a:lnTo>
                      <a:pt x="8892" y="23958"/>
                    </a:lnTo>
                    <a:lnTo>
                      <a:pt x="2717" y="22503"/>
                    </a:lnTo>
                    <a:lnTo>
                      <a:pt x="0" y="14682"/>
                    </a:lnTo>
                    <a:lnTo>
                      <a:pt x="796" y="2031"/>
                    </a:lnTo>
                    <a:lnTo>
                      <a:pt x="2360" y="0"/>
                    </a:lnTo>
                    <a:lnTo>
                      <a:pt x="20692" y="2607"/>
                    </a:lnTo>
                    <a:lnTo>
                      <a:pt x="20692" y="48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1" name="Freeform: Shape 3700">
                <a:extLst>
                  <a:ext uri="{FF2B5EF4-FFF2-40B4-BE49-F238E27FC236}">
                    <a16:creationId xmlns:a16="http://schemas.microsoft.com/office/drawing/2014/main" id="{3D2CFAF2-A2EA-C81A-DD29-1E0711A69BE3}"/>
                  </a:ext>
                </a:extLst>
              </p:cNvPr>
              <p:cNvSpPr/>
              <p:nvPr/>
            </p:nvSpPr>
            <p:spPr>
              <a:xfrm>
                <a:off x="1053709" y="3466022"/>
                <a:ext cx="3000" cy="2642"/>
              </a:xfrm>
              <a:custGeom>
                <a:avLst/>
                <a:gdLst>
                  <a:gd name="connsiteX0" fmla="*/ 0 w 28760"/>
                  <a:gd name="connsiteY0" fmla="*/ 20802 h 25329"/>
                  <a:gd name="connsiteX1" fmla="*/ 988 w 28760"/>
                  <a:gd name="connsiteY1" fmla="*/ 17097 h 25329"/>
                  <a:gd name="connsiteX2" fmla="*/ 7272 w 28760"/>
                  <a:gd name="connsiteY2" fmla="*/ 13557 h 25329"/>
                  <a:gd name="connsiteX3" fmla="*/ 24616 w 28760"/>
                  <a:gd name="connsiteY3" fmla="*/ 0 h 25329"/>
                  <a:gd name="connsiteX4" fmla="*/ 28760 w 28760"/>
                  <a:gd name="connsiteY4" fmla="*/ 2031 h 25329"/>
                  <a:gd name="connsiteX5" fmla="*/ 28760 w 28760"/>
                  <a:gd name="connsiteY5" fmla="*/ 6614 h 25329"/>
                  <a:gd name="connsiteX6" fmla="*/ 5653 w 28760"/>
                  <a:gd name="connsiteY6" fmla="*/ 25330 h 25329"/>
                  <a:gd name="connsiteX7" fmla="*/ 823 w 28760"/>
                  <a:gd name="connsiteY7" fmla="*/ 23327 h 25329"/>
                  <a:gd name="connsiteX8" fmla="*/ 27 w 28760"/>
                  <a:gd name="connsiteY8" fmla="*/ 20774 h 25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0" h="25329">
                    <a:moveTo>
                      <a:pt x="0" y="20802"/>
                    </a:moveTo>
                    <a:lnTo>
                      <a:pt x="988" y="17097"/>
                    </a:lnTo>
                    <a:lnTo>
                      <a:pt x="7272" y="13557"/>
                    </a:lnTo>
                    <a:lnTo>
                      <a:pt x="24616" y="0"/>
                    </a:lnTo>
                    <a:lnTo>
                      <a:pt x="28760" y="2031"/>
                    </a:lnTo>
                    <a:lnTo>
                      <a:pt x="28760" y="6614"/>
                    </a:lnTo>
                    <a:cubicBezTo>
                      <a:pt x="28760" y="6614"/>
                      <a:pt x="5653" y="25330"/>
                      <a:pt x="5653" y="25330"/>
                    </a:cubicBezTo>
                    <a:lnTo>
                      <a:pt x="823" y="23327"/>
                    </a:lnTo>
                    <a:lnTo>
                      <a:pt x="27" y="207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2" name="Freeform: Shape 3701">
                <a:extLst>
                  <a:ext uri="{FF2B5EF4-FFF2-40B4-BE49-F238E27FC236}">
                    <a16:creationId xmlns:a16="http://schemas.microsoft.com/office/drawing/2014/main" id="{0EC06AB6-334E-22C7-EACC-19CA1240B4BB}"/>
                  </a:ext>
                </a:extLst>
              </p:cNvPr>
              <p:cNvSpPr/>
              <p:nvPr/>
            </p:nvSpPr>
            <p:spPr>
              <a:xfrm>
                <a:off x="1121306" y="3474635"/>
                <a:ext cx="1923" cy="3460"/>
              </a:xfrm>
              <a:custGeom>
                <a:avLst/>
                <a:gdLst>
                  <a:gd name="connsiteX0" fmla="*/ 5955 w 18441"/>
                  <a:gd name="connsiteY0" fmla="*/ 32959 h 33178"/>
                  <a:gd name="connsiteX1" fmla="*/ 439 w 18441"/>
                  <a:gd name="connsiteY1" fmla="*/ 33179 h 33178"/>
                  <a:gd name="connsiteX2" fmla="*/ 0 w 18441"/>
                  <a:gd name="connsiteY2" fmla="*/ 30928 h 33178"/>
                  <a:gd name="connsiteX3" fmla="*/ 714 w 18441"/>
                  <a:gd name="connsiteY3" fmla="*/ 19073 h 33178"/>
                  <a:gd name="connsiteX4" fmla="*/ 12486 w 18441"/>
                  <a:gd name="connsiteY4" fmla="*/ 0 h 33178"/>
                  <a:gd name="connsiteX5" fmla="*/ 18140 w 18441"/>
                  <a:gd name="connsiteY5" fmla="*/ 1784 h 33178"/>
                  <a:gd name="connsiteX6" fmla="*/ 18442 w 18441"/>
                  <a:gd name="connsiteY6" fmla="*/ 5681 h 33178"/>
                  <a:gd name="connsiteX7" fmla="*/ 12404 w 18441"/>
                  <a:gd name="connsiteY7" fmla="*/ 25851 h 33178"/>
                  <a:gd name="connsiteX8" fmla="*/ 6120 w 18441"/>
                  <a:gd name="connsiteY8" fmla="*/ 30901 h 33178"/>
                  <a:gd name="connsiteX9" fmla="*/ 5927 w 18441"/>
                  <a:gd name="connsiteY9" fmla="*/ 32959 h 3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41" h="33178">
                    <a:moveTo>
                      <a:pt x="5955" y="32959"/>
                    </a:moveTo>
                    <a:lnTo>
                      <a:pt x="439" y="33179"/>
                    </a:lnTo>
                    <a:lnTo>
                      <a:pt x="0" y="30928"/>
                    </a:lnTo>
                    <a:lnTo>
                      <a:pt x="714" y="19073"/>
                    </a:lnTo>
                    <a:lnTo>
                      <a:pt x="12486" y="0"/>
                    </a:lnTo>
                    <a:lnTo>
                      <a:pt x="18140" y="1784"/>
                    </a:lnTo>
                    <a:lnTo>
                      <a:pt x="18442" y="5681"/>
                    </a:lnTo>
                    <a:lnTo>
                      <a:pt x="12404" y="25851"/>
                    </a:lnTo>
                    <a:lnTo>
                      <a:pt x="6120" y="30901"/>
                    </a:lnTo>
                    <a:lnTo>
                      <a:pt x="5927" y="329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3" name="Freeform: Shape 3702">
                <a:extLst>
                  <a:ext uri="{FF2B5EF4-FFF2-40B4-BE49-F238E27FC236}">
                    <a16:creationId xmlns:a16="http://schemas.microsoft.com/office/drawing/2014/main" id="{20E237BE-2F63-087E-8ED3-276E431A1717}"/>
                  </a:ext>
                </a:extLst>
              </p:cNvPr>
              <p:cNvSpPr/>
              <p:nvPr/>
            </p:nvSpPr>
            <p:spPr>
              <a:xfrm>
                <a:off x="1071087" y="3542827"/>
                <a:ext cx="1769" cy="2582"/>
              </a:xfrm>
              <a:custGeom>
                <a:avLst/>
                <a:gdLst>
                  <a:gd name="connsiteX0" fmla="*/ 27 w 16959"/>
                  <a:gd name="connsiteY0" fmla="*/ 18469 h 24753"/>
                  <a:gd name="connsiteX1" fmla="*/ 1153 w 16959"/>
                  <a:gd name="connsiteY1" fmla="*/ 5790 h 24753"/>
                  <a:gd name="connsiteX2" fmla="*/ 7272 w 16959"/>
                  <a:gd name="connsiteY2" fmla="*/ 0 h 24753"/>
                  <a:gd name="connsiteX3" fmla="*/ 16960 w 16959"/>
                  <a:gd name="connsiteY3" fmla="*/ 6394 h 24753"/>
                  <a:gd name="connsiteX4" fmla="*/ 15944 w 16959"/>
                  <a:gd name="connsiteY4" fmla="*/ 17838 h 24753"/>
                  <a:gd name="connsiteX5" fmla="*/ 11389 w 16959"/>
                  <a:gd name="connsiteY5" fmla="*/ 24754 h 24753"/>
                  <a:gd name="connsiteX6" fmla="*/ 8315 w 16959"/>
                  <a:gd name="connsiteY6" fmla="*/ 24754 h 24753"/>
                  <a:gd name="connsiteX7" fmla="*/ 8150 w 16959"/>
                  <a:gd name="connsiteY7" fmla="*/ 7108 h 24753"/>
                  <a:gd name="connsiteX8" fmla="*/ 5763 w 16959"/>
                  <a:gd name="connsiteY8" fmla="*/ 6339 h 24753"/>
                  <a:gd name="connsiteX9" fmla="*/ 4418 w 16959"/>
                  <a:gd name="connsiteY9" fmla="*/ 17289 h 24753"/>
                  <a:gd name="connsiteX10" fmla="*/ 1784 w 16959"/>
                  <a:gd name="connsiteY10" fmla="*/ 21625 h 24753"/>
                  <a:gd name="connsiteX11" fmla="*/ 0 w 16959"/>
                  <a:gd name="connsiteY11" fmla="*/ 18469 h 2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59" h="24753">
                    <a:moveTo>
                      <a:pt x="27" y="18469"/>
                    </a:moveTo>
                    <a:lnTo>
                      <a:pt x="1153" y="5790"/>
                    </a:lnTo>
                    <a:lnTo>
                      <a:pt x="7272" y="0"/>
                    </a:lnTo>
                    <a:lnTo>
                      <a:pt x="16960" y="6394"/>
                    </a:lnTo>
                    <a:lnTo>
                      <a:pt x="15944" y="17838"/>
                    </a:lnTo>
                    <a:lnTo>
                      <a:pt x="11389" y="24754"/>
                    </a:lnTo>
                    <a:lnTo>
                      <a:pt x="8315" y="24754"/>
                    </a:lnTo>
                    <a:lnTo>
                      <a:pt x="8150" y="7108"/>
                    </a:lnTo>
                    <a:lnTo>
                      <a:pt x="5763" y="6339"/>
                    </a:lnTo>
                    <a:lnTo>
                      <a:pt x="4418" y="17289"/>
                    </a:lnTo>
                    <a:lnTo>
                      <a:pt x="1784" y="21625"/>
                    </a:lnTo>
                    <a:lnTo>
                      <a:pt x="0" y="184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4" name="Freeform: Shape 3703">
                <a:extLst>
                  <a:ext uri="{FF2B5EF4-FFF2-40B4-BE49-F238E27FC236}">
                    <a16:creationId xmlns:a16="http://schemas.microsoft.com/office/drawing/2014/main" id="{5B784B93-DAB9-99B0-72DC-63BB701F2C30}"/>
                  </a:ext>
                </a:extLst>
              </p:cNvPr>
              <p:cNvSpPr/>
              <p:nvPr/>
            </p:nvSpPr>
            <p:spPr>
              <a:xfrm>
                <a:off x="1067443" y="3508336"/>
                <a:ext cx="1812" cy="2822"/>
              </a:xfrm>
              <a:custGeom>
                <a:avLst/>
                <a:gdLst>
                  <a:gd name="connsiteX0" fmla="*/ 14298 w 17371"/>
                  <a:gd name="connsiteY0" fmla="*/ 24863 h 27058"/>
                  <a:gd name="connsiteX1" fmla="*/ 5790 w 17371"/>
                  <a:gd name="connsiteY1" fmla="*/ 27059 h 27058"/>
                  <a:gd name="connsiteX2" fmla="*/ 2525 w 17371"/>
                  <a:gd name="connsiteY2" fmla="*/ 23354 h 27058"/>
                  <a:gd name="connsiteX3" fmla="*/ 0 w 17371"/>
                  <a:gd name="connsiteY3" fmla="*/ 15094 h 27058"/>
                  <a:gd name="connsiteX4" fmla="*/ 137 w 17371"/>
                  <a:gd name="connsiteY4" fmla="*/ 10181 h 27058"/>
                  <a:gd name="connsiteX5" fmla="*/ 2635 w 17371"/>
                  <a:gd name="connsiteY5" fmla="*/ 4144 h 27058"/>
                  <a:gd name="connsiteX6" fmla="*/ 7711 w 17371"/>
                  <a:gd name="connsiteY6" fmla="*/ 0 h 27058"/>
                  <a:gd name="connsiteX7" fmla="*/ 10456 w 17371"/>
                  <a:gd name="connsiteY7" fmla="*/ 165 h 27058"/>
                  <a:gd name="connsiteX8" fmla="*/ 12706 w 17371"/>
                  <a:gd name="connsiteY8" fmla="*/ 5983 h 27058"/>
                  <a:gd name="connsiteX9" fmla="*/ 17015 w 17371"/>
                  <a:gd name="connsiteY9" fmla="*/ 11499 h 27058"/>
                  <a:gd name="connsiteX10" fmla="*/ 17371 w 17371"/>
                  <a:gd name="connsiteY10" fmla="*/ 15807 h 27058"/>
                  <a:gd name="connsiteX11" fmla="*/ 14298 w 17371"/>
                  <a:gd name="connsiteY11" fmla="*/ 24863 h 2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71" h="27058">
                    <a:moveTo>
                      <a:pt x="14298" y="24863"/>
                    </a:moveTo>
                    <a:lnTo>
                      <a:pt x="5790" y="27059"/>
                    </a:lnTo>
                    <a:lnTo>
                      <a:pt x="2525" y="23354"/>
                    </a:lnTo>
                    <a:lnTo>
                      <a:pt x="0" y="15094"/>
                    </a:lnTo>
                    <a:lnTo>
                      <a:pt x="137" y="10181"/>
                    </a:lnTo>
                    <a:lnTo>
                      <a:pt x="2635" y="4144"/>
                    </a:lnTo>
                    <a:lnTo>
                      <a:pt x="7711" y="0"/>
                    </a:lnTo>
                    <a:lnTo>
                      <a:pt x="10456" y="165"/>
                    </a:lnTo>
                    <a:lnTo>
                      <a:pt x="12706" y="5983"/>
                    </a:lnTo>
                    <a:lnTo>
                      <a:pt x="17015" y="11499"/>
                    </a:lnTo>
                    <a:lnTo>
                      <a:pt x="17371" y="15807"/>
                    </a:lnTo>
                    <a:lnTo>
                      <a:pt x="14298" y="248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5" name="Freeform: Shape 3704">
                <a:extLst>
                  <a:ext uri="{FF2B5EF4-FFF2-40B4-BE49-F238E27FC236}">
                    <a16:creationId xmlns:a16="http://schemas.microsoft.com/office/drawing/2014/main" id="{80870CF4-1C67-8647-1B72-942993623D08}"/>
                  </a:ext>
                </a:extLst>
              </p:cNvPr>
              <p:cNvSpPr/>
              <p:nvPr/>
            </p:nvSpPr>
            <p:spPr>
              <a:xfrm>
                <a:off x="1051609" y="3549674"/>
                <a:ext cx="1881" cy="2107"/>
              </a:xfrm>
              <a:custGeom>
                <a:avLst/>
                <a:gdLst>
                  <a:gd name="connsiteX0" fmla="*/ 0 w 18030"/>
                  <a:gd name="connsiteY0" fmla="*/ 10703 h 20198"/>
                  <a:gd name="connsiteX1" fmla="*/ 192 w 18030"/>
                  <a:gd name="connsiteY1" fmla="*/ 9550 h 20198"/>
                  <a:gd name="connsiteX2" fmla="*/ 7300 w 18030"/>
                  <a:gd name="connsiteY2" fmla="*/ 4583 h 20198"/>
                  <a:gd name="connsiteX3" fmla="*/ 8535 w 18030"/>
                  <a:gd name="connsiteY3" fmla="*/ 0 h 20198"/>
                  <a:gd name="connsiteX4" fmla="*/ 14929 w 18030"/>
                  <a:gd name="connsiteY4" fmla="*/ 1564 h 20198"/>
                  <a:gd name="connsiteX5" fmla="*/ 18030 w 18030"/>
                  <a:gd name="connsiteY5" fmla="*/ 6339 h 20198"/>
                  <a:gd name="connsiteX6" fmla="*/ 17317 w 18030"/>
                  <a:gd name="connsiteY6" fmla="*/ 15505 h 20198"/>
                  <a:gd name="connsiteX7" fmla="*/ 15533 w 18030"/>
                  <a:gd name="connsiteY7" fmla="*/ 13914 h 20198"/>
                  <a:gd name="connsiteX8" fmla="*/ 13721 w 18030"/>
                  <a:gd name="connsiteY8" fmla="*/ 20198 h 20198"/>
                  <a:gd name="connsiteX9" fmla="*/ 10840 w 18030"/>
                  <a:gd name="connsiteY9" fmla="*/ 19320 h 20198"/>
                  <a:gd name="connsiteX10" fmla="*/ 9825 w 18030"/>
                  <a:gd name="connsiteY10" fmla="*/ 16246 h 20198"/>
                  <a:gd name="connsiteX11" fmla="*/ 5269 w 18030"/>
                  <a:gd name="connsiteY11" fmla="*/ 17070 h 20198"/>
                  <a:gd name="connsiteX12" fmla="*/ 1976 w 18030"/>
                  <a:gd name="connsiteY12" fmla="*/ 14737 h 20198"/>
                  <a:gd name="connsiteX13" fmla="*/ 0 w 18030"/>
                  <a:gd name="connsiteY13" fmla="*/ 10675 h 2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30" h="20198">
                    <a:moveTo>
                      <a:pt x="0" y="10703"/>
                    </a:moveTo>
                    <a:lnTo>
                      <a:pt x="192" y="9550"/>
                    </a:lnTo>
                    <a:lnTo>
                      <a:pt x="7300" y="4583"/>
                    </a:lnTo>
                    <a:lnTo>
                      <a:pt x="8535" y="0"/>
                    </a:lnTo>
                    <a:lnTo>
                      <a:pt x="14929" y="1564"/>
                    </a:lnTo>
                    <a:lnTo>
                      <a:pt x="18030" y="6339"/>
                    </a:lnTo>
                    <a:lnTo>
                      <a:pt x="17317" y="15505"/>
                    </a:lnTo>
                    <a:lnTo>
                      <a:pt x="15533" y="13914"/>
                    </a:lnTo>
                    <a:lnTo>
                      <a:pt x="13721" y="20198"/>
                    </a:lnTo>
                    <a:lnTo>
                      <a:pt x="10840" y="19320"/>
                    </a:lnTo>
                    <a:lnTo>
                      <a:pt x="9825" y="16246"/>
                    </a:lnTo>
                    <a:lnTo>
                      <a:pt x="5269" y="17070"/>
                    </a:lnTo>
                    <a:lnTo>
                      <a:pt x="1976" y="14737"/>
                    </a:lnTo>
                    <a:lnTo>
                      <a:pt x="0" y="106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6" name="Freeform: Shape 3705">
                <a:extLst>
                  <a:ext uri="{FF2B5EF4-FFF2-40B4-BE49-F238E27FC236}">
                    <a16:creationId xmlns:a16="http://schemas.microsoft.com/office/drawing/2014/main" id="{1104B553-6530-7D78-0595-32D1C0C6EF6A}"/>
                  </a:ext>
                </a:extLst>
              </p:cNvPr>
              <p:cNvSpPr/>
              <p:nvPr/>
            </p:nvSpPr>
            <p:spPr>
              <a:xfrm>
                <a:off x="1122998" y="3633861"/>
                <a:ext cx="1122" cy="2224"/>
              </a:xfrm>
              <a:custGeom>
                <a:avLst/>
                <a:gdLst>
                  <a:gd name="connsiteX0" fmla="*/ 3101 w 10757"/>
                  <a:gd name="connsiteY0" fmla="*/ 21323 h 21323"/>
                  <a:gd name="connsiteX1" fmla="*/ 0 w 10757"/>
                  <a:gd name="connsiteY1" fmla="*/ 21323 h 21323"/>
                  <a:gd name="connsiteX2" fmla="*/ 5489 w 10757"/>
                  <a:gd name="connsiteY2" fmla="*/ 3677 h 21323"/>
                  <a:gd name="connsiteX3" fmla="*/ 7712 w 10757"/>
                  <a:gd name="connsiteY3" fmla="*/ 0 h 21323"/>
                  <a:gd name="connsiteX4" fmla="*/ 10703 w 10757"/>
                  <a:gd name="connsiteY4" fmla="*/ 55 h 21323"/>
                  <a:gd name="connsiteX5" fmla="*/ 10758 w 10757"/>
                  <a:gd name="connsiteY5" fmla="*/ 3677 h 21323"/>
                  <a:gd name="connsiteX6" fmla="*/ 9825 w 10757"/>
                  <a:gd name="connsiteY6" fmla="*/ 12980 h 21323"/>
                  <a:gd name="connsiteX7" fmla="*/ 3129 w 10757"/>
                  <a:gd name="connsiteY7" fmla="*/ 21296 h 2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57" h="21323">
                    <a:moveTo>
                      <a:pt x="3101" y="21323"/>
                    </a:moveTo>
                    <a:lnTo>
                      <a:pt x="0" y="21323"/>
                    </a:lnTo>
                    <a:lnTo>
                      <a:pt x="5489" y="3677"/>
                    </a:lnTo>
                    <a:lnTo>
                      <a:pt x="7712" y="0"/>
                    </a:lnTo>
                    <a:lnTo>
                      <a:pt x="10703" y="55"/>
                    </a:lnTo>
                    <a:lnTo>
                      <a:pt x="10758" y="3677"/>
                    </a:lnTo>
                    <a:lnTo>
                      <a:pt x="9825" y="12980"/>
                    </a:lnTo>
                    <a:lnTo>
                      <a:pt x="3129" y="212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7" name="Freeform: Shape 3706">
                <a:extLst>
                  <a:ext uri="{FF2B5EF4-FFF2-40B4-BE49-F238E27FC236}">
                    <a16:creationId xmlns:a16="http://schemas.microsoft.com/office/drawing/2014/main" id="{C1CFE9E2-2121-9F6B-548D-CF89995802AF}"/>
                  </a:ext>
                </a:extLst>
              </p:cNvPr>
              <p:cNvSpPr/>
              <p:nvPr/>
            </p:nvSpPr>
            <p:spPr>
              <a:xfrm>
                <a:off x="983099" y="3667825"/>
                <a:ext cx="1443" cy="1483"/>
              </a:xfrm>
              <a:custGeom>
                <a:avLst/>
                <a:gdLst>
                  <a:gd name="connsiteX0" fmla="*/ 13831 w 13831"/>
                  <a:gd name="connsiteY0" fmla="*/ 13283 h 14215"/>
                  <a:gd name="connsiteX1" fmla="*/ 8672 w 13831"/>
                  <a:gd name="connsiteY1" fmla="*/ 14216 h 14215"/>
                  <a:gd name="connsiteX2" fmla="*/ 9797 w 13831"/>
                  <a:gd name="connsiteY2" fmla="*/ 11032 h 14215"/>
                  <a:gd name="connsiteX3" fmla="*/ 4610 w 13831"/>
                  <a:gd name="connsiteY3" fmla="*/ 5955 h 14215"/>
                  <a:gd name="connsiteX4" fmla="*/ 521 w 13831"/>
                  <a:gd name="connsiteY4" fmla="*/ 3019 h 14215"/>
                  <a:gd name="connsiteX5" fmla="*/ 0 w 13831"/>
                  <a:gd name="connsiteY5" fmla="*/ 0 h 14215"/>
                  <a:gd name="connsiteX6" fmla="*/ 7355 w 13831"/>
                  <a:gd name="connsiteY6" fmla="*/ 3623 h 14215"/>
                  <a:gd name="connsiteX7" fmla="*/ 13804 w 13831"/>
                  <a:gd name="connsiteY7" fmla="*/ 11306 h 14215"/>
                  <a:gd name="connsiteX8" fmla="*/ 13804 w 13831"/>
                  <a:gd name="connsiteY8" fmla="*/ 13255 h 14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31" h="14215">
                    <a:moveTo>
                      <a:pt x="13831" y="13283"/>
                    </a:moveTo>
                    <a:lnTo>
                      <a:pt x="8672" y="14216"/>
                    </a:lnTo>
                    <a:lnTo>
                      <a:pt x="9797" y="11032"/>
                    </a:lnTo>
                    <a:lnTo>
                      <a:pt x="4610" y="5955"/>
                    </a:lnTo>
                    <a:lnTo>
                      <a:pt x="521" y="3019"/>
                    </a:lnTo>
                    <a:lnTo>
                      <a:pt x="0" y="0"/>
                    </a:lnTo>
                    <a:lnTo>
                      <a:pt x="7355" y="3623"/>
                    </a:lnTo>
                    <a:lnTo>
                      <a:pt x="13804" y="11306"/>
                    </a:lnTo>
                    <a:lnTo>
                      <a:pt x="13804" y="132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8" name="Freeform: Shape 3707">
                <a:extLst>
                  <a:ext uri="{FF2B5EF4-FFF2-40B4-BE49-F238E27FC236}">
                    <a16:creationId xmlns:a16="http://schemas.microsoft.com/office/drawing/2014/main" id="{BAC76774-0CF0-6CD6-2BA0-B1FF0234A338}"/>
                  </a:ext>
                </a:extLst>
              </p:cNvPr>
              <p:cNvSpPr/>
              <p:nvPr/>
            </p:nvSpPr>
            <p:spPr>
              <a:xfrm>
                <a:off x="1074361" y="3475946"/>
                <a:ext cx="1846" cy="3040"/>
              </a:xfrm>
              <a:custGeom>
                <a:avLst/>
                <a:gdLst>
                  <a:gd name="connsiteX0" fmla="*/ 17289 w 17700"/>
                  <a:gd name="connsiteY0" fmla="*/ 27827 h 29144"/>
                  <a:gd name="connsiteX1" fmla="*/ 6367 w 17700"/>
                  <a:gd name="connsiteY1" fmla="*/ 29144 h 29144"/>
                  <a:gd name="connsiteX2" fmla="*/ 1592 w 17700"/>
                  <a:gd name="connsiteY2" fmla="*/ 22997 h 29144"/>
                  <a:gd name="connsiteX3" fmla="*/ 2113 w 17700"/>
                  <a:gd name="connsiteY3" fmla="*/ 12294 h 29144"/>
                  <a:gd name="connsiteX4" fmla="*/ 0 w 17700"/>
                  <a:gd name="connsiteY4" fmla="*/ 8535 h 29144"/>
                  <a:gd name="connsiteX5" fmla="*/ 933 w 17700"/>
                  <a:gd name="connsiteY5" fmla="*/ 4693 h 29144"/>
                  <a:gd name="connsiteX6" fmla="*/ 6751 w 17700"/>
                  <a:gd name="connsiteY6" fmla="*/ 3595 h 29144"/>
                  <a:gd name="connsiteX7" fmla="*/ 11032 w 17700"/>
                  <a:gd name="connsiteY7" fmla="*/ 0 h 29144"/>
                  <a:gd name="connsiteX8" fmla="*/ 13419 w 17700"/>
                  <a:gd name="connsiteY8" fmla="*/ 6202 h 29144"/>
                  <a:gd name="connsiteX9" fmla="*/ 14051 w 17700"/>
                  <a:gd name="connsiteY9" fmla="*/ 14353 h 29144"/>
                  <a:gd name="connsiteX10" fmla="*/ 17701 w 17700"/>
                  <a:gd name="connsiteY10" fmla="*/ 25001 h 29144"/>
                  <a:gd name="connsiteX11" fmla="*/ 17262 w 17700"/>
                  <a:gd name="connsiteY11" fmla="*/ 27827 h 2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00" h="29144">
                    <a:moveTo>
                      <a:pt x="17289" y="27827"/>
                    </a:moveTo>
                    <a:lnTo>
                      <a:pt x="6367" y="29144"/>
                    </a:lnTo>
                    <a:lnTo>
                      <a:pt x="1592" y="22997"/>
                    </a:lnTo>
                    <a:lnTo>
                      <a:pt x="2113" y="12294"/>
                    </a:lnTo>
                    <a:lnTo>
                      <a:pt x="0" y="8535"/>
                    </a:lnTo>
                    <a:lnTo>
                      <a:pt x="933" y="4693"/>
                    </a:lnTo>
                    <a:lnTo>
                      <a:pt x="6751" y="3595"/>
                    </a:lnTo>
                    <a:lnTo>
                      <a:pt x="11032" y="0"/>
                    </a:lnTo>
                    <a:lnTo>
                      <a:pt x="13419" y="6202"/>
                    </a:lnTo>
                    <a:lnTo>
                      <a:pt x="14051" y="14353"/>
                    </a:lnTo>
                    <a:lnTo>
                      <a:pt x="17701" y="25001"/>
                    </a:lnTo>
                    <a:lnTo>
                      <a:pt x="17262" y="278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09" name="Freeform: Shape 3708">
                <a:extLst>
                  <a:ext uri="{FF2B5EF4-FFF2-40B4-BE49-F238E27FC236}">
                    <a16:creationId xmlns:a16="http://schemas.microsoft.com/office/drawing/2014/main" id="{53B7A3F3-951E-7273-3A3C-FEEF7D647BED}"/>
                  </a:ext>
                </a:extLst>
              </p:cNvPr>
              <p:cNvSpPr/>
              <p:nvPr/>
            </p:nvSpPr>
            <p:spPr>
              <a:xfrm>
                <a:off x="964748" y="3641451"/>
                <a:ext cx="1382" cy="1703"/>
              </a:xfrm>
              <a:custGeom>
                <a:avLst/>
                <a:gdLst>
                  <a:gd name="connsiteX0" fmla="*/ 3760 w 13254"/>
                  <a:gd name="connsiteY0" fmla="*/ 16273 h 16328"/>
                  <a:gd name="connsiteX1" fmla="*/ 1454 w 13254"/>
                  <a:gd name="connsiteY1" fmla="*/ 16328 h 16328"/>
                  <a:gd name="connsiteX2" fmla="*/ 0 w 13254"/>
                  <a:gd name="connsiteY2" fmla="*/ 14929 h 16328"/>
                  <a:gd name="connsiteX3" fmla="*/ 823 w 13254"/>
                  <a:gd name="connsiteY3" fmla="*/ 12624 h 16328"/>
                  <a:gd name="connsiteX4" fmla="*/ 4062 w 13254"/>
                  <a:gd name="connsiteY4" fmla="*/ 10428 h 16328"/>
                  <a:gd name="connsiteX5" fmla="*/ 5077 w 13254"/>
                  <a:gd name="connsiteY5" fmla="*/ 8425 h 16328"/>
                  <a:gd name="connsiteX6" fmla="*/ 9605 w 13254"/>
                  <a:gd name="connsiteY6" fmla="*/ 3595 h 16328"/>
                  <a:gd name="connsiteX7" fmla="*/ 11416 w 13254"/>
                  <a:gd name="connsiteY7" fmla="*/ 439 h 16328"/>
                  <a:gd name="connsiteX8" fmla="*/ 12487 w 13254"/>
                  <a:gd name="connsiteY8" fmla="*/ 0 h 16328"/>
                  <a:gd name="connsiteX9" fmla="*/ 13255 w 13254"/>
                  <a:gd name="connsiteY9" fmla="*/ 3074 h 16328"/>
                  <a:gd name="connsiteX10" fmla="*/ 9523 w 13254"/>
                  <a:gd name="connsiteY10" fmla="*/ 9824 h 16328"/>
                  <a:gd name="connsiteX11" fmla="*/ 5242 w 13254"/>
                  <a:gd name="connsiteY11" fmla="*/ 13337 h 16328"/>
                  <a:gd name="connsiteX12" fmla="*/ 3787 w 13254"/>
                  <a:gd name="connsiteY12" fmla="*/ 16273 h 1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4" h="16328">
                    <a:moveTo>
                      <a:pt x="3760" y="16273"/>
                    </a:moveTo>
                    <a:lnTo>
                      <a:pt x="1454" y="16328"/>
                    </a:lnTo>
                    <a:lnTo>
                      <a:pt x="0" y="14929"/>
                    </a:lnTo>
                    <a:lnTo>
                      <a:pt x="823" y="12624"/>
                    </a:lnTo>
                    <a:lnTo>
                      <a:pt x="4062" y="10428"/>
                    </a:lnTo>
                    <a:lnTo>
                      <a:pt x="5077" y="8425"/>
                    </a:lnTo>
                    <a:lnTo>
                      <a:pt x="9605" y="3595"/>
                    </a:lnTo>
                    <a:lnTo>
                      <a:pt x="11416" y="439"/>
                    </a:lnTo>
                    <a:lnTo>
                      <a:pt x="12487" y="0"/>
                    </a:lnTo>
                    <a:lnTo>
                      <a:pt x="13255" y="3074"/>
                    </a:lnTo>
                    <a:lnTo>
                      <a:pt x="9523" y="9824"/>
                    </a:lnTo>
                    <a:lnTo>
                      <a:pt x="5242" y="13337"/>
                    </a:lnTo>
                    <a:lnTo>
                      <a:pt x="3787" y="162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0" name="Freeform: Shape 3709">
                <a:extLst>
                  <a:ext uri="{FF2B5EF4-FFF2-40B4-BE49-F238E27FC236}">
                    <a16:creationId xmlns:a16="http://schemas.microsoft.com/office/drawing/2014/main" id="{AE61AB1C-CDD2-122B-7E2E-EF7E59ADCC63}"/>
                  </a:ext>
                </a:extLst>
              </p:cNvPr>
              <p:cNvSpPr/>
              <p:nvPr/>
            </p:nvSpPr>
            <p:spPr>
              <a:xfrm>
                <a:off x="1069023" y="3543102"/>
                <a:ext cx="1720" cy="2055"/>
              </a:xfrm>
              <a:custGeom>
                <a:avLst/>
                <a:gdLst>
                  <a:gd name="connsiteX0" fmla="*/ 0 w 16493"/>
                  <a:gd name="connsiteY0" fmla="*/ 3074 h 19704"/>
                  <a:gd name="connsiteX1" fmla="*/ 220 w 16493"/>
                  <a:gd name="connsiteY1" fmla="*/ 1674 h 19704"/>
                  <a:gd name="connsiteX2" fmla="*/ 6833 w 16493"/>
                  <a:gd name="connsiteY2" fmla="*/ 521 h 19704"/>
                  <a:gd name="connsiteX3" fmla="*/ 9550 w 16493"/>
                  <a:gd name="connsiteY3" fmla="*/ 4720 h 19704"/>
                  <a:gd name="connsiteX4" fmla="*/ 13090 w 16493"/>
                  <a:gd name="connsiteY4" fmla="*/ 0 h 19704"/>
                  <a:gd name="connsiteX5" fmla="*/ 15725 w 16493"/>
                  <a:gd name="connsiteY5" fmla="*/ 3485 h 19704"/>
                  <a:gd name="connsiteX6" fmla="*/ 16493 w 16493"/>
                  <a:gd name="connsiteY6" fmla="*/ 7849 h 19704"/>
                  <a:gd name="connsiteX7" fmla="*/ 14847 w 16493"/>
                  <a:gd name="connsiteY7" fmla="*/ 19704 h 19704"/>
                  <a:gd name="connsiteX8" fmla="*/ 7959 w 16493"/>
                  <a:gd name="connsiteY8" fmla="*/ 13968 h 19704"/>
                  <a:gd name="connsiteX9" fmla="*/ 7163 w 16493"/>
                  <a:gd name="connsiteY9" fmla="*/ 10620 h 19704"/>
                  <a:gd name="connsiteX10" fmla="*/ 2058 w 16493"/>
                  <a:gd name="connsiteY10" fmla="*/ 8590 h 19704"/>
                  <a:gd name="connsiteX11" fmla="*/ 27 w 16493"/>
                  <a:gd name="connsiteY11" fmla="*/ 3074 h 1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93" h="19704">
                    <a:moveTo>
                      <a:pt x="0" y="3074"/>
                    </a:moveTo>
                    <a:lnTo>
                      <a:pt x="220" y="1674"/>
                    </a:lnTo>
                    <a:lnTo>
                      <a:pt x="6833" y="521"/>
                    </a:lnTo>
                    <a:lnTo>
                      <a:pt x="9550" y="4720"/>
                    </a:lnTo>
                    <a:lnTo>
                      <a:pt x="13090" y="0"/>
                    </a:lnTo>
                    <a:lnTo>
                      <a:pt x="15725" y="3485"/>
                    </a:lnTo>
                    <a:lnTo>
                      <a:pt x="16493" y="7849"/>
                    </a:lnTo>
                    <a:lnTo>
                      <a:pt x="14847" y="19704"/>
                    </a:lnTo>
                    <a:lnTo>
                      <a:pt x="7959" y="13968"/>
                    </a:lnTo>
                    <a:lnTo>
                      <a:pt x="7163" y="10620"/>
                    </a:lnTo>
                    <a:lnTo>
                      <a:pt x="2058" y="8590"/>
                    </a:lnTo>
                    <a:lnTo>
                      <a:pt x="27"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1" name="Freeform: Shape 3710">
                <a:extLst>
                  <a:ext uri="{FF2B5EF4-FFF2-40B4-BE49-F238E27FC236}">
                    <a16:creationId xmlns:a16="http://schemas.microsoft.com/office/drawing/2014/main" id="{C5EB0027-573D-A281-E198-FA5CDA25885A}"/>
                  </a:ext>
                </a:extLst>
              </p:cNvPr>
              <p:cNvSpPr/>
              <p:nvPr/>
            </p:nvSpPr>
            <p:spPr>
              <a:xfrm>
                <a:off x="1097772" y="3538107"/>
                <a:ext cx="2298" cy="1548"/>
              </a:xfrm>
              <a:custGeom>
                <a:avLst/>
                <a:gdLst>
                  <a:gd name="connsiteX0" fmla="*/ 27 w 22036"/>
                  <a:gd name="connsiteY0" fmla="*/ 5955 h 14846"/>
                  <a:gd name="connsiteX1" fmla="*/ 4857 w 22036"/>
                  <a:gd name="connsiteY1" fmla="*/ 0 h 14846"/>
                  <a:gd name="connsiteX2" fmla="*/ 16630 w 22036"/>
                  <a:gd name="connsiteY2" fmla="*/ 2388 h 14846"/>
                  <a:gd name="connsiteX3" fmla="*/ 19704 w 22036"/>
                  <a:gd name="connsiteY3" fmla="*/ 3732 h 14846"/>
                  <a:gd name="connsiteX4" fmla="*/ 22037 w 22036"/>
                  <a:gd name="connsiteY4" fmla="*/ 11471 h 14846"/>
                  <a:gd name="connsiteX5" fmla="*/ 16603 w 22036"/>
                  <a:gd name="connsiteY5" fmla="*/ 14847 h 14846"/>
                  <a:gd name="connsiteX6" fmla="*/ 3485 w 22036"/>
                  <a:gd name="connsiteY6" fmla="*/ 12294 h 14846"/>
                  <a:gd name="connsiteX7" fmla="*/ 0 w 22036"/>
                  <a:gd name="connsiteY7" fmla="*/ 5955 h 14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36" h="14846">
                    <a:moveTo>
                      <a:pt x="27" y="5955"/>
                    </a:moveTo>
                    <a:lnTo>
                      <a:pt x="4857" y="0"/>
                    </a:lnTo>
                    <a:lnTo>
                      <a:pt x="16630" y="2388"/>
                    </a:lnTo>
                    <a:lnTo>
                      <a:pt x="19704" y="3732"/>
                    </a:lnTo>
                    <a:lnTo>
                      <a:pt x="22037" y="11471"/>
                    </a:lnTo>
                    <a:lnTo>
                      <a:pt x="16603" y="14847"/>
                    </a:lnTo>
                    <a:lnTo>
                      <a:pt x="3485" y="12294"/>
                    </a:lnTo>
                    <a:lnTo>
                      <a:pt x="0" y="59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2" name="Freeform: Shape 3711">
                <a:extLst>
                  <a:ext uri="{FF2B5EF4-FFF2-40B4-BE49-F238E27FC236}">
                    <a16:creationId xmlns:a16="http://schemas.microsoft.com/office/drawing/2014/main" id="{DBC66CEA-210C-ADF4-5991-E9388880584D}"/>
                  </a:ext>
                </a:extLst>
              </p:cNvPr>
              <p:cNvSpPr/>
              <p:nvPr/>
            </p:nvSpPr>
            <p:spPr>
              <a:xfrm>
                <a:off x="1123235" y="3550816"/>
                <a:ext cx="1506" cy="2184"/>
              </a:xfrm>
              <a:custGeom>
                <a:avLst/>
                <a:gdLst>
                  <a:gd name="connsiteX0" fmla="*/ 2360 w 14435"/>
                  <a:gd name="connsiteY0" fmla="*/ 0 h 20939"/>
                  <a:gd name="connsiteX1" fmla="*/ 7437 w 14435"/>
                  <a:gd name="connsiteY1" fmla="*/ 2141 h 20939"/>
                  <a:gd name="connsiteX2" fmla="*/ 11416 w 14435"/>
                  <a:gd name="connsiteY2" fmla="*/ 5132 h 20939"/>
                  <a:gd name="connsiteX3" fmla="*/ 13639 w 14435"/>
                  <a:gd name="connsiteY3" fmla="*/ 5242 h 20939"/>
                  <a:gd name="connsiteX4" fmla="*/ 14435 w 14435"/>
                  <a:gd name="connsiteY4" fmla="*/ 9084 h 20939"/>
                  <a:gd name="connsiteX5" fmla="*/ 12816 w 14435"/>
                  <a:gd name="connsiteY5" fmla="*/ 10895 h 20939"/>
                  <a:gd name="connsiteX6" fmla="*/ 8260 w 14435"/>
                  <a:gd name="connsiteY6" fmla="*/ 10621 h 20939"/>
                  <a:gd name="connsiteX7" fmla="*/ 8480 w 14435"/>
                  <a:gd name="connsiteY7" fmla="*/ 16274 h 20939"/>
                  <a:gd name="connsiteX8" fmla="*/ 3293 w 14435"/>
                  <a:gd name="connsiteY8" fmla="*/ 20939 h 20939"/>
                  <a:gd name="connsiteX9" fmla="*/ 1317 w 14435"/>
                  <a:gd name="connsiteY9" fmla="*/ 19320 h 20939"/>
                  <a:gd name="connsiteX10" fmla="*/ 0 w 14435"/>
                  <a:gd name="connsiteY10" fmla="*/ 13557 h 20939"/>
                  <a:gd name="connsiteX11" fmla="*/ 3320 w 14435"/>
                  <a:gd name="connsiteY11" fmla="*/ 10401 h 20939"/>
                  <a:gd name="connsiteX12" fmla="*/ 5269 w 14435"/>
                  <a:gd name="connsiteY12" fmla="*/ 10675 h 20939"/>
                  <a:gd name="connsiteX13" fmla="*/ 5544 w 14435"/>
                  <a:gd name="connsiteY13" fmla="*/ 7437 h 20939"/>
                  <a:gd name="connsiteX14" fmla="*/ 2470 w 14435"/>
                  <a:gd name="connsiteY14" fmla="*/ 4281 h 20939"/>
                  <a:gd name="connsiteX15" fmla="*/ 2360 w 14435"/>
                  <a:gd name="connsiteY15" fmla="*/ 0 h 2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35" h="20939">
                    <a:moveTo>
                      <a:pt x="2360" y="0"/>
                    </a:moveTo>
                    <a:lnTo>
                      <a:pt x="7437" y="2141"/>
                    </a:lnTo>
                    <a:lnTo>
                      <a:pt x="11416" y="5132"/>
                    </a:lnTo>
                    <a:lnTo>
                      <a:pt x="13639" y="5242"/>
                    </a:lnTo>
                    <a:lnTo>
                      <a:pt x="14435" y="9084"/>
                    </a:lnTo>
                    <a:lnTo>
                      <a:pt x="12816" y="10895"/>
                    </a:lnTo>
                    <a:lnTo>
                      <a:pt x="8260" y="10621"/>
                    </a:lnTo>
                    <a:lnTo>
                      <a:pt x="8480" y="16274"/>
                    </a:lnTo>
                    <a:lnTo>
                      <a:pt x="3293" y="20939"/>
                    </a:lnTo>
                    <a:lnTo>
                      <a:pt x="1317" y="19320"/>
                    </a:lnTo>
                    <a:lnTo>
                      <a:pt x="0" y="13557"/>
                    </a:lnTo>
                    <a:lnTo>
                      <a:pt x="3320" y="10401"/>
                    </a:lnTo>
                    <a:lnTo>
                      <a:pt x="5269" y="10675"/>
                    </a:lnTo>
                    <a:lnTo>
                      <a:pt x="5544" y="7437"/>
                    </a:lnTo>
                    <a:lnTo>
                      <a:pt x="2470" y="4281"/>
                    </a:lnTo>
                    <a:lnTo>
                      <a:pt x="236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3" name="Freeform: Shape 3712">
                <a:extLst>
                  <a:ext uri="{FF2B5EF4-FFF2-40B4-BE49-F238E27FC236}">
                    <a16:creationId xmlns:a16="http://schemas.microsoft.com/office/drawing/2014/main" id="{BDB8F2FD-9E5D-4CB9-EB6E-98E1AE651230}"/>
                  </a:ext>
                </a:extLst>
              </p:cNvPr>
              <p:cNvSpPr/>
              <p:nvPr/>
            </p:nvSpPr>
            <p:spPr>
              <a:xfrm>
                <a:off x="968733" y="3653010"/>
                <a:ext cx="1073" cy="1806"/>
              </a:xfrm>
              <a:custGeom>
                <a:avLst/>
                <a:gdLst>
                  <a:gd name="connsiteX0" fmla="*/ 0 w 10291"/>
                  <a:gd name="connsiteY0" fmla="*/ 741 h 17316"/>
                  <a:gd name="connsiteX1" fmla="*/ 768 w 10291"/>
                  <a:gd name="connsiteY1" fmla="*/ 0 h 17316"/>
                  <a:gd name="connsiteX2" fmla="*/ 7382 w 10291"/>
                  <a:gd name="connsiteY2" fmla="*/ 5626 h 17316"/>
                  <a:gd name="connsiteX3" fmla="*/ 10291 w 10291"/>
                  <a:gd name="connsiteY3" fmla="*/ 12843 h 17316"/>
                  <a:gd name="connsiteX4" fmla="*/ 9331 w 10291"/>
                  <a:gd name="connsiteY4" fmla="*/ 17317 h 17316"/>
                  <a:gd name="connsiteX5" fmla="*/ 686 w 10291"/>
                  <a:gd name="connsiteY5" fmla="*/ 4556 h 17316"/>
                  <a:gd name="connsiteX6" fmla="*/ 27 w 10291"/>
                  <a:gd name="connsiteY6" fmla="*/ 714 h 17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91" h="17316">
                    <a:moveTo>
                      <a:pt x="0" y="741"/>
                    </a:moveTo>
                    <a:lnTo>
                      <a:pt x="768" y="0"/>
                    </a:lnTo>
                    <a:lnTo>
                      <a:pt x="7382" y="5626"/>
                    </a:lnTo>
                    <a:lnTo>
                      <a:pt x="10291" y="12843"/>
                    </a:lnTo>
                    <a:lnTo>
                      <a:pt x="9331" y="17317"/>
                    </a:lnTo>
                    <a:lnTo>
                      <a:pt x="686" y="4556"/>
                    </a:lnTo>
                    <a:lnTo>
                      <a:pt x="27" y="7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4" name="Freeform: Shape 3713">
                <a:extLst>
                  <a:ext uri="{FF2B5EF4-FFF2-40B4-BE49-F238E27FC236}">
                    <a16:creationId xmlns:a16="http://schemas.microsoft.com/office/drawing/2014/main" id="{7DFF6545-B24E-BC18-46F0-9352D181A0D6}"/>
                  </a:ext>
                </a:extLst>
              </p:cNvPr>
              <p:cNvSpPr/>
              <p:nvPr/>
            </p:nvSpPr>
            <p:spPr>
              <a:xfrm>
                <a:off x="1067792" y="3481029"/>
                <a:ext cx="1577" cy="2779"/>
              </a:xfrm>
              <a:custGeom>
                <a:avLst/>
                <a:gdLst>
                  <a:gd name="connsiteX0" fmla="*/ 7821 w 15121"/>
                  <a:gd name="connsiteY0" fmla="*/ 23217 h 26647"/>
                  <a:gd name="connsiteX1" fmla="*/ 5049 w 15121"/>
                  <a:gd name="connsiteY1" fmla="*/ 26647 h 26647"/>
                  <a:gd name="connsiteX2" fmla="*/ 4281 w 15121"/>
                  <a:gd name="connsiteY2" fmla="*/ 23052 h 26647"/>
                  <a:gd name="connsiteX3" fmla="*/ 1564 w 15121"/>
                  <a:gd name="connsiteY3" fmla="*/ 22256 h 26647"/>
                  <a:gd name="connsiteX4" fmla="*/ 0 w 15121"/>
                  <a:gd name="connsiteY4" fmla="*/ 14545 h 26647"/>
                  <a:gd name="connsiteX5" fmla="*/ 1070 w 15121"/>
                  <a:gd name="connsiteY5" fmla="*/ 8178 h 26647"/>
                  <a:gd name="connsiteX6" fmla="*/ 11800 w 15121"/>
                  <a:gd name="connsiteY6" fmla="*/ 3074 h 26647"/>
                  <a:gd name="connsiteX7" fmla="*/ 15121 w 15121"/>
                  <a:gd name="connsiteY7" fmla="*/ 0 h 26647"/>
                  <a:gd name="connsiteX8" fmla="*/ 14874 w 15121"/>
                  <a:gd name="connsiteY8" fmla="*/ 14133 h 26647"/>
                  <a:gd name="connsiteX9" fmla="*/ 12239 w 15121"/>
                  <a:gd name="connsiteY9" fmla="*/ 21296 h 26647"/>
                  <a:gd name="connsiteX10" fmla="*/ 7794 w 15121"/>
                  <a:gd name="connsiteY10" fmla="*/ 23217 h 2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21" h="26647">
                    <a:moveTo>
                      <a:pt x="7821" y="23217"/>
                    </a:moveTo>
                    <a:lnTo>
                      <a:pt x="5049" y="26647"/>
                    </a:lnTo>
                    <a:lnTo>
                      <a:pt x="4281" y="23052"/>
                    </a:lnTo>
                    <a:lnTo>
                      <a:pt x="1564" y="22256"/>
                    </a:lnTo>
                    <a:lnTo>
                      <a:pt x="0" y="14545"/>
                    </a:lnTo>
                    <a:lnTo>
                      <a:pt x="1070" y="8178"/>
                    </a:lnTo>
                    <a:lnTo>
                      <a:pt x="11800" y="3074"/>
                    </a:lnTo>
                    <a:lnTo>
                      <a:pt x="15121" y="0"/>
                    </a:lnTo>
                    <a:lnTo>
                      <a:pt x="14874" y="14133"/>
                    </a:lnTo>
                    <a:lnTo>
                      <a:pt x="12239" y="21296"/>
                    </a:lnTo>
                    <a:lnTo>
                      <a:pt x="7794" y="232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5" name="Freeform: Shape 3714">
                <a:extLst>
                  <a:ext uri="{FF2B5EF4-FFF2-40B4-BE49-F238E27FC236}">
                    <a16:creationId xmlns:a16="http://schemas.microsoft.com/office/drawing/2014/main" id="{81941E96-46F1-4516-72AC-05E2DDF4F76D}"/>
                  </a:ext>
                </a:extLst>
              </p:cNvPr>
              <p:cNvSpPr/>
              <p:nvPr/>
            </p:nvSpPr>
            <p:spPr>
              <a:xfrm>
                <a:off x="1177368" y="3631416"/>
                <a:ext cx="884" cy="2224"/>
              </a:xfrm>
              <a:custGeom>
                <a:avLst/>
                <a:gdLst>
                  <a:gd name="connsiteX0" fmla="*/ 5928 w 8479"/>
                  <a:gd name="connsiteY0" fmla="*/ 12789 h 21323"/>
                  <a:gd name="connsiteX1" fmla="*/ 6559 w 8479"/>
                  <a:gd name="connsiteY1" fmla="*/ 17207 h 21323"/>
                  <a:gd name="connsiteX2" fmla="*/ 4501 w 8479"/>
                  <a:gd name="connsiteY2" fmla="*/ 21323 h 21323"/>
                  <a:gd name="connsiteX3" fmla="*/ 3403 w 8479"/>
                  <a:gd name="connsiteY3" fmla="*/ 15258 h 21323"/>
                  <a:gd name="connsiteX4" fmla="*/ 0 w 8479"/>
                  <a:gd name="connsiteY4" fmla="*/ 11389 h 21323"/>
                  <a:gd name="connsiteX5" fmla="*/ 1262 w 8479"/>
                  <a:gd name="connsiteY5" fmla="*/ 5571 h 21323"/>
                  <a:gd name="connsiteX6" fmla="*/ 576 w 8479"/>
                  <a:gd name="connsiteY6" fmla="*/ 1811 h 21323"/>
                  <a:gd name="connsiteX7" fmla="*/ 3540 w 8479"/>
                  <a:gd name="connsiteY7" fmla="*/ 0 h 21323"/>
                  <a:gd name="connsiteX8" fmla="*/ 4638 w 8479"/>
                  <a:gd name="connsiteY8" fmla="*/ 1674 h 21323"/>
                  <a:gd name="connsiteX9" fmla="*/ 2525 w 8479"/>
                  <a:gd name="connsiteY9" fmla="*/ 2909 h 21323"/>
                  <a:gd name="connsiteX10" fmla="*/ 2525 w 8479"/>
                  <a:gd name="connsiteY10" fmla="*/ 5681 h 21323"/>
                  <a:gd name="connsiteX11" fmla="*/ 8480 w 8479"/>
                  <a:gd name="connsiteY11" fmla="*/ 9440 h 21323"/>
                  <a:gd name="connsiteX12" fmla="*/ 8480 w 8479"/>
                  <a:gd name="connsiteY12" fmla="*/ 11306 h 21323"/>
                  <a:gd name="connsiteX13" fmla="*/ 5955 w 8479"/>
                  <a:gd name="connsiteY13" fmla="*/ 12789 h 2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79" h="21323">
                    <a:moveTo>
                      <a:pt x="5928" y="12789"/>
                    </a:moveTo>
                    <a:lnTo>
                      <a:pt x="6559" y="17207"/>
                    </a:lnTo>
                    <a:lnTo>
                      <a:pt x="4501" y="21323"/>
                    </a:lnTo>
                    <a:lnTo>
                      <a:pt x="3403" y="15258"/>
                    </a:lnTo>
                    <a:lnTo>
                      <a:pt x="0" y="11389"/>
                    </a:lnTo>
                    <a:lnTo>
                      <a:pt x="1262" y="5571"/>
                    </a:lnTo>
                    <a:lnTo>
                      <a:pt x="576" y="1811"/>
                    </a:lnTo>
                    <a:lnTo>
                      <a:pt x="3540" y="0"/>
                    </a:lnTo>
                    <a:lnTo>
                      <a:pt x="4638" y="1674"/>
                    </a:lnTo>
                    <a:lnTo>
                      <a:pt x="2525" y="2909"/>
                    </a:lnTo>
                    <a:lnTo>
                      <a:pt x="2525" y="5681"/>
                    </a:lnTo>
                    <a:cubicBezTo>
                      <a:pt x="2525" y="5681"/>
                      <a:pt x="8480" y="9440"/>
                      <a:pt x="8480" y="9440"/>
                    </a:cubicBezTo>
                    <a:lnTo>
                      <a:pt x="8480" y="11306"/>
                    </a:lnTo>
                    <a:lnTo>
                      <a:pt x="5955" y="127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6" name="Freeform: Shape 3715">
                <a:extLst>
                  <a:ext uri="{FF2B5EF4-FFF2-40B4-BE49-F238E27FC236}">
                    <a16:creationId xmlns:a16="http://schemas.microsoft.com/office/drawing/2014/main" id="{8E631EBB-B1FB-1A58-F4B3-ADA71B1FA3EB}"/>
                  </a:ext>
                </a:extLst>
              </p:cNvPr>
              <p:cNvSpPr/>
              <p:nvPr/>
            </p:nvSpPr>
            <p:spPr>
              <a:xfrm>
                <a:off x="1043230" y="3551649"/>
                <a:ext cx="1800" cy="1629"/>
              </a:xfrm>
              <a:custGeom>
                <a:avLst/>
                <a:gdLst>
                  <a:gd name="connsiteX0" fmla="*/ 17262 w 17261"/>
                  <a:gd name="connsiteY0" fmla="*/ 13804 h 15615"/>
                  <a:gd name="connsiteX1" fmla="*/ 13173 w 17261"/>
                  <a:gd name="connsiteY1" fmla="*/ 15615 h 15615"/>
                  <a:gd name="connsiteX2" fmla="*/ 7931 w 17261"/>
                  <a:gd name="connsiteY2" fmla="*/ 13859 h 15615"/>
                  <a:gd name="connsiteX3" fmla="*/ 2113 w 17261"/>
                  <a:gd name="connsiteY3" fmla="*/ 9331 h 15615"/>
                  <a:gd name="connsiteX4" fmla="*/ 0 w 17261"/>
                  <a:gd name="connsiteY4" fmla="*/ 3074 h 15615"/>
                  <a:gd name="connsiteX5" fmla="*/ 2689 w 17261"/>
                  <a:gd name="connsiteY5" fmla="*/ 0 h 15615"/>
                  <a:gd name="connsiteX6" fmla="*/ 17262 w 17261"/>
                  <a:gd name="connsiteY6" fmla="*/ 6696 h 15615"/>
                  <a:gd name="connsiteX7" fmla="*/ 17262 w 17261"/>
                  <a:gd name="connsiteY7" fmla="*/ 13804 h 1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61" h="15615">
                    <a:moveTo>
                      <a:pt x="17262" y="13804"/>
                    </a:moveTo>
                    <a:lnTo>
                      <a:pt x="13173" y="15615"/>
                    </a:lnTo>
                    <a:lnTo>
                      <a:pt x="7931" y="13859"/>
                    </a:lnTo>
                    <a:lnTo>
                      <a:pt x="2113" y="9331"/>
                    </a:lnTo>
                    <a:lnTo>
                      <a:pt x="0" y="3074"/>
                    </a:lnTo>
                    <a:lnTo>
                      <a:pt x="2689" y="0"/>
                    </a:lnTo>
                    <a:lnTo>
                      <a:pt x="17262" y="6696"/>
                    </a:lnTo>
                    <a:lnTo>
                      <a:pt x="17262" y="138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7" name="Freeform: Shape 3716">
                <a:extLst>
                  <a:ext uri="{FF2B5EF4-FFF2-40B4-BE49-F238E27FC236}">
                    <a16:creationId xmlns:a16="http://schemas.microsoft.com/office/drawing/2014/main" id="{A608B4B9-DF1F-404E-6BE0-1B76EFC50D28}"/>
                  </a:ext>
                </a:extLst>
              </p:cNvPr>
              <p:cNvSpPr/>
              <p:nvPr/>
            </p:nvSpPr>
            <p:spPr>
              <a:xfrm>
                <a:off x="1054348" y="3543030"/>
                <a:ext cx="1299" cy="1983"/>
              </a:xfrm>
              <a:custGeom>
                <a:avLst/>
                <a:gdLst>
                  <a:gd name="connsiteX0" fmla="*/ 7437 w 12459"/>
                  <a:gd name="connsiteY0" fmla="*/ 18579 h 19017"/>
                  <a:gd name="connsiteX1" fmla="*/ 4610 w 12459"/>
                  <a:gd name="connsiteY1" fmla="*/ 19018 h 19017"/>
                  <a:gd name="connsiteX2" fmla="*/ 3376 w 12459"/>
                  <a:gd name="connsiteY2" fmla="*/ 12047 h 19017"/>
                  <a:gd name="connsiteX3" fmla="*/ 1235 w 12459"/>
                  <a:gd name="connsiteY3" fmla="*/ 11855 h 19017"/>
                  <a:gd name="connsiteX4" fmla="*/ 0 w 12459"/>
                  <a:gd name="connsiteY4" fmla="*/ 8370 h 19017"/>
                  <a:gd name="connsiteX5" fmla="*/ 1509 w 12459"/>
                  <a:gd name="connsiteY5" fmla="*/ 1811 h 19017"/>
                  <a:gd name="connsiteX6" fmla="*/ 3897 w 12459"/>
                  <a:gd name="connsiteY6" fmla="*/ 0 h 19017"/>
                  <a:gd name="connsiteX7" fmla="*/ 5379 w 12459"/>
                  <a:gd name="connsiteY7" fmla="*/ 2552 h 19017"/>
                  <a:gd name="connsiteX8" fmla="*/ 10401 w 12459"/>
                  <a:gd name="connsiteY8" fmla="*/ 4226 h 19017"/>
                  <a:gd name="connsiteX9" fmla="*/ 12459 w 12459"/>
                  <a:gd name="connsiteY9" fmla="*/ 7629 h 19017"/>
                  <a:gd name="connsiteX10" fmla="*/ 7437 w 12459"/>
                  <a:gd name="connsiteY10" fmla="*/ 18579 h 1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59" h="19017">
                    <a:moveTo>
                      <a:pt x="7437" y="18579"/>
                    </a:moveTo>
                    <a:lnTo>
                      <a:pt x="4610" y="19018"/>
                    </a:lnTo>
                    <a:lnTo>
                      <a:pt x="3376" y="12047"/>
                    </a:lnTo>
                    <a:lnTo>
                      <a:pt x="1235" y="11855"/>
                    </a:lnTo>
                    <a:lnTo>
                      <a:pt x="0" y="8370"/>
                    </a:lnTo>
                    <a:lnTo>
                      <a:pt x="1509" y="1811"/>
                    </a:lnTo>
                    <a:lnTo>
                      <a:pt x="3897" y="0"/>
                    </a:lnTo>
                    <a:lnTo>
                      <a:pt x="5379" y="2552"/>
                    </a:lnTo>
                    <a:lnTo>
                      <a:pt x="10401" y="4226"/>
                    </a:lnTo>
                    <a:lnTo>
                      <a:pt x="12459" y="7629"/>
                    </a:lnTo>
                    <a:lnTo>
                      <a:pt x="7437" y="185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8" name="Freeform: Shape 3717">
                <a:extLst>
                  <a:ext uri="{FF2B5EF4-FFF2-40B4-BE49-F238E27FC236}">
                    <a16:creationId xmlns:a16="http://schemas.microsoft.com/office/drawing/2014/main" id="{8C23C427-B06F-CA5A-E540-FD7DC2830762}"/>
                  </a:ext>
                </a:extLst>
              </p:cNvPr>
              <p:cNvSpPr/>
              <p:nvPr/>
            </p:nvSpPr>
            <p:spPr>
              <a:xfrm>
                <a:off x="1056683" y="3533167"/>
                <a:ext cx="1483" cy="1818"/>
              </a:xfrm>
              <a:custGeom>
                <a:avLst/>
                <a:gdLst>
                  <a:gd name="connsiteX0" fmla="*/ 0 w 14215"/>
                  <a:gd name="connsiteY0" fmla="*/ 878 h 17426"/>
                  <a:gd name="connsiteX1" fmla="*/ 4995 w 14215"/>
                  <a:gd name="connsiteY1" fmla="*/ 0 h 17426"/>
                  <a:gd name="connsiteX2" fmla="*/ 10456 w 14215"/>
                  <a:gd name="connsiteY2" fmla="*/ 6065 h 17426"/>
                  <a:gd name="connsiteX3" fmla="*/ 11663 w 14215"/>
                  <a:gd name="connsiteY3" fmla="*/ 8919 h 17426"/>
                  <a:gd name="connsiteX4" fmla="*/ 12432 w 14215"/>
                  <a:gd name="connsiteY4" fmla="*/ 4665 h 17426"/>
                  <a:gd name="connsiteX5" fmla="*/ 14215 w 14215"/>
                  <a:gd name="connsiteY5" fmla="*/ 5653 h 17426"/>
                  <a:gd name="connsiteX6" fmla="*/ 13996 w 14215"/>
                  <a:gd name="connsiteY6" fmla="*/ 11032 h 17426"/>
                  <a:gd name="connsiteX7" fmla="*/ 11691 w 14215"/>
                  <a:gd name="connsiteY7" fmla="*/ 10154 h 17426"/>
                  <a:gd name="connsiteX8" fmla="*/ 9331 w 14215"/>
                  <a:gd name="connsiteY8" fmla="*/ 16987 h 17426"/>
                  <a:gd name="connsiteX9" fmla="*/ 6504 w 14215"/>
                  <a:gd name="connsiteY9" fmla="*/ 17426 h 17426"/>
                  <a:gd name="connsiteX10" fmla="*/ 412 w 14215"/>
                  <a:gd name="connsiteY10" fmla="*/ 11993 h 17426"/>
                  <a:gd name="connsiteX11" fmla="*/ 0 w 14215"/>
                  <a:gd name="connsiteY11" fmla="*/ 878 h 1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15" h="17426">
                    <a:moveTo>
                      <a:pt x="0" y="878"/>
                    </a:moveTo>
                    <a:lnTo>
                      <a:pt x="4995" y="0"/>
                    </a:lnTo>
                    <a:lnTo>
                      <a:pt x="10456" y="6065"/>
                    </a:lnTo>
                    <a:lnTo>
                      <a:pt x="11663" y="8919"/>
                    </a:lnTo>
                    <a:lnTo>
                      <a:pt x="12432" y="4665"/>
                    </a:lnTo>
                    <a:lnTo>
                      <a:pt x="14215" y="5653"/>
                    </a:lnTo>
                    <a:lnTo>
                      <a:pt x="13996" y="11032"/>
                    </a:lnTo>
                    <a:lnTo>
                      <a:pt x="11691" y="10154"/>
                    </a:lnTo>
                    <a:lnTo>
                      <a:pt x="9331" y="16987"/>
                    </a:lnTo>
                    <a:lnTo>
                      <a:pt x="6504" y="17426"/>
                    </a:lnTo>
                    <a:lnTo>
                      <a:pt x="412" y="11993"/>
                    </a:lnTo>
                    <a:lnTo>
                      <a:pt x="0" y="8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19" name="Freeform: Shape 3718">
                <a:extLst>
                  <a:ext uri="{FF2B5EF4-FFF2-40B4-BE49-F238E27FC236}">
                    <a16:creationId xmlns:a16="http://schemas.microsoft.com/office/drawing/2014/main" id="{39CC8A05-9860-215F-2A79-8DC3A9701FF2}"/>
                  </a:ext>
                </a:extLst>
              </p:cNvPr>
              <p:cNvSpPr/>
              <p:nvPr/>
            </p:nvSpPr>
            <p:spPr>
              <a:xfrm>
                <a:off x="1165306" y="3600772"/>
                <a:ext cx="1371" cy="1331"/>
              </a:xfrm>
              <a:custGeom>
                <a:avLst/>
                <a:gdLst>
                  <a:gd name="connsiteX0" fmla="*/ 0 w 13145"/>
                  <a:gd name="connsiteY0" fmla="*/ 2964 h 12761"/>
                  <a:gd name="connsiteX1" fmla="*/ 2744 w 13145"/>
                  <a:gd name="connsiteY1" fmla="*/ 0 h 12761"/>
                  <a:gd name="connsiteX2" fmla="*/ 8233 w 13145"/>
                  <a:gd name="connsiteY2" fmla="*/ 2909 h 12761"/>
                  <a:gd name="connsiteX3" fmla="*/ 11306 w 13145"/>
                  <a:gd name="connsiteY3" fmla="*/ 7464 h 12761"/>
                  <a:gd name="connsiteX4" fmla="*/ 13145 w 13145"/>
                  <a:gd name="connsiteY4" fmla="*/ 8507 h 12761"/>
                  <a:gd name="connsiteX5" fmla="*/ 11224 w 13145"/>
                  <a:gd name="connsiteY5" fmla="*/ 12761 h 12761"/>
                  <a:gd name="connsiteX6" fmla="*/ 3815 w 13145"/>
                  <a:gd name="connsiteY6" fmla="*/ 9633 h 12761"/>
                  <a:gd name="connsiteX7" fmla="*/ 27 w 13145"/>
                  <a:gd name="connsiteY7" fmla="*/ 2964 h 1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5" h="12761">
                    <a:moveTo>
                      <a:pt x="0" y="2964"/>
                    </a:moveTo>
                    <a:lnTo>
                      <a:pt x="2744" y="0"/>
                    </a:lnTo>
                    <a:lnTo>
                      <a:pt x="8233" y="2909"/>
                    </a:lnTo>
                    <a:lnTo>
                      <a:pt x="11306" y="7464"/>
                    </a:lnTo>
                    <a:lnTo>
                      <a:pt x="13145" y="8507"/>
                    </a:lnTo>
                    <a:lnTo>
                      <a:pt x="11224" y="12761"/>
                    </a:lnTo>
                    <a:lnTo>
                      <a:pt x="3815" y="9633"/>
                    </a:lnTo>
                    <a:lnTo>
                      <a:pt x="27"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0" name="Freeform: Shape 3719">
                <a:extLst>
                  <a:ext uri="{FF2B5EF4-FFF2-40B4-BE49-F238E27FC236}">
                    <a16:creationId xmlns:a16="http://schemas.microsoft.com/office/drawing/2014/main" id="{FF08CA76-14D7-6E8D-1A75-5E3CEB8EEE6A}"/>
                  </a:ext>
                </a:extLst>
              </p:cNvPr>
              <p:cNvSpPr/>
              <p:nvPr/>
            </p:nvSpPr>
            <p:spPr>
              <a:xfrm>
                <a:off x="1088544" y="3546860"/>
                <a:ext cx="1068" cy="2150"/>
              </a:xfrm>
              <a:custGeom>
                <a:avLst/>
                <a:gdLst>
                  <a:gd name="connsiteX0" fmla="*/ 0 w 10236"/>
                  <a:gd name="connsiteY0" fmla="*/ 4693 h 20609"/>
                  <a:gd name="connsiteX1" fmla="*/ 2552 w 10236"/>
                  <a:gd name="connsiteY1" fmla="*/ 0 h 20609"/>
                  <a:gd name="connsiteX2" fmla="*/ 4144 w 10236"/>
                  <a:gd name="connsiteY2" fmla="*/ 3074 h 20609"/>
                  <a:gd name="connsiteX3" fmla="*/ 6092 w 10236"/>
                  <a:gd name="connsiteY3" fmla="*/ 604 h 20609"/>
                  <a:gd name="connsiteX4" fmla="*/ 7794 w 10236"/>
                  <a:gd name="connsiteY4" fmla="*/ 3320 h 20609"/>
                  <a:gd name="connsiteX5" fmla="*/ 6175 w 10236"/>
                  <a:gd name="connsiteY5" fmla="*/ 8507 h 20609"/>
                  <a:gd name="connsiteX6" fmla="*/ 4610 w 10236"/>
                  <a:gd name="connsiteY6" fmla="*/ 6669 h 20609"/>
                  <a:gd name="connsiteX7" fmla="*/ 3952 w 10236"/>
                  <a:gd name="connsiteY7" fmla="*/ 11197 h 20609"/>
                  <a:gd name="connsiteX8" fmla="*/ 10236 w 10236"/>
                  <a:gd name="connsiteY8" fmla="*/ 11553 h 20609"/>
                  <a:gd name="connsiteX9" fmla="*/ 9962 w 10236"/>
                  <a:gd name="connsiteY9" fmla="*/ 15999 h 20609"/>
                  <a:gd name="connsiteX10" fmla="*/ 7025 w 10236"/>
                  <a:gd name="connsiteY10" fmla="*/ 20610 h 20609"/>
                  <a:gd name="connsiteX11" fmla="*/ 6037 w 10236"/>
                  <a:gd name="connsiteY11" fmla="*/ 16082 h 20609"/>
                  <a:gd name="connsiteX12" fmla="*/ 3732 w 10236"/>
                  <a:gd name="connsiteY12" fmla="*/ 15752 h 20609"/>
                  <a:gd name="connsiteX13" fmla="*/ 0 w 10236"/>
                  <a:gd name="connsiteY13" fmla="*/ 4720 h 2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36" h="20609">
                    <a:moveTo>
                      <a:pt x="0" y="4693"/>
                    </a:moveTo>
                    <a:lnTo>
                      <a:pt x="2552" y="0"/>
                    </a:lnTo>
                    <a:lnTo>
                      <a:pt x="4144" y="3074"/>
                    </a:lnTo>
                    <a:lnTo>
                      <a:pt x="6092" y="604"/>
                    </a:lnTo>
                    <a:lnTo>
                      <a:pt x="7794" y="3320"/>
                    </a:lnTo>
                    <a:lnTo>
                      <a:pt x="6175" y="8507"/>
                    </a:lnTo>
                    <a:lnTo>
                      <a:pt x="4610" y="6669"/>
                    </a:lnTo>
                    <a:lnTo>
                      <a:pt x="3952" y="11197"/>
                    </a:lnTo>
                    <a:lnTo>
                      <a:pt x="10236" y="11553"/>
                    </a:lnTo>
                    <a:lnTo>
                      <a:pt x="9962" y="15999"/>
                    </a:lnTo>
                    <a:lnTo>
                      <a:pt x="7025" y="20610"/>
                    </a:lnTo>
                    <a:lnTo>
                      <a:pt x="6037" y="16082"/>
                    </a:lnTo>
                    <a:lnTo>
                      <a:pt x="3732" y="15752"/>
                    </a:lnTo>
                    <a:lnTo>
                      <a:pt x="0" y="47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1" name="Freeform: Shape 3720">
                <a:extLst>
                  <a:ext uri="{FF2B5EF4-FFF2-40B4-BE49-F238E27FC236}">
                    <a16:creationId xmlns:a16="http://schemas.microsoft.com/office/drawing/2014/main" id="{D7CA5445-1B53-5AD1-82CD-87D22DC82ABD}"/>
                  </a:ext>
                </a:extLst>
              </p:cNvPr>
              <p:cNvSpPr/>
              <p:nvPr/>
            </p:nvSpPr>
            <p:spPr>
              <a:xfrm>
                <a:off x="1183651" y="3673123"/>
                <a:ext cx="1408" cy="876"/>
              </a:xfrm>
              <a:custGeom>
                <a:avLst/>
                <a:gdLst>
                  <a:gd name="connsiteX0" fmla="*/ 0 w 13502"/>
                  <a:gd name="connsiteY0" fmla="*/ 7574 h 8397"/>
                  <a:gd name="connsiteX1" fmla="*/ 165 w 13502"/>
                  <a:gd name="connsiteY1" fmla="*/ 6230 h 8397"/>
                  <a:gd name="connsiteX2" fmla="*/ 4418 w 13502"/>
                  <a:gd name="connsiteY2" fmla="*/ 1455 h 8397"/>
                  <a:gd name="connsiteX3" fmla="*/ 7410 w 13502"/>
                  <a:gd name="connsiteY3" fmla="*/ 0 h 8397"/>
                  <a:gd name="connsiteX4" fmla="*/ 10511 w 13502"/>
                  <a:gd name="connsiteY4" fmla="*/ 4473 h 8397"/>
                  <a:gd name="connsiteX5" fmla="*/ 12020 w 13502"/>
                  <a:gd name="connsiteY5" fmla="*/ 3046 h 8397"/>
                  <a:gd name="connsiteX6" fmla="*/ 13502 w 13502"/>
                  <a:gd name="connsiteY6" fmla="*/ 5818 h 8397"/>
                  <a:gd name="connsiteX7" fmla="*/ 9193 w 13502"/>
                  <a:gd name="connsiteY7" fmla="*/ 6696 h 8397"/>
                  <a:gd name="connsiteX8" fmla="*/ 6147 w 13502"/>
                  <a:gd name="connsiteY8" fmla="*/ 6175 h 8397"/>
                  <a:gd name="connsiteX9" fmla="*/ 741 w 13502"/>
                  <a:gd name="connsiteY9" fmla="*/ 8398 h 8397"/>
                  <a:gd name="connsiteX10" fmla="*/ 55 w 13502"/>
                  <a:gd name="connsiteY10" fmla="*/ 7547 h 8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02" h="8397">
                    <a:moveTo>
                      <a:pt x="0" y="7574"/>
                    </a:moveTo>
                    <a:lnTo>
                      <a:pt x="165" y="6230"/>
                    </a:lnTo>
                    <a:lnTo>
                      <a:pt x="4418" y="1455"/>
                    </a:lnTo>
                    <a:lnTo>
                      <a:pt x="7410" y="0"/>
                    </a:lnTo>
                    <a:lnTo>
                      <a:pt x="10511" y="4473"/>
                    </a:lnTo>
                    <a:lnTo>
                      <a:pt x="12020" y="3046"/>
                    </a:lnTo>
                    <a:lnTo>
                      <a:pt x="13502" y="5818"/>
                    </a:lnTo>
                    <a:lnTo>
                      <a:pt x="9193" y="6696"/>
                    </a:lnTo>
                    <a:lnTo>
                      <a:pt x="6147" y="6175"/>
                    </a:lnTo>
                    <a:lnTo>
                      <a:pt x="741" y="8398"/>
                    </a:lnTo>
                    <a:lnTo>
                      <a:pt x="55" y="75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2" name="Freeform: Shape 3721">
                <a:extLst>
                  <a:ext uri="{FF2B5EF4-FFF2-40B4-BE49-F238E27FC236}">
                    <a16:creationId xmlns:a16="http://schemas.microsoft.com/office/drawing/2014/main" id="{DB80F719-B54D-B422-2133-81E1F79A5B88}"/>
                  </a:ext>
                </a:extLst>
              </p:cNvPr>
              <p:cNvSpPr/>
              <p:nvPr/>
            </p:nvSpPr>
            <p:spPr>
              <a:xfrm>
                <a:off x="1071470" y="3492144"/>
                <a:ext cx="1649" cy="1769"/>
              </a:xfrm>
              <a:custGeom>
                <a:avLst/>
                <a:gdLst>
                  <a:gd name="connsiteX0" fmla="*/ 15615 w 15807"/>
                  <a:gd name="connsiteY0" fmla="*/ 15423 h 16959"/>
                  <a:gd name="connsiteX1" fmla="*/ 13173 w 15807"/>
                  <a:gd name="connsiteY1" fmla="*/ 16960 h 16959"/>
                  <a:gd name="connsiteX2" fmla="*/ 5544 w 15807"/>
                  <a:gd name="connsiteY2" fmla="*/ 13886 h 16959"/>
                  <a:gd name="connsiteX3" fmla="*/ 878 w 15807"/>
                  <a:gd name="connsiteY3" fmla="*/ 9934 h 16959"/>
                  <a:gd name="connsiteX4" fmla="*/ 0 w 15807"/>
                  <a:gd name="connsiteY4" fmla="*/ 7108 h 16959"/>
                  <a:gd name="connsiteX5" fmla="*/ 5544 w 15807"/>
                  <a:gd name="connsiteY5" fmla="*/ 0 h 16959"/>
                  <a:gd name="connsiteX6" fmla="*/ 13584 w 15807"/>
                  <a:gd name="connsiteY6" fmla="*/ 5818 h 16959"/>
                  <a:gd name="connsiteX7" fmla="*/ 15807 w 15807"/>
                  <a:gd name="connsiteY7" fmla="*/ 11828 h 16959"/>
                  <a:gd name="connsiteX8" fmla="*/ 15588 w 15807"/>
                  <a:gd name="connsiteY8" fmla="*/ 15423 h 1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07" h="16959">
                    <a:moveTo>
                      <a:pt x="15615" y="15423"/>
                    </a:moveTo>
                    <a:lnTo>
                      <a:pt x="13173" y="16960"/>
                    </a:lnTo>
                    <a:lnTo>
                      <a:pt x="5544" y="13886"/>
                    </a:lnTo>
                    <a:lnTo>
                      <a:pt x="878" y="9934"/>
                    </a:lnTo>
                    <a:lnTo>
                      <a:pt x="0" y="7108"/>
                    </a:lnTo>
                    <a:lnTo>
                      <a:pt x="5544" y="0"/>
                    </a:lnTo>
                    <a:lnTo>
                      <a:pt x="13584" y="5818"/>
                    </a:lnTo>
                    <a:lnTo>
                      <a:pt x="15807" y="11828"/>
                    </a:lnTo>
                    <a:lnTo>
                      <a:pt x="15588" y="154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3" name="Freeform: Shape 3722">
                <a:extLst>
                  <a:ext uri="{FF2B5EF4-FFF2-40B4-BE49-F238E27FC236}">
                    <a16:creationId xmlns:a16="http://schemas.microsoft.com/office/drawing/2014/main" id="{E44DD93E-34A7-C942-C6C4-CDEE8A494623}"/>
                  </a:ext>
                </a:extLst>
              </p:cNvPr>
              <p:cNvSpPr/>
              <p:nvPr/>
            </p:nvSpPr>
            <p:spPr>
              <a:xfrm>
                <a:off x="1141698" y="3588504"/>
                <a:ext cx="1646" cy="1062"/>
              </a:xfrm>
              <a:custGeom>
                <a:avLst/>
                <a:gdLst>
                  <a:gd name="connsiteX0" fmla="*/ 0 w 15779"/>
                  <a:gd name="connsiteY0" fmla="*/ 3814 h 10181"/>
                  <a:gd name="connsiteX1" fmla="*/ 1811 w 15779"/>
                  <a:gd name="connsiteY1" fmla="*/ 0 h 10181"/>
                  <a:gd name="connsiteX2" fmla="*/ 8041 w 15779"/>
                  <a:gd name="connsiteY2" fmla="*/ 302 h 10181"/>
                  <a:gd name="connsiteX3" fmla="*/ 15258 w 15779"/>
                  <a:gd name="connsiteY3" fmla="*/ 5132 h 10181"/>
                  <a:gd name="connsiteX4" fmla="*/ 15780 w 15779"/>
                  <a:gd name="connsiteY4" fmla="*/ 10181 h 10181"/>
                  <a:gd name="connsiteX5" fmla="*/ 9166 w 15779"/>
                  <a:gd name="connsiteY5" fmla="*/ 8891 h 10181"/>
                  <a:gd name="connsiteX6" fmla="*/ 8041 w 15779"/>
                  <a:gd name="connsiteY6" fmla="*/ 6696 h 10181"/>
                  <a:gd name="connsiteX7" fmla="*/ 0 w 15779"/>
                  <a:gd name="connsiteY7" fmla="*/ 3814 h 1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 h="10181">
                    <a:moveTo>
                      <a:pt x="0" y="3814"/>
                    </a:moveTo>
                    <a:lnTo>
                      <a:pt x="1811" y="0"/>
                    </a:lnTo>
                    <a:lnTo>
                      <a:pt x="8041" y="302"/>
                    </a:lnTo>
                    <a:lnTo>
                      <a:pt x="15258" y="5132"/>
                    </a:lnTo>
                    <a:lnTo>
                      <a:pt x="15780" y="10181"/>
                    </a:lnTo>
                    <a:lnTo>
                      <a:pt x="9166" y="8891"/>
                    </a:lnTo>
                    <a:lnTo>
                      <a:pt x="8041" y="6696"/>
                    </a:lnTo>
                    <a:lnTo>
                      <a:pt x="0" y="38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4" name="Freeform: Shape 3723">
                <a:extLst>
                  <a:ext uri="{FF2B5EF4-FFF2-40B4-BE49-F238E27FC236}">
                    <a16:creationId xmlns:a16="http://schemas.microsoft.com/office/drawing/2014/main" id="{51DFB952-44BD-E75D-1347-6025F850CB58}"/>
                  </a:ext>
                </a:extLst>
              </p:cNvPr>
              <p:cNvSpPr/>
              <p:nvPr/>
            </p:nvSpPr>
            <p:spPr>
              <a:xfrm>
                <a:off x="1198360" y="3668028"/>
                <a:ext cx="1214" cy="953"/>
              </a:xfrm>
              <a:custGeom>
                <a:avLst/>
                <a:gdLst>
                  <a:gd name="connsiteX0" fmla="*/ 11224 w 11635"/>
                  <a:gd name="connsiteY0" fmla="*/ 5159 h 9138"/>
                  <a:gd name="connsiteX1" fmla="*/ 6669 w 11635"/>
                  <a:gd name="connsiteY1" fmla="*/ 6641 h 9138"/>
                  <a:gd name="connsiteX2" fmla="*/ 5763 w 11635"/>
                  <a:gd name="connsiteY2" fmla="*/ 9138 h 9138"/>
                  <a:gd name="connsiteX3" fmla="*/ 960 w 11635"/>
                  <a:gd name="connsiteY3" fmla="*/ 9138 h 9138"/>
                  <a:gd name="connsiteX4" fmla="*/ 0 w 11635"/>
                  <a:gd name="connsiteY4" fmla="*/ 5187 h 9138"/>
                  <a:gd name="connsiteX5" fmla="*/ 2278 w 11635"/>
                  <a:gd name="connsiteY5" fmla="*/ 3897 h 9138"/>
                  <a:gd name="connsiteX6" fmla="*/ 3568 w 11635"/>
                  <a:gd name="connsiteY6" fmla="*/ 5873 h 9138"/>
                  <a:gd name="connsiteX7" fmla="*/ 3870 w 11635"/>
                  <a:gd name="connsiteY7" fmla="*/ 3403 h 9138"/>
                  <a:gd name="connsiteX8" fmla="*/ 6010 w 11635"/>
                  <a:gd name="connsiteY8" fmla="*/ 796 h 9138"/>
                  <a:gd name="connsiteX9" fmla="*/ 10044 w 11635"/>
                  <a:gd name="connsiteY9" fmla="*/ 0 h 9138"/>
                  <a:gd name="connsiteX10" fmla="*/ 11636 w 11635"/>
                  <a:gd name="connsiteY10" fmla="*/ 1838 h 9138"/>
                  <a:gd name="connsiteX11" fmla="*/ 11252 w 11635"/>
                  <a:gd name="connsiteY11" fmla="*/ 5132 h 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35" h="9138">
                    <a:moveTo>
                      <a:pt x="11224" y="5159"/>
                    </a:moveTo>
                    <a:lnTo>
                      <a:pt x="6669" y="6641"/>
                    </a:lnTo>
                    <a:lnTo>
                      <a:pt x="5763" y="9138"/>
                    </a:lnTo>
                    <a:lnTo>
                      <a:pt x="960" y="9138"/>
                    </a:lnTo>
                    <a:lnTo>
                      <a:pt x="0" y="5187"/>
                    </a:lnTo>
                    <a:lnTo>
                      <a:pt x="2278" y="3897"/>
                    </a:lnTo>
                    <a:lnTo>
                      <a:pt x="3568" y="5873"/>
                    </a:lnTo>
                    <a:lnTo>
                      <a:pt x="3870" y="3403"/>
                    </a:lnTo>
                    <a:lnTo>
                      <a:pt x="6010" y="796"/>
                    </a:lnTo>
                    <a:lnTo>
                      <a:pt x="10044" y="0"/>
                    </a:lnTo>
                    <a:lnTo>
                      <a:pt x="11636" y="1838"/>
                    </a:lnTo>
                    <a:lnTo>
                      <a:pt x="11252" y="513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5" name="Freeform: Shape 3724">
                <a:extLst>
                  <a:ext uri="{FF2B5EF4-FFF2-40B4-BE49-F238E27FC236}">
                    <a16:creationId xmlns:a16="http://schemas.microsoft.com/office/drawing/2014/main" id="{FDC27979-7C0F-4340-D2C2-5DB4F923422F}"/>
                  </a:ext>
                </a:extLst>
              </p:cNvPr>
              <p:cNvSpPr/>
              <p:nvPr/>
            </p:nvSpPr>
            <p:spPr>
              <a:xfrm>
                <a:off x="1065585" y="3492373"/>
                <a:ext cx="1405" cy="1989"/>
              </a:xfrm>
              <a:custGeom>
                <a:avLst/>
                <a:gdLst>
                  <a:gd name="connsiteX0" fmla="*/ 10703 w 13474"/>
                  <a:gd name="connsiteY0" fmla="*/ 13282 h 19072"/>
                  <a:gd name="connsiteX1" fmla="*/ 1839 w 13474"/>
                  <a:gd name="connsiteY1" fmla="*/ 19073 h 19072"/>
                  <a:gd name="connsiteX2" fmla="*/ 0 w 13474"/>
                  <a:gd name="connsiteY2" fmla="*/ 15121 h 19072"/>
                  <a:gd name="connsiteX3" fmla="*/ 3156 w 13474"/>
                  <a:gd name="connsiteY3" fmla="*/ 9825 h 19072"/>
                  <a:gd name="connsiteX4" fmla="*/ 3842 w 13474"/>
                  <a:gd name="connsiteY4" fmla="*/ 5105 h 19072"/>
                  <a:gd name="connsiteX5" fmla="*/ 8535 w 13474"/>
                  <a:gd name="connsiteY5" fmla="*/ 0 h 19072"/>
                  <a:gd name="connsiteX6" fmla="*/ 12294 w 13474"/>
                  <a:gd name="connsiteY6" fmla="*/ 1153 h 19072"/>
                  <a:gd name="connsiteX7" fmla="*/ 13475 w 13474"/>
                  <a:gd name="connsiteY7" fmla="*/ 5571 h 19072"/>
                  <a:gd name="connsiteX8" fmla="*/ 10648 w 13474"/>
                  <a:gd name="connsiteY8" fmla="*/ 13255 h 1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74" h="19072">
                    <a:moveTo>
                      <a:pt x="10703" y="13282"/>
                    </a:moveTo>
                    <a:lnTo>
                      <a:pt x="1839" y="19073"/>
                    </a:lnTo>
                    <a:lnTo>
                      <a:pt x="0" y="15121"/>
                    </a:lnTo>
                    <a:lnTo>
                      <a:pt x="3156" y="9825"/>
                    </a:lnTo>
                    <a:lnTo>
                      <a:pt x="3842" y="5105"/>
                    </a:lnTo>
                    <a:lnTo>
                      <a:pt x="8535" y="0"/>
                    </a:lnTo>
                    <a:lnTo>
                      <a:pt x="12294" y="1153"/>
                    </a:lnTo>
                    <a:lnTo>
                      <a:pt x="13475" y="5571"/>
                    </a:lnTo>
                    <a:lnTo>
                      <a:pt x="10648" y="132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6" name="Freeform: Shape 3725">
                <a:extLst>
                  <a:ext uri="{FF2B5EF4-FFF2-40B4-BE49-F238E27FC236}">
                    <a16:creationId xmlns:a16="http://schemas.microsoft.com/office/drawing/2014/main" id="{70D67996-3007-775C-2048-35F6C0C049AD}"/>
                  </a:ext>
                </a:extLst>
              </p:cNvPr>
              <p:cNvSpPr/>
              <p:nvPr/>
            </p:nvSpPr>
            <p:spPr>
              <a:xfrm>
                <a:off x="1198812" y="3677649"/>
                <a:ext cx="678" cy="1537"/>
              </a:xfrm>
              <a:custGeom>
                <a:avLst/>
                <a:gdLst>
                  <a:gd name="connsiteX0" fmla="*/ 2882 w 6503"/>
                  <a:gd name="connsiteY0" fmla="*/ 8919 h 14736"/>
                  <a:gd name="connsiteX1" fmla="*/ 5159 w 6503"/>
                  <a:gd name="connsiteY1" fmla="*/ 10483 h 14736"/>
                  <a:gd name="connsiteX2" fmla="*/ 5159 w 6503"/>
                  <a:gd name="connsiteY2" fmla="*/ 13694 h 14736"/>
                  <a:gd name="connsiteX3" fmla="*/ 3019 w 6503"/>
                  <a:gd name="connsiteY3" fmla="*/ 14737 h 14736"/>
                  <a:gd name="connsiteX4" fmla="*/ 2305 w 6503"/>
                  <a:gd name="connsiteY4" fmla="*/ 10840 h 14736"/>
                  <a:gd name="connsiteX5" fmla="*/ 0 w 6503"/>
                  <a:gd name="connsiteY5" fmla="*/ 11526 h 14736"/>
                  <a:gd name="connsiteX6" fmla="*/ 961 w 6503"/>
                  <a:gd name="connsiteY6" fmla="*/ 6668 h 14736"/>
                  <a:gd name="connsiteX7" fmla="*/ 6038 w 6503"/>
                  <a:gd name="connsiteY7" fmla="*/ 0 h 14736"/>
                  <a:gd name="connsiteX8" fmla="*/ 6504 w 6503"/>
                  <a:gd name="connsiteY8" fmla="*/ 2772 h 14736"/>
                  <a:gd name="connsiteX9" fmla="*/ 2909 w 6503"/>
                  <a:gd name="connsiteY9" fmla="*/ 8891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03" h="14736">
                    <a:moveTo>
                      <a:pt x="2882" y="8919"/>
                    </a:moveTo>
                    <a:lnTo>
                      <a:pt x="5159" y="10483"/>
                    </a:lnTo>
                    <a:lnTo>
                      <a:pt x="5159" y="13694"/>
                    </a:lnTo>
                    <a:lnTo>
                      <a:pt x="3019" y="14737"/>
                    </a:lnTo>
                    <a:lnTo>
                      <a:pt x="2305" y="10840"/>
                    </a:lnTo>
                    <a:lnTo>
                      <a:pt x="0" y="11526"/>
                    </a:lnTo>
                    <a:lnTo>
                      <a:pt x="961" y="6668"/>
                    </a:lnTo>
                    <a:lnTo>
                      <a:pt x="6038" y="0"/>
                    </a:lnTo>
                    <a:lnTo>
                      <a:pt x="6504" y="2772"/>
                    </a:lnTo>
                    <a:lnTo>
                      <a:pt x="2909" y="88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7" name="Freeform: Shape 3726">
                <a:extLst>
                  <a:ext uri="{FF2B5EF4-FFF2-40B4-BE49-F238E27FC236}">
                    <a16:creationId xmlns:a16="http://schemas.microsoft.com/office/drawing/2014/main" id="{DB49A76B-8CE0-86B8-5FA1-A5571F656D22}"/>
                  </a:ext>
                </a:extLst>
              </p:cNvPr>
              <p:cNvSpPr/>
              <p:nvPr/>
            </p:nvSpPr>
            <p:spPr>
              <a:xfrm>
                <a:off x="1122457" y="3553564"/>
                <a:ext cx="1185" cy="1566"/>
              </a:xfrm>
              <a:custGeom>
                <a:avLst/>
                <a:gdLst>
                  <a:gd name="connsiteX0" fmla="*/ 0 w 11361"/>
                  <a:gd name="connsiteY0" fmla="*/ 9962 h 15011"/>
                  <a:gd name="connsiteX1" fmla="*/ 247 w 11361"/>
                  <a:gd name="connsiteY1" fmla="*/ 2168 h 15011"/>
                  <a:gd name="connsiteX2" fmla="*/ 1399 w 11361"/>
                  <a:gd name="connsiteY2" fmla="*/ 0 h 15011"/>
                  <a:gd name="connsiteX3" fmla="*/ 7821 w 11361"/>
                  <a:gd name="connsiteY3" fmla="*/ 302 h 15011"/>
                  <a:gd name="connsiteX4" fmla="*/ 11361 w 11361"/>
                  <a:gd name="connsiteY4" fmla="*/ 6888 h 15011"/>
                  <a:gd name="connsiteX5" fmla="*/ 5241 w 11361"/>
                  <a:gd name="connsiteY5" fmla="*/ 15011 h 15011"/>
                  <a:gd name="connsiteX6" fmla="*/ 3375 w 11361"/>
                  <a:gd name="connsiteY6" fmla="*/ 14819 h 15011"/>
                  <a:gd name="connsiteX7" fmla="*/ 27 w 11361"/>
                  <a:gd name="connsiteY7" fmla="*/ 9962 h 1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61" h="15011">
                    <a:moveTo>
                      <a:pt x="0" y="9962"/>
                    </a:moveTo>
                    <a:lnTo>
                      <a:pt x="247" y="2168"/>
                    </a:lnTo>
                    <a:lnTo>
                      <a:pt x="1399" y="0"/>
                    </a:lnTo>
                    <a:lnTo>
                      <a:pt x="7821" y="302"/>
                    </a:lnTo>
                    <a:lnTo>
                      <a:pt x="11361" y="6888"/>
                    </a:lnTo>
                    <a:lnTo>
                      <a:pt x="5241" y="15011"/>
                    </a:lnTo>
                    <a:lnTo>
                      <a:pt x="3375" y="14819"/>
                    </a:lnTo>
                    <a:lnTo>
                      <a:pt x="27" y="99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8" name="Freeform: Shape 3727">
                <a:extLst>
                  <a:ext uri="{FF2B5EF4-FFF2-40B4-BE49-F238E27FC236}">
                    <a16:creationId xmlns:a16="http://schemas.microsoft.com/office/drawing/2014/main" id="{0FB28A8D-166E-36B0-C670-CEEA36A7CFF8}"/>
                  </a:ext>
                </a:extLst>
              </p:cNvPr>
              <p:cNvSpPr/>
              <p:nvPr/>
            </p:nvSpPr>
            <p:spPr>
              <a:xfrm>
                <a:off x="1119792" y="3634132"/>
                <a:ext cx="1211" cy="907"/>
              </a:xfrm>
              <a:custGeom>
                <a:avLst/>
                <a:gdLst>
                  <a:gd name="connsiteX0" fmla="*/ 9523 w 11608"/>
                  <a:gd name="connsiteY0" fmla="*/ 4885 h 8699"/>
                  <a:gd name="connsiteX1" fmla="*/ 659 w 11608"/>
                  <a:gd name="connsiteY1" fmla="*/ 8700 h 8699"/>
                  <a:gd name="connsiteX2" fmla="*/ 0 w 11608"/>
                  <a:gd name="connsiteY2" fmla="*/ 7629 h 8699"/>
                  <a:gd name="connsiteX3" fmla="*/ 1043 w 11608"/>
                  <a:gd name="connsiteY3" fmla="*/ 3897 h 8699"/>
                  <a:gd name="connsiteX4" fmla="*/ 6943 w 11608"/>
                  <a:gd name="connsiteY4" fmla="*/ 0 h 8699"/>
                  <a:gd name="connsiteX5" fmla="*/ 11389 w 11608"/>
                  <a:gd name="connsiteY5" fmla="*/ 796 h 8699"/>
                  <a:gd name="connsiteX6" fmla="*/ 11608 w 11608"/>
                  <a:gd name="connsiteY6" fmla="*/ 2580 h 8699"/>
                  <a:gd name="connsiteX7" fmla="*/ 9523 w 11608"/>
                  <a:gd name="connsiteY7" fmla="*/ 4885 h 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08" h="8699">
                    <a:moveTo>
                      <a:pt x="9523" y="4885"/>
                    </a:moveTo>
                    <a:lnTo>
                      <a:pt x="659" y="8700"/>
                    </a:lnTo>
                    <a:lnTo>
                      <a:pt x="0" y="7629"/>
                    </a:lnTo>
                    <a:lnTo>
                      <a:pt x="1043" y="3897"/>
                    </a:lnTo>
                    <a:lnTo>
                      <a:pt x="6943" y="0"/>
                    </a:lnTo>
                    <a:lnTo>
                      <a:pt x="11389" y="796"/>
                    </a:lnTo>
                    <a:lnTo>
                      <a:pt x="11608" y="2580"/>
                    </a:lnTo>
                    <a:lnTo>
                      <a:pt x="9523" y="48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29" name="Freeform: Shape 3728">
                <a:extLst>
                  <a:ext uri="{FF2B5EF4-FFF2-40B4-BE49-F238E27FC236}">
                    <a16:creationId xmlns:a16="http://schemas.microsoft.com/office/drawing/2014/main" id="{679BD968-59A4-83DF-8CDE-F47337B55B86}"/>
                  </a:ext>
                </a:extLst>
              </p:cNvPr>
              <p:cNvSpPr/>
              <p:nvPr/>
            </p:nvSpPr>
            <p:spPr>
              <a:xfrm>
                <a:off x="1172742" y="3562989"/>
                <a:ext cx="1056" cy="1440"/>
              </a:xfrm>
              <a:custGeom>
                <a:avLst/>
                <a:gdLst>
                  <a:gd name="connsiteX0" fmla="*/ 4611 w 10126"/>
                  <a:gd name="connsiteY0" fmla="*/ 10620 h 13803"/>
                  <a:gd name="connsiteX1" fmla="*/ 0 w 10126"/>
                  <a:gd name="connsiteY1" fmla="*/ 13804 h 13803"/>
                  <a:gd name="connsiteX2" fmla="*/ 823 w 10126"/>
                  <a:gd name="connsiteY2" fmla="*/ 6916 h 13803"/>
                  <a:gd name="connsiteX3" fmla="*/ 4611 w 10126"/>
                  <a:gd name="connsiteY3" fmla="*/ 6312 h 13803"/>
                  <a:gd name="connsiteX4" fmla="*/ 7218 w 10126"/>
                  <a:gd name="connsiteY4" fmla="*/ 0 h 13803"/>
                  <a:gd name="connsiteX5" fmla="*/ 10127 w 10126"/>
                  <a:gd name="connsiteY5" fmla="*/ 3430 h 13803"/>
                  <a:gd name="connsiteX6" fmla="*/ 4611 w 10126"/>
                  <a:gd name="connsiteY6" fmla="*/ 10620 h 1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26" h="13803">
                    <a:moveTo>
                      <a:pt x="4611" y="10620"/>
                    </a:moveTo>
                    <a:lnTo>
                      <a:pt x="0" y="13804"/>
                    </a:lnTo>
                    <a:lnTo>
                      <a:pt x="823" y="6916"/>
                    </a:lnTo>
                    <a:lnTo>
                      <a:pt x="4611" y="6312"/>
                    </a:lnTo>
                    <a:lnTo>
                      <a:pt x="7218" y="0"/>
                    </a:lnTo>
                    <a:lnTo>
                      <a:pt x="10127" y="3430"/>
                    </a:lnTo>
                    <a:lnTo>
                      <a:pt x="4611" y="106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0" name="Freeform: Shape 3729">
                <a:extLst>
                  <a:ext uri="{FF2B5EF4-FFF2-40B4-BE49-F238E27FC236}">
                    <a16:creationId xmlns:a16="http://schemas.microsoft.com/office/drawing/2014/main" id="{01B001E7-5B9B-BACD-141E-0D824DE56AFD}"/>
                  </a:ext>
                </a:extLst>
              </p:cNvPr>
              <p:cNvSpPr/>
              <p:nvPr/>
            </p:nvSpPr>
            <p:spPr>
              <a:xfrm>
                <a:off x="1085438" y="3459190"/>
                <a:ext cx="1746" cy="1474"/>
              </a:xfrm>
              <a:custGeom>
                <a:avLst/>
                <a:gdLst>
                  <a:gd name="connsiteX0" fmla="*/ 13721 w 16740"/>
                  <a:gd name="connsiteY0" fmla="*/ 13914 h 14133"/>
                  <a:gd name="connsiteX1" fmla="*/ 6531 w 16740"/>
                  <a:gd name="connsiteY1" fmla="*/ 14133 h 14133"/>
                  <a:gd name="connsiteX2" fmla="*/ 1262 w 16740"/>
                  <a:gd name="connsiteY2" fmla="*/ 9852 h 14133"/>
                  <a:gd name="connsiteX3" fmla="*/ 0 w 16740"/>
                  <a:gd name="connsiteY3" fmla="*/ 5406 h 14133"/>
                  <a:gd name="connsiteX4" fmla="*/ 3211 w 16740"/>
                  <a:gd name="connsiteY4" fmla="*/ 247 h 14133"/>
                  <a:gd name="connsiteX5" fmla="*/ 10374 w 16740"/>
                  <a:gd name="connsiteY5" fmla="*/ 0 h 14133"/>
                  <a:gd name="connsiteX6" fmla="*/ 13694 w 16740"/>
                  <a:gd name="connsiteY6" fmla="*/ 2854 h 14133"/>
                  <a:gd name="connsiteX7" fmla="*/ 16274 w 16740"/>
                  <a:gd name="connsiteY7" fmla="*/ 5269 h 14133"/>
                  <a:gd name="connsiteX8" fmla="*/ 16740 w 16740"/>
                  <a:gd name="connsiteY8" fmla="*/ 9111 h 14133"/>
                  <a:gd name="connsiteX9" fmla="*/ 13694 w 16740"/>
                  <a:gd name="connsiteY9" fmla="*/ 13941 h 1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40" h="14133">
                    <a:moveTo>
                      <a:pt x="13721" y="13914"/>
                    </a:moveTo>
                    <a:lnTo>
                      <a:pt x="6531" y="14133"/>
                    </a:lnTo>
                    <a:lnTo>
                      <a:pt x="1262" y="9852"/>
                    </a:lnTo>
                    <a:lnTo>
                      <a:pt x="0" y="5406"/>
                    </a:lnTo>
                    <a:lnTo>
                      <a:pt x="3211" y="247"/>
                    </a:lnTo>
                    <a:lnTo>
                      <a:pt x="10374" y="0"/>
                    </a:lnTo>
                    <a:lnTo>
                      <a:pt x="13694" y="2854"/>
                    </a:lnTo>
                    <a:lnTo>
                      <a:pt x="16274" y="5269"/>
                    </a:lnTo>
                    <a:lnTo>
                      <a:pt x="16740" y="9111"/>
                    </a:lnTo>
                    <a:lnTo>
                      <a:pt x="13694" y="139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1" name="Freeform: Shape 3730">
                <a:extLst>
                  <a:ext uri="{FF2B5EF4-FFF2-40B4-BE49-F238E27FC236}">
                    <a16:creationId xmlns:a16="http://schemas.microsoft.com/office/drawing/2014/main" id="{944523D5-A139-C264-D657-2645E70DD2F1}"/>
                  </a:ext>
                </a:extLst>
              </p:cNvPr>
              <p:cNvSpPr/>
              <p:nvPr/>
            </p:nvSpPr>
            <p:spPr>
              <a:xfrm>
                <a:off x="1109911" y="3569630"/>
                <a:ext cx="1119" cy="1202"/>
              </a:xfrm>
              <a:custGeom>
                <a:avLst/>
                <a:gdLst>
                  <a:gd name="connsiteX0" fmla="*/ 0 w 10730"/>
                  <a:gd name="connsiteY0" fmla="*/ 5681 h 11526"/>
                  <a:gd name="connsiteX1" fmla="*/ 1372 w 10730"/>
                  <a:gd name="connsiteY1" fmla="*/ 0 h 11526"/>
                  <a:gd name="connsiteX2" fmla="*/ 3266 w 10730"/>
                  <a:gd name="connsiteY2" fmla="*/ 329 h 11526"/>
                  <a:gd name="connsiteX3" fmla="*/ 3924 w 10730"/>
                  <a:gd name="connsiteY3" fmla="*/ 4583 h 11526"/>
                  <a:gd name="connsiteX4" fmla="*/ 6614 w 10730"/>
                  <a:gd name="connsiteY4" fmla="*/ 4528 h 11526"/>
                  <a:gd name="connsiteX5" fmla="*/ 7410 w 10730"/>
                  <a:gd name="connsiteY5" fmla="*/ 7053 h 11526"/>
                  <a:gd name="connsiteX6" fmla="*/ 10181 w 10730"/>
                  <a:gd name="connsiteY6" fmla="*/ 5735 h 11526"/>
                  <a:gd name="connsiteX7" fmla="*/ 10730 w 10730"/>
                  <a:gd name="connsiteY7" fmla="*/ 8452 h 11526"/>
                  <a:gd name="connsiteX8" fmla="*/ 8562 w 10730"/>
                  <a:gd name="connsiteY8" fmla="*/ 11526 h 11526"/>
                  <a:gd name="connsiteX9" fmla="*/ 0 w 10730"/>
                  <a:gd name="connsiteY9" fmla="*/ 5708 h 1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30" h="11526">
                    <a:moveTo>
                      <a:pt x="0" y="5681"/>
                    </a:moveTo>
                    <a:lnTo>
                      <a:pt x="1372" y="0"/>
                    </a:lnTo>
                    <a:lnTo>
                      <a:pt x="3266" y="329"/>
                    </a:lnTo>
                    <a:lnTo>
                      <a:pt x="3924" y="4583"/>
                    </a:lnTo>
                    <a:lnTo>
                      <a:pt x="6614" y="4528"/>
                    </a:lnTo>
                    <a:lnTo>
                      <a:pt x="7410" y="7053"/>
                    </a:lnTo>
                    <a:lnTo>
                      <a:pt x="10181" y="5735"/>
                    </a:lnTo>
                    <a:lnTo>
                      <a:pt x="10730" y="8452"/>
                    </a:lnTo>
                    <a:lnTo>
                      <a:pt x="8562" y="11526"/>
                    </a:lnTo>
                    <a:lnTo>
                      <a:pt x="0" y="57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2" name="Freeform: Shape 3731">
                <a:extLst>
                  <a:ext uri="{FF2B5EF4-FFF2-40B4-BE49-F238E27FC236}">
                    <a16:creationId xmlns:a16="http://schemas.microsoft.com/office/drawing/2014/main" id="{ADDF842C-A255-4A51-51C9-517E37AE2398}"/>
                  </a:ext>
                </a:extLst>
              </p:cNvPr>
              <p:cNvSpPr/>
              <p:nvPr/>
            </p:nvSpPr>
            <p:spPr>
              <a:xfrm>
                <a:off x="1120012" y="3630832"/>
                <a:ext cx="770" cy="1251"/>
              </a:xfrm>
              <a:custGeom>
                <a:avLst/>
                <a:gdLst>
                  <a:gd name="connsiteX0" fmla="*/ 4638 w 7382"/>
                  <a:gd name="connsiteY0" fmla="*/ 8508 h 11992"/>
                  <a:gd name="connsiteX1" fmla="*/ 1976 w 7382"/>
                  <a:gd name="connsiteY1" fmla="*/ 11993 h 11992"/>
                  <a:gd name="connsiteX2" fmla="*/ 0 w 7382"/>
                  <a:gd name="connsiteY2" fmla="*/ 9934 h 11992"/>
                  <a:gd name="connsiteX3" fmla="*/ 1482 w 7382"/>
                  <a:gd name="connsiteY3" fmla="*/ 3979 h 11992"/>
                  <a:gd name="connsiteX4" fmla="*/ 3211 w 7382"/>
                  <a:gd name="connsiteY4" fmla="*/ 659 h 11992"/>
                  <a:gd name="connsiteX5" fmla="*/ 5242 w 7382"/>
                  <a:gd name="connsiteY5" fmla="*/ 0 h 11992"/>
                  <a:gd name="connsiteX6" fmla="*/ 6504 w 7382"/>
                  <a:gd name="connsiteY6" fmla="*/ 2580 h 11992"/>
                  <a:gd name="connsiteX7" fmla="*/ 7382 w 7382"/>
                  <a:gd name="connsiteY7" fmla="*/ 8205 h 11992"/>
                  <a:gd name="connsiteX8" fmla="*/ 4638 w 7382"/>
                  <a:gd name="connsiteY8" fmla="*/ 8535 h 1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82" h="11992">
                    <a:moveTo>
                      <a:pt x="4638" y="8508"/>
                    </a:moveTo>
                    <a:lnTo>
                      <a:pt x="1976" y="11993"/>
                    </a:lnTo>
                    <a:lnTo>
                      <a:pt x="0" y="9934"/>
                    </a:lnTo>
                    <a:lnTo>
                      <a:pt x="1482" y="3979"/>
                    </a:lnTo>
                    <a:lnTo>
                      <a:pt x="3211" y="659"/>
                    </a:lnTo>
                    <a:lnTo>
                      <a:pt x="5242" y="0"/>
                    </a:lnTo>
                    <a:lnTo>
                      <a:pt x="6504" y="2580"/>
                    </a:lnTo>
                    <a:lnTo>
                      <a:pt x="7382" y="8205"/>
                    </a:lnTo>
                    <a:lnTo>
                      <a:pt x="4638" y="85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3" name="Freeform: Shape 3732">
                <a:extLst>
                  <a:ext uri="{FF2B5EF4-FFF2-40B4-BE49-F238E27FC236}">
                    <a16:creationId xmlns:a16="http://schemas.microsoft.com/office/drawing/2014/main" id="{05FDABAB-E6C2-6DC8-7999-239F2275E646}"/>
                  </a:ext>
                </a:extLst>
              </p:cNvPr>
              <p:cNvSpPr/>
              <p:nvPr/>
            </p:nvSpPr>
            <p:spPr>
              <a:xfrm>
                <a:off x="986845" y="3671927"/>
                <a:ext cx="887" cy="902"/>
              </a:xfrm>
              <a:custGeom>
                <a:avLst/>
                <a:gdLst>
                  <a:gd name="connsiteX0" fmla="*/ 0 w 8507"/>
                  <a:gd name="connsiteY0" fmla="*/ 1838 h 8644"/>
                  <a:gd name="connsiteX1" fmla="*/ 0 w 8507"/>
                  <a:gd name="connsiteY1" fmla="*/ 0 h 8644"/>
                  <a:gd name="connsiteX2" fmla="*/ 4144 w 8507"/>
                  <a:gd name="connsiteY2" fmla="*/ 2909 h 8644"/>
                  <a:gd name="connsiteX3" fmla="*/ 4199 w 8507"/>
                  <a:gd name="connsiteY3" fmla="*/ 5818 h 8644"/>
                  <a:gd name="connsiteX4" fmla="*/ 6037 w 8507"/>
                  <a:gd name="connsiteY4" fmla="*/ 4116 h 8644"/>
                  <a:gd name="connsiteX5" fmla="*/ 8507 w 8507"/>
                  <a:gd name="connsiteY5" fmla="*/ 5351 h 8644"/>
                  <a:gd name="connsiteX6" fmla="*/ 8343 w 8507"/>
                  <a:gd name="connsiteY6" fmla="*/ 6806 h 8644"/>
                  <a:gd name="connsiteX7" fmla="*/ 5461 w 8507"/>
                  <a:gd name="connsiteY7" fmla="*/ 8645 h 8644"/>
                  <a:gd name="connsiteX8" fmla="*/ 4528 w 8507"/>
                  <a:gd name="connsiteY8" fmla="*/ 6998 h 8644"/>
                  <a:gd name="connsiteX9" fmla="*/ 659 w 8507"/>
                  <a:gd name="connsiteY9" fmla="*/ 3869 h 8644"/>
                  <a:gd name="connsiteX10" fmla="*/ 27 w 8507"/>
                  <a:gd name="connsiteY10" fmla="*/ 1838 h 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7" h="8644">
                    <a:moveTo>
                      <a:pt x="0" y="1838"/>
                    </a:moveTo>
                    <a:lnTo>
                      <a:pt x="0" y="0"/>
                    </a:lnTo>
                    <a:lnTo>
                      <a:pt x="4144" y="2909"/>
                    </a:lnTo>
                    <a:lnTo>
                      <a:pt x="4199" y="5818"/>
                    </a:lnTo>
                    <a:lnTo>
                      <a:pt x="6037" y="4116"/>
                    </a:lnTo>
                    <a:lnTo>
                      <a:pt x="8507" y="5351"/>
                    </a:lnTo>
                    <a:lnTo>
                      <a:pt x="8343" y="6806"/>
                    </a:lnTo>
                    <a:lnTo>
                      <a:pt x="5461" y="8645"/>
                    </a:lnTo>
                    <a:lnTo>
                      <a:pt x="4528" y="6998"/>
                    </a:lnTo>
                    <a:lnTo>
                      <a:pt x="659" y="3869"/>
                    </a:lnTo>
                    <a:lnTo>
                      <a:pt x="27"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4" name="Freeform: Shape 3733">
                <a:extLst>
                  <a:ext uri="{FF2B5EF4-FFF2-40B4-BE49-F238E27FC236}">
                    <a16:creationId xmlns:a16="http://schemas.microsoft.com/office/drawing/2014/main" id="{183868F6-FE09-E1D5-CA02-555EC36DB122}"/>
                  </a:ext>
                </a:extLst>
              </p:cNvPr>
              <p:cNvSpPr/>
              <p:nvPr/>
            </p:nvSpPr>
            <p:spPr>
              <a:xfrm>
                <a:off x="1121046" y="3656731"/>
                <a:ext cx="1068" cy="776"/>
              </a:xfrm>
              <a:custGeom>
                <a:avLst/>
                <a:gdLst>
                  <a:gd name="connsiteX0" fmla="*/ 8645 w 10236"/>
                  <a:gd name="connsiteY0" fmla="*/ 5955 h 7437"/>
                  <a:gd name="connsiteX1" fmla="*/ 714 w 10236"/>
                  <a:gd name="connsiteY1" fmla="*/ 7437 h 7437"/>
                  <a:gd name="connsiteX2" fmla="*/ 0 w 10236"/>
                  <a:gd name="connsiteY2" fmla="*/ 5159 h 7437"/>
                  <a:gd name="connsiteX3" fmla="*/ 714 w 10236"/>
                  <a:gd name="connsiteY3" fmla="*/ 2744 h 7437"/>
                  <a:gd name="connsiteX4" fmla="*/ 10236 w 10236"/>
                  <a:gd name="connsiteY4" fmla="*/ 0 h 7437"/>
                  <a:gd name="connsiteX5" fmla="*/ 8617 w 10236"/>
                  <a:gd name="connsiteY5" fmla="*/ 5955 h 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36" h="7437">
                    <a:moveTo>
                      <a:pt x="8645" y="5955"/>
                    </a:moveTo>
                    <a:lnTo>
                      <a:pt x="714" y="7437"/>
                    </a:lnTo>
                    <a:lnTo>
                      <a:pt x="0" y="5159"/>
                    </a:lnTo>
                    <a:lnTo>
                      <a:pt x="714" y="2744"/>
                    </a:lnTo>
                    <a:lnTo>
                      <a:pt x="10236" y="0"/>
                    </a:lnTo>
                    <a:lnTo>
                      <a:pt x="8617" y="59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5" name="Freeform: Shape 3734">
                <a:extLst>
                  <a:ext uri="{FF2B5EF4-FFF2-40B4-BE49-F238E27FC236}">
                    <a16:creationId xmlns:a16="http://schemas.microsoft.com/office/drawing/2014/main" id="{F705AAD8-110C-83AB-1C3D-DED41156EBB4}"/>
                  </a:ext>
                </a:extLst>
              </p:cNvPr>
              <p:cNvSpPr/>
              <p:nvPr/>
            </p:nvSpPr>
            <p:spPr>
              <a:xfrm>
                <a:off x="1173687" y="3574330"/>
                <a:ext cx="1010" cy="1225"/>
              </a:xfrm>
              <a:custGeom>
                <a:avLst/>
                <a:gdLst>
                  <a:gd name="connsiteX0" fmla="*/ 0 w 9687"/>
                  <a:gd name="connsiteY0" fmla="*/ 10950 h 11745"/>
                  <a:gd name="connsiteX1" fmla="*/ 1701 w 9687"/>
                  <a:gd name="connsiteY1" fmla="*/ 55 h 11745"/>
                  <a:gd name="connsiteX2" fmla="*/ 6806 w 9687"/>
                  <a:gd name="connsiteY2" fmla="*/ 0 h 11745"/>
                  <a:gd name="connsiteX3" fmla="*/ 9303 w 9687"/>
                  <a:gd name="connsiteY3" fmla="*/ 1949 h 11745"/>
                  <a:gd name="connsiteX4" fmla="*/ 9687 w 9687"/>
                  <a:gd name="connsiteY4" fmla="*/ 4555 h 11745"/>
                  <a:gd name="connsiteX5" fmla="*/ 7958 w 9687"/>
                  <a:gd name="connsiteY5" fmla="*/ 8151 h 11745"/>
                  <a:gd name="connsiteX6" fmla="*/ 2305 w 9687"/>
                  <a:gd name="connsiteY6" fmla="*/ 5955 h 11745"/>
                  <a:gd name="connsiteX7" fmla="*/ 1756 w 9687"/>
                  <a:gd name="connsiteY7" fmla="*/ 11746 h 11745"/>
                  <a:gd name="connsiteX8" fmla="*/ 0 w 9687"/>
                  <a:gd name="connsiteY8" fmla="*/ 10950 h 1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87" h="11745">
                    <a:moveTo>
                      <a:pt x="0" y="10950"/>
                    </a:moveTo>
                    <a:lnTo>
                      <a:pt x="1701" y="55"/>
                    </a:lnTo>
                    <a:lnTo>
                      <a:pt x="6806" y="0"/>
                    </a:lnTo>
                    <a:lnTo>
                      <a:pt x="9303" y="1949"/>
                    </a:lnTo>
                    <a:lnTo>
                      <a:pt x="9687" y="4555"/>
                    </a:lnTo>
                    <a:lnTo>
                      <a:pt x="7958" y="8151"/>
                    </a:lnTo>
                    <a:lnTo>
                      <a:pt x="2305" y="5955"/>
                    </a:lnTo>
                    <a:lnTo>
                      <a:pt x="1756" y="11746"/>
                    </a:lnTo>
                    <a:lnTo>
                      <a:pt x="0" y="109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6" name="Freeform: Shape 3735">
                <a:extLst>
                  <a:ext uri="{FF2B5EF4-FFF2-40B4-BE49-F238E27FC236}">
                    <a16:creationId xmlns:a16="http://schemas.microsoft.com/office/drawing/2014/main" id="{9B0FA1C2-08A7-5C41-A41E-155EA64C73FC}"/>
                  </a:ext>
                </a:extLst>
              </p:cNvPr>
              <p:cNvSpPr/>
              <p:nvPr/>
            </p:nvSpPr>
            <p:spPr>
              <a:xfrm>
                <a:off x="1121180" y="3633288"/>
                <a:ext cx="590" cy="1365"/>
              </a:xfrm>
              <a:custGeom>
                <a:avLst/>
                <a:gdLst>
                  <a:gd name="connsiteX0" fmla="*/ 2744 w 5653"/>
                  <a:gd name="connsiteY0" fmla="*/ 9221 h 13090"/>
                  <a:gd name="connsiteX1" fmla="*/ 960 w 5653"/>
                  <a:gd name="connsiteY1" fmla="*/ 13090 h 13090"/>
                  <a:gd name="connsiteX2" fmla="*/ 0 w 5653"/>
                  <a:gd name="connsiteY2" fmla="*/ 11938 h 13090"/>
                  <a:gd name="connsiteX3" fmla="*/ 1701 w 5653"/>
                  <a:gd name="connsiteY3" fmla="*/ 5434 h 13090"/>
                  <a:gd name="connsiteX4" fmla="*/ 3375 w 5653"/>
                  <a:gd name="connsiteY4" fmla="*/ 1893 h 13090"/>
                  <a:gd name="connsiteX5" fmla="*/ 5653 w 5653"/>
                  <a:gd name="connsiteY5" fmla="*/ 0 h 13090"/>
                  <a:gd name="connsiteX6" fmla="*/ 5653 w 5653"/>
                  <a:gd name="connsiteY6" fmla="*/ 5379 h 13090"/>
                  <a:gd name="connsiteX7" fmla="*/ 3183 w 5653"/>
                  <a:gd name="connsiteY7" fmla="*/ 5845 h 13090"/>
                  <a:gd name="connsiteX8" fmla="*/ 2744 w 5653"/>
                  <a:gd name="connsiteY8" fmla="*/ 9248 h 1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53" h="13090">
                    <a:moveTo>
                      <a:pt x="2744" y="9221"/>
                    </a:moveTo>
                    <a:lnTo>
                      <a:pt x="960" y="13090"/>
                    </a:lnTo>
                    <a:lnTo>
                      <a:pt x="0" y="11938"/>
                    </a:lnTo>
                    <a:lnTo>
                      <a:pt x="1701" y="5434"/>
                    </a:lnTo>
                    <a:lnTo>
                      <a:pt x="3375" y="1893"/>
                    </a:lnTo>
                    <a:lnTo>
                      <a:pt x="5653" y="0"/>
                    </a:lnTo>
                    <a:lnTo>
                      <a:pt x="5653" y="5379"/>
                    </a:lnTo>
                    <a:cubicBezTo>
                      <a:pt x="5653" y="5379"/>
                      <a:pt x="3183" y="5845"/>
                      <a:pt x="3183" y="5845"/>
                    </a:cubicBezTo>
                    <a:lnTo>
                      <a:pt x="2744" y="92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7" name="Freeform: Shape 3736">
                <a:extLst>
                  <a:ext uri="{FF2B5EF4-FFF2-40B4-BE49-F238E27FC236}">
                    <a16:creationId xmlns:a16="http://schemas.microsoft.com/office/drawing/2014/main" id="{B5B96D96-9181-27BB-D89B-90ABA89A2D75}"/>
                  </a:ext>
                </a:extLst>
              </p:cNvPr>
              <p:cNvSpPr/>
              <p:nvPr/>
            </p:nvSpPr>
            <p:spPr>
              <a:xfrm>
                <a:off x="1075137" y="3444168"/>
                <a:ext cx="1022" cy="2041"/>
              </a:xfrm>
              <a:custGeom>
                <a:avLst/>
                <a:gdLst>
                  <a:gd name="connsiteX0" fmla="*/ 0 w 9797"/>
                  <a:gd name="connsiteY0" fmla="*/ 5873 h 19566"/>
                  <a:gd name="connsiteX1" fmla="*/ 2552 w 9797"/>
                  <a:gd name="connsiteY1" fmla="*/ 0 h 19566"/>
                  <a:gd name="connsiteX2" fmla="*/ 9797 w 9797"/>
                  <a:gd name="connsiteY2" fmla="*/ 12102 h 19566"/>
                  <a:gd name="connsiteX3" fmla="*/ 8370 w 9797"/>
                  <a:gd name="connsiteY3" fmla="*/ 19567 h 19566"/>
                  <a:gd name="connsiteX4" fmla="*/ 2827 w 9797"/>
                  <a:gd name="connsiteY4" fmla="*/ 15725 h 19566"/>
                  <a:gd name="connsiteX5" fmla="*/ 0 w 9797"/>
                  <a:gd name="connsiteY5" fmla="*/ 5873 h 1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97" h="19566">
                    <a:moveTo>
                      <a:pt x="0" y="5873"/>
                    </a:moveTo>
                    <a:lnTo>
                      <a:pt x="2552" y="0"/>
                    </a:lnTo>
                    <a:lnTo>
                      <a:pt x="9797" y="12102"/>
                    </a:lnTo>
                    <a:lnTo>
                      <a:pt x="8370" y="19567"/>
                    </a:lnTo>
                    <a:lnTo>
                      <a:pt x="2827" y="15725"/>
                    </a:lnTo>
                    <a:lnTo>
                      <a:pt x="0" y="58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8" name="Freeform: Shape 3737">
                <a:extLst>
                  <a:ext uri="{FF2B5EF4-FFF2-40B4-BE49-F238E27FC236}">
                    <a16:creationId xmlns:a16="http://schemas.microsoft.com/office/drawing/2014/main" id="{2B886BD3-3091-9B4C-F54E-CB2518CDA748}"/>
                  </a:ext>
                </a:extLst>
              </p:cNvPr>
              <p:cNvSpPr/>
              <p:nvPr/>
            </p:nvSpPr>
            <p:spPr>
              <a:xfrm>
                <a:off x="1126207" y="3586578"/>
                <a:ext cx="1279" cy="721"/>
              </a:xfrm>
              <a:custGeom>
                <a:avLst/>
                <a:gdLst>
                  <a:gd name="connsiteX0" fmla="*/ 8562 w 12266"/>
                  <a:gd name="connsiteY0" fmla="*/ 6916 h 6915"/>
                  <a:gd name="connsiteX1" fmla="*/ 6120 w 12266"/>
                  <a:gd name="connsiteY1" fmla="*/ 6916 h 6915"/>
                  <a:gd name="connsiteX2" fmla="*/ 1125 w 12266"/>
                  <a:gd name="connsiteY2" fmla="*/ 5187 h 6915"/>
                  <a:gd name="connsiteX3" fmla="*/ 0 w 12266"/>
                  <a:gd name="connsiteY3" fmla="*/ 1043 h 6915"/>
                  <a:gd name="connsiteX4" fmla="*/ 12267 w 12266"/>
                  <a:gd name="connsiteY4" fmla="*/ 0 h 6915"/>
                  <a:gd name="connsiteX5" fmla="*/ 10648 w 12266"/>
                  <a:gd name="connsiteY5" fmla="*/ 5818 h 6915"/>
                  <a:gd name="connsiteX6" fmla="*/ 8562 w 12266"/>
                  <a:gd name="connsiteY6" fmla="*/ 6888 h 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6" h="6915">
                    <a:moveTo>
                      <a:pt x="8562" y="6916"/>
                    </a:moveTo>
                    <a:lnTo>
                      <a:pt x="6120" y="6916"/>
                    </a:lnTo>
                    <a:lnTo>
                      <a:pt x="1125" y="5187"/>
                    </a:lnTo>
                    <a:lnTo>
                      <a:pt x="0" y="1043"/>
                    </a:lnTo>
                    <a:lnTo>
                      <a:pt x="12267" y="0"/>
                    </a:lnTo>
                    <a:lnTo>
                      <a:pt x="10648" y="5818"/>
                    </a:lnTo>
                    <a:lnTo>
                      <a:pt x="8562" y="68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39" name="Freeform: Shape 3738">
                <a:extLst>
                  <a:ext uri="{FF2B5EF4-FFF2-40B4-BE49-F238E27FC236}">
                    <a16:creationId xmlns:a16="http://schemas.microsoft.com/office/drawing/2014/main" id="{0E39E10F-59D1-301E-BBAF-9452BD98331C}"/>
                  </a:ext>
                </a:extLst>
              </p:cNvPr>
              <p:cNvSpPr/>
              <p:nvPr/>
            </p:nvSpPr>
            <p:spPr>
              <a:xfrm>
                <a:off x="963577" y="3643524"/>
                <a:ext cx="721" cy="925"/>
              </a:xfrm>
              <a:custGeom>
                <a:avLst/>
                <a:gdLst>
                  <a:gd name="connsiteX0" fmla="*/ 0 w 6915"/>
                  <a:gd name="connsiteY0" fmla="*/ 7656 h 8864"/>
                  <a:gd name="connsiteX1" fmla="*/ 1372 w 6915"/>
                  <a:gd name="connsiteY1" fmla="*/ 0 h 8864"/>
                  <a:gd name="connsiteX2" fmla="*/ 2689 w 6915"/>
                  <a:gd name="connsiteY2" fmla="*/ 2140 h 8864"/>
                  <a:gd name="connsiteX3" fmla="*/ 6367 w 6915"/>
                  <a:gd name="connsiteY3" fmla="*/ 329 h 8864"/>
                  <a:gd name="connsiteX4" fmla="*/ 6916 w 6915"/>
                  <a:gd name="connsiteY4" fmla="*/ 3211 h 8864"/>
                  <a:gd name="connsiteX5" fmla="*/ 3705 w 6915"/>
                  <a:gd name="connsiteY5" fmla="*/ 8864 h 8864"/>
                  <a:gd name="connsiteX6" fmla="*/ 2717 w 6915"/>
                  <a:gd name="connsiteY6" fmla="*/ 6915 h 8864"/>
                  <a:gd name="connsiteX7" fmla="*/ 0 w 6915"/>
                  <a:gd name="connsiteY7" fmla="*/ 7656 h 8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15" h="8864">
                    <a:moveTo>
                      <a:pt x="0" y="7656"/>
                    </a:moveTo>
                    <a:lnTo>
                      <a:pt x="1372" y="0"/>
                    </a:lnTo>
                    <a:lnTo>
                      <a:pt x="2689" y="2140"/>
                    </a:lnTo>
                    <a:lnTo>
                      <a:pt x="6367" y="329"/>
                    </a:lnTo>
                    <a:lnTo>
                      <a:pt x="6916" y="3211"/>
                    </a:lnTo>
                    <a:lnTo>
                      <a:pt x="3705" y="8864"/>
                    </a:lnTo>
                    <a:lnTo>
                      <a:pt x="2717" y="6915"/>
                    </a:lnTo>
                    <a:lnTo>
                      <a:pt x="0" y="76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0" name="Freeform: Shape 3739">
                <a:extLst>
                  <a:ext uri="{FF2B5EF4-FFF2-40B4-BE49-F238E27FC236}">
                    <a16:creationId xmlns:a16="http://schemas.microsoft.com/office/drawing/2014/main" id="{C3CB0528-A0A7-54AA-7629-7FF7C7B98B82}"/>
                  </a:ext>
                </a:extLst>
              </p:cNvPr>
              <p:cNvSpPr/>
              <p:nvPr/>
            </p:nvSpPr>
            <p:spPr>
              <a:xfrm>
                <a:off x="1159424" y="3552702"/>
                <a:ext cx="896" cy="1148"/>
              </a:xfrm>
              <a:custGeom>
                <a:avLst/>
                <a:gdLst>
                  <a:gd name="connsiteX0" fmla="*/ 0 w 8589"/>
                  <a:gd name="connsiteY0" fmla="*/ 4528 h 11004"/>
                  <a:gd name="connsiteX1" fmla="*/ 1317 w 8589"/>
                  <a:gd name="connsiteY1" fmla="*/ 0 h 11004"/>
                  <a:gd name="connsiteX2" fmla="*/ 8590 w 8589"/>
                  <a:gd name="connsiteY2" fmla="*/ 247 h 11004"/>
                  <a:gd name="connsiteX3" fmla="*/ 8590 w 8589"/>
                  <a:gd name="connsiteY3" fmla="*/ 11005 h 11004"/>
                  <a:gd name="connsiteX4" fmla="*/ 0 w 8589"/>
                  <a:gd name="connsiteY4" fmla="*/ 4528 h 1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9" h="11004">
                    <a:moveTo>
                      <a:pt x="0" y="4528"/>
                    </a:moveTo>
                    <a:lnTo>
                      <a:pt x="1317" y="0"/>
                    </a:lnTo>
                    <a:lnTo>
                      <a:pt x="8590" y="247"/>
                    </a:lnTo>
                    <a:lnTo>
                      <a:pt x="8590" y="11005"/>
                    </a:lnTo>
                    <a:lnTo>
                      <a:pt x="0" y="45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1" name="Freeform: Shape 3740">
                <a:extLst>
                  <a:ext uri="{FF2B5EF4-FFF2-40B4-BE49-F238E27FC236}">
                    <a16:creationId xmlns:a16="http://schemas.microsoft.com/office/drawing/2014/main" id="{6E52773A-B87A-E370-D071-40E590A5D80A}"/>
                  </a:ext>
                </a:extLst>
              </p:cNvPr>
              <p:cNvSpPr/>
              <p:nvPr/>
            </p:nvSpPr>
            <p:spPr>
              <a:xfrm>
                <a:off x="1166505" y="3608643"/>
                <a:ext cx="844" cy="907"/>
              </a:xfrm>
              <a:custGeom>
                <a:avLst/>
                <a:gdLst>
                  <a:gd name="connsiteX0" fmla="*/ 0 w 8095"/>
                  <a:gd name="connsiteY0" fmla="*/ 5022 h 8699"/>
                  <a:gd name="connsiteX1" fmla="*/ 1647 w 8095"/>
                  <a:gd name="connsiteY1" fmla="*/ 631 h 8699"/>
                  <a:gd name="connsiteX2" fmla="*/ 4226 w 8095"/>
                  <a:gd name="connsiteY2" fmla="*/ 0 h 8699"/>
                  <a:gd name="connsiteX3" fmla="*/ 8096 w 8095"/>
                  <a:gd name="connsiteY3" fmla="*/ 3156 h 8699"/>
                  <a:gd name="connsiteX4" fmla="*/ 6367 w 8095"/>
                  <a:gd name="connsiteY4" fmla="*/ 6669 h 8699"/>
                  <a:gd name="connsiteX5" fmla="*/ 4171 w 8095"/>
                  <a:gd name="connsiteY5" fmla="*/ 5269 h 8699"/>
                  <a:gd name="connsiteX6" fmla="*/ 3924 w 8095"/>
                  <a:gd name="connsiteY6" fmla="*/ 8343 h 8699"/>
                  <a:gd name="connsiteX7" fmla="*/ 1235 w 8095"/>
                  <a:gd name="connsiteY7" fmla="*/ 8699 h 8699"/>
                  <a:gd name="connsiteX8" fmla="*/ 0 w 8095"/>
                  <a:gd name="connsiteY8" fmla="*/ 4995 h 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5" h="8699">
                    <a:moveTo>
                      <a:pt x="0" y="5022"/>
                    </a:moveTo>
                    <a:lnTo>
                      <a:pt x="1647" y="631"/>
                    </a:lnTo>
                    <a:lnTo>
                      <a:pt x="4226" y="0"/>
                    </a:lnTo>
                    <a:lnTo>
                      <a:pt x="8096" y="3156"/>
                    </a:lnTo>
                    <a:lnTo>
                      <a:pt x="6367" y="6669"/>
                    </a:lnTo>
                    <a:lnTo>
                      <a:pt x="4171" y="5269"/>
                    </a:lnTo>
                    <a:lnTo>
                      <a:pt x="3924" y="8343"/>
                    </a:lnTo>
                    <a:lnTo>
                      <a:pt x="1235" y="8699"/>
                    </a:lnTo>
                    <a:lnTo>
                      <a:pt x="0" y="49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2" name="Freeform: Shape 3741">
                <a:extLst>
                  <a:ext uri="{FF2B5EF4-FFF2-40B4-BE49-F238E27FC236}">
                    <a16:creationId xmlns:a16="http://schemas.microsoft.com/office/drawing/2014/main" id="{A49C408E-8F58-F6ED-1EE2-43D15694DC96}"/>
                  </a:ext>
                </a:extLst>
              </p:cNvPr>
              <p:cNvSpPr/>
              <p:nvPr/>
            </p:nvSpPr>
            <p:spPr>
              <a:xfrm>
                <a:off x="1156879" y="3548566"/>
                <a:ext cx="821" cy="1194"/>
              </a:xfrm>
              <a:custGeom>
                <a:avLst/>
                <a:gdLst>
                  <a:gd name="connsiteX0" fmla="*/ 27 w 7876"/>
                  <a:gd name="connsiteY0" fmla="*/ 1701 h 11443"/>
                  <a:gd name="connsiteX1" fmla="*/ 2004 w 7876"/>
                  <a:gd name="connsiteY1" fmla="*/ 0 h 11443"/>
                  <a:gd name="connsiteX2" fmla="*/ 4007 w 7876"/>
                  <a:gd name="connsiteY2" fmla="*/ 4171 h 11443"/>
                  <a:gd name="connsiteX3" fmla="*/ 6504 w 7876"/>
                  <a:gd name="connsiteY3" fmla="*/ 878 h 11443"/>
                  <a:gd name="connsiteX4" fmla="*/ 7876 w 7876"/>
                  <a:gd name="connsiteY4" fmla="*/ 4116 h 11443"/>
                  <a:gd name="connsiteX5" fmla="*/ 5407 w 7876"/>
                  <a:gd name="connsiteY5" fmla="*/ 11444 h 11443"/>
                  <a:gd name="connsiteX6" fmla="*/ 4226 w 7876"/>
                  <a:gd name="connsiteY6" fmla="*/ 6065 h 11443"/>
                  <a:gd name="connsiteX7" fmla="*/ 1619 w 7876"/>
                  <a:gd name="connsiteY7" fmla="*/ 7821 h 11443"/>
                  <a:gd name="connsiteX8" fmla="*/ 0 w 7876"/>
                  <a:gd name="connsiteY8" fmla="*/ 1701 h 1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76" h="11443">
                    <a:moveTo>
                      <a:pt x="27" y="1701"/>
                    </a:moveTo>
                    <a:lnTo>
                      <a:pt x="2004" y="0"/>
                    </a:lnTo>
                    <a:lnTo>
                      <a:pt x="4007" y="4171"/>
                    </a:lnTo>
                    <a:lnTo>
                      <a:pt x="6504" y="878"/>
                    </a:lnTo>
                    <a:lnTo>
                      <a:pt x="7876" y="4116"/>
                    </a:lnTo>
                    <a:lnTo>
                      <a:pt x="5407" y="11444"/>
                    </a:lnTo>
                    <a:lnTo>
                      <a:pt x="4226" y="6065"/>
                    </a:lnTo>
                    <a:lnTo>
                      <a:pt x="1619" y="7821"/>
                    </a:lnTo>
                    <a:lnTo>
                      <a:pt x="0"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3" name="Freeform: Shape 3742">
                <a:extLst>
                  <a:ext uri="{FF2B5EF4-FFF2-40B4-BE49-F238E27FC236}">
                    <a16:creationId xmlns:a16="http://schemas.microsoft.com/office/drawing/2014/main" id="{053C629F-06B5-7F9F-66D4-BCD35F74BAE7}"/>
                  </a:ext>
                </a:extLst>
              </p:cNvPr>
              <p:cNvSpPr/>
              <p:nvPr/>
            </p:nvSpPr>
            <p:spPr>
              <a:xfrm>
                <a:off x="1034008" y="3503685"/>
                <a:ext cx="1383" cy="896"/>
              </a:xfrm>
              <a:custGeom>
                <a:avLst/>
                <a:gdLst>
                  <a:gd name="connsiteX0" fmla="*/ 0 w 13255"/>
                  <a:gd name="connsiteY0" fmla="*/ 3266 h 8589"/>
                  <a:gd name="connsiteX1" fmla="*/ 439 w 13255"/>
                  <a:gd name="connsiteY1" fmla="*/ 1482 h 8589"/>
                  <a:gd name="connsiteX2" fmla="*/ 5763 w 13255"/>
                  <a:gd name="connsiteY2" fmla="*/ 0 h 8589"/>
                  <a:gd name="connsiteX3" fmla="*/ 12789 w 13255"/>
                  <a:gd name="connsiteY3" fmla="*/ 906 h 8589"/>
                  <a:gd name="connsiteX4" fmla="*/ 13255 w 13255"/>
                  <a:gd name="connsiteY4" fmla="*/ 4638 h 8589"/>
                  <a:gd name="connsiteX5" fmla="*/ 5516 w 13255"/>
                  <a:gd name="connsiteY5" fmla="*/ 8590 h 8589"/>
                  <a:gd name="connsiteX6" fmla="*/ 1400 w 13255"/>
                  <a:gd name="connsiteY6" fmla="*/ 7794 h 8589"/>
                  <a:gd name="connsiteX7" fmla="*/ 0 w 13255"/>
                  <a:gd name="connsiteY7" fmla="*/ 3266 h 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55" h="8589">
                    <a:moveTo>
                      <a:pt x="0" y="3266"/>
                    </a:moveTo>
                    <a:lnTo>
                      <a:pt x="439" y="1482"/>
                    </a:lnTo>
                    <a:lnTo>
                      <a:pt x="5763" y="0"/>
                    </a:lnTo>
                    <a:lnTo>
                      <a:pt x="12789" y="906"/>
                    </a:lnTo>
                    <a:lnTo>
                      <a:pt x="13255" y="4638"/>
                    </a:lnTo>
                    <a:lnTo>
                      <a:pt x="5516" y="8590"/>
                    </a:lnTo>
                    <a:lnTo>
                      <a:pt x="1400" y="7794"/>
                    </a:lnTo>
                    <a:lnTo>
                      <a:pt x="0"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4" name="Freeform: Shape 3743">
                <a:extLst>
                  <a:ext uri="{FF2B5EF4-FFF2-40B4-BE49-F238E27FC236}">
                    <a16:creationId xmlns:a16="http://schemas.microsoft.com/office/drawing/2014/main" id="{CD786E8B-6649-BE2D-BDFF-702539E04453}"/>
                  </a:ext>
                </a:extLst>
              </p:cNvPr>
              <p:cNvSpPr/>
              <p:nvPr/>
            </p:nvSpPr>
            <p:spPr>
              <a:xfrm>
                <a:off x="1124083" y="3607934"/>
                <a:ext cx="1048" cy="653"/>
              </a:xfrm>
              <a:custGeom>
                <a:avLst/>
                <a:gdLst>
                  <a:gd name="connsiteX0" fmla="*/ 10044 w 10044"/>
                  <a:gd name="connsiteY0" fmla="*/ 3183 h 6256"/>
                  <a:gd name="connsiteX1" fmla="*/ 1564 w 10044"/>
                  <a:gd name="connsiteY1" fmla="*/ 6257 h 6256"/>
                  <a:gd name="connsiteX2" fmla="*/ 0 w 10044"/>
                  <a:gd name="connsiteY2" fmla="*/ 4665 h 6256"/>
                  <a:gd name="connsiteX3" fmla="*/ 2388 w 10044"/>
                  <a:gd name="connsiteY3" fmla="*/ 2195 h 6256"/>
                  <a:gd name="connsiteX4" fmla="*/ 10044 w 10044"/>
                  <a:gd name="connsiteY4" fmla="*/ 0 h 6256"/>
                  <a:gd name="connsiteX5" fmla="*/ 10044 w 10044"/>
                  <a:gd name="connsiteY5" fmla="*/ 3156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4" h="6256">
                    <a:moveTo>
                      <a:pt x="10044" y="3183"/>
                    </a:moveTo>
                    <a:lnTo>
                      <a:pt x="1564" y="6257"/>
                    </a:lnTo>
                    <a:lnTo>
                      <a:pt x="0" y="4665"/>
                    </a:lnTo>
                    <a:lnTo>
                      <a:pt x="2388" y="2195"/>
                    </a:lnTo>
                    <a:lnTo>
                      <a:pt x="10044" y="0"/>
                    </a:lnTo>
                    <a:lnTo>
                      <a:pt x="10044"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5" name="Freeform: Shape 3744">
                <a:extLst>
                  <a:ext uri="{FF2B5EF4-FFF2-40B4-BE49-F238E27FC236}">
                    <a16:creationId xmlns:a16="http://schemas.microsoft.com/office/drawing/2014/main" id="{396C6681-A7DF-5601-BB80-04955E97A47A}"/>
                  </a:ext>
                </a:extLst>
              </p:cNvPr>
              <p:cNvSpPr/>
              <p:nvPr/>
            </p:nvSpPr>
            <p:spPr>
              <a:xfrm>
                <a:off x="1067182" y="3467393"/>
                <a:ext cx="489" cy="2825"/>
              </a:xfrm>
              <a:custGeom>
                <a:avLst/>
                <a:gdLst>
                  <a:gd name="connsiteX0" fmla="*/ 2442 w 4692"/>
                  <a:gd name="connsiteY0" fmla="*/ 12267 h 27086"/>
                  <a:gd name="connsiteX1" fmla="*/ 4693 w 4692"/>
                  <a:gd name="connsiteY1" fmla="*/ 22668 h 27086"/>
                  <a:gd name="connsiteX2" fmla="*/ 2223 w 4692"/>
                  <a:gd name="connsiteY2" fmla="*/ 27086 h 27086"/>
                  <a:gd name="connsiteX3" fmla="*/ 0 w 4692"/>
                  <a:gd name="connsiteY3" fmla="*/ 12432 h 27086"/>
                  <a:gd name="connsiteX4" fmla="*/ 768 w 4692"/>
                  <a:gd name="connsiteY4" fmla="*/ 3430 h 27086"/>
                  <a:gd name="connsiteX5" fmla="*/ 3485 w 4692"/>
                  <a:gd name="connsiteY5" fmla="*/ 0 h 27086"/>
                  <a:gd name="connsiteX6" fmla="*/ 2442 w 4692"/>
                  <a:gd name="connsiteY6" fmla="*/ 12267 h 2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92" h="27086">
                    <a:moveTo>
                      <a:pt x="2442" y="12267"/>
                    </a:moveTo>
                    <a:lnTo>
                      <a:pt x="4693" y="22668"/>
                    </a:lnTo>
                    <a:lnTo>
                      <a:pt x="2223" y="27086"/>
                    </a:lnTo>
                    <a:lnTo>
                      <a:pt x="0" y="12432"/>
                    </a:lnTo>
                    <a:lnTo>
                      <a:pt x="768" y="3430"/>
                    </a:lnTo>
                    <a:lnTo>
                      <a:pt x="3485" y="0"/>
                    </a:lnTo>
                    <a:lnTo>
                      <a:pt x="2442" y="122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6" name="Freeform: Shape 3745">
                <a:extLst>
                  <a:ext uri="{FF2B5EF4-FFF2-40B4-BE49-F238E27FC236}">
                    <a16:creationId xmlns:a16="http://schemas.microsoft.com/office/drawing/2014/main" id="{86486FE9-4744-AD82-8D79-8D1958A68CFB}"/>
                  </a:ext>
                </a:extLst>
              </p:cNvPr>
              <p:cNvSpPr/>
              <p:nvPr/>
            </p:nvSpPr>
            <p:spPr>
              <a:xfrm>
                <a:off x="1072521" y="3459101"/>
                <a:ext cx="979" cy="1460"/>
              </a:xfrm>
              <a:custGeom>
                <a:avLst/>
                <a:gdLst>
                  <a:gd name="connsiteX0" fmla="*/ 8590 w 9385"/>
                  <a:gd name="connsiteY0" fmla="*/ 12761 h 13995"/>
                  <a:gd name="connsiteX1" fmla="*/ 4748 w 9385"/>
                  <a:gd name="connsiteY1" fmla="*/ 13996 h 13995"/>
                  <a:gd name="connsiteX2" fmla="*/ 0 w 9385"/>
                  <a:gd name="connsiteY2" fmla="*/ 4418 h 13995"/>
                  <a:gd name="connsiteX3" fmla="*/ 1427 w 9385"/>
                  <a:gd name="connsiteY3" fmla="*/ 0 h 13995"/>
                  <a:gd name="connsiteX4" fmla="*/ 9386 w 9385"/>
                  <a:gd name="connsiteY4" fmla="*/ 7355 h 13995"/>
                  <a:gd name="connsiteX5" fmla="*/ 8617 w 9385"/>
                  <a:gd name="connsiteY5" fmla="*/ 12761 h 1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85" h="13995">
                    <a:moveTo>
                      <a:pt x="8590" y="12761"/>
                    </a:moveTo>
                    <a:lnTo>
                      <a:pt x="4748" y="13996"/>
                    </a:lnTo>
                    <a:lnTo>
                      <a:pt x="0" y="4418"/>
                    </a:lnTo>
                    <a:lnTo>
                      <a:pt x="1427" y="0"/>
                    </a:lnTo>
                    <a:lnTo>
                      <a:pt x="9386" y="7355"/>
                    </a:lnTo>
                    <a:lnTo>
                      <a:pt x="8617" y="127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7" name="Freeform: Shape 3746">
                <a:extLst>
                  <a:ext uri="{FF2B5EF4-FFF2-40B4-BE49-F238E27FC236}">
                    <a16:creationId xmlns:a16="http://schemas.microsoft.com/office/drawing/2014/main" id="{BEF1FDBE-F169-464E-5828-C78A88DC8820}"/>
                  </a:ext>
                </a:extLst>
              </p:cNvPr>
              <p:cNvSpPr/>
              <p:nvPr/>
            </p:nvSpPr>
            <p:spPr>
              <a:xfrm>
                <a:off x="1119683" y="3650016"/>
                <a:ext cx="610" cy="864"/>
              </a:xfrm>
              <a:custGeom>
                <a:avLst/>
                <a:gdLst>
                  <a:gd name="connsiteX0" fmla="*/ 4226 w 5845"/>
                  <a:gd name="connsiteY0" fmla="*/ 3650 h 8287"/>
                  <a:gd name="connsiteX1" fmla="*/ 4857 w 5845"/>
                  <a:gd name="connsiteY1" fmla="*/ 6504 h 8287"/>
                  <a:gd name="connsiteX2" fmla="*/ 2525 w 5845"/>
                  <a:gd name="connsiteY2" fmla="*/ 8288 h 8287"/>
                  <a:gd name="connsiteX3" fmla="*/ 302 w 5845"/>
                  <a:gd name="connsiteY3" fmla="*/ 7053 h 8287"/>
                  <a:gd name="connsiteX4" fmla="*/ 0 w 5845"/>
                  <a:gd name="connsiteY4" fmla="*/ 2278 h 8287"/>
                  <a:gd name="connsiteX5" fmla="*/ 2607 w 5845"/>
                  <a:gd name="connsiteY5" fmla="*/ 0 h 8287"/>
                  <a:gd name="connsiteX6" fmla="*/ 5845 w 5845"/>
                  <a:gd name="connsiteY6" fmla="*/ 1729 h 8287"/>
                  <a:gd name="connsiteX7" fmla="*/ 4199 w 5845"/>
                  <a:gd name="connsiteY7" fmla="*/ 3677 h 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5" h="8287">
                    <a:moveTo>
                      <a:pt x="4226" y="3650"/>
                    </a:moveTo>
                    <a:lnTo>
                      <a:pt x="4857" y="6504"/>
                    </a:lnTo>
                    <a:lnTo>
                      <a:pt x="2525" y="8288"/>
                    </a:lnTo>
                    <a:lnTo>
                      <a:pt x="302" y="7053"/>
                    </a:lnTo>
                    <a:lnTo>
                      <a:pt x="0" y="2278"/>
                    </a:lnTo>
                    <a:lnTo>
                      <a:pt x="2607" y="0"/>
                    </a:lnTo>
                    <a:lnTo>
                      <a:pt x="5845" y="1729"/>
                    </a:lnTo>
                    <a:lnTo>
                      <a:pt x="4199" y="36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8" name="Freeform: Shape 3747">
                <a:extLst>
                  <a:ext uri="{FF2B5EF4-FFF2-40B4-BE49-F238E27FC236}">
                    <a16:creationId xmlns:a16="http://schemas.microsoft.com/office/drawing/2014/main" id="{0C94A7F6-A378-1C4D-7B64-DB275690F231}"/>
                  </a:ext>
                </a:extLst>
              </p:cNvPr>
              <p:cNvSpPr/>
              <p:nvPr/>
            </p:nvSpPr>
            <p:spPr>
              <a:xfrm>
                <a:off x="1153496" y="3618204"/>
                <a:ext cx="518" cy="1171"/>
              </a:xfrm>
              <a:custGeom>
                <a:avLst/>
                <a:gdLst>
                  <a:gd name="connsiteX0" fmla="*/ 1537 w 4967"/>
                  <a:gd name="connsiteY0" fmla="*/ 0 h 11224"/>
                  <a:gd name="connsiteX1" fmla="*/ 4967 w 4967"/>
                  <a:gd name="connsiteY1" fmla="*/ 1098 h 11224"/>
                  <a:gd name="connsiteX2" fmla="*/ 4501 w 4967"/>
                  <a:gd name="connsiteY2" fmla="*/ 5406 h 11224"/>
                  <a:gd name="connsiteX3" fmla="*/ 2607 w 4967"/>
                  <a:gd name="connsiteY3" fmla="*/ 5406 h 11224"/>
                  <a:gd name="connsiteX4" fmla="*/ 3650 w 4967"/>
                  <a:gd name="connsiteY4" fmla="*/ 8425 h 11224"/>
                  <a:gd name="connsiteX5" fmla="*/ 2442 w 4967"/>
                  <a:gd name="connsiteY5" fmla="*/ 11224 h 11224"/>
                  <a:gd name="connsiteX6" fmla="*/ 0 w 4967"/>
                  <a:gd name="connsiteY6" fmla="*/ 8837 h 11224"/>
                  <a:gd name="connsiteX7" fmla="*/ 1537 w 4967"/>
                  <a:gd name="connsiteY7" fmla="*/ 4830 h 11224"/>
                  <a:gd name="connsiteX8" fmla="*/ 1537 w 4967"/>
                  <a:gd name="connsiteY8" fmla="*/ 27 h 1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67" h="11224">
                    <a:moveTo>
                      <a:pt x="1537" y="0"/>
                    </a:moveTo>
                    <a:lnTo>
                      <a:pt x="4967" y="1098"/>
                    </a:lnTo>
                    <a:lnTo>
                      <a:pt x="4501" y="5406"/>
                    </a:lnTo>
                    <a:lnTo>
                      <a:pt x="2607" y="5406"/>
                    </a:lnTo>
                    <a:cubicBezTo>
                      <a:pt x="2607" y="5406"/>
                      <a:pt x="3650" y="8425"/>
                      <a:pt x="3650" y="8425"/>
                    </a:cubicBezTo>
                    <a:lnTo>
                      <a:pt x="2442" y="11224"/>
                    </a:lnTo>
                    <a:lnTo>
                      <a:pt x="0" y="8837"/>
                    </a:lnTo>
                    <a:lnTo>
                      <a:pt x="1537" y="4830"/>
                    </a:lnTo>
                    <a:lnTo>
                      <a:pt x="1537"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49" name="Freeform: Shape 3748">
                <a:extLst>
                  <a:ext uri="{FF2B5EF4-FFF2-40B4-BE49-F238E27FC236}">
                    <a16:creationId xmlns:a16="http://schemas.microsoft.com/office/drawing/2014/main" id="{D9969CF8-CAD2-C5CA-2288-1D47799D5680}"/>
                  </a:ext>
                </a:extLst>
              </p:cNvPr>
              <p:cNvSpPr/>
              <p:nvPr/>
            </p:nvSpPr>
            <p:spPr>
              <a:xfrm>
                <a:off x="1137559" y="3595786"/>
                <a:ext cx="965" cy="695"/>
              </a:xfrm>
              <a:custGeom>
                <a:avLst/>
                <a:gdLst>
                  <a:gd name="connsiteX0" fmla="*/ 0 w 9248"/>
                  <a:gd name="connsiteY0" fmla="*/ 2854 h 6668"/>
                  <a:gd name="connsiteX1" fmla="*/ 2552 w 9248"/>
                  <a:gd name="connsiteY1" fmla="*/ 0 h 6668"/>
                  <a:gd name="connsiteX2" fmla="*/ 9139 w 9248"/>
                  <a:gd name="connsiteY2" fmla="*/ 1454 h 6668"/>
                  <a:gd name="connsiteX3" fmla="*/ 9248 w 9248"/>
                  <a:gd name="connsiteY3" fmla="*/ 6669 h 6668"/>
                  <a:gd name="connsiteX4" fmla="*/ 3074 w 9248"/>
                  <a:gd name="connsiteY4" fmla="*/ 5983 h 6668"/>
                  <a:gd name="connsiteX5" fmla="*/ 0 w 9248"/>
                  <a:gd name="connsiteY5" fmla="*/ 2881 h 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8" h="6668">
                    <a:moveTo>
                      <a:pt x="0" y="2854"/>
                    </a:moveTo>
                    <a:lnTo>
                      <a:pt x="2552" y="0"/>
                    </a:lnTo>
                    <a:lnTo>
                      <a:pt x="9139" y="1454"/>
                    </a:lnTo>
                    <a:lnTo>
                      <a:pt x="9248" y="6669"/>
                    </a:lnTo>
                    <a:lnTo>
                      <a:pt x="3074" y="5983"/>
                    </a:lnTo>
                    <a:lnTo>
                      <a:pt x="0" y="28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0" name="Freeform: Shape 3749">
                <a:extLst>
                  <a:ext uri="{FF2B5EF4-FFF2-40B4-BE49-F238E27FC236}">
                    <a16:creationId xmlns:a16="http://schemas.microsoft.com/office/drawing/2014/main" id="{E031D682-9993-6EA1-D2B0-75DDBD4526D8}"/>
                  </a:ext>
                </a:extLst>
              </p:cNvPr>
              <p:cNvSpPr/>
              <p:nvPr/>
            </p:nvSpPr>
            <p:spPr>
              <a:xfrm>
                <a:off x="1163116" y="3601241"/>
                <a:ext cx="850" cy="738"/>
              </a:xfrm>
              <a:custGeom>
                <a:avLst/>
                <a:gdLst>
                  <a:gd name="connsiteX0" fmla="*/ 0 w 8150"/>
                  <a:gd name="connsiteY0" fmla="*/ 4583 h 7080"/>
                  <a:gd name="connsiteX1" fmla="*/ 4116 w 8150"/>
                  <a:gd name="connsiteY1" fmla="*/ 0 h 7080"/>
                  <a:gd name="connsiteX2" fmla="*/ 8041 w 8150"/>
                  <a:gd name="connsiteY2" fmla="*/ 3458 h 7080"/>
                  <a:gd name="connsiteX3" fmla="*/ 8150 w 8150"/>
                  <a:gd name="connsiteY3" fmla="*/ 7080 h 7080"/>
                  <a:gd name="connsiteX4" fmla="*/ 467 w 8150"/>
                  <a:gd name="connsiteY4" fmla="*/ 6504 h 7080"/>
                  <a:gd name="connsiteX5" fmla="*/ 0 w 8150"/>
                  <a:gd name="connsiteY5" fmla="*/ 4583 h 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50" h="7080">
                    <a:moveTo>
                      <a:pt x="0" y="4583"/>
                    </a:moveTo>
                    <a:lnTo>
                      <a:pt x="4116" y="0"/>
                    </a:lnTo>
                    <a:lnTo>
                      <a:pt x="8041" y="3458"/>
                    </a:lnTo>
                    <a:lnTo>
                      <a:pt x="8150" y="7080"/>
                    </a:lnTo>
                    <a:lnTo>
                      <a:pt x="467" y="6504"/>
                    </a:lnTo>
                    <a:lnTo>
                      <a:pt x="0" y="45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1" name="Freeform: Shape 3750">
                <a:extLst>
                  <a:ext uri="{FF2B5EF4-FFF2-40B4-BE49-F238E27FC236}">
                    <a16:creationId xmlns:a16="http://schemas.microsoft.com/office/drawing/2014/main" id="{5758026F-80DB-006D-424B-A1E21A6B6347}"/>
                  </a:ext>
                </a:extLst>
              </p:cNvPr>
              <p:cNvSpPr/>
              <p:nvPr/>
            </p:nvSpPr>
            <p:spPr>
              <a:xfrm>
                <a:off x="1160225" y="3690489"/>
                <a:ext cx="587" cy="710"/>
              </a:xfrm>
              <a:custGeom>
                <a:avLst/>
                <a:gdLst>
                  <a:gd name="connsiteX0" fmla="*/ 0 w 5625"/>
                  <a:gd name="connsiteY0" fmla="*/ 5818 h 6805"/>
                  <a:gd name="connsiteX1" fmla="*/ 1345 w 5625"/>
                  <a:gd name="connsiteY1" fmla="*/ 1180 h 6805"/>
                  <a:gd name="connsiteX2" fmla="*/ 2662 w 5625"/>
                  <a:gd name="connsiteY2" fmla="*/ 192 h 6805"/>
                  <a:gd name="connsiteX3" fmla="*/ 4089 w 5625"/>
                  <a:gd name="connsiteY3" fmla="*/ 0 h 6805"/>
                  <a:gd name="connsiteX4" fmla="*/ 5626 w 5625"/>
                  <a:gd name="connsiteY4" fmla="*/ 4089 h 6805"/>
                  <a:gd name="connsiteX5" fmla="*/ 4665 w 5625"/>
                  <a:gd name="connsiteY5" fmla="*/ 5790 h 6805"/>
                  <a:gd name="connsiteX6" fmla="*/ 2689 w 5625"/>
                  <a:gd name="connsiteY6" fmla="*/ 5214 h 6805"/>
                  <a:gd name="connsiteX7" fmla="*/ 1290 w 5625"/>
                  <a:gd name="connsiteY7" fmla="*/ 6806 h 6805"/>
                  <a:gd name="connsiteX8" fmla="*/ 27 w 5625"/>
                  <a:gd name="connsiteY8" fmla="*/ 5845 h 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25" h="6805">
                    <a:moveTo>
                      <a:pt x="0" y="5818"/>
                    </a:moveTo>
                    <a:lnTo>
                      <a:pt x="1345" y="1180"/>
                    </a:lnTo>
                    <a:lnTo>
                      <a:pt x="2662" y="192"/>
                    </a:lnTo>
                    <a:lnTo>
                      <a:pt x="4089" y="0"/>
                    </a:lnTo>
                    <a:lnTo>
                      <a:pt x="5626" y="4089"/>
                    </a:lnTo>
                    <a:lnTo>
                      <a:pt x="4665" y="5790"/>
                    </a:lnTo>
                    <a:lnTo>
                      <a:pt x="2689" y="5214"/>
                    </a:lnTo>
                    <a:lnTo>
                      <a:pt x="1290" y="6806"/>
                    </a:lnTo>
                    <a:lnTo>
                      <a:pt x="27" y="58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2" name="Freeform: Shape 3751">
                <a:extLst>
                  <a:ext uri="{FF2B5EF4-FFF2-40B4-BE49-F238E27FC236}">
                    <a16:creationId xmlns:a16="http://schemas.microsoft.com/office/drawing/2014/main" id="{8F5A5A38-7BCD-94FB-1F8A-E42BBB2D35EB}"/>
                  </a:ext>
                </a:extLst>
              </p:cNvPr>
              <p:cNvSpPr/>
              <p:nvPr/>
            </p:nvSpPr>
            <p:spPr>
              <a:xfrm>
                <a:off x="1073654" y="3473885"/>
                <a:ext cx="916" cy="1337"/>
              </a:xfrm>
              <a:custGeom>
                <a:avLst/>
                <a:gdLst>
                  <a:gd name="connsiteX0" fmla="*/ 8096 w 8781"/>
                  <a:gd name="connsiteY0" fmla="*/ 6888 h 12815"/>
                  <a:gd name="connsiteX1" fmla="*/ 6806 w 8781"/>
                  <a:gd name="connsiteY1" fmla="*/ 8946 h 12815"/>
                  <a:gd name="connsiteX2" fmla="*/ 6175 w 8781"/>
                  <a:gd name="connsiteY2" fmla="*/ 12377 h 12815"/>
                  <a:gd name="connsiteX3" fmla="*/ 2470 w 8781"/>
                  <a:gd name="connsiteY3" fmla="*/ 12816 h 12815"/>
                  <a:gd name="connsiteX4" fmla="*/ 604 w 8781"/>
                  <a:gd name="connsiteY4" fmla="*/ 10428 h 12815"/>
                  <a:gd name="connsiteX5" fmla="*/ 0 w 8781"/>
                  <a:gd name="connsiteY5" fmla="*/ 6888 h 12815"/>
                  <a:gd name="connsiteX6" fmla="*/ 5077 w 8781"/>
                  <a:gd name="connsiteY6" fmla="*/ 4363 h 12815"/>
                  <a:gd name="connsiteX7" fmla="*/ 6970 w 8781"/>
                  <a:gd name="connsiteY7" fmla="*/ 0 h 12815"/>
                  <a:gd name="connsiteX8" fmla="*/ 8782 w 8781"/>
                  <a:gd name="connsiteY8" fmla="*/ 5681 h 12815"/>
                  <a:gd name="connsiteX9" fmla="*/ 8151 w 8781"/>
                  <a:gd name="connsiteY9" fmla="*/ 6833 h 1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81" h="12815">
                    <a:moveTo>
                      <a:pt x="8096" y="6888"/>
                    </a:moveTo>
                    <a:lnTo>
                      <a:pt x="6806" y="8946"/>
                    </a:lnTo>
                    <a:lnTo>
                      <a:pt x="6175" y="12377"/>
                    </a:lnTo>
                    <a:lnTo>
                      <a:pt x="2470" y="12816"/>
                    </a:lnTo>
                    <a:lnTo>
                      <a:pt x="604" y="10428"/>
                    </a:lnTo>
                    <a:lnTo>
                      <a:pt x="0" y="6888"/>
                    </a:lnTo>
                    <a:lnTo>
                      <a:pt x="5077" y="4363"/>
                    </a:lnTo>
                    <a:lnTo>
                      <a:pt x="6970" y="0"/>
                    </a:lnTo>
                    <a:lnTo>
                      <a:pt x="8782" y="5681"/>
                    </a:lnTo>
                    <a:lnTo>
                      <a:pt x="8151" y="68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3" name="Freeform: Shape 3752">
                <a:extLst>
                  <a:ext uri="{FF2B5EF4-FFF2-40B4-BE49-F238E27FC236}">
                    <a16:creationId xmlns:a16="http://schemas.microsoft.com/office/drawing/2014/main" id="{6375EED1-A9BE-F4F1-59BA-1C29240AA042}"/>
                  </a:ext>
                </a:extLst>
              </p:cNvPr>
              <p:cNvSpPr/>
              <p:nvPr/>
            </p:nvSpPr>
            <p:spPr>
              <a:xfrm>
                <a:off x="1120413" y="3627174"/>
                <a:ext cx="504" cy="1005"/>
              </a:xfrm>
              <a:custGeom>
                <a:avLst/>
                <a:gdLst>
                  <a:gd name="connsiteX0" fmla="*/ 0 w 4829"/>
                  <a:gd name="connsiteY0" fmla="*/ 8699 h 9632"/>
                  <a:gd name="connsiteX1" fmla="*/ 192 w 4829"/>
                  <a:gd name="connsiteY1" fmla="*/ 5461 h 9632"/>
                  <a:gd name="connsiteX2" fmla="*/ 2470 w 4829"/>
                  <a:gd name="connsiteY2" fmla="*/ 0 h 9632"/>
                  <a:gd name="connsiteX3" fmla="*/ 4830 w 4829"/>
                  <a:gd name="connsiteY3" fmla="*/ 4089 h 9632"/>
                  <a:gd name="connsiteX4" fmla="*/ 878 w 4829"/>
                  <a:gd name="connsiteY4" fmla="*/ 9633 h 9632"/>
                  <a:gd name="connsiteX5" fmla="*/ 0 w 4829"/>
                  <a:gd name="connsiteY5" fmla="*/ 8699 h 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9" h="9632">
                    <a:moveTo>
                      <a:pt x="0" y="8699"/>
                    </a:moveTo>
                    <a:lnTo>
                      <a:pt x="192" y="5461"/>
                    </a:lnTo>
                    <a:lnTo>
                      <a:pt x="2470" y="0"/>
                    </a:lnTo>
                    <a:lnTo>
                      <a:pt x="4830" y="4089"/>
                    </a:lnTo>
                    <a:lnTo>
                      <a:pt x="878" y="9633"/>
                    </a:lnTo>
                    <a:lnTo>
                      <a:pt x="0" y="86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4" name="Freeform: Shape 3753">
                <a:extLst>
                  <a:ext uri="{FF2B5EF4-FFF2-40B4-BE49-F238E27FC236}">
                    <a16:creationId xmlns:a16="http://schemas.microsoft.com/office/drawing/2014/main" id="{30BFFF4F-48BF-2ECD-5E81-4A9B0F368416}"/>
                  </a:ext>
                </a:extLst>
              </p:cNvPr>
              <p:cNvSpPr/>
              <p:nvPr/>
            </p:nvSpPr>
            <p:spPr>
              <a:xfrm>
                <a:off x="1141763" y="3587225"/>
                <a:ext cx="627" cy="973"/>
              </a:xfrm>
              <a:custGeom>
                <a:avLst/>
                <a:gdLst>
                  <a:gd name="connsiteX0" fmla="*/ 0 w 6009"/>
                  <a:gd name="connsiteY0" fmla="*/ 2799 h 9330"/>
                  <a:gd name="connsiteX1" fmla="*/ 2141 w 6009"/>
                  <a:gd name="connsiteY1" fmla="*/ 0 h 9330"/>
                  <a:gd name="connsiteX2" fmla="*/ 6010 w 6009"/>
                  <a:gd name="connsiteY2" fmla="*/ 4885 h 9330"/>
                  <a:gd name="connsiteX3" fmla="*/ 4062 w 6009"/>
                  <a:gd name="connsiteY3" fmla="*/ 9331 h 9330"/>
                  <a:gd name="connsiteX4" fmla="*/ 0 w 6009"/>
                  <a:gd name="connsiteY4" fmla="*/ 2772 h 9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9" h="9330">
                    <a:moveTo>
                      <a:pt x="0" y="2799"/>
                    </a:moveTo>
                    <a:lnTo>
                      <a:pt x="2141" y="0"/>
                    </a:lnTo>
                    <a:lnTo>
                      <a:pt x="6010" y="4885"/>
                    </a:lnTo>
                    <a:lnTo>
                      <a:pt x="4062" y="9331"/>
                    </a:lnTo>
                    <a:lnTo>
                      <a:pt x="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5" name="Freeform: Shape 3754">
                <a:extLst>
                  <a:ext uri="{FF2B5EF4-FFF2-40B4-BE49-F238E27FC236}">
                    <a16:creationId xmlns:a16="http://schemas.microsoft.com/office/drawing/2014/main" id="{C3E1D103-DB71-6BE2-30CE-0F1049FD44C1}"/>
                  </a:ext>
                </a:extLst>
              </p:cNvPr>
              <p:cNvSpPr/>
              <p:nvPr/>
            </p:nvSpPr>
            <p:spPr>
              <a:xfrm>
                <a:off x="1084262" y="3540712"/>
                <a:ext cx="644" cy="1173"/>
              </a:xfrm>
              <a:custGeom>
                <a:avLst/>
                <a:gdLst>
                  <a:gd name="connsiteX0" fmla="*/ 0 w 6174"/>
                  <a:gd name="connsiteY0" fmla="*/ 5434 h 11251"/>
                  <a:gd name="connsiteX1" fmla="*/ 1866 w 6174"/>
                  <a:gd name="connsiteY1" fmla="*/ 2223 h 11251"/>
                  <a:gd name="connsiteX2" fmla="*/ 2827 w 6174"/>
                  <a:gd name="connsiteY2" fmla="*/ 4830 h 11251"/>
                  <a:gd name="connsiteX3" fmla="*/ 4583 w 6174"/>
                  <a:gd name="connsiteY3" fmla="*/ 0 h 11251"/>
                  <a:gd name="connsiteX4" fmla="*/ 6175 w 6174"/>
                  <a:gd name="connsiteY4" fmla="*/ 604 h 11251"/>
                  <a:gd name="connsiteX5" fmla="*/ 4638 w 6174"/>
                  <a:gd name="connsiteY5" fmla="*/ 5571 h 11251"/>
                  <a:gd name="connsiteX6" fmla="*/ 4967 w 6174"/>
                  <a:gd name="connsiteY6" fmla="*/ 10374 h 11251"/>
                  <a:gd name="connsiteX7" fmla="*/ 2909 w 6174"/>
                  <a:gd name="connsiteY7" fmla="*/ 11252 h 11251"/>
                  <a:gd name="connsiteX8" fmla="*/ 0 w 6174"/>
                  <a:gd name="connsiteY8" fmla="*/ 5434 h 1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74" h="11251">
                    <a:moveTo>
                      <a:pt x="0" y="5434"/>
                    </a:moveTo>
                    <a:lnTo>
                      <a:pt x="1866" y="2223"/>
                    </a:lnTo>
                    <a:lnTo>
                      <a:pt x="2827" y="4830"/>
                    </a:lnTo>
                    <a:lnTo>
                      <a:pt x="4583" y="0"/>
                    </a:lnTo>
                    <a:lnTo>
                      <a:pt x="6175" y="604"/>
                    </a:lnTo>
                    <a:lnTo>
                      <a:pt x="4638" y="5571"/>
                    </a:lnTo>
                    <a:lnTo>
                      <a:pt x="4967" y="10374"/>
                    </a:lnTo>
                    <a:lnTo>
                      <a:pt x="2909" y="11252"/>
                    </a:lnTo>
                    <a:lnTo>
                      <a:pt x="0" y="54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6" name="Freeform: Shape 3755">
                <a:extLst>
                  <a:ext uri="{FF2B5EF4-FFF2-40B4-BE49-F238E27FC236}">
                    <a16:creationId xmlns:a16="http://schemas.microsoft.com/office/drawing/2014/main" id="{D7C8A27B-D6E3-F708-8B61-2E4448B1A73C}"/>
                  </a:ext>
                </a:extLst>
              </p:cNvPr>
              <p:cNvSpPr/>
              <p:nvPr/>
            </p:nvSpPr>
            <p:spPr>
              <a:xfrm>
                <a:off x="1119477" y="3613710"/>
                <a:ext cx="638" cy="804"/>
              </a:xfrm>
              <a:custGeom>
                <a:avLst/>
                <a:gdLst>
                  <a:gd name="connsiteX0" fmla="*/ 4171 w 6119"/>
                  <a:gd name="connsiteY0" fmla="*/ 6339 h 7711"/>
                  <a:gd name="connsiteX1" fmla="*/ 1455 w 6119"/>
                  <a:gd name="connsiteY1" fmla="*/ 7711 h 7711"/>
                  <a:gd name="connsiteX2" fmla="*/ 0 w 6119"/>
                  <a:gd name="connsiteY2" fmla="*/ 5296 h 7711"/>
                  <a:gd name="connsiteX3" fmla="*/ 3183 w 6119"/>
                  <a:gd name="connsiteY3" fmla="*/ 0 h 7711"/>
                  <a:gd name="connsiteX4" fmla="*/ 6120 w 6119"/>
                  <a:gd name="connsiteY4" fmla="*/ 1427 h 7711"/>
                  <a:gd name="connsiteX5" fmla="*/ 4171 w 6119"/>
                  <a:gd name="connsiteY5" fmla="*/ 6339 h 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9" h="7711">
                    <a:moveTo>
                      <a:pt x="4171" y="6339"/>
                    </a:moveTo>
                    <a:lnTo>
                      <a:pt x="1455" y="7711"/>
                    </a:lnTo>
                    <a:lnTo>
                      <a:pt x="0" y="5296"/>
                    </a:lnTo>
                    <a:lnTo>
                      <a:pt x="3183" y="0"/>
                    </a:lnTo>
                    <a:lnTo>
                      <a:pt x="6120" y="1427"/>
                    </a:lnTo>
                    <a:lnTo>
                      <a:pt x="4171" y="63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7" name="Freeform: Shape 3756">
                <a:extLst>
                  <a:ext uri="{FF2B5EF4-FFF2-40B4-BE49-F238E27FC236}">
                    <a16:creationId xmlns:a16="http://schemas.microsoft.com/office/drawing/2014/main" id="{09214772-CF21-B10F-5BEE-2325710764AC}"/>
                  </a:ext>
                </a:extLst>
              </p:cNvPr>
              <p:cNvSpPr/>
              <p:nvPr/>
            </p:nvSpPr>
            <p:spPr>
              <a:xfrm>
                <a:off x="1180694" y="3638586"/>
                <a:ext cx="581" cy="753"/>
              </a:xfrm>
              <a:custGeom>
                <a:avLst/>
                <a:gdLst>
                  <a:gd name="connsiteX0" fmla="*/ 0 w 5571"/>
                  <a:gd name="connsiteY0" fmla="*/ 3074 h 7217"/>
                  <a:gd name="connsiteX1" fmla="*/ 0 w 5571"/>
                  <a:gd name="connsiteY1" fmla="*/ 0 h 7217"/>
                  <a:gd name="connsiteX2" fmla="*/ 2333 w 5571"/>
                  <a:gd name="connsiteY2" fmla="*/ 0 h 7217"/>
                  <a:gd name="connsiteX3" fmla="*/ 2881 w 5571"/>
                  <a:gd name="connsiteY3" fmla="*/ 2415 h 7217"/>
                  <a:gd name="connsiteX4" fmla="*/ 5571 w 5571"/>
                  <a:gd name="connsiteY4" fmla="*/ 2195 h 7217"/>
                  <a:gd name="connsiteX5" fmla="*/ 4857 w 5571"/>
                  <a:gd name="connsiteY5" fmla="*/ 6367 h 7217"/>
                  <a:gd name="connsiteX6" fmla="*/ 2881 w 5571"/>
                  <a:gd name="connsiteY6" fmla="*/ 7218 h 7217"/>
                  <a:gd name="connsiteX7" fmla="*/ 1701 w 5571"/>
                  <a:gd name="connsiteY7" fmla="*/ 3238 h 7217"/>
                  <a:gd name="connsiteX8" fmla="*/ 27 w 5571"/>
                  <a:gd name="connsiteY8" fmla="*/ 3074 h 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1" h="7217">
                    <a:moveTo>
                      <a:pt x="0" y="3074"/>
                    </a:moveTo>
                    <a:lnTo>
                      <a:pt x="0" y="0"/>
                    </a:lnTo>
                    <a:lnTo>
                      <a:pt x="2333" y="0"/>
                    </a:lnTo>
                    <a:lnTo>
                      <a:pt x="2881" y="2415"/>
                    </a:lnTo>
                    <a:lnTo>
                      <a:pt x="5571" y="2195"/>
                    </a:lnTo>
                    <a:lnTo>
                      <a:pt x="4857" y="6367"/>
                    </a:lnTo>
                    <a:lnTo>
                      <a:pt x="2881" y="7218"/>
                    </a:lnTo>
                    <a:lnTo>
                      <a:pt x="1701" y="3238"/>
                    </a:lnTo>
                    <a:lnTo>
                      <a:pt x="27"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8" name="Freeform: Shape 3757">
                <a:extLst>
                  <a:ext uri="{FF2B5EF4-FFF2-40B4-BE49-F238E27FC236}">
                    <a16:creationId xmlns:a16="http://schemas.microsoft.com/office/drawing/2014/main" id="{B9B58D95-EC73-BB59-1B75-60D371DCF4A1}"/>
                  </a:ext>
                </a:extLst>
              </p:cNvPr>
              <p:cNvSpPr/>
              <p:nvPr/>
            </p:nvSpPr>
            <p:spPr>
              <a:xfrm>
                <a:off x="1068857" y="3477881"/>
                <a:ext cx="695" cy="1279"/>
              </a:xfrm>
              <a:custGeom>
                <a:avLst/>
                <a:gdLst>
                  <a:gd name="connsiteX0" fmla="*/ 4116 w 6668"/>
                  <a:gd name="connsiteY0" fmla="*/ 6998 h 12267"/>
                  <a:gd name="connsiteX1" fmla="*/ 3376 w 6668"/>
                  <a:gd name="connsiteY1" fmla="*/ 12267 h 12267"/>
                  <a:gd name="connsiteX2" fmla="*/ 0 w 6668"/>
                  <a:gd name="connsiteY2" fmla="*/ 8480 h 12267"/>
                  <a:gd name="connsiteX3" fmla="*/ 1070 w 6668"/>
                  <a:gd name="connsiteY3" fmla="*/ 4748 h 12267"/>
                  <a:gd name="connsiteX4" fmla="*/ 5900 w 6668"/>
                  <a:gd name="connsiteY4" fmla="*/ 0 h 12267"/>
                  <a:gd name="connsiteX5" fmla="*/ 6669 w 6668"/>
                  <a:gd name="connsiteY5" fmla="*/ 5269 h 12267"/>
                  <a:gd name="connsiteX6" fmla="*/ 4116 w 6668"/>
                  <a:gd name="connsiteY6" fmla="*/ 6998 h 12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8" h="12267">
                    <a:moveTo>
                      <a:pt x="4116" y="6998"/>
                    </a:moveTo>
                    <a:lnTo>
                      <a:pt x="3376" y="12267"/>
                    </a:lnTo>
                    <a:lnTo>
                      <a:pt x="0" y="8480"/>
                    </a:lnTo>
                    <a:lnTo>
                      <a:pt x="1070" y="4748"/>
                    </a:lnTo>
                    <a:lnTo>
                      <a:pt x="5900" y="0"/>
                    </a:lnTo>
                    <a:lnTo>
                      <a:pt x="6669" y="5269"/>
                    </a:lnTo>
                    <a:lnTo>
                      <a:pt x="4116" y="69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59" name="Freeform: Shape 3758">
                <a:extLst>
                  <a:ext uri="{FF2B5EF4-FFF2-40B4-BE49-F238E27FC236}">
                    <a16:creationId xmlns:a16="http://schemas.microsoft.com/office/drawing/2014/main" id="{98833C3B-0CA1-2D24-E153-A56015EFD6B7}"/>
                  </a:ext>
                </a:extLst>
              </p:cNvPr>
              <p:cNvSpPr/>
              <p:nvPr/>
            </p:nvSpPr>
            <p:spPr>
              <a:xfrm>
                <a:off x="1168492" y="3589454"/>
                <a:ext cx="721" cy="678"/>
              </a:xfrm>
              <a:custGeom>
                <a:avLst/>
                <a:gdLst>
                  <a:gd name="connsiteX0" fmla="*/ 0 w 6915"/>
                  <a:gd name="connsiteY0" fmla="*/ 1921 h 6503"/>
                  <a:gd name="connsiteX1" fmla="*/ 1674 w 6915"/>
                  <a:gd name="connsiteY1" fmla="*/ 0 h 6503"/>
                  <a:gd name="connsiteX2" fmla="*/ 5790 w 6915"/>
                  <a:gd name="connsiteY2" fmla="*/ 549 h 6503"/>
                  <a:gd name="connsiteX3" fmla="*/ 6916 w 6915"/>
                  <a:gd name="connsiteY3" fmla="*/ 3211 h 6503"/>
                  <a:gd name="connsiteX4" fmla="*/ 1674 w 6915"/>
                  <a:gd name="connsiteY4" fmla="*/ 6504 h 6503"/>
                  <a:gd name="connsiteX5" fmla="*/ 0 w 6915"/>
                  <a:gd name="connsiteY5" fmla="*/ 1948 h 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15" h="6503">
                    <a:moveTo>
                      <a:pt x="0" y="1921"/>
                    </a:moveTo>
                    <a:lnTo>
                      <a:pt x="1674" y="0"/>
                    </a:lnTo>
                    <a:lnTo>
                      <a:pt x="5790" y="549"/>
                    </a:lnTo>
                    <a:lnTo>
                      <a:pt x="6916" y="3211"/>
                    </a:lnTo>
                    <a:lnTo>
                      <a:pt x="1674" y="6504"/>
                    </a:lnTo>
                    <a:lnTo>
                      <a:pt x="0" y="1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0" name="Freeform: Shape 3759">
                <a:extLst>
                  <a:ext uri="{FF2B5EF4-FFF2-40B4-BE49-F238E27FC236}">
                    <a16:creationId xmlns:a16="http://schemas.microsoft.com/office/drawing/2014/main" id="{B34C29CF-8F16-5C10-C621-0CE05A68C6DB}"/>
                  </a:ext>
                </a:extLst>
              </p:cNvPr>
              <p:cNvSpPr/>
              <p:nvPr/>
            </p:nvSpPr>
            <p:spPr>
              <a:xfrm>
                <a:off x="1118945" y="3614557"/>
                <a:ext cx="572" cy="695"/>
              </a:xfrm>
              <a:custGeom>
                <a:avLst/>
                <a:gdLst>
                  <a:gd name="connsiteX0" fmla="*/ 2278 w 5488"/>
                  <a:gd name="connsiteY0" fmla="*/ 5928 h 6668"/>
                  <a:gd name="connsiteX1" fmla="*/ 0 w 5488"/>
                  <a:gd name="connsiteY1" fmla="*/ 6669 h 6668"/>
                  <a:gd name="connsiteX2" fmla="*/ 823 w 5488"/>
                  <a:gd name="connsiteY2" fmla="*/ 2909 h 6668"/>
                  <a:gd name="connsiteX3" fmla="*/ 2854 w 5488"/>
                  <a:gd name="connsiteY3" fmla="*/ 2717 h 6668"/>
                  <a:gd name="connsiteX4" fmla="*/ 3595 w 5488"/>
                  <a:gd name="connsiteY4" fmla="*/ 0 h 6668"/>
                  <a:gd name="connsiteX5" fmla="*/ 5489 w 5488"/>
                  <a:gd name="connsiteY5" fmla="*/ 1125 h 6668"/>
                  <a:gd name="connsiteX6" fmla="*/ 2250 w 5488"/>
                  <a:gd name="connsiteY6" fmla="*/ 5900 h 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88" h="6668">
                    <a:moveTo>
                      <a:pt x="2278" y="5928"/>
                    </a:moveTo>
                    <a:lnTo>
                      <a:pt x="0" y="6669"/>
                    </a:lnTo>
                    <a:lnTo>
                      <a:pt x="823" y="2909"/>
                    </a:lnTo>
                    <a:lnTo>
                      <a:pt x="2854" y="2717"/>
                    </a:lnTo>
                    <a:lnTo>
                      <a:pt x="3595" y="0"/>
                    </a:lnTo>
                    <a:lnTo>
                      <a:pt x="5489" y="1125"/>
                    </a:lnTo>
                    <a:lnTo>
                      <a:pt x="2250" y="59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1" name="Freeform: Shape 3760">
                <a:extLst>
                  <a:ext uri="{FF2B5EF4-FFF2-40B4-BE49-F238E27FC236}">
                    <a16:creationId xmlns:a16="http://schemas.microsoft.com/office/drawing/2014/main" id="{C8BA0E09-C5E1-9A1D-C2F9-8EB2C7EB0BCA}"/>
                  </a:ext>
                </a:extLst>
              </p:cNvPr>
              <p:cNvSpPr/>
              <p:nvPr/>
            </p:nvSpPr>
            <p:spPr>
              <a:xfrm>
                <a:off x="1101379" y="3517515"/>
                <a:ext cx="727" cy="913"/>
              </a:xfrm>
              <a:custGeom>
                <a:avLst/>
                <a:gdLst>
                  <a:gd name="connsiteX0" fmla="*/ 0 w 6970"/>
                  <a:gd name="connsiteY0" fmla="*/ 2223 h 8754"/>
                  <a:gd name="connsiteX1" fmla="*/ 2854 w 6970"/>
                  <a:gd name="connsiteY1" fmla="*/ 0 h 8754"/>
                  <a:gd name="connsiteX2" fmla="*/ 6971 w 6970"/>
                  <a:gd name="connsiteY2" fmla="*/ 3677 h 8754"/>
                  <a:gd name="connsiteX3" fmla="*/ 5544 w 6970"/>
                  <a:gd name="connsiteY3" fmla="*/ 8754 h 8754"/>
                  <a:gd name="connsiteX4" fmla="*/ 1153 w 6970"/>
                  <a:gd name="connsiteY4" fmla="*/ 5104 h 8754"/>
                  <a:gd name="connsiteX5" fmla="*/ 27 w 6970"/>
                  <a:gd name="connsiteY5" fmla="*/ 2223 h 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70" h="8754">
                    <a:moveTo>
                      <a:pt x="0" y="2223"/>
                    </a:moveTo>
                    <a:lnTo>
                      <a:pt x="2854" y="0"/>
                    </a:lnTo>
                    <a:lnTo>
                      <a:pt x="6971" y="3677"/>
                    </a:lnTo>
                    <a:lnTo>
                      <a:pt x="5544" y="8754"/>
                    </a:lnTo>
                    <a:lnTo>
                      <a:pt x="1153" y="5104"/>
                    </a:lnTo>
                    <a:lnTo>
                      <a:pt x="27"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2" name="Freeform: Shape 3761">
                <a:extLst>
                  <a:ext uri="{FF2B5EF4-FFF2-40B4-BE49-F238E27FC236}">
                    <a16:creationId xmlns:a16="http://schemas.microsoft.com/office/drawing/2014/main" id="{933BC1ED-F33C-E9EE-178B-F81F45232DEA}"/>
                  </a:ext>
                </a:extLst>
              </p:cNvPr>
              <p:cNvSpPr/>
              <p:nvPr/>
            </p:nvSpPr>
            <p:spPr>
              <a:xfrm>
                <a:off x="1126255" y="3596335"/>
                <a:ext cx="730" cy="584"/>
              </a:xfrm>
              <a:custGeom>
                <a:avLst/>
                <a:gdLst>
                  <a:gd name="connsiteX0" fmla="*/ 0 w 6998"/>
                  <a:gd name="connsiteY0" fmla="*/ 1290 h 5598"/>
                  <a:gd name="connsiteX1" fmla="*/ 549 w 6998"/>
                  <a:gd name="connsiteY1" fmla="*/ 82 h 5598"/>
                  <a:gd name="connsiteX2" fmla="*/ 6998 w 6998"/>
                  <a:gd name="connsiteY2" fmla="*/ 0 h 5598"/>
                  <a:gd name="connsiteX3" fmla="*/ 6779 w 6998"/>
                  <a:gd name="connsiteY3" fmla="*/ 5598 h 5598"/>
                  <a:gd name="connsiteX4" fmla="*/ 2717 w 6998"/>
                  <a:gd name="connsiteY4" fmla="*/ 2964 h 5598"/>
                  <a:gd name="connsiteX5" fmla="*/ 2278 w 6998"/>
                  <a:gd name="connsiteY5" fmla="*/ 4940 h 5598"/>
                  <a:gd name="connsiteX6" fmla="*/ 0 w 6998"/>
                  <a:gd name="connsiteY6" fmla="*/ 1262 h 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8" h="5598">
                    <a:moveTo>
                      <a:pt x="0" y="1290"/>
                    </a:moveTo>
                    <a:lnTo>
                      <a:pt x="549" y="82"/>
                    </a:lnTo>
                    <a:lnTo>
                      <a:pt x="6998" y="0"/>
                    </a:lnTo>
                    <a:lnTo>
                      <a:pt x="6779" y="5598"/>
                    </a:lnTo>
                    <a:lnTo>
                      <a:pt x="2717" y="2964"/>
                    </a:lnTo>
                    <a:lnTo>
                      <a:pt x="2278" y="4940"/>
                    </a:lnTo>
                    <a:lnTo>
                      <a:pt x="0" y="12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3" name="Freeform: Shape 3762">
                <a:extLst>
                  <a:ext uri="{FF2B5EF4-FFF2-40B4-BE49-F238E27FC236}">
                    <a16:creationId xmlns:a16="http://schemas.microsoft.com/office/drawing/2014/main" id="{13937AA8-A53A-F274-716A-1159470DD9A8}"/>
                  </a:ext>
                </a:extLst>
              </p:cNvPr>
              <p:cNvSpPr/>
              <p:nvPr/>
            </p:nvSpPr>
            <p:spPr>
              <a:xfrm>
                <a:off x="1163185" y="3573437"/>
                <a:ext cx="515" cy="919"/>
              </a:xfrm>
              <a:custGeom>
                <a:avLst/>
                <a:gdLst>
                  <a:gd name="connsiteX0" fmla="*/ 0 w 4939"/>
                  <a:gd name="connsiteY0" fmla="*/ 3952 h 8809"/>
                  <a:gd name="connsiteX1" fmla="*/ 988 w 4939"/>
                  <a:gd name="connsiteY1" fmla="*/ 0 h 8809"/>
                  <a:gd name="connsiteX2" fmla="*/ 2442 w 4939"/>
                  <a:gd name="connsiteY2" fmla="*/ 3046 h 8809"/>
                  <a:gd name="connsiteX3" fmla="*/ 4062 w 4939"/>
                  <a:gd name="connsiteY3" fmla="*/ 1180 h 8809"/>
                  <a:gd name="connsiteX4" fmla="*/ 4940 w 4939"/>
                  <a:gd name="connsiteY4" fmla="*/ 5516 h 8809"/>
                  <a:gd name="connsiteX5" fmla="*/ 2909 w 4939"/>
                  <a:gd name="connsiteY5" fmla="*/ 4446 h 8809"/>
                  <a:gd name="connsiteX6" fmla="*/ 2333 w 4939"/>
                  <a:gd name="connsiteY6" fmla="*/ 8727 h 8809"/>
                  <a:gd name="connsiteX7" fmla="*/ 741 w 4939"/>
                  <a:gd name="connsiteY7" fmla="*/ 8809 h 8809"/>
                  <a:gd name="connsiteX8" fmla="*/ 0 w 4939"/>
                  <a:gd name="connsiteY8" fmla="*/ 3952 h 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39" h="8809">
                    <a:moveTo>
                      <a:pt x="0" y="3952"/>
                    </a:moveTo>
                    <a:lnTo>
                      <a:pt x="988" y="0"/>
                    </a:lnTo>
                    <a:lnTo>
                      <a:pt x="2442" y="3046"/>
                    </a:lnTo>
                    <a:lnTo>
                      <a:pt x="4062" y="1180"/>
                    </a:lnTo>
                    <a:lnTo>
                      <a:pt x="4940" y="5516"/>
                    </a:lnTo>
                    <a:lnTo>
                      <a:pt x="2909" y="4446"/>
                    </a:lnTo>
                    <a:lnTo>
                      <a:pt x="2333" y="8727"/>
                    </a:lnTo>
                    <a:lnTo>
                      <a:pt x="741" y="8809"/>
                    </a:lnTo>
                    <a:lnTo>
                      <a:pt x="0" y="39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4" name="Freeform: Shape 3763">
                <a:extLst>
                  <a:ext uri="{FF2B5EF4-FFF2-40B4-BE49-F238E27FC236}">
                    <a16:creationId xmlns:a16="http://schemas.microsoft.com/office/drawing/2014/main" id="{55D26F74-FA9B-96B2-F9CE-549C384F7899}"/>
                  </a:ext>
                </a:extLst>
              </p:cNvPr>
              <p:cNvSpPr/>
              <p:nvPr/>
            </p:nvSpPr>
            <p:spPr>
              <a:xfrm>
                <a:off x="1194648" y="3662956"/>
                <a:ext cx="521" cy="578"/>
              </a:xfrm>
              <a:custGeom>
                <a:avLst/>
                <a:gdLst>
                  <a:gd name="connsiteX0" fmla="*/ 27 w 4994"/>
                  <a:gd name="connsiteY0" fmla="*/ 3815 h 5543"/>
                  <a:gd name="connsiteX1" fmla="*/ 1262 w 4994"/>
                  <a:gd name="connsiteY1" fmla="*/ 1921 h 5543"/>
                  <a:gd name="connsiteX2" fmla="*/ 4336 w 4994"/>
                  <a:gd name="connsiteY2" fmla="*/ 0 h 5543"/>
                  <a:gd name="connsiteX3" fmla="*/ 4994 w 4994"/>
                  <a:gd name="connsiteY3" fmla="*/ 2607 h 5543"/>
                  <a:gd name="connsiteX4" fmla="*/ 2003 w 4994"/>
                  <a:gd name="connsiteY4" fmla="*/ 5544 h 5543"/>
                  <a:gd name="connsiteX5" fmla="*/ 0 w 4994"/>
                  <a:gd name="connsiteY5" fmla="*/ 3842 h 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4" h="5543">
                    <a:moveTo>
                      <a:pt x="27" y="3815"/>
                    </a:moveTo>
                    <a:lnTo>
                      <a:pt x="1262" y="1921"/>
                    </a:lnTo>
                    <a:lnTo>
                      <a:pt x="4336" y="0"/>
                    </a:lnTo>
                    <a:lnTo>
                      <a:pt x="4994" y="2607"/>
                    </a:lnTo>
                    <a:lnTo>
                      <a:pt x="2003" y="5544"/>
                    </a:lnTo>
                    <a:lnTo>
                      <a:pt x="0" y="38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5" name="Freeform: Shape 3764">
                <a:extLst>
                  <a:ext uri="{FF2B5EF4-FFF2-40B4-BE49-F238E27FC236}">
                    <a16:creationId xmlns:a16="http://schemas.microsoft.com/office/drawing/2014/main" id="{3F7E1A25-54FC-9DDB-EC13-77EC5546873D}"/>
                  </a:ext>
                </a:extLst>
              </p:cNvPr>
              <p:cNvSpPr/>
              <p:nvPr/>
            </p:nvSpPr>
            <p:spPr>
              <a:xfrm>
                <a:off x="1088739" y="3498819"/>
                <a:ext cx="879" cy="784"/>
              </a:xfrm>
              <a:custGeom>
                <a:avLst/>
                <a:gdLst>
                  <a:gd name="connsiteX0" fmla="*/ 0 w 8425"/>
                  <a:gd name="connsiteY0" fmla="*/ 3211 h 7519"/>
                  <a:gd name="connsiteX1" fmla="*/ 521 w 8425"/>
                  <a:gd name="connsiteY1" fmla="*/ 1015 h 7519"/>
                  <a:gd name="connsiteX2" fmla="*/ 6284 w 8425"/>
                  <a:gd name="connsiteY2" fmla="*/ 0 h 7519"/>
                  <a:gd name="connsiteX3" fmla="*/ 8425 w 8425"/>
                  <a:gd name="connsiteY3" fmla="*/ 2415 h 7519"/>
                  <a:gd name="connsiteX4" fmla="*/ 6449 w 8425"/>
                  <a:gd name="connsiteY4" fmla="*/ 7519 h 7519"/>
                  <a:gd name="connsiteX5" fmla="*/ 466 w 8425"/>
                  <a:gd name="connsiteY5" fmla="*/ 4912 h 7519"/>
                  <a:gd name="connsiteX6" fmla="*/ 0 w 8425"/>
                  <a:gd name="connsiteY6" fmla="*/ 3211 h 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25" h="7519">
                    <a:moveTo>
                      <a:pt x="0" y="3211"/>
                    </a:moveTo>
                    <a:lnTo>
                      <a:pt x="521" y="1015"/>
                    </a:lnTo>
                    <a:lnTo>
                      <a:pt x="6284" y="0"/>
                    </a:lnTo>
                    <a:lnTo>
                      <a:pt x="8425" y="2415"/>
                    </a:lnTo>
                    <a:lnTo>
                      <a:pt x="6449" y="7519"/>
                    </a:lnTo>
                    <a:lnTo>
                      <a:pt x="466" y="4912"/>
                    </a:lnTo>
                    <a:lnTo>
                      <a:pt x="0"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6" name="Freeform: Shape 3765">
                <a:extLst>
                  <a:ext uri="{FF2B5EF4-FFF2-40B4-BE49-F238E27FC236}">
                    <a16:creationId xmlns:a16="http://schemas.microsoft.com/office/drawing/2014/main" id="{A1C8EA3F-D629-B97E-36F6-40F9FF3A811F}"/>
                  </a:ext>
                </a:extLst>
              </p:cNvPr>
              <p:cNvSpPr/>
              <p:nvPr/>
            </p:nvSpPr>
            <p:spPr>
              <a:xfrm>
                <a:off x="964093" y="3645728"/>
                <a:ext cx="550" cy="578"/>
              </a:xfrm>
              <a:custGeom>
                <a:avLst/>
                <a:gdLst>
                  <a:gd name="connsiteX0" fmla="*/ 0 w 5269"/>
                  <a:gd name="connsiteY0" fmla="*/ 796 h 5543"/>
                  <a:gd name="connsiteX1" fmla="*/ 796 w 5269"/>
                  <a:gd name="connsiteY1" fmla="*/ 0 h 5543"/>
                  <a:gd name="connsiteX2" fmla="*/ 5269 w 5269"/>
                  <a:gd name="connsiteY2" fmla="*/ 4308 h 5543"/>
                  <a:gd name="connsiteX3" fmla="*/ 3815 w 5269"/>
                  <a:gd name="connsiteY3" fmla="*/ 5544 h 5543"/>
                  <a:gd name="connsiteX4" fmla="*/ 27 w 5269"/>
                  <a:gd name="connsiteY4" fmla="*/ 3074 h 5543"/>
                  <a:gd name="connsiteX5" fmla="*/ 27 w 5269"/>
                  <a:gd name="connsiteY5" fmla="*/ 796 h 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69" h="5543">
                    <a:moveTo>
                      <a:pt x="0" y="796"/>
                    </a:moveTo>
                    <a:lnTo>
                      <a:pt x="796" y="0"/>
                    </a:lnTo>
                    <a:lnTo>
                      <a:pt x="5269" y="4308"/>
                    </a:lnTo>
                    <a:lnTo>
                      <a:pt x="3815" y="5544"/>
                    </a:lnTo>
                    <a:lnTo>
                      <a:pt x="27" y="3074"/>
                    </a:lnTo>
                    <a:lnTo>
                      <a:pt x="27" y="7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7" name="Freeform: Shape 3766">
                <a:extLst>
                  <a:ext uri="{FF2B5EF4-FFF2-40B4-BE49-F238E27FC236}">
                    <a16:creationId xmlns:a16="http://schemas.microsoft.com/office/drawing/2014/main" id="{411ABC64-E839-CC44-DE2C-75631FA06132}"/>
                  </a:ext>
                </a:extLst>
              </p:cNvPr>
              <p:cNvSpPr/>
              <p:nvPr/>
            </p:nvSpPr>
            <p:spPr>
              <a:xfrm>
                <a:off x="1059551" y="3465962"/>
                <a:ext cx="678" cy="1188"/>
              </a:xfrm>
              <a:custGeom>
                <a:avLst/>
                <a:gdLst>
                  <a:gd name="connsiteX0" fmla="*/ 6477 w 6503"/>
                  <a:gd name="connsiteY0" fmla="*/ 9550 h 11388"/>
                  <a:gd name="connsiteX1" fmla="*/ 2964 w 6503"/>
                  <a:gd name="connsiteY1" fmla="*/ 11389 h 11388"/>
                  <a:gd name="connsiteX2" fmla="*/ 0 w 6503"/>
                  <a:gd name="connsiteY2" fmla="*/ 4418 h 11388"/>
                  <a:gd name="connsiteX3" fmla="*/ 1455 w 6503"/>
                  <a:gd name="connsiteY3" fmla="*/ 0 h 11388"/>
                  <a:gd name="connsiteX4" fmla="*/ 6504 w 6503"/>
                  <a:gd name="connsiteY4" fmla="*/ 4610 h 11388"/>
                  <a:gd name="connsiteX5" fmla="*/ 6504 w 6503"/>
                  <a:gd name="connsiteY5" fmla="*/ 9523 h 1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3" h="11388">
                    <a:moveTo>
                      <a:pt x="6477" y="9550"/>
                    </a:moveTo>
                    <a:lnTo>
                      <a:pt x="2964" y="11389"/>
                    </a:lnTo>
                    <a:lnTo>
                      <a:pt x="0" y="4418"/>
                    </a:lnTo>
                    <a:lnTo>
                      <a:pt x="1455" y="0"/>
                    </a:lnTo>
                    <a:lnTo>
                      <a:pt x="6504" y="4610"/>
                    </a:lnTo>
                    <a:lnTo>
                      <a:pt x="6504" y="95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8" name="Freeform: Shape 3767">
                <a:extLst>
                  <a:ext uri="{FF2B5EF4-FFF2-40B4-BE49-F238E27FC236}">
                    <a16:creationId xmlns:a16="http://schemas.microsoft.com/office/drawing/2014/main" id="{9C7A2658-63E4-2FE4-BDA7-9FA85454E327}"/>
                  </a:ext>
                </a:extLst>
              </p:cNvPr>
              <p:cNvSpPr/>
              <p:nvPr/>
            </p:nvSpPr>
            <p:spPr>
              <a:xfrm>
                <a:off x="1114717" y="3544527"/>
                <a:ext cx="655" cy="773"/>
              </a:xfrm>
              <a:custGeom>
                <a:avLst/>
                <a:gdLst>
                  <a:gd name="connsiteX0" fmla="*/ 0 w 6284"/>
                  <a:gd name="connsiteY0" fmla="*/ 1619 h 7409"/>
                  <a:gd name="connsiteX1" fmla="*/ 1427 w 6284"/>
                  <a:gd name="connsiteY1" fmla="*/ 0 h 7409"/>
                  <a:gd name="connsiteX2" fmla="*/ 5406 w 6284"/>
                  <a:gd name="connsiteY2" fmla="*/ 1454 h 7409"/>
                  <a:gd name="connsiteX3" fmla="*/ 6285 w 6284"/>
                  <a:gd name="connsiteY3" fmla="*/ 6888 h 7409"/>
                  <a:gd name="connsiteX4" fmla="*/ 2415 w 6284"/>
                  <a:gd name="connsiteY4" fmla="*/ 7410 h 7409"/>
                  <a:gd name="connsiteX5" fmla="*/ 0 w 6284"/>
                  <a:gd name="connsiteY5" fmla="*/ 1647 h 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4" h="7409">
                    <a:moveTo>
                      <a:pt x="0" y="1619"/>
                    </a:moveTo>
                    <a:lnTo>
                      <a:pt x="1427" y="0"/>
                    </a:lnTo>
                    <a:lnTo>
                      <a:pt x="5406" y="1454"/>
                    </a:lnTo>
                    <a:lnTo>
                      <a:pt x="6285" y="6888"/>
                    </a:lnTo>
                    <a:lnTo>
                      <a:pt x="2415" y="7410"/>
                    </a:lnTo>
                    <a:lnTo>
                      <a:pt x="0"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69" name="Freeform: Shape 3768">
                <a:extLst>
                  <a:ext uri="{FF2B5EF4-FFF2-40B4-BE49-F238E27FC236}">
                    <a16:creationId xmlns:a16="http://schemas.microsoft.com/office/drawing/2014/main" id="{1FA52EF4-1242-767D-26AF-823F06F50E63}"/>
                  </a:ext>
                </a:extLst>
              </p:cNvPr>
              <p:cNvSpPr/>
              <p:nvPr/>
            </p:nvSpPr>
            <p:spPr>
              <a:xfrm>
                <a:off x="964096" y="3644219"/>
                <a:ext cx="384" cy="787"/>
              </a:xfrm>
              <a:custGeom>
                <a:avLst/>
                <a:gdLst>
                  <a:gd name="connsiteX0" fmla="*/ 27 w 3677"/>
                  <a:gd name="connsiteY0" fmla="*/ 4967 h 7546"/>
                  <a:gd name="connsiteX1" fmla="*/ 1400 w 3677"/>
                  <a:gd name="connsiteY1" fmla="*/ 0 h 7546"/>
                  <a:gd name="connsiteX2" fmla="*/ 3677 w 3677"/>
                  <a:gd name="connsiteY2" fmla="*/ 4583 h 7546"/>
                  <a:gd name="connsiteX3" fmla="*/ 1701 w 3677"/>
                  <a:gd name="connsiteY3" fmla="*/ 7547 h 7546"/>
                  <a:gd name="connsiteX4" fmla="*/ 0 w 3677"/>
                  <a:gd name="connsiteY4" fmla="*/ 4967 h 7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7" h="7546">
                    <a:moveTo>
                      <a:pt x="27" y="4967"/>
                    </a:moveTo>
                    <a:lnTo>
                      <a:pt x="1400" y="0"/>
                    </a:lnTo>
                    <a:lnTo>
                      <a:pt x="3677" y="4583"/>
                    </a:lnTo>
                    <a:lnTo>
                      <a:pt x="1701" y="7547"/>
                    </a:lnTo>
                    <a:lnTo>
                      <a:pt x="0" y="49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0" name="Freeform: Shape 3769">
                <a:extLst>
                  <a:ext uri="{FF2B5EF4-FFF2-40B4-BE49-F238E27FC236}">
                    <a16:creationId xmlns:a16="http://schemas.microsoft.com/office/drawing/2014/main" id="{A9B039C8-DA6C-9070-4A1B-F060A3AB3E9A}"/>
                  </a:ext>
                </a:extLst>
              </p:cNvPr>
              <p:cNvSpPr/>
              <p:nvPr/>
            </p:nvSpPr>
            <p:spPr>
              <a:xfrm>
                <a:off x="1136620" y="3595523"/>
                <a:ext cx="681" cy="544"/>
              </a:xfrm>
              <a:custGeom>
                <a:avLst/>
                <a:gdLst>
                  <a:gd name="connsiteX0" fmla="*/ 27 w 6531"/>
                  <a:gd name="connsiteY0" fmla="*/ 2086 h 5214"/>
                  <a:gd name="connsiteX1" fmla="*/ 988 w 6531"/>
                  <a:gd name="connsiteY1" fmla="*/ 110 h 5214"/>
                  <a:gd name="connsiteX2" fmla="*/ 4391 w 6531"/>
                  <a:gd name="connsiteY2" fmla="*/ 0 h 5214"/>
                  <a:gd name="connsiteX3" fmla="*/ 6531 w 6531"/>
                  <a:gd name="connsiteY3" fmla="*/ 2058 h 5214"/>
                  <a:gd name="connsiteX4" fmla="*/ 6312 w 6531"/>
                  <a:gd name="connsiteY4" fmla="*/ 5214 h 5214"/>
                  <a:gd name="connsiteX5" fmla="*/ 2634 w 6531"/>
                  <a:gd name="connsiteY5" fmla="*/ 4665 h 5214"/>
                  <a:gd name="connsiteX6" fmla="*/ 0 w 6531"/>
                  <a:gd name="connsiteY6" fmla="*/ 2058 h 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5214">
                    <a:moveTo>
                      <a:pt x="27" y="2086"/>
                    </a:moveTo>
                    <a:lnTo>
                      <a:pt x="988" y="110"/>
                    </a:lnTo>
                    <a:lnTo>
                      <a:pt x="4391" y="0"/>
                    </a:lnTo>
                    <a:lnTo>
                      <a:pt x="6531" y="2058"/>
                    </a:lnTo>
                    <a:lnTo>
                      <a:pt x="6312" y="5214"/>
                    </a:lnTo>
                    <a:lnTo>
                      <a:pt x="2634" y="4665"/>
                    </a:lnTo>
                    <a:lnTo>
                      <a:pt x="0"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1" name="Freeform: Shape 3770">
                <a:extLst>
                  <a:ext uri="{FF2B5EF4-FFF2-40B4-BE49-F238E27FC236}">
                    <a16:creationId xmlns:a16="http://schemas.microsoft.com/office/drawing/2014/main" id="{0633F412-705D-362C-294E-309B0BF4DB17}"/>
                  </a:ext>
                </a:extLst>
              </p:cNvPr>
              <p:cNvSpPr/>
              <p:nvPr/>
            </p:nvSpPr>
            <p:spPr>
              <a:xfrm>
                <a:off x="1113538" y="3554743"/>
                <a:ext cx="461" cy="970"/>
              </a:xfrm>
              <a:custGeom>
                <a:avLst/>
                <a:gdLst>
                  <a:gd name="connsiteX0" fmla="*/ 0 w 4418"/>
                  <a:gd name="connsiteY0" fmla="*/ 8068 h 9303"/>
                  <a:gd name="connsiteX1" fmla="*/ 2525 w 4418"/>
                  <a:gd name="connsiteY1" fmla="*/ 0 h 9303"/>
                  <a:gd name="connsiteX2" fmla="*/ 4418 w 4418"/>
                  <a:gd name="connsiteY2" fmla="*/ 1839 h 9303"/>
                  <a:gd name="connsiteX3" fmla="*/ 1921 w 4418"/>
                  <a:gd name="connsiteY3" fmla="*/ 9303 h 9303"/>
                  <a:gd name="connsiteX4" fmla="*/ 0 w 4418"/>
                  <a:gd name="connsiteY4" fmla="*/ 8068 h 9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9303">
                    <a:moveTo>
                      <a:pt x="0" y="8068"/>
                    </a:moveTo>
                    <a:lnTo>
                      <a:pt x="2525" y="0"/>
                    </a:lnTo>
                    <a:lnTo>
                      <a:pt x="4418" y="1839"/>
                    </a:lnTo>
                    <a:lnTo>
                      <a:pt x="1921" y="9303"/>
                    </a:lnTo>
                    <a:lnTo>
                      <a:pt x="0" y="80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2" name="Freeform: Shape 3771">
                <a:extLst>
                  <a:ext uri="{FF2B5EF4-FFF2-40B4-BE49-F238E27FC236}">
                    <a16:creationId xmlns:a16="http://schemas.microsoft.com/office/drawing/2014/main" id="{E6986D2A-2270-B145-F911-40A2F2596B21}"/>
                  </a:ext>
                </a:extLst>
              </p:cNvPr>
              <p:cNvSpPr/>
              <p:nvPr/>
            </p:nvSpPr>
            <p:spPr>
              <a:xfrm>
                <a:off x="1122348" y="3654870"/>
                <a:ext cx="487" cy="550"/>
              </a:xfrm>
              <a:custGeom>
                <a:avLst/>
                <a:gdLst>
                  <a:gd name="connsiteX0" fmla="*/ 4007 w 4665"/>
                  <a:gd name="connsiteY0" fmla="*/ 2470 h 5269"/>
                  <a:gd name="connsiteX1" fmla="*/ 1838 w 4665"/>
                  <a:gd name="connsiteY1" fmla="*/ 5269 h 5269"/>
                  <a:gd name="connsiteX2" fmla="*/ 0 w 4665"/>
                  <a:gd name="connsiteY2" fmla="*/ 4583 h 5269"/>
                  <a:gd name="connsiteX3" fmla="*/ 3046 w 4665"/>
                  <a:gd name="connsiteY3" fmla="*/ 0 h 5269"/>
                  <a:gd name="connsiteX4" fmla="*/ 4665 w 4665"/>
                  <a:gd name="connsiteY4" fmla="*/ 0 h 5269"/>
                  <a:gd name="connsiteX5" fmla="*/ 4062 w 4665"/>
                  <a:gd name="connsiteY5" fmla="*/ 2497 h 5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5" h="5269">
                    <a:moveTo>
                      <a:pt x="4007" y="2470"/>
                    </a:moveTo>
                    <a:lnTo>
                      <a:pt x="1838" y="5269"/>
                    </a:lnTo>
                    <a:lnTo>
                      <a:pt x="0" y="4583"/>
                    </a:lnTo>
                    <a:lnTo>
                      <a:pt x="3046" y="0"/>
                    </a:lnTo>
                    <a:lnTo>
                      <a:pt x="4665" y="0"/>
                    </a:lnTo>
                    <a:cubicBezTo>
                      <a:pt x="4665" y="0"/>
                      <a:pt x="4062" y="2497"/>
                      <a:pt x="4062" y="2497"/>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3" name="Freeform: Shape 3772">
                <a:extLst>
                  <a:ext uri="{FF2B5EF4-FFF2-40B4-BE49-F238E27FC236}">
                    <a16:creationId xmlns:a16="http://schemas.microsoft.com/office/drawing/2014/main" id="{074A99E9-CFF6-B083-45A0-02E3E58CE1CB}"/>
                  </a:ext>
                </a:extLst>
              </p:cNvPr>
              <p:cNvSpPr/>
              <p:nvPr/>
            </p:nvSpPr>
            <p:spPr>
              <a:xfrm>
                <a:off x="967923" y="3653482"/>
                <a:ext cx="489" cy="535"/>
              </a:xfrm>
              <a:custGeom>
                <a:avLst/>
                <a:gdLst>
                  <a:gd name="connsiteX0" fmla="*/ 0 w 4692"/>
                  <a:gd name="connsiteY0" fmla="*/ 1811 h 5131"/>
                  <a:gd name="connsiteX1" fmla="*/ 2772 w 4692"/>
                  <a:gd name="connsiteY1" fmla="*/ 0 h 5131"/>
                  <a:gd name="connsiteX2" fmla="*/ 4693 w 4692"/>
                  <a:gd name="connsiteY2" fmla="*/ 3540 h 5131"/>
                  <a:gd name="connsiteX3" fmla="*/ 3321 w 4692"/>
                  <a:gd name="connsiteY3" fmla="*/ 5132 h 5131"/>
                  <a:gd name="connsiteX4" fmla="*/ 0 w 4692"/>
                  <a:gd name="connsiteY4" fmla="*/ 1811 h 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5131">
                    <a:moveTo>
                      <a:pt x="0" y="1811"/>
                    </a:moveTo>
                    <a:lnTo>
                      <a:pt x="2772" y="0"/>
                    </a:lnTo>
                    <a:lnTo>
                      <a:pt x="4693" y="3540"/>
                    </a:lnTo>
                    <a:lnTo>
                      <a:pt x="3321" y="5132"/>
                    </a:lnTo>
                    <a:lnTo>
                      <a:pt x="0"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4" name="Freeform: Shape 3773">
                <a:extLst>
                  <a:ext uri="{FF2B5EF4-FFF2-40B4-BE49-F238E27FC236}">
                    <a16:creationId xmlns:a16="http://schemas.microsoft.com/office/drawing/2014/main" id="{D7FFDD9F-AC24-8EBF-04B4-562F1C5BB286}"/>
                  </a:ext>
                </a:extLst>
              </p:cNvPr>
              <p:cNvSpPr/>
              <p:nvPr/>
            </p:nvSpPr>
            <p:spPr>
              <a:xfrm>
                <a:off x="1113635" y="3543946"/>
                <a:ext cx="495" cy="904"/>
              </a:xfrm>
              <a:custGeom>
                <a:avLst/>
                <a:gdLst>
                  <a:gd name="connsiteX0" fmla="*/ 0 w 4747"/>
                  <a:gd name="connsiteY0" fmla="*/ 3238 h 8672"/>
                  <a:gd name="connsiteX1" fmla="*/ 604 w 4747"/>
                  <a:gd name="connsiteY1" fmla="*/ 0 h 8672"/>
                  <a:gd name="connsiteX2" fmla="*/ 4748 w 4747"/>
                  <a:gd name="connsiteY2" fmla="*/ 4007 h 8672"/>
                  <a:gd name="connsiteX3" fmla="*/ 2662 w 4747"/>
                  <a:gd name="connsiteY3" fmla="*/ 8672 h 8672"/>
                  <a:gd name="connsiteX4" fmla="*/ 0 w 4747"/>
                  <a:gd name="connsiteY4" fmla="*/ 3238 h 8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7" h="8672">
                    <a:moveTo>
                      <a:pt x="0" y="3238"/>
                    </a:moveTo>
                    <a:lnTo>
                      <a:pt x="604" y="0"/>
                    </a:lnTo>
                    <a:lnTo>
                      <a:pt x="4748" y="4007"/>
                    </a:lnTo>
                    <a:lnTo>
                      <a:pt x="2662" y="8672"/>
                    </a:lnTo>
                    <a:lnTo>
                      <a:pt x="0"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5" name="Freeform: Shape 3774">
                <a:extLst>
                  <a:ext uri="{FF2B5EF4-FFF2-40B4-BE49-F238E27FC236}">
                    <a16:creationId xmlns:a16="http://schemas.microsoft.com/office/drawing/2014/main" id="{D80738F6-0BED-0E1E-97DB-D213E13CDC61}"/>
                  </a:ext>
                </a:extLst>
              </p:cNvPr>
              <p:cNvSpPr/>
              <p:nvPr/>
            </p:nvSpPr>
            <p:spPr>
              <a:xfrm>
                <a:off x="1140092" y="3523841"/>
                <a:ext cx="467" cy="1053"/>
              </a:xfrm>
              <a:custGeom>
                <a:avLst/>
                <a:gdLst>
                  <a:gd name="connsiteX0" fmla="*/ 3760 w 4473"/>
                  <a:gd name="connsiteY0" fmla="*/ 9550 h 10098"/>
                  <a:gd name="connsiteX1" fmla="*/ 521 w 4473"/>
                  <a:gd name="connsiteY1" fmla="*/ 10099 h 10098"/>
                  <a:gd name="connsiteX2" fmla="*/ 0 w 4473"/>
                  <a:gd name="connsiteY2" fmla="*/ 6833 h 10098"/>
                  <a:gd name="connsiteX3" fmla="*/ 4473 w 4473"/>
                  <a:gd name="connsiteY3" fmla="*/ 0 h 10098"/>
                  <a:gd name="connsiteX4" fmla="*/ 3760 w 4473"/>
                  <a:gd name="connsiteY4" fmla="*/ 9578 h 1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3" h="10098">
                    <a:moveTo>
                      <a:pt x="3760" y="9550"/>
                    </a:moveTo>
                    <a:lnTo>
                      <a:pt x="521" y="10099"/>
                    </a:lnTo>
                    <a:lnTo>
                      <a:pt x="0" y="6833"/>
                    </a:lnTo>
                    <a:lnTo>
                      <a:pt x="4473" y="0"/>
                    </a:lnTo>
                    <a:lnTo>
                      <a:pt x="3760" y="95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6" name="Freeform: Shape 3775">
                <a:extLst>
                  <a:ext uri="{FF2B5EF4-FFF2-40B4-BE49-F238E27FC236}">
                    <a16:creationId xmlns:a16="http://schemas.microsoft.com/office/drawing/2014/main" id="{C3491337-8681-2E20-3743-CB7DD49FF299}"/>
                  </a:ext>
                </a:extLst>
              </p:cNvPr>
              <p:cNvSpPr/>
              <p:nvPr/>
            </p:nvSpPr>
            <p:spPr>
              <a:xfrm>
                <a:off x="1143435" y="3589434"/>
                <a:ext cx="395" cy="879"/>
              </a:xfrm>
              <a:custGeom>
                <a:avLst/>
                <a:gdLst>
                  <a:gd name="connsiteX0" fmla="*/ 0 w 3787"/>
                  <a:gd name="connsiteY0" fmla="*/ 3705 h 8425"/>
                  <a:gd name="connsiteX1" fmla="*/ 2305 w 3787"/>
                  <a:gd name="connsiteY1" fmla="*/ 0 h 8425"/>
                  <a:gd name="connsiteX2" fmla="*/ 3787 w 3787"/>
                  <a:gd name="connsiteY2" fmla="*/ 5900 h 8425"/>
                  <a:gd name="connsiteX3" fmla="*/ 2552 w 3787"/>
                  <a:gd name="connsiteY3" fmla="*/ 8425 h 8425"/>
                  <a:gd name="connsiteX4" fmla="*/ 0 w 3787"/>
                  <a:gd name="connsiteY4" fmla="*/ 3705 h 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8425">
                    <a:moveTo>
                      <a:pt x="0" y="3705"/>
                    </a:moveTo>
                    <a:lnTo>
                      <a:pt x="2305" y="0"/>
                    </a:lnTo>
                    <a:lnTo>
                      <a:pt x="3787" y="5900"/>
                    </a:lnTo>
                    <a:lnTo>
                      <a:pt x="2552" y="8425"/>
                    </a:lnTo>
                    <a:lnTo>
                      <a:pt x="0"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7" name="Freeform: Shape 3776">
                <a:extLst>
                  <a:ext uri="{FF2B5EF4-FFF2-40B4-BE49-F238E27FC236}">
                    <a16:creationId xmlns:a16="http://schemas.microsoft.com/office/drawing/2014/main" id="{5CD83B05-32FD-A422-8146-93E70EE0D69C}"/>
                  </a:ext>
                </a:extLst>
              </p:cNvPr>
              <p:cNvSpPr/>
              <p:nvPr/>
            </p:nvSpPr>
            <p:spPr>
              <a:xfrm>
                <a:off x="1066710" y="3462124"/>
                <a:ext cx="664" cy="1030"/>
              </a:xfrm>
              <a:custGeom>
                <a:avLst/>
                <a:gdLst>
                  <a:gd name="connsiteX0" fmla="*/ 6175 w 6366"/>
                  <a:gd name="connsiteY0" fmla="*/ 4940 h 9879"/>
                  <a:gd name="connsiteX1" fmla="*/ 2854 w 6366"/>
                  <a:gd name="connsiteY1" fmla="*/ 9879 h 9879"/>
                  <a:gd name="connsiteX2" fmla="*/ 0 w 6366"/>
                  <a:gd name="connsiteY2" fmla="*/ 5297 h 9879"/>
                  <a:gd name="connsiteX3" fmla="*/ 1647 w 6366"/>
                  <a:gd name="connsiteY3" fmla="*/ 576 h 9879"/>
                  <a:gd name="connsiteX4" fmla="*/ 6367 w 6366"/>
                  <a:gd name="connsiteY4" fmla="*/ 0 h 9879"/>
                  <a:gd name="connsiteX5" fmla="*/ 6175 w 6366"/>
                  <a:gd name="connsiteY5" fmla="*/ 4940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66" h="9879">
                    <a:moveTo>
                      <a:pt x="6175" y="4940"/>
                    </a:moveTo>
                    <a:lnTo>
                      <a:pt x="2854" y="9879"/>
                    </a:lnTo>
                    <a:lnTo>
                      <a:pt x="0" y="5297"/>
                    </a:lnTo>
                    <a:lnTo>
                      <a:pt x="1647" y="576"/>
                    </a:lnTo>
                    <a:lnTo>
                      <a:pt x="6367" y="0"/>
                    </a:lnTo>
                    <a:lnTo>
                      <a:pt x="6175" y="49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8" name="Freeform: Shape 3777">
                <a:extLst>
                  <a:ext uri="{FF2B5EF4-FFF2-40B4-BE49-F238E27FC236}">
                    <a16:creationId xmlns:a16="http://schemas.microsoft.com/office/drawing/2014/main" id="{B2AE5C20-7026-5DCA-60BD-3BADE1E3BF5A}"/>
                  </a:ext>
                </a:extLst>
              </p:cNvPr>
              <p:cNvSpPr/>
              <p:nvPr/>
            </p:nvSpPr>
            <p:spPr>
              <a:xfrm>
                <a:off x="1160214" y="3593373"/>
                <a:ext cx="426" cy="801"/>
              </a:xfrm>
              <a:custGeom>
                <a:avLst/>
                <a:gdLst>
                  <a:gd name="connsiteX0" fmla="*/ 0 w 4088"/>
                  <a:gd name="connsiteY0" fmla="*/ 3842 h 7684"/>
                  <a:gd name="connsiteX1" fmla="*/ 2772 w 4088"/>
                  <a:gd name="connsiteY1" fmla="*/ 0 h 7684"/>
                  <a:gd name="connsiteX2" fmla="*/ 4089 w 4088"/>
                  <a:gd name="connsiteY2" fmla="*/ 4748 h 7684"/>
                  <a:gd name="connsiteX3" fmla="*/ 3321 w 4088"/>
                  <a:gd name="connsiteY3" fmla="*/ 7684 h 7684"/>
                  <a:gd name="connsiteX4" fmla="*/ 27 w 4088"/>
                  <a:gd name="connsiteY4" fmla="*/ 3842 h 7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7684">
                    <a:moveTo>
                      <a:pt x="0" y="3842"/>
                    </a:moveTo>
                    <a:lnTo>
                      <a:pt x="2772" y="0"/>
                    </a:lnTo>
                    <a:lnTo>
                      <a:pt x="4089" y="4748"/>
                    </a:lnTo>
                    <a:lnTo>
                      <a:pt x="3321" y="7684"/>
                    </a:lnTo>
                    <a:lnTo>
                      <a:pt x="27" y="38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79" name="Freeform: Shape 3778">
                <a:extLst>
                  <a:ext uri="{FF2B5EF4-FFF2-40B4-BE49-F238E27FC236}">
                    <a16:creationId xmlns:a16="http://schemas.microsoft.com/office/drawing/2014/main" id="{9412ECCB-35AC-1796-BB3C-51CA16A64BD3}"/>
                  </a:ext>
                </a:extLst>
              </p:cNvPr>
              <p:cNvSpPr/>
              <p:nvPr/>
            </p:nvSpPr>
            <p:spPr>
              <a:xfrm>
                <a:off x="1174391" y="3572624"/>
                <a:ext cx="438" cy="856"/>
              </a:xfrm>
              <a:custGeom>
                <a:avLst/>
                <a:gdLst>
                  <a:gd name="connsiteX0" fmla="*/ 27 w 4198"/>
                  <a:gd name="connsiteY0" fmla="*/ 2415 h 8205"/>
                  <a:gd name="connsiteX1" fmla="*/ 1125 w 4198"/>
                  <a:gd name="connsiteY1" fmla="*/ 0 h 8205"/>
                  <a:gd name="connsiteX2" fmla="*/ 1866 w 4198"/>
                  <a:gd name="connsiteY2" fmla="*/ 2223 h 8205"/>
                  <a:gd name="connsiteX3" fmla="*/ 4199 w 4198"/>
                  <a:gd name="connsiteY3" fmla="*/ 2058 h 8205"/>
                  <a:gd name="connsiteX4" fmla="*/ 3979 w 4198"/>
                  <a:gd name="connsiteY4" fmla="*/ 7190 h 8205"/>
                  <a:gd name="connsiteX5" fmla="*/ 3074 w 4198"/>
                  <a:gd name="connsiteY5" fmla="*/ 8206 h 8205"/>
                  <a:gd name="connsiteX6" fmla="*/ 0 w 4198"/>
                  <a:gd name="connsiteY6" fmla="*/ 2415 h 8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 h="8205">
                    <a:moveTo>
                      <a:pt x="27" y="2415"/>
                    </a:moveTo>
                    <a:lnTo>
                      <a:pt x="1125" y="0"/>
                    </a:lnTo>
                    <a:lnTo>
                      <a:pt x="1866" y="2223"/>
                    </a:lnTo>
                    <a:lnTo>
                      <a:pt x="4199" y="2058"/>
                    </a:lnTo>
                    <a:lnTo>
                      <a:pt x="3979" y="7190"/>
                    </a:lnTo>
                    <a:lnTo>
                      <a:pt x="3074" y="8206"/>
                    </a:lnTo>
                    <a:lnTo>
                      <a:pt x="0"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0" name="Freeform: Shape 3779">
                <a:extLst>
                  <a:ext uri="{FF2B5EF4-FFF2-40B4-BE49-F238E27FC236}">
                    <a16:creationId xmlns:a16="http://schemas.microsoft.com/office/drawing/2014/main" id="{7539E68D-D4EE-EC28-EFE0-3C2D17C7ED08}"/>
                  </a:ext>
                </a:extLst>
              </p:cNvPr>
              <p:cNvSpPr/>
              <p:nvPr/>
            </p:nvSpPr>
            <p:spPr>
              <a:xfrm>
                <a:off x="1177385" y="3633984"/>
                <a:ext cx="478" cy="575"/>
              </a:xfrm>
              <a:custGeom>
                <a:avLst/>
                <a:gdLst>
                  <a:gd name="connsiteX0" fmla="*/ 0 w 4583"/>
                  <a:gd name="connsiteY0" fmla="*/ 1564 h 5516"/>
                  <a:gd name="connsiteX1" fmla="*/ 659 w 4583"/>
                  <a:gd name="connsiteY1" fmla="*/ 0 h 5516"/>
                  <a:gd name="connsiteX2" fmla="*/ 4583 w 4583"/>
                  <a:gd name="connsiteY2" fmla="*/ 1537 h 5516"/>
                  <a:gd name="connsiteX3" fmla="*/ 3348 w 4583"/>
                  <a:gd name="connsiteY3" fmla="*/ 5516 h 5516"/>
                  <a:gd name="connsiteX4" fmla="*/ 0 w 4583"/>
                  <a:gd name="connsiteY4" fmla="*/ 1564 h 5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 h="5516">
                    <a:moveTo>
                      <a:pt x="0" y="1564"/>
                    </a:moveTo>
                    <a:lnTo>
                      <a:pt x="659" y="0"/>
                    </a:lnTo>
                    <a:lnTo>
                      <a:pt x="4583" y="1537"/>
                    </a:lnTo>
                    <a:lnTo>
                      <a:pt x="3348" y="5516"/>
                    </a:lnTo>
                    <a:lnTo>
                      <a:pt x="0"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1" name="Freeform: Shape 3780">
                <a:extLst>
                  <a:ext uri="{FF2B5EF4-FFF2-40B4-BE49-F238E27FC236}">
                    <a16:creationId xmlns:a16="http://schemas.microsoft.com/office/drawing/2014/main" id="{EB7C8413-AD4A-0076-1C8D-834C7F65B4F8}"/>
                  </a:ext>
                </a:extLst>
              </p:cNvPr>
              <p:cNvSpPr/>
              <p:nvPr/>
            </p:nvSpPr>
            <p:spPr>
              <a:xfrm>
                <a:off x="1109164" y="3573294"/>
                <a:ext cx="607" cy="612"/>
              </a:xfrm>
              <a:custGeom>
                <a:avLst/>
                <a:gdLst>
                  <a:gd name="connsiteX0" fmla="*/ 0 w 5817"/>
                  <a:gd name="connsiteY0" fmla="*/ 2140 h 5872"/>
                  <a:gd name="connsiteX1" fmla="*/ 522 w 5817"/>
                  <a:gd name="connsiteY1" fmla="*/ 714 h 5872"/>
                  <a:gd name="connsiteX2" fmla="*/ 5297 w 5817"/>
                  <a:gd name="connsiteY2" fmla="*/ 0 h 5872"/>
                  <a:gd name="connsiteX3" fmla="*/ 5818 w 5817"/>
                  <a:gd name="connsiteY3" fmla="*/ 1949 h 5872"/>
                  <a:gd name="connsiteX4" fmla="*/ 2223 w 5817"/>
                  <a:gd name="connsiteY4" fmla="*/ 5873 h 5872"/>
                  <a:gd name="connsiteX5" fmla="*/ 27 w 5817"/>
                  <a:gd name="connsiteY5" fmla="*/ 2140 h 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7" h="5872">
                    <a:moveTo>
                      <a:pt x="0" y="2140"/>
                    </a:moveTo>
                    <a:lnTo>
                      <a:pt x="522" y="714"/>
                    </a:lnTo>
                    <a:lnTo>
                      <a:pt x="5297" y="0"/>
                    </a:lnTo>
                    <a:lnTo>
                      <a:pt x="5818" y="1949"/>
                    </a:lnTo>
                    <a:lnTo>
                      <a:pt x="2223" y="5873"/>
                    </a:lnTo>
                    <a:lnTo>
                      <a:pt x="27" y="21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2" name="Freeform: Shape 3781">
                <a:extLst>
                  <a:ext uri="{FF2B5EF4-FFF2-40B4-BE49-F238E27FC236}">
                    <a16:creationId xmlns:a16="http://schemas.microsoft.com/office/drawing/2014/main" id="{D6367213-70C8-E1E5-B8FF-AD730866D8E9}"/>
                  </a:ext>
                </a:extLst>
              </p:cNvPr>
              <p:cNvSpPr/>
              <p:nvPr/>
            </p:nvSpPr>
            <p:spPr>
              <a:xfrm>
                <a:off x="971103" y="3657051"/>
                <a:ext cx="461" cy="535"/>
              </a:xfrm>
              <a:custGeom>
                <a:avLst/>
                <a:gdLst>
                  <a:gd name="connsiteX0" fmla="*/ 0 w 4418"/>
                  <a:gd name="connsiteY0" fmla="*/ 2634 h 5131"/>
                  <a:gd name="connsiteX1" fmla="*/ 2854 w 4418"/>
                  <a:gd name="connsiteY1" fmla="*/ 0 h 5131"/>
                  <a:gd name="connsiteX2" fmla="*/ 4418 w 4418"/>
                  <a:gd name="connsiteY2" fmla="*/ 2360 h 5131"/>
                  <a:gd name="connsiteX3" fmla="*/ 3238 w 4418"/>
                  <a:gd name="connsiteY3" fmla="*/ 5132 h 5131"/>
                  <a:gd name="connsiteX4" fmla="*/ 27 w 4418"/>
                  <a:gd name="connsiteY4" fmla="*/ 2634 h 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8" h="5131">
                    <a:moveTo>
                      <a:pt x="0" y="2634"/>
                    </a:moveTo>
                    <a:lnTo>
                      <a:pt x="2854" y="0"/>
                    </a:lnTo>
                    <a:lnTo>
                      <a:pt x="4418" y="2360"/>
                    </a:lnTo>
                    <a:lnTo>
                      <a:pt x="3238" y="5132"/>
                    </a:lnTo>
                    <a:lnTo>
                      <a:pt x="27"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3" name="Freeform: Shape 3782">
                <a:extLst>
                  <a:ext uri="{FF2B5EF4-FFF2-40B4-BE49-F238E27FC236}">
                    <a16:creationId xmlns:a16="http://schemas.microsoft.com/office/drawing/2014/main" id="{C5900E67-9DCF-9743-B003-682514EFB8E0}"/>
                  </a:ext>
                </a:extLst>
              </p:cNvPr>
              <p:cNvSpPr/>
              <p:nvPr/>
            </p:nvSpPr>
            <p:spPr>
              <a:xfrm>
                <a:off x="1087786" y="3542629"/>
                <a:ext cx="452" cy="959"/>
              </a:xfrm>
              <a:custGeom>
                <a:avLst/>
                <a:gdLst>
                  <a:gd name="connsiteX0" fmla="*/ 0 w 4336"/>
                  <a:gd name="connsiteY0" fmla="*/ 4199 h 9193"/>
                  <a:gd name="connsiteX1" fmla="*/ 1756 w 4336"/>
                  <a:gd name="connsiteY1" fmla="*/ 0 h 9193"/>
                  <a:gd name="connsiteX2" fmla="*/ 4336 w 4336"/>
                  <a:gd name="connsiteY2" fmla="*/ 2031 h 9193"/>
                  <a:gd name="connsiteX3" fmla="*/ 1866 w 4336"/>
                  <a:gd name="connsiteY3" fmla="*/ 9193 h 9193"/>
                  <a:gd name="connsiteX4" fmla="*/ 0 w 4336"/>
                  <a:gd name="connsiteY4" fmla="*/ 4171 h 9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9193">
                    <a:moveTo>
                      <a:pt x="0" y="4199"/>
                    </a:moveTo>
                    <a:lnTo>
                      <a:pt x="1756" y="0"/>
                    </a:lnTo>
                    <a:lnTo>
                      <a:pt x="4336" y="2031"/>
                    </a:lnTo>
                    <a:lnTo>
                      <a:pt x="1866" y="9193"/>
                    </a:lnTo>
                    <a:lnTo>
                      <a:pt x="0" y="41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4" name="Freeform: Shape 3783">
                <a:extLst>
                  <a:ext uri="{FF2B5EF4-FFF2-40B4-BE49-F238E27FC236}">
                    <a16:creationId xmlns:a16="http://schemas.microsoft.com/office/drawing/2014/main" id="{F980F99B-AD05-45F6-C831-95DFC4D14049}"/>
                  </a:ext>
                </a:extLst>
              </p:cNvPr>
              <p:cNvSpPr/>
              <p:nvPr/>
            </p:nvSpPr>
            <p:spPr>
              <a:xfrm>
                <a:off x="1120908" y="3624819"/>
                <a:ext cx="335" cy="850"/>
              </a:xfrm>
              <a:custGeom>
                <a:avLst/>
                <a:gdLst>
                  <a:gd name="connsiteX0" fmla="*/ 2772 w 3210"/>
                  <a:gd name="connsiteY0" fmla="*/ 5022 h 8150"/>
                  <a:gd name="connsiteX1" fmla="*/ 878 w 3210"/>
                  <a:gd name="connsiteY1" fmla="*/ 8150 h 8150"/>
                  <a:gd name="connsiteX2" fmla="*/ 0 w 3210"/>
                  <a:gd name="connsiteY2" fmla="*/ 6916 h 8150"/>
                  <a:gd name="connsiteX3" fmla="*/ 1647 w 3210"/>
                  <a:gd name="connsiteY3" fmla="*/ 878 h 8150"/>
                  <a:gd name="connsiteX4" fmla="*/ 3211 w 3210"/>
                  <a:gd name="connsiteY4" fmla="*/ 0 h 8150"/>
                  <a:gd name="connsiteX5" fmla="*/ 2799 w 3210"/>
                  <a:gd name="connsiteY5" fmla="*/ 5022 h 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0" h="8150">
                    <a:moveTo>
                      <a:pt x="2772" y="5022"/>
                    </a:moveTo>
                    <a:lnTo>
                      <a:pt x="878" y="8150"/>
                    </a:lnTo>
                    <a:lnTo>
                      <a:pt x="0" y="6916"/>
                    </a:lnTo>
                    <a:lnTo>
                      <a:pt x="1647" y="878"/>
                    </a:lnTo>
                    <a:lnTo>
                      <a:pt x="3211" y="0"/>
                    </a:lnTo>
                    <a:lnTo>
                      <a:pt x="2799" y="50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5" name="Freeform: Shape 3784">
                <a:extLst>
                  <a:ext uri="{FF2B5EF4-FFF2-40B4-BE49-F238E27FC236}">
                    <a16:creationId xmlns:a16="http://schemas.microsoft.com/office/drawing/2014/main" id="{566E9C02-9CD2-D98E-8C90-B0ACB5D8C0FC}"/>
                  </a:ext>
                </a:extLst>
              </p:cNvPr>
              <p:cNvSpPr/>
              <p:nvPr/>
            </p:nvSpPr>
            <p:spPr>
              <a:xfrm>
                <a:off x="1175318" y="3678710"/>
                <a:ext cx="426" cy="515"/>
              </a:xfrm>
              <a:custGeom>
                <a:avLst/>
                <a:gdLst>
                  <a:gd name="connsiteX0" fmla="*/ 0 w 4088"/>
                  <a:gd name="connsiteY0" fmla="*/ 3458 h 4939"/>
                  <a:gd name="connsiteX1" fmla="*/ 2333 w 4088"/>
                  <a:gd name="connsiteY1" fmla="*/ 0 h 4939"/>
                  <a:gd name="connsiteX2" fmla="*/ 4089 w 4088"/>
                  <a:gd name="connsiteY2" fmla="*/ 1866 h 4939"/>
                  <a:gd name="connsiteX3" fmla="*/ 2662 w 4088"/>
                  <a:gd name="connsiteY3" fmla="*/ 4940 h 4939"/>
                  <a:gd name="connsiteX4" fmla="*/ 0 w 4088"/>
                  <a:gd name="connsiteY4" fmla="*/ 3458 h 4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4939">
                    <a:moveTo>
                      <a:pt x="0" y="3458"/>
                    </a:moveTo>
                    <a:lnTo>
                      <a:pt x="2333" y="0"/>
                    </a:lnTo>
                    <a:lnTo>
                      <a:pt x="4089" y="1866"/>
                    </a:lnTo>
                    <a:lnTo>
                      <a:pt x="2662" y="4940"/>
                    </a:lnTo>
                    <a:lnTo>
                      <a:pt x="0" y="34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6" name="Freeform: Shape 3785">
                <a:extLst>
                  <a:ext uri="{FF2B5EF4-FFF2-40B4-BE49-F238E27FC236}">
                    <a16:creationId xmlns:a16="http://schemas.microsoft.com/office/drawing/2014/main" id="{532CDF9D-8A69-CAC5-FFC5-980725AC6F13}"/>
                  </a:ext>
                </a:extLst>
              </p:cNvPr>
              <p:cNvSpPr/>
              <p:nvPr/>
            </p:nvSpPr>
            <p:spPr>
              <a:xfrm>
                <a:off x="1119328" y="3544547"/>
                <a:ext cx="504" cy="833"/>
              </a:xfrm>
              <a:custGeom>
                <a:avLst/>
                <a:gdLst>
                  <a:gd name="connsiteX0" fmla="*/ 0 w 4829"/>
                  <a:gd name="connsiteY0" fmla="*/ 3540 h 7985"/>
                  <a:gd name="connsiteX1" fmla="*/ 1372 w 4829"/>
                  <a:gd name="connsiteY1" fmla="*/ 0 h 7985"/>
                  <a:gd name="connsiteX2" fmla="*/ 4830 w 4829"/>
                  <a:gd name="connsiteY2" fmla="*/ 2991 h 7985"/>
                  <a:gd name="connsiteX3" fmla="*/ 3074 w 4829"/>
                  <a:gd name="connsiteY3" fmla="*/ 7986 h 7985"/>
                  <a:gd name="connsiteX4" fmla="*/ 0 w 4829"/>
                  <a:gd name="connsiteY4" fmla="*/ 3568 h 7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9" h="7985">
                    <a:moveTo>
                      <a:pt x="0" y="3540"/>
                    </a:moveTo>
                    <a:lnTo>
                      <a:pt x="1372" y="0"/>
                    </a:lnTo>
                    <a:lnTo>
                      <a:pt x="4830" y="2991"/>
                    </a:lnTo>
                    <a:lnTo>
                      <a:pt x="3074" y="7986"/>
                    </a:lnTo>
                    <a:lnTo>
                      <a:pt x="0" y="35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7" name="Freeform: Shape 3786">
                <a:extLst>
                  <a:ext uri="{FF2B5EF4-FFF2-40B4-BE49-F238E27FC236}">
                    <a16:creationId xmlns:a16="http://schemas.microsoft.com/office/drawing/2014/main" id="{72FB504C-2CB2-6AA3-1CD7-AD89C3705953}"/>
                  </a:ext>
                </a:extLst>
              </p:cNvPr>
              <p:cNvSpPr/>
              <p:nvPr/>
            </p:nvSpPr>
            <p:spPr>
              <a:xfrm>
                <a:off x="1067809" y="3479964"/>
                <a:ext cx="412" cy="1440"/>
              </a:xfrm>
              <a:custGeom>
                <a:avLst/>
                <a:gdLst>
                  <a:gd name="connsiteX0" fmla="*/ 0 w 3951"/>
                  <a:gd name="connsiteY0" fmla="*/ 6751 h 13803"/>
                  <a:gd name="connsiteX1" fmla="*/ 2195 w 3951"/>
                  <a:gd name="connsiteY1" fmla="*/ 0 h 13803"/>
                  <a:gd name="connsiteX2" fmla="*/ 3952 w 3951"/>
                  <a:gd name="connsiteY2" fmla="*/ 9825 h 13803"/>
                  <a:gd name="connsiteX3" fmla="*/ 1647 w 3951"/>
                  <a:gd name="connsiteY3" fmla="*/ 13804 h 13803"/>
                  <a:gd name="connsiteX4" fmla="*/ 0 w 3951"/>
                  <a:gd name="connsiteY4" fmla="*/ 6751 h 13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13803">
                    <a:moveTo>
                      <a:pt x="0" y="6751"/>
                    </a:moveTo>
                    <a:lnTo>
                      <a:pt x="2195" y="0"/>
                    </a:lnTo>
                    <a:lnTo>
                      <a:pt x="3952" y="9825"/>
                    </a:lnTo>
                    <a:lnTo>
                      <a:pt x="1647" y="13804"/>
                    </a:lnTo>
                    <a:lnTo>
                      <a:pt x="0" y="67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8" name="Freeform: Shape 3787">
                <a:extLst>
                  <a:ext uri="{FF2B5EF4-FFF2-40B4-BE49-F238E27FC236}">
                    <a16:creationId xmlns:a16="http://schemas.microsoft.com/office/drawing/2014/main" id="{D4E42358-9EE8-88A5-9E6C-F15D8C5B474C}"/>
                  </a:ext>
                </a:extLst>
              </p:cNvPr>
              <p:cNvSpPr/>
              <p:nvPr/>
            </p:nvSpPr>
            <p:spPr>
              <a:xfrm>
                <a:off x="1122068" y="3632275"/>
                <a:ext cx="555" cy="478"/>
              </a:xfrm>
              <a:custGeom>
                <a:avLst/>
                <a:gdLst>
                  <a:gd name="connsiteX0" fmla="*/ 0 w 5324"/>
                  <a:gd name="connsiteY0" fmla="*/ 2936 h 4583"/>
                  <a:gd name="connsiteX1" fmla="*/ 3595 w 5324"/>
                  <a:gd name="connsiteY1" fmla="*/ 0 h 4583"/>
                  <a:gd name="connsiteX2" fmla="*/ 5324 w 5324"/>
                  <a:gd name="connsiteY2" fmla="*/ 3320 h 4583"/>
                  <a:gd name="connsiteX3" fmla="*/ 823 w 5324"/>
                  <a:gd name="connsiteY3" fmla="*/ 4583 h 4583"/>
                  <a:gd name="connsiteX4" fmla="*/ 27 w 5324"/>
                  <a:gd name="connsiteY4" fmla="*/ 2909 h 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 h="4583">
                    <a:moveTo>
                      <a:pt x="0" y="2936"/>
                    </a:moveTo>
                    <a:lnTo>
                      <a:pt x="3595" y="0"/>
                    </a:lnTo>
                    <a:lnTo>
                      <a:pt x="5324" y="3320"/>
                    </a:lnTo>
                    <a:lnTo>
                      <a:pt x="823" y="4583"/>
                    </a:lnTo>
                    <a:lnTo>
                      <a:pt x="27"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89" name="Freeform: Shape 3788">
                <a:extLst>
                  <a:ext uri="{FF2B5EF4-FFF2-40B4-BE49-F238E27FC236}">
                    <a16:creationId xmlns:a16="http://schemas.microsoft.com/office/drawing/2014/main" id="{7A05B82C-A69A-15F2-FA41-3CA505428848}"/>
                  </a:ext>
                </a:extLst>
              </p:cNvPr>
              <p:cNvSpPr/>
              <p:nvPr/>
            </p:nvSpPr>
            <p:spPr>
              <a:xfrm>
                <a:off x="962201" y="3653908"/>
                <a:ext cx="398" cy="598"/>
              </a:xfrm>
              <a:custGeom>
                <a:avLst/>
                <a:gdLst>
                  <a:gd name="connsiteX0" fmla="*/ 0 w 3814"/>
                  <a:gd name="connsiteY0" fmla="*/ 3156 h 5735"/>
                  <a:gd name="connsiteX1" fmla="*/ 1784 w 3814"/>
                  <a:gd name="connsiteY1" fmla="*/ 0 h 5735"/>
                  <a:gd name="connsiteX2" fmla="*/ 3815 w 3814"/>
                  <a:gd name="connsiteY2" fmla="*/ 4473 h 5735"/>
                  <a:gd name="connsiteX3" fmla="*/ 988 w 3814"/>
                  <a:gd name="connsiteY3" fmla="*/ 5736 h 5735"/>
                  <a:gd name="connsiteX4" fmla="*/ 0 w 3814"/>
                  <a:gd name="connsiteY4" fmla="*/ 3156 h 5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5735">
                    <a:moveTo>
                      <a:pt x="0" y="3156"/>
                    </a:moveTo>
                    <a:lnTo>
                      <a:pt x="1784" y="0"/>
                    </a:lnTo>
                    <a:lnTo>
                      <a:pt x="3815" y="4473"/>
                    </a:lnTo>
                    <a:lnTo>
                      <a:pt x="988" y="5736"/>
                    </a:lnTo>
                    <a:lnTo>
                      <a:pt x="0"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0" name="Freeform: Shape 3789">
                <a:extLst>
                  <a:ext uri="{FF2B5EF4-FFF2-40B4-BE49-F238E27FC236}">
                    <a16:creationId xmlns:a16="http://schemas.microsoft.com/office/drawing/2014/main" id="{0A270BEE-8E68-47B7-72EC-12B69980D622}"/>
                  </a:ext>
                </a:extLst>
              </p:cNvPr>
              <p:cNvSpPr/>
              <p:nvPr/>
            </p:nvSpPr>
            <p:spPr>
              <a:xfrm>
                <a:off x="1123507" y="3654684"/>
                <a:ext cx="518" cy="461"/>
              </a:xfrm>
              <a:custGeom>
                <a:avLst/>
                <a:gdLst>
                  <a:gd name="connsiteX0" fmla="*/ 0 w 4967"/>
                  <a:gd name="connsiteY0" fmla="*/ 3677 h 4418"/>
                  <a:gd name="connsiteX1" fmla="*/ 1839 w 4967"/>
                  <a:gd name="connsiteY1" fmla="*/ 1125 h 4418"/>
                  <a:gd name="connsiteX2" fmla="*/ 3870 w 4967"/>
                  <a:gd name="connsiteY2" fmla="*/ 0 h 4418"/>
                  <a:gd name="connsiteX3" fmla="*/ 4967 w 4967"/>
                  <a:gd name="connsiteY3" fmla="*/ 2854 h 4418"/>
                  <a:gd name="connsiteX4" fmla="*/ 1317 w 4967"/>
                  <a:gd name="connsiteY4" fmla="*/ 4418 h 4418"/>
                  <a:gd name="connsiteX5" fmla="*/ 0 w 4967"/>
                  <a:gd name="connsiteY5" fmla="*/ 3705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 h="4418">
                    <a:moveTo>
                      <a:pt x="0" y="3677"/>
                    </a:moveTo>
                    <a:lnTo>
                      <a:pt x="1839" y="1125"/>
                    </a:lnTo>
                    <a:lnTo>
                      <a:pt x="3870" y="0"/>
                    </a:lnTo>
                    <a:lnTo>
                      <a:pt x="4967" y="2854"/>
                    </a:lnTo>
                    <a:lnTo>
                      <a:pt x="1317" y="4418"/>
                    </a:lnTo>
                    <a:lnTo>
                      <a:pt x="0"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1" name="Freeform: Shape 3790">
                <a:extLst>
                  <a:ext uri="{FF2B5EF4-FFF2-40B4-BE49-F238E27FC236}">
                    <a16:creationId xmlns:a16="http://schemas.microsoft.com/office/drawing/2014/main" id="{C950A3C9-F8DE-ACAE-6459-E2657FD0A46B}"/>
                  </a:ext>
                </a:extLst>
              </p:cNvPr>
              <p:cNvSpPr/>
              <p:nvPr/>
            </p:nvSpPr>
            <p:spPr>
              <a:xfrm>
                <a:off x="1113194" y="3553483"/>
                <a:ext cx="610" cy="644"/>
              </a:xfrm>
              <a:custGeom>
                <a:avLst/>
                <a:gdLst>
                  <a:gd name="connsiteX0" fmla="*/ 0 w 5845"/>
                  <a:gd name="connsiteY0" fmla="*/ 1345 h 6174"/>
                  <a:gd name="connsiteX1" fmla="*/ 631 w 5845"/>
                  <a:gd name="connsiteY1" fmla="*/ 0 h 6174"/>
                  <a:gd name="connsiteX2" fmla="*/ 5845 w 5845"/>
                  <a:gd name="connsiteY2" fmla="*/ 2580 h 6174"/>
                  <a:gd name="connsiteX3" fmla="*/ 5845 w 5845"/>
                  <a:gd name="connsiteY3" fmla="*/ 6175 h 6174"/>
                  <a:gd name="connsiteX4" fmla="*/ 247 w 5845"/>
                  <a:gd name="connsiteY4" fmla="*/ 2964 h 6174"/>
                  <a:gd name="connsiteX5" fmla="*/ 0 w 5845"/>
                  <a:gd name="connsiteY5" fmla="*/ 1345 h 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5" h="6174">
                    <a:moveTo>
                      <a:pt x="0" y="1345"/>
                    </a:moveTo>
                    <a:lnTo>
                      <a:pt x="631" y="0"/>
                    </a:lnTo>
                    <a:lnTo>
                      <a:pt x="5845" y="2580"/>
                    </a:lnTo>
                    <a:lnTo>
                      <a:pt x="5845" y="6175"/>
                    </a:lnTo>
                    <a:cubicBezTo>
                      <a:pt x="5845" y="6175"/>
                      <a:pt x="247" y="2964"/>
                      <a:pt x="247" y="2964"/>
                    </a:cubicBezTo>
                    <a:lnTo>
                      <a:pt x="0" y="13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2" name="Freeform: Shape 3791">
                <a:extLst>
                  <a:ext uri="{FF2B5EF4-FFF2-40B4-BE49-F238E27FC236}">
                    <a16:creationId xmlns:a16="http://schemas.microsoft.com/office/drawing/2014/main" id="{E62E18DE-461E-F0B7-19D5-F28432AC859A}"/>
                  </a:ext>
                </a:extLst>
              </p:cNvPr>
              <p:cNvSpPr/>
              <p:nvPr/>
            </p:nvSpPr>
            <p:spPr>
              <a:xfrm>
                <a:off x="1170395" y="3561779"/>
                <a:ext cx="518" cy="718"/>
              </a:xfrm>
              <a:custGeom>
                <a:avLst/>
                <a:gdLst>
                  <a:gd name="connsiteX0" fmla="*/ 0 w 4967"/>
                  <a:gd name="connsiteY0" fmla="*/ 5324 h 6888"/>
                  <a:gd name="connsiteX1" fmla="*/ 1921 w 4967"/>
                  <a:gd name="connsiteY1" fmla="*/ 0 h 6888"/>
                  <a:gd name="connsiteX2" fmla="*/ 4967 w 4967"/>
                  <a:gd name="connsiteY2" fmla="*/ 3128 h 6888"/>
                  <a:gd name="connsiteX3" fmla="*/ 4363 w 4967"/>
                  <a:gd name="connsiteY3" fmla="*/ 6888 h 6888"/>
                  <a:gd name="connsiteX4" fmla="*/ 0 w 4967"/>
                  <a:gd name="connsiteY4" fmla="*/ 5296 h 6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 h="6888">
                    <a:moveTo>
                      <a:pt x="0" y="5324"/>
                    </a:moveTo>
                    <a:lnTo>
                      <a:pt x="1921" y="0"/>
                    </a:lnTo>
                    <a:lnTo>
                      <a:pt x="4967" y="3128"/>
                    </a:lnTo>
                    <a:lnTo>
                      <a:pt x="4363" y="6888"/>
                    </a:lnTo>
                    <a:lnTo>
                      <a:pt x="0" y="52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3" name="Freeform: Shape 3792">
                <a:extLst>
                  <a:ext uri="{FF2B5EF4-FFF2-40B4-BE49-F238E27FC236}">
                    <a16:creationId xmlns:a16="http://schemas.microsoft.com/office/drawing/2014/main" id="{02D5A275-74F1-5100-D5EB-80EB80EF5E0A}"/>
                  </a:ext>
                </a:extLst>
              </p:cNvPr>
              <p:cNvSpPr/>
              <p:nvPr/>
            </p:nvSpPr>
            <p:spPr>
              <a:xfrm>
                <a:off x="1067074" y="3483757"/>
                <a:ext cx="401" cy="1405"/>
              </a:xfrm>
              <a:custGeom>
                <a:avLst/>
                <a:gdLst>
                  <a:gd name="connsiteX0" fmla="*/ 0 w 3841"/>
                  <a:gd name="connsiteY0" fmla="*/ 3266 h 13474"/>
                  <a:gd name="connsiteX1" fmla="*/ 2991 w 3841"/>
                  <a:gd name="connsiteY1" fmla="*/ 0 h 13474"/>
                  <a:gd name="connsiteX2" fmla="*/ 3842 w 3841"/>
                  <a:gd name="connsiteY2" fmla="*/ 9578 h 13474"/>
                  <a:gd name="connsiteX3" fmla="*/ 2470 w 3841"/>
                  <a:gd name="connsiteY3" fmla="*/ 13474 h 13474"/>
                  <a:gd name="connsiteX4" fmla="*/ 0 w 3841"/>
                  <a:gd name="connsiteY4" fmla="*/ 3238 h 13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1" h="13474">
                    <a:moveTo>
                      <a:pt x="0" y="3266"/>
                    </a:moveTo>
                    <a:lnTo>
                      <a:pt x="2991" y="0"/>
                    </a:lnTo>
                    <a:lnTo>
                      <a:pt x="3842" y="9578"/>
                    </a:lnTo>
                    <a:lnTo>
                      <a:pt x="2470" y="13474"/>
                    </a:lnTo>
                    <a:lnTo>
                      <a:pt x="0"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4" name="Freeform: Shape 3793">
                <a:extLst>
                  <a:ext uri="{FF2B5EF4-FFF2-40B4-BE49-F238E27FC236}">
                    <a16:creationId xmlns:a16="http://schemas.microsoft.com/office/drawing/2014/main" id="{355ED653-CBD6-C2BC-A417-62A75640D8D6}"/>
                  </a:ext>
                </a:extLst>
              </p:cNvPr>
              <p:cNvSpPr/>
              <p:nvPr/>
            </p:nvSpPr>
            <p:spPr>
              <a:xfrm>
                <a:off x="1176475" y="3627638"/>
                <a:ext cx="358" cy="750"/>
              </a:xfrm>
              <a:custGeom>
                <a:avLst/>
                <a:gdLst>
                  <a:gd name="connsiteX0" fmla="*/ 27 w 3430"/>
                  <a:gd name="connsiteY0" fmla="*/ 4912 h 7190"/>
                  <a:gd name="connsiteX1" fmla="*/ 1070 w 3430"/>
                  <a:gd name="connsiteY1" fmla="*/ 0 h 7190"/>
                  <a:gd name="connsiteX2" fmla="*/ 3430 w 3430"/>
                  <a:gd name="connsiteY2" fmla="*/ 1894 h 7190"/>
                  <a:gd name="connsiteX3" fmla="*/ 1592 w 3430"/>
                  <a:gd name="connsiteY3" fmla="*/ 7190 h 7190"/>
                  <a:gd name="connsiteX4" fmla="*/ 0 w 3430"/>
                  <a:gd name="connsiteY4" fmla="*/ 4912 h 7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7190">
                    <a:moveTo>
                      <a:pt x="27" y="4912"/>
                    </a:moveTo>
                    <a:lnTo>
                      <a:pt x="1070" y="0"/>
                    </a:lnTo>
                    <a:lnTo>
                      <a:pt x="3430" y="1894"/>
                    </a:lnTo>
                    <a:lnTo>
                      <a:pt x="1592" y="7190"/>
                    </a:lnTo>
                    <a:lnTo>
                      <a:pt x="0" y="49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5" name="Freeform: Shape 3794">
                <a:extLst>
                  <a:ext uri="{FF2B5EF4-FFF2-40B4-BE49-F238E27FC236}">
                    <a16:creationId xmlns:a16="http://schemas.microsoft.com/office/drawing/2014/main" id="{CE0D3419-80DD-FBB2-DC7B-D3C28DB3CD35}"/>
                  </a:ext>
                </a:extLst>
              </p:cNvPr>
              <p:cNvSpPr/>
              <p:nvPr/>
            </p:nvSpPr>
            <p:spPr>
              <a:xfrm>
                <a:off x="1123187" y="3619981"/>
                <a:ext cx="363" cy="758"/>
              </a:xfrm>
              <a:custGeom>
                <a:avLst/>
                <a:gdLst>
                  <a:gd name="connsiteX0" fmla="*/ 27 w 3485"/>
                  <a:gd name="connsiteY0" fmla="*/ 2113 h 7272"/>
                  <a:gd name="connsiteX1" fmla="*/ 2717 w 3485"/>
                  <a:gd name="connsiteY1" fmla="*/ 0 h 7272"/>
                  <a:gd name="connsiteX2" fmla="*/ 3485 w 3485"/>
                  <a:gd name="connsiteY2" fmla="*/ 3870 h 7272"/>
                  <a:gd name="connsiteX3" fmla="*/ 1729 w 3485"/>
                  <a:gd name="connsiteY3" fmla="*/ 7272 h 7272"/>
                  <a:gd name="connsiteX4" fmla="*/ 0 w 3485"/>
                  <a:gd name="connsiteY4" fmla="*/ 2113 h 7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7272">
                    <a:moveTo>
                      <a:pt x="27" y="2113"/>
                    </a:moveTo>
                    <a:lnTo>
                      <a:pt x="2717" y="0"/>
                    </a:lnTo>
                    <a:lnTo>
                      <a:pt x="3485" y="3870"/>
                    </a:lnTo>
                    <a:lnTo>
                      <a:pt x="1729" y="7272"/>
                    </a:lnTo>
                    <a:lnTo>
                      <a:pt x="0"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6" name="Freeform: Shape 3795">
                <a:extLst>
                  <a:ext uri="{FF2B5EF4-FFF2-40B4-BE49-F238E27FC236}">
                    <a16:creationId xmlns:a16="http://schemas.microsoft.com/office/drawing/2014/main" id="{014A012A-91EC-0480-8693-BAF55A8BAD54}"/>
                  </a:ext>
                </a:extLst>
              </p:cNvPr>
              <p:cNvSpPr/>
              <p:nvPr/>
            </p:nvSpPr>
            <p:spPr>
              <a:xfrm>
                <a:off x="983874" y="3503708"/>
                <a:ext cx="710" cy="716"/>
              </a:xfrm>
              <a:custGeom>
                <a:avLst/>
                <a:gdLst>
                  <a:gd name="connsiteX0" fmla="*/ 0 w 6805"/>
                  <a:gd name="connsiteY0" fmla="*/ 0 h 6860"/>
                  <a:gd name="connsiteX1" fmla="*/ 6696 w 6805"/>
                  <a:gd name="connsiteY1" fmla="*/ 1701 h 6860"/>
                  <a:gd name="connsiteX2" fmla="*/ 6806 w 6805"/>
                  <a:gd name="connsiteY2" fmla="*/ 5763 h 6860"/>
                  <a:gd name="connsiteX3" fmla="*/ 1262 w 6805"/>
                  <a:gd name="connsiteY3" fmla="*/ 6861 h 6860"/>
                  <a:gd name="connsiteX4" fmla="*/ 27 w 6805"/>
                  <a:gd name="connsiteY4" fmla="*/ 27 h 6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 h="6860">
                    <a:moveTo>
                      <a:pt x="0" y="0"/>
                    </a:moveTo>
                    <a:lnTo>
                      <a:pt x="6696" y="1701"/>
                    </a:lnTo>
                    <a:lnTo>
                      <a:pt x="6806" y="5763"/>
                    </a:lnTo>
                    <a:lnTo>
                      <a:pt x="1262" y="6861"/>
                    </a:lnTo>
                    <a:lnTo>
                      <a:pt x="27"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7" name="Freeform: Shape 3796">
                <a:extLst>
                  <a:ext uri="{FF2B5EF4-FFF2-40B4-BE49-F238E27FC236}">
                    <a16:creationId xmlns:a16="http://schemas.microsoft.com/office/drawing/2014/main" id="{EE8D67FC-9C1F-369F-9342-5302D6F9B778}"/>
                  </a:ext>
                </a:extLst>
              </p:cNvPr>
              <p:cNvSpPr/>
              <p:nvPr/>
            </p:nvSpPr>
            <p:spPr>
              <a:xfrm>
                <a:off x="1169811" y="3561761"/>
                <a:ext cx="547" cy="670"/>
              </a:xfrm>
              <a:custGeom>
                <a:avLst/>
                <a:gdLst>
                  <a:gd name="connsiteX0" fmla="*/ 27 w 5241"/>
                  <a:gd name="connsiteY0" fmla="*/ 5324 h 6421"/>
                  <a:gd name="connsiteX1" fmla="*/ 741 w 5241"/>
                  <a:gd name="connsiteY1" fmla="*/ 2936 h 6421"/>
                  <a:gd name="connsiteX2" fmla="*/ 1893 w 5241"/>
                  <a:gd name="connsiteY2" fmla="*/ 686 h 6421"/>
                  <a:gd name="connsiteX3" fmla="*/ 4473 w 5241"/>
                  <a:gd name="connsiteY3" fmla="*/ 0 h 6421"/>
                  <a:gd name="connsiteX4" fmla="*/ 5242 w 5241"/>
                  <a:gd name="connsiteY4" fmla="*/ 2964 h 6421"/>
                  <a:gd name="connsiteX5" fmla="*/ 1262 w 5241"/>
                  <a:gd name="connsiteY5" fmla="*/ 6422 h 6421"/>
                  <a:gd name="connsiteX6" fmla="*/ 0 w 5241"/>
                  <a:gd name="connsiteY6" fmla="*/ 5351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41" h="6421">
                    <a:moveTo>
                      <a:pt x="27" y="5324"/>
                    </a:moveTo>
                    <a:lnTo>
                      <a:pt x="741" y="2936"/>
                    </a:lnTo>
                    <a:lnTo>
                      <a:pt x="1893" y="686"/>
                    </a:lnTo>
                    <a:lnTo>
                      <a:pt x="4473" y="0"/>
                    </a:lnTo>
                    <a:lnTo>
                      <a:pt x="5242" y="2964"/>
                    </a:lnTo>
                    <a:lnTo>
                      <a:pt x="1262" y="6422"/>
                    </a:lnTo>
                    <a:lnTo>
                      <a:pt x="0" y="53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8" name="Freeform: Shape 3797">
                <a:extLst>
                  <a:ext uri="{FF2B5EF4-FFF2-40B4-BE49-F238E27FC236}">
                    <a16:creationId xmlns:a16="http://schemas.microsoft.com/office/drawing/2014/main" id="{E270E6E4-A295-F63A-AC86-C476E3A1C284}"/>
                  </a:ext>
                </a:extLst>
              </p:cNvPr>
              <p:cNvSpPr/>
              <p:nvPr/>
            </p:nvSpPr>
            <p:spPr>
              <a:xfrm>
                <a:off x="1146778" y="3528787"/>
                <a:ext cx="512" cy="847"/>
              </a:xfrm>
              <a:custGeom>
                <a:avLst/>
                <a:gdLst>
                  <a:gd name="connsiteX0" fmla="*/ 4089 w 4912"/>
                  <a:gd name="connsiteY0" fmla="*/ 6531 h 8123"/>
                  <a:gd name="connsiteX1" fmla="*/ 1015 w 4912"/>
                  <a:gd name="connsiteY1" fmla="*/ 8123 h 8123"/>
                  <a:gd name="connsiteX2" fmla="*/ 0 w 4912"/>
                  <a:gd name="connsiteY2" fmla="*/ 3979 h 8123"/>
                  <a:gd name="connsiteX3" fmla="*/ 4912 w 4912"/>
                  <a:gd name="connsiteY3" fmla="*/ 0 h 8123"/>
                  <a:gd name="connsiteX4" fmla="*/ 4116 w 4912"/>
                  <a:gd name="connsiteY4" fmla="*/ 6531 h 8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 h="8123">
                    <a:moveTo>
                      <a:pt x="4089" y="6531"/>
                    </a:moveTo>
                    <a:lnTo>
                      <a:pt x="1015" y="8123"/>
                    </a:lnTo>
                    <a:lnTo>
                      <a:pt x="0" y="3979"/>
                    </a:lnTo>
                    <a:lnTo>
                      <a:pt x="4912" y="0"/>
                    </a:lnTo>
                    <a:lnTo>
                      <a:pt x="4116" y="65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99" name="Freeform: Shape 3798">
                <a:extLst>
                  <a:ext uri="{FF2B5EF4-FFF2-40B4-BE49-F238E27FC236}">
                    <a16:creationId xmlns:a16="http://schemas.microsoft.com/office/drawing/2014/main" id="{7ECBBE02-3998-2214-3290-275C3218412F}"/>
                  </a:ext>
                </a:extLst>
              </p:cNvPr>
              <p:cNvSpPr/>
              <p:nvPr/>
            </p:nvSpPr>
            <p:spPr>
              <a:xfrm>
                <a:off x="1189312" y="3645130"/>
                <a:ext cx="378" cy="635"/>
              </a:xfrm>
              <a:custGeom>
                <a:avLst/>
                <a:gdLst>
                  <a:gd name="connsiteX0" fmla="*/ 0 w 3622"/>
                  <a:gd name="connsiteY0" fmla="*/ 2854 h 6092"/>
                  <a:gd name="connsiteX1" fmla="*/ 1619 w 3622"/>
                  <a:gd name="connsiteY1" fmla="*/ 0 h 6092"/>
                  <a:gd name="connsiteX2" fmla="*/ 3622 w 3622"/>
                  <a:gd name="connsiteY2" fmla="*/ 1400 h 6092"/>
                  <a:gd name="connsiteX3" fmla="*/ 3019 w 3622"/>
                  <a:gd name="connsiteY3" fmla="*/ 6092 h 6092"/>
                  <a:gd name="connsiteX4" fmla="*/ 0 w 3622"/>
                  <a:gd name="connsiteY4" fmla="*/ 2854 h 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6092">
                    <a:moveTo>
                      <a:pt x="0" y="2854"/>
                    </a:moveTo>
                    <a:lnTo>
                      <a:pt x="1619" y="0"/>
                    </a:lnTo>
                    <a:lnTo>
                      <a:pt x="3622" y="1400"/>
                    </a:lnTo>
                    <a:lnTo>
                      <a:pt x="3019" y="6092"/>
                    </a:lnTo>
                    <a:lnTo>
                      <a:pt x="0"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0" name="Freeform: Shape 3799">
                <a:extLst>
                  <a:ext uri="{FF2B5EF4-FFF2-40B4-BE49-F238E27FC236}">
                    <a16:creationId xmlns:a16="http://schemas.microsoft.com/office/drawing/2014/main" id="{52A843E5-70AF-D789-1C88-6D282E384DBD}"/>
                  </a:ext>
                </a:extLst>
              </p:cNvPr>
              <p:cNvSpPr/>
              <p:nvPr/>
            </p:nvSpPr>
            <p:spPr>
              <a:xfrm>
                <a:off x="1017384" y="3460544"/>
                <a:ext cx="550" cy="1122"/>
              </a:xfrm>
              <a:custGeom>
                <a:avLst/>
                <a:gdLst>
                  <a:gd name="connsiteX0" fmla="*/ 0 w 5269"/>
                  <a:gd name="connsiteY0" fmla="*/ 6257 h 10757"/>
                  <a:gd name="connsiteX1" fmla="*/ 3458 w 5269"/>
                  <a:gd name="connsiteY1" fmla="*/ 0 h 10757"/>
                  <a:gd name="connsiteX2" fmla="*/ 5269 w 5269"/>
                  <a:gd name="connsiteY2" fmla="*/ 8562 h 10757"/>
                  <a:gd name="connsiteX3" fmla="*/ 988 w 5269"/>
                  <a:gd name="connsiteY3" fmla="*/ 10758 h 10757"/>
                  <a:gd name="connsiteX4" fmla="*/ 27 w 5269"/>
                  <a:gd name="connsiteY4" fmla="*/ 6257 h 1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9" h="10757">
                    <a:moveTo>
                      <a:pt x="0" y="6257"/>
                    </a:moveTo>
                    <a:lnTo>
                      <a:pt x="3458" y="0"/>
                    </a:lnTo>
                    <a:lnTo>
                      <a:pt x="5269" y="8562"/>
                    </a:lnTo>
                    <a:lnTo>
                      <a:pt x="988" y="10758"/>
                    </a:lnTo>
                    <a:lnTo>
                      <a:pt x="27" y="62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1" name="Freeform: Shape 3800">
                <a:extLst>
                  <a:ext uri="{FF2B5EF4-FFF2-40B4-BE49-F238E27FC236}">
                    <a16:creationId xmlns:a16="http://schemas.microsoft.com/office/drawing/2014/main" id="{F26594E4-3BB9-B03B-87B8-AB0B71B87631}"/>
                  </a:ext>
                </a:extLst>
              </p:cNvPr>
              <p:cNvSpPr/>
              <p:nvPr/>
            </p:nvSpPr>
            <p:spPr>
              <a:xfrm>
                <a:off x="1016038" y="3460400"/>
                <a:ext cx="693" cy="887"/>
              </a:xfrm>
              <a:custGeom>
                <a:avLst/>
                <a:gdLst>
                  <a:gd name="connsiteX0" fmla="*/ 5022 w 6641"/>
                  <a:gd name="connsiteY0" fmla="*/ 8205 h 8507"/>
                  <a:gd name="connsiteX1" fmla="*/ 988 w 6641"/>
                  <a:gd name="connsiteY1" fmla="*/ 8507 h 8507"/>
                  <a:gd name="connsiteX2" fmla="*/ 0 w 6641"/>
                  <a:gd name="connsiteY2" fmla="*/ 4720 h 8507"/>
                  <a:gd name="connsiteX3" fmla="*/ 2634 w 6641"/>
                  <a:gd name="connsiteY3" fmla="*/ 0 h 8507"/>
                  <a:gd name="connsiteX4" fmla="*/ 5022 w 6641"/>
                  <a:gd name="connsiteY4" fmla="*/ 933 h 8507"/>
                  <a:gd name="connsiteX5" fmla="*/ 6641 w 6641"/>
                  <a:gd name="connsiteY5" fmla="*/ 2278 h 8507"/>
                  <a:gd name="connsiteX6" fmla="*/ 5735 w 6641"/>
                  <a:gd name="connsiteY6" fmla="*/ 6916 h 8507"/>
                  <a:gd name="connsiteX7" fmla="*/ 5049 w 6641"/>
                  <a:gd name="connsiteY7" fmla="*/ 8233 h 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 h="8507">
                    <a:moveTo>
                      <a:pt x="5022" y="8205"/>
                    </a:moveTo>
                    <a:lnTo>
                      <a:pt x="988" y="8507"/>
                    </a:lnTo>
                    <a:lnTo>
                      <a:pt x="0" y="4720"/>
                    </a:lnTo>
                    <a:lnTo>
                      <a:pt x="2634" y="0"/>
                    </a:lnTo>
                    <a:lnTo>
                      <a:pt x="5022" y="933"/>
                    </a:lnTo>
                    <a:lnTo>
                      <a:pt x="6641" y="2278"/>
                    </a:lnTo>
                    <a:lnTo>
                      <a:pt x="5735" y="6916"/>
                    </a:lnTo>
                    <a:lnTo>
                      <a:pt x="5049" y="82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2" name="Freeform: Shape 3801">
                <a:extLst>
                  <a:ext uri="{FF2B5EF4-FFF2-40B4-BE49-F238E27FC236}">
                    <a16:creationId xmlns:a16="http://schemas.microsoft.com/office/drawing/2014/main" id="{D4E8810D-848B-8D17-4F51-1292D3FDB01E}"/>
                  </a:ext>
                </a:extLst>
              </p:cNvPr>
              <p:cNvSpPr/>
              <p:nvPr/>
            </p:nvSpPr>
            <p:spPr>
              <a:xfrm>
                <a:off x="1195320" y="3657123"/>
                <a:ext cx="406" cy="549"/>
              </a:xfrm>
              <a:custGeom>
                <a:avLst/>
                <a:gdLst>
                  <a:gd name="connsiteX0" fmla="*/ 0 w 3897"/>
                  <a:gd name="connsiteY0" fmla="*/ 4720 h 5268"/>
                  <a:gd name="connsiteX1" fmla="*/ 1400 w 3897"/>
                  <a:gd name="connsiteY1" fmla="*/ 823 h 5268"/>
                  <a:gd name="connsiteX2" fmla="*/ 3897 w 3897"/>
                  <a:gd name="connsiteY2" fmla="*/ 0 h 5268"/>
                  <a:gd name="connsiteX3" fmla="*/ 2552 w 3897"/>
                  <a:gd name="connsiteY3" fmla="*/ 5269 h 5268"/>
                  <a:gd name="connsiteX4" fmla="*/ 0 w 3897"/>
                  <a:gd name="connsiteY4" fmla="*/ 4720 h 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7" h="5268">
                    <a:moveTo>
                      <a:pt x="0" y="4720"/>
                    </a:moveTo>
                    <a:lnTo>
                      <a:pt x="1400" y="823"/>
                    </a:lnTo>
                    <a:lnTo>
                      <a:pt x="3897" y="0"/>
                    </a:lnTo>
                    <a:lnTo>
                      <a:pt x="2552" y="5269"/>
                    </a:lnTo>
                    <a:lnTo>
                      <a:pt x="0" y="47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3" name="Freeform: Shape 3802">
                <a:extLst>
                  <a:ext uri="{FF2B5EF4-FFF2-40B4-BE49-F238E27FC236}">
                    <a16:creationId xmlns:a16="http://schemas.microsoft.com/office/drawing/2014/main" id="{29B2E725-4A86-2BEB-EF1A-9E29ACA1E46F}"/>
                  </a:ext>
                </a:extLst>
              </p:cNvPr>
              <p:cNvSpPr/>
              <p:nvPr/>
            </p:nvSpPr>
            <p:spPr>
              <a:xfrm>
                <a:off x="1126043" y="3538946"/>
                <a:ext cx="429" cy="922"/>
              </a:xfrm>
              <a:custGeom>
                <a:avLst/>
                <a:gdLst>
                  <a:gd name="connsiteX0" fmla="*/ 0 w 4116"/>
                  <a:gd name="connsiteY0" fmla="*/ 3732 h 8836"/>
                  <a:gd name="connsiteX1" fmla="*/ 1043 w 4116"/>
                  <a:gd name="connsiteY1" fmla="*/ 0 h 8836"/>
                  <a:gd name="connsiteX2" fmla="*/ 4116 w 4116"/>
                  <a:gd name="connsiteY2" fmla="*/ 1949 h 8836"/>
                  <a:gd name="connsiteX3" fmla="*/ 3375 w 4116"/>
                  <a:gd name="connsiteY3" fmla="*/ 8837 h 8836"/>
                  <a:gd name="connsiteX4" fmla="*/ 0 w 4116"/>
                  <a:gd name="connsiteY4" fmla="*/ 3705 h 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8836">
                    <a:moveTo>
                      <a:pt x="0" y="3732"/>
                    </a:moveTo>
                    <a:lnTo>
                      <a:pt x="1043" y="0"/>
                    </a:lnTo>
                    <a:lnTo>
                      <a:pt x="4116" y="1949"/>
                    </a:lnTo>
                    <a:lnTo>
                      <a:pt x="3375" y="8837"/>
                    </a:lnTo>
                    <a:lnTo>
                      <a:pt x="0"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4" name="Freeform: Shape 3803">
                <a:extLst>
                  <a:ext uri="{FF2B5EF4-FFF2-40B4-BE49-F238E27FC236}">
                    <a16:creationId xmlns:a16="http://schemas.microsoft.com/office/drawing/2014/main" id="{E9821628-30AA-6928-4A81-865DF7CD18AF}"/>
                  </a:ext>
                </a:extLst>
              </p:cNvPr>
              <p:cNvSpPr/>
              <p:nvPr/>
            </p:nvSpPr>
            <p:spPr>
              <a:xfrm>
                <a:off x="1067274" y="3464285"/>
                <a:ext cx="386" cy="1551"/>
              </a:xfrm>
              <a:custGeom>
                <a:avLst/>
                <a:gdLst>
                  <a:gd name="connsiteX0" fmla="*/ 0 w 3704"/>
                  <a:gd name="connsiteY0" fmla="*/ 4775 h 14874"/>
                  <a:gd name="connsiteX1" fmla="*/ 1153 w 3704"/>
                  <a:gd name="connsiteY1" fmla="*/ 0 h 14874"/>
                  <a:gd name="connsiteX2" fmla="*/ 3705 w 3704"/>
                  <a:gd name="connsiteY2" fmla="*/ 2305 h 14874"/>
                  <a:gd name="connsiteX3" fmla="*/ 3705 w 3704"/>
                  <a:gd name="connsiteY3" fmla="*/ 14874 h 14874"/>
                  <a:gd name="connsiteX4" fmla="*/ 0 w 3704"/>
                  <a:gd name="connsiteY4" fmla="*/ 4775 h 1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 h="14874">
                    <a:moveTo>
                      <a:pt x="0" y="4775"/>
                    </a:moveTo>
                    <a:lnTo>
                      <a:pt x="1153" y="0"/>
                    </a:lnTo>
                    <a:lnTo>
                      <a:pt x="3705" y="2305"/>
                    </a:lnTo>
                    <a:lnTo>
                      <a:pt x="3705" y="14874"/>
                    </a:lnTo>
                    <a:lnTo>
                      <a:pt x="0" y="47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5" name="Freeform: Shape 3804">
                <a:extLst>
                  <a:ext uri="{FF2B5EF4-FFF2-40B4-BE49-F238E27FC236}">
                    <a16:creationId xmlns:a16="http://schemas.microsoft.com/office/drawing/2014/main" id="{E6642C5B-0DAA-0318-8D38-620D93912650}"/>
                  </a:ext>
                </a:extLst>
              </p:cNvPr>
              <p:cNvSpPr/>
              <p:nvPr/>
            </p:nvSpPr>
            <p:spPr>
              <a:xfrm>
                <a:off x="1135506" y="3518197"/>
                <a:ext cx="615" cy="724"/>
              </a:xfrm>
              <a:custGeom>
                <a:avLst/>
                <a:gdLst>
                  <a:gd name="connsiteX0" fmla="*/ 0 w 5900"/>
                  <a:gd name="connsiteY0" fmla="*/ 4720 h 6942"/>
                  <a:gd name="connsiteX1" fmla="*/ 412 w 5900"/>
                  <a:gd name="connsiteY1" fmla="*/ 2854 h 6942"/>
                  <a:gd name="connsiteX2" fmla="*/ 5900 w 5900"/>
                  <a:gd name="connsiteY2" fmla="*/ 0 h 6942"/>
                  <a:gd name="connsiteX3" fmla="*/ 5159 w 5900"/>
                  <a:gd name="connsiteY3" fmla="*/ 6943 h 6942"/>
                  <a:gd name="connsiteX4" fmla="*/ 549 w 5900"/>
                  <a:gd name="connsiteY4" fmla="*/ 6422 h 6942"/>
                  <a:gd name="connsiteX5" fmla="*/ 27 w 5900"/>
                  <a:gd name="connsiteY5" fmla="*/ 4693 h 6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0" h="6942">
                    <a:moveTo>
                      <a:pt x="0" y="4720"/>
                    </a:moveTo>
                    <a:lnTo>
                      <a:pt x="412" y="2854"/>
                    </a:lnTo>
                    <a:lnTo>
                      <a:pt x="5900" y="0"/>
                    </a:lnTo>
                    <a:lnTo>
                      <a:pt x="5159" y="6943"/>
                    </a:lnTo>
                    <a:lnTo>
                      <a:pt x="549" y="6422"/>
                    </a:lnTo>
                    <a:lnTo>
                      <a:pt x="27"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6" name="Freeform: Shape 3805">
                <a:extLst>
                  <a:ext uri="{FF2B5EF4-FFF2-40B4-BE49-F238E27FC236}">
                    <a16:creationId xmlns:a16="http://schemas.microsoft.com/office/drawing/2014/main" id="{056279D5-CFE4-3F6D-FFE0-1AA60F6FA34A}"/>
                  </a:ext>
                </a:extLst>
              </p:cNvPr>
              <p:cNvSpPr/>
              <p:nvPr/>
            </p:nvSpPr>
            <p:spPr>
              <a:xfrm>
                <a:off x="1114179" y="3544338"/>
                <a:ext cx="349" cy="1085"/>
              </a:xfrm>
              <a:custGeom>
                <a:avLst/>
                <a:gdLst>
                  <a:gd name="connsiteX0" fmla="*/ 27 w 3347"/>
                  <a:gd name="connsiteY0" fmla="*/ 6257 h 10400"/>
                  <a:gd name="connsiteX1" fmla="*/ 1043 w 3347"/>
                  <a:gd name="connsiteY1" fmla="*/ 0 h 10400"/>
                  <a:gd name="connsiteX2" fmla="*/ 3348 w 3347"/>
                  <a:gd name="connsiteY2" fmla="*/ 3595 h 10400"/>
                  <a:gd name="connsiteX3" fmla="*/ 2881 w 3347"/>
                  <a:gd name="connsiteY3" fmla="*/ 10401 h 10400"/>
                  <a:gd name="connsiteX4" fmla="*/ 0 w 3347"/>
                  <a:gd name="connsiteY4" fmla="*/ 6229 h 1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7" h="10400">
                    <a:moveTo>
                      <a:pt x="27" y="6257"/>
                    </a:moveTo>
                    <a:lnTo>
                      <a:pt x="1043" y="0"/>
                    </a:lnTo>
                    <a:lnTo>
                      <a:pt x="3348" y="3595"/>
                    </a:lnTo>
                    <a:lnTo>
                      <a:pt x="2881" y="10401"/>
                    </a:lnTo>
                    <a:lnTo>
                      <a:pt x="0" y="62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7" name="Freeform: Shape 3806">
                <a:extLst>
                  <a:ext uri="{FF2B5EF4-FFF2-40B4-BE49-F238E27FC236}">
                    <a16:creationId xmlns:a16="http://schemas.microsoft.com/office/drawing/2014/main" id="{FFAE7370-D8B6-A1D6-C640-6F37A108F838}"/>
                  </a:ext>
                </a:extLst>
              </p:cNvPr>
              <p:cNvSpPr/>
              <p:nvPr/>
            </p:nvSpPr>
            <p:spPr>
              <a:xfrm>
                <a:off x="1068453" y="3526924"/>
                <a:ext cx="449" cy="927"/>
              </a:xfrm>
              <a:custGeom>
                <a:avLst/>
                <a:gdLst>
                  <a:gd name="connsiteX0" fmla="*/ 0 w 4308"/>
                  <a:gd name="connsiteY0" fmla="*/ 2086 h 8891"/>
                  <a:gd name="connsiteX1" fmla="*/ 1564 w 4308"/>
                  <a:gd name="connsiteY1" fmla="*/ 0 h 8891"/>
                  <a:gd name="connsiteX2" fmla="*/ 4309 w 4308"/>
                  <a:gd name="connsiteY2" fmla="*/ 5050 h 8891"/>
                  <a:gd name="connsiteX3" fmla="*/ 4144 w 4308"/>
                  <a:gd name="connsiteY3" fmla="*/ 8891 h 8891"/>
                  <a:gd name="connsiteX4" fmla="*/ 1839 w 4308"/>
                  <a:gd name="connsiteY4" fmla="*/ 8260 h 8891"/>
                  <a:gd name="connsiteX5" fmla="*/ 0 w 4308"/>
                  <a:gd name="connsiteY5" fmla="*/ 2113 h 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8" h="8891">
                    <a:moveTo>
                      <a:pt x="0" y="2086"/>
                    </a:moveTo>
                    <a:lnTo>
                      <a:pt x="1564" y="0"/>
                    </a:lnTo>
                    <a:lnTo>
                      <a:pt x="4309" y="5050"/>
                    </a:lnTo>
                    <a:lnTo>
                      <a:pt x="4144" y="8891"/>
                    </a:lnTo>
                    <a:lnTo>
                      <a:pt x="1839" y="8260"/>
                    </a:lnTo>
                    <a:lnTo>
                      <a:pt x="0"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8" name="Freeform: Shape 3807">
                <a:extLst>
                  <a:ext uri="{FF2B5EF4-FFF2-40B4-BE49-F238E27FC236}">
                    <a16:creationId xmlns:a16="http://schemas.microsoft.com/office/drawing/2014/main" id="{CF38BA8B-3D42-4A43-8446-0868B2AA1189}"/>
                  </a:ext>
                </a:extLst>
              </p:cNvPr>
              <p:cNvSpPr/>
              <p:nvPr/>
            </p:nvSpPr>
            <p:spPr>
              <a:xfrm>
                <a:off x="1143023" y="3599810"/>
                <a:ext cx="532" cy="529"/>
              </a:xfrm>
              <a:custGeom>
                <a:avLst/>
                <a:gdLst>
                  <a:gd name="connsiteX0" fmla="*/ 27 w 5104"/>
                  <a:gd name="connsiteY0" fmla="*/ 3211 h 5076"/>
                  <a:gd name="connsiteX1" fmla="*/ 1317 w 5104"/>
                  <a:gd name="connsiteY1" fmla="*/ 0 h 5076"/>
                  <a:gd name="connsiteX2" fmla="*/ 3156 w 5104"/>
                  <a:gd name="connsiteY2" fmla="*/ 384 h 5076"/>
                  <a:gd name="connsiteX3" fmla="*/ 5104 w 5104"/>
                  <a:gd name="connsiteY3" fmla="*/ 4089 h 5076"/>
                  <a:gd name="connsiteX4" fmla="*/ 3705 w 5104"/>
                  <a:gd name="connsiteY4" fmla="*/ 5077 h 5076"/>
                  <a:gd name="connsiteX5" fmla="*/ 0 w 5104"/>
                  <a:gd name="connsiteY5" fmla="*/ 3238 h 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4" h="5076">
                    <a:moveTo>
                      <a:pt x="27" y="3211"/>
                    </a:moveTo>
                    <a:lnTo>
                      <a:pt x="1317" y="0"/>
                    </a:lnTo>
                    <a:lnTo>
                      <a:pt x="3156" y="384"/>
                    </a:lnTo>
                    <a:lnTo>
                      <a:pt x="5104" y="4089"/>
                    </a:lnTo>
                    <a:lnTo>
                      <a:pt x="3705" y="5077"/>
                    </a:lnTo>
                    <a:lnTo>
                      <a:pt x="0"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09" name="Freeform: Shape 3808">
                <a:extLst>
                  <a:ext uri="{FF2B5EF4-FFF2-40B4-BE49-F238E27FC236}">
                    <a16:creationId xmlns:a16="http://schemas.microsoft.com/office/drawing/2014/main" id="{C4B42448-F980-9084-0A20-28AD50707D23}"/>
                  </a:ext>
                </a:extLst>
              </p:cNvPr>
              <p:cNvSpPr/>
              <p:nvPr/>
            </p:nvSpPr>
            <p:spPr>
              <a:xfrm>
                <a:off x="1194410" y="3668220"/>
                <a:ext cx="438" cy="467"/>
              </a:xfrm>
              <a:custGeom>
                <a:avLst/>
                <a:gdLst>
                  <a:gd name="connsiteX0" fmla="*/ 27 w 4198"/>
                  <a:gd name="connsiteY0" fmla="*/ 3815 h 4473"/>
                  <a:gd name="connsiteX1" fmla="*/ 2305 w 4198"/>
                  <a:gd name="connsiteY1" fmla="*/ 0 h 4473"/>
                  <a:gd name="connsiteX2" fmla="*/ 4199 w 4198"/>
                  <a:gd name="connsiteY2" fmla="*/ 1756 h 4473"/>
                  <a:gd name="connsiteX3" fmla="*/ 3705 w 4198"/>
                  <a:gd name="connsiteY3" fmla="*/ 4473 h 4473"/>
                  <a:gd name="connsiteX4" fmla="*/ 0 w 4198"/>
                  <a:gd name="connsiteY4" fmla="*/ 3842 h 4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8" h="4473">
                    <a:moveTo>
                      <a:pt x="27" y="3815"/>
                    </a:moveTo>
                    <a:lnTo>
                      <a:pt x="2305" y="0"/>
                    </a:lnTo>
                    <a:lnTo>
                      <a:pt x="4199" y="1756"/>
                    </a:lnTo>
                    <a:lnTo>
                      <a:pt x="3705" y="4473"/>
                    </a:lnTo>
                    <a:lnTo>
                      <a:pt x="0" y="38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0" name="Freeform: Shape 3809">
                <a:extLst>
                  <a:ext uri="{FF2B5EF4-FFF2-40B4-BE49-F238E27FC236}">
                    <a16:creationId xmlns:a16="http://schemas.microsoft.com/office/drawing/2014/main" id="{F678D16C-D1D8-F70C-D3BC-7D0362EA5A74}"/>
                  </a:ext>
                </a:extLst>
              </p:cNvPr>
              <p:cNvSpPr/>
              <p:nvPr/>
            </p:nvSpPr>
            <p:spPr>
              <a:xfrm>
                <a:off x="1133133" y="3583870"/>
                <a:ext cx="329" cy="925"/>
              </a:xfrm>
              <a:custGeom>
                <a:avLst/>
                <a:gdLst>
                  <a:gd name="connsiteX0" fmla="*/ 27 w 3156"/>
                  <a:gd name="connsiteY0" fmla="*/ 0 h 8864"/>
                  <a:gd name="connsiteX1" fmla="*/ 1262 w 3156"/>
                  <a:gd name="connsiteY1" fmla="*/ 412 h 8864"/>
                  <a:gd name="connsiteX2" fmla="*/ 3156 w 3156"/>
                  <a:gd name="connsiteY2" fmla="*/ 6065 h 8864"/>
                  <a:gd name="connsiteX3" fmla="*/ 1756 w 3156"/>
                  <a:gd name="connsiteY3" fmla="*/ 8864 h 8864"/>
                  <a:gd name="connsiteX4" fmla="*/ 467 w 3156"/>
                  <a:gd name="connsiteY4" fmla="*/ 7327 h 8864"/>
                  <a:gd name="connsiteX5" fmla="*/ 0 w 3156"/>
                  <a:gd name="connsiteY5" fmla="*/ 0 h 8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6" h="8864">
                    <a:moveTo>
                      <a:pt x="27" y="0"/>
                    </a:moveTo>
                    <a:lnTo>
                      <a:pt x="1262" y="412"/>
                    </a:lnTo>
                    <a:lnTo>
                      <a:pt x="3156" y="6065"/>
                    </a:lnTo>
                    <a:lnTo>
                      <a:pt x="1756" y="8864"/>
                    </a:lnTo>
                    <a:lnTo>
                      <a:pt x="467" y="7327"/>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1" name="Freeform: Shape 3810">
                <a:extLst>
                  <a:ext uri="{FF2B5EF4-FFF2-40B4-BE49-F238E27FC236}">
                    <a16:creationId xmlns:a16="http://schemas.microsoft.com/office/drawing/2014/main" id="{8E873719-44BC-7DFA-DB98-41BA4FC61FE2}"/>
                  </a:ext>
                </a:extLst>
              </p:cNvPr>
              <p:cNvSpPr/>
              <p:nvPr/>
            </p:nvSpPr>
            <p:spPr>
              <a:xfrm>
                <a:off x="1062517" y="3495438"/>
                <a:ext cx="521" cy="922"/>
              </a:xfrm>
              <a:custGeom>
                <a:avLst/>
                <a:gdLst>
                  <a:gd name="connsiteX0" fmla="*/ 0 w 4994"/>
                  <a:gd name="connsiteY0" fmla="*/ 4665 h 8836"/>
                  <a:gd name="connsiteX1" fmla="*/ 4199 w 4994"/>
                  <a:gd name="connsiteY1" fmla="*/ 0 h 8836"/>
                  <a:gd name="connsiteX2" fmla="*/ 4994 w 4994"/>
                  <a:gd name="connsiteY2" fmla="*/ 7108 h 8836"/>
                  <a:gd name="connsiteX3" fmla="*/ 1098 w 4994"/>
                  <a:gd name="connsiteY3" fmla="*/ 8837 h 8836"/>
                  <a:gd name="connsiteX4" fmla="*/ 0 w 4994"/>
                  <a:gd name="connsiteY4" fmla="*/ 4665 h 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4" h="8836">
                    <a:moveTo>
                      <a:pt x="0" y="4665"/>
                    </a:moveTo>
                    <a:lnTo>
                      <a:pt x="4199" y="0"/>
                    </a:lnTo>
                    <a:lnTo>
                      <a:pt x="4994" y="7108"/>
                    </a:lnTo>
                    <a:lnTo>
                      <a:pt x="1098" y="8837"/>
                    </a:lnTo>
                    <a:lnTo>
                      <a:pt x="0" y="46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2" name="Freeform: Shape 3811">
                <a:extLst>
                  <a:ext uri="{FF2B5EF4-FFF2-40B4-BE49-F238E27FC236}">
                    <a16:creationId xmlns:a16="http://schemas.microsoft.com/office/drawing/2014/main" id="{B6FDA005-57ED-2A92-6BB5-9CFAEC64EE84}"/>
                  </a:ext>
                </a:extLst>
              </p:cNvPr>
              <p:cNvSpPr/>
              <p:nvPr/>
            </p:nvSpPr>
            <p:spPr>
              <a:xfrm>
                <a:off x="1125746" y="3539756"/>
                <a:ext cx="369" cy="1016"/>
              </a:xfrm>
              <a:custGeom>
                <a:avLst/>
                <a:gdLst>
                  <a:gd name="connsiteX0" fmla="*/ 27 w 3539"/>
                  <a:gd name="connsiteY0" fmla="*/ 2827 h 9742"/>
                  <a:gd name="connsiteX1" fmla="*/ 1372 w 3539"/>
                  <a:gd name="connsiteY1" fmla="*/ 0 h 9742"/>
                  <a:gd name="connsiteX2" fmla="*/ 3540 w 3539"/>
                  <a:gd name="connsiteY2" fmla="*/ 5104 h 9742"/>
                  <a:gd name="connsiteX3" fmla="*/ 2031 w 3539"/>
                  <a:gd name="connsiteY3" fmla="*/ 9742 h 9742"/>
                  <a:gd name="connsiteX4" fmla="*/ 494 w 3539"/>
                  <a:gd name="connsiteY4" fmla="*/ 8480 h 9742"/>
                  <a:gd name="connsiteX5" fmla="*/ 0 w 3539"/>
                  <a:gd name="connsiteY5" fmla="*/ 2827 h 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9" h="9742">
                    <a:moveTo>
                      <a:pt x="27" y="2827"/>
                    </a:moveTo>
                    <a:lnTo>
                      <a:pt x="1372" y="0"/>
                    </a:lnTo>
                    <a:lnTo>
                      <a:pt x="3540" y="5104"/>
                    </a:lnTo>
                    <a:lnTo>
                      <a:pt x="2031" y="9742"/>
                    </a:lnTo>
                    <a:lnTo>
                      <a:pt x="494" y="8480"/>
                    </a:lnTo>
                    <a:lnTo>
                      <a:pt x="0" y="28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3" name="Freeform: Shape 3812">
                <a:extLst>
                  <a:ext uri="{FF2B5EF4-FFF2-40B4-BE49-F238E27FC236}">
                    <a16:creationId xmlns:a16="http://schemas.microsoft.com/office/drawing/2014/main" id="{3F468770-2AB3-0E6F-361F-EBB2270D3A3D}"/>
                  </a:ext>
                </a:extLst>
              </p:cNvPr>
              <p:cNvSpPr/>
              <p:nvPr/>
            </p:nvSpPr>
            <p:spPr>
              <a:xfrm>
                <a:off x="1178081" y="3633423"/>
                <a:ext cx="315" cy="733"/>
              </a:xfrm>
              <a:custGeom>
                <a:avLst/>
                <a:gdLst>
                  <a:gd name="connsiteX0" fmla="*/ 27 w 3018"/>
                  <a:gd name="connsiteY0" fmla="*/ 7025 h 7025"/>
                  <a:gd name="connsiteX1" fmla="*/ 110 w 3018"/>
                  <a:gd name="connsiteY1" fmla="*/ 1647 h 7025"/>
                  <a:gd name="connsiteX2" fmla="*/ 2278 w 3018"/>
                  <a:gd name="connsiteY2" fmla="*/ 0 h 7025"/>
                  <a:gd name="connsiteX3" fmla="*/ 3019 w 3018"/>
                  <a:gd name="connsiteY3" fmla="*/ 3815 h 7025"/>
                  <a:gd name="connsiteX4" fmla="*/ 0 w 3018"/>
                  <a:gd name="connsiteY4" fmla="*/ 6998 h 7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 h="7025">
                    <a:moveTo>
                      <a:pt x="27" y="7025"/>
                    </a:moveTo>
                    <a:lnTo>
                      <a:pt x="110" y="1647"/>
                    </a:lnTo>
                    <a:lnTo>
                      <a:pt x="2278" y="0"/>
                    </a:lnTo>
                    <a:lnTo>
                      <a:pt x="3019" y="3815"/>
                    </a:lnTo>
                    <a:lnTo>
                      <a:pt x="0" y="69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4" name="Freeform: Shape 3813">
                <a:extLst>
                  <a:ext uri="{FF2B5EF4-FFF2-40B4-BE49-F238E27FC236}">
                    <a16:creationId xmlns:a16="http://schemas.microsoft.com/office/drawing/2014/main" id="{0BCD4B09-EC4E-0265-43B0-AA4CBDC45806}"/>
                  </a:ext>
                </a:extLst>
              </p:cNvPr>
              <p:cNvSpPr/>
              <p:nvPr/>
            </p:nvSpPr>
            <p:spPr>
              <a:xfrm>
                <a:off x="986708" y="3669545"/>
                <a:ext cx="421" cy="461"/>
              </a:xfrm>
              <a:custGeom>
                <a:avLst/>
                <a:gdLst>
                  <a:gd name="connsiteX0" fmla="*/ 27 w 4034"/>
                  <a:gd name="connsiteY0" fmla="*/ 4226 h 4418"/>
                  <a:gd name="connsiteX1" fmla="*/ 247 w 4034"/>
                  <a:gd name="connsiteY1" fmla="*/ 2360 h 4418"/>
                  <a:gd name="connsiteX2" fmla="*/ 3321 w 4034"/>
                  <a:gd name="connsiteY2" fmla="*/ 0 h 4418"/>
                  <a:gd name="connsiteX3" fmla="*/ 4034 w 4034"/>
                  <a:gd name="connsiteY3" fmla="*/ 2031 h 4418"/>
                  <a:gd name="connsiteX4" fmla="*/ 2525 w 4034"/>
                  <a:gd name="connsiteY4" fmla="*/ 4418 h 4418"/>
                  <a:gd name="connsiteX5" fmla="*/ 0 w 4034"/>
                  <a:gd name="connsiteY5" fmla="*/ 4226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4" h="4418">
                    <a:moveTo>
                      <a:pt x="27" y="4226"/>
                    </a:moveTo>
                    <a:lnTo>
                      <a:pt x="247" y="2360"/>
                    </a:lnTo>
                    <a:lnTo>
                      <a:pt x="3321" y="0"/>
                    </a:lnTo>
                    <a:lnTo>
                      <a:pt x="4034" y="2031"/>
                    </a:lnTo>
                    <a:lnTo>
                      <a:pt x="2525" y="4418"/>
                    </a:lnTo>
                    <a:lnTo>
                      <a:pt x="0"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5" name="Freeform: Shape 3814">
                <a:extLst>
                  <a:ext uri="{FF2B5EF4-FFF2-40B4-BE49-F238E27FC236}">
                    <a16:creationId xmlns:a16="http://schemas.microsoft.com/office/drawing/2014/main" id="{241ED045-A59F-9EE6-C292-42E6D289C2C1}"/>
                  </a:ext>
                </a:extLst>
              </p:cNvPr>
              <p:cNvSpPr/>
              <p:nvPr/>
            </p:nvSpPr>
            <p:spPr>
              <a:xfrm>
                <a:off x="1163975" y="3573010"/>
                <a:ext cx="535" cy="575"/>
              </a:xfrm>
              <a:custGeom>
                <a:avLst/>
                <a:gdLst>
                  <a:gd name="connsiteX0" fmla="*/ 4309 w 5131"/>
                  <a:gd name="connsiteY0" fmla="*/ 4281 h 5516"/>
                  <a:gd name="connsiteX1" fmla="*/ 0 w 5131"/>
                  <a:gd name="connsiteY1" fmla="*/ 5516 h 5516"/>
                  <a:gd name="connsiteX2" fmla="*/ 329 w 5131"/>
                  <a:gd name="connsiteY2" fmla="*/ 1482 h 5516"/>
                  <a:gd name="connsiteX3" fmla="*/ 5132 w 5131"/>
                  <a:gd name="connsiteY3" fmla="*/ 0 h 5516"/>
                  <a:gd name="connsiteX4" fmla="*/ 4336 w 5131"/>
                  <a:gd name="connsiteY4" fmla="*/ 4281 h 5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1" h="5516">
                    <a:moveTo>
                      <a:pt x="4309" y="4281"/>
                    </a:moveTo>
                    <a:lnTo>
                      <a:pt x="0" y="5516"/>
                    </a:lnTo>
                    <a:lnTo>
                      <a:pt x="329" y="1482"/>
                    </a:lnTo>
                    <a:lnTo>
                      <a:pt x="5132" y="0"/>
                    </a:lnTo>
                    <a:lnTo>
                      <a:pt x="4336"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6" name="Freeform: Shape 3815">
                <a:extLst>
                  <a:ext uri="{FF2B5EF4-FFF2-40B4-BE49-F238E27FC236}">
                    <a16:creationId xmlns:a16="http://schemas.microsoft.com/office/drawing/2014/main" id="{AEFECFB3-A5B3-DE84-C388-16E46CC92E12}"/>
                  </a:ext>
                </a:extLst>
              </p:cNvPr>
              <p:cNvSpPr/>
              <p:nvPr/>
            </p:nvSpPr>
            <p:spPr>
              <a:xfrm>
                <a:off x="1156971" y="3550132"/>
                <a:ext cx="395" cy="859"/>
              </a:xfrm>
              <a:custGeom>
                <a:avLst/>
                <a:gdLst>
                  <a:gd name="connsiteX0" fmla="*/ 0 w 3787"/>
                  <a:gd name="connsiteY0" fmla="*/ 4199 h 8232"/>
                  <a:gd name="connsiteX1" fmla="*/ 1455 w 3787"/>
                  <a:gd name="connsiteY1" fmla="*/ 0 h 8232"/>
                  <a:gd name="connsiteX2" fmla="*/ 3787 w 3787"/>
                  <a:gd name="connsiteY2" fmla="*/ 631 h 8232"/>
                  <a:gd name="connsiteX3" fmla="*/ 3513 w 3787"/>
                  <a:gd name="connsiteY3" fmla="*/ 8233 h 8232"/>
                  <a:gd name="connsiteX4" fmla="*/ 0 w 3787"/>
                  <a:gd name="connsiteY4" fmla="*/ 4171 h 8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8232">
                    <a:moveTo>
                      <a:pt x="0" y="4199"/>
                    </a:moveTo>
                    <a:lnTo>
                      <a:pt x="1455" y="0"/>
                    </a:lnTo>
                    <a:lnTo>
                      <a:pt x="3787" y="631"/>
                    </a:lnTo>
                    <a:lnTo>
                      <a:pt x="3513" y="8233"/>
                    </a:lnTo>
                    <a:lnTo>
                      <a:pt x="0" y="41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7" name="Freeform: Shape 3816">
                <a:extLst>
                  <a:ext uri="{FF2B5EF4-FFF2-40B4-BE49-F238E27FC236}">
                    <a16:creationId xmlns:a16="http://schemas.microsoft.com/office/drawing/2014/main" id="{D9FA66BC-CE91-0F58-1855-DB20EB41956F}"/>
                  </a:ext>
                </a:extLst>
              </p:cNvPr>
              <p:cNvSpPr/>
              <p:nvPr/>
            </p:nvSpPr>
            <p:spPr>
              <a:xfrm>
                <a:off x="1166611" y="3591864"/>
                <a:ext cx="441" cy="615"/>
              </a:xfrm>
              <a:custGeom>
                <a:avLst/>
                <a:gdLst>
                  <a:gd name="connsiteX0" fmla="*/ 0 w 4226"/>
                  <a:gd name="connsiteY0" fmla="*/ 0 h 5900"/>
                  <a:gd name="connsiteX1" fmla="*/ 3266 w 4226"/>
                  <a:gd name="connsiteY1" fmla="*/ 0 h 5900"/>
                  <a:gd name="connsiteX2" fmla="*/ 4226 w 4226"/>
                  <a:gd name="connsiteY2" fmla="*/ 5461 h 5900"/>
                  <a:gd name="connsiteX3" fmla="*/ 2168 w 4226"/>
                  <a:gd name="connsiteY3" fmla="*/ 5900 h 5900"/>
                  <a:gd name="connsiteX4" fmla="*/ 0 w 4226"/>
                  <a:gd name="connsiteY4" fmla="*/ 27 h 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 h="5900">
                    <a:moveTo>
                      <a:pt x="0" y="0"/>
                    </a:moveTo>
                    <a:lnTo>
                      <a:pt x="3266" y="0"/>
                    </a:lnTo>
                    <a:lnTo>
                      <a:pt x="4226" y="5461"/>
                    </a:lnTo>
                    <a:lnTo>
                      <a:pt x="2168" y="5900"/>
                    </a:lnTo>
                    <a:lnTo>
                      <a:pt x="0"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8" name="Freeform: Shape 3817">
                <a:extLst>
                  <a:ext uri="{FF2B5EF4-FFF2-40B4-BE49-F238E27FC236}">
                    <a16:creationId xmlns:a16="http://schemas.microsoft.com/office/drawing/2014/main" id="{4FF73DD9-E3B6-4B93-4AC0-9DB43FF74F7A}"/>
                  </a:ext>
                </a:extLst>
              </p:cNvPr>
              <p:cNvSpPr/>
              <p:nvPr/>
            </p:nvSpPr>
            <p:spPr>
              <a:xfrm>
                <a:off x="1140908" y="3585974"/>
                <a:ext cx="389" cy="716"/>
              </a:xfrm>
              <a:custGeom>
                <a:avLst/>
                <a:gdLst>
                  <a:gd name="connsiteX0" fmla="*/ 0 w 3732"/>
                  <a:gd name="connsiteY0" fmla="*/ 1839 h 6860"/>
                  <a:gd name="connsiteX1" fmla="*/ 714 w 3732"/>
                  <a:gd name="connsiteY1" fmla="*/ 0 h 6860"/>
                  <a:gd name="connsiteX2" fmla="*/ 3622 w 3732"/>
                  <a:gd name="connsiteY2" fmla="*/ 275 h 6860"/>
                  <a:gd name="connsiteX3" fmla="*/ 3732 w 3732"/>
                  <a:gd name="connsiteY3" fmla="*/ 2854 h 6860"/>
                  <a:gd name="connsiteX4" fmla="*/ 1921 w 3732"/>
                  <a:gd name="connsiteY4" fmla="*/ 6861 h 6860"/>
                  <a:gd name="connsiteX5" fmla="*/ 0 w 3732"/>
                  <a:gd name="connsiteY5" fmla="*/ 1839 h 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2" h="6860">
                    <a:moveTo>
                      <a:pt x="0" y="1839"/>
                    </a:moveTo>
                    <a:lnTo>
                      <a:pt x="714" y="0"/>
                    </a:lnTo>
                    <a:lnTo>
                      <a:pt x="3622" y="275"/>
                    </a:lnTo>
                    <a:lnTo>
                      <a:pt x="3732" y="2854"/>
                    </a:lnTo>
                    <a:lnTo>
                      <a:pt x="1921" y="6861"/>
                    </a:lnTo>
                    <a:lnTo>
                      <a:pt x="0"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19" name="Freeform: Shape 3818">
                <a:extLst>
                  <a:ext uri="{FF2B5EF4-FFF2-40B4-BE49-F238E27FC236}">
                    <a16:creationId xmlns:a16="http://schemas.microsoft.com/office/drawing/2014/main" id="{1F992484-9EBF-1F14-057E-8FCDD1CAF18C}"/>
                  </a:ext>
                </a:extLst>
              </p:cNvPr>
              <p:cNvSpPr/>
              <p:nvPr/>
            </p:nvSpPr>
            <p:spPr>
              <a:xfrm>
                <a:off x="1124667" y="3628603"/>
                <a:ext cx="444" cy="512"/>
              </a:xfrm>
              <a:custGeom>
                <a:avLst/>
                <a:gdLst>
                  <a:gd name="connsiteX0" fmla="*/ 0 w 4253"/>
                  <a:gd name="connsiteY0" fmla="*/ 3485 h 4912"/>
                  <a:gd name="connsiteX1" fmla="*/ 576 w 4253"/>
                  <a:gd name="connsiteY1" fmla="*/ 1345 h 4912"/>
                  <a:gd name="connsiteX2" fmla="*/ 4253 w 4253"/>
                  <a:gd name="connsiteY2" fmla="*/ 0 h 4912"/>
                  <a:gd name="connsiteX3" fmla="*/ 3677 w 4253"/>
                  <a:gd name="connsiteY3" fmla="*/ 4912 h 4912"/>
                  <a:gd name="connsiteX4" fmla="*/ 0 w 4253"/>
                  <a:gd name="connsiteY4" fmla="*/ 3485 h 4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4912">
                    <a:moveTo>
                      <a:pt x="0" y="3485"/>
                    </a:moveTo>
                    <a:lnTo>
                      <a:pt x="576" y="1345"/>
                    </a:lnTo>
                    <a:lnTo>
                      <a:pt x="4253" y="0"/>
                    </a:lnTo>
                    <a:lnTo>
                      <a:pt x="3677" y="4912"/>
                    </a:lnTo>
                    <a:lnTo>
                      <a:pt x="0"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0" name="Freeform: Shape 3819">
                <a:extLst>
                  <a:ext uri="{FF2B5EF4-FFF2-40B4-BE49-F238E27FC236}">
                    <a16:creationId xmlns:a16="http://schemas.microsoft.com/office/drawing/2014/main" id="{A92EE106-31A7-DD46-06FC-1D61A2862C26}"/>
                  </a:ext>
                </a:extLst>
              </p:cNvPr>
              <p:cNvSpPr/>
              <p:nvPr/>
            </p:nvSpPr>
            <p:spPr>
              <a:xfrm>
                <a:off x="1163053" y="3555324"/>
                <a:ext cx="321" cy="1010"/>
              </a:xfrm>
              <a:custGeom>
                <a:avLst/>
                <a:gdLst>
                  <a:gd name="connsiteX0" fmla="*/ 0 w 3073"/>
                  <a:gd name="connsiteY0" fmla="*/ 0 h 9687"/>
                  <a:gd name="connsiteX1" fmla="*/ 2086 w 3073"/>
                  <a:gd name="connsiteY1" fmla="*/ 0 h 9687"/>
                  <a:gd name="connsiteX2" fmla="*/ 3074 w 3073"/>
                  <a:gd name="connsiteY2" fmla="*/ 5242 h 9687"/>
                  <a:gd name="connsiteX3" fmla="*/ 631 w 3073"/>
                  <a:gd name="connsiteY3" fmla="*/ 9687 h 9687"/>
                  <a:gd name="connsiteX4" fmla="*/ 0 w 3073"/>
                  <a:gd name="connsiteY4" fmla="*/ 0 h 9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 h="9687">
                    <a:moveTo>
                      <a:pt x="0" y="0"/>
                    </a:moveTo>
                    <a:lnTo>
                      <a:pt x="2086" y="0"/>
                    </a:lnTo>
                    <a:lnTo>
                      <a:pt x="3074" y="5242"/>
                    </a:lnTo>
                    <a:lnTo>
                      <a:pt x="631" y="9687"/>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1" name="Freeform: Shape 3820">
                <a:extLst>
                  <a:ext uri="{FF2B5EF4-FFF2-40B4-BE49-F238E27FC236}">
                    <a16:creationId xmlns:a16="http://schemas.microsoft.com/office/drawing/2014/main" id="{4B49133B-9702-72AA-7D15-8AF8D010FBE9}"/>
                  </a:ext>
                </a:extLst>
              </p:cNvPr>
              <p:cNvSpPr/>
              <p:nvPr/>
            </p:nvSpPr>
            <p:spPr>
              <a:xfrm>
                <a:off x="1124106" y="3554205"/>
                <a:ext cx="489" cy="658"/>
              </a:xfrm>
              <a:custGeom>
                <a:avLst/>
                <a:gdLst>
                  <a:gd name="connsiteX0" fmla="*/ 0 w 4692"/>
                  <a:gd name="connsiteY0" fmla="*/ 3787 h 6311"/>
                  <a:gd name="connsiteX1" fmla="*/ 1564 w 4692"/>
                  <a:gd name="connsiteY1" fmla="*/ 0 h 6311"/>
                  <a:gd name="connsiteX2" fmla="*/ 3595 w 4692"/>
                  <a:gd name="connsiteY2" fmla="*/ 0 h 6311"/>
                  <a:gd name="connsiteX3" fmla="*/ 4693 w 4692"/>
                  <a:gd name="connsiteY3" fmla="*/ 3924 h 6311"/>
                  <a:gd name="connsiteX4" fmla="*/ 2360 w 4692"/>
                  <a:gd name="connsiteY4" fmla="*/ 6312 h 6311"/>
                  <a:gd name="connsiteX5" fmla="*/ 0 w 4692"/>
                  <a:gd name="connsiteY5" fmla="*/ 3787 h 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 h="6311">
                    <a:moveTo>
                      <a:pt x="0" y="3787"/>
                    </a:moveTo>
                    <a:lnTo>
                      <a:pt x="1564" y="0"/>
                    </a:lnTo>
                    <a:lnTo>
                      <a:pt x="3595" y="0"/>
                    </a:lnTo>
                    <a:cubicBezTo>
                      <a:pt x="3595" y="0"/>
                      <a:pt x="4693" y="3924"/>
                      <a:pt x="4693" y="3924"/>
                    </a:cubicBezTo>
                    <a:lnTo>
                      <a:pt x="2360" y="6312"/>
                    </a:lnTo>
                    <a:lnTo>
                      <a:pt x="0" y="37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2" name="Freeform: Shape 3821">
                <a:extLst>
                  <a:ext uri="{FF2B5EF4-FFF2-40B4-BE49-F238E27FC236}">
                    <a16:creationId xmlns:a16="http://schemas.microsoft.com/office/drawing/2014/main" id="{DE6646FD-4197-C925-D32B-0B2841E9A5E1}"/>
                  </a:ext>
                </a:extLst>
              </p:cNvPr>
              <p:cNvSpPr/>
              <p:nvPr/>
            </p:nvSpPr>
            <p:spPr>
              <a:xfrm>
                <a:off x="1120210" y="3651123"/>
                <a:ext cx="358" cy="558"/>
              </a:xfrm>
              <a:custGeom>
                <a:avLst/>
                <a:gdLst>
                  <a:gd name="connsiteX0" fmla="*/ 3375 w 3430"/>
                  <a:gd name="connsiteY0" fmla="*/ 4336 h 5351"/>
                  <a:gd name="connsiteX1" fmla="*/ 110 w 3430"/>
                  <a:gd name="connsiteY1" fmla="*/ 5352 h 5351"/>
                  <a:gd name="connsiteX2" fmla="*/ 0 w 3430"/>
                  <a:gd name="connsiteY2" fmla="*/ 2744 h 5351"/>
                  <a:gd name="connsiteX3" fmla="*/ 1592 w 3430"/>
                  <a:gd name="connsiteY3" fmla="*/ 0 h 5351"/>
                  <a:gd name="connsiteX4" fmla="*/ 3430 w 3430"/>
                  <a:gd name="connsiteY4" fmla="*/ 329 h 5351"/>
                  <a:gd name="connsiteX5" fmla="*/ 3375 w 3430"/>
                  <a:gd name="connsiteY5" fmla="*/ 4336 h 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30" h="5351">
                    <a:moveTo>
                      <a:pt x="3375" y="4336"/>
                    </a:moveTo>
                    <a:lnTo>
                      <a:pt x="110" y="5352"/>
                    </a:lnTo>
                    <a:lnTo>
                      <a:pt x="0" y="2744"/>
                    </a:lnTo>
                    <a:lnTo>
                      <a:pt x="1592" y="0"/>
                    </a:lnTo>
                    <a:lnTo>
                      <a:pt x="3430" y="329"/>
                    </a:lnTo>
                    <a:lnTo>
                      <a:pt x="3375" y="43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3" name="Freeform: Shape 3822">
                <a:extLst>
                  <a:ext uri="{FF2B5EF4-FFF2-40B4-BE49-F238E27FC236}">
                    <a16:creationId xmlns:a16="http://schemas.microsoft.com/office/drawing/2014/main" id="{D1217EB7-CD89-F450-E5F7-8108027180B3}"/>
                  </a:ext>
                </a:extLst>
              </p:cNvPr>
              <p:cNvSpPr/>
              <p:nvPr/>
            </p:nvSpPr>
            <p:spPr>
              <a:xfrm>
                <a:off x="1164356" y="3555811"/>
                <a:ext cx="515" cy="615"/>
              </a:xfrm>
              <a:custGeom>
                <a:avLst/>
                <a:gdLst>
                  <a:gd name="connsiteX0" fmla="*/ 0 w 4939"/>
                  <a:gd name="connsiteY0" fmla="*/ 2799 h 5900"/>
                  <a:gd name="connsiteX1" fmla="*/ 796 w 4939"/>
                  <a:gd name="connsiteY1" fmla="*/ 384 h 5900"/>
                  <a:gd name="connsiteX2" fmla="*/ 4940 w 4939"/>
                  <a:gd name="connsiteY2" fmla="*/ 0 h 5900"/>
                  <a:gd name="connsiteX3" fmla="*/ 4391 w 4939"/>
                  <a:gd name="connsiteY3" fmla="*/ 5900 h 5900"/>
                  <a:gd name="connsiteX4" fmla="*/ 0 w 4939"/>
                  <a:gd name="connsiteY4" fmla="*/ 2799 h 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9" h="5900">
                    <a:moveTo>
                      <a:pt x="0" y="2799"/>
                    </a:moveTo>
                    <a:lnTo>
                      <a:pt x="796" y="384"/>
                    </a:lnTo>
                    <a:lnTo>
                      <a:pt x="4940" y="0"/>
                    </a:lnTo>
                    <a:lnTo>
                      <a:pt x="4391" y="5900"/>
                    </a:lnTo>
                    <a:lnTo>
                      <a:pt x="0" y="27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4" name="Freeform: Shape 3823">
                <a:extLst>
                  <a:ext uri="{FF2B5EF4-FFF2-40B4-BE49-F238E27FC236}">
                    <a16:creationId xmlns:a16="http://schemas.microsoft.com/office/drawing/2014/main" id="{A0E34C2D-732C-EA46-B56D-FE4B54CE42A4}"/>
                  </a:ext>
                </a:extLst>
              </p:cNvPr>
              <p:cNvSpPr/>
              <p:nvPr/>
            </p:nvSpPr>
            <p:spPr>
              <a:xfrm>
                <a:off x="1158024" y="3590748"/>
                <a:ext cx="349" cy="747"/>
              </a:xfrm>
              <a:custGeom>
                <a:avLst/>
                <a:gdLst>
                  <a:gd name="connsiteX0" fmla="*/ 3348 w 3348"/>
                  <a:gd name="connsiteY0" fmla="*/ 5653 h 7162"/>
                  <a:gd name="connsiteX1" fmla="*/ 0 w 3348"/>
                  <a:gd name="connsiteY1" fmla="*/ 7163 h 7162"/>
                  <a:gd name="connsiteX2" fmla="*/ 604 w 3348"/>
                  <a:gd name="connsiteY2" fmla="*/ 0 h 7162"/>
                  <a:gd name="connsiteX3" fmla="*/ 3348 w 3348"/>
                  <a:gd name="connsiteY3" fmla="*/ 2827 h 7162"/>
                  <a:gd name="connsiteX4" fmla="*/ 3348 w 3348"/>
                  <a:gd name="connsiteY4" fmla="*/ 5681 h 7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 h="7162">
                    <a:moveTo>
                      <a:pt x="3348" y="5653"/>
                    </a:moveTo>
                    <a:lnTo>
                      <a:pt x="0" y="7163"/>
                    </a:lnTo>
                    <a:lnTo>
                      <a:pt x="604" y="0"/>
                    </a:lnTo>
                    <a:lnTo>
                      <a:pt x="3348" y="2827"/>
                    </a:lnTo>
                    <a:lnTo>
                      <a:pt x="3348" y="56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5" name="Freeform: Shape 3824">
                <a:extLst>
                  <a:ext uri="{FF2B5EF4-FFF2-40B4-BE49-F238E27FC236}">
                    <a16:creationId xmlns:a16="http://schemas.microsoft.com/office/drawing/2014/main" id="{2E68BE5B-99E4-82C5-D827-BEAA43EB69C3}"/>
                  </a:ext>
                </a:extLst>
              </p:cNvPr>
              <p:cNvSpPr/>
              <p:nvPr/>
            </p:nvSpPr>
            <p:spPr>
              <a:xfrm>
                <a:off x="1121286" y="3631768"/>
                <a:ext cx="243" cy="887"/>
              </a:xfrm>
              <a:custGeom>
                <a:avLst/>
                <a:gdLst>
                  <a:gd name="connsiteX0" fmla="*/ 0 w 2332"/>
                  <a:gd name="connsiteY0" fmla="*/ 302 h 8507"/>
                  <a:gd name="connsiteX1" fmla="*/ 1811 w 2332"/>
                  <a:gd name="connsiteY1" fmla="*/ 0 h 8507"/>
                  <a:gd name="connsiteX2" fmla="*/ 2333 w 2332"/>
                  <a:gd name="connsiteY2" fmla="*/ 8507 h 8507"/>
                  <a:gd name="connsiteX3" fmla="*/ 549 w 2332"/>
                  <a:gd name="connsiteY3" fmla="*/ 8260 h 8507"/>
                  <a:gd name="connsiteX4" fmla="*/ 0 w 2332"/>
                  <a:gd name="connsiteY4" fmla="*/ 302 h 8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 h="8507">
                    <a:moveTo>
                      <a:pt x="0" y="302"/>
                    </a:moveTo>
                    <a:lnTo>
                      <a:pt x="1811" y="0"/>
                    </a:lnTo>
                    <a:lnTo>
                      <a:pt x="2333" y="8507"/>
                    </a:lnTo>
                    <a:lnTo>
                      <a:pt x="549" y="8260"/>
                    </a:lnTo>
                    <a:lnTo>
                      <a:pt x="0" y="3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6" name="Freeform: Shape 3825">
                <a:extLst>
                  <a:ext uri="{FF2B5EF4-FFF2-40B4-BE49-F238E27FC236}">
                    <a16:creationId xmlns:a16="http://schemas.microsoft.com/office/drawing/2014/main" id="{F89BCB3A-7B25-E2D9-0F06-C363B19963EF}"/>
                  </a:ext>
                </a:extLst>
              </p:cNvPr>
              <p:cNvSpPr/>
              <p:nvPr/>
            </p:nvSpPr>
            <p:spPr>
              <a:xfrm>
                <a:off x="1080235" y="3600360"/>
                <a:ext cx="575" cy="432"/>
              </a:xfrm>
              <a:custGeom>
                <a:avLst/>
                <a:gdLst>
                  <a:gd name="connsiteX0" fmla="*/ 0 w 5516"/>
                  <a:gd name="connsiteY0" fmla="*/ 960 h 4143"/>
                  <a:gd name="connsiteX1" fmla="*/ 4309 w 5516"/>
                  <a:gd name="connsiteY1" fmla="*/ 0 h 4143"/>
                  <a:gd name="connsiteX2" fmla="*/ 5516 w 5516"/>
                  <a:gd name="connsiteY2" fmla="*/ 2854 h 4143"/>
                  <a:gd name="connsiteX3" fmla="*/ 631 w 5516"/>
                  <a:gd name="connsiteY3" fmla="*/ 4144 h 4143"/>
                  <a:gd name="connsiteX4" fmla="*/ 0 w 5516"/>
                  <a:gd name="connsiteY4" fmla="*/ 988 h 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6" h="4143">
                    <a:moveTo>
                      <a:pt x="0" y="960"/>
                    </a:moveTo>
                    <a:lnTo>
                      <a:pt x="4309" y="0"/>
                    </a:lnTo>
                    <a:lnTo>
                      <a:pt x="5516" y="2854"/>
                    </a:lnTo>
                    <a:lnTo>
                      <a:pt x="631" y="4144"/>
                    </a:lnTo>
                    <a:lnTo>
                      <a:pt x="0"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7" name="Freeform: Shape 3826">
                <a:extLst>
                  <a:ext uri="{FF2B5EF4-FFF2-40B4-BE49-F238E27FC236}">
                    <a16:creationId xmlns:a16="http://schemas.microsoft.com/office/drawing/2014/main" id="{01C6D442-BC69-C411-C4E0-E3B7DBFF3BB1}"/>
                  </a:ext>
                </a:extLst>
              </p:cNvPr>
              <p:cNvSpPr/>
              <p:nvPr/>
            </p:nvSpPr>
            <p:spPr>
              <a:xfrm>
                <a:off x="1126645" y="3633717"/>
                <a:ext cx="289" cy="727"/>
              </a:xfrm>
              <a:custGeom>
                <a:avLst/>
                <a:gdLst>
                  <a:gd name="connsiteX0" fmla="*/ 27 w 2771"/>
                  <a:gd name="connsiteY0" fmla="*/ 1207 h 6970"/>
                  <a:gd name="connsiteX1" fmla="*/ 1894 w 2771"/>
                  <a:gd name="connsiteY1" fmla="*/ 0 h 6970"/>
                  <a:gd name="connsiteX2" fmla="*/ 2772 w 2771"/>
                  <a:gd name="connsiteY2" fmla="*/ 4336 h 6970"/>
                  <a:gd name="connsiteX3" fmla="*/ 0 w 2771"/>
                  <a:gd name="connsiteY3" fmla="*/ 6970 h 6970"/>
                  <a:gd name="connsiteX4" fmla="*/ 0 w 2771"/>
                  <a:gd name="connsiteY4" fmla="*/ 1207 h 6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 h="6970">
                    <a:moveTo>
                      <a:pt x="27" y="1207"/>
                    </a:moveTo>
                    <a:lnTo>
                      <a:pt x="1894" y="0"/>
                    </a:lnTo>
                    <a:lnTo>
                      <a:pt x="2772" y="4336"/>
                    </a:lnTo>
                    <a:lnTo>
                      <a:pt x="0" y="6970"/>
                    </a:lnTo>
                    <a:lnTo>
                      <a:pt x="0" y="12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8" name="Freeform: Shape 3827">
                <a:extLst>
                  <a:ext uri="{FF2B5EF4-FFF2-40B4-BE49-F238E27FC236}">
                    <a16:creationId xmlns:a16="http://schemas.microsoft.com/office/drawing/2014/main" id="{4DC1F2D1-B7A3-D1CC-4313-CECC15FB0222}"/>
                  </a:ext>
                </a:extLst>
              </p:cNvPr>
              <p:cNvSpPr/>
              <p:nvPr/>
            </p:nvSpPr>
            <p:spPr>
              <a:xfrm>
                <a:off x="1175061" y="3679409"/>
                <a:ext cx="449" cy="381"/>
              </a:xfrm>
              <a:custGeom>
                <a:avLst/>
                <a:gdLst>
                  <a:gd name="connsiteX0" fmla="*/ 0 w 4308"/>
                  <a:gd name="connsiteY0" fmla="*/ 2717 h 3649"/>
                  <a:gd name="connsiteX1" fmla="*/ 1674 w 4308"/>
                  <a:gd name="connsiteY1" fmla="*/ 0 h 3649"/>
                  <a:gd name="connsiteX2" fmla="*/ 3952 w 4308"/>
                  <a:gd name="connsiteY2" fmla="*/ 1015 h 3649"/>
                  <a:gd name="connsiteX3" fmla="*/ 4309 w 4308"/>
                  <a:gd name="connsiteY3" fmla="*/ 3129 h 3649"/>
                  <a:gd name="connsiteX4" fmla="*/ 768 w 4308"/>
                  <a:gd name="connsiteY4" fmla="*/ 3650 h 3649"/>
                  <a:gd name="connsiteX5" fmla="*/ 27 w 4308"/>
                  <a:gd name="connsiteY5" fmla="*/ 2717 h 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8" h="3649">
                    <a:moveTo>
                      <a:pt x="0" y="2717"/>
                    </a:moveTo>
                    <a:lnTo>
                      <a:pt x="1674" y="0"/>
                    </a:lnTo>
                    <a:lnTo>
                      <a:pt x="3952" y="1015"/>
                    </a:lnTo>
                    <a:lnTo>
                      <a:pt x="4309" y="3129"/>
                    </a:lnTo>
                    <a:lnTo>
                      <a:pt x="768" y="3650"/>
                    </a:lnTo>
                    <a:lnTo>
                      <a:pt x="27"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29" name="Freeform: Shape 3828">
                <a:extLst>
                  <a:ext uri="{FF2B5EF4-FFF2-40B4-BE49-F238E27FC236}">
                    <a16:creationId xmlns:a16="http://schemas.microsoft.com/office/drawing/2014/main" id="{C53E686C-7F45-4A56-8C46-4C8282C9B4B2}"/>
                  </a:ext>
                </a:extLst>
              </p:cNvPr>
              <p:cNvSpPr/>
              <p:nvPr/>
            </p:nvSpPr>
            <p:spPr>
              <a:xfrm>
                <a:off x="1057966" y="3535188"/>
                <a:ext cx="315" cy="1088"/>
              </a:xfrm>
              <a:custGeom>
                <a:avLst/>
                <a:gdLst>
                  <a:gd name="connsiteX0" fmla="*/ 0 w 3018"/>
                  <a:gd name="connsiteY0" fmla="*/ 4171 h 10428"/>
                  <a:gd name="connsiteX1" fmla="*/ 1619 w 3018"/>
                  <a:gd name="connsiteY1" fmla="*/ 0 h 10428"/>
                  <a:gd name="connsiteX2" fmla="*/ 3019 w 3018"/>
                  <a:gd name="connsiteY2" fmla="*/ 2031 h 10428"/>
                  <a:gd name="connsiteX3" fmla="*/ 2415 w 3018"/>
                  <a:gd name="connsiteY3" fmla="*/ 10428 h 10428"/>
                  <a:gd name="connsiteX4" fmla="*/ 604 w 3018"/>
                  <a:gd name="connsiteY4" fmla="*/ 9166 h 10428"/>
                  <a:gd name="connsiteX5" fmla="*/ 0 w 3018"/>
                  <a:gd name="connsiteY5" fmla="*/ 4144 h 1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 h="10428">
                    <a:moveTo>
                      <a:pt x="0" y="4171"/>
                    </a:moveTo>
                    <a:lnTo>
                      <a:pt x="1619" y="0"/>
                    </a:lnTo>
                    <a:lnTo>
                      <a:pt x="3019" y="2031"/>
                    </a:lnTo>
                    <a:lnTo>
                      <a:pt x="2415" y="10428"/>
                    </a:lnTo>
                    <a:lnTo>
                      <a:pt x="604" y="9166"/>
                    </a:lnTo>
                    <a:lnTo>
                      <a:pt x="0" y="41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0" name="Freeform: Shape 3829">
                <a:extLst>
                  <a:ext uri="{FF2B5EF4-FFF2-40B4-BE49-F238E27FC236}">
                    <a16:creationId xmlns:a16="http://schemas.microsoft.com/office/drawing/2014/main" id="{F58EEC84-414B-BD18-6985-55E8B520BD85}"/>
                  </a:ext>
                </a:extLst>
              </p:cNvPr>
              <p:cNvSpPr/>
              <p:nvPr/>
            </p:nvSpPr>
            <p:spPr>
              <a:xfrm>
                <a:off x="1067580" y="3507285"/>
                <a:ext cx="464" cy="864"/>
              </a:xfrm>
              <a:custGeom>
                <a:avLst/>
                <a:gdLst>
                  <a:gd name="connsiteX0" fmla="*/ 0 w 4445"/>
                  <a:gd name="connsiteY0" fmla="*/ 4748 h 8287"/>
                  <a:gd name="connsiteX1" fmla="*/ 439 w 4445"/>
                  <a:gd name="connsiteY1" fmla="*/ 3074 h 8287"/>
                  <a:gd name="connsiteX2" fmla="*/ 4254 w 4445"/>
                  <a:gd name="connsiteY2" fmla="*/ 0 h 8287"/>
                  <a:gd name="connsiteX3" fmla="*/ 4446 w 4445"/>
                  <a:gd name="connsiteY3" fmla="*/ 8288 h 8287"/>
                  <a:gd name="connsiteX4" fmla="*/ 494 w 4445"/>
                  <a:gd name="connsiteY4" fmla="*/ 6778 h 8287"/>
                  <a:gd name="connsiteX5" fmla="*/ 0 w 4445"/>
                  <a:gd name="connsiteY5" fmla="*/ 4720 h 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5" h="8287">
                    <a:moveTo>
                      <a:pt x="0" y="4748"/>
                    </a:moveTo>
                    <a:lnTo>
                      <a:pt x="439" y="3074"/>
                    </a:lnTo>
                    <a:lnTo>
                      <a:pt x="4254" y="0"/>
                    </a:lnTo>
                    <a:lnTo>
                      <a:pt x="4446" y="8288"/>
                    </a:lnTo>
                    <a:lnTo>
                      <a:pt x="494" y="6778"/>
                    </a:lnTo>
                    <a:lnTo>
                      <a:pt x="0" y="47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1" name="Freeform: Shape 3830">
                <a:extLst>
                  <a:ext uri="{FF2B5EF4-FFF2-40B4-BE49-F238E27FC236}">
                    <a16:creationId xmlns:a16="http://schemas.microsoft.com/office/drawing/2014/main" id="{D10A8EB0-1F86-38F6-7FFC-00F5340190D6}"/>
                  </a:ext>
                </a:extLst>
              </p:cNvPr>
              <p:cNvSpPr/>
              <p:nvPr/>
            </p:nvSpPr>
            <p:spPr>
              <a:xfrm>
                <a:off x="1122360" y="3619807"/>
                <a:ext cx="406" cy="544"/>
              </a:xfrm>
              <a:custGeom>
                <a:avLst/>
                <a:gdLst>
                  <a:gd name="connsiteX0" fmla="*/ 0 w 3897"/>
                  <a:gd name="connsiteY0" fmla="*/ 2854 h 5214"/>
                  <a:gd name="connsiteX1" fmla="*/ 55 w 3897"/>
                  <a:gd name="connsiteY1" fmla="*/ 878 h 5214"/>
                  <a:gd name="connsiteX2" fmla="*/ 3705 w 3897"/>
                  <a:gd name="connsiteY2" fmla="*/ 0 h 5214"/>
                  <a:gd name="connsiteX3" fmla="*/ 3897 w 3897"/>
                  <a:gd name="connsiteY3" fmla="*/ 5214 h 5214"/>
                  <a:gd name="connsiteX4" fmla="*/ 0 w 3897"/>
                  <a:gd name="connsiteY4" fmla="*/ 2881 h 5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7" h="5214">
                    <a:moveTo>
                      <a:pt x="0" y="2854"/>
                    </a:moveTo>
                    <a:lnTo>
                      <a:pt x="55" y="878"/>
                    </a:lnTo>
                    <a:lnTo>
                      <a:pt x="3705" y="0"/>
                    </a:lnTo>
                    <a:lnTo>
                      <a:pt x="3897" y="5214"/>
                    </a:lnTo>
                    <a:lnTo>
                      <a:pt x="0" y="28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2" name="Freeform: Shape 3831">
                <a:extLst>
                  <a:ext uri="{FF2B5EF4-FFF2-40B4-BE49-F238E27FC236}">
                    <a16:creationId xmlns:a16="http://schemas.microsoft.com/office/drawing/2014/main" id="{222CC36C-6DA0-AFCB-167E-017FDC7255F3}"/>
                  </a:ext>
                </a:extLst>
              </p:cNvPr>
              <p:cNvSpPr/>
              <p:nvPr/>
            </p:nvSpPr>
            <p:spPr>
              <a:xfrm>
                <a:off x="1115250" y="3585061"/>
                <a:ext cx="458" cy="564"/>
              </a:xfrm>
              <a:custGeom>
                <a:avLst/>
                <a:gdLst>
                  <a:gd name="connsiteX0" fmla="*/ 3952 w 4390"/>
                  <a:gd name="connsiteY0" fmla="*/ 4803 h 5406"/>
                  <a:gd name="connsiteX1" fmla="*/ 796 w 4390"/>
                  <a:gd name="connsiteY1" fmla="*/ 5406 h 5406"/>
                  <a:gd name="connsiteX2" fmla="*/ 0 w 4390"/>
                  <a:gd name="connsiteY2" fmla="*/ 3238 h 5406"/>
                  <a:gd name="connsiteX3" fmla="*/ 1811 w 4390"/>
                  <a:gd name="connsiteY3" fmla="*/ 0 h 5406"/>
                  <a:gd name="connsiteX4" fmla="*/ 4391 w 4390"/>
                  <a:gd name="connsiteY4" fmla="*/ 1647 h 5406"/>
                  <a:gd name="connsiteX5" fmla="*/ 3979 w 4390"/>
                  <a:gd name="connsiteY5" fmla="*/ 4830 h 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0" h="5406">
                    <a:moveTo>
                      <a:pt x="3952" y="4803"/>
                    </a:moveTo>
                    <a:lnTo>
                      <a:pt x="796" y="5406"/>
                    </a:lnTo>
                    <a:lnTo>
                      <a:pt x="0" y="3238"/>
                    </a:lnTo>
                    <a:lnTo>
                      <a:pt x="1811" y="0"/>
                    </a:lnTo>
                    <a:lnTo>
                      <a:pt x="4391" y="1647"/>
                    </a:lnTo>
                    <a:lnTo>
                      <a:pt x="3979" y="48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3" name="Freeform: Shape 3832">
                <a:extLst>
                  <a:ext uri="{FF2B5EF4-FFF2-40B4-BE49-F238E27FC236}">
                    <a16:creationId xmlns:a16="http://schemas.microsoft.com/office/drawing/2014/main" id="{3C1D4EAB-F2E8-38B2-B8FF-5BA460C1976F}"/>
                  </a:ext>
                </a:extLst>
              </p:cNvPr>
              <p:cNvSpPr/>
              <p:nvPr/>
            </p:nvSpPr>
            <p:spPr>
              <a:xfrm>
                <a:off x="1055974" y="3536387"/>
                <a:ext cx="426" cy="779"/>
              </a:xfrm>
              <a:custGeom>
                <a:avLst/>
                <a:gdLst>
                  <a:gd name="connsiteX0" fmla="*/ 3952 w 4089"/>
                  <a:gd name="connsiteY0" fmla="*/ 4418 h 7464"/>
                  <a:gd name="connsiteX1" fmla="*/ 2196 w 4089"/>
                  <a:gd name="connsiteY1" fmla="*/ 7464 h 7464"/>
                  <a:gd name="connsiteX2" fmla="*/ 0 w 4089"/>
                  <a:gd name="connsiteY2" fmla="*/ 4007 h 7464"/>
                  <a:gd name="connsiteX3" fmla="*/ 1180 w 4089"/>
                  <a:gd name="connsiteY3" fmla="*/ 0 h 7464"/>
                  <a:gd name="connsiteX4" fmla="*/ 4089 w 4089"/>
                  <a:gd name="connsiteY4" fmla="*/ 137 h 7464"/>
                  <a:gd name="connsiteX5" fmla="*/ 3952 w 4089"/>
                  <a:gd name="connsiteY5" fmla="*/ 4418 h 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9" h="7464">
                    <a:moveTo>
                      <a:pt x="3952" y="4418"/>
                    </a:moveTo>
                    <a:lnTo>
                      <a:pt x="2196" y="7464"/>
                    </a:lnTo>
                    <a:lnTo>
                      <a:pt x="0" y="4007"/>
                    </a:lnTo>
                    <a:lnTo>
                      <a:pt x="1180" y="0"/>
                    </a:lnTo>
                    <a:lnTo>
                      <a:pt x="4089" y="137"/>
                    </a:lnTo>
                    <a:lnTo>
                      <a:pt x="3952" y="44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4" name="Freeform: Shape 3833">
                <a:extLst>
                  <a:ext uri="{FF2B5EF4-FFF2-40B4-BE49-F238E27FC236}">
                    <a16:creationId xmlns:a16="http://schemas.microsoft.com/office/drawing/2014/main" id="{A5D3F9A8-9980-0AC5-4732-4017FA2E4FB6}"/>
                  </a:ext>
                </a:extLst>
              </p:cNvPr>
              <p:cNvSpPr/>
              <p:nvPr/>
            </p:nvSpPr>
            <p:spPr>
              <a:xfrm>
                <a:off x="1102269" y="3518048"/>
                <a:ext cx="461" cy="784"/>
              </a:xfrm>
              <a:custGeom>
                <a:avLst/>
                <a:gdLst>
                  <a:gd name="connsiteX0" fmla="*/ 0 w 4418"/>
                  <a:gd name="connsiteY0" fmla="*/ 5132 h 7519"/>
                  <a:gd name="connsiteX1" fmla="*/ 0 w 4418"/>
                  <a:gd name="connsiteY1" fmla="*/ 1455 h 7519"/>
                  <a:gd name="connsiteX2" fmla="*/ 3677 w 4418"/>
                  <a:gd name="connsiteY2" fmla="*/ 0 h 7519"/>
                  <a:gd name="connsiteX3" fmla="*/ 4418 w 4418"/>
                  <a:gd name="connsiteY3" fmla="*/ 4748 h 7519"/>
                  <a:gd name="connsiteX4" fmla="*/ 686 w 4418"/>
                  <a:gd name="connsiteY4" fmla="*/ 7519 h 7519"/>
                  <a:gd name="connsiteX5" fmla="*/ 0 w 4418"/>
                  <a:gd name="connsiteY5" fmla="*/ 5132 h 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8" h="7519">
                    <a:moveTo>
                      <a:pt x="0" y="5132"/>
                    </a:moveTo>
                    <a:lnTo>
                      <a:pt x="0" y="1455"/>
                    </a:lnTo>
                    <a:cubicBezTo>
                      <a:pt x="0" y="1455"/>
                      <a:pt x="3677" y="0"/>
                      <a:pt x="3677" y="0"/>
                    </a:cubicBezTo>
                    <a:lnTo>
                      <a:pt x="4418" y="4748"/>
                    </a:lnTo>
                    <a:lnTo>
                      <a:pt x="686" y="7519"/>
                    </a:lnTo>
                    <a:lnTo>
                      <a:pt x="0" y="513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5" name="Freeform: Shape 3834">
                <a:extLst>
                  <a:ext uri="{FF2B5EF4-FFF2-40B4-BE49-F238E27FC236}">
                    <a16:creationId xmlns:a16="http://schemas.microsoft.com/office/drawing/2014/main" id="{95C31FC8-8CA1-3458-4C1C-0CAC0B16D17A}"/>
                  </a:ext>
                </a:extLst>
              </p:cNvPr>
              <p:cNvSpPr/>
              <p:nvPr/>
            </p:nvSpPr>
            <p:spPr>
              <a:xfrm>
                <a:off x="1179025" y="3636073"/>
                <a:ext cx="426" cy="458"/>
              </a:xfrm>
              <a:custGeom>
                <a:avLst/>
                <a:gdLst>
                  <a:gd name="connsiteX0" fmla="*/ 0 w 4089"/>
                  <a:gd name="connsiteY0" fmla="*/ 4089 h 4390"/>
                  <a:gd name="connsiteX1" fmla="*/ 1674 w 4089"/>
                  <a:gd name="connsiteY1" fmla="*/ 137 h 4390"/>
                  <a:gd name="connsiteX2" fmla="*/ 4089 w 4089"/>
                  <a:gd name="connsiteY2" fmla="*/ 0 h 4390"/>
                  <a:gd name="connsiteX3" fmla="*/ 3513 w 4089"/>
                  <a:gd name="connsiteY3" fmla="*/ 4391 h 4390"/>
                  <a:gd name="connsiteX4" fmla="*/ 0 w 4089"/>
                  <a:gd name="connsiteY4" fmla="*/ 4062 h 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9" h="4390">
                    <a:moveTo>
                      <a:pt x="0" y="4089"/>
                    </a:moveTo>
                    <a:lnTo>
                      <a:pt x="1674" y="137"/>
                    </a:lnTo>
                    <a:lnTo>
                      <a:pt x="4089" y="0"/>
                    </a:lnTo>
                    <a:lnTo>
                      <a:pt x="3513" y="4391"/>
                    </a:lnTo>
                    <a:lnTo>
                      <a:pt x="0" y="40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6" name="Freeform: Shape 3835">
                <a:extLst>
                  <a:ext uri="{FF2B5EF4-FFF2-40B4-BE49-F238E27FC236}">
                    <a16:creationId xmlns:a16="http://schemas.microsoft.com/office/drawing/2014/main" id="{31620D0F-61EF-279F-F0D1-99F7297F2D6E}"/>
                  </a:ext>
                </a:extLst>
              </p:cNvPr>
              <p:cNvSpPr/>
              <p:nvPr/>
            </p:nvSpPr>
            <p:spPr>
              <a:xfrm>
                <a:off x="1155082" y="3537563"/>
                <a:ext cx="481" cy="670"/>
              </a:xfrm>
              <a:custGeom>
                <a:avLst/>
                <a:gdLst>
                  <a:gd name="connsiteX0" fmla="*/ 0 w 4610"/>
                  <a:gd name="connsiteY0" fmla="*/ 3430 h 6421"/>
                  <a:gd name="connsiteX1" fmla="*/ 329 w 4610"/>
                  <a:gd name="connsiteY1" fmla="*/ 0 h 6421"/>
                  <a:gd name="connsiteX2" fmla="*/ 3924 w 4610"/>
                  <a:gd name="connsiteY2" fmla="*/ 1207 h 6421"/>
                  <a:gd name="connsiteX3" fmla="*/ 4610 w 4610"/>
                  <a:gd name="connsiteY3" fmla="*/ 5955 h 6421"/>
                  <a:gd name="connsiteX4" fmla="*/ 2168 w 4610"/>
                  <a:gd name="connsiteY4" fmla="*/ 6422 h 6421"/>
                  <a:gd name="connsiteX5" fmla="*/ 0 w 4610"/>
                  <a:gd name="connsiteY5" fmla="*/ 3430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0" h="6421">
                    <a:moveTo>
                      <a:pt x="0" y="3430"/>
                    </a:moveTo>
                    <a:lnTo>
                      <a:pt x="329" y="0"/>
                    </a:lnTo>
                    <a:lnTo>
                      <a:pt x="3924" y="1207"/>
                    </a:lnTo>
                    <a:lnTo>
                      <a:pt x="4610" y="5955"/>
                    </a:lnTo>
                    <a:lnTo>
                      <a:pt x="2168" y="6422"/>
                    </a:lnTo>
                    <a:lnTo>
                      <a:pt x="0" y="34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7" name="Freeform: Shape 3836">
                <a:extLst>
                  <a:ext uri="{FF2B5EF4-FFF2-40B4-BE49-F238E27FC236}">
                    <a16:creationId xmlns:a16="http://schemas.microsoft.com/office/drawing/2014/main" id="{71213C54-36AC-3F98-8FEF-D13A66BF0342}"/>
                  </a:ext>
                </a:extLst>
              </p:cNvPr>
              <p:cNvSpPr/>
              <p:nvPr/>
            </p:nvSpPr>
            <p:spPr>
              <a:xfrm>
                <a:off x="1184919" y="3641440"/>
                <a:ext cx="418" cy="452"/>
              </a:xfrm>
              <a:custGeom>
                <a:avLst/>
                <a:gdLst>
                  <a:gd name="connsiteX0" fmla="*/ 0 w 4006"/>
                  <a:gd name="connsiteY0" fmla="*/ 3074 h 4335"/>
                  <a:gd name="connsiteX1" fmla="*/ 219 w 4006"/>
                  <a:gd name="connsiteY1" fmla="*/ 0 h 4335"/>
                  <a:gd name="connsiteX2" fmla="*/ 3403 w 4006"/>
                  <a:gd name="connsiteY2" fmla="*/ 0 h 4335"/>
                  <a:gd name="connsiteX3" fmla="*/ 4007 w 4006"/>
                  <a:gd name="connsiteY3" fmla="*/ 4336 h 4335"/>
                  <a:gd name="connsiteX4" fmla="*/ 0 w 4006"/>
                  <a:gd name="connsiteY4" fmla="*/ 3046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4335">
                    <a:moveTo>
                      <a:pt x="0" y="3074"/>
                    </a:moveTo>
                    <a:lnTo>
                      <a:pt x="219" y="0"/>
                    </a:lnTo>
                    <a:lnTo>
                      <a:pt x="3403" y="0"/>
                    </a:lnTo>
                    <a:lnTo>
                      <a:pt x="4007" y="4336"/>
                    </a:lnTo>
                    <a:lnTo>
                      <a:pt x="0"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8" name="Freeform: Shape 3837">
                <a:extLst>
                  <a:ext uri="{FF2B5EF4-FFF2-40B4-BE49-F238E27FC236}">
                    <a16:creationId xmlns:a16="http://schemas.microsoft.com/office/drawing/2014/main" id="{8ACC4342-5D85-497C-3A33-A57260AF547F}"/>
                  </a:ext>
                </a:extLst>
              </p:cNvPr>
              <p:cNvSpPr/>
              <p:nvPr/>
            </p:nvSpPr>
            <p:spPr>
              <a:xfrm>
                <a:off x="983436" y="3500135"/>
                <a:ext cx="369" cy="1019"/>
              </a:xfrm>
              <a:custGeom>
                <a:avLst/>
                <a:gdLst>
                  <a:gd name="connsiteX0" fmla="*/ 0 w 3540"/>
                  <a:gd name="connsiteY0" fmla="*/ 3870 h 9769"/>
                  <a:gd name="connsiteX1" fmla="*/ 3540 w 3540"/>
                  <a:gd name="connsiteY1" fmla="*/ 0 h 9769"/>
                  <a:gd name="connsiteX2" fmla="*/ 3540 w 3540"/>
                  <a:gd name="connsiteY2" fmla="*/ 9770 h 9769"/>
                  <a:gd name="connsiteX3" fmla="*/ 796 w 3540"/>
                  <a:gd name="connsiteY3" fmla="*/ 9550 h 9769"/>
                  <a:gd name="connsiteX4" fmla="*/ 0 w 3540"/>
                  <a:gd name="connsiteY4" fmla="*/ 3870 h 9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 h="9769">
                    <a:moveTo>
                      <a:pt x="0" y="3870"/>
                    </a:moveTo>
                    <a:lnTo>
                      <a:pt x="3540" y="0"/>
                    </a:lnTo>
                    <a:lnTo>
                      <a:pt x="3540" y="9770"/>
                    </a:lnTo>
                    <a:cubicBezTo>
                      <a:pt x="3540" y="9770"/>
                      <a:pt x="796" y="9550"/>
                      <a:pt x="796" y="9550"/>
                    </a:cubicBezTo>
                    <a:lnTo>
                      <a:pt x="0" y="38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39" name="Freeform: Shape 3838">
                <a:extLst>
                  <a:ext uri="{FF2B5EF4-FFF2-40B4-BE49-F238E27FC236}">
                    <a16:creationId xmlns:a16="http://schemas.microsoft.com/office/drawing/2014/main" id="{D8550440-6B66-4802-5450-2F011D2C51A8}"/>
                  </a:ext>
                </a:extLst>
              </p:cNvPr>
              <p:cNvSpPr/>
              <p:nvPr/>
            </p:nvSpPr>
            <p:spPr>
              <a:xfrm>
                <a:off x="1163826" y="3555149"/>
                <a:ext cx="363" cy="781"/>
              </a:xfrm>
              <a:custGeom>
                <a:avLst/>
                <a:gdLst>
                  <a:gd name="connsiteX0" fmla="*/ 0 w 3485"/>
                  <a:gd name="connsiteY0" fmla="*/ 3019 h 7492"/>
                  <a:gd name="connsiteX1" fmla="*/ 522 w 3485"/>
                  <a:gd name="connsiteY1" fmla="*/ 0 h 7492"/>
                  <a:gd name="connsiteX2" fmla="*/ 3485 w 3485"/>
                  <a:gd name="connsiteY2" fmla="*/ 1345 h 7492"/>
                  <a:gd name="connsiteX3" fmla="*/ 2964 w 3485"/>
                  <a:gd name="connsiteY3" fmla="*/ 7492 h 7492"/>
                  <a:gd name="connsiteX4" fmla="*/ 55 w 3485"/>
                  <a:gd name="connsiteY4" fmla="*/ 5598 h 7492"/>
                  <a:gd name="connsiteX5" fmla="*/ 0 w 3485"/>
                  <a:gd name="connsiteY5" fmla="*/ 3019 h 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5" h="7492">
                    <a:moveTo>
                      <a:pt x="0" y="3019"/>
                    </a:moveTo>
                    <a:lnTo>
                      <a:pt x="522" y="0"/>
                    </a:lnTo>
                    <a:lnTo>
                      <a:pt x="3485" y="1345"/>
                    </a:lnTo>
                    <a:lnTo>
                      <a:pt x="2964" y="7492"/>
                    </a:lnTo>
                    <a:lnTo>
                      <a:pt x="55" y="5598"/>
                    </a:lnTo>
                    <a:lnTo>
                      <a:pt x="0"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0" name="Freeform: Shape 3839">
                <a:extLst>
                  <a:ext uri="{FF2B5EF4-FFF2-40B4-BE49-F238E27FC236}">
                    <a16:creationId xmlns:a16="http://schemas.microsoft.com/office/drawing/2014/main" id="{A52DA96B-D8A9-0AE3-D81A-41AB48BE4D13}"/>
                  </a:ext>
                </a:extLst>
              </p:cNvPr>
              <p:cNvSpPr/>
              <p:nvPr/>
            </p:nvSpPr>
            <p:spPr>
              <a:xfrm>
                <a:off x="1083655" y="3540540"/>
                <a:ext cx="521" cy="578"/>
              </a:xfrm>
              <a:custGeom>
                <a:avLst/>
                <a:gdLst>
                  <a:gd name="connsiteX0" fmla="*/ 0 w 4994"/>
                  <a:gd name="connsiteY0" fmla="*/ 4336 h 5543"/>
                  <a:gd name="connsiteX1" fmla="*/ 1043 w 4994"/>
                  <a:gd name="connsiteY1" fmla="*/ 0 h 5543"/>
                  <a:gd name="connsiteX2" fmla="*/ 4254 w 4994"/>
                  <a:gd name="connsiteY2" fmla="*/ 0 h 5543"/>
                  <a:gd name="connsiteX3" fmla="*/ 4995 w 4994"/>
                  <a:gd name="connsiteY3" fmla="*/ 3211 h 5543"/>
                  <a:gd name="connsiteX4" fmla="*/ 3101 w 4994"/>
                  <a:gd name="connsiteY4" fmla="*/ 5544 h 5543"/>
                  <a:gd name="connsiteX5" fmla="*/ 0 w 4994"/>
                  <a:gd name="connsiteY5" fmla="*/ 4336 h 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4" h="5543">
                    <a:moveTo>
                      <a:pt x="0" y="4336"/>
                    </a:moveTo>
                    <a:lnTo>
                      <a:pt x="1043" y="0"/>
                    </a:lnTo>
                    <a:lnTo>
                      <a:pt x="4254" y="0"/>
                    </a:lnTo>
                    <a:lnTo>
                      <a:pt x="4995" y="3211"/>
                    </a:lnTo>
                    <a:lnTo>
                      <a:pt x="3101" y="5544"/>
                    </a:lnTo>
                    <a:lnTo>
                      <a:pt x="0" y="43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1" name="Freeform: Shape 3840">
                <a:extLst>
                  <a:ext uri="{FF2B5EF4-FFF2-40B4-BE49-F238E27FC236}">
                    <a16:creationId xmlns:a16="http://schemas.microsoft.com/office/drawing/2014/main" id="{2DD4CB8E-0CC2-2823-A198-73036456199A}"/>
                  </a:ext>
                </a:extLst>
              </p:cNvPr>
              <p:cNvSpPr/>
              <p:nvPr/>
            </p:nvSpPr>
            <p:spPr>
              <a:xfrm>
                <a:off x="1056002" y="3510878"/>
                <a:ext cx="395" cy="896"/>
              </a:xfrm>
              <a:custGeom>
                <a:avLst/>
                <a:gdLst>
                  <a:gd name="connsiteX0" fmla="*/ 3677 w 3787"/>
                  <a:gd name="connsiteY0" fmla="*/ 5763 h 8589"/>
                  <a:gd name="connsiteX1" fmla="*/ 1015 w 3787"/>
                  <a:gd name="connsiteY1" fmla="*/ 8590 h 8589"/>
                  <a:gd name="connsiteX2" fmla="*/ 0 w 3787"/>
                  <a:gd name="connsiteY2" fmla="*/ 0 h 8589"/>
                  <a:gd name="connsiteX3" fmla="*/ 3787 w 3787"/>
                  <a:gd name="connsiteY3" fmla="*/ 0 h 8589"/>
                  <a:gd name="connsiteX4" fmla="*/ 3677 w 3787"/>
                  <a:gd name="connsiteY4" fmla="*/ 5763 h 8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8589">
                    <a:moveTo>
                      <a:pt x="3677" y="5763"/>
                    </a:moveTo>
                    <a:lnTo>
                      <a:pt x="1015" y="8590"/>
                    </a:lnTo>
                    <a:lnTo>
                      <a:pt x="0" y="0"/>
                    </a:lnTo>
                    <a:lnTo>
                      <a:pt x="3787" y="0"/>
                    </a:lnTo>
                    <a:cubicBezTo>
                      <a:pt x="3787" y="0"/>
                      <a:pt x="3677" y="5763"/>
                      <a:pt x="3677" y="5763"/>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2" name="Freeform: Shape 3841">
                <a:extLst>
                  <a:ext uri="{FF2B5EF4-FFF2-40B4-BE49-F238E27FC236}">
                    <a16:creationId xmlns:a16="http://schemas.microsoft.com/office/drawing/2014/main" id="{4873C91E-86E4-DA8D-9927-805606168ABB}"/>
                  </a:ext>
                </a:extLst>
              </p:cNvPr>
              <p:cNvSpPr/>
              <p:nvPr/>
            </p:nvSpPr>
            <p:spPr>
              <a:xfrm>
                <a:off x="1169253" y="3561449"/>
                <a:ext cx="406" cy="664"/>
              </a:xfrm>
              <a:custGeom>
                <a:avLst/>
                <a:gdLst>
                  <a:gd name="connsiteX0" fmla="*/ 0 w 3896"/>
                  <a:gd name="connsiteY0" fmla="*/ 0 h 6366"/>
                  <a:gd name="connsiteX1" fmla="*/ 3897 w 3896"/>
                  <a:gd name="connsiteY1" fmla="*/ 1647 h 6366"/>
                  <a:gd name="connsiteX2" fmla="*/ 3650 w 3896"/>
                  <a:gd name="connsiteY2" fmla="*/ 6367 h 6366"/>
                  <a:gd name="connsiteX3" fmla="*/ 741 w 3896"/>
                  <a:gd name="connsiteY3" fmla="*/ 6092 h 6366"/>
                  <a:gd name="connsiteX4" fmla="*/ 0 w 3896"/>
                  <a:gd name="connsiteY4" fmla="*/ 0 h 6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6" h="6366">
                    <a:moveTo>
                      <a:pt x="0" y="0"/>
                    </a:moveTo>
                    <a:lnTo>
                      <a:pt x="3897" y="1647"/>
                    </a:lnTo>
                    <a:lnTo>
                      <a:pt x="3650" y="6367"/>
                    </a:lnTo>
                    <a:lnTo>
                      <a:pt x="741" y="6092"/>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3" name="Freeform: Shape 3842">
                <a:extLst>
                  <a:ext uri="{FF2B5EF4-FFF2-40B4-BE49-F238E27FC236}">
                    <a16:creationId xmlns:a16="http://schemas.microsoft.com/office/drawing/2014/main" id="{0EA865A5-69F4-9B60-9F9E-A691897CF19A}"/>
                  </a:ext>
                </a:extLst>
              </p:cNvPr>
              <p:cNvSpPr/>
              <p:nvPr/>
            </p:nvSpPr>
            <p:spPr>
              <a:xfrm>
                <a:off x="1127417" y="3633697"/>
                <a:ext cx="321" cy="581"/>
              </a:xfrm>
              <a:custGeom>
                <a:avLst/>
                <a:gdLst>
                  <a:gd name="connsiteX0" fmla="*/ 0 w 3073"/>
                  <a:gd name="connsiteY0" fmla="*/ 1180 h 5571"/>
                  <a:gd name="connsiteX1" fmla="*/ 2936 w 3073"/>
                  <a:gd name="connsiteY1" fmla="*/ 0 h 5571"/>
                  <a:gd name="connsiteX2" fmla="*/ 3074 w 3073"/>
                  <a:gd name="connsiteY2" fmla="*/ 5132 h 5571"/>
                  <a:gd name="connsiteX3" fmla="*/ 823 w 3073"/>
                  <a:gd name="connsiteY3" fmla="*/ 5571 h 5571"/>
                  <a:gd name="connsiteX4" fmla="*/ 27 w 3073"/>
                  <a:gd name="connsiteY4" fmla="*/ 1208 h 5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 h="5571">
                    <a:moveTo>
                      <a:pt x="0" y="1180"/>
                    </a:moveTo>
                    <a:lnTo>
                      <a:pt x="2936" y="0"/>
                    </a:lnTo>
                    <a:lnTo>
                      <a:pt x="3074" y="5132"/>
                    </a:lnTo>
                    <a:lnTo>
                      <a:pt x="823" y="5571"/>
                    </a:lnTo>
                    <a:lnTo>
                      <a:pt x="27" y="12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4" name="Freeform: Shape 3843">
                <a:extLst>
                  <a:ext uri="{FF2B5EF4-FFF2-40B4-BE49-F238E27FC236}">
                    <a16:creationId xmlns:a16="http://schemas.microsoft.com/office/drawing/2014/main" id="{95505524-4059-EAED-A227-23E3F2F4DEB6}"/>
                  </a:ext>
                </a:extLst>
              </p:cNvPr>
              <p:cNvSpPr/>
              <p:nvPr/>
            </p:nvSpPr>
            <p:spPr>
              <a:xfrm>
                <a:off x="1071290" y="3476103"/>
                <a:ext cx="467" cy="890"/>
              </a:xfrm>
              <a:custGeom>
                <a:avLst/>
                <a:gdLst>
                  <a:gd name="connsiteX0" fmla="*/ 0 w 4473"/>
                  <a:gd name="connsiteY0" fmla="*/ 7904 h 8534"/>
                  <a:gd name="connsiteX1" fmla="*/ 741 w 4473"/>
                  <a:gd name="connsiteY1" fmla="*/ 137 h 8534"/>
                  <a:gd name="connsiteX2" fmla="*/ 4473 w 4473"/>
                  <a:gd name="connsiteY2" fmla="*/ 0 h 8534"/>
                  <a:gd name="connsiteX3" fmla="*/ 3266 w 4473"/>
                  <a:gd name="connsiteY3" fmla="*/ 8535 h 8534"/>
                  <a:gd name="connsiteX4" fmla="*/ 0 w 4473"/>
                  <a:gd name="connsiteY4" fmla="*/ 7904 h 8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3" h="8534">
                    <a:moveTo>
                      <a:pt x="0" y="7904"/>
                    </a:moveTo>
                    <a:lnTo>
                      <a:pt x="741" y="137"/>
                    </a:lnTo>
                    <a:lnTo>
                      <a:pt x="4473" y="0"/>
                    </a:lnTo>
                    <a:lnTo>
                      <a:pt x="3266" y="8535"/>
                    </a:lnTo>
                    <a:lnTo>
                      <a:pt x="0" y="79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5" name="Freeform: Shape 3844">
                <a:extLst>
                  <a:ext uri="{FF2B5EF4-FFF2-40B4-BE49-F238E27FC236}">
                    <a16:creationId xmlns:a16="http://schemas.microsoft.com/office/drawing/2014/main" id="{552A2916-6CCA-DA3C-E433-E08E5494F43E}"/>
                  </a:ext>
                </a:extLst>
              </p:cNvPr>
              <p:cNvSpPr/>
              <p:nvPr/>
            </p:nvSpPr>
            <p:spPr>
              <a:xfrm>
                <a:off x="1115702" y="3473284"/>
                <a:ext cx="532" cy="796"/>
              </a:xfrm>
              <a:custGeom>
                <a:avLst/>
                <a:gdLst>
                  <a:gd name="connsiteX0" fmla="*/ 0 w 5104"/>
                  <a:gd name="connsiteY0" fmla="*/ 4226 h 7629"/>
                  <a:gd name="connsiteX1" fmla="*/ 494 w 5104"/>
                  <a:gd name="connsiteY1" fmla="*/ 631 h 7629"/>
                  <a:gd name="connsiteX2" fmla="*/ 4748 w 5104"/>
                  <a:gd name="connsiteY2" fmla="*/ 0 h 7629"/>
                  <a:gd name="connsiteX3" fmla="*/ 5104 w 5104"/>
                  <a:gd name="connsiteY3" fmla="*/ 5351 h 7629"/>
                  <a:gd name="connsiteX4" fmla="*/ 604 w 5104"/>
                  <a:gd name="connsiteY4" fmla="*/ 7629 h 7629"/>
                  <a:gd name="connsiteX5" fmla="*/ 27 w 5104"/>
                  <a:gd name="connsiteY5" fmla="*/ 4199 h 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4" h="7629">
                    <a:moveTo>
                      <a:pt x="0" y="4226"/>
                    </a:moveTo>
                    <a:lnTo>
                      <a:pt x="494" y="631"/>
                    </a:lnTo>
                    <a:lnTo>
                      <a:pt x="4748" y="0"/>
                    </a:lnTo>
                    <a:lnTo>
                      <a:pt x="5104" y="5351"/>
                    </a:lnTo>
                    <a:lnTo>
                      <a:pt x="604" y="7629"/>
                    </a:lnTo>
                    <a:lnTo>
                      <a:pt x="27" y="41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6" name="Freeform: Shape 3845">
                <a:extLst>
                  <a:ext uri="{FF2B5EF4-FFF2-40B4-BE49-F238E27FC236}">
                    <a16:creationId xmlns:a16="http://schemas.microsoft.com/office/drawing/2014/main" id="{11D7F25C-D576-3A09-B95C-BB59943F701B}"/>
                  </a:ext>
                </a:extLst>
              </p:cNvPr>
              <p:cNvSpPr/>
              <p:nvPr/>
            </p:nvSpPr>
            <p:spPr>
              <a:xfrm>
                <a:off x="1140870" y="3587960"/>
                <a:ext cx="492" cy="461"/>
              </a:xfrm>
              <a:custGeom>
                <a:avLst/>
                <a:gdLst>
                  <a:gd name="connsiteX0" fmla="*/ 27 w 4720"/>
                  <a:gd name="connsiteY0" fmla="*/ 2086 h 4418"/>
                  <a:gd name="connsiteX1" fmla="*/ 988 w 4720"/>
                  <a:gd name="connsiteY1" fmla="*/ 0 h 4418"/>
                  <a:gd name="connsiteX2" fmla="*/ 4062 w 4720"/>
                  <a:gd name="connsiteY2" fmla="*/ 384 h 4418"/>
                  <a:gd name="connsiteX3" fmla="*/ 4720 w 4720"/>
                  <a:gd name="connsiteY3" fmla="*/ 3760 h 4418"/>
                  <a:gd name="connsiteX4" fmla="*/ 549 w 4720"/>
                  <a:gd name="connsiteY4" fmla="*/ 4418 h 4418"/>
                  <a:gd name="connsiteX5" fmla="*/ 0 w 4720"/>
                  <a:gd name="connsiteY5" fmla="*/ 2086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0" h="4418">
                    <a:moveTo>
                      <a:pt x="27" y="2086"/>
                    </a:moveTo>
                    <a:lnTo>
                      <a:pt x="988" y="0"/>
                    </a:lnTo>
                    <a:lnTo>
                      <a:pt x="4062" y="384"/>
                    </a:lnTo>
                    <a:lnTo>
                      <a:pt x="4720" y="3760"/>
                    </a:lnTo>
                    <a:lnTo>
                      <a:pt x="549" y="4418"/>
                    </a:lnTo>
                    <a:lnTo>
                      <a:pt x="0"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7" name="Freeform: Shape 3846">
                <a:extLst>
                  <a:ext uri="{FF2B5EF4-FFF2-40B4-BE49-F238E27FC236}">
                    <a16:creationId xmlns:a16="http://schemas.microsoft.com/office/drawing/2014/main" id="{43AEE0ED-8829-06E8-0658-ECA35B7E7428}"/>
                  </a:ext>
                </a:extLst>
              </p:cNvPr>
              <p:cNvSpPr/>
              <p:nvPr/>
            </p:nvSpPr>
            <p:spPr>
              <a:xfrm>
                <a:off x="1196365" y="3668927"/>
                <a:ext cx="237" cy="638"/>
              </a:xfrm>
              <a:custGeom>
                <a:avLst/>
                <a:gdLst>
                  <a:gd name="connsiteX0" fmla="*/ 27 w 2277"/>
                  <a:gd name="connsiteY0" fmla="*/ 0 h 6119"/>
                  <a:gd name="connsiteX1" fmla="*/ 1948 w 2277"/>
                  <a:gd name="connsiteY1" fmla="*/ 0 h 6119"/>
                  <a:gd name="connsiteX2" fmla="*/ 2278 w 2277"/>
                  <a:gd name="connsiteY2" fmla="*/ 5406 h 6119"/>
                  <a:gd name="connsiteX3" fmla="*/ 521 w 2277"/>
                  <a:gd name="connsiteY3" fmla="*/ 6120 h 6119"/>
                  <a:gd name="connsiteX4" fmla="*/ 0 w 2277"/>
                  <a:gd name="connsiteY4" fmla="*/ 0 h 6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 h="6119">
                    <a:moveTo>
                      <a:pt x="27" y="0"/>
                    </a:moveTo>
                    <a:lnTo>
                      <a:pt x="1948" y="0"/>
                    </a:lnTo>
                    <a:lnTo>
                      <a:pt x="2278" y="5406"/>
                    </a:lnTo>
                    <a:lnTo>
                      <a:pt x="521" y="6120"/>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8" name="Freeform: Shape 3847">
                <a:extLst>
                  <a:ext uri="{FF2B5EF4-FFF2-40B4-BE49-F238E27FC236}">
                    <a16:creationId xmlns:a16="http://schemas.microsoft.com/office/drawing/2014/main" id="{7BAAE312-CF7D-7241-F48A-6D2FD6CC19BE}"/>
                  </a:ext>
                </a:extLst>
              </p:cNvPr>
              <p:cNvSpPr/>
              <p:nvPr/>
            </p:nvSpPr>
            <p:spPr>
              <a:xfrm>
                <a:off x="1122886" y="3477108"/>
                <a:ext cx="466" cy="842"/>
              </a:xfrm>
              <a:custGeom>
                <a:avLst/>
                <a:gdLst>
                  <a:gd name="connsiteX0" fmla="*/ 27 w 4472"/>
                  <a:gd name="connsiteY0" fmla="*/ 7931 h 8068"/>
                  <a:gd name="connsiteX1" fmla="*/ 686 w 4472"/>
                  <a:gd name="connsiteY1" fmla="*/ 0 h 8068"/>
                  <a:gd name="connsiteX2" fmla="*/ 3787 w 4472"/>
                  <a:gd name="connsiteY2" fmla="*/ 988 h 8068"/>
                  <a:gd name="connsiteX3" fmla="*/ 4473 w 4472"/>
                  <a:gd name="connsiteY3" fmla="*/ 8068 h 8068"/>
                  <a:gd name="connsiteX4" fmla="*/ 0 w 4472"/>
                  <a:gd name="connsiteY4" fmla="*/ 7958 h 8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2" h="8068">
                    <a:moveTo>
                      <a:pt x="27" y="7931"/>
                    </a:moveTo>
                    <a:lnTo>
                      <a:pt x="686" y="0"/>
                    </a:lnTo>
                    <a:lnTo>
                      <a:pt x="3787" y="988"/>
                    </a:lnTo>
                    <a:lnTo>
                      <a:pt x="4473" y="8068"/>
                    </a:lnTo>
                    <a:lnTo>
                      <a:pt x="0" y="79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49" name="Freeform: Shape 3848">
                <a:extLst>
                  <a:ext uri="{FF2B5EF4-FFF2-40B4-BE49-F238E27FC236}">
                    <a16:creationId xmlns:a16="http://schemas.microsoft.com/office/drawing/2014/main" id="{B6408808-50D2-F13E-57A3-02E8967DE335}"/>
                  </a:ext>
                </a:extLst>
              </p:cNvPr>
              <p:cNvSpPr/>
              <p:nvPr/>
            </p:nvSpPr>
            <p:spPr>
              <a:xfrm>
                <a:off x="1194725" y="3661974"/>
                <a:ext cx="255" cy="578"/>
              </a:xfrm>
              <a:custGeom>
                <a:avLst/>
                <a:gdLst>
                  <a:gd name="connsiteX0" fmla="*/ 2140 w 2442"/>
                  <a:gd name="connsiteY0" fmla="*/ 5544 h 5543"/>
                  <a:gd name="connsiteX1" fmla="*/ 0 w 2442"/>
                  <a:gd name="connsiteY1" fmla="*/ 5544 h 5543"/>
                  <a:gd name="connsiteX2" fmla="*/ 0 w 2442"/>
                  <a:gd name="connsiteY2" fmla="*/ 1317 h 5543"/>
                  <a:gd name="connsiteX3" fmla="*/ 2442 w 2442"/>
                  <a:gd name="connsiteY3" fmla="*/ 0 h 5543"/>
                  <a:gd name="connsiteX4" fmla="*/ 2140 w 2442"/>
                  <a:gd name="connsiteY4" fmla="*/ 5516 h 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 h="5543">
                    <a:moveTo>
                      <a:pt x="2140" y="5544"/>
                    </a:moveTo>
                    <a:lnTo>
                      <a:pt x="0" y="5544"/>
                    </a:lnTo>
                    <a:lnTo>
                      <a:pt x="0" y="1317"/>
                    </a:lnTo>
                    <a:lnTo>
                      <a:pt x="2442" y="0"/>
                    </a:lnTo>
                    <a:lnTo>
                      <a:pt x="2140" y="55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0" name="Freeform: Shape 3849">
                <a:extLst>
                  <a:ext uri="{FF2B5EF4-FFF2-40B4-BE49-F238E27FC236}">
                    <a16:creationId xmlns:a16="http://schemas.microsoft.com/office/drawing/2014/main" id="{A52743CD-57D3-025D-A898-E94516378626}"/>
                  </a:ext>
                </a:extLst>
              </p:cNvPr>
              <p:cNvSpPr/>
              <p:nvPr/>
            </p:nvSpPr>
            <p:spPr>
              <a:xfrm>
                <a:off x="1074499" y="3474626"/>
                <a:ext cx="366" cy="807"/>
              </a:xfrm>
              <a:custGeom>
                <a:avLst/>
                <a:gdLst>
                  <a:gd name="connsiteX0" fmla="*/ 27 w 3512"/>
                  <a:gd name="connsiteY0" fmla="*/ 0 h 7738"/>
                  <a:gd name="connsiteX1" fmla="*/ 2140 w 3512"/>
                  <a:gd name="connsiteY1" fmla="*/ 0 h 7738"/>
                  <a:gd name="connsiteX2" fmla="*/ 2415 w 3512"/>
                  <a:gd name="connsiteY2" fmla="*/ 1098 h 7738"/>
                  <a:gd name="connsiteX3" fmla="*/ 2689 w 3512"/>
                  <a:gd name="connsiteY3" fmla="*/ 2223 h 7738"/>
                  <a:gd name="connsiteX4" fmla="*/ 3238 w 3512"/>
                  <a:gd name="connsiteY4" fmla="*/ 2223 h 7738"/>
                  <a:gd name="connsiteX5" fmla="*/ 3238 w 3512"/>
                  <a:gd name="connsiteY5" fmla="*/ 4446 h 7738"/>
                  <a:gd name="connsiteX6" fmla="*/ 3513 w 3512"/>
                  <a:gd name="connsiteY6" fmla="*/ 5543 h 7738"/>
                  <a:gd name="connsiteX7" fmla="*/ 3513 w 3512"/>
                  <a:gd name="connsiteY7" fmla="*/ 6641 h 7738"/>
                  <a:gd name="connsiteX8" fmla="*/ 2964 w 3512"/>
                  <a:gd name="connsiteY8" fmla="*/ 6641 h 7738"/>
                  <a:gd name="connsiteX9" fmla="*/ 1619 w 3512"/>
                  <a:gd name="connsiteY9" fmla="*/ 7739 h 7738"/>
                  <a:gd name="connsiteX10" fmla="*/ 1345 w 3512"/>
                  <a:gd name="connsiteY10" fmla="*/ 7739 h 7738"/>
                  <a:gd name="connsiteX11" fmla="*/ 1098 w 3512"/>
                  <a:gd name="connsiteY11" fmla="*/ 6641 h 7738"/>
                  <a:gd name="connsiteX12" fmla="*/ 549 w 3512"/>
                  <a:gd name="connsiteY12" fmla="*/ 6641 h 7738"/>
                  <a:gd name="connsiteX13" fmla="*/ 549 w 3512"/>
                  <a:gd name="connsiteY13" fmla="*/ 4418 h 7738"/>
                  <a:gd name="connsiteX14" fmla="*/ 274 w 3512"/>
                  <a:gd name="connsiteY14" fmla="*/ 4418 h 7738"/>
                  <a:gd name="connsiteX15" fmla="*/ 549 w 3512"/>
                  <a:gd name="connsiteY15" fmla="*/ 3321 h 7738"/>
                  <a:gd name="connsiteX16" fmla="*/ 274 w 3512"/>
                  <a:gd name="connsiteY16" fmla="*/ 2223 h 7738"/>
                  <a:gd name="connsiteX17" fmla="*/ 274 w 3512"/>
                  <a:gd name="connsiteY17" fmla="*/ 1098 h 7738"/>
                  <a:gd name="connsiteX18" fmla="*/ 0 w 3512"/>
                  <a:gd name="connsiteY18" fmla="*/ 0 h 7738"/>
                  <a:gd name="connsiteX19" fmla="*/ 0 w 3512"/>
                  <a:gd name="connsiteY19" fmla="*/ 0 h 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12" h="7738">
                    <a:moveTo>
                      <a:pt x="27" y="0"/>
                    </a:moveTo>
                    <a:lnTo>
                      <a:pt x="2140" y="0"/>
                    </a:lnTo>
                    <a:lnTo>
                      <a:pt x="2415" y="1098"/>
                    </a:lnTo>
                    <a:lnTo>
                      <a:pt x="2689" y="2223"/>
                    </a:lnTo>
                    <a:lnTo>
                      <a:pt x="3238" y="2223"/>
                    </a:lnTo>
                    <a:lnTo>
                      <a:pt x="3238" y="4446"/>
                    </a:lnTo>
                    <a:lnTo>
                      <a:pt x="3513" y="5543"/>
                    </a:lnTo>
                    <a:lnTo>
                      <a:pt x="3513" y="6641"/>
                    </a:lnTo>
                    <a:lnTo>
                      <a:pt x="2964" y="6641"/>
                    </a:lnTo>
                    <a:lnTo>
                      <a:pt x="1619" y="7739"/>
                    </a:lnTo>
                    <a:lnTo>
                      <a:pt x="1345" y="7739"/>
                    </a:lnTo>
                    <a:lnTo>
                      <a:pt x="1098" y="6641"/>
                    </a:lnTo>
                    <a:lnTo>
                      <a:pt x="549" y="6641"/>
                    </a:lnTo>
                    <a:lnTo>
                      <a:pt x="549" y="4418"/>
                    </a:lnTo>
                    <a:lnTo>
                      <a:pt x="274" y="4418"/>
                    </a:lnTo>
                    <a:lnTo>
                      <a:pt x="549" y="3321"/>
                    </a:lnTo>
                    <a:lnTo>
                      <a:pt x="274" y="2223"/>
                    </a:lnTo>
                    <a:lnTo>
                      <a:pt x="274" y="1098"/>
                    </a:lnTo>
                    <a:lnTo>
                      <a:pt x="0" y="0"/>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1" name="Freeform: Shape 3850">
                <a:extLst>
                  <a:ext uri="{FF2B5EF4-FFF2-40B4-BE49-F238E27FC236}">
                    <a16:creationId xmlns:a16="http://schemas.microsoft.com/office/drawing/2014/main" id="{1F2DFBB5-02F8-0458-7B03-954FCA7841D5}"/>
                  </a:ext>
                </a:extLst>
              </p:cNvPr>
              <p:cNvSpPr/>
              <p:nvPr/>
            </p:nvSpPr>
            <p:spPr>
              <a:xfrm>
                <a:off x="1159813" y="3689587"/>
                <a:ext cx="172" cy="243"/>
              </a:xfrm>
              <a:custGeom>
                <a:avLst/>
                <a:gdLst>
                  <a:gd name="connsiteX0" fmla="*/ 0 w 1646"/>
                  <a:gd name="connsiteY0" fmla="*/ 439 h 2332"/>
                  <a:gd name="connsiteX1" fmla="*/ 1482 w 1646"/>
                  <a:gd name="connsiteY1" fmla="*/ 0 h 2332"/>
                  <a:gd name="connsiteX2" fmla="*/ 1647 w 1646"/>
                  <a:gd name="connsiteY2" fmla="*/ 1839 h 2332"/>
                  <a:gd name="connsiteX3" fmla="*/ 686 w 1646"/>
                  <a:gd name="connsiteY3" fmla="*/ 2333 h 2332"/>
                  <a:gd name="connsiteX4" fmla="*/ 27 w 1646"/>
                  <a:gd name="connsiteY4" fmla="*/ 467 h 2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 h="2332">
                    <a:moveTo>
                      <a:pt x="0" y="439"/>
                    </a:moveTo>
                    <a:lnTo>
                      <a:pt x="1482" y="0"/>
                    </a:lnTo>
                    <a:lnTo>
                      <a:pt x="1647" y="1839"/>
                    </a:lnTo>
                    <a:lnTo>
                      <a:pt x="686" y="2333"/>
                    </a:lnTo>
                    <a:lnTo>
                      <a:pt x="27" y="4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2" name="Freeform: Shape 3851">
                <a:extLst>
                  <a:ext uri="{FF2B5EF4-FFF2-40B4-BE49-F238E27FC236}">
                    <a16:creationId xmlns:a16="http://schemas.microsoft.com/office/drawing/2014/main" id="{104A20D6-9DB8-6E40-6598-709E208AC91D}"/>
                  </a:ext>
                </a:extLst>
              </p:cNvPr>
              <p:cNvSpPr/>
              <p:nvPr/>
            </p:nvSpPr>
            <p:spPr>
              <a:xfrm>
                <a:off x="1402802" y="3827990"/>
                <a:ext cx="58589" cy="58125"/>
              </a:xfrm>
              <a:custGeom>
                <a:avLst/>
                <a:gdLst>
                  <a:gd name="connsiteX0" fmla="*/ 448500 w 561730"/>
                  <a:gd name="connsiteY0" fmla="*/ 10044 h 557284"/>
                  <a:gd name="connsiteX1" fmla="*/ 455251 w 561730"/>
                  <a:gd name="connsiteY1" fmla="*/ 14709 h 557284"/>
                  <a:gd name="connsiteX2" fmla="*/ 460246 w 561730"/>
                  <a:gd name="connsiteY2" fmla="*/ 23107 h 557284"/>
                  <a:gd name="connsiteX3" fmla="*/ 465268 w 561730"/>
                  <a:gd name="connsiteY3" fmla="*/ 24040 h 557284"/>
                  <a:gd name="connsiteX4" fmla="*/ 466969 w 561730"/>
                  <a:gd name="connsiteY4" fmla="*/ 27278 h 557284"/>
                  <a:gd name="connsiteX5" fmla="*/ 476547 w 561730"/>
                  <a:gd name="connsiteY5" fmla="*/ 31642 h 557284"/>
                  <a:gd name="connsiteX6" fmla="*/ 487388 w 561730"/>
                  <a:gd name="connsiteY6" fmla="*/ 24095 h 557284"/>
                  <a:gd name="connsiteX7" fmla="*/ 500724 w 561730"/>
                  <a:gd name="connsiteY7" fmla="*/ 29391 h 557284"/>
                  <a:gd name="connsiteX8" fmla="*/ 506350 w 561730"/>
                  <a:gd name="connsiteY8" fmla="*/ 25385 h 557284"/>
                  <a:gd name="connsiteX9" fmla="*/ 508436 w 561730"/>
                  <a:gd name="connsiteY9" fmla="*/ 20884 h 557284"/>
                  <a:gd name="connsiteX10" fmla="*/ 510494 w 561730"/>
                  <a:gd name="connsiteY10" fmla="*/ 20582 h 557284"/>
                  <a:gd name="connsiteX11" fmla="*/ 517602 w 561730"/>
                  <a:gd name="connsiteY11" fmla="*/ 23656 h 557284"/>
                  <a:gd name="connsiteX12" fmla="*/ 518069 w 561730"/>
                  <a:gd name="connsiteY12" fmla="*/ 28815 h 557284"/>
                  <a:gd name="connsiteX13" fmla="*/ 523502 w 561730"/>
                  <a:gd name="connsiteY13" fmla="*/ 33535 h 557284"/>
                  <a:gd name="connsiteX14" fmla="*/ 530418 w 561730"/>
                  <a:gd name="connsiteY14" fmla="*/ 41329 h 557284"/>
                  <a:gd name="connsiteX15" fmla="*/ 539638 w 561730"/>
                  <a:gd name="connsiteY15" fmla="*/ 44622 h 557284"/>
                  <a:gd name="connsiteX16" fmla="*/ 540572 w 561730"/>
                  <a:gd name="connsiteY16" fmla="*/ 51318 h 557284"/>
                  <a:gd name="connsiteX17" fmla="*/ 546335 w 561730"/>
                  <a:gd name="connsiteY17" fmla="*/ 50742 h 557284"/>
                  <a:gd name="connsiteX18" fmla="*/ 548777 w 561730"/>
                  <a:gd name="connsiteY18" fmla="*/ 55188 h 557284"/>
                  <a:gd name="connsiteX19" fmla="*/ 550589 w 561730"/>
                  <a:gd name="connsiteY19" fmla="*/ 55243 h 557284"/>
                  <a:gd name="connsiteX20" fmla="*/ 550890 w 561730"/>
                  <a:gd name="connsiteY20" fmla="*/ 56889 h 557284"/>
                  <a:gd name="connsiteX21" fmla="*/ 546527 w 561730"/>
                  <a:gd name="connsiteY21" fmla="*/ 67070 h 557284"/>
                  <a:gd name="connsiteX22" fmla="*/ 549243 w 561730"/>
                  <a:gd name="connsiteY22" fmla="*/ 73382 h 557284"/>
                  <a:gd name="connsiteX23" fmla="*/ 545512 w 561730"/>
                  <a:gd name="connsiteY23" fmla="*/ 85128 h 557284"/>
                  <a:gd name="connsiteX24" fmla="*/ 549217 w 561730"/>
                  <a:gd name="connsiteY24" fmla="*/ 88147 h 557284"/>
                  <a:gd name="connsiteX25" fmla="*/ 552647 w 561730"/>
                  <a:gd name="connsiteY25" fmla="*/ 87488 h 557284"/>
                  <a:gd name="connsiteX26" fmla="*/ 558465 w 561730"/>
                  <a:gd name="connsiteY26" fmla="*/ 90589 h 557284"/>
                  <a:gd name="connsiteX27" fmla="*/ 561730 w 561730"/>
                  <a:gd name="connsiteY27" fmla="*/ 95886 h 557284"/>
                  <a:gd name="connsiteX28" fmla="*/ 553937 w 561730"/>
                  <a:gd name="connsiteY28" fmla="*/ 106204 h 557284"/>
                  <a:gd name="connsiteX29" fmla="*/ 531379 w 561730"/>
                  <a:gd name="connsiteY29" fmla="*/ 124234 h 557284"/>
                  <a:gd name="connsiteX30" fmla="*/ 528881 w 561730"/>
                  <a:gd name="connsiteY30" fmla="*/ 130656 h 557284"/>
                  <a:gd name="connsiteX31" fmla="*/ 523337 w 561730"/>
                  <a:gd name="connsiteY31" fmla="*/ 133730 h 557284"/>
                  <a:gd name="connsiteX32" fmla="*/ 522075 w 561730"/>
                  <a:gd name="connsiteY32" fmla="*/ 142786 h 557284"/>
                  <a:gd name="connsiteX33" fmla="*/ 521828 w 561730"/>
                  <a:gd name="connsiteY33" fmla="*/ 144377 h 557284"/>
                  <a:gd name="connsiteX34" fmla="*/ 515983 w 561730"/>
                  <a:gd name="connsiteY34" fmla="*/ 155327 h 557284"/>
                  <a:gd name="connsiteX35" fmla="*/ 514611 w 561730"/>
                  <a:gd name="connsiteY35" fmla="*/ 166908 h 557284"/>
                  <a:gd name="connsiteX36" fmla="*/ 513897 w 561730"/>
                  <a:gd name="connsiteY36" fmla="*/ 173165 h 557284"/>
                  <a:gd name="connsiteX37" fmla="*/ 511866 w 561730"/>
                  <a:gd name="connsiteY37" fmla="*/ 190839 h 557284"/>
                  <a:gd name="connsiteX38" fmla="*/ 511564 w 561730"/>
                  <a:gd name="connsiteY38" fmla="*/ 198687 h 557284"/>
                  <a:gd name="connsiteX39" fmla="*/ 509534 w 561730"/>
                  <a:gd name="connsiteY39" fmla="*/ 199922 h 557284"/>
                  <a:gd name="connsiteX40" fmla="*/ 504567 w 561730"/>
                  <a:gd name="connsiteY40" fmla="*/ 203188 h 557284"/>
                  <a:gd name="connsiteX41" fmla="*/ 499764 w 561730"/>
                  <a:gd name="connsiteY41" fmla="*/ 209692 h 557284"/>
                  <a:gd name="connsiteX42" fmla="*/ 498118 w 561730"/>
                  <a:gd name="connsiteY42" fmla="*/ 221986 h 557284"/>
                  <a:gd name="connsiteX43" fmla="*/ 491174 w 561730"/>
                  <a:gd name="connsiteY43" fmla="*/ 229039 h 557284"/>
                  <a:gd name="connsiteX44" fmla="*/ 492080 w 561730"/>
                  <a:gd name="connsiteY44" fmla="*/ 235735 h 557284"/>
                  <a:gd name="connsiteX45" fmla="*/ 495428 w 561730"/>
                  <a:gd name="connsiteY45" fmla="*/ 238644 h 557284"/>
                  <a:gd name="connsiteX46" fmla="*/ 495730 w 561730"/>
                  <a:gd name="connsiteY46" fmla="*/ 241279 h 557284"/>
                  <a:gd name="connsiteX47" fmla="*/ 501356 w 561730"/>
                  <a:gd name="connsiteY47" fmla="*/ 248716 h 557284"/>
                  <a:gd name="connsiteX48" fmla="*/ 501164 w 561730"/>
                  <a:gd name="connsiteY48" fmla="*/ 270862 h 557284"/>
                  <a:gd name="connsiteX49" fmla="*/ 505116 w 561730"/>
                  <a:gd name="connsiteY49" fmla="*/ 279836 h 557284"/>
                  <a:gd name="connsiteX50" fmla="*/ 506680 w 561730"/>
                  <a:gd name="connsiteY50" fmla="*/ 288865 h 557284"/>
                  <a:gd name="connsiteX51" fmla="*/ 504539 w 561730"/>
                  <a:gd name="connsiteY51" fmla="*/ 302943 h 557284"/>
                  <a:gd name="connsiteX52" fmla="*/ 512498 w 561730"/>
                  <a:gd name="connsiteY52" fmla="*/ 326462 h 557284"/>
                  <a:gd name="connsiteX53" fmla="*/ 509095 w 561730"/>
                  <a:gd name="connsiteY53" fmla="*/ 333899 h 557284"/>
                  <a:gd name="connsiteX54" fmla="*/ 510028 w 561730"/>
                  <a:gd name="connsiteY54" fmla="*/ 341885 h 557284"/>
                  <a:gd name="connsiteX55" fmla="*/ 515791 w 561730"/>
                  <a:gd name="connsiteY55" fmla="*/ 353191 h 557284"/>
                  <a:gd name="connsiteX56" fmla="*/ 525835 w 561730"/>
                  <a:gd name="connsiteY56" fmla="*/ 360079 h 557284"/>
                  <a:gd name="connsiteX57" fmla="*/ 532888 w 561730"/>
                  <a:gd name="connsiteY57" fmla="*/ 368834 h 557284"/>
                  <a:gd name="connsiteX58" fmla="*/ 537086 w 561730"/>
                  <a:gd name="connsiteY58" fmla="*/ 381183 h 557284"/>
                  <a:gd name="connsiteX59" fmla="*/ 546308 w 561730"/>
                  <a:gd name="connsiteY59" fmla="*/ 399735 h 557284"/>
                  <a:gd name="connsiteX60" fmla="*/ 541093 w 561730"/>
                  <a:gd name="connsiteY60" fmla="*/ 401793 h 557284"/>
                  <a:gd name="connsiteX61" fmla="*/ 495017 w 561730"/>
                  <a:gd name="connsiteY61" fmla="*/ 407748 h 557284"/>
                  <a:gd name="connsiteX62" fmla="*/ 489747 w 561730"/>
                  <a:gd name="connsiteY62" fmla="*/ 419521 h 557284"/>
                  <a:gd name="connsiteX63" fmla="*/ 476849 w 561730"/>
                  <a:gd name="connsiteY63" fmla="*/ 431047 h 557284"/>
                  <a:gd name="connsiteX64" fmla="*/ 479923 w 561730"/>
                  <a:gd name="connsiteY64" fmla="*/ 434532 h 557284"/>
                  <a:gd name="connsiteX65" fmla="*/ 484698 w 561730"/>
                  <a:gd name="connsiteY65" fmla="*/ 447787 h 557284"/>
                  <a:gd name="connsiteX66" fmla="*/ 482228 w 561730"/>
                  <a:gd name="connsiteY66" fmla="*/ 460438 h 557284"/>
                  <a:gd name="connsiteX67" fmla="*/ 484807 w 561730"/>
                  <a:gd name="connsiteY67" fmla="*/ 472980 h 557284"/>
                  <a:gd name="connsiteX68" fmla="*/ 481240 w 561730"/>
                  <a:gd name="connsiteY68" fmla="*/ 478468 h 557284"/>
                  <a:gd name="connsiteX69" fmla="*/ 476465 w 561730"/>
                  <a:gd name="connsiteY69" fmla="*/ 498008 h 557284"/>
                  <a:gd name="connsiteX70" fmla="*/ 477563 w 561730"/>
                  <a:gd name="connsiteY70" fmla="*/ 507174 h 557284"/>
                  <a:gd name="connsiteX71" fmla="*/ 486866 w 561730"/>
                  <a:gd name="connsiteY71" fmla="*/ 513595 h 557284"/>
                  <a:gd name="connsiteX72" fmla="*/ 495456 w 561730"/>
                  <a:gd name="connsiteY72" fmla="*/ 524463 h 557284"/>
                  <a:gd name="connsiteX73" fmla="*/ 507229 w 561730"/>
                  <a:gd name="connsiteY73" fmla="*/ 527180 h 557284"/>
                  <a:gd name="connsiteX74" fmla="*/ 509397 w 561730"/>
                  <a:gd name="connsiteY74" fmla="*/ 527180 h 557284"/>
                  <a:gd name="connsiteX75" fmla="*/ 507970 w 561730"/>
                  <a:gd name="connsiteY75" fmla="*/ 523777 h 557284"/>
                  <a:gd name="connsiteX76" fmla="*/ 508765 w 561730"/>
                  <a:gd name="connsiteY76" fmla="*/ 520922 h 557284"/>
                  <a:gd name="connsiteX77" fmla="*/ 516998 w 561730"/>
                  <a:gd name="connsiteY77" fmla="*/ 518727 h 557284"/>
                  <a:gd name="connsiteX78" fmla="*/ 517959 w 561730"/>
                  <a:gd name="connsiteY78" fmla="*/ 527180 h 557284"/>
                  <a:gd name="connsiteX79" fmla="*/ 517904 w 561730"/>
                  <a:gd name="connsiteY79" fmla="*/ 555364 h 557284"/>
                  <a:gd name="connsiteX80" fmla="*/ 516230 w 561730"/>
                  <a:gd name="connsiteY80" fmla="*/ 557284 h 557284"/>
                  <a:gd name="connsiteX81" fmla="*/ 512745 w 561730"/>
                  <a:gd name="connsiteY81" fmla="*/ 555885 h 557284"/>
                  <a:gd name="connsiteX82" fmla="*/ 513568 w 561730"/>
                  <a:gd name="connsiteY82" fmla="*/ 551275 h 557284"/>
                  <a:gd name="connsiteX83" fmla="*/ 511949 w 561730"/>
                  <a:gd name="connsiteY83" fmla="*/ 550342 h 557284"/>
                  <a:gd name="connsiteX84" fmla="*/ 500286 w 561730"/>
                  <a:gd name="connsiteY84" fmla="*/ 556379 h 557284"/>
                  <a:gd name="connsiteX85" fmla="*/ 494083 w 561730"/>
                  <a:gd name="connsiteY85" fmla="*/ 555364 h 557284"/>
                  <a:gd name="connsiteX86" fmla="*/ 487881 w 561730"/>
                  <a:gd name="connsiteY86" fmla="*/ 542273 h 557284"/>
                  <a:gd name="connsiteX87" fmla="*/ 484478 w 561730"/>
                  <a:gd name="connsiteY87" fmla="*/ 538925 h 557284"/>
                  <a:gd name="connsiteX88" fmla="*/ 481103 w 561730"/>
                  <a:gd name="connsiteY88" fmla="*/ 538870 h 557284"/>
                  <a:gd name="connsiteX89" fmla="*/ 478770 w 561730"/>
                  <a:gd name="connsiteY89" fmla="*/ 535495 h 557284"/>
                  <a:gd name="connsiteX90" fmla="*/ 479401 w 561730"/>
                  <a:gd name="connsiteY90" fmla="*/ 532229 h 557284"/>
                  <a:gd name="connsiteX91" fmla="*/ 475175 w 561730"/>
                  <a:gd name="connsiteY91" fmla="*/ 527207 h 557284"/>
                  <a:gd name="connsiteX92" fmla="*/ 464089 w 561730"/>
                  <a:gd name="connsiteY92" fmla="*/ 524024 h 557284"/>
                  <a:gd name="connsiteX93" fmla="*/ 461344 w 561730"/>
                  <a:gd name="connsiteY93" fmla="*/ 520840 h 557284"/>
                  <a:gd name="connsiteX94" fmla="*/ 453934 w 561730"/>
                  <a:gd name="connsiteY94" fmla="*/ 521444 h 557284"/>
                  <a:gd name="connsiteX95" fmla="*/ 450367 w 561730"/>
                  <a:gd name="connsiteY95" fmla="*/ 517547 h 557284"/>
                  <a:gd name="connsiteX96" fmla="*/ 448391 w 561730"/>
                  <a:gd name="connsiteY96" fmla="*/ 511290 h 557284"/>
                  <a:gd name="connsiteX97" fmla="*/ 442408 w 561730"/>
                  <a:gd name="connsiteY97" fmla="*/ 506652 h 557284"/>
                  <a:gd name="connsiteX98" fmla="*/ 440817 w 561730"/>
                  <a:gd name="connsiteY98" fmla="*/ 501246 h 557284"/>
                  <a:gd name="connsiteX99" fmla="*/ 437002 w 561730"/>
                  <a:gd name="connsiteY99" fmla="*/ 502069 h 557284"/>
                  <a:gd name="connsiteX100" fmla="*/ 435026 w 561730"/>
                  <a:gd name="connsiteY100" fmla="*/ 509177 h 557284"/>
                  <a:gd name="connsiteX101" fmla="*/ 431816 w 561730"/>
                  <a:gd name="connsiteY101" fmla="*/ 512635 h 557284"/>
                  <a:gd name="connsiteX102" fmla="*/ 426299 w 561730"/>
                  <a:gd name="connsiteY102" fmla="*/ 513513 h 557284"/>
                  <a:gd name="connsiteX103" fmla="*/ 419466 w 561730"/>
                  <a:gd name="connsiteY103" fmla="*/ 511482 h 557284"/>
                  <a:gd name="connsiteX104" fmla="*/ 406595 w 561730"/>
                  <a:gd name="connsiteY104" fmla="*/ 511565 h 557284"/>
                  <a:gd name="connsiteX105" fmla="*/ 395536 w 561730"/>
                  <a:gd name="connsiteY105" fmla="*/ 505939 h 557284"/>
                  <a:gd name="connsiteX106" fmla="*/ 391721 w 561730"/>
                  <a:gd name="connsiteY106" fmla="*/ 506487 h 557284"/>
                  <a:gd name="connsiteX107" fmla="*/ 386671 w 561730"/>
                  <a:gd name="connsiteY107" fmla="*/ 502179 h 557284"/>
                  <a:gd name="connsiteX108" fmla="*/ 384998 w 561730"/>
                  <a:gd name="connsiteY108" fmla="*/ 495263 h 557284"/>
                  <a:gd name="connsiteX109" fmla="*/ 386068 w 561730"/>
                  <a:gd name="connsiteY109" fmla="*/ 489885 h 557284"/>
                  <a:gd name="connsiteX110" fmla="*/ 373307 w 561730"/>
                  <a:gd name="connsiteY110" fmla="*/ 491586 h 557284"/>
                  <a:gd name="connsiteX111" fmla="*/ 360381 w 561730"/>
                  <a:gd name="connsiteY111" fmla="*/ 497431 h 557284"/>
                  <a:gd name="connsiteX112" fmla="*/ 356978 w 561730"/>
                  <a:gd name="connsiteY112" fmla="*/ 495208 h 557284"/>
                  <a:gd name="connsiteX113" fmla="*/ 358625 w 561730"/>
                  <a:gd name="connsiteY113" fmla="*/ 491010 h 557284"/>
                  <a:gd name="connsiteX114" fmla="*/ 357884 w 561730"/>
                  <a:gd name="connsiteY114" fmla="*/ 486317 h 557284"/>
                  <a:gd name="connsiteX115" fmla="*/ 351627 w 561730"/>
                  <a:gd name="connsiteY115" fmla="*/ 484149 h 557284"/>
                  <a:gd name="connsiteX116" fmla="*/ 349953 w 561730"/>
                  <a:gd name="connsiteY116" fmla="*/ 480938 h 557284"/>
                  <a:gd name="connsiteX117" fmla="*/ 347071 w 561730"/>
                  <a:gd name="connsiteY117" fmla="*/ 480225 h 557284"/>
                  <a:gd name="connsiteX118" fmla="*/ 342324 w 561730"/>
                  <a:gd name="connsiteY118" fmla="*/ 484149 h 557284"/>
                  <a:gd name="connsiteX119" fmla="*/ 330990 w 561730"/>
                  <a:gd name="connsiteY119" fmla="*/ 481981 h 557284"/>
                  <a:gd name="connsiteX120" fmla="*/ 321879 w 561730"/>
                  <a:gd name="connsiteY120" fmla="*/ 486921 h 557284"/>
                  <a:gd name="connsiteX121" fmla="*/ 307828 w 561730"/>
                  <a:gd name="connsiteY121" fmla="*/ 486262 h 557284"/>
                  <a:gd name="connsiteX122" fmla="*/ 304151 w 561730"/>
                  <a:gd name="connsiteY122" fmla="*/ 485000 h 557284"/>
                  <a:gd name="connsiteX123" fmla="*/ 301352 w 561730"/>
                  <a:gd name="connsiteY123" fmla="*/ 488348 h 557284"/>
                  <a:gd name="connsiteX124" fmla="*/ 295918 w 561730"/>
                  <a:gd name="connsiteY124" fmla="*/ 490763 h 557284"/>
                  <a:gd name="connsiteX125" fmla="*/ 293640 w 561730"/>
                  <a:gd name="connsiteY125" fmla="*/ 480033 h 557284"/>
                  <a:gd name="connsiteX126" fmla="*/ 297646 w 561730"/>
                  <a:gd name="connsiteY126" fmla="*/ 475614 h 557284"/>
                  <a:gd name="connsiteX127" fmla="*/ 297372 w 561730"/>
                  <a:gd name="connsiteY127" fmla="*/ 464527 h 557284"/>
                  <a:gd name="connsiteX128" fmla="*/ 293695 w 561730"/>
                  <a:gd name="connsiteY128" fmla="*/ 452151 h 557284"/>
                  <a:gd name="connsiteX129" fmla="*/ 284913 w 561730"/>
                  <a:gd name="connsiteY129" fmla="*/ 443177 h 557284"/>
                  <a:gd name="connsiteX130" fmla="*/ 282553 w 561730"/>
                  <a:gd name="connsiteY130" fmla="*/ 436426 h 557284"/>
                  <a:gd name="connsiteX131" fmla="*/ 286559 w 561730"/>
                  <a:gd name="connsiteY131" fmla="*/ 409175 h 557284"/>
                  <a:gd name="connsiteX132" fmla="*/ 281236 w 561730"/>
                  <a:gd name="connsiteY132" fmla="*/ 393121 h 557284"/>
                  <a:gd name="connsiteX133" fmla="*/ 283952 w 561730"/>
                  <a:gd name="connsiteY133" fmla="*/ 379289 h 557284"/>
                  <a:gd name="connsiteX134" fmla="*/ 281839 w 561730"/>
                  <a:gd name="connsiteY134" fmla="*/ 373334 h 557284"/>
                  <a:gd name="connsiteX135" fmla="*/ 246685 w 561730"/>
                  <a:gd name="connsiteY135" fmla="*/ 372703 h 557284"/>
                  <a:gd name="connsiteX136" fmla="*/ 245670 w 561730"/>
                  <a:gd name="connsiteY136" fmla="*/ 369382 h 557284"/>
                  <a:gd name="connsiteX137" fmla="*/ 247508 w 561730"/>
                  <a:gd name="connsiteY137" fmla="*/ 363153 h 557284"/>
                  <a:gd name="connsiteX138" fmla="*/ 246356 w 561730"/>
                  <a:gd name="connsiteY138" fmla="*/ 362082 h 557284"/>
                  <a:gd name="connsiteX139" fmla="*/ 239824 w 561730"/>
                  <a:gd name="connsiteY139" fmla="*/ 362192 h 557284"/>
                  <a:gd name="connsiteX140" fmla="*/ 236558 w 561730"/>
                  <a:gd name="connsiteY140" fmla="*/ 364470 h 557284"/>
                  <a:gd name="connsiteX141" fmla="*/ 217293 w 561730"/>
                  <a:gd name="connsiteY141" fmla="*/ 364662 h 557284"/>
                  <a:gd name="connsiteX142" fmla="*/ 214604 w 561730"/>
                  <a:gd name="connsiteY142" fmla="*/ 372648 h 557284"/>
                  <a:gd name="connsiteX143" fmla="*/ 215482 w 561730"/>
                  <a:gd name="connsiteY143" fmla="*/ 378164 h 557284"/>
                  <a:gd name="connsiteX144" fmla="*/ 211366 w 561730"/>
                  <a:gd name="connsiteY144" fmla="*/ 382528 h 557284"/>
                  <a:gd name="connsiteX145" fmla="*/ 210460 w 561730"/>
                  <a:gd name="connsiteY145" fmla="*/ 393834 h 557284"/>
                  <a:gd name="connsiteX146" fmla="*/ 195696 w 561730"/>
                  <a:gd name="connsiteY146" fmla="*/ 394109 h 557284"/>
                  <a:gd name="connsiteX147" fmla="*/ 192595 w 561730"/>
                  <a:gd name="connsiteY147" fmla="*/ 391913 h 557284"/>
                  <a:gd name="connsiteX148" fmla="*/ 188177 w 561730"/>
                  <a:gd name="connsiteY148" fmla="*/ 391721 h 557284"/>
                  <a:gd name="connsiteX149" fmla="*/ 185240 w 561730"/>
                  <a:gd name="connsiteY149" fmla="*/ 393971 h 557284"/>
                  <a:gd name="connsiteX150" fmla="*/ 175553 w 561730"/>
                  <a:gd name="connsiteY150" fmla="*/ 394438 h 557284"/>
                  <a:gd name="connsiteX151" fmla="*/ 172616 w 561730"/>
                  <a:gd name="connsiteY151" fmla="*/ 396798 h 557284"/>
                  <a:gd name="connsiteX152" fmla="*/ 159059 w 561730"/>
                  <a:gd name="connsiteY152" fmla="*/ 397649 h 557284"/>
                  <a:gd name="connsiteX153" fmla="*/ 156645 w 561730"/>
                  <a:gd name="connsiteY153" fmla="*/ 396359 h 557284"/>
                  <a:gd name="connsiteX154" fmla="*/ 146189 w 561730"/>
                  <a:gd name="connsiteY154" fmla="*/ 377478 h 557284"/>
                  <a:gd name="connsiteX155" fmla="*/ 140179 w 561730"/>
                  <a:gd name="connsiteY155" fmla="*/ 372127 h 557284"/>
                  <a:gd name="connsiteX156" fmla="*/ 138285 w 561730"/>
                  <a:gd name="connsiteY156" fmla="*/ 362385 h 557284"/>
                  <a:gd name="connsiteX157" fmla="*/ 136529 w 561730"/>
                  <a:gd name="connsiteY157" fmla="*/ 360793 h 557284"/>
                  <a:gd name="connsiteX158" fmla="*/ 132220 w 561730"/>
                  <a:gd name="connsiteY158" fmla="*/ 346714 h 557284"/>
                  <a:gd name="connsiteX159" fmla="*/ 132687 w 561730"/>
                  <a:gd name="connsiteY159" fmla="*/ 339552 h 557284"/>
                  <a:gd name="connsiteX160" fmla="*/ 127144 w 561730"/>
                  <a:gd name="connsiteY160" fmla="*/ 330688 h 557284"/>
                  <a:gd name="connsiteX161" fmla="*/ 69732 w 561730"/>
                  <a:gd name="connsiteY161" fmla="*/ 332060 h 557284"/>
                  <a:gd name="connsiteX162" fmla="*/ 51593 w 561730"/>
                  <a:gd name="connsiteY162" fmla="*/ 330194 h 557284"/>
                  <a:gd name="connsiteX163" fmla="*/ 26537 w 561730"/>
                  <a:gd name="connsiteY163" fmla="*/ 331511 h 557284"/>
                  <a:gd name="connsiteX164" fmla="*/ 25796 w 561730"/>
                  <a:gd name="connsiteY164" fmla="*/ 331017 h 557284"/>
                  <a:gd name="connsiteX165" fmla="*/ 25742 w 561730"/>
                  <a:gd name="connsiteY165" fmla="*/ 330962 h 557284"/>
                  <a:gd name="connsiteX166" fmla="*/ 21186 w 561730"/>
                  <a:gd name="connsiteY166" fmla="*/ 330359 h 557284"/>
                  <a:gd name="connsiteX167" fmla="*/ 20171 w 561730"/>
                  <a:gd name="connsiteY167" fmla="*/ 331978 h 557284"/>
                  <a:gd name="connsiteX168" fmla="*/ 18085 w 561730"/>
                  <a:gd name="connsiteY168" fmla="*/ 333515 h 557284"/>
                  <a:gd name="connsiteX169" fmla="*/ 16493 w 561730"/>
                  <a:gd name="connsiteY169" fmla="*/ 334036 h 557284"/>
                  <a:gd name="connsiteX170" fmla="*/ 15615 w 561730"/>
                  <a:gd name="connsiteY170" fmla="*/ 334585 h 557284"/>
                  <a:gd name="connsiteX171" fmla="*/ 11307 w 561730"/>
                  <a:gd name="connsiteY171" fmla="*/ 332801 h 557284"/>
                  <a:gd name="connsiteX172" fmla="*/ 5736 w 561730"/>
                  <a:gd name="connsiteY172" fmla="*/ 334338 h 557284"/>
                  <a:gd name="connsiteX173" fmla="*/ 0 w 561730"/>
                  <a:gd name="connsiteY173" fmla="*/ 327889 h 557284"/>
                  <a:gd name="connsiteX174" fmla="*/ 9605 w 561730"/>
                  <a:gd name="connsiteY174" fmla="*/ 326654 h 557284"/>
                  <a:gd name="connsiteX175" fmla="*/ 9907 w 561730"/>
                  <a:gd name="connsiteY175" fmla="*/ 311176 h 557284"/>
                  <a:gd name="connsiteX176" fmla="*/ 8617 w 561730"/>
                  <a:gd name="connsiteY176" fmla="*/ 307608 h 557284"/>
                  <a:gd name="connsiteX177" fmla="*/ 15451 w 561730"/>
                  <a:gd name="connsiteY177" fmla="*/ 303327 h 557284"/>
                  <a:gd name="connsiteX178" fmla="*/ 19951 w 561730"/>
                  <a:gd name="connsiteY178" fmla="*/ 298086 h 557284"/>
                  <a:gd name="connsiteX179" fmla="*/ 26291 w 561730"/>
                  <a:gd name="connsiteY179" fmla="*/ 296165 h 557284"/>
                  <a:gd name="connsiteX180" fmla="*/ 28760 w 561730"/>
                  <a:gd name="connsiteY180" fmla="*/ 294793 h 557284"/>
                  <a:gd name="connsiteX181" fmla="*/ 37323 w 561730"/>
                  <a:gd name="connsiteY181" fmla="*/ 300473 h 557284"/>
                  <a:gd name="connsiteX182" fmla="*/ 44074 w 561730"/>
                  <a:gd name="connsiteY182" fmla="*/ 296384 h 557284"/>
                  <a:gd name="connsiteX183" fmla="*/ 46324 w 561730"/>
                  <a:gd name="connsiteY183" fmla="*/ 289606 h 557284"/>
                  <a:gd name="connsiteX184" fmla="*/ 52087 w 561730"/>
                  <a:gd name="connsiteY184" fmla="*/ 290209 h 557284"/>
                  <a:gd name="connsiteX185" fmla="*/ 63805 w 561730"/>
                  <a:gd name="connsiteY185" fmla="*/ 285270 h 557284"/>
                  <a:gd name="connsiteX186" fmla="*/ 66138 w 561730"/>
                  <a:gd name="connsiteY186" fmla="*/ 288426 h 557284"/>
                  <a:gd name="connsiteX187" fmla="*/ 64244 w 561730"/>
                  <a:gd name="connsiteY187" fmla="*/ 292871 h 557284"/>
                  <a:gd name="connsiteX188" fmla="*/ 65232 w 561730"/>
                  <a:gd name="connsiteY188" fmla="*/ 300391 h 557284"/>
                  <a:gd name="connsiteX189" fmla="*/ 73520 w 561730"/>
                  <a:gd name="connsiteY189" fmla="*/ 302092 h 557284"/>
                  <a:gd name="connsiteX190" fmla="*/ 78075 w 561730"/>
                  <a:gd name="connsiteY190" fmla="*/ 299019 h 557284"/>
                  <a:gd name="connsiteX191" fmla="*/ 88311 w 561730"/>
                  <a:gd name="connsiteY191" fmla="*/ 286038 h 557284"/>
                  <a:gd name="connsiteX192" fmla="*/ 95282 w 561730"/>
                  <a:gd name="connsiteY192" fmla="*/ 283047 h 557284"/>
                  <a:gd name="connsiteX193" fmla="*/ 100167 w 561730"/>
                  <a:gd name="connsiteY193" fmla="*/ 276845 h 557284"/>
                  <a:gd name="connsiteX194" fmla="*/ 108207 w 561730"/>
                  <a:gd name="connsiteY194" fmla="*/ 273799 h 557284"/>
                  <a:gd name="connsiteX195" fmla="*/ 117566 w 561730"/>
                  <a:gd name="connsiteY195" fmla="*/ 256153 h 557284"/>
                  <a:gd name="connsiteX196" fmla="*/ 118252 w 561730"/>
                  <a:gd name="connsiteY196" fmla="*/ 222096 h 557284"/>
                  <a:gd name="connsiteX197" fmla="*/ 127582 w 561730"/>
                  <a:gd name="connsiteY197" fmla="*/ 212271 h 557284"/>
                  <a:gd name="connsiteX198" fmla="*/ 133730 w 561730"/>
                  <a:gd name="connsiteY198" fmla="*/ 200169 h 557284"/>
                  <a:gd name="connsiteX199" fmla="*/ 135157 w 561730"/>
                  <a:gd name="connsiteY199" fmla="*/ 197288 h 557284"/>
                  <a:gd name="connsiteX200" fmla="*/ 141798 w 561730"/>
                  <a:gd name="connsiteY200" fmla="*/ 191085 h 557284"/>
                  <a:gd name="connsiteX201" fmla="*/ 151595 w 561730"/>
                  <a:gd name="connsiteY201" fmla="*/ 186612 h 557284"/>
                  <a:gd name="connsiteX202" fmla="*/ 161721 w 561730"/>
                  <a:gd name="connsiteY202" fmla="*/ 175223 h 557284"/>
                  <a:gd name="connsiteX203" fmla="*/ 161639 w 561730"/>
                  <a:gd name="connsiteY203" fmla="*/ 173412 h 557284"/>
                  <a:gd name="connsiteX204" fmla="*/ 161337 w 561730"/>
                  <a:gd name="connsiteY204" fmla="*/ 167155 h 557284"/>
                  <a:gd name="connsiteX205" fmla="*/ 161173 w 561730"/>
                  <a:gd name="connsiteY205" fmla="*/ 163752 h 557284"/>
                  <a:gd name="connsiteX206" fmla="*/ 164685 w 561730"/>
                  <a:gd name="connsiteY206" fmla="*/ 152638 h 557284"/>
                  <a:gd name="connsiteX207" fmla="*/ 169296 w 561730"/>
                  <a:gd name="connsiteY207" fmla="*/ 146408 h 557284"/>
                  <a:gd name="connsiteX208" fmla="*/ 168061 w 561730"/>
                  <a:gd name="connsiteY208" fmla="*/ 143060 h 557284"/>
                  <a:gd name="connsiteX209" fmla="*/ 166963 w 561730"/>
                  <a:gd name="connsiteY209" fmla="*/ 140042 h 557284"/>
                  <a:gd name="connsiteX210" fmla="*/ 166195 w 561730"/>
                  <a:gd name="connsiteY210" fmla="*/ 129311 h 557284"/>
                  <a:gd name="connsiteX211" fmla="*/ 172644 w 561730"/>
                  <a:gd name="connsiteY211" fmla="*/ 112654 h 557284"/>
                  <a:gd name="connsiteX212" fmla="*/ 173302 w 561730"/>
                  <a:gd name="connsiteY212" fmla="*/ 92565 h 557284"/>
                  <a:gd name="connsiteX213" fmla="*/ 188616 w 561730"/>
                  <a:gd name="connsiteY213" fmla="*/ 65232 h 557284"/>
                  <a:gd name="connsiteX214" fmla="*/ 189028 w 561730"/>
                  <a:gd name="connsiteY214" fmla="*/ 55956 h 557284"/>
                  <a:gd name="connsiteX215" fmla="*/ 188122 w 561730"/>
                  <a:gd name="connsiteY215" fmla="*/ 47504 h 557284"/>
                  <a:gd name="connsiteX216" fmla="*/ 189659 w 561730"/>
                  <a:gd name="connsiteY216" fmla="*/ 38283 h 557284"/>
                  <a:gd name="connsiteX217" fmla="*/ 187271 w 561730"/>
                  <a:gd name="connsiteY217" fmla="*/ 30736 h 557284"/>
                  <a:gd name="connsiteX218" fmla="*/ 193144 w 561730"/>
                  <a:gd name="connsiteY218" fmla="*/ 27717 h 557284"/>
                  <a:gd name="connsiteX219" fmla="*/ 202831 w 561730"/>
                  <a:gd name="connsiteY219" fmla="*/ 13584 h 557284"/>
                  <a:gd name="connsiteX220" fmla="*/ 212436 w 561730"/>
                  <a:gd name="connsiteY220" fmla="*/ 7355 h 557284"/>
                  <a:gd name="connsiteX221" fmla="*/ 220751 w 561730"/>
                  <a:gd name="connsiteY221" fmla="*/ 6861 h 557284"/>
                  <a:gd name="connsiteX222" fmla="*/ 239577 w 561730"/>
                  <a:gd name="connsiteY222" fmla="*/ 18277 h 557284"/>
                  <a:gd name="connsiteX223" fmla="*/ 241745 w 561730"/>
                  <a:gd name="connsiteY223" fmla="*/ 21213 h 557284"/>
                  <a:gd name="connsiteX224" fmla="*/ 246630 w 561730"/>
                  <a:gd name="connsiteY224" fmla="*/ 27827 h 557284"/>
                  <a:gd name="connsiteX225" fmla="*/ 256235 w 561730"/>
                  <a:gd name="connsiteY225" fmla="*/ 27607 h 557284"/>
                  <a:gd name="connsiteX226" fmla="*/ 260598 w 561730"/>
                  <a:gd name="connsiteY226" fmla="*/ 29446 h 557284"/>
                  <a:gd name="connsiteX227" fmla="*/ 264742 w 561730"/>
                  <a:gd name="connsiteY227" fmla="*/ 31148 h 557284"/>
                  <a:gd name="connsiteX228" fmla="*/ 274183 w 561730"/>
                  <a:gd name="connsiteY228" fmla="*/ 32602 h 557284"/>
                  <a:gd name="connsiteX229" fmla="*/ 280001 w 561730"/>
                  <a:gd name="connsiteY229" fmla="*/ 31450 h 557284"/>
                  <a:gd name="connsiteX230" fmla="*/ 294024 w 561730"/>
                  <a:gd name="connsiteY230" fmla="*/ 35758 h 557284"/>
                  <a:gd name="connsiteX231" fmla="*/ 297839 w 561730"/>
                  <a:gd name="connsiteY231" fmla="*/ 36938 h 557284"/>
                  <a:gd name="connsiteX232" fmla="*/ 303492 w 561730"/>
                  <a:gd name="connsiteY232" fmla="*/ 34770 h 557284"/>
                  <a:gd name="connsiteX233" fmla="*/ 306072 w 561730"/>
                  <a:gd name="connsiteY233" fmla="*/ 27004 h 557284"/>
                  <a:gd name="connsiteX234" fmla="*/ 315539 w 561730"/>
                  <a:gd name="connsiteY234" fmla="*/ 16466 h 557284"/>
                  <a:gd name="connsiteX235" fmla="*/ 325337 w 561730"/>
                  <a:gd name="connsiteY235" fmla="*/ 20582 h 557284"/>
                  <a:gd name="connsiteX236" fmla="*/ 329590 w 561730"/>
                  <a:gd name="connsiteY236" fmla="*/ 22394 h 557284"/>
                  <a:gd name="connsiteX237" fmla="*/ 335490 w 561730"/>
                  <a:gd name="connsiteY237" fmla="*/ 18167 h 557284"/>
                  <a:gd name="connsiteX238" fmla="*/ 352450 w 561730"/>
                  <a:gd name="connsiteY238" fmla="*/ 13310 h 557284"/>
                  <a:gd name="connsiteX239" fmla="*/ 358597 w 561730"/>
                  <a:gd name="connsiteY239" fmla="*/ 8041 h 557284"/>
                  <a:gd name="connsiteX240" fmla="*/ 363482 w 561730"/>
                  <a:gd name="connsiteY240" fmla="*/ 9166 h 557284"/>
                  <a:gd name="connsiteX241" fmla="*/ 368916 w 561730"/>
                  <a:gd name="connsiteY241" fmla="*/ 13667 h 557284"/>
                  <a:gd name="connsiteX242" fmla="*/ 382994 w 561730"/>
                  <a:gd name="connsiteY242" fmla="*/ 10593 h 557284"/>
                  <a:gd name="connsiteX243" fmla="*/ 385821 w 561730"/>
                  <a:gd name="connsiteY243" fmla="*/ 9083 h 557284"/>
                  <a:gd name="connsiteX244" fmla="*/ 387111 w 561730"/>
                  <a:gd name="connsiteY244" fmla="*/ 2388 h 557284"/>
                  <a:gd name="connsiteX245" fmla="*/ 389690 w 561730"/>
                  <a:gd name="connsiteY245" fmla="*/ 1207 h 557284"/>
                  <a:gd name="connsiteX246" fmla="*/ 392352 w 561730"/>
                  <a:gd name="connsiteY246" fmla="*/ 0 h 557284"/>
                  <a:gd name="connsiteX247" fmla="*/ 401628 w 561730"/>
                  <a:gd name="connsiteY247" fmla="*/ 4885 h 557284"/>
                  <a:gd name="connsiteX248" fmla="*/ 411151 w 561730"/>
                  <a:gd name="connsiteY248" fmla="*/ 3677 h 557284"/>
                  <a:gd name="connsiteX249" fmla="*/ 420481 w 561730"/>
                  <a:gd name="connsiteY249" fmla="*/ 9138 h 557284"/>
                  <a:gd name="connsiteX250" fmla="*/ 427205 w 561730"/>
                  <a:gd name="connsiteY250" fmla="*/ 8068 h 557284"/>
                  <a:gd name="connsiteX251" fmla="*/ 431075 w 561730"/>
                  <a:gd name="connsiteY251" fmla="*/ 9138 h 557284"/>
                  <a:gd name="connsiteX252" fmla="*/ 438154 w 561730"/>
                  <a:gd name="connsiteY252" fmla="*/ 5104 h 557284"/>
                  <a:gd name="connsiteX253" fmla="*/ 446662 w 561730"/>
                  <a:gd name="connsiteY253" fmla="*/ 8123 h 557284"/>
                  <a:gd name="connsiteX254" fmla="*/ 448418 w 561730"/>
                  <a:gd name="connsiteY254" fmla="*/ 10374 h 55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Lst>
                <a:rect l="l" t="t" r="r" b="b"/>
                <a:pathLst>
                  <a:path w="561730" h="557284">
                    <a:moveTo>
                      <a:pt x="448500" y="10044"/>
                    </a:moveTo>
                    <a:lnTo>
                      <a:pt x="455251" y="14709"/>
                    </a:lnTo>
                    <a:lnTo>
                      <a:pt x="460246" y="23107"/>
                    </a:lnTo>
                    <a:lnTo>
                      <a:pt x="465268" y="24040"/>
                    </a:lnTo>
                    <a:lnTo>
                      <a:pt x="466969" y="27278"/>
                    </a:lnTo>
                    <a:lnTo>
                      <a:pt x="476547" y="31642"/>
                    </a:lnTo>
                    <a:lnTo>
                      <a:pt x="487388" y="24095"/>
                    </a:lnTo>
                    <a:lnTo>
                      <a:pt x="500724" y="29391"/>
                    </a:lnTo>
                    <a:lnTo>
                      <a:pt x="506350" y="25385"/>
                    </a:lnTo>
                    <a:lnTo>
                      <a:pt x="508436" y="20884"/>
                    </a:lnTo>
                    <a:lnTo>
                      <a:pt x="510494" y="20582"/>
                    </a:lnTo>
                    <a:lnTo>
                      <a:pt x="517602" y="23656"/>
                    </a:lnTo>
                    <a:lnTo>
                      <a:pt x="518069" y="28815"/>
                    </a:lnTo>
                    <a:lnTo>
                      <a:pt x="523502" y="33535"/>
                    </a:lnTo>
                    <a:lnTo>
                      <a:pt x="530418" y="41329"/>
                    </a:lnTo>
                    <a:lnTo>
                      <a:pt x="539638" y="44622"/>
                    </a:lnTo>
                    <a:lnTo>
                      <a:pt x="540572" y="51318"/>
                    </a:lnTo>
                    <a:lnTo>
                      <a:pt x="546335" y="50742"/>
                    </a:lnTo>
                    <a:lnTo>
                      <a:pt x="548777" y="55188"/>
                    </a:lnTo>
                    <a:lnTo>
                      <a:pt x="550589" y="55243"/>
                    </a:lnTo>
                    <a:lnTo>
                      <a:pt x="550890" y="56889"/>
                    </a:lnTo>
                    <a:lnTo>
                      <a:pt x="546527" y="67070"/>
                    </a:lnTo>
                    <a:lnTo>
                      <a:pt x="549243" y="73382"/>
                    </a:lnTo>
                    <a:lnTo>
                      <a:pt x="545512" y="85128"/>
                    </a:lnTo>
                    <a:lnTo>
                      <a:pt x="549217" y="88147"/>
                    </a:lnTo>
                    <a:lnTo>
                      <a:pt x="552647" y="87488"/>
                    </a:lnTo>
                    <a:lnTo>
                      <a:pt x="558465" y="90589"/>
                    </a:lnTo>
                    <a:lnTo>
                      <a:pt x="561730" y="95886"/>
                    </a:lnTo>
                    <a:lnTo>
                      <a:pt x="553937" y="106204"/>
                    </a:lnTo>
                    <a:lnTo>
                      <a:pt x="531379" y="124234"/>
                    </a:lnTo>
                    <a:lnTo>
                      <a:pt x="528881" y="130656"/>
                    </a:lnTo>
                    <a:lnTo>
                      <a:pt x="523337" y="133730"/>
                    </a:lnTo>
                    <a:lnTo>
                      <a:pt x="522075" y="142786"/>
                    </a:lnTo>
                    <a:lnTo>
                      <a:pt x="521828" y="144377"/>
                    </a:lnTo>
                    <a:lnTo>
                      <a:pt x="515983" y="155327"/>
                    </a:lnTo>
                    <a:lnTo>
                      <a:pt x="514611" y="166908"/>
                    </a:lnTo>
                    <a:lnTo>
                      <a:pt x="513897" y="173165"/>
                    </a:lnTo>
                    <a:lnTo>
                      <a:pt x="511866" y="190839"/>
                    </a:lnTo>
                    <a:lnTo>
                      <a:pt x="511564" y="198687"/>
                    </a:lnTo>
                    <a:lnTo>
                      <a:pt x="509534" y="199922"/>
                    </a:lnTo>
                    <a:lnTo>
                      <a:pt x="504567" y="203188"/>
                    </a:lnTo>
                    <a:lnTo>
                      <a:pt x="499764" y="209692"/>
                    </a:lnTo>
                    <a:lnTo>
                      <a:pt x="498118" y="221986"/>
                    </a:lnTo>
                    <a:lnTo>
                      <a:pt x="491174" y="229039"/>
                    </a:lnTo>
                    <a:lnTo>
                      <a:pt x="492080" y="235735"/>
                    </a:lnTo>
                    <a:lnTo>
                      <a:pt x="495428" y="238644"/>
                    </a:lnTo>
                    <a:lnTo>
                      <a:pt x="495730" y="241279"/>
                    </a:lnTo>
                    <a:lnTo>
                      <a:pt x="501356" y="248716"/>
                    </a:lnTo>
                    <a:lnTo>
                      <a:pt x="501164" y="270862"/>
                    </a:lnTo>
                    <a:lnTo>
                      <a:pt x="505116" y="279836"/>
                    </a:lnTo>
                    <a:lnTo>
                      <a:pt x="506680" y="288865"/>
                    </a:lnTo>
                    <a:lnTo>
                      <a:pt x="504539" y="302943"/>
                    </a:lnTo>
                    <a:lnTo>
                      <a:pt x="512498" y="326462"/>
                    </a:lnTo>
                    <a:lnTo>
                      <a:pt x="509095" y="333899"/>
                    </a:lnTo>
                    <a:lnTo>
                      <a:pt x="510028" y="341885"/>
                    </a:lnTo>
                    <a:lnTo>
                      <a:pt x="515791" y="353191"/>
                    </a:lnTo>
                    <a:lnTo>
                      <a:pt x="525835" y="360079"/>
                    </a:lnTo>
                    <a:lnTo>
                      <a:pt x="532888" y="368834"/>
                    </a:lnTo>
                    <a:lnTo>
                      <a:pt x="537086" y="381183"/>
                    </a:lnTo>
                    <a:lnTo>
                      <a:pt x="546308" y="399735"/>
                    </a:lnTo>
                    <a:lnTo>
                      <a:pt x="541093" y="401793"/>
                    </a:lnTo>
                    <a:lnTo>
                      <a:pt x="495017" y="407748"/>
                    </a:lnTo>
                    <a:lnTo>
                      <a:pt x="489747" y="419521"/>
                    </a:lnTo>
                    <a:lnTo>
                      <a:pt x="476849" y="431047"/>
                    </a:lnTo>
                    <a:lnTo>
                      <a:pt x="479923" y="434532"/>
                    </a:lnTo>
                    <a:lnTo>
                      <a:pt x="484698" y="447787"/>
                    </a:lnTo>
                    <a:lnTo>
                      <a:pt x="482228" y="460438"/>
                    </a:lnTo>
                    <a:lnTo>
                      <a:pt x="484807" y="472980"/>
                    </a:lnTo>
                    <a:lnTo>
                      <a:pt x="481240" y="478468"/>
                    </a:lnTo>
                    <a:lnTo>
                      <a:pt x="476465" y="498008"/>
                    </a:lnTo>
                    <a:lnTo>
                      <a:pt x="477563" y="507174"/>
                    </a:lnTo>
                    <a:lnTo>
                      <a:pt x="486866" y="513595"/>
                    </a:lnTo>
                    <a:lnTo>
                      <a:pt x="495456" y="524463"/>
                    </a:lnTo>
                    <a:lnTo>
                      <a:pt x="507229" y="527180"/>
                    </a:lnTo>
                    <a:lnTo>
                      <a:pt x="509397" y="527180"/>
                    </a:lnTo>
                    <a:lnTo>
                      <a:pt x="507970" y="523777"/>
                    </a:lnTo>
                    <a:lnTo>
                      <a:pt x="508765" y="520922"/>
                    </a:lnTo>
                    <a:lnTo>
                      <a:pt x="516998" y="518727"/>
                    </a:lnTo>
                    <a:lnTo>
                      <a:pt x="517959" y="527180"/>
                    </a:lnTo>
                    <a:lnTo>
                      <a:pt x="517904" y="555364"/>
                    </a:lnTo>
                    <a:lnTo>
                      <a:pt x="516230" y="557284"/>
                    </a:lnTo>
                    <a:lnTo>
                      <a:pt x="512745" y="555885"/>
                    </a:lnTo>
                    <a:lnTo>
                      <a:pt x="513568" y="551275"/>
                    </a:lnTo>
                    <a:lnTo>
                      <a:pt x="511949" y="550342"/>
                    </a:lnTo>
                    <a:lnTo>
                      <a:pt x="500286" y="556379"/>
                    </a:lnTo>
                    <a:lnTo>
                      <a:pt x="494083" y="555364"/>
                    </a:lnTo>
                    <a:lnTo>
                      <a:pt x="487881" y="542273"/>
                    </a:lnTo>
                    <a:lnTo>
                      <a:pt x="484478" y="538925"/>
                    </a:lnTo>
                    <a:lnTo>
                      <a:pt x="481103" y="538870"/>
                    </a:lnTo>
                    <a:lnTo>
                      <a:pt x="478770" y="535495"/>
                    </a:lnTo>
                    <a:lnTo>
                      <a:pt x="479401" y="532229"/>
                    </a:lnTo>
                    <a:lnTo>
                      <a:pt x="475175" y="527207"/>
                    </a:lnTo>
                    <a:lnTo>
                      <a:pt x="464089" y="524024"/>
                    </a:lnTo>
                    <a:lnTo>
                      <a:pt x="461344" y="520840"/>
                    </a:lnTo>
                    <a:lnTo>
                      <a:pt x="453934" y="521444"/>
                    </a:lnTo>
                    <a:lnTo>
                      <a:pt x="450367" y="517547"/>
                    </a:lnTo>
                    <a:lnTo>
                      <a:pt x="448391" y="511290"/>
                    </a:lnTo>
                    <a:lnTo>
                      <a:pt x="442408" y="506652"/>
                    </a:lnTo>
                    <a:lnTo>
                      <a:pt x="440817" y="501246"/>
                    </a:lnTo>
                    <a:lnTo>
                      <a:pt x="437002" y="502069"/>
                    </a:lnTo>
                    <a:lnTo>
                      <a:pt x="435026" y="509177"/>
                    </a:lnTo>
                    <a:lnTo>
                      <a:pt x="431816" y="512635"/>
                    </a:lnTo>
                    <a:lnTo>
                      <a:pt x="426299" y="513513"/>
                    </a:lnTo>
                    <a:lnTo>
                      <a:pt x="419466" y="511482"/>
                    </a:lnTo>
                    <a:lnTo>
                      <a:pt x="406595" y="511565"/>
                    </a:lnTo>
                    <a:lnTo>
                      <a:pt x="395536" y="505939"/>
                    </a:lnTo>
                    <a:lnTo>
                      <a:pt x="391721" y="506487"/>
                    </a:lnTo>
                    <a:lnTo>
                      <a:pt x="386671" y="502179"/>
                    </a:lnTo>
                    <a:lnTo>
                      <a:pt x="384998" y="495263"/>
                    </a:lnTo>
                    <a:lnTo>
                      <a:pt x="386068" y="489885"/>
                    </a:lnTo>
                    <a:lnTo>
                      <a:pt x="373307" y="491586"/>
                    </a:lnTo>
                    <a:lnTo>
                      <a:pt x="360381" y="497431"/>
                    </a:lnTo>
                    <a:lnTo>
                      <a:pt x="356978" y="495208"/>
                    </a:lnTo>
                    <a:lnTo>
                      <a:pt x="358625" y="491010"/>
                    </a:lnTo>
                    <a:lnTo>
                      <a:pt x="357884" y="486317"/>
                    </a:lnTo>
                    <a:lnTo>
                      <a:pt x="351627" y="484149"/>
                    </a:lnTo>
                    <a:lnTo>
                      <a:pt x="349953" y="480938"/>
                    </a:lnTo>
                    <a:lnTo>
                      <a:pt x="347071" y="480225"/>
                    </a:lnTo>
                    <a:lnTo>
                      <a:pt x="342324" y="484149"/>
                    </a:lnTo>
                    <a:lnTo>
                      <a:pt x="330990" y="481981"/>
                    </a:lnTo>
                    <a:lnTo>
                      <a:pt x="321879" y="486921"/>
                    </a:lnTo>
                    <a:lnTo>
                      <a:pt x="307828" y="486262"/>
                    </a:lnTo>
                    <a:lnTo>
                      <a:pt x="304151" y="485000"/>
                    </a:lnTo>
                    <a:lnTo>
                      <a:pt x="301352" y="488348"/>
                    </a:lnTo>
                    <a:lnTo>
                      <a:pt x="295918" y="490763"/>
                    </a:lnTo>
                    <a:lnTo>
                      <a:pt x="293640" y="480033"/>
                    </a:lnTo>
                    <a:lnTo>
                      <a:pt x="297646" y="475614"/>
                    </a:lnTo>
                    <a:lnTo>
                      <a:pt x="297372" y="464527"/>
                    </a:lnTo>
                    <a:lnTo>
                      <a:pt x="293695" y="452151"/>
                    </a:lnTo>
                    <a:lnTo>
                      <a:pt x="284913" y="443177"/>
                    </a:lnTo>
                    <a:lnTo>
                      <a:pt x="282553" y="436426"/>
                    </a:lnTo>
                    <a:lnTo>
                      <a:pt x="286559" y="409175"/>
                    </a:lnTo>
                    <a:lnTo>
                      <a:pt x="281236" y="393121"/>
                    </a:lnTo>
                    <a:lnTo>
                      <a:pt x="283952" y="379289"/>
                    </a:lnTo>
                    <a:lnTo>
                      <a:pt x="281839" y="373334"/>
                    </a:lnTo>
                    <a:lnTo>
                      <a:pt x="246685" y="372703"/>
                    </a:lnTo>
                    <a:lnTo>
                      <a:pt x="245670" y="369382"/>
                    </a:lnTo>
                    <a:lnTo>
                      <a:pt x="247508" y="363153"/>
                    </a:lnTo>
                    <a:lnTo>
                      <a:pt x="246356" y="362082"/>
                    </a:lnTo>
                    <a:lnTo>
                      <a:pt x="239824" y="362192"/>
                    </a:lnTo>
                    <a:lnTo>
                      <a:pt x="236558" y="364470"/>
                    </a:lnTo>
                    <a:lnTo>
                      <a:pt x="217293" y="364662"/>
                    </a:lnTo>
                    <a:lnTo>
                      <a:pt x="214604" y="372648"/>
                    </a:lnTo>
                    <a:lnTo>
                      <a:pt x="215482" y="378164"/>
                    </a:lnTo>
                    <a:lnTo>
                      <a:pt x="211366" y="382528"/>
                    </a:lnTo>
                    <a:lnTo>
                      <a:pt x="210460" y="393834"/>
                    </a:lnTo>
                    <a:lnTo>
                      <a:pt x="195696" y="394109"/>
                    </a:lnTo>
                    <a:lnTo>
                      <a:pt x="192595" y="391913"/>
                    </a:lnTo>
                    <a:lnTo>
                      <a:pt x="188177" y="391721"/>
                    </a:lnTo>
                    <a:lnTo>
                      <a:pt x="185240" y="393971"/>
                    </a:lnTo>
                    <a:lnTo>
                      <a:pt x="175553" y="394438"/>
                    </a:lnTo>
                    <a:lnTo>
                      <a:pt x="172616" y="396798"/>
                    </a:lnTo>
                    <a:lnTo>
                      <a:pt x="159059" y="397649"/>
                    </a:lnTo>
                    <a:lnTo>
                      <a:pt x="156645" y="396359"/>
                    </a:lnTo>
                    <a:lnTo>
                      <a:pt x="146189" y="377478"/>
                    </a:lnTo>
                    <a:lnTo>
                      <a:pt x="140179" y="372127"/>
                    </a:lnTo>
                    <a:lnTo>
                      <a:pt x="138285" y="362385"/>
                    </a:lnTo>
                    <a:lnTo>
                      <a:pt x="136529" y="360793"/>
                    </a:lnTo>
                    <a:lnTo>
                      <a:pt x="132220" y="346714"/>
                    </a:lnTo>
                    <a:lnTo>
                      <a:pt x="132687" y="339552"/>
                    </a:lnTo>
                    <a:lnTo>
                      <a:pt x="127144" y="330688"/>
                    </a:lnTo>
                    <a:lnTo>
                      <a:pt x="69732" y="332060"/>
                    </a:lnTo>
                    <a:lnTo>
                      <a:pt x="51593" y="330194"/>
                    </a:lnTo>
                    <a:lnTo>
                      <a:pt x="26537" y="331511"/>
                    </a:lnTo>
                    <a:lnTo>
                      <a:pt x="25796" y="331017"/>
                    </a:lnTo>
                    <a:lnTo>
                      <a:pt x="25742" y="330962"/>
                    </a:lnTo>
                    <a:lnTo>
                      <a:pt x="21186" y="330359"/>
                    </a:lnTo>
                    <a:lnTo>
                      <a:pt x="20171" y="331978"/>
                    </a:lnTo>
                    <a:lnTo>
                      <a:pt x="18085" y="333515"/>
                    </a:lnTo>
                    <a:lnTo>
                      <a:pt x="16493" y="334036"/>
                    </a:lnTo>
                    <a:lnTo>
                      <a:pt x="15615" y="334585"/>
                    </a:lnTo>
                    <a:lnTo>
                      <a:pt x="11307" y="332801"/>
                    </a:lnTo>
                    <a:lnTo>
                      <a:pt x="5736" y="334338"/>
                    </a:lnTo>
                    <a:lnTo>
                      <a:pt x="0" y="327889"/>
                    </a:lnTo>
                    <a:lnTo>
                      <a:pt x="9605" y="326654"/>
                    </a:lnTo>
                    <a:lnTo>
                      <a:pt x="9907" y="311176"/>
                    </a:lnTo>
                    <a:lnTo>
                      <a:pt x="8617" y="307608"/>
                    </a:lnTo>
                    <a:lnTo>
                      <a:pt x="15451" y="303327"/>
                    </a:lnTo>
                    <a:lnTo>
                      <a:pt x="19951" y="298086"/>
                    </a:lnTo>
                    <a:lnTo>
                      <a:pt x="26291" y="296165"/>
                    </a:lnTo>
                    <a:lnTo>
                      <a:pt x="28760" y="294793"/>
                    </a:lnTo>
                    <a:lnTo>
                      <a:pt x="37323" y="300473"/>
                    </a:lnTo>
                    <a:lnTo>
                      <a:pt x="44074" y="296384"/>
                    </a:lnTo>
                    <a:lnTo>
                      <a:pt x="46324" y="289606"/>
                    </a:lnTo>
                    <a:lnTo>
                      <a:pt x="52087" y="290209"/>
                    </a:lnTo>
                    <a:lnTo>
                      <a:pt x="63805" y="285270"/>
                    </a:lnTo>
                    <a:lnTo>
                      <a:pt x="66138" y="288426"/>
                    </a:lnTo>
                    <a:lnTo>
                      <a:pt x="64244" y="292871"/>
                    </a:lnTo>
                    <a:lnTo>
                      <a:pt x="65232" y="300391"/>
                    </a:lnTo>
                    <a:lnTo>
                      <a:pt x="73520" y="302092"/>
                    </a:lnTo>
                    <a:lnTo>
                      <a:pt x="78075" y="299019"/>
                    </a:lnTo>
                    <a:lnTo>
                      <a:pt x="88311" y="286038"/>
                    </a:lnTo>
                    <a:lnTo>
                      <a:pt x="95282" y="283047"/>
                    </a:lnTo>
                    <a:lnTo>
                      <a:pt x="100167" y="276845"/>
                    </a:lnTo>
                    <a:lnTo>
                      <a:pt x="108207" y="273799"/>
                    </a:lnTo>
                    <a:lnTo>
                      <a:pt x="117566" y="256153"/>
                    </a:lnTo>
                    <a:lnTo>
                      <a:pt x="118252" y="222096"/>
                    </a:lnTo>
                    <a:lnTo>
                      <a:pt x="127582" y="212271"/>
                    </a:lnTo>
                    <a:lnTo>
                      <a:pt x="133730" y="200169"/>
                    </a:lnTo>
                    <a:lnTo>
                      <a:pt x="135157" y="197288"/>
                    </a:lnTo>
                    <a:lnTo>
                      <a:pt x="141798" y="191085"/>
                    </a:lnTo>
                    <a:lnTo>
                      <a:pt x="151595" y="186612"/>
                    </a:lnTo>
                    <a:lnTo>
                      <a:pt x="161721" y="175223"/>
                    </a:lnTo>
                    <a:lnTo>
                      <a:pt x="161639" y="173412"/>
                    </a:lnTo>
                    <a:lnTo>
                      <a:pt x="161337" y="167155"/>
                    </a:lnTo>
                    <a:lnTo>
                      <a:pt x="161173" y="163752"/>
                    </a:lnTo>
                    <a:lnTo>
                      <a:pt x="164685" y="152638"/>
                    </a:lnTo>
                    <a:lnTo>
                      <a:pt x="169296" y="146408"/>
                    </a:lnTo>
                    <a:lnTo>
                      <a:pt x="168061" y="143060"/>
                    </a:lnTo>
                    <a:lnTo>
                      <a:pt x="166963" y="140042"/>
                    </a:lnTo>
                    <a:lnTo>
                      <a:pt x="166195" y="129311"/>
                    </a:lnTo>
                    <a:lnTo>
                      <a:pt x="172644" y="112654"/>
                    </a:lnTo>
                    <a:lnTo>
                      <a:pt x="173302" y="92565"/>
                    </a:lnTo>
                    <a:lnTo>
                      <a:pt x="188616" y="65232"/>
                    </a:lnTo>
                    <a:lnTo>
                      <a:pt x="189028" y="55956"/>
                    </a:lnTo>
                    <a:lnTo>
                      <a:pt x="188122" y="47504"/>
                    </a:lnTo>
                    <a:lnTo>
                      <a:pt x="189659" y="38283"/>
                    </a:lnTo>
                    <a:lnTo>
                      <a:pt x="187271" y="30736"/>
                    </a:lnTo>
                    <a:lnTo>
                      <a:pt x="193144" y="27717"/>
                    </a:lnTo>
                    <a:lnTo>
                      <a:pt x="202831" y="13584"/>
                    </a:lnTo>
                    <a:lnTo>
                      <a:pt x="212436" y="7355"/>
                    </a:lnTo>
                    <a:lnTo>
                      <a:pt x="220751" y="6861"/>
                    </a:lnTo>
                    <a:lnTo>
                      <a:pt x="239577" y="18277"/>
                    </a:lnTo>
                    <a:lnTo>
                      <a:pt x="241745" y="21213"/>
                    </a:lnTo>
                    <a:lnTo>
                      <a:pt x="246630" y="27827"/>
                    </a:lnTo>
                    <a:lnTo>
                      <a:pt x="256235" y="27607"/>
                    </a:lnTo>
                    <a:lnTo>
                      <a:pt x="260598" y="29446"/>
                    </a:lnTo>
                    <a:lnTo>
                      <a:pt x="264742" y="31148"/>
                    </a:lnTo>
                    <a:lnTo>
                      <a:pt x="274183" y="32602"/>
                    </a:lnTo>
                    <a:lnTo>
                      <a:pt x="280001" y="31450"/>
                    </a:lnTo>
                    <a:lnTo>
                      <a:pt x="294024" y="35758"/>
                    </a:lnTo>
                    <a:lnTo>
                      <a:pt x="297839" y="36938"/>
                    </a:lnTo>
                    <a:lnTo>
                      <a:pt x="303492" y="34770"/>
                    </a:lnTo>
                    <a:lnTo>
                      <a:pt x="306072" y="27004"/>
                    </a:lnTo>
                    <a:lnTo>
                      <a:pt x="315539" y="16466"/>
                    </a:lnTo>
                    <a:lnTo>
                      <a:pt x="325337" y="20582"/>
                    </a:lnTo>
                    <a:lnTo>
                      <a:pt x="329590" y="22394"/>
                    </a:lnTo>
                    <a:lnTo>
                      <a:pt x="335490" y="18167"/>
                    </a:lnTo>
                    <a:lnTo>
                      <a:pt x="352450" y="13310"/>
                    </a:lnTo>
                    <a:lnTo>
                      <a:pt x="358597" y="8041"/>
                    </a:lnTo>
                    <a:lnTo>
                      <a:pt x="363482" y="9166"/>
                    </a:lnTo>
                    <a:lnTo>
                      <a:pt x="368916" y="13667"/>
                    </a:lnTo>
                    <a:lnTo>
                      <a:pt x="382994" y="10593"/>
                    </a:lnTo>
                    <a:lnTo>
                      <a:pt x="385821" y="9083"/>
                    </a:lnTo>
                    <a:lnTo>
                      <a:pt x="387111" y="2388"/>
                    </a:lnTo>
                    <a:lnTo>
                      <a:pt x="389690" y="1207"/>
                    </a:lnTo>
                    <a:lnTo>
                      <a:pt x="392352" y="0"/>
                    </a:lnTo>
                    <a:lnTo>
                      <a:pt x="401628" y="4885"/>
                    </a:lnTo>
                    <a:lnTo>
                      <a:pt x="411151" y="3677"/>
                    </a:lnTo>
                    <a:lnTo>
                      <a:pt x="420481" y="9138"/>
                    </a:lnTo>
                    <a:lnTo>
                      <a:pt x="427205" y="8068"/>
                    </a:lnTo>
                    <a:lnTo>
                      <a:pt x="431075" y="9138"/>
                    </a:lnTo>
                    <a:lnTo>
                      <a:pt x="438154" y="5104"/>
                    </a:lnTo>
                    <a:lnTo>
                      <a:pt x="446662" y="8123"/>
                    </a:lnTo>
                    <a:lnTo>
                      <a:pt x="448418" y="103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3" name="Freeform: Shape 3852">
                <a:extLst>
                  <a:ext uri="{FF2B5EF4-FFF2-40B4-BE49-F238E27FC236}">
                    <a16:creationId xmlns:a16="http://schemas.microsoft.com/office/drawing/2014/main" id="{61E620AA-39C3-B440-1C73-DE0D2C65242B}"/>
                  </a:ext>
                </a:extLst>
              </p:cNvPr>
              <p:cNvSpPr/>
              <p:nvPr/>
            </p:nvSpPr>
            <p:spPr>
              <a:xfrm>
                <a:off x="1409683" y="3810524"/>
                <a:ext cx="39898" cy="27109"/>
              </a:xfrm>
              <a:custGeom>
                <a:avLst/>
                <a:gdLst>
                  <a:gd name="connsiteX0" fmla="*/ 248167 w 382527"/>
                  <a:gd name="connsiteY0" fmla="*/ 1839 h 259912"/>
                  <a:gd name="connsiteX1" fmla="*/ 252091 w 382527"/>
                  <a:gd name="connsiteY1" fmla="*/ 8205 h 259912"/>
                  <a:gd name="connsiteX2" fmla="*/ 253271 w 382527"/>
                  <a:gd name="connsiteY2" fmla="*/ 9248 h 259912"/>
                  <a:gd name="connsiteX3" fmla="*/ 259501 w 382527"/>
                  <a:gd name="connsiteY3" fmla="*/ 14709 h 259912"/>
                  <a:gd name="connsiteX4" fmla="*/ 261532 w 382527"/>
                  <a:gd name="connsiteY4" fmla="*/ 16493 h 259912"/>
                  <a:gd name="connsiteX5" fmla="*/ 266498 w 382527"/>
                  <a:gd name="connsiteY5" fmla="*/ 24534 h 259912"/>
                  <a:gd name="connsiteX6" fmla="*/ 271054 w 382527"/>
                  <a:gd name="connsiteY6" fmla="*/ 31916 h 259912"/>
                  <a:gd name="connsiteX7" fmla="*/ 272207 w 382527"/>
                  <a:gd name="connsiteY7" fmla="*/ 38530 h 259912"/>
                  <a:gd name="connsiteX8" fmla="*/ 270615 w 382527"/>
                  <a:gd name="connsiteY8" fmla="*/ 48355 h 259912"/>
                  <a:gd name="connsiteX9" fmla="*/ 270506 w 382527"/>
                  <a:gd name="connsiteY9" fmla="*/ 51620 h 259912"/>
                  <a:gd name="connsiteX10" fmla="*/ 266279 w 382527"/>
                  <a:gd name="connsiteY10" fmla="*/ 54749 h 259912"/>
                  <a:gd name="connsiteX11" fmla="*/ 265566 w 382527"/>
                  <a:gd name="connsiteY11" fmla="*/ 57301 h 259912"/>
                  <a:gd name="connsiteX12" fmla="*/ 265676 w 382527"/>
                  <a:gd name="connsiteY12" fmla="*/ 59853 h 259912"/>
                  <a:gd name="connsiteX13" fmla="*/ 268090 w 382527"/>
                  <a:gd name="connsiteY13" fmla="*/ 61006 h 259912"/>
                  <a:gd name="connsiteX14" fmla="*/ 267157 w 382527"/>
                  <a:gd name="connsiteY14" fmla="*/ 65396 h 259912"/>
                  <a:gd name="connsiteX15" fmla="*/ 268392 w 382527"/>
                  <a:gd name="connsiteY15" fmla="*/ 67373 h 259912"/>
                  <a:gd name="connsiteX16" fmla="*/ 286148 w 382527"/>
                  <a:gd name="connsiteY16" fmla="*/ 68690 h 259912"/>
                  <a:gd name="connsiteX17" fmla="*/ 287794 w 382527"/>
                  <a:gd name="connsiteY17" fmla="*/ 70172 h 259912"/>
                  <a:gd name="connsiteX18" fmla="*/ 286340 w 382527"/>
                  <a:gd name="connsiteY18" fmla="*/ 75496 h 259912"/>
                  <a:gd name="connsiteX19" fmla="*/ 286807 w 382527"/>
                  <a:gd name="connsiteY19" fmla="*/ 76813 h 259912"/>
                  <a:gd name="connsiteX20" fmla="*/ 287849 w 382527"/>
                  <a:gd name="connsiteY20" fmla="*/ 79832 h 259912"/>
                  <a:gd name="connsiteX21" fmla="*/ 304837 w 382527"/>
                  <a:gd name="connsiteY21" fmla="*/ 83975 h 259912"/>
                  <a:gd name="connsiteX22" fmla="*/ 310545 w 382527"/>
                  <a:gd name="connsiteY22" fmla="*/ 90452 h 259912"/>
                  <a:gd name="connsiteX23" fmla="*/ 316911 w 382527"/>
                  <a:gd name="connsiteY23" fmla="*/ 93114 h 259912"/>
                  <a:gd name="connsiteX24" fmla="*/ 318860 w 382527"/>
                  <a:gd name="connsiteY24" fmla="*/ 97011 h 259912"/>
                  <a:gd name="connsiteX25" fmla="*/ 316198 w 382527"/>
                  <a:gd name="connsiteY25" fmla="*/ 101868 h 259912"/>
                  <a:gd name="connsiteX26" fmla="*/ 317159 w 382527"/>
                  <a:gd name="connsiteY26" fmla="*/ 104476 h 259912"/>
                  <a:gd name="connsiteX27" fmla="*/ 322537 w 382527"/>
                  <a:gd name="connsiteY27" fmla="*/ 109031 h 259912"/>
                  <a:gd name="connsiteX28" fmla="*/ 323772 w 382527"/>
                  <a:gd name="connsiteY28" fmla="*/ 109717 h 259912"/>
                  <a:gd name="connsiteX29" fmla="*/ 339524 w 382527"/>
                  <a:gd name="connsiteY29" fmla="*/ 118307 h 259912"/>
                  <a:gd name="connsiteX30" fmla="*/ 343311 w 382527"/>
                  <a:gd name="connsiteY30" fmla="*/ 124015 h 259912"/>
                  <a:gd name="connsiteX31" fmla="*/ 350584 w 382527"/>
                  <a:gd name="connsiteY31" fmla="*/ 128735 h 259912"/>
                  <a:gd name="connsiteX32" fmla="*/ 349486 w 382527"/>
                  <a:gd name="connsiteY32" fmla="*/ 135513 h 259912"/>
                  <a:gd name="connsiteX33" fmla="*/ 354563 w 382527"/>
                  <a:gd name="connsiteY33" fmla="*/ 141633 h 259912"/>
                  <a:gd name="connsiteX34" fmla="*/ 355524 w 382527"/>
                  <a:gd name="connsiteY34" fmla="*/ 145420 h 259912"/>
                  <a:gd name="connsiteX35" fmla="*/ 358351 w 382527"/>
                  <a:gd name="connsiteY35" fmla="*/ 147863 h 259912"/>
                  <a:gd name="connsiteX36" fmla="*/ 364717 w 382527"/>
                  <a:gd name="connsiteY36" fmla="*/ 149372 h 259912"/>
                  <a:gd name="connsiteX37" fmla="*/ 374652 w 382527"/>
                  <a:gd name="connsiteY37" fmla="*/ 156590 h 259912"/>
                  <a:gd name="connsiteX38" fmla="*/ 377204 w 382527"/>
                  <a:gd name="connsiteY38" fmla="*/ 161090 h 259912"/>
                  <a:gd name="connsiteX39" fmla="*/ 377341 w 382527"/>
                  <a:gd name="connsiteY39" fmla="*/ 168719 h 259912"/>
                  <a:gd name="connsiteX40" fmla="*/ 382527 w 382527"/>
                  <a:gd name="connsiteY40" fmla="*/ 177501 h 259912"/>
                  <a:gd name="connsiteX41" fmla="*/ 380771 w 382527"/>
                  <a:gd name="connsiteY41" fmla="*/ 175251 h 259912"/>
                  <a:gd name="connsiteX42" fmla="*/ 372264 w 382527"/>
                  <a:gd name="connsiteY42" fmla="*/ 172232 h 259912"/>
                  <a:gd name="connsiteX43" fmla="*/ 365184 w 382527"/>
                  <a:gd name="connsiteY43" fmla="*/ 176266 h 259912"/>
                  <a:gd name="connsiteX44" fmla="*/ 361314 w 382527"/>
                  <a:gd name="connsiteY44" fmla="*/ 175196 h 259912"/>
                  <a:gd name="connsiteX45" fmla="*/ 354591 w 382527"/>
                  <a:gd name="connsiteY45" fmla="*/ 176266 h 259912"/>
                  <a:gd name="connsiteX46" fmla="*/ 345260 w 382527"/>
                  <a:gd name="connsiteY46" fmla="*/ 170805 h 259912"/>
                  <a:gd name="connsiteX47" fmla="*/ 335738 w 382527"/>
                  <a:gd name="connsiteY47" fmla="*/ 172013 h 259912"/>
                  <a:gd name="connsiteX48" fmla="*/ 326462 w 382527"/>
                  <a:gd name="connsiteY48" fmla="*/ 167128 h 259912"/>
                  <a:gd name="connsiteX49" fmla="*/ 323800 w 382527"/>
                  <a:gd name="connsiteY49" fmla="*/ 168335 h 259912"/>
                  <a:gd name="connsiteX50" fmla="*/ 321220 w 382527"/>
                  <a:gd name="connsiteY50" fmla="*/ 169515 h 259912"/>
                  <a:gd name="connsiteX51" fmla="*/ 319930 w 382527"/>
                  <a:gd name="connsiteY51" fmla="*/ 176211 h 259912"/>
                  <a:gd name="connsiteX52" fmla="*/ 317104 w 382527"/>
                  <a:gd name="connsiteY52" fmla="*/ 177721 h 259912"/>
                  <a:gd name="connsiteX53" fmla="*/ 303025 w 382527"/>
                  <a:gd name="connsiteY53" fmla="*/ 180794 h 259912"/>
                  <a:gd name="connsiteX54" fmla="*/ 297592 w 382527"/>
                  <a:gd name="connsiteY54" fmla="*/ 176294 h 259912"/>
                  <a:gd name="connsiteX55" fmla="*/ 292707 w 382527"/>
                  <a:gd name="connsiteY55" fmla="*/ 175168 h 259912"/>
                  <a:gd name="connsiteX56" fmla="*/ 286559 w 382527"/>
                  <a:gd name="connsiteY56" fmla="*/ 180438 h 259912"/>
                  <a:gd name="connsiteX57" fmla="*/ 269600 w 382527"/>
                  <a:gd name="connsiteY57" fmla="*/ 185295 h 259912"/>
                  <a:gd name="connsiteX58" fmla="*/ 263700 w 382527"/>
                  <a:gd name="connsiteY58" fmla="*/ 189521 h 259912"/>
                  <a:gd name="connsiteX59" fmla="*/ 259446 w 382527"/>
                  <a:gd name="connsiteY59" fmla="*/ 187710 h 259912"/>
                  <a:gd name="connsiteX60" fmla="*/ 249649 w 382527"/>
                  <a:gd name="connsiteY60" fmla="*/ 183594 h 259912"/>
                  <a:gd name="connsiteX61" fmla="*/ 240181 w 382527"/>
                  <a:gd name="connsiteY61" fmla="*/ 194132 h 259912"/>
                  <a:gd name="connsiteX62" fmla="*/ 237602 w 382527"/>
                  <a:gd name="connsiteY62" fmla="*/ 201898 h 259912"/>
                  <a:gd name="connsiteX63" fmla="*/ 231948 w 382527"/>
                  <a:gd name="connsiteY63" fmla="*/ 204066 h 259912"/>
                  <a:gd name="connsiteX64" fmla="*/ 228133 w 382527"/>
                  <a:gd name="connsiteY64" fmla="*/ 202886 h 259912"/>
                  <a:gd name="connsiteX65" fmla="*/ 214110 w 382527"/>
                  <a:gd name="connsiteY65" fmla="*/ 198577 h 259912"/>
                  <a:gd name="connsiteX66" fmla="*/ 208292 w 382527"/>
                  <a:gd name="connsiteY66" fmla="*/ 199730 h 259912"/>
                  <a:gd name="connsiteX67" fmla="*/ 198852 w 382527"/>
                  <a:gd name="connsiteY67" fmla="*/ 198276 h 259912"/>
                  <a:gd name="connsiteX68" fmla="*/ 194708 w 382527"/>
                  <a:gd name="connsiteY68" fmla="*/ 196574 h 259912"/>
                  <a:gd name="connsiteX69" fmla="*/ 190344 w 382527"/>
                  <a:gd name="connsiteY69" fmla="*/ 194735 h 259912"/>
                  <a:gd name="connsiteX70" fmla="*/ 180739 w 382527"/>
                  <a:gd name="connsiteY70" fmla="*/ 194955 h 259912"/>
                  <a:gd name="connsiteX71" fmla="*/ 175855 w 382527"/>
                  <a:gd name="connsiteY71" fmla="*/ 188341 h 259912"/>
                  <a:gd name="connsiteX72" fmla="*/ 173687 w 382527"/>
                  <a:gd name="connsiteY72" fmla="*/ 185405 h 259912"/>
                  <a:gd name="connsiteX73" fmla="*/ 154861 w 382527"/>
                  <a:gd name="connsiteY73" fmla="*/ 173989 h 259912"/>
                  <a:gd name="connsiteX74" fmla="*/ 146545 w 382527"/>
                  <a:gd name="connsiteY74" fmla="*/ 174482 h 259912"/>
                  <a:gd name="connsiteX75" fmla="*/ 136940 w 382527"/>
                  <a:gd name="connsiteY75" fmla="*/ 180712 h 259912"/>
                  <a:gd name="connsiteX76" fmla="*/ 127253 w 382527"/>
                  <a:gd name="connsiteY76" fmla="*/ 194845 h 259912"/>
                  <a:gd name="connsiteX77" fmla="*/ 121380 w 382527"/>
                  <a:gd name="connsiteY77" fmla="*/ 197864 h 259912"/>
                  <a:gd name="connsiteX78" fmla="*/ 123767 w 382527"/>
                  <a:gd name="connsiteY78" fmla="*/ 205411 h 259912"/>
                  <a:gd name="connsiteX79" fmla="*/ 122231 w 382527"/>
                  <a:gd name="connsiteY79" fmla="*/ 214631 h 259912"/>
                  <a:gd name="connsiteX80" fmla="*/ 123136 w 382527"/>
                  <a:gd name="connsiteY80" fmla="*/ 223084 h 259912"/>
                  <a:gd name="connsiteX81" fmla="*/ 119404 w 382527"/>
                  <a:gd name="connsiteY81" fmla="*/ 218419 h 259912"/>
                  <a:gd name="connsiteX82" fmla="*/ 113586 w 382527"/>
                  <a:gd name="connsiteY82" fmla="*/ 219571 h 259912"/>
                  <a:gd name="connsiteX83" fmla="*/ 110540 w 382527"/>
                  <a:gd name="connsiteY83" fmla="*/ 222288 h 259912"/>
                  <a:gd name="connsiteX84" fmla="*/ 107083 w 382527"/>
                  <a:gd name="connsiteY84" fmla="*/ 220120 h 259912"/>
                  <a:gd name="connsiteX85" fmla="*/ 100935 w 382527"/>
                  <a:gd name="connsiteY85" fmla="*/ 220642 h 259912"/>
                  <a:gd name="connsiteX86" fmla="*/ 98465 w 382527"/>
                  <a:gd name="connsiteY86" fmla="*/ 218309 h 259912"/>
                  <a:gd name="connsiteX87" fmla="*/ 89437 w 382527"/>
                  <a:gd name="connsiteY87" fmla="*/ 216662 h 259912"/>
                  <a:gd name="connsiteX88" fmla="*/ 76456 w 382527"/>
                  <a:gd name="connsiteY88" fmla="*/ 221300 h 259912"/>
                  <a:gd name="connsiteX89" fmla="*/ 65588 w 382527"/>
                  <a:gd name="connsiteY89" fmla="*/ 221355 h 259912"/>
                  <a:gd name="connsiteX90" fmla="*/ 63530 w 382527"/>
                  <a:gd name="connsiteY90" fmla="*/ 223523 h 259912"/>
                  <a:gd name="connsiteX91" fmla="*/ 61280 w 382527"/>
                  <a:gd name="connsiteY91" fmla="*/ 231838 h 259912"/>
                  <a:gd name="connsiteX92" fmla="*/ 60676 w 382527"/>
                  <a:gd name="connsiteY92" fmla="*/ 242459 h 259912"/>
                  <a:gd name="connsiteX93" fmla="*/ 51565 w 382527"/>
                  <a:gd name="connsiteY93" fmla="*/ 259912 h 259912"/>
                  <a:gd name="connsiteX94" fmla="*/ 48409 w 382527"/>
                  <a:gd name="connsiteY94" fmla="*/ 252585 h 259912"/>
                  <a:gd name="connsiteX95" fmla="*/ 47559 w 382527"/>
                  <a:gd name="connsiteY95" fmla="*/ 239111 h 259912"/>
                  <a:gd name="connsiteX96" fmla="*/ 39271 w 382527"/>
                  <a:gd name="connsiteY96" fmla="*/ 233073 h 259912"/>
                  <a:gd name="connsiteX97" fmla="*/ 23985 w 382527"/>
                  <a:gd name="connsiteY97" fmla="*/ 216031 h 259912"/>
                  <a:gd name="connsiteX98" fmla="*/ 19567 w 382527"/>
                  <a:gd name="connsiteY98" fmla="*/ 208457 h 259912"/>
                  <a:gd name="connsiteX99" fmla="*/ 20884 w 382527"/>
                  <a:gd name="connsiteY99" fmla="*/ 205411 h 259912"/>
                  <a:gd name="connsiteX100" fmla="*/ 17673 w 382527"/>
                  <a:gd name="connsiteY100" fmla="*/ 196327 h 259912"/>
                  <a:gd name="connsiteX101" fmla="*/ 8809 w 382527"/>
                  <a:gd name="connsiteY101" fmla="*/ 188972 h 259912"/>
                  <a:gd name="connsiteX102" fmla="*/ 7217 w 382527"/>
                  <a:gd name="connsiteY102" fmla="*/ 174455 h 259912"/>
                  <a:gd name="connsiteX103" fmla="*/ 3183 w 382527"/>
                  <a:gd name="connsiteY103" fmla="*/ 169817 h 259912"/>
                  <a:gd name="connsiteX104" fmla="*/ 5351 w 382527"/>
                  <a:gd name="connsiteY104" fmla="*/ 163807 h 259912"/>
                  <a:gd name="connsiteX105" fmla="*/ 5351 w 382527"/>
                  <a:gd name="connsiteY105" fmla="*/ 152885 h 259912"/>
                  <a:gd name="connsiteX106" fmla="*/ 0 w 382527"/>
                  <a:gd name="connsiteY106" fmla="*/ 147725 h 259912"/>
                  <a:gd name="connsiteX107" fmla="*/ 3320 w 382527"/>
                  <a:gd name="connsiteY107" fmla="*/ 143335 h 259912"/>
                  <a:gd name="connsiteX108" fmla="*/ 9879 w 382527"/>
                  <a:gd name="connsiteY108" fmla="*/ 139630 h 259912"/>
                  <a:gd name="connsiteX109" fmla="*/ 14655 w 382527"/>
                  <a:gd name="connsiteY109" fmla="*/ 128515 h 259912"/>
                  <a:gd name="connsiteX110" fmla="*/ 19045 w 382527"/>
                  <a:gd name="connsiteY110" fmla="*/ 124152 h 259912"/>
                  <a:gd name="connsiteX111" fmla="*/ 23655 w 382527"/>
                  <a:gd name="connsiteY111" fmla="*/ 111281 h 259912"/>
                  <a:gd name="connsiteX112" fmla="*/ 31422 w 382527"/>
                  <a:gd name="connsiteY112" fmla="*/ 103240 h 259912"/>
                  <a:gd name="connsiteX113" fmla="*/ 43826 w 382527"/>
                  <a:gd name="connsiteY113" fmla="*/ 104860 h 259912"/>
                  <a:gd name="connsiteX114" fmla="*/ 56560 w 382527"/>
                  <a:gd name="connsiteY114" fmla="*/ 99234 h 259912"/>
                  <a:gd name="connsiteX115" fmla="*/ 62323 w 382527"/>
                  <a:gd name="connsiteY115" fmla="*/ 94047 h 259912"/>
                  <a:gd name="connsiteX116" fmla="*/ 70967 w 382527"/>
                  <a:gd name="connsiteY116" fmla="*/ 102609 h 259912"/>
                  <a:gd name="connsiteX117" fmla="*/ 95419 w 382527"/>
                  <a:gd name="connsiteY117" fmla="*/ 90095 h 259912"/>
                  <a:gd name="connsiteX118" fmla="*/ 121627 w 382527"/>
                  <a:gd name="connsiteY118" fmla="*/ 87735 h 259912"/>
                  <a:gd name="connsiteX119" fmla="*/ 130793 w 382527"/>
                  <a:gd name="connsiteY119" fmla="*/ 78734 h 259912"/>
                  <a:gd name="connsiteX120" fmla="*/ 132083 w 382527"/>
                  <a:gd name="connsiteY120" fmla="*/ 76785 h 259912"/>
                  <a:gd name="connsiteX121" fmla="*/ 132961 w 382527"/>
                  <a:gd name="connsiteY121" fmla="*/ 75468 h 259912"/>
                  <a:gd name="connsiteX122" fmla="*/ 136968 w 382527"/>
                  <a:gd name="connsiteY122" fmla="*/ 69486 h 259912"/>
                  <a:gd name="connsiteX123" fmla="*/ 131150 w 382527"/>
                  <a:gd name="connsiteY123" fmla="*/ 64244 h 259912"/>
                  <a:gd name="connsiteX124" fmla="*/ 132083 w 382527"/>
                  <a:gd name="connsiteY124" fmla="*/ 61802 h 259912"/>
                  <a:gd name="connsiteX125" fmla="*/ 136117 w 382527"/>
                  <a:gd name="connsiteY125" fmla="*/ 59826 h 259912"/>
                  <a:gd name="connsiteX126" fmla="*/ 137956 w 382527"/>
                  <a:gd name="connsiteY126" fmla="*/ 58947 h 259912"/>
                  <a:gd name="connsiteX127" fmla="*/ 154888 w 382527"/>
                  <a:gd name="connsiteY127" fmla="*/ 58591 h 259912"/>
                  <a:gd name="connsiteX128" fmla="*/ 165618 w 382527"/>
                  <a:gd name="connsiteY128" fmla="*/ 55435 h 259912"/>
                  <a:gd name="connsiteX129" fmla="*/ 174949 w 382527"/>
                  <a:gd name="connsiteY129" fmla="*/ 55160 h 259912"/>
                  <a:gd name="connsiteX130" fmla="*/ 175855 w 382527"/>
                  <a:gd name="connsiteY130" fmla="*/ 54392 h 259912"/>
                  <a:gd name="connsiteX131" fmla="*/ 182880 w 382527"/>
                  <a:gd name="connsiteY131" fmla="*/ 48327 h 259912"/>
                  <a:gd name="connsiteX132" fmla="*/ 189988 w 382527"/>
                  <a:gd name="connsiteY132" fmla="*/ 44101 h 259912"/>
                  <a:gd name="connsiteX133" fmla="*/ 193363 w 382527"/>
                  <a:gd name="connsiteY133" fmla="*/ 37432 h 259912"/>
                  <a:gd name="connsiteX134" fmla="*/ 194708 w 382527"/>
                  <a:gd name="connsiteY134" fmla="*/ 36088 h 259912"/>
                  <a:gd name="connsiteX135" fmla="*/ 200114 w 382527"/>
                  <a:gd name="connsiteY135" fmla="*/ 30763 h 259912"/>
                  <a:gd name="connsiteX136" fmla="*/ 203956 w 382527"/>
                  <a:gd name="connsiteY136" fmla="*/ 29831 h 259912"/>
                  <a:gd name="connsiteX137" fmla="*/ 207853 w 382527"/>
                  <a:gd name="connsiteY137" fmla="*/ 24479 h 259912"/>
                  <a:gd name="connsiteX138" fmla="*/ 213863 w 382527"/>
                  <a:gd name="connsiteY138" fmla="*/ 20143 h 259912"/>
                  <a:gd name="connsiteX139" fmla="*/ 214906 w 382527"/>
                  <a:gd name="connsiteY139" fmla="*/ 10895 h 259912"/>
                  <a:gd name="connsiteX140" fmla="*/ 215866 w 382527"/>
                  <a:gd name="connsiteY140" fmla="*/ 9221 h 259912"/>
                  <a:gd name="connsiteX141" fmla="*/ 218528 w 382527"/>
                  <a:gd name="connsiteY141" fmla="*/ 4638 h 259912"/>
                  <a:gd name="connsiteX142" fmla="*/ 237244 w 382527"/>
                  <a:gd name="connsiteY142" fmla="*/ 0 h 259912"/>
                  <a:gd name="connsiteX143" fmla="*/ 248139 w 382527"/>
                  <a:gd name="connsiteY143" fmla="*/ 1839 h 25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382527" h="259912">
                    <a:moveTo>
                      <a:pt x="248167" y="1839"/>
                    </a:moveTo>
                    <a:lnTo>
                      <a:pt x="252091" y="8205"/>
                    </a:lnTo>
                    <a:lnTo>
                      <a:pt x="253271" y="9248"/>
                    </a:lnTo>
                    <a:lnTo>
                      <a:pt x="259501" y="14709"/>
                    </a:lnTo>
                    <a:lnTo>
                      <a:pt x="261532" y="16493"/>
                    </a:lnTo>
                    <a:lnTo>
                      <a:pt x="266498" y="24534"/>
                    </a:lnTo>
                    <a:lnTo>
                      <a:pt x="271054" y="31916"/>
                    </a:lnTo>
                    <a:lnTo>
                      <a:pt x="272207" y="38530"/>
                    </a:lnTo>
                    <a:lnTo>
                      <a:pt x="270615" y="48355"/>
                    </a:lnTo>
                    <a:lnTo>
                      <a:pt x="270506" y="51620"/>
                    </a:lnTo>
                    <a:lnTo>
                      <a:pt x="266279" y="54749"/>
                    </a:lnTo>
                    <a:lnTo>
                      <a:pt x="265566" y="57301"/>
                    </a:lnTo>
                    <a:lnTo>
                      <a:pt x="265676" y="59853"/>
                    </a:lnTo>
                    <a:lnTo>
                      <a:pt x="268090" y="61006"/>
                    </a:lnTo>
                    <a:lnTo>
                      <a:pt x="267157" y="65396"/>
                    </a:lnTo>
                    <a:lnTo>
                      <a:pt x="268392" y="67373"/>
                    </a:lnTo>
                    <a:lnTo>
                      <a:pt x="286148" y="68690"/>
                    </a:lnTo>
                    <a:lnTo>
                      <a:pt x="287794" y="70172"/>
                    </a:lnTo>
                    <a:lnTo>
                      <a:pt x="286340" y="75496"/>
                    </a:lnTo>
                    <a:lnTo>
                      <a:pt x="286807" y="76813"/>
                    </a:lnTo>
                    <a:lnTo>
                      <a:pt x="287849" y="79832"/>
                    </a:lnTo>
                    <a:lnTo>
                      <a:pt x="304837" y="83975"/>
                    </a:lnTo>
                    <a:lnTo>
                      <a:pt x="310545" y="90452"/>
                    </a:lnTo>
                    <a:lnTo>
                      <a:pt x="316911" y="93114"/>
                    </a:lnTo>
                    <a:lnTo>
                      <a:pt x="318860" y="97011"/>
                    </a:lnTo>
                    <a:lnTo>
                      <a:pt x="316198" y="101868"/>
                    </a:lnTo>
                    <a:lnTo>
                      <a:pt x="317159" y="104476"/>
                    </a:lnTo>
                    <a:lnTo>
                      <a:pt x="322537" y="109031"/>
                    </a:lnTo>
                    <a:lnTo>
                      <a:pt x="323772" y="109717"/>
                    </a:lnTo>
                    <a:lnTo>
                      <a:pt x="339524" y="118307"/>
                    </a:lnTo>
                    <a:lnTo>
                      <a:pt x="343311" y="124015"/>
                    </a:lnTo>
                    <a:lnTo>
                      <a:pt x="350584" y="128735"/>
                    </a:lnTo>
                    <a:lnTo>
                      <a:pt x="349486" y="135513"/>
                    </a:lnTo>
                    <a:lnTo>
                      <a:pt x="354563" y="141633"/>
                    </a:lnTo>
                    <a:lnTo>
                      <a:pt x="355524" y="145420"/>
                    </a:lnTo>
                    <a:lnTo>
                      <a:pt x="358351" y="147863"/>
                    </a:lnTo>
                    <a:lnTo>
                      <a:pt x="364717" y="149372"/>
                    </a:lnTo>
                    <a:lnTo>
                      <a:pt x="374652" y="156590"/>
                    </a:lnTo>
                    <a:lnTo>
                      <a:pt x="377204" y="161090"/>
                    </a:lnTo>
                    <a:lnTo>
                      <a:pt x="377341" y="168719"/>
                    </a:lnTo>
                    <a:lnTo>
                      <a:pt x="382527" y="177501"/>
                    </a:lnTo>
                    <a:lnTo>
                      <a:pt x="380771" y="175251"/>
                    </a:lnTo>
                    <a:lnTo>
                      <a:pt x="372264" y="172232"/>
                    </a:lnTo>
                    <a:lnTo>
                      <a:pt x="365184" y="176266"/>
                    </a:lnTo>
                    <a:lnTo>
                      <a:pt x="361314" y="175196"/>
                    </a:lnTo>
                    <a:lnTo>
                      <a:pt x="354591" y="176266"/>
                    </a:lnTo>
                    <a:lnTo>
                      <a:pt x="345260" y="170805"/>
                    </a:lnTo>
                    <a:lnTo>
                      <a:pt x="335738" y="172013"/>
                    </a:lnTo>
                    <a:lnTo>
                      <a:pt x="326462" y="167128"/>
                    </a:lnTo>
                    <a:lnTo>
                      <a:pt x="323800" y="168335"/>
                    </a:lnTo>
                    <a:lnTo>
                      <a:pt x="321220" y="169515"/>
                    </a:lnTo>
                    <a:lnTo>
                      <a:pt x="319930" y="176211"/>
                    </a:lnTo>
                    <a:lnTo>
                      <a:pt x="317104" y="177721"/>
                    </a:lnTo>
                    <a:lnTo>
                      <a:pt x="303025" y="180794"/>
                    </a:lnTo>
                    <a:lnTo>
                      <a:pt x="297592" y="176294"/>
                    </a:lnTo>
                    <a:lnTo>
                      <a:pt x="292707" y="175168"/>
                    </a:lnTo>
                    <a:lnTo>
                      <a:pt x="286559" y="180438"/>
                    </a:lnTo>
                    <a:lnTo>
                      <a:pt x="269600" y="185295"/>
                    </a:lnTo>
                    <a:lnTo>
                      <a:pt x="263700" y="189521"/>
                    </a:lnTo>
                    <a:lnTo>
                      <a:pt x="259446" y="187710"/>
                    </a:lnTo>
                    <a:lnTo>
                      <a:pt x="249649" y="183594"/>
                    </a:lnTo>
                    <a:lnTo>
                      <a:pt x="240181" y="194132"/>
                    </a:lnTo>
                    <a:lnTo>
                      <a:pt x="237602" y="201898"/>
                    </a:lnTo>
                    <a:lnTo>
                      <a:pt x="231948" y="204066"/>
                    </a:lnTo>
                    <a:lnTo>
                      <a:pt x="228133" y="202886"/>
                    </a:lnTo>
                    <a:lnTo>
                      <a:pt x="214110" y="198577"/>
                    </a:lnTo>
                    <a:lnTo>
                      <a:pt x="208292" y="199730"/>
                    </a:lnTo>
                    <a:lnTo>
                      <a:pt x="198852" y="198276"/>
                    </a:lnTo>
                    <a:lnTo>
                      <a:pt x="194708" y="196574"/>
                    </a:lnTo>
                    <a:lnTo>
                      <a:pt x="190344" y="194735"/>
                    </a:lnTo>
                    <a:lnTo>
                      <a:pt x="180739" y="194955"/>
                    </a:lnTo>
                    <a:lnTo>
                      <a:pt x="175855" y="188341"/>
                    </a:lnTo>
                    <a:lnTo>
                      <a:pt x="173687" y="185405"/>
                    </a:lnTo>
                    <a:lnTo>
                      <a:pt x="154861" y="173989"/>
                    </a:lnTo>
                    <a:lnTo>
                      <a:pt x="146545" y="174482"/>
                    </a:lnTo>
                    <a:lnTo>
                      <a:pt x="136940" y="180712"/>
                    </a:lnTo>
                    <a:lnTo>
                      <a:pt x="127253" y="194845"/>
                    </a:lnTo>
                    <a:lnTo>
                      <a:pt x="121380" y="197864"/>
                    </a:lnTo>
                    <a:lnTo>
                      <a:pt x="123767" y="205411"/>
                    </a:lnTo>
                    <a:lnTo>
                      <a:pt x="122231" y="214631"/>
                    </a:lnTo>
                    <a:lnTo>
                      <a:pt x="123136" y="223084"/>
                    </a:lnTo>
                    <a:lnTo>
                      <a:pt x="119404" y="218419"/>
                    </a:lnTo>
                    <a:lnTo>
                      <a:pt x="113586" y="219571"/>
                    </a:lnTo>
                    <a:lnTo>
                      <a:pt x="110540" y="222288"/>
                    </a:lnTo>
                    <a:lnTo>
                      <a:pt x="107083" y="220120"/>
                    </a:lnTo>
                    <a:lnTo>
                      <a:pt x="100935" y="220642"/>
                    </a:lnTo>
                    <a:lnTo>
                      <a:pt x="98465" y="218309"/>
                    </a:lnTo>
                    <a:lnTo>
                      <a:pt x="89437" y="216662"/>
                    </a:lnTo>
                    <a:lnTo>
                      <a:pt x="76456" y="221300"/>
                    </a:lnTo>
                    <a:lnTo>
                      <a:pt x="65588" y="221355"/>
                    </a:lnTo>
                    <a:lnTo>
                      <a:pt x="63530" y="223523"/>
                    </a:lnTo>
                    <a:lnTo>
                      <a:pt x="61280" y="231838"/>
                    </a:lnTo>
                    <a:lnTo>
                      <a:pt x="60676" y="242459"/>
                    </a:lnTo>
                    <a:lnTo>
                      <a:pt x="51565" y="259912"/>
                    </a:lnTo>
                    <a:lnTo>
                      <a:pt x="48409" y="252585"/>
                    </a:lnTo>
                    <a:lnTo>
                      <a:pt x="47559" y="239111"/>
                    </a:lnTo>
                    <a:lnTo>
                      <a:pt x="39271" y="233073"/>
                    </a:lnTo>
                    <a:lnTo>
                      <a:pt x="23985" y="216031"/>
                    </a:lnTo>
                    <a:lnTo>
                      <a:pt x="19567" y="208457"/>
                    </a:lnTo>
                    <a:lnTo>
                      <a:pt x="20884" y="205411"/>
                    </a:lnTo>
                    <a:lnTo>
                      <a:pt x="17673" y="196327"/>
                    </a:lnTo>
                    <a:lnTo>
                      <a:pt x="8809" y="188972"/>
                    </a:lnTo>
                    <a:lnTo>
                      <a:pt x="7217" y="174455"/>
                    </a:lnTo>
                    <a:lnTo>
                      <a:pt x="3183" y="169817"/>
                    </a:lnTo>
                    <a:lnTo>
                      <a:pt x="5351" y="163807"/>
                    </a:lnTo>
                    <a:lnTo>
                      <a:pt x="5351" y="152885"/>
                    </a:lnTo>
                    <a:lnTo>
                      <a:pt x="0" y="147725"/>
                    </a:lnTo>
                    <a:lnTo>
                      <a:pt x="3320" y="143335"/>
                    </a:lnTo>
                    <a:lnTo>
                      <a:pt x="9879" y="139630"/>
                    </a:lnTo>
                    <a:lnTo>
                      <a:pt x="14655" y="128515"/>
                    </a:lnTo>
                    <a:lnTo>
                      <a:pt x="19045" y="124152"/>
                    </a:lnTo>
                    <a:lnTo>
                      <a:pt x="23655" y="111281"/>
                    </a:lnTo>
                    <a:lnTo>
                      <a:pt x="31422" y="103240"/>
                    </a:lnTo>
                    <a:lnTo>
                      <a:pt x="43826" y="104860"/>
                    </a:lnTo>
                    <a:lnTo>
                      <a:pt x="56560" y="99234"/>
                    </a:lnTo>
                    <a:lnTo>
                      <a:pt x="62323" y="94047"/>
                    </a:lnTo>
                    <a:lnTo>
                      <a:pt x="70967" y="102609"/>
                    </a:lnTo>
                    <a:lnTo>
                      <a:pt x="95419" y="90095"/>
                    </a:lnTo>
                    <a:lnTo>
                      <a:pt x="121627" y="87735"/>
                    </a:lnTo>
                    <a:lnTo>
                      <a:pt x="130793" y="78734"/>
                    </a:lnTo>
                    <a:lnTo>
                      <a:pt x="132083" y="76785"/>
                    </a:lnTo>
                    <a:lnTo>
                      <a:pt x="132961" y="75468"/>
                    </a:lnTo>
                    <a:lnTo>
                      <a:pt x="136968" y="69486"/>
                    </a:lnTo>
                    <a:lnTo>
                      <a:pt x="131150" y="64244"/>
                    </a:lnTo>
                    <a:lnTo>
                      <a:pt x="132083" y="61802"/>
                    </a:lnTo>
                    <a:lnTo>
                      <a:pt x="136117" y="59826"/>
                    </a:lnTo>
                    <a:lnTo>
                      <a:pt x="137956" y="58947"/>
                    </a:lnTo>
                    <a:lnTo>
                      <a:pt x="154888" y="58591"/>
                    </a:lnTo>
                    <a:lnTo>
                      <a:pt x="165618" y="55435"/>
                    </a:lnTo>
                    <a:lnTo>
                      <a:pt x="174949" y="55160"/>
                    </a:lnTo>
                    <a:lnTo>
                      <a:pt x="175855" y="54392"/>
                    </a:lnTo>
                    <a:lnTo>
                      <a:pt x="182880" y="48327"/>
                    </a:lnTo>
                    <a:lnTo>
                      <a:pt x="189988" y="44101"/>
                    </a:lnTo>
                    <a:lnTo>
                      <a:pt x="193363" y="37432"/>
                    </a:lnTo>
                    <a:lnTo>
                      <a:pt x="194708" y="36088"/>
                    </a:lnTo>
                    <a:lnTo>
                      <a:pt x="200114" y="30763"/>
                    </a:lnTo>
                    <a:lnTo>
                      <a:pt x="203956" y="29831"/>
                    </a:lnTo>
                    <a:lnTo>
                      <a:pt x="207853" y="24479"/>
                    </a:lnTo>
                    <a:lnTo>
                      <a:pt x="213863" y="20143"/>
                    </a:lnTo>
                    <a:lnTo>
                      <a:pt x="214906" y="10895"/>
                    </a:lnTo>
                    <a:lnTo>
                      <a:pt x="215866" y="9221"/>
                    </a:lnTo>
                    <a:lnTo>
                      <a:pt x="218528" y="4638"/>
                    </a:lnTo>
                    <a:lnTo>
                      <a:pt x="237244" y="0"/>
                    </a:lnTo>
                    <a:lnTo>
                      <a:pt x="248139"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4" name="Freeform: Shape 3853">
                <a:extLst>
                  <a:ext uri="{FF2B5EF4-FFF2-40B4-BE49-F238E27FC236}">
                    <a16:creationId xmlns:a16="http://schemas.microsoft.com/office/drawing/2014/main" id="{275B3EB6-30B3-090B-9D24-40C02C8B4694}"/>
                  </a:ext>
                </a:extLst>
              </p:cNvPr>
              <p:cNvSpPr/>
              <p:nvPr/>
            </p:nvSpPr>
            <p:spPr>
              <a:xfrm>
                <a:off x="1399757" y="3833133"/>
                <a:ext cx="22784" cy="26677"/>
              </a:xfrm>
              <a:custGeom>
                <a:avLst/>
                <a:gdLst>
                  <a:gd name="connsiteX0" fmla="*/ 218309 w 218446"/>
                  <a:gd name="connsiteY0" fmla="*/ 6394 h 255768"/>
                  <a:gd name="connsiteX1" fmla="*/ 217897 w 218446"/>
                  <a:gd name="connsiteY1" fmla="*/ 15670 h 255768"/>
                  <a:gd name="connsiteX2" fmla="*/ 202584 w 218446"/>
                  <a:gd name="connsiteY2" fmla="*/ 43003 h 255768"/>
                  <a:gd name="connsiteX3" fmla="*/ 201925 w 218446"/>
                  <a:gd name="connsiteY3" fmla="*/ 63091 h 255768"/>
                  <a:gd name="connsiteX4" fmla="*/ 195477 w 218446"/>
                  <a:gd name="connsiteY4" fmla="*/ 79749 h 255768"/>
                  <a:gd name="connsiteX5" fmla="*/ 196245 w 218446"/>
                  <a:gd name="connsiteY5" fmla="*/ 90479 h 255768"/>
                  <a:gd name="connsiteX6" fmla="*/ 197343 w 218446"/>
                  <a:gd name="connsiteY6" fmla="*/ 93498 h 255768"/>
                  <a:gd name="connsiteX7" fmla="*/ 198577 w 218446"/>
                  <a:gd name="connsiteY7" fmla="*/ 96846 h 255768"/>
                  <a:gd name="connsiteX8" fmla="*/ 193967 w 218446"/>
                  <a:gd name="connsiteY8" fmla="*/ 103076 h 255768"/>
                  <a:gd name="connsiteX9" fmla="*/ 190454 w 218446"/>
                  <a:gd name="connsiteY9" fmla="*/ 114190 h 255768"/>
                  <a:gd name="connsiteX10" fmla="*/ 190619 w 218446"/>
                  <a:gd name="connsiteY10" fmla="*/ 117593 h 255768"/>
                  <a:gd name="connsiteX11" fmla="*/ 190921 w 218446"/>
                  <a:gd name="connsiteY11" fmla="*/ 123850 h 255768"/>
                  <a:gd name="connsiteX12" fmla="*/ 191003 w 218446"/>
                  <a:gd name="connsiteY12" fmla="*/ 125662 h 255768"/>
                  <a:gd name="connsiteX13" fmla="*/ 180877 w 218446"/>
                  <a:gd name="connsiteY13" fmla="*/ 137050 h 255768"/>
                  <a:gd name="connsiteX14" fmla="*/ 171079 w 218446"/>
                  <a:gd name="connsiteY14" fmla="*/ 141524 h 255768"/>
                  <a:gd name="connsiteX15" fmla="*/ 164438 w 218446"/>
                  <a:gd name="connsiteY15" fmla="*/ 147726 h 255768"/>
                  <a:gd name="connsiteX16" fmla="*/ 163011 w 218446"/>
                  <a:gd name="connsiteY16" fmla="*/ 150607 h 255768"/>
                  <a:gd name="connsiteX17" fmla="*/ 156864 w 218446"/>
                  <a:gd name="connsiteY17" fmla="*/ 162710 h 255768"/>
                  <a:gd name="connsiteX18" fmla="*/ 147534 w 218446"/>
                  <a:gd name="connsiteY18" fmla="*/ 172534 h 255768"/>
                  <a:gd name="connsiteX19" fmla="*/ 146848 w 218446"/>
                  <a:gd name="connsiteY19" fmla="*/ 206591 h 255768"/>
                  <a:gd name="connsiteX20" fmla="*/ 137489 w 218446"/>
                  <a:gd name="connsiteY20" fmla="*/ 224236 h 255768"/>
                  <a:gd name="connsiteX21" fmla="*/ 129449 w 218446"/>
                  <a:gd name="connsiteY21" fmla="*/ 227283 h 255768"/>
                  <a:gd name="connsiteX22" fmla="*/ 124564 w 218446"/>
                  <a:gd name="connsiteY22" fmla="*/ 233485 h 255768"/>
                  <a:gd name="connsiteX23" fmla="*/ 117593 w 218446"/>
                  <a:gd name="connsiteY23" fmla="*/ 236476 h 255768"/>
                  <a:gd name="connsiteX24" fmla="*/ 107357 w 218446"/>
                  <a:gd name="connsiteY24" fmla="*/ 249457 h 255768"/>
                  <a:gd name="connsiteX25" fmla="*/ 102802 w 218446"/>
                  <a:gd name="connsiteY25" fmla="*/ 252530 h 255768"/>
                  <a:gd name="connsiteX26" fmla="*/ 94514 w 218446"/>
                  <a:gd name="connsiteY26" fmla="*/ 250829 h 255768"/>
                  <a:gd name="connsiteX27" fmla="*/ 93526 w 218446"/>
                  <a:gd name="connsiteY27" fmla="*/ 243310 h 255768"/>
                  <a:gd name="connsiteX28" fmla="*/ 95420 w 218446"/>
                  <a:gd name="connsiteY28" fmla="*/ 238864 h 255768"/>
                  <a:gd name="connsiteX29" fmla="*/ 93087 w 218446"/>
                  <a:gd name="connsiteY29" fmla="*/ 235708 h 255768"/>
                  <a:gd name="connsiteX30" fmla="*/ 81368 w 218446"/>
                  <a:gd name="connsiteY30" fmla="*/ 240648 h 255768"/>
                  <a:gd name="connsiteX31" fmla="*/ 75605 w 218446"/>
                  <a:gd name="connsiteY31" fmla="*/ 240044 h 255768"/>
                  <a:gd name="connsiteX32" fmla="*/ 73355 w 218446"/>
                  <a:gd name="connsiteY32" fmla="*/ 246822 h 255768"/>
                  <a:gd name="connsiteX33" fmla="*/ 66604 w 218446"/>
                  <a:gd name="connsiteY33" fmla="*/ 250911 h 255768"/>
                  <a:gd name="connsiteX34" fmla="*/ 58042 w 218446"/>
                  <a:gd name="connsiteY34" fmla="*/ 245230 h 255768"/>
                  <a:gd name="connsiteX35" fmla="*/ 55572 w 218446"/>
                  <a:gd name="connsiteY35" fmla="*/ 246603 h 255768"/>
                  <a:gd name="connsiteX36" fmla="*/ 46406 w 218446"/>
                  <a:gd name="connsiteY36" fmla="*/ 238946 h 255768"/>
                  <a:gd name="connsiteX37" fmla="*/ 36033 w 218446"/>
                  <a:gd name="connsiteY37" fmla="*/ 244572 h 255768"/>
                  <a:gd name="connsiteX38" fmla="*/ 33096 w 218446"/>
                  <a:gd name="connsiteY38" fmla="*/ 248743 h 255768"/>
                  <a:gd name="connsiteX39" fmla="*/ 23162 w 218446"/>
                  <a:gd name="connsiteY39" fmla="*/ 255769 h 255768"/>
                  <a:gd name="connsiteX40" fmla="*/ 18991 w 218446"/>
                  <a:gd name="connsiteY40" fmla="*/ 250198 h 255768"/>
                  <a:gd name="connsiteX41" fmla="*/ 17069 w 218446"/>
                  <a:gd name="connsiteY41" fmla="*/ 242733 h 255768"/>
                  <a:gd name="connsiteX42" fmla="*/ 0 w 218446"/>
                  <a:gd name="connsiteY42" fmla="*/ 226048 h 255768"/>
                  <a:gd name="connsiteX43" fmla="*/ 5242 w 218446"/>
                  <a:gd name="connsiteY43" fmla="*/ 215400 h 255768"/>
                  <a:gd name="connsiteX44" fmla="*/ 10730 w 218446"/>
                  <a:gd name="connsiteY44" fmla="*/ 213589 h 255768"/>
                  <a:gd name="connsiteX45" fmla="*/ 19265 w 218446"/>
                  <a:gd name="connsiteY45" fmla="*/ 216635 h 255768"/>
                  <a:gd name="connsiteX46" fmla="*/ 23135 w 218446"/>
                  <a:gd name="connsiteY46" fmla="*/ 209225 h 255768"/>
                  <a:gd name="connsiteX47" fmla="*/ 23518 w 218446"/>
                  <a:gd name="connsiteY47" fmla="*/ 197068 h 255768"/>
                  <a:gd name="connsiteX48" fmla="*/ 13804 w 218446"/>
                  <a:gd name="connsiteY48" fmla="*/ 189549 h 255768"/>
                  <a:gd name="connsiteX49" fmla="*/ 13804 w 218446"/>
                  <a:gd name="connsiteY49" fmla="*/ 179614 h 255768"/>
                  <a:gd name="connsiteX50" fmla="*/ 22558 w 218446"/>
                  <a:gd name="connsiteY50" fmla="*/ 178407 h 255768"/>
                  <a:gd name="connsiteX51" fmla="*/ 35785 w 218446"/>
                  <a:gd name="connsiteY51" fmla="*/ 179340 h 255768"/>
                  <a:gd name="connsiteX52" fmla="*/ 38749 w 218446"/>
                  <a:gd name="connsiteY52" fmla="*/ 173357 h 255768"/>
                  <a:gd name="connsiteX53" fmla="*/ 37679 w 218446"/>
                  <a:gd name="connsiteY53" fmla="*/ 165646 h 255768"/>
                  <a:gd name="connsiteX54" fmla="*/ 41631 w 218446"/>
                  <a:gd name="connsiteY54" fmla="*/ 163807 h 255768"/>
                  <a:gd name="connsiteX55" fmla="*/ 47504 w 218446"/>
                  <a:gd name="connsiteY55" fmla="*/ 165536 h 255768"/>
                  <a:gd name="connsiteX56" fmla="*/ 56313 w 218446"/>
                  <a:gd name="connsiteY56" fmla="*/ 177474 h 255768"/>
                  <a:gd name="connsiteX57" fmla="*/ 67181 w 218446"/>
                  <a:gd name="connsiteY57" fmla="*/ 179395 h 255768"/>
                  <a:gd name="connsiteX58" fmla="*/ 75633 w 218446"/>
                  <a:gd name="connsiteY58" fmla="*/ 171958 h 255768"/>
                  <a:gd name="connsiteX59" fmla="*/ 79832 w 218446"/>
                  <a:gd name="connsiteY59" fmla="*/ 179587 h 255768"/>
                  <a:gd name="connsiteX60" fmla="*/ 84991 w 218446"/>
                  <a:gd name="connsiteY60" fmla="*/ 180191 h 255768"/>
                  <a:gd name="connsiteX61" fmla="*/ 93938 w 218446"/>
                  <a:gd name="connsiteY61" fmla="*/ 161886 h 255768"/>
                  <a:gd name="connsiteX62" fmla="*/ 96325 w 218446"/>
                  <a:gd name="connsiteY62" fmla="*/ 150525 h 255768"/>
                  <a:gd name="connsiteX63" fmla="*/ 94953 w 218446"/>
                  <a:gd name="connsiteY63" fmla="*/ 136309 h 255768"/>
                  <a:gd name="connsiteX64" fmla="*/ 95913 w 218446"/>
                  <a:gd name="connsiteY64" fmla="*/ 126704 h 255768"/>
                  <a:gd name="connsiteX65" fmla="*/ 93635 w 218446"/>
                  <a:gd name="connsiteY65" fmla="*/ 123301 h 255768"/>
                  <a:gd name="connsiteX66" fmla="*/ 81286 w 218446"/>
                  <a:gd name="connsiteY66" fmla="*/ 114712 h 255768"/>
                  <a:gd name="connsiteX67" fmla="*/ 80051 w 218446"/>
                  <a:gd name="connsiteY67" fmla="*/ 105189 h 255768"/>
                  <a:gd name="connsiteX68" fmla="*/ 84936 w 218446"/>
                  <a:gd name="connsiteY68" fmla="*/ 94486 h 255768"/>
                  <a:gd name="connsiteX69" fmla="*/ 86336 w 218446"/>
                  <a:gd name="connsiteY69" fmla="*/ 93471 h 255768"/>
                  <a:gd name="connsiteX70" fmla="*/ 92977 w 218446"/>
                  <a:gd name="connsiteY70" fmla="*/ 88531 h 255768"/>
                  <a:gd name="connsiteX71" fmla="*/ 95227 w 218446"/>
                  <a:gd name="connsiteY71" fmla="*/ 79996 h 255768"/>
                  <a:gd name="connsiteX72" fmla="*/ 90287 w 218446"/>
                  <a:gd name="connsiteY72" fmla="*/ 70748 h 255768"/>
                  <a:gd name="connsiteX73" fmla="*/ 86006 w 218446"/>
                  <a:gd name="connsiteY73" fmla="*/ 67866 h 255768"/>
                  <a:gd name="connsiteX74" fmla="*/ 80134 w 218446"/>
                  <a:gd name="connsiteY74" fmla="*/ 67180 h 255768"/>
                  <a:gd name="connsiteX75" fmla="*/ 60100 w 218446"/>
                  <a:gd name="connsiteY75" fmla="*/ 69952 h 255768"/>
                  <a:gd name="connsiteX76" fmla="*/ 57767 w 218446"/>
                  <a:gd name="connsiteY76" fmla="*/ 58179 h 255768"/>
                  <a:gd name="connsiteX77" fmla="*/ 61747 w 218446"/>
                  <a:gd name="connsiteY77" fmla="*/ 44705 h 255768"/>
                  <a:gd name="connsiteX78" fmla="*/ 92071 w 218446"/>
                  <a:gd name="connsiteY78" fmla="*/ 44238 h 255768"/>
                  <a:gd name="connsiteX79" fmla="*/ 99316 w 218446"/>
                  <a:gd name="connsiteY79" fmla="*/ 43909 h 255768"/>
                  <a:gd name="connsiteX80" fmla="*/ 109662 w 218446"/>
                  <a:gd name="connsiteY80" fmla="*/ 49233 h 255768"/>
                  <a:gd name="connsiteX81" fmla="*/ 113970 w 218446"/>
                  <a:gd name="connsiteY81" fmla="*/ 50138 h 255768"/>
                  <a:gd name="connsiteX82" fmla="*/ 118033 w 218446"/>
                  <a:gd name="connsiteY82" fmla="*/ 48876 h 255768"/>
                  <a:gd name="connsiteX83" fmla="*/ 122203 w 218446"/>
                  <a:gd name="connsiteY83" fmla="*/ 51840 h 255768"/>
                  <a:gd name="connsiteX84" fmla="*/ 126649 w 218446"/>
                  <a:gd name="connsiteY84" fmla="*/ 50715 h 255768"/>
                  <a:gd name="connsiteX85" fmla="*/ 133099 w 218446"/>
                  <a:gd name="connsiteY85" fmla="*/ 52252 h 255768"/>
                  <a:gd name="connsiteX86" fmla="*/ 141249 w 218446"/>
                  <a:gd name="connsiteY86" fmla="*/ 56807 h 255768"/>
                  <a:gd name="connsiteX87" fmla="*/ 142868 w 218446"/>
                  <a:gd name="connsiteY87" fmla="*/ 59304 h 255768"/>
                  <a:gd name="connsiteX88" fmla="*/ 145338 w 218446"/>
                  <a:gd name="connsiteY88" fmla="*/ 57082 h 255768"/>
                  <a:gd name="connsiteX89" fmla="*/ 143225 w 218446"/>
                  <a:gd name="connsiteY89" fmla="*/ 50166 h 255768"/>
                  <a:gd name="connsiteX90" fmla="*/ 143829 w 218446"/>
                  <a:gd name="connsiteY90" fmla="*/ 45253 h 255768"/>
                  <a:gd name="connsiteX91" fmla="*/ 146875 w 218446"/>
                  <a:gd name="connsiteY91" fmla="*/ 43250 h 255768"/>
                  <a:gd name="connsiteX92" fmla="*/ 155986 w 218446"/>
                  <a:gd name="connsiteY92" fmla="*/ 25796 h 255768"/>
                  <a:gd name="connsiteX93" fmla="*/ 156589 w 218446"/>
                  <a:gd name="connsiteY93" fmla="*/ 15176 h 255768"/>
                  <a:gd name="connsiteX94" fmla="*/ 158840 w 218446"/>
                  <a:gd name="connsiteY94" fmla="*/ 6861 h 255768"/>
                  <a:gd name="connsiteX95" fmla="*/ 160898 w 218446"/>
                  <a:gd name="connsiteY95" fmla="*/ 4693 h 255768"/>
                  <a:gd name="connsiteX96" fmla="*/ 171766 w 218446"/>
                  <a:gd name="connsiteY96" fmla="*/ 4638 h 255768"/>
                  <a:gd name="connsiteX97" fmla="*/ 184746 w 218446"/>
                  <a:gd name="connsiteY97" fmla="*/ 0 h 255768"/>
                  <a:gd name="connsiteX98" fmla="*/ 193775 w 218446"/>
                  <a:gd name="connsiteY98" fmla="*/ 1647 h 255768"/>
                  <a:gd name="connsiteX99" fmla="*/ 196245 w 218446"/>
                  <a:gd name="connsiteY99" fmla="*/ 3979 h 255768"/>
                  <a:gd name="connsiteX100" fmla="*/ 202392 w 218446"/>
                  <a:gd name="connsiteY100" fmla="*/ 3458 h 255768"/>
                  <a:gd name="connsiteX101" fmla="*/ 205850 w 218446"/>
                  <a:gd name="connsiteY101" fmla="*/ 5626 h 255768"/>
                  <a:gd name="connsiteX102" fmla="*/ 208896 w 218446"/>
                  <a:gd name="connsiteY102" fmla="*/ 2909 h 255768"/>
                  <a:gd name="connsiteX103" fmla="*/ 214714 w 218446"/>
                  <a:gd name="connsiteY103" fmla="*/ 1756 h 255768"/>
                  <a:gd name="connsiteX104" fmla="*/ 218446 w 218446"/>
                  <a:gd name="connsiteY104" fmla="*/ 6422 h 25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218446" h="255768">
                    <a:moveTo>
                      <a:pt x="218309" y="6394"/>
                    </a:moveTo>
                    <a:lnTo>
                      <a:pt x="217897" y="15670"/>
                    </a:lnTo>
                    <a:lnTo>
                      <a:pt x="202584" y="43003"/>
                    </a:lnTo>
                    <a:lnTo>
                      <a:pt x="201925" y="63091"/>
                    </a:lnTo>
                    <a:lnTo>
                      <a:pt x="195477" y="79749"/>
                    </a:lnTo>
                    <a:lnTo>
                      <a:pt x="196245" y="90479"/>
                    </a:lnTo>
                    <a:lnTo>
                      <a:pt x="197343" y="93498"/>
                    </a:lnTo>
                    <a:lnTo>
                      <a:pt x="198577" y="96846"/>
                    </a:lnTo>
                    <a:lnTo>
                      <a:pt x="193967" y="103076"/>
                    </a:lnTo>
                    <a:lnTo>
                      <a:pt x="190454" y="114190"/>
                    </a:lnTo>
                    <a:lnTo>
                      <a:pt x="190619" y="117593"/>
                    </a:lnTo>
                    <a:lnTo>
                      <a:pt x="190921" y="123850"/>
                    </a:lnTo>
                    <a:lnTo>
                      <a:pt x="191003" y="125662"/>
                    </a:lnTo>
                    <a:lnTo>
                      <a:pt x="180877" y="137050"/>
                    </a:lnTo>
                    <a:lnTo>
                      <a:pt x="171079" y="141524"/>
                    </a:lnTo>
                    <a:lnTo>
                      <a:pt x="164438" y="147726"/>
                    </a:lnTo>
                    <a:lnTo>
                      <a:pt x="163011" y="150607"/>
                    </a:lnTo>
                    <a:lnTo>
                      <a:pt x="156864" y="162710"/>
                    </a:lnTo>
                    <a:lnTo>
                      <a:pt x="147534" y="172534"/>
                    </a:lnTo>
                    <a:lnTo>
                      <a:pt x="146848" y="206591"/>
                    </a:lnTo>
                    <a:lnTo>
                      <a:pt x="137489" y="224236"/>
                    </a:lnTo>
                    <a:lnTo>
                      <a:pt x="129449" y="227283"/>
                    </a:lnTo>
                    <a:lnTo>
                      <a:pt x="124564" y="233485"/>
                    </a:lnTo>
                    <a:lnTo>
                      <a:pt x="117593" y="236476"/>
                    </a:lnTo>
                    <a:lnTo>
                      <a:pt x="107357" y="249457"/>
                    </a:lnTo>
                    <a:lnTo>
                      <a:pt x="102802" y="252530"/>
                    </a:lnTo>
                    <a:lnTo>
                      <a:pt x="94514" y="250829"/>
                    </a:lnTo>
                    <a:lnTo>
                      <a:pt x="93526" y="243310"/>
                    </a:lnTo>
                    <a:lnTo>
                      <a:pt x="95420" y="238864"/>
                    </a:lnTo>
                    <a:lnTo>
                      <a:pt x="93087" y="235708"/>
                    </a:lnTo>
                    <a:lnTo>
                      <a:pt x="81368" y="240648"/>
                    </a:lnTo>
                    <a:lnTo>
                      <a:pt x="75605" y="240044"/>
                    </a:lnTo>
                    <a:lnTo>
                      <a:pt x="73355" y="246822"/>
                    </a:lnTo>
                    <a:lnTo>
                      <a:pt x="66604" y="250911"/>
                    </a:lnTo>
                    <a:lnTo>
                      <a:pt x="58042" y="245230"/>
                    </a:lnTo>
                    <a:lnTo>
                      <a:pt x="55572" y="246603"/>
                    </a:lnTo>
                    <a:lnTo>
                      <a:pt x="46406" y="238946"/>
                    </a:lnTo>
                    <a:lnTo>
                      <a:pt x="36033" y="244572"/>
                    </a:lnTo>
                    <a:lnTo>
                      <a:pt x="33096" y="248743"/>
                    </a:lnTo>
                    <a:lnTo>
                      <a:pt x="23162" y="255769"/>
                    </a:lnTo>
                    <a:lnTo>
                      <a:pt x="18991" y="250198"/>
                    </a:lnTo>
                    <a:lnTo>
                      <a:pt x="17069" y="242733"/>
                    </a:lnTo>
                    <a:lnTo>
                      <a:pt x="0" y="226048"/>
                    </a:lnTo>
                    <a:lnTo>
                      <a:pt x="5242" y="215400"/>
                    </a:lnTo>
                    <a:lnTo>
                      <a:pt x="10730" y="213589"/>
                    </a:lnTo>
                    <a:lnTo>
                      <a:pt x="19265" y="216635"/>
                    </a:lnTo>
                    <a:lnTo>
                      <a:pt x="23135" y="209225"/>
                    </a:lnTo>
                    <a:lnTo>
                      <a:pt x="23518" y="197068"/>
                    </a:lnTo>
                    <a:lnTo>
                      <a:pt x="13804" y="189549"/>
                    </a:lnTo>
                    <a:lnTo>
                      <a:pt x="13804" y="179614"/>
                    </a:lnTo>
                    <a:lnTo>
                      <a:pt x="22558" y="178407"/>
                    </a:lnTo>
                    <a:lnTo>
                      <a:pt x="35785" y="179340"/>
                    </a:lnTo>
                    <a:lnTo>
                      <a:pt x="38749" y="173357"/>
                    </a:lnTo>
                    <a:lnTo>
                      <a:pt x="37679" y="165646"/>
                    </a:lnTo>
                    <a:lnTo>
                      <a:pt x="41631" y="163807"/>
                    </a:lnTo>
                    <a:lnTo>
                      <a:pt x="47504" y="165536"/>
                    </a:lnTo>
                    <a:lnTo>
                      <a:pt x="56313" y="177474"/>
                    </a:lnTo>
                    <a:lnTo>
                      <a:pt x="67181" y="179395"/>
                    </a:lnTo>
                    <a:lnTo>
                      <a:pt x="75633" y="171958"/>
                    </a:lnTo>
                    <a:lnTo>
                      <a:pt x="79832" y="179587"/>
                    </a:lnTo>
                    <a:lnTo>
                      <a:pt x="84991" y="180191"/>
                    </a:lnTo>
                    <a:lnTo>
                      <a:pt x="93938" y="161886"/>
                    </a:lnTo>
                    <a:lnTo>
                      <a:pt x="96325" y="150525"/>
                    </a:lnTo>
                    <a:lnTo>
                      <a:pt x="94953" y="136309"/>
                    </a:lnTo>
                    <a:lnTo>
                      <a:pt x="95913" y="126704"/>
                    </a:lnTo>
                    <a:lnTo>
                      <a:pt x="93635" y="123301"/>
                    </a:lnTo>
                    <a:lnTo>
                      <a:pt x="81286" y="114712"/>
                    </a:lnTo>
                    <a:lnTo>
                      <a:pt x="80051" y="105189"/>
                    </a:lnTo>
                    <a:lnTo>
                      <a:pt x="84936" y="94486"/>
                    </a:lnTo>
                    <a:lnTo>
                      <a:pt x="86336" y="93471"/>
                    </a:lnTo>
                    <a:lnTo>
                      <a:pt x="92977" y="88531"/>
                    </a:lnTo>
                    <a:lnTo>
                      <a:pt x="95227" y="79996"/>
                    </a:lnTo>
                    <a:lnTo>
                      <a:pt x="90287" y="70748"/>
                    </a:lnTo>
                    <a:lnTo>
                      <a:pt x="86006" y="67866"/>
                    </a:lnTo>
                    <a:lnTo>
                      <a:pt x="80134" y="67180"/>
                    </a:lnTo>
                    <a:lnTo>
                      <a:pt x="60100" y="69952"/>
                    </a:lnTo>
                    <a:lnTo>
                      <a:pt x="57767" y="58179"/>
                    </a:lnTo>
                    <a:lnTo>
                      <a:pt x="61747" y="44705"/>
                    </a:lnTo>
                    <a:lnTo>
                      <a:pt x="92071" y="44238"/>
                    </a:lnTo>
                    <a:lnTo>
                      <a:pt x="99316" y="43909"/>
                    </a:lnTo>
                    <a:lnTo>
                      <a:pt x="109662" y="49233"/>
                    </a:lnTo>
                    <a:lnTo>
                      <a:pt x="113970" y="50138"/>
                    </a:lnTo>
                    <a:lnTo>
                      <a:pt x="118033" y="48876"/>
                    </a:lnTo>
                    <a:lnTo>
                      <a:pt x="122203" y="51840"/>
                    </a:lnTo>
                    <a:lnTo>
                      <a:pt x="126649" y="50715"/>
                    </a:lnTo>
                    <a:lnTo>
                      <a:pt x="133099" y="52252"/>
                    </a:lnTo>
                    <a:lnTo>
                      <a:pt x="141249" y="56807"/>
                    </a:lnTo>
                    <a:lnTo>
                      <a:pt x="142868" y="59304"/>
                    </a:lnTo>
                    <a:lnTo>
                      <a:pt x="145338" y="57082"/>
                    </a:lnTo>
                    <a:lnTo>
                      <a:pt x="143225" y="50166"/>
                    </a:lnTo>
                    <a:lnTo>
                      <a:pt x="143829" y="45253"/>
                    </a:lnTo>
                    <a:lnTo>
                      <a:pt x="146875" y="43250"/>
                    </a:lnTo>
                    <a:lnTo>
                      <a:pt x="155986" y="25796"/>
                    </a:lnTo>
                    <a:lnTo>
                      <a:pt x="156589" y="15176"/>
                    </a:lnTo>
                    <a:lnTo>
                      <a:pt x="158840" y="6861"/>
                    </a:lnTo>
                    <a:lnTo>
                      <a:pt x="160898" y="4693"/>
                    </a:lnTo>
                    <a:lnTo>
                      <a:pt x="171766" y="4638"/>
                    </a:lnTo>
                    <a:lnTo>
                      <a:pt x="184746" y="0"/>
                    </a:lnTo>
                    <a:lnTo>
                      <a:pt x="193775" y="1647"/>
                    </a:lnTo>
                    <a:lnTo>
                      <a:pt x="196245" y="3979"/>
                    </a:lnTo>
                    <a:lnTo>
                      <a:pt x="202392" y="3458"/>
                    </a:lnTo>
                    <a:lnTo>
                      <a:pt x="205850" y="5626"/>
                    </a:lnTo>
                    <a:lnTo>
                      <a:pt x="208896" y="2909"/>
                    </a:lnTo>
                    <a:lnTo>
                      <a:pt x="214714" y="1756"/>
                    </a:lnTo>
                    <a:lnTo>
                      <a:pt x="218446" y="64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5" name="Freeform: Shape 3854">
                <a:extLst>
                  <a:ext uri="{FF2B5EF4-FFF2-40B4-BE49-F238E27FC236}">
                    <a16:creationId xmlns:a16="http://schemas.microsoft.com/office/drawing/2014/main" id="{AB48ACA5-BEDC-15D1-15EB-643F93A6D2DC}"/>
                  </a:ext>
                </a:extLst>
              </p:cNvPr>
              <p:cNvSpPr/>
              <p:nvPr/>
            </p:nvSpPr>
            <p:spPr>
              <a:xfrm>
                <a:off x="1339176" y="3811397"/>
                <a:ext cx="18502" cy="19667"/>
              </a:xfrm>
              <a:custGeom>
                <a:avLst/>
                <a:gdLst>
                  <a:gd name="connsiteX0" fmla="*/ 89053 w 177391"/>
                  <a:gd name="connsiteY0" fmla="*/ 8397 h 188560"/>
                  <a:gd name="connsiteX1" fmla="*/ 92263 w 177391"/>
                  <a:gd name="connsiteY1" fmla="*/ 12102 h 188560"/>
                  <a:gd name="connsiteX2" fmla="*/ 100194 w 177391"/>
                  <a:gd name="connsiteY2" fmla="*/ 12624 h 188560"/>
                  <a:gd name="connsiteX3" fmla="*/ 105820 w 177391"/>
                  <a:gd name="connsiteY3" fmla="*/ 24259 h 188560"/>
                  <a:gd name="connsiteX4" fmla="*/ 109799 w 177391"/>
                  <a:gd name="connsiteY4" fmla="*/ 26098 h 188560"/>
                  <a:gd name="connsiteX5" fmla="*/ 110321 w 177391"/>
                  <a:gd name="connsiteY5" fmla="*/ 28595 h 188560"/>
                  <a:gd name="connsiteX6" fmla="*/ 113532 w 177391"/>
                  <a:gd name="connsiteY6" fmla="*/ 30407 h 188560"/>
                  <a:gd name="connsiteX7" fmla="*/ 118142 w 177391"/>
                  <a:gd name="connsiteY7" fmla="*/ 29501 h 188560"/>
                  <a:gd name="connsiteX8" fmla="*/ 123247 w 177391"/>
                  <a:gd name="connsiteY8" fmla="*/ 33041 h 188560"/>
                  <a:gd name="connsiteX9" fmla="*/ 126787 w 177391"/>
                  <a:gd name="connsiteY9" fmla="*/ 28623 h 188560"/>
                  <a:gd name="connsiteX10" fmla="*/ 143582 w 177391"/>
                  <a:gd name="connsiteY10" fmla="*/ 22970 h 188560"/>
                  <a:gd name="connsiteX11" fmla="*/ 156947 w 177391"/>
                  <a:gd name="connsiteY11" fmla="*/ 24863 h 188560"/>
                  <a:gd name="connsiteX12" fmla="*/ 160541 w 177391"/>
                  <a:gd name="connsiteY12" fmla="*/ 28623 h 188560"/>
                  <a:gd name="connsiteX13" fmla="*/ 168939 w 177391"/>
                  <a:gd name="connsiteY13" fmla="*/ 38283 h 188560"/>
                  <a:gd name="connsiteX14" fmla="*/ 172315 w 177391"/>
                  <a:gd name="connsiteY14" fmla="*/ 36526 h 188560"/>
                  <a:gd name="connsiteX15" fmla="*/ 172397 w 177391"/>
                  <a:gd name="connsiteY15" fmla="*/ 43058 h 188560"/>
                  <a:gd name="connsiteX16" fmla="*/ 170366 w 177391"/>
                  <a:gd name="connsiteY16" fmla="*/ 48437 h 188560"/>
                  <a:gd name="connsiteX17" fmla="*/ 174922 w 177391"/>
                  <a:gd name="connsiteY17" fmla="*/ 57054 h 188560"/>
                  <a:gd name="connsiteX18" fmla="*/ 175333 w 177391"/>
                  <a:gd name="connsiteY18" fmla="*/ 59771 h 188560"/>
                  <a:gd name="connsiteX19" fmla="*/ 177391 w 177391"/>
                  <a:gd name="connsiteY19" fmla="*/ 73876 h 188560"/>
                  <a:gd name="connsiteX20" fmla="*/ 175333 w 177391"/>
                  <a:gd name="connsiteY20" fmla="*/ 76758 h 188560"/>
                  <a:gd name="connsiteX21" fmla="*/ 167841 w 177391"/>
                  <a:gd name="connsiteY21" fmla="*/ 87268 h 188560"/>
                  <a:gd name="connsiteX22" fmla="*/ 163725 w 177391"/>
                  <a:gd name="connsiteY22" fmla="*/ 103981 h 188560"/>
                  <a:gd name="connsiteX23" fmla="*/ 157386 w 177391"/>
                  <a:gd name="connsiteY23" fmla="*/ 114574 h 188560"/>
                  <a:gd name="connsiteX24" fmla="*/ 156151 w 177391"/>
                  <a:gd name="connsiteY24" fmla="*/ 121463 h 188560"/>
                  <a:gd name="connsiteX25" fmla="*/ 162490 w 177391"/>
                  <a:gd name="connsiteY25" fmla="*/ 147149 h 188560"/>
                  <a:gd name="connsiteX26" fmla="*/ 169708 w 177391"/>
                  <a:gd name="connsiteY26" fmla="*/ 153269 h 188560"/>
                  <a:gd name="connsiteX27" fmla="*/ 170586 w 177391"/>
                  <a:gd name="connsiteY27" fmla="*/ 164027 h 188560"/>
                  <a:gd name="connsiteX28" fmla="*/ 159993 w 177391"/>
                  <a:gd name="connsiteY28" fmla="*/ 167045 h 188560"/>
                  <a:gd name="connsiteX29" fmla="*/ 133675 w 177391"/>
                  <a:gd name="connsiteY29" fmla="*/ 162352 h 188560"/>
                  <a:gd name="connsiteX30" fmla="*/ 82247 w 177391"/>
                  <a:gd name="connsiteY30" fmla="*/ 168143 h 188560"/>
                  <a:gd name="connsiteX31" fmla="*/ 48519 w 177391"/>
                  <a:gd name="connsiteY31" fmla="*/ 179724 h 188560"/>
                  <a:gd name="connsiteX32" fmla="*/ 30050 w 177391"/>
                  <a:gd name="connsiteY32" fmla="*/ 188561 h 188560"/>
                  <a:gd name="connsiteX33" fmla="*/ 28486 w 177391"/>
                  <a:gd name="connsiteY33" fmla="*/ 173494 h 188560"/>
                  <a:gd name="connsiteX34" fmla="*/ 29419 w 177391"/>
                  <a:gd name="connsiteY34" fmla="*/ 167759 h 188560"/>
                  <a:gd name="connsiteX35" fmla="*/ 33974 w 177391"/>
                  <a:gd name="connsiteY35" fmla="*/ 160075 h 188560"/>
                  <a:gd name="connsiteX36" fmla="*/ 32630 w 177391"/>
                  <a:gd name="connsiteY36" fmla="*/ 145640 h 188560"/>
                  <a:gd name="connsiteX37" fmla="*/ 23354 w 177391"/>
                  <a:gd name="connsiteY37" fmla="*/ 141441 h 188560"/>
                  <a:gd name="connsiteX38" fmla="*/ 18579 w 177391"/>
                  <a:gd name="connsiteY38" fmla="*/ 131946 h 188560"/>
                  <a:gd name="connsiteX39" fmla="*/ 9907 w 177391"/>
                  <a:gd name="connsiteY39" fmla="*/ 131479 h 188560"/>
                  <a:gd name="connsiteX40" fmla="*/ 0 w 177391"/>
                  <a:gd name="connsiteY40" fmla="*/ 125442 h 188560"/>
                  <a:gd name="connsiteX41" fmla="*/ 6230 w 177391"/>
                  <a:gd name="connsiteY41" fmla="*/ 116934 h 188560"/>
                  <a:gd name="connsiteX42" fmla="*/ 7602 w 177391"/>
                  <a:gd name="connsiteY42" fmla="*/ 109909 h 188560"/>
                  <a:gd name="connsiteX43" fmla="*/ 7492 w 177391"/>
                  <a:gd name="connsiteY43" fmla="*/ 105655 h 188560"/>
                  <a:gd name="connsiteX44" fmla="*/ 2141 w 177391"/>
                  <a:gd name="connsiteY44" fmla="*/ 94102 h 188560"/>
                  <a:gd name="connsiteX45" fmla="*/ 10319 w 177391"/>
                  <a:gd name="connsiteY45" fmla="*/ 93745 h 188560"/>
                  <a:gd name="connsiteX46" fmla="*/ 13338 w 177391"/>
                  <a:gd name="connsiteY46" fmla="*/ 88202 h 188560"/>
                  <a:gd name="connsiteX47" fmla="*/ 14325 w 177391"/>
                  <a:gd name="connsiteY47" fmla="*/ 81286 h 188560"/>
                  <a:gd name="connsiteX48" fmla="*/ 16768 w 177391"/>
                  <a:gd name="connsiteY48" fmla="*/ 79365 h 188560"/>
                  <a:gd name="connsiteX49" fmla="*/ 15368 w 177391"/>
                  <a:gd name="connsiteY49" fmla="*/ 76236 h 188560"/>
                  <a:gd name="connsiteX50" fmla="*/ 9248 w 177391"/>
                  <a:gd name="connsiteY50" fmla="*/ 73739 h 188560"/>
                  <a:gd name="connsiteX51" fmla="*/ 9687 w 177391"/>
                  <a:gd name="connsiteY51" fmla="*/ 66988 h 188560"/>
                  <a:gd name="connsiteX52" fmla="*/ 17179 w 177391"/>
                  <a:gd name="connsiteY52" fmla="*/ 66412 h 188560"/>
                  <a:gd name="connsiteX53" fmla="*/ 25934 w 177391"/>
                  <a:gd name="connsiteY53" fmla="*/ 69211 h 188560"/>
                  <a:gd name="connsiteX54" fmla="*/ 23025 w 177391"/>
                  <a:gd name="connsiteY54" fmla="*/ 59112 h 188560"/>
                  <a:gd name="connsiteX55" fmla="*/ 17536 w 177391"/>
                  <a:gd name="connsiteY55" fmla="*/ 56615 h 188560"/>
                  <a:gd name="connsiteX56" fmla="*/ 18469 w 177391"/>
                  <a:gd name="connsiteY56" fmla="*/ 51620 h 188560"/>
                  <a:gd name="connsiteX57" fmla="*/ 21817 w 177391"/>
                  <a:gd name="connsiteY57" fmla="*/ 47915 h 188560"/>
                  <a:gd name="connsiteX58" fmla="*/ 18716 w 177391"/>
                  <a:gd name="connsiteY58" fmla="*/ 44952 h 188560"/>
                  <a:gd name="connsiteX59" fmla="*/ 19485 w 177391"/>
                  <a:gd name="connsiteY59" fmla="*/ 39161 h 188560"/>
                  <a:gd name="connsiteX60" fmla="*/ 14847 w 177391"/>
                  <a:gd name="connsiteY60" fmla="*/ 39051 h 188560"/>
                  <a:gd name="connsiteX61" fmla="*/ 12240 w 177391"/>
                  <a:gd name="connsiteY61" fmla="*/ 36033 h 188560"/>
                  <a:gd name="connsiteX62" fmla="*/ 12240 w 177391"/>
                  <a:gd name="connsiteY62" fmla="*/ 28623 h 188560"/>
                  <a:gd name="connsiteX63" fmla="*/ 11691 w 177391"/>
                  <a:gd name="connsiteY63" fmla="*/ 22174 h 188560"/>
                  <a:gd name="connsiteX64" fmla="*/ 16603 w 177391"/>
                  <a:gd name="connsiteY64" fmla="*/ 16109 h 188560"/>
                  <a:gd name="connsiteX65" fmla="*/ 20994 w 177391"/>
                  <a:gd name="connsiteY65" fmla="*/ 14215 h 188560"/>
                  <a:gd name="connsiteX66" fmla="*/ 24177 w 177391"/>
                  <a:gd name="connsiteY66" fmla="*/ 8590 h 188560"/>
                  <a:gd name="connsiteX67" fmla="*/ 31422 w 177391"/>
                  <a:gd name="connsiteY67" fmla="*/ 7574 h 188560"/>
                  <a:gd name="connsiteX68" fmla="*/ 34908 w 177391"/>
                  <a:gd name="connsiteY68" fmla="*/ 12926 h 188560"/>
                  <a:gd name="connsiteX69" fmla="*/ 44375 w 177391"/>
                  <a:gd name="connsiteY69" fmla="*/ 15835 h 188560"/>
                  <a:gd name="connsiteX70" fmla="*/ 46790 w 177391"/>
                  <a:gd name="connsiteY70" fmla="*/ 10922 h 188560"/>
                  <a:gd name="connsiteX71" fmla="*/ 55325 w 177391"/>
                  <a:gd name="connsiteY71" fmla="*/ 9578 h 188560"/>
                  <a:gd name="connsiteX72" fmla="*/ 55682 w 177391"/>
                  <a:gd name="connsiteY72" fmla="*/ 2168 h 188560"/>
                  <a:gd name="connsiteX73" fmla="*/ 61308 w 177391"/>
                  <a:gd name="connsiteY73" fmla="*/ 4089 h 188560"/>
                  <a:gd name="connsiteX74" fmla="*/ 63091 w 177391"/>
                  <a:gd name="connsiteY74" fmla="*/ 851 h 188560"/>
                  <a:gd name="connsiteX75" fmla="*/ 67098 w 177391"/>
                  <a:gd name="connsiteY75" fmla="*/ 0 h 188560"/>
                  <a:gd name="connsiteX76" fmla="*/ 69650 w 177391"/>
                  <a:gd name="connsiteY76" fmla="*/ 7766 h 188560"/>
                  <a:gd name="connsiteX77" fmla="*/ 68498 w 177391"/>
                  <a:gd name="connsiteY77" fmla="*/ 13117 h 188560"/>
                  <a:gd name="connsiteX78" fmla="*/ 70638 w 177391"/>
                  <a:gd name="connsiteY78" fmla="*/ 14956 h 188560"/>
                  <a:gd name="connsiteX79" fmla="*/ 74233 w 177391"/>
                  <a:gd name="connsiteY79" fmla="*/ 14956 h 188560"/>
                  <a:gd name="connsiteX80" fmla="*/ 81533 w 177391"/>
                  <a:gd name="connsiteY80" fmla="*/ 8397 h 188560"/>
                  <a:gd name="connsiteX81" fmla="*/ 88943 w 177391"/>
                  <a:gd name="connsiteY81" fmla="*/ 8480 h 18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77391" h="188560">
                    <a:moveTo>
                      <a:pt x="89053" y="8397"/>
                    </a:moveTo>
                    <a:lnTo>
                      <a:pt x="92263" y="12102"/>
                    </a:lnTo>
                    <a:lnTo>
                      <a:pt x="100194" y="12624"/>
                    </a:lnTo>
                    <a:lnTo>
                      <a:pt x="105820" y="24259"/>
                    </a:lnTo>
                    <a:lnTo>
                      <a:pt x="109799" y="26098"/>
                    </a:lnTo>
                    <a:lnTo>
                      <a:pt x="110321" y="28595"/>
                    </a:lnTo>
                    <a:lnTo>
                      <a:pt x="113532" y="30407"/>
                    </a:lnTo>
                    <a:lnTo>
                      <a:pt x="118142" y="29501"/>
                    </a:lnTo>
                    <a:lnTo>
                      <a:pt x="123247" y="33041"/>
                    </a:lnTo>
                    <a:lnTo>
                      <a:pt x="126787" y="28623"/>
                    </a:lnTo>
                    <a:lnTo>
                      <a:pt x="143582" y="22970"/>
                    </a:lnTo>
                    <a:lnTo>
                      <a:pt x="156947" y="24863"/>
                    </a:lnTo>
                    <a:lnTo>
                      <a:pt x="160541" y="28623"/>
                    </a:lnTo>
                    <a:lnTo>
                      <a:pt x="168939" y="38283"/>
                    </a:lnTo>
                    <a:lnTo>
                      <a:pt x="172315" y="36526"/>
                    </a:lnTo>
                    <a:lnTo>
                      <a:pt x="172397" y="43058"/>
                    </a:lnTo>
                    <a:lnTo>
                      <a:pt x="170366" y="48437"/>
                    </a:lnTo>
                    <a:lnTo>
                      <a:pt x="174922" y="57054"/>
                    </a:lnTo>
                    <a:lnTo>
                      <a:pt x="175333" y="59771"/>
                    </a:lnTo>
                    <a:lnTo>
                      <a:pt x="177391" y="73876"/>
                    </a:lnTo>
                    <a:lnTo>
                      <a:pt x="175333" y="76758"/>
                    </a:lnTo>
                    <a:lnTo>
                      <a:pt x="167841" y="87268"/>
                    </a:lnTo>
                    <a:lnTo>
                      <a:pt x="163725" y="103981"/>
                    </a:lnTo>
                    <a:lnTo>
                      <a:pt x="157386" y="114574"/>
                    </a:lnTo>
                    <a:lnTo>
                      <a:pt x="156151" y="121463"/>
                    </a:lnTo>
                    <a:lnTo>
                      <a:pt x="162490" y="147149"/>
                    </a:lnTo>
                    <a:lnTo>
                      <a:pt x="169708" y="153269"/>
                    </a:lnTo>
                    <a:lnTo>
                      <a:pt x="170586" y="164027"/>
                    </a:lnTo>
                    <a:lnTo>
                      <a:pt x="159993" y="167045"/>
                    </a:lnTo>
                    <a:lnTo>
                      <a:pt x="133675" y="162352"/>
                    </a:lnTo>
                    <a:lnTo>
                      <a:pt x="82247" y="168143"/>
                    </a:lnTo>
                    <a:lnTo>
                      <a:pt x="48519" y="179724"/>
                    </a:lnTo>
                    <a:lnTo>
                      <a:pt x="30050" y="188561"/>
                    </a:lnTo>
                    <a:lnTo>
                      <a:pt x="28486" y="173494"/>
                    </a:lnTo>
                    <a:lnTo>
                      <a:pt x="29419" y="167759"/>
                    </a:lnTo>
                    <a:lnTo>
                      <a:pt x="33974" y="160075"/>
                    </a:lnTo>
                    <a:lnTo>
                      <a:pt x="32630" y="145640"/>
                    </a:lnTo>
                    <a:lnTo>
                      <a:pt x="23354" y="141441"/>
                    </a:lnTo>
                    <a:lnTo>
                      <a:pt x="18579" y="131946"/>
                    </a:lnTo>
                    <a:lnTo>
                      <a:pt x="9907" y="131479"/>
                    </a:lnTo>
                    <a:lnTo>
                      <a:pt x="0" y="125442"/>
                    </a:lnTo>
                    <a:lnTo>
                      <a:pt x="6230" y="116934"/>
                    </a:lnTo>
                    <a:lnTo>
                      <a:pt x="7602" y="109909"/>
                    </a:lnTo>
                    <a:lnTo>
                      <a:pt x="7492" y="105655"/>
                    </a:lnTo>
                    <a:lnTo>
                      <a:pt x="2141" y="94102"/>
                    </a:lnTo>
                    <a:lnTo>
                      <a:pt x="10319" y="93745"/>
                    </a:lnTo>
                    <a:lnTo>
                      <a:pt x="13338" y="88202"/>
                    </a:lnTo>
                    <a:lnTo>
                      <a:pt x="14325" y="81286"/>
                    </a:lnTo>
                    <a:lnTo>
                      <a:pt x="16768" y="79365"/>
                    </a:lnTo>
                    <a:lnTo>
                      <a:pt x="15368" y="76236"/>
                    </a:lnTo>
                    <a:lnTo>
                      <a:pt x="9248" y="73739"/>
                    </a:lnTo>
                    <a:lnTo>
                      <a:pt x="9687" y="66988"/>
                    </a:lnTo>
                    <a:lnTo>
                      <a:pt x="17179" y="66412"/>
                    </a:lnTo>
                    <a:lnTo>
                      <a:pt x="25934" y="69211"/>
                    </a:lnTo>
                    <a:lnTo>
                      <a:pt x="23025" y="59112"/>
                    </a:lnTo>
                    <a:lnTo>
                      <a:pt x="17536" y="56615"/>
                    </a:lnTo>
                    <a:lnTo>
                      <a:pt x="18469" y="51620"/>
                    </a:lnTo>
                    <a:lnTo>
                      <a:pt x="21817" y="47915"/>
                    </a:lnTo>
                    <a:lnTo>
                      <a:pt x="18716" y="44952"/>
                    </a:lnTo>
                    <a:lnTo>
                      <a:pt x="19485" y="39161"/>
                    </a:lnTo>
                    <a:lnTo>
                      <a:pt x="14847" y="39051"/>
                    </a:lnTo>
                    <a:lnTo>
                      <a:pt x="12240" y="36033"/>
                    </a:lnTo>
                    <a:lnTo>
                      <a:pt x="12240" y="28623"/>
                    </a:lnTo>
                    <a:cubicBezTo>
                      <a:pt x="12240" y="28623"/>
                      <a:pt x="11691" y="22174"/>
                      <a:pt x="11691" y="22174"/>
                    </a:cubicBezTo>
                    <a:lnTo>
                      <a:pt x="16603" y="16109"/>
                    </a:lnTo>
                    <a:lnTo>
                      <a:pt x="20994" y="14215"/>
                    </a:lnTo>
                    <a:lnTo>
                      <a:pt x="24177" y="8590"/>
                    </a:lnTo>
                    <a:lnTo>
                      <a:pt x="31422" y="7574"/>
                    </a:lnTo>
                    <a:lnTo>
                      <a:pt x="34908" y="12926"/>
                    </a:lnTo>
                    <a:lnTo>
                      <a:pt x="44375" y="15835"/>
                    </a:lnTo>
                    <a:lnTo>
                      <a:pt x="46790" y="10922"/>
                    </a:lnTo>
                    <a:lnTo>
                      <a:pt x="55325" y="9578"/>
                    </a:lnTo>
                    <a:lnTo>
                      <a:pt x="55682" y="2168"/>
                    </a:lnTo>
                    <a:lnTo>
                      <a:pt x="61308" y="4089"/>
                    </a:lnTo>
                    <a:lnTo>
                      <a:pt x="63091" y="851"/>
                    </a:lnTo>
                    <a:lnTo>
                      <a:pt x="67098" y="0"/>
                    </a:lnTo>
                    <a:lnTo>
                      <a:pt x="69650" y="7766"/>
                    </a:lnTo>
                    <a:lnTo>
                      <a:pt x="68498" y="13117"/>
                    </a:lnTo>
                    <a:lnTo>
                      <a:pt x="70638" y="14956"/>
                    </a:lnTo>
                    <a:lnTo>
                      <a:pt x="74233" y="14956"/>
                    </a:lnTo>
                    <a:cubicBezTo>
                      <a:pt x="74233" y="14956"/>
                      <a:pt x="81533" y="8397"/>
                      <a:pt x="81533" y="8397"/>
                    </a:cubicBezTo>
                    <a:lnTo>
                      <a:pt x="88943" y="84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6" name="Freeform: Shape 3855">
                <a:extLst>
                  <a:ext uri="{FF2B5EF4-FFF2-40B4-BE49-F238E27FC236}">
                    <a16:creationId xmlns:a16="http://schemas.microsoft.com/office/drawing/2014/main" id="{679FBCEB-70B3-76E4-7134-3B766F15F076}"/>
                  </a:ext>
                </a:extLst>
              </p:cNvPr>
              <p:cNvSpPr/>
              <p:nvPr/>
            </p:nvSpPr>
            <p:spPr>
              <a:xfrm>
                <a:off x="1133537" y="3899001"/>
                <a:ext cx="26193" cy="151469"/>
              </a:xfrm>
              <a:custGeom>
                <a:avLst/>
                <a:gdLst>
                  <a:gd name="connsiteX0" fmla="*/ 226898 w 251130"/>
                  <a:gd name="connsiteY0" fmla="*/ 166414 h 1452227"/>
                  <a:gd name="connsiteX1" fmla="*/ 235159 w 251130"/>
                  <a:gd name="connsiteY1" fmla="*/ 168967 h 1452227"/>
                  <a:gd name="connsiteX2" fmla="*/ 247179 w 251130"/>
                  <a:gd name="connsiteY2" fmla="*/ 166167 h 1452227"/>
                  <a:gd name="connsiteX3" fmla="*/ 250582 w 251130"/>
                  <a:gd name="connsiteY3" fmla="*/ 171052 h 1452227"/>
                  <a:gd name="connsiteX4" fmla="*/ 251131 w 251130"/>
                  <a:gd name="connsiteY4" fmla="*/ 175443 h 1452227"/>
                  <a:gd name="connsiteX5" fmla="*/ 242514 w 251130"/>
                  <a:gd name="connsiteY5" fmla="*/ 202584 h 1452227"/>
                  <a:gd name="connsiteX6" fmla="*/ 217458 w 251130"/>
                  <a:gd name="connsiteY6" fmla="*/ 217046 h 1452227"/>
                  <a:gd name="connsiteX7" fmla="*/ 208457 w 251130"/>
                  <a:gd name="connsiteY7" fmla="*/ 227722 h 1452227"/>
                  <a:gd name="connsiteX8" fmla="*/ 210296 w 251130"/>
                  <a:gd name="connsiteY8" fmla="*/ 238754 h 1452227"/>
                  <a:gd name="connsiteX9" fmla="*/ 206893 w 251130"/>
                  <a:gd name="connsiteY9" fmla="*/ 248716 h 1452227"/>
                  <a:gd name="connsiteX10" fmla="*/ 210186 w 251130"/>
                  <a:gd name="connsiteY10" fmla="*/ 272235 h 1452227"/>
                  <a:gd name="connsiteX11" fmla="*/ 206975 w 251130"/>
                  <a:gd name="connsiteY11" fmla="*/ 284913 h 1452227"/>
                  <a:gd name="connsiteX12" fmla="*/ 212189 w 251130"/>
                  <a:gd name="connsiteY12" fmla="*/ 301187 h 1452227"/>
                  <a:gd name="connsiteX13" fmla="*/ 207826 w 251130"/>
                  <a:gd name="connsiteY13" fmla="*/ 305935 h 1452227"/>
                  <a:gd name="connsiteX14" fmla="*/ 199017 w 251130"/>
                  <a:gd name="connsiteY14" fmla="*/ 309063 h 1452227"/>
                  <a:gd name="connsiteX15" fmla="*/ 188835 w 251130"/>
                  <a:gd name="connsiteY15" fmla="*/ 332966 h 1452227"/>
                  <a:gd name="connsiteX16" fmla="*/ 175553 w 251130"/>
                  <a:gd name="connsiteY16" fmla="*/ 349898 h 1452227"/>
                  <a:gd name="connsiteX17" fmla="*/ 171134 w 251130"/>
                  <a:gd name="connsiteY17" fmla="*/ 369273 h 1452227"/>
                  <a:gd name="connsiteX18" fmla="*/ 165591 w 251130"/>
                  <a:gd name="connsiteY18" fmla="*/ 380827 h 1452227"/>
                  <a:gd name="connsiteX19" fmla="*/ 167567 w 251130"/>
                  <a:gd name="connsiteY19" fmla="*/ 410547 h 1452227"/>
                  <a:gd name="connsiteX20" fmla="*/ 159992 w 251130"/>
                  <a:gd name="connsiteY20" fmla="*/ 420482 h 1452227"/>
                  <a:gd name="connsiteX21" fmla="*/ 155272 w 251130"/>
                  <a:gd name="connsiteY21" fmla="*/ 436316 h 1452227"/>
                  <a:gd name="connsiteX22" fmla="*/ 149207 w 251130"/>
                  <a:gd name="connsiteY22" fmla="*/ 447705 h 1452227"/>
                  <a:gd name="connsiteX23" fmla="*/ 149262 w 251130"/>
                  <a:gd name="connsiteY23" fmla="*/ 457063 h 1452227"/>
                  <a:gd name="connsiteX24" fmla="*/ 155766 w 251130"/>
                  <a:gd name="connsiteY24" fmla="*/ 470976 h 1452227"/>
                  <a:gd name="connsiteX25" fmla="*/ 155931 w 251130"/>
                  <a:gd name="connsiteY25" fmla="*/ 479978 h 1452227"/>
                  <a:gd name="connsiteX26" fmla="*/ 162270 w 251130"/>
                  <a:gd name="connsiteY26" fmla="*/ 500313 h 1452227"/>
                  <a:gd name="connsiteX27" fmla="*/ 163396 w 251130"/>
                  <a:gd name="connsiteY27" fmla="*/ 511510 h 1452227"/>
                  <a:gd name="connsiteX28" fmla="*/ 169378 w 251130"/>
                  <a:gd name="connsiteY28" fmla="*/ 519770 h 1452227"/>
                  <a:gd name="connsiteX29" fmla="*/ 168527 w 251130"/>
                  <a:gd name="connsiteY29" fmla="*/ 543755 h 1452227"/>
                  <a:gd name="connsiteX30" fmla="*/ 157605 w 251130"/>
                  <a:gd name="connsiteY30" fmla="*/ 564804 h 1452227"/>
                  <a:gd name="connsiteX31" fmla="*/ 149921 w 251130"/>
                  <a:gd name="connsiteY31" fmla="*/ 585661 h 1452227"/>
                  <a:gd name="connsiteX32" fmla="*/ 153159 w 251130"/>
                  <a:gd name="connsiteY32" fmla="*/ 602675 h 1452227"/>
                  <a:gd name="connsiteX33" fmla="*/ 151677 w 251130"/>
                  <a:gd name="connsiteY33" fmla="*/ 614997 h 1452227"/>
                  <a:gd name="connsiteX34" fmla="*/ 142539 w 251130"/>
                  <a:gd name="connsiteY34" fmla="*/ 626359 h 1452227"/>
                  <a:gd name="connsiteX35" fmla="*/ 135074 w 251130"/>
                  <a:gd name="connsiteY35" fmla="*/ 631902 h 1452227"/>
                  <a:gd name="connsiteX36" fmla="*/ 131589 w 251130"/>
                  <a:gd name="connsiteY36" fmla="*/ 640354 h 1452227"/>
                  <a:gd name="connsiteX37" fmla="*/ 129997 w 251130"/>
                  <a:gd name="connsiteY37" fmla="*/ 675619 h 1452227"/>
                  <a:gd name="connsiteX38" fmla="*/ 137297 w 251130"/>
                  <a:gd name="connsiteY38" fmla="*/ 709456 h 1452227"/>
                  <a:gd name="connsiteX39" fmla="*/ 134086 w 251130"/>
                  <a:gd name="connsiteY39" fmla="*/ 715109 h 1452227"/>
                  <a:gd name="connsiteX40" fmla="*/ 123521 w 251130"/>
                  <a:gd name="connsiteY40" fmla="*/ 724358 h 1452227"/>
                  <a:gd name="connsiteX41" fmla="*/ 120996 w 251130"/>
                  <a:gd name="connsiteY41" fmla="*/ 741647 h 1452227"/>
                  <a:gd name="connsiteX42" fmla="*/ 115535 w 251130"/>
                  <a:gd name="connsiteY42" fmla="*/ 750812 h 1452227"/>
                  <a:gd name="connsiteX43" fmla="*/ 115535 w 251130"/>
                  <a:gd name="connsiteY43" fmla="*/ 760253 h 1452227"/>
                  <a:gd name="connsiteX44" fmla="*/ 112406 w 251130"/>
                  <a:gd name="connsiteY44" fmla="*/ 770352 h 1452227"/>
                  <a:gd name="connsiteX45" fmla="*/ 112955 w 251130"/>
                  <a:gd name="connsiteY45" fmla="*/ 777926 h 1452227"/>
                  <a:gd name="connsiteX46" fmla="*/ 108317 w 251130"/>
                  <a:gd name="connsiteY46" fmla="*/ 791291 h 1452227"/>
                  <a:gd name="connsiteX47" fmla="*/ 109607 w 251130"/>
                  <a:gd name="connsiteY47" fmla="*/ 826555 h 1452227"/>
                  <a:gd name="connsiteX48" fmla="*/ 111775 w 251130"/>
                  <a:gd name="connsiteY48" fmla="*/ 841237 h 1452227"/>
                  <a:gd name="connsiteX49" fmla="*/ 104091 w 251130"/>
                  <a:gd name="connsiteY49" fmla="*/ 851172 h 1452227"/>
                  <a:gd name="connsiteX50" fmla="*/ 103131 w 251130"/>
                  <a:gd name="connsiteY50" fmla="*/ 873263 h 1452227"/>
                  <a:gd name="connsiteX51" fmla="*/ 104256 w 251130"/>
                  <a:gd name="connsiteY51" fmla="*/ 878176 h 1452227"/>
                  <a:gd name="connsiteX52" fmla="*/ 111117 w 251130"/>
                  <a:gd name="connsiteY52" fmla="*/ 888906 h 1452227"/>
                  <a:gd name="connsiteX53" fmla="*/ 109827 w 251130"/>
                  <a:gd name="connsiteY53" fmla="*/ 899745 h 1452227"/>
                  <a:gd name="connsiteX54" fmla="*/ 114218 w 251130"/>
                  <a:gd name="connsiteY54" fmla="*/ 907402 h 1452227"/>
                  <a:gd name="connsiteX55" fmla="*/ 112132 w 251130"/>
                  <a:gd name="connsiteY55" fmla="*/ 933171 h 1452227"/>
                  <a:gd name="connsiteX56" fmla="*/ 115343 w 251130"/>
                  <a:gd name="connsiteY56" fmla="*/ 936519 h 1452227"/>
                  <a:gd name="connsiteX57" fmla="*/ 126265 w 251130"/>
                  <a:gd name="connsiteY57" fmla="*/ 939840 h 1452227"/>
                  <a:gd name="connsiteX58" fmla="*/ 128378 w 251130"/>
                  <a:gd name="connsiteY58" fmla="*/ 943434 h 1452227"/>
                  <a:gd name="connsiteX59" fmla="*/ 124234 w 251130"/>
                  <a:gd name="connsiteY59" fmla="*/ 951119 h 1452227"/>
                  <a:gd name="connsiteX60" fmla="*/ 123576 w 251130"/>
                  <a:gd name="connsiteY60" fmla="*/ 952353 h 1452227"/>
                  <a:gd name="connsiteX61" fmla="*/ 106945 w 251130"/>
                  <a:gd name="connsiteY61" fmla="*/ 955098 h 1452227"/>
                  <a:gd name="connsiteX62" fmla="*/ 108921 w 251130"/>
                  <a:gd name="connsiteY62" fmla="*/ 958665 h 1452227"/>
                  <a:gd name="connsiteX63" fmla="*/ 118526 w 251130"/>
                  <a:gd name="connsiteY63" fmla="*/ 964566 h 1452227"/>
                  <a:gd name="connsiteX64" fmla="*/ 123054 w 251130"/>
                  <a:gd name="connsiteY64" fmla="*/ 972963 h 1452227"/>
                  <a:gd name="connsiteX65" fmla="*/ 120036 w 251130"/>
                  <a:gd name="connsiteY65" fmla="*/ 980949 h 1452227"/>
                  <a:gd name="connsiteX66" fmla="*/ 113230 w 251130"/>
                  <a:gd name="connsiteY66" fmla="*/ 990445 h 1452227"/>
                  <a:gd name="connsiteX67" fmla="*/ 115178 w 251130"/>
                  <a:gd name="connsiteY67" fmla="*/ 1002080 h 1452227"/>
                  <a:gd name="connsiteX68" fmla="*/ 110842 w 251130"/>
                  <a:gd name="connsiteY68" fmla="*/ 1012289 h 1452227"/>
                  <a:gd name="connsiteX69" fmla="*/ 114163 w 251130"/>
                  <a:gd name="connsiteY69" fmla="*/ 1031225 h 1452227"/>
                  <a:gd name="connsiteX70" fmla="*/ 108098 w 251130"/>
                  <a:gd name="connsiteY70" fmla="*/ 1041242 h 1452227"/>
                  <a:gd name="connsiteX71" fmla="*/ 107357 w 251130"/>
                  <a:gd name="connsiteY71" fmla="*/ 1055622 h 1452227"/>
                  <a:gd name="connsiteX72" fmla="*/ 95611 w 251130"/>
                  <a:gd name="connsiteY72" fmla="*/ 1069727 h 1452227"/>
                  <a:gd name="connsiteX73" fmla="*/ 91714 w 251130"/>
                  <a:gd name="connsiteY73" fmla="*/ 1085864 h 1452227"/>
                  <a:gd name="connsiteX74" fmla="*/ 94980 w 251130"/>
                  <a:gd name="connsiteY74" fmla="*/ 1095908 h 1452227"/>
                  <a:gd name="connsiteX75" fmla="*/ 95419 w 251130"/>
                  <a:gd name="connsiteY75" fmla="*/ 1103043 h 1452227"/>
                  <a:gd name="connsiteX76" fmla="*/ 89245 w 251130"/>
                  <a:gd name="connsiteY76" fmla="*/ 1112566 h 1452227"/>
                  <a:gd name="connsiteX77" fmla="*/ 87104 w 251130"/>
                  <a:gd name="connsiteY77" fmla="*/ 1125739 h 1452227"/>
                  <a:gd name="connsiteX78" fmla="*/ 72669 w 251130"/>
                  <a:gd name="connsiteY78" fmla="*/ 1139734 h 1452227"/>
                  <a:gd name="connsiteX79" fmla="*/ 62103 w 251130"/>
                  <a:gd name="connsiteY79" fmla="*/ 1146705 h 1452227"/>
                  <a:gd name="connsiteX80" fmla="*/ 60512 w 251130"/>
                  <a:gd name="connsiteY80" fmla="*/ 1158231 h 1452227"/>
                  <a:gd name="connsiteX81" fmla="*/ 61884 w 251130"/>
                  <a:gd name="connsiteY81" fmla="*/ 1169894 h 1452227"/>
                  <a:gd name="connsiteX82" fmla="*/ 60484 w 251130"/>
                  <a:gd name="connsiteY82" fmla="*/ 1181557 h 1452227"/>
                  <a:gd name="connsiteX83" fmla="*/ 61280 w 251130"/>
                  <a:gd name="connsiteY83" fmla="*/ 1195170 h 1452227"/>
                  <a:gd name="connsiteX84" fmla="*/ 72806 w 251130"/>
                  <a:gd name="connsiteY84" fmla="*/ 1213089 h 1452227"/>
                  <a:gd name="connsiteX85" fmla="*/ 83975 w 251130"/>
                  <a:gd name="connsiteY85" fmla="*/ 1209686 h 1452227"/>
                  <a:gd name="connsiteX86" fmla="*/ 95200 w 251130"/>
                  <a:gd name="connsiteY86" fmla="*/ 1211608 h 1452227"/>
                  <a:gd name="connsiteX87" fmla="*/ 97258 w 251130"/>
                  <a:gd name="connsiteY87" fmla="*/ 1222914 h 1452227"/>
                  <a:gd name="connsiteX88" fmla="*/ 95172 w 251130"/>
                  <a:gd name="connsiteY88" fmla="*/ 1230900 h 1452227"/>
                  <a:gd name="connsiteX89" fmla="*/ 96215 w 251130"/>
                  <a:gd name="connsiteY89" fmla="*/ 1239709 h 1452227"/>
                  <a:gd name="connsiteX90" fmla="*/ 93800 w 251130"/>
                  <a:gd name="connsiteY90" fmla="*/ 1252114 h 1452227"/>
                  <a:gd name="connsiteX91" fmla="*/ 103872 w 251130"/>
                  <a:gd name="connsiteY91" fmla="*/ 1264600 h 1452227"/>
                  <a:gd name="connsiteX92" fmla="*/ 107769 w 251130"/>
                  <a:gd name="connsiteY92" fmla="*/ 1272860 h 1452227"/>
                  <a:gd name="connsiteX93" fmla="*/ 163588 w 251130"/>
                  <a:gd name="connsiteY93" fmla="*/ 1274479 h 1452227"/>
                  <a:gd name="connsiteX94" fmla="*/ 192951 w 251130"/>
                  <a:gd name="connsiteY94" fmla="*/ 1283096 h 1452227"/>
                  <a:gd name="connsiteX95" fmla="*/ 207277 w 251130"/>
                  <a:gd name="connsiteY95" fmla="*/ 1288887 h 1452227"/>
                  <a:gd name="connsiteX96" fmla="*/ 210268 w 251130"/>
                  <a:gd name="connsiteY96" fmla="*/ 1292646 h 1452227"/>
                  <a:gd name="connsiteX97" fmla="*/ 185871 w 251130"/>
                  <a:gd name="connsiteY97" fmla="*/ 1284578 h 1452227"/>
                  <a:gd name="connsiteX98" fmla="*/ 180657 w 251130"/>
                  <a:gd name="connsiteY98" fmla="*/ 1287762 h 1452227"/>
                  <a:gd name="connsiteX99" fmla="*/ 173083 w 251130"/>
                  <a:gd name="connsiteY99" fmla="*/ 1297861 h 1452227"/>
                  <a:gd name="connsiteX100" fmla="*/ 143691 w 251130"/>
                  <a:gd name="connsiteY100" fmla="*/ 1309277 h 1452227"/>
                  <a:gd name="connsiteX101" fmla="*/ 138752 w 251130"/>
                  <a:gd name="connsiteY101" fmla="*/ 1321544 h 1452227"/>
                  <a:gd name="connsiteX102" fmla="*/ 135404 w 251130"/>
                  <a:gd name="connsiteY102" fmla="*/ 1354942 h 1452227"/>
                  <a:gd name="connsiteX103" fmla="*/ 130656 w 251130"/>
                  <a:gd name="connsiteY103" fmla="*/ 1362270 h 1452227"/>
                  <a:gd name="connsiteX104" fmla="*/ 122697 w 251130"/>
                  <a:gd name="connsiteY104" fmla="*/ 1364026 h 1452227"/>
                  <a:gd name="connsiteX105" fmla="*/ 101237 w 251130"/>
                  <a:gd name="connsiteY105" fmla="*/ 1354558 h 1452227"/>
                  <a:gd name="connsiteX106" fmla="*/ 98905 w 251130"/>
                  <a:gd name="connsiteY106" fmla="*/ 1356561 h 1452227"/>
                  <a:gd name="connsiteX107" fmla="*/ 102801 w 251130"/>
                  <a:gd name="connsiteY107" fmla="*/ 1363971 h 1452227"/>
                  <a:gd name="connsiteX108" fmla="*/ 131836 w 251130"/>
                  <a:gd name="connsiteY108" fmla="*/ 1376650 h 1452227"/>
                  <a:gd name="connsiteX109" fmla="*/ 134278 w 251130"/>
                  <a:gd name="connsiteY109" fmla="*/ 1382083 h 1452227"/>
                  <a:gd name="connsiteX110" fmla="*/ 135212 w 251130"/>
                  <a:gd name="connsiteY110" fmla="*/ 1391414 h 1452227"/>
                  <a:gd name="connsiteX111" fmla="*/ 146820 w 251130"/>
                  <a:gd name="connsiteY111" fmla="*/ 1391167 h 1452227"/>
                  <a:gd name="connsiteX112" fmla="*/ 146820 w 251130"/>
                  <a:gd name="connsiteY112" fmla="*/ 1387599 h 1452227"/>
                  <a:gd name="connsiteX113" fmla="*/ 139849 w 251130"/>
                  <a:gd name="connsiteY113" fmla="*/ 1381452 h 1452227"/>
                  <a:gd name="connsiteX114" fmla="*/ 138779 w 251130"/>
                  <a:gd name="connsiteY114" fmla="*/ 1369377 h 1452227"/>
                  <a:gd name="connsiteX115" fmla="*/ 148713 w 251130"/>
                  <a:gd name="connsiteY115" fmla="*/ 1353872 h 1452227"/>
                  <a:gd name="connsiteX116" fmla="*/ 154915 w 251130"/>
                  <a:gd name="connsiteY116" fmla="*/ 1376952 h 1452227"/>
                  <a:gd name="connsiteX117" fmla="*/ 155574 w 251130"/>
                  <a:gd name="connsiteY117" fmla="*/ 1387078 h 1452227"/>
                  <a:gd name="connsiteX118" fmla="*/ 162572 w 251130"/>
                  <a:gd name="connsiteY118" fmla="*/ 1386584 h 1452227"/>
                  <a:gd name="connsiteX119" fmla="*/ 168527 w 251130"/>
                  <a:gd name="connsiteY119" fmla="*/ 1391085 h 1452227"/>
                  <a:gd name="connsiteX120" fmla="*/ 173769 w 251130"/>
                  <a:gd name="connsiteY120" fmla="*/ 1389740 h 1452227"/>
                  <a:gd name="connsiteX121" fmla="*/ 186585 w 251130"/>
                  <a:gd name="connsiteY121" fmla="*/ 1393115 h 1452227"/>
                  <a:gd name="connsiteX122" fmla="*/ 185405 w 251130"/>
                  <a:gd name="connsiteY122" fmla="*/ 1388917 h 1452227"/>
                  <a:gd name="connsiteX123" fmla="*/ 165948 w 251130"/>
                  <a:gd name="connsiteY123" fmla="*/ 1376677 h 1452227"/>
                  <a:gd name="connsiteX124" fmla="*/ 161200 w 251130"/>
                  <a:gd name="connsiteY124" fmla="*/ 1366139 h 1452227"/>
                  <a:gd name="connsiteX125" fmla="*/ 163505 w 251130"/>
                  <a:gd name="connsiteY125" fmla="*/ 1358318 h 1452227"/>
                  <a:gd name="connsiteX126" fmla="*/ 179010 w 251130"/>
                  <a:gd name="connsiteY126" fmla="*/ 1349042 h 1452227"/>
                  <a:gd name="connsiteX127" fmla="*/ 180986 w 251130"/>
                  <a:gd name="connsiteY127" fmla="*/ 1342730 h 1452227"/>
                  <a:gd name="connsiteX128" fmla="*/ 177309 w 251130"/>
                  <a:gd name="connsiteY128" fmla="*/ 1340727 h 1452227"/>
                  <a:gd name="connsiteX129" fmla="*/ 156315 w 251130"/>
                  <a:gd name="connsiteY129" fmla="*/ 1342373 h 1452227"/>
                  <a:gd name="connsiteX130" fmla="*/ 152391 w 251130"/>
                  <a:gd name="connsiteY130" fmla="*/ 1338175 h 1452227"/>
                  <a:gd name="connsiteX131" fmla="*/ 152199 w 251130"/>
                  <a:gd name="connsiteY131" fmla="*/ 1328048 h 1452227"/>
                  <a:gd name="connsiteX132" fmla="*/ 158758 w 251130"/>
                  <a:gd name="connsiteY132" fmla="*/ 1319513 h 1452227"/>
                  <a:gd name="connsiteX133" fmla="*/ 159197 w 251130"/>
                  <a:gd name="connsiteY133" fmla="*/ 1311856 h 1452227"/>
                  <a:gd name="connsiteX134" fmla="*/ 169021 w 251130"/>
                  <a:gd name="connsiteY134" fmla="*/ 1310759 h 1452227"/>
                  <a:gd name="connsiteX135" fmla="*/ 179312 w 251130"/>
                  <a:gd name="connsiteY135" fmla="*/ 1299123 h 1452227"/>
                  <a:gd name="connsiteX136" fmla="*/ 189000 w 251130"/>
                  <a:gd name="connsiteY136" fmla="*/ 1304612 h 1452227"/>
                  <a:gd name="connsiteX137" fmla="*/ 199401 w 251130"/>
                  <a:gd name="connsiteY137" fmla="*/ 1302389 h 1452227"/>
                  <a:gd name="connsiteX138" fmla="*/ 205081 w 251130"/>
                  <a:gd name="connsiteY138" fmla="*/ 1304859 h 1452227"/>
                  <a:gd name="connsiteX139" fmla="*/ 205081 w 251130"/>
                  <a:gd name="connsiteY139" fmla="*/ 1364986 h 1452227"/>
                  <a:gd name="connsiteX140" fmla="*/ 205081 w 251130"/>
                  <a:gd name="connsiteY140" fmla="*/ 1388148 h 1452227"/>
                  <a:gd name="connsiteX141" fmla="*/ 205081 w 251130"/>
                  <a:gd name="connsiteY141" fmla="*/ 1416579 h 1452227"/>
                  <a:gd name="connsiteX142" fmla="*/ 240263 w 251130"/>
                  <a:gd name="connsiteY142" fmla="*/ 1419488 h 1452227"/>
                  <a:gd name="connsiteX143" fmla="*/ 245807 w 251130"/>
                  <a:gd name="connsiteY143" fmla="*/ 1422974 h 1452227"/>
                  <a:gd name="connsiteX144" fmla="*/ 247426 w 251130"/>
                  <a:gd name="connsiteY144" fmla="*/ 1427364 h 1452227"/>
                  <a:gd name="connsiteX145" fmla="*/ 239138 w 251130"/>
                  <a:gd name="connsiteY145" fmla="*/ 1435460 h 1452227"/>
                  <a:gd name="connsiteX146" fmla="*/ 225828 w 251130"/>
                  <a:gd name="connsiteY146" fmla="*/ 1433429 h 1452227"/>
                  <a:gd name="connsiteX147" fmla="*/ 218034 w 251130"/>
                  <a:gd name="connsiteY147" fmla="*/ 1426678 h 1452227"/>
                  <a:gd name="connsiteX148" fmla="*/ 214412 w 251130"/>
                  <a:gd name="connsiteY148" fmla="*/ 1426953 h 1452227"/>
                  <a:gd name="connsiteX149" fmla="*/ 213671 w 251130"/>
                  <a:gd name="connsiteY149" fmla="*/ 1437216 h 1452227"/>
                  <a:gd name="connsiteX150" fmla="*/ 219050 w 251130"/>
                  <a:gd name="connsiteY150" fmla="*/ 1447782 h 1452227"/>
                  <a:gd name="connsiteX151" fmla="*/ 217897 w 251130"/>
                  <a:gd name="connsiteY151" fmla="*/ 1452228 h 1452227"/>
                  <a:gd name="connsiteX152" fmla="*/ 200251 w 251130"/>
                  <a:gd name="connsiteY152" fmla="*/ 1449538 h 1452227"/>
                  <a:gd name="connsiteX153" fmla="*/ 193116 w 251130"/>
                  <a:gd name="connsiteY153" fmla="*/ 1442595 h 1452227"/>
                  <a:gd name="connsiteX154" fmla="*/ 188341 w 251130"/>
                  <a:gd name="connsiteY154" fmla="*/ 1447672 h 1452227"/>
                  <a:gd name="connsiteX155" fmla="*/ 177913 w 251130"/>
                  <a:gd name="connsiteY155" fmla="*/ 1445778 h 1452227"/>
                  <a:gd name="connsiteX156" fmla="*/ 170037 w 251130"/>
                  <a:gd name="connsiteY156" fmla="*/ 1437820 h 1452227"/>
                  <a:gd name="connsiteX157" fmla="*/ 161228 w 251130"/>
                  <a:gd name="connsiteY157" fmla="*/ 1418637 h 1452227"/>
                  <a:gd name="connsiteX158" fmla="*/ 145365 w 251130"/>
                  <a:gd name="connsiteY158" fmla="*/ 1425745 h 1452227"/>
                  <a:gd name="connsiteX159" fmla="*/ 128982 w 251130"/>
                  <a:gd name="connsiteY159" fmla="*/ 1419845 h 1452227"/>
                  <a:gd name="connsiteX160" fmla="*/ 128653 w 251130"/>
                  <a:gd name="connsiteY160" fmla="*/ 1416497 h 1452227"/>
                  <a:gd name="connsiteX161" fmla="*/ 134772 w 251130"/>
                  <a:gd name="connsiteY161" fmla="*/ 1413560 h 1452227"/>
                  <a:gd name="connsiteX162" fmla="*/ 128076 w 251130"/>
                  <a:gd name="connsiteY162" fmla="*/ 1405327 h 1452227"/>
                  <a:gd name="connsiteX163" fmla="*/ 116578 w 251130"/>
                  <a:gd name="connsiteY163" fmla="*/ 1406480 h 1452227"/>
                  <a:gd name="connsiteX164" fmla="*/ 107796 w 251130"/>
                  <a:gd name="connsiteY164" fmla="*/ 1403489 h 1452227"/>
                  <a:gd name="connsiteX165" fmla="*/ 108427 w 251130"/>
                  <a:gd name="connsiteY165" fmla="*/ 1396848 h 1452227"/>
                  <a:gd name="connsiteX166" fmla="*/ 114876 w 251130"/>
                  <a:gd name="connsiteY166" fmla="*/ 1388395 h 1452227"/>
                  <a:gd name="connsiteX167" fmla="*/ 103186 w 251130"/>
                  <a:gd name="connsiteY167" fmla="*/ 1383922 h 1452227"/>
                  <a:gd name="connsiteX168" fmla="*/ 94870 w 251130"/>
                  <a:gd name="connsiteY168" fmla="*/ 1387325 h 1452227"/>
                  <a:gd name="connsiteX169" fmla="*/ 89574 w 251130"/>
                  <a:gd name="connsiteY169" fmla="*/ 1376869 h 1452227"/>
                  <a:gd name="connsiteX170" fmla="*/ 76785 w 251130"/>
                  <a:gd name="connsiteY170" fmla="*/ 1374399 h 1452227"/>
                  <a:gd name="connsiteX171" fmla="*/ 71900 w 251130"/>
                  <a:gd name="connsiteY171" fmla="*/ 1366907 h 1452227"/>
                  <a:gd name="connsiteX172" fmla="*/ 69485 w 251130"/>
                  <a:gd name="connsiteY172" fmla="*/ 1358263 h 1452227"/>
                  <a:gd name="connsiteX173" fmla="*/ 60814 w 251130"/>
                  <a:gd name="connsiteY173" fmla="*/ 1359470 h 1452227"/>
                  <a:gd name="connsiteX174" fmla="*/ 57109 w 251130"/>
                  <a:gd name="connsiteY174" fmla="*/ 1355629 h 1452227"/>
                  <a:gd name="connsiteX175" fmla="*/ 55791 w 251130"/>
                  <a:gd name="connsiteY175" fmla="*/ 1336446 h 1452227"/>
                  <a:gd name="connsiteX176" fmla="*/ 39079 w 251130"/>
                  <a:gd name="connsiteY176" fmla="*/ 1328487 h 1452227"/>
                  <a:gd name="connsiteX177" fmla="*/ 32355 w 251130"/>
                  <a:gd name="connsiteY177" fmla="*/ 1318772 h 1452227"/>
                  <a:gd name="connsiteX178" fmla="*/ 34852 w 251130"/>
                  <a:gd name="connsiteY178" fmla="*/ 1316357 h 1452227"/>
                  <a:gd name="connsiteX179" fmla="*/ 55737 w 251130"/>
                  <a:gd name="connsiteY179" fmla="*/ 1326786 h 1452227"/>
                  <a:gd name="connsiteX180" fmla="*/ 74315 w 251130"/>
                  <a:gd name="connsiteY180" fmla="*/ 1342099 h 1452227"/>
                  <a:gd name="connsiteX181" fmla="*/ 76621 w 251130"/>
                  <a:gd name="connsiteY181" fmla="*/ 1341440 h 1452227"/>
                  <a:gd name="connsiteX182" fmla="*/ 64189 w 251130"/>
                  <a:gd name="connsiteY182" fmla="*/ 1321736 h 1452227"/>
                  <a:gd name="connsiteX183" fmla="*/ 63421 w 251130"/>
                  <a:gd name="connsiteY183" fmla="*/ 1310594 h 1452227"/>
                  <a:gd name="connsiteX184" fmla="*/ 55407 w 251130"/>
                  <a:gd name="connsiteY184" fmla="*/ 1309689 h 1452227"/>
                  <a:gd name="connsiteX185" fmla="*/ 46488 w 251130"/>
                  <a:gd name="connsiteY185" fmla="*/ 1304914 h 1452227"/>
                  <a:gd name="connsiteX186" fmla="*/ 45116 w 251130"/>
                  <a:gd name="connsiteY186" fmla="*/ 1293442 h 1452227"/>
                  <a:gd name="connsiteX187" fmla="*/ 38612 w 251130"/>
                  <a:gd name="connsiteY187" fmla="*/ 1284222 h 1452227"/>
                  <a:gd name="connsiteX188" fmla="*/ 37377 w 251130"/>
                  <a:gd name="connsiteY188" fmla="*/ 1265917 h 1452227"/>
                  <a:gd name="connsiteX189" fmla="*/ 46955 w 251130"/>
                  <a:gd name="connsiteY189" fmla="*/ 1252882 h 1452227"/>
                  <a:gd name="connsiteX190" fmla="*/ 47915 w 251130"/>
                  <a:gd name="connsiteY190" fmla="*/ 1248519 h 1452227"/>
                  <a:gd name="connsiteX191" fmla="*/ 37954 w 251130"/>
                  <a:gd name="connsiteY191" fmla="*/ 1225768 h 1452227"/>
                  <a:gd name="connsiteX192" fmla="*/ 26016 w 251130"/>
                  <a:gd name="connsiteY192" fmla="*/ 1245719 h 1452227"/>
                  <a:gd name="connsiteX193" fmla="*/ 19484 w 251130"/>
                  <a:gd name="connsiteY193" fmla="*/ 1249561 h 1452227"/>
                  <a:gd name="connsiteX194" fmla="*/ 11910 w 251130"/>
                  <a:gd name="connsiteY194" fmla="*/ 1248161 h 1452227"/>
                  <a:gd name="connsiteX195" fmla="*/ 17124 w 251130"/>
                  <a:gd name="connsiteY195" fmla="*/ 1231064 h 1452227"/>
                  <a:gd name="connsiteX196" fmla="*/ 18414 w 251130"/>
                  <a:gd name="connsiteY196" fmla="*/ 1214325 h 1452227"/>
                  <a:gd name="connsiteX197" fmla="*/ 25247 w 251130"/>
                  <a:gd name="connsiteY197" fmla="*/ 1211004 h 1452227"/>
                  <a:gd name="connsiteX198" fmla="*/ 27717 w 251130"/>
                  <a:gd name="connsiteY198" fmla="*/ 1200740 h 1452227"/>
                  <a:gd name="connsiteX199" fmla="*/ 35731 w 251130"/>
                  <a:gd name="connsiteY199" fmla="*/ 1199642 h 1452227"/>
                  <a:gd name="connsiteX200" fmla="*/ 30928 w 251130"/>
                  <a:gd name="connsiteY200" fmla="*/ 1188336 h 1452227"/>
                  <a:gd name="connsiteX201" fmla="*/ 36142 w 251130"/>
                  <a:gd name="connsiteY201" fmla="*/ 1180322 h 1452227"/>
                  <a:gd name="connsiteX202" fmla="*/ 37185 w 251130"/>
                  <a:gd name="connsiteY202" fmla="*/ 1173160 h 1452227"/>
                  <a:gd name="connsiteX203" fmla="*/ 35264 w 251130"/>
                  <a:gd name="connsiteY203" fmla="*/ 1170662 h 1452227"/>
                  <a:gd name="connsiteX204" fmla="*/ 30818 w 251130"/>
                  <a:gd name="connsiteY204" fmla="*/ 1177112 h 1452227"/>
                  <a:gd name="connsiteX205" fmla="*/ 25742 w 251130"/>
                  <a:gd name="connsiteY205" fmla="*/ 1180076 h 1452227"/>
                  <a:gd name="connsiteX206" fmla="*/ 18661 w 251130"/>
                  <a:gd name="connsiteY206" fmla="*/ 1173709 h 1452227"/>
                  <a:gd name="connsiteX207" fmla="*/ 11773 w 251130"/>
                  <a:gd name="connsiteY207" fmla="*/ 1173462 h 1452227"/>
                  <a:gd name="connsiteX208" fmla="*/ 3320 w 251130"/>
                  <a:gd name="connsiteY208" fmla="*/ 1169318 h 1452227"/>
                  <a:gd name="connsiteX209" fmla="*/ 6806 w 251130"/>
                  <a:gd name="connsiteY209" fmla="*/ 1146567 h 1452227"/>
                  <a:gd name="connsiteX210" fmla="*/ 0 w 251130"/>
                  <a:gd name="connsiteY210" fmla="*/ 1135590 h 1452227"/>
                  <a:gd name="connsiteX211" fmla="*/ 796 w 251130"/>
                  <a:gd name="connsiteY211" fmla="*/ 1112868 h 1452227"/>
                  <a:gd name="connsiteX212" fmla="*/ 4363 w 251130"/>
                  <a:gd name="connsiteY212" fmla="*/ 1098076 h 1452227"/>
                  <a:gd name="connsiteX213" fmla="*/ 11800 w 251130"/>
                  <a:gd name="connsiteY213" fmla="*/ 1096292 h 1452227"/>
                  <a:gd name="connsiteX214" fmla="*/ 11910 w 251130"/>
                  <a:gd name="connsiteY214" fmla="*/ 1082955 h 1452227"/>
                  <a:gd name="connsiteX215" fmla="*/ 16438 w 251130"/>
                  <a:gd name="connsiteY215" fmla="*/ 1079689 h 1452227"/>
                  <a:gd name="connsiteX216" fmla="*/ 23080 w 251130"/>
                  <a:gd name="connsiteY216" fmla="*/ 1085782 h 1452227"/>
                  <a:gd name="connsiteX217" fmla="*/ 26620 w 251130"/>
                  <a:gd name="connsiteY217" fmla="*/ 1099942 h 1452227"/>
                  <a:gd name="connsiteX218" fmla="*/ 34688 w 251130"/>
                  <a:gd name="connsiteY218" fmla="*/ 1115228 h 1452227"/>
                  <a:gd name="connsiteX219" fmla="*/ 29364 w 251130"/>
                  <a:gd name="connsiteY219" fmla="*/ 1087593 h 1452227"/>
                  <a:gd name="connsiteX220" fmla="*/ 31340 w 251130"/>
                  <a:gd name="connsiteY220" fmla="*/ 1082872 h 1452227"/>
                  <a:gd name="connsiteX221" fmla="*/ 30928 w 251130"/>
                  <a:gd name="connsiteY221" fmla="*/ 1072856 h 1452227"/>
                  <a:gd name="connsiteX222" fmla="*/ 38777 w 251130"/>
                  <a:gd name="connsiteY222" fmla="*/ 1056335 h 1452227"/>
                  <a:gd name="connsiteX223" fmla="*/ 40478 w 251130"/>
                  <a:gd name="connsiteY223" fmla="*/ 1048130 h 1452227"/>
                  <a:gd name="connsiteX224" fmla="*/ 35786 w 251130"/>
                  <a:gd name="connsiteY224" fmla="*/ 1040089 h 1452227"/>
                  <a:gd name="connsiteX225" fmla="*/ 29227 w 251130"/>
                  <a:gd name="connsiteY225" fmla="*/ 1039815 h 1452227"/>
                  <a:gd name="connsiteX226" fmla="*/ 15094 w 251130"/>
                  <a:gd name="connsiteY226" fmla="*/ 1034051 h 1452227"/>
                  <a:gd name="connsiteX227" fmla="*/ 5296 w 251130"/>
                  <a:gd name="connsiteY227" fmla="*/ 1039567 h 1452227"/>
                  <a:gd name="connsiteX228" fmla="*/ 1948 w 251130"/>
                  <a:gd name="connsiteY228" fmla="*/ 1032954 h 1452227"/>
                  <a:gd name="connsiteX229" fmla="*/ 5379 w 251130"/>
                  <a:gd name="connsiteY229" fmla="*/ 1025654 h 1452227"/>
                  <a:gd name="connsiteX230" fmla="*/ 18798 w 251130"/>
                  <a:gd name="connsiteY230" fmla="*/ 1012755 h 1452227"/>
                  <a:gd name="connsiteX231" fmla="*/ 18798 w 251130"/>
                  <a:gd name="connsiteY231" fmla="*/ 1002410 h 1452227"/>
                  <a:gd name="connsiteX232" fmla="*/ 26702 w 251130"/>
                  <a:gd name="connsiteY232" fmla="*/ 995302 h 1452227"/>
                  <a:gd name="connsiteX233" fmla="*/ 31340 w 251130"/>
                  <a:gd name="connsiteY233" fmla="*/ 985450 h 1452227"/>
                  <a:gd name="connsiteX234" fmla="*/ 36609 w 251130"/>
                  <a:gd name="connsiteY234" fmla="*/ 984270 h 1452227"/>
                  <a:gd name="connsiteX235" fmla="*/ 41933 w 251130"/>
                  <a:gd name="connsiteY235" fmla="*/ 986301 h 1452227"/>
                  <a:gd name="connsiteX236" fmla="*/ 40588 w 251130"/>
                  <a:gd name="connsiteY236" fmla="*/ 979824 h 1452227"/>
                  <a:gd name="connsiteX237" fmla="*/ 32877 w 251130"/>
                  <a:gd name="connsiteY237" fmla="*/ 972936 h 1452227"/>
                  <a:gd name="connsiteX238" fmla="*/ 34660 w 251130"/>
                  <a:gd name="connsiteY238" fmla="*/ 961822 h 1452227"/>
                  <a:gd name="connsiteX239" fmla="*/ 31422 w 251130"/>
                  <a:gd name="connsiteY239" fmla="*/ 951256 h 1452227"/>
                  <a:gd name="connsiteX240" fmla="*/ 30956 w 251130"/>
                  <a:gd name="connsiteY240" fmla="*/ 949884 h 1452227"/>
                  <a:gd name="connsiteX241" fmla="*/ 33865 w 251130"/>
                  <a:gd name="connsiteY241" fmla="*/ 947716 h 1452227"/>
                  <a:gd name="connsiteX242" fmla="*/ 32630 w 251130"/>
                  <a:gd name="connsiteY242" fmla="*/ 938714 h 1452227"/>
                  <a:gd name="connsiteX243" fmla="*/ 37679 w 251130"/>
                  <a:gd name="connsiteY243" fmla="*/ 926640 h 1452227"/>
                  <a:gd name="connsiteX244" fmla="*/ 53404 w 251130"/>
                  <a:gd name="connsiteY244" fmla="*/ 927298 h 1452227"/>
                  <a:gd name="connsiteX245" fmla="*/ 52938 w 251130"/>
                  <a:gd name="connsiteY245" fmla="*/ 921810 h 1452227"/>
                  <a:gd name="connsiteX246" fmla="*/ 47696 w 251130"/>
                  <a:gd name="connsiteY246" fmla="*/ 916349 h 1452227"/>
                  <a:gd name="connsiteX247" fmla="*/ 49754 w 251130"/>
                  <a:gd name="connsiteY247" fmla="*/ 914593 h 1452227"/>
                  <a:gd name="connsiteX248" fmla="*/ 57630 w 251130"/>
                  <a:gd name="connsiteY248" fmla="*/ 924664 h 1452227"/>
                  <a:gd name="connsiteX249" fmla="*/ 53706 w 251130"/>
                  <a:gd name="connsiteY249" fmla="*/ 936876 h 1452227"/>
                  <a:gd name="connsiteX250" fmla="*/ 57713 w 251130"/>
                  <a:gd name="connsiteY250" fmla="*/ 949609 h 1452227"/>
                  <a:gd name="connsiteX251" fmla="*/ 57493 w 251130"/>
                  <a:gd name="connsiteY251" fmla="*/ 951228 h 1452227"/>
                  <a:gd name="connsiteX252" fmla="*/ 53596 w 251130"/>
                  <a:gd name="connsiteY252" fmla="*/ 980785 h 1452227"/>
                  <a:gd name="connsiteX253" fmla="*/ 57493 w 251130"/>
                  <a:gd name="connsiteY253" fmla="*/ 982651 h 1452227"/>
                  <a:gd name="connsiteX254" fmla="*/ 58399 w 251130"/>
                  <a:gd name="connsiteY254" fmla="*/ 987453 h 1452227"/>
                  <a:gd name="connsiteX255" fmla="*/ 56532 w 251130"/>
                  <a:gd name="connsiteY255" fmla="*/ 991872 h 1452227"/>
                  <a:gd name="connsiteX256" fmla="*/ 53020 w 251130"/>
                  <a:gd name="connsiteY256" fmla="*/ 994012 h 1452227"/>
                  <a:gd name="connsiteX257" fmla="*/ 55737 w 251130"/>
                  <a:gd name="connsiteY257" fmla="*/ 1003425 h 1452227"/>
                  <a:gd name="connsiteX258" fmla="*/ 54968 w 251130"/>
                  <a:gd name="connsiteY258" fmla="*/ 1015198 h 1452227"/>
                  <a:gd name="connsiteX259" fmla="*/ 56231 w 251130"/>
                  <a:gd name="connsiteY259" fmla="*/ 1015500 h 1452227"/>
                  <a:gd name="connsiteX260" fmla="*/ 61609 w 251130"/>
                  <a:gd name="connsiteY260" fmla="*/ 986904 h 1452227"/>
                  <a:gd name="connsiteX261" fmla="*/ 64985 w 251130"/>
                  <a:gd name="connsiteY261" fmla="*/ 977821 h 1452227"/>
                  <a:gd name="connsiteX262" fmla="*/ 60814 w 251130"/>
                  <a:gd name="connsiteY262" fmla="*/ 971125 h 1452227"/>
                  <a:gd name="connsiteX263" fmla="*/ 65424 w 251130"/>
                  <a:gd name="connsiteY263" fmla="*/ 965087 h 1452227"/>
                  <a:gd name="connsiteX264" fmla="*/ 65150 w 251130"/>
                  <a:gd name="connsiteY264" fmla="*/ 951146 h 1452227"/>
                  <a:gd name="connsiteX265" fmla="*/ 65095 w 251130"/>
                  <a:gd name="connsiteY265" fmla="*/ 947030 h 1452227"/>
                  <a:gd name="connsiteX266" fmla="*/ 68278 w 251130"/>
                  <a:gd name="connsiteY266" fmla="*/ 937837 h 1452227"/>
                  <a:gd name="connsiteX267" fmla="*/ 72806 w 251130"/>
                  <a:gd name="connsiteY267" fmla="*/ 933693 h 1452227"/>
                  <a:gd name="connsiteX268" fmla="*/ 69239 w 251130"/>
                  <a:gd name="connsiteY268" fmla="*/ 922413 h 1452227"/>
                  <a:gd name="connsiteX269" fmla="*/ 75276 w 251130"/>
                  <a:gd name="connsiteY269" fmla="*/ 911957 h 1452227"/>
                  <a:gd name="connsiteX270" fmla="*/ 75523 w 251130"/>
                  <a:gd name="connsiteY270" fmla="*/ 907430 h 1452227"/>
                  <a:gd name="connsiteX271" fmla="*/ 74700 w 251130"/>
                  <a:gd name="connsiteY271" fmla="*/ 896233 h 1452227"/>
                  <a:gd name="connsiteX272" fmla="*/ 82493 w 251130"/>
                  <a:gd name="connsiteY272" fmla="*/ 879328 h 1452227"/>
                  <a:gd name="connsiteX273" fmla="*/ 81368 w 251130"/>
                  <a:gd name="connsiteY273" fmla="*/ 868159 h 1452227"/>
                  <a:gd name="connsiteX274" fmla="*/ 84332 w 251130"/>
                  <a:gd name="connsiteY274" fmla="*/ 859871 h 1452227"/>
                  <a:gd name="connsiteX275" fmla="*/ 83619 w 251130"/>
                  <a:gd name="connsiteY275" fmla="*/ 853312 h 1452227"/>
                  <a:gd name="connsiteX276" fmla="*/ 90233 w 251130"/>
                  <a:gd name="connsiteY276" fmla="*/ 848455 h 1452227"/>
                  <a:gd name="connsiteX277" fmla="*/ 89546 w 251130"/>
                  <a:gd name="connsiteY277" fmla="*/ 842527 h 1452227"/>
                  <a:gd name="connsiteX278" fmla="*/ 82878 w 251130"/>
                  <a:gd name="connsiteY278" fmla="*/ 837779 h 1452227"/>
                  <a:gd name="connsiteX279" fmla="*/ 84991 w 251130"/>
                  <a:gd name="connsiteY279" fmla="*/ 829546 h 1452227"/>
                  <a:gd name="connsiteX280" fmla="*/ 83179 w 251130"/>
                  <a:gd name="connsiteY280" fmla="*/ 823893 h 1452227"/>
                  <a:gd name="connsiteX281" fmla="*/ 77417 w 251130"/>
                  <a:gd name="connsiteY281" fmla="*/ 822054 h 1452227"/>
                  <a:gd name="connsiteX282" fmla="*/ 73465 w 251130"/>
                  <a:gd name="connsiteY282" fmla="*/ 832236 h 1452227"/>
                  <a:gd name="connsiteX283" fmla="*/ 62049 w 251130"/>
                  <a:gd name="connsiteY283" fmla="*/ 835282 h 1452227"/>
                  <a:gd name="connsiteX284" fmla="*/ 64326 w 251130"/>
                  <a:gd name="connsiteY284" fmla="*/ 850293 h 1452227"/>
                  <a:gd name="connsiteX285" fmla="*/ 60896 w 251130"/>
                  <a:gd name="connsiteY285" fmla="*/ 856468 h 1452227"/>
                  <a:gd name="connsiteX286" fmla="*/ 61362 w 251130"/>
                  <a:gd name="connsiteY286" fmla="*/ 859542 h 1452227"/>
                  <a:gd name="connsiteX287" fmla="*/ 56889 w 251130"/>
                  <a:gd name="connsiteY287" fmla="*/ 863246 h 1452227"/>
                  <a:gd name="connsiteX288" fmla="*/ 61554 w 251130"/>
                  <a:gd name="connsiteY288" fmla="*/ 880783 h 1452227"/>
                  <a:gd name="connsiteX289" fmla="*/ 54666 w 251130"/>
                  <a:gd name="connsiteY289" fmla="*/ 894586 h 1452227"/>
                  <a:gd name="connsiteX290" fmla="*/ 51016 w 251130"/>
                  <a:gd name="connsiteY290" fmla="*/ 896891 h 1452227"/>
                  <a:gd name="connsiteX291" fmla="*/ 44430 w 251130"/>
                  <a:gd name="connsiteY291" fmla="*/ 895986 h 1452227"/>
                  <a:gd name="connsiteX292" fmla="*/ 36801 w 251130"/>
                  <a:gd name="connsiteY292" fmla="*/ 888082 h 1452227"/>
                  <a:gd name="connsiteX293" fmla="*/ 41521 w 251130"/>
                  <a:gd name="connsiteY293" fmla="*/ 871205 h 1452227"/>
                  <a:gd name="connsiteX294" fmla="*/ 41905 w 251130"/>
                  <a:gd name="connsiteY294" fmla="*/ 855508 h 1452227"/>
                  <a:gd name="connsiteX295" fmla="*/ 46104 w 251130"/>
                  <a:gd name="connsiteY295" fmla="*/ 836489 h 1452227"/>
                  <a:gd name="connsiteX296" fmla="*/ 52938 w 251130"/>
                  <a:gd name="connsiteY296" fmla="*/ 833992 h 1452227"/>
                  <a:gd name="connsiteX297" fmla="*/ 56176 w 251130"/>
                  <a:gd name="connsiteY297" fmla="*/ 830507 h 1452227"/>
                  <a:gd name="connsiteX298" fmla="*/ 51209 w 251130"/>
                  <a:gd name="connsiteY298" fmla="*/ 816730 h 1452227"/>
                  <a:gd name="connsiteX299" fmla="*/ 49891 w 251130"/>
                  <a:gd name="connsiteY299" fmla="*/ 800100 h 1452227"/>
                  <a:gd name="connsiteX300" fmla="*/ 56341 w 251130"/>
                  <a:gd name="connsiteY300" fmla="*/ 765028 h 1452227"/>
                  <a:gd name="connsiteX301" fmla="*/ 63668 w 251130"/>
                  <a:gd name="connsiteY301" fmla="*/ 755450 h 1452227"/>
                  <a:gd name="connsiteX302" fmla="*/ 68799 w 251130"/>
                  <a:gd name="connsiteY302" fmla="*/ 739534 h 1452227"/>
                  <a:gd name="connsiteX303" fmla="*/ 61884 w 251130"/>
                  <a:gd name="connsiteY303" fmla="*/ 709758 h 1452227"/>
                  <a:gd name="connsiteX304" fmla="*/ 61884 w 251130"/>
                  <a:gd name="connsiteY304" fmla="*/ 690959 h 1452227"/>
                  <a:gd name="connsiteX305" fmla="*/ 57301 w 251130"/>
                  <a:gd name="connsiteY305" fmla="*/ 675619 h 1452227"/>
                  <a:gd name="connsiteX306" fmla="*/ 57630 w 251130"/>
                  <a:gd name="connsiteY306" fmla="*/ 660223 h 1452227"/>
                  <a:gd name="connsiteX307" fmla="*/ 59524 w 251130"/>
                  <a:gd name="connsiteY307" fmla="*/ 657534 h 1452227"/>
                  <a:gd name="connsiteX308" fmla="*/ 66384 w 251130"/>
                  <a:gd name="connsiteY308" fmla="*/ 657260 h 1452227"/>
                  <a:gd name="connsiteX309" fmla="*/ 69650 w 251130"/>
                  <a:gd name="connsiteY309" fmla="*/ 654405 h 1452227"/>
                  <a:gd name="connsiteX310" fmla="*/ 71599 w 251130"/>
                  <a:gd name="connsiteY310" fmla="*/ 643456 h 1452227"/>
                  <a:gd name="connsiteX311" fmla="*/ 77142 w 251130"/>
                  <a:gd name="connsiteY311" fmla="*/ 635223 h 1452227"/>
                  <a:gd name="connsiteX312" fmla="*/ 82384 w 251130"/>
                  <a:gd name="connsiteY312" fmla="*/ 614860 h 1452227"/>
                  <a:gd name="connsiteX313" fmla="*/ 87488 w 251130"/>
                  <a:gd name="connsiteY313" fmla="*/ 605091 h 1452227"/>
                  <a:gd name="connsiteX314" fmla="*/ 88696 w 251130"/>
                  <a:gd name="connsiteY314" fmla="*/ 596693 h 1452227"/>
                  <a:gd name="connsiteX315" fmla="*/ 99700 w 251130"/>
                  <a:gd name="connsiteY315" fmla="*/ 578306 h 1452227"/>
                  <a:gd name="connsiteX316" fmla="*/ 103734 w 251130"/>
                  <a:gd name="connsiteY316" fmla="*/ 564173 h 1452227"/>
                  <a:gd name="connsiteX317" fmla="*/ 106095 w 251130"/>
                  <a:gd name="connsiteY317" fmla="*/ 546500 h 1452227"/>
                  <a:gd name="connsiteX318" fmla="*/ 115096 w 251130"/>
                  <a:gd name="connsiteY318" fmla="*/ 528909 h 1452227"/>
                  <a:gd name="connsiteX319" fmla="*/ 114711 w 251130"/>
                  <a:gd name="connsiteY319" fmla="*/ 512223 h 1452227"/>
                  <a:gd name="connsiteX320" fmla="*/ 121518 w 251130"/>
                  <a:gd name="connsiteY320" fmla="*/ 492738 h 1452227"/>
                  <a:gd name="connsiteX321" fmla="*/ 114355 w 251130"/>
                  <a:gd name="connsiteY321" fmla="*/ 421387 h 1452227"/>
                  <a:gd name="connsiteX322" fmla="*/ 116002 w 251130"/>
                  <a:gd name="connsiteY322" fmla="*/ 414417 h 1452227"/>
                  <a:gd name="connsiteX323" fmla="*/ 122204 w 251130"/>
                  <a:gd name="connsiteY323" fmla="*/ 407967 h 1452227"/>
                  <a:gd name="connsiteX324" fmla="*/ 125442 w 251130"/>
                  <a:gd name="connsiteY324" fmla="*/ 399487 h 1452227"/>
                  <a:gd name="connsiteX325" fmla="*/ 125167 w 251130"/>
                  <a:gd name="connsiteY325" fmla="*/ 384558 h 1452227"/>
                  <a:gd name="connsiteX326" fmla="*/ 121188 w 251130"/>
                  <a:gd name="connsiteY326" fmla="*/ 375256 h 1452227"/>
                  <a:gd name="connsiteX327" fmla="*/ 120584 w 251130"/>
                  <a:gd name="connsiteY327" fmla="*/ 367324 h 1452227"/>
                  <a:gd name="connsiteX328" fmla="*/ 128790 w 251130"/>
                  <a:gd name="connsiteY328" fmla="*/ 348773 h 1452227"/>
                  <a:gd name="connsiteX329" fmla="*/ 132138 w 251130"/>
                  <a:gd name="connsiteY329" fmla="*/ 330852 h 1452227"/>
                  <a:gd name="connsiteX330" fmla="*/ 136803 w 251130"/>
                  <a:gd name="connsiteY330" fmla="*/ 321632 h 1452227"/>
                  <a:gd name="connsiteX331" fmla="*/ 136748 w 251130"/>
                  <a:gd name="connsiteY331" fmla="*/ 308734 h 1452227"/>
                  <a:gd name="connsiteX332" fmla="*/ 140234 w 251130"/>
                  <a:gd name="connsiteY332" fmla="*/ 301050 h 1452227"/>
                  <a:gd name="connsiteX333" fmla="*/ 144021 w 251130"/>
                  <a:gd name="connsiteY333" fmla="*/ 284254 h 1452227"/>
                  <a:gd name="connsiteX334" fmla="*/ 143966 w 251130"/>
                  <a:gd name="connsiteY334" fmla="*/ 261367 h 1452227"/>
                  <a:gd name="connsiteX335" fmla="*/ 150140 w 251130"/>
                  <a:gd name="connsiteY335" fmla="*/ 246630 h 1452227"/>
                  <a:gd name="connsiteX336" fmla="*/ 147780 w 251130"/>
                  <a:gd name="connsiteY336" fmla="*/ 220422 h 1452227"/>
                  <a:gd name="connsiteX337" fmla="*/ 151348 w 251130"/>
                  <a:gd name="connsiteY337" fmla="*/ 192650 h 1452227"/>
                  <a:gd name="connsiteX338" fmla="*/ 147067 w 251130"/>
                  <a:gd name="connsiteY338" fmla="*/ 187161 h 1452227"/>
                  <a:gd name="connsiteX339" fmla="*/ 146655 w 251130"/>
                  <a:gd name="connsiteY339" fmla="*/ 183511 h 1452227"/>
                  <a:gd name="connsiteX340" fmla="*/ 147972 w 251130"/>
                  <a:gd name="connsiteY340" fmla="*/ 176513 h 1452227"/>
                  <a:gd name="connsiteX341" fmla="*/ 152116 w 251130"/>
                  <a:gd name="connsiteY341" fmla="*/ 173522 h 1452227"/>
                  <a:gd name="connsiteX342" fmla="*/ 155300 w 251130"/>
                  <a:gd name="connsiteY342" fmla="*/ 167704 h 1452227"/>
                  <a:gd name="connsiteX343" fmla="*/ 161694 w 251130"/>
                  <a:gd name="connsiteY343" fmla="*/ 124536 h 1452227"/>
                  <a:gd name="connsiteX344" fmla="*/ 158675 w 251130"/>
                  <a:gd name="connsiteY344" fmla="*/ 101786 h 1452227"/>
                  <a:gd name="connsiteX345" fmla="*/ 159992 w 251130"/>
                  <a:gd name="connsiteY345" fmla="*/ 76319 h 1452227"/>
                  <a:gd name="connsiteX346" fmla="*/ 153077 w 251130"/>
                  <a:gd name="connsiteY346" fmla="*/ 26428 h 1452227"/>
                  <a:gd name="connsiteX347" fmla="*/ 167073 w 251130"/>
                  <a:gd name="connsiteY347" fmla="*/ 21707 h 1452227"/>
                  <a:gd name="connsiteX348" fmla="*/ 171134 w 251130"/>
                  <a:gd name="connsiteY348" fmla="*/ 14600 h 1452227"/>
                  <a:gd name="connsiteX349" fmla="*/ 170146 w 251130"/>
                  <a:gd name="connsiteY349" fmla="*/ 5544 h 1452227"/>
                  <a:gd name="connsiteX350" fmla="*/ 174867 w 251130"/>
                  <a:gd name="connsiteY350" fmla="*/ 4254 h 1452227"/>
                  <a:gd name="connsiteX351" fmla="*/ 179669 w 251130"/>
                  <a:gd name="connsiteY351" fmla="*/ 0 h 1452227"/>
                  <a:gd name="connsiteX352" fmla="*/ 185213 w 251130"/>
                  <a:gd name="connsiteY352" fmla="*/ 13639 h 1452227"/>
                  <a:gd name="connsiteX353" fmla="*/ 191003 w 251130"/>
                  <a:gd name="connsiteY353" fmla="*/ 17399 h 1452227"/>
                  <a:gd name="connsiteX354" fmla="*/ 190153 w 251130"/>
                  <a:gd name="connsiteY354" fmla="*/ 20637 h 1452227"/>
                  <a:gd name="connsiteX355" fmla="*/ 195778 w 251130"/>
                  <a:gd name="connsiteY355" fmla="*/ 45912 h 1452227"/>
                  <a:gd name="connsiteX356" fmla="*/ 210323 w 251130"/>
                  <a:gd name="connsiteY356" fmla="*/ 58838 h 1452227"/>
                  <a:gd name="connsiteX357" fmla="*/ 203572 w 251130"/>
                  <a:gd name="connsiteY357" fmla="*/ 69074 h 1452227"/>
                  <a:gd name="connsiteX358" fmla="*/ 207441 w 251130"/>
                  <a:gd name="connsiteY358" fmla="*/ 75194 h 1452227"/>
                  <a:gd name="connsiteX359" fmla="*/ 206152 w 251130"/>
                  <a:gd name="connsiteY359" fmla="*/ 78762 h 1452227"/>
                  <a:gd name="connsiteX360" fmla="*/ 200910 w 251130"/>
                  <a:gd name="connsiteY360" fmla="*/ 80436 h 1452227"/>
                  <a:gd name="connsiteX361" fmla="*/ 202913 w 251130"/>
                  <a:gd name="connsiteY361" fmla="*/ 87378 h 1452227"/>
                  <a:gd name="connsiteX362" fmla="*/ 201404 w 251130"/>
                  <a:gd name="connsiteY362" fmla="*/ 90507 h 1452227"/>
                  <a:gd name="connsiteX363" fmla="*/ 209308 w 251130"/>
                  <a:gd name="connsiteY363" fmla="*/ 97258 h 1452227"/>
                  <a:gd name="connsiteX364" fmla="*/ 207002 w 251130"/>
                  <a:gd name="connsiteY364" fmla="*/ 101100 h 1452227"/>
                  <a:gd name="connsiteX365" fmla="*/ 207249 w 251130"/>
                  <a:gd name="connsiteY365" fmla="*/ 105409 h 1452227"/>
                  <a:gd name="connsiteX366" fmla="*/ 211832 w 251130"/>
                  <a:gd name="connsiteY366" fmla="*/ 108153 h 1452227"/>
                  <a:gd name="connsiteX367" fmla="*/ 217568 w 251130"/>
                  <a:gd name="connsiteY367" fmla="*/ 118032 h 1452227"/>
                  <a:gd name="connsiteX368" fmla="*/ 218007 w 251130"/>
                  <a:gd name="connsiteY368" fmla="*/ 127692 h 1452227"/>
                  <a:gd name="connsiteX369" fmla="*/ 221026 w 251130"/>
                  <a:gd name="connsiteY369" fmla="*/ 133098 h 1452227"/>
                  <a:gd name="connsiteX370" fmla="*/ 221465 w 251130"/>
                  <a:gd name="connsiteY370" fmla="*/ 139657 h 1452227"/>
                  <a:gd name="connsiteX371" fmla="*/ 223962 w 251130"/>
                  <a:gd name="connsiteY371" fmla="*/ 142896 h 1452227"/>
                  <a:gd name="connsiteX372" fmla="*/ 227118 w 251130"/>
                  <a:gd name="connsiteY372" fmla="*/ 158099 h 1452227"/>
                  <a:gd name="connsiteX373" fmla="*/ 226898 w 251130"/>
                  <a:gd name="connsiteY373" fmla="*/ 166497 h 145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Lst>
                <a:rect l="l" t="t" r="r" b="b"/>
                <a:pathLst>
                  <a:path w="251130" h="1452227">
                    <a:moveTo>
                      <a:pt x="226898" y="166414"/>
                    </a:moveTo>
                    <a:lnTo>
                      <a:pt x="235159" y="168967"/>
                    </a:lnTo>
                    <a:lnTo>
                      <a:pt x="247179" y="166167"/>
                    </a:lnTo>
                    <a:lnTo>
                      <a:pt x="250582" y="171052"/>
                    </a:lnTo>
                    <a:lnTo>
                      <a:pt x="251131" y="175443"/>
                    </a:lnTo>
                    <a:lnTo>
                      <a:pt x="242514" y="202584"/>
                    </a:lnTo>
                    <a:lnTo>
                      <a:pt x="217458" y="217046"/>
                    </a:lnTo>
                    <a:lnTo>
                      <a:pt x="208457" y="227722"/>
                    </a:lnTo>
                    <a:lnTo>
                      <a:pt x="210296" y="238754"/>
                    </a:lnTo>
                    <a:lnTo>
                      <a:pt x="206893" y="248716"/>
                    </a:lnTo>
                    <a:lnTo>
                      <a:pt x="210186" y="272235"/>
                    </a:lnTo>
                    <a:lnTo>
                      <a:pt x="206975" y="284913"/>
                    </a:lnTo>
                    <a:lnTo>
                      <a:pt x="212189" y="301187"/>
                    </a:lnTo>
                    <a:lnTo>
                      <a:pt x="207826" y="305935"/>
                    </a:lnTo>
                    <a:lnTo>
                      <a:pt x="199017" y="309063"/>
                    </a:lnTo>
                    <a:lnTo>
                      <a:pt x="188835" y="332966"/>
                    </a:lnTo>
                    <a:lnTo>
                      <a:pt x="175553" y="349898"/>
                    </a:lnTo>
                    <a:lnTo>
                      <a:pt x="171134" y="369273"/>
                    </a:lnTo>
                    <a:lnTo>
                      <a:pt x="165591" y="380827"/>
                    </a:lnTo>
                    <a:lnTo>
                      <a:pt x="167567" y="410547"/>
                    </a:lnTo>
                    <a:lnTo>
                      <a:pt x="159992" y="420482"/>
                    </a:lnTo>
                    <a:lnTo>
                      <a:pt x="155272" y="436316"/>
                    </a:lnTo>
                    <a:lnTo>
                      <a:pt x="149207" y="447705"/>
                    </a:lnTo>
                    <a:lnTo>
                      <a:pt x="149262" y="457063"/>
                    </a:lnTo>
                    <a:lnTo>
                      <a:pt x="155766" y="470976"/>
                    </a:lnTo>
                    <a:lnTo>
                      <a:pt x="155931" y="479978"/>
                    </a:lnTo>
                    <a:lnTo>
                      <a:pt x="162270" y="500313"/>
                    </a:lnTo>
                    <a:lnTo>
                      <a:pt x="163396" y="511510"/>
                    </a:lnTo>
                    <a:lnTo>
                      <a:pt x="169378" y="519770"/>
                    </a:lnTo>
                    <a:lnTo>
                      <a:pt x="168527" y="543755"/>
                    </a:lnTo>
                    <a:lnTo>
                      <a:pt x="157605" y="564804"/>
                    </a:lnTo>
                    <a:lnTo>
                      <a:pt x="149921" y="585661"/>
                    </a:lnTo>
                    <a:lnTo>
                      <a:pt x="153159" y="602675"/>
                    </a:lnTo>
                    <a:lnTo>
                      <a:pt x="151677" y="614997"/>
                    </a:lnTo>
                    <a:lnTo>
                      <a:pt x="142539" y="626359"/>
                    </a:lnTo>
                    <a:lnTo>
                      <a:pt x="135074" y="631902"/>
                    </a:lnTo>
                    <a:lnTo>
                      <a:pt x="131589" y="640354"/>
                    </a:lnTo>
                    <a:lnTo>
                      <a:pt x="129997" y="675619"/>
                    </a:lnTo>
                    <a:lnTo>
                      <a:pt x="137297" y="709456"/>
                    </a:lnTo>
                    <a:lnTo>
                      <a:pt x="134086" y="715109"/>
                    </a:lnTo>
                    <a:lnTo>
                      <a:pt x="123521" y="724358"/>
                    </a:lnTo>
                    <a:lnTo>
                      <a:pt x="120996" y="741647"/>
                    </a:lnTo>
                    <a:lnTo>
                      <a:pt x="115535" y="750812"/>
                    </a:lnTo>
                    <a:lnTo>
                      <a:pt x="115535" y="760253"/>
                    </a:lnTo>
                    <a:cubicBezTo>
                      <a:pt x="115535" y="760253"/>
                      <a:pt x="112406" y="770352"/>
                      <a:pt x="112406" y="770352"/>
                    </a:cubicBezTo>
                    <a:lnTo>
                      <a:pt x="112955" y="777926"/>
                    </a:lnTo>
                    <a:lnTo>
                      <a:pt x="108317" y="791291"/>
                    </a:lnTo>
                    <a:lnTo>
                      <a:pt x="109607" y="826555"/>
                    </a:lnTo>
                    <a:lnTo>
                      <a:pt x="111775" y="841237"/>
                    </a:lnTo>
                    <a:lnTo>
                      <a:pt x="104091" y="851172"/>
                    </a:lnTo>
                    <a:lnTo>
                      <a:pt x="103131" y="873263"/>
                    </a:lnTo>
                    <a:lnTo>
                      <a:pt x="104256" y="878176"/>
                    </a:lnTo>
                    <a:lnTo>
                      <a:pt x="111117" y="888906"/>
                    </a:lnTo>
                    <a:lnTo>
                      <a:pt x="109827" y="899745"/>
                    </a:lnTo>
                    <a:lnTo>
                      <a:pt x="114218" y="907402"/>
                    </a:lnTo>
                    <a:lnTo>
                      <a:pt x="112132" y="933171"/>
                    </a:lnTo>
                    <a:lnTo>
                      <a:pt x="115343" y="936519"/>
                    </a:lnTo>
                    <a:lnTo>
                      <a:pt x="126265" y="939840"/>
                    </a:lnTo>
                    <a:lnTo>
                      <a:pt x="128378" y="943434"/>
                    </a:lnTo>
                    <a:lnTo>
                      <a:pt x="124234" y="951119"/>
                    </a:lnTo>
                    <a:lnTo>
                      <a:pt x="123576" y="952353"/>
                    </a:lnTo>
                    <a:lnTo>
                      <a:pt x="106945" y="955098"/>
                    </a:lnTo>
                    <a:lnTo>
                      <a:pt x="108921" y="958665"/>
                    </a:lnTo>
                    <a:lnTo>
                      <a:pt x="118526" y="964566"/>
                    </a:lnTo>
                    <a:lnTo>
                      <a:pt x="123054" y="972963"/>
                    </a:lnTo>
                    <a:lnTo>
                      <a:pt x="120036" y="980949"/>
                    </a:lnTo>
                    <a:lnTo>
                      <a:pt x="113230" y="990445"/>
                    </a:lnTo>
                    <a:lnTo>
                      <a:pt x="115178" y="1002080"/>
                    </a:lnTo>
                    <a:lnTo>
                      <a:pt x="110842" y="1012289"/>
                    </a:lnTo>
                    <a:lnTo>
                      <a:pt x="114163" y="1031225"/>
                    </a:lnTo>
                    <a:lnTo>
                      <a:pt x="108098" y="1041242"/>
                    </a:lnTo>
                    <a:lnTo>
                      <a:pt x="107357" y="1055622"/>
                    </a:lnTo>
                    <a:lnTo>
                      <a:pt x="95611" y="1069727"/>
                    </a:lnTo>
                    <a:lnTo>
                      <a:pt x="91714" y="1085864"/>
                    </a:lnTo>
                    <a:lnTo>
                      <a:pt x="94980" y="1095908"/>
                    </a:lnTo>
                    <a:lnTo>
                      <a:pt x="95419" y="1103043"/>
                    </a:lnTo>
                    <a:lnTo>
                      <a:pt x="89245" y="1112566"/>
                    </a:lnTo>
                    <a:lnTo>
                      <a:pt x="87104" y="1125739"/>
                    </a:lnTo>
                    <a:lnTo>
                      <a:pt x="72669" y="1139734"/>
                    </a:lnTo>
                    <a:lnTo>
                      <a:pt x="62103" y="1146705"/>
                    </a:lnTo>
                    <a:lnTo>
                      <a:pt x="60512" y="1158231"/>
                    </a:lnTo>
                    <a:lnTo>
                      <a:pt x="61884" y="1169894"/>
                    </a:lnTo>
                    <a:lnTo>
                      <a:pt x="60484" y="1181557"/>
                    </a:lnTo>
                    <a:lnTo>
                      <a:pt x="61280" y="1195170"/>
                    </a:lnTo>
                    <a:lnTo>
                      <a:pt x="72806" y="1213089"/>
                    </a:lnTo>
                    <a:lnTo>
                      <a:pt x="83975" y="1209686"/>
                    </a:lnTo>
                    <a:lnTo>
                      <a:pt x="95200" y="1211608"/>
                    </a:lnTo>
                    <a:lnTo>
                      <a:pt x="97258" y="1222914"/>
                    </a:lnTo>
                    <a:lnTo>
                      <a:pt x="95172" y="1230900"/>
                    </a:lnTo>
                    <a:lnTo>
                      <a:pt x="96215" y="1239709"/>
                    </a:lnTo>
                    <a:lnTo>
                      <a:pt x="93800" y="1252114"/>
                    </a:lnTo>
                    <a:lnTo>
                      <a:pt x="103872" y="1264600"/>
                    </a:lnTo>
                    <a:lnTo>
                      <a:pt x="107769" y="1272860"/>
                    </a:lnTo>
                    <a:lnTo>
                      <a:pt x="163588" y="1274479"/>
                    </a:lnTo>
                    <a:lnTo>
                      <a:pt x="192951" y="1283096"/>
                    </a:lnTo>
                    <a:lnTo>
                      <a:pt x="207277" y="1288887"/>
                    </a:lnTo>
                    <a:lnTo>
                      <a:pt x="210268" y="1292646"/>
                    </a:lnTo>
                    <a:lnTo>
                      <a:pt x="185871" y="1284578"/>
                    </a:lnTo>
                    <a:lnTo>
                      <a:pt x="180657" y="1287762"/>
                    </a:lnTo>
                    <a:lnTo>
                      <a:pt x="173083" y="1297861"/>
                    </a:lnTo>
                    <a:lnTo>
                      <a:pt x="143691" y="1309277"/>
                    </a:lnTo>
                    <a:lnTo>
                      <a:pt x="138752" y="1321544"/>
                    </a:lnTo>
                    <a:lnTo>
                      <a:pt x="135404" y="1354942"/>
                    </a:lnTo>
                    <a:lnTo>
                      <a:pt x="130656" y="1362270"/>
                    </a:lnTo>
                    <a:lnTo>
                      <a:pt x="122697" y="1364026"/>
                    </a:lnTo>
                    <a:lnTo>
                      <a:pt x="101237" y="1354558"/>
                    </a:lnTo>
                    <a:lnTo>
                      <a:pt x="98905" y="1356561"/>
                    </a:lnTo>
                    <a:lnTo>
                      <a:pt x="102801" y="1363971"/>
                    </a:lnTo>
                    <a:lnTo>
                      <a:pt x="131836" y="1376650"/>
                    </a:lnTo>
                    <a:lnTo>
                      <a:pt x="134278" y="1382083"/>
                    </a:lnTo>
                    <a:lnTo>
                      <a:pt x="135212" y="1391414"/>
                    </a:lnTo>
                    <a:lnTo>
                      <a:pt x="146820" y="1391167"/>
                    </a:lnTo>
                    <a:lnTo>
                      <a:pt x="146820" y="1387599"/>
                    </a:lnTo>
                    <a:lnTo>
                      <a:pt x="139849" y="1381452"/>
                    </a:lnTo>
                    <a:lnTo>
                      <a:pt x="138779" y="1369377"/>
                    </a:lnTo>
                    <a:lnTo>
                      <a:pt x="148713" y="1353872"/>
                    </a:lnTo>
                    <a:lnTo>
                      <a:pt x="154915" y="1376952"/>
                    </a:lnTo>
                    <a:lnTo>
                      <a:pt x="155574" y="1387078"/>
                    </a:lnTo>
                    <a:lnTo>
                      <a:pt x="162572" y="1386584"/>
                    </a:lnTo>
                    <a:lnTo>
                      <a:pt x="168527" y="1391085"/>
                    </a:lnTo>
                    <a:lnTo>
                      <a:pt x="173769" y="1389740"/>
                    </a:lnTo>
                    <a:lnTo>
                      <a:pt x="186585" y="1393115"/>
                    </a:lnTo>
                    <a:lnTo>
                      <a:pt x="185405" y="1388917"/>
                    </a:lnTo>
                    <a:lnTo>
                      <a:pt x="165948" y="1376677"/>
                    </a:lnTo>
                    <a:lnTo>
                      <a:pt x="161200" y="1366139"/>
                    </a:lnTo>
                    <a:lnTo>
                      <a:pt x="163505" y="1358318"/>
                    </a:lnTo>
                    <a:lnTo>
                      <a:pt x="179010" y="1349042"/>
                    </a:lnTo>
                    <a:lnTo>
                      <a:pt x="180986" y="1342730"/>
                    </a:lnTo>
                    <a:lnTo>
                      <a:pt x="177309" y="1340727"/>
                    </a:lnTo>
                    <a:lnTo>
                      <a:pt x="156315" y="1342373"/>
                    </a:lnTo>
                    <a:lnTo>
                      <a:pt x="152391" y="1338175"/>
                    </a:lnTo>
                    <a:lnTo>
                      <a:pt x="152199" y="1328048"/>
                    </a:lnTo>
                    <a:lnTo>
                      <a:pt x="158758" y="1319513"/>
                    </a:lnTo>
                    <a:lnTo>
                      <a:pt x="159197" y="1311856"/>
                    </a:lnTo>
                    <a:lnTo>
                      <a:pt x="169021" y="1310759"/>
                    </a:lnTo>
                    <a:lnTo>
                      <a:pt x="179312" y="1299123"/>
                    </a:lnTo>
                    <a:lnTo>
                      <a:pt x="189000" y="1304612"/>
                    </a:lnTo>
                    <a:lnTo>
                      <a:pt x="199401" y="1302389"/>
                    </a:lnTo>
                    <a:lnTo>
                      <a:pt x="205081" y="1304859"/>
                    </a:lnTo>
                    <a:lnTo>
                      <a:pt x="205081" y="1364986"/>
                    </a:lnTo>
                    <a:cubicBezTo>
                      <a:pt x="205081" y="1364986"/>
                      <a:pt x="205081" y="1388148"/>
                      <a:pt x="205081" y="1388148"/>
                    </a:cubicBezTo>
                    <a:lnTo>
                      <a:pt x="205081" y="1416579"/>
                    </a:lnTo>
                    <a:lnTo>
                      <a:pt x="240263" y="1419488"/>
                    </a:lnTo>
                    <a:lnTo>
                      <a:pt x="245807" y="1422974"/>
                    </a:lnTo>
                    <a:lnTo>
                      <a:pt x="247426" y="1427364"/>
                    </a:lnTo>
                    <a:lnTo>
                      <a:pt x="239138" y="1435460"/>
                    </a:lnTo>
                    <a:lnTo>
                      <a:pt x="225828" y="1433429"/>
                    </a:lnTo>
                    <a:lnTo>
                      <a:pt x="218034" y="1426678"/>
                    </a:lnTo>
                    <a:lnTo>
                      <a:pt x="214412" y="1426953"/>
                    </a:lnTo>
                    <a:lnTo>
                      <a:pt x="213671" y="1437216"/>
                    </a:lnTo>
                    <a:lnTo>
                      <a:pt x="219050" y="1447782"/>
                    </a:lnTo>
                    <a:lnTo>
                      <a:pt x="217897" y="1452228"/>
                    </a:lnTo>
                    <a:lnTo>
                      <a:pt x="200251" y="1449538"/>
                    </a:lnTo>
                    <a:lnTo>
                      <a:pt x="193116" y="1442595"/>
                    </a:lnTo>
                    <a:lnTo>
                      <a:pt x="188341" y="1447672"/>
                    </a:lnTo>
                    <a:lnTo>
                      <a:pt x="177913" y="1445778"/>
                    </a:lnTo>
                    <a:lnTo>
                      <a:pt x="170037" y="1437820"/>
                    </a:lnTo>
                    <a:lnTo>
                      <a:pt x="161228" y="1418637"/>
                    </a:lnTo>
                    <a:lnTo>
                      <a:pt x="145365" y="1425745"/>
                    </a:lnTo>
                    <a:lnTo>
                      <a:pt x="128982" y="1419845"/>
                    </a:lnTo>
                    <a:lnTo>
                      <a:pt x="128653" y="1416497"/>
                    </a:lnTo>
                    <a:lnTo>
                      <a:pt x="134772" y="1413560"/>
                    </a:lnTo>
                    <a:lnTo>
                      <a:pt x="128076" y="1405327"/>
                    </a:lnTo>
                    <a:lnTo>
                      <a:pt x="116578" y="1406480"/>
                    </a:lnTo>
                    <a:lnTo>
                      <a:pt x="107796" y="1403489"/>
                    </a:lnTo>
                    <a:lnTo>
                      <a:pt x="108427" y="1396848"/>
                    </a:lnTo>
                    <a:lnTo>
                      <a:pt x="114876" y="1388395"/>
                    </a:lnTo>
                    <a:lnTo>
                      <a:pt x="103186" y="1383922"/>
                    </a:lnTo>
                    <a:lnTo>
                      <a:pt x="94870" y="1387325"/>
                    </a:lnTo>
                    <a:lnTo>
                      <a:pt x="89574" y="1376869"/>
                    </a:lnTo>
                    <a:lnTo>
                      <a:pt x="76785" y="1374399"/>
                    </a:lnTo>
                    <a:lnTo>
                      <a:pt x="71900" y="1366907"/>
                    </a:lnTo>
                    <a:lnTo>
                      <a:pt x="69485" y="1358263"/>
                    </a:lnTo>
                    <a:lnTo>
                      <a:pt x="60814" y="1359470"/>
                    </a:lnTo>
                    <a:lnTo>
                      <a:pt x="57109" y="1355629"/>
                    </a:lnTo>
                    <a:lnTo>
                      <a:pt x="55791" y="1336446"/>
                    </a:lnTo>
                    <a:lnTo>
                      <a:pt x="39079" y="1328487"/>
                    </a:lnTo>
                    <a:lnTo>
                      <a:pt x="32355" y="1318772"/>
                    </a:lnTo>
                    <a:lnTo>
                      <a:pt x="34852" y="1316357"/>
                    </a:lnTo>
                    <a:lnTo>
                      <a:pt x="55737" y="1326786"/>
                    </a:lnTo>
                    <a:lnTo>
                      <a:pt x="74315" y="1342099"/>
                    </a:lnTo>
                    <a:lnTo>
                      <a:pt x="76621" y="1341440"/>
                    </a:lnTo>
                    <a:lnTo>
                      <a:pt x="64189" y="1321736"/>
                    </a:lnTo>
                    <a:lnTo>
                      <a:pt x="63421" y="1310594"/>
                    </a:lnTo>
                    <a:lnTo>
                      <a:pt x="55407" y="1309689"/>
                    </a:lnTo>
                    <a:lnTo>
                      <a:pt x="46488" y="1304914"/>
                    </a:lnTo>
                    <a:lnTo>
                      <a:pt x="45116" y="1293442"/>
                    </a:lnTo>
                    <a:lnTo>
                      <a:pt x="38612" y="1284222"/>
                    </a:lnTo>
                    <a:lnTo>
                      <a:pt x="37377" y="1265917"/>
                    </a:lnTo>
                    <a:lnTo>
                      <a:pt x="46955" y="1252882"/>
                    </a:lnTo>
                    <a:lnTo>
                      <a:pt x="47915" y="1248519"/>
                    </a:lnTo>
                    <a:lnTo>
                      <a:pt x="37954" y="1225768"/>
                    </a:lnTo>
                    <a:lnTo>
                      <a:pt x="26016" y="1245719"/>
                    </a:lnTo>
                    <a:lnTo>
                      <a:pt x="19484" y="1249561"/>
                    </a:lnTo>
                    <a:lnTo>
                      <a:pt x="11910" y="1248161"/>
                    </a:lnTo>
                    <a:lnTo>
                      <a:pt x="17124" y="1231064"/>
                    </a:lnTo>
                    <a:lnTo>
                      <a:pt x="18414" y="1214325"/>
                    </a:lnTo>
                    <a:lnTo>
                      <a:pt x="25247" y="1211004"/>
                    </a:lnTo>
                    <a:lnTo>
                      <a:pt x="27717" y="1200740"/>
                    </a:lnTo>
                    <a:lnTo>
                      <a:pt x="35731" y="1199642"/>
                    </a:lnTo>
                    <a:lnTo>
                      <a:pt x="30928" y="1188336"/>
                    </a:lnTo>
                    <a:lnTo>
                      <a:pt x="36142" y="1180322"/>
                    </a:lnTo>
                    <a:lnTo>
                      <a:pt x="37185" y="1173160"/>
                    </a:lnTo>
                    <a:lnTo>
                      <a:pt x="35264" y="1170662"/>
                    </a:lnTo>
                    <a:lnTo>
                      <a:pt x="30818" y="1177112"/>
                    </a:lnTo>
                    <a:lnTo>
                      <a:pt x="25742" y="1180076"/>
                    </a:lnTo>
                    <a:lnTo>
                      <a:pt x="18661" y="1173709"/>
                    </a:lnTo>
                    <a:lnTo>
                      <a:pt x="11773" y="1173462"/>
                    </a:lnTo>
                    <a:lnTo>
                      <a:pt x="3320" y="1169318"/>
                    </a:lnTo>
                    <a:lnTo>
                      <a:pt x="6806" y="1146567"/>
                    </a:lnTo>
                    <a:lnTo>
                      <a:pt x="0" y="1135590"/>
                    </a:lnTo>
                    <a:lnTo>
                      <a:pt x="796" y="1112868"/>
                    </a:lnTo>
                    <a:lnTo>
                      <a:pt x="4363" y="1098076"/>
                    </a:lnTo>
                    <a:lnTo>
                      <a:pt x="11800" y="1096292"/>
                    </a:lnTo>
                    <a:lnTo>
                      <a:pt x="11910" y="1082955"/>
                    </a:lnTo>
                    <a:lnTo>
                      <a:pt x="16438" y="1079689"/>
                    </a:lnTo>
                    <a:lnTo>
                      <a:pt x="23080" y="1085782"/>
                    </a:lnTo>
                    <a:lnTo>
                      <a:pt x="26620" y="1099942"/>
                    </a:lnTo>
                    <a:lnTo>
                      <a:pt x="34688" y="1115228"/>
                    </a:lnTo>
                    <a:lnTo>
                      <a:pt x="29364" y="1087593"/>
                    </a:lnTo>
                    <a:lnTo>
                      <a:pt x="31340" y="1082872"/>
                    </a:lnTo>
                    <a:lnTo>
                      <a:pt x="30928" y="1072856"/>
                    </a:lnTo>
                    <a:lnTo>
                      <a:pt x="38777" y="1056335"/>
                    </a:lnTo>
                    <a:lnTo>
                      <a:pt x="40478" y="1048130"/>
                    </a:lnTo>
                    <a:lnTo>
                      <a:pt x="35786" y="1040089"/>
                    </a:lnTo>
                    <a:lnTo>
                      <a:pt x="29227" y="1039815"/>
                    </a:lnTo>
                    <a:lnTo>
                      <a:pt x="15094" y="1034051"/>
                    </a:lnTo>
                    <a:lnTo>
                      <a:pt x="5296" y="1039567"/>
                    </a:lnTo>
                    <a:lnTo>
                      <a:pt x="1948" y="1032954"/>
                    </a:lnTo>
                    <a:lnTo>
                      <a:pt x="5379" y="1025654"/>
                    </a:lnTo>
                    <a:lnTo>
                      <a:pt x="18798" y="1012755"/>
                    </a:lnTo>
                    <a:lnTo>
                      <a:pt x="18798" y="1002410"/>
                    </a:lnTo>
                    <a:cubicBezTo>
                      <a:pt x="18798" y="1002410"/>
                      <a:pt x="26702" y="995302"/>
                      <a:pt x="26702" y="995302"/>
                    </a:cubicBezTo>
                    <a:lnTo>
                      <a:pt x="31340" y="985450"/>
                    </a:lnTo>
                    <a:lnTo>
                      <a:pt x="36609" y="984270"/>
                    </a:lnTo>
                    <a:lnTo>
                      <a:pt x="41933" y="986301"/>
                    </a:lnTo>
                    <a:lnTo>
                      <a:pt x="40588" y="979824"/>
                    </a:lnTo>
                    <a:lnTo>
                      <a:pt x="32877" y="972936"/>
                    </a:lnTo>
                    <a:lnTo>
                      <a:pt x="34660" y="961822"/>
                    </a:lnTo>
                    <a:lnTo>
                      <a:pt x="31422" y="951256"/>
                    </a:lnTo>
                    <a:lnTo>
                      <a:pt x="30956" y="949884"/>
                    </a:lnTo>
                    <a:lnTo>
                      <a:pt x="33865" y="947716"/>
                    </a:lnTo>
                    <a:lnTo>
                      <a:pt x="32630" y="938714"/>
                    </a:lnTo>
                    <a:lnTo>
                      <a:pt x="37679" y="926640"/>
                    </a:lnTo>
                    <a:lnTo>
                      <a:pt x="53404" y="927298"/>
                    </a:lnTo>
                    <a:lnTo>
                      <a:pt x="52938" y="921810"/>
                    </a:lnTo>
                    <a:lnTo>
                      <a:pt x="47696" y="916349"/>
                    </a:lnTo>
                    <a:lnTo>
                      <a:pt x="49754" y="914593"/>
                    </a:lnTo>
                    <a:lnTo>
                      <a:pt x="57630" y="924664"/>
                    </a:lnTo>
                    <a:lnTo>
                      <a:pt x="53706" y="936876"/>
                    </a:lnTo>
                    <a:lnTo>
                      <a:pt x="57713" y="949609"/>
                    </a:lnTo>
                    <a:lnTo>
                      <a:pt x="57493" y="951228"/>
                    </a:lnTo>
                    <a:lnTo>
                      <a:pt x="53596" y="980785"/>
                    </a:lnTo>
                    <a:lnTo>
                      <a:pt x="57493" y="982651"/>
                    </a:lnTo>
                    <a:lnTo>
                      <a:pt x="58399" y="987453"/>
                    </a:lnTo>
                    <a:lnTo>
                      <a:pt x="56532" y="991872"/>
                    </a:lnTo>
                    <a:lnTo>
                      <a:pt x="53020" y="994012"/>
                    </a:lnTo>
                    <a:lnTo>
                      <a:pt x="55737" y="1003425"/>
                    </a:lnTo>
                    <a:lnTo>
                      <a:pt x="54968" y="1015198"/>
                    </a:lnTo>
                    <a:lnTo>
                      <a:pt x="56231" y="1015500"/>
                    </a:lnTo>
                    <a:lnTo>
                      <a:pt x="61609" y="986904"/>
                    </a:lnTo>
                    <a:lnTo>
                      <a:pt x="64985" y="977821"/>
                    </a:lnTo>
                    <a:lnTo>
                      <a:pt x="60814" y="971125"/>
                    </a:lnTo>
                    <a:lnTo>
                      <a:pt x="65424" y="965087"/>
                    </a:lnTo>
                    <a:lnTo>
                      <a:pt x="65150" y="951146"/>
                    </a:lnTo>
                    <a:lnTo>
                      <a:pt x="65095" y="947030"/>
                    </a:lnTo>
                    <a:lnTo>
                      <a:pt x="68278" y="937837"/>
                    </a:lnTo>
                    <a:lnTo>
                      <a:pt x="72806" y="933693"/>
                    </a:lnTo>
                    <a:lnTo>
                      <a:pt x="69239" y="922413"/>
                    </a:lnTo>
                    <a:lnTo>
                      <a:pt x="75276" y="911957"/>
                    </a:lnTo>
                    <a:lnTo>
                      <a:pt x="75523" y="907430"/>
                    </a:lnTo>
                    <a:lnTo>
                      <a:pt x="74700" y="896233"/>
                    </a:lnTo>
                    <a:lnTo>
                      <a:pt x="82493" y="879328"/>
                    </a:lnTo>
                    <a:lnTo>
                      <a:pt x="81368" y="868159"/>
                    </a:lnTo>
                    <a:lnTo>
                      <a:pt x="84332" y="859871"/>
                    </a:lnTo>
                    <a:lnTo>
                      <a:pt x="83619" y="853312"/>
                    </a:lnTo>
                    <a:lnTo>
                      <a:pt x="90233" y="848455"/>
                    </a:lnTo>
                    <a:lnTo>
                      <a:pt x="89546" y="842527"/>
                    </a:lnTo>
                    <a:lnTo>
                      <a:pt x="82878" y="837779"/>
                    </a:lnTo>
                    <a:lnTo>
                      <a:pt x="84991" y="829546"/>
                    </a:lnTo>
                    <a:lnTo>
                      <a:pt x="83179" y="823893"/>
                    </a:lnTo>
                    <a:lnTo>
                      <a:pt x="77417" y="822054"/>
                    </a:lnTo>
                    <a:lnTo>
                      <a:pt x="73465" y="832236"/>
                    </a:lnTo>
                    <a:lnTo>
                      <a:pt x="62049" y="835282"/>
                    </a:lnTo>
                    <a:lnTo>
                      <a:pt x="64326" y="850293"/>
                    </a:lnTo>
                    <a:lnTo>
                      <a:pt x="60896" y="856468"/>
                    </a:lnTo>
                    <a:lnTo>
                      <a:pt x="61362" y="859542"/>
                    </a:lnTo>
                    <a:lnTo>
                      <a:pt x="56889" y="863246"/>
                    </a:lnTo>
                    <a:lnTo>
                      <a:pt x="61554" y="880783"/>
                    </a:lnTo>
                    <a:lnTo>
                      <a:pt x="54666" y="894586"/>
                    </a:lnTo>
                    <a:lnTo>
                      <a:pt x="51016" y="896891"/>
                    </a:lnTo>
                    <a:lnTo>
                      <a:pt x="44430" y="895986"/>
                    </a:lnTo>
                    <a:lnTo>
                      <a:pt x="36801" y="888082"/>
                    </a:lnTo>
                    <a:lnTo>
                      <a:pt x="41521" y="871205"/>
                    </a:lnTo>
                    <a:lnTo>
                      <a:pt x="41905" y="855508"/>
                    </a:lnTo>
                    <a:lnTo>
                      <a:pt x="46104" y="836489"/>
                    </a:lnTo>
                    <a:lnTo>
                      <a:pt x="52938" y="833992"/>
                    </a:lnTo>
                    <a:lnTo>
                      <a:pt x="56176" y="830507"/>
                    </a:lnTo>
                    <a:lnTo>
                      <a:pt x="51209" y="816730"/>
                    </a:lnTo>
                    <a:lnTo>
                      <a:pt x="49891" y="800100"/>
                    </a:lnTo>
                    <a:lnTo>
                      <a:pt x="56341" y="765028"/>
                    </a:lnTo>
                    <a:lnTo>
                      <a:pt x="63668" y="755450"/>
                    </a:lnTo>
                    <a:lnTo>
                      <a:pt x="68799" y="739534"/>
                    </a:lnTo>
                    <a:lnTo>
                      <a:pt x="61884" y="709758"/>
                    </a:lnTo>
                    <a:lnTo>
                      <a:pt x="61884" y="690959"/>
                    </a:lnTo>
                    <a:lnTo>
                      <a:pt x="57301" y="675619"/>
                    </a:lnTo>
                    <a:lnTo>
                      <a:pt x="57630" y="660223"/>
                    </a:lnTo>
                    <a:lnTo>
                      <a:pt x="59524" y="657534"/>
                    </a:lnTo>
                    <a:lnTo>
                      <a:pt x="66384" y="657260"/>
                    </a:lnTo>
                    <a:lnTo>
                      <a:pt x="69650" y="654405"/>
                    </a:lnTo>
                    <a:lnTo>
                      <a:pt x="71599" y="643456"/>
                    </a:lnTo>
                    <a:lnTo>
                      <a:pt x="77142" y="635223"/>
                    </a:lnTo>
                    <a:lnTo>
                      <a:pt x="82384" y="614860"/>
                    </a:lnTo>
                    <a:lnTo>
                      <a:pt x="87488" y="605091"/>
                    </a:lnTo>
                    <a:lnTo>
                      <a:pt x="88696" y="596693"/>
                    </a:lnTo>
                    <a:lnTo>
                      <a:pt x="99700" y="578306"/>
                    </a:lnTo>
                    <a:lnTo>
                      <a:pt x="103734" y="564173"/>
                    </a:lnTo>
                    <a:lnTo>
                      <a:pt x="106095" y="546500"/>
                    </a:lnTo>
                    <a:lnTo>
                      <a:pt x="115096" y="528909"/>
                    </a:lnTo>
                    <a:lnTo>
                      <a:pt x="114711" y="512223"/>
                    </a:lnTo>
                    <a:lnTo>
                      <a:pt x="121518" y="492738"/>
                    </a:lnTo>
                    <a:lnTo>
                      <a:pt x="114355" y="421387"/>
                    </a:lnTo>
                    <a:lnTo>
                      <a:pt x="116002" y="414417"/>
                    </a:lnTo>
                    <a:lnTo>
                      <a:pt x="122204" y="407967"/>
                    </a:lnTo>
                    <a:lnTo>
                      <a:pt x="125442" y="399487"/>
                    </a:lnTo>
                    <a:lnTo>
                      <a:pt x="125167" y="384558"/>
                    </a:lnTo>
                    <a:lnTo>
                      <a:pt x="121188" y="375256"/>
                    </a:lnTo>
                    <a:lnTo>
                      <a:pt x="120584" y="367324"/>
                    </a:lnTo>
                    <a:lnTo>
                      <a:pt x="128790" y="348773"/>
                    </a:lnTo>
                    <a:lnTo>
                      <a:pt x="132138" y="330852"/>
                    </a:lnTo>
                    <a:lnTo>
                      <a:pt x="136803" y="321632"/>
                    </a:lnTo>
                    <a:lnTo>
                      <a:pt x="136748" y="308734"/>
                    </a:lnTo>
                    <a:lnTo>
                      <a:pt x="140234" y="301050"/>
                    </a:lnTo>
                    <a:lnTo>
                      <a:pt x="144021" y="284254"/>
                    </a:lnTo>
                    <a:lnTo>
                      <a:pt x="143966" y="261367"/>
                    </a:lnTo>
                    <a:lnTo>
                      <a:pt x="150140" y="246630"/>
                    </a:lnTo>
                    <a:lnTo>
                      <a:pt x="147780" y="220422"/>
                    </a:lnTo>
                    <a:lnTo>
                      <a:pt x="151348" y="192650"/>
                    </a:lnTo>
                    <a:lnTo>
                      <a:pt x="147067" y="187161"/>
                    </a:lnTo>
                    <a:lnTo>
                      <a:pt x="146655" y="183511"/>
                    </a:lnTo>
                    <a:lnTo>
                      <a:pt x="147972" y="176513"/>
                    </a:lnTo>
                    <a:lnTo>
                      <a:pt x="152116" y="173522"/>
                    </a:lnTo>
                    <a:lnTo>
                      <a:pt x="155300" y="167704"/>
                    </a:lnTo>
                    <a:lnTo>
                      <a:pt x="161694" y="124536"/>
                    </a:lnTo>
                    <a:lnTo>
                      <a:pt x="158675" y="101786"/>
                    </a:lnTo>
                    <a:lnTo>
                      <a:pt x="159992" y="76319"/>
                    </a:lnTo>
                    <a:lnTo>
                      <a:pt x="153077" y="26428"/>
                    </a:lnTo>
                    <a:lnTo>
                      <a:pt x="167073" y="21707"/>
                    </a:lnTo>
                    <a:lnTo>
                      <a:pt x="171134" y="14600"/>
                    </a:lnTo>
                    <a:lnTo>
                      <a:pt x="170146" y="5544"/>
                    </a:lnTo>
                    <a:lnTo>
                      <a:pt x="174867" y="4254"/>
                    </a:lnTo>
                    <a:lnTo>
                      <a:pt x="179669" y="0"/>
                    </a:lnTo>
                    <a:lnTo>
                      <a:pt x="185213" y="13639"/>
                    </a:lnTo>
                    <a:lnTo>
                      <a:pt x="191003" y="17399"/>
                    </a:lnTo>
                    <a:lnTo>
                      <a:pt x="190153" y="20637"/>
                    </a:lnTo>
                    <a:lnTo>
                      <a:pt x="195778" y="45912"/>
                    </a:lnTo>
                    <a:lnTo>
                      <a:pt x="210323" y="58838"/>
                    </a:lnTo>
                    <a:lnTo>
                      <a:pt x="203572" y="69074"/>
                    </a:lnTo>
                    <a:lnTo>
                      <a:pt x="207441" y="75194"/>
                    </a:lnTo>
                    <a:lnTo>
                      <a:pt x="206152" y="78762"/>
                    </a:lnTo>
                    <a:lnTo>
                      <a:pt x="200910" y="80436"/>
                    </a:lnTo>
                    <a:lnTo>
                      <a:pt x="202913" y="87378"/>
                    </a:lnTo>
                    <a:lnTo>
                      <a:pt x="201404" y="90507"/>
                    </a:lnTo>
                    <a:lnTo>
                      <a:pt x="209308" y="97258"/>
                    </a:lnTo>
                    <a:lnTo>
                      <a:pt x="207002" y="101100"/>
                    </a:lnTo>
                    <a:lnTo>
                      <a:pt x="207249" y="105409"/>
                    </a:lnTo>
                    <a:lnTo>
                      <a:pt x="211832" y="108153"/>
                    </a:lnTo>
                    <a:lnTo>
                      <a:pt x="217568" y="118032"/>
                    </a:lnTo>
                    <a:lnTo>
                      <a:pt x="218007" y="127692"/>
                    </a:lnTo>
                    <a:lnTo>
                      <a:pt x="221026" y="133098"/>
                    </a:lnTo>
                    <a:lnTo>
                      <a:pt x="221465" y="139657"/>
                    </a:lnTo>
                    <a:lnTo>
                      <a:pt x="223962" y="142896"/>
                    </a:lnTo>
                    <a:lnTo>
                      <a:pt x="227118" y="158099"/>
                    </a:lnTo>
                    <a:lnTo>
                      <a:pt x="226898" y="166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7" name="Freeform: Shape 3856">
                <a:extLst>
                  <a:ext uri="{FF2B5EF4-FFF2-40B4-BE49-F238E27FC236}">
                    <a16:creationId xmlns:a16="http://schemas.microsoft.com/office/drawing/2014/main" id="{7268B9E6-75D1-102C-5262-949E6AE2CAEE}"/>
                  </a:ext>
                </a:extLst>
              </p:cNvPr>
              <p:cNvSpPr/>
              <p:nvPr/>
            </p:nvSpPr>
            <p:spPr>
              <a:xfrm>
                <a:off x="1133969" y="4022179"/>
                <a:ext cx="2032" cy="3672"/>
              </a:xfrm>
              <a:custGeom>
                <a:avLst/>
                <a:gdLst>
                  <a:gd name="connsiteX0" fmla="*/ 19484 w 19484"/>
                  <a:gd name="connsiteY0" fmla="*/ 6971 h 35209"/>
                  <a:gd name="connsiteX1" fmla="*/ 10236 w 19484"/>
                  <a:gd name="connsiteY1" fmla="*/ 23684 h 35209"/>
                  <a:gd name="connsiteX2" fmla="*/ 7025 w 19484"/>
                  <a:gd name="connsiteY2" fmla="*/ 27306 h 35209"/>
                  <a:gd name="connsiteX3" fmla="*/ 5132 w 19484"/>
                  <a:gd name="connsiteY3" fmla="*/ 34606 h 35209"/>
                  <a:gd name="connsiteX4" fmla="*/ 2113 w 19484"/>
                  <a:gd name="connsiteY4" fmla="*/ 35210 h 35209"/>
                  <a:gd name="connsiteX5" fmla="*/ 27 w 19484"/>
                  <a:gd name="connsiteY5" fmla="*/ 29721 h 35209"/>
                  <a:gd name="connsiteX6" fmla="*/ 219 w 19484"/>
                  <a:gd name="connsiteY6" fmla="*/ 23684 h 35209"/>
                  <a:gd name="connsiteX7" fmla="*/ 4501 w 19484"/>
                  <a:gd name="connsiteY7" fmla="*/ 16576 h 35209"/>
                  <a:gd name="connsiteX8" fmla="*/ 4089 w 19484"/>
                  <a:gd name="connsiteY8" fmla="*/ 15176 h 35209"/>
                  <a:gd name="connsiteX9" fmla="*/ 0 w 19484"/>
                  <a:gd name="connsiteY9" fmla="*/ 15423 h 35209"/>
                  <a:gd name="connsiteX10" fmla="*/ 796 w 19484"/>
                  <a:gd name="connsiteY10" fmla="*/ 6971 h 35209"/>
                  <a:gd name="connsiteX11" fmla="*/ 2662 w 19484"/>
                  <a:gd name="connsiteY11" fmla="*/ 4940 h 35209"/>
                  <a:gd name="connsiteX12" fmla="*/ 1619 w 19484"/>
                  <a:gd name="connsiteY12" fmla="*/ 440 h 35209"/>
                  <a:gd name="connsiteX13" fmla="*/ 7355 w 19484"/>
                  <a:gd name="connsiteY13" fmla="*/ 0 h 35209"/>
                  <a:gd name="connsiteX14" fmla="*/ 19484 w 19484"/>
                  <a:gd name="connsiteY14" fmla="*/ 6971 h 3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484" h="35209">
                    <a:moveTo>
                      <a:pt x="19484" y="6971"/>
                    </a:moveTo>
                    <a:lnTo>
                      <a:pt x="10236" y="23684"/>
                    </a:lnTo>
                    <a:lnTo>
                      <a:pt x="7025" y="27306"/>
                    </a:lnTo>
                    <a:lnTo>
                      <a:pt x="5132" y="34606"/>
                    </a:lnTo>
                    <a:lnTo>
                      <a:pt x="2113" y="35210"/>
                    </a:lnTo>
                    <a:lnTo>
                      <a:pt x="27" y="29721"/>
                    </a:lnTo>
                    <a:lnTo>
                      <a:pt x="219" y="23684"/>
                    </a:lnTo>
                    <a:lnTo>
                      <a:pt x="4501" y="16576"/>
                    </a:lnTo>
                    <a:lnTo>
                      <a:pt x="4089" y="15176"/>
                    </a:lnTo>
                    <a:lnTo>
                      <a:pt x="0" y="15423"/>
                    </a:lnTo>
                    <a:lnTo>
                      <a:pt x="796" y="6971"/>
                    </a:lnTo>
                    <a:lnTo>
                      <a:pt x="2662" y="4940"/>
                    </a:lnTo>
                    <a:lnTo>
                      <a:pt x="1619" y="440"/>
                    </a:lnTo>
                    <a:lnTo>
                      <a:pt x="7355" y="0"/>
                    </a:lnTo>
                    <a:lnTo>
                      <a:pt x="19484" y="69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8" name="Freeform: Shape 3857">
                <a:extLst>
                  <a:ext uri="{FF2B5EF4-FFF2-40B4-BE49-F238E27FC236}">
                    <a16:creationId xmlns:a16="http://schemas.microsoft.com/office/drawing/2014/main" id="{24E1A2F8-1533-7F95-5977-61D12DECE9B1}"/>
                  </a:ext>
                </a:extLst>
              </p:cNvPr>
              <p:cNvSpPr/>
              <p:nvPr/>
            </p:nvSpPr>
            <p:spPr>
              <a:xfrm>
                <a:off x="1135086" y="4030173"/>
                <a:ext cx="1838" cy="3546"/>
              </a:xfrm>
              <a:custGeom>
                <a:avLst/>
                <a:gdLst>
                  <a:gd name="connsiteX0" fmla="*/ 11169 w 17618"/>
                  <a:gd name="connsiteY0" fmla="*/ 1976 h 34001"/>
                  <a:gd name="connsiteX1" fmla="*/ 14408 w 17618"/>
                  <a:gd name="connsiteY1" fmla="*/ 12459 h 34001"/>
                  <a:gd name="connsiteX2" fmla="*/ 17618 w 17618"/>
                  <a:gd name="connsiteY2" fmla="*/ 15230 h 34001"/>
                  <a:gd name="connsiteX3" fmla="*/ 15834 w 17618"/>
                  <a:gd name="connsiteY3" fmla="*/ 19155 h 34001"/>
                  <a:gd name="connsiteX4" fmla="*/ 14709 w 17618"/>
                  <a:gd name="connsiteY4" fmla="*/ 32136 h 34001"/>
                  <a:gd name="connsiteX5" fmla="*/ 11142 w 17618"/>
                  <a:gd name="connsiteY5" fmla="*/ 34002 h 34001"/>
                  <a:gd name="connsiteX6" fmla="*/ 5982 w 17618"/>
                  <a:gd name="connsiteY6" fmla="*/ 29528 h 34001"/>
                  <a:gd name="connsiteX7" fmla="*/ 6394 w 17618"/>
                  <a:gd name="connsiteY7" fmla="*/ 23738 h 34001"/>
                  <a:gd name="connsiteX8" fmla="*/ 1564 w 17618"/>
                  <a:gd name="connsiteY8" fmla="*/ 16877 h 34001"/>
                  <a:gd name="connsiteX9" fmla="*/ 0 w 17618"/>
                  <a:gd name="connsiteY9" fmla="*/ 8973 h 34001"/>
                  <a:gd name="connsiteX10" fmla="*/ 2388 w 17618"/>
                  <a:gd name="connsiteY10" fmla="*/ 4034 h 34001"/>
                  <a:gd name="connsiteX11" fmla="*/ 5406 w 17618"/>
                  <a:gd name="connsiteY11" fmla="*/ 7052 h 34001"/>
                  <a:gd name="connsiteX12" fmla="*/ 5927 w 17618"/>
                  <a:gd name="connsiteY12" fmla="*/ 0 h 34001"/>
                  <a:gd name="connsiteX13" fmla="*/ 11169 w 17618"/>
                  <a:gd name="connsiteY13" fmla="*/ 1976 h 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618" h="34001">
                    <a:moveTo>
                      <a:pt x="11169" y="1976"/>
                    </a:moveTo>
                    <a:lnTo>
                      <a:pt x="14408" y="12459"/>
                    </a:lnTo>
                    <a:lnTo>
                      <a:pt x="17618" y="15230"/>
                    </a:lnTo>
                    <a:lnTo>
                      <a:pt x="15834" y="19155"/>
                    </a:lnTo>
                    <a:lnTo>
                      <a:pt x="14709" y="32136"/>
                    </a:lnTo>
                    <a:lnTo>
                      <a:pt x="11142" y="34002"/>
                    </a:lnTo>
                    <a:lnTo>
                      <a:pt x="5982" y="29528"/>
                    </a:lnTo>
                    <a:lnTo>
                      <a:pt x="6394" y="23738"/>
                    </a:lnTo>
                    <a:lnTo>
                      <a:pt x="1564" y="16877"/>
                    </a:lnTo>
                    <a:lnTo>
                      <a:pt x="0" y="8973"/>
                    </a:lnTo>
                    <a:lnTo>
                      <a:pt x="2388" y="4034"/>
                    </a:lnTo>
                    <a:lnTo>
                      <a:pt x="5406" y="7052"/>
                    </a:lnTo>
                    <a:lnTo>
                      <a:pt x="5927" y="0"/>
                    </a:lnTo>
                    <a:lnTo>
                      <a:pt x="11169" y="19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59" name="Freeform: Shape 3858">
                <a:extLst>
                  <a:ext uri="{FF2B5EF4-FFF2-40B4-BE49-F238E27FC236}">
                    <a16:creationId xmlns:a16="http://schemas.microsoft.com/office/drawing/2014/main" id="{77D2E638-A297-F490-E314-FFEDA7348AB5}"/>
                  </a:ext>
                </a:extLst>
              </p:cNvPr>
              <p:cNvSpPr/>
              <p:nvPr/>
            </p:nvSpPr>
            <p:spPr>
              <a:xfrm>
                <a:off x="1137393" y="4028399"/>
                <a:ext cx="721" cy="630"/>
              </a:xfrm>
              <a:custGeom>
                <a:avLst/>
                <a:gdLst>
                  <a:gd name="connsiteX0" fmla="*/ 6916 w 6915"/>
                  <a:gd name="connsiteY0" fmla="*/ 5297 h 6037"/>
                  <a:gd name="connsiteX1" fmla="*/ 604 w 6915"/>
                  <a:gd name="connsiteY1" fmla="*/ 6038 h 6037"/>
                  <a:gd name="connsiteX2" fmla="*/ 0 w 6915"/>
                  <a:gd name="connsiteY2" fmla="*/ 5187 h 6037"/>
                  <a:gd name="connsiteX3" fmla="*/ 2470 w 6915"/>
                  <a:gd name="connsiteY3" fmla="*/ 0 h 6037"/>
                  <a:gd name="connsiteX4" fmla="*/ 4638 w 6915"/>
                  <a:gd name="connsiteY4" fmla="*/ 275 h 6037"/>
                  <a:gd name="connsiteX5" fmla="*/ 6888 w 6915"/>
                  <a:gd name="connsiteY5" fmla="*/ 5297 h 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15" h="6037">
                    <a:moveTo>
                      <a:pt x="6916" y="5297"/>
                    </a:moveTo>
                    <a:lnTo>
                      <a:pt x="604" y="6038"/>
                    </a:lnTo>
                    <a:lnTo>
                      <a:pt x="0" y="5187"/>
                    </a:lnTo>
                    <a:lnTo>
                      <a:pt x="2470" y="0"/>
                    </a:lnTo>
                    <a:lnTo>
                      <a:pt x="4638" y="275"/>
                    </a:lnTo>
                    <a:lnTo>
                      <a:pt x="6888" y="52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0" name="Freeform: Shape 3859">
                <a:extLst>
                  <a:ext uri="{FF2B5EF4-FFF2-40B4-BE49-F238E27FC236}">
                    <a16:creationId xmlns:a16="http://schemas.microsoft.com/office/drawing/2014/main" id="{85124F86-7781-C888-DA27-1B310E711FB9}"/>
                  </a:ext>
                </a:extLst>
              </p:cNvPr>
              <p:cNvSpPr/>
              <p:nvPr/>
            </p:nvSpPr>
            <p:spPr>
              <a:xfrm>
                <a:off x="1136640" y="4028788"/>
                <a:ext cx="475" cy="484"/>
              </a:xfrm>
              <a:custGeom>
                <a:avLst/>
                <a:gdLst>
                  <a:gd name="connsiteX0" fmla="*/ 4556 w 4555"/>
                  <a:gd name="connsiteY0" fmla="*/ 3513 h 4637"/>
                  <a:gd name="connsiteX1" fmla="*/ 1756 w 4555"/>
                  <a:gd name="connsiteY1" fmla="*/ 4638 h 4637"/>
                  <a:gd name="connsiteX2" fmla="*/ 0 w 4555"/>
                  <a:gd name="connsiteY2" fmla="*/ 2882 h 4637"/>
                  <a:gd name="connsiteX3" fmla="*/ 4254 w 4555"/>
                  <a:gd name="connsiteY3" fmla="*/ 0 h 4637"/>
                  <a:gd name="connsiteX4" fmla="*/ 4556 w 4555"/>
                  <a:gd name="connsiteY4" fmla="*/ 3485 h 4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4637">
                    <a:moveTo>
                      <a:pt x="4556" y="3513"/>
                    </a:moveTo>
                    <a:lnTo>
                      <a:pt x="1756" y="4638"/>
                    </a:lnTo>
                    <a:lnTo>
                      <a:pt x="0" y="2882"/>
                    </a:lnTo>
                    <a:lnTo>
                      <a:pt x="4254" y="0"/>
                    </a:lnTo>
                    <a:lnTo>
                      <a:pt x="4556"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1" name="Freeform: Shape 3860">
                <a:extLst>
                  <a:ext uri="{FF2B5EF4-FFF2-40B4-BE49-F238E27FC236}">
                    <a16:creationId xmlns:a16="http://schemas.microsoft.com/office/drawing/2014/main" id="{243DE026-A4CE-CE1E-E164-21A4C10A024F}"/>
                  </a:ext>
                </a:extLst>
              </p:cNvPr>
              <p:cNvSpPr/>
              <p:nvPr/>
            </p:nvSpPr>
            <p:spPr>
              <a:xfrm>
                <a:off x="1136033" y="4023281"/>
                <a:ext cx="366" cy="481"/>
              </a:xfrm>
              <a:custGeom>
                <a:avLst/>
                <a:gdLst>
                  <a:gd name="connsiteX0" fmla="*/ 3513 w 3512"/>
                  <a:gd name="connsiteY0" fmla="*/ 3458 h 4610"/>
                  <a:gd name="connsiteX1" fmla="*/ 933 w 3512"/>
                  <a:gd name="connsiteY1" fmla="*/ 4610 h 4610"/>
                  <a:gd name="connsiteX2" fmla="*/ 0 w 3512"/>
                  <a:gd name="connsiteY2" fmla="*/ 2470 h 4610"/>
                  <a:gd name="connsiteX3" fmla="*/ 1153 w 3512"/>
                  <a:gd name="connsiteY3" fmla="*/ 0 h 4610"/>
                  <a:gd name="connsiteX4" fmla="*/ 3211 w 3512"/>
                  <a:gd name="connsiteY4" fmla="*/ 741 h 4610"/>
                  <a:gd name="connsiteX5" fmla="*/ 3513 w 3512"/>
                  <a:gd name="connsiteY5" fmla="*/ 3458 h 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 h="4610">
                    <a:moveTo>
                      <a:pt x="3513" y="3458"/>
                    </a:moveTo>
                    <a:lnTo>
                      <a:pt x="933" y="4610"/>
                    </a:lnTo>
                    <a:lnTo>
                      <a:pt x="0" y="2470"/>
                    </a:lnTo>
                    <a:lnTo>
                      <a:pt x="1153" y="0"/>
                    </a:lnTo>
                    <a:lnTo>
                      <a:pt x="3211" y="741"/>
                    </a:lnTo>
                    <a:lnTo>
                      <a:pt x="3513" y="34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2" name="Freeform: Shape 3861">
                <a:extLst>
                  <a:ext uri="{FF2B5EF4-FFF2-40B4-BE49-F238E27FC236}">
                    <a16:creationId xmlns:a16="http://schemas.microsoft.com/office/drawing/2014/main" id="{55666910-EA8A-33E9-AD84-E7F224EDCCDF}"/>
                  </a:ext>
                </a:extLst>
              </p:cNvPr>
              <p:cNvSpPr/>
              <p:nvPr/>
            </p:nvSpPr>
            <p:spPr>
              <a:xfrm>
                <a:off x="1141577" y="3985295"/>
                <a:ext cx="180" cy="209"/>
              </a:xfrm>
              <a:custGeom>
                <a:avLst/>
                <a:gdLst>
                  <a:gd name="connsiteX0" fmla="*/ 1372 w 1728"/>
                  <a:gd name="connsiteY0" fmla="*/ 192 h 2003"/>
                  <a:gd name="connsiteX1" fmla="*/ 1729 w 1728"/>
                  <a:gd name="connsiteY1" fmla="*/ 2003 h 2003"/>
                  <a:gd name="connsiteX2" fmla="*/ 329 w 1728"/>
                  <a:gd name="connsiteY2" fmla="*/ 1701 h 2003"/>
                  <a:gd name="connsiteX3" fmla="*/ 0 w 1728"/>
                  <a:gd name="connsiteY3" fmla="*/ 960 h 2003"/>
                  <a:gd name="connsiteX4" fmla="*/ 467 w 1728"/>
                  <a:gd name="connsiteY4" fmla="*/ 0 h 2003"/>
                  <a:gd name="connsiteX5" fmla="*/ 1372 w 1728"/>
                  <a:gd name="connsiteY5" fmla="*/ 192 h 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8" h="2003">
                    <a:moveTo>
                      <a:pt x="1372" y="192"/>
                    </a:moveTo>
                    <a:lnTo>
                      <a:pt x="1729" y="2003"/>
                    </a:lnTo>
                    <a:lnTo>
                      <a:pt x="329" y="1701"/>
                    </a:lnTo>
                    <a:lnTo>
                      <a:pt x="0" y="960"/>
                    </a:lnTo>
                    <a:lnTo>
                      <a:pt x="467" y="0"/>
                    </a:lnTo>
                    <a:lnTo>
                      <a:pt x="1372" y="1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3" name="Freeform: Shape 3862">
                <a:extLst>
                  <a:ext uri="{FF2B5EF4-FFF2-40B4-BE49-F238E27FC236}">
                    <a16:creationId xmlns:a16="http://schemas.microsoft.com/office/drawing/2014/main" id="{88D90D60-1C96-2C29-B82E-59F9ACFD4722}"/>
                  </a:ext>
                </a:extLst>
              </p:cNvPr>
              <p:cNvSpPr/>
              <p:nvPr/>
            </p:nvSpPr>
            <p:spPr>
              <a:xfrm>
                <a:off x="1141443" y="3985343"/>
                <a:ext cx="140" cy="183"/>
              </a:xfrm>
              <a:custGeom>
                <a:avLst/>
                <a:gdLst>
                  <a:gd name="connsiteX0" fmla="*/ 1317 w 1344"/>
                  <a:gd name="connsiteY0" fmla="*/ 1180 h 1756"/>
                  <a:gd name="connsiteX1" fmla="*/ 604 w 1344"/>
                  <a:gd name="connsiteY1" fmla="*/ 1756 h 1756"/>
                  <a:gd name="connsiteX2" fmla="*/ 0 w 1344"/>
                  <a:gd name="connsiteY2" fmla="*/ 961 h 1756"/>
                  <a:gd name="connsiteX3" fmla="*/ 988 w 1344"/>
                  <a:gd name="connsiteY3" fmla="*/ 0 h 1756"/>
                  <a:gd name="connsiteX4" fmla="*/ 1345 w 1344"/>
                  <a:gd name="connsiteY4" fmla="*/ 1207 h 1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 h="1756">
                    <a:moveTo>
                      <a:pt x="1317" y="1180"/>
                    </a:moveTo>
                    <a:lnTo>
                      <a:pt x="604" y="1756"/>
                    </a:lnTo>
                    <a:lnTo>
                      <a:pt x="0" y="961"/>
                    </a:lnTo>
                    <a:lnTo>
                      <a:pt x="988" y="0"/>
                    </a:lnTo>
                    <a:lnTo>
                      <a:pt x="1345" y="12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4" name="Freeform: Shape 3863">
                <a:extLst>
                  <a:ext uri="{FF2B5EF4-FFF2-40B4-BE49-F238E27FC236}">
                    <a16:creationId xmlns:a16="http://schemas.microsoft.com/office/drawing/2014/main" id="{22A6995B-9FEA-4D61-5E3E-F830DF72A05B}"/>
                  </a:ext>
                </a:extLst>
              </p:cNvPr>
              <p:cNvSpPr/>
              <p:nvPr/>
            </p:nvSpPr>
            <p:spPr>
              <a:xfrm>
                <a:off x="1493561" y="3805145"/>
                <a:ext cx="4966" cy="5581"/>
              </a:xfrm>
              <a:custGeom>
                <a:avLst/>
                <a:gdLst>
                  <a:gd name="connsiteX0" fmla="*/ 43524 w 47613"/>
                  <a:gd name="connsiteY0" fmla="*/ 37542 h 53513"/>
                  <a:gd name="connsiteX1" fmla="*/ 41796 w 47613"/>
                  <a:gd name="connsiteY1" fmla="*/ 40341 h 53513"/>
                  <a:gd name="connsiteX2" fmla="*/ 40890 w 47613"/>
                  <a:gd name="connsiteY2" fmla="*/ 41823 h 53513"/>
                  <a:gd name="connsiteX3" fmla="*/ 39792 w 47613"/>
                  <a:gd name="connsiteY3" fmla="*/ 43634 h 53513"/>
                  <a:gd name="connsiteX4" fmla="*/ 35758 w 47613"/>
                  <a:gd name="connsiteY4" fmla="*/ 50111 h 53513"/>
                  <a:gd name="connsiteX5" fmla="*/ 34935 w 47613"/>
                  <a:gd name="connsiteY5" fmla="*/ 51483 h 53513"/>
                  <a:gd name="connsiteX6" fmla="*/ 30901 w 47613"/>
                  <a:gd name="connsiteY6" fmla="*/ 51758 h 53513"/>
                  <a:gd name="connsiteX7" fmla="*/ 24890 w 47613"/>
                  <a:gd name="connsiteY7" fmla="*/ 48959 h 53513"/>
                  <a:gd name="connsiteX8" fmla="*/ 20198 w 47613"/>
                  <a:gd name="connsiteY8" fmla="*/ 50193 h 53513"/>
                  <a:gd name="connsiteX9" fmla="*/ 7409 w 47613"/>
                  <a:gd name="connsiteY9" fmla="*/ 53514 h 53513"/>
                  <a:gd name="connsiteX10" fmla="*/ 960 w 47613"/>
                  <a:gd name="connsiteY10" fmla="*/ 51291 h 53513"/>
                  <a:gd name="connsiteX11" fmla="*/ 0 w 47613"/>
                  <a:gd name="connsiteY11" fmla="*/ 36801 h 53513"/>
                  <a:gd name="connsiteX12" fmla="*/ 1536 w 47613"/>
                  <a:gd name="connsiteY12" fmla="*/ 30297 h 53513"/>
                  <a:gd name="connsiteX13" fmla="*/ 18332 w 47613"/>
                  <a:gd name="connsiteY13" fmla="*/ 7272 h 53513"/>
                  <a:gd name="connsiteX14" fmla="*/ 20170 w 47613"/>
                  <a:gd name="connsiteY14" fmla="*/ 6559 h 53513"/>
                  <a:gd name="connsiteX15" fmla="*/ 21597 w 47613"/>
                  <a:gd name="connsiteY15" fmla="*/ 6477 h 53513"/>
                  <a:gd name="connsiteX16" fmla="*/ 27580 w 47613"/>
                  <a:gd name="connsiteY16" fmla="*/ 9852 h 53513"/>
                  <a:gd name="connsiteX17" fmla="*/ 32547 w 47613"/>
                  <a:gd name="connsiteY17" fmla="*/ 3183 h 53513"/>
                  <a:gd name="connsiteX18" fmla="*/ 39545 w 47613"/>
                  <a:gd name="connsiteY18" fmla="*/ 0 h 53513"/>
                  <a:gd name="connsiteX19" fmla="*/ 45582 w 47613"/>
                  <a:gd name="connsiteY19" fmla="*/ 8343 h 53513"/>
                  <a:gd name="connsiteX20" fmla="*/ 47613 w 47613"/>
                  <a:gd name="connsiteY20" fmla="*/ 19594 h 53513"/>
                  <a:gd name="connsiteX21" fmla="*/ 36883 w 47613"/>
                  <a:gd name="connsiteY21" fmla="*/ 27141 h 53513"/>
                  <a:gd name="connsiteX22" fmla="*/ 29720 w 47613"/>
                  <a:gd name="connsiteY22" fmla="*/ 29035 h 53513"/>
                  <a:gd name="connsiteX23" fmla="*/ 27003 w 47613"/>
                  <a:gd name="connsiteY23" fmla="*/ 33920 h 53513"/>
                  <a:gd name="connsiteX24" fmla="*/ 39298 w 47613"/>
                  <a:gd name="connsiteY24" fmla="*/ 33782 h 53513"/>
                  <a:gd name="connsiteX25" fmla="*/ 43497 w 47613"/>
                  <a:gd name="connsiteY25" fmla="*/ 37570 h 5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7613" h="53513">
                    <a:moveTo>
                      <a:pt x="43524" y="37542"/>
                    </a:moveTo>
                    <a:lnTo>
                      <a:pt x="41796" y="40341"/>
                    </a:lnTo>
                    <a:lnTo>
                      <a:pt x="40890" y="41823"/>
                    </a:lnTo>
                    <a:lnTo>
                      <a:pt x="39792" y="43634"/>
                    </a:lnTo>
                    <a:lnTo>
                      <a:pt x="35758" y="50111"/>
                    </a:lnTo>
                    <a:lnTo>
                      <a:pt x="34935" y="51483"/>
                    </a:lnTo>
                    <a:lnTo>
                      <a:pt x="30901" y="51758"/>
                    </a:lnTo>
                    <a:lnTo>
                      <a:pt x="24890" y="48959"/>
                    </a:lnTo>
                    <a:lnTo>
                      <a:pt x="20198" y="50193"/>
                    </a:lnTo>
                    <a:lnTo>
                      <a:pt x="7409" y="53514"/>
                    </a:lnTo>
                    <a:lnTo>
                      <a:pt x="960" y="51291"/>
                    </a:lnTo>
                    <a:lnTo>
                      <a:pt x="0" y="36801"/>
                    </a:lnTo>
                    <a:lnTo>
                      <a:pt x="1536" y="30297"/>
                    </a:lnTo>
                    <a:lnTo>
                      <a:pt x="18332" y="7272"/>
                    </a:lnTo>
                    <a:lnTo>
                      <a:pt x="20170" y="6559"/>
                    </a:lnTo>
                    <a:lnTo>
                      <a:pt x="21597" y="6477"/>
                    </a:lnTo>
                    <a:lnTo>
                      <a:pt x="27580" y="9852"/>
                    </a:lnTo>
                    <a:lnTo>
                      <a:pt x="32547" y="3183"/>
                    </a:lnTo>
                    <a:lnTo>
                      <a:pt x="39545" y="0"/>
                    </a:lnTo>
                    <a:lnTo>
                      <a:pt x="45582" y="8343"/>
                    </a:lnTo>
                    <a:lnTo>
                      <a:pt x="47613" y="19594"/>
                    </a:lnTo>
                    <a:lnTo>
                      <a:pt x="36883" y="27141"/>
                    </a:lnTo>
                    <a:lnTo>
                      <a:pt x="29720" y="29035"/>
                    </a:lnTo>
                    <a:lnTo>
                      <a:pt x="27003" y="33920"/>
                    </a:lnTo>
                    <a:lnTo>
                      <a:pt x="39298" y="33782"/>
                    </a:lnTo>
                    <a:lnTo>
                      <a:pt x="43497" y="375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5" name="Freeform: Shape 3864">
                <a:extLst>
                  <a:ext uri="{FF2B5EF4-FFF2-40B4-BE49-F238E27FC236}">
                    <a16:creationId xmlns:a16="http://schemas.microsoft.com/office/drawing/2014/main" id="{40C5BE48-3F57-13D6-C63D-66EAF6217A4C}"/>
                  </a:ext>
                </a:extLst>
              </p:cNvPr>
              <p:cNvSpPr/>
              <p:nvPr/>
            </p:nvSpPr>
            <p:spPr>
              <a:xfrm>
                <a:off x="1176850" y="3795946"/>
                <a:ext cx="635" cy="1288"/>
              </a:xfrm>
              <a:custGeom>
                <a:avLst/>
                <a:gdLst>
                  <a:gd name="connsiteX0" fmla="*/ 0 w 6092"/>
                  <a:gd name="connsiteY0" fmla="*/ 3567 h 12349"/>
                  <a:gd name="connsiteX1" fmla="*/ 522 w 6092"/>
                  <a:gd name="connsiteY1" fmla="*/ 0 h 12349"/>
                  <a:gd name="connsiteX2" fmla="*/ 5489 w 6092"/>
                  <a:gd name="connsiteY2" fmla="*/ 2415 h 12349"/>
                  <a:gd name="connsiteX3" fmla="*/ 6093 w 6092"/>
                  <a:gd name="connsiteY3" fmla="*/ 10593 h 12349"/>
                  <a:gd name="connsiteX4" fmla="*/ 3787 w 6092"/>
                  <a:gd name="connsiteY4" fmla="*/ 12349 h 12349"/>
                  <a:gd name="connsiteX5" fmla="*/ 2964 w 6092"/>
                  <a:gd name="connsiteY5" fmla="*/ 11828 h 12349"/>
                  <a:gd name="connsiteX6" fmla="*/ 0 w 6092"/>
                  <a:gd name="connsiteY6" fmla="*/ 3567 h 12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2" h="12349">
                    <a:moveTo>
                      <a:pt x="0" y="3567"/>
                    </a:moveTo>
                    <a:lnTo>
                      <a:pt x="522" y="0"/>
                    </a:lnTo>
                    <a:lnTo>
                      <a:pt x="5489" y="2415"/>
                    </a:lnTo>
                    <a:lnTo>
                      <a:pt x="6093" y="10593"/>
                    </a:lnTo>
                    <a:lnTo>
                      <a:pt x="3787" y="12349"/>
                    </a:lnTo>
                    <a:lnTo>
                      <a:pt x="2964" y="11828"/>
                    </a:lnTo>
                    <a:lnTo>
                      <a:pt x="0" y="35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6" name="Freeform: Shape 3865">
                <a:extLst>
                  <a:ext uri="{FF2B5EF4-FFF2-40B4-BE49-F238E27FC236}">
                    <a16:creationId xmlns:a16="http://schemas.microsoft.com/office/drawing/2014/main" id="{B1528E00-8B62-D2EB-7515-9D0A32BD6AF8}"/>
                  </a:ext>
                </a:extLst>
              </p:cNvPr>
              <p:cNvSpPr/>
              <p:nvPr/>
            </p:nvSpPr>
            <p:spPr>
              <a:xfrm>
                <a:off x="1144603" y="3782092"/>
                <a:ext cx="11091" cy="7327"/>
              </a:xfrm>
              <a:custGeom>
                <a:avLst/>
                <a:gdLst>
                  <a:gd name="connsiteX0" fmla="*/ 28815 w 106341"/>
                  <a:gd name="connsiteY0" fmla="*/ 82 h 70253"/>
                  <a:gd name="connsiteX1" fmla="*/ 50879 w 106341"/>
                  <a:gd name="connsiteY1" fmla="*/ 8288 h 70253"/>
                  <a:gd name="connsiteX2" fmla="*/ 58700 w 106341"/>
                  <a:gd name="connsiteY2" fmla="*/ 7986 h 70253"/>
                  <a:gd name="connsiteX3" fmla="*/ 65671 w 106341"/>
                  <a:gd name="connsiteY3" fmla="*/ 18963 h 70253"/>
                  <a:gd name="connsiteX4" fmla="*/ 81643 w 106341"/>
                  <a:gd name="connsiteY4" fmla="*/ 20006 h 70253"/>
                  <a:gd name="connsiteX5" fmla="*/ 79612 w 106341"/>
                  <a:gd name="connsiteY5" fmla="*/ 22339 h 70253"/>
                  <a:gd name="connsiteX6" fmla="*/ 70418 w 106341"/>
                  <a:gd name="connsiteY6" fmla="*/ 22393 h 70253"/>
                  <a:gd name="connsiteX7" fmla="*/ 70364 w 106341"/>
                  <a:gd name="connsiteY7" fmla="*/ 25440 h 70253"/>
                  <a:gd name="connsiteX8" fmla="*/ 92428 w 106341"/>
                  <a:gd name="connsiteY8" fmla="*/ 29007 h 70253"/>
                  <a:gd name="connsiteX9" fmla="*/ 106342 w 106341"/>
                  <a:gd name="connsiteY9" fmla="*/ 41274 h 70253"/>
                  <a:gd name="connsiteX10" fmla="*/ 103323 w 106341"/>
                  <a:gd name="connsiteY10" fmla="*/ 47174 h 70253"/>
                  <a:gd name="connsiteX11" fmla="*/ 98822 w 106341"/>
                  <a:gd name="connsiteY11" fmla="*/ 50220 h 70253"/>
                  <a:gd name="connsiteX12" fmla="*/ 99590 w 106341"/>
                  <a:gd name="connsiteY12" fmla="*/ 56203 h 70253"/>
                  <a:gd name="connsiteX13" fmla="*/ 95254 w 106341"/>
                  <a:gd name="connsiteY13" fmla="*/ 54557 h 70253"/>
                  <a:gd name="connsiteX14" fmla="*/ 90726 w 106341"/>
                  <a:gd name="connsiteY14" fmla="*/ 47860 h 70253"/>
                  <a:gd name="connsiteX15" fmla="*/ 82192 w 106341"/>
                  <a:gd name="connsiteY15" fmla="*/ 46022 h 70253"/>
                  <a:gd name="connsiteX16" fmla="*/ 60896 w 106341"/>
                  <a:gd name="connsiteY16" fmla="*/ 45445 h 70253"/>
                  <a:gd name="connsiteX17" fmla="*/ 53047 w 106341"/>
                  <a:gd name="connsiteY17" fmla="*/ 51702 h 70253"/>
                  <a:gd name="connsiteX18" fmla="*/ 45473 w 106341"/>
                  <a:gd name="connsiteY18" fmla="*/ 52745 h 70253"/>
                  <a:gd name="connsiteX19" fmla="*/ 42015 w 106341"/>
                  <a:gd name="connsiteY19" fmla="*/ 51511 h 70253"/>
                  <a:gd name="connsiteX20" fmla="*/ 38585 w 106341"/>
                  <a:gd name="connsiteY20" fmla="*/ 47147 h 70253"/>
                  <a:gd name="connsiteX21" fmla="*/ 31093 w 106341"/>
                  <a:gd name="connsiteY21" fmla="*/ 50824 h 70253"/>
                  <a:gd name="connsiteX22" fmla="*/ 27086 w 106341"/>
                  <a:gd name="connsiteY22" fmla="*/ 50961 h 70253"/>
                  <a:gd name="connsiteX23" fmla="*/ 25192 w 106341"/>
                  <a:gd name="connsiteY23" fmla="*/ 57987 h 70253"/>
                  <a:gd name="connsiteX24" fmla="*/ 15944 w 106341"/>
                  <a:gd name="connsiteY24" fmla="*/ 70254 h 70253"/>
                  <a:gd name="connsiteX25" fmla="*/ 10346 w 106341"/>
                  <a:gd name="connsiteY25" fmla="*/ 66384 h 70253"/>
                  <a:gd name="connsiteX26" fmla="*/ 6531 w 106341"/>
                  <a:gd name="connsiteY26" fmla="*/ 58508 h 70253"/>
                  <a:gd name="connsiteX27" fmla="*/ 7656 w 106341"/>
                  <a:gd name="connsiteY27" fmla="*/ 49041 h 70253"/>
                  <a:gd name="connsiteX28" fmla="*/ 3074 w 106341"/>
                  <a:gd name="connsiteY28" fmla="*/ 45747 h 70253"/>
                  <a:gd name="connsiteX29" fmla="*/ 0 w 106341"/>
                  <a:gd name="connsiteY29" fmla="*/ 40094 h 70253"/>
                  <a:gd name="connsiteX30" fmla="*/ 4418 w 106341"/>
                  <a:gd name="connsiteY30" fmla="*/ 39436 h 70253"/>
                  <a:gd name="connsiteX31" fmla="*/ 6641 w 106341"/>
                  <a:gd name="connsiteY31" fmla="*/ 36691 h 70253"/>
                  <a:gd name="connsiteX32" fmla="*/ 7218 w 106341"/>
                  <a:gd name="connsiteY32" fmla="*/ 32904 h 70253"/>
                  <a:gd name="connsiteX33" fmla="*/ 5132 w 106341"/>
                  <a:gd name="connsiteY33" fmla="*/ 29446 h 70253"/>
                  <a:gd name="connsiteX34" fmla="*/ 10181 w 106341"/>
                  <a:gd name="connsiteY34" fmla="*/ 23217 h 70253"/>
                  <a:gd name="connsiteX35" fmla="*/ 6257 w 106341"/>
                  <a:gd name="connsiteY35" fmla="*/ 18551 h 70253"/>
                  <a:gd name="connsiteX36" fmla="*/ 8590 w 106341"/>
                  <a:gd name="connsiteY36" fmla="*/ 14243 h 70253"/>
                  <a:gd name="connsiteX37" fmla="*/ 6394 w 106341"/>
                  <a:gd name="connsiteY37" fmla="*/ 6614 h 70253"/>
                  <a:gd name="connsiteX38" fmla="*/ 10346 w 106341"/>
                  <a:gd name="connsiteY38" fmla="*/ 1098 h 70253"/>
                  <a:gd name="connsiteX39" fmla="*/ 20362 w 106341"/>
                  <a:gd name="connsiteY39" fmla="*/ 2086 h 70253"/>
                  <a:gd name="connsiteX40" fmla="*/ 28842 w 106341"/>
                  <a:gd name="connsiteY40" fmla="*/ 0 h 7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6341" h="70253">
                    <a:moveTo>
                      <a:pt x="28815" y="82"/>
                    </a:moveTo>
                    <a:lnTo>
                      <a:pt x="50879" y="8288"/>
                    </a:lnTo>
                    <a:lnTo>
                      <a:pt x="58700" y="7986"/>
                    </a:lnTo>
                    <a:lnTo>
                      <a:pt x="65671" y="18963"/>
                    </a:lnTo>
                    <a:lnTo>
                      <a:pt x="81643" y="20006"/>
                    </a:lnTo>
                    <a:lnTo>
                      <a:pt x="79612" y="22339"/>
                    </a:lnTo>
                    <a:lnTo>
                      <a:pt x="70418" y="22393"/>
                    </a:lnTo>
                    <a:lnTo>
                      <a:pt x="70364" y="25440"/>
                    </a:lnTo>
                    <a:lnTo>
                      <a:pt x="92428" y="29007"/>
                    </a:lnTo>
                    <a:lnTo>
                      <a:pt x="106342" y="41274"/>
                    </a:lnTo>
                    <a:lnTo>
                      <a:pt x="103323" y="47174"/>
                    </a:lnTo>
                    <a:lnTo>
                      <a:pt x="98822" y="50220"/>
                    </a:lnTo>
                    <a:lnTo>
                      <a:pt x="99590" y="56203"/>
                    </a:lnTo>
                    <a:lnTo>
                      <a:pt x="95254" y="54557"/>
                    </a:lnTo>
                    <a:lnTo>
                      <a:pt x="90726" y="47860"/>
                    </a:lnTo>
                    <a:lnTo>
                      <a:pt x="82192" y="46022"/>
                    </a:lnTo>
                    <a:lnTo>
                      <a:pt x="60896" y="45445"/>
                    </a:lnTo>
                    <a:lnTo>
                      <a:pt x="53047" y="51702"/>
                    </a:lnTo>
                    <a:lnTo>
                      <a:pt x="45473" y="52745"/>
                    </a:lnTo>
                    <a:lnTo>
                      <a:pt x="42015" y="51511"/>
                    </a:lnTo>
                    <a:lnTo>
                      <a:pt x="38585" y="47147"/>
                    </a:lnTo>
                    <a:lnTo>
                      <a:pt x="31093" y="50824"/>
                    </a:lnTo>
                    <a:lnTo>
                      <a:pt x="27086" y="50961"/>
                    </a:lnTo>
                    <a:lnTo>
                      <a:pt x="25192" y="57987"/>
                    </a:lnTo>
                    <a:lnTo>
                      <a:pt x="15944" y="70254"/>
                    </a:lnTo>
                    <a:lnTo>
                      <a:pt x="10346" y="66384"/>
                    </a:lnTo>
                    <a:lnTo>
                      <a:pt x="6531" y="58508"/>
                    </a:lnTo>
                    <a:lnTo>
                      <a:pt x="7656" y="49041"/>
                    </a:lnTo>
                    <a:lnTo>
                      <a:pt x="3074" y="45747"/>
                    </a:lnTo>
                    <a:lnTo>
                      <a:pt x="0" y="40094"/>
                    </a:lnTo>
                    <a:lnTo>
                      <a:pt x="4418" y="39436"/>
                    </a:lnTo>
                    <a:lnTo>
                      <a:pt x="6641" y="36691"/>
                    </a:lnTo>
                    <a:lnTo>
                      <a:pt x="7218" y="32904"/>
                    </a:lnTo>
                    <a:lnTo>
                      <a:pt x="5132" y="29446"/>
                    </a:lnTo>
                    <a:lnTo>
                      <a:pt x="10181" y="23217"/>
                    </a:lnTo>
                    <a:lnTo>
                      <a:pt x="6257" y="18551"/>
                    </a:lnTo>
                    <a:lnTo>
                      <a:pt x="8590" y="14243"/>
                    </a:lnTo>
                    <a:lnTo>
                      <a:pt x="6394" y="6614"/>
                    </a:lnTo>
                    <a:lnTo>
                      <a:pt x="10346" y="1098"/>
                    </a:lnTo>
                    <a:lnTo>
                      <a:pt x="20362" y="2086"/>
                    </a:lnTo>
                    <a:lnTo>
                      <a:pt x="28842"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7" name="Freeform: Shape 3866">
                <a:extLst>
                  <a:ext uri="{FF2B5EF4-FFF2-40B4-BE49-F238E27FC236}">
                    <a16:creationId xmlns:a16="http://schemas.microsoft.com/office/drawing/2014/main" id="{315147EE-2626-F943-13BD-CA3EB7A75E7F}"/>
                  </a:ext>
                </a:extLst>
              </p:cNvPr>
              <p:cNvSpPr/>
              <p:nvPr/>
            </p:nvSpPr>
            <p:spPr>
              <a:xfrm>
                <a:off x="1145819" y="3789454"/>
                <a:ext cx="418" cy="341"/>
              </a:xfrm>
              <a:custGeom>
                <a:avLst/>
                <a:gdLst>
                  <a:gd name="connsiteX0" fmla="*/ 2662 w 4006"/>
                  <a:gd name="connsiteY0" fmla="*/ 3238 h 3265"/>
                  <a:gd name="connsiteX1" fmla="*/ 0 w 4006"/>
                  <a:gd name="connsiteY1" fmla="*/ 3238 h 3265"/>
                  <a:gd name="connsiteX2" fmla="*/ 1537 w 4006"/>
                  <a:gd name="connsiteY2" fmla="*/ 0 h 3265"/>
                  <a:gd name="connsiteX3" fmla="*/ 4007 w 4006"/>
                  <a:gd name="connsiteY3" fmla="*/ 1701 h 3265"/>
                  <a:gd name="connsiteX4" fmla="*/ 2662 w 4006"/>
                  <a:gd name="connsiteY4" fmla="*/ 3266 h 3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3265">
                    <a:moveTo>
                      <a:pt x="2662" y="3238"/>
                    </a:moveTo>
                    <a:lnTo>
                      <a:pt x="0" y="3238"/>
                    </a:lnTo>
                    <a:cubicBezTo>
                      <a:pt x="0" y="3238"/>
                      <a:pt x="1537" y="0"/>
                      <a:pt x="1537" y="0"/>
                    </a:cubicBezTo>
                    <a:lnTo>
                      <a:pt x="4007" y="1701"/>
                    </a:lnTo>
                    <a:lnTo>
                      <a:pt x="2662"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8" name="Freeform: Shape 3867">
                <a:extLst>
                  <a:ext uri="{FF2B5EF4-FFF2-40B4-BE49-F238E27FC236}">
                    <a16:creationId xmlns:a16="http://schemas.microsoft.com/office/drawing/2014/main" id="{0C6A1CDE-035C-7745-E084-73B9B4B03B77}"/>
                  </a:ext>
                </a:extLst>
              </p:cNvPr>
              <p:cNvSpPr/>
              <p:nvPr/>
            </p:nvSpPr>
            <p:spPr>
              <a:xfrm>
                <a:off x="1338809" y="3721832"/>
                <a:ext cx="63386" cy="63229"/>
              </a:xfrm>
              <a:custGeom>
                <a:avLst/>
                <a:gdLst>
                  <a:gd name="connsiteX0" fmla="*/ 509067 w 607724"/>
                  <a:gd name="connsiteY0" fmla="*/ 4994 h 606215"/>
                  <a:gd name="connsiteX1" fmla="*/ 508601 w 607724"/>
                  <a:gd name="connsiteY1" fmla="*/ 9440 h 606215"/>
                  <a:gd name="connsiteX2" fmla="*/ 496965 w 607724"/>
                  <a:gd name="connsiteY2" fmla="*/ 21241 h 606215"/>
                  <a:gd name="connsiteX3" fmla="*/ 501493 w 607724"/>
                  <a:gd name="connsiteY3" fmla="*/ 26153 h 606215"/>
                  <a:gd name="connsiteX4" fmla="*/ 498118 w 607724"/>
                  <a:gd name="connsiteY4" fmla="*/ 45967 h 606215"/>
                  <a:gd name="connsiteX5" fmla="*/ 500478 w 607724"/>
                  <a:gd name="connsiteY5" fmla="*/ 53486 h 606215"/>
                  <a:gd name="connsiteX6" fmla="*/ 500258 w 607724"/>
                  <a:gd name="connsiteY6" fmla="*/ 63695 h 606215"/>
                  <a:gd name="connsiteX7" fmla="*/ 502865 w 607724"/>
                  <a:gd name="connsiteY7" fmla="*/ 67949 h 606215"/>
                  <a:gd name="connsiteX8" fmla="*/ 498227 w 607724"/>
                  <a:gd name="connsiteY8" fmla="*/ 78597 h 606215"/>
                  <a:gd name="connsiteX9" fmla="*/ 497651 w 607724"/>
                  <a:gd name="connsiteY9" fmla="*/ 86967 h 606215"/>
                  <a:gd name="connsiteX10" fmla="*/ 478002 w 607724"/>
                  <a:gd name="connsiteY10" fmla="*/ 107686 h 606215"/>
                  <a:gd name="connsiteX11" fmla="*/ 476547 w 607724"/>
                  <a:gd name="connsiteY11" fmla="*/ 117813 h 606215"/>
                  <a:gd name="connsiteX12" fmla="*/ 484506 w 607724"/>
                  <a:gd name="connsiteY12" fmla="*/ 137928 h 606215"/>
                  <a:gd name="connsiteX13" fmla="*/ 493315 w 607724"/>
                  <a:gd name="connsiteY13" fmla="*/ 143582 h 606215"/>
                  <a:gd name="connsiteX14" fmla="*/ 498529 w 607724"/>
                  <a:gd name="connsiteY14" fmla="*/ 151458 h 606215"/>
                  <a:gd name="connsiteX15" fmla="*/ 501685 w 607724"/>
                  <a:gd name="connsiteY15" fmla="*/ 164027 h 606215"/>
                  <a:gd name="connsiteX16" fmla="*/ 521526 w 607724"/>
                  <a:gd name="connsiteY16" fmla="*/ 179312 h 606215"/>
                  <a:gd name="connsiteX17" fmla="*/ 535797 w 607724"/>
                  <a:gd name="connsiteY17" fmla="*/ 241663 h 606215"/>
                  <a:gd name="connsiteX18" fmla="*/ 531488 w 607724"/>
                  <a:gd name="connsiteY18" fmla="*/ 246026 h 606215"/>
                  <a:gd name="connsiteX19" fmla="*/ 542987 w 607724"/>
                  <a:gd name="connsiteY19" fmla="*/ 271219 h 606215"/>
                  <a:gd name="connsiteX20" fmla="*/ 546115 w 607724"/>
                  <a:gd name="connsiteY20" fmla="*/ 291005 h 606215"/>
                  <a:gd name="connsiteX21" fmla="*/ 544441 w 607724"/>
                  <a:gd name="connsiteY21" fmla="*/ 308047 h 606215"/>
                  <a:gd name="connsiteX22" fmla="*/ 547679 w 607724"/>
                  <a:gd name="connsiteY22" fmla="*/ 321851 h 606215"/>
                  <a:gd name="connsiteX23" fmla="*/ 542794 w 607724"/>
                  <a:gd name="connsiteY23" fmla="*/ 340403 h 606215"/>
                  <a:gd name="connsiteX24" fmla="*/ 546554 w 607724"/>
                  <a:gd name="connsiteY24" fmla="*/ 355579 h 606215"/>
                  <a:gd name="connsiteX25" fmla="*/ 546060 w 607724"/>
                  <a:gd name="connsiteY25" fmla="*/ 363208 h 606215"/>
                  <a:gd name="connsiteX26" fmla="*/ 544304 w 607724"/>
                  <a:gd name="connsiteY26" fmla="*/ 366336 h 606215"/>
                  <a:gd name="connsiteX27" fmla="*/ 535138 w 607724"/>
                  <a:gd name="connsiteY27" fmla="*/ 371029 h 606215"/>
                  <a:gd name="connsiteX28" fmla="*/ 531955 w 607724"/>
                  <a:gd name="connsiteY28" fmla="*/ 377560 h 606215"/>
                  <a:gd name="connsiteX29" fmla="*/ 549079 w 607724"/>
                  <a:gd name="connsiteY29" fmla="*/ 404180 h 606215"/>
                  <a:gd name="connsiteX30" fmla="*/ 550589 w 607724"/>
                  <a:gd name="connsiteY30" fmla="*/ 420179 h 606215"/>
                  <a:gd name="connsiteX31" fmla="*/ 554952 w 607724"/>
                  <a:gd name="connsiteY31" fmla="*/ 424049 h 606215"/>
                  <a:gd name="connsiteX32" fmla="*/ 557038 w 607724"/>
                  <a:gd name="connsiteY32" fmla="*/ 429043 h 606215"/>
                  <a:gd name="connsiteX33" fmla="*/ 562197 w 607724"/>
                  <a:gd name="connsiteY33" fmla="*/ 432639 h 606215"/>
                  <a:gd name="connsiteX34" fmla="*/ 571143 w 607724"/>
                  <a:gd name="connsiteY34" fmla="*/ 430498 h 606215"/>
                  <a:gd name="connsiteX35" fmla="*/ 590435 w 607724"/>
                  <a:gd name="connsiteY35" fmla="*/ 441283 h 606215"/>
                  <a:gd name="connsiteX36" fmla="*/ 596144 w 607724"/>
                  <a:gd name="connsiteY36" fmla="*/ 440460 h 606215"/>
                  <a:gd name="connsiteX37" fmla="*/ 607725 w 607724"/>
                  <a:gd name="connsiteY37" fmla="*/ 463896 h 606215"/>
                  <a:gd name="connsiteX38" fmla="*/ 516614 w 607724"/>
                  <a:gd name="connsiteY38" fmla="*/ 521993 h 606215"/>
                  <a:gd name="connsiteX39" fmla="*/ 475340 w 607724"/>
                  <a:gd name="connsiteY39" fmla="*/ 548064 h 606215"/>
                  <a:gd name="connsiteX40" fmla="*/ 462332 w 607724"/>
                  <a:gd name="connsiteY40" fmla="*/ 559699 h 606215"/>
                  <a:gd name="connsiteX41" fmla="*/ 446470 w 607724"/>
                  <a:gd name="connsiteY41" fmla="*/ 573833 h 606215"/>
                  <a:gd name="connsiteX42" fmla="*/ 438978 w 607724"/>
                  <a:gd name="connsiteY42" fmla="*/ 580474 h 606215"/>
                  <a:gd name="connsiteX43" fmla="*/ 429730 w 607724"/>
                  <a:gd name="connsiteY43" fmla="*/ 588679 h 606215"/>
                  <a:gd name="connsiteX44" fmla="*/ 425284 w 607724"/>
                  <a:gd name="connsiteY44" fmla="*/ 592604 h 606215"/>
                  <a:gd name="connsiteX45" fmla="*/ 400503 w 607724"/>
                  <a:gd name="connsiteY45" fmla="*/ 597735 h 606215"/>
                  <a:gd name="connsiteX46" fmla="*/ 379674 w 607724"/>
                  <a:gd name="connsiteY46" fmla="*/ 602044 h 606215"/>
                  <a:gd name="connsiteX47" fmla="*/ 352560 w 607724"/>
                  <a:gd name="connsiteY47" fmla="*/ 606215 h 606215"/>
                  <a:gd name="connsiteX48" fmla="*/ 347812 w 607724"/>
                  <a:gd name="connsiteY48" fmla="*/ 601303 h 606215"/>
                  <a:gd name="connsiteX49" fmla="*/ 350419 w 607724"/>
                  <a:gd name="connsiteY49" fmla="*/ 591039 h 606215"/>
                  <a:gd name="connsiteX50" fmla="*/ 349047 w 607724"/>
                  <a:gd name="connsiteY50" fmla="*/ 580392 h 606215"/>
                  <a:gd name="connsiteX51" fmla="*/ 334557 w 607724"/>
                  <a:gd name="connsiteY51" fmla="*/ 573888 h 606215"/>
                  <a:gd name="connsiteX52" fmla="*/ 325611 w 607724"/>
                  <a:gd name="connsiteY52" fmla="*/ 572790 h 606215"/>
                  <a:gd name="connsiteX53" fmla="*/ 320314 w 607724"/>
                  <a:gd name="connsiteY53" fmla="*/ 566752 h 606215"/>
                  <a:gd name="connsiteX54" fmla="*/ 308377 w 607724"/>
                  <a:gd name="connsiteY54" fmla="*/ 565408 h 606215"/>
                  <a:gd name="connsiteX55" fmla="*/ 301269 w 607724"/>
                  <a:gd name="connsiteY55" fmla="*/ 556983 h 606215"/>
                  <a:gd name="connsiteX56" fmla="*/ 290621 w 607724"/>
                  <a:gd name="connsiteY56" fmla="*/ 551576 h 606215"/>
                  <a:gd name="connsiteX57" fmla="*/ 287136 w 607724"/>
                  <a:gd name="connsiteY57" fmla="*/ 539913 h 606215"/>
                  <a:gd name="connsiteX58" fmla="*/ 262602 w 607724"/>
                  <a:gd name="connsiteY58" fmla="*/ 521609 h 606215"/>
                  <a:gd name="connsiteX59" fmla="*/ 221794 w 607724"/>
                  <a:gd name="connsiteY59" fmla="*/ 493096 h 606215"/>
                  <a:gd name="connsiteX60" fmla="*/ 193281 w 607724"/>
                  <a:gd name="connsiteY60" fmla="*/ 473090 h 606215"/>
                  <a:gd name="connsiteX61" fmla="*/ 180931 w 607724"/>
                  <a:gd name="connsiteY61" fmla="*/ 464390 h 606215"/>
                  <a:gd name="connsiteX62" fmla="*/ 178873 w 607724"/>
                  <a:gd name="connsiteY62" fmla="*/ 462935 h 606215"/>
                  <a:gd name="connsiteX63" fmla="*/ 112736 w 607724"/>
                  <a:gd name="connsiteY63" fmla="*/ 415981 h 606215"/>
                  <a:gd name="connsiteX64" fmla="*/ 0 w 607724"/>
                  <a:gd name="connsiteY64" fmla="*/ 340128 h 606215"/>
                  <a:gd name="connsiteX65" fmla="*/ 0 w 607724"/>
                  <a:gd name="connsiteY65" fmla="*/ 328547 h 606215"/>
                  <a:gd name="connsiteX66" fmla="*/ 851 w 607724"/>
                  <a:gd name="connsiteY66" fmla="*/ 293256 h 606215"/>
                  <a:gd name="connsiteX67" fmla="*/ 31779 w 607724"/>
                  <a:gd name="connsiteY67" fmla="*/ 271740 h 606215"/>
                  <a:gd name="connsiteX68" fmla="*/ 38145 w 607724"/>
                  <a:gd name="connsiteY68" fmla="*/ 270643 h 606215"/>
                  <a:gd name="connsiteX69" fmla="*/ 44128 w 607724"/>
                  <a:gd name="connsiteY69" fmla="*/ 266718 h 606215"/>
                  <a:gd name="connsiteX70" fmla="*/ 55435 w 607724"/>
                  <a:gd name="connsiteY70" fmla="*/ 267898 h 606215"/>
                  <a:gd name="connsiteX71" fmla="*/ 65616 w 607724"/>
                  <a:gd name="connsiteY71" fmla="*/ 264907 h 606215"/>
                  <a:gd name="connsiteX72" fmla="*/ 84030 w 607724"/>
                  <a:gd name="connsiteY72" fmla="*/ 263398 h 606215"/>
                  <a:gd name="connsiteX73" fmla="*/ 86775 w 607724"/>
                  <a:gd name="connsiteY73" fmla="*/ 265977 h 606215"/>
                  <a:gd name="connsiteX74" fmla="*/ 91714 w 607724"/>
                  <a:gd name="connsiteY74" fmla="*/ 266444 h 606215"/>
                  <a:gd name="connsiteX75" fmla="*/ 99563 w 607724"/>
                  <a:gd name="connsiteY75" fmla="*/ 253738 h 606215"/>
                  <a:gd name="connsiteX76" fmla="*/ 109278 w 607724"/>
                  <a:gd name="connsiteY76" fmla="*/ 245725 h 606215"/>
                  <a:gd name="connsiteX77" fmla="*/ 119459 w 607724"/>
                  <a:gd name="connsiteY77" fmla="*/ 240181 h 606215"/>
                  <a:gd name="connsiteX78" fmla="*/ 128543 w 607724"/>
                  <a:gd name="connsiteY78" fmla="*/ 231893 h 606215"/>
                  <a:gd name="connsiteX79" fmla="*/ 147314 w 607724"/>
                  <a:gd name="connsiteY79" fmla="*/ 226158 h 606215"/>
                  <a:gd name="connsiteX80" fmla="*/ 150635 w 607724"/>
                  <a:gd name="connsiteY80" fmla="*/ 216278 h 606215"/>
                  <a:gd name="connsiteX81" fmla="*/ 144076 w 607724"/>
                  <a:gd name="connsiteY81" fmla="*/ 207524 h 606215"/>
                  <a:gd name="connsiteX82" fmla="*/ 146820 w 607724"/>
                  <a:gd name="connsiteY82" fmla="*/ 202364 h 606215"/>
                  <a:gd name="connsiteX83" fmla="*/ 147286 w 607724"/>
                  <a:gd name="connsiteY83" fmla="*/ 195174 h 606215"/>
                  <a:gd name="connsiteX84" fmla="*/ 157825 w 607724"/>
                  <a:gd name="connsiteY84" fmla="*/ 191662 h 606215"/>
                  <a:gd name="connsiteX85" fmla="*/ 171244 w 607724"/>
                  <a:gd name="connsiteY85" fmla="*/ 188094 h 606215"/>
                  <a:gd name="connsiteX86" fmla="*/ 169159 w 607724"/>
                  <a:gd name="connsiteY86" fmla="*/ 180273 h 606215"/>
                  <a:gd name="connsiteX87" fmla="*/ 170585 w 607724"/>
                  <a:gd name="connsiteY87" fmla="*/ 177474 h 606215"/>
                  <a:gd name="connsiteX88" fmla="*/ 178928 w 607724"/>
                  <a:gd name="connsiteY88" fmla="*/ 176870 h 606215"/>
                  <a:gd name="connsiteX89" fmla="*/ 180986 w 607724"/>
                  <a:gd name="connsiteY89" fmla="*/ 176705 h 606215"/>
                  <a:gd name="connsiteX90" fmla="*/ 193336 w 607724"/>
                  <a:gd name="connsiteY90" fmla="*/ 175772 h 606215"/>
                  <a:gd name="connsiteX91" fmla="*/ 196409 w 607724"/>
                  <a:gd name="connsiteY91" fmla="*/ 175525 h 606215"/>
                  <a:gd name="connsiteX92" fmla="*/ 219269 w 607724"/>
                  <a:gd name="connsiteY92" fmla="*/ 178269 h 606215"/>
                  <a:gd name="connsiteX93" fmla="*/ 220339 w 607724"/>
                  <a:gd name="connsiteY93" fmla="*/ 177062 h 606215"/>
                  <a:gd name="connsiteX94" fmla="*/ 218172 w 607724"/>
                  <a:gd name="connsiteY94" fmla="*/ 174482 h 606215"/>
                  <a:gd name="connsiteX95" fmla="*/ 218748 w 607724"/>
                  <a:gd name="connsiteY95" fmla="*/ 169433 h 606215"/>
                  <a:gd name="connsiteX96" fmla="*/ 221821 w 607724"/>
                  <a:gd name="connsiteY96" fmla="*/ 166579 h 606215"/>
                  <a:gd name="connsiteX97" fmla="*/ 224868 w 607724"/>
                  <a:gd name="connsiteY97" fmla="*/ 163752 h 606215"/>
                  <a:gd name="connsiteX98" fmla="*/ 221821 w 607724"/>
                  <a:gd name="connsiteY98" fmla="*/ 161282 h 606215"/>
                  <a:gd name="connsiteX99" fmla="*/ 214165 w 607724"/>
                  <a:gd name="connsiteY99" fmla="*/ 155108 h 606215"/>
                  <a:gd name="connsiteX100" fmla="*/ 210268 w 607724"/>
                  <a:gd name="connsiteY100" fmla="*/ 148933 h 606215"/>
                  <a:gd name="connsiteX101" fmla="*/ 211146 w 607724"/>
                  <a:gd name="connsiteY101" fmla="*/ 144295 h 606215"/>
                  <a:gd name="connsiteX102" fmla="*/ 206014 w 607724"/>
                  <a:gd name="connsiteY102" fmla="*/ 135980 h 606215"/>
                  <a:gd name="connsiteX103" fmla="*/ 207990 w 607724"/>
                  <a:gd name="connsiteY103" fmla="*/ 126512 h 606215"/>
                  <a:gd name="connsiteX104" fmla="*/ 204505 w 607724"/>
                  <a:gd name="connsiteY104" fmla="*/ 121627 h 606215"/>
                  <a:gd name="connsiteX105" fmla="*/ 206207 w 607724"/>
                  <a:gd name="connsiteY105" fmla="*/ 107851 h 606215"/>
                  <a:gd name="connsiteX106" fmla="*/ 203078 w 607724"/>
                  <a:gd name="connsiteY106" fmla="*/ 97423 h 606215"/>
                  <a:gd name="connsiteX107" fmla="*/ 204450 w 607724"/>
                  <a:gd name="connsiteY107" fmla="*/ 93663 h 606215"/>
                  <a:gd name="connsiteX108" fmla="*/ 201184 w 607724"/>
                  <a:gd name="connsiteY108" fmla="*/ 89245 h 606215"/>
                  <a:gd name="connsiteX109" fmla="*/ 202913 w 607724"/>
                  <a:gd name="connsiteY109" fmla="*/ 84744 h 606215"/>
                  <a:gd name="connsiteX110" fmla="*/ 193336 w 607724"/>
                  <a:gd name="connsiteY110" fmla="*/ 75770 h 606215"/>
                  <a:gd name="connsiteX111" fmla="*/ 189933 w 607724"/>
                  <a:gd name="connsiteY111" fmla="*/ 72587 h 606215"/>
                  <a:gd name="connsiteX112" fmla="*/ 198824 w 607724"/>
                  <a:gd name="connsiteY112" fmla="*/ 72587 h 606215"/>
                  <a:gd name="connsiteX113" fmla="*/ 203297 w 607724"/>
                  <a:gd name="connsiteY113" fmla="*/ 70968 h 606215"/>
                  <a:gd name="connsiteX114" fmla="*/ 211530 w 607724"/>
                  <a:gd name="connsiteY114" fmla="*/ 64875 h 606215"/>
                  <a:gd name="connsiteX115" fmla="*/ 214851 w 607724"/>
                  <a:gd name="connsiteY115" fmla="*/ 64134 h 606215"/>
                  <a:gd name="connsiteX116" fmla="*/ 217650 w 607724"/>
                  <a:gd name="connsiteY116" fmla="*/ 61939 h 606215"/>
                  <a:gd name="connsiteX117" fmla="*/ 220120 w 607724"/>
                  <a:gd name="connsiteY117" fmla="*/ 55078 h 606215"/>
                  <a:gd name="connsiteX118" fmla="*/ 221849 w 607724"/>
                  <a:gd name="connsiteY118" fmla="*/ 53788 h 606215"/>
                  <a:gd name="connsiteX119" fmla="*/ 227036 w 607724"/>
                  <a:gd name="connsiteY119" fmla="*/ 49809 h 606215"/>
                  <a:gd name="connsiteX120" fmla="*/ 229396 w 607724"/>
                  <a:gd name="connsiteY120" fmla="*/ 49809 h 606215"/>
                  <a:gd name="connsiteX121" fmla="*/ 230932 w 607724"/>
                  <a:gd name="connsiteY121" fmla="*/ 47998 h 606215"/>
                  <a:gd name="connsiteX122" fmla="*/ 236586 w 607724"/>
                  <a:gd name="connsiteY122" fmla="*/ 49837 h 606215"/>
                  <a:gd name="connsiteX123" fmla="*/ 239879 w 607724"/>
                  <a:gd name="connsiteY123" fmla="*/ 47312 h 606215"/>
                  <a:gd name="connsiteX124" fmla="*/ 241141 w 607724"/>
                  <a:gd name="connsiteY124" fmla="*/ 44019 h 606215"/>
                  <a:gd name="connsiteX125" fmla="*/ 244105 w 607724"/>
                  <a:gd name="connsiteY125" fmla="*/ 42866 h 606215"/>
                  <a:gd name="connsiteX126" fmla="*/ 245889 w 607724"/>
                  <a:gd name="connsiteY126" fmla="*/ 43936 h 606215"/>
                  <a:gd name="connsiteX127" fmla="*/ 246246 w 607724"/>
                  <a:gd name="connsiteY127" fmla="*/ 45336 h 606215"/>
                  <a:gd name="connsiteX128" fmla="*/ 247481 w 607724"/>
                  <a:gd name="connsiteY128" fmla="*/ 46296 h 606215"/>
                  <a:gd name="connsiteX129" fmla="*/ 251378 w 607724"/>
                  <a:gd name="connsiteY129" fmla="*/ 47065 h 606215"/>
                  <a:gd name="connsiteX130" fmla="*/ 253216 w 607724"/>
                  <a:gd name="connsiteY130" fmla="*/ 46434 h 606215"/>
                  <a:gd name="connsiteX131" fmla="*/ 255659 w 607724"/>
                  <a:gd name="connsiteY131" fmla="*/ 44485 h 606215"/>
                  <a:gd name="connsiteX132" fmla="*/ 259171 w 607724"/>
                  <a:gd name="connsiteY132" fmla="*/ 37817 h 606215"/>
                  <a:gd name="connsiteX133" fmla="*/ 262657 w 607724"/>
                  <a:gd name="connsiteY133" fmla="*/ 34743 h 606215"/>
                  <a:gd name="connsiteX134" fmla="*/ 265346 w 607724"/>
                  <a:gd name="connsiteY134" fmla="*/ 32410 h 606215"/>
                  <a:gd name="connsiteX135" fmla="*/ 274402 w 607724"/>
                  <a:gd name="connsiteY135" fmla="*/ 27607 h 606215"/>
                  <a:gd name="connsiteX136" fmla="*/ 280577 w 607724"/>
                  <a:gd name="connsiteY136" fmla="*/ 25796 h 606215"/>
                  <a:gd name="connsiteX137" fmla="*/ 281620 w 607724"/>
                  <a:gd name="connsiteY137" fmla="*/ 24589 h 606215"/>
                  <a:gd name="connsiteX138" fmla="*/ 282827 w 607724"/>
                  <a:gd name="connsiteY138" fmla="*/ 23189 h 606215"/>
                  <a:gd name="connsiteX139" fmla="*/ 286559 w 607724"/>
                  <a:gd name="connsiteY139" fmla="*/ 21653 h 606215"/>
                  <a:gd name="connsiteX140" fmla="*/ 292981 w 607724"/>
                  <a:gd name="connsiteY140" fmla="*/ 20747 h 606215"/>
                  <a:gd name="connsiteX141" fmla="*/ 294930 w 607724"/>
                  <a:gd name="connsiteY141" fmla="*/ 19457 h 606215"/>
                  <a:gd name="connsiteX142" fmla="*/ 299183 w 607724"/>
                  <a:gd name="connsiteY142" fmla="*/ 20034 h 606215"/>
                  <a:gd name="connsiteX143" fmla="*/ 314304 w 607724"/>
                  <a:gd name="connsiteY143" fmla="*/ 18743 h 606215"/>
                  <a:gd name="connsiteX144" fmla="*/ 322455 w 607724"/>
                  <a:gd name="connsiteY144" fmla="*/ 16466 h 606215"/>
                  <a:gd name="connsiteX145" fmla="*/ 323717 w 607724"/>
                  <a:gd name="connsiteY145" fmla="*/ 16109 h 606215"/>
                  <a:gd name="connsiteX146" fmla="*/ 326599 w 607724"/>
                  <a:gd name="connsiteY146" fmla="*/ 17728 h 606215"/>
                  <a:gd name="connsiteX147" fmla="*/ 330359 w 607724"/>
                  <a:gd name="connsiteY147" fmla="*/ 17783 h 606215"/>
                  <a:gd name="connsiteX148" fmla="*/ 336670 w 607724"/>
                  <a:gd name="connsiteY148" fmla="*/ 14435 h 606215"/>
                  <a:gd name="connsiteX149" fmla="*/ 340402 w 607724"/>
                  <a:gd name="connsiteY149" fmla="*/ 10236 h 606215"/>
                  <a:gd name="connsiteX150" fmla="*/ 342571 w 607724"/>
                  <a:gd name="connsiteY150" fmla="*/ 9770 h 606215"/>
                  <a:gd name="connsiteX151" fmla="*/ 347428 w 607724"/>
                  <a:gd name="connsiteY151" fmla="*/ 12322 h 606215"/>
                  <a:gd name="connsiteX152" fmla="*/ 349157 w 607724"/>
                  <a:gd name="connsiteY152" fmla="*/ 11746 h 606215"/>
                  <a:gd name="connsiteX153" fmla="*/ 350364 w 607724"/>
                  <a:gd name="connsiteY153" fmla="*/ 9907 h 606215"/>
                  <a:gd name="connsiteX154" fmla="*/ 356073 w 607724"/>
                  <a:gd name="connsiteY154" fmla="*/ 11389 h 606215"/>
                  <a:gd name="connsiteX155" fmla="*/ 359338 w 607724"/>
                  <a:gd name="connsiteY155" fmla="*/ 10593 h 606215"/>
                  <a:gd name="connsiteX156" fmla="*/ 368751 w 607724"/>
                  <a:gd name="connsiteY156" fmla="*/ 6147 h 606215"/>
                  <a:gd name="connsiteX157" fmla="*/ 395261 w 607724"/>
                  <a:gd name="connsiteY157" fmla="*/ 7135 h 606215"/>
                  <a:gd name="connsiteX158" fmla="*/ 411205 w 607724"/>
                  <a:gd name="connsiteY158" fmla="*/ 15999 h 606215"/>
                  <a:gd name="connsiteX159" fmla="*/ 416310 w 607724"/>
                  <a:gd name="connsiteY159" fmla="*/ 14627 h 606215"/>
                  <a:gd name="connsiteX160" fmla="*/ 421744 w 607724"/>
                  <a:gd name="connsiteY160" fmla="*/ 10126 h 606215"/>
                  <a:gd name="connsiteX161" fmla="*/ 436755 w 607724"/>
                  <a:gd name="connsiteY161" fmla="*/ 6504 h 606215"/>
                  <a:gd name="connsiteX162" fmla="*/ 440295 w 607724"/>
                  <a:gd name="connsiteY162" fmla="*/ 1400 h 606215"/>
                  <a:gd name="connsiteX163" fmla="*/ 444576 w 607724"/>
                  <a:gd name="connsiteY163" fmla="*/ 0 h 606215"/>
                  <a:gd name="connsiteX164" fmla="*/ 449379 w 607724"/>
                  <a:gd name="connsiteY164" fmla="*/ 3897 h 606215"/>
                  <a:gd name="connsiteX165" fmla="*/ 459093 w 607724"/>
                  <a:gd name="connsiteY165" fmla="*/ 6916 h 606215"/>
                  <a:gd name="connsiteX166" fmla="*/ 466448 w 607724"/>
                  <a:gd name="connsiteY166" fmla="*/ 4803 h 606215"/>
                  <a:gd name="connsiteX167" fmla="*/ 468150 w 607724"/>
                  <a:gd name="connsiteY167" fmla="*/ 247 h 606215"/>
                  <a:gd name="connsiteX168" fmla="*/ 481871 w 607724"/>
                  <a:gd name="connsiteY168" fmla="*/ 4473 h 606215"/>
                  <a:gd name="connsiteX169" fmla="*/ 486536 w 607724"/>
                  <a:gd name="connsiteY169" fmla="*/ 8535 h 606215"/>
                  <a:gd name="connsiteX170" fmla="*/ 496224 w 607724"/>
                  <a:gd name="connsiteY170" fmla="*/ 5351 h 606215"/>
                  <a:gd name="connsiteX171" fmla="*/ 502536 w 607724"/>
                  <a:gd name="connsiteY171" fmla="*/ 6641 h 606215"/>
                  <a:gd name="connsiteX172" fmla="*/ 509122 w 607724"/>
                  <a:gd name="connsiteY172" fmla="*/ 5159 h 60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607724" h="606215">
                    <a:moveTo>
                      <a:pt x="509067" y="4994"/>
                    </a:moveTo>
                    <a:lnTo>
                      <a:pt x="508601" y="9440"/>
                    </a:lnTo>
                    <a:lnTo>
                      <a:pt x="496965" y="21241"/>
                    </a:lnTo>
                    <a:lnTo>
                      <a:pt x="501493" y="26153"/>
                    </a:lnTo>
                    <a:lnTo>
                      <a:pt x="498118" y="45967"/>
                    </a:lnTo>
                    <a:lnTo>
                      <a:pt x="500478" y="53486"/>
                    </a:lnTo>
                    <a:lnTo>
                      <a:pt x="500258" y="63695"/>
                    </a:lnTo>
                    <a:lnTo>
                      <a:pt x="502865" y="67949"/>
                    </a:lnTo>
                    <a:lnTo>
                      <a:pt x="498227" y="78597"/>
                    </a:lnTo>
                    <a:lnTo>
                      <a:pt x="497651" y="86967"/>
                    </a:lnTo>
                    <a:lnTo>
                      <a:pt x="478002" y="107686"/>
                    </a:lnTo>
                    <a:lnTo>
                      <a:pt x="476547" y="117813"/>
                    </a:lnTo>
                    <a:lnTo>
                      <a:pt x="484506" y="137928"/>
                    </a:lnTo>
                    <a:lnTo>
                      <a:pt x="493315" y="143582"/>
                    </a:lnTo>
                    <a:lnTo>
                      <a:pt x="498529" y="151458"/>
                    </a:lnTo>
                    <a:lnTo>
                      <a:pt x="501685" y="164027"/>
                    </a:lnTo>
                    <a:lnTo>
                      <a:pt x="521526" y="179312"/>
                    </a:lnTo>
                    <a:lnTo>
                      <a:pt x="535797" y="241663"/>
                    </a:lnTo>
                    <a:lnTo>
                      <a:pt x="531488" y="246026"/>
                    </a:lnTo>
                    <a:lnTo>
                      <a:pt x="542987" y="271219"/>
                    </a:lnTo>
                    <a:lnTo>
                      <a:pt x="546115" y="291005"/>
                    </a:lnTo>
                    <a:lnTo>
                      <a:pt x="544441" y="308047"/>
                    </a:lnTo>
                    <a:lnTo>
                      <a:pt x="547679" y="321851"/>
                    </a:lnTo>
                    <a:lnTo>
                      <a:pt x="542794" y="340403"/>
                    </a:lnTo>
                    <a:lnTo>
                      <a:pt x="546554" y="355579"/>
                    </a:lnTo>
                    <a:lnTo>
                      <a:pt x="546060" y="363208"/>
                    </a:lnTo>
                    <a:lnTo>
                      <a:pt x="544304" y="366336"/>
                    </a:lnTo>
                    <a:lnTo>
                      <a:pt x="535138" y="371029"/>
                    </a:lnTo>
                    <a:lnTo>
                      <a:pt x="531955" y="377560"/>
                    </a:lnTo>
                    <a:lnTo>
                      <a:pt x="549079" y="404180"/>
                    </a:lnTo>
                    <a:lnTo>
                      <a:pt x="550589" y="420179"/>
                    </a:lnTo>
                    <a:lnTo>
                      <a:pt x="554952" y="424049"/>
                    </a:lnTo>
                    <a:lnTo>
                      <a:pt x="557038" y="429043"/>
                    </a:lnTo>
                    <a:lnTo>
                      <a:pt x="562197" y="432639"/>
                    </a:lnTo>
                    <a:lnTo>
                      <a:pt x="571143" y="430498"/>
                    </a:lnTo>
                    <a:lnTo>
                      <a:pt x="590435" y="441283"/>
                    </a:lnTo>
                    <a:lnTo>
                      <a:pt x="596144" y="440460"/>
                    </a:lnTo>
                    <a:lnTo>
                      <a:pt x="607725" y="463896"/>
                    </a:lnTo>
                    <a:lnTo>
                      <a:pt x="516614" y="521993"/>
                    </a:lnTo>
                    <a:lnTo>
                      <a:pt x="475340" y="548064"/>
                    </a:lnTo>
                    <a:lnTo>
                      <a:pt x="462332" y="559699"/>
                    </a:lnTo>
                    <a:lnTo>
                      <a:pt x="446470" y="573833"/>
                    </a:lnTo>
                    <a:lnTo>
                      <a:pt x="438978" y="580474"/>
                    </a:lnTo>
                    <a:lnTo>
                      <a:pt x="429730" y="588679"/>
                    </a:lnTo>
                    <a:lnTo>
                      <a:pt x="425284" y="592604"/>
                    </a:lnTo>
                    <a:lnTo>
                      <a:pt x="400503" y="597735"/>
                    </a:lnTo>
                    <a:lnTo>
                      <a:pt x="379674" y="602044"/>
                    </a:lnTo>
                    <a:lnTo>
                      <a:pt x="352560" y="606215"/>
                    </a:lnTo>
                    <a:lnTo>
                      <a:pt x="347812" y="601303"/>
                    </a:lnTo>
                    <a:lnTo>
                      <a:pt x="350419" y="591039"/>
                    </a:lnTo>
                    <a:lnTo>
                      <a:pt x="349047" y="580392"/>
                    </a:lnTo>
                    <a:lnTo>
                      <a:pt x="334557" y="573888"/>
                    </a:lnTo>
                    <a:lnTo>
                      <a:pt x="325611" y="572790"/>
                    </a:lnTo>
                    <a:lnTo>
                      <a:pt x="320314" y="566752"/>
                    </a:lnTo>
                    <a:lnTo>
                      <a:pt x="308377" y="565408"/>
                    </a:lnTo>
                    <a:lnTo>
                      <a:pt x="301269" y="556983"/>
                    </a:lnTo>
                    <a:lnTo>
                      <a:pt x="290621" y="551576"/>
                    </a:lnTo>
                    <a:lnTo>
                      <a:pt x="287136" y="539913"/>
                    </a:lnTo>
                    <a:lnTo>
                      <a:pt x="262602" y="521609"/>
                    </a:lnTo>
                    <a:lnTo>
                      <a:pt x="221794" y="493096"/>
                    </a:lnTo>
                    <a:lnTo>
                      <a:pt x="193281" y="473090"/>
                    </a:lnTo>
                    <a:lnTo>
                      <a:pt x="180931" y="464390"/>
                    </a:lnTo>
                    <a:lnTo>
                      <a:pt x="178873" y="462935"/>
                    </a:lnTo>
                    <a:lnTo>
                      <a:pt x="112736" y="415981"/>
                    </a:lnTo>
                    <a:lnTo>
                      <a:pt x="0" y="340128"/>
                    </a:lnTo>
                    <a:lnTo>
                      <a:pt x="0" y="328547"/>
                    </a:lnTo>
                    <a:lnTo>
                      <a:pt x="851" y="293256"/>
                    </a:lnTo>
                    <a:lnTo>
                      <a:pt x="31779" y="271740"/>
                    </a:lnTo>
                    <a:lnTo>
                      <a:pt x="38145" y="270643"/>
                    </a:lnTo>
                    <a:lnTo>
                      <a:pt x="44128" y="266718"/>
                    </a:lnTo>
                    <a:lnTo>
                      <a:pt x="55435" y="267898"/>
                    </a:lnTo>
                    <a:lnTo>
                      <a:pt x="65616" y="264907"/>
                    </a:lnTo>
                    <a:lnTo>
                      <a:pt x="84030" y="263398"/>
                    </a:lnTo>
                    <a:lnTo>
                      <a:pt x="86775" y="265977"/>
                    </a:lnTo>
                    <a:lnTo>
                      <a:pt x="91714" y="266444"/>
                    </a:lnTo>
                    <a:lnTo>
                      <a:pt x="99563" y="253738"/>
                    </a:lnTo>
                    <a:lnTo>
                      <a:pt x="109278" y="245725"/>
                    </a:lnTo>
                    <a:lnTo>
                      <a:pt x="119459" y="240181"/>
                    </a:lnTo>
                    <a:lnTo>
                      <a:pt x="128543" y="231893"/>
                    </a:lnTo>
                    <a:lnTo>
                      <a:pt x="147314" y="226158"/>
                    </a:lnTo>
                    <a:lnTo>
                      <a:pt x="150635" y="216278"/>
                    </a:lnTo>
                    <a:lnTo>
                      <a:pt x="144076" y="207524"/>
                    </a:lnTo>
                    <a:lnTo>
                      <a:pt x="146820" y="202364"/>
                    </a:lnTo>
                    <a:lnTo>
                      <a:pt x="147286" y="195174"/>
                    </a:lnTo>
                    <a:lnTo>
                      <a:pt x="157825" y="191662"/>
                    </a:lnTo>
                    <a:lnTo>
                      <a:pt x="171244" y="188094"/>
                    </a:lnTo>
                    <a:lnTo>
                      <a:pt x="169159" y="180273"/>
                    </a:lnTo>
                    <a:lnTo>
                      <a:pt x="170585" y="177474"/>
                    </a:lnTo>
                    <a:lnTo>
                      <a:pt x="178928" y="176870"/>
                    </a:lnTo>
                    <a:lnTo>
                      <a:pt x="180986" y="176705"/>
                    </a:lnTo>
                    <a:lnTo>
                      <a:pt x="193336" y="175772"/>
                    </a:lnTo>
                    <a:lnTo>
                      <a:pt x="196409" y="175525"/>
                    </a:lnTo>
                    <a:lnTo>
                      <a:pt x="219269" y="178269"/>
                    </a:lnTo>
                    <a:lnTo>
                      <a:pt x="220339" y="177062"/>
                    </a:lnTo>
                    <a:lnTo>
                      <a:pt x="218172" y="174482"/>
                    </a:lnTo>
                    <a:lnTo>
                      <a:pt x="218748" y="169433"/>
                    </a:lnTo>
                    <a:lnTo>
                      <a:pt x="221821" y="166579"/>
                    </a:lnTo>
                    <a:lnTo>
                      <a:pt x="224868" y="163752"/>
                    </a:lnTo>
                    <a:lnTo>
                      <a:pt x="221821" y="161282"/>
                    </a:lnTo>
                    <a:lnTo>
                      <a:pt x="214165" y="155108"/>
                    </a:lnTo>
                    <a:lnTo>
                      <a:pt x="210268" y="148933"/>
                    </a:lnTo>
                    <a:lnTo>
                      <a:pt x="211146" y="144295"/>
                    </a:lnTo>
                    <a:lnTo>
                      <a:pt x="206014" y="135980"/>
                    </a:lnTo>
                    <a:lnTo>
                      <a:pt x="207990" y="126512"/>
                    </a:lnTo>
                    <a:lnTo>
                      <a:pt x="204505" y="121627"/>
                    </a:lnTo>
                    <a:lnTo>
                      <a:pt x="206207" y="107851"/>
                    </a:lnTo>
                    <a:lnTo>
                      <a:pt x="203078" y="97423"/>
                    </a:lnTo>
                    <a:lnTo>
                      <a:pt x="204450" y="93663"/>
                    </a:lnTo>
                    <a:lnTo>
                      <a:pt x="201184" y="89245"/>
                    </a:lnTo>
                    <a:lnTo>
                      <a:pt x="202913" y="84744"/>
                    </a:lnTo>
                    <a:lnTo>
                      <a:pt x="193336" y="75770"/>
                    </a:lnTo>
                    <a:lnTo>
                      <a:pt x="189933" y="72587"/>
                    </a:lnTo>
                    <a:lnTo>
                      <a:pt x="198824" y="72587"/>
                    </a:lnTo>
                    <a:cubicBezTo>
                      <a:pt x="198824" y="72587"/>
                      <a:pt x="203297" y="70968"/>
                      <a:pt x="203297" y="70968"/>
                    </a:cubicBezTo>
                    <a:lnTo>
                      <a:pt x="211530" y="64875"/>
                    </a:lnTo>
                    <a:lnTo>
                      <a:pt x="214851" y="64134"/>
                    </a:lnTo>
                    <a:lnTo>
                      <a:pt x="217650" y="61939"/>
                    </a:lnTo>
                    <a:lnTo>
                      <a:pt x="220120" y="55078"/>
                    </a:lnTo>
                    <a:lnTo>
                      <a:pt x="221849" y="53788"/>
                    </a:lnTo>
                    <a:lnTo>
                      <a:pt x="227036" y="49809"/>
                    </a:lnTo>
                    <a:lnTo>
                      <a:pt x="229396" y="49809"/>
                    </a:lnTo>
                    <a:lnTo>
                      <a:pt x="230932" y="47998"/>
                    </a:lnTo>
                    <a:lnTo>
                      <a:pt x="236586" y="49837"/>
                    </a:lnTo>
                    <a:lnTo>
                      <a:pt x="239879" y="47312"/>
                    </a:lnTo>
                    <a:lnTo>
                      <a:pt x="241141" y="44019"/>
                    </a:lnTo>
                    <a:lnTo>
                      <a:pt x="244105" y="42866"/>
                    </a:lnTo>
                    <a:lnTo>
                      <a:pt x="245889" y="43936"/>
                    </a:lnTo>
                    <a:lnTo>
                      <a:pt x="246246" y="45336"/>
                    </a:lnTo>
                    <a:lnTo>
                      <a:pt x="247481" y="46296"/>
                    </a:lnTo>
                    <a:lnTo>
                      <a:pt x="251378" y="47065"/>
                    </a:lnTo>
                    <a:lnTo>
                      <a:pt x="253216" y="46434"/>
                    </a:lnTo>
                    <a:lnTo>
                      <a:pt x="255659" y="44485"/>
                    </a:lnTo>
                    <a:lnTo>
                      <a:pt x="259171" y="37817"/>
                    </a:lnTo>
                    <a:lnTo>
                      <a:pt x="262657" y="34743"/>
                    </a:lnTo>
                    <a:lnTo>
                      <a:pt x="265346" y="32410"/>
                    </a:lnTo>
                    <a:lnTo>
                      <a:pt x="274402" y="27607"/>
                    </a:lnTo>
                    <a:lnTo>
                      <a:pt x="280577" y="25796"/>
                    </a:lnTo>
                    <a:lnTo>
                      <a:pt x="281620" y="24589"/>
                    </a:lnTo>
                    <a:lnTo>
                      <a:pt x="282827" y="23189"/>
                    </a:lnTo>
                    <a:lnTo>
                      <a:pt x="286559" y="21653"/>
                    </a:lnTo>
                    <a:lnTo>
                      <a:pt x="292981" y="20747"/>
                    </a:lnTo>
                    <a:lnTo>
                      <a:pt x="294930" y="19457"/>
                    </a:lnTo>
                    <a:lnTo>
                      <a:pt x="299183" y="20034"/>
                    </a:lnTo>
                    <a:lnTo>
                      <a:pt x="314304" y="18743"/>
                    </a:lnTo>
                    <a:lnTo>
                      <a:pt x="322455" y="16466"/>
                    </a:lnTo>
                    <a:lnTo>
                      <a:pt x="323717" y="16109"/>
                    </a:lnTo>
                    <a:lnTo>
                      <a:pt x="326599" y="17728"/>
                    </a:lnTo>
                    <a:lnTo>
                      <a:pt x="330359" y="17783"/>
                    </a:lnTo>
                    <a:lnTo>
                      <a:pt x="336670" y="14435"/>
                    </a:lnTo>
                    <a:lnTo>
                      <a:pt x="340402" y="10236"/>
                    </a:lnTo>
                    <a:lnTo>
                      <a:pt x="342571" y="9770"/>
                    </a:lnTo>
                    <a:lnTo>
                      <a:pt x="347428" y="12322"/>
                    </a:lnTo>
                    <a:lnTo>
                      <a:pt x="349157" y="11746"/>
                    </a:lnTo>
                    <a:lnTo>
                      <a:pt x="350364" y="9907"/>
                    </a:lnTo>
                    <a:lnTo>
                      <a:pt x="356073" y="11389"/>
                    </a:lnTo>
                    <a:lnTo>
                      <a:pt x="359338" y="10593"/>
                    </a:lnTo>
                    <a:lnTo>
                      <a:pt x="368751" y="6147"/>
                    </a:lnTo>
                    <a:lnTo>
                      <a:pt x="395261" y="7135"/>
                    </a:lnTo>
                    <a:lnTo>
                      <a:pt x="411205" y="15999"/>
                    </a:lnTo>
                    <a:lnTo>
                      <a:pt x="416310" y="14627"/>
                    </a:lnTo>
                    <a:lnTo>
                      <a:pt x="421744" y="10126"/>
                    </a:lnTo>
                    <a:lnTo>
                      <a:pt x="436755" y="6504"/>
                    </a:lnTo>
                    <a:lnTo>
                      <a:pt x="440295" y="1400"/>
                    </a:lnTo>
                    <a:lnTo>
                      <a:pt x="444576" y="0"/>
                    </a:lnTo>
                    <a:lnTo>
                      <a:pt x="449379" y="3897"/>
                    </a:lnTo>
                    <a:lnTo>
                      <a:pt x="459093" y="6916"/>
                    </a:lnTo>
                    <a:lnTo>
                      <a:pt x="466448" y="4803"/>
                    </a:lnTo>
                    <a:lnTo>
                      <a:pt x="468150" y="247"/>
                    </a:lnTo>
                    <a:lnTo>
                      <a:pt x="481871" y="4473"/>
                    </a:lnTo>
                    <a:lnTo>
                      <a:pt x="486536" y="8535"/>
                    </a:lnTo>
                    <a:lnTo>
                      <a:pt x="496224" y="5351"/>
                    </a:lnTo>
                    <a:lnTo>
                      <a:pt x="502536" y="6641"/>
                    </a:lnTo>
                    <a:lnTo>
                      <a:pt x="509122" y="51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69" name="Freeform: Shape 3868">
                <a:extLst>
                  <a:ext uri="{FF2B5EF4-FFF2-40B4-BE49-F238E27FC236}">
                    <a16:creationId xmlns:a16="http://schemas.microsoft.com/office/drawing/2014/main" id="{CD733940-9955-4AD1-B2E7-862F91F917D9}"/>
                  </a:ext>
                </a:extLst>
              </p:cNvPr>
              <p:cNvSpPr/>
              <p:nvPr/>
            </p:nvSpPr>
            <p:spPr>
              <a:xfrm>
                <a:off x="1117219" y="3840103"/>
                <a:ext cx="17369" cy="19573"/>
              </a:xfrm>
              <a:custGeom>
                <a:avLst/>
                <a:gdLst>
                  <a:gd name="connsiteX0" fmla="*/ 117566 w 166523"/>
                  <a:gd name="connsiteY0" fmla="*/ 34276 h 187655"/>
                  <a:gd name="connsiteX1" fmla="*/ 127610 w 166523"/>
                  <a:gd name="connsiteY1" fmla="*/ 34688 h 187655"/>
                  <a:gd name="connsiteX2" fmla="*/ 131616 w 166523"/>
                  <a:gd name="connsiteY2" fmla="*/ 34002 h 187655"/>
                  <a:gd name="connsiteX3" fmla="*/ 132961 w 166523"/>
                  <a:gd name="connsiteY3" fmla="*/ 30873 h 187655"/>
                  <a:gd name="connsiteX4" fmla="*/ 136419 w 166523"/>
                  <a:gd name="connsiteY4" fmla="*/ 29282 h 187655"/>
                  <a:gd name="connsiteX5" fmla="*/ 142429 w 166523"/>
                  <a:gd name="connsiteY5" fmla="*/ 31614 h 187655"/>
                  <a:gd name="connsiteX6" fmla="*/ 150717 w 166523"/>
                  <a:gd name="connsiteY6" fmla="*/ 39052 h 187655"/>
                  <a:gd name="connsiteX7" fmla="*/ 155766 w 166523"/>
                  <a:gd name="connsiteY7" fmla="*/ 39765 h 187655"/>
                  <a:gd name="connsiteX8" fmla="*/ 157934 w 166523"/>
                  <a:gd name="connsiteY8" fmla="*/ 42619 h 187655"/>
                  <a:gd name="connsiteX9" fmla="*/ 165097 w 166523"/>
                  <a:gd name="connsiteY9" fmla="*/ 44513 h 187655"/>
                  <a:gd name="connsiteX10" fmla="*/ 156480 w 166523"/>
                  <a:gd name="connsiteY10" fmla="*/ 45363 h 187655"/>
                  <a:gd name="connsiteX11" fmla="*/ 155437 w 166523"/>
                  <a:gd name="connsiteY11" fmla="*/ 47943 h 187655"/>
                  <a:gd name="connsiteX12" fmla="*/ 158291 w 166523"/>
                  <a:gd name="connsiteY12" fmla="*/ 50797 h 187655"/>
                  <a:gd name="connsiteX13" fmla="*/ 164521 w 166523"/>
                  <a:gd name="connsiteY13" fmla="*/ 57054 h 187655"/>
                  <a:gd name="connsiteX14" fmla="*/ 165865 w 166523"/>
                  <a:gd name="connsiteY14" fmla="*/ 58426 h 187655"/>
                  <a:gd name="connsiteX15" fmla="*/ 166524 w 166523"/>
                  <a:gd name="connsiteY15" fmla="*/ 68635 h 187655"/>
                  <a:gd name="connsiteX16" fmla="*/ 162600 w 166523"/>
                  <a:gd name="connsiteY16" fmla="*/ 71709 h 187655"/>
                  <a:gd name="connsiteX17" fmla="*/ 158318 w 166523"/>
                  <a:gd name="connsiteY17" fmla="*/ 83783 h 187655"/>
                  <a:gd name="connsiteX18" fmla="*/ 156398 w 166523"/>
                  <a:gd name="connsiteY18" fmla="*/ 87763 h 187655"/>
                  <a:gd name="connsiteX19" fmla="*/ 138971 w 166523"/>
                  <a:gd name="connsiteY19" fmla="*/ 107137 h 187655"/>
                  <a:gd name="connsiteX20" fmla="*/ 125908 w 166523"/>
                  <a:gd name="connsiteY20" fmla="*/ 117291 h 187655"/>
                  <a:gd name="connsiteX21" fmla="*/ 87900 w 166523"/>
                  <a:gd name="connsiteY21" fmla="*/ 132714 h 187655"/>
                  <a:gd name="connsiteX22" fmla="*/ 81149 w 166523"/>
                  <a:gd name="connsiteY22" fmla="*/ 139822 h 187655"/>
                  <a:gd name="connsiteX23" fmla="*/ 80682 w 166523"/>
                  <a:gd name="connsiteY23" fmla="*/ 144021 h 187655"/>
                  <a:gd name="connsiteX24" fmla="*/ 75852 w 166523"/>
                  <a:gd name="connsiteY24" fmla="*/ 145064 h 187655"/>
                  <a:gd name="connsiteX25" fmla="*/ 66522 w 166523"/>
                  <a:gd name="connsiteY25" fmla="*/ 173797 h 187655"/>
                  <a:gd name="connsiteX26" fmla="*/ 54282 w 166523"/>
                  <a:gd name="connsiteY26" fmla="*/ 187655 h 187655"/>
                  <a:gd name="connsiteX27" fmla="*/ 47504 w 166523"/>
                  <a:gd name="connsiteY27" fmla="*/ 186173 h 187655"/>
                  <a:gd name="connsiteX28" fmla="*/ 41329 w 166523"/>
                  <a:gd name="connsiteY28" fmla="*/ 176376 h 187655"/>
                  <a:gd name="connsiteX29" fmla="*/ 37844 w 166523"/>
                  <a:gd name="connsiteY29" fmla="*/ 173577 h 187655"/>
                  <a:gd name="connsiteX30" fmla="*/ 31697 w 166523"/>
                  <a:gd name="connsiteY30" fmla="*/ 172863 h 187655"/>
                  <a:gd name="connsiteX31" fmla="*/ 23381 w 166523"/>
                  <a:gd name="connsiteY31" fmla="*/ 169296 h 187655"/>
                  <a:gd name="connsiteX32" fmla="*/ 15204 w 166523"/>
                  <a:gd name="connsiteY32" fmla="*/ 172013 h 187655"/>
                  <a:gd name="connsiteX33" fmla="*/ 13776 w 166523"/>
                  <a:gd name="connsiteY33" fmla="*/ 161749 h 187655"/>
                  <a:gd name="connsiteX34" fmla="*/ 21131 w 166523"/>
                  <a:gd name="connsiteY34" fmla="*/ 155135 h 187655"/>
                  <a:gd name="connsiteX35" fmla="*/ 19951 w 166523"/>
                  <a:gd name="connsiteY35" fmla="*/ 142923 h 187655"/>
                  <a:gd name="connsiteX36" fmla="*/ 19951 w 166523"/>
                  <a:gd name="connsiteY36" fmla="*/ 142758 h 187655"/>
                  <a:gd name="connsiteX37" fmla="*/ 29007 w 166523"/>
                  <a:gd name="connsiteY37" fmla="*/ 133949 h 187655"/>
                  <a:gd name="connsiteX38" fmla="*/ 32273 w 166523"/>
                  <a:gd name="connsiteY38" fmla="*/ 120530 h 187655"/>
                  <a:gd name="connsiteX39" fmla="*/ 26043 w 166523"/>
                  <a:gd name="connsiteY39" fmla="*/ 117621 h 187655"/>
                  <a:gd name="connsiteX40" fmla="*/ 25577 w 166523"/>
                  <a:gd name="connsiteY40" fmla="*/ 112462 h 187655"/>
                  <a:gd name="connsiteX41" fmla="*/ 17591 w 166523"/>
                  <a:gd name="connsiteY41" fmla="*/ 121024 h 187655"/>
                  <a:gd name="connsiteX42" fmla="*/ 0 w 166523"/>
                  <a:gd name="connsiteY42" fmla="*/ 109168 h 187655"/>
                  <a:gd name="connsiteX43" fmla="*/ 4336 w 166523"/>
                  <a:gd name="connsiteY43" fmla="*/ 100222 h 187655"/>
                  <a:gd name="connsiteX44" fmla="*/ 2388 w 166523"/>
                  <a:gd name="connsiteY44" fmla="*/ 89245 h 187655"/>
                  <a:gd name="connsiteX45" fmla="*/ 3485 w 166523"/>
                  <a:gd name="connsiteY45" fmla="*/ 83756 h 187655"/>
                  <a:gd name="connsiteX46" fmla="*/ 4062 w 166523"/>
                  <a:gd name="connsiteY46" fmla="*/ 81588 h 187655"/>
                  <a:gd name="connsiteX47" fmla="*/ 329 w 166523"/>
                  <a:gd name="connsiteY47" fmla="*/ 72587 h 187655"/>
                  <a:gd name="connsiteX48" fmla="*/ 2497 w 166523"/>
                  <a:gd name="connsiteY48" fmla="*/ 70144 h 187655"/>
                  <a:gd name="connsiteX49" fmla="*/ 10181 w 166523"/>
                  <a:gd name="connsiteY49" fmla="*/ 67757 h 187655"/>
                  <a:gd name="connsiteX50" fmla="*/ 13831 w 166523"/>
                  <a:gd name="connsiteY50" fmla="*/ 58865 h 187655"/>
                  <a:gd name="connsiteX51" fmla="*/ 13557 w 166523"/>
                  <a:gd name="connsiteY51" fmla="*/ 56999 h 187655"/>
                  <a:gd name="connsiteX52" fmla="*/ 12898 w 166523"/>
                  <a:gd name="connsiteY52" fmla="*/ 52416 h 187655"/>
                  <a:gd name="connsiteX53" fmla="*/ 14353 w 166523"/>
                  <a:gd name="connsiteY53" fmla="*/ 50742 h 187655"/>
                  <a:gd name="connsiteX54" fmla="*/ 24863 w 166523"/>
                  <a:gd name="connsiteY54" fmla="*/ 38832 h 187655"/>
                  <a:gd name="connsiteX55" fmla="*/ 25988 w 166523"/>
                  <a:gd name="connsiteY55" fmla="*/ 26647 h 187655"/>
                  <a:gd name="connsiteX56" fmla="*/ 26126 w 166523"/>
                  <a:gd name="connsiteY56" fmla="*/ 25055 h 187655"/>
                  <a:gd name="connsiteX57" fmla="*/ 24068 w 166523"/>
                  <a:gd name="connsiteY57" fmla="*/ 21570 h 187655"/>
                  <a:gd name="connsiteX58" fmla="*/ 24424 w 166523"/>
                  <a:gd name="connsiteY58" fmla="*/ 18689 h 187655"/>
                  <a:gd name="connsiteX59" fmla="*/ 34907 w 166523"/>
                  <a:gd name="connsiteY59" fmla="*/ 13365 h 187655"/>
                  <a:gd name="connsiteX60" fmla="*/ 50879 w 166523"/>
                  <a:gd name="connsiteY60" fmla="*/ 9139 h 187655"/>
                  <a:gd name="connsiteX61" fmla="*/ 59935 w 166523"/>
                  <a:gd name="connsiteY61" fmla="*/ 0 h 187655"/>
                  <a:gd name="connsiteX62" fmla="*/ 63311 w 166523"/>
                  <a:gd name="connsiteY62" fmla="*/ 796 h 187655"/>
                  <a:gd name="connsiteX63" fmla="*/ 85649 w 166523"/>
                  <a:gd name="connsiteY63" fmla="*/ 17152 h 187655"/>
                  <a:gd name="connsiteX64" fmla="*/ 94513 w 166523"/>
                  <a:gd name="connsiteY64" fmla="*/ 17619 h 187655"/>
                  <a:gd name="connsiteX65" fmla="*/ 95309 w 166523"/>
                  <a:gd name="connsiteY65" fmla="*/ 20363 h 187655"/>
                  <a:gd name="connsiteX66" fmla="*/ 99893 w 166523"/>
                  <a:gd name="connsiteY66" fmla="*/ 23601 h 187655"/>
                  <a:gd name="connsiteX67" fmla="*/ 100990 w 166523"/>
                  <a:gd name="connsiteY67" fmla="*/ 26620 h 187655"/>
                  <a:gd name="connsiteX68" fmla="*/ 102445 w 166523"/>
                  <a:gd name="connsiteY68" fmla="*/ 30517 h 187655"/>
                  <a:gd name="connsiteX69" fmla="*/ 110568 w 166523"/>
                  <a:gd name="connsiteY69" fmla="*/ 31066 h 187655"/>
                  <a:gd name="connsiteX70" fmla="*/ 117593 w 166523"/>
                  <a:gd name="connsiteY70" fmla="*/ 34222 h 18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66523" h="187655">
                    <a:moveTo>
                      <a:pt x="117566" y="34276"/>
                    </a:moveTo>
                    <a:lnTo>
                      <a:pt x="127610" y="34688"/>
                    </a:lnTo>
                    <a:lnTo>
                      <a:pt x="131616" y="34002"/>
                    </a:lnTo>
                    <a:lnTo>
                      <a:pt x="132961" y="30873"/>
                    </a:lnTo>
                    <a:lnTo>
                      <a:pt x="136419" y="29282"/>
                    </a:lnTo>
                    <a:lnTo>
                      <a:pt x="142429" y="31614"/>
                    </a:lnTo>
                    <a:lnTo>
                      <a:pt x="150717" y="39052"/>
                    </a:lnTo>
                    <a:lnTo>
                      <a:pt x="155766" y="39765"/>
                    </a:lnTo>
                    <a:lnTo>
                      <a:pt x="157934" y="42619"/>
                    </a:lnTo>
                    <a:lnTo>
                      <a:pt x="165097" y="44513"/>
                    </a:lnTo>
                    <a:lnTo>
                      <a:pt x="156480" y="45363"/>
                    </a:lnTo>
                    <a:lnTo>
                      <a:pt x="155437" y="47943"/>
                    </a:lnTo>
                    <a:lnTo>
                      <a:pt x="158291" y="50797"/>
                    </a:lnTo>
                    <a:lnTo>
                      <a:pt x="164521" y="57054"/>
                    </a:lnTo>
                    <a:lnTo>
                      <a:pt x="165865" y="58426"/>
                    </a:lnTo>
                    <a:lnTo>
                      <a:pt x="166524" y="68635"/>
                    </a:lnTo>
                    <a:lnTo>
                      <a:pt x="162600" y="71709"/>
                    </a:lnTo>
                    <a:lnTo>
                      <a:pt x="158318" y="83783"/>
                    </a:lnTo>
                    <a:lnTo>
                      <a:pt x="156398" y="87763"/>
                    </a:lnTo>
                    <a:lnTo>
                      <a:pt x="138971" y="107137"/>
                    </a:lnTo>
                    <a:lnTo>
                      <a:pt x="125908" y="117291"/>
                    </a:lnTo>
                    <a:lnTo>
                      <a:pt x="87900" y="132714"/>
                    </a:lnTo>
                    <a:lnTo>
                      <a:pt x="81149" y="139822"/>
                    </a:lnTo>
                    <a:lnTo>
                      <a:pt x="80682" y="144021"/>
                    </a:lnTo>
                    <a:lnTo>
                      <a:pt x="75852" y="145064"/>
                    </a:lnTo>
                    <a:lnTo>
                      <a:pt x="66522" y="173797"/>
                    </a:lnTo>
                    <a:lnTo>
                      <a:pt x="54282" y="187655"/>
                    </a:lnTo>
                    <a:lnTo>
                      <a:pt x="47504" y="186173"/>
                    </a:lnTo>
                    <a:lnTo>
                      <a:pt x="41329" y="176376"/>
                    </a:lnTo>
                    <a:lnTo>
                      <a:pt x="37844" y="173577"/>
                    </a:lnTo>
                    <a:lnTo>
                      <a:pt x="31697" y="172863"/>
                    </a:lnTo>
                    <a:lnTo>
                      <a:pt x="23381" y="169296"/>
                    </a:lnTo>
                    <a:lnTo>
                      <a:pt x="15204" y="172013"/>
                    </a:lnTo>
                    <a:lnTo>
                      <a:pt x="13776" y="161749"/>
                    </a:lnTo>
                    <a:lnTo>
                      <a:pt x="21131" y="155135"/>
                    </a:lnTo>
                    <a:lnTo>
                      <a:pt x="19951" y="142923"/>
                    </a:lnTo>
                    <a:lnTo>
                      <a:pt x="19951" y="142758"/>
                    </a:lnTo>
                    <a:lnTo>
                      <a:pt x="29007" y="133949"/>
                    </a:lnTo>
                    <a:lnTo>
                      <a:pt x="32273" y="120530"/>
                    </a:lnTo>
                    <a:lnTo>
                      <a:pt x="26043" y="117621"/>
                    </a:lnTo>
                    <a:lnTo>
                      <a:pt x="25577" y="112462"/>
                    </a:lnTo>
                    <a:lnTo>
                      <a:pt x="17591" y="121024"/>
                    </a:lnTo>
                    <a:lnTo>
                      <a:pt x="0" y="109168"/>
                    </a:lnTo>
                    <a:lnTo>
                      <a:pt x="4336" y="100222"/>
                    </a:lnTo>
                    <a:lnTo>
                      <a:pt x="2388" y="89245"/>
                    </a:lnTo>
                    <a:lnTo>
                      <a:pt x="3485" y="83756"/>
                    </a:lnTo>
                    <a:lnTo>
                      <a:pt x="4062" y="81588"/>
                    </a:lnTo>
                    <a:lnTo>
                      <a:pt x="329" y="72587"/>
                    </a:lnTo>
                    <a:lnTo>
                      <a:pt x="2497" y="70144"/>
                    </a:lnTo>
                    <a:lnTo>
                      <a:pt x="10181" y="67757"/>
                    </a:lnTo>
                    <a:lnTo>
                      <a:pt x="13831" y="58865"/>
                    </a:lnTo>
                    <a:lnTo>
                      <a:pt x="13557" y="56999"/>
                    </a:lnTo>
                    <a:lnTo>
                      <a:pt x="12898" y="52416"/>
                    </a:lnTo>
                    <a:lnTo>
                      <a:pt x="14353" y="50742"/>
                    </a:lnTo>
                    <a:lnTo>
                      <a:pt x="24863" y="38832"/>
                    </a:lnTo>
                    <a:lnTo>
                      <a:pt x="25988" y="26647"/>
                    </a:lnTo>
                    <a:lnTo>
                      <a:pt x="26126" y="25055"/>
                    </a:lnTo>
                    <a:lnTo>
                      <a:pt x="24068" y="21570"/>
                    </a:lnTo>
                    <a:lnTo>
                      <a:pt x="24424" y="18689"/>
                    </a:lnTo>
                    <a:lnTo>
                      <a:pt x="34907" y="13365"/>
                    </a:lnTo>
                    <a:lnTo>
                      <a:pt x="50879" y="9139"/>
                    </a:lnTo>
                    <a:lnTo>
                      <a:pt x="59935" y="0"/>
                    </a:lnTo>
                    <a:lnTo>
                      <a:pt x="63311" y="796"/>
                    </a:lnTo>
                    <a:lnTo>
                      <a:pt x="85649" y="17152"/>
                    </a:lnTo>
                    <a:lnTo>
                      <a:pt x="94513" y="17619"/>
                    </a:lnTo>
                    <a:lnTo>
                      <a:pt x="95309" y="20363"/>
                    </a:lnTo>
                    <a:lnTo>
                      <a:pt x="99893" y="23601"/>
                    </a:lnTo>
                    <a:lnTo>
                      <a:pt x="100990" y="26620"/>
                    </a:lnTo>
                    <a:lnTo>
                      <a:pt x="102445" y="30517"/>
                    </a:lnTo>
                    <a:lnTo>
                      <a:pt x="110568" y="31066"/>
                    </a:lnTo>
                    <a:lnTo>
                      <a:pt x="117593" y="342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0" name="Freeform: Shape 3869">
                <a:extLst>
                  <a:ext uri="{FF2B5EF4-FFF2-40B4-BE49-F238E27FC236}">
                    <a16:creationId xmlns:a16="http://schemas.microsoft.com/office/drawing/2014/main" id="{B3EE5BD5-9C8F-EE6D-635E-989A2FC74B30}"/>
                  </a:ext>
                </a:extLst>
              </p:cNvPr>
              <p:cNvSpPr/>
              <p:nvPr/>
            </p:nvSpPr>
            <p:spPr>
              <a:xfrm>
                <a:off x="1119157" y="3852674"/>
                <a:ext cx="1128" cy="1093"/>
              </a:xfrm>
              <a:custGeom>
                <a:avLst/>
                <a:gdLst>
                  <a:gd name="connsiteX0" fmla="*/ 10785 w 10812"/>
                  <a:gd name="connsiteY0" fmla="*/ 2223 h 10483"/>
                  <a:gd name="connsiteX1" fmla="*/ 2360 w 10812"/>
                  <a:gd name="connsiteY1" fmla="*/ 10483 h 10483"/>
                  <a:gd name="connsiteX2" fmla="*/ 0 w 10812"/>
                  <a:gd name="connsiteY2" fmla="*/ 8425 h 10483"/>
                  <a:gd name="connsiteX3" fmla="*/ 1317 w 10812"/>
                  <a:gd name="connsiteY3" fmla="*/ 2223 h 10483"/>
                  <a:gd name="connsiteX4" fmla="*/ 6751 w 10812"/>
                  <a:gd name="connsiteY4" fmla="*/ 0 h 10483"/>
                  <a:gd name="connsiteX5" fmla="*/ 10812 w 10812"/>
                  <a:gd name="connsiteY5" fmla="*/ 2223 h 1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12" h="10483">
                    <a:moveTo>
                      <a:pt x="10785" y="2223"/>
                    </a:moveTo>
                    <a:lnTo>
                      <a:pt x="2360" y="10483"/>
                    </a:lnTo>
                    <a:lnTo>
                      <a:pt x="0" y="8425"/>
                    </a:lnTo>
                    <a:lnTo>
                      <a:pt x="1317" y="2223"/>
                    </a:lnTo>
                    <a:lnTo>
                      <a:pt x="6751" y="0"/>
                    </a:lnTo>
                    <a:lnTo>
                      <a:pt x="10812"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1" name="Freeform: Shape 3870">
                <a:extLst>
                  <a:ext uri="{FF2B5EF4-FFF2-40B4-BE49-F238E27FC236}">
                    <a16:creationId xmlns:a16="http://schemas.microsoft.com/office/drawing/2014/main" id="{A96A27D6-2A8E-64EB-A5C3-3AC3CE9B25E0}"/>
                  </a:ext>
                </a:extLst>
              </p:cNvPr>
              <p:cNvSpPr/>
              <p:nvPr/>
            </p:nvSpPr>
            <p:spPr>
              <a:xfrm>
                <a:off x="1441206" y="3741991"/>
                <a:ext cx="33796" cy="33249"/>
              </a:xfrm>
              <a:custGeom>
                <a:avLst/>
                <a:gdLst>
                  <a:gd name="connsiteX0" fmla="*/ 15945 w 324019"/>
                  <a:gd name="connsiteY0" fmla="*/ 4336 h 318777"/>
                  <a:gd name="connsiteX1" fmla="*/ 21516 w 324019"/>
                  <a:gd name="connsiteY1" fmla="*/ 4885 h 318777"/>
                  <a:gd name="connsiteX2" fmla="*/ 37048 w 324019"/>
                  <a:gd name="connsiteY2" fmla="*/ 1592 h 318777"/>
                  <a:gd name="connsiteX3" fmla="*/ 74782 w 324019"/>
                  <a:gd name="connsiteY3" fmla="*/ 9797 h 318777"/>
                  <a:gd name="connsiteX4" fmla="*/ 82027 w 324019"/>
                  <a:gd name="connsiteY4" fmla="*/ 15121 h 318777"/>
                  <a:gd name="connsiteX5" fmla="*/ 91056 w 324019"/>
                  <a:gd name="connsiteY5" fmla="*/ 14984 h 318777"/>
                  <a:gd name="connsiteX6" fmla="*/ 96215 w 324019"/>
                  <a:gd name="connsiteY6" fmla="*/ 19073 h 318777"/>
                  <a:gd name="connsiteX7" fmla="*/ 110211 w 324019"/>
                  <a:gd name="connsiteY7" fmla="*/ 20253 h 318777"/>
                  <a:gd name="connsiteX8" fmla="*/ 128543 w 324019"/>
                  <a:gd name="connsiteY8" fmla="*/ 28403 h 318777"/>
                  <a:gd name="connsiteX9" fmla="*/ 136996 w 324019"/>
                  <a:gd name="connsiteY9" fmla="*/ 26125 h 318777"/>
                  <a:gd name="connsiteX10" fmla="*/ 156041 w 324019"/>
                  <a:gd name="connsiteY10" fmla="*/ 13008 h 318777"/>
                  <a:gd name="connsiteX11" fmla="*/ 161337 w 324019"/>
                  <a:gd name="connsiteY11" fmla="*/ 12239 h 318777"/>
                  <a:gd name="connsiteX12" fmla="*/ 167128 w 324019"/>
                  <a:gd name="connsiteY12" fmla="*/ 7163 h 318777"/>
                  <a:gd name="connsiteX13" fmla="*/ 187079 w 324019"/>
                  <a:gd name="connsiteY13" fmla="*/ 2497 h 318777"/>
                  <a:gd name="connsiteX14" fmla="*/ 201240 w 324019"/>
                  <a:gd name="connsiteY14" fmla="*/ 6806 h 318777"/>
                  <a:gd name="connsiteX15" fmla="*/ 211888 w 324019"/>
                  <a:gd name="connsiteY15" fmla="*/ 5461 h 318777"/>
                  <a:gd name="connsiteX16" fmla="*/ 235187 w 324019"/>
                  <a:gd name="connsiteY16" fmla="*/ 21021 h 318777"/>
                  <a:gd name="connsiteX17" fmla="*/ 242788 w 324019"/>
                  <a:gd name="connsiteY17" fmla="*/ 20061 h 318777"/>
                  <a:gd name="connsiteX18" fmla="*/ 245670 w 324019"/>
                  <a:gd name="connsiteY18" fmla="*/ 17920 h 318777"/>
                  <a:gd name="connsiteX19" fmla="*/ 249731 w 324019"/>
                  <a:gd name="connsiteY19" fmla="*/ 20308 h 318777"/>
                  <a:gd name="connsiteX20" fmla="*/ 264386 w 324019"/>
                  <a:gd name="connsiteY20" fmla="*/ 18249 h 318777"/>
                  <a:gd name="connsiteX21" fmla="*/ 279562 w 324019"/>
                  <a:gd name="connsiteY21" fmla="*/ 11581 h 318777"/>
                  <a:gd name="connsiteX22" fmla="*/ 281017 w 324019"/>
                  <a:gd name="connsiteY22" fmla="*/ 15039 h 318777"/>
                  <a:gd name="connsiteX23" fmla="*/ 283349 w 324019"/>
                  <a:gd name="connsiteY23" fmla="*/ 22448 h 318777"/>
                  <a:gd name="connsiteX24" fmla="*/ 299732 w 324019"/>
                  <a:gd name="connsiteY24" fmla="*/ 73931 h 318777"/>
                  <a:gd name="connsiteX25" fmla="*/ 295259 w 324019"/>
                  <a:gd name="connsiteY25" fmla="*/ 80051 h 318777"/>
                  <a:gd name="connsiteX26" fmla="*/ 291170 w 324019"/>
                  <a:gd name="connsiteY26" fmla="*/ 99947 h 318777"/>
                  <a:gd name="connsiteX27" fmla="*/ 285298 w 324019"/>
                  <a:gd name="connsiteY27" fmla="*/ 115590 h 318777"/>
                  <a:gd name="connsiteX28" fmla="*/ 285407 w 324019"/>
                  <a:gd name="connsiteY28" fmla="*/ 124371 h 318777"/>
                  <a:gd name="connsiteX29" fmla="*/ 279452 w 324019"/>
                  <a:gd name="connsiteY29" fmla="*/ 131589 h 318777"/>
                  <a:gd name="connsiteX30" fmla="*/ 268118 w 324019"/>
                  <a:gd name="connsiteY30" fmla="*/ 124866 h 318777"/>
                  <a:gd name="connsiteX31" fmla="*/ 261148 w 324019"/>
                  <a:gd name="connsiteY31" fmla="*/ 115590 h 318777"/>
                  <a:gd name="connsiteX32" fmla="*/ 250994 w 324019"/>
                  <a:gd name="connsiteY32" fmla="*/ 105299 h 318777"/>
                  <a:gd name="connsiteX33" fmla="*/ 248524 w 324019"/>
                  <a:gd name="connsiteY33" fmla="*/ 90452 h 318777"/>
                  <a:gd name="connsiteX34" fmla="*/ 235873 w 324019"/>
                  <a:gd name="connsiteY34" fmla="*/ 75111 h 318777"/>
                  <a:gd name="connsiteX35" fmla="*/ 232305 w 324019"/>
                  <a:gd name="connsiteY35" fmla="*/ 60649 h 318777"/>
                  <a:gd name="connsiteX36" fmla="*/ 229396 w 324019"/>
                  <a:gd name="connsiteY36" fmla="*/ 58783 h 318777"/>
                  <a:gd name="connsiteX37" fmla="*/ 224841 w 324019"/>
                  <a:gd name="connsiteY37" fmla="*/ 71159 h 318777"/>
                  <a:gd name="connsiteX38" fmla="*/ 231729 w 324019"/>
                  <a:gd name="connsiteY38" fmla="*/ 79365 h 318777"/>
                  <a:gd name="connsiteX39" fmla="*/ 233951 w 324019"/>
                  <a:gd name="connsiteY39" fmla="*/ 93608 h 318777"/>
                  <a:gd name="connsiteX40" fmla="*/ 248441 w 324019"/>
                  <a:gd name="connsiteY40" fmla="*/ 115562 h 318777"/>
                  <a:gd name="connsiteX41" fmla="*/ 260077 w 324019"/>
                  <a:gd name="connsiteY41" fmla="*/ 128104 h 318777"/>
                  <a:gd name="connsiteX42" fmla="*/ 258486 w 324019"/>
                  <a:gd name="connsiteY42" fmla="*/ 130162 h 318777"/>
                  <a:gd name="connsiteX43" fmla="*/ 258787 w 324019"/>
                  <a:gd name="connsiteY43" fmla="*/ 135952 h 318777"/>
                  <a:gd name="connsiteX44" fmla="*/ 268173 w 324019"/>
                  <a:gd name="connsiteY44" fmla="*/ 149290 h 318777"/>
                  <a:gd name="connsiteX45" fmla="*/ 268392 w 324019"/>
                  <a:gd name="connsiteY45" fmla="*/ 153241 h 318777"/>
                  <a:gd name="connsiteX46" fmla="*/ 272536 w 324019"/>
                  <a:gd name="connsiteY46" fmla="*/ 161365 h 318777"/>
                  <a:gd name="connsiteX47" fmla="*/ 271521 w 324019"/>
                  <a:gd name="connsiteY47" fmla="*/ 167649 h 318777"/>
                  <a:gd name="connsiteX48" fmla="*/ 292954 w 324019"/>
                  <a:gd name="connsiteY48" fmla="*/ 206783 h 318777"/>
                  <a:gd name="connsiteX49" fmla="*/ 307581 w 324019"/>
                  <a:gd name="connsiteY49" fmla="*/ 239522 h 318777"/>
                  <a:gd name="connsiteX50" fmla="*/ 324019 w 324019"/>
                  <a:gd name="connsiteY50" fmla="*/ 256070 h 318777"/>
                  <a:gd name="connsiteX51" fmla="*/ 322565 w 324019"/>
                  <a:gd name="connsiteY51" fmla="*/ 257387 h 318777"/>
                  <a:gd name="connsiteX52" fmla="*/ 318037 w 324019"/>
                  <a:gd name="connsiteY52" fmla="*/ 256235 h 318777"/>
                  <a:gd name="connsiteX53" fmla="*/ 316692 w 324019"/>
                  <a:gd name="connsiteY53" fmla="*/ 258183 h 318777"/>
                  <a:gd name="connsiteX54" fmla="*/ 317131 w 324019"/>
                  <a:gd name="connsiteY54" fmla="*/ 271027 h 318777"/>
                  <a:gd name="connsiteX55" fmla="*/ 320836 w 324019"/>
                  <a:gd name="connsiteY55" fmla="*/ 282333 h 318777"/>
                  <a:gd name="connsiteX56" fmla="*/ 309201 w 324019"/>
                  <a:gd name="connsiteY56" fmla="*/ 293146 h 318777"/>
                  <a:gd name="connsiteX57" fmla="*/ 301187 w 324019"/>
                  <a:gd name="connsiteY57" fmla="*/ 292158 h 318777"/>
                  <a:gd name="connsiteX58" fmla="*/ 293448 w 324019"/>
                  <a:gd name="connsiteY58" fmla="*/ 308816 h 318777"/>
                  <a:gd name="connsiteX59" fmla="*/ 278601 w 324019"/>
                  <a:gd name="connsiteY59" fmla="*/ 312273 h 318777"/>
                  <a:gd name="connsiteX60" fmla="*/ 275638 w 324019"/>
                  <a:gd name="connsiteY60" fmla="*/ 318750 h 318777"/>
                  <a:gd name="connsiteX61" fmla="*/ 249072 w 324019"/>
                  <a:gd name="connsiteY61" fmla="*/ 318750 h 318777"/>
                  <a:gd name="connsiteX62" fmla="*/ 199758 w 324019"/>
                  <a:gd name="connsiteY62" fmla="*/ 318695 h 318777"/>
                  <a:gd name="connsiteX63" fmla="*/ 197343 w 324019"/>
                  <a:gd name="connsiteY63" fmla="*/ 314277 h 318777"/>
                  <a:gd name="connsiteX64" fmla="*/ 190400 w 324019"/>
                  <a:gd name="connsiteY64" fmla="*/ 318777 h 318777"/>
                  <a:gd name="connsiteX65" fmla="*/ 8398 w 324019"/>
                  <a:gd name="connsiteY65" fmla="*/ 318777 h 318777"/>
                  <a:gd name="connsiteX66" fmla="*/ 8398 w 324019"/>
                  <a:gd name="connsiteY66" fmla="*/ 83866 h 318777"/>
                  <a:gd name="connsiteX67" fmla="*/ 0 w 324019"/>
                  <a:gd name="connsiteY67" fmla="*/ 51236 h 318777"/>
                  <a:gd name="connsiteX68" fmla="*/ 6257 w 324019"/>
                  <a:gd name="connsiteY68" fmla="*/ 39929 h 318777"/>
                  <a:gd name="connsiteX69" fmla="*/ 8425 w 324019"/>
                  <a:gd name="connsiteY69" fmla="*/ 32163 h 318777"/>
                  <a:gd name="connsiteX70" fmla="*/ 6724 w 324019"/>
                  <a:gd name="connsiteY70" fmla="*/ 22421 h 318777"/>
                  <a:gd name="connsiteX71" fmla="*/ 4803 w 324019"/>
                  <a:gd name="connsiteY71" fmla="*/ 9029 h 318777"/>
                  <a:gd name="connsiteX72" fmla="*/ 12761 w 324019"/>
                  <a:gd name="connsiteY72" fmla="*/ 219 h 318777"/>
                  <a:gd name="connsiteX73" fmla="*/ 13365 w 324019"/>
                  <a:gd name="connsiteY73" fmla="*/ 0 h 318777"/>
                  <a:gd name="connsiteX74" fmla="*/ 13694 w 324019"/>
                  <a:gd name="connsiteY74" fmla="*/ 3375 h 318777"/>
                  <a:gd name="connsiteX75" fmla="*/ 15972 w 324019"/>
                  <a:gd name="connsiteY75" fmla="*/ 4308 h 3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24019" h="318777">
                    <a:moveTo>
                      <a:pt x="15945" y="4336"/>
                    </a:moveTo>
                    <a:lnTo>
                      <a:pt x="21516" y="4885"/>
                    </a:lnTo>
                    <a:lnTo>
                      <a:pt x="37048" y="1592"/>
                    </a:lnTo>
                    <a:lnTo>
                      <a:pt x="74782" y="9797"/>
                    </a:lnTo>
                    <a:lnTo>
                      <a:pt x="82027" y="15121"/>
                    </a:lnTo>
                    <a:lnTo>
                      <a:pt x="91056" y="14984"/>
                    </a:lnTo>
                    <a:lnTo>
                      <a:pt x="96215" y="19073"/>
                    </a:lnTo>
                    <a:lnTo>
                      <a:pt x="110211" y="20253"/>
                    </a:lnTo>
                    <a:lnTo>
                      <a:pt x="128543" y="28403"/>
                    </a:lnTo>
                    <a:lnTo>
                      <a:pt x="136996" y="26125"/>
                    </a:lnTo>
                    <a:lnTo>
                      <a:pt x="156041" y="13008"/>
                    </a:lnTo>
                    <a:lnTo>
                      <a:pt x="161337" y="12239"/>
                    </a:lnTo>
                    <a:lnTo>
                      <a:pt x="167128" y="7163"/>
                    </a:lnTo>
                    <a:lnTo>
                      <a:pt x="187079" y="2497"/>
                    </a:lnTo>
                    <a:lnTo>
                      <a:pt x="201240" y="6806"/>
                    </a:lnTo>
                    <a:lnTo>
                      <a:pt x="211888" y="5461"/>
                    </a:lnTo>
                    <a:lnTo>
                      <a:pt x="235187" y="21021"/>
                    </a:lnTo>
                    <a:lnTo>
                      <a:pt x="242788" y="20061"/>
                    </a:lnTo>
                    <a:lnTo>
                      <a:pt x="245670" y="17920"/>
                    </a:lnTo>
                    <a:lnTo>
                      <a:pt x="249731" y="20308"/>
                    </a:lnTo>
                    <a:lnTo>
                      <a:pt x="264386" y="18249"/>
                    </a:lnTo>
                    <a:lnTo>
                      <a:pt x="279562" y="11581"/>
                    </a:lnTo>
                    <a:lnTo>
                      <a:pt x="281017" y="15039"/>
                    </a:lnTo>
                    <a:lnTo>
                      <a:pt x="283349" y="22448"/>
                    </a:lnTo>
                    <a:lnTo>
                      <a:pt x="299732" y="73931"/>
                    </a:lnTo>
                    <a:lnTo>
                      <a:pt x="295259" y="80051"/>
                    </a:lnTo>
                    <a:lnTo>
                      <a:pt x="291170" y="99947"/>
                    </a:lnTo>
                    <a:lnTo>
                      <a:pt x="285298" y="115590"/>
                    </a:lnTo>
                    <a:lnTo>
                      <a:pt x="285407" y="124371"/>
                    </a:lnTo>
                    <a:lnTo>
                      <a:pt x="279452" y="131589"/>
                    </a:lnTo>
                    <a:lnTo>
                      <a:pt x="268118" y="124866"/>
                    </a:lnTo>
                    <a:lnTo>
                      <a:pt x="261148" y="115590"/>
                    </a:lnTo>
                    <a:lnTo>
                      <a:pt x="250994" y="105299"/>
                    </a:lnTo>
                    <a:lnTo>
                      <a:pt x="248524" y="90452"/>
                    </a:lnTo>
                    <a:lnTo>
                      <a:pt x="235873" y="75111"/>
                    </a:lnTo>
                    <a:lnTo>
                      <a:pt x="232305" y="60649"/>
                    </a:lnTo>
                    <a:lnTo>
                      <a:pt x="229396" y="58783"/>
                    </a:lnTo>
                    <a:lnTo>
                      <a:pt x="224841" y="71159"/>
                    </a:lnTo>
                    <a:lnTo>
                      <a:pt x="231729" y="79365"/>
                    </a:lnTo>
                    <a:lnTo>
                      <a:pt x="233951" y="93608"/>
                    </a:lnTo>
                    <a:lnTo>
                      <a:pt x="248441" y="115562"/>
                    </a:lnTo>
                    <a:lnTo>
                      <a:pt x="260077" y="128104"/>
                    </a:lnTo>
                    <a:lnTo>
                      <a:pt x="258486" y="130162"/>
                    </a:lnTo>
                    <a:lnTo>
                      <a:pt x="258787" y="135952"/>
                    </a:lnTo>
                    <a:lnTo>
                      <a:pt x="268173" y="149290"/>
                    </a:lnTo>
                    <a:lnTo>
                      <a:pt x="268392" y="153241"/>
                    </a:lnTo>
                    <a:lnTo>
                      <a:pt x="272536" y="161365"/>
                    </a:lnTo>
                    <a:lnTo>
                      <a:pt x="271521" y="167649"/>
                    </a:lnTo>
                    <a:lnTo>
                      <a:pt x="292954" y="206783"/>
                    </a:lnTo>
                    <a:lnTo>
                      <a:pt x="307581" y="239522"/>
                    </a:lnTo>
                    <a:lnTo>
                      <a:pt x="324019" y="256070"/>
                    </a:lnTo>
                    <a:lnTo>
                      <a:pt x="322565" y="257387"/>
                    </a:lnTo>
                    <a:lnTo>
                      <a:pt x="318037" y="256235"/>
                    </a:lnTo>
                    <a:lnTo>
                      <a:pt x="316692" y="258183"/>
                    </a:lnTo>
                    <a:lnTo>
                      <a:pt x="317131" y="271027"/>
                    </a:lnTo>
                    <a:lnTo>
                      <a:pt x="320836" y="282333"/>
                    </a:lnTo>
                    <a:lnTo>
                      <a:pt x="309201" y="293146"/>
                    </a:lnTo>
                    <a:lnTo>
                      <a:pt x="301187" y="292158"/>
                    </a:lnTo>
                    <a:lnTo>
                      <a:pt x="293448" y="308816"/>
                    </a:lnTo>
                    <a:lnTo>
                      <a:pt x="278601" y="312273"/>
                    </a:lnTo>
                    <a:lnTo>
                      <a:pt x="275638" y="318750"/>
                    </a:lnTo>
                    <a:lnTo>
                      <a:pt x="249072" y="318750"/>
                    </a:lnTo>
                    <a:cubicBezTo>
                      <a:pt x="249072" y="318750"/>
                      <a:pt x="199758" y="318695"/>
                      <a:pt x="199758" y="318695"/>
                    </a:cubicBezTo>
                    <a:lnTo>
                      <a:pt x="197343" y="314277"/>
                    </a:lnTo>
                    <a:lnTo>
                      <a:pt x="190400" y="318777"/>
                    </a:lnTo>
                    <a:lnTo>
                      <a:pt x="8398" y="318777"/>
                    </a:lnTo>
                    <a:cubicBezTo>
                      <a:pt x="8398" y="318777"/>
                      <a:pt x="8398" y="83866"/>
                      <a:pt x="8398" y="83866"/>
                    </a:cubicBezTo>
                    <a:lnTo>
                      <a:pt x="0" y="51236"/>
                    </a:lnTo>
                    <a:lnTo>
                      <a:pt x="6257" y="39929"/>
                    </a:lnTo>
                    <a:lnTo>
                      <a:pt x="8425" y="32163"/>
                    </a:lnTo>
                    <a:lnTo>
                      <a:pt x="6724" y="22421"/>
                    </a:lnTo>
                    <a:lnTo>
                      <a:pt x="4803" y="9029"/>
                    </a:lnTo>
                    <a:lnTo>
                      <a:pt x="12761" y="219"/>
                    </a:lnTo>
                    <a:lnTo>
                      <a:pt x="13365" y="0"/>
                    </a:lnTo>
                    <a:lnTo>
                      <a:pt x="13694" y="3375"/>
                    </a:lnTo>
                    <a:lnTo>
                      <a:pt x="15972" y="43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2" name="Freeform: Shape 3871">
                <a:extLst>
                  <a:ext uri="{FF2B5EF4-FFF2-40B4-BE49-F238E27FC236}">
                    <a16:creationId xmlns:a16="http://schemas.microsoft.com/office/drawing/2014/main" id="{0DBA0D24-C838-4E87-D46A-AD1A43E84406}"/>
                  </a:ext>
                </a:extLst>
              </p:cNvPr>
              <p:cNvSpPr/>
              <p:nvPr/>
            </p:nvSpPr>
            <p:spPr>
              <a:xfrm>
                <a:off x="1468819" y="3756131"/>
                <a:ext cx="349" cy="489"/>
              </a:xfrm>
              <a:custGeom>
                <a:avLst/>
                <a:gdLst>
                  <a:gd name="connsiteX0" fmla="*/ 3349 w 3348"/>
                  <a:gd name="connsiteY0" fmla="*/ 2497 h 4692"/>
                  <a:gd name="connsiteX1" fmla="*/ 2113 w 3348"/>
                  <a:gd name="connsiteY1" fmla="*/ 4693 h 4692"/>
                  <a:gd name="connsiteX2" fmla="*/ 0 w 3348"/>
                  <a:gd name="connsiteY2" fmla="*/ 2058 h 4692"/>
                  <a:gd name="connsiteX3" fmla="*/ 2058 w 3348"/>
                  <a:gd name="connsiteY3" fmla="*/ 0 h 4692"/>
                  <a:gd name="connsiteX4" fmla="*/ 3349 w 3348"/>
                  <a:gd name="connsiteY4" fmla="*/ 2497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 h="4692">
                    <a:moveTo>
                      <a:pt x="3349" y="2497"/>
                    </a:moveTo>
                    <a:lnTo>
                      <a:pt x="2113" y="4693"/>
                    </a:lnTo>
                    <a:lnTo>
                      <a:pt x="0" y="2058"/>
                    </a:lnTo>
                    <a:lnTo>
                      <a:pt x="2058" y="0"/>
                    </a:lnTo>
                    <a:lnTo>
                      <a:pt x="3349"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3" name="Freeform: Shape 3872">
                <a:extLst>
                  <a:ext uri="{FF2B5EF4-FFF2-40B4-BE49-F238E27FC236}">
                    <a16:creationId xmlns:a16="http://schemas.microsoft.com/office/drawing/2014/main" id="{55F36D78-038E-CF90-D40A-1C74A40D9AAB}"/>
                  </a:ext>
                </a:extLst>
              </p:cNvPr>
              <p:cNvSpPr/>
              <p:nvPr/>
            </p:nvSpPr>
            <p:spPr>
              <a:xfrm>
                <a:off x="1476396" y="3769861"/>
                <a:ext cx="321" cy="358"/>
              </a:xfrm>
              <a:custGeom>
                <a:avLst/>
                <a:gdLst>
                  <a:gd name="connsiteX0" fmla="*/ 2277 w 3073"/>
                  <a:gd name="connsiteY0" fmla="*/ 3128 h 3430"/>
                  <a:gd name="connsiteX1" fmla="*/ 55 w 3073"/>
                  <a:gd name="connsiteY1" fmla="*/ 3430 h 3430"/>
                  <a:gd name="connsiteX2" fmla="*/ 0 w 3073"/>
                  <a:gd name="connsiteY2" fmla="*/ 1262 h 3430"/>
                  <a:gd name="connsiteX3" fmla="*/ 933 w 3073"/>
                  <a:gd name="connsiteY3" fmla="*/ 0 h 3430"/>
                  <a:gd name="connsiteX4" fmla="*/ 3073 w 3073"/>
                  <a:gd name="connsiteY4" fmla="*/ 741 h 3430"/>
                  <a:gd name="connsiteX5" fmla="*/ 2277 w 3073"/>
                  <a:gd name="connsiteY5" fmla="*/ 3128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 h="3430">
                    <a:moveTo>
                      <a:pt x="2277" y="3128"/>
                    </a:moveTo>
                    <a:lnTo>
                      <a:pt x="55" y="3430"/>
                    </a:lnTo>
                    <a:lnTo>
                      <a:pt x="0" y="1262"/>
                    </a:lnTo>
                    <a:lnTo>
                      <a:pt x="933" y="0"/>
                    </a:lnTo>
                    <a:lnTo>
                      <a:pt x="3073" y="741"/>
                    </a:lnTo>
                    <a:lnTo>
                      <a:pt x="2277" y="31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4" name="Freeform: Shape 3873">
                <a:extLst>
                  <a:ext uri="{FF2B5EF4-FFF2-40B4-BE49-F238E27FC236}">
                    <a16:creationId xmlns:a16="http://schemas.microsoft.com/office/drawing/2014/main" id="{DE4F31ED-03F4-E20A-A417-C597764CEA9C}"/>
                  </a:ext>
                </a:extLst>
              </p:cNvPr>
              <p:cNvSpPr/>
              <p:nvPr/>
            </p:nvSpPr>
            <p:spPr>
              <a:xfrm>
                <a:off x="1312954" y="3756079"/>
                <a:ext cx="25855" cy="23213"/>
              </a:xfrm>
              <a:custGeom>
                <a:avLst/>
                <a:gdLst>
                  <a:gd name="connsiteX0" fmla="*/ 1070 w 247892"/>
                  <a:gd name="connsiteY0" fmla="*/ 221602 h 222562"/>
                  <a:gd name="connsiteX1" fmla="*/ 1263 w 247892"/>
                  <a:gd name="connsiteY1" fmla="*/ 222562 h 222562"/>
                  <a:gd name="connsiteX2" fmla="*/ 686 w 247892"/>
                  <a:gd name="connsiteY2" fmla="*/ 221602 h 222562"/>
                  <a:gd name="connsiteX3" fmla="*/ 0 w 247892"/>
                  <a:gd name="connsiteY3" fmla="*/ 219461 h 222562"/>
                  <a:gd name="connsiteX4" fmla="*/ 4254 w 247892"/>
                  <a:gd name="connsiteY4" fmla="*/ 189768 h 222562"/>
                  <a:gd name="connsiteX5" fmla="*/ 9358 w 247892"/>
                  <a:gd name="connsiteY5" fmla="*/ 177748 h 222562"/>
                  <a:gd name="connsiteX6" fmla="*/ 11883 w 247892"/>
                  <a:gd name="connsiteY6" fmla="*/ 175031 h 222562"/>
                  <a:gd name="connsiteX7" fmla="*/ 15670 w 247892"/>
                  <a:gd name="connsiteY7" fmla="*/ 174592 h 222562"/>
                  <a:gd name="connsiteX8" fmla="*/ 18003 w 247892"/>
                  <a:gd name="connsiteY8" fmla="*/ 172671 h 222562"/>
                  <a:gd name="connsiteX9" fmla="*/ 23656 w 247892"/>
                  <a:gd name="connsiteY9" fmla="*/ 156617 h 222562"/>
                  <a:gd name="connsiteX10" fmla="*/ 27498 w 247892"/>
                  <a:gd name="connsiteY10" fmla="*/ 152226 h 222562"/>
                  <a:gd name="connsiteX11" fmla="*/ 26729 w 247892"/>
                  <a:gd name="connsiteY11" fmla="*/ 148686 h 222562"/>
                  <a:gd name="connsiteX12" fmla="*/ 28815 w 247892"/>
                  <a:gd name="connsiteY12" fmla="*/ 145310 h 222562"/>
                  <a:gd name="connsiteX13" fmla="*/ 39436 w 247892"/>
                  <a:gd name="connsiteY13" fmla="*/ 126869 h 222562"/>
                  <a:gd name="connsiteX14" fmla="*/ 39628 w 247892"/>
                  <a:gd name="connsiteY14" fmla="*/ 121682 h 222562"/>
                  <a:gd name="connsiteX15" fmla="*/ 64793 w 247892"/>
                  <a:gd name="connsiteY15" fmla="*/ 96846 h 222562"/>
                  <a:gd name="connsiteX16" fmla="*/ 67455 w 247892"/>
                  <a:gd name="connsiteY16" fmla="*/ 75770 h 222562"/>
                  <a:gd name="connsiteX17" fmla="*/ 75852 w 247892"/>
                  <a:gd name="connsiteY17" fmla="*/ 56341 h 222562"/>
                  <a:gd name="connsiteX18" fmla="*/ 77636 w 247892"/>
                  <a:gd name="connsiteY18" fmla="*/ 48492 h 222562"/>
                  <a:gd name="connsiteX19" fmla="*/ 85869 w 247892"/>
                  <a:gd name="connsiteY19" fmla="*/ 41356 h 222562"/>
                  <a:gd name="connsiteX20" fmla="*/ 96078 w 247892"/>
                  <a:gd name="connsiteY20" fmla="*/ 36554 h 222562"/>
                  <a:gd name="connsiteX21" fmla="*/ 103515 w 247892"/>
                  <a:gd name="connsiteY21" fmla="*/ 30654 h 222562"/>
                  <a:gd name="connsiteX22" fmla="*/ 115343 w 247892"/>
                  <a:gd name="connsiteY22" fmla="*/ 0 h 222562"/>
                  <a:gd name="connsiteX23" fmla="*/ 247893 w 247892"/>
                  <a:gd name="connsiteY23" fmla="*/ 192 h 222562"/>
                  <a:gd name="connsiteX24" fmla="*/ 247893 w 247892"/>
                  <a:gd name="connsiteY24" fmla="*/ 11773 h 222562"/>
                  <a:gd name="connsiteX25" fmla="*/ 246767 w 247892"/>
                  <a:gd name="connsiteY25" fmla="*/ 54886 h 222562"/>
                  <a:gd name="connsiteX26" fmla="*/ 150141 w 247892"/>
                  <a:gd name="connsiteY26" fmla="*/ 55517 h 222562"/>
                  <a:gd name="connsiteX27" fmla="*/ 149702 w 247892"/>
                  <a:gd name="connsiteY27" fmla="*/ 136035 h 222562"/>
                  <a:gd name="connsiteX28" fmla="*/ 132001 w 247892"/>
                  <a:gd name="connsiteY28" fmla="*/ 143362 h 222562"/>
                  <a:gd name="connsiteX29" fmla="*/ 120969 w 247892"/>
                  <a:gd name="connsiteY29" fmla="*/ 150909 h 222562"/>
                  <a:gd name="connsiteX30" fmla="*/ 117209 w 247892"/>
                  <a:gd name="connsiteY30" fmla="*/ 155848 h 222562"/>
                  <a:gd name="connsiteX31" fmla="*/ 116358 w 247892"/>
                  <a:gd name="connsiteY31" fmla="*/ 160212 h 222562"/>
                  <a:gd name="connsiteX32" fmla="*/ 118170 w 247892"/>
                  <a:gd name="connsiteY32" fmla="*/ 168692 h 222562"/>
                  <a:gd name="connsiteX33" fmla="*/ 119899 w 247892"/>
                  <a:gd name="connsiteY33" fmla="*/ 204533 h 222562"/>
                  <a:gd name="connsiteX34" fmla="*/ 28815 w 247892"/>
                  <a:gd name="connsiteY34" fmla="*/ 204697 h 222562"/>
                  <a:gd name="connsiteX35" fmla="*/ 4803 w 247892"/>
                  <a:gd name="connsiteY35" fmla="*/ 205164 h 222562"/>
                  <a:gd name="connsiteX36" fmla="*/ 1619 w 247892"/>
                  <a:gd name="connsiteY36" fmla="*/ 214467 h 222562"/>
                  <a:gd name="connsiteX37" fmla="*/ 906 w 247892"/>
                  <a:gd name="connsiteY37" fmla="*/ 218144 h 222562"/>
                  <a:gd name="connsiteX38" fmla="*/ 1125 w 247892"/>
                  <a:gd name="connsiteY38" fmla="*/ 221602 h 22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7892" h="222562">
                    <a:moveTo>
                      <a:pt x="1070" y="221602"/>
                    </a:moveTo>
                    <a:lnTo>
                      <a:pt x="1263" y="222562"/>
                    </a:lnTo>
                    <a:lnTo>
                      <a:pt x="686" y="221602"/>
                    </a:lnTo>
                    <a:lnTo>
                      <a:pt x="0" y="219461"/>
                    </a:lnTo>
                    <a:lnTo>
                      <a:pt x="4254" y="189768"/>
                    </a:lnTo>
                    <a:lnTo>
                      <a:pt x="9358" y="177748"/>
                    </a:lnTo>
                    <a:lnTo>
                      <a:pt x="11883" y="175031"/>
                    </a:lnTo>
                    <a:lnTo>
                      <a:pt x="15670" y="174592"/>
                    </a:lnTo>
                    <a:lnTo>
                      <a:pt x="18003" y="172671"/>
                    </a:lnTo>
                    <a:lnTo>
                      <a:pt x="23656" y="156617"/>
                    </a:lnTo>
                    <a:lnTo>
                      <a:pt x="27498" y="152226"/>
                    </a:lnTo>
                    <a:lnTo>
                      <a:pt x="26729" y="148686"/>
                    </a:lnTo>
                    <a:lnTo>
                      <a:pt x="28815" y="145310"/>
                    </a:lnTo>
                    <a:lnTo>
                      <a:pt x="39436" y="126869"/>
                    </a:lnTo>
                    <a:lnTo>
                      <a:pt x="39628" y="121682"/>
                    </a:lnTo>
                    <a:lnTo>
                      <a:pt x="64793" y="96846"/>
                    </a:lnTo>
                    <a:lnTo>
                      <a:pt x="67455" y="75770"/>
                    </a:lnTo>
                    <a:lnTo>
                      <a:pt x="75852" y="56341"/>
                    </a:lnTo>
                    <a:lnTo>
                      <a:pt x="77636" y="48492"/>
                    </a:lnTo>
                    <a:lnTo>
                      <a:pt x="85869" y="41356"/>
                    </a:lnTo>
                    <a:lnTo>
                      <a:pt x="96078" y="36554"/>
                    </a:lnTo>
                    <a:lnTo>
                      <a:pt x="103515" y="30654"/>
                    </a:lnTo>
                    <a:lnTo>
                      <a:pt x="115343" y="0"/>
                    </a:lnTo>
                    <a:lnTo>
                      <a:pt x="247893" y="192"/>
                    </a:lnTo>
                    <a:lnTo>
                      <a:pt x="247893" y="11773"/>
                    </a:lnTo>
                    <a:lnTo>
                      <a:pt x="246767" y="54886"/>
                    </a:lnTo>
                    <a:lnTo>
                      <a:pt x="150141" y="55517"/>
                    </a:lnTo>
                    <a:lnTo>
                      <a:pt x="149702" y="136035"/>
                    </a:lnTo>
                    <a:lnTo>
                      <a:pt x="132001" y="143362"/>
                    </a:lnTo>
                    <a:lnTo>
                      <a:pt x="120969" y="150909"/>
                    </a:lnTo>
                    <a:lnTo>
                      <a:pt x="117209" y="155848"/>
                    </a:lnTo>
                    <a:lnTo>
                      <a:pt x="116358" y="160212"/>
                    </a:lnTo>
                    <a:lnTo>
                      <a:pt x="118170" y="168692"/>
                    </a:lnTo>
                    <a:lnTo>
                      <a:pt x="119899" y="204533"/>
                    </a:lnTo>
                    <a:lnTo>
                      <a:pt x="28815" y="204697"/>
                    </a:lnTo>
                    <a:lnTo>
                      <a:pt x="4803" y="205164"/>
                    </a:lnTo>
                    <a:lnTo>
                      <a:pt x="1619" y="214467"/>
                    </a:lnTo>
                    <a:lnTo>
                      <a:pt x="906" y="218144"/>
                    </a:lnTo>
                    <a:lnTo>
                      <a:pt x="1125" y="2216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5" name="Freeform: Shape 3874">
                <a:extLst>
                  <a:ext uri="{FF2B5EF4-FFF2-40B4-BE49-F238E27FC236}">
                    <a16:creationId xmlns:a16="http://schemas.microsoft.com/office/drawing/2014/main" id="{416687C5-0D4E-1500-62F6-74E3F6119210}"/>
                  </a:ext>
                </a:extLst>
              </p:cNvPr>
              <p:cNvSpPr/>
              <p:nvPr/>
            </p:nvSpPr>
            <p:spPr>
              <a:xfrm>
                <a:off x="1316328" y="3769352"/>
                <a:ext cx="346" cy="386"/>
              </a:xfrm>
              <a:custGeom>
                <a:avLst/>
                <a:gdLst>
                  <a:gd name="connsiteX0" fmla="*/ 3320 w 3320"/>
                  <a:gd name="connsiteY0" fmla="*/ 1674 h 3704"/>
                  <a:gd name="connsiteX1" fmla="*/ 1921 w 3320"/>
                  <a:gd name="connsiteY1" fmla="*/ 3705 h 3704"/>
                  <a:gd name="connsiteX2" fmla="*/ 0 w 3320"/>
                  <a:gd name="connsiteY2" fmla="*/ 2250 h 3704"/>
                  <a:gd name="connsiteX3" fmla="*/ 247 w 3320"/>
                  <a:gd name="connsiteY3" fmla="*/ 741 h 3704"/>
                  <a:gd name="connsiteX4" fmla="*/ 2579 w 3320"/>
                  <a:gd name="connsiteY4" fmla="*/ 0 h 3704"/>
                  <a:gd name="connsiteX5" fmla="*/ 3320 w 3320"/>
                  <a:gd name="connsiteY5" fmla="*/ 1674 h 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0" h="3704">
                    <a:moveTo>
                      <a:pt x="3320" y="1674"/>
                    </a:moveTo>
                    <a:lnTo>
                      <a:pt x="1921" y="3705"/>
                    </a:lnTo>
                    <a:lnTo>
                      <a:pt x="0" y="2250"/>
                    </a:lnTo>
                    <a:lnTo>
                      <a:pt x="247" y="741"/>
                    </a:lnTo>
                    <a:lnTo>
                      <a:pt x="2579" y="0"/>
                    </a:lnTo>
                    <a:lnTo>
                      <a:pt x="3320" y="16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6" name="Freeform: Shape 3875">
                <a:extLst>
                  <a:ext uri="{FF2B5EF4-FFF2-40B4-BE49-F238E27FC236}">
                    <a16:creationId xmlns:a16="http://schemas.microsoft.com/office/drawing/2014/main" id="{AE96937F-1E83-9EF0-5B90-29248E1BFC56}"/>
                  </a:ext>
                </a:extLst>
              </p:cNvPr>
              <p:cNvSpPr/>
              <p:nvPr/>
            </p:nvSpPr>
            <p:spPr>
              <a:xfrm>
                <a:off x="1477217" y="3788286"/>
                <a:ext cx="20477" cy="17884"/>
              </a:xfrm>
              <a:custGeom>
                <a:avLst/>
                <a:gdLst>
                  <a:gd name="connsiteX0" fmla="*/ 83042 w 196327"/>
                  <a:gd name="connsiteY0" fmla="*/ 61335 h 171463"/>
                  <a:gd name="connsiteX1" fmla="*/ 96380 w 196327"/>
                  <a:gd name="connsiteY1" fmla="*/ 87763 h 171463"/>
                  <a:gd name="connsiteX2" fmla="*/ 98657 w 196327"/>
                  <a:gd name="connsiteY2" fmla="*/ 87296 h 171463"/>
                  <a:gd name="connsiteX3" fmla="*/ 98822 w 196327"/>
                  <a:gd name="connsiteY3" fmla="*/ 80161 h 171463"/>
                  <a:gd name="connsiteX4" fmla="*/ 101704 w 196327"/>
                  <a:gd name="connsiteY4" fmla="*/ 78734 h 171463"/>
                  <a:gd name="connsiteX5" fmla="*/ 105738 w 196327"/>
                  <a:gd name="connsiteY5" fmla="*/ 81917 h 171463"/>
                  <a:gd name="connsiteX6" fmla="*/ 107083 w 196327"/>
                  <a:gd name="connsiteY6" fmla="*/ 88147 h 171463"/>
                  <a:gd name="connsiteX7" fmla="*/ 109799 w 196327"/>
                  <a:gd name="connsiteY7" fmla="*/ 91769 h 171463"/>
                  <a:gd name="connsiteX8" fmla="*/ 113257 w 196327"/>
                  <a:gd name="connsiteY8" fmla="*/ 91111 h 171463"/>
                  <a:gd name="connsiteX9" fmla="*/ 116002 w 196327"/>
                  <a:gd name="connsiteY9" fmla="*/ 93251 h 171463"/>
                  <a:gd name="connsiteX10" fmla="*/ 121765 w 196327"/>
                  <a:gd name="connsiteY10" fmla="*/ 93882 h 171463"/>
                  <a:gd name="connsiteX11" fmla="*/ 128104 w 196327"/>
                  <a:gd name="connsiteY11" fmla="*/ 99947 h 171463"/>
                  <a:gd name="connsiteX12" fmla="*/ 138203 w 196327"/>
                  <a:gd name="connsiteY12" fmla="*/ 104009 h 171463"/>
                  <a:gd name="connsiteX13" fmla="*/ 153736 w 196327"/>
                  <a:gd name="connsiteY13" fmla="*/ 123054 h 171463"/>
                  <a:gd name="connsiteX14" fmla="*/ 161557 w 196327"/>
                  <a:gd name="connsiteY14" fmla="*/ 127061 h 171463"/>
                  <a:gd name="connsiteX15" fmla="*/ 169543 w 196327"/>
                  <a:gd name="connsiteY15" fmla="*/ 134141 h 171463"/>
                  <a:gd name="connsiteX16" fmla="*/ 175608 w 196327"/>
                  <a:gd name="connsiteY16" fmla="*/ 145777 h 171463"/>
                  <a:gd name="connsiteX17" fmla="*/ 176925 w 196327"/>
                  <a:gd name="connsiteY17" fmla="*/ 146875 h 171463"/>
                  <a:gd name="connsiteX18" fmla="*/ 184691 w 196327"/>
                  <a:gd name="connsiteY18" fmla="*/ 153214 h 171463"/>
                  <a:gd name="connsiteX19" fmla="*/ 187491 w 196327"/>
                  <a:gd name="connsiteY19" fmla="*/ 153516 h 171463"/>
                  <a:gd name="connsiteX20" fmla="*/ 188259 w 196327"/>
                  <a:gd name="connsiteY20" fmla="*/ 156480 h 171463"/>
                  <a:gd name="connsiteX21" fmla="*/ 192128 w 196327"/>
                  <a:gd name="connsiteY21" fmla="*/ 156562 h 171463"/>
                  <a:gd name="connsiteX22" fmla="*/ 196327 w 196327"/>
                  <a:gd name="connsiteY22" fmla="*/ 161611 h 171463"/>
                  <a:gd name="connsiteX23" fmla="*/ 189329 w 196327"/>
                  <a:gd name="connsiteY23" fmla="*/ 164795 h 171463"/>
                  <a:gd name="connsiteX24" fmla="*/ 184362 w 196327"/>
                  <a:gd name="connsiteY24" fmla="*/ 171464 h 171463"/>
                  <a:gd name="connsiteX25" fmla="*/ 178379 w 196327"/>
                  <a:gd name="connsiteY25" fmla="*/ 168088 h 171463"/>
                  <a:gd name="connsiteX26" fmla="*/ 176952 w 196327"/>
                  <a:gd name="connsiteY26" fmla="*/ 168170 h 171463"/>
                  <a:gd name="connsiteX27" fmla="*/ 175114 w 196327"/>
                  <a:gd name="connsiteY27" fmla="*/ 168884 h 171463"/>
                  <a:gd name="connsiteX28" fmla="*/ 169763 w 196327"/>
                  <a:gd name="connsiteY28" fmla="*/ 160898 h 171463"/>
                  <a:gd name="connsiteX29" fmla="*/ 163423 w 196327"/>
                  <a:gd name="connsiteY29" fmla="*/ 156644 h 171463"/>
                  <a:gd name="connsiteX30" fmla="*/ 153022 w 196327"/>
                  <a:gd name="connsiteY30" fmla="*/ 142072 h 171463"/>
                  <a:gd name="connsiteX31" fmla="*/ 142347 w 196327"/>
                  <a:gd name="connsiteY31" fmla="*/ 134553 h 171463"/>
                  <a:gd name="connsiteX32" fmla="*/ 129860 w 196327"/>
                  <a:gd name="connsiteY32" fmla="*/ 118855 h 171463"/>
                  <a:gd name="connsiteX33" fmla="*/ 111913 w 196327"/>
                  <a:gd name="connsiteY33" fmla="*/ 110650 h 171463"/>
                  <a:gd name="connsiteX34" fmla="*/ 107933 w 196327"/>
                  <a:gd name="connsiteY34" fmla="*/ 107055 h 171463"/>
                  <a:gd name="connsiteX35" fmla="*/ 101786 w 196327"/>
                  <a:gd name="connsiteY35" fmla="*/ 109031 h 171463"/>
                  <a:gd name="connsiteX36" fmla="*/ 92373 w 196327"/>
                  <a:gd name="connsiteY36" fmla="*/ 104832 h 171463"/>
                  <a:gd name="connsiteX37" fmla="*/ 83345 w 196327"/>
                  <a:gd name="connsiteY37" fmla="*/ 108729 h 171463"/>
                  <a:gd name="connsiteX38" fmla="*/ 79063 w 196327"/>
                  <a:gd name="connsiteY38" fmla="*/ 103350 h 171463"/>
                  <a:gd name="connsiteX39" fmla="*/ 69706 w 196327"/>
                  <a:gd name="connsiteY39" fmla="*/ 107851 h 171463"/>
                  <a:gd name="connsiteX40" fmla="*/ 60484 w 196327"/>
                  <a:gd name="connsiteY40" fmla="*/ 109662 h 171463"/>
                  <a:gd name="connsiteX41" fmla="*/ 43250 w 196327"/>
                  <a:gd name="connsiteY41" fmla="*/ 96874 h 171463"/>
                  <a:gd name="connsiteX42" fmla="*/ 31752 w 196327"/>
                  <a:gd name="connsiteY42" fmla="*/ 115480 h 171463"/>
                  <a:gd name="connsiteX43" fmla="*/ 23765 w 196327"/>
                  <a:gd name="connsiteY43" fmla="*/ 109525 h 171463"/>
                  <a:gd name="connsiteX44" fmla="*/ 17124 w 196327"/>
                  <a:gd name="connsiteY44" fmla="*/ 114190 h 171463"/>
                  <a:gd name="connsiteX45" fmla="*/ 7849 w 196327"/>
                  <a:gd name="connsiteY45" fmla="*/ 113202 h 171463"/>
                  <a:gd name="connsiteX46" fmla="*/ 3238 w 196327"/>
                  <a:gd name="connsiteY46" fmla="*/ 114766 h 171463"/>
                  <a:gd name="connsiteX47" fmla="*/ 2196 w 196327"/>
                  <a:gd name="connsiteY47" fmla="*/ 112104 h 171463"/>
                  <a:gd name="connsiteX48" fmla="*/ 1345 w 196327"/>
                  <a:gd name="connsiteY48" fmla="*/ 102829 h 171463"/>
                  <a:gd name="connsiteX49" fmla="*/ 0 w 196327"/>
                  <a:gd name="connsiteY49" fmla="*/ 87872 h 171463"/>
                  <a:gd name="connsiteX50" fmla="*/ 3320 w 196327"/>
                  <a:gd name="connsiteY50" fmla="*/ 83619 h 171463"/>
                  <a:gd name="connsiteX51" fmla="*/ 10950 w 196327"/>
                  <a:gd name="connsiteY51" fmla="*/ 62076 h 171463"/>
                  <a:gd name="connsiteX52" fmla="*/ 14490 w 196327"/>
                  <a:gd name="connsiteY52" fmla="*/ 52855 h 171463"/>
                  <a:gd name="connsiteX53" fmla="*/ 13310 w 196327"/>
                  <a:gd name="connsiteY53" fmla="*/ 42646 h 171463"/>
                  <a:gd name="connsiteX54" fmla="*/ 15862 w 196327"/>
                  <a:gd name="connsiteY54" fmla="*/ 37487 h 171463"/>
                  <a:gd name="connsiteX55" fmla="*/ 16795 w 196327"/>
                  <a:gd name="connsiteY55" fmla="*/ 29089 h 171463"/>
                  <a:gd name="connsiteX56" fmla="*/ 27828 w 196327"/>
                  <a:gd name="connsiteY56" fmla="*/ 28870 h 171463"/>
                  <a:gd name="connsiteX57" fmla="*/ 33234 w 196327"/>
                  <a:gd name="connsiteY57" fmla="*/ 19869 h 171463"/>
                  <a:gd name="connsiteX58" fmla="*/ 37954 w 196327"/>
                  <a:gd name="connsiteY58" fmla="*/ 19073 h 171463"/>
                  <a:gd name="connsiteX59" fmla="*/ 39820 w 196327"/>
                  <a:gd name="connsiteY59" fmla="*/ 16301 h 171463"/>
                  <a:gd name="connsiteX60" fmla="*/ 52773 w 196327"/>
                  <a:gd name="connsiteY60" fmla="*/ 13584 h 171463"/>
                  <a:gd name="connsiteX61" fmla="*/ 62323 w 196327"/>
                  <a:gd name="connsiteY61" fmla="*/ 0 h 171463"/>
                  <a:gd name="connsiteX62" fmla="*/ 73218 w 196327"/>
                  <a:gd name="connsiteY62" fmla="*/ 20664 h 171463"/>
                  <a:gd name="connsiteX63" fmla="*/ 83097 w 196327"/>
                  <a:gd name="connsiteY63" fmla="*/ 61280 h 1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96327" h="171463">
                    <a:moveTo>
                      <a:pt x="83042" y="61335"/>
                    </a:moveTo>
                    <a:lnTo>
                      <a:pt x="96380" y="87763"/>
                    </a:lnTo>
                    <a:lnTo>
                      <a:pt x="98657" y="87296"/>
                    </a:lnTo>
                    <a:lnTo>
                      <a:pt x="98822" y="80161"/>
                    </a:lnTo>
                    <a:lnTo>
                      <a:pt x="101704" y="78734"/>
                    </a:lnTo>
                    <a:lnTo>
                      <a:pt x="105738" y="81917"/>
                    </a:lnTo>
                    <a:lnTo>
                      <a:pt x="107083" y="88147"/>
                    </a:lnTo>
                    <a:lnTo>
                      <a:pt x="109799" y="91769"/>
                    </a:lnTo>
                    <a:lnTo>
                      <a:pt x="113257" y="91111"/>
                    </a:lnTo>
                    <a:lnTo>
                      <a:pt x="116002" y="93251"/>
                    </a:lnTo>
                    <a:lnTo>
                      <a:pt x="121765" y="93882"/>
                    </a:lnTo>
                    <a:lnTo>
                      <a:pt x="128104" y="99947"/>
                    </a:lnTo>
                    <a:lnTo>
                      <a:pt x="138203" y="104009"/>
                    </a:lnTo>
                    <a:lnTo>
                      <a:pt x="153736" y="123054"/>
                    </a:lnTo>
                    <a:lnTo>
                      <a:pt x="161557" y="127061"/>
                    </a:lnTo>
                    <a:lnTo>
                      <a:pt x="169543" y="134141"/>
                    </a:lnTo>
                    <a:lnTo>
                      <a:pt x="175608" y="145777"/>
                    </a:lnTo>
                    <a:lnTo>
                      <a:pt x="176925" y="146875"/>
                    </a:lnTo>
                    <a:lnTo>
                      <a:pt x="184691" y="153214"/>
                    </a:lnTo>
                    <a:lnTo>
                      <a:pt x="187491" y="153516"/>
                    </a:lnTo>
                    <a:lnTo>
                      <a:pt x="188259" y="156480"/>
                    </a:lnTo>
                    <a:lnTo>
                      <a:pt x="192128" y="156562"/>
                    </a:lnTo>
                    <a:lnTo>
                      <a:pt x="196327" y="161611"/>
                    </a:lnTo>
                    <a:lnTo>
                      <a:pt x="189329" y="164795"/>
                    </a:lnTo>
                    <a:lnTo>
                      <a:pt x="184362" y="171464"/>
                    </a:lnTo>
                    <a:lnTo>
                      <a:pt x="178379" y="168088"/>
                    </a:lnTo>
                    <a:lnTo>
                      <a:pt x="176952" y="168170"/>
                    </a:lnTo>
                    <a:lnTo>
                      <a:pt x="175114" y="168884"/>
                    </a:lnTo>
                    <a:lnTo>
                      <a:pt x="169763" y="160898"/>
                    </a:lnTo>
                    <a:lnTo>
                      <a:pt x="163423" y="156644"/>
                    </a:lnTo>
                    <a:lnTo>
                      <a:pt x="153022" y="142072"/>
                    </a:lnTo>
                    <a:lnTo>
                      <a:pt x="142347" y="134553"/>
                    </a:lnTo>
                    <a:lnTo>
                      <a:pt x="129860" y="118855"/>
                    </a:lnTo>
                    <a:lnTo>
                      <a:pt x="111913" y="110650"/>
                    </a:lnTo>
                    <a:lnTo>
                      <a:pt x="107933" y="107055"/>
                    </a:lnTo>
                    <a:lnTo>
                      <a:pt x="101786" y="109031"/>
                    </a:lnTo>
                    <a:lnTo>
                      <a:pt x="92373" y="104832"/>
                    </a:lnTo>
                    <a:lnTo>
                      <a:pt x="83345" y="108729"/>
                    </a:lnTo>
                    <a:lnTo>
                      <a:pt x="79063" y="103350"/>
                    </a:lnTo>
                    <a:lnTo>
                      <a:pt x="69706" y="107851"/>
                    </a:lnTo>
                    <a:lnTo>
                      <a:pt x="60484" y="109662"/>
                    </a:lnTo>
                    <a:lnTo>
                      <a:pt x="43250" y="96874"/>
                    </a:lnTo>
                    <a:lnTo>
                      <a:pt x="31752" y="115480"/>
                    </a:lnTo>
                    <a:lnTo>
                      <a:pt x="23765" y="109525"/>
                    </a:lnTo>
                    <a:lnTo>
                      <a:pt x="17124" y="114190"/>
                    </a:lnTo>
                    <a:lnTo>
                      <a:pt x="7849" y="113202"/>
                    </a:lnTo>
                    <a:lnTo>
                      <a:pt x="3238" y="114766"/>
                    </a:lnTo>
                    <a:lnTo>
                      <a:pt x="2196" y="112104"/>
                    </a:lnTo>
                    <a:lnTo>
                      <a:pt x="1345" y="102829"/>
                    </a:lnTo>
                    <a:lnTo>
                      <a:pt x="0" y="87872"/>
                    </a:lnTo>
                    <a:lnTo>
                      <a:pt x="3320" y="83619"/>
                    </a:lnTo>
                    <a:lnTo>
                      <a:pt x="10950" y="62076"/>
                    </a:lnTo>
                    <a:lnTo>
                      <a:pt x="14490" y="52855"/>
                    </a:lnTo>
                    <a:lnTo>
                      <a:pt x="13310" y="42646"/>
                    </a:lnTo>
                    <a:lnTo>
                      <a:pt x="15862" y="37487"/>
                    </a:lnTo>
                    <a:lnTo>
                      <a:pt x="16795" y="29089"/>
                    </a:lnTo>
                    <a:lnTo>
                      <a:pt x="27828" y="28870"/>
                    </a:lnTo>
                    <a:lnTo>
                      <a:pt x="33234" y="19869"/>
                    </a:lnTo>
                    <a:lnTo>
                      <a:pt x="37954" y="19073"/>
                    </a:lnTo>
                    <a:lnTo>
                      <a:pt x="39820" y="16301"/>
                    </a:lnTo>
                    <a:lnTo>
                      <a:pt x="52773" y="13584"/>
                    </a:lnTo>
                    <a:lnTo>
                      <a:pt x="62323" y="0"/>
                    </a:lnTo>
                    <a:lnTo>
                      <a:pt x="73218" y="20664"/>
                    </a:lnTo>
                    <a:lnTo>
                      <a:pt x="83097" y="612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7" name="Freeform: Shape 3876">
                <a:extLst>
                  <a:ext uri="{FF2B5EF4-FFF2-40B4-BE49-F238E27FC236}">
                    <a16:creationId xmlns:a16="http://schemas.microsoft.com/office/drawing/2014/main" id="{426CBBB1-9CE4-421E-5303-39EE245DF856}"/>
                  </a:ext>
                </a:extLst>
              </p:cNvPr>
              <p:cNvSpPr/>
              <p:nvPr/>
            </p:nvSpPr>
            <p:spPr>
              <a:xfrm>
                <a:off x="1487894" y="3795187"/>
                <a:ext cx="847" cy="884"/>
              </a:xfrm>
              <a:custGeom>
                <a:avLst/>
                <a:gdLst>
                  <a:gd name="connsiteX0" fmla="*/ 7822 w 8123"/>
                  <a:gd name="connsiteY0" fmla="*/ 7547 h 8479"/>
                  <a:gd name="connsiteX1" fmla="*/ 3787 w 8123"/>
                  <a:gd name="connsiteY1" fmla="*/ 8480 h 8479"/>
                  <a:gd name="connsiteX2" fmla="*/ 1756 w 8123"/>
                  <a:gd name="connsiteY2" fmla="*/ 7272 h 8479"/>
                  <a:gd name="connsiteX3" fmla="*/ 4254 w 8123"/>
                  <a:gd name="connsiteY3" fmla="*/ 5763 h 8479"/>
                  <a:gd name="connsiteX4" fmla="*/ 2387 w 8123"/>
                  <a:gd name="connsiteY4" fmla="*/ 3815 h 8479"/>
                  <a:gd name="connsiteX5" fmla="*/ 0 w 8123"/>
                  <a:gd name="connsiteY5" fmla="*/ 3211 h 8479"/>
                  <a:gd name="connsiteX6" fmla="*/ 2525 w 8123"/>
                  <a:gd name="connsiteY6" fmla="*/ 0 h 8479"/>
                  <a:gd name="connsiteX7" fmla="*/ 4391 w 8123"/>
                  <a:gd name="connsiteY7" fmla="*/ 247 h 8479"/>
                  <a:gd name="connsiteX8" fmla="*/ 6120 w 8123"/>
                  <a:gd name="connsiteY8" fmla="*/ 2909 h 8479"/>
                  <a:gd name="connsiteX9" fmla="*/ 6175 w 8123"/>
                  <a:gd name="connsiteY9" fmla="*/ 4693 h 8479"/>
                  <a:gd name="connsiteX10" fmla="*/ 8123 w 8123"/>
                  <a:gd name="connsiteY10" fmla="*/ 5489 h 8479"/>
                  <a:gd name="connsiteX11" fmla="*/ 6723 w 8123"/>
                  <a:gd name="connsiteY11" fmla="*/ 6504 h 8479"/>
                  <a:gd name="connsiteX12" fmla="*/ 7794 w 8123"/>
                  <a:gd name="connsiteY12" fmla="*/ 7547 h 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23" h="8479">
                    <a:moveTo>
                      <a:pt x="7822" y="7547"/>
                    </a:moveTo>
                    <a:lnTo>
                      <a:pt x="3787" y="8480"/>
                    </a:lnTo>
                    <a:lnTo>
                      <a:pt x="1756" y="7272"/>
                    </a:lnTo>
                    <a:lnTo>
                      <a:pt x="4254" y="5763"/>
                    </a:lnTo>
                    <a:lnTo>
                      <a:pt x="2387" y="3815"/>
                    </a:lnTo>
                    <a:lnTo>
                      <a:pt x="0" y="3211"/>
                    </a:lnTo>
                    <a:lnTo>
                      <a:pt x="2525" y="0"/>
                    </a:lnTo>
                    <a:lnTo>
                      <a:pt x="4391" y="247"/>
                    </a:lnTo>
                    <a:lnTo>
                      <a:pt x="6120" y="2909"/>
                    </a:lnTo>
                    <a:lnTo>
                      <a:pt x="6175" y="4693"/>
                    </a:lnTo>
                    <a:lnTo>
                      <a:pt x="8123" y="5489"/>
                    </a:lnTo>
                    <a:lnTo>
                      <a:pt x="6723" y="6504"/>
                    </a:lnTo>
                    <a:lnTo>
                      <a:pt x="7794" y="75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8" name="Freeform: Shape 3877">
                <a:extLst>
                  <a:ext uri="{FF2B5EF4-FFF2-40B4-BE49-F238E27FC236}">
                    <a16:creationId xmlns:a16="http://schemas.microsoft.com/office/drawing/2014/main" id="{0F8C7502-43C6-2B26-3D3C-C7478641CA5A}"/>
                  </a:ext>
                </a:extLst>
              </p:cNvPr>
              <p:cNvSpPr/>
              <p:nvPr/>
            </p:nvSpPr>
            <p:spPr>
              <a:xfrm>
                <a:off x="1488043" y="3794165"/>
                <a:ext cx="627" cy="538"/>
              </a:xfrm>
              <a:custGeom>
                <a:avLst/>
                <a:gdLst>
                  <a:gd name="connsiteX0" fmla="*/ 6010 w 6009"/>
                  <a:gd name="connsiteY0" fmla="*/ 2113 h 5159"/>
                  <a:gd name="connsiteX1" fmla="*/ 4995 w 6009"/>
                  <a:gd name="connsiteY1" fmla="*/ 4418 h 5159"/>
                  <a:gd name="connsiteX2" fmla="*/ 2799 w 6009"/>
                  <a:gd name="connsiteY2" fmla="*/ 3924 h 5159"/>
                  <a:gd name="connsiteX3" fmla="*/ 2552 w 6009"/>
                  <a:gd name="connsiteY3" fmla="*/ 5159 h 5159"/>
                  <a:gd name="connsiteX4" fmla="*/ 0 w 6009"/>
                  <a:gd name="connsiteY4" fmla="*/ 5159 h 5159"/>
                  <a:gd name="connsiteX5" fmla="*/ 192 w 6009"/>
                  <a:gd name="connsiteY5" fmla="*/ 3540 h 5159"/>
                  <a:gd name="connsiteX6" fmla="*/ 3704 w 6009"/>
                  <a:gd name="connsiteY6" fmla="*/ 2168 h 5159"/>
                  <a:gd name="connsiteX7" fmla="*/ 5571 w 6009"/>
                  <a:gd name="connsiteY7" fmla="*/ 0 h 5159"/>
                  <a:gd name="connsiteX8" fmla="*/ 6010 w 6009"/>
                  <a:gd name="connsiteY8" fmla="*/ 2086 h 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9" h="5159">
                    <a:moveTo>
                      <a:pt x="6010" y="2113"/>
                    </a:moveTo>
                    <a:lnTo>
                      <a:pt x="4995" y="4418"/>
                    </a:lnTo>
                    <a:lnTo>
                      <a:pt x="2799" y="3924"/>
                    </a:lnTo>
                    <a:lnTo>
                      <a:pt x="2552" y="5159"/>
                    </a:lnTo>
                    <a:lnTo>
                      <a:pt x="0" y="5159"/>
                    </a:lnTo>
                    <a:lnTo>
                      <a:pt x="192" y="3540"/>
                    </a:lnTo>
                    <a:lnTo>
                      <a:pt x="3704" y="2168"/>
                    </a:lnTo>
                    <a:lnTo>
                      <a:pt x="5571" y="0"/>
                    </a:lnTo>
                    <a:lnTo>
                      <a:pt x="6010"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79" name="Freeform: Shape 3878">
                <a:extLst>
                  <a:ext uri="{FF2B5EF4-FFF2-40B4-BE49-F238E27FC236}">
                    <a16:creationId xmlns:a16="http://schemas.microsoft.com/office/drawing/2014/main" id="{E162FBCC-9C51-01BB-84DB-31DDA636FBE3}"/>
                  </a:ext>
                </a:extLst>
              </p:cNvPr>
              <p:cNvSpPr/>
              <p:nvPr/>
            </p:nvSpPr>
            <p:spPr>
              <a:xfrm>
                <a:off x="1488801" y="3795766"/>
                <a:ext cx="587" cy="355"/>
              </a:xfrm>
              <a:custGeom>
                <a:avLst/>
                <a:gdLst>
                  <a:gd name="connsiteX0" fmla="*/ 5626 w 5625"/>
                  <a:gd name="connsiteY0" fmla="*/ 2442 h 3402"/>
                  <a:gd name="connsiteX1" fmla="*/ 4062 w 5625"/>
                  <a:gd name="connsiteY1" fmla="*/ 3403 h 3402"/>
                  <a:gd name="connsiteX2" fmla="*/ 0 w 5625"/>
                  <a:gd name="connsiteY2" fmla="*/ 2552 h 3402"/>
                  <a:gd name="connsiteX3" fmla="*/ 2689 w 5625"/>
                  <a:gd name="connsiteY3" fmla="*/ 0 h 3402"/>
                  <a:gd name="connsiteX4" fmla="*/ 5626 w 5625"/>
                  <a:gd name="connsiteY4" fmla="*/ 2442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 h="3402">
                    <a:moveTo>
                      <a:pt x="5626" y="2442"/>
                    </a:moveTo>
                    <a:lnTo>
                      <a:pt x="4062" y="3403"/>
                    </a:lnTo>
                    <a:lnTo>
                      <a:pt x="0" y="2552"/>
                    </a:lnTo>
                    <a:lnTo>
                      <a:pt x="2689" y="0"/>
                    </a:lnTo>
                    <a:lnTo>
                      <a:pt x="5626" y="24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0" name="Freeform: Shape 3879">
                <a:extLst>
                  <a:ext uri="{FF2B5EF4-FFF2-40B4-BE49-F238E27FC236}">
                    <a16:creationId xmlns:a16="http://schemas.microsoft.com/office/drawing/2014/main" id="{6B493907-D21D-F097-B8E2-192A47EA0DCF}"/>
                  </a:ext>
                </a:extLst>
              </p:cNvPr>
              <p:cNvSpPr/>
              <p:nvPr/>
            </p:nvSpPr>
            <p:spPr>
              <a:xfrm>
                <a:off x="1488764" y="3797260"/>
                <a:ext cx="283" cy="461"/>
              </a:xfrm>
              <a:custGeom>
                <a:avLst/>
                <a:gdLst>
                  <a:gd name="connsiteX0" fmla="*/ 2717 w 2716"/>
                  <a:gd name="connsiteY0" fmla="*/ 3375 h 4418"/>
                  <a:gd name="connsiteX1" fmla="*/ 1372 w 2716"/>
                  <a:gd name="connsiteY1" fmla="*/ 4418 h 4418"/>
                  <a:gd name="connsiteX2" fmla="*/ 0 w 2716"/>
                  <a:gd name="connsiteY2" fmla="*/ 2689 h 4418"/>
                  <a:gd name="connsiteX3" fmla="*/ 0 w 2716"/>
                  <a:gd name="connsiteY3" fmla="*/ 0 h 4418"/>
                  <a:gd name="connsiteX4" fmla="*/ 1646 w 2716"/>
                  <a:gd name="connsiteY4" fmla="*/ 768 h 4418"/>
                  <a:gd name="connsiteX5" fmla="*/ 2717 w 2716"/>
                  <a:gd name="connsiteY5" fmla="*/ 3348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6" h="4418">
                    <a:moveTo>
                      <a:pt x="2717" y="3375"/>
                    </a:moveTo>
                    <a:lnTo>
                      <a:pt x="1372" y="4418"/>
                    </a:lnTo>
                    <a:lnTo>
                      <a:pt x="0" y="2689"/>
                    </a:lnTo>
                    <a:lnTo>
                      <a:pt x="0" y="0"/>
                    </a:lnTo>
                    <a:lnTo>
                      <a:pt x="1646" y="768"/>
                    </a:lnTo>
                    <a:lnTo>
                      <a:pt x="2717"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1" name="Freeform: Shape 3880">
                <a:extLst>
                  <a:ext uri="{FF2B5EF4-FFF2-40B4-BE49-F238E27FC236}">
                    <a16:creationId xmlns:a16="http://schemas.microsoft.com/office/drawing/2014/main" id="{6CB67537-56FD-FC9C-1853-A0D110965B64}"/>
                  </a:ext>
                </a:extLst>
              </p:cNvPr>
              <p:cNvSpPr/>
              <p:nvPr/>
            </p:nvSpPr>
            <p:spPr>
              <a:xfrm>
                <a:off x="1392349" y="3837361"/>
                <a:ext cx="17446" cy="19349"/>
              </a:xfrm>
              <a:custGeom>
                <a:avLst/>
                <a:gdLst>
                  <a:gd name="connsiteX0" fmla="*/ 132687 w 167264"/>
                  <a:gd name="connsiteY0" fmla="*/ 4171 h 185514"/>
                  <a:gd name="connsiteX1" fmla="*/ 128708 w 167264"/>
                  <a:gd name="connsiteY1" fmla="*/ 17646 h 185514"/>
                  <a:gd name="connsiteX2" fmla="*/ 131040 w 167264"/>
                  <a:gd name="connsiteY2" fmla="*/ 29419 h 185514"/>
                  <a:gd name="connsiteX3" fmla="*/ 151074 w 167264"/>
                  <a:gd name="connsiteY3" fmla="*/ 26647 h 185514"/>
                  <a:gd name="connsiteX4" fmla="*/ 156946 w 167264"/>
                  <a:gd name="connsiteY4" fmla="*/ 27333 h 185514"/>
                  <a:gd name="connsiteX5" fmla="*/ 161228 w 167264"/>
                  <a:gd name="connsiteY5" fmla="*/ 30215 h 185514"/>
                  <a:gd name="connsiteX6" fmla="*/ 166167 w 167264"/>
                  <a:gd name="connsiteY6" fmla="*/ 39463 h 185514"/>
                  <a:gd name="connsiteX7" fmla="*/ 163917 w 167264"/>
                  <a:gd name="connsiteY7" fmla="*/ 47998 h 185514"/>
                  <a:gd name="connsiteX8" fmla="*/ 157276 w 167264"/>
                  <a:gd name="connsiteY8" fmla="*/ 52938 h 185514"/>
                  <a:gd name="connsiteX9" fmla="*/ 155876 w 167264"/>
                  <a:gd name="connsiteY9" fmla="*/ 53953 h 185514"/>
                  <a:gd name="connsiteX10" fmla="*/ 150991 w 167264"/>
                  <a:gd name="connsiteY10" fmla="*/ 64656 h 185514"/>
                  <a:gd name="connsiteX11" fmla="*/ 152226 w 167264"/>
                  <a:gd name="connsiteY11" fmla="*/ 74178 h 185514"/>
                  <a:gd name="connsiteX12" fmla="*/ 164575 w 167264"/>
                  <a:gd name="connsiteY12" fmla="*/ 82768 h 185514"/>
                  <a:gd name="connsiteX13" fmla="*/ 166853 w 167264"/>
                  <a:gd name="connsiteY13" fmla="*/ 86171 h 185514"/>
                  <a:gd name="connsiteX14" fmla="*/ 165893 w 167264"/>
                  <a:gd name="connsiteY14" fmla="*/ 95776 h 185514"/>
                  <a:gd name="connsiteX15" fmla="*/ 167265 w 167264"/>
                  <a:gd name="connsiteY15" fmla="*/ 109991 h 185514"/>
                  <a:gd name="connsiteX16" fmla="*/ 164878 w 167264"/>
                  <a:gd name="connsiteY16" fmla="*/ 121353 h 185514"/>
                  <a:gd name="connsiteX17" fmla="*/ 155931 w 167264"/>
                  <a:gd name="connsiteY17" fmla="*/ 139657 h 185514"/>
                  <a:gd name="connsiteX18" fmla="*/ 150772 w 167264"/>
                  <a:gd name="connsiteY18" fmla="*/ 139054 h 185514"/>
                  <a:gd name="connsiteX19" fmla="*/ 146573 w 167264"/>
                  <a:gd name="connsiteY19" fmla="*/ 131424 h 185514"/>
                  <a:gd name="connsiteX20" fmla="*/ 138121 w 167264"/>
                  <a:gd name="connsiteY20" fmla="*/ 138861 h 185514"/>
                  <a:gd name="connsiteX21" fmla="*/ 127253 w 167264"/>
                  <a:gd name="connsiteY21" fmla="*/ 136941 h 185514"/>
                  <a:gd name="connsiteX22" fmla="*/ 118444 w 167264"/>
                  <a:gd name="connsiteY22" fmla="*/ 125003 h 185514"/>
                  <a:gd name="connsiteX23" fmla="*/ 112571 w 167264"/>
                  <a:gd name="connsiteY23" fmla="*/ 123274 h 185514"/>
                  <a:gd name="connsiteX24" fmla="*/ 108620 w 167264"/>
                  <a:gd name="connsiteY24" fmla="*/ 125112 h 185514"/>
                  <a:gd name="connsiteX25" fmla="*/ 109690 w 167264"/>
                  <a:gd name="connsiteY25" fmla="*/ 132824 h 185514"/>
                  <a:gd name="connsiteX26" fmla="*/ 106726 w 167264"/>
                  <a:gd name="connsiteY26" fmla="*/ 138806 h 185514"/>
                  <a:gd name="connsiteX27" fmla="*/ 93498 w 167264"/>
                  <a:gd name="connsiteY27" fmla="*/ 137873 h 185514"/>
                  <a:gd name="connsiteX28" fmla="*/ 84744 w 167264"/>
                  <a:gd name="connsiteY28" fmla="*/ 139081 h 185514"/>
                  <a:gd name="connsiteX29" fmla="*/ 84744 w 167264"/>
                  <a:gd name="connsiteY29" fmla="*/ 149016 h 185514"/>
                  <a:gd name="connsiteX30" fmla="*/ 94459 w 167264"/>
                  <a:gd name="connsiteY30" fmla="*/ 156535 h 185514"/>
                  <a:gd name="connsiteX31" fmla="*/ 94075 w 167264"/>
                  <a:gd name="connsiteY31" fmla="*/ 168692 h 185514"/>
                  <a:gd name="connsiteX32" fmla="*/ 90205 w 167264"/>
                  <a:gd name="connsiteY32" fmla="*/ 176102 h 185514"/>
                  <a:gd name="connsiteX33" fmla="*/ 81670 w 167264"/>
                  <a:gd name="connsiteY33" fmla="*/ 173056 h 185514"/>
                  <a:gd name="connsiteX34" fmla="*/ 76182 w 167264"/>
                  <a:gd name="connsiteY34" fmla="*/ 174867 h 185514"/>
                  <a:gd name="connsiteX35" fmla="*/ 70940 w 167264"/>
                  <a:gd name="connsiteY35" fmla="*/ 185514 h 185514"/>
                  <a:gd name="connsiteX36" fmla="*/ 56094 w 167264"/>
                  <a:gd name="connsiteY36" fmla="*/ 170421 h 185514"/>
                  <a:gd name="connsiteX37" fmla="*/ 52252 w 167264"/>
                  <a:gd name="connsiteY37" fmla="*/ 163807 h 185514"/>
                  <a:gd name="connsiteX38" fmla="*/ 25687 w 167264"/>
                  <a:gd name="connsiteY38" fmla="*/ 139740 h 185514"/>
                  <a:gd name="connsiteX39" fmla="*/ 15341 w 167264"/>
                  <a:gd name="connsiteY39" fmla="*/ 124371 h 185514"/>
                  <a:gd name="connsiteX40" fmla="*/ 9605 w 167264"/>
                  <a:gd name="connsiteY40" fmla="*/ 110074 h 185514"/>
                  <a:gd name="connsiteX41" fmla="*/ 0 w 167264"/>
                  <a:gd name="connsiteY41" fmla="*/ 91632 h 185514"/>
                  <a:gd name="connsiteX42" fmla="*/ 9221 w 167264"/>
                  <a:gd name="connsiteY42" fmla="*/ 86912 h 185514"/>
                  <a:gd name="connsiteX43" fmla="*/ 12157 w 167264"/>
                  <a:gd name="connsiteY43" fmla="*/ 83344 h 185514"/>
                  <a:gd name="connsiteX44" fmla="*/ 13337 w 167264"/>
                  <a:gd name="connsiteY44" fmla="*/ 77087 h 185514"/>
                  <a:gd name="connsiteX45" fmla="*/ 16329 w 167264"/>
                  <a:gd name="connsiteY45" fmla="*/ 61527 h 185514"/>
                  <a:gd name="connsiteX46" fmla="*/ 22750 w 167264"/>
                  <a:gd name="connsiteY46" fmla="*/ 63668 h 185514"/>
                  <a:gd name="connsiteX47" fmla="*/ 26373 w 167264"/>
                  <a:gd name="connsiteY47" fmla="*/ 62790 h 185514"/>
                  <a:gd name="connsiteX48" fmla="*/ 20802 w 167264"/>
                  <a:gd name="connsiteY48" fmla="*/ 58399 h 185514"/>
                  <a:gd name="connsiteX49" fmla="*/ 17234 w 167264"/>
                  <a:gd name="connsiteY49" fmla="*/ 52993 h 185514"/>
                  <a:gd name="connsiteX50" fmla="*/ 18908 w 167264"/>
                  <a:gd name="connsiteY50" fmla="*/ 51154 h 185514"/>
                  <a:gd name="connsiteX51" fmla="*/ 23711 w 167264"/>
                  <a:gd name="connsiteY51" fmla="*/ 51757 h 185514"/>
                  <a:gd name="connsiteX52" fmla="*/ 23464 w 167264"/>
                  <a:gd name="connsiteY52" fmla="*/ 41878 h 185514"/>
                  <a:gd name="connsiteX53" fmla="*/ 25687 w 167264"/>
                  <a:gd name="connsiteY53" fmla="*/ 36856 h 185514"/>
                  <a:gd name="connsiteX54" fmla="*/ 34057 w 167264"/>
                  <a:gd name="connsiteY54" fmla="*/ 40286 h 185514"/>
                  <a:gd name="connsiteX55" fmla="*/ 37130 w 167264"/>
                  <a:gd name="connsiteY55" fmla="*/ 38695 h 185514"/>
                  <a:gd name="connsiteX56" fmla="*/ 74206 w 167264"/>
                  <a:gd name="connsiteY56" fmla="*/ 38338 h 185514"/>
                  <a:gd name="connsiteX57" fmla="*/ 74865 w 167264"/>
                  <a:gd name="connsiteY57" fmla="*/ 4062 h 185514"/>
                  <a:gd name="connsiteX58" fmla="*/ 77115 w 167264"/>
                  <a:gd name="connsiteY58" fmla="*/ 494 h 185514"/>
                  <a:gd name="connsiteX59" fmla="*/ 84964 w 167264"/>
                  <a:gd name="connsiteY59" fmla="*/ 0 h 185514"/>
                  <a:gd name="connsiteX60" fmla="*/ 115837 w 167264"/>
                  <a:gd name="connsiteY60" fmla="*/ 2333 h 185514"/>
                  <a:gd name="connsiteX61" fmla="*/ 129998 w 167264"/>
                  <a:gd name="connsiteY61" fmla="*/ 1098 h 185514"/>
                  <a:gd name="connsiteX62" fmla="*/ 132632 w 167264"/>
                  <a:gd name="connsiteY62" fmla="*/ 4144 h 18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67264" h="185514">
                    <a:moveTo>
                      <a:pt x="132687" y="4171"/>
                    </a:moveTo>
                    <a:lnTo>
                      <a:pt x="128708" y="17646"/>
                    </a:lnTo>
                    <a:lnTo>
                      <a:pt x="131040" y="29419"/>
                    </a:lnTo>
                    <a:lnTo>
                      <a:pt x="151074" y="26647"/>
                    </a:lnTo>
                    <a:lnTo>
                      <a:pt x="156946" y="27333"/>
                    </a:lnTo>
                    <a:lnTo>
                      <a:pt x="161228" y="30215"/>
                    </a:lnTo>
                    <a:lnTo>
                      <a:pt x="166167" y="39463"/>
                    </a:lnTo>
                    <a:lnTo>
                      <a:pt x="163917" y="47998"/>
                    </a:lnTo>
                    <a:lnTo>
                      <a:pt x="157276" y="52938"/>
                    </a:lnTo>
                    <a:lnTo>
                      <a:pt x="155876" y="53953"/>
                    </a:lnTo>
                    <a:lnTo>
                      <a:pt x="150991" y="64656"/>
                    </a:lnTo>
                    <a:lnTo>
                      <a:pt x="152226" y="74178"/>
                    </a:lnTo>
                    <a:lnTo>
                      <a:pt x="164575" y="82768"/>
                    </a:lnTo>
                    <a:lnTo>
                      <a:pt x="166853" y="86171"/>
                    </a:lnTo>
                    <a:lnTo>
                      <a:pt x="165893" y="95776"/>
                    </a:lnTo>
                    <a:lnTo>
                      <a:pt x="167265" y="109991"/>
                    </a:lnTo>
                    <a:lnTo>
                      <a:pt x="164878" y="121353"/>
                    </a:lnTo>
                    <a:lnTo>
                      <a:pt x="155931" y="139657"/>
                    </a:lnTo>
                    <a:lnTo>
                      <a:pt x="150772" y="139054"/>
                    </a:lnTo>
                    <a:lnTo>
                      <a:pt x="146573" y="131424"/>
                    </a:lnTo>
                    <a:lnTo>
                      <a:pt x="138121" y="138861"/>
                    </a:lnTo>
                    <a:lnTo>
                      <a:pt x="127253" y="136941"/>
                    </a:lnTo>
                    <a:lnTo>
                      <a:pt x="118444" y="125003"/>
                    </a:lnTo>
                    <a:lnTo>
                      <a:pt x="112571" y="123274"/>
                    </a:lnTo>
                    <a:lnTo>
                      <a:pt x="108620" y="125112"/>
                    </a:lnTo>
                    <a:lnTo>
                      <a:pt x="109690" y="132824"/>
                    </a:lnTo>
                    <a:lnTo>
                      <a:pt x="106726" y="138806"/>
                    </a:lnTo>
                    <a:lnTo>
                      <a:pt x="93498" y="137873"/>
                    </a:lnTo>
                    <a:lnTo>
                      <a:pt x="84744" y="139081"/>
                    </a:lnTo>
                    <a:lnTo>
                      <a:pt x="84744" y="149016"/>
                    </a:lnTo>
                    <a:lnTo>
                      <a:pt x="94459" y="156535"/>
                    </a:lnTo>
                    <a:lnTo>
                      <a:pt x="94075" y="168692"/>
                    </a:lnTo>
                    <a:lnTo>
                      <a:pt x="90205" y="176102"/>
                    </a:lnTo>
                    <a:lnTo>
                      <a:pt x="81670" y="173056"/>
                    </a:lnTo>
                    <a:lnTo>
                      <a:pt x="76182" y="174867"/>
                    </a:lnTo>
                    <a:lnTo>
                      <a:pt x="70940" y="185514"/>
                    </a:lnTo>
                    <a:lnTo>
                      <a:pt x="56094" y="170421"/>
                    </a:lnTo>
                    <a:lnTo>
                      <a:pt x="52252" y="163807"/>
                    </a:lnTo>
                    <a:lnTo>
                      <a:pt x="25687" y="139740"/>
                    </a:lnTo>
                    <a:lnTo>
                      <a:pt x="15341" y="124371"/>
                    </a:lnTo>
                    <a:lnTo>
                      <a:pt x="9605" y="110074"/>
                    </a:lnTo>
                    <a:lnTo>
                      <a:pt x="0" y="91632"/>
                    </a:lnTo>
                    <a:lnTo>
                      <a:pt x="9221" y="86912"/>
                    </a:lnTo>
                    <a:lnTo>
                      <a:pt x="12157" y="83344"/>
                    </a:lnTo>
                    <a:lnTo>
                      <a:pt x="13337" y="77087"/>
                    </a:lnTo>
                    <a:lnTo>
                      <a:pt x="16329" y="61527"/>
                    </a:lnTo>
                    <a:lnTo>
                      <a:pt x="22750" y="63668"/>
                    </a:lnTo>
                    <a:lnTo>
                      <a:pt x="26373" y="62790"/>
                    </a:lnTo>
                    <a:lnTo>
                      <a:pt x="20802" y="58399"/>
                    </a:lnTo>
                    <a:lnTo>
                      <a:pt x="17234" y="52993"/>
                    </a:lnTo>
                    <a:lnTo>
                      <a:pt x="18908" y="51154"/>
                    </a:lnTo>
                    <a:lnTo>
                      <a:pt x="23711" y="51757"/>
                    </a:lnTo>
                    <a:lnTo>
                      <a:pt x="23464" y="41878"/>
                    </a:lnTo>
                    <a:lnTo>
                      <a:pt x="25687" y="36856"/>
                    </a:lnTo>
                    <a:lnTo>
                      <a:pt x="34057" y="40286"/>
                    </a:lnTo>
                    <a:lnTo>
                      <a:pt x="37130" y="38695"/>
                    </a:lnTo>
                    <a:lnTo>
                      <a:pt x="74206" y="38338"/>
                    </a:lnTo>
                    <a:lnTo>
                      <a:pt x="74865" y="4062"/>
                    </a:lnTo>
                    <a:lnTo>
                      <a:pt x="77115" y="494"/>
                    </a:lnTo>
                    <a:lnTo>
                      <a:pt x="84964" y="0"/>
                    </a:lnTo>
                    <a:lnTo>
                      <a:pt x="115837" y="2333"/>
                    </a:lnTo>
                    <a:lnTo>
                      <a:pt x="129998" y="1098"/>
                    </a:lnTo>
                    <a:lnTo>
                      <a:pt x="132632" y="41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2" name="Freeform: Shape 3881">
                <a:extLst>
                  <a:ext uri="{FF2B5EF4-FFF2-40B4-BE49-F238E27FC236}">
                    <a16:creationId xmlns:a16="http://schemas.microsoft.com/office/drawing/2014/main" id="{10920478-AFDF-D355-7008-F679EA6CE530}"/>
                  </a:ext>
                </a:extLst>
              </p:cNvPr>
              <p:cNvSpPr/>
              <p:nvPr/>
            </p:nvSpPr>
            <p:spPr>
              <a:xfrm>
                <a:off x="1175920" y="3806628"/>
                <a:ext cx="498" cy="710"/>
              </a:xfrm>
              <a:custGeom>
                <a:avLst/>
                <a:gdLst>
                  <a:gd name="connsiteX0" fmla="*/ 0 w 4775"/>
                  <a:gd name="connsiteY0" fmla="*/ 6806 h 6805"/>
                  <a:gd name="connsiteX1" fmla="*/ 55 w 4775"/>
                  <a:gd name="connsiteY1" fmla="*/ 4583 h 6805"/>
                  <a:gd name="connsiteX2" fmla="*/ 1208 w 4775"/>
                  <a:gd name="connsiteY2" fmla="*/ 1564 h 6805"/>
                  <a:gd name="connsiteX3" fmla="*/ 3101 w 4775"/>
                  <a:gd name="connsiteY3" fmla="*/ 0 h 6805"/>
                  <a:gd name="connsiteX4" fmla="*/ 4775 w 4775"/>
                  <a:gd name="connsiteY4" fmla="*/ 576 h 6805"/>
                  <a:gd name="connsiteX5" fmla="*/ 4775 w 4775"/>
                  <a:gd name="connsiteY5" fmla="*/ 3403 h 6805"/>
                  <a:gd name="connsiteX6" fmla="*/ 3485 w 4775"/>
                  <a:gd name="connsiteY6" fmla="*/ 6202 h 6805"/>
                  <a:gd name="connsiteX7" fmla="*/ 0 w 4775"/>
                  <a:gd name="connsiteY7" fmla="*/ 6806 h 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75" h="6805">
                    <a:moveTo>
                      <a:pt x="0" y="6806"/>
                    </a:moveTo>
                    <a:lnTo>
                      <a:pt x="55" y="4583"/>
                    </a:lnTo>
                    <a:lnTo>
                      <a:pt x="1208" y="1564"/>
                    </a:lnTo>
                    <a:lnTo>
                      <a:pt x="3101" y="0"/>
                    </a:lnTo>
                    <a:lnTo>
                      <a:pt x="4775" y="576"/>
                    </a:lnTo>
                    <a:lnTo>
                      <a:pt x="4775" y="3403"/>
                    </a:lnTo>
                    <a:cubicBezTo>
                      <a:pt x="4775" y="3403"/>
                      <a:pt x="3485" y="6202"/>
                      <a:pt x="3485" y="6202"/>
                    </a:cubicBezTo>
                    <a:lnTo>
                      <a:pt x="0" y="68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3" name="Freeform: Shape 3882">
                <a:extLst>
                  <a:ext uri="{FF2B5EF4-FFF2-40B4-BE49-F238E27FC236}">
                    <a16:creationId xmlns:a16="http://schemas.microsoft.com/office/drawing/2014/main" id="{7DF3A292-369D-522E-A6C1-B312624C93EA}"/>
                  </a:ext>
                </a:extLst>
              </p:cNvPr>
              <p:cNvSpPr/>
              <p:nvPr/>
            </p:nvSpPr>
            <p:spPr>
              <a:xfrm>
                <a:off x="1488123" y="3695696"/>
                <a:ext cx="20454" cy="10267"/>
              </a:xfrm>
              <a:custGeom>
                <a:avLst/>
                <a:gdLst>
                  <a:gd name="connsiteX0" fmla="*/ 188616 w 196107"/>
                  <a:gd name="connsiteY0" fmla="*/ 66467 h 98437"/>
                  <a:gd name="connsiteX1" fmla="*/ 182249 w 196107"/>
                  <a:gd name="connsiteY1" fmla="*/ 72587 h 98437"/>
                  <a:gd name="connsiteX2" fmla="*/ 181974 w 196107"/>
                  <a:gd name="connsiteY2" fmla="*/ 75770 h 98437"/>
                  <a:gd name="connsiteX3" fmla="*/ 196107 w 196107"/>
                  <a:gd name="connsiteY3" fmla="*/ 89766 h 98437"/>
                  <a:gd name="connsiteX4" fmla="*/ 194104 w 196107"/>
                  <a:gd name="connsiteY4" fmla="*/ 97176 h 98437"/>
                  <a:gd name="connsiteX5" fmla="*/ 190591 w 196107"/>
                  <a:gd name="connsiteY5" fmla="*/ 98438 h 98437"/>
                  <a:gd name="connsiteX6" fmla="*/ 183456 w 196107"/>
                  <a:gd name="connsiteY6" fmla="*/ 94843 h 98437"/>
                  <a:gd name="connsiteX7" fmla="*/ 173687 w 196107"/>
                  <a:gd name="connsiteY7" fmla="*/ 94102 h 98437"/>
                  <a:gd name="connsiteX8" fmla="*/ 166085 w 196107"/>
                  <a:gd name="connsiteY8" fmla="*/ 87626 h 98437"/>
                  <a:gd name="connsiteX9" fmla="*/ 156315 w 196107"/>
                  <a:gd name="connsiteY9" fmla="*/ 84113 h 98437"/>
                  <a:gd name="connsiteX10" fmla="*/ 147204 w 196107"/>
                  <a:gd name="connsiteY10" fmla="*/ 90397 h 98437"/>
                  <a:gd name="connsiteX11" fmla="*/ 135129 w 196107"/>
                  <a:gd name="connsiteY11" fmla="*/ 93690 h 98437"/>
                  <a:gd name="connsiteX12" fmla="*/ 132165 w 196107"/>
                  <a:gd name="connsiteY12" fmla="*/ 94486 h 98437"/>
                  <a:gd name="connsiteX13" fmla="*/ 123329 w 196107"/>
                  <a:gd name="connsiteY13" fmla="*/ 92922 h 98437"/>
                  <a:gd name="connsiteX14" fmla="*/ 119926 w 196107"/>
                  <a:gd name="connsiteY14" fmla="*/ 94047 h 98437"/>
                  <a:gd name="connsiteX15" fmla="*/ 110128 w 196107"/>
                  <a:gd name="connsiteY15" fmla="*/ 97231 h 98437"/>
                  <a:gd name="connsiteX16" fmla="*/ 101923 w 196107"/>
                  <a:gd name="connsiteY16" fmla="*/ 97121 h 98437"/>
                  <a:gd name="connsiteX17" fmla="*/ 99837 w 196107"/>
                  <a:gd name="connsiteY17" fmla="*/ 94541 h 98437"/>
                  <a:gd name="connsiteX18" fmla="*/ 95007 w 196107"/>
                  <a:gd name="connsiteY18" fmla="*/ 94431 h 98437"/>
                  <a:gd name="connsiteX19" fmla="*/ 92784 w 196107"/>
                  <a:gd name="connsiteY19" fmla="*/ 89903 h 98437"/>
                  <a:gd name="connsiteX20" fmla="*/ 82933 w 196107"/>
                  <a:gd name="connsiteY20" fmla="*/ 82356 h 98437"/>
                  <a:gd name="connsiteX21" fmla="*/ 81999 w 196107"/>
                  <a:gd name="connsiteY21" fmla="*/ 79008 h 98437"/>
                  <a:gd name="connsiteX22" fmla="*/ 76703 w 196107"/>
                  <a:gd name="connsiteY22" fmla="*/ 79283 h 98437"/>
                  <a:gd name="connsiteX23" fmla="*/ 73739 w 196107"/>
                  <a:gd name="connsiteY23" fmla="*/ 84799 h 98437"/>
                  <a:gd name="connsiteX24" fmla="*/ 72312 w 196107"/>
                  <a:gd name="connsiteY24" fmla="*/ 84387 h 98437"/>
                  <a:gd name="connsiteX25" fmla="*/ 63777 w 196107"/>
                  <a:gd name="connsiteY25" fmla="*/ 82027 h 98437"/>
                  <a:gd name="connsiteX26" fmla="*/ 57356 w 196107"/>
                  <a:gd name="connsiteY26" fmla="*/ 81945 h 98437"/>
                  <a:gd name="connsiteX27" fmla="*/ 53184 w 196107"/>
                  <a:gd name="connsiteY27" fmla="*/ 84387 h 98437"/>
                  <a:gd name="connsiteX28" fmla="*/ 45226 w 196107"/>
                  <a:gd name="connsiteY28" fmla="*/ 81561 h 98437"/>
                  <a:gd name="connsiteX29" fmla="*/ 47476 w 196107"/>
                  <a:gd name="connsiteY29" fmla="*/ 77581 h 98437"/>
                  <a:gd name="connsiteX30" fmla="*/ 48519 w 196107"/>
                  <a:gd name="connsiteY30" fmla="*/ 75743 h 98437"/>
                  <a:gd name="connsiteX31" fmla="*/ 51511 w 196107"/>
                  <a:gd name="connsiteY31" fmla="*/ 70501 h 98437"/>
                  <a:gd name="connsiteX32" fmla="*/ 51263 w 196107"/>
                  <a:gd name="connsiteY32" fmla="*/ 63256 h 98437"/>
                  <a:gd name="connsiteX33" fmla="*/ 45775 w 196107"/>
                  <a:gd name="connsiteY33" fmla="*/ 46735 h 98437"/>
                  <a:gd name="connsiteX34" fmla="*/ 42701 w 196107"/>
                  <a:gd name="connsiteY34" fmla="*/ 37487 h 98437"/>
                  <a:gd name="connsiteX35" fmla="*/ 41521 w 196107"/>
                  <a:gd name="connsiteY35" fmla="*/ 33865 h 98437"/>
                  <a:gd name="connsiteX36" fmla="*/ 33728 w 196107"/>
                  <a:gd name="connsiteY36" fmla="*/ 30078 h 98437"/>
                  <a:gd name="connsiteX37" fmla="*/ 26126 w 196107"/>
                  <a:gd name="connsiteY37" fmla="*/ 20966 h 98437"/>
                  <a:gd name="connsiteX38" fmla="*/ 10016 w 196107"/>
                  <a:gd name="connsiteY38" fmla="*/ 16164 h 98437"/>
                  <a:gd name="connsiteX39" fmla="*/ 5900 w 196107"/>
                  <a:gd name="connsiteY39" fmla="*/ 10099 h 98437"/>
                  <a:gd name="connsiteX40" fmla="*/ 0 w 196107"/>
                  <a:gd name="connsiteY40" fmla="*/ 7190 h 98437"/>
                  <a:gd name="connsiteX41" fmla="*/ 3183 w 196107"/>
                  <a:gd name="connsiteY41" fmla="*/ 2058 h 98437"/>
                  <a:gd name="connsiteX42" fmla="*/ 4473 w 196107"/>
                  <a:gd name="connsiteY42" fmla="*/ 0 h 98437"/>
                  <a:gd name="connsiteX43" fmla="*/ 18442 w 196107"/>
                  <a:gd name="connsiteY43" fmla="*/ 522 h 98437"/>
                  <a:gd name="connsiteX44" fmla="*/ 22037 w 196107"/>
                  <a:gd name="connsiteY44" fmla="*/ 2086 h 98437"/>
                  <a:gd name="connsiteX45" fmla="*/ 47998 w 196107"/>
                  <a:gd name="connsiteY45" fmla="*/ 13420 h 98437"/>
                  <a:gd name="connsiteX46" fmla="*/ 70418 w 196107"/>
                  <a:gd name="connsiteY46" fmla="*/ 13338 h 98437"/>
                  <a:gd name="connsiteX47" fmla="*/ 72257 w 196107"/>
                  <a:gd name="connsiteY47" fmla="*/ 14161 h 98437"/>
                  <a:gd name="connsiteX48" fmla="*/ 77004 w 196107"/>
                  <a:gd name="connsiteY48" fmla="*/ 16301 h 98437"/>
                  <a:gd name="connsiteX49" fmla="*/ 83234 w 196107"/>
                  <a:gd name="connsiteY49" fmla="*/ 16109 h 98437"/>
                  <a:gd name="connsiteX50" fmla="*/ 93608 w 196107"/>
                  <a:gd name="connsiteY50" fmla="*/ 24918 h 98437"/>
                  <a:gd name="connsiteX51" fmla="*/ 95502 w 196107"/>
                  <a:gd name="connsiteY51" fmla="*/ 25769 h 98437"/>
                  <a:gd name="connsiteX52" fmla="*/ 108921 w 196107"/>
                  <a:gd name="connsiteY52" fmla="*/ 31779 h 98437"/>
                  <a:gd name="connsiteX53" fmla="*/ 110787 w 196107"/>
                  <a:gd name="connsiteY53" fmla="*/ 37460 h 98437"/>
                  <a:gd name="connsiteX54" fmla="*/ 111583 w 196107"/>
                  <a:gd name="connsiteY54" fmla="*/ 38667 h 98437"/>
                  <a:gd name="connsiteX55" fmla="*/ 115206 w 196107"/>
                  <a:gd name="connsiteY55" fmla="*/ 40067 h 98437"/>
                  <a:gd name="connsiteX56" fmla="*/ 121956 w 196107"/>
                  <a:gd name="connsiteY56" fmla="*/ 37460 h 98437"/>
                  <a:gd name="connsiteX57" fmla="*/ 123960 w 196107"/>
                  <a:gd name="connsiteY57" fmla="*/ 37460 h 98437"/>
                  <a:gd name="connsiteX58" fmla="*/ 123960 w 196107"/>
                  <a:gd name="connsiteY58" fmla="*/ 36664 h 98437"/>
                  <a:gd name="connsiteX59" fmla="*/ 133976 w 196107"/>
                  <a:gd name="connsiteY59" fmla="*/ 32630 h 98437"/>
                  <a:gd name="connsiteX60" fmla="*/ 138038 w 196107"/>
                  <a:gd name="connsiteY60" fmla="*/ 33261 h 98437"/>
                  <a:gd name="connsiteX61" fmla="*/ 141221 w 196107"/>
                  <a:gd name="connsiteY61" fmla="*/ 37405 h 98437"/>
                  <a:gd name="connsiteX62" fmla="*/ 144899 w 196107"/>
                  <a:gd name="connsiteY62" fmla="*/ 33096 h 98437"/>
                  <a:gd name="connsiteX63" fmla="*/ 151540 w 196107"/>
                  <a:gd name="connsiteY63" fmla="*/ 35100 h 98437"/>
                  <a:gd name="connsiteX64" fmla="*/ 153681 w 196107"/>
                  <a:gd name="connsiteY64" fmla="*/ 37487 h 98437"/>
                  <a:gd name="connsiteX65" fmla="*/ 157001 w 196107"/>
                  <a:gd name="connsiteY65" fmla="*/ 41192 h 98437"/>
                  <a:gd name="connsiteX66" fmla="*/ 165042 w 196107"/>
                  <a:gd name="connsiteY66" fmla="*/ 42564 h 98437"/>
                  <a:gd name="connsiteX67" fmla="*/ 168417 w 196107"/>
                  <a:gd name="connsiteY67" fmla="*/ 43168 h 98437"/>
                  <a:gd name="connsiteX68" fmla="*/ 168417 w 196107"/>
                  <a:gd name="connsiteY68" fmla="*/ 49535 h 98437"/>
                  <a:gd name="connsiteX69" fmla="*/ 165645 w 196107"/>
                  <a:gd name="connsiteY69" fmla="*/ 53953 h 98437"/>
                  <a:gd name="connsiteX70" fmla="*/ 182606 w 196107"/>
                  <a:gd name="connsiteY70" fmla="*/ 63256 h 98437"/>
                  <a:gd name="connsiteX71" fmla="*/ 188451 w 196107"/>
                  <a:gd name="connsiteY71" fmla="*/ 66412 h 98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96107" h="98437">
                    <a:moveTo>
                      <a:pt x="188616" y="66467"/>
                    </a:moveTo>
                    <a:lnTo>
                      <a:pt x="182249" y="72587"/>
                    </a:lnTo>
                    <a:lnTo>
                      <a:pt x="181974" y="75770"/>
                    </a:lnTo>
                    <a:lnTo>
                      <a:pt x="196107" y="89766"/>
                    </a:lnTo>
                    <a:lnTo>
                      <a:pt x="194104" y="97176"/>
                    </a:lnTo>
                    <a:lnTo>
                      <a:pt x="190591" y="98438"/>
                    </a:lnTo>
                    <a:lnTo>
                      <a:pt x="183456" y="94843"/>
                    </a:lnTo>
                    <a:lnTo>
                      <a:pt x="173687" y="94102"/>
                    </a:lnTo>
                    <a:lnTo>
                      <a:pt x="166085" y="87626"/>
                    </a:lnTo>
                    <a:lnTo>
                      <a:pt x="156315" y="84113"/>
                    </a:lnTo>
                    <a:lnTo>
                      <a:pt x="147204" y="90397"/>
                    </a:lnTo>
                    <a:lnTo>
                      <a:pt x="135129" y="93690"/>
                    </a:lnTo>
                    <a:lnTo>
                      <a:pt x="132165" y="94486"/>
                    </a:lnTo>
                    <a:lnTo>
                      <a:pt x="123329" y="92922"/>
                    </a:lnTo>
                    <a:lnTo>
                      <a:pt x="119926" y="94047"/>
                    </a:lnTo>
                    <a:lnTo>
                      <a:pt x="110128" y="97231"/>
                    </a:lnTo>
                    <a:lnTo>
                      <a:pt x="101923" y="97121"/>
                    </a:lnTo>
                    <a:lnTo>
                      <a:pt x="99837" y="94541"/>
                    </a:lnTo>
                    <a:lnTo>
                      <a:pt x="95007" y="94431"/>
                    </a:lnTo>
                    <a:lnTo>
                      <a:pt x="92784" y="89903"/>
                    </a:lnTo>
                    <a:lnTo>
                      <a:pt x="82933" y="82356"/>
                    </a:lnTo>
                    <a:lnTo>
                      <a:pt x="81999" y="79008"/>
                    </a:lnTo>
                    <a:lnTo>
                      <a:pt x="76703" y="79283"/>
                    </a:lnTo>
                    <a:lnTo>
                      <a:pt x="73739" y="84799"/>
                    </a:lnTo>
                    <a:lnTo>
                      <a:pt x="72312" y="84387"/>
                    </a:lnTo>
                    <a:lnTo>
                      <a:pt x="63777" y="82027"/>
                    </a:lnTo>
                    <a:lnTo>
                      <a:pt x="57356" y="81945"/>
                    </a:lnTo>
                    <a:lnTo>
                      <a:pt x="53184" y="84387"/>
                    </a:lnTo>
                    <a:lnTo>
                      <a:pt x="45226" y="81561"/>
                    </a:lnTo>
                    <a:lnTo>
                      <a:pt x="47476" y="77581"/>
                    </a:lnTo>
                    <a:lnTo>
                      <a:pt x="48519" y="75743"/>
                    </a:lnTo>
                    <a:lnTo>
                      <a:pt x="51511" y="70501"/>
                    </a:lnTo>
                    <a:lnTo>
                      <a:pt x="51263" y="63256"/>
                    </a:lnTo>
                    <a:lnTo>
                      <a:pt x="45775" y="46735"/>
                    </a:lnTo>
                    <a:lnTo>
                      <a:pt x="42701" y="37487"/>
                    </a:lnTo>
                    <a:lnTo>
                      <a:pt x="41521" y="33865"/>
                    </a:lnTo>
                    <a:lnTo>
                      <a:pt x="33728" y="30078"/>
                    </a:lnTo>
                    <a:lnTo>
                      <a:pt x="26126" y="20966"/>
                    </a:lnTo>
                    <a:lnTo>
                      <a:pt x="10016" y="16164"/>
                    </a:lnTo>
                    <a:lnTo>
                      <a:pt x="5900" y="10099"/>
                    </a:lnTo>
                    <a:lnTo>
                      <a:pt x="0" y="7190"/>
                    </a:lnTo>
                    <a:lnTo>
                      <a:pt x="3183" y="2058"/>
                    </a:lnTo>
                    <a:lnTo>
                      <a:pt x="4473" y="0"/>
                    </a:lnTo>
                    <a:lnTo>
                      <a:pt x="18442" y="522"/>
                    </a:lnTo>
                    <a:lnTo>
                      <a:pt x="22037" y="2086"/>
                    </a:lnTo>
                    <a:lnTo>
                      <a:pt x="47998" y="13420"/>
                    </a:lnTo>
                    <a:lnTo>
                      <a:pt x="70418" y="13338"/>
                    </a:lnTo>
                    <a:lnTo>
                      <a:pt x="72257" y="14161"/>
                    </a:lnTo>
                    <a:lnTo>
                      <a:pt x="77004" y="16301"/>
                    </a:lnTo>
                    <a:lnTo>
                      <a:pt x="83234" y="16109"/>
                    </a:lnTo>
                    <a:lnTo>
                      <a:pt x="93608" y="24918"/>
                    </a:lnTo>
                    <a:lnTo>
                      <a:pt x="95502" y="25769"/>
                    </a:lnTo>
                    <a:lnTo>
                      <a:pt x="108921" y="31779"/>
                    </a:lnTo>
                    <a:lnTo>
                      <a:pt x="110787" y="37460"/>
                    </a:lnTo>
                    <a:lnTo>
                      <a:pt x="111583" y="38667"/>
                    </a:lnTo>
                    <a:lnTo>
                      <a:pt x="115206" y="40067"/>
                    </a:lnTo>
                    <a:lnTo>
                      <a:pt x="121956" y="37460"/>
                    </a:lnTo>
                    <a:lnTo>
                      <a:pt x="123960" y="37460"/>
                    </a:lnTo>
                    <a:lnTo>
                      <a:pt x="123960" y="36664"/>
                    </a:lnTo>
                    <a:lnTo>
                      <a:pt x="133976" y="32630"/>
                    </a:lnTo>
                    <a:lnTo>
                      <a:pt x="138038" y="33261"/>
                    </a:lnTo>
                    <a:lnTo>
                      <a:pt x="141221" y="37405"/>
                    </a:lnTo>
                    <a:lnTo>
                      <a:pt x="144899" y="33096"/>
                    </a:lnTo>
                    <a:lnTo>
                      <a:pt x="151540" y="35100"/>
                    </a:lnTo>
                    <a:lnTo>
                      <a:pt x="153681" y="37487"/>
                    </a:lnTo>
                    <a:lnTo>
                      <a:pt x="157001" y="41192"/>
                    </a:lnTo>
                    <a:lnTo>
                      <a:pt x="165042" y="42564"/>
                    </a:lnTo>
                    <a:lnTo>
                      <a:pt x="168417" y="43168"/>
                    </a:lnTo>
                    <a:lnTo>
                      <a:pt x="168417" y="49535"/>
                    </a:lnTo>
                    <a:cubicBezTo>
                      <a:pt x="168417" y="49535"/>
                      <a:pt x="165645" y="53953"/>
                      <a:pt x="165645" y="53953"/>
                    </a:cubicBezTo>
                    <a:lnTo>
                      <a:pt x="182606" y="63256"/>
                    </a:lnTo>
                    <a:lnTo>
                      <a:pt x="188451" y="664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4" name="Freeform: Shape 3883">
                <a:extLst>
                  <a:ext uri="{FF2B5EF4-FFF2-40B4-BE49-F238E27FC236}">
                    <a16:creationId xmlns:a16="http://schemas.microsoft.com/office/drawing/2014/main" id="{61783B29-3B00-2E9F-7D48-A0F37B4F0239}"/>
                  </a:ext>
                </a:extLst>
              </p:cNvPr>
              <p:cNvSpPr/>
              <p:nvPr/>
            </p:nvSpPr>
            <p:spPr>
              <a:xfrm>
                <a:off x="1091292" y="3794761"/>
                <a:ext cx="19043" cy="9523"/>
              </a:xfrm>
              <a:custGeom>
                <a:avLst/>
                <a:gdLst>
                  <a:gd name="connsiteX0" fmla="*/ 102170 w 182578"/>
                  <a:gd name="connsiteY0" fmla="*/ 0 h 91302"/>
                  <a:gd name="connsiteX1" fmla="*/ 114574 w 182578"/>
                  <a:gd name="connsiteY1" fmla="*/ 3485 h 91302"/>
                  <a:gd name="connsiteX2" fmla="*/ 128598 w 182578"/>
                  <a:gd name="connsiteY2" fmla="*/ 604 h 91302"/>
                  <a:gd name="connsiteX3" fmla="*/ 149015 w 182578"/>
                  <a:gd name="connsiteY3" fmla="*/ 6120 h 91302"/>
                  <a:gd name="connsiteX4" fmla="*/ 157193 w 182578"/>
                  <a:gd name="connsiteY4" fmla="*/ 13584 h 91302"/>
                  <a:gd name="connsiteX5" fmla="*/ 154559 w 182578"/>
                  <a:gd name="connsiteY5" fmla="*/ 16493 h 91302"/>
                  <a:gd name="connsiteX6" fmla="*/ 154696 w 182578"/>
                  <a:gd name="connsiteY6" fmla="*/ 19100 h 91302"/>
                  <a:gd name="connsiteX7" fmla="*/ 158264 w 182578"/>
                  <a:gd name="connsiteY7" fmla="*/ 18469 h 91302"/>
                  <a:gd name="connsiteX8" fmla="*/ 165152 w 182578"/>
                  <a:gd name="connsiteY8" fmla="*/ 22942 h 91302"/>
                  <a:gd name="connsiteX9" fmla="*/ 168966 w 182578"/>
                  <a:gd name="connsiteY9" fmla="*/ 20774 h 91302"/>
                  <a:gd name="connsiteX10" fmla="*/ 173220 w 182578"/>
                  <a:gd name="connsiteY10" fmla="*/ 21927 h 91302"/>
                  <a:gd name="connsiteX11" fmla="*/ 182578 w 182578"/>
                  <a:gd name="connsiteY11" fmla="*/ 30242 h 91302"/>
                  <a:gd name="connsiteX12" fmla="*/ 174839 w 182578"/>
                  <a:gd name="connsiteY12" fmla="*/ 29885 h 91302"/>
                  <a:gd name="connsiteX13" fmla="*/ 162545 w 182578"/>
                  <a:gd name="connsiteY13" fmla="*/ 36801 h 91302"/>
                  <a:gd name="connsiteX14" fmla="*/ 150662 w 182578"/>
                  <a:gd name="connsiteY14" fmla="*/ 38338 h 91302"/>
                  <a:gd name="connsiteX15" fmla="*/ 143801 w 182578"/>
                  <a:gd name="connsiteY15" fmla="*/ 41356 h 91302"/>
                  <a:gd name="connsiteX16" fmla="*/ 137297 w 182578"/>
                  <a:gd name="connsiteY16" fmla="*/ 40286 h 91302"/>
                  <a:gd name="connsiteX17" fmla="*/ 134114 w 182578"/>
                  <a:gd name="connsiteY17" fmla="*/ 36389 h 91302"/>
                  <a:gd name="connsiteX18" fmla="*/ 131699 w 182578"/>
                  <a:gd name="connsiteY18" fmla="*/ 36005 h 91302"/>
                  <a:gd name="connsiteX19" fmla="*/ 124070 w 182578"/>
                  <a:gd name="connsiteY19" fmla="*/ 43826 h 91302"/>
                  <a:gd name="connsiteX20" fmla="*/ 121957 w 182578"/>
                  <a:gd name="connsiteY20" fmla="*/ 49013 h 91302"/>
                  <a:gd name="connsiteX21" fmla="*/ 122643 w 182578"/>
                  <a:gd name="connsiteY21" fmla="*/ 52279 h 91302"/>
                  <a:gd name="connsiteX22" fmla="*/ 117703 w 182578"/>
                  <a:gd name="connsiteY22" fmla="*/ 53678 h 91302"/>
                  <a:gd name="connsiteX23" fmla="*/ 114821 w 182578"/>
                  <a:gd name="connsiteY23" fmla="*/ 57301 h 91302"/>
                  <a:gd name="connsiteX24" fmla="*/ 106616 w 182578"/>
                  <a:gd name="connsiteY24" fmla="*/ 61664 h 91302"/>
                  <a:gd name="connsiteX25" fmla="*/ 105409 w 182578"/>
                  <a:gd name="connsiteY25" fmla="*/ 65122 h 91302"/>
                  <a:gd name="connsiteX26" fmla="*/ 99947 w 182578"/>
                  <a:gd name="connsiteY26" fmla="*/ 62323 h 91302"/>
                  <a:gd name="connsiteX27" fmla="*/ 97258 w 182578"/>
                  <a:gd name="connsiteY27" fmla="*/ 58701 h 91302"/>
                  <a:gd name="connsiteX28" fmla="*/ 88092 w 182578"/>
                  <a:gd name="connsiteY28" fmla="*/ 67400 h 91302"/>
                  <a:gd name="connsiteX29" fmla="*/ 78624 w 182578"/>
                  <a:gd name="connsiteY29" fmla="*/ 67098 h 91302"/>
                  <a:gd name="connsiteX30" fmla="*/ 75852 w 182578"/>
                  <a:gd name="connsiteY30" fmla="*/ 69595 h 91302"/>
                  <a:gd name="connsiteX31" fmla="*/ 77225 w 182578"/>
                  <a:gd name="connsiteY31" fmla="*/ 81835 h 91302"/>
                  <a:gd name="connsiteX32" fmla="*/ 72395 w 182578"/>
                  <a:gd name="connsiteY32" fmla="*/ 83042 h 91302"/>
                  <a:gd name="connsiteX33" fmla="*/ 71050 w 182578"/>
                  <a:gd name="connsiteY33" fmla="*/ 88229 h 91302"/>
                  <a:gd name="connsiteX34" fmla="*/ 68607 w 182578"/>
                  <a:gd name="connsiteY34" fmla="*/ 90589 h 91302"/>
                  <a:gd name="connsiteX35" fmla="*/ 60018 w 182578"/>
                  <a:gd name="connsiteY35" fmla="*/ 91303 h 91302"/>
                  <a:gd name="connsiteX36" fmla="*/ 54749 w 182578"/>
                  <a:gd name="connsiteY36" fmla="*/ 80298 h 91302"/>
                  <a:gd name="connsiteX37" fmla="*/ 51565 w 182578"/>
                  <a:gd name="connsiteY37" fmla="*/ 81780 h 91302"/>
                  <a:gd name="connsiteX38" fmla="*/ 50111 w 182578"/>
                  <a:gd name="connsiteY38" fmla="*/ 82411 h 91302"/>
                  <a:gd name="connsiteX39" fmla="*/ 50550 w 182578"/>
                  <a:gd name="connsiteY39" fmla="*/ 78624 h 91302"/>
                  <a:gd name="connsiteX40" fmla="*/ 45171 w 182578"/>
                  <a:gd name="connsiteY40" fmla="*/ 78459 h 91302"/>
                  <a:gd name="connsiteX41" fmla="*/ 47723 w 182578"/>
                  <a:gd name="connsiteY41" fmla="*/ 76484 h 91302"/>
                  <a:gd name="connsiteX42" fmla="*/ 46379 w 182578"/>
                  <a:gd name="connsiteY42" fmla="*/ 74398 h 91302"/>
                  <a:gd name="connsiteX43" fmla="*/ 47806 w 182578"/>
                  <a:gd name="connsiteY43" fmla="*/ 66631 h 91302"/>
                  <a:gd name="connsiteX44" fmla="*/ 46406 w 182578"/>
                  <a:gd name="connsiteY44" fmla="*/ 64601 h 91302"/>
                  <a:gd name="connsiteX45" fmla="*/ 39628 w 182578"/>
                  <a:gd name="connsiteY45" fmla="*/ 63832 h 91302"/>
                  <a:gd name="connsiteX46" fmla="*/ 35237 w 182578"/>
                  <a:gd name="connsiteY46" fmla="*/ 60786 h 91302"/>
                  <a:gd name="connsiteX47" fmla="*/ 26126 w 182578"/>
                  <a:gd name="connsiteY47" fmla="*/ 64518 h 91302"/>
                  <a:gd name="connsiteX48" fmla="*/ 24150 w 182578"/>
                  <a:gd name="connsiteY48" fmla="*/ 61280 h 91302"/>
                  <a:gd name="connsiteX49" fmla="*/ 10977 w 182578"/>
                  <a:gd name="connsiteY49" fmla="*/ 53568 h 91302"/>
                  <a:gd name="connsiteX50" fmla="*/ 7876 w 182578"/>
                  <a:gd name="connsiteY50" fmla="*/ 49233 h 91302"/>
                  <a:gd name="connsiteX51" fmla="*/ 0 w 182578"/>
                  <a:gd name="connsiteY51" fmla="*/ 47833 h 91302"/>
                  <a:gd name="connsiteX52" fmla="*/ 5818 w 182578"/>
                  <a:gd name="connsiteY52" fmla="*/ 41576 h 91302"/>
                  <a:gd name="connsiteX53" fmla="*/ 4281 w 182578"/>
                  <a:gd name="connsiteY53" fmla="*/ 34825 h 91302"/>
                  <a:gd name="connsiteX54" fmla="*/ 6175 w 182578"/>
                  <a:gd name="connsiteY54" fmla="*/ 28513 h 91302"/>
                  <a:gd name="connsiteX55" fmla="*/ 21790 w 182578"/>
                  <a:gd name="connsiteY55" fmla="*/ 17920 h 91302"/>
                  <a:gd name="connsiteX56" fmla="*/ 33261 w 182578"/>
                  <a:gd name="connsiteY56" fmla="*/ 8205 h 91302"/>
                  <a:gd name="connsiteX57" fmla="*/ 36307 w 182578"/>
                  <a:gd name="connsiteY57" fmla="*/ 8315 h 91302"/>
                  <a:gd name="connsiteX58" fmla="*/ 47065 w 182578"/>
                  <a:gd name="connsiteY58" fmla="*/ 2799 h 91302"/>
                  <a:gd name="connsiteX59" fmla="*/ 51565 w 182578"/>
                  <a:gd name="connsiteY59" fmla="*/ 4528 h 91302"/>
                  <a:gd name="connsiteX60" fmla="*/ 54447 w 182578"/>
                  <a:gd name="connsiteY60" fmla="*/ 5626 h 91302"/>
                  <a:gd name="connsiteX61" fmla="*/ 71654 w 182578"/>
                  <a:gd name="connsiteY61" fmla="*/ 6806 h 91302"/>
                  <a:gd name="connsiteX62" fmla="*/ 88147 w 182578"/>
                  <a:gd name="connsiteY62" fmla="*/ 5790 h 91302"/>
                  <a:gd name="connsiteX63" fmla="*/ 102170 w 182578"/>
                  <a:gd name="connsiteY63" fmla="*/ 55 h 9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82578" h="91302">
                    <a:moveTo>
                      <a:pt x="102170" y="0"/>
                    </a:moveTo>
                    <a:lnTo>
                      <a:pt x="114574" y="3485"/>
                    </a:lnTo>
                    <a:lnTo>
                      <a:pt x="128598" y="604"/>
                    </a:lnTo>
                    <a:lnTo>
                      <a:pt x="149015" y="6120"/>
                    </a:lnTo>
                    <a:lnTo>
                      <a:pt x="157193" y="13584"/>
                    </a:lnTo>
                    <a:lnTo>
                      <a:pt x="154559" y="16493"/>
                    </a:lnTo>
                    <a:lnTo>
                      <a:pt x="154696" y="19100"/>
                    </a:lnTo>
                    <a:lnTo>
                      <a:pt x="158264" y="18469"/>
                    </a:lnTo>
                    <a:lnTo>
                      <a:pt x="165152" y="22942"/>
                    </a:lnTo>
                    <a:lnTo>
                      <a:pt x="168966" y="20774"/>
                    </a:lnTo>
                    <a:lnTo>
                      <a:pt x="173220" y="21927"/>
                    </a:lnTo>
                    <a:lnTo>
                      <a:pt x="182578" y="30242"/>
                    </a:lnTo>
                    <a:lnTo>
                      <a:pt x="174839" y="29885"/>
                    </a:lnTo>
                    <a:lnTo>
                      <a:pt x="162545" y="36801"/>
                    </a:lnTo>
                    <a:lnTo>
                      <a:pt x="150662" y="38338"/>
                    </a:lnTo>
                    <a:lnTo>
                      <a:pt x="143801" y="41356"/>
                    </a:lnTo>
                    <a:lnTo>
                      <a:pt x="137297" y="40286"/>
                    </a:lnTo>
                    <a:lnTo>
                      <a:pt x="134114" y="36389"/>
                    </a:lnTo>
                    <a:lnTo>
                      <a:pt x="131699" y="36005"/>
                    </a:lnTo>
                    <a:lnTo>
                      <a:pt x="124070" y="43826"/>
                    </a:lnTo>
                    <a:lnTo>
                      <a:pt x="121957" y="49013"/>
                    </a:lnTo>
                    <a:lnTo>
                      <a:pt x="122643" y="52279"/>
                    </a:lnTo>
                    <a:lnTo>
                      <a:pt x="117703" y="53678"/>
                    </a:lnTo>
                    <a:lnTo>
                      <a:pt x="114821" y="57301"/>
                    </a:lnTo>
                    <a:lnTo>
                      <a:pt x="106616" y="61664"/>
                    </a:lnTo>
                    <a:lnTo>
                      <a:pt x="105409" y="65122"/>
                    </a:lnTo>
                    <a:lnTo>
                      <a:pt x="99947" y="62323"/>
                    </a:lnTo>
                    <a:lnTo>
                      <a:pt x="97258" y="58701"/>
                    </a:lnTo>
                    <a:lnTo>
                      <a:pt x="88092" y="67400"/>
                    </a:lnTo>
                    <a:lnTo>
                      <a:pt x="78624" y="67098"/>
                    </a:lnTo>
                    <a:lnTo>
                      <a:pt x="75852" y="69595"/>
                    </a:lnTo>
                    <a:lnTo>
                      <a:pt x="77225" y="81835"/>
                    </a:lnTo>
                    <a:lnTo>
                      <a:pt x="72395" y="83042"/>
                    </a:lnTo>
                    <a:lnTo>
                      <a:pt x="71050" y="88229"/>
                    </a:lnTo>
                    <a:lnTo>
                      <a:pt x="68607" y="90589"/>
                    </a:lnTo>
                    <a:lnTo>
                      <a:pt x="60018" y="91303"/>
                    </a:lnTo>
                    <a:lnTo>
                      <a:pt x="54749" y="80298"/>
                    </a:lnTo>
                    <a:lnTo>
                      <a:pt x="51565" y="81780"/>
                    </a:lnTo>
                    <a:lnTo>
                      <a:pt x="50111" y="82411"/>
                    </a:lnTo>
                    <a:lnTo>
                      <a:pt x="50550" y="78624"/>
                    </a:lnTo>
                    <a:lnTo>
                      <a:pt x="45171" y="78459"/>
                    </a:lnTo>
                    <a:lnTo>
                      <a:pt x="47723" y="76484"/>
                    </a:lnTo>
                    <a:lnTo>
                      <a:pt x="46379" y="74398"/>
                    </a:lnTo>
                    <a:lnTo>
                      <a:pt x="47806" y="66631"/>
                    </a:lnTo>
                    <a:lnTo>
                      <a:pt x="46406" y="64601"/>
                    </a:lnTo>
                    <a:lnTo>
                      <a:pt x="39628" y="63832"/>
                    </a:lnTo>
                    <a:lnTo>
                      <a:pt x="35237" y="60786"/>
                    </a:lnTo>
                    <a:lnTo>
                      <a:pt x="26126" y="64518"/>
                    </a:lnTo>
                    <a:lnTo>
                      <a:pt x="24150" y="61280"/>
                    </a:lnTo>
                    <a:lnTo>
                      <a:pt x="10977" y="53568"/>
                    </a:lnTo>
                    <a:lnTo>
                      <a:pt x="7876" y="49233"/>
                    </a:lnTo>
                    <a:lnTo>
                      <a:pt x="0" y="47833"/>
                    </a:lnTo>
                    <a:lnTo>
                      <a:pt x="5818" y="41576"/>
                    </a:lnTo>
                    <a:lnTo>
                      <a:pt x="4281" y="34825"/>
                    </a:lnTo>
                    <a:lnTo>
                      <a:pt x="6175" y="28513"/>
                    </a:lnTo>
                    <a:lnTo>
                      <a:pt x="21790" y="17920"/>
                    </a:lnTo>
                    <a:lnTo>
                      <a:pt x="33261" y="8205"/>
                    </a:lnTo>
                    <a:lnTo>
                      <a:pt x="36307" y="8315"/>
                    </a:lnTo>
                    <a:lnTo>
                      <a:pt x="47065" y="2799"/>
                    </a:lnTo>
                    <a:lnTo>
                      <a:pt x="51565" y="4528"/>
                    </a:lnTo>
                    <a:lnTo>
                      <a:pt x="54447" y="5626"/>
                    </a:lnTo>
                    <a:lnTo>
                      <a:pt x="71654" y="6806"/>
                    </a:lnTo>
                    <a:lnTo>
                      <a:pt x="88147" y="5790"/>
                    </a:lnTo>
                    <a:lnTo>
                      <a:pt x="102170" y="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5" name="Freeform: Shape 3884">
                <a:extLst>
                  <a:ext uri="{FF2B5EF4-FFF2-40B4-BE49-F238E27FC236}">
                    <a16:creationId xmlns:a16="http://schemas.microsoft.com/office/drawing/2014/main" id="{C95647F9-C1D4-D9C8-F8EF-E6C114EC863B}"/>
                  </a:ext>
                </a:extLst>
              </p:cNvPr>
              <p:cNvSpPr/>
              <p:nvPr/>
            </p:nvSpPr>
            <p:spPr>
              <a:xfrm>
                <a:off x="1437588" y="3727241"/>
                <a:ext cx="8381" cy="2691"/>
              </a:xfrm>
              <a:custGeom>
                <a:avLst/>
                <a:gdLst>
                  <a:gd name="connsiteX0" fmla="*/ 6175 w 80353"/>
                  <a:gd name="connsiteY0" fmla="*/ 0 h 25796"/>
                  <a:gd name="connsiteX1" fmla="*/ 9139 w 80353"/>
                  <a:gd name="connsiteY1" fmla="*/ 4363 h 25796"/>
                  <a:gd name="connsiteX2" fmla="*/ 18497 w 80353"/>
                  <a:gd name="connsiteY2" fmla="*/ 2964 h 25796"/>
                  <a:gd name="connsiteX3" fmla="*/ 19320 w 80353"/>
                  <a:gd name="connsiteY3" fmla="*/ 6696 h 25796"/>
                  <a:gd name="connsiteX4" fmla="*/ 23024 w 80353"/>
                  <a:gd name="connsiteY4" fmla="*/ 10950 h 25796"/>
                  <a:gd name="connsiteX5" fmla="*/ 40972 w 80353"/>
                  <a:gd name="connsiteY5" fmla="*/ 9056 h 25796"/>
                  <a:gd name="connsiteX6" fmla="*/ 48025 w 80353"/>
                  <a:gd name="connsiteY6" fmla="*/ 11252 h 25796"/>
                  <a:gd name="connsiteX7" fmla="*/ 57520 w 80353"/>
                  <a:gd name="connsiteY7" fmla="*/ 12980 h 25796"/>
                  <a:gd name="connsiteX8" fmla="*/ 63420 w 80353"/>
                  <a:gd name="connsiteY8" fmla="*/ 12267 h 25796"/>
                  <a:gd name="connsiteX9" fmla="*/ 66247 w 80353"/>
                  <a:gd name="connsiteY9" fmla="*/ 19265 h 25796"/>
                  <a:gd name="connsiteX10" fmla="*/ 79091 w 80353"/>
                  <a:gd name="connsiteY10" fmla="*/ 15011 h 25796"/>
                  <a:gd name="connsiteX11" fmla="*/ 80353 w 80353"/>
                  <a:gd name="connsiteY11" fmla="*/ 17509 h 25796"/>
                  <a:gd name="connsiteX12" fmla="*/ 75797 w 80353"/>
                  <a:gd name="connsiteY12" fmla="*/ 23189 h 25796"/>
                  <a:gd name="connsiteX13" fmla="*/ 59277 w 80353"/>
                  <a:gd name="connsiteY13" fmla="*/ 24013 h 25796"/>
                  <a:gd name="connsiteX14" fmla="*/ 48025 w 80353"/>
                  <a:gd name="connsiteY14" fmla="*/ 25330 h 25796"/>
                  <a:gd name="connsiteX15" fmla="*/ 36773 w 80353"/>
                  <a:gd name="connsiteY15" fmla="*/ 25796 h 25796"/>
                  <a:gd name="connsiteX16" fmla="*/ 34935 w 80353"/>
                  <a:gd name="connsiteY16" fmla="*/ 20362 h 25796"/>
                  <a:gd name="connsiteX17" fmla="*/ 22147 w 80353"/>
                  <a:gd name="connsiteY17" fmla="*/ 17344 h 25796"/>
                  <a:gd name="connsiteX18" fmla="*/ 2223 w 80353"/>
                  <a:gd name="connsiteY18" fmla="*/ 15176 h 25796"/>
                  <a:gd name="connsiteX19" fmla="*/ 0 w 80353"/>
                  <a:gd name="connsiteY19" fmla="*/ 11581 h 25796"/>
                  <a:gd name="connsiteX20" fmla="*/ 1372 w 80353"/>
                  <a:gd name="connsiteY20" fmla="*/ 4803 h 25796"/>
                  <a:gd name="connsiteX21" fmla="*/ 4885 w 80353"/>
                  <a:gd name="connsiteY21" fmla="*/ 4967 h 25796"/>
                  <a:gd name="connsiteX22" fmla="*/ 6147 w 80353"/>
                  <a:gd name="connsiteY22" fmla="*/ 0 h 2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353" h="25796">
                    <a:moveTo>
                      <a:pt x="6175" y="0"/>
                    </a:moveTo>
                    <a:lnTo>
                      <a:pt x="9139" y="4363"/>
                    </a:lnTo>
                    <a:lnTo>
                      <a:pt x="18497" y="2964"/>
                    </a:lnTo>
                    <a:lnTo>
                      <a:pt x="19320" y="6696"/>
                    </a:lnTo>
                    <a:lnTo>
                      <a:pt x="23024" y="10950"/>
                    </a:lnTo>
                    <a:lnTo>
                      <a:pt x="40972" y="9056"/>
                    </a:lnTo>
                    <a:lnTo>
                      <a:pt x="48025" y="11252"/>
                    </a:lnTo>
                    <a:lnTo>
                      <a:pt x="57520" y="12980"/>
                    </a:lnTo>
                    <a:lnTo>
                      <a:pt x="63420" y="12267"/>
                    </a:lnTo>
                    <a:lnTo>
                      <a:pt x="66247" y="19265"/>
                    </a:lnTo>
                    <a:lnTo>
                      <a:pt x="79091" y="15011"/>
                    </a:lnTo>
                    <a:lnTo>
                      <a:pt x="80353" y="17509"/>
                    </a:lnTo>
                    <a:lnTo>
                      <a:pt x="75797" y="23189"/>
                    </a:lnTo>
                    <a:lnTo>
                      <a:pt x="59277" y="24013"/>
                    </a:lnTo>
                    <a:lnTo>
                      <a:pt x="48025" y="25330"/>
                    </a:lnTo>
                    <a:lnTo>
                      <a:pt x="36773" y="25796"/>
                    </a:lnTo>
                    <a:lnTo>
                      <a:pt x="34935" y="20362"/>
                    </a:lnTo>
                    <a:lnTo>
                      <a:pt x="22147" y="17344"/>
                    </a:lnTo>
                    <a:lnTo>
                      <a:pt x="2223" y="15176"/>
                    </a:lnTo>
                    <a:lnTo>
                      <a:pt x="0" y="11581"/>
                    </a:lnTo>
                    <a:lnTo>
                      <a:pt x="1372" y="4803"/>
                    </a:lnTo>
                    <a:lnTo>
                      <a:pt x="4885" y="4967"/>
                    </a:lnTo>
                    <a:lnTo>
                      <a:pt x="614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6" name="Freeform: Shape 3885">
                <a:extLst>
                  <a:ext uri="{FF2B5EF4-FFF2-40B4-BE49-F238E27FC236}">
                    <a16:creationId xmlns:a16="http://schemas.microsoft.com/office/drawing/2014/main" id="{BBD89C2E-3DE0-104C-DD2C-C1BF40B70053}"/>
                  </a:ext>
                </a:extLst>
              </p:cNvPr>
              <p:cNvSpPr/>
              <p:nvPr/>
            </p:nvSpPr>
            <p:spPr>
              <a:xfrm>
                <a:off x="1444715" y="3712829"/>
                <a:ext cx="2261" cy="1600"/>
              </a:xfrm>
              <a:custGeom>
                <a:avLst/>
                <a:gdLst>
                  <a:gd name="connsiteX0" fmla="*/ 16192 w 21680"/>
                  <a:gd name="connsiteY0" fmla="*/ 4363 h 15340"/>
                  <a:gd name="connsiteX1" fmla="*/ 21680 w 21680"/>
                  <a:gd name="connsiteY1" fmla="*/ 12816 h 15340"/>
                  <a:gd name="connsiteX2" fmla="*/ 19375 w 21680"/>
                  <a:gd name="connsiteY2" fmla="*/ 15341 h 15340"/>
                  <a:gd name="connsiteX3" fmla="*/ 9084 w 21680"/>
                  <a:gd name="connsiteY3" fmla="*/ 13447 h 15340"/>
                  <a:gd name="connsiteX4" fmla="*/ 9084 w 21680"/>
                  <a:gd name="connsiteY4" fmla="*/ 8644 h 15340"/>
                  <a:gd name="connsiteX5" fmla="*/ 5297 w 21680"/>
                  <a:gd name="connsiteY5" fmla="*/ 10812 h 15340"/>
                  <a:gd name="connsiteX6" fmla="*/ 0 w 21680"/>
                  <a:gd name="connsiteY6" fmla="*/ 7574 h 15340"/>
                  <a:gd name="connsiteX7" fmla="*/ 1372 w 21680"/>
                  <a:gd name="connsiteY7" fmla="*/ 4144 h 15340"/>
                  <a:gd name="connsiteX8" fmla="*/ 9221 w 21680"/>
                  <a:gd name="connsiteY8" fmla="*/ 2140 h 15340"/>
                  <a:gd name="connsiteX9" fmla="*/ 9742 w 21680"/>
                  <a:gd name="connsiteY9" fmla="*/ 357 h 15340"/>
                  <a:gd name="connsiteX10" fmla="*/ 14216 w 21680"/>
                  <a:gd name="connsiteY10" fmla="*/ 0 h 15340"/>
                  <a:gd name="connsiteX11" fmla="*/ 16521 w 21680"/>
                  <a:gd name="connsiteY11" fmla="*/ 2113 h 15340"/>
                  <a:gd name="connsiteX12" fmla="*/ 16192 w 21680"/>
                  <a:gd name="connsiteY12" fmla="*/ 4363 h 1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80" h="15340">
                    <a:moveTo>
                      <a:pt x="16192" y="4363"/>
                    </a:moveTo>
                    <a:lnTo>
                      <a:pt x="21680" y="12816"/>
                    </a:lnTo>
                    <a:lnTo>
                      <a:pt x="19375" y="15341"/>
                    </a:lnTo>
                    <a:lnTo>
                      <a:pt x="9084" y="13447"/>
                    </a:lnTo>
                    <a:lnTo>
                      <a:pt x="9084" y="8644"/>
                    </a:lnTo>
                    <a:lnTo>
                      <a:pt x="5297" y="10812"/>
                    </a:lnTo>
                    <a:lnTo>
                      <a:pt x="0" y="7574"/>
                    </a:lnTo>
                    <a:lnTo>
                      <a:pt x="1372" y="4144"/>
                    </a:lnTo>
                    <a:lnTo>
                      <a:pt x="9221" y="2140"/>
                    </a:lnTo>
                    <a:lnTo>
                      <a:pt x="9742" y="357"/>
                    </a:lnTo>
                    <a:lnTo>
                      <a:pt x="14216" y="0"/>
                    </a:lnTo>
                    <a:lnTo>
                      <a:pt x="16521" y="2113"/>
                    </a:lnTo>
                    <a:lnTo>
                      <a:pt x="16192" y="43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7" name="Freeform: Shape 3886">
                <a:extLst>
                  <a:ext uri="{FF2B5EF4-FFF2-40B4-BE49-F238E27FC236}">
                    <a16:creationId xmlns:a16="http://schemas.microsoft.com/office/drawing/2014/main" id="{F64A2DFA-787F-F19E-7E46-A0554B5E5822}"/>
                  </a:ext>
                </a:extLst>
              </p:cNvPr>
              <p:cNvSpPr/>
              <p:nvPr/>
            </p:nvSpPr>
            <p:spPr>
              <a:xfrm>
                <a:off x="1450451" y="3724325"/>
                <a:ext cx="1531" cy="1915"/>
              </a:xfrm>
              <a:custGeom>
                <a:avLst/>
                <a:gdLst>
                  <a:gd name="connsiteX0" fmla="*/ 4665 w 14682"/>
                  <a:gd name="connsiteY0" fmla="*/ 17042 h 18359"/>
                  <a:gd name="connsiteX1" fmla="*/ 494 w 14682"/>
                  <a:gd name="connsiteY1" fmla="*/ 18360 h 18359"/>
                  <a:gd name="connsiteX2" fmla="*/ 0 w 14682"/>
                  <a:gd name="connsiteY2" fmla="*/ 10154 h 18359"/>
                  <a:gd name="connsiteX3" fmla="*/ 4638 w 14682"/>
                  <a:gd name="connsiteY3" fmla="*/ 3678 h 18359"/>
                  <a:gd name="connsiteX4" fmla="*/ 12514 w 14682"/>
                  <a:gd name="connsiteY4" fmla="*/ 0 h 18359"/>
                  <a:gd name="connsiteX5" fmla="*/ 14682 w 14682"/>
                  <a:gd name="connsiteY5" fmla="*/ 878 h 18359"/>
                  <a:gd name="connsiteX6" fmla="*/ 10154 w 14682"/>
                  <a:gd name="connsiteY6" fmla="*/ 12734 h 18359"/>
                  <a:gd name="connsiteX7" fmla="*/ 4638 w 14682"/>
                  <a:gd name="connsiteY7" fmla="*/ 17015 h 1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82" h="18359">
                    <a:moveTo>
                      <a:pt x="4665" y="17042"/>
                    </a:moveTo>
                    <a:lnTo>
                      <a:pt x="494" y="18360"/>
                    </a:lnTo>
                    <a:lnTo>
                      <a:pt x="0" y="10154"/>
                    </a:lnTo>
                    <a:lnTo>
                      <a:pt x="4638" y="3678"/>
                    </a:lnTo>
                    <a:lnTo>
                      <a:pt x="12514" y="0"/>
                    </a:lnTo>
                    <a:lnTo>
                      <a:pt x="14682" y="878"/>
                    </a:lnTo>
                    <a:lnTo>
                      <a:pt x="10154" y="12734"/>
                    </a:lnTo>
                    <a:lnTo>
                      <a:pt x="4638" y="170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8" name="Freeform: Shape 3887">
                <a:extLst>
                  <a:ext uri="{FF2B5EF4-FFF2-40B4-BE49-F238E27FC236}">
                    <a16:creationId xmlns:a16="http://schemas.microsoft.com/office/drawing/2014/main" id="{5E3A31CD-EDA1-0266-03A3-2F51E0434224}"/>
                  </a:ext>
                </a:extLst>
              </p:cNvPr>
              <p:cNvSpPr/>
              <p:nvPr/>
            </p:nvSpPr>
            <p:spPr>
              <a:xfrm>
                <a:off x="1444630" y="3715892"/>
                <a:ext cx="1030" cy="1795"/>
              </a:xfrm>
              <a:custGeom>
                <a:avLst/>
                <a:gdLst>
                  <a:gd name="connsiteX0" fmla="*/ 5077 w 9879"/>
                  <a:gd name="connsiteY0" fmla="*/ 0 h 17206"/>
                  <a:gd name="connsiteX1" fmla="*/ 8370 w 9879"/>
                  <a:gd name="connsiteY1" fmla="*/ 2305 h 17206"/>
                  <a:gd name="connsiteX2" fmla="*/ 9879 w 9879"/>
                  <a:gd name="connsiteY2" fmla="*/ 1921 h 17206"/>
                  <a:gd name="connsiteX3" fmla="*/ 9001 w 9879"/>
                  <a:gd name="connsiteY3" fmla="*/ 7163 h 17206"/>
                  <a:gd name="connsiteX4" fmla="*/ 9659 w 9879"/>
                  <a:gd name="connsiteY4" fmla="*/ 11169 h 17206"/>
                  <a:gd name="connsiteX5" fmla="*/ 8096 w 9879"/>
                  <a:gd name="connsiteY5" fmla="*/ 12596 h 17206"/>
                  <a:gd name="connsiteX6" fmla="*/ 7931 w 9879"/>
                  <a:gd name="connsiteY6" fmla="*/ 14874 h 17206"/>
                  <a:gd name="connsiteX7" fmla="*/ 5324 w 9879"/>
                  <a:gd name="connsiteY7" fmla="*/ 17207 h 17206"/>
                  <a:gd name="connsiteX8" fmla="*/ 988 w 9879"/>
                  <a:gd name="connsiteY8" fmla="*/ 13639 h 17206"/>
                  <a:gd name="connsiteX9" fmla="*/ 4803 w 9879"/>
                  <a:gd name="connsiteY9" fmla="*/ 9907 h 17206"/>
                  <a:gd name="connsiteX10" fmla="*/ 4693 w 9879"/>
                  <a:gd name="connsiteY10" fmla="*/ 8178 h 17206"/>
                  <a:gd name="connsiteX11" fmla="*/ 0 w 9879"/>
                  <a:gd name="connsiteY11" fmla="*/ 2305 h 17206"/>
                  <a:gd name="connsiteX12" fmla="*/ 549 w 9879"/>
                  <a:gd name="connsiteY12" fmla="*/ 1125 h 17206"/>
                  <a:gd name="connsiteX13" fmla="*/ 5077 w 9879"/>
                  <a:gd name="connsiteY13" fmla="*/ 0 h 1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79" h="17206">
                    <a:moveTo>
                      <a:pt x="5077" y="0"/>
                    </a:moveTo>
                    <a:lnTo>
                      <a:pt x="8370" y="2305"/>
                    </a:lnTo>
                    <a:lnTo>
                      <a:pt x="9879" y="1921"/>
                    </a:lnTo>
                    <a:lnTo>
                      <a:pt x="9001" y="7163"/>
                    </a:lnTo>
                    <a:lnTo>
                      <a:pt x="9659" y="11169"/>
                    </a:lnTo>
                    <a:lnTo>
                      <a:pt x="8096" y="12596"/>
                    </a:lnTo>
                    <a:lnTo>
                      <a:pt x="7931" y="14874"/>
                    </a:lnTo>
                    <a:lnTo>
                      <a:pt x="5324" y="17207"/>
                    </a:lnTo>
                    <a:lnTo>
                      <a:pt x="988" y="13639"/>
                    </a:lnTo>
                    <a:lnTo>
                      <a:pt x="4803" y="9907"/>
                    </a:lnTo>
                    <a:lnTo>
                      <a:pt x="4693" y="8178"/>
                    </a:lnTo>
                    <a:lnTo>
                      <a:pt x="0" y="2305"/>
                    </a:lnTo>
                    <a:lnTo>
                      <a:pt x="549" y="1125"/>
                    </a:lnTo>
                    <a:lnTo>
                      <a:pt x="507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89" name="Freeform: Shape 3888">
                <a:extLst>
                  <a:ext uri="{FF2B5EF4-FFF2-40B4-BE49-F238E27FC236}">
                    <a16:creationId xmlns:a16="http://schemas.microsoft.com/office/drawing/2014/main" id="{DF453B3A-F04A-742F-200C-8AD77A452D99}"/>
                  </a:ext>
                </a:extLst>
              </p:cNvPr>
              <p:cNvSpPr/>
              <p:nvPr/>
            </p:nvSpPr>
            <p:spPr>
              <a:xfrm>
                <a:off x="1428683" y="3718571"/>
                <a:ext cx="819" cy="999"/>
              </a:xfrm>
              <a:custGeom>
                <a:avLst/>
                <a:gdLst>
                  <a:gd name="connsiteX0" fmla="*/ 7822 w 7848"/>
                  <a:gd name="connsiteY0" fmla="*/ 6614 h 9577"/>
                  <a:gd name="connsiteX1" fmla="*/ 5736 w 7848"/>
                  <a:gd name="connsiteY1" fmla="*/ 9578 h 9577"/>
                  <a:gd name="connsiteX2" fmla="*/ 0 w 7848"/>
                  <a:gd name="connsiteY2" fmla="*/ 3787 h 9577"/>
                  <a:gd name="connsiteX3" fmla="*/ 220 w 7848"/>
                  <a:gd name="connsiteY3" fmla="*/ 1564 h 9577"/>
                  <a:gd name="connsiteX4" fmla="*/ 1894 w 7848"/>
                  <a:gd name="connsiteY4" fmla="*/ 0 h 9577"/>
                  <a:gd name="connsiteX5" fmla="*/ 3678 w 7848"/>
                  <a:gd name="connsiteY5" fmla="*/ 2278 h 9577"/>
                  <a:gd name="connsiteX6" fmla="*/ 6998 w 7848"/>
                  <a:gd name="connsiteY6" fmla="*/ 3787 h 9577"/>
                  <a:gd name="connsiteX7" fmla="*/ 7849 w 7848"/>
                  <a:gd name="connsiteY7" fmla="*/ 6641 h 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8" h="9577">
                    <a:moveTo>
                      <a:pt x="7822" y="6614"/>
                    </a:moveTo>
                    <a:lnTo>
                      <a:pt x="5736" y="9578"/>
                    </a:lnTo>
                    <a:lnTo>
                      <a:pt x="0" y="3787"/>
                    </a:lnTo>
                    <a:lnTo>
                      <a:pt x="220" y="1564"/>
                    </a:lnTo>
                    <a:lnTo>
                      <a:pt x="1894" y="0"/>
                    </a:lnTo>
                    <a:lnTo>
                      <a:pt x="3678" y="2278"/>
                    </a:lnTo>
                    <a:lnTo>
                      <a:pt x="6998" y="3787"/>
                    </a:lnTo>
                    <a:lnTo>
                      <a:pt x="7849" y="66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0" name="Freeform: Shape 3889">
                <a:extLst>
                  <a:ext uri="{FF2B5EF4-FFF2-40B4-BE49-F238E27FC236}">
                    <a16:creationId xmlns:a16="http://schemas.microsoft.com/office/drawing/2014/main" id="{0167C182-28BC-D421-61D8-C3E6138AFBD5}"/>
                  </a:ext>
                </a:extLst>
              </p:cNvPr>
              <p:cNvSpPr/>
              <p:nvPr/>
            </p:nvSpPr>
            <p:spPr>
              <a:xfrm>
                <a:off x="1443178" y="3721356"/>
                <a:ext cx="741" cy="1088"/>
              </a:xfrm>
              <a:custGeom>
                <a:avLst/>
                <a:gdLst>
                  <a:gd name="connsiteX0" fmla="*/ 5653 w 7107"/>
                  <a:gd name="connsiteY0" fmla="*/ 8974 h 10428"/>
                  <a:gd name="connsiteX1" fmla="*/ 2717 w 7107"/>
                  <a:gd name="connsiteY1" fmla="*/ 10428 h 10428"/>
                  <a:gd name="connsiteX2" fmla="*/ 878 w 7107"/>
                  <a:gd name="connsiteY2" fmla="*/ 8123 h 10428"/>
                  <a:gd name="connsiteX3" fmla="*/ 0 w 7107"/>
                  <a:gd name="connsiteY3" fmla="*/ 4995 h 10428"/>
                  <a:gd name="connsiteX4" fmla="*/ 576 w 7107"/>
                  <a:gd name="connsiteY4" fmla="*/ 3403 h 10428"/>
                  <a:gd name="connsiteX5" fmla="*/ 5077 w 7107"/>
                  <a:gd name="connsiteY5" fmla="*/ 0 h 10428"/>
                  <a:gd name="connsiteX6" fmla="*/ 7107 w 7107"/>
                  <a:gd name="connsiteY6" fmla="*/ 3101 h 10428"/>
                  <a:gd name="connsiteX7" fmla="*/ 5653 w 7107"/>
                  <a:gd name="connsiteY7" fmla="*/ 8974 h 1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07" h="10428">
                    <a:moveTo>
                      <a:pt x="5653" y="8974"/>
                    </a:moveTo>
                    <a:lnTo>
                      <a:pt x="2717" y="10428"/>
                    </a:lnTo>
                    <a:lnTo>
                      <a:pt x="878" y="8123"/>
                    </a:lnTo>
                    <a:lnTo>
                      <a:pt x="0" y="4995"/>
                    </a:lnTo>
                    <a:lnTo>
                      <a:pt x="576" y="3403"/>
                    </a:lnTo>
                    <a:lnTo>
                      <a:pt x="5077" y="0"/>
                    </a:lnTo>
                    <a:lnTo>
                      <a:pt x="7107" y="3101"/>
                    </a:lnTo>
                    <a:lnTo>
                      <a:pt x="5653" y="89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1" name="Freeform: Shape 3890">
                <a:extLst>
                  <a:ext uri="{FF2B5EF4-FFF2-40B4-BE49-F238E27FC236}">
                    <a16:creationId xmlns:a16="http://schemas.microsoft.com/office/drawing/2014/main" id="{E1068BCE-2080-C22D-CA8B-D0C53DEAD4C7}"/>
                  </a:ext>
                </a:extLst>
              </p:cNvPr>
              <p:cNvSpPr/>
              <p:nvPr/>
            </p:nvSpPr>
            <p:spPr>
              <a:xfrm>
                <a:off x="1441203" y="3718377"/>
                <a:ext cx="821" cy="990"/>
              </a:xfrm>
              <a:custGeom>
                <a:avLst/>
                <a:gdLst>
                  <a:gd name="connsiteX0" fmla="*/ 7876 w 7876"/>
                  <a:gd name="connsiteY0" fmla="*/ 8178 h 9495"/>
                  <a:gd name="connsiteX1" fmla="*/ 6614 w 7876"/>
                  <a:gd name="connsiteY1" fmla="*/ 9495 h 9495"/>
                  <a:gd name="connsiteX2" fmla="*/ 2992 w 7876"/>
                  <a:gd name="connsiteY2" fmla="*/ 5653 h 9495"/>
                  <a:gd name="connsiteX3" fmla="*/ 0 w 7876"/>
                  <a:gd name="connsiteY3" fmla="*/ 2909 h 9495"/>
                  <a:gd name="connsiteX4" fmla="*/ 302 w 7876"/>
                  <a:gd name="connsiteY4" fmla="*/ 0 h 9495"/>
                  <a:gd name="connsiteX5" fmla="*/ 6587 w 7876"/>
                  <a:gd name="connsiteY5" fmla="*/ 2991 h 9495"/>
                  <a:gd name="connsiteX6" fmla="*/ 7684 w 7876"/>
                  <a:gd name="connsiteY6" fmla="*/ 5653 h 9495"/>
                  <a:gd name="connsiteX7" fmla="*/ 7876 w 7876"/>
                  <a:gd name="connsiteY7" fmla="*/ 8178 h 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76" h="9495">
                    <a:moveTo>
                      <a:pt x="7876" y="8178"/>
                    </a:moveTo>
                    <a:lnTo>
                      <a:pt x="6614" y="9495"/>
                    </a:lnTo>
                    <a:lnTo>
                      <a:pt x="2992" y="5653"/>
                    </a:lnTo>
                    <a:lnTo>
                      <a:pt x="0" y="2909"/>
                    </a:lnTo>
                    <a:lnTo>
                      <a:pt x="302" y="0"/>
                    </a:lnTo>
                    <a:lnTo>
                      <a:pt x="6587" y="2991"/>
                    </a:lnTo>
                    <a:lnTo>
                      <a:pt x="7684" y="5653"/>
                    </a:lnTo>
                    <a:lnTo>
                      <a:pt x="7876" y="81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2" name="Freeform: Shape 3891">
                <a:extLst>
                  <a:ext uri="{FF2B5EF4-FFF2-40B4-BE49-F238E27FC236}">
                    <a16:creationId xmlns:a16="http://schemas.microsoft.com/office/drawing/2014/main" id="{176E8502-9820-7380-EEBD-BB76EDA4624F}"/>
                  </a:ext>
                </a:extLst>
              </p:cNvPr>
              <p:cNvSpPr/>
              <p:nvPr/>
            </p:nvSpPr>
            <p:spPr>
              <a:xfrm>
                <a:off x="1445033" y="3719482"/>
                <a:ext cx="1199" cy="675"/>
              </a:xfrm>
              <a:custGeom>
                <a:avLst/>
                <a:gdLst>
                  <a:gd name="connsiteX0" fmla="*/ 4254 w 11498"/>
                  <a:gd name="connsiteY0" fmla="*/ 4994 h 6476"/>
                  <a:gd name="connsiteX1" fmla="*/ 2799 w 11498"/>
                  <a:gd name="connsiteY1" fmla="*/ 6477 h 6476"/>
                  <a:gd name="connsiteX2" fmla="*/ 0 w 11498"/>
                  <a:gd name="connsiteY2" fmla="*/ 6312 h 6476"/>
                  <a:gd name="connsiteX3" fmla="*/ 2827 w 11498"/>
                  <a:gd name="connsiteY3" fmla="*/ 2086 h 6476"/>
                  <a:gd name="connsiteX4" fmla="*/ 7135 w 11498"/>
                  <a:gd name="connsiteY4" fmla="*/ 2086 h 6476"/>
                  <a:gd name="connsiteX5" fmla="*/ 10181 w 11498"/>
                  <a:gd name="connsiteY5" fmla="*/ 0 h 6476"/>
                  <a:gd name="connsiteX6" fmla="*/ 11498 w 11498"/>
                  <a:gd name="connsiteY6" fmla="*/ 988 h 6476"/>
                  <a:gd name="connsiteX7" fmla="*/ 7602 w 11498"/>
                  <a:gd name="connsiteY7" fmla="*/ 4418 h 6476"/>
                  <a:gd name="connsiteX8" fmla="*/ 4281 w 11498"/>
                  <a:gd name="connsiteY8" fmla="*/ 4994 h 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8" h="6476">
                    <a:moveTo>
                      <a:pt x="4254" y="4994"/>
                    </a:moveTo>
                    <a:lnTo>
                      <a:pt x="2799" y="6477"/>
                    </a:lnTo>
                    <a:lnTo>
                      <a:pt x="0" y="6312"/>
                    </a:lnTo>
                    <a:lnTo>
                      <a:pt x="2827" y="2086"/>
                    </a:lnTo>
                    <a:lnTo>
                      <a:pt x="7135" y="2086"/>
                    </a:lnTo>
                    <a:cubicBezTo>
                      <a:pt x="7135" y="2086"/>
                      <a:pt x="10181" y="0"/>
                      <a:pt x="10181" y="0"/>
                    </a:cubicBezTo>
                    <a:lnTo>
                      <a:pt x="11498" y="988"/>
                    </a:lnTo>
                    <a:lnTo>
                      <a:pt x="7602" y="4418"/>
                    </a:lnTo>
                    <a:lnTo>
                      <a:pt x="4281" y="49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3" name="Freeform: Shape 3892">
                <a:extLst>
                  <a:ext uri="{FF2B5EF4-FFF2-40B4-BE49-F238E27FC236}">
                    <a16:creationId xmlns:a16="http://schemas.microsoft.com/office/drawing/2014/main" id="{2CB389AD-DF91-7B04-3243-1C2C3181A6A6}"/>
                  </a:ext>
                </a:extLst>
              </p:cNvPr>
              <p:cNvSpPr/>
              <p:nvPr/>
            </p:nvSpPr>
            <p:spPr>
              <a:xfrm>
                <a:off x="1444403" y="3722249"/>
                <a:ext cx="990" cy="807"/>
              </a:xfrm>
              <a:custGeom>
                <a:avLst/>
                <a:gdLst>
                  <a:gd name="connsiteX0" fmla="*/ 9495 w 9495"/>
                  <a:gd name="connsiteY0" fmla="*/ 1784 h 7739"/>
                  <a:gd name="connsiteX1" fmla="*/ 6943 w 9495"/>
                  <a:gd name="connsiteY1" fmla="*/ 4336 h 7739"/>
                  <a:gd name="connsiteX2" fmla="*/ 5434 w 9495"/>
                  <a:gd name="connsiteY2" fmla="*/ 3650 h 7739"/>
                  <a:gd name="connsiteX3" fmla="*/ 4555 w 9495"/>
                  <a:gd name="connsiteY3" fmla="*/ 5983 h 7739"/>
                  <a:gd name="connsiteX4" fmla="*/ 1729 w 9495"/>
                  <a:gd name="connsiteY4" fmla="*/ 7739 h 7739"/>
                  <a:gd name="connsiteX5" fmla="*/ 0 w 9495"/>
                  <a:gd name="connsiteY5" fmla="*/ 6531 h 7739"/>
                  <a:gd name="connsiteX6" fmla="*/ 3897 w 9495"/>
                  <a:gd name="connsiteY6" fmla="*/ 2333 h 7739"/>
                  <a:gd name="connsiteX7" fmla="*/ 4528 w 9495"/>
                  <a:gd name="connsiteY7" fmla="*/ 2937 h 7739"/>
                  <a:gd name="connsiteX8" fmla="*/ 8343 w 9495"/>
                  <a:gd name="connsiteY8" fmla="*/ 0 h 7739"/>
                  <a:gd name="connsiteX9" fmla="*/ 9468 w 9495"/>
                  <a:gd name="connsiteY9" fmla="*/ 1784 h 7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95" h="7739">
                    <a:moveTo>
                      <a:pt x="9495" y="1784"/>
                    </a:moveTo>
                    <a:lnTo>
                      <a:pt x="6943" y="4336"/>
                    </a:lnTo>
                    <a:lnTo>
                      <a:pt x="5434" y="3650"/>
                    </a:lnTo>
                    <a:lnTo>
                      <a:pt x="4555" y="5983"/>
                    </a:lnTo>
                    <a:lnTo>
                      <a:pt x="1729" y="7739"/>
                    </a:lnTo>
                    <a:lnTo>
                      <a:pt x="0" y="6531"/>
                    </a:lnTo>
                    <a:lnTo>
                      <a:pt x="3897" y="2333"/>
                    </a:lnTo>
                    <a:lnTo>
                      <a:pt x="4528" y="2937"/>
                    </a:lnTo>
                    <a:lnTo>
                      <a:pt x="8343" y="0"/>
                    </a:lnTo>
                    <a:lnTo>
                      <a:pt x="9468"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4" name="Freeform: Shape 3893">
                <a:extLst>
                  <a:ext uri="{FF2B5EF4-FFF2-40B4-BE49-F238E27FC236}">
                    <a16:creationId xmlns:a16="http://schemas.microsoft.com/office/drawing/2014/main" id="{55B8B016-7554-FC1D-3BDE-D445862F9C75}"/>
                  </a:ext>
                </a:extLst>
              </p:cNvPr>
              <p:cNvSpPr/>
              <p:nvPr/>
            </p:nvSpPr>
            <p:spPr>
              <a:xfrm>
                <a:off x="1448405" y="3726672"/>
                <a:ext cx="489" cy="1463"/>
              </a:xfrm>
              <a:custGeom>
                <a:avLst/>
                <a:gdLst>
                  <a:gd name="connsiteX0" fmla="*/ 3897 w 4692"/>
                  <a:gd name="connsiteY0" fmla="*/ 12569 h 14023"/>
                  <a:gd name="connsiteX1" fmla="*/ 2525 w 4692"/>
                  <a:gd name="connsiteY1" fmla="*/ 14023 h 14023"/>
                  <a:gd name="connsiteX2" fmla="*/ 549 w 4692"/>
                  <a:gd name="connsiteY2" fmla="*/ 13255 h 14023"/>
                  <a:gd name="connsiteX3" fmla="*/ 1701 w 4692"/>
                  <a:gd name="connsiteY3" fmla="*/ 11828 h 14023"/>
                  <a:gd name="connsiteX4" fmla="*/ 1482 w 4692"/>
                  <a:gd name="connsiteY4" fmla="*/ 9495 h 14023"/>
                  <a:gd name="connsiteX5" fmla="*/ 0 w 4692"/>
                  <a:gd name="connsiteY5" fmla="*/ 7629 h 14023"/>
                  <a:gd name="connsiteX6" fmla="*/ 1729 w 4692"/>
                  <a:gd name="connsiteY6" fmla="*/ 5900 h 14023"/>
                  <a:gd name="connsiteX7" fmla="*/ 3018 w 4692"/>
                  <a:gd name="connsiteY7" fmla="*/ 2826 h 14023"/>
                  <a:gd name="connsiteX8" fmla="*/ 3101 w 4692"/>
                  <a:gd name="connsiteY8" fmla="*/ 110 h 14023"/>
                  <a:gd name="connsiteX9" fmla="*/ 4418 w 4692"/>
                  <a:gd name="connsiteY9" fmla="*/ 0 h 14023"/>
                  <a:gd name="connsiteX10" fmla="*/ 4665 w 4692"/>
                  <a:gd name="connsiteY10" fmla="*/ 2772 h 14023"/>
                  <a:gd name="connsiteX11" fmla="*/ 2689 w 4692"/>
                  <a:gd name="connsiteY11" fmla="*/ 7053 h 14023"/>
                  <a:gd name="connsiteX12" fmla="*/ 4693 w 4692"/>
                  <a:gd name="connsiteY12" fmla="*/ 9605 h 14023"/>
                  <a:gd name="connsiteX13" fmla="*/ 3924 w 4692"/>
                  <a:gd name="connsiteY13" fmla="*/ 12596 h 14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 h="14023">
                    <a:moveTo>
                      <a:pt x="3897" y="12569"/>
                    </a:moveTo>
                    <a:lnTo>
                      <a:pt x="2525" y="14023"/>
                    </a:lnTo>
                    <a:lnTo>
                      <a:pt x="549" y="13255"/>
                    </a:lnTo>
                    <a:lnTo>
                      <a:pt x="1701" y="11828"/>
                    </a:lnTo>
                    <a:lnTo>
                      <a:pt x="1482" y="9495"/>
                    </a:lnTo>
                    <a:lnTo>
                      <a:pt x="0" y="7629"/>
                    </a:lnTo>
                    <a:lnTo>
                      <a:pt x="1729" y="5900"/>
                    </a:lnTo>
                    <a:lnTo>
                      <a:pt x="3018" y="2826"/>
                    </a:lnTo>
                    <a:lnTo>
                      <a:pt x="3101" y="110"/>
                    </a:lnTo>
                    <a:lnTo>
                      <a:pt x="4418" y="0"/>
                    </a:lnTo>
                    <a:lnTo>
                      <a:pt x="4665" y="2772"/>
                    </a:lnTo>
                    <a:lnTo>
                      <a:pt x="2689" y="7053"/>
                    </a:lnTo>
                    <a:lnTo>
                      <a:pt x="4693" y="9605"/>
                    </a:lnTo>
                    <a:lnTo>
                      <a:pt x="3924" y="125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5" name="Freeform: Shape 3894">
                <a:extLst>
                  <a:ext uri="{FF2B5EF4-FFF2-40B4-BE49-F238E27FC236}">
                    <a16:creationId xmlns:a16="http://schemas.microsoft.com/office/drawing/2014/main" id="{9E439F39-B55F-6C40-8622-9E6C52D9AFDF}"/>
                  </a:ext>
                </a:extLst>
              </p:cNvPr>
              <p:cNvSpPr/>
              <p:nvPr/>
            </p:nvSpPr>
            <p:spPr>
              <a:xfrm>
                <a:off x="1447000" y="3718998"/>
                <a:ext cx="1165" cy="627"/>
              </a:xfrm>
              <a:custGeom>
                <a:avLst/>
                <a:gdLst>
                  <a:gd name="connsiteX0" fmla="*/ 11169 w 11169"/>
                  <a:gd name="connsiteY0" fmla="*/ 3595 h 6010"/>
                  <a:gd name="connsiteX1" fmla="*/ 6752 w 11169"/>
                  <a:gd name="connsiteY1" fmla="*/ 6010 h 6010"/>
                  <a:gd name="connsiteX2" fmla="*/ 385 w 11169"/>
                  <a:gd name="connsiteY2" fmla="*/ 3485 h 6010"/>
                  <a:gd name="connsiteX3" fmla="*/ 0 w 11169"/>
                  <a:gd name="connsiteY3" fmla="*/ 2882 h 6010"/>
                  <a:gd name="connsiteX4" fmla="*/ 4940 w 11169"/>
                  <a:gd name="connsiteY4" fmla="*/ 0 h 6010"/>
                  <a:gd name="connsiteX5" fmla="*/ 11087 w 11169"/>
                  <a:gd name="connsiteY5" fmla="*/ 2305 h 6010"/>
                  <a:gd name="connsiteX6" fmla="*/ 11169 w 11169"/>
                  <a:gd name="connsiteY6" fmla="*/ 3595 h 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69" h="6010">
                    <a:moveTo>
                      <a:pt x="11169" y="3595"/>
                    </a:moveTo>
                    <a:lnTo>
                      <a:pt x="6752" y="6010"/>
                    </a:lnTo>
                    <a:lnTo>
                      <a:pt x="385" y="3485"/>
                    </a:lnTo>
                    <a:lnTo>
                      <a:pt x="0" y="2882"/>
                    </a:lnTo>
                    <a:lnTo>
                      <a:pt x="4940" y="0"/>
                    </a:lnTo>
                    <a:lnTo>
                      <a:pt x="11087" y="2305"/>
                    </a:lnTo>
                    <a:lnTo>
                      <a:pt x="11169" y="35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6" name="Freeform: Shape 3895">
                <a:extLst>
                  <a:ext uri="{FF2B5EF4-FFF2-40B4-BE49-F238E27FC236}">
                    <a16:creationId xmlns:a16="http://schemas.microsoft.com/office/drawing/2014/main" id="{EC301555-6203-3686-B07D-8014FD0A6EE0}"/>
                  </a:ext>
                </a:extLst>
              </p:cNvPr>
              <p:cNvSpPr/>
              <p:nvPr/>
            </p:nvSpPr>
            <p:spPr>
              <a:xfrm>
                <a:off x="1448236" y="3722438"/>
                <a:ext cx="1088" cy="632"/>
              </a:xfrm>
              <a:custGeom>
                <a:avLst/>
                <a:gdLst>
                  <a:gd name="connsiteX0" fmla="*/ 4857 w 10428"/>
                  <a:gd name="connsiteY0" fmla="*/ 4144 h 6064"/>
                  <a:gd name="connsiteX1" fmla="*/ 2717 w 10428"/>
                  <a:gd name="connsiteY1" fmla="*/ 6065 h 6064"/>
                  <a:gd name="connsiteX2" fmla="*/ 0 w 10428"/>
                  <a:gd name="connsiteY2" fmla="*/ 4967 h 6064"/>
                  <a:gd name="connsiteX3" fmla="*/ 1921 w 10428"/>
                  <a:gd name="connsiteY3" fmla="*/ 2525 h 6064"/>
                  <a:gd name="connsiteX4" fmla="*/ 8178 w 10428"/>
                  <a:gd name="connsiteY4" fmla="*/ 0 h 6064"/>
                  <a:gd name="connsiteX5" fmla="*/ 10428 w 10428"/>
                  <a:gd name="connsiteY5" fmla="*/ 2113 h 6064"/>
                  <a:gd name="connsiteX6" fmla="*/ 4857 w 10428"/>
                  <a:gd name="connsiteY6" fmla="*/ 4116 h 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8" h="6064">
                    <a:moveTo>
                      <a:pt x="4857" y="4144"/>
                    </a:moveTo>
                    <a:lnTo>
                      <a:pt x="2717" y="6065"/>
                    </a:lnTo>
                    <a:lnTo>
                      <a:pt x="0" y="4967"/>
                    </a:lnTo>
                    <a:lnTo>
                      <a:pt x="1921" y="2525"/>
                    </a:lnTo>
                    <a:lnTo>
                      <a:pt x="8178" y="0"/>
                    </a:lnTo>
                    <a:lnTo>
                      <a:pt x="10428" y="2113"/>
                    </a:lnTo>
                    <a:lnTo>
                      <a:pt x="4857" y="41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7" name="Freeform: Shape 3896">
                <a:extLst>
                  <a:ext uri="{FF2B5EF4-FFF2-40B4-BE49-F238E27FC236}">
                    <a16:creationId xmlns:a16="http://schemas.microsoft.com/office/drawing/2014/main" id="{BD4F0982-2F20-34EE-FCD8-6C4FE4C932D8}"/>
                  </a:ext>
                </a:extLst>
              </p:cNvPr>
              <p:cNvSpPr/>
              <p:nvPr/>
            </p:nvSpPr>
            <p:spPr>
              <a:xfrm>
                <a:off x="1435616" y="3724493"/>
                <a:ext cx="604" cy="950"/>
              </a:xfrm>
              <a:custGeom>
                <a:avLst/>
                <a:gdLst>
                  <a:gd name="connsiteX0" fmla="*/ 4803 w 5790"/>
                  <a:gd name="connsiteY0" fmla="*/ 5982 h 9110"/>
                  <a:gd name="connsiteX1" fmla="*/ 4528 w 5790"/>
                  <a:gd name="connsiteY1" fmla="*/ 9111 h 9110"/>
                  <a:gd name="connsiteX2" fmla="*/ 1509 w 5790"/>
                  <a:gd name="connsiteY2" fmla="*/ 8178 h 9110"/>
                  <a:gd name="connsiteX3" fmla="*/ 275 w 5790"/>
                  <a:gd name="connsiteY3" fmla="*/ 5461 h 9110"/>
                  <a:gd name="connsiteX4" fmla="*/ 0 w 5790"/>
                  <a:gd name="connsiteY4" fmla="*/ 2223 h 9110"/>
                  <a:gd name="connsiteX5" fmla="*/ 1729 w 5790"/>
                  <a:gd name="connsiteY5" fmla="*/ 0 h 9110"/>
                  <a:gd name="connsiteX6" fmla="*/ 3239 w 5790"/>
                  <a:gd name="connsiteY6" fmla="*/ 2662 h 9110"/>
                  <a:gd name="connsiteX7" fmla="*/ 5791 w 5790"/>
                  <a:gd name="connsiteY7" fmla="*/ 4885 h 9110"/>
                  <a:gd name="connsiteX8" fmla="*/ 4803 w 5790"/>
                  <a:gd name="connsiteY8" fmla="*/ 5982 h 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90" h="9110">
                    <a:moveTo>
                      <a:pt x="4803" y="5982"/>
                    </a:moveTo>
                    <a:lnTo>
                      <a:pt x="4528" y="9111"/>
                    </a:lnTo>
                    <a:lnTo>
                      <a:pt x="1509" y="8178"/>
                    </a:lnTo>
                    <a:lnTo>
                      <a:pt x="275" y="5461"/>
                    </a:lnTo>
                    <a:lnTo>
                      <a:pt x="0" y="2223"/>
                    </a:lnTo>
                    <a:lnTo>
                      <a:pt x="1729" y="0"/>
                    </a:lnTo>
                    <a:lnTo>
                      <a:pt x="3239" y="2662"/>
                    </a:lnTo>
                    <a:lnTo>
                      <a:pt x="5791" y="4885"/>
                    </a:lnTo>
                    <a:lnTo>
                      <a:pt x="4803" y="59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8" name="Freeform: Shape 3897">
                <a:extLst>
                  <a:ext uri="{FF2B5EF4-FFF2-40B4-BE49-F238E27FC236}">
                    <a16:creationId xmlns:a16="http://schemas.microsoft.com/office/drawing/2014/main" id="{6BB6AA92-0DD2-DA39-43C5-CBBE339563FE}"/>
                  </a:ext>
                </a:extLst>
              </p:cNvPr>
              <p:cNvSpPr/>
              <p:nvPr/>
            </p:nvSpPr>
            <p:spPr>
              <a:xfrm>
                <a:off x="1445906" y="3723411"/>
                <a:ext cx="721" cy="635"/>
              </a:xfrm>
              <a:custGeom>
                <a:avLst/>
                <a:gdLst>
                  <a:gd name="connsiteX0" fmla="*/ 6916 w 6915"/>
                  <a:gd name="connsiteY0" fmla="*/ 2662 h 6092"/>
                  <a:gd name="connsiteX1" fmla="*/ 4199 w 6915"/>
                  <a:gd name="connsiteY1" fmla="*/ 4171 h 6092"/>
                  <a:gd name="connsiteX2" fmla="*/ 3897 w 6915"/>
                  <a:gd name="connsiteY2" fmla="*/ 6092 h 6092"/>
                  <a:gd name="connsiteX3" fmla="*/ 878 w 6915"/>
                  <a:gd name="connsiteY3" fmla="*/ 5296 h 6092"/>
                  <a:gd name="connsiteX4" fmla="*/ 0 w 6915"/>
                  <a:gd name="connsiteY4" fmla="*/ 2881 h 6092"/>
                  <a:gd name="connsiteX5" fmla="*/ 4007 w 6915"/>
                  <a:gd name="connsiteY5" fmla="*/ 2964 h 6092"/>
                  <a:gd name="connsiteX6" fmla="*/ 3540 w 6915"/>
                  <a:gd name="connsiteY6" fmla="*/ 247 h 6092"/>
                  <a:gd name="connsiteX7" fmla="*/ 5269 w 6915"/>
                  <a:gd name="connsiteY7" fmla="*/ 0 h 6092"/>
                  <a:gd name="connsiteX8" fmla="*/ 6916 w 6915"/>
                  <a:gd name="connsiteY8" fmla="*/ 2662 h 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15" h="6092">
                    <a:moveTo>
                      <a:pt x="6916" y="2662"/>
                    </a:moveTo>
                    <a:lnTo>
                      <a:pt x="4199" y="4171"/>
                    </a:lnTo>
                    <a:lnTo>
                      <a:pt x="3897" y="6092"/>
                    </a:lnTo>
                    <a:lnTo>
                      <a:pt x="878" y="5296"/>
                    </a:lnTo>
                    <a:lnTo>
                      <a:pt x="0" y="2881"/>
                    </a:lnTo>
                    <a:lnTo>
                      <a:pt x="4007" y="2964"/>
                    </a:lnTo>
                    <a:lnTo>
                      <a:pt x="3540" y="247"/>
                    </a:lnTo>
                    <a:lnTo>
                      <a:pt x="5269" y="0"/>
                    </a:lnTo>
                    <a:lnTo>
                      <a:pt x="6916"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99" name="Freeform: Shape 3898">
                <a:extLst>
                  <a:ext uri="{FF2B5EF4-FFF2-40B4-BE49-F238E27FC236}">
                    <a16:creationId xmlns:a16="http://schemas.microsoft.com/office/drawing/2014/main" id="{15C548A9-867F-A05C-7657-684C3A4CF254}"/>
                  </a:ext>
                </a:extLst>
              </p:cNvPr>
              <p:cNvSpPr/>
              <p:nvPr/>
            </p:nvSpPr>
            <p:spPr>
              <a:xfrm>
                <a:off x="1442074" y="3719519"/>
                <a:ext cx="718" cy="570"/>
              </a:xfrm>
              <a:custGeom>
                <a:avLst/>
                <a:gdLst>
                  <a:gd name="connsiteX0" fmla="*/ 6751 w 6888"/>
                  <a:gd name="connsiteY0" fmla="*/ 5159 h 5461"/>
                  <a:gd name="connsiteX1" fmla="*/ 5050 w 6888"/>
                  <a:gd name="connsiteY1" fmla="*/ 5461 h 5461"/>
                  <a:gd name="connsiteX2" fmla="*/ 0 w 6888"/>
                  <a:gd name="connsiteY2" fmla="*/ 686 h 5461"/>
                  <a:gd name="connsiteX3" fmla="*/ 1043 w 6888"/>
                  <a:gd name="connsiteY3" fmla="*/ 0 h 5461"/>
                  <a:gd name="connsiteX4" fmla="*/ 6888 w 6888"/>
                  <a:gd name="connsiteY4" fmla="*/ 2031 h 5461"/>
                  <a:gd name="connsiteX5" fmla="*/ 6723 w 6888"/>
                  <a:gd name="connsiteY5" fmla="*/ 5159 h 5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88" h="5461">
                    <a:moveTo>
                      <a:pt x="6751" y="5159"/>
                    </a:moveTo>
                    <a:lnTo>
                      <a:pt x="5050" y="5461"/>
                    </a:lnTo>
                    <a:lnTo>
                      <a:pt x="0" y="686"/>
                    </a:lnTo>
                    <a:lnTo>
                      <a:pt x="1043" y="0"/>
                    </a:lnTo>
                    <a:lnTo>
                      <a:pt x="6888" y="2031"/>
                    </a:lnTo>
                    <a:lnTo>
                      <a:pt x="6723" y="51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0" name="Freeform: Shape 3899">
                <a:extLst>
                  <a:ext uri="{FF2B5EF4-FFF2-40B4-BE49-F238E27FC236}">
                    <a16:creationId xmlns:a16="http://schemas.microsoft.com/office/drawing/2014/main" id="{4574B5B4-48F1-CB46-34F4-5BBCE8D515D3}"/>
                  </a:ext>
                </a:extLst>
              </p:cNvPr>
              <p:cNvSpPr/>
              <p:nvPr/>
            </p:nvSpPr>
            <p:spPr>
              <a:xfrm>
                <a:off x="1442211" y="3721643"/>
                <a:ext cx="690" cy="572"/>
              </a:xfrm>
              <a:custGeom>
                <a:avLst/>
                <a:gdLst>
                  <a:gd name="connsiteX0" fmla="*/ 6614 w 6614"/>
                  <a:gd name="connsiteY0" fmla="*/ 2607 h 5488"/>
                  <a:gd name="connsiteX1" fmla="*/ 3705 w 6614"/>
                  <a:gd name="connsiteY1" fmla="*/ 5489 h 5488"/>
                  <a:gd name="connsiteX2" fmla="*/ 0 w 6614"/>
                  <a:gd name="connsiteY2" fmla="*/ 4556 h 5488"/>
                  <a:gd name="connsiteX3" fmla="*/ 3705 w 6614"/>
                  <a:gd name="connsiteY3" fmla="*/ 0 h 5488"/>
                  <a:gd name="connsiteX4" fmla="*/ 6092 w 6614"/>
                  <a:gd name="connsiteY4" fmla="*/ 384 h 5488"/>
                  <a:gd name="connsiteX5" fmla="*/ 6614 w 6614"/>
                  <a:gd name="connsiteY5" fmla="*/ 2635 h 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14" h="5488">
                    <a:moveTo>
                      <a:pt x="6614" y="2607"/>
                    </a:moveTo>
                    <a:lnTo>
                      <a:pt x="3705" y="5489"/>
                    </a:lnTo>
                    <a:lnTo>
                      <a:pt x="0" y="4556"/>
                    </a:lnTo>
                    <a:lnTo>
                      <a:pt x="3705" y="0"/>
                    </a:lnTo>
                    <a:lnTo>
                      <a:pt x="6092" y="384"/>
                    </a:lnTo>
                    <a:lnTo>
                      <a:pt x="6614" y="26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1" name="Freeform: Shape 3900">
                <a:extLst>
                  <a:ext uri="{FF2B5EF4-FFF2-40B4-BE49-F238E27FC236}">
                    <a16:creationId xmlns:a16="http://schemas.microsoft.com/office/drawing/2014/main" id="{81F7A056-9852-A852-3536-6023FB11EBC0}"/>
                  </a:ext>
                </a:extLst>
              </p:cNvPr>
              <p:cNvSpPr/>
              <p:nvPr/>
            </p:nvSpPr>
            <p:spPr>
              <a:xfrm>
                <a:off x="1443442" y="3708301"/>
                <a:ext cx="801" cy="487"/>
              </a:xfrm>
              <a:custGeom>
                <a:avLst/>
                <a:gdLst>
                  <a:gd name="connsiteX0" fmla="*/ 7684 w 7684"/>
                  <a:gd name="connsiteY0" fmla="*/ 3595 h 4665"/>
                  <a:gd name="connsiteX1" fmla="*/ 3403 w 7684"/>
                  <a:gd name="connsiteY1" fmla="*/ 4666 h 4665"/>
                  <a:gd name="connsiteX2" fmla="*/ 0 w 7684"/>
                  <a:gd name="connsiteY2" fmla="*/ 1537 h 4665"/>
                  <a:gd name="connsiteX3" fmla="*/ 3595 w 7684"/>
                  <a:gd name="connsiteY3" fmla="*/ 0 h 4665"/>
                  <a:gd name="connsiteX4" fmla="*/ 6449 w 7684"/>
                  <a:gd name="connsiteY4" fmla="*/ 686 h 4665"/>
                  <a:gd name="connsiteX5" fmla="*/ 7684 w 7684"/>
                  <a:gd name="connsiteY5" fmla="*/ 3595 h 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84" h="4665">
                    <a:moveTo>
                      <a:pt x="7684" y="3595"/>
                    </a:moveTo>
                    <a:lnTo>
                      <a:pt x="3403" y="4666"/>
                    </a:lnTo>
                    <a:lnTo>
                      <a:pt x="0" y="1537"/>
                    </a:lnTo>
                    <a:lnTo>
                      <a:pt x="3595" y="0"/>
                    </a:lnTo>
                    <a:lnTo>
                      <a:pt x="6449" y="686"/>
                    </a:lnTo>
                    <a:lnTo>
                      <a:pt x="7684" y="35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2" name="Freeform: Shape 3901">
                <a:extLst>
                  <a:ext uri="{FF2B5EF4-FFF2-40B4-BE49-F238E27FC236}">
                    <a16:creationId xmlns:a16="http://schemas.microsoft.com/office/drawing/2014/main" id="{4F8B6E9C-B3A9-0499-486E-FAA6355FAA6C}"/>
                  </a:ext>
                </a:extLst>
              </p:cNvPr>
              <p:cNvSpPr/>
              <p:nvPr/>
            </p:nvSpPr>
            <p:spPr>
              <a:xfrm>
                <a:off x="1439815" y="3719459"/>
                <a:ext cx="478" cy="675"/>
              </a:xfrm>
              <a:custGeom>
                <a:avLst/>
                <a:gdLst>
                  <a:gd name="connsiteX0" fmla="*/ 4583 w 4582"/>
                  <a:gd name="connsiteY0" fmla="*/ 1263 h 6476"/>
                  <a:gd name="connsiteX1" fmla="*/ 933 w 4582"/>
                  <a:gd name="connsiteY1" fmla="*/ 6477 h 6476"/>
                  <a:gd name="connsiteX2" fmla="*/ 0 w 4582"/>
                  <a:gd name="connsiteY2" fmla="*/ 4116 h 6476"/>
                  <a:gd name="connsiteX3" fmla="*/ 933 w 4582"/>
                  <a:gd name="connsiteY3" fmla="*/ 1125 h 6476"/>
                  <a:gd name="connsiteX4" fmla="*/ 2634 w 4582"/>
                  <a:gd name="connsiteY4" fmla="*/ 0 h 6476"/>
                  <a:gd name="connsiteX5" fmla="*/ 4583 w 4582"/>
                  <a:gd name="connsiteY5" fmla="*/ 1263 h 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2" h="6476">
                    <a:moveTo>
                      <a:pt x="4583" y="1263"/>
                    </a:moveTo>
                    <a:lnTo>
                      <a:pt x="933" y="6477"/>
                    </a:lnTo>
                    <a:lnTo>
                      <a:pt x="0" y="4116"/>
                    </a:lnTo>
                    <a:lnTo>
                      <a:pt x="933" y="1125"/>
                    </a:lnTo>
                    <a:lnTo>
                      <a:pt x="2634" y="0"/>
                    </a:lnTo>
                    <a:lnTo>
                      <a:pt x="4583" y="12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3" name="Freeform: Shape 3902">
                <a:extLst>
                  <a:ext uri="{FF2B5EF4-FFF2-40B4-BE49-F238E27FC236}">
                    <a16:creationId xmlns:a16="http://schemas.microsoft.com/office/drawing/2014/main" id="{CC6276F2-403D-86CB-1CA9-D0282488922D}"/>
                  </a:ext>
                </a:extLst>
              </p:cNvPr>
              <p:cNvSpPr/>
              <p:nvPr/>
            </p:nvSpPr>
            <p:spPr>
              <a:xfrm>
                <a:off x="1440004" y="3723025"/>
                <a:ext cx="678" cy="404"/>
              </a:xfrm>
              <a:custGeom>
                <a:avLst/>
                <a:gdLst>
                  <a:gd name="connsiteX0" fmla="*/ 6504 w 6504"/>
                  <a:gd name="connsiteY0" fmla="*/ 2305 h 3869"/>
                  <a:gd name="connsiteX1" fmla="*/ 4391 w 6504"/>
                  <a:gd name="connsiteY1" fmla="*/ 3869 h 3869"/>
                  <a:gd name="connsiteX2" fmla="*/ 0 w 6504"/>
                  <a:gd name="connsiteY2" fmla="*/ 3787 h 3869"/>
                  <a:gd name="connsiteX3" fmla="*/ 631 w 6504"/>
                  <a:gd name="connsiteY3" fmla="*/ 878 h 3869"/>
                  <a:gd name="connsiteX4" fmla="*/ 2662 w 6504"/>
                  <a:gd name="connsiteY4" fmla="*/ 0 h 3869"/>
                  <a:gd name="connsiteX5" fmla="*/ 5681 w 6504"/>
                  <a:gd name="connsiteY5" fmla="*/ 137 h 3869"/>
                  <a:gd name="connsiteX6" fmla="*/ 6504 w 6504"/>
                  <a:gd name="connsiteY6" fmla="*/ 2305 h 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4" h="3869">
                    <a:moveTo>
                      <a:pt x="6504" y="2305"/>
                    </a:moveTo>
                    <a:lnTo>
                      <a:pt x="4391" y="3869"/>
                    </a:lnTo>
                    <a:lnTo>
                      <a:pt x="0" y="3787"/>
                    </a:lnTo>
                    <a:lnTo>
                      <a:pt x="631" y="878"/>
                    </a:lnTo>
                    <a:lnTo>
                      <a:pt x="2662" y="0"/>
                    </a:lnTo>
                    <a:lnTo>
                      <a:pt x="5681" y="137"/>
                    </a:lnTo>
                    <a:lnTo>
                      <a:pt x="6504" y="23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4" name="Freeform: Shape 3903">
                <a:extLst>
                  <a:ext uri="{FF2B5EF4-FFF2-40B4-BE49-F238E27FC236}">
                    <a16:creationId xmlns:a16="http://schemas.microsoft.com/office/drawing/2014/main" id="{D517B762-F56E-3D1D-6BA0-F6D8D33AF7DA}"/>
                  </a:ext>
                </a:extLst>
              </p:cNvPr>
              <p:cNvSpPr/>
              <p:nvPr/>
            </p:nvSpPr>
            <p:spPr>
              <a:xfrm>
                <a:off x="1442855" y="3722931"/>
                <a:ext cx="481" cy="570"/>
              </a:xfrm>
              <a:custGeom>
                <a:avLst/>
                <a:gdLst>
                  <a:gd name="connsiteX0" fmla="*/ 4583 w 4610"/>
                  <a:gd name="connsiteY0" fmla="*/ 2827 h 5461"/>
                  <a:gd name="connsiteX1" fmla="*/ 3156 w 4610"/>
                  <a:gd name="connsiteY1" fmla="*/ 5461 h 5461"/>
                  <a:gd name="connsiteX2" fmla="*/ 0 w 4610"/>
                  <a:gd name="connsiteY2" fmla="*/ 2196 h 5461"/>
                  <a:gd name="connsiteX3" fmla="*/ 576 w 4610"/>
                  <a:gd name="connsiteY3" fmla="*/ 0 h 5461"/>
                  <a:gd name="connsiteX4" fmla="*/ 4611 w 4610"/>
                  <a:gd name="connsiteY4" fmla="*/ 2854 h 5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5461">
                    <a:moveTo>
                      <a:pt x="4583" y="2827"/>
                    </a:moveTo>
                    <a:lnTo>
                      <a:pt x="3156" y="5461"/>
                    </a:lnTo>
                    <a:lnTo>
                      <a:pt x="0" y="2196"/>
                    </a:lnTo>
                    <a:lnTo>
                      <a:pt x="576" y="0"/>
                    </a:lnTo>
                    <a:lnTo>
                      <a:pt x="4611"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5" name="Freeform: Shape 3904">
                <a:extLst>
                  <a:ext uri="{FF2B5EF4-FFF2-40B4-BE49-F238E27FC236}">
                    <a16:creationId xmlns:a16="http://schemas.microsoft.com/office/drawing/2014/main" id="{795868F7-936A-58CE-AFF8-EFD15718B246}"/>
                  </a:ext>
                </a:extLst>
              </p:cNvPr>
              <p:cNvSpPr/>
              <p:nvPr/>
            </p:nvSpPr>
            <p:spPr>
              <a:xfrm>
                <a:off x="1440574" y="3722682"/>
                <a:ext cx="478" cy="432"/>
              </a:xfrm>
              <a:custGeom>
                <a:avLst/>
                <a:gdLst>
                  <a:gd name="connsiteX0" fmla="*/ 4583 w 4583"/>
                  <a:gd name="connsiteY0" fmla="*/ 2772 h 4143"/>
                  <a:gd name="connsiteX1" fmla="*/ 4391 w 4583"/>
                  <a:gd name="connsiteY1" fmla="*/ 4144 h 4143"/>
                  <a:gd name="connsiteX2" fmla="*/ 0 w 4583"/>
                  <a:gd name="connsiteY2" fmla="*/ 2196 h 4143"/>
                  <a:gd name="connsiteX3" fmla="*/ 1509 w 4583"/>
                  <a:gd name="connsiteY3" fmla="*/ 0 h 4143"/>
                  <a:gd name="connsiteX4" fmla="*/ 4583 w 4583"/>
                  <a:gd name="connsiteY4" fmla="*/ 2799 h 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 h="4143">
                    <a:moveTo>
                      <a:pt x="4583" y="2772"/>
                    </a:moveTo>
                    <a:lnTo>
                      <a:pt x="4391" y="4144"/>
                    </a:lnTo>
                    <a:lnTo>
                      <a:pt x="0" y="2196"/>
                    </a:lnTo>
                    <a:lnTo>
                      <a:pt x="1509" y="0"/>
                    </a:lnTo>
                    <a:lnTo>
                      <a:pt x="4583" y="27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6" name="Freeform: Shape 3905">
                <a:extLst>
                  <a:ext uri="{FF2B5EF4-FFF2-40B4-BE49-F238E27FC236}">
                    <a16:creationId xmlns:a16="http://schemas.microsoft.com/office/drawing/2014/main" id="{71E8BC5B-7C54-2DBE-F4D9-77450FF53CDF}"/>
                  </a:ext>
                </a:extLst>
              </p:cNvPr>
              <p:cNvSpPr/>
              <p:nvPr/>
            </p:nvSpPr>
            <p:spPr>
              <a:xfrm>
                <a:off x="1447678" y="3728071"/>
                <a:ext cx="487" cy="421"/>
              </a:xfrm>
              <a:custGeom>
                <a:avLst/>
                <a:gdLst>
                  <a:gd name="connsiteX0" fmla="*/ 4665 w 4665"/>
                  <a:gd name="connsiteY0" fmla="*/ 1015 h 4034"/>
                  <a:gd name="connsiteX1" fmla="*/ 1564 w 4665"/>
                  <a:gd name="connsiteY1" fmla="*/ 4034 h 4034"/>
                  <a:gd name="connsiteX2" fmla="*/ 0 w 4665"/>
                  <a:gd name="connsiteY2" fmla="*/ 3046 h 4034"/>
                  <a:gd name="connsiteX3" fmla="*/ 2333 w 4665"/>
                  <a:gd name="connsiteY3" fmla="*/ 0 h 4034"/>
                  <a:gd name="connsiteX4" fmla="*/ 4665 w 4665"/>
                  <a:gd name="connsiteY4" fmla="*/ 1015 h 4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5" h="4034">
                    <a:moveTo>
                      <a:pt x="4665" y="1015"/>
                    </a:moveTo>
                    <a:lnTo>
                      <a:pt x="1564" y="4034"/>
                    </a:lnTo>
                    <a:lnTo>
                      <a:pt x="0" y="3046"/>
                    </a:lnTo>
                    <a:lnTo>
                      <a:pt x="2333" y="0"/>
                    </a:lnTo>
                    <a:lnTo>
                      <a:pt x="4665" y="10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7" name="Freeform: Shape 3906">
                <a:extLst>
                  <a:ext uri="{FF2B5EF4-FFF2-40B4-BE49-F238E27FC236}">
                    <a16:creationId xmlns:a16="http://schemas.microsoft.com/office/drawing/2014/main" id="{F1366A61-BB45-14F2-9D1B-0ECA3C889EFE}"/>
                  </a:ext>
                </a:extLst>
              </p:cNvPr>
              <p:cNvSpPr/>
              <p:nvPr/>
            </p:nvSpPr>
            <p:spPr>
              <a:xfrm>
                <a:off x="1441003" y="3721986"/>
                <a:ext cx="395" cy="504"/>
              </a:xfrm>
              <a:custGeom>
                <a:avLst/>
                <a:gdLst>
                  <a:gd name="connsiteX0" fmla="*/ 3760 w 3787"/>
                  <a:gd name="connsiteY0" fmla="*/ 3348 h 4829"/>
                  <a:gd name="connsiteX1" fmla="*/ 1948 w 3787"/>
                  <a:gd name="connsiteY1" fmla="*/ 4830 h 4829"/>
                  <a:gd name="connsiteX2" fmla="*/ 0 w 3787"/>
                  <a:gd name="connsiteY2" fmla="*/ 1976 h 4829"/>
                  <a:gd name="connsiteX3" fmla="*/ 1455 w 3787"/>
                  <a:gd name="connsiteY3" fmla="*/ 0 h 4829"/>
                  <a:gd name="connsiteX4" fmla="*/ 3787 w 3787"/>
                  <a:gd name="connsiteY4" fmla="*/ 3348 h 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4829">
                    <a:moveTo>
                      <a:pt x="3760" y="3348"/>
                    </a:moveTo>
                    <a:lnTo>
                      <a:pt x="1948" y="4830"/>
                    </a:lnTo>
                    <a:lnTo>
                      <a:pt x="0" y="1976"/>
                    </a:lnTo>
                    <a:lnTo>
                      <a:pt x="1455" y="0"/>
                    </a:lnTo>
                    <a:lnTo>
                      <a:pt x="3787"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8" name="Freeform: Shape 3907">
                <a:extLst>
                  <a:ext uri="{FF2B5EF4-FFF2-40B4-BE49-F238E27FC236}">
                    <a16:creationId xmlns:a16="http://schemas.microsoft.com/office/drawing/2014/main" id="{E88A9A7B-F4CA-A178-91C9-B3A9AFBEE6C1}"/>
                  </a:ext>
                </a:extLst>
              </p:cNvPr>
              <p:cNvSpPr/>
              <p:nvPr/>
            </p:nvSpPr>
            <p:spPr>
              <a:xfrm>
                <a:off x="1439017" y="3730101"/>
                <a:ext cx="489" cy="386"/>
              </a:xfrm>
              <a:custGeom>
                <a:avLst/>
                <a:gdLst>
                  <a:gd name="connsiteX0" fmla="*/ 4693 w 4692"/>
                  <a:gd name="connsiteY0" fmla="*/ 1262 h 3704"/>
                  <a:gd name="connsiteX1" fmla="*/ 3238 w 4692"/>
                  <a:gd name="connsiteY1" fmla="*/ 3705 h 3704"/>
                  <a:gd name="connsiteX2" fmla="*/ 0 w 4692"/>
                  <a:gd name="connsiteY2" fmla="*/ 1043 h 3704"/>
                  <a:gd name="connsiteX3" fmla="*/ 1537 w 4692"/>
                  <a:gd name="connsiteY3" fmla="*/ 0 h 3704"/>
                  <a:gd name="connsiteX4" fmla="*/ 4693 w 4692"/>
                  <a:gd name="connsiteY4" fmla="*/ 1262 h 3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3704">
                    <a:moveTo>
                      <a:pt x="4693" y="1262"/>
                    </a:moveTo>
                    <a:lnTo>
                      <a:pt x="3238" y="3705"/>
                    </a:lnTo>
                    <a:lnTo>
                      <a:pt x="0" y="1043"/>
                    </a:lnTo>
                    <a:lnTo>
                      <a:pt x="1537" y="0"/>
                    </a:lnTo>
                    <a:lnTo>
                      <a:pt x="4693" y="12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09" name="Freeform: Shape 3908">
                <a:extLst>
                  <a:ext uri="{FF2B5EF4-FFF2-40B4-BE49-F238E27FC236}">
                    <a16:creationId xmlns:a16="http://schemas.microsoft.com/office/drawing/2014/main" id="{00F6FDD0-0609-2C35-B5FC-439A3A373006}"/>
                  </a:ext>
                </a:extLst>
              </p:cNvPr>
              <p:cNvSpPr/>
              <p:nvPr/>
            </p:nvSpPr>
            <p:spPr>
              <a:xfrm>
                <a:off x="1447918" y="3722020"/>
                <a:ext cx="469" cy="401"/>
              </a:xfrm>
              <a:custGeom>
                <a:avLst/>
                <a:gdLst>
                  <a:gd name="connsiteX0" fmla="*/ 3952 w 4500"/>
                  <a:gd name="connsiteY0" fmla="*/ 2607 h 3841"/>
                  <a:gd name="connsiteX1" fmla="*/ 1097 w 4500"/>
                  <a:gd name="connsiteY1" fmla="*/ 3842 h 3841"/>
                  <a:gd name="connsiteX2" fmla="*/ 0 w 4500"/>
                  <a:gd name="connsiteY2" fmla="*/ 1976 h 3841"/>
                  <a:gd name="connsiteX3" fmla="*/ 2470 w 4500"/>
                  <a:gd name="connsiteY3" fmla="*/ 0 h 3841"/>
                  <a:gd name="connsiteX4" fmla="*/ 4500 w 4500"/>
                  <a:gd name="connsiteY4" fmla="*/ 1043 h 3841"/>
                  <a:gd name="connsiteX5" fmla="*/ 3924 w 4500"/>
                  <a:gd name="connsiteY5" fmla="*/ 2634 h 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 h="3841">
                    <a:moveTo>
                      <a:pt x="3952" y="2607"/>
                    </a:moveTo>
                    <a:lnTo>
                      <a:pt x="1097" y="3842"/>
                    </a:lnTo>
                    <a:lnTo>
                      <a:pt x="0" y="1976"/>
                    </a:lnTo>
                    <a:lnTo>
                      <a:pt x="2470" y="0"/>
                    </a:lnTo>
                    <a:lnTo>
                      <a:pt x="4500" y="1043"/>
                    </a:lnTo>
                    <a:lnTo>
                      <a:pt x="3924"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0" name="Freeform: Shape 3909">
                <a:extLst>
                  <a:ext uri="{FF2B5EF4-FFF2-40B4-BE49-F238E27FC236}">
                    <a16:creationId xmlns:a16="http://schemas.microsoft.com/office/drawing/2014/main" id="{5563F7A2-DE8F-443B-B70C-8CF47A27BD5B}"/>
                  </a:ext>
                </a:extLst>
              </p:cNvPr>
              <p:cNvSpPr/>
              <p:nvPr/>
            </p:nvSpPr>
            <p:spPr>
              <a:xfrm>
                <a:off x="1444209" y="3724305"/>
                <a:ext cx="444" cy="415"/>
              </a:xfrm>
              <a:custGeom>
                <a:avLst/>
                <a:gdLst>
                  <a:gd name="connsiteX0" fmla="*/ 4254 w 4253"/>
                  <a:gd name="connsiteY0" fmla="*/ 1811 h 3979"/>
                  <a:gd name="connsiteX1" fmla="*/ 2744 w 4253"/>
                  <a:gd name="connsiteY1" fmla="*/ 3979 h 3979"/>
                  <a:gd name="connsiteX2" fmla="*/ 0 w 4253"/>
                  <a:gd name="connsiteY2" fmla="*/ 2470 h 3979"/>
                  <a:gd name="connsiteX3" fmla="*/ 2003 w 4253"/>
                  <a:gd name="connsiteY3" fmla="*/ 0 h 3979"/>
                  <a:gd name="connsiteX4" fmla="*/ 4226 w 4253"/>
                  <a:gd name="connsiteY4" fmla="*/ 1811 h 3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3979">
                    <a:moveTo>
                      <a:pt x="4254" y="1811"/>
                    </a:moveTo>
                    <a:lnTo>
                      <a:pt x="2744" y="3979"/>
                    </a:lnTo>
                    <a:lnTo>
                      <a:pt x="0" y="2470"/>
                    </a:lnTo>
                    <a:lnTo>
                      <a:pt x="2003" y="0"/>
                    </a:lnTo>
                    <a:lnTo>
                      <a:pt x="4226"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1" name="Freeform: Shape 3910">
                <a:extLst>
                  <a:ext uri="{FF2B5EF4-FFF2-40B4-BE49-F238E27FC236}">
                    <a16:creationId xmlns:a16="http://schemas.microsoft.com/office/drawing/2014/main" id="{8375F639-D6E7-CD66-A93C-B67627A4C42C}"/>
                  </a:ext>
                </a:extLst>
              </p:cNvPr>
              <p:cNvSpPr/>
              <p:nvPr/>
            </p:nvSpPr>
            <p:spPr>
              <a:xfrm>
                <a:off x="1447873" y="3720151"/>
                <a:ext cx="489" cy="378"/>
              </a:xfrm>
              <a:custGeom>
                <a:avLst/>
                <a:gdLst>
                  <a:gd name="connsiteX0" fmla="*/ 4665 w 4692"/>
                  <a:gd name="connsiteY0" fmla="*/ 2442 h 3622"/>
                  <a:gd name="connsiteX1" fmla="*/ 2388 w 4692"/>
                  <a:gd name="connsiteY1" fmla="*/ 3622 h 3622"/>
                  <a:gd name="connsiteX2" fmla="*/ 0 w 4692"/>
                  <a:gd name="connsiteY2" fmla="*/ 988 h 3622"/>
                  <a:gd name="connsiteX3" fmla="*/ 2882 w 4692"/>
                  <a:gd name="connsiteY3" fmla="*/ 0 h 3622"/>
                  <a:gd name="connsiteX4" fmla="*/ 4693 w 4692"/>
                  <a:gd name="connsiteY4" fmla="*/ 2442 h 3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3622">
                    <a:moveTo>
                      <a:pt x="4665" y="2442"/>
                    </a:moveTo>
                    <a:lnTo>
                      <a:pt x="2388" y="3622"/>
                    </a:lnTo>
                    <a:lnTo>
                      <a:pt x="0" y="988"/>
                    </a:lnTo>
                    <a:lnTo>
                      <a:pt x="2882" y="0"/>
                    </a:lnTo>
                    <a:lnTo>
                      <a:pt x="4693" y="24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2" name="Freeform: Shape 3911">
                <a:extLst>
                  <a:ext uri="{FF2B5EF4-FFF2-40B4-BE49-F238E27FC236}">
                    <a16:creationId xmlns:a16="http://schemas.microsoft.com/office/drawing/2014/main" id="{796D5746-E7EA-68F4-F9CF-DFD53485B786}"/>
                  </a:ext>
                </a:extLst>
              </p:cNvPr>
              <p:cNvSpPr/>
              <p:nvPr/>
            </p:nvSpPr>
            <p:spPr>
              <a:xfrm>
                <a:off x="1450532" y="3723420"/>
                <a:ext cx="452" cy="404"/>
              </a:xfrm>
              <a:custGeom>
                <a:avLst/>
                <a:gdLst>
                  <a:gd name="connsiteX0" fmla="*/ 4336 w 4336"/>
                  <a:gd name="connsiteY0" fmla="*/ 2634 h 3869"/>
                  <a:gd name="connsiteX1" fmla="*/ 1400 w 4336"/>
                  <a:gd name="connsiteY1" fmla="*/ 3869 h 3869"/>
                  <a:gd name="connsiteX2" fmla="*/ 0 w 4336"/>
                  <a:gd name="connsiteY2" fmla="*/ 357 h 3869"/>
                  <a:gd name="connsiteX3" fmla="*/ 1729 w 4336"/>
                  <a:gd name="connsiteY3" fmla="*/ 0 h 3869"/>
                  <a:gd name="connsiteX4" fmla="*/ 4336 w 4336"/>
                  <a:gd name="connsiteY4" fmla="*/ 2634 h 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3869">
                    <a:moveTo>
                      <a:pt x="4336" y="2634"/>
                    </a:moveTo>
                    <a:lnTo>
                      <a:pt x="1400" y="3869"/>
                    </a:lnTo>
                    <a:lnTo>
                      <a:pt x="0" y="357"/>
                    </a:lnTo>
                    <a:lnTo>
                      <a:pt x="1729" y="0"/>
                    </a:lnTo>
                    <a:lnTo>
                      <a:pt x="4336"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3" name="Freeform: Shape 3912">
                <a:extLst>
                  <a:ext uri="{FF2B5EF4-FFF2-40B4-BE49-F238E27FC236}">
                    <a16:creationId xmlns:a16="http://schemas.microsoft.com/office/drawing/2014/main" id="{A559E7A9-AEF4-F648-63DF-2452CB4EF116}"/>
                  </a:ext>
                </a:extLst>
              </p:cNvPr>
              <p:cNvSpPr/>
              <p:nvPr/>
            </p:nvSpPr>
            <p:spPr>
              <a:xfrm>
                <a:off x="1438490" y="3722581"/>
                <a:ext cx="481" cy="363"/>
              </a:xfrm>
              <a:custGeom>
                <a:avLst/>
                <a:gdLst>
                  <a:gd name="connsiteX0" fmla="*/ 4611 w 4610"/>
                  <a:gd name="connsiteY0" fmla="*/ 2497 h 3485"/>
                  <a:gd name="connsiteX1" fmla="*/ 1839 w 4610"/>
                  <a:gd name="connsiteY1" fmla="*/ 3485 h 3485"/>
                  <a:gd name="connsiteX2" fmla="*/ 0 w 4610"/>
                  <a:gd name="connsiteY2" fmla="*/ 1125 h 3485"/>
                  <a:gd name="connsiteX3" fmla="*/ 2772 w 4610"/>
                  <a:gd name="connsiteY3" fmla="*/ 0 h 3485"/>
                  <a:gd name="connsiteX4" fmla="*/ 4611 w 4610"/>
                  <a:gd name="connsiteY4" fmla="*/ 2497 h 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3485">
                    <a:moveTo>
                      <a:pt x="4611" y="2497"/>
                    </a:moveTo>
                    <a:lnTo>
                      <a:pt x="1839" y="3485"/>
                    </a:lnTo>
                    <a:lnTo>
                      <a:pt x="0" y="1125"/>
                    </a:lnTo>
                    <a:lnTo>
                      <a:pt x="2772" y="0"/>
                    </a:lnTo>
                    <a:lnTo>
                      <a:pt x="4611"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4" name="Freeform: Shape 3913">
                <a:extLst>
                  <a:ext uri="{FF2B5EF4-FFF2-40B4-BE49-F238E27FC236}">
                    <a16:creationId xmlns:a16="http://schemas.microsoft.com/office/drawing/2014/main" id="{8704D178-0E5F-766A-C555-ACD1F1842DAA}"/>
                  </a:ext>
                </a:extLst>
              </p:cNvPr>
              <p:cNvSpPr/>
              <p:nvPr/>
            </p:nvSpPr>
            <p:spPr>
              <a:xfrm>
                <a:off x="1447226" y="3720861"/>
                <a:ext cx="426" cy="412"/>
              </a:xfrm>
              <a:custGeom>
                <a:avLst/>
                <a:gdLst>
                  <a:gd name="connsiteX0" fmla="*/ 2937 w 4088"/>
                  <a:gd name="connsiteY0" fmla="*/ 3101 h 3951"/>
                  <a:gd name="connsiteX1" fmla="*/ 0 w 4088"/>
                  <a:gd name="connsiteY1" fmla="*/ 3952 h 3951"/>
                  <a:gd name="connsiteX2" fmla="*/ 1290 w 4088"/>
                  <a:gd name="connsiteY2" fmla="*/ 0 h 3951"/>
                  <a:gd name="connsiteX3" fmla="*/ 4089 w 4088"/>
                  <a:gd name="connsiteY3" fmla="*/ 878 h 3951"/>
                  <a:gd name="connsiteX4" fmla="*/ 2937 w 4088"/>
                  <a:gd name="connsiteY4" fmla="*/ 3074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3951">
                    <a:moveTo>
                      <a:pt x="2937" y="3101"/>
                    </a:moveTo>
                    <a:lnTo>
                      <a:pt x="0" y="3952"/>
                    </a:lnTo>
                    <a:lnTo>
                      <a:pt x="1290" y="0"/>
                    </a:lnTo>
                    <a:lnTo>
                      <a:pt x="4089" y="878"/>
                    </a:lnTo>
                    <a:lnTo>
                      <a:pt x="2937"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5" name="Freeform: Shape 3914">
                <a:extLst>
                  <a:ext uri="{FF2B5EF4-FFF2-40B4-BE49-F238E27FC236}">
                    <a16:creationId xmlns:a16="http://schemas.microsoft.com/office/drawing/2014/main" id="{31918C0D-2FCC-4331-B248-D4212B016F47}"/>
                  </a:ext>
                </a:extLst>
              </p:cNvPr>
              <p:cNvSpPr/>
              <p:nvPr/>
            </p:nvSpPr>
            <p:spPr>
              <a:xfrm>
                <a:off x="1441658" y="3723340"/>
                <a:ext cx="343" cy="481"/>
              </a:xfrm>
              <a:custGeom>
                <a:avLst/>
                <a:gdLst>
                  <a:gd name="connsiteX0" fmla="*/ 3293 w 3293"/>
                  <a:gd name="connsiteY0" fmla="*/ 4062 h 4610"/>
                  <a:gd name="connsiteX1" fmla="*/ 961 w 3293"/>
                  <a:gd name="connsiteY1" fmla="*/ 4610 h 4610"/>
                  <a:gd name="connsiteX2" fmla="*/ 0 w 3293"/>
                  <a:gd name="connsiteY2" fmla="*/ 2333 h 4610"/>
                  <a:gd name="connsiteX3" fmla="*/ 2223 w 3293"/>
                  <a:gd name="connsiteY3" fmla="*/ 0 h 4610"/>
                  <a:gd name="connsiteX4" fmla="*/ 3293 w 3293"/>
                  <a:gd name="connsiteY4" fmla="*/ 4089 h 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 h="4610">
                    <a:moveTo>
                      <a:pt x="3293" y="4062"/>
                    </a:moveTo>
                    <a:lnTo>
                      <a:pt x="961" y="4610"/>
                    </a:lnTo>
                    <a:lnTo>
                      <a:pt x="0" y="2333"/>
                    </a:lnTo>
                    <a:lnTo>
                      <a:pt x="2223" y="0"/>
                    </a:lnTo>
                    <a:lnTo>
                      <a:pt x="3293" y="40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6" name="Freeform: Shape 3915">
                <a:extLst>
                  <a:ext uri="{FF2B5EF4-FFF2-40B4-BE49-F238E27FC236}">
                    <a16:creationId xmlns:a16="http://schemas.microsoft.com/office/drawing/2014/main" id="{351400BD-91C1-DD51-54CB-DC44F33DBB6D}"/>
                  </a:ext>
                </a:extLst>
              </p:cNvPr>
              <p:cNvSpPr/>
              <p:nvPr/>
            </p:nvSpPr>
            <p:spPr>
              <a:xfrm>
                <a:off x="1437208" y="3719150"/>
                <a:ext cx="409" cy="406"/>
              </a:xfrm>
              <a:custGeom>
                <a:avLst/>
                <a:gdLst>
                  <a:gd name="connsiteX0" fmla="*/ 3513 w 3924"/>
                  <a:gd name="connsiteY0" fmla="*/ 3101 h 3897"/>
                  <a:gd name="connsiteX1" fmla="*/ 2031 w 3924"/>
                  <a:gd name="connsiteY1" fmla="*/ 3897 h 3897"/>
                  <a:gd name="connsiteX2" fmla="*/ 0 w 3924"/>
                  <a:gd name="connsiteY2" fmla="*/ 247 h 3897"/>
                  <a:gd name="connsiteX3" fmla="*/ 3925 w 3924"/>
                  <a:gd name="connsiteY3" fmla="*/ 0 h 3897"/>
                  <a:gd name="connsiteX4" fmla="*/ 3513 w 3924"/>
                  <a:gd name="connsiteY4" fmla="*/ 3074 h 3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3897">
                    <a:moveTo>
                      <a:pt x="3513" y="3101"/>
                    </a:moveTo>
                    <a:lnTo>
                      <a:pt x="2031" y="3897"/>
                    </a:lnTo>
                    <a:lnTo>
                      <a:pt x="0" y="247"/>
                    </a:lnTo>
                    <a:lnTo>
                      <a:pt x="3925" y="0"/>
                    </a:lnTo>
                    <a:lnTo>
                      <a:pt x="3513"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7" name="Freeform: Shape 3916">
                <a:extLst>
                  <a:ext uri="{FF2B5EF4-FFF2-40B4-BE49-F238E27FC236}">
                    <a16:creationId xmlns:a16="http://schemas.microsoft.com/office/drawing/2014/main" id="{633D884A-0A90-8AE4-3A5D-A57BAA7B86CE}"/>
                  </a:ext>
                </a:extLst>
              </p:cNvPr>
              <p:cNvSpPr/>
              <p:nvPr/>
            </p:nvSpPr>
            <p:spPr>
              <a:xfrm>
                <a:off x="1440141" y="3720343"/>
                <a:ext cx="306" cy="529"/>
              </a:xfrm>
              <a:custGeom>
                <a:avLst/>
                <a:gdLst>
                  <a:gd name="connsiteX0" fmla="*/ 1812 w 2936"/>
                  <a:gd name="connsiteY0" fmla="*/ 4693 h 5076"/>
                  <a:gd name="connsiteX1" fmla="*/ 330 w 2936"/>
                  <a:gd name="connsiteY1" fmla="*/ 5077 h 5076"/>
                  <a:gd name="connsiteX2" fmla="*/ 0 w 2936"/>
                  <a:gd name="connsiteY2" fmla="*/ 1592 h 5076"/>
                  <a:gd name="connsiteX3" fmla="*/ 1181 w 2936"/>
                  <a:gd name="connsiteY3" fmla="*/ 0 h 5076"/>
                  <a:gd name="connsiteX4" fmla="*/ 2937 w 2936"/>
                  <a:gd name="connsiteY4" fmla="*/ 2058 h 5076"/>
                  <a:gd name="connsiteX5" fmla="*/ 1812 w 2936"/>
                  <a:gd name="connsiteY5" fmla="*/ 4693 h 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6" h="5076">
                    <a:moveTo>
                      <a:pt x="1812" y="4693"/>
                    </a:moveTo>
                    <a:lnTo>
                      <a:pt x="330" y="5077"/>
                    </a:lnTo>
                    <a:lnTo>
                      <a:pt x="0" y="1592"/>
                    </a:lnTo>
                    <a:lnTo>
                      <a:pt x="1181" y="0"/>
                    </a:lnTo>
                    <a:lnTo>
                      <a:pt x="2937" y="2058"/>
                    </a:lnTo>
                    <a:lnTo>
                      <a:pt x="1812"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8" name="Freeform: Shape 3917">
                <a:extLst>
                  <a:ext uri="{FF2B5EF4-FFF2-40B4-BE49-F238E27FC236}">
                    <a16:creationId xmlns:a16="http://schemas.microsoft.com/office/drawing/2014/main" id="{61252621-92E5-2165-E98B-06C33FD43E9A}"/>
                  </a:ext>
                </a:extLst>
              </p:cNvPr>
              <p:cNvSpPr/>
              <p:nvPr/>
            </p:nvSpPr>
            <p:spPr>
              <a:xfrm>
                <a:off x="1437222" y="3722358"/>
                <a:ext cx="381" cy="412"/>
              </a:xfrm>
              <a:custGeom>
                <a:avLst/>
                <a:gdLst>
                  <a:gd name="connsiteX0" fmla="*/ 2525 w 3650"/>
                  <a:gd name="connsiteY0" fmla="*/ 165 h 3951"/>
                  <a:gd name="connsiteX1" fmla="*/ 3650 w 3650"/>
                  <a:gd name="connsiteY1" fmla="*/ 3952 h 3951"/>
                  <a:gd name="connsiteX2" fmla="*/ 933 w 3650"/>
                  <a:gd name="connsiteY2" fmla="*/ 3211 h 3951"/>
                  <a:gd name="connsiteX3" fmla="*/ 0 w 3650"/>
                  <a:gd name="connsiteY3" fmla="*/ 0 h 3951"/>
                  <a:gd name="connsiteX4" fmla="*/ 2525 w 3650"/>
                  <a:gd name="connsiteY4" fmla="*/ 192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3951">
                    <a:moveTo>
                      <a:pt x="2525" y="165"/>
                    </a:moveTo>
                    <a:lnTo>
                      <a:pt x="3650" y="3952"/>
                    </a:lnTo>
                    <a:lnTo>
                      <a:pt x="933" y="3211"/>
                    </a:lnTo>
                    <a:lnTo>
                      <a:pt x="0" y="0"/>
                    </a:lnTo>
                    <a:lnTo>
                      <a:pt x="2525" y="1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19" name="Freeform: Shape 3918">
                <a:extLst>
                  <a:ext uri="{FF2B5EF4-FFF2-40B4-BE49-F238E27FC236}">
                    <a16:creationId xmlns:a16="http://schemas.microsoft.com/office/drawing/2014/main" id="{35A360C9-24D1-BE33-8AAA-E62B35D395AE}"/>
                  </a:ext>
                </a:extLst>
              </p:cNvPr>
              <p:cNvSpPr/>
              <p:nvPr/>
            </p:nvSpPr>
            <p:spPr>
              <a:xfrm>
                <a:off x="1443321" y="3724222"/>
                <a:ext cx="295" cy="527"/>
              </a:xfrm>
              <a:custGeom>
                <a:avLst/>
                <a:gdLst>
                  <a:gd name="connsiteX0" fmla="*/ 2772 w 2826"/>
                  <a:gd name="connsiteY0" fmla="*/ 3650 h 5049"/>
                  <a:gd name="connsiteX1" fmla="*/ 988 w 2826"/>
                  <a:gd name="connsiteY1" fmla="*/ 5049 h 5049"/>
                  <a:gd name="connsiteX2" fmla="*/ 0 w 2826"/>
                  <a:gd name="connsiteY2" fmla="*/ 3787 h 5049"/>
                  <a:gd name="connsiteX3" fmla="*/ 1262 w 2826"/>
                  <a:gd name="connsiteY3" fmla="*/ 0 h 5049"/>
                  <a:gd name="connsiteX4" fmla="*/ 2827 w 2826"/>
                  <a:gd name="connsiteY4" fmla="*/ 1509 h 5049"/>
                  <a:gd name="connsiteX5" fmla="*/ 2772 w 2826"/>
                  <a:gd name="connsiteY5" fmla="*/ 3650 h 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6" h="5049">
                    <a:moveTo>
                      <a:pt x="2772" y="3650"/>
                    </a:moveTo>
                    <a:lnTo>
                      <a:pt x="988" y="5049"/>
                    </a:lnTo>
                    <a:lnTo>
                      <a:pt x="0" y="3787"/>
                    </a:lnTo>
                    <a:lnTo>
                      <a:pt x="1262" y="0"/>
                    </a:lnTo>
                    <a:lnTo>
                      <a:pt x="2827" y="1509"/>
                    </a:lnTo>
                    <a:lnTo>
                      <a:pt x="2772" y="36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0" name="Freeform: Shape 3919">
                <a:extLst>
                  <a:ext uri="{FF2B5EF4-FFF2-40B4-BE49-F238E27FC236}">
                    <a16:creationId xmlns:a16="http://schemas.microsoft.com/office/drawing/2014/main" id="{3C177CB0-A3D9-862A-3FD0-8EDC3DE8CABA}"/>
                  </a:ext>
                </a:extLst>
              </p:cNvPr>
              <p:cNvSpPr/>
              <p:nvPr/>
            </p:nvSpPr>
            <p:spPr>
              <a:xfrm>
                <a:off x="1438559" y="3720140"/>
                <a:ext cx="475" cy="329"/>
              </a:xfrm>
              <a:custGeom>
                <a:avLst/>
                <a:gdLst>
                  <a:gd name="connsiteX0" fmla="*/ 4556 w 4555"/>
                  <a:gd name="connsiteY0" fmla="*/ 2607 h 3156"/>
                  <a:gd name="connsiteX1" fmla="*/ 1592 w 4555"/>
                  <a:gd name="connsiteY1" fmla="*/ 3156 h 3156"/>
                  <a:gd name="connsiteX2" fmla="*/ 0 w 4555"/>
                  <a:gd name="connsiteY2" fmla="*/ 659 h 3156"/>
                  <a:gd name="connsiteX3" fmla="*/ 3211 w 4555"/>
                  <a:gd name="connsiteY3" fmla="*/ 0 h 3156"/>
                  <a:gd name="connsiteX4" fmla="*/ 4528 w 4555"/>
                  <a:gd name="connsiteY4" fmla="*/ 2635 h 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3156">
                    <a:moveTo>
                      <a:pt x="4556" y="2607"/>
                    </a:moveTo>
                    <a:lnTo>
                      <a:pt x="1592" y="3156"/>
                    </a:lnTo>
                    <a:lnTo>
                      <a:pt x="0" y="659"/>
                    </a:lnTo>
                    <a:lnTo>
                      <a:pt x="3211" y="0"/>
                    </a:lnTo>
                    <a:lnTo>
                      <a:pt x="4528" y="26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1" name="Freeform: Shape 3920">
                <a:extLst>
                  <a:ext uri="{FF2B5EF4-FFF2-40B4-BE49-F238E27FC236}">
                    <a16:creationId xmlns:a16="http://schemas.microsoft.com/office/drawing/2014/main" id="{0CAFC448-ACA4-5E76-EE45-D4014096A333}"/>
                  </a:ext>
                </a:extLst>
              </p:cNvPr>
              <p:cNvSpPr/>
              <p:nvPr/>
            </p:nvSpPr>
            <p:spPr>
              <a:xfrm>
                <a:off x="1442652" y="3720343"/>
                <a:ext cx="283" cy="547"/>
              </a:xfrm>
              <a:custGeom>
                <a:avLst/>
                <a:gdLst>
                  <a:gd name="connsiteX0" fmla="*/ 2717 w 2716"/>
                  <a:gd name="connsiteY0" fmla="*/ 3485 h 5241"/>
                  <a:gd name="connsiteX1" fmla="*/ 302 w 2716"/>
                  <a:gd name="connsiteY1" fmla="*/ 5241 h 5241"/>
                  <a:gd name="connsiteX2" fmla="*/ 0 w 2716"/>
                  <a:gd name="connsiteY2" fmla="*/ 1592 h 5241"/>
                  <a:gd name="connsiteX3" fmla="*/ 2113 w 2716"/>
                  <a:gd name="connsiteY3" fmla="*/ 0 h 5241"/>
                  <a:gd name="connsiteX4" fmla="*/ 2717 w 2716"/>
                  <a:gd name="connsiteY4" fmla="*/ 3485 h 5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6" h="5241">
                    <a:moveTo>
                      <a:pt x="2717" y="3485"/>
                    </a:moveTo>
                    <a:lnTo>
                      <a:pt x="302" y="5241"/>
                    </a:lnTo>
                    <a:lnTo>
                      <a:pt x="0" y="1592"/>
                    </a:lnTo>
                    <a:lnTo>
                      <a:pt x="2113" y="0"/>
                    </a:lnTo>
                    <a:lnTo>
                      <a:pt x="2717"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2" name="Freeform: Shape 3921">
                <a:extLst>
                  <a:ext uri="{FF2B5EF4-FFF2-40B4-BE49-F238E27FC236}">
                    <a16:creationId xmlns:a16="http://schemas.microsoft.com/office/drawing/2014/main" id="{1105E5F4-6516-6E10-A589-13B8E75DC1B3}"/>
                  </a:ext>
                </a:extLst>
              </p:cNvPr>
              <p:cNvSpPr/>
              <p:nvPr/>
            </p:nvSpPr>
            <p:spPr>
              <a:xfrm>
                <a:off x="1449058" y="3724053"/>
                <a:ext cx="392" cy="384"/>
              </a:xfrm>
              <a:custGeom>
                <a:avLst/>
                <a:gdLst>
                  <a:gd name="connsiteX0" fmla="*/ 3759 w 3759"/>
                  <a:gd name="connsiteY0" fmla="*/ 1811 h 3677"/>
                  <a:gd name="connsiteX1" fmla="*/ 1180 w 3759"/>
                  <a:gd name="connsiteY1" fmla="*/ 3677 h 3677"/>
                  <a:gd name="connsiteX2" fmla="*/ 0 w 3759"/>
                  <a:gd name="connsiteY2" fmla="*/ 2579 h 3677"/>
                  <a:gd name="connsiteX3" fmla="*/ 109 w 3759"/>
                  <a:gd name="connsiteY3" fmla="*/ 796 h 3677"/>
                  <a:gd name="connsiteX4" fmla="*/ 2908 w 3759"/>
                  <a:gd name="connsiteY4" fmla="*/ 0 h 3677"/>
                  <a:gd name="connsiteX5" fmla="*/ 3759 w 3759"/>
                  <a:gd name="connsiteY5" fmla="*/ 1811 h 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9" h="3677">
                    <a:moveTo>
                      <a:pt x="3759" y="1811"/>
                    </a:moveTo>
                    <a:lnTo>
                      <a:pt x="1180" y="3677"/>
                    </a:lnTo>
                    <a:lnTo>
                      <a:pt x="0" y="2579"/>
                    </a:lnTo>
                    <a:lnTo>
                      <a:pt x="109" y="796"/>
                    </a:lnTo>
                    <a:lnTo>
                      <a:pt x="2908" y="0"/>
                    </a:lnTo>
                    <a:lnTo>
                      <a:pt x="3759"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3" name="Freeform: Shape 3922">
                <a:extLst>
                  <a:ext uri="{FF2B5EF4-FFF2-40B4-BE49-F238E27FC236}">
                    <a16:creationId xmlns:a16="http://schemas.microsoft.com/office/drawing/2014/main" id="{1EC09FA2-5D2A-6684-B322-ACAE759AD4E5}"/>
                  </a:ext>
                </a:extLst>
              </p:cNvPr>
              <p:cNvSpPr/>
              <p:nvPr/>
            </p:nvSpPr>
            <p:spPr>
              <a:xfrm>
                <a:off x="1442251" y="3723174"/>
                <a:ext cx="372" cy="398"/>
              </a:xfrm>
              <a:custGeom>
                <a:avLst/>
                <a:gdLst>
                  <a:gd name="connsiteX0" fmla="*/ 3568 w 3567"/>
                  <a:gd name="connsiteY0" fmla="*/ 1894 h 3814"/>
                  <a:gd name="connsiteX1" fmla="*/ 1784 w 3567"/>
                  <a:gd name="connsiteY1" fmla="*/ 3815 h 3814"/>
                  <a:gd name="connsiteX2" fmla="*/ 0 w 3567"/>
                  <a:gd name="connsiteY2" fmla="*/ 2415 h 3814"/>
                  <a:gd name="connsiteX3" fmla="*/ 356 w 3567"/>
                  <a:gd name="connsiteY3" fmla="*/ 714 h 3814"/>
                  <a:gd name="connsiteX4" fmla="*/ 3293 w 3567"/>
                  <a:gd name="connsiteY4" fmla="*/ 0 h 3814"/>
                  <a:gd name="connsiteX5" fmla="*/ 3568 w 3567"/>
                  <a:gd name="connsiteY5" fmla="*/ 1866 h 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3814">
                    <a:moveTo>
                      <a:pt x="3568" y="1894"/>
                    </a:moveTo>
                    <a:lnTo>
                      <a:pt x="1784" y="3815"/>
                    </a:lnTo>
                    <a:lnTo>
                      <a:pt x="0" y="2415"/>
                    </a:lnTo>
                    <a:lnTo>
                      <a:pt x="356" y="714"/>
                    </a:lnTo>
                    <a:lnTo>
                      <a:pt x="3293" y="0"/>
                    </a:lnTo>
                    <a:lnTo>
                      <a:pt x="3568" y="18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4" name="Freeform: Shape 3923">
                <a:extLst>
                  <a:ext uri="{FF2B5EF4-FFF2-40B4-BE49-F238E27FC236}">
                    <a16:creationId xmlns:a16="http://schemas.microsoft.com/office/drawing/2014/main" id="{913C7C8D-B594-D970-5C64-F7D0828B12A1}"/>
                  </a:ext>
                </a:extLst>
              </p:cNvPr>
              <p:cNvSpPr/>
              <p:nvPr/>
            </p:nvSpPr>
            <p:spPr>
              <a:xfrm>
                <a:off x="1437199" y="3720646"/>
                <a:ext cx="395" cy="375"/>
              </a:xfrm>
              <a:custGeom>
                <a:avLst/>
                <a:gdLst>
                  <a:gd name="connsiteX0" fmla="*/ 3294 w 3787"/>
                  <a:gd name="connsiteY0" fmla="*/ 0 h 3595"/>
                  <a:gd name="connsiteX1" fmla="*/ 3787 w 3787"/>
                  <a:gd name="connsiteY1" fmla="*/ 3595 h 3595"/>
                  <a:gd name="connsiteX2" fmla="*/ 0 w 3787"/>
                  <a:gd name="connsiteY2" fmla="*/ 2058 h 3595"/>
                  <a:gd name="connsiteX3" fmla="*/ 1071 w 3787"/>
                  <a:gd name="connsiteY3" fmla="*/ 0 h 3595"/>
                  <a:gd name="connsiteX4" fmla="*/ 3294 w 3787"/>
                  <a:gd name="connsiteY4" fmla="*/ 0 h 3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3595">
                    <a:moveTo>
                      <a:pt x="3294" y="0"/>
                    </a:moveTo>
                    <a:lnTo>
                      <a:pt x="3787" y="3595"/>
                    </a:lnTo>
                    <a:lnTo>
                      <a:pt x="0" y="2058"/>
                    </a:lnTo>
                    <a:lnTo>
                      <a:pt x="1071" y="0"/>
                    </a:lnTo>
                    <a:lnTo>
                      <a:pt x="329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5" name="Freeform: Shape 3924">
                <a:extLst>
                  <a:ext uri="{FF2B5EF4-FFF2-40B4-BE49-F238E27FC236}">
                    <a16:creationId xmlns:a16="http://schemas.microsoft.com/office/drawing/2014/main" id="{D6B24B80-8E4C-249A-C0B0-C8683C8DE2C5}"/>
                  </a:ext>
                </a:extLst>
              </p:cNvPr>
              <p:cNvSpPr/>
              <p:nvPr/>
            </p:nvSpPr>
            <p:spPr>
              <a:xfrm>
                <a:off x="1447916" y="3722919"/>
                <a:ext cx="309" cy="475"/>
              </a:xfrm>
              <a:custGeom>
                <a:avLst/>
                <a:gdLst>
                  <a:gd name="connsiteX0" fmla="*/ 2963 w 2963"/>
                  <a:gd name="connsiteY0" fmla="*/ 3101 h 4555"/>
                  <a:gd name="connsiteX1" fmla="*/ 1756 w 2963"/>
                  <a:gd name="connsiteY1" fmla="*/ 4555 h 4555"/>
                  <a:gd name="connsiteX2" fmla="*/ 0 w 2963"/>
                  <a:gd name="connsiteY2" fmla="*/ 2909 h 4555"/>
                  <a:gd name="connsiteX3" fmla="*/ 301 w 2963"/>
                  <a:gd name="connsiteY3" fmla="*/ 604 h 4555"/>
                  <a:gd name="connsiteX4" fmla="*/ 2086 w 2963"/>
                  <a:gd name="connsiteY4" fmla="*/ 0 h 4555"/>
                  <a:gd name="connsiteX5" fmla="*/ 2963 w 2963"/>
                  <a:gd name="connsiteY5" fmla="*/ 3074 h 4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3" h="4555">
                    <a:moveTo>
                      <a:pt x="2963" y="3101"/>
                    </a:moveTo>
                    <a:lnTo>
                      <a:pt x="1756" y="4555"/>
                    </a:lnTo>
                    <a:lnTo>
                      <a:pt x="0" y="2909"/>
                    </a:lnTo>
                    <a:lnTo>
                      <a:pt x="301" y="604"/>
                    </a:lnTo>
                    <a:lnTo>
                      <a:pt x="2086" y="0"/>
                    </a:lnTo>
                    <a:lnTo>
                      <a:pt x="2963"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6" name="Freeform: Shape 3925">
                <a:extLst>
                  <a:ext uri="{FF2B5EF4-FFF2-40B4-BE49-F238E27FC236}">
                    <a16:creationId xmlns:a16="http://schemas.microsoft.com/office/drawing/2014/main" id="{A4A47AD6-6430-67D0-16A5-0353A93BE473}"/>
                  </a:ext>
                </a:extLst>
              </p:cNvPr>
              <p:cNvSpPr/>
              <p:nvPr/>
            </p:nvSpPr>
            <p:spPr>
              <a:xfrm>
                <a:off x="1440336" y="3721305"/>
                <a:ext cx="361" cy="401"/>
              </a:xfrm>
              <a:custGeom>
                <a:avLst/>
                <a:gdLst>
                  <a:gd name="connsiteX0" fmla="*/ 3457 w 3457"/>
                  <a:gd name="connsiteY0" fmla="*/ 2799 h 3841"/>
                  <a:gd name="connsiteX1" fmla="*/ 1866 w 3457"/>
                  <a:gd name="connsiteY1" fmla="*/ 3842 h 3841"/>
                  <a:gd name="connsiteX2" fmla="*/ 0 w 3457"/>
                  <a:gd name="connsiteY2" fmla="*/ 2579 h 3841"/>
                  <a:gd name="connsiteX3" fmla="*/ 1070 w 3457"/>
                  <a:gd name="connsiteY3" fmla="*/ 0 h 3841"/>
                  <a:gd name="connsiteX4" fmla="*/ 3018 w 3457"/>
                  <a:gd name="connsiteY4" fmla="*/ 494 h 3841"/>
                  <a:gd name="connsiteX5" fmla="*/ 3457 w 3457"/>
                  <a:gd name="connsiteY5" fmla="*/ 2799 h 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7" h="3841">
                    <a:moveTo>
                      <a:pt x="3457" y="2799"/>
                    </a:moveTo>
                    <a:lnTo>
                      <a:pt x="1866" y="3842"/>
                    </a:lnTo>
                    <a:lnTo>
                      <a:pt x="0" y="2579"/>
                    </a:lnTo>
                    <a:lnTo>
                      <a:pt x="1070" y="0"/>
                    </a:lnTo>
                    <a:lnTo>
                      <a:pt x="3018" y="494"/>
                    </a:lnTo>
                    <a:lnTo>
                      <a:pt x="3457" y="27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7" name="Freeform: Shape 3926">
                <a:extLst>
                  <a:ext uri="{FF2B5EF4-FFF2-40B4-BE49-F238E27FC236}">
                    <a16:creationId xmlns:a16="http://schemas.microsoft.com/office/drawing/2014/main" id="{90D43B14-65D5-C2E9-7095-E2455077E043}"/>
                  </a:ext>
                </a:extLst>
              </p:cNvPr>
              <p:cNvSpPr/>
              <p:nvPr/>
            </p:nvSpPr>
            <p:spPr>
              <a:xfrm>
                <a:off x="1436206" y="3720961"/>
                <a:ext cx="384" cy="366"/>
              </a:xfrm>
              <a:custGeom>
                <a:avLst/>
                <a:gdLst>
                  <a:gd name="connsiteX0" fmla="*/ 3678 w 3677"/>
                  <a:gd name="connsiteY0" fmla="*/ 1070 h 3512"/>
                  <a:gd name="connsiteX1" fmla="*/ 2553 w 3677"/>
                  <a:gd name="connsiteY1" fmla="*/ 3513 h 3512"/>
                  <a:gd name="connsiteX2" fmla="*/ 604 w 3677"/>
                  <a:gd name="connsiteY2" fmla="*/ 3513 h 3512"/>
                  <a:gd name="connsiteX3" fmla="*/ 0 w 3677"/>
                  <a:gd name="connsiteY3" fmla="*/ 1564 h 3512"/>
                  <a:gd name="connsiteX4" fmla="*/ 906 w 3677"/>
                  <a:gd name="connsiteY4" fmla="*/ 0 h 3512"/>
                  <a:gd name="connsiteX5" fmla="*/ 3678 w 3677"/>
                  <a:gd name="connsiteY5" fmla="*/ 1070 h 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7" h="3512">
                    <a:moveTo>
                      <a:pt x="3678" y="1070"/>
                    </a:moveTo>
                    <a:lnTo>
                      <a:pt x="2553" y="3513"/>
                    </a:lnTo>
                    <a:lnTo>
                      <a:pt x="604" y="3513"/>
                    </a:lnTo>
                    <a:cubicBezTo>
                      <a:pt x="604" y="3513"/>
                      <a:pt x="0" y="1564"/>
                      <a:pt x="0" y="1564"/>
                    </a:cubicBezTo>
                    <a:lnTo>
                      <a:pt x="906" y="0"/>
                    </a:lnTo>
                    <a:lnTo>
                      <a:pt x="3678" y="10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8" name="Freeform: Shape 3927">
                <a:extLst>
                  <a:ext uri="{FF2B5EF4-FFF2-40B4-BE49-F238E27FC236}">
                    <a16:creationId xmlns:a16="http://schemas.microsoft.com/office/drawing/2014/main" id="{EA9EC0C8-3F46-2E41-9D32-2F7A87579098}"/>
                  </a:ext>
                </a:extLst>
              </p:cNvPr>
              <p:cNvSpPr/>
              <p:nvPr/>
            </p:nvSpPr>
            <p:spPr>
              <a:xfrm>
                <a:off x="1443010" y="3720211"/>
                <a:ext cx="432" cy="329"/>
              </a:xfrm>
              <a:custGeom>
                <a:avLst/>
                <a:gdLst>
                  <a:gd name="connsiteX0" fmla="*/ 4144 w 4143"/>
                  <a:gd name="connsiteY0" fmla="*/ 1701 h 3156"/>
                  <a:gd name="connsiteX1" fmla="*/ 2992 w 4143"/>
                  <a:gd name="connsiteY1" fmla="*/ 3156 h 3156"/>
                  <a:gd name="connsiteX2" fmla="*/ 0 w 4143"/>
                  <a:gd name="connsiteY2" fmla="*/ 2196 h 3156"/>
                  <a:gd name="connsiteX3" fmla="*/ 220 w 4143"/>
                  <a:gd name="connsiteY3" fmla="*/ 165 h 3156"/>
                  <a:gd name="connsiteX4" fmla="*/ 3129 w 4143"/>
                  <a:gd name="connsiteY4" fmla="*/ 0 h 3156"/>
                  <a:gd name="connsiteX5" fmla="*/ 4144 w 4143"/>
                  <a:gd name="connsiteY5" fmla="*/ 1729 h 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3" h="3156">
                    <a:moveTo>
                      <a:pt x="4144" y="1701"/>
                    </a:moveTo>
                    <a:lnTo>
                      <a:pt x="2992" y="3156"/>
                    </a:lnTo>
                    <a:lnTo>
                      <a:pt x="0" y="2196"/>
                    </a:lnTo>
                    <a:lnTo>
                      <a:pt x="220" y="165"/>
                    </a:lnTo>
                    <a:lnTo>
                      <a:pt x="3129" y="0"/>
                    </a:lnTo>
                    <a:lnTo>
                      <a:pt x="4144" y="17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29" name="Freeform: Shape 3928">
                <a:extLst>
                  <a:ext uri="{FF2B5EF4-FFF2-40B4-BE49-F238E27FC236}">
                    <a16:creationId xmlns:a16="http://schemas.microsoft.com/office/drawing/2014/main" id="{CE0FC119-75C9-00B3-679C-7312A2350CEF}"/>
                  </a:ext>
                </a:extLst>
              </p:cNvPr>
              <p:cNvSpPr/>
              <p:nvPr/>
            </p:nvSpPr>
            <p:spPr>
              <a:xfrm>
                <a:off x="1443714" y="3715801"/>
                <a:ext cx="326" cy="441"/>
              </a:xfrm>
              <a:custGeom>
                <a:avLst/>
                <a:gdLst>
                  <a:gd name="connsiteX0" fmla="*/ 3129 w 3128"/>
                  <a:gd name="connsiteY0" fmla="*/ 1180 h 4225"/>
                  <a:gd name="connsiteX1" fmla="*/ 2662 w 3128"/>
                  <a:gd name="connsiteY1" fmla="*/ 4226 h 4225"/>
                  <a:gd name="connsiteX2" fmla="*/ 247 w 3128"/>
                  <a:gd name="connsiteY2" fmla="*/ 3430 h 4225"/>
                  <a:gd name="connsiteX3" fmla="*/ 0 w 3128"/>
                  <a:gd name="connsiteY3" fmla="*/ 1564 h 4225"/>
                  <a:gd name="connsiteX4" fmla="*/ 1812 w 3128"/>
                  <a:gd name="connsiteY4" fmla="*/ 0 h 4225"/>
                  <a:gd name="connsiteX5" fmla="*/ 3129 w 3128"/>
                  <a:gd name="connsiteY5" fmla="*/ 1180 h 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4225">
                    <a:moveTo>
                      <a:pt x="3129" y="1180"/>
                    </a:moveTo>
                    <a:lnTo>
                      <a:pt x="2662" y="4226"/>
                    </a:lnTo>
                    <a:lnTo>
                      <a:pt x="247" y="3430"/>
                    </a:lnTo>
                    <a:lnTo>
                      <a:pt x="0" y="1564"/>
                    </a:lnTo>
                    <a:lnTo>
                      <a:pt x="1812" y="0"/>
                    </a:lnTo>
                    <a:lnTo>
                      <a:pt x="3129"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0" name="Freeform: Shape 3929">
                <a:extLst>
                  <a:ext uri="{FF2B5EF4-FFF2-40B4-BE49-F238E27FC236}">
                    <a16:creationId xmlns:a16="http://schemas.microsoft.com/office/drawing/2014/main" id="{4834C960-C780-1E0E-7855-5DAC1BF21339}"/>
                  </a:ext>
                </a:extLst>
              </p:cNvPr>
              <p:cNvSpPr/>
              <p:nvPr/>
            </p:nvSpPr>
            <p:spPr>
              <a:xfrm>
                <a:off x="1448537" y="3723535"/>
                <a:ext cx="395" cy="341"/>
              </a:xfrm>
              <a:custGeom>
                <a:avLst/>
                <a:gdLst>
                  <a:gd name="connsiteX0" fmla="*/ 3787 w 3786"/>
                  <a:gd name="connsiteY0" fmla="*/ 2141 h 3265"/>
                  <a:gd name="connsiteX1" fmla="*/ 2882 w 3786"/>
                  <a:gd name="connsiteY1" fmla="*/ 3266 h 3265"/>
                  <a:gd name="connsiteX2" fmla="*/ 0 w 3786"/>
                  <a:gd name="connsiteY2" fmla="*/ 2442 h 3265"/>
                  <a:gd name="connsiteX3" fmla="*/ 247 w 3786"/>
                  <a:gd name="connsiteY3" fmla="*/ 467 h 3265"/>
                  <a:gd name="connsiteX4" fmla="*/ 2827 w 3786"/>
                  <a:gd name="connsiteY4" fmla="*/ 0 h 3265"/>
                  <a:gd name="connsiteX5" fmla="*/ 3787 w 3786"/>
                  <a:gd name="connsiteY5" fmla="*/ 2141 h 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6" h="3265">
                    <a:moveTo>
                      <a:pt x="3787" y="2141"/>
                    </a:moveTo>
                    <a:lnTo>
                      <a:pt x="2882" y="3266"/>
                    </a:lnTo>
                    <a:lnTo>
                      <a:pt x="0" y="2442"/>
                    </a:lnTo>
                    <a:lnTo>
                      <a:pt x="247" y="467"/>
                    </a:lnTo>
                    <a:lnTo>
                      <a:pt x="2827" y="0"/>
                    </a:lnTo>
                    <a:lnTo>
                      <a:pt x="3787"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1" name="Freeform: Shape 3930">
                <a:extLst>
                  <a:ext uri="{FF2B5EF4-FFF2-40B4-BE49-F238E27FC236}">
                    <a16:creationId xmlns:a16="http://schemas.microsoft.com/office/drawing/2014/main" id="{4AE0F12F-1F13-F217-CF52-07354F3DE6EF}"/>
                  </a:ext>
                </a:extLst>
              </p:cNvPr>
              <p:cNvSpPr/>
              <p:nvPr/>
            </p:nvSpPr>
            <p:spPr>
              <a:xfrm>
                <a:off x="1441681" y="3720157"/>
                <a:ext cx="240" cy="549"/>
              </a:xfrm>
              <a:custGeom>
                <a:avLst/>
                <a:gdLst>
                  <a:gd name="connsiteX0" fmla="*/ 2277 w 2304"/>
                  <a:gd name="connsiteY0" fmla="*/ 4638 h 5268"/>
                  <a:gd name="connsiteX1" fmla="*/ 356 w 2304"/>
                  <a:gd name="connsiteY1" fmla="*/ 5269 h 5268"/>
                  <a:gd name="connsiteX2" fmla="*/ 0 w 2304"/>
                  <a:gd name="connsiteY2" fmla="*/ 3019 h 5268"/>
                  <a:gd name="connsiteX3" fmla="*/ 494 w 2304"/>
                  <a:gd name="connsiteY3" fmla="*/ 0 h 5268"/>
                  <a:gd name="connsiteX4" fmla="*/ 2222 w 2304"/>
                  <a:gd name="connsiteY4" fmla="*/ 933 h 5268"/>
                  <a:gd name="connsiteX5" fmla="*/ 2305 w 2304"/>
                  <a:gd name="connsiteY5" fmla="*/ 4610 h 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 h="5268">
                    <a:moveTo>
                      <a:pt x="2277" y="4638"/>
                    </a:moveTo>
                    <a:lnTo>
                      <a:pt x="356" y="5269"/>
                    </a:lnTo>
                    <a:lnTo>
                      <a:pt x="0" y="3019"/>
                    </a:lnTo>
                    <a:lnTo>
                      <a:pt x="494" y="0"/>
                    </a:lnTo>
                    <a:lnTo>
                      <a:pt x="2222" y="933"/>
                    </a:lnTo>
                    <a:lnTo>
                      <a:pt x="2305" y="46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2" name="Freeform: Shape 3931">
                <a:extLst>
                  <a:ext uri="{FF2B5EF4-FFF2-40B4-BE49-F238E27FC236}">
                    <a16:creationId xmlns:a16="http://schemas.microsoft.com/office/drawing/2014/main" id="{E4B3CE45-929C-D764-3930-31D40D9841CD}"/>
                  </a:ext>
                </a:extLst>
              </p:cNvPr>
              <p:cNvSpPr/>
              <p:nvPr/>
            </p:nvSpPr>
            <p:spPr>
              <a:xfrm>
                <a:off x="1116000" y="3844591"/>
                <a:ext cx="38659" cy="57149"/>
              </a:xfrm>
              <a:custGeom>
                <a:avLst/>
                <a:gdLst>
                  <a:gd name="connsiteX0" fmla="*/ 333679 w 370645"/>
                  <a:gd name="connsiteY0" fmla="*/ 123247 h 547926"/>
                  <a:gd name="connsiteX1" fmla="*/ 331566 w 370645"/>
                  <a:gd name="connsiteY1" fmla="*/ 125552 h 547926"/>
                  <a:gd name="connsiteX2" fmla="*/ 325446 w 370645"/>
                  <a:gd name="connsiteY2" fmla="*/ 124783 h 547926"/>
                  <a:gd name="connsiteX3" fmla="*/ 321248 w 370645"/>
                  <a:gd name="connsiteY3" fmla="*/ 120859 h 547926"/>
                  <a:gd name="connsiteX4" fmla="*/ 311121 w 370645"/>
                  <a:gd name="connsiteY4" fmla="*/ 121463 h 547926"/>
                  <a:gd name="connsiteX5" fmla="*/ 303108 w 370645"/>
                  <a:gd name="connsiteY5" fmla="*/ 127637 h 547926"/>
                  <a:gd name="connsiteX6" fmla="*/ 278766 w 370645"/>
                  <a:gd name="connsiteY6" fmla="*/ 131232 h 547926"/>
                  <a:gd name="connsiteX7" fmla="*/ 258705 w 370645"/>
                  <a:gd name="connsiteY7" fmla="*/ 144981 h 547926"/>
                  <a:gd name="connsiteX8" fmla="*/ 249155 w 370645"/>
                  <a:gd name="connsiteY8" fmla="*/ 149290 h 547926"/>
                  <a:gd name="connsiteX9" fmla="*/ 244764 w 370645"/>
                  <a:gd name="connsiteY9" fmla="*/ 166057 h 547926"/>
                  <a:gd name="connsiteX10" fmla="*/ 239193 w 370645"/>
                  <a:gd name="connsiteY10" fmla="*/ 177035 h 547926"/>
                  <a:gd name="connsiteX11" fmla="*/ 239330 w 370645"/>
                  <a:gd name="connsiteY11" fmla="*/ 188478 h 547926"/>
                  <a:gd name="connsiteX12" fmla="*/ 228024 w 370645"/>
                  <a:gd name="connsiteY12" fmla="*/ 196547 h 547926"/>
                  <a:gd name="connsiteX13" fmla="*/ 222892 w 370645"/>
                  <a:gd name="connsiteY13" fmla="*/ 202337 h 547926"/>
                  <a:gd name="connsiteX14" fmla="*/ 221410 w 370645"/>
                  <a:gd name="connsiteY14" fmla="*/ 208018 h 547926"/>
                  <a:gd name="connsiteX15" fmla="*/ 222727 w 370645"/>
                  <a:gd name="connsiteY15" fmla="*/ 213753 h 547926"/>
                  <a:gd name="connsiteX16" fmla="*/ 217129 w 370645"/>
                  <a:gd name="connsiteY16" fmla="*/ 216168 h 547926"/>
                  <a:gd name="connsiteX17" fmla="*/ 216141 w 370645"/>
                  <a:gd name="connsiteY17" fmla="*/ 220669 h 547926"/>
                  <a:gd name="connsiteX18" fmla="*/ 222809 w 370645"/>
                  <a:gd name="connsiteY18" fmla="*/ 228325 h 547926"/>
                  <a:gd name="connsiteX19" fmla="*/ 222425 w 370645"/>
                  <a:gd name="connsiteY19" fmla="*/ 232607 h 547926"/>
                  <a:gd name="connsiteX20" fmla="*/ 225883 w 370645"/>
                  <a:gd name="connsiteY20" fmla="*/ 236833 h 547926"/>
                  <a:gd name="connsiteX21" fmla="*/ 229066 w 370645"/>
                  <a:gd name="connsiteY21" fmla="*/ 245038 h 547926"/>
                  <a:gd name="connsiteX22" fmla="*/ 244874 w 370645"/>
                  <a:gd name="connsiteY22" fmla="*/ 264084 h 547926"/>
                  <a:gd name="connsiteX23" fmla="*/ 244791 w 370645"/>
                  <a:gd name="connsiteY23" fmla="*/ 268090 h 547926"/>
                  <a:gd name="connsiteX24" fmla="*/ 239852 w 370645"/>
                  <a:gd name="connsiteY24" fmla="*/ 276351 h 547926"/>
                  <a:gd name="connsiteX25" fmla="*/ 252119 w 370645"/>
                  <a:gd name="connsiteY25" fmla="*/ 277119 h 547926"/>
                  <a:gd name="connsiteX26" fmla="*/ 262986 w 370645"/>
                  <a:gd name="connsiteY26" fmla="*/ 279891 h 547926"/>
                  <a:gd name="connsiteX27" fmla="*/ 269353 w 370645"/>
                  <a:gd name="connsiteY27" fmla="*/ 293201 h 547926"/>
                  <a:gd name="connsiteX28" fmla="*/ 271905 w 370645"/>
                  <a:gd name="connsiteY28" fmla="*/ 294244 h 547926"/>
                  <a:gd name="connsiteX29" fmla="*/ 294710 w 370645"/>
                  <a:gd name="connsiteY29" fmla="*/ 293612 h 547926"/>
                  <a:gd name="connsiteX30" fmla="*/ 315046 w 370645"/>
                  <a:gd name="connsiteY30" fmla="*/ 279424 h 547926"/>
                  <a:gd name="connsiteX31" fmla="*/ 316143 w 370645"/>
                  <a:gd name="connsiteY31" fmla="*/ 286230 h 547926"/>
                  <a:gd name="connsiteX32" fmla="*/ 314085 w 370645"/>
                  <a:gd name="connsiteY32" fmla="*/ 292844 h 547926"/>
                  <a:gd name="connsiteX33" fmla="*/ 314661 w 370645"/>
                  <a:gd name="connsiteY33" fmla="*/ 322922 h 547926"/>
                  <a:gd name="connsiteX34" fmla="*/ 323470 w 370645"/>
                  <a:gd name="connsiteY34" fmla="*/ 325638 h 547926"/>
                  <a:gd name="connsiteX35" fmla="*/ 334173 w 370645"/>
                  <a:gd name="connsiteY35" fmla="*/ 322428 h 547926"/>
                  <a:gd name="connsiteX36" fmla="*/ 345068 w 370645"/>
                  <a:gd name="connsiteY36" fmla="*/ 322922 h 547926"/>
                  <a:gd name="connsiteX37" fmla="*/ 368340 w 370645"/>
                  <a:gd name="connsiteY37" fmla="*/ 363263 h 547926"/>
                  <a:gd name="connsiteX38" fmla="*/ 370645 w 370645"/>
                  <a:gd name="connsiteY38" fmla="*/ 369575 h 547926"/>
                  <a:gd name="connsiteX39" fmla="*/ 368587 w 370645"/>
                  <a:gd name="connsiteY39" fmla="*/ 375420 h 547926"/>
                  <a:gd name="connsiteX40" fmla="*/ 363016 w 370645"/>
                  <a:gd name="connsiteY40" fmla="*/ 380552 h 547926"/>
                  <a:gd name="connsiteX41" fmla="*/ 363345 w 370645"/>
                  <a:gd name="connsiteY41" fmla="*/ 398856 h 547926"/>
                  <a:gd name="connsiteX42" fmla="*/ 360107 w 370645"/>
                  <a:gd name="connsiteY42" fmla="*/ 404702 h 547926"/>
                  <a:gd name="connsiteX43" fmla="*/ 366089 w 370645"/>
                  <a:gd name="connsiteY43" fmla="*/ 420289 h 547926"/>
                  <a:gd name="connsiteX44" fmla="*/ 362824 w 370645"/>
                  <a:gd name="connsiteY44" fmla="*/ 422100 h 547926"/>
                  <a:gd name="connsiteX45" fmla="*/ 361808 w 370645"/>
                  <a:gd name="connsiteY45" fmla="*/ 426464 h 547926"/>
                  <a:gd name="connsiteX46" fmla="*/ 351517 w 370645"/>
                  <a:gd name="connsiteY46" fmla="*/ 439307 h 547926"/>
                  <a:gd name="connsiteX47" fmla="*/ 351517 w 370645"/>
                  <a:gd name="connsiteY47" fmla="*/ 444576 h 547926"/>
                  <a:gd name="connsiteX48" fmla="*/ 357417 w 370645"/>
                  <a:gd name="connsiteY48" fmla="*/ 452288 h 547926"/>
                  <a:gd name="connsiteX49" fmla="*/ 354097 w 370645"/>
                  <a:gd name="connsiteY49" fmla="*/ 455389 h 547926"/>
                  <a:gd name="connsiteX50" fmla="*/ 349980 w 370645"/>
                  <a:gd name="connsiteY50" fmla="*/ 464061 h 547926"/>
                  <a:gd name="connsiteX51" fmla="*/ 355195 w 370645"/>
                  <a:gd name="connsiteY51" fmla="*/ 479703 h 547926"/>
                  <a:gd name="connsiteX52" fmla="*/ 358707 w 370645"/>
                  <a:gd name="connsiteY52" fmla="*/ 481789 h 547926"/>
                  <a:gd name="connsiteX53" fmla="*/ 363290 w 370645"/>
                  <a:gd name="connsiteY53" fmla="*/ 481844 h 547926"/>
                  <a:gd name="connsiteX54" fmla="*/ 366611 w 370645"/>
                  <a:gd name="connsiteY54" fmla="*/ 485411 h 547926"/>
                  <a:gd name="connsiteX55" fmla="*/ 362083 w 370645"/>
                  <a:gd name="connsiteY55" fmla="*/ 489583 h 547926"/>
                  <a:gd name="connsiteX56" fmla="*/ 360903 w 370645"/>
                  <a:gd name="connsiteY56" fmla="*/ 496169 h 547926"/>
                  <a:gd name="connsiteX57" fmla="*/ 357143 w 370645"/>
                  <a:gd name="connsiteY57" fmla="*/ 498309 h 547926"/>
                  <a:gd name="connsiteX58" fmla="*/ 350035 w 370645"/>
                  <a:gd name="connsiteY58" fmla="*/ 508628 h 547926"/>
                  <a:gd name="connsiteX59" fmla="*/ 344492 w 370645"/>
                  <a:gd name="connsiteY59" fmla="*/ 513019 h 547926"/>
                  <a:gd name="connsiteX60" fmla="*/ 347785 w 370645"/>
                  <a:gd name="connsiteY60" fmla="*/ 517959 h 547926"/>
                  <a:gd name="connsiteX61" fmla="*/ 347867 w 370645"/>
                  <a:gd name="connsiteY61" fmla="*/ 521499 h 547926"/>
                  <a:gd name="connsiteX62" fmla="*/ 343065 w 370645"/>
                  <a:gd name="connsiteY62" fmla="*/ 525752 h 547926"/>
                  <a:gd name="connsiteX63" fmla="*/ 338345 w 370645"/>
                  <a:gd name="connsiteY63" fmla="*/ 527043 h 547926"/>
                  <a:gd name="connsiteX64" fmla="*/ 339333 w 370645"/>
                  <a:gd name="connsiteY64" fmla="*/ 536099 h 547926"/>
                  <a:gd name="connsiteX65" fmla="*/ 335271 w 370645"/>
                  <a:gd name="connsiteY65" fmla="*/ 543206 h 547926"/>
                  <a:gd name="connsiteX66" fmla="*/ 321275 w 370645"/>
                  <a:gd name="connsiteY66" fmla="*/ 547927 h 547926"/>
                  <a:gd name="connsiteX67" fmla="*/ 303574 w 370645"/>
                  <a:gd name="connsiteY67" fmla="*/ 533985 h 547926"/>
                  <a:gd name="connsiteX68" fmla="*/ 292460 w 370645"/>
                  <a:gd name="connsiteY68" fmla="*/ 527591 h 547926"/>
                  <a:gd name="connsiteX69" fmla="*/ 291390 w 370645"/>
                  <a:gd name="connsiteY69" fmla="*/ 518974 h 547926"/>
                  <a:gd name="connsiteX70" fmla="*/ 288673 w 370645"/>
                  <a:gd name="connsiteY70" fmla="*/ 515324 h 547926"/>
                  <a:gd name="connsiteX71" fmla="*/ 279260 w 370645"/>
                  <a:gd name="connsiteY71" fmla="*/ 511565 h 547926"/>
                  <a:gd name="connsiteX72" fmla="*/ 260708 w 370645"/>
                  <a:gd name="connsiteY72" fmla="*/ 497404 h 547926"/>
                  <a:gd name="connsiteX73" fmla="*/ 251899 w 370645"/>
                  <a:gd name="connsiteY73" fmla="*/ 495099 h 547926"/>
                  <a:gd name="connsiteX74" fmla="*/ 233320 w 370645"/>
                  <a:gd name="connsiteY74" fmla="*/ 485302 h 547926"/>
                  <a:gd name="connsiteX75" fmla="*/ 222014 w 370645"/>
                  <a:gd name="connsiteY75" fmla="*/ 481432 h 547926"/>
                  <a:gd name="connsiteX76" fmla="*/ 211887 w 370645"/>
                  <a:gd name="connsiteY76" fmla="*/ 473611 h 547926"/>
                  <a:gd name="connsiteX77" fmla="*/ 182798 w 370645"/>
                  <a:gd name="connsiteY77" fmla="*/ 458105 h 547926"/>
                  <a:gd name="connsiteX78" fmla="*/ 169460 w 370645"/>
                  <a:gd name="connsiteY78" fmla="*/ 441859 h 547926"/>
                  <a:gd name="connsiteX79" fmla="*/ 159087 w 370645"/>
                  <a:gd name="connsiteY79" fmla="*/ 435136 h 547926"/>
                  <a:gd name="connsiteX80" fmla="*/ 156425 w 370645"/>
                  <a:gd name="connsiteY80" fmla="*/ 428988 h 547926"/>
                  <a:gd name="connsiteX81" fmla="*/ 148220 w 370645"/>
                  <a:gd name="connsiteY81" fmla="*/ 418780 h 547926"/>
                  <a:gd name="connsiteX82" fmla="*/ 147259 w 370645"/>
                  <a:gd name="connsiteY82" fmla="*/ 413072 h 547926"/>
                  <a:gd name="connsiteX83" fmla="*/ 144707 w 370645"/>
                  <a:gd name="connsiteY83" fmla="*/ 410547 h 547926"/>
                  <a:gd name="connsiteX84" fmla="*/ 148576 w 370645"/>
                  <a:gd name="connsiteY84" fmla="*/ 408461 h 547926"/>
                  <a:gd name="connsiteX85" fmla="*/ 149537 w 370645"/>
                  <a:gd name="connsiteY85" fmla="*/ 396249 h 547926"/>
                  <a:gd name="connsiteX86" fmla="*/ 132852 w 370645"/>
                  <a:gd name="connsiteY86" fmla="*/ 369684 h 547926"/>
                  <a:gd name="connsiteX87" fmla="*/ 132138 w 370645"/>
                  <a:gd name="connsiteY87" fmla="*/ 365211 h 547926"/>
                  <a:gd name="connsiteX88" fmla="*/ 123192 w 370645"/>
                  <a:gd name="connsiteY88" fmla="*/ 356183 h 547926"/>
                  <a:gd name="connsiteX89" fmla="*/ 120859 w 370645"/>
                  <a:gd name="connsiteY89" fmla="*/ 345782 h 547926"/>
                  <a:gd name="connsiteX90" fmla="*/ 118005 w 370645"/>
                  <a:gd name="connsiteY90" fmla="*/ 340869 h 547926"/>
                  <a:gd name="connsiteX91" fmla="*/ 108372 w 370645"/>
                  <a:gd name="connsiteY91" fmla="*/ 332938 h 547926"/>
                  <a:gd name="connsiteX92" fmla="*/ 106396 w 370645"/>
                  <a:gd name="connsiteY92" fmla="*/ 321659 h 547926"/>
                  <a:gd name="connsiteX93" fmla="*/ 93526 w 370645"/>
                  <a:gd name="connsiteY93" fmla="*/ 299869 h 547926"/>
                  <a:gd name="connsiteX94" fmla="*/ 89574 w 370645"/>
                  <a:gd name="connsiteY94" fmla="*/ 287300 h 547926"/>
                  <a:gd name="connsiteX95" fmla="*/ 67784 w 370645"/>
                  <a:gd name="connsiteY95" fmla="*/ 241224 h 547926"/>
                  <a:gd name="connsiteX96" fmla="*/ 54996 w 370645"/>
                  <a:gd name="connsiteY96" fmla="*/ 227063 h 547926"/>
                  <a:gd name="connsiteX97" fmla="*/ 46872 w 370645"/>
                  <a:gd name="connsiteY97" fmla="*/ 208594 h 547926"/>
                  <a:gd name="connsiteX98" fmla="*/ 37844 w 370645"/>
                  <a:gd name="connsiteY98" fmla="*/ 197260 h 547926"/>
                  <a:gd name="connsiteX99" fmla="*/ 15615 w 370645"/>
                  <a:gd name="connsiteY99" fmla="*/ 184362 h 547926"/>
                  <a:gd name="connsiteX100" fmla="*/ 5653 w 370645"/>
                  <a:gd name="connsiteY100" fmla="*/ 176239 h 547926"/>
                  <a:gd name="connsiteX101" fmla="*/ 5544 w 370645"/>
                  <a:gd name="connsiteY101" fmla="*/ 171656 h 547926"/>
                  <a:gd name="connsiteX102" fmla="*/ 10895 w 370645"/>
                  <a:gd name="connsiteY102" fmla="*/ 169460 h 547926"/>
                  <a:gd name="connsiteX103" fmla="*/ 12569 w 370645"/>
                  <a:gd name="connsiteY103" fmla="*/ 164411 h 547926"/>
                  <a:gd name="connsiteX104" fmla="*/ 10730 w 370645"/>
                  <a:gd name="connsiteY104" fmla="*/ 159965 h 547926"/>
                  <a:gd name="connsiteX105" fmla="*/ 4391 w 370645"/>
                  <a:gd name="connsiteY105" fmla="*/ 153022 h 547926"/>
                  <a:gd name="connsiteX106" fmla="*/ 5955 w 370645"/>
                  <a:gd name="connsiteY106" fmla="*/ 145667 h 547926"/>
                  <a:gd name="connsiteX107" fmla="*/ 0 w 370645"/>
                  <a:gd name="connsiteY107" fmla="*/ 136337 h 547926"/>
                  <a:gd name="connsiteX108" fmla="*/ 2360 w 370645"/>
                  <a:gd name="connsiteY108" fmla="*/ 124426 h 547926"/>
                  <a:gd name="connsiteX109" fmla="*/ 17097 w 370645"/>
                  <a:gd name="connsiteY109" fmla="*/ 107549 h 547926"/>
                  <a:gd name="connsiteX110" fmla="*/ 26812 w 370645"/>
                  <a:gd name="connsiteY110" fmla="*/ 100606 h 547926"/>
                  <a:gd name="connsiteX111" fmla="*/ 31614 w 370645"/>
                  <a:gd name="connsiteY111" fmla="*/ 99893 h 547926"/>
                  <a:gd name="connsiteX112" fmla="*/ 32794 w 370645"/>
                  <a:gd name="connsiteY112" fmla="*/ 112104 h 547926"/>
                  <a:gd name="connsiteX113" fmla="*/ 25440 w 370645"/>
                  <a:gd name="connsiteY113" fmla="*/ 118718 h 547926"/>
                  <a:gd name="connsiteX114" fmla="*/ 26867 w 370645"/>
                  <a:gd name="connsiteY114" fmla="*/ 128982 h 547926"/>
                  <a:gd name="connsiteX115" fmla="*/ 35045 w 370645"/>
                  <a:gd name="connsiteY115" fmla="*/ 126265 h 547926"/>
                  <a:gd name="connsiteX116" fmla="*/ 43360 w 370645"/>
                  <a:gd name="connsiteY116" fmla="*/ 129833 h 547926"/>
                  <a:gd name="connsiteX117" fmla="*/ 49507 w 370645"/>
                  <a:gd name="connsiteY117" fmla="*/ 130546 h 547926"/>
                  <a:gd name="connsiteX118" fmla="*/ 52993 w 370645"/>
                  <a:gd name="connsiteY118" fmla="*/ 133345 h 547926"/>
                  <a:gd name="connsiteX119" fmla="*/ 59167 w 370645"/>
                  <a:gd name="connsiteY119" fmla="*/ 143143 h 547926"/>
                  <a:gd name="connsiteX120" fmla="*/ 65946 w 370645"/>
                  <a:gd name="connsiteY120" fmla="*/ 144624 h 547926"/>
                  <a:gd name="connsiteX121" fmla="*/ 78185 w 370645"/>
                  <a:gd name="connsiteY121" fmla="*/ 130766 h 547926"/>
                  <a:gd name="connsiteX122" fmla="*/ 87516 w 370645"/>
                  <a:gd name="connsiteY122" fmla="*/ 102033 h 547926"/>
                  <a:gd name="connsiteX123" fmla="*/ 92346 w 370645"/>
                  <a:gd name="connsiteY123" fmla="*/ 100990 h 547926"/>
                  <a:gd name="connsiteX124" fmla="*/ 92812 w 370645"/>
                  <a:gd name="connsiteY124" fmla="*/ 96791 h 547926"/>
                  <a:gd name="connsiteX125" fmla="*/ 99563 w 370645"/>
                  <a:gd name="connsiteY125" fmla="*/ 89683 h 547926"/>
                  <a:gd name="connsiteX126" fmla="*/ 137572 w 370645"/>
                  <a:gd name="connsiteY126" fmla="*/ 74261 h 547926"/>
                  <a:gd name="connsiteX127" fmla="*/ 150635 w 370645"/>
                  <a:gd name="connsiteY127" fmla="*/ 64107 h 547926"/>
                  <a:gd name="connsiteX128" fmla="*/ 168061 w 370645"/>
                  <a:gd name="connsiteY128" fmla="*/ 44732 h 547926"/>
                  <a:gd name="connsiteX129" fmla="*/ 169982 w 370645"/>
                  <a:gd name="connsiteY129" fmla="*/ 40753 h 547926"/>
                  <a:gd name="connsiteX130" fmla="*/ 174263 w 370645"/>
                  <a:gd name="connsiteY130" fmla="*/ 28678 h 547926"/>
                  <a:gd name="connsiteX131" fmla="*/ 178187 w 370645"/>
                  <a:gd name="connsiteY131" fmla="*/ 25604 h 547926"/>
                  <a:gd name="connsiteX132" fmla="*/ 177528 w 370645"/>
                  <a:gd name="connsiteY132" fmla="*/ 15395 h 547926"/>
                  <a:gd name="connsiteX133" fmla="*/ 176184 w 370645"/>
                  <a:gd name="connsiteY133" fmla="*/ 14023 h 547926"/>
                  <a:gd name="connsiteX134" fmla="*/ 169955 w 370645"/>
                  <a:gd name="connsiteY134" fmla="*/ 7766 h 547926"/>
                  <a:gd name="connsiteX135" fmla="*/ 167100 w 370645"/>
                  <a:gd name="connsiteY135" fmla="*/ 4912 h 547926"/>
                  <a:gd name="connsiteX136" fmla="*/ 168143 w 370645"/>
                  <a:gd name="connsiteY136" fmla="*/ 2333 h 547926"/>
                  <a:gd name="connsiteX137" fmla="*/ 176760 w 370645"/>
                  <a:gd name="connsiteY137" fmla="*/ 1482 h 547926"/>
                  <a:gd name="connsiteX138" fmla="*/ 180767 w 370645"/>
                  <a:gd name="connsiteY138" fmla="*/ 0 h 547926"/>
                  <a:gd name="connsiteX139" fmla="*/ 190290 w 370645"/>
                  <a:gd name="connsiteY139" fmla="*/ 4007 h 547926"/>
                  <a:gd name="connsiteX140" fmla="*/ 192759 w 370645"/>
                  <a:gd name="connsiteY140" fmla="*/ 7766 h 547926"/>
                  <a:gd name="connsiteX141" fmla="*/ 202145 w 370645"/>
                  <a:gd name="connsiteY141" fmla="*/ 15094 h 547926"/>
                  <a:gd name="connsiteX142" fmla="*/ 207743 w 370645"/>
                  <a:gd name="connsiteY142" fmla="*/ 27827 h 547926"/>
                  <a:gd name="connsiteX143" fmla="*/ 225499 w 370645"/>
                  <a:gd name="connsiteY143" fmla="*/ 37762 h 547926"/>
                  <a:gd name="connsiteX144" fmla="*/ 227310 w 370645"/>
                  <a:gd name="connsiteY144" fmla="*/ 40780 h 547926"/>
                  <a:gd name="connsiteX145" fmla="*/ 230878 w 370645"/>
                  <a:gd name="connsiteY145" fmla="*/ 49727 h 547926"/>
                  <a:gd name="connsiteX146" fmla="*/ 239467 w 370645"/>
                  <a:gd name="connsiteY146" fmla="*/ 54584 h 547926"/>
                  <a:gd name="connsiteX147" fmla="*/ 240949 w 370645"/>
                  <a:gd name="connsiteY147" fmla="*/ 66055 h 547926"/>
                  <a:gd name="connsiteX148" fmla="*/ 246136 w 370645"/>
                  <a:gd name="connsiteY148" fmla="*/ 70364 h 547926"/>
                  <a:gd name="connsiteX149" fmla="*/ 267130 w 370645"/>
                  <a:gd name="connsiteY149" fmla="*/ 70583 h 547926"/>
                  <a:gd name="connsiteX150" fmla="*/ 282251 w 370645"/>
                  <a:gd name="connsiteY150" fmla="*/ 62954 h 547926"/>
                  <a:gd name="connsiteX151" fmla="*/ 293173 w 370645"/>
                  <a:gd name="connsiteY151" fmla="*/ 68086 h 547926"/>
                  <a:gd name="connsiteX152" fmla="*/ 307499 w 370645"/>
                  <a:gd name="connsiteY152" fmla="*/ 65534 h 547926"/>
                  <a:gd name="connsiteX153" fmla="*/ 327944 w 370645"/>
                  <a:gd name="connsiteY153" fmla="*/ 77032 h 547926"/>
                  <a:gd name="connsiteX154" fmla="*/ 329288 w 370645"/>
                  <a:gd name="connsiteY154" fmla="*/ 82823 h 547926"/>
                  <a:gd name="connsiteX155" fmla="*/ 313371 w 370645"/>
                  <a:gd name="connsiteY155" fmla="*/ 109525 h 547926"/>
                  <a:gd name="connsiteX156" fmla="*/ 317131 w 370645"/>
                  <a:gd name="connsiteY156" fmla="*/ 112242 h 547926"/>
                  <a:gd name="connsiteX157" fmla="*/ 324952 w 370645"/>
                  <a:gd name="connsiteY157" fmla="*/ 112818 h 547926"/>
                  <a:gd name="connsiteX158" fmla="*/ 333679 w 370645"/>
                  <a:gd name="connsiteY158" fmla="*/ 123301 h 54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370645" h="547926">
                    <a:moveTo>
                      <a:pt x="333679" y="123247"/>
                    </a:moveTo>
                    <a:lnTo>
                      <a:pt x="331566" y="125552"/>
                    </a:lnTo>
                    <a:lnTo>
                      <a:pt x="325446" y="124783"/>
                    </a:lnTo>
                    <a:lnTo>
                      <a:pt x="321248" y="120859"/>
                    </a:lnTo>
                    <a:lnTo>
                      <a:pt x="311121" y="121463"/>
                    </a:lnTo>
                    <a:lnTo>
                      <a:pt x="303108" y="127637"/>
                    </a:lnTo>
                    <a:lnTo>
                      <a:pt x="278766" y="131232"/>
                    </a:lnTo>
                    <a:lnTo>
                      <a:pt x="258705" y="144981"/>
                    </a:lnTo>
                    <a:lnTo>
                      <a:pt x="249155" y="149290"/>
                    </a:lnTo>
                    <a:lnTo>
                      <a:pt x="244764" y="166057"/>
                    </a:lnTo>
                    <a:lnTo>
                      <a:pt x="239193" y="177035"/>
                    </a:lnTo>
                    <a:lnTo>
                      <a:pt x="239330" y="188478"/>
                    </a:lnTo>
                    <a:lnTo>
                      <a:pt x="228024" y="196547"/>
                    </a:lnTo>
                    <a:lnTo>
                      <a:pt x="222892" y="202337"/>
                    </a:lnTo>
                    <a:lnTo>
                      <a:pt x="221410" y="208018"/>
                    </a:lnTo>
                    <a:lnTo>
                      <a:pt x="222727" y="213753"/>
                    </a:lnTo>
                    <a:lnTo>
                      <a:pt x="217129" y="216168"/>
                    </a:lnTo>
                    <a:lnTo>
                      <a:pt x="216141" y="220669"/>
                    </a:lnTo>
                    <a:lnTo>
                      <a:pt x="222809" y="228325"/>
                    </a:lnTo>
                    <a:lnTo>
                      <a:pt x="222425" y="232607"/>
                    </a:lnTo>
                    <a:lnTo>
                      <a:pt x="225883" y="236833"/>
                    </a:lnTo>
                    <a:lnTo>
                      <a:pt x="229066" y="245038"/>
                    </a:lnTo>
                    <a:lnTo>
                      <a:pt x="244874" y="264084"/>
                    </a:lnTo>
                    <a:lnTo>
                      <a:pt x="244791" y="268090"/>
                    </a:lnTo>
                    <a:lnTo>
                      <a:pt x="239852" y="276351"/>
                    </a:lnTo>
                    <a:lnTo>
                      <a:pt x="252119" y="277119"/>
                    </a:lnTo>
                    <a:lnTo>
                      <a:pt x="262986" y="279891"/>
                    </a:lnTo>
                    <a:lnTo>
                      <a:pt x="269353" y="293201"/>
                    </a:lnTo>
                    <a:lnTo>
                      <a:pt x="271905" y="294244"/>
                    </a:lnTo>
                    <a:lnTo>
                      <a:pt x="294710" y="293612"/>
                    </a:lnTo>
                    <a:lnTo>
                      <a:pt x="315046" y="279424"/>
                    </a:lnTo>
                    <a:lnTo>
                      <a:pt x="316143" y="286230"/>
                    </a:lnTo>
                    <a:lnTo>
                      <a:pt x="314085" y="292844"/>
                    </a:lnTo>
                    <a:lnTo>
                      <a:pt x="314661" y="322922"/>
                    </a:lnTo>
                    <a:lnTo>
                      <a:pt x="323470" y="325638"/>
                    </a:lnTo>
                    <a:lnTo>
                      <a:pt x="334173" y="322428"/>
                    </a:lnTo>
                    <a:lnTo>
                      <a:pt x="345068" y="322922"/>
                    </a:lnTo>
                    <a:lnTo>
                      <a:pt x="368340" y="363263"/>
                    </a:lnTo>
                    <a:lnTo>
                      <a:pt x="370645" y="369575"/>
                    </a:lnTo>
                    <a:lnTo>
                      <a:pt x="368587" y="375420"/>
                    </a:lnTo>
                    <a:lnTo>
                      <a:pt x="363016" y="380552"/>
                    </a:lnTo>
                    <a:lnTo>
                      <a:pt x="363345" y="398856"/>
                    </a:lnTo>
                    <a:lnTo>
                      <a:pt x="360107" y="404702"/>
                    </a:lnTo>
                    <a:lnTo>
                      <a:pt x="366089" y="420289"/>
                    </a:lnTo>
                    <a:lnTo>
                      <a:pt x="362824" y="422100"/>
                    </a:lnTo>
                    <a:lnTo>
                      <a:pt x="361808" y="426464"/>
                    </a:lnTo>
                    <a:lnTo>
                      <a:pt x="351517" y="439307"/>
                    </a:lnTo>
                    <a:lnTo>
                      <a:pt x="351517" y="444576"/>
                    </a:lnTo>
                    <a:cubicBezTo>
                      <a:pt x="351517" y="444576"/>
                      <a:pt x="357417" y="452288"/>
                      <a:pt x="357417" y="452288"/>
                    </a:cubicBezTo>
                    <a:lnTo>
                      <a:pt x="354097" y="455389"/>
                    </a:lnTo>
                    <a:lnTo>
                      <a:pt x="349980" y="464061"/>
                    </a:lnTo>
                    <a:lnTo>
                      <a:pt x="355195" y="479703"/>
                    </a:lnTo>
                    <a:lnTo>
                      <a:pt x="358707" y="481789"/>
                    </a:lnTo>
                    <a:lnTo>
                      <a:pt x="363290" y="481844"/>
                    </a:lnTo>
                    <a:lnTo>
                      <a:pt x="366611" y="485411"/>
                    </a:lnTo>
                    <a:lnTo>
                      <a:pt x="362083" y="489583"/>
                    </a:lnTo>
                    <a:lnTo>
                      <a:pt x="360903" y="496169"/>
                    </a:lnTo>
                    <a:lnTo>
                      <a:pt x="357143" y="498309"/>
                    </a:lnTo>
                    <a:lnTo>
                      <a:pt x="350035" y="508628"/>
                    </a:lnTo>
                    <a:lnTo>
                      <a:pt x="344492" y="513019"/>
                    </a:lnTo>
                    <a:lnTo>
                      <a:pt x="347785" y="517959"/>
                    </a:lnTo>
                    <a:lnTo>
                      <a:pt x="347867" y="521499"/>
                    </a:lnTo>
                    <a:lnTo>
                      <a:pt x="343065" y="525752"/>
                    </a:lnTo>
                    <a:lnTo>
                      <a:pt x="338345" y="527043"/>
                    </a:lnTo>
                    <a:lnTo>
                      <a:pt x="339333" y="536099"/>
                    </a:lnTo>
                    <a:lnTo>
                      <a:pt x="335271" y="543206"/>
                    </a:lnTo>
                    <a:lnTo>
                      <a:pt x="321275" y="547927"/>
                    </a:lnTo>
                    <a:lnTo>
                      <a:pt x="303574" y="533985"/>
                    </a:lnTo>
                    <a:lnTo>
                      <a:pt x="292460" y="527591"/>
                    </a:lnTo>
                    <a:lnTo>
                      <a:pt x="291390" y="518974"/>
                    </a:lnTo>
                    <a:lnTo>
                      <a:pt x="288673" y="515324"/>
                    </a:lnTo>
                    <a:lnTo>
                      <a:pt x="279260" y="511565"/>
                    </a:lnTo>
                    <a:lnTo>
                      <a:pt x="260708" y="497404"/>
                    </a:lnTo>
                    <a:lnTo>
                      <a:pt x="251899" y="495099"/>
                    </a:lnTo>
                    <a:lnTo>
                      <a:pt x="233320" y="485302"/>
                    </a:lnTo>
                    <a:lnTo>
                      <a:pt x="222014" y="481432"/>
                    </a:lnTo>
                    <a:lnTo>
                      <a:pt x="211887" y="473611"/>
                    </a:lnTo>
                    <a:lnTo>
                      <a:pt x="182798" y="458105"/>
                    </a:lnTo>
                    <a:lnTo>
                      <a:pt x="169460" y="441859"/>
                    </a:lnTo>
                    <a:lnTo>
                      <a:pt x="159087" y="435136"/>
                    </a:lnTo>
                    <a:lnTo>
                      <a:pt x="156425" y="428988"/>
                    </a:lnTo>
                    <a:lnTo>
                      <a:pt x="148220" y="418780"/>
                    </a:lnTo>
                    <a:lnTo>
                      <a:pt x="147259" y="413072"/>
                    </a:lnTo>
                    <a:lnTo>
                      <a:pt x="144707" y="410547"/>
                    </a:lnTo>
                    <a:lnTo>
                      <a:pt x="148576" y="408461"/>
                    </a:lnTo>
                    <a:lnTo>
                      <a:pt x="149537" y="396249"/>
                    </a:lnTo>
                    <a:lnTo>
                      <a:pt x="132852" y="369684"/>
                    </a:lnTo>
                    <a:lnTo>
                      <a:pt x="132138" y="365211"/>
                    </a:lnTo>
                    <a:lnTo>
                      <a:pt x="123192" y="356183"/>
                    </a:lnTo>
                    <a:lnTo>
                      <a:pt x="120859" y="345782"/>
                    </a:lnTo>
                    <a:lnTo>
                      <a:pt x="118005" y="340869"/>
                    </a:lnTo>
                    <a:lnTo>
                      <a:pt x="108372" y="332938"/>
                    </a:lnTo>
                    <a:lnTo>
                      <a:pt x="106396" y="321659"/>
                    </a:lnTo>
                    <a:lnTo>
                      <a:pt x="93526" y="299869"/>
                    </a:lnTo>
                    <a:lnTo>
                      <a:pt x="89574" y="287300"/>
                    </a:lnTo>
                    <a:lnTo>
                      <a:pt x="67784" y="241224"/>
                    </a:lnTo>
                    <a:lnTo>
                      <a:pt x="54996" y="227063"/>
                    </a:lnTo>
                    <a:lnTo>
                      <a:pt x="46872" y="208594"/>
                    </a:lnTo>
                    <a:lnTo>
                      <a:pt x="37844" y="197260"/>
                    </a:lnTo>
                    <a:lnTo>
                      <a:pt x="15615" y="184362"/>
                    </a:lnTo>
                    <a:lnTo>
                      <a:pt x="5653" y="176239"/>
                    </a:lnTo>
                    <a:lnTo>
                      <a:pt x="5544" y="171656"/>
                    </a:lnTo>
                    <a:lnTo>
                      <a:pt x="10895" y="169460"/>
                    </a:lnTo>
                    <a:lnTo>
                      <a:pt x="12569" y="164411"/>
                    </a:lnTo>
                    <a:lnTo>
                      <a:pt x="10730" y="159965"/>
                    </a:lnTo>
                    <a:lnTo>
                      <a:pt x="4391" y="153022"/>
                    </a:lnTo>
                    <a:lnTo>
                      <a:pt x="5955" y="145667"/>
                    </a:lnTo>
                    <a:lnTo>
                      <a:pt x="0" y="136337"/>
                    </a:lnTo>
                    <a:lnTo>
                      <a:pt x="2360" y="124426"/>
                    </a:lnTo>
                    <a:lnTo>
                      <a:pt x="17097" y="107549"/>
                    </a:lnTo>
                    <a:lnTo>
                      <a:pt x="26812" y="100606"/>
                    </a:lnTo>
                    <a:lnTo>
                      <a:pt x="31614" y="99893"/>
                    </a:lnTo>
                    <a:lnTo>
                      <a:pt x="32794" y="112104"/>
                    </a:lnTo>
                    <a:lnTo>
                      <a:pt x="25440" y="118718"/>
                    </a:lnTo>
                    <a:lnTo>
                      <a:pt x="26867" y="128982"/>
                    </a:lnTo>
                    <a:lnTo>
                      <a:pt x="35045" y="126265"/>
                    </a:lnTo>
                    <a:lnTo>
                      <a:pt x="43360" y="129833"/>
                    </a:lnTo>
                    <a:lnTo>
                      <a:pt x="49507" y="130546"/>
                    </a:lnTo>
                    <a:lnTo>
                      <a:pt x="52993" y="133345"/>
                    </a:lnTo>
                    <a:lnTo>
                      <a:pt x="59167" y="143143"/>
                    </a:lnTo>
                    <a:lnTo>
                      <a:pt x="65946" y="144624"/>
                    </a:lnTo>
                    <a:lnTo>
                      <a:pt x="78185" y="130766"/>
                    </a:lnTo>
                    <a:lnTo>
                      <a:pt x="87516" y="102033"/>
                    </a:lnTo>
                    <a:lnTo>
                      <a:pt x="92346" y="100990"/>
                    </a:lnTo>
                    <a:lnTo>
                      <a:pt x="92812" y="96791"/>
                    </a:lnTo>
                    <a:lnTo>
                      <a:pt x="99563" y="89683"/>
                    </a:lnTo>
                    <a:lnTo>
                      <a:pt x="137572" y="74261"/>
                    </a:lnTo>
                    <a:lnTo>
                      <a:pt x="150635" y="64107"/>
                    </a:lnTo>
                    <a:lnTo>
                      <a:pt x="168061" y="44732"/>
                    </a:lnTo>
                    <a:lnTo>
                      <a:pt x="169982" y="40753"/>
                    </a:lnTo>
                    <a:lnTo>
                      <a:pt x="174263" y="28678"/>
                    </a:lnTo>
                    <a:lnTo>
                      <a:pt x="178187" y="25604"/>
                    </a:lnTo>
                    <a:lnTo>
                      <a:pt x="177528" y="15395"/>
                    </a:lnTo>
                    <a:lnTo>
                      <a:pt x="176184" y="14023"/>
                    </a:lnTo>
                    <a:lnTo>
                      <a:pt x="169955" y="7766"/>
                    </a:lnTo>
                    <a:lnTo>
                      <a:pt x="167100" y="4912"/>
                    </a:lnTo>
                    <a:lnTo>
                      <a:pt x="168143" y="2333"/>
                    </a:lnTo>
                    <a:lnTo>
                      <a:pt x="176760" y="1482"/>
                    </a:lnTo>
                    <a:lnTo>
                      <a:pt x="180767" y="0"/>
                    </a:lnTo>
                    <a:lnTo>
                      <a:pt x="190290" y="4007"/>
                    </a:lnTo>
                    <a:lnTo>
                      <a:pt x="192759" y="7766"/>
                    </a:lnTo>
                    <a:lnTo>
                      <a:pt x="202145" y="15094"/>
                    </a:lnTo>
                    <a:lnTo>
                      <a:pt x="207743" y="27827"/>
                    </a:lnTo>
                    <a:lnTo>
                      <a:pt x="225499" y="37762"/>
                    </a:lnTo>
                    <a:lnTo>
                      <a:pt x="227310" y="40780"/>
                    </a:lnTo>
                    <a:lnTo>
                      <a:pt x="230878" y="49727"/>
                    </a:lnTo>
                    <a:lnTo>
                      <a:pt x="239467" y="54584"/>
                    </a:lnTo>
                    <a:lnTo>
                      <a:pt x="240949" y="66055"/>
                    </a:lnTo>
                    <a:lnTo>
                      <a:pt x="246136" y="70364"/>
                    </a:lnTo>
                    <a:lnTo>
                      <a:pt x="267130" y="70583"/>
                    </a:lnTo>
                    <a:lnTo>
                      <a:pt x="282251" y="62954"/>
                    </a:lnTo>
                    <a:lnTo>
                      <a:pt x="293173" y="68086"/>
                    </a:lnTo>
                    <a:lnTo>
                      <a:pt x="307499" y="65534"/>
                    </a:lnTo>
                    <a:lnTo>
                      <a:pt x="327944" y="77032"/>
                    </a:lnTo>
                    <a:lnTo>
                      <a:pt x="329288" y="82823"/>
                    </a:lnTo>
                    <a:lnTo>
                      <a:pt x="313371" y="109525"/>
                    </a:lnTo>
                    <a:lnTo>
                      <a:pt x="317131" y="112242"/>
                    </a:lnTo>
                    <a:lnTo>
                      <a:pt x="324952" y="112818"/>
                    </a:lnTo>
                    <a:lnTo>
                      <a:pt x="333679" y="1233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3" name="Freeform: Shape 3932">
                <a:extLst>
                  <a:ext uri="{FF2B5EF4-FFF2-40B4-BE49-F238E27FC236}">
                    <a16:creationId xmlns:a16="http://schemas.microsoft.com/office/drawing/2014/main" id="{118B5211-607A-E9B5-B9A5-208CE7A1FDF6}"/>
                  </a:ext>
                </a:extLst>
              </p:cNvPr>
              <p:cNvSpPr/>
              <p:nvPr/>
            </p:nvSpPr>
            <p:spPr>
              <a:xfrm>
                <a:off x="1348870" y="3726251"/>
                <a:ext cx="172" cy="177"/>
              </a:xfrm>
              <a:custGeom>
                <a:avLst/>
                <a:gdLst>
                  <a:gd name="connsiteX0" fmla="*/ 1345 w 1646"/>
                  <a:gd name="connsiteY0" fmla="*/ 1674 h 1701"/>
                  <a:gd name="connsiteX1" fmla="*/ 0 w 1646"/>
                  <a:gd name="connsiteY1" fmla="*/ 357 h 1701"/>
                  <a:gd name="connsiteX2" fmla="*/ 275 w 1646"/>
                  <a:gd name="connsiteY2" fmla="*/ 0 h 1701"/>
                  <a:gd name="connsiteX3" fmla="*/ 549 w 1646"/>
                  <a:gd name="connsiteY3" fmla="*/ 0 h 1701"/>
                  <a:gd name="connsiteX4" fmla="*/ 1098 w 1646"/>
                  <a:gd name="connsiteY4" fmla="*/ 357 h 1701"/>
                  <a:gd name="connsiteX5" fmla="*/ 1372 w 1646"/>
                  <a:gd name="connsiteY5" fmla="*/ 686 h 1701"/>
                  <a:gd name="connsiteX6" fmla="*/ 1372 w 1646"/>
                  <a:gd name="connsiteY6" fmla="*/ 1015 h 1701"/>
                  <a:gd name="connsiteX7" fmla="*/ 1647 w 1646"/>
                  <a:gd name="connsiteY7" fmla="*/ 1372 h 1701"/>
                  <a:gd name="connsiteX8" fmla="*/ 1372 w 1646"/>
                  <a:gd name="connsiteY8" fmla="*/ 1372 h 1701"/>
                  <a:gd name="connsiteX9" fmla="*/ 1372 w 1646"/>
                  <a:gd name="connsiteY9" fmla="*/ 1701 h 1701"/>
                  <a:gd name="connsiteX10" fmla="*/ 1372 w 1646"/>
                  <a:gd name="connsiteY10" fmla="*/ 1701 h 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6" h="1701">
                    <a:moveTo>
                      <a:pt x="1345" y="1674"/>
                    </a:moveTo>
                    <a:lnTo>
                      <a:pt x="0" y="357"/>
                    </a:lnTo>
                    <a:lnTo>
                      <a:pt x="275" y="0"/>
                    </a:lnTo>
                    <a:lnTo>
                      <a:pt x="549" y="0"/>
                    </a:lnTo>
                    <a:lnTo>
                      <a:pt x="1098" y="357"/>
                    </a:lnTo>
                    <a:lnTo>
                      <a:pt x="1372" y="686"/>
                    </a:lnTo>
                    <a:lnTo>
                      <a:pt x="1372" y="1015"/>
                    </a:lnTo>
                    <a:lnTo>
                      <a:pt x="1647" y="1372"/>
                    </a:lnTo>
                    <a:lnTo>
                      <a:pt x="1372" y="1372"/>
                    </a:lnTo>
                    <a:lnTo>
                      <a:pt x="1372" y="1701"/>
                    </a:lnTo>
                    <a:lnTo>
                      <a:pt x="1372"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4" name="Freeform: Shape 3933">
                <a:extLst>
                  <a:ext uri="{FF2B5EF4-FFF2-40B4-BE49-F238E27FC236}">
                    <a16:creationId xmlns:a16="http://schemas.microsoft.com/office/drawing/2014/main" id="{A5E68196-C9EB-C910-F82D-30FBB469945C}"/>
                  </a:ext>
                </a:extLst>
              </p:cNvPr>
              <p:cNvSpPr/>
              <p:nvPr/>
            </p:nvSpPr>
            <p:spPr>
              <a:xfrm>
                <a:off x="1356281" y="3728512"/>
                <a:ext cx="129" cy="177"/>
              </a:xfrm>
              <a:custGeom>
                <a:avLst/>
                <a:gdLst>
                  <a:gd name="connsiteX0" fmla="*/ 549 w 1235"/>
                  <a:gd name="connsiteY0" fmla="*/ 0 h 1701"/>
                  <a:gd name="connsiteX1" fmla="*/ 1235 w 1235"/>
                  <a:gd name="connsiteY1" fmla="*/ 1701 h 1701"/>
                  <a:gd name="connsiteX2" fmla="*/ 0 w 1235"/>
                  <a:gd name="connsiteY2" fmla="*/ 1098 h 1701"/>
                  <a:gd name="connsiteX3" fmla="*/ 549 w 1235"/>
                  <a:gd name="connsiteY3" fmla="*/ 0 h 1701"/>
                </a:gdLst>
                <a:ahLst/>
                <a:cxnLst>
                  <a:cxn ang="0">
                    <a:pos x="connsiteX0" y="connsiteY0"/>
                  </a:cxn>
                  <a:cxn ang="0">
                    <a:pos x="connsiteX1" y="connsiteY1"/>
                  </a:cxn>
                  <a:cxn ang="0">
                    <a:pos x="connsiteX2" y="connsiteY2"/>
                  </a:cxn>
                  <a:cxn ang="0">
                    <a:pos x="connsiteX3" y="connsiteY3"/>
                  </a:cxn>
                </a:cxnLst>
                <a:rect l="l" t="t" r="r" b="b"/>
                <a:pathLst>
                  <a:path w="1235" h="1701">
                    <a:moveTo>
                      <a:pt x="549" y="0"/>
                    </a:moveTo>
                    <a:lnTo>
                      <a:pt x="1235" y="1701"/>
                    </a:lnTo>
                    <a:lnTo>
                      <a:pt x="0" y="1098"/>
                    </a:lnTo>
                    <a:lnTo>
                      <a:pt x="549"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5" name="Freeform: Shape 3934">
                <a:extLst>
                  <a:ext uri="{FF2B5EF4-FFF2-40B4-BE49-F238E27FC236}">
                    <a16:creationId xmlns:a16="http://schemas.microsoft.com/office/drawing/2014/main" id="{1179CD2F-FE11-EEB8-569E-7697E5CA004C}"/>
                  </a:ext>
                </a:extLst>
              </p:cNvPr>
              <p:cNvSpPr/>
              <p:nvPr/>
            </p:nvSpPr>
            <p:spPr>
              <a:xfrm>
                <a:off x="1466695" y="3798393"/>
                <a:ext cx="45766" cy="35513"/>
              </a:xfrm>
              <a:custGeom>
                <a:avLst/>
                <a:gdLst>
                  <a:gd name="connsiteX0" fmla="*/ 275912 w 438786"/>
                  <a:gd name="connsiteY0" fmla="*/ 71983 h 340485"/>
                  <a:gd name="connsiteX1" fmla="*/ 259116 w 438786"/>
                  <a:gd name="connsiteY1" fmla="*/ 95008 h 340485"/>
                  <a:gd name="connsiteX2" fmla="*/ 257580 w 438786"/>
                  <a:gd name="connsiteY2" fmla="*/ 101512 h 340485"/>
                  <a:gd name="connsiteX3" fmla="*/ 258540 w 438786"/>
                  <a:gd name="connsiteY3" fmla="*/ 116002 h 340485"/>
                  <a:gd name="connsiteX4" fmla="*/ 264990 w 438786"/>
                  <a:gd name="connsiteY4" fmla="*/ 118224 h 340485"/>
                  <a:gd name="connsiteX5" fmla="*/ 277778 w 438786"/>
                  <a:gd name="connsiteY5" fmla="*/ 114904 h 340485"/>
                  <a:gd name="connsiteX6" fmla="*/ 282470 w 438786"/>
                  <a:gd name="connsiteY6" fmla="*/ 113669 h 340485"/>
                  <a:gd name="connsiteX7" fmla="*/ 288481 w 438786"/>
                  <a:gd name="connsiteY7" fmla="*/ 116468 h 340485"/>
                  <a:gd name="connsiteX8" fmla="*/ 292515 w 438786"/>
                  <a:gd name="connsiteY8" fmla="*/ 116193 h 340485"/>
                  <a:gd name="connsiteX9" fmla="*/ 284721 w 438786"/>
                  <a:gd name="connsiteY9" fmla="*/ 128790 h 340485"/>
                  <a:gd name="connsiteX10" fmla="*/ 289386 w 438786"/>
                  <a:gd name="connsiteY10" fmla="*/ 138999 h 340485"/>
                  <a:gd name="connsiteX11" fmla="*/ 290731 w 438786"/>
                  <a:gd name="connsiteY11" fmla="*/ 140838 h 340485"/>
                  <a:gd name="connsiteX12" fmla="*/ 300473 w 438786"/>
                  <a:gd name="connsiteY12" fmla="*/ 151183 h 340485"/>
                  <a:gd name="connsiteX13" fmla="*/ 303849 w 438786"/>
                  <a:gd name="connsiteY13" fmla="*/ 158785 h 340485"/>
                  <a:gd name="connsiteX14" fmla="*/ 324733 w 438786"/>
                  <a:gd name="connsiteY14" fmla="*/ 176184 h 340485"/>
                  <a:gd name="connsiteX15" fmla="*/ 325803 w 438786"/>
                  <a:gd name="connsiteY15" fmla="*/ 176870 h 340485"/>
                  <a:gd name="connsiteX16" fmla="*/ 371523 w 438786"/>
                  <a:gd name="connsiteY16" fmla="*/ 192266 h 340485"/>
                  <a:gd name="connsiteX17" fmla="*/ 374075 w 438786"/>
                  <a:gd name="connsiteY17" fmla="*/ 193116 h 340485"/>
                  <a:gd name="connsiteX18" fmla="*/ 409751 w 438786"/>
                  <a:gd name="connsiteY18" fmla="*/ 205136 h 340485"/>
                  <a:gd name="connsiteX19" fmla="*/ 416722 w 438786"/>
                  <a:gd name="connsiteY19" fmla="*/ 205575 h 340485"/>
                  <a:gd name="connsiteX20" fmla="*/ 434944 w 438786"/>
                  <a:gd name="connsiteY20" fmla="*/ 205658 h 340485"/>
                  <a:gd name="connsiteX21" fmla="*/ 437633 w 438786"/>
                  <a:gd name="connsiteY21" fmla="*/ 205658 h 340485"/>
                  <a:gd name="connsiteX22" fmla="*/ 438786 w 438786"/>
                  <a:gd name="connsiteY22" fmla="*/ 206426 h 340485"/>
                  <a:gd name="connsiteX23" fmla="*/ 434944 w 438786"/>
                  <a:gd name="connsiteY23" fmla="*/ 210488 h 340485"/>
                  <a:gd name="connsiteX24" fmla="*/ 416722 w 438786"/>
                  <a:gd name="connsiteY24" fmla="*/ 229753 h 340485"/>
                  <a:gd name="connsiteX25" fmla="*/ 371523 w 438786"/>
                  <a:gd name="connsiteY25" fmla="*/ 276269 h 340485"/>
                  <a:gd name="connsiteX26" fmla="*/ 352203 w 438786"/>
                  <a:gd name="connsiteY26" fmla="*/ 296137 h 340485"/>
                  <a:gd name="connsiteX27" fmla="*/ 340568 w 438786"/>
                  <a:gd name="connsiteY27" fmla="*/ 295918 h 340485"/>
                  <a:gd name="connsiteX28" fmla="*/ 325364 w 438786"/>
                  <a:gd name="connsiteY28" fmla="*/ 295643 h 340485"/>
                  <a:gd name="connsiteX29" fmla="*/ 323910 w 438786"/>
                  <a:gd name="connsiteY29" fmla="*/ 295643 h 340485"/>
                  <a:gd name="connsiteX30" fmla="*/ 312630 w 438786"/>
                  <a:gd name="connsiteY30" fmla="*/ 298333 h 340485"/>
                  <a:gd name="connsiteX31" fmla="*/ 298168 w 438786"/>
                  <a:gd name="connsiteY31" fmla="*/ 304645 h 340485"/>
                  <a:gd name="connsiteX32" fmla="*/ 289633 w 438786"/>
                  <a:gd name="connsiteY32" fmla="*/ 314936 h 340485"/>
                  <a:gd name="connsiteX33" fmla="*/ 281757 w 438786"/>
                  <a:gd name="connsiteY33" fmla="*/ 317351 h 340485"/>
                  <a:gd name="connsiteX34" fmla="*/ 277723 w 438786"/>
                  <a:gd name="connsiteY34" fmla="*/ 317762 h 340485"/>
                  <a:gd name="connsiteX35" fmla="*/ 266828 w 438786"/>
                  <a:gd name="connsiteY35" fmla="*/ 318833 h 340485"/>
                  <a:gd name="connsiteX36" fmla="*/ 261339 w 438786"/>
                  <a:gd name="connsiteY36" fmla="*/ 324403 h 340485"/>
                  <a:gd name="connsiteX37" fmla="*/ 240647 w 438786"/>
                  <a:gd name="connsiteY37" fmla="*/ 325282 h 340485"/>
                  <a:gd name="connsiteX38" fmla="*/ 227283 w 438786"/>
                  <a:gd name="connsiteY38" fmla="*/ 316088 h 340485"/>
                  <a:gd name="connsiteX39" fmla="*/ 202639 w 438786"/>
                  <a:gd name="connsiteY39" fmla="*/ 327285 h 340485"/>
                  <a:gd name="connsiteX40" fmla="*/ 192458 w 438786"/>
                  <a:gd name="connsiteY40" fmla="*/ 339772 h 340485"/>
                  <a:gd name="connsiteX41" fmla="*/ 189796 w 438786"/>
                  <a:gd name="connsiteY41" fmla="*/ 340485 h 340485"/>
                  <a:gd name="connsiteX42" fmla="*/ 162655 w 438786"/>
                  <a:gd name="connsiteY42" fmla="*/ 334887 h 340485"/>
                  <a:gd name="connsiteX43" fmla="*/ 150058 w 438786"/>
                  <a:gd name="connsiteY43" fmla="*/ 334722 h 340485"/>
                  <a:gd name="connsiteX44" fmla="*/ 113285 w 438786"/>
                  <a:gd name="connsiteY44" fmla="*/ 311313 h 340485"/>
                  <a:gd name="connsiteX45" fmla="*/ 90562 w 438786"/>
                  <a:gd name="connsiteY45" fmla="*/ 310407 h 340485"/>
                  <a:gd name="connsiteX46" fmla="*/ 85979 w 438786"/>
                  <a:gd name="connsiteY46" fmla="*/ 305577 h 340485"/>
                  <a:gd name="connsiteX47" fmla="*/ 82356 w 438786"/>
                  <a:gd name="connsiteY47" fmla="*/ 299650 h 340485"/>
                  <a:gd name="connsiteX48" fmla="*/ 81725 w 438786"/>
                  <a:gd name="connsiteY48" fmla="*/ 284858 h 340485"/>
                  <a:gd name="connsiteX49" fmla="*/ 74617 w 438786"/>
                  <a:gd name="connsiteY49" fmla="*/ 282553 h 340485"/>
                  <a:gd name="connsiteX50" fmla="*/ 68141 w 438786"/>
                  <a:gd name="connsiteY50" fmla="*/ 283596 h 340485"/>
                  <a:gd name="connsiteX51" fmla="*/ 61829 w 438786"/>
                  <a:gd name="connsiteY51" fmla="*/ 274704 h 340485"/>
                  <a:gd name="connsiteX52" fmla="*/ 58152 w 438786"/>
                  <a:gd name="connsiteY52" fmla="*/ 266334 h 340485"/>
                  <a:gd name="connsiteX53" fmla="*/ 56889 w 438786"/>
                  <a:gd name="connsiteY53" fmla="*/ 249649 h 340485"/>
                  <a:gd name="connsiteX54" fmla="*/ 35045 w 438786"/>
                  <a:gd name="connsiteY54" fmla="*/ 234144 h 340485"/>
                  <a:gd name="connsiteX55" fmla="*/ 29803 w 438786"/>
                  <a:gd name="connsiteY55" fmla="*/ 227942 h 340485"/>
                  <a:gd name="connsiteX56" fmla="*/ 26702 w 438786"/>
                  <a:gd name="connsiteY56" fmla="*/ 220916 h 340485"/>
                  <a:gd name="connsiteX57" fmla="*/ 21543 w 438786"/>
                  <a:gd name="connsiteY57" fmla="*/ 216690 h 340485"/>
                  <a:gd name="connsiteX58" fmla="*/ 7986 w 438786"/>
                  <a:gd name="connsiteY58" fmla="*/ 213534 h 340485"/>
                  <a:gd name="connsiteX59" fmla="*/ 0 w 438786"/>
                  <a:gd name="connsiteY59" fmla="*/ 209225 h 340485"/>
                  <a:gd name="connsiteX60" fmla="*/ 6723 w 438786"/>
                  <a:gd name="connsiteY60" fmla="*/ 193281 h 340485"/>
                  <a:gd name="connsiteX61" fmla="*/ 7849 w 438786"/>
                  <a:gd name="connsiteY61" fmla="*/ 193116 h 340485"/>
                  <a:gd name="connsiteX62" fmla="*/ 15972 w 438786"/>
                  <a:gd name="connsiteY62" fmla="*/ 191991 h 340485"/>
                  <a:gd name="connsiteX63" fmla="*/ 19347 w 438786"/>
                  <a:gd name="connsiteY63" fmla="*/ 193116 h 340485"/>
                  <a:gd name="connsiteX64" fmla="*/ 21954 w 438786"/>
                  <a:gd name="connsiteY64" fmla="*/ 193967 h 340485"/>
                  <a:gd name="connsiteX65" fmla="*/ 23409 w 438786"/>
                  <a:gd name="connsiteY65" fmla="*/ 193116 h 340485"/>
                  <a:gd name="connsiteX66" fmla="*/ 31724 w 438786"/>
                  <a:gd name="connsiteY66" fmla="*/ 188149 h 340485"/>
                  <a:gd name="connsiteX67" fmla="*/ 31862 w 438786"/>
                  <a:gd name="connsiteY67" fmla="*/ 176157 h 340485"/>
                  <a:gd name="connsiteX68" fmla="*/ 32053 w 438786"/>
                  <a:gd name="connsiteY68" fmla="*/ 160953 h 340485"/>
                  <a:gd name="connsiteX69" fmla="*/ 35621 w 438786"/>
                  <a:gd name="connsiteY69" fmla="*/ 145558 h 340485"/>
                  <a:gd name="connsiteX70" fmla="*/ 38667 w 438786"/>
                  <a:gd name="connsiteY70" fmla="*/ 140838 h 340485"/>
                  <a:gd name="connsiteX71" fmla="*/ 38338 w 438786"/>
                  <a:gd name="connsiteY71" fmla="*/ 128076 h 340485"/>
                  <a:gd name="connsiteX72" fmla="*/ 40643 w 438786"/>
                  <a:gd name="connsiteY72" fmla="*/ 125552 h 340485"/>
                  <a:gd name="connsiteX73" fmla="*/ 45583 w 438786"/>
                  <a:gd name="connsiteY73" fmla="*/ 120200 h 340485"/>
                  <a:gd name="connsiteX74" fmla="*/ 52059 w 438786"/>
                  <a:gd name="connsiteY74" fmla="*/ 123329 h 340485"/>
                  <a:gd name="connsiteX75" fmla="*/ 55792 w 438786"/>
                  <a:gd name="connsiteY75" fmla="*/ 120832 h 340485"/>
                  <a:gd name="connsiteX76" fmla="*/ 60978 w 438786"/>
                  <a:gd name="connsiteY76" fmla="*/ 92867 h 340485"/>
                  <a:gd name="connsiteX77" fmla="*/ 66494 w 438786"/>
                  <a:gd name="connsiteY77" fmla="*/ 86994 h 340485"/>
                  <a:gd name="connsiteX78" fmla="*/ 77471 w 438786"/>
                  <a:gd name="connsiteY78" fmla="*/ 68114 h 340485"/>
                  <a:gd name="connsiteX79" fmla="*/ 85704 w 438786"/>
                  <a:gd name="connsiteY79" fmla="*/ 64985 h 340485"/>
                  <a:gd name="connsiteX80" fmla="*/ 90672 w 438786"/>
                  <a:gd name="connsiteY80" fmla="*/ 65040 h 340485"/>
                  <a:gd name="connsiteX81" fmla="*/ 92181 w 438786"/>
                  <a:gd name="connsiteY81" fmla="*/ 63393 h 340485"/>
                  <a:gd name="connsiteX82" fmla="*/ 94678 w 438786"/>
                  <a:gd name="connsiteY82" fmla="*/ 48904 h 340485"/>
                  <a:gd name="connsiteX83" fmla="*/ 101347 w 438786"/>
                  <a:gd name="connsiteY83" fmla="*/ 32163 h 340485"/>
                  <a:gd name="connsiteX84" fmla="*/ 104064 w 438786"/>
                  <a:gd name="connsiteY84" fmla="*/ 17893 h 340485"/>
                  <a:gd name="connsiteX85" fmla="*/ 108674 w 438786"/>
                  <a:gd name="connsiteY85" fmla="*/ 16329 h 340485"/>
                  <a:gd name="connsiteX86" fmla="*/ 117950 w 438786"/>
                  <a:gd name="connsiteY86" fmla="*/ 17317 h 340485"/>
                  <a:gd name="connsiteX87" fmla="*/ 124592 w 438786"/>
                  <a:gd name="connsiteY87" fmla="*/ 12651 h 340485"/>
                  <a:gd name="connsiteX88" fmla="*/ 132577 w 438786"/>
                  <a:gd name="connsiteY88" fmla="*/ 18606 h 340485"/>
                  <a:gd name="connsiteX89" fmla="*/ 144076 w 438786"/>
                  <a:gd name="connsiteY89" fmla="*/ 0 h 340485"/>
                  <a:gd name="connsiteX90" fmla="*/ 161310 w 438786"/>
                  <a:gd name="connsiteY90" fmla="*/ 12789 h 340485"/>
                  <a:gd name="connsiteX91" fmla="*/ 170531 w 438786"/>
                  <a:gd name="connsiteY91" fmla="*/ 10977 h 340485"/>
                  <a:gd name="connsiteX92" fmla="*/ 179889 w 438786"/>
                  <a:gd name="connsiteY92" fmla="*/ 6477 h 340485"/>
                  <a:gd name="connsiteX93" fmla="*/ 184170 w 438786"/>
                  <a:gd name="connsiteY93" fmla="*/ 11856 h 340485"/>
                  <a:gd name="connsiteX94" fmla="*/ 193199 w 438786"/>
                  <a:gd name="connsiteY94" fmla="*/ 7959 h 340485"/>
                  <a:gd name="connsiteX95" fmla="*/ 202612 w 438786"/>
                  <a:gd name="connsiteY95" fmla="*/ 12157 h 340485"/>
                  <a:gd name="connsiteX96" fmla="*/ 208759 w 438786"/>
                  <a:gd name="connsiteY96" fmla="*/ 10181 h 340485"/>
                  <a:gd name="connsiteX97" fmla="*/ 212738 w 438786"/>
                  <a:gd name="connsiteY97" fmla="*/ 13776 h 340485"/>
                  <a:gd name="connsiteX98" fmla="*/ 230686 w 438786"/>
                  <a:gd name="connsiteY98" fmla="*/ 21982 h 340485"/>
                  <a:gd name="connsiteX99" fmla="*/ 243173 w 438786"/>
                  <a:gd name="connsiteY99" fmla="*/ 37679 h 340485"/>
                  <a:gd name="connsiteX100" fmla="*/ 253848 w 438786"/>
                  <a:gd name="connsiteY100" fmla="*/ 45199 h 340485"/>
                  <a:gd name="connsiteX101" fmla="*/ 264249 w 438786"/>
                  <a:gd name="connsiteY101" fmla="*/ 59771 h 340485"/>
                  <a:gd name="connsiteX102" fmla="*/ 270588 w 438786"/>
                  <a:gd name="connsiteY102" fmla="*/ 64024 h 340485"/>
                  <a:gd name="connsiteX103" fmla="*/ 275939 w 438786"/>
                  <a:gd name="connsiteY103" fmla="*/ 72010 h 34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38786" h="340485">
                    <a:moveTo>
                      <a:pt x="275912" y="71983"/>
                    </a:moveTo>
                    <a:lnTo>
                      <a:pt x="259116" y="95008"/>
                    </a:lnTo>
                    <a:lnTo>
                      <a:pt x="257580" y="101512"/>
                    </a:lnTo>
                    <a:lnTo>
                      <a:pt x="258540" y="116002"/>
                    </a:lnTo>
                    <a:lnTo>
                      <a:pt x="264990" y="118224"/>
                    </a:lnTo>
                    <a:lnTo>
                      <a:pt x="277778" y="114904"/>
                    </a:lnTo>
                    <a:lnTo>
                      <a:pt x="282470" y="113669"/>
                    </a:lnTo>
                    <a:lnTo>
                      <a:pt x="288481" y="116468"/>
                    </a:lnTo>
                    <a:lnTo>
                      <a:pt x="292515" y="116193"/>
                    </a:lnTo>
                    <a:lnTo>
                      <a:pt x="284721" y="128790"/>
                    </a:lnTo>
                    <a:lnTo>
                      <a:pt x="289386" y="138999"/>
                    </a:lnTo>
                    <a:lnTo>
                      <a:pt x="290731" y="140838"/>
                    </a:lnTo>
                    <a:lnTo>
                      <a:pt x="300473" y="151183"/>
                    </a:lnTo>
                    <a:lnTo>
                      <a:pt x="303849" y="158785"/>
                    </a:lnTo>
                    <a:lnTo>
                      <a:pt x="324733" y="176184"/>
                    </a:lnTo>
                    <a:lnTo>
                      <a:pt x="325803" y="176870"/>
                    </a:lnTo>
                    <a:lnTo>
                      <a:pt x="371523" y="192266"/>
                    </a:lnTo>
                    <a:lnTo>
                      <a:pt x="374075" y="193116"/>
                    </a:lnTo>
                    <a:lnTo>
                      <a:pt x="409751" y="205136"/>
                    </a:lnTo>
                    <a:lnTo>
                      <a:pt x="416722" y="205575"/>
                    </a:lnTo>
                    <a:lnTo>
                      <a:pt x="434944" y="205658"/>
                    </a:lnTo>
                    <a:lnTo>
                      <a:pt x="437633" y="205658"/>
                    </a:lnTo>
                    <a:lnTo>
                      <a:pt x="438786" y="206426"/>
                    </a:lnTo>
                    <a:lnTo>
                      <a:pt x="434944" y="210488"/>
                    </a:lnTo>
                    <a:lnTo>
                      <a:pt x="416722" y="229753"/>
                    </a:lnTo>
                    <a:lnTo>
                      <a:pt x="371523" y="276269"/>
                    </a:lnTo>
                    <a:lnTo>
                      <a:pt x="352203" y="296137"/>
                    </a:lnTo>
                    <a:lnTo>
                      <a:pt x="340568" y="295918"/>
                    </a:lnTo>
                    <a:lnTo>
                      <a:pt x="325364" y="295643"/>
                    </a:lnTo>
                    <a:lnTo>
                      <a:pt x="323910" y="295643"/>
                    </a:lnTo>
                    <a:cubicBezTo>
                      <a:pt x="323910" y="295643"/>
                      <a:pt x="312630" y="298333"/>
                      <a:pt x="312630" y="298333"/>
                    </a:cubicBezTo>
                    <a:lnTo>
                      <a:pt x="298168" y="304645"/>
                    </a:lnTo>
                    <a:lnTo>
                      <a:pt x="289633" y="314936"/>
                    </a:lnTo>
                    <a:lnTo>
                      <a:pt x="281757" y="317351"/>
                    </a:lnTo>
                    <a:lnTo>
                      <a:pt x="277723" y="317762"/>
                    </a:lnTo>
                    <a:lnTo>
                      <a:pt x="266828" y="318833"/>
                    </a:lnTo>
                    <a:lnTo>
                      <a:pt x="261339" y="324403"/>
                    </a:lnTo>
                    <a:lnTo>
                      <a:pt x="240647" y="325282"/>
                    </a:lnTo>
                    <a:lnTo>
                      <a:pt x="227283" y="316088"/>
                    </a:lnTo>
                    <a:lnTo>
                      <a:pt x="202639" y="327285"/>
                    </a:lnTo>
                    <a:lnTo>
                      <a:pt x="192458" y="339772"/>
                    </a:lnTo>
                    <a:lnTo>
                      <a:pt x="189796" y="340485"/>
                    </a:lnTo>
                    <a:lnTo>
                      <a:pt x="162655" y="334887"/>
                    </a:lnTo>
                    <a:lnTo>
                      <a:pt x="150058" y="334722"/>
                    </a:lnTo>
                    <a:lnTo>
                      <a:pt x="113285" y="311313"/>
                    </a:lnTo>
                    <a:lnTo>
                      <a:pt x="90562" y="310407"/>
                    </a:lnTo>
                    <a:lnTo>
                      <a:pt x="85979" y="305577"/>
                    </a:lnTo>
                    <a:lnTo>
                      <a:pt x="82356" y="299650"/>
                    </a:lnTo>
                    <a:lnTo>
                      <a:pt x="81725" y="284858"/>
                    </a:lnTo>
                    <a:lnTo>
                      <a:pt x="74617" y="282553"/>
                    </a:lnTo>
                    <a:lnTo>
                      <a:pt x="68141" y="283596"/>
                    </a:lnTo>
                    <a:lnTo>
                      <a:pt x="61829" y="274704"/>
                    </a:lnTo>
                    <a:lnTo>
                      <a:pt x="58152" y="266334"/>
                    </a:lnTo>
                    <a:lnTo>
                      <a:pt x="56889" y="249649"/>
                    </a:lnTo>
                    <a:lnTo>
                      <a:pt x="35045" y="234144"/>
                    </a:lnTo>
                    <a:lnTo>
                      <a:pt x="29803" y="227942"/>
                    </a:lnTo>
                    <a:lnTo>
                      <a:pt x="26702" y="220916"/>
                    </a:lnTo>
                    <a:lnTo>
                      <a:pt x="21543" y="216690"/>
                    </a:lnTo>
                    <a:lnTo>
                      <a:pt x="7986" y="213534"/>
                    </a:lnTo>
                    <a:lnTo>
                      <a:pt x="0" y="209225"/>
                    </a:lnTo>
                    <a:lnTo>
                      <a:pt x="6723" y="193281"/>
                    </a:lnTo>
                    <a:lnTo>
                      <a:pt x="7849" y="193116"/>
                    </a:lnTo>
                    <a:lnTo>
                      <a:pt x="15972" y="191991"/>
                    </a:lnTo>
                    <a:lnTo>
                      <a:pt x="19347" y="193116"/>
                    </a:lnTo>
                    <a:lnTo>
                      <a:pt x="21954" y="193967"/>
                    </a:lnTo>
                    <a:lnTo>
                      <a:pt x="23409" y="193116"/>
                    </a:lnTo>
                    <a:lnTo>
                      <a:pt x="31724" y="188149"/>
                    </a:lnTo>
                    <a:lnTo>
                      <a:pt x="31862" y="176157"/>
                    </a:lnTo>
                    <a:lnTo>
                      <a:pt x="32053" y="160953"/>
                    </a:lnTo>
                    <a:lnTo>
                      <a:pt x="35621" y="145558"/>
                    </a:lnTo>
                    <a:lnTo>
                      <a:pt x="38667" y="140838"/>
                    </a:lnTo>
                    <a:lnTo>
                      <a:pt x="38338" y="128076"/>
                    </a:lnTo>
                    <a:lnTo>
                      <a:pt x="40643" y="125552"/>
                    </a:lnTo>
                    <a:lnTo>
                      <a:pt x="45583" y="120200"/>
                    </a:lnTo>
                    <a:lnTo>
                      <a:pt x="52059" y="123329"/>
                    </a:lnTo>
                    <a:lnTo>
                      <a:pt x="55792" y="120832"/>
                    </a:lnTo>
                    <a:lnTo>
                      <a:pt x="60978" y="92867"/>
                    </a:lnTo>
                    <a:lnTo>
                      <a:pt x="66494" y="86994"/>
                    </a:lnTo>
                    <a:lnTo>
                      <a:pt x="77471" y="68114"/>
                    </a:lnTo>
                    <a:lnTo>
                      <a:pt x="85704" y="64985"/>
                    </a:lnTo>
                    <a:lnTo>
                      <a:pt x="90672" y="65040"/>
                    </a:lnTo>
                    <a:lnTo>
                      <a:pt x="92181" y="63393"/>
                    </a:lnTo>
                    <a:lnTo>
                      <a:pt x="94678" y="48904"/>
                    </a:lnTo>
                    <a:lnTo>
                      <a:pt x="101347" y="32163"/>
                    </a:lnTo>
                    <a:lnTo>
                      <a:pt x="104064" y="17893"/>
                    </a:lnTo>
                    <a:lnTo>
                      <a:pt x="108674" y="16329"/>
                    </a:lnTo>
                    <a:lnTo>
                      <a:pt x="117950" y="17317"/>
                    </a:lnTo>
                    <a:lnTo>
                      <a:pt x="124592" y="12651"/>
                    </a:lnTo>
                    <a:lnTo>
                      <a:pt x="132577" y="18606"/>
                    </a:lnTo>
                    <a:lnTo>
                      <a:pt x="144076" y="0"/>
                    </a:lnTo>
                    <a:lnTo>
                      <a:pt x="161310" y="12789"/>
                    </a:lnTo>
                    <a:lnTo>
                      <a:pt x="170531" y="10977"/>
                    </a:lnTo>
                    <a:lnTo>
                      <a:pt x="179889" y="6477"/>
                    </a:lnTo>
                    <a:lnTo>
                      <a:pt x="184170" y="11856"/>
                    </a:lnTo>
                    <a:lnTo>
                      <a:pt x="193199" y="7959"/>
                    </a:lnTo>
                    <a:lnTo>
                      <a:pt x="202612" y="12157"/>
                    </a:lnTo>
                    <a:lnTo>
                      <a:pt x="208759" y="10181"/>
                    </a:lnTo>
                    <a:lnTo>
                      <a:pt x="212738" y="13776"/>
                    </a:lnTo>
                    <a:lnTo>
                      <a:pt x="230686" y="21982"/>
                    </a:lnTo>
                    <a:lnTo>
                      <a:pt x="243173" y="37679"/>
                    </a:lnTo>
                    <a:lnTo>
                      <a:pt x="253848" y="45199"/>
                    </a:lnTo>
                    <a:lnTo>
                      <a:pt x="264249" y="59771"/>
                    </a:lnTo>
                    <a:lnTo>
                      <a:pt x="270588" y="64024"/>
                    </a:lnTo>
                    <a:lnTo>
                      <a:pt x="275939" y="720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6" name="Freeform: Shape 3935">
                <a:extLst>
                  <a:ext uri="{FF2B5EF4-FFF2-40B4-BE49-F238E27FC236}">
                    <a16:creationId xmlns:a16="http://schemas.microsoft.com/office/drawing/2014/main" id="{D9F0C8EE-D08B-4CE8-1813-8FFC54113EA2}"/>
                  </a:ext>
                </a:extLst>
              </p:cNvPr>
              <p:cNvSpPr/>
              <p:nvPr/>
            </p:nvSpPr>
            <p:spPr>
              <a:xfrm>
                <a:off x="1182168" y="4028338"/>
                <a:ext cx="6045" cy="5058"/>
              </a:xfrm>
              <a:custGeom>
                <a:avLst/>
                <a:gdLst>
                  <a:gd name="connsiteX0" fmla="*/ 38502 w 57959"/>
                  <a:gd name="connsiteY0" fmla="*/ 1317 h 48491"/>
                  <a:gd name="connsiteX1" fmla="*/ 42235 w 57959"/>
                  <a:gd name="connsiteY1" fmla="*/ 4967 h 48491"/>
                  <a:gd name="connsiteX2" fmla="*/ 53514 w 57959"/>
                  <a:gd name="connsiteY2" fmla="*/ 4528 h 48491"/>
                  <a:gd name="connsiteX3" fmla="*/ 57465 w 57959"/>
                  <a:gd name="connsiteY3" fmla="*/ 11060 h 48491"/>
                  <a:gd name="connsiteX4" fmla="*/ 52718 w 57959"/>
                  <a:gd name="connsiteY4" fmla="*/ 12322 h 48491"/>
                  <a:gd name="connsiteX5" fmla="*/ 52718 w 57959"/>
                  <a:gd name="connsiteY5" fmla="*/ 14024 h 48491"/>
                  <a:gd name="connsiteX6" fmla="*/ 55545 w 57959"/>
                  <a:gd name="connsiteY6" fmla="*/ 15011 h 48491"/>
                  <a:gd name="connsiteX7" fmla="*/ 57960 w 57959"/>
                  <a:gd name="connsiteY7" fmla="*/ 18744 h 48491"/>
                  <a:gd name="connsiteX8" fmla="*/ 38530 w 57959"/>
                  <a:gd name="connsiteY8" fmla="*/ 28843 h 48491"/>
                  <a:gd name="connsiteX9" fmla="*/ 37021 w 57959"/>
                  <a:gd name="connsiteY9" fmla="*/ 30873 h 48491"/>
                  <a:gd name="connsiteX10" fmla="*/ 35099 w 57959"/>
                  <a:gd name="connsiteY10" fmla="*/ 28623 h 48491"/>
                  <a:gd name="connsiteX11" fmla="*/ 28925 w 57959"/>
                  <a:gd name="connsiteY11" fmla="*/ 28952 h 48491"/>
                  <a:gd name="connsiteX12" fmla="*/ 27827 w 57959"/>
                  <a:gd name="connsiteY12" fmla="*/ 31176 h 48491"/>
                  <a:gd name="connsiteX13" fmla="*/ 31258 w 57959"/>
                  <a:gd name="connsiteY13" fmla="*/ 31313 h 48491"/>
                  <a:gd name="connsiteX14" fmla="*/ 32794 w 57959"/>
                  <a:gd name="connsiteY14" fmla="*/ 33289 h 48491"/>
                  <a:gd name="connsiteX15" fmla="*/ 31340 w 57959"/>
                  <a:gd name="connsiteY15" fmla="*/ 36828 h 48491"/>
                  <a:gd name="connsiteX16" fmla="*/ 23381 w 57959"/>
                  <a:gd name="connsiteY16" fmla="*/ 38091 h 48491"/>
                  <a:gd name="connsiteX17" fmla="*/ 17152 w 57959"/>
                  <a:gd name="connsiteY17" fmla="*/ 33206 h 48491"/>
                  <a:gd name="connsiteX18" fmla="*/ 17152 w 57959"/>
                  <a:gd name="connsiteY18" fmla="*/ 38475 h 48491"/>
                  <a:gd name="connsiteX19" fmla="*/ 18579 w 57959"/>
                  <a:gd name="connsiteY19" fmla="*/ 42372 h 48491"/>
                  <a:gd name="connsiteX20" fmla="*/ 17152 w 57959"/>
                  <a:gd name="connsiteY20" fmla="*/ 44293 h 48491"/>
                  <a:gd name="connsiteX21" fmla="*/ 10785 w 57959"/>
                  <a:gd name="connsiteY21" fmla="*/ 41055 h 48491"/>
                  <a:gd name="connsiteX22" fmla="*/ 10346 w 57959"/>
                  <a:gd name="connsiteY22" fmla="*/ 47970 h 48491"/>
                  <a:gd name="connsiteX23" fmla="*/ 7163 w 57959"/>
                  <a:gd name="connsiteY23" fmla="*/ 48492 h 48491"/>
                  <a:gd name="connsiteX24" fmla="*/ 2579 w 57959"/>
                  <a:gd name="connsiteY24" fmla="*/ 42344 h 48491"/>
                  <a:gd name="connsiteX25" fmla="*/ 1152 w 57959"/>
                  <a:gd name="connsiteY25" fmla="*/ 45720 h 48491"/>
                  <a:gd name="connsiteX26" fmla="*/ 0 w 57959"/>
                  <a:gd name="connsiteY26" fmla="*/ 44567 h 48491"/>
                  <a:gd name="connsiteX27" fmla="*/ 823 w 57959"/>
                  <a:gd name="connsiteY27" fmla="*/ 39271 h 48491"/>
                  <a:gd name="connsiteX28" fmla="*/ 3046 w 57959"/>
                  <a:gd name="connsiteY28" fmla="*/ 37323 h 48491"/>
                  <a:gd name="connsiteX29" fmla="*/ 1537 w 57959"/>
                  <a:gd name="connsiteY29" fmla="*/ 33371 h 48491"/>
                  <a:gd name="connsiteX30" fmla="*/ 3567 w 57959"/>
                  <a:gd name="connsiteY30" fmla="*/ 31313 h 48491"/>
                  <a:gd name="connsiteX31" fmla="*/ 6861 w 57959"/>
                  <a:gd name="connsiteY31" fmla="*/ 30132 h 48491"/>
                  <a:gd name="connsiteX32" fmla="*/ 8260 w 57959"/>
                  <a:gd name="connsiteY32" fmla="*/ 26455 h 48491"/>
                  <a:gd name="connsiteX33" fmla="*/ 20417 w 57959"/>
                  <a:gd name="connsiteY33" fmla="*/ 17454 h 48491"/>
                  <a:gd name="connsiteX34" fmla="*/ 17783 w 57959"/>
                  <a:gd name="connsiteY34" fmla="*/ 15011 h 48491"/>
                  <a:gd name="connsiteX35" fmla="*/ 18057 w 57959"/>
                  <a:gd name="connsiteY35" fmla="*/ 7026 h 48491"/>
                  <a:gd name="connsiteX36" fmla="*/ 24424 w 57959"/>
                  <a:gd name="connsiteY36" fmla="*/ 3924 h 48491"/>
                  <a:gd name="connsiteX37" fmla="*/ 24946 w 57959"/>
                  <a:gd name="connsiteY37" fmla="*/ 0 h 48491"/>
                  <a:gd name="connsiteX38" fmla="*/ 38530 w 57959"/>
                  <a:gd name="connsiteY38" fmla="*/ 1317 h 4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7959" h="48491">
                    <a:moveTo>
                      <a:pt x="38502" y="1317"/>
                    </a:moveTo>
                    <a:lnTo>
                      <a:pt x="42235" y="4967"/>
                    </a:lnTo>
                    <a:lnTo>
                      <a:pt x="53514" y="4528"/>
                    </a:lnTo>
                    <a:lnTo>
                      <a:pt x="57465" y="11060"/>
                    </a:lnTo>
                    <a:lnTo>
                      <a:pt x="52718" y="12322"/>
                    </a:lnTo>
                    <a:lnTo>
                      <a:pt x="52718" y="14024"/>
                    </a:lnTo>
                    <a:cubicBezTo>
                      <a:pt x="52718" y="14024"/>
                      <a:pt x="55545" y="15011"/>
                      <a:pt x="55545" y="15011"/>
                    </a:cubicBezTo>
                    <a:lnTo>
                      <a:pt x="57960" y="18744"/>
                    </a:lnTo>
                    <a:lnTo>
                      <a:pt x="38530" y="28843"/>
                    </a:lnTo>
                    <a:lnTo>
                      <a:pt x="37021" y="30873"/>
                    </a:lnTo>
                    <a:lnTo>
                      <a:pt x="35099" y="28623"/>
                    </a:lnTo>
                    <a:lnTo>
                      <a:pt x="28925" y="28952"/>
                    </a:lnTo>
                    <a:lnTo>
                      <a:pt x="27827" y="31176"/>
                    </a:lnTo>
                    <a:lnTo>
                      <a:pt x="31258" y="31313"/>
                    </a:lnTo>
                    <a:lnTo>
                      <a:pt x="32794" y="33289"/>
                    </a:lnTo>
                    <a:lnTo>
                      <a:pt x="31340" y="36828"/>
                    </a:lnTo>
                    <a:lnTo>
                      <a:pt x="23381" y="38091"/>
                    </a:lnTo>
                    <a:lnTo>
                      <a:pt x="17152" y="33206"/>
                    </a:lnTo>
                    <a:lnTo>
                      <a:pt x="17152" y="38475"/>
                    </a:lnTo>
                    <a:lnTo>
                      <a:pt x="18579" y="42372"/>
                    </a:lnTo>
                    <a:lnTo>
                      <a:pt x="17152" y="44293"/>
                    </a:lnTo>
                    <a:lnTo>
                      <a:pt x="10785" y="41055"/>
                    </a:lnTo>
                    <a:lnTo>
                      <a:pt x="10346" y="47970"/>
                    </a:lnTo>
                    <a:lnTo>
                      <a:pt x="7163" y="48492"/>
                    </a:lnTo>
                    <a:lnTo>
                      <a:pt x="2579" y="42344"/>
                    </a:lnTo>
                    <a:lnTo>
                      <a:pt x="1152" y="45720"/>
                    </a:lnTo>
                    <a:lnTo>
                      <a:pt x="0" y="44567"/>
                    </a:lnTo>
                    <a:lnTo>
                      <a:pt x="823" y="39271"/>
                    </a:lnTo>
                    <a:lnTo>
                      <a:pt x="3046" y="37323"/>
                    </a:lnTo>
                    <a:lnTo>
                      <a:pt x="1537" y="33371"/>
                    </a:lnTo>
                    <a:lnTo>
                      <a:pt x="3567" y="31313"/>
                    </a:lnTo>
                    <a:lnTo>
                      <a:pt x="6861" y="30132"/>
                    </a:lnTo>
                    <a:lnTo>
                      <a:pt x="8260" y="26455"/>
                    </a:lnTo>
                    <a:lnTo>
                      <a:pt x="20417" y="17454"/>
                    </a:lnTo>
                    <a:lnTo>
                      <a:pt x="17783" y="15011"/>
                    </a:lnTo>
                    <a:lnTo>
                      <a:pt x="18057" y="7026"/>
                    </a:lnTo>
                    <a:lnTo>
                      <a:pt x="24424" y="3924"/>
                    </a:lnTo>
                    <a:lnTo>
                      <a:pt x="24946" y="0"/>
                    </a:lnTo>
                    <a:lnTo>
                      <a:pt x="38530" y="13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7" name="Freeform: Shape 3936">
                <a:extLst>
                  <a:ext uri="{FF2B5EF4-FFF2-40B4-BE49-F238E27FC236}">
                    <a16:creationId xmlns:a16="http://schemas.microsoft.com/office/drawing/2014/main" id="{3FD8CC6E-52BA-0C43-6242-3D4A4523F5BD}"/>
                  </a:ext>
                </a:extLst>
              </p:cNvPr>
              <p:cNvSpPr/>
              <p:nvPr/>
            </p:nvSpPr>
            <p:spPr>
              <a:xfrm>
                <a:off x="1177299" y="4028419"/>
                <a:ext cx="6314" cy="4654"/>
              </a:xfrm>
              <a:custGeom>
                <a:avLst/>
                <a:gdLst>
                  <a:gd name="connsiteX0" fmla="*/ 42399 w 60539"/>
                  <a:gd name="connsiteY0" fmla="*/ 4638 h 44622"/>
                  <a:gd name="connsiteX1" fmla="*/ 46598 w 60539"/>
                  <a:gd name="connsiteY1" fmla="*/ 5873 h 44622"/>
                  <a:gd name="connsiteX2" fmla="*/ 48327 w 60539"/>
                  <a:gd name="connsiteY2" fmla="*/ 3787 h 44622"/>
                  <a:gd name="connsiteX3" fmla="*/ 53075 w 60539"/>
                  <a:gd name="connsiteY3" fmla="*/ 7218 h 44622"/>
                  <a:gd name="connsiteX4" fmla="*/ 55380 w 60539"/>
                  <a:gd name="connsiteY4" fmla="*/ 5955 h 44622"/>
                  <a:gd name="connsiteX5" fmla="*/ 56121 w 60539"/>
                  <a:gd name="connsiteY5" fmla="*/ 2031 h 44622"/>
                  <a:gd name="connsiteX6" fmla="*/ 59304 w 60539"/>
                  <a:gd name="connsiteY6" fmla="*/ 3046 h 44622"/>
                  <a:gd name="connsiteX7" fmla="*/ 60539 w 60539"/>
                  <a:gd name="connsiteY7" fmla="*/ 6147 h 44622"/>
                  <a:gd name="connsiteX8" fmla="*/ 56368 w 60539"/>
                  <a:gd name="connsiteY8" fmla="*/ 14160 h 44622"/>
                  <a:gd name="connsiteX9" fmla="*/ 54255 w 60539"/>
                  <a:gd name="connsiteY9" fmla="*/ 14160 h 44622"/>
                  <a:gd name="connsiteX10" fmla="*/ 43085 w 60539"/>
                  <a:gd name="connsiteY10" fmla="*/ 30489 h 44622"/>
                  <a:gd name="connsiteX11" fmla="*/ 39298 w 60539"/>
                  <a:gd name="connsiteY11" fmla="*/ 32548 h 44622"/>
                  <a:gd name="connsiteX12" fmla="*/ 36115 w 60539"/>
                  <a:gd name="connsiteY12" fmla="*/ 30709 h 44622"/>
                  <a:gd name="connsiteX13" fmla="*/ 28376 w 60539"/>
                  <a:gd name="connsiteY13" fmla="*/ 40040 h 44622"/>
                  <a:gd name="connsiteX14" fmla="*/ 20912 w 60539"/>
                  <a:gd name="connsiteY14" fmla="*/ 44622 h 44622"/>
                  <a:gd name="connsiteX15" fmla="*/ 17618 w 60539"/>
                  <a:gd name="connsiteY15" fmla="*/ 39271 h 44622"/>
                  <a:gd name="connsiteX16" fmla="*/ 9962 w 60539"/>
                  <a:gd name="connsiteY16" fmla="*/ 36692 h 44622"/>
                  <a:gd name="connsiteX17" fmla="*/ 7931 w 60539"/>
                  <a:gd name="connsiteY17" fmla="*/ 30681 h 44622"/>
                  <a:gd name="connsiteX18" fmla="*/ 5735 w 60539"/>
                  <a:gd name="connsiteY18" fmla="*/ 28266 h 44622"/>
                  <a:gd name="connsiteX19" fmla="*/ 3348 w 60539"/>
                  <a:gd name="connsiteY19" fmla="*/ 28486 h 44622"/>
                  <a:gd name="connsiteX20" fmla="*/ 0 w 60539"/>
                  <a:gd name="connsiteY20" fmla="*/ 25467 h 44622"/>
                  <a:gd name="connsiteX21" fmla="*/ 0 w 60539"/>
                  <a:gd name="connsiteY21" fmla="*/ 24232 h 44622"/>
                  <a:gd name="connsiteX22" fmla="*/ 10071 w 60539"/>
                  <a:gd name="connsiteY22" fmla="*/ 22448 h 44622"/>
                  <a:gd name="connsiteX23" fmla="*/ 14243 w 60539"/>
                  <a:gd name="connsiteY23" fmla="*/ 20143 h 44622"/>
                  <a:gd name="connsiteX24" fmla="*/ 13776 w 60539"/>
                  <a:gd name="connsiteY24" fmla="*/ 24644 h 44622"/>
                  <a:gd name="connsiteX25" fmla="*/ 12706 w 60539"/>
                  <a:gd name="connsiteY25" fmla="*/ 25247 h 44622"/>
                  <a:gd name="connsiteX26" fmla="*/ 11910 w 60539"/>
                  <a:gd name="connsiteY26" fmla="*/ 30681 h 44622"/>
                  <a:gd name="connsiteX27" fmla="*/ 10483 w 60539"/>
                  <a:gd name="connsiteY27" fmla="*/ 33179 h 44622"/>
                  <a:gd name="connsiteX28" fmla="*/ 12980 w 60539"/>
                  <a:gd name="connsiteY28" fmla="*/ 36170 h 44622"/>
                  <a:gd name="connsiteX29" fmla="*/ 14627 w 60539"/>
                  <a:gd name="connsiteY29" fmla="*/ 34194 h 44622"/>
                  <a:gd name="connsiteX30" fmla="*/ 15121 w 60539"/>
                  <a:gd name="connsiteY30" fmla="*/ 31066 h 44622"/>
                  <a:gd name="connsiteX31" fmla="*/ 18250 w 60539"/>
                  <a:gd name="connsiteY31" fmla="*/ 33041 h 44622"/>
                  <a:gd name="connsiteX32" fmla="*/ 26071 w 60539"/>
                  <a:gd name="connsiteY32" fmla="*/ 30709 h 44622"/>
                  <a:gd name="connsiteX33" fmla="*/ 24726 w 60539"/>
                  <a:gd name="connsiteY33" fmla="*/ 22915 h 44622"/>
                  <a:gd name="connsiteX34" fmla="*/ 20966 w 60539"/>
                  <a:gd name="connsiteY34" fmla="*/ 21158 h 44622"/>
                  <a:gd name="connsiteX35" fmla="*/ 20033 w 60539"/>
                  <a:gd name="connsiteY35" fmla="*/ 17536 h 44622"/>
                  <a:gd name="connsiteX36" fmla="*/ 28239 w 60539"/>
                  <a:gd name="connsiteY36" fmla="*/ 18168 h 44622"/>
                  <a:gd name="connsiteX37" fmla="*/ 28239 w 60539"/>
                  <a:gd name="connsiteY37" fmla="*/ 25385 h 44622"/>
                  <a:gd name="connsiteX38" fmla="*/ 32602 w 60539"/>
                  <a:gd name="connsiteY38" fmla="*/ 20006 h 44622"/>
                  <a:gd name="connsiteX39" fmla="*/ 30352 w 60539"/>
                  <a:gd name="connsiteY39" fmla="*/ 18332 h 44622"/>
                  <a:gd name="connsiteX40" fmla="*/ 30736 w 60539"/>
                  <a:gd name="connsiteY40" fmla="*/ 14105 h 44622"/>
                  <a:gd name="connsiteX41" fmla="*/ 24095 w 60539"/>
                  <a:gd name="connsiteY41" fmla="*/ 11005 h 44622"/>
                  <a:gd name="connsiteX42" fmla="*/ 25933 w 60539"/>
                  <a:gd name="connsiteY42" fmla="*/ 5763 h 44622"/>
                  <a:gd name="connsiteX43" fmla="*/ 34551 w 60539"/>
                  <a:gd name="connsiteY43" fmla="*/ 8919 h 44622"/>
                  <a:gd name="connsiteX44" fmla="*/ 36719 w 60539"/>
                  <a:gd name="connsiteY44" fmla="*/ 7986 h 44622"/>
                  <a:gd name="connsiteX45" fmla="*/ 39079 w 60539"/>
                  <a:gd name="connsiteY45" fmla="*/ 0 h 44622"/>
                  <a:gd name="connsiteX46" fmla="*/ 42399 w 60539"/>
                  <a:gd name="connsiteY46" fmla="*/ 3156 h 44622"/>
                  <a:gd name="connsiteX47" fmla="*/ 42399 w 60539"/>
                  <a:gd name="connsiteY47" fmla="*/ 4555 h 4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539" h="44622">
                    <a:moveTo>
                      <a:pt x="42399" y="4638"/>
                    </a:moveTo>
                    <a:lnTo>
                      <a:pt x="46598" y="5873"/>
                    </a:lnTo>
                    <a:lnTo>
                      <a:pt x="48327" y="3787"/>
                    </a:lnTo>
                    <a:lnTo>
                      <a:pt x="53075" y="7218"/>
                    </a:lnTo>
                    <a:lnTo>
                      <a:pt x="55380" y="5955"/>
                    </a:lnTo>
                    <a:lnTo>
                      <a:pt x="56121" y="2031"/>
                    </a:lnTo>
                    <a:lnTo>
                      <a:pt x="59304" y="3046"/>
                    </a:lnTo>
                    <a:lnTo>
                      <a:pt x="60539" y="6147"/>
                    </a:lnTo>
                    <a:lnTo>
                      <a:pt x="56368" y="14160"/>
                    </a:lnTo>
                    <a:lnTo>
                      <a:pt x="54255" y="14160"/>
                    </a:lnTo>
                    <a:lnTo>
                      <a:pt x="43085" y="30489"/>
                    </a:lnTo>
                    <a:lnTo>
                      <a:pt x="39298" y="32548"/>
                    </a:lnTo>
                    <a:lnTo>
                      <a:pt x="36115" y="30709"/>
                    </a:lnTo>
                    <a:lnTo>
                      <a:pt x="28376" y="40040"/>
                    </a:lnTo>
                    <a:lnTo>
                      <a:pt x="20912" y="44622"/>
                    </a:lnTo>
                    <a:lnTo>
                      <a:pt x="17618" y="39271"/>
                    </a:lnTo>
                    <a:lnTo>
                      <a:pt x="9962" y="36692"/>
                    </a:lnTo>
                    <a:lnTo>
                      <a:pt x="7931" y="30681"/>
                    </a:lnTo>
                    <a:lnTo>
                      <a:pt x="5735" y="28266"/>
                    </a:lnTo>
                    <a:lnTo>
                      <a:pt x="3348" y="28486"/>
                    </a:lnTo>
                    <a:lnTo>
                      <a:pt x="0" y="25467"/>
                    </a:lnTo>
                    <a:lnTo>
                      <a:pt x="0" y="24232"/>
                    </a:lnTo>
                    <a:lnTo>
                      <a:pt x="10071" y="22448"/>
                    </a:lnTo>
                    <a:lnTo>
                      <a:pt x="14243" y="20143"/>
                    </a:lnTo>
                    <a:lnTo>
                      <a:pt x="13776" y="24644"/>
                    </a:lnTo>
                    <a:lnTo>
                      <a:pt x="12706" y="25247"/>
                    </a:lnTo>
                    <a:lnTo>
                      <a:pt x="11910" y="30681"/>
                    </a:lnTo>
                    <a:lnTo>
                      <a:pt x="10483" y="33179"/>
                    </a:lnTo>
                    <a:lnTo>
                      <a:pt x="12980" y="36170"/>
                    </a:lnTo>
                    <a:lnTo>
                      <a:pt x="14627" y="34194"/>
                    </a:lnTo>
                    <a:lnTo>
                      <a:pt x="15121" y="31066"/>
                    </a:lnTo>
                    <a:lnTo>
                      <a:pt x="18250" y="33041"/>
                    </a:lnTo>
                    <a:lnTo>
                      <a:pt x="26071" y="30709"/>
                    </a:lnTo>
                    <a:lnTo>
                      <a:pt x="24726" y="22915"/>
                    </a:lnTo>
                    <a:lnTo>
                      <a:pt x="20966" y="21158"/>
                    </a:lnTo>
                    <a:lnTo>
                      <a:pt x="20033" y="17536"/>
                    </a:lnTo>
                    <a:lnTo>
                      <a:pt x="28239" y="18168"/>
                    </a:lnTo>
                    <a:lnTo>
                      <a:pt x="28239" y="25385"/>
                    </a:lnTo>
                    <a:cubicBezTo>
                      <a:pt x="28239" y="25385"/>
                      <a:pt x="32602" y="20006"/>
                      <a:pt x="32602" y="20006"/>
                    </a:cubicBezTo>
                    <a:lnTo>
                      <a:pt x="30352" y="18332"/>
                    </a:lnTo>
                    <a:lnTo>
                      <a:pt x="30736" y="14105"/>
                    </a:lnTo>
                    <a:lnTo>
                      <a:pt x="24095" y="11005"/>
                    </a:lnTo>
                    <a:lnTo>
                      <a:pt x="25933" y="5763"/>
                    </a:lnTo>
                    <a:lnTo>
                      <a:pt x="34551" y="8919"/>
                    </a:lnTo>
                    <a:lnTo>
                      <a:pt x="36719" y="7986"/>
                    </a:lnTo>
                    <a:lnTo>
                      <a:pt x="39079" y="0"/>
                    </a:lnTo>
                    <a:lnTo>
                      <a:pt x="42399" y="3156"/>
                    </a:lnTo>
                    <a:lnTo>
                      <a:pt x="42399" y="45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8" name="Freeform: Shape 3937">
                <a:extLst>
                  <a:ext uri="{FF2B5EF4-FFF2-40B4-BE49-F238E27FC236}">
                    <a16:creationId xmlns:a16="http://schemas.microsoft.com/office/drawing/2014/main" id="{58212C1E-E9F2-939E-D2F0-231750D72613}"/>
                  </a:ext>
                </a:extLst>
              </p:cNvPr>
              <p:cNvSpPr/>
              <p:nvPr/>
            </p:nvSpPr>
            <p:spPr>
              <a:xfrm>
                <a:off x="1182240" y="4028127"/>
                <a:ext cx="733" cy="509"/>
              </a:xfrm>
              <a:custGeom>
                <a:avLst/>
                <a:gdLst>
                  <a:gd name="connsiteX0" fmla="*/ 6641 w 7025"/>
                  <a:gd name="connsiteY0" fmla="*/ 4885 h 4884"/>
                  <a:gd name="connsiteX1" fmla="*/ 3677 w 7025"/>
                  <a:gd name="connsiteY1" fmla="*/ 4885 h 4884"/>
                  <a:gd name="connsiteX2" fmla="*/ 0 w 7025"/>
                  <a:gd name="connsiteY2" fmla="*/ 1784 h 4884"/>
                  <a:gd name="connsiteX3" fmla="*/ 1043 w 7025"/>
                  <a:gd name="connsiteY3" fmla="*/ 0 h 4884"/>
                  <a:gd name="connsiteX4" fmla="*/ 7025 w 7025"/>
                  <a:gd name="connsiteY4" fmla="*/ 1317 h 4884"/>
                  <a:gd name="connsiteX5" fmla="*/ 6614 w 7025"/>
                  <a:gd name="connsiteY5" fmla="*/ 4885 h 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5" h="4884">
                    <a:moveTo>
                      <a:pt x="6641" y="4885"/>
                    </a:moveTo>
                    <a:lnTo>
                      <a:pt x="3677" y="4885"/>
                    </a:lnTo>
                    <a:cubicBezTo>
                      <a:pt x="3677" y="4885"/>
                      <a:pt x="0" y="1784"/>
                      <a:pt x="0" y="1784"/>
                    </a:cubicBezTo>
                    <a:lnTo>
                      <a:pt x="1043" y="0"/>
                    </a:lnTo>
                    <a:lnTo>
                      <a:pt x="7025" y="1317"/>
                    </a:lnTo>
                    <a:lnTo>
                      <a:pt x="6614" y="48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39" name="Freeform: Shape 3938">
                <a:extLst>
                  <a:ext uri="{FF2B5EF4-FFF2-40B4-BE49-F238E27FC236}">
                    <a16:creationId xmlns:a16="http://schemas.microsoft.com/office/drawing/2014/main" id="{D1E894B5-243D-147B-DA2A-104870414591}"/>
                  </a:ext>
                </a:extLst>
              </p:cNvPr>
              <p:cNvSpPr/>
              <p:nvPr/>
            </p:nvSpPr>
            <p:spPr>
              <a:xfrm>
                <a:off x="1180436" y="4028421"/>
                <a:ext cx="630" cy="544"/>
              </a:xfrm>
              <a:custGeom>
                <a:avLst/>
                <a:gdLst>
                  <a:gd name="connsiteX0" fmla="*/ 6037 w 6037"/>
                  <a:gd name="connsiteY0" fmla="*/ 0 h 5213"/>
                  <a:gd name="connsiteX1" fmla="*/ 5955 w 6037"/>
                  <a:gd name="connsiteY1" fmla="*/ 3430 h 5213"/>
                  <a:gd name="connsiteX2" fmla="*/ 3622 w 6037"/>
                  <a:gd name="connsiteY2" fmla="*/ 2662 h 5213"/>
                  <a:gd name="connsiteX3" fmla="*/ 1455 w 6037"/>
                  <a:gd name="connsiteY3" fmla="*/ 5214 h 5213"/>
                  <a:gd name="connsiteX4" fmla="*/ 0 w 6037"/>
                  <a:gd name="connsiteY4" fmla="*/ 3787 h 5213"/>
                  <a:gd name="connsiteX5" fmla="*/ 3293 w 6037"/>
                  <a:gd name="connsiteY5" fmla="*/ 330 h 5213"/>
                  <a:gd name="connsiteX6" fmla="*/ 6037 w 6037"/>
                  <a:gd name="connsiteY6" fmla="*/ 0 h 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7" h="5213">
                    <a:moveTo>
                      <a:pt x="6037" y="0"/>
                    </a:moveTo>
                    <a:lnTo>
                      <a:pt x="5955" y="3430"/>
                    </a:lnTo>
                    <a:lnTo>
                      <a:pt x="3622" y="2662"/>
                    </a:lnTo>
                    <a:lnTo>
                      <a:pt x="1455" y="5214"/>
                    </a:lnTo>
                    <a:lnTo>
                      <a:pt x="0" y="3787"/>
                    </a:lnTo>
                    <a:lnTo>
                      <a:pt x="3293" y="330"/>
                    </a:lnTo>
                    <a:lnTo>
                      <a:pt x="603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0" name="Freeform: Shape 3939">
                <a:extLst>
                  <a:ext uri="{FF2B5EF4-FFF2-40B4-BE49-F238E27FC236}">
                    <a16:creationId xmlns:a16="http://schemas.microsoft.com/office/drawing/2014/main" id="{49668D28-7EB0-CEEE-7E25-C51B08F30E44}"/>
                  </a:ext>
                </a:extLst>
              </p:cNvPr>
              <p:cNvSpPr/>
              <p:nvPr/>
            </p:nvSpPr>
            <p:spPr>
              <a:xfrm>
                <a:off x="1181859" y="4033411"/>
                <a:ext cx="449" cy="550"/>
              </a:xfrm>
              <a:custGeom>
                <a:avLst/>
                <a:gdLst>
                  <a:gd name="connsiteX0" fmla="*/ 4309 w 4308"/>
                  <a:gd name="connsiteY0" fmla="*/ 1921 h 5269"/>
                  <a:gd name="connsiteX1" fmla="*/ 1894 w 4308"/>
                  <a:gd name="connsiteY1" fmla="*/ 5270 h 5269"/>
                  <a:gd name="connsiteX2" fmla="*/ 0 w 4308"/>
                  <a:gd name="connsiteY2" fmla="*/ 2031 h 5269"/>
                  <a:gd name="connsiteX3" fmla="*/ 2415 w 4308"/>
                  <a:gd name="connsiteY3" fmla="*/ 0 h 5269"/>
                  <a:gd name="connsiteX4" fmla="*/ 4309 w 4308"/>
                  <a:gd name="connsiteY4" fmla="*/ 1921 h 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5269">
                    <a:moveTo>
                      <a:pt x="4309" y="1921"/>
                    </a:moveTo>
                    <a:lnTo>
                      <a:pt x="1894" y="5270"/>
                    </a:lnTo>
                    <a:lnTo>
                      <a:pt x="0" y="2031"/>
                    </a:lnTo>
                    <a:lnTo>
                      <a:pt x="2415" y="0"/>
                    </a:lnTo>
                    <a:lnTo>
                      <a:pt x="4309" y="19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1" name="Freeform: Shape 3940">
                <a:extLst>
                  <a:ext uri="{FF2B5EF4-FFF2-40B4-BE49-F238E27FC236}">
                    <a16:creationId xmlns:a16="http://schemas.microsoft.com/office/drawing/2014/main" id="{6A562096-D372-521F-B159-CB56223B0082}"/>
                  </a:ext>
                </a:extLst>
              </p:cNvPr>
              <p:cNvSpPr/>
              <p:nvPr/>
            </p:nvSpPr>
            <p:spPr>
              <a:xfrm>
                <a:off x="1185838" y="4031685"/>
                <a:ext cx="283" cy="641"/>
              </a:xfrm>
              <a:custGeom>
                <a:avLst/>
                <a:gdLst>
                  <a:gd name="connsiteX0" fmla="*/ 2717 w 2716"/>
                  <a:gd name="connsiteY0" fmla="*/ 4474 h 6147"/>
                  <a:gd name="connsiteX1" fmla="*/ 1070 w 2716"/>
                  <a:gd name="connsiteY1" fmla="*/ 6147 h 6147"/>
                  <a:gd name="connsiteX2" fmla="*/ 0 w 2716"/>
                  <a:gd name="connsiteY2" fmla="*/ 686 h 6147"/>
                  <a:gd name="connsiteX3" fmla="*/ 2689 w 2716"/>
                  <a:gd name="connsiteY3" fmla="*/ 0 h 6147"/>
                  <a:gd name="connsiteX4" fmla="*/ 2689 w 2716"/>
                  <a:gd name="connsiteY4" fmla="*/ 4474 h 6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6" h="6147">
                    <a:moveTo>
                      <a:pt x="2717" y="4474"/>
                    </a:moveTo>
                    <a:lnTo>
                      <a:pt x="1070" y="6147"/>
                    </a:lnTo>
                    <a:lnTo>
                      <a:pt x="0" y="686"/>
                    </a:lnTo>
                    <a:lnTo>
                      <a:pt x="2689" y="0"/>
                    </a:lnTo>
                    <a:lnTo>
                      <a:pt x="2689" y="44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2" name="Freeform: Shape 3941">
                <a:extLst>
                  <a:ext uri="{FF2B5EF4-FFF2-40B4-BE49-F238E27FC236}">
                    <a16:creationId xmlns:a16="http://schemas.microsoft.com/office/drawing/2014/main" id="{6C3082C6-CBC1-584A-4E95-5E75512BC785}"/>
                  </a:ext>
                </a:extLst>
              </p:cNvPr>
              <p:cNvSpPr/>
              <p:nvPr/>
            </p:nvSpPr>
            <p:spPr>
              <a:xfrm>
                <a:off x="1355471" y="3810054"/>
                <a:ext cx="13605" cy="19796"/>
              </a:xfrm>
              <a:custGeom>
                <a:avLst/>
                <a:gdLst>
                  <a:gd name="connsiteX0" fmla="*/ 90974 w 130436"/>
                  <a:gd name="connsiteY0" fmla="*/ 110 h 189795"/>
                  <a:gd name="connsiteX1" fmla="*/ 95886 w 130436"/>
                  <a:gd name="connsiteY1" fmla="*/ 3238 h 189795"/>
                  <a:gd name="connsiteX2" fmla="*/ 93498 w 130436"/>
                  <a:gd name="connsiteY2" fmla="*/ 13721 h 189795"/>
                  <a:gd name="connsiteX3" fmla="*/ 102856 w 130436"/>
                  <a:gd name="connsiteY3" fmla="*/ 22997 h 189795"/>
                  <a:gd name="connsiteX4" fmla="*/ 105381 w 130436"/>
                  <a:gd name="connsiteY4" fmla="*/ 25522 h 189795"/>
                  <a:gd name="connsiteX5" fmla="*/ 106533 w 130436"/>
                  <a:gd name="connsiteY5" fmla="*/ 32163 h 189795"/>
                  <a:gd name="connsiteX6" fmla="*/ 105628 w 130436"/>
                  <a:gd name="connsiteY6" fmla="*/ 44924 h 189795"/>
                  <a:gd name="connsiteX7" fmla="*/ 103049 w 130436"/>
                  <a:gd name="connsiteY7" fmla="*/ 49205 h 189795"/>
                  <a:gd name="connsiteX8" fmla="*/ 108592 w 130436"/>
                  <a:gd name="connsiteY8" fmla="*/ 50028 h 189795"/>
                  <a:gd name="connsiteX9" fmla="*/ 111089 w 130436"/>
                  <a:gd name="connsiteY9" fmla="*/ 53020 h 189795"/>
                  <a:gd name="connsiteX10" fmla="*/ 109003 w 130436"/>
                  <a:gd name="connsiteY10" fmla="*/ 61857 h 189795"/>
                  <a:gd name="connsiteX11" fmla="*/ 109799 w 130436"/>
                  <a:gd name="connsiteY11" fmla="*/ 67674 h 189795"/>
                  <a:gd name="connsiteX12" fmla="*/ 107494 w 130436"/>
                  <a:gd name="connsiteY12" fmla="*/ 72696 h 189795"/>
                  <a:gd name="connsiteX13" fmla="*/ 115892 w 130436"/>
                  <a:gd name="connsiteY13" fmla="*/ 83975 h 189795"/>
                  <a:gd name="connsiteX14" fmla="*/ 112681 w 130436"/>
                  <a:gd name="connsiteY14" fmla="*/ 90617 h 189795"/>
                  <a:gd name="connsiteX15" fmla="*/ 113202 w 130436"/>
                  <a:gd name="connsiteY15" fmla="*/ 100496 h 189795"/>
                  <a:gd name="connsiteX16" fmla="*/ 111089 w 130436"/>
                  <a:gd name="connsiteY16" fmla="*/ 107851 h 189795"/>
                  <a:gd name="connsiteX17" fmla="*/ 114080 w 130436"/>
                  <a:gd name="connsiteY17" fmla="*/ 114684 h 189795"/>
                  <a:gd name="connsiteX18" fmla="*/ 111638 w 130436"/>
                  <a:gd name="connsiteY18" fmla="*/ 128818 h 189795"/>
                  <a:gd name="connsiteX19" fmla="*/ 117346 w 130436"/>
                  <a:gd name="connsiteY19" fmla="*/ 139301 h 189795"/>
                  <a:gd name="connsiteX20" fmla="*/ 121819 w 130436"/>
                  <a:gd name="connsiteY20" fmla="*/ 142841 h 189795"/>
                  <a:gd name="connsiteX21" fmla="*/ 130437 w 130436"/>
                  <a:gd name="connsiteY21" fmla="*/ 149674 h 189795"/>
                  <a:gd name="connsiteX22" fmla="*/ 126348 w 130436"/>
                  <a:gd name="connsiteY22" fmla="*/ 152693 h 189795"/>
                  <a:gd name="connsiteX23" fmla="*/ 121819 w 130436"/>
                  <a:gd name="connsiteY23" fmla="*/ 159169 h 189795"/>
                  <a:gd name="connsiteX24" fmla="*/ 105930 w 130436"/>
                  <a:gd name="connsiteY24" fmla="*/ 159416 h 189795"/>
                  <a:gd name="connsiteX25" fmla="*/ 102884 w 130436"/>
                  <a:gd name="connsiteY25" fmla="*/ 160295 h 189795"/>
                  <a:gd name="connsiteX26" fmla="*/ 99563 w 130436"/>
                  <a:gd name="connsiteY26" fmla="*/ 161227 h 189795"/>
                  <a:gd name="connsiteX27" fmla="*/ 71160 w 130436"/>
                  <a:gd name="connsiteY27" fmla="*/ 175964 h 189795"/>
                  <a:gd name="connsiteX28" fmla="*/ 62076 w 130436"/>
                  <a:gd name="connsiteY28" fmla="*/ 178324 h 189795"/>
                  <a:gd name="connsiteX29" fmla="*/ 47696 w 130436"/>
                  <a:gd name="connsiteY29" fmla="*/ 182084 h 189795"/>
                  <a:gd name="connsiteX30" fmla="*/ 35868 w 130436"/>
                  <a:gd name="connsiteY30" fmla="*/ 189796 h 189795"/>
                  <a:gd name="connsiteX31" fmla="*/ 33590 w 130436"/>
                  <a:gd name="connsiteY31" fmla="*/ 188643 h 189795"/>
                  <a:gd name="connsiteX32" fmla="*/ 25824 w 130436"/>
                  <a:gd name="connsiteY32" fmla="*/ 184719 h 189795"/>
                  <a:gd name="connsiteX33" fmla="*/ 21241 w 130436"/>
                  <a:gd name="connsiteY33" fmla="*/ 183703 h 189795"/>
                  <a:gd name="connsiteX34" fmla="*/ 19183 w 130436"/>
                  <a:gd name="connsiteY34" fmla="*/ 183237 h 189795"/>
                  <a:gd name="connsiteX35" fmla="*/ 3842 w 130436"/>
                  <a:gd name="connsiteY35" fmla="*/ 179889 h 189795"/>
                  <a:gd name="connsiteX36" fmla="*/ 14435 w 130436"/>
                  <a:gd name="connsiteY36" fmla="*/ 176870 h 189795"/>
                  <a:gd name="connsiteX37" fmla="*/ 13557 w 130436"/>
                  <a:gd name="connsiteY37" fmla="*/ 166112 h 189795"/>
                  <a:gd name="connsiteX38" fmla="*/ 6339 w 130436"/>
                  <a:gd name="connsiteY38" fmla="*/ 159993 h 189795"/>
                  <a:gd name="connsiteX39" fmla="*/ 0 w 130436"/>
                  <a:gd name="connsiteY39" fmla="*/ 134306 h 189795"/>
                  <a:gd name="connsiteX40" fmla="*/ 1235 w 130436"/>
                  <a:gd name="connsiteY40" fmla="*/ 127418 h 189795"/>
                  <a:gd name="connsiteX41" fmla="*/ 7574 w 130436"/>
                  <a:gd name="connsiteY41" fmla="*/ 116825 h 189795"/>
                  <a:gd name="connsiteX42" fmla="*/ 11691 w 130436"/>
                  <a:gd name="connsiteY42" fmla="*/ 100112 h 189795"/>
                  <a:gd name="connsiteX43" fmla="*/ 19183 w 130436"/>
                  <a:gd name="connsiteY43" fmla="*/ 89601 h 189795"/>
                  <a:gd name="connsiteX44" fmla="*/ 21241 w 130436"/>
                  <a:gd name="connsiteY44" fmla="*/ 86720 h 189795"/>
                  <a:gd name="connsiteX45" fmla="*/ 19183 w 130436"/>
                  <a:gd name="connsiteY45" fmla="*/ 72614 h 189795"/>
                  <a:gd name="connsiteX46" fmla="*/ 18771 w 130436"/>
                  <a:gd name="connsiteY46" fmla="*/ 69897 h 189795"/>
                  <a:gd name="connsiteX47" fmla="*/ 14216 w 130436"/>
                  <a:gd name="connsiteY47" fmla="*/ 61280 h 189795"/>
                  <a:gd name="connsiteX48" fmla="*/ 16246 w 130436"/>
                  <a:gd name="connsiteY48" fmla="*/ 55901 h 189795"/>
                  <a:gd name="connsiteX49" fmla="*/ 16164 w 130436"/>
                  <a:gd name="connsiteY49" fmla="*/ 49370 h 189795"/>
                  <a:gd name="connsiteX50" fmla="*/ 14188 w 130436"/>
                  <a:gd name="connsiteY50" fmla="*/ 46927 h 189795"/>
                  <a:gd name="connsiteX51" fmla="*/ 13447 w 130436"/>
                  <a:gd name="connsiteY51" fmla="*/ 41439 h 189795"/>
                  <a:gd name="connsiteX52" fmla="*/ 13337 w 130436"/>
                  <a:gd name="connsiteY52" fmla="*/ 26510 h 189795"/>
                  <a:gd name="connsiteX53" fmla="*/ 9056 w 130436"/>
                  <a:gd name="connsiteY53" fmla="*/ 15890 h 189795"/>
                  <a:gd name="connsiteX54" fmla="*/ 12212 w 130436"/>
                  <a:gd name="connsiteY54" fmla="*/ 4912 h 189795"/>
                  <a:gd name="connsiteX55" fmla="*/ 19155 w 130436"/>
                  <a:gd name="connsiteY55" fmla="*/ 4720 h 189795"/>
                  <a:gd name="connsiteX56" fmla="*/ 21213 w 130436"/>
                  <a:gd name="connsiteY56" fmla="*/ 4666 h 189795"/>
                  <a:gd name="connsiteX57" fmla="*/ 33563 w 130436"/>
                  <a:gd name="connsiteY57" fmla="*/ 4336 h 189795"/>
                  <a:gd name="connsiteX58" fmla="*/ 36801 w 130436"/>
                  <a:gd name="connsiteY58" fmla="*/ 4254 h 189795"/>
                  <a:gd name="connsiteX59" fmla="*/ 51812 w 130436"/>
                  <a:gd name="connsiteY59" fmla="*/ 3485 h 189795"/>
                  <a:gd name="connsiteX60" fmla="*/ 62076 w 130436"/>
                  <a:gd name="connsiteY60" fmla="*/ 4363 h 189795"/>
                  <a:gd name="connsiteX61" fmla="*/ 77856 w 130436"/>
                  <a:gd name="connsiteY61" fmla="*/ 5735 h 189795"/>
                  <a:gd name="connsiteX62" fmla="*/ 87433 w 130436"/>
                  <a:gd name="connsiteY62" fmla="*/ 0 h 189795"/>
                  <a:gd name="connsiteX63" fmla="*/ 90974 w 130436"/>
                  <a:gd name="connsiteY63" fmla="*/ 82 h 189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0436" h="189795">
                    <a:moveTo>
                      <a:pt x="90974" y="110"/>
                    </a:moveTo>
                    <a:lnTo>
                      <a:pt x="95886" y="3238"/>
                    </a:lnTo>
                    <a:lnTo>
                      <a:pt x="93498" y="13721"/>
                    </a:lnTo>
                    <a:lnTo>
                      <a:pt x="102856" y="22997"/>
                    </a:lnTo>
                    <a:lnTo>
                      <a:pt x="105381" y="25522"/>
                    </a:lnTo>
                    <a:lnTo>
                      <a:pt x="106533" y="32163"/>
                    </a:lnTo>
                    <a:lnTo>
                      <a:pt x="105628" y="44924"/>
                    </a:lnTo>
                    <a:lnTo>
                      <a:pt x="103049" y="49205"/>
                    </a:lnTo>
                    <a:lnTo>
                      <a:pt x="108592" y="50028"/>
                    </a:lnTo>
                    <a:lnTo>
                      <a:pt x="111089" y="53020"/>
                    </a:lnTo>
                    <a:lnTo>
                      <a:pt x="109003" y="61857"/>
                    </a:lnTo>
                    <a:lnTo>
                      <a:pt x="109799" y="67674"/>
                    </a:lnTo>
                    <a:lnTo>
                      <a:pt x="107494" y="72696"/>
                    </a:lnTo>
                    <a:lnTo>
                      <a:pt x="115892" y="83975"/>
                    </a:lnTo>
                    <a:lnTo>
                      <a:pt x="112681" y="90617"/>
                    </a:lnTo>
                    <a:lnTo>
                      <a:pt x="113202" y="100496"/>
                    </a:lnTo>
                    <a:lnTo>
                      <a:pt x="111089" y="107851"/>
                    </a:lnTo>
                    <a:lnTo>
                      <a:pt x="114080" y="114684"/>
                    </a:lnTo>
                    <a:lnTo>
                      <a:pt x="111638" y="128818"/>
                    </a:lnTo>
                    <a:lnTo>
                      <a:pt x="117346" y="139301"/>
                    </a:lnTo>
                    <a:lnTo>
                      <a:pt x="121819" y="142841"/>
                    </a:lnTo>
                    <a:lnTo>
                      <a:pt x="130437" y="149674"/>
                    </a:lnTo>
                    <a:lnTo>
                      <a:pt x="126348" y="152693"/>
                    </a:lnTo>
                    <a:lnTo>
                      <a:pt x="121819" y="159169"/>
                    </a:lnTo>
                    <a:lnTo>
                      <a:pt x="105930" y="159416"/>
                    </a:lnTo>
                    <a:lnTo>
                      <a:pt x="102884" y="160295"/>
                    </a:lnTo>
                    <a:lnTo>
                      <a:pt x="99563" y="161227"/>
                    </a:lnTo>
                    <a:lnTo>
                      <a:pt x="71160" y="175964"/>
                    </a:lnTo>
                    <a:lnTo>
                      <a:pt x="62076" y="178324"/>
                    </a:lnTo>
                    <a:lnTo>
                      <a:pt x="47696" y="182084"/>
                    </a:lnTo>
                    <a:lnTo>
                      <a:pt x="35868" y="189796"/>
                    </a:lnTo>
                    <a:lnTo>
                      <a:pt x="33590" y="188643"/>
                    </a:lnTo>
                    <a:lnTo>
                      <a:pt x="25824" y="184719"/>
                    </a:lnTo>
                    <a:lnTo>
                      <a:pt x="21241" y="183703"/>
                    </a:lnTo>
                    <a:lnTo>
                      <a:pt x="19183" y="183237"/>
                    </a:lnTo>
                    <a:lnTo>
                      <a:pt x="3842" y="179889"/>
                    </a:lnTo>
                    <a:lnTo>
                      <a:pt x="14435" y="176870"/>
                    </a:lnTo>
                    <a:lnTo>
                      <a:pt x="13557" y="166112"/>
                    </a:lnTo>
                    <a:lnTo>
                      <a:pt x="6339" y="159993"/>
                    </a:lnTo>
                    <a:lnTo>
                      <a:pt x="0" y="134306"/>
                    </a:lnTo>
                    <a:lnTo>
                      <a:pt x="1235" y="127418"/>
                    </a:lnTo>
                    <a:lnTo>
                      <a:pt x="7574" y="116825"/>
                    </a:lnTo>
                    <a:lnTo>
                      <a:pt x="11691" y="100112"/>
                    </a:lnTo>
                    <a:lnTo>
                      <a:pt x="19183" y="89601"/>
                    </a:lnTo>
                    <a:lnTo>
                      <a:pt x="21241" y="86720"/>
                    </a:lnTo>
                    <a:lnTo>
                      <a:pt x="19183" y="72614"/>
                    </a:lnTo>
                    <a:lnTo>
                      <a:pt x="18771" y="69897"/>
                    </a:lnTo>
                    <a:lnTo>
                      <a:pt x="14216" y="61280"/>
                    </a:lnTo>
                    <a:lnTo>
                      <a:pt x="16246" y="55901"/>
                    </a:lnTo>
                    <a:lnTo>
                      <a:pt x="16164" y="49370"/>
                    </a:lnTo>
                    <a:lnTo>
                      <a:pt x="14188" y="46927"/>
                    </a:lnTo>
                    <a:lnTo>
                      <a:pt x="13447" y="41439"/>
                    </a:lnTo>
                    <a:lnTo>
                      <a:pt x="13337" y="26510"/>
                    </a:lnTo>
                    <a:lnTo>
                      <a:pt x="9056" y="15890"/>
                    </a:lnTo>
                    <a:lnTo>
                      <a:pt x="12212" y="4912"/>
                    </a:lnTo>
                    <a:lnTo>
                      <a:pt x="19155" y="4720"/>
                    </a:lnTo>
                    <a:lnTo>
                      <a:pt x="21213" y="4666"/>
                    </a:lnTo>
                    <a:lnTo>
                      <a:pt x="33563" y="4336"/>
                    </a:lnTo>
                    <a:lnTo>
                      <a:pt x="36801" y="4254"/>
                    </a:lnTo>
                    <a:lnTo>
                      <a:pt x="51812" y="3485"/>
                    </a:lnTo>
                    <a:lnTo>
                      <a:pt x="62076" y="4363"/>
                    </a:lnTo>
                    <a:lnTo>
                      <a:pt x="77856" y="5735"/>
                    </a:lnTo>
                    <a:lnTo>
                      <a:pt x="87433" y="0"/>
                    </a:lnTo>
                    <a:lnTo>
                      <a:pt x="90974" y="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3" name="Freeform: Shape 3942">
                <a:extLst>
                  <a:ext uri="{FF2B5EF4-FFF2-40B4-BE49-F238E27FC236}">
                    <a16:creationId xmlns:a16="http://schemas.microsoft.com/office/drawing/2014/main" id="{5CDE8D64-3C74-D60C-B048-85B8E0C93C06}"/>
                  </a:ext>
                </a:extLst>
              </p:cNvPr>
              <p:cNvSpPr/>
              <p:nvPr/>
            </p:nvSpPr>
            <p:spPr>
              <a:xfrm>
                <a:off x="1348976" y="3725366"/>
                <a:ext cx="37" cy="103"/>
              </a:xfrm>
              <a:custGeom>
                <a:avLst/>
                <a:gdLst>
                  <a:gd name="connsiteX0" fmla="*/ 357 w 356"/>
                  <a:gd name="connsiteY0" fmla="*/ 27 h 987"/>
                  <a:gd name="connsiteX1" fmla="*/ 110 w 356"/>
                  <a:gd name="connsiteY1" fmla="*/ 988 h 987"/>
                  <a:gd name="connsiteX2" fmla="*/ 0 w 356"/>
                  <a:gd name="connsiteY2" fmla="*/ 0 h 987"/>
                  <a:gd name="connsiteX3" fmla="*/ 357 w 356"/>
                  <a:gd name="connsiteY3" fmla="*/ 0 h 987"/>
                </a:gdLst>
                <a:ahLst/>
                <a:cxnLst>
                  <a:cxn ang="0">
                    <a:pos x="connsiteX0" y="connsiteY0"/>
                  </a:cxn>
                  <a:cxn ang="0">
                    <a:pos x="connsiteX1" y="connsiteY1"/>
                  </a:cxn>
                  <a:cxn ang="0">
                    <a:pos x="connsiteX2" y="connsiteY2"/>
                  </a:cxn>
                  <a:cxn ang="0">
                    <a:pos x="connsiteX3" y="connsiteY3"/>
                  </a:cxn>
                </a:cxnLst>
                <a:rect l="l" t="t" r="r" b="b"/>
                <a:pathLst>
                  <a:path w="356" h="987">
                    <a:moveTo>
                      <a:pt x="357" y="27"/>
                    </a:moveTo>
                    <a:lnTo>
                      <a:pt x="110" y="988"/>
                    </a:lnTo>
                    <a:lnTo>
                      <a:pt x="0" y="0"/>
                    </a:lnTo>
                    <a:lnTo>
                      <a:pt x="35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4" name="Freeform: Shape 3943">
                <a:extLst>
                  <a:ext uri="{FF2B5EF4-FFF2-40B4-BE49-F238E27FC236}">
                    <a16:creationId xmlns:a16="http://schemas.microsoft.com/office/drawing/2014/main" id="{76AC4611-4201-AB88-BAF3-C8E0C8B51A4D}"/>
                  </a:ext>
                </a:extLst>
              </p:cNvPr>
              <p:cNvSpPr/>
              <p:nvPr/>
            </p:nvSpPr>
            <p:spPr>
              <a:xfrm>
                <a:off x="1314142" y="3805243"/>
                <a:ext cx="9360" cy="5095"/>
              </a:xfrm>
              <a:custGeom>
                <a:avLst/>
                <a:gdLst>
                  <a:gd name="connsiteX0" fmla="*/ 89738 w 89738"/>
                  <a:gd name="connsiteY0" fmla="*/ 5104 h 48848"/>
                  <a:gd name="connsiteX1" fmla="*/ 88668 w 89738"/>
                  <a:gd name="connsiteY1" fmla="*/ 11581 h 48848"/>
                  <a:gd name="connsiteX2" fmla="*/ 81506 w 89738"/>
                  <a:gd name="connsiteY2" fmla="*/ 14654 h 48848"/>
                  <a:gd name="connsiteX3" fmla="*/ 88010 w 89738"/>
                  <a:gd name="connsiteY3" fmla="*/ 20610 h 48848"/>
                  <a:gd name="connsiteX4" fmla="*/ 88064 w 89738"/>
                  <a:gd name="connsiteY4" fmla="*/ 25879 h 48848"/>
                  <a:gd name="connsiteX5" fmla="*/ 86994 w 89738"/>
                  <a:gd name="connsiteY5" fmla="*/ 29474 h 48848"/>
                  <a:gd name="connsiteX6" fmla="*/ 72285 w 89738"/>
                  <a:gd name="connsiteY6" fmla="*/ 30681 h 48848"/>
                  <a:gd name="connsiteX7" fmla="*/ 65287 w 89738"/>
                  <a:gd name="connsiteY7" fmla="*/ 35072 h 48848"/>
                  <a:gd name="connsiteX8" fmla="*/ 59963 w 89738"/>
                  <a:gd name="connsiteY8" fmla="*/ 36060 h 48848"/>
                  <a:gd name="connsiteX9" fmla="*/ 53679 w 89738"/>
                  <a:gd name="connsiteY9" fmla="*/ 46571 h 48848"/>
                  <a:gd name="connsiteX10" fmla="*/ 53130 w 89738"/>
                  <a:gd name="connsiteY10" fmla="*/ 47531 h 48848"/>
                  <a:gd name="connsiteX11" fmla="*/ 52883 w 89738"/>
                  <a:gd name="connsiteY11" fmla="*/ 47998 h 48848"/>
                  <a:gd name="connsiteX12" fmla="*/ 50495 w 89738"/>
                  <a:gd name="connsiteY12" fmla="*/ 48848 h 48848"/>
                  <a:gd name="connsiteX13" fmla="*/ 48904 w 89738"/>
                  <a:gd name="connsiteY13" fmla="*/ 45665 h 48848"/>
                  <a:gd name="connsiteX14" fmla="*/ 41439 w 89738"/>
                  <a:gd name="connsiteY14" fmla="*/ 43854 h 48848"/>
                  <a:gd name="connsiteX15" fmla="*/ 40643 w 89738"/>
                  <a:gd name="connsiteY15" fmla="*/ 37075 h 48848"/>
                  <a:gd name="connsiteX16" fmla="*/ 36334 w 89738"/>
                  <a:gd name="connsiteY16" fmla="*/ 30407 h 48848"/>
                  <a:gd name="connsiteX17" fmla="*/ 38283 w 89738"/>
                  <a:gd name="connsiteY17" fmla="*/ 23656 h 48848"/>
                  <a:gd name="connsiteX18" fmla="*/ 26949 w 89738"/>
                  <a:gd name="connsiteY18" fmla="*/ 26455 h 48848"/>
                  <a:gd name="connsiteX19" fmla="*/ 22174 w 89738"/>
                  <a:gd name="connsiteY19" fmla="*/ 24424 h 48848"/>
                  <a:gd name="connsiteX20" fmla="*/ 17124 w 89738"/>
                  <a:gd name="connsiteY20" fmla="*/ 25440 h 48848"/>
                  <a:gd name="connsiteX21" fmla="*/ 13831 w 89738"/>
                  <a:gd name="connsiteY21" fmla="*/ 23025 h 48848"/>
                  <a:gd name="connsiteX22" fmla="*/ 12926 w 89738"/>
                  <a:gd name="connsiteY22" fmla="*/ 20143 h 48848"/>
                  <a:gd name="connsiteX23" fmla="*/ 17783 w 89738"/>
                  <a:gd name="connsiteY23" fmla="*/ 11526 h 48848"/>
                  <a:gd name="connsiteX24" fmla="*/ 5928 w 89738"/>
                  <a:gd name="connsiteY24" fmla="*/ 12322 h 48848"/>
                  <a:gd name="connsiteX25" fmla="*/ 0 w 89738"/>
                  <a:gd name="connsiteY25" fmla="*/ 10209 h 48848"/>
                  <a:gd name="connsiteX26" fmla="*/ 9001 w 89738"/>
                  <a:gd name="connsiteY26" fmla="*/ 9578 h 48848"/>
                  <a:gd name="connsiteX27" fmla="*/ 16411 w 89738"/>
                  <a:gd name="connsiteY27" fmla="*/ 6531 h 48848"/>
                  <a:gd name="connsiteX28" fmla="*/ 29885 w 89738"/>
                  <a:gd name="connsiteY28" fmla="*/ 7656 h 48848"/>
                  <a:gd name="connsiteX29" fmla="*/ 31532 w 89738"/>
                  <a:gd name="connsiteY29" fmla="*/ 7218 h 48848"/>
                  <a:gd name="connsiteX30" fmla="*/ 35895 w 89738"/>
                  <a:gd name="connsiteY30" fmla="*/ 5104 h 48848"/>
                  <a:gd name="connsiteX31" fmla="*/ 45857 w 89738"/>
                  <a:gd name="connsiteY31" fmla="*/ 0 h 48848"/>
                  <a:gd name="connsiteX32" fmla="*/ 88202 w 89738"/>
                  <a:gd name="connsiteY32" fmla="*/ 55 h 48848"/>
                  <a:gd name="connsiteX33" fmla="*/ 89738 w 89738"/>
                  <a:gd name="connsiteY33" fmla="*/ 5104 h 4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9738" h="48848">
                    <a:moveTo>
                      <a:pt x="89738" y="5104"/>
                    </a:moveTo>
                    <a:lnTo>
                      <a:pt x="88668" y="11581"/>
                    </a:lnTo>
                    <a:lnTo>
                      <a:pt x="81506" y="14654"/>
                    </a:lnTo>
                    <a:lnTo>
                      <a:pt x="88010" y="20610"/>
                    </a:lnTo>
                    <a:lnTo>
                      <a:pt x="88064" y="25879"/>
                    </a:lnTo>
                    <a:lnTo>
                      <a:pt x="86994" y="29474"/>
                    </a:lnTo>
                    <a:lnTo>
                      <a:pt x="72285" y="30681"/>
                    </a:lnTo>
                    <a:lnTo>
                      <a:pt x="65287" y="35072"/>
                    </a:lnTo>
                    <a:lnTo>
                      <a:pt x="59963" y="36060"/>
                    </a:lnTo>
                    <a:lnTo>
                      <a:pt x="53679" y="46571"/>
                    </a:lnTo>
                    <a:lnTo>
                      <a:pt x="53130" y="47531"/>
                    </a:lnTo>
                    <a:lnTo>
                      <a:pt x="52883" y="47998"/>
                    </a:lnTo>
                    <a:lnTo>
                      <a:pt x="50495" y="48848"/>
                    </a:lnTo>
                    <a:lnTo>
                      <a:pt x="48904" y="45665"/>
                    </a:lnTo>
                    <a:lnTo>
                      <a:pt x="41439" y="43854"/>
                    </a:lnTo>
                    <a:lnTo>
                      <a:pt x="40643" y="37075"/>
                    </a:lnTo>
                    <a:lnTo>
                      <a:pt x="36334" y="30407"/>
                    </a:lnTo>
                    <a:lnTo>
                      <a:pt x="38283" y="23656"/>
                    </a:lnTo>
                    <a:lnTo>
                      <a:pt x="26949" y="26455"/>
                    </a:lnTo>
                    <a:lnTo>
                      <a:pt x="22174" y="24424"/>
                    </a:lnTo>
                    <a:lnTo>
                      <a:pt x="17124" y="25440"/>
                    </a:lnTo>
                    <a:lnTo>
                      <a:pt x="13831" y="23025"/>
                    </a:lnTo>
                    <a:lnTo>
                      <a:pt x="12926" y="20143"/>
                    </a:lnTo>
                    <a:lnTo>
                      <a:pt x="17783" y="11526"/>
                    </a:lnTo>
                    <a:lnTo>
                      <a:pt x="5928" y="12322"/>
                    </a:lnTo>
                    <a:lnTo>
                      <a:pt x="0" y="10209"/>
                    </a:lnTo>
                    <a:lnTo>
                      <a:pt x="9001" y="9578"/>
                    </a:lnTo>
                    <a:lnTo>
                      <a:pt x="16411" y="6531"/>
                    </a:lnTo>
                    <a:lnTo>
                      <a:pt x="29885" y="7656"/>
                    </a:lnTo>
                    <a:lnTo>
                      <a:pt x="31532" y="7218"/>
                    </a:lnTo>
                    <a:lnTo>
                      <a:pt x="35895" y="5104"/>
                    </a:lnTo>
                    <a:lnTo>
                      <a:pt x="45857" y="0"/>
                    </a:lnTo>
                    <a:lnTo>
                      <a:pt x="88202" y="55"/>
                    </a:lnTo>
                    <a:lnTo>
                      <a:pt x="89738" y="51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5" name="Freeform: Shape 3944">
                <a:extLst>
                  <a:ext uri="{FF2B5EF4-FFF2-40B4-BE49-F238E27FC236}">
                    <a16:creationId xmlns:a16="http://schemas.microsoft.com/office/drawing/2014/main" id="{023CDDA4-1CE4-7F31-49F6-7DAB13D45CFA}"/>
                  </a:ext>
                </a:extLst>
              </p:cNvPr>
              <p:cNvSpPr/>
              <p:nvPr/>
            </p:nvSpPr>
            <p:spPr>
              <a:xfrm>
                <a:off x="1315636" y="3809883"/>
                <a:ext cx="936" cy="524"/>
              </a:xfrm>
              <a:custGeom>
                <a:avLst/>
                <a:gdLst>
                  <a:gd name="connsiteX0" fmla="*/ 6202 w 8973"/>
                  <a:gd name="connsiteY0" fmla="*/ 357 h 5021"/>
                  <a:gd name="connsiteX1" fmla="*/ 6998 w 8973"/>
                  <a:gd name="connsiteY1" fmla="*/ 2113 h 5021"/>
                  <a:gd name="connsiteX2" fmla="*/ 8919 w 8973"/>
                  <a:gd name="connsiteY2" fmla="*/ 2113 h 5021"/>
                  <a:gd name="connsiteX3" fmla="*/ 8974 w 8973"/>
                  <a:gd name="connsiteY3" fmla="*/ 4473 h 5021"/>
                  <a:gd name="connsiteX4" fmla="*/ 2635 w 8973"/>
                  <a:gd name="connsiteY4" fmla="*/ 5022 h 5021"/>
                  <a:gd name="connsiteX5" fmla="*/ 0 w 8973"/>
                  <a:gd name="connsiteY5" fmla="*/ 3924 h 5021"/>
                  <a:gd name="connsiteX6" fmla="*/ 3348 w 8973"/>
                  <a:gd name="connsiteY6" fmla="*/ 0 h 5021"/>
                  <a:gd name="connsiteX7" fmla="*/ 6175 w 8973"/>
                  <a:gd name="connsiteY7" fmla="*/ 384 h 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73" h="5021">
                    <a:moveTo>
                      <a:pt x="6202" y="357"/>
                    </a:moveTo>
                    <a:lnTo>
                      <a:pt x="6998" y="2113"/>
                    </a:lnTo>
                    <a:lnTo>
                      <a:pt x="8919" y="2113"/>
                    </a:lnTo>
                    <a:lnTo>
                      <a:pt x="8974" y="4473"/>
                    </a:lnTo>
                    <a:lnTo>
                      <a:pt x="2635" y="5022"/>
                    </a:lnTo>
                    <a:lnTo>
                      <a:pt x="0" y="3924"/>
                    </a:lnTo>
                    <a:lnTo>
                      <a:pt x="3348" y="0"/>
                    </a:lnTo>
                    <a:lnTo>
                      <a:pt x="6175"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6" name="Freeform: Shape 3945">
                <a:extLst>
                  <a:ext uri="{FF2B5EF4-FFF2-40B4-BE49-F238E27FC236}">
                    <a16:creationId xmlns:a16="http://schemas.microsoft.com/office/drawing/2014/main" id="{ABC79FC6-3038-3E28-8B24-59C696033872}"/>
                  </a:ext>
                </a:extLst>
              </p:cNvPr>
              <p:cNvSpPr/>
              <p:nvPr/>
            </p:nvSpPr>
            <p:spPr>
              <a:xfrm>
                <a:off x="1316540" y="3809253"/>
                <a:ext cx="618" cy="675"/>
              </a:xfrm>
              <a:custGeom>
                <a:avLst/>
                <a:gdLst>
                  <a:gd name="connsiteX0" fmla="*/ 2717 w 5927"/>
                  <a:gd name="connsiteY0" fmla="*/ 3540 h 6476"/>
                  <a:gd name="connsiteX1" fmla="*/ 3074 w 5927"/>
                  <a:gd name="connsiteY1" fmla="*/ 6477 h 6476"/>
                  <a:gd name="connsiteX2" fmla="*/ 0 w 5927"/>
                  <a:gd name="connsiteY2" fmla="*/ 5653 h 6476"/>
                  <a:gd name="connsiteX3" fmla="*/ 2854 w 5927"/>
                  <a:gd name="connsiteY3" fmla="*/ 549 h 6476"/>
                  <a:gd name="connsiteX4" fmla="*/ 4994 w 5927"/>
                  <a:gd name="connsiteY4" fmla="*/ 0 h 6476"/>
                  <a:gd name="connsiteX5" fmla="*/ 5928 w 5927"/>
                  <a:gd name="connsiteY5" fmla="*/ 1592 h 6476"/>
                  <a:gd name="connsiteX6" fmla="*/ 2744 w 5927"/>
                  <a:gd name="connsiteY6" fmla="*/ 3540 h 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7" h="6476">
                    <a:moveTo>
                      <a:pt x="2717" y="3540"/>
                    </a:moveTo>
                    <a:lnTo>
                      <a:pt x="3074" y="6477"/>
                    </a:lnTo>
                    <a:lnTo>
                      <a:pt x="0" y="5653"/>
                    </a:lnTo>
                    <a:lnTo>
                      <a:pt x="2854" y="549"/>
                    </a:lnTo>
                    <a:lnTo>
                      <a:pt x="4994" y="0"/>
                    </a:lnTo>
                    <a:lnTo>
                      <a:pt x="5928" y="1592"/>
                    </a:lnTo>
                    <a:lnTo>
                      <a:pt x="2744"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7" name="Freeform: Shape 3946">
                <a:extLst>
                  <a:ext uri="{FF2B5EF4-FFF2-40B4-BE49-F238E27FC236}">
                    <a16:creationId xmlns:a16="http://schemas.microsoft.com/office/drawing/2014/main" id="{5E35103A-846C-FC6A-D98A-7A0400204863}"/>
                  </a:ext>
                </a:extLst>
              </p:cNvPr>
              <p:cNvSpPr/>
              <p:nvPr/>
            </p:nvSpPr>
            <p:spPr>
              <a:xfrm>
                <a:off x="1316102" y="3808729"/>
                <a:ext cx="507" cy="426"/>
              </a:xfrm>
              <a:custGeom>
                <a:avLst/>
                <a:gdLst>
                  <a:gd name="connsiteX0" fmla="*/ 4857 w 4857"/>
                  <a:gd name="connsiteY0" fmla="*/ 2964 h 4088"/>
                  <a:gd name="connsiteX1" fmla="*/ 3513 w 4857"/>
                  <a:gd name="connsiteY1" fmla="*/ 4089 h 4088"/>
                  <a:gd name="connsiteX2" fmla="*/ 0 w 4857"/>
                  <a:gd name="connsiteY2" fmla="*/ 3787 h 4088"/>
                  <a:gd name="connsiteX3" fmla="*/ 247 w 4857"/>
                  <a:gd name="connsiteY3" fmla="*/ 2964 h 4088"/>
                  <a:gd name="connsiteX4" fmla="*/ 4830 w 4857"/>
                  <a:gd name="connsiteY4" fmla="*/ 0 h 4088"/>
                  <a:gd name="connsiteX5" fmla="*/ 4830 w 4857"/>
                  <a:gd name="connsiteY5" fmla="*/ 2964 h 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 h="4088">
                    <a:moveTo>
                      <a:pt x="4857" y="2964"/>
                    </a:moveTo>
                    <a:lnTo>
                      <a:pt x="3513" y="4089"/>
                    </a:lnTo>
                    <a:lnTo>
                      <a:pt x="0" y="3787"/>
                    </a:lnTo>
                    <a:lnTo>
                      <a:pt x="247" y="2964"/>
                    </a:lnTo>
                    <a:lnTo>
                      <a:pt x="4830" y="0"/>
                    </a:lnTo>
                    <a:lnTo>
                      <a:pt x="4830"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8" name="Freeform: Shape 3947">
                <a:extLst>
                  <a:ext uri="{FF2B5EF4-FFF2-40B4-BE49-F238E27FC236}">
                    <a16:creationId xmlns:a16="http://schemas.microsoft.com/office/drawing/2014/main" id="{3C31E9ED-7D65-815F-D2F2-B7F4112E8565}"/>
                  </a:ext>
                </a:extLst>
              </p:cNvPr>
              <p:cNvSpPr/>
              <p:nvPr/>
            </p:nvSpPr>
            <p:spPr>
              <a:xfrm>
                <a:off x="1315404" y="3809525"/>
                <a:ext cx="475" cy="318"/>
              </a:xfrm>
              <a:custGeom>
                <a:avLst/>
                <a:gdLst>
                  <a:gd name="connsiteX0" fmla="*/ 4556 w 4555"/>
                  <a:gd name="connsiteY0" fmla="*/ 1372 h 3046"/>
                  <a:gd name="connsiteX1" fmla="*/ 2991 w 4555"/>
                  <a:gd name="connsiteY1" fmla="*/ 3046 h 3046"/>
                  <a:gd name="connsiteX2" fmla="*/ 0 w 4555"/>
                  <a:gd name="connsiteY2" fmla="*/ 2360 h 3046"/>
                  <a:gd name="connsiteX3" fmla="*/ 2579 w 4555"/>
                  <a:gd name="connsiteY3" fmla="*/ 0 h 3046"/>
                  <a:gd name="connsiteX4" fmla="*/ 4528 w 4555"/>
                  <a:gd name="connsiteY4" fmla="*/ 1400 h 3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3046">
                    <a:moveTo>
                      <a:pt x="4556" y="1372"/>
                    </a:moveTo>
                    <a:lnTo>
                      <a:pt x="2991" y="3046"/>
                    </a:lnTo>
                    <a:lnTo>
                      <a:pt x="0" y="2360"/>
                    </a:lnTo>
                    <a:lnTo>
                      <a:pt x="2579" y="0"/>
                    </a:lnTo>
                    <a:lnTo>
                      <a:pt x="4528" y="14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49" name="Freeform: Shape 3948">
                <a:extLst>
                  <a:ext uri="{FF2B5EF4-FFF2-40B4-BE49-F238E27FC236}">
                    <a16:creationId xmlns:a16="http://schemas.microsoft.com/office/drawing/2014/main" id="{51812C0A-0865-752F-1ECF-64A2A08897E4}"/>
                  </a:ext>
                </a:extLst>
              </p:cNvPr>
              <p:cNvSpPr/>
              <p:nvPr/>
            </p:nvSpPr>
            <p:spPr>
              <a:xfrm>
                <a:off x="1317027" y="3809525"/>
                <a:ext cx="266" cy="444"/>
              </a:xfrm>
              <a:custGeom>
                <a:avLst/>
                <a:gdLst>
                  <a:gd name="connsiteX0" fmla="*/ 2552 w 2552"/>
                  <a:gd name="connsiteY0" fmla="*/ 2497 h 4253"/>
                  <a:gd name="connsiteX1" fmla="*/ 1043 w 2552"/>
                  <a:gd name="connsiteY1" fmla="*/ 4254 h 4253"/>
                  <a:gd name="connsiteX2" fmla="*/ 0 w 2552"/>
                  <a:gd name="connsiteY2" fmla="*/ 3924 h 4253"/>
                  <a:gd name="connsiteX3" fmla="*/ 549 w 2552"/>
                  <a:gd name="connsiteY3" fmla="*/ 878 h 4253"/>
                  <a:gd name="connsiteX4" fmla="*/ 2552 w 2552"/>
                  <a:gd name="connsiteY4" fmla="*/ 0 h 4253"/>
                  <a:gd name="connsiteX5" fmla="*/ 2552 w 2552"/>
                  <a:gd name="connsiteY5" fmla="*/ 2497 h 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 h="4253">
                    <a:moveTo>
                      <a:pt x="2552" y="2497"/>
                    </a:moveTo>
                    <a:lnTo>
                      <a:pt x="1043" y="4254"/>
                    </a:lnTo>
                    <a:lnTo>
                      <a:pt x="0" y="3924"/>
                    </a:lnTo>
                    <a:lnTo>
                      <a:pt x="549" y="878"/>
                    </a:lnTo>
                    <a:lnTo>
                      <a:pt x="2552" y="0"/>
                    </a:lnTo>
                    <a:lnTo>
                      <a:pt x="2552" y="24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0" name="Freeform: Shape 3949">
                <a:extLst>
                  <a:ext uri="{FF2B5EF4-FFF2-40B4-BE49-F238E27FC236}">
                    <a16:creationId xmlns:a16="http://schemas.microsoft.com/office/drawing/2014/main" id="{2436C212-DBB0-CAD3-12CB-EDABACE25161}"/>
                  </a:ext>
                </a:extLst>
              </p:cNvPr>
              <p:cNvSpPr/>
              <p:nvPr/>
            </p:nvSpPr>
            <p:spPr>
              <a:xfrm>
                <a:off x="1315080" y="3808706"/>
                <a:ext cx="449" cy="243"/>
              </a:xfrm>
              <a:custGeom>
                <a:avLst/>
                <a:gdLst>
                  <a:gd name="connsiteX0" fmla="*/ 3403 w 4308"/>
                  <a:gd name="connsiteY0" fmla="*/ 2223 h 2332"/>
                  <a:gd name="connsiteX1" fmla="*/ 0 w 4308"/>
                  <a:gd name="connsiteY1" fmla="*/ 2333 h 2332"/>
                  <a:gd name="connsiteX2" fmla="*/ 0 w 4308"/>
                  <a:gd name="connsiteY2" fmla="*/ 741 h 2332"/>
                  <a:gd name="connsiteX3" fmla="*/ 3513 w 4308"/>
                  <a:gd name="connsiteY3" fmla="*/ 0 h 2332"/>
                  <a:gd name="connsiteX4" fmla="*/ 4308 w 4308"/>
                  <a:gd name="connsiteY4" fmla="*/ 1043 h 2332"/>
                  <a:gd name="connsiteX5" fmla="*/ 3403 w 4308"/>
                  <a:gd name="connsiteY5" fmla="*/ 2223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8" h="2332">
                    <a:moveTo>
                      <a:pt x="3403" y="2223"/>
                    </a:moveTo>
                    <a:lnTo>
                      <a:pt x="0" y="2333"/>
                    </a:lnTo>
                    <a:lnTo>
                      <a:pt x="0" y="741"/>
                    </a:lnTo>
                    <a:lnTo>
                      <a:pt x="3513" y="0"/>
                    </a:lnTo>
                    <a:lnTo>
                      <a:pt x="4308" y="1043"/>
                    </a:lnTo>
                    <a:lnTo>
                      <a:pt x="3403"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1" name="Freeform: Shape 3950">
                <a:extLst>
                  <a:ext uri="{FF2B5EF4-FFF2-40B4-BE49-F238E27FC236}">
                    <a16:creationId xmlns:a16="http://schemas.microsoft.com/office/drawing/2014/main" id="{6269010E-4B3F-9DF6-944B-D8960712711A}"/>
                  </a:ext>
                </a:extLst>
              </p:cNvPr>
              <p:cNvSpPr/>
              <p:nvPr/>
            </p:nvSpPr>
            <p:spPr>
              <a:xfrm>
                <a:off x="1177122" y="3818178"/>
                <a:ext cx="15013" cy="22670"/>
              </a:xfrm>
              <a:custGeom>
                <a:avLst/>
                <a:gdLst>
                  <a:gd name="connsiteX0" fmla="*/ 124701 w 143938"/>
                  <a:gd name="connsiteY0" fmla="*/ 79969 h 217348"/>
                  <a:gd name="connsiteX1" fmla="*/ 124070 w 143938"/>
                  <a:gd name="connsiteY1" fmla="*/ 85814 h 217348"/>
                  <a:gd name="connsiteX2" fmla="*/ 119843 w 143938"/>
                  <a:gd name="connsiteY2" fmla="*/ 94596 h 217348"/>
                  <a:gd name="connsiteX3" fmla="*/ 122615 w 143938"/>
                  <a:gd name="connsiteY3" fmla="*/ 99453 h 217348"/>
                  <a:gd name="connsiteX4" fmla="*/ 119871 w 143938"/>
                  <a:gd name="connsiteY4" fmla="*/ 100551 h 217348"/>
                  <a:gd name="connsiteX5" fmla="*/ 117374 w 143938"/>
                  <a:gd name="connsiteY5" fmla="*/ 104530 h 217348"/>
                  <a:gd name="connsiteX6" fmla="*/ 109497 w 143938"/>
                  <a:gd name="connsiteY6" fmla="*/ 104585 h 217348"/>
                  <a:gd name="connsiteX7" fmla="*/ 103487 w 143938"/>
                  <a:gd name="connsiteY7" fmla="*/ 107769 h 217348"/>
                  <a:gd name="connsiteX8" fmla="*/ 101923 w 143938"/>
                  <a:gd name="connsiteY8" fmla="*/ 110540 h 217348"/>
                  <a:gd name="connsiteX9" fmla="*/ 103817 w 143938"/>
                  <a:gd name="connsiteY9" fmla="*/ 115315 h 217348"/>
                  <a:gd name="connsiteX10" fmla="*/ 100880 w 143938"/>
                  <a:gd name="connsiteY10" fmla="*/ 121600 h 217348"/>
                  <a:gd name="connsiteX11" fmla="*/ 98630 w 143938"/>
                  <a:gd name="connsiteY11" fmla="*/ 128214 h 217348"/>
                  <a:gd name="connsiteX12" fmla="*/ 98712 w 143938"/>
                  <a:gd name="connsiteY12" fmla="*/ 134251 h 217348"/>
                  <a:gd name="connsiteX13" fmla="*/ 104393 w 143938"/>
                  <a:gd name="connsiteY13" fmla="*/ 143527 h 217348"/>
                  <a:gd name="connsiteX14" fmla="*/ 109333 w 143938"/>
                  <a:gd name="connsiteY14" fmla="*/ 147753 h 217348"/>
                  <a:gd name="connsiteX15" fmla="*/ 109333 w 143938"/>
                  <a:gd name="connsiteY15" fmla="*/ 152089 h 217348"/>
                  <a:gd name="connsiteX16" fmla="*/ 119651 w 143938"/>
                  <a:gd name="connsiteY16" fmla="*/ 153022 h 217348"/>
                  <a:gd name="connsiteX17" fmla="*/ 122944 w 143938"/>
                  <a:gd name="connsiteY17" fmla="*/ 168418 h 217348"/>
                  <a:gd name="connsiteX18" fmla="*/ 127665 w 143938"/>
                  <a:gd name="connsiteY18" fmla="*/ 173989 h 217348"/>
                  <a:gd name="connsiteX19" fmla="*/ 137324 w 143938"/>
                  <a:gd name="connsiteY19" fmla="*/ 191580 h 217348"/>
                  <a:gd name="connsiteX20" fmla="*/ 143938 w 143938"/>
                  <a:gd name="connsiteY20" fmla="*/ 194681 h 217348"/>
                  <a:gd name="connsiteX21" fmla="*/ 134141 w 143938"/>
                  <a:gd name="connsiteY21" fmla="*/ 196656 h 217348"/>
                  <a:gd name="connsiteX22" fmla="*/ 125771 w 143938"/>
                  <a:gd name="connsiteY22" fmla="*/ 193034 h 217348"/>
                  <a:gd name="connsiteX23" fmla="*/ 119432 w 143938"/>
                  <a:gd name="connsiteY23" fmla="*/ 193912 h 217348"/>
                  <a:gd name="connsiteX24" fmla="*/ 112159 w 143938"/>
                  <a:gd name="connsiteY24" fmla="*/ 201678 h 217348"/>
                  <a:gd name="connsiteX25" fmla="*/ 101923 w 143938"/>
                  <a:gd name="connsiteY25" fmla="*/ 203298 h 217348"/>
                  <a:gd name="connsiteX26" fmla="*/ 99151 w 143938"/>
                  <a:gd name="connsiteY26" fmla="*/ 203298 h 217348"/>
                  <a:gd name="connsiteX27" fmla="*/ 98328 w 143938"/>
                  <a:gd name="connsiteY27" fmla="*/ 207441 h 217348"/>
                  <a:gd name="connsiteX28" fmla="*/ 89327 w 143938"/>
                  <a:gd name="connsiteY28" fmla="*/ 205767 h 217348"/>
                  <a:gd name="connsiteX29" fmla="*/ 85210 w 143938"/>
                  <a:gd name="connsiteY29" fmla="*/ 209527 h 217348"/>
                  <a:gd name="connsiteX30" fmla="*/ 84442 w 143938"/>
                  <a:gd name="connsiteY30" fmla="*/ 214110 h 217348"/>
                  <a:gd name="connsiteX31" fmla="*/ 79008 w 143938"/>
                  <a:gd name="connsiteY31" fmla="*/ 214412 h 217348"/>
                  <a:gd name="connsiteX32" fmla="*/ 75578 w 143938"/>
                  <a:gd name="connsiteY32" fmla="*/ 217349 h 217348"/>
                  <a:gd name="connsiteX33" fmla="*/ 70830 w 143938"/>
                  <a:gd name="connsiteY33" fmla="*/ 213452 h 217348"/>
                  <a:gd name="connsiteX34" fmla="*/ 62899 w 143938"/>
                  <a:gd name="connsiteY34" fmla="*/ 211037 h 217348"/>
                  <a:gd name="connsiteX35" fmla="*/ 55188 w 143938"/>
                  <a:gd name="connsiteY35" fmla="*/ 203298 h 217348"/>
                  <a:gd name="connsiteX36" fmla="*/ 47805 w 143938"/>
                  <a:gd name="connsiteY36" fmla="*/ 196711 h 217348"/>
                  <a:gd name="connsiteX37" fmla="*/ 47970 w 143938"/>
                  <a:gd name="connsiteY37" fmla="*/ 185350 h 217348"/>
                  <a:gd name="connsiteX38" fmla="*/ 43387 w 143938"/>
                  <a:gd name="connsiteY38" fmla="*/ 181645 h 217348"/>
                  <a:gd name="connsiteX39" fmla="*/ 40670 w 143938"/>
                  <a:gd name="connsiteY39" fmla="*/ 172507 h 217348"/>
                  <a:gd name="connsiteX40" fmla="*/ 41603 w 143938"/>
                  <a:gd name="connsiteY40" fmla="*/ 162435 h 217348"/>
                  <a:gd name="connsiteX41" fmla="*/ 46049 w 143938"/>
                  <a:gd name="connsiteY41" fmla="*/ 152363 h 217348"/>
                  <a:gd name="connsiteX42" fmla="*/ 44842 w 143938"/>
                  <a:gd name="connsiteY42" fmla="*/ 146546 h 217348"/>
                  <a:gd name="connsiteX43" fmla="*/ 49562 w 143938"/>
                  <a:gd name="connsiteY43" fmla="*/ 143060 h 217348"/>
                  <a:gd name="connsiteX44" fmla="*/ 53871 w 143938"/>
                  <a:gd name="connsiteY44" fmla="*/ 135925 h 217348"/>
                  <a:gd name="connsiteX45" fmla="*/ 48848 w 143938"/>
                  <a:gd name="connsiteY45" fmla="*/ 128461 h 217348"/>
                  <a:gd name="connsiteX46" fmla="*/ 49370 w 143938"/>
                  <a:gd name="connsiteY46" fmla="*/ 123192 h 217348"/>
                  <a:gd name="connsiteX47" fmla="*/ 47367 w 143938"/>
                  <a:gd name="connsiteY47" fmla="*/ 121518 h 217348"/>
                  <a:gd name="connsiteX48" fmla="*/ 42317 w 143938"/>
                  <a:gd name="connsiteY48" fmla="*/ 119267 h 217348"/>
                  <a:gd name="connsiteX49" fmla="*/ 38695 w 143938"/>
                  <a:gd name="connsiteY49" fmla="*/ 119459 h 217348"/>
                  <a:gd name="connsiteX50" fmla="*/ 35676 w 143938"/>
                  <a:gd name="connsiteY50" fmla="*/ 118581 h 217348"/>
                  <a:gd name="connsiteX51" fmla="*/ 35758 w 143938"/>
                  <a:gd name="connsiteY51" fmla="*/ 117511 h 217348"/>
                  <a:gd name="connsiteX52" fmla="*/ 37734 w 143938"/>
                  <a:gd name="connsiteY52" fmla="*/ 116221 h 217348"/>
                  <a:gd name="connsiteX53" fmla="*/ 39243 w 143938"/>
                  <a:gd name="connsiteY53" fmla="*/ 113312 h 217348"/>
                  <a:gd name="connsiteX54" fmla="*/ 41082 w 143938"/>
                  <a:gd name="connsiteY54" fmla="*/ 102801 h 217348"/>
                  <a:gd name="connsiteX55" fmla="*/ 38091 w 143938"/>
                  <a:gd name="connsiteY55" fmla="*/ 100469 h 217348"/>
                  <a:gd name="connsiteX56" fmla="*/ 36581 w 143938"/>
                  <a:gd name="connsiteY56" fmla="*/ 97724 h 217348"/>
                  <a:gd name="connsiteX57" fmla="*/ 33782 w 143938"/>
                  <a:gd name="connsiteY57" fmla="*/ 97038 h 217348"/>
                  <a:gd name="connsiteX58" fmla="*/ 30599 w 143938"/>
                  <a:gd name="connsiteY58" fmla="*/ 98603 h 217348"/>
                  <a:gd name="connsiteX59" fmla="*/ 27388 w 143938"/>
                  <a:gd name="connsiteY59" fmla="*/ 99206 h 217348"/>
                  <a:gd name="connsiteX60" fmla="*/ 20829 w 143938"/>
                  <a:gd name="connsiteY60" fmla="*/ 98191 h 217348"/>
                  <a:gd name="connsiteX61" fmla="*/ 18798 w 143938"/>
                  <a:gd name="connsiteY61" fmla="*/ 98850 h 217348"/>
                  <a:gd name="connsiteX62" fmla="*/ 0 w 143938"/>
                  <a:gd name="connsiteY62" fmla="*/ 76127 h 217348"/>
                  <a:gd name="connsiteX63" fmla="*/ 7163 w 143938"/>
                  <a:gd name="connsiteY63" fmla="*/ 68525 h 217348"/>
                  <a:gd name="connsiteX64" fmla="*/ 5022 w 143938"/>
                  <a:gd name="connsiteY64" fmla="*/ 57932 h 217348"/>
                  <a:gd name="connsiteX65" fmla="*/ 6668 w 143938"/>
                  <a:gd name="connsiteY65" fmla="*/ 54310 h 217348"/>
                  <a:gd name="connsiteX66" fmla="*/ 14764 w 143938"/>
                  <a:gd name="connsiteY66" fmla="*/ 50989 h 217348"/>
                  <a:gd name="connsiteX67" fmla="*/ 19567 w 143938"/>
                  <a:gd name="connsiteY67" fmla="*/ 51648 h 217348"/>
                  <a:gd name="connsiteX68" fmla="*/ 30818 w 143938"/>
                  <a:gd name="connsiteY68" fmla="*/ 44238 h 217348"/>
                  <a:gd name="connsiteX69" fmla="*/ 31532 w 143938"/>
                  <a:gd name="connsiteY69" fmla="*/ 42152 h 217348"/>
                  <a:gd name="connsiteX70" fmla="*/ 29858 w 143938"/>
                  <a:gd name="connsiteY70" fmla="*/ 40369 h 217348"/>
                  <a:gd name="connsiteX71" fmla="*/ 24369 w 143938"/>
                  <a:gd name="connsiteY71" fmla="*/ 40973 h 217348"/>
                  <a:gd name="connsiteX72" fmla="*/ 22640 w 143938"/>
                  <a:gd name="connsiteY72" fmla="*/ 39710 h 217348"/>
                  <a:gd name="connsiteX73" fmla="*/ 19896 w 143938"/>
                  <a:gd name="connsiteY73" fmla="*/ 29474 h 217348"/>
                  <a:gd name="connsiteX74" fmla="*/ 24946 w 143938"/>
                  <a:gd name="connsiteY74" fmla="*/ 21406 h 217348"/>
                  <a:gd name="connsiteX75" fmla="*/ 29803 w 143938"/>
                  <a:gd name="connsiteY75" fmla="*/ 20280 h 217348"/>
                  <a:gd name="connsiteX76" fmla="*/ 39326 w 143938"/>
                  <a:gd name="connsiteY76" fmla="*/ 14490 h 217348"/>
                  <a:gd name="connsiteX77" fmla="*/ 41384 w 143938"/>
                  <a:gd name="connsiteY77" fmla="*/ 10374 h 217348"/>
                  <a:gd name="connsiteX78" fmla="*/ 44650 w 143938"/>
                  <a:gd name="connsiteY78" fmla="*/ 8425 h 217348"/>
                  <a:gd name="connsiteX79" fmla="*/ 44759 w 143938"/>
                  <a:gd name="connsiteY79" fmla="*/ 5735 h 217348"/>
                  <a:gd name="connsiteX80" fmla="*/ 40423 w 143938"/>
                  <a:gd name="connsiteY80" fmla="*/ 0 h 217348"/>
                  <a:gd name="connsiteX81" fmla="*/ 44540 w 143938"/>
                  <a:gd name="connsiteY81" fmla="*/ 4309 h 217348"/>
                  <a:gd name="connsiteX82" fmla="*/ 48931 w 143938"/>
                  <a:gd name="connsiteY82" fmla="*/ 4912 h 217348"/>
                  <a:gd name="connsiteX83" fmla="*/ 66933 w 143938"/>
                  <a:gd name="connsiteY83" fmla="*/ 15945 h 217348"/>
                  <a:gd name="connsiteX84" fmla="*/ 83783 w 143938"/>
                  <a:gd name="connsiteY84" fmla="*/ 34057 h 217348"/>
                  <a:gd name="connsiteX85" fmla="*/ 85210 w 143938"/>
                  <a:gd name="connsiteY85" fmla="*/ 41796 h 217348"/>
                  <a:gd name="connsiteX86" fmla="*/ 89848 w 143938"/>
                  <a:gd name="connsiteY86" fmla="*/ 48821 h 217348"/>
                  <a:gd name="connsiteX87" fmla="*/ 98712 w 143938"/>
                  <a:gd name="connsiteY87" fmla="*/ 51895 h 217348"/>
                  <a:gd name="connsiteX88" fmla="*/ 112351 w 143938"/>
                  <a:gd name="connsiteY88" fmla="*/ 65726 h 217348"/>
                  <a:gd name="connsiteX89" fmla="*/ 120145 w 143938"/>
                  <a:gd name="connsiteY89" fmla="*/ 68553 h 217348"/>
                  <a:gd name="connsiteX90" fmla="*/ 123521 w 143938"/>
                  <a:gd name="connsiteY90" fmla="*/ 72971 h 217348"/>
                  <a:gd name="connsiteX91" fmla="*/ 124536 w 143938"/>
                  <a:gd name="connsiteY91" fmla="*/ 79914 h 2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43938" h="217348">
                    <a:moveTo>
                      <a:pt x="124701" y="79969"/>
                    </a:moveTo>
                    <a:lnTo>
                      <a:pt x="124070" y="85814"/>
                    </a:lnTo>
                    <a:lnTo>
                      <a:pt x="119843" y="94596"/>
                    </a:lnTo>
                    <a:lnTo>
                      <a:pt x="122615" y="99453"/>
                    </a:lnTo>
                    <a:lnTo>
                      <a:pt x="119871" y="100551"/>
                    </a:lnTo>
                    <a:lnTo>
                      <a:pt x="117374" y="104530"/>
                    </a:lnTo>
                    <a:lnTo>
                      <a:pt x="109497" y="104585"/>
                    </a:lnTo>
                    <a:lnTo>
                      <a:pt x="103487" y="107769"/>
                    </a:lnTo>
                    <a:lnTo>
                      <a:pt x="101923" y="110540"/>
                    </a:lnTo>
                    <a:lnTo>
                      <a:pt x="103817" y="115315"/>
                    </a:lnTo>
                    <a:lnTo>
                      <a:pt x="100880" y="121600"/>
                    </a:lnTo>
                    <a:lnTo>
                      <a:pt x="98630" y="128214"/>
                    </a:lnTo>
                    <a:lnTo>
                      <a:pt x="98712" y="134251"/>
                    </a:lnTo>
                    <a:lnTo>
                      <a:pt x="104393" y="143527"/>
                    </a:lnTo>
                    <a:lnTo>
                      <a:pt x="109333" y="147753"/>
                    </a:lnTo>
                    <a:lnTo>
                      <a:pt x="109333" y="152089"/>
                    </a:lnTo>
                    <a:cubicBezTo>
                      <a:pt x="109333" y="152089"/>
                      <a:pt x="119651" y="153022"/>
                      <a:pt x="119651" y="153022"/>
                    </a:cubicBezTo>
                    <a:lnTo>
                      <a:pt x="122944" y="168418"/>
                    </a:lnTo>
                    <a:lnTo>
                      <a:pt x="127665" y="173989"/>
                    </a:lnTo>
                    <a:lnTo>
                      <a:pt x="137324" y="191580"/>
                    </a:lnTo>
                    <a:lnTo>
                      <a:pt x="143938" y="194681"/>
                    </a:lnTo>
                    <a:lnTo>
                      <a:pt x="134141" y="196656"/>
                    </a:lnTo>
                    <a:lnTo>
                      <a:pt x="125771" y="193034"/>
                    </a:lnTo>
                    <a:lnTo>
                      <a:pt x="119432" y="193912"/>
                    </a:lnTo>
                    <a:lnTo>
                      <a:pt x="112159" y="201678"/>
                    </a:lnTo>
                    <a:lnTo>
                      <a:pt x="101923" y="203298"/>
                    </a:lnTo>
                    <a:lnTo>
                      <a:pt x="99151" y="203298"/>
                    </a:lnTo>
                    <a:lnTo>
                      <a:pt x="98328" y="207441"/>
                    </a:lnTo>
                    <a:lnTo>
                      <a:pt x="89327" y="205767"/>
                    </a:lnTo>
                    <a:lnTo>
                      <a:pt x="85210" y="209527"/>
                    </a:lnTo>
                    <a:lnTo>
                      <a:pt x="84442" y="214110"/>
                    </a:lnTo>
                    <a:lnTo>
                      <a:pt x="79008" y="214412"/>
                    </a:lnTo>
                    <a:lnTo>
                      <a:pt x="75578" y="217349"/>
                    </a:lnTo>
                    <a:lnTo>
                      <a:pt x="70830" y="213452"/>
                    </a:lnTo>
                    <a:lnTo>
                      <a:pt x="62899" y="211037"/>
                    </a:lnTo>
                    <a:lnTo>
                      <a:pt x="55188" y="203298"/>
                    </a:lnTo>
                    <a:lnTo>
                      <a:pt x="47805" y="196711"/>
                    </a:lnTo>
                    <a:lnTo>
                      <a:pt x="47970" y="185350"/>
                    </a:lnTo>
                    <a:lnTo>
                      <a:pt x="43387" y="181645"/>
                    </a:lnTo>
                    <a:lnTo>
                      <a:pt x="40670" y="172507"/>
                    </a:lnTo>
                    <a:lnTo>
                      <a:pt x="41603" y="162435"/>
                    </a:lnTo>
                    <a:lnTo>
                      <a:pt x="46049" y="152363"/>
                    </a:lnTo>
                    <a:lnTo>
                      <a:pt x="44842" y="146546"/>
                    </a:lnTo>
                    <a:lnTo>
                      <a:pt x="49562" y="143060"/>
                    </a:lnTo>
                    <a:lnTo>
                      <a:pt x="53871" y="135925"/>
                    </a:lnTo>
                    <a:lnTo>
                      <a:pt x="48848" y="128461"/>
                    </a:lnTo>
                    <a:lnTo>
                      <a:pt x="49370" y="123192"/>
                    </a:lnTo>
                    <a:lnTo>
                      <a:pt x="47367" y="121518"/>
                    </a:lnTo>
                    <a:lnTo>
                      <a:pt x="42317" y="119267"/>
                    </a:lnTo>
                    <a:lnTo>
                      <a:pt x="38695" y="119459"/>
                    </a:lnTo>
                    <a:lnTo>
                      <a:pt x="35676" y="118581"/>
                    </a:lnTo>
                    <a:lnTo>
                      <a:pt x="35758" y="117511"/>
                    </a:lnTo>
                    <a:lnTo>
                      <a:pt x="37734" y="116221"/>
                    </a:lnTo>
                    <a:lnTo>
                      <a:pt x="39243" y="113312"/>
                    </a:lnTo>
                    <a:lnTo>
                      <a:pt x="41082" y="102801"/>
                    </a:lnTo>
                    <a:lnTo>
                      <a:pt x="38091" y="100469"/>
                    </a:lnTo>
                    <a:lnTo>
                      <a:pt x="36581" y="97724"/>
                    </a:lnTo>
                    <a:lnTo>
                      <a:pt x="33782" y="97038"/>
                    </a:lnTo>
                    <a:lnTo>
                      <a:pt x="30599" y="98603"/>
                    </a:lnTo>
                    <a:lnTo>
                      <a:pt x="27388" y="99206"/>
                    </a:lnTo>
                    <a:lnTo>
                      <a:pt x="20829" y="98191"/>
                    </a:lnTo>
                    <a:lnTo>
                      <a:pt x="18798" y="98850"/>
                    </a:lnTo>
                    <a:lnTo>
                      <a:pt x="0" y="76127"/>
                    </a:lnTo>
                    <a:lnTo>
                      <a:pt x="7163" y="68525"/>
                    </a:lnTo>
                    <a:lnTo>
                      <a:pt x="5022" y="57932"/>
                    </a:lnTo>
                    <a:lnTo>
                      <a:pt x="6668" y="54310"/>
                    </a:lnTo>
                    <a:lnTo>
                      <a:pt x="14764" y="50989"/>
                    </a:lnTo>
                    <a:lnTo>
                      <a:pt x="19567" y="51648"/>
                    </a:lnTo>
                    <a:lnTo>
                      <a:pt x="30818" y="44238"/>
                    </a:lnTo>
                    <a:lnTo>
                      <a:pt x="31532" y="42152"/>
                    </a:lnTo>
                    <a:lnTo>
                      <a:pt x="29858" y="40369"/>
                    </a:lnTo>
                    <a:lnTo>
                      <a:pt x="24369" y="40973"/>
                    </a:lnTo>
                    <a:lnTo>
                      <a:pt x="22640" y="39710"/>
                    </a:lnTo>
                    <a:lnTo>
                      <a:pt x="19896" y="29474"/>
                    </a:lnTo>
                    <a:lnTo>
                      <a:pt x="24946" y="21406"/>
                    </a:lnTo>
                    <a:lnTo>
                      <a:pt x="29803" y="20280"/>
                    </a:lnTo>
                    <a:lnTo>
                      <a:pt x="39326" y="14490"/>
                    </a:lnTo>
                    <a:lnTo>
                      <a:pt x="41384" y="10374"/>
                    </a:lnTo>
                    <a:lnTo>
                      <a:pt x="44650" y="8425"/>
                    </a:lnTo>
                    <a:lnTo>
                      <a:pt x="44759" y="5735"/>
                    </a:lnTo>
                    <a:lnTo>
                      <a:pt x="40423" y="0"/>
                    </a:lnTo>
                    <a:lnTo>
                      <a:pt x="44540" y="4309"/>
                    </a:lnTo>
                    <a:lnTo>
                      <a:pt x="48931" y="4912"/>
                    </a:lnTo>
                    <a:lnTo>
                      <a:pt x="66933" y="15945"/>
                    </a:lnTo>
                    <a:lnTo>
                      <a:pt x="83783" y="34057"/>
                    </a:lnTo>
                    <a:lnTo>
                      <a:pt x="85210" y="41796"/>
                    </a:lnTo>
                    <a:lnTo>
                      <a:pt x="89848" y="48821"/>
                    </a:lnTo>
                    <a:lnTo>
                      <a:pt x="98712" y="51895"/>
                    </a:lnTo>
                    <a:lnTo>
                      <a:pt x="112351" y="65726"/>
                    </a:lnTo>
                    <a:lnTo>
                      <a:pt x="120145" y="68553"/>
                    </a:lnTo>
                    <a:lnTo>
                      <a:pt x="123521" y="72971"/>
                    </a:lnTo>
                    <a:lnTo>
                      <a:pt x="124536" y="799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2" name="Freeform: Shape 3951">
                <a:extLst>
                  <a:ext uri="{FF2B5EF4-FFF2-40B4-BE49-F238E27FC236}">
                    <a16:creationId xmlns:a16="http://schemas.microsoft.com/office/drawing/2014/main" id="{D56B74BC-2636-A126-EC80-BD511A8EC0EA}"/>
                  </a:ext>
                </a:extLst>
              </p:cNvPr>
              <p:cNvSpPr/>
              <p:nvPr/>
            </p:nvSpPr>
            <p:spPr>
              <a:xfrm>
                <a:off x="1714791" y="3773402"/>
                <a:ext cx="1414" cy="1113"/>
              </a:xfrm>
              <a:custGeom>
                <a:avLst/>
                <a:gdLst>
                  <a:gd name="connsiteX0" fmla="*/ 4089 w 13556"/>
                  <a:gd name="connsiteY0" fmla="*/ 1674 h 10675"/>
                  <a:gd name="connsiteX1" fmla="*/ 9880 w 13556"/>
                  <a:gd name="connsiteY1" fmla="*/ 0 h 10675"/>
                  <a:gd name="connsiteX2" fmla="*/ 13557 w 13556"/>
                  <a:gd name="connsiteY2" fmla="*/ 6092 h 10675"/>
                  <a:gd name="connsiteX3" fmla="*/ 11032 w 13556"/>
                  <a:gd name="connsiteY3" fmla="*/ 6888 h 10675"/>
                  <a:gd name="connsiteX4" fmla="*/ 9194 w 13556"/>
                  <a:gd name="connsiteY4" fmla="*/ 10675 h 10675"/>
                  <a:gd name="connsiteX5" fmla="*/ 5516 w 13556"/>
                  <a:gd name="connsiteY5" fmla="*/ 8370 h 10675"/>
                  <a:gd name="connsiteX6" fmla="*/ 3156 w 13556"/>
                  <a:gd name="connsiteY6" fmla="*/ 10373 h 10675"/>
                  <a:gd name="connsiteX7" fmla="*/ 0 w 13556"/>
                  <a:gd name="connsiteY7" fmla="*/ 9989 h 10675"/>
                  <a:gd name="connsiteX8" fmla="*/ 4116 w 13556"/>
                  <a:gd name="connsiteY8" fmla="*/ 1647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56" h="10675">
                    <a:moveTo>
                      <a:pt x="4089" y="1674"/>
                    </a:moveTo>
                    <a:lnTo>
                      <a:pt x="9880" y="0"/>
                    </a:lnTo>
                    <a:lnTo>
                      <a:pt x="13557" y="6092"/>
                    </a:lnTo>
                    <a:lnTo>
                      <a:pt x="11032" y="6888"/>
                    </a:lnTo>
                    <a:lnTo>
                      <a:pt x="9194" y="10675"/>
                    </a:lnTo>
                    <a:lnTo>
                      <a:pt x="5516" y="8370"/>
                    </a:lnTo>
                    <a:lnTo>
                      <a:pt x="3156" y="10373"/>
                    </a:lnTo>
                    <a:lnTo>
                      <a:pt x="0" y="9989"/>
                    </a:lnTo>
                    <a:lnTo>
                      <a:pt x="4116" y="16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3" name="Freeform: Shape 3952">
                <a:extLst>
                  <a:ext uri="{FF2B5EF4-FFF2-40B4-BE49-F238E27FC236}">
                    <a16:creationId xmlns:a16="http://schemas.microsoft.com/office/drawing/2014/main" id="{41529ADD-0A97-4022-6E17-046A90910200}"/>
                  </a:ext>
                </a:extLst>
              </p:cNvPr>
              <p:cNvSpPr/>
              <p:nvPr/>
            </p:nvSpPr>
            <p:spPr>
              <a:xfrm>
                <a:off x="1196923" y="3536496"/>
                <a:ext cx="9334" cy="9532"/>
              </a:xfrm>
              <a:custGeom>
                <a:avLst/>
                <a:gdLst>
                  <a:gd name="connsiteX0" fmla="*/ 89492 w 89491"/>
                  <a:gd name="connsiteY0" fmla="*/ 58673 h 91385"/>
                  <a:gd name="connsiteX1" fmla="*/ 80490 w 89491"/>
                  <a:gd name="connsiteY1" fmla="*/ 72669 h 91385"/>
                  <a:gd name="connsiteX2" fmla="*/ 66000 w 89491"/>
                  <a:gd name="connsiteY2" fmla="*/ 80079 h 91385"/>
                  <a:gd name="connsiteX3" fmla="*/ 40396 w 89491"/>
                  <a:gd name="connsiteY3" fmla="*/ 91385 h 91385"/>
                  <a:gd name="connsiteX4" fmla="*/ 22915 w 89491"/>
                  <a:gd name="connsiteY4" fmla="*/ 84250 h 91385"/>
                  <a:gd name="connsiteX5" fmla="*/ 19210 w 89491"/>
                  <a:gd name="connsiteY5" fmla="*/ 78899 h 91385"/>
                  <a:gd name="connsiteX6" fmla="*/ 19594 w 89491"/>
                  <a:gd name="connsiteY6" fmla="*/ 76017 h 91385"/>
                  <a:gd name="connsiteX7" fmla="*/ 30132 w 89491"/>
                  <a:gd name="connsiteY7" fmla="*/ 75962 h 91385"/>
                  <a:gd name="connsiteX8" fmla="*/ 30352 w 89491"/>
                  <a:gd name="connsiteY8" fmla="*/ 73053 h 91385"/>
                  <a:gd name="connsiteX9" fmla="*/ 28129 w 89491"/>
                  <a:gd name="connsiteY9" fmla="*/ 70199 h 91385"/>
                  <a:gd name="connsiteX10" fmla="*/ 29392 w 89491"/>
                  <a:gd name="connsiteY10" fmla="*/ 65616 h 91385"/>
                  <a:gd name="connsiteX11" fmla="*/ 28321 w 89491"/>
                  <a:gd name="connsiteY11" fmla="*/ 62735 h 91385"/>
                  <a:gd name="connsiteX12" fmla="*/ 22915 w 89491"/>
                  <a:gd name="connsiteY12" fmla="*/ 71297 h 91385"/>
                  <a:gd name="connsiteX13" fmla="*/ 17564 w 89491"/>
                  <a:gd name="connsiteY13" fmla="*/ 65589 h 91385"/>
                  <a:gd name="connsiteX14" fmla="*/ 5022 w 89491"/>
                  <a:gd name="connsiteY14" fmla="*/ 63146 h 91385"/>
                  <a:gd name="connsiteX15" fmla="*/ 0 w 89491"/>
                  <a:gd name="connsiteY15" fmla="*/ 54831 h 91385"/>
                  <a:gd name="connsiteX16" fmla="*/ 4336 w 89491"/>
                  <a:gd name="connsiteY16" fmla="*/ 48574 h 91385"/>
                  <a:gd name="connsiteX17" fmla="*/ 851 w 89491"/>
                  <a:gd name="connsiteY17" fmla="*/ 41823 h 91385"/>
                  <a:gd name="connsiteX18" fmla="*/ 2827 w 89491"/>
                  <a:gd name="connsiteY18" fmla="*/ 33563 h 91385"/>
                  <a:gd name="connsiteX19" fmla="*/ 7849 w 89491"/>
                  <a:gd name="connsiteY19" fmla="*/ 32163 h 91385"/>
                  <a:gd name="connsiteX20" fmla="*/ 8013 w 89491"/>
                  <a:gd name="connsiteY20" fmla="*/ 29199 h 91385"/>
                  <a:gd name="connsiteX21" fmla="*/ 3870 w 89491"/>
                  <a:gd name="connsiteY21" fmla="*/ 23930 h 91385"/>
                  <a:gd name="connsiteX22" fmla="*/ 2525 w 89491"/>
                  <a:gd name="connsiteY22" fmla="*/ 14956 h 91385"/>
                  <a:gd name="connsiteX23" fmla="*/ 3678 w 89491"/>
                  <a:gd name="connsiteY23" fmla="*/ 8891 h 91385"/>
                  <a:gd name="connsiteX24" fmla="*/ 16548 w 89491"/>
                  <a:gd name="connsiteY24" fmla="*/ 0 h 91385"/>
                  <a:gd name="connsiteX25" fmla="*/ 44156 w 89491"/>
                  <a:gd name="connsiteY25" fmla="*/ 8370 h 91385"/>
                  <a:gd name="connsiteX26" fmla="*/ 57740 w 89491"/>
                  <a:gd name="connsiteY26" fmla="*/ 23903 h 91385"/>
                  <a:gd name="connsiteX27" fmla="*/ 62790 w 89491"/>
                  <a:gd name="connsiteY27" fmla="*/ 32492 h 91385"/>
                  <a:gd name="connsiteX28" fmla="*/ 65918 w 89491"/>
                  <a:gd name="connsiteY28" fmla="*/ 35566 h 91385"/>
                  <a:gd name="connsiteX29" fmla="*/ 85540 w 89491"/>
                  <a:gd name="connsiteY29" fmla="*/ 45555 h 91385"/>
                  <a:gd name="connsiteX30" fmla="*/ 89409 w 89491"/>
                  <a:gd name="connsiteY30" fmla="*/ 58646 h 9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9491" h="91385">
                    <a:moveTo>
                      <a:pt x="89492" y="58673"/>
                    </a:moveTo>
                    <a:lnTo>
                      <a:pt x="80490" y="72669"/>
                    </a:lnTo>
                    <a:lnTo>
                      <a:pt x="66000" y="80079"/>
                    </a:lnTo>
                    <a:lnTo>
                      <a:pt x="40396" y="91385"/>
                    </a:lnTo>
                    <a:lnTo>
                      <a:pt x="22915" y="84250"/>
                    </a:lnTo>
                    <a:lnTo>
                      <a:pt x="19210" y="78899"/>
                    </a:lnTo>
                    <a:lnTo>
                      <a:pt x="19594" y="76017"/>
                    </a:lnTo>
                    <a:lnTo>
                      <a:pt x="30132" y="75962"/>
                    </a:lnTo>
                    <a:lnTo>
                      <a:pt x="30352" y="73053"/>
                    </a:lnTo>
                    <a:lnTo>
                      <a:pt x="28129" y="70199"/>
                    </a:lnTo>
                    <a:lnTo>
                      <a:pt x="29392" y="65616"/>
                    </a:lnTo>
                    <a:lnTo>
                      <a:pt x="28321" y="62735"/>
                    </a:lnTo>
                    <a:lnTo>
                      <a:pt x="22915" y="71297"/>
                    </a:lnTo>
                    <a:lnTo>
                      <a:pt x="17564" y="65589"/>
                    </a:lnTo>
                    <a:lnTo>
                      <a:pt x="5022" y="63146"/>
                    </a:lnTo>
                    <a:lnTo>
                      <a:pt x="0" y="54831"/>
                    </a:lnTo>
                    <a:lnTo>
                      <a:pt x="4336" y="48574"/>
                    </a:lnTo>
                    <a:lnTo>
                      <a:pt x="851" y="41823"/>
                    </a:lnTo>
                    <a:lnTo>
                      <a:pt x="2827" y="33563"/>
                    </a:lnTo>
                    <a:lnTo>
                      <a:pt x="7849" y="32163"/>
                    </a:lnTo>
                    <a:lnTo>
                      <a:pt x="8013" y="29199"/>
                    </a:lnTo>
                    <a:lnTo>
                      <a:pt x="3870" y="23930"/>
                    </a:lnTo>
                    <a:lnTo>
                      <a:pt x="2525" y="14956"/>
                    </a:lnTo>
                    <a:lnTo>
                      <a:pt x="3678" y="8891"/>
                    </a:lnTo>
                    <a:lnTo>
                      <a:pt x="16548" y="0"/>
                    </a:lnTo>
                    <a:lnTo>
                      <a:pt x="44156" y="8370"/>
                    </a:lnTo>
                    <a:lnTo>
                      <a:pt x="57740" y="23903"/>
                    </a:lnTo>
                    <a:lnTo>
                      <a:pt x="62790" y="32492"/>
                    </a:lnTo>
                    <a:lnTo>
                      <a:pt x="65918" y="35566"/>
                    </a:lnTo>
                    <a:lnTo>
                      <a:pt x="85540" y="45555"/>
                    </a:lnTo>
                    <a:lnTo>
                      <a:pt x="89409" y="586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4" name="Freeform: Shape 3953">
                <a:extLst>
                  <a:ext uri="{FF2B5EF4-FFF2-40B4-BE49-F238E27FC236}">
                    <a16:creationId xmlns:a16="http://schemas.microsoft.com/office/drawing/2014/main" id="{5EBC13B5-74B7-0B97-A25A-89A48722E6E4}"/>
                  </a:ext>
                </a:extLst>
              </p:cNvPr>
              <p:cNvSpPr/>
              <p:nvPr/>
            </p:nvSpPr>
            <p:spPr>
              <a:xfrm>
                <a:off x="1307404" y="3483142"/>
                <a:ext cx="4789" cy="5433"/>
              </a:xfrm>
              <a:custGeom>
                <a:avLst/>
                <a:gdLst>
                  <a:gd name="connsiteX0" fmla="*/ 26400 w 45912"/>
                  <a:gd name="connsiteY0" fmla="*/ 0 h 52086"/>
                  <a:gd name="connsiteX1" fmla="*/ 31203 w 45912"/>
                  <a:gd name="connsiteY1" fmla="*/ 11060 h 52086"/>
                  <a:gd name="connsiteX2" fmla="*/ 26208 w 45912"/>
                  <a:gd name="connsiteY2" fmla="*/ 19073 h 52086"/>
                  <a:gd name="connsiteX3" fmla="*/ 26208 w 45912"/>
                  <a:gd name="connsiteY3" fmla="*/ 27855 h 52086"/>
                  <a:gd name="connsiteX4" fmla="*/ 33234 w 45912"/>
                  <a:gd name="connsiteY4" fmla="*/ 37817 h 52086"/>
                  <a:gd name="connsiteX5" fmla="*/ 42400 w 45912"/>
                  <a:gd name="connsiteY5" fmla="*/ 30434 h 52086"/>
                  <a:gd name="connsiteX6" fmla="*/ 45336 w 45912"/>
                  <a:gd name="connsiteY6" fmla="*/ 31203 h 52086"/>
                  <a:gd name="connsiteX7" fmla="*/ 45912 w 45912"/>
                  <a:gd name="connsiteY7" fmla="*/ 36829 h 52086"/>
                  <a:gd name="connsiteX8" fmla="*/ 44952 w 45912"/>
                  <a:gd name="connsiteY8" fmla="*/ 45308 h 52086"/>
                  <a:gd name="connsiteX9" fmla="*/ 40177 w 45912"/>
                  <a:gd name="connsiteY9" fmla="*/ 52087 h 52086"/>
                  <a:gd name="connsiteX10" fmla="*/ 30407 w 45912"/>
                  <a:gd name="connsiteY10" fmla="*/ 44348 h 52086"/>
                  <a:gd name="connsiteX11" fmla="*/ 15012 w 45912"/>
                  <a:gd name="connsiteY11" fmla="*/ 49480 h 52086"/>
                  <a:gd name="connsiteX12" fmla="*/ 3156 w 45912"/>
                  <a:gd name="connsiteY12" fmla="*/ 47778 h 52086"/>
                  <a:gd name="connsiteX13" fmla="*/ 0 w 45912"/>
                  <a:gd name="connsiteY13" fmla="*/ 41851 h 52086"/>
                  <a:gd name="connsiteX14" fmla="*/ 3019 w 45912"/>
                  <a:gd name="connsiteY14" fmla="*/ 9248 h 52086"/>
                  <a:gd name="connsiteX15" fmla="*/ 10923 w 45912"/>
                  <a:gd name="connsiteY15" fmla="*/ 5077 h 52086"/>
                  <a:gd name="connsiteX16" fmla="*/ 15066 w 45912"/>
                  <a:gd name="connsiteY16" fmla="*/ 9770 h 52086"/>
                  <a:gd name="connsiteX17" fmla="*/ 21186 w 45912"/>
                  <a:gd name="connsiteY17" fmla="*/ 10648 h 52086"/>
                  <a:gd name="connsiteX18" fmla="*/ 26510 w 45912"/>
                  <a:gd name="connsiteY18" fmla="*/ 27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912" h="52086">
                    <a:moveTo>
                      <a:pt x="26400" y="0"/>
                    </a:moveTo>
                    <a:lnTo>
                      <a:pt x="31203" y="11060"/>
                    </a:lnTo>
                    <a:lnTo>
                      <a:pt x="26208" y="19073"/>
                    </a:lnTo>
                    <a:lnTo>
                      <a:pt x="26208" y="27855"/>
                    </a:lnTo>
                    <a:lnTo>
                      <a:pt x="33234" y="37817"/>
                    </a:lnTo>
                    <a:lnTo>
                      <a:pt x="42400" y="30434"/>
                    </a:lnTo>
                    <a:lnTo>
                      <a:pt x="45336" y="31203"/>
                    </a:lnTo>
                    <a:lnTo>
                      <a:pt x="45912" y="36829"/>
                    </a:lnTo>
                    <a:lnTo>
                      <a:pt x="44952" y="45308"/>
                    </a:lnTo>
                    <a:lnTo>
                      <a:pt x="40177" y="52087"/>
                    </a:lnTo>
                    <a:lnTo>
                      <a:pt x="30407" y="44348"/>
                    </a:lnTo>
                    <a:lnTo>
                      <a:pt x="15012" y="49480"/>
                    </a:lnTo>
                    <a:lnTo>
                      <a:pt x="3156" y="47778"/>
                    </a:lnTo>
                    <a:lnTo>
                      <a:pt x="0" y="41851"/>
                    </a:lnTo>
                    <a:lnTo>
                      <a:pt x="3019" y="9248"/>
                    </a:lnTo>
                    <a:lnTo>
                      <a:pt x="10923" y="5077"/>
                    </a:lnTo>
                    <a:lnTo>
                      <a:pt x="15066" y="9770"/>
                    </a:lnTo>
                    <a:lnTo>
                      <a:pt x="21186" y="10648"/>
                    </a:lnTo>
                    <a:lnTo>
                      <a:pt x="26510"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5" name="Freeform: Shape 3954">
                <a:extLst>
                  <a:ext uri="{FF2B5EF4-FFF2-40B4-BE49-F238E27FC236}">
                    <a16:creationId xmlns:a16="http://schemas.microsoft.com/office/drawing/2014/main" id="{14748872-C8B1-C1C7-6A2A-28AD3904C7A7}"/>
                  </a:ext>
                </a:extLst>
              </p:cNvPr>
              <p:cNvSpPr/>
              <p:nvPr/>
            </p:nvSpPr>
            <p:spPr>
              <a:xfrm>
                <a:off x="1306714" y="3466420"/>
                <a:ext cx="1992" cy="9463"/>
              </a:xfrm>
              <a:custGeom>
                <a:avLst/>
                <a:gdLst>
                  <a:gd name="connsiteX0" fmla="*/ 19073 w 19100"/>
                  <a:gd name="connsiteY0" fmla="*/ 79941 h 90726"/>
                  <a:gd name="connsiteX1" fmla="*/ 18442 w 19100"/>
                  <a:gd name="connsiteY1" fmla="*/ 90726 h 90726"/>
                  <a:gd name="connsiteX2" fmla="*/ 1674 w 19100"/>
                  <a:gd name="connsiteY2" fmla="*/ 36060 h 90726"/>
                  <a:gd name="connsiteX3" fmla="*/ 0 w 19100"/>
                  <a:gd name="connsiteY3" fmla="*/ 28650 h 90726"/>
                  <a:gd name="connsiteX4" fmla="*/ 2333 w 19100"/>
                  <a:gd name="connsiteY4" fmla="*/ 15341 h 90726"/>
                  <a:gd name="connsiteX5" fmla="*/ 329 w 19100"/>
                  <a:gd name="connsiteY5" fmla="*/ 4199 h 90726"/>
                  <a:gd name="connsiteX6" fmla="*/ 2579 w 19100"/>
                  <a:gd name="connsiteY6" fmla="*/ 0 h 90726"/>
                  <a:gd name="connsiteX7" fmla="*/ 10840 w 19100"/>
                  <a:gd name="connsiteY7" fmla="*/ 11060 h 90726"/>
                  <a:gd name="connsiteX8" fmla="*/ 12624 w 19100"/>
                  <a:gd name="connsiteY8" fmla="*/ 36060 h 90726"/>
                  <a:gd name="connsiteX9" fmla="*/ 19100 w 19100"/>
                  <a:gd name="connsiteY9" fmla="*/ 79941 h 9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00" h="90726">
                    <a:moveTo>
                      <a:pt x="19073" y="79941"/>
                    </a:moveTo>
                    <a:lnTo>
                      <a:pt x="18442" y="90726"/>
                    </a:lnTo>
                    <a:lnTo>
                      <a:pt x="1674" y="36060"/>
                    </a:lnTo>
                    <a:lnTo>
                      <a:pt x="0" y="28650"/>
                    </a:lnTo>
                    <a:lnTo>
                      <a:pt x="2333" y="15341"/>
                    </a:lnTo>
                    <a:lnTo>
                      <a:pt x="329" y="4199"/>
                    </a:lnTo>
                    <a:lnTo>
                      <a:pt x="2579" y="0"/>
                    </a:lnTo>
                    <a:lnTo>
                      <a:pt x="10840" y="11060"/>
                    </a:lnTo>
                    <a:lnTo>
                      <a:pt x="12624" y="36060"/>
                    </a:lnTo>
                    <a:lnTo>
                      <a:pt x="19100" y="799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6" name="Freeform: Shape 3955">
                <a:extLst>
                  <a:ext uri="{FF2B5EF4-FFF2-40B4-BE49-F238E27FC236}">
                    <a16:creationId xmlns:a16="http://schemas.microsoft.com/office/drawing/2014/main" id="{4CB1146E-932E-BCBF-1A01-7AFC8F744DB2}"/>
                  </a:ext>
                </a:extLst>
              </p:cNvPr>
              <p:cNvSpPr/>
              <p:nvPr/>
            </p:nvSpPr>
            <p:spPr>
              <a:xfrm>
                <a:off x="1306070" y="3443427"/>
                <a:ext cx="1697" cy="6835"/>
              </a:xfrm>
              <a:custGeom>
                <a:avLst/>
                <a:gdLst>
                  <a:gd name="connsiteX0" fmla="*/ 4034 w 16273"/>
                  <a:gd name="connsiteY0" fmla="*/ 192 h 65533"/>
                  <a:gd name="connsiteX1" fmla="*/ 6559 w 16273"/>
                  <a:gd name="connsiteY1" fmla="*/ 10620 h 65533"/>
                  <a:gd name="connsiteX2" fmla="*/ 8507 w 16273"/>
                  <a:gd name="connsiteY2" fmla="*/ 6312 h 65533"/>
                  <a:gd name="connsiteX3" fmla="*/ 11745 w 16273"/>
                  <a:gd name="connsiteY3" fmla="*/ 13255 h 65533"/>
                  <a:gd name="connsiteX4" fmla="*/ 11691 w 16273"/>
                  <a:gd name="connsiteY4" fmla="*/ 18195 h 65533"/>
                  <a:gd name="connsiteX5" fmla="*/ 9166 w 16273"/>
                  <a:gd name="connsiteY5" fmla="*/ 21762 h 65533"/>
                  <a:gd name="connsiteX6" fmla="*/ 8260 w 16273"/>
                  <a:gd name="connsiteY6" fmla="*/ 32520 h 65533"/>
                  <a:gd name="connsiteX7" fmla="*/ 9824 w 16273"/>
                  <a:gd name="connsiteY7" fmla="*/ 35758 h 65533"/>
                  <a:gd name="connsiteX8" fmla="*/ 12185 w 16273"/>
                  <a:gd name="connsiteY8" fmla="*/ 25687 h 65533"/>
                  <a:gd name="connsiteX9" fmla="*/ 13639 w 16273"/>
                  <a:gd name="connsiteY9" fmla="*/ 41549 h 65533"/>
                  <a:gd name="connsiteX10" fmla="*/ 16273 w 16273"/>
                  <a:gd name="connsiteY10" fmla="*/ 40753 h 65533"/>
                  <a:gd name="connsiteX11" fmla="*/ 15341 w 16273"/>
                  <a:gd name="connsiteY11" fmla="*/ 50440 h 65533"/>
                  <a:gd name="connsiteX12" fmla="*/ 16246 w 16273"/>
                  <a:gd name="connsiteY12" fmla="*/ 63448 h 65533"/>
                  <a:gd name="connsiteX13" fmla="*/ 14929 w 16273"/>
                  <a:gd name="connsiteY13" fmla="*/ 65534 h 65533"/>
                  <a:gd name="connsiteX14" fmla="*/ 12624 w 16273"/>
                  <a:gd name="connsiteY14" fmla="*/ 57356 h 65533"/>
                  <a:gd name="connsiteX15" fmla="*/ 11553 w 16273"/>
                  <a:gd name="connsiteY15" fmla="*/ 62735 h 65533"/>
                  <a:gd name="connsiteX16" fmla="*/ 8919 w 16273"/>
                  <a:gd name="connsiteY16" fmla="*/ 60237 h 65533"/>
                  <a:gd name="connsiteX17" fmla="*/ 10181 w 16273"/>
                  <a:gd name="connsiteY17" fmla="*/ 45006 h 65533"/>
                  <a:gd name="connsiteX18" fmla="*/ 6559 w 16273"/>
                  <a:gd name="connsiteY18" fmla="*/ 41219 h 65533"/>
                  <a:gd name="connsiteX19" fmla="*/ 6559 w 16273"/>
                  <a:gd name="connsiteY19" fmla="*/ 22805 h 65533"/>
                  <a:gd name="connsiteX20" fmla="*/ 2607 w 16273"/>
                  <a:gd name="connsiteY20" fmla="*/ 19978 h 65533"/>
                  <a:gd name="connsiteX21" fmla="*/ 0 w 16273"/>
                  <a:gd name="connsiteY21" fmla="*/ 0 h 65533"/>
                  <a:gd name="connsiteX22" fmla="*/ 4034 w 16273"/>
                  <a:gd name="connsiteY22" fmla="*/ 165 h 6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273" h="65533">
                    <a:moveTo>
                      <a:pt x="4034" y="192"/>
                    </a:moveTo>
                    <a:lnTo>
                      <a:pt x="6559" y="10620"/>
                    </a:lnTo>
                    <a:lnTo>
                      <a:pt x="8507" y="6312"/>
                    </a:lnTo>
                    <a:lnTo>
                      <a:pt x="11745" y="13255"/>
                    </a:lnTo>
                    <a:lnTo>
                      <a:pt x="11691" y="18195"/>
                    </a:lnTo>
                    <a:lnTo>
                      <a:pt x="9166" y="21762"/>
                    </a:lnTo>
                    <a:lnTo>
                      <a:pt x="8260" y="32520"/>
                    </a:lnTo>
                    <a:lnTo>
                      <a:pt x="9824" y="35758"/>
                    </a:lnTo>
                    <a:lnTo>
                      <a:pt x="12185" y="25687"/>
                    </a:lnTo>
                    <a:lnTo>
                      <a:pt x="13639" y="41549"/>
                    </a:lnTo>
                    <a:lnTo>
                      <a:pt x="16273" y="40753"/>
                    </a:lnTo>
                    <a:lnTo>
                      <a:pt x="15341" y="50440"/>
                    </a:lnTo>
                    <a:lnTo>
                      <a:pt x="16246" y="63448"/>
                    </a:lnTo>
                    <a:lnTo>
                      <a:pt x="14929" y="65534"/>
                    </a:lnTo>
                    <a:lnTo>
                      <a:pt x="12624" y="57356"/>
                    </a:lnTo>
                    <a:lnTo>
                      <a:pt x="11553" y="62735"/>
                    </a:lnTo>
                    <a:lnTo>
                      <a:pt x="8919" y="60237"/>
                    </a:lnTo>
                    <a:lnTo>
                      <a:pt x="10181" y="45006"/>
                    </a:lnTo>
                    <a:lnTo>
                      <a:pt x="6559" y="41219"/>
                    </a:lnTo>
                    <a:lnTo>
                      <a:pt x="6559" y="22805"/>
                    </a:lnTo>
                    <a:lnTo>
                      <a:pt x="2607" y="19978"/>
                    </a:lnTo>
                    <a:lnTo>
                      <a:pt x="0" y="0"/>
                    </a:lnTo>
                    <a:lnTo>
                      <a:pt x="4034" y="1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7" name="Freeform: Shape 3956">
                <a:extLst>
                  <a:ext uri="{FF2B5EF4-FFF2-40B4-BE49-F238E27FC236}">
                    <a16:creationId xmlns:a16="http://schemas.microsoft.com/office/drawing/2014/main" id="{5273B293-28F9-904D-685B-504295837625}"/>
                  </a:ext>
                </a:extLst>
              </p:cNvPr>
              <p:cNvSpPr/>
              <p:nvPr/>
            </p:nvSpPr>
            <p:spPr>
              <a:xfrm>
                <a:off x="1207880" y="3540228"/>
                <a:ext cx="1818" cy="3174"/>
              </a:xfrm>
              <a:custGeom>
                <a:avLst/>
                <a:gdLst>
                  <a:gd name="connsiteX0" fmla="*/ 17152 w 17426"/>
                  <a:gd name="connsiteY0" fmla="*/ 2744 h 30434"/>
                  <a:gd name="connsiteX1" fmla="*/ 17426 w 17426"/>
                  <a:gd name="connsiteY1" fmla="*/ 5598 h 30434"/>
                  <a:gd name="connsiteX2" fmla="*/ 11801 w 17426"/>
                  <a:gd name="connsiteY2" fmla="*/ 16191 h 30434"/>
                  <a:gd name="connsiteX3" fmla="*/ 9633 w 17426"/>
                  <a:gd name="connsiteY3" fmla="*/ 30297 h 30434"/>
                  <a:gd name="connsiteX4" fmla="*/ 2799 w 17426"/>
                  <a:gd name="connsiteY4" fmla="*/ 30434 h 30434"/>
                  <a:gd name="connsiteX5" fmla="*/ 0 w 17426"/>
                  <a:gd name="connsiteY5" fmla="*/ 16246 h 30434"/>
                  <a:gd name="connsiteX6" fmla="*/ 5489 w 17426"/>
                  <a:gd name="connsiteY6" fmla="*/ 7986 h 30434"/>
                  <a:gd name="connsiteX7" fmla="*/ 5489 w 17426"/>
                  <a:gd name="connsiteY7" fmla="*/ 3952 h 30434"/>
                  <a:gd name="connsiteX8" fmla="*/ 1948 w 17426"/>
                  <a:gd name="connsiteY8" fmla="*/ 5461 h 30434"/>
                  <a:gd name="connsiteX9" fmla="*/ 823 w 17426"/>
                  <a:gd name="connsiteY9" fmla="*/ 2223 h 30434"/>
                  <a:gd name="connsiteX10" fmla="*/ 2882 w 17426"/>
                  <a:gd name="connsiteY10" fmla="*/ 0 h 30434"/>
                  <a:gd name="connsiteX11" fmla="*/ 17179 w 17426"/>
                  <a:gd name="connsiteY11" fmla="*/ 2772 h 3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26" h="30434">
                    <a:moveTo>
                      <a:pt x="17152" y="2744"/>
                    </a:moveTo>
                    <a:lnTo>
                      <a:pt x="17426" y="5598"/>
                    </a:lnTo>
                    <a:lnTo>
                      <a:pt x="11801" y="16191"/>
                    </a:lnTo>
                    <a:lnTo>
                      <a:pt x="9633" y="30297"/>
                    </a:lnTo>
                    <a:lnTo>
                      <a:pt x="2799" y="30434"/>
                    </a:lnTo>
                    <a:lnTo>
                      <a:pt x="0" y="16246"/>
                    </a:lnTo>
                    <a:lnTo>
                      <a:pt x="5489" y="7986"/>
                    </a:lnTo>
                    <a:lnTo>
                      <a:pt x="5489" y="3952"/>
                    </a:lnTo>
                    <a:lnTo>
                      <a:pt x="1948" y="5461"/>
                    </a:lnTo>
                    <a:lnTo>
                      <a:pt x="823" y="2223"/>
                    </a:lnTo>
                    <a:lnTo>
                      <a:pt x="2882" y="0"/>
                    </a:lnTo>
                    <a:lnTo>
                      <a:pt x="17179"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8" name="Freeform: Shape 3957">
                <a:extLst>
                  <a:ext uri="{FF2B5EF4-FFF2-40B4-BE49-F238E27FC236}">
                    <a16:creationId xmlns:a16="http://schemas.microsoft.com/office/drawing/2014/main" id="{86FEC3A6-BAEC-66DD-149F-466AD04B2975}"/>
                  </a:ext>
                </a:extLst>
              </p:cNvPr>
              <p:cNvSpPr/>
              <p:nvPr/>
            </p:nvSpPr>
            <p:spPr>
              <a:xfrm>
                <a:off x="1309877" y="3450634"/>
                <a:ext cx="2009" cy="3730"/>
              </a:xfrm>
              <a:custGeom>
                <a:avLst/>
                <a:gdLst>
                  <a:gd name="connsiteX0" fmla="*/ 11801 w 19265"/>
                  <a:gd name="connsiteY0" fmla="*/ 32877 h 35758"/>
                  <a:gd name="connsiteX1" fmla="*/ 5873 w 19265"/>
                  <a:gd name="connsiteY1" fmla="*/ 35758 h 35758"/>
                  <a:gd name="connsiteX2" fmla="*/ 1482 w 19265"/>
                  <a:gd name="connsiteY2" fmla="*/ 35209 h 35758"/>
                  <a:gd name="connsiteX3" fmla="*/ 0 w 19265"/>
                  <a:gd name="connsiteY3" fmla="*/ 32053 h 35758"/>
                  <a:gd name="connsiteX4" fmla="*/ 3074 w 19265"/>
                  <a:gd name="connsiteY4" fmla="*/ 19539 h 35758"/>
                  <a:gd name="connsiteX5" fmla="*/ 7657 w 19265"/>
                  <a:gd name="connsiteY5" fmla="*/ 13282 h 35758"/>
                  <a:gd name="connsiteX6" fmla="*/ 7849 w 19265"/>
                  <a:gd name="connsiteY6" fmla="*/ 3046 h 35758"/>
                  <a:gd name="connsiteX7" fmla="*/ 9825 w 19265"/>
                  <a:gd name="connsiteY7" fmla="*/ 0 h 35758"/>
                  <a:gd name="connsiteX8" fmla="*/ 16191 w 19265"/>
                  <a:gd name="connsiteY8" fmla="*/ 0 h 35758"/>
                  <a:gd name="connsiteX9" fmla="*/ 19265 w 19265"/>
                  <a:gd name="connsiteY9" fmla="*/ 8864 h 35758"/>
                  <a:gd name="connsiteX10" fmla="*/ 15066 w 19265"/>
                  <a:gd name="connsiteY10" fmla="*/ 19018 h 35758"/>
                  <a:gd name="connsiteX11" fmla="*/ 14627 w 19265"/>
                  <a:gd name="connsiteY11" fmla="*/ 27470 h 35758"/>
                  <a:gd name="connsiteX12" fmla="*/ 11746 w 19265"/>
                  <a:gd name="connsiteY12" fmla="*/ 32877 h 3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265" h="35758">
                    <a:moveTo>
                      <a:pt x="11801" y="32877"/>
                    </a:moveTo>
                    <a:lnTo>
                      <a:pt x="5873" y="35758"/>
                    </a:lnTo>
                    <a:lnTo>
                      <a:pt x="1482" y="35209"/>
                    </a:lnTo>
                    <a:lnTo>
                      <a:pt x="0" y="32053"/>
                    </a:lnTo>
                    <a:lnTo>
                      <a:pt x="3074" y="19539"/>
                    </a:lnTo>
                    <a:lnTo>
                      <a:pt x="7657" y="13282"/>
                    </a:lnTo>
                    <a:lnTo>
                      <a:pt x="7849" y="3046"/>
                    </a:lnTo>
                    <a:lnTo>
                      <a:pt x="9825" y="0"/>
                    </a:lnTo>
                    <a:lnTo>
                      <a:pt x="16191" y="0"/>
                    </a:lnTo>
                    <a:cubicBezTo>
                      <a:pt x="16191" y="0"/>
                      <a:pt x="19265" y="8864"/>
                      <a:pt x="19265" y="8864"/>
                    </a:cubicBezTo>
                    <a:lnTo>
                      <a:pt x="15066" y="19018"/>
                    </a:lnTo>
                    <a:lnTo>
                      <a:pt x="14627" y="27470"/>
                    </a:lnTo>
                    <a:lnTo>
                      <a:pt x="11746" y="328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59" name="Freeform: Shape 3958">
                <a:extLst>
                  <a:ext uri="{FF2B5EF4-FFF2-40B4-BE49-F238E27FC236}">
                    <a16:creationId xmlns:a16="http://schemas.microsoft.com/office/drawing/2014/main" id="{63CA2D31-D474-AC87-DFEE-E10848E5F4CC}"/>
                  </a:ext>
                </a:extLst>
              </p:cNvPr>
              <p:cNvSpPr/>
              <p:nvPr/>
            </p:nvSpPr>
            <p:spPr>
              <a:xfrm>
                <a:off x="1199734" y="3527356"/>
                <a:ext cx="1815" cy="2602"/>
              </a:xfrm>
              <a:custGeom>
                <a:avLst/>
                <a:gdLst>
                  <a:gd name="connsiteX0" fmla="*/ 17069 w 17398"/>
                  <a:gd name="connsiteY0" fmla="*/ 21488 h 24945"/>
                  <a:gd name="connsiteX1" fmla="*/ 12486 w 17398"/>
                  <a:gd name="connsiteY1" fmla="*/ 24946 h 24945"/>
                  <a:gd name="connsiteX2" fmla="*/ 8864 w 17398"/>
                  <a:gd name="connsiteY2" fmla="*/ 24781 h 24945"/>
                  <a:gd name="connsiteX3" fmla="*/ 796 w 17398"/>
                  <a:gd name="connsiteY3" fmla="*/ 18140 h 24945"/>
                  <a:gd name="connsiteX4" fmla="*/ 0 w 17398"/>
                  <a:gd name="connsiteY4" fmla="*/ 16191 h 24945"/>
                  <a:gd name="connsiteX5" fmla="*/ 1290 w 17398"/>
                  <a:gd name="connsiteY5" fmla="*/ 12267 h 24945"/>
                  <a:gd name="connsiteX6" fmla="*/ 5681 w 17398"/>
                  <a:gd name="connsiteY6" fmla="*/ 4583 h 24945"/>
                  <a:gd name="connsiteX7" fmla="*/ 11197 w 17398"/>
                  <a:gd name="connsiteY7" fmla="*/ 0 h 24945"/>
                  <a:gd name="connsiteX8" fmla="*/ 17399 w 17398"/>
                  <a:gd name="connsiteY8" fmla="*/ 16658 h 24945"/>
                  <a:gd name="connsiteX9" fmla="*/ 17069 w 17398"/>
                  <a:gd name="connsiteY9" fmla="*/ 21460 h 2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8" h="24945">
                    <a:moveTo>
                      <a:pt x="17069" y="21488"/>
                    </a:moveTo>
                    <a:lnTo>
                      <a:pt x="12486" y="24946"/>
                    </a:lnTo>
                    <a:lnTo>
                      <a:pt x="8864" y="24781"/>
                    </a:lnTo>
                    <a:lnTo>
                      <a:pt x="796" y="18140"/>
                    </a:lnTo>
                    <a:lnTo>
                      <a:pt x="0" y="16191"/>
                    </a:lnTo>
                    <a:lnTo>
                      <a:pt x="1290" y="12267"/>
                    </a:lnTo>
                    <a:lnTo>
                      <a:pt x="5681" y="4583"/>
                    </a:lnTo>
                    <a:lnTo>
                      <a:pt x="11197" y="0"/>
                    </a:lnTo>
                    <a:lnTo>
                      <a:pt x="17399" y="16658"/>
                    </a:lnTo>
                    <a:lnTo>
                      <a:pt x="17069" y="214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0" name="Freeform: Shape 3959">
                <a:extLst>
                  <a:ext uri="{FF2B5EF4-FFF2-40B4-BE49-F238E27FC236}">
                    <a16:creationId xmlns:a16="http://schemas.microsoft.com/office/drawing/2014/main" id="{26CACE1B-05CF-7662-BDCC-19D8825203AB}"/>
                  </a:ext>
                </a:extLst>
              </p:cNvPr>
              <p:cNvSpPr/>
              <p:nvPr/>
            </p:nvSpPr>
            <p:spPr>
              <a:xfrm>
                <a:off x="1191339" y="3500410"/>
                <a:ext cx="2270" cy="2293"/>
              </a:xfrm>
              <a:custGeom>
                <a:avLst/>
                <a:gdLst>
                  <a:gd name="connsiteX0" fmla="*/ 21598 w 21762"/>
                  <a:gd name="connsiteY0" fmla="*/ 8096 h 21981"/>
                  <a:gd name="connsiteX1" fmla="*/ 21762 w 21762"/>
                  <a:gd name="connsiteY1" fmla="*/ 11663 h 21981"/>
                  <a:gd name="connsiteX2" fmla="*/ 19677 w 21762"/>
                  <a:gd name="connsiteY2" fmla="*/ 15505 h 21981"/>
                  <a:gd name="connsiteX3" fmla="*/ 16301 w 21762"/>
                  <a:gd name="connsiteY3" fmla="*/ 12706 h 21981"/>
                  <a:gd name="connsiteX4" fmla="*/ 14764 w 21762"/>
                  <a:gd name="connsiteY4" fmla="*/ 21982 h 21981"/>
                  <a:gd name="connsiteX5" fmla="*/ 10758 w 21762"/>
                  <a:gd name="connsiteY5" fmla="*/ 10044 h 21981"/>
                  <a:gd name="connsiteX6" fmla="*/ 878 w 21762"/>
                  <a:gd name="connsiteY6" fmla="*/ 14380 h 21981"/>
                  <a:gd name="connsiteX7" fmla="*/ 0 w 21762"/>
                  <a:gd name="connsiteY7" fmla="*/ 12048 h 21981"/>
                  <a:gd name="connsiteX8" fmla="*/ 3293 w 21762"/>
                  <a:gd name="connsiteY8" fmla="*/ 0 h 21981"/>
                  <a:gd name="connsiteX9" fmla="*/ 14764 w 21762"/>
                  <a:gd name="connsiteY9" fmla="*/ 4583 h 21981"/>
                  <a:gd name="connsiteX10" fmla="*/ 21598 w 21762"/>
                  <a:gd name="connsiteY10" fmla="*/ 8068 h 2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762" h="21981">
                    <a:moveTo>
                      <a:pt x="21598" y="8096"/>
                    </a:moveTo>
                    <a:lnTo>
                      <a:pt x="21762" y="11663"/>
                    </a:lnTo>
                    <a:lnTo>
                      <a:pt x="19677" y="15505"/>
                    </a:lnTo>
                    <a:lnTo>
                      <a:pt x="16301" y="12706"/>
                    </a:lnTo>
                    <a:lnTo>
                      <a:pt x="14764" y="21982"/>
                    </a:lnTo>
                    <a:lnTo>
                      <a:pt x="10758" y="10044"/>
                    </a:lnTo>
                    <a:lnTo>
                      <a:pt x="878" y="14380"/>
                    </a:lnTo>
                    <a:lnTo>
                      <a:pt x="0" y="12048"/>
                    </a:lnTo>
                    <a:lnTo>
                      <a:pt x="3293" y="0"/>
                    </a:lnTo>
                    <a:lnTo>
                      <a:pt x="14764" y="4583"/>
                    </a:lnTo>
                    <a:lnTo>
                      <a:pt x="21598" y="80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1" name="Freeform: Shape 3960">
                <a:extLst>
                  <a:ext uri="{FF2B5EF4-FFF2-40B4-BE49-F238E27FC236}">
                    <a16:creationId xmlns:a16="http://schemas.microsoft.com/office/drawing/2014/main" id="{A27E34DA-97C1-1E1B-9750-D5EDFFF5B99B}"/>
                  </a:ext>
                </a:extLst>
              </p:cNvPr>
              <p:cNvSpPr/>
              <p:nvPr/>
            </p:nvSpPr>
            <p:spPr>
              <a:xfrm>
                <a:off x="1143026" y="3456362"/>
                <a:ext cx="3186" cy="2035"/>
              </a:xfrm>
              <a:custGeom>
                <a:avLst/>
                <a:gdLst>
                  <a:gd name="connsiteX0" fmla="*/ 30215 w 30544"/>
                  <a:gd name="connsiteY0" fmla="*/ 15642 h 19511"/>
                  <a:gd name="connsiteX1" fmla="*/ 23820 w 30544"/>
                  <a:gd name="connsiteY1" fmla="*/ 19512 h 19511"/>
                  <a:gd name="connsiteX2" fmla="*/ 12130 w 30544"/>
                  <a:gd name="connsiteY2" fmla="*/ 19402 h 19511"/>
                  <a:gd name="connsiteX3" fmla="*/ 9715 w 30544"/>
                  <a:gd name="connsiteY3" fmla="*/ 13557 h 19511"/>
                  <a:gd name="connsiteX4" fmla="*/ 1262 w 30544"/>
                  <a:gd name="connsiteY4" fmla="*/ 10922 h 19511"/>
                  <a:gd name="connsiteX5" fmla="*/ 0 w 30544"/>
                  <a:gd name="connsiteY5" fmla="*/ 7519 h 19511"/>
                  <a:gd name="connsiteX6" fmla="*/ 1619 w 30544"/>
                  <a:gd name="connsiteY6" fmla="*/ 3156 h 19511"/>
                  <a:gd name="connsiteX7" fmla="*/ 8699 w 30544"/>
                  <a:gd name="connsiteY7" fmla="*/ 0 h 19511"/>
                  <a:gd name="connsiteX8" fmla="*/ 11389 w 30544"/>
                  <a:gd name="connsiteY8" fmla="*/ 1839 h 19511"/>
                  <a:gd name="connsiteX9" fmla="*/ 18524 w 30544"/>
                  <a:gd name="connsiteY9" fmla="*/ 2552 h 19511"/>
                  <a:gd name="connsiteX10" fmla="*/ 19155 w 30544"/>
                  <a:gd name="connsiteY10" fmla="*/ 4610 h 19511"/>
                  <a:gd name="connsiteX11" fmla="*/ 26318 w 30544"/>
                  <a:gd name="connsiteY11" fmla="*/ 6147 h 19511"/>
                  <a:gd name="connsiteX12" fmla="*/ 30544 w 30544"/>
                  <a:gd name="connsiteY12" fmla="*/ 9358 h 19511"/>
                  <a:gd name="connsiteX13" fmla="*/ 30215 w 30544"/>
                  <a:gd name="connsiteY13" fmla="*/ 15697 h 1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44" h="19511">
                    <a:moveTo>
                      <a:pt x="30215" y="15642"/>
                    </a:moveTo>
                    <a:lnTo>
                      <a:pt x="23820" y="19512"/>
                    </a:lnTo>
                    <a:lnTo>
                      <a:pt x="12130" y="19402"/>
                    </a:lnTo>
                    <a:lnTo>
                      <a:pt x="9715" y="13557"/>
                    </a:lnTo>
                    <a:lnTo>
                      <a:pt x="1262" y="10922"/>
                    </a:lnTo>
                    <a:lnTo>
                      <a:pt x="0" y="7519"/>
                    </a:lnTo>
                    <a:lnTo>
                      <a:pt x="1619" y="3156"/>
                    </a:lnTo>
                    <a:lnTo>
                      <a:pt x="8699" y="0"/>
                    </a:lnTo>
                    <a:lnTo>
                      <a:pt x="11389" y="1839"/>
                    </a:lnTo>
                    <a:lnTo>
                      <a:pt x="18524" y="2552"/>
                    </a:lnTo>
                    <a:lnTo>
                      <a:pt x="19155" y="4610"/>
                    </a:lnTo>
                    <a:lnTo>
                      <a:pt x="26318" y="6147"/>
                    </a:lnTo>
                    <a:lnTo>
                      <a:pt x="30544" y="9358"/>
                    </a:lnTo>
                    <a:lnTo>
                      <a:pt x="30215" y="156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2" name="Freeform: Shape 3961">
                <a:extLst>
                  <a:ext uri="{FF2B5EF4-FFF2-40B4-BE49-F238E27FC236}">
                    <a16:creationId xmlns:a16="http://schemas.microsoft.com/office/drawing/2014/main" id="{74564D93-41EE-E2D3-5155-7ECE52321A4E}"/>
                  </a:ext>
                </a:extLst>
              </p:cNvPr>
              <p:cNvSpPr/>
              <p:nvPr/>
            </p:nvSpPr>
            <p:spPr>
              <a:xfrm>
                <a:off x="1309794" y="3430146"/>
                <a:ext cx="1694" cy="3924"/>
              </a:xfrm>
              <a:custGeom>
                <a:avLst/>
                <a:gdLst>
                  <a:gd name="connsiteX0" fmla="*/ 14325 w 16246"/>
                  <a:gd name="connsiteY0" fmla="*/ 23766 h 37624"/>
                  <a:gd name="connsiteX1" fmla="*/ 10264 w 16246"/>
                  <a:gd name="connsiteY1" fmla="*/ 26976 h 37624"/>
                  <a:gd name="connsiteX2" fmla="*/ 7519 w 16246"/>
                  <a:gd name="connsiteY2" fmla="*/ 25549 h 37624"/>
                  <a:gd name="connsiteX3" fmla="*/ 6175 w 16246"/>
                  <a:gd name="connsiteY3" fmla="*/ 32987 h 37624"/>
                  <a:gd name="connsiteX4" fmla="*/ 1811 w 16246"/>
                  <a:gd name="connsiteY4" fmla="*/ 37624 h 37624"/>
                  <a:gd name="connsiteX5" fmla="*/ 0 w 16246"/>
                  <a:gd name="connsiteY5" fmla="*/ 26784 h 37624"/>
                  <a:gd name="connsiteX6" fmla="*/ 7739 w 16246"/>
                  <a:gd name="connsiteY6" fmla="*/ 3238 h 37624"/>
                  <a:gd name="connsiteX7" fmla="*/ 10126 w 16246"/>
                  <a:gd name="connsiteY7" fmla="*/ 0 h 37624"/>
                  <a:gd name="connsiteX8" fmla="*/ 16246 w 16246"/>
                  <a:gd name="connsiteY8" fmla="*/ 10264 h 37624"/>
                  <a:gd name="connsiteX9" fmla="*/ 14353 w 16246"/>
                  <a:gd name="connsiteY9" fmla="*/ 23738 h 3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46" h="37624">
                    <a:moveTo>
                      <a:pt x="14325" y="23766"/>
                    </a:moveTo>
                    <a:lnTo>
                      <a:pt x="10264" y="26976"/>
                    </a:lnTo>
                    <a:lnTo>
                      <a:pt x="7519" y="25549"/>
                    </a:lnTo>
                    <a:lnTo>
                      <a:pt x="6175" y="32987"/>
                    </a:lnTo>
                    <a:lnTo>
                      <a:pt x="1811" y="37624"/>
                    </a:lnTo>
                    <a:lnTo>
                      <a:pt x="0" y="26784"/>
                    </a:lnTo>
                    <a:lnTo>
                      <a:pt x="7739" y="3238"/>
                    </a:lnTo>
                    <a:lnTo>
                      <a:pt x="10126" y="0"/>
                    </a:lnTo>
                    <a:lnTo>
                      <a:pt x="16246" y="10264"/>
                    </a:lnTo>
                    <a:lnTo>
                      <a:pt x="14353" y="237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3" name="Freeform: Shape 3962">
                <a:extLst>
                  <a:ext uri="{FF2B5EF4-FFF2-40B4-BE49-F238E27FC236}">
                    <a16:creationId xmlns:a16="http://schemas.microsoft.com/office/drawing/2014/main" id="{CA746AAE-545B-66F1-77FB-0A933977ACE8}"/>
                  </a:ext>
                </a:extLst>
              </p:cNvPr>
              <p:cNvSpPr/>
              <p:nvPr/>
            </p:nvSpPr>
            <p:spPr>
              <a:xfrm>
                <a:off x="1147050" y="3456141"/>
                <a:ext cx="2519" cy="1348"/>
              </a:xfrm>
              <a:custGeom>
                <a:avLst/>
                <a:gdLst>
                  <a:gd name="connsiteX0" fmla="*/ 24122 w 24149"/>
                  <a:gd name="connsiteY0" fmla="*/ 10758 h 12925"/>
                  <a:gd name="connsiteX1" fmla="*/ 2662 w 24149"/>
                  <a:gd name="connsiteY1" fmla="*/ 12926 h 12925"/>
                  <a:gd name="connsiteX2" fmla="*/ 0 w 24149"/>
                  <a:gd name="connsiteY2" fmla="*/ 4720 h 12925"/>
                  <a:gd name="connsiteX3" fmla="*/ 2251 w 24149"/>
                  <a:gd name="connsiteY3" fmla="*/ 0 h 12925"/>
                  <a:gd name="connsiteX4" fmla="*/ 13776 w 24149"/>
                  <a:gd name="connsiteY4" fmla="*/ 659 h 12925"/>
                  <a:gd name="connsiteX5" fmla="*/ 23821 w 24149"/>
                  <a:gd name="connsiteY5" fmla="*/ 5434 h 12925"/>
                  <a:gd name="connsiteX6" fmla="*/ 24150 w 24149"/>
                  <a:gd name="connsiteY6" fmla="*/ 10758 h 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9" h="12925">
                    <a:moveTo>
                      <a:pt x="24122" y="10758"/>
                    </a:moveTo>
                    <a:lnTo>
                      <a:pt x="2662" y="12926"/>
                    </a:lnTo>
                    <a:lnTo>
                      <a:pt x="0" y="4720"/>
                    </a:lnTo>
                    <a:lnTo>
                      <a:pt x="2251" y="0"/>
                    </a:lnTo>
                    <a:lnTo>
                      <a:pt x="13776" y="659"/>
                    </a:lnTo>
                    <a:lnTo>
                      <a:pt x="23821" y="5434"/>
                    </a:lnTo>
                    <a:lnTo>
                      <a:pt x="24150" y="107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4" name="Freeform: Shape 3963">
                <a:extLst>
                  <a:ext uri="{FF2B5EF4-FFF2-40B4-BE49-F238E27FC236}">
                    <a16:creationId xmlns:a16="http://schemas.microsoft.com/office/drawing/2014/main" id="{A0357FF5-D801-E9C0-784D-2BC07AFB353C}"/>
                  </a:ext>
                </a:extLst>
              </p:cNvPr>
              <p:cNvSpPr/>
              <p:nvPr/>
            </p:nvSpPr>
            <p:spPr>
              <a:xfrm>
                <a:off x="1309095" y="3434886"/>
                <a:ext cx="1068" cy="3498"/>
              </a:xfrm>
              <a:custGeom>
                <a:avLst/>
                <a:gdLst>
                  <a:gd name="connsiteX0" fmla="*/ 10236 w 10236"/>
                  <a:gd name="connsiteY0" fmla="*/ 220 h 33535"/>
                  <a:gd name="connsiteX1" fmla="*/ 9962 w 10236"/>
                  <a:gd name="connsiteY1" fmla="*/ 14325 h 33535"/>
                  <a:gd name="connsiteX2" fmla="*/ 7108 w 10236"/>
                  <a:gd name="connsiteY2" fmla="*/ 16877 h 33535"/>
                  <a:gd name="connsiteX3" fmla="*/ 7547 w 10236"/>
                  <a:gd name="connsiteY3" fmla="*/ 25001 h 33535"/>
                  <a:gd name="connsiteX4" fmla="*/ 3595 w 10236"/>
                  <a:gd name="connsiteY4" fmla="*/ 25110 h 33535"/>
                  <a:gd name="connsiteX5" fmla="*/ 2058 w 10236"/>
                  <a:gd name="connsiteY5" fmla="*/ 33535 h 33535"/>
                  <a:gd name="connsiteX6" fmla="*/ 576 w 10236"/>
                  <a:gd name="connsiteY6" fmla="*/ 32438 h 33535"/>
                  <a:gd name="connsiteX7" fmla="*/ 1125 w 10236"/>
                  <a:gd name="connsiteY7" fmla="*/ 21351 h 33535"/>
                  <a:gd name="connsiteX8" fmla="*/ 0 w 10236"/>
                  <a:gd name="connsiteY8" fmla="*/ 18990 h 33535"/>
                  <a:gd name="connsiteX9" fmla="*/ 1290 w 10236"/>
                  <a:gd name="connsiteY9" fmla="*/ 13118 h 33535"/>
                  <a:gd name="connsiteX10" fmla="*/ 4418 w 10236"/>
                  <a:gd name="connsiteY10" fmla="*/ 10126 h 33535"/>
                  <a:gd name="connsiteX11" fmla="*/ 6230 w 10236"/>
                  <a:gd name="connsiteY11" fmla="*/ 13447 h 33535"/>
                  <a:gd name="connsiteX12" fmla="*/ 8891 w 10236"/>
                  <a:gd name="connsiteY12" fmla="*/ 0 h 33535"/>
                  <a:gd name="connsiteX13" fmla="*/ 10209 w 10236"/>
                  <a:gd name="connsiteY13" fmla="*/ 220 h 3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36" h="33535">
                    <a:moveTo>
                      <a:pt x="10236" y="220"/>
                    </a:moveTo>
                    <a:lnTo>
                      <a:pt x="9962" y="14325"/>
                    </a:lnTo>
                    <a:lnTo>
                      <a:pt x="7108" y="16877"/>
                    </a:lnTo>
                    <a:lnTo>
                      <a:pt x="7547" y="25001"/>
                    </a:lnTo>
                    <a:lnTo>
                      <a:pt x="3595" y="25110"/>
                    </a:lnTo>
                    <a:lnTo>
                      <a:pt x="2058" y="33535"/>
                    </a:lnTo>
                    <a:lnTo>
                      <a:pt x="576" y="32438"/>
                    </a:lnTo>
                    <a:lnTo>
                      <a:pt x="1125" y="21351"/>
                    </a:lnTo>
                    <a:lnTo>
                      <a:pt x="0" y="18990"/>
                    </a:lnTo>
                    <a:lnTo>
                      <a:pt x="1290" y="13118"/>
                    </a:lnTo>
                    <a:lnTo>
                      <a:pt x="4418" y="10126"/>
                    </a:lnTo>
                    <a:lnTo>
                      <a:pt x="6230" y="13447"/>
                    </a:lnTo>
                    <a:lnTo>
                      <a:pt x="8891" y="0"/>
                    </a:lnTo>
                    <a:lnTo>
                      <a:pt x="10209" y="2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5" name="Freeform: Shape 3964">
                <a:extLst>
                  <a:ext uri="{FF2B5EF4-FFF2-40B4-BE49-F238E27FC236}">
                    <a16:creationId xmlns:a16="http://schemas.microsoft.com/office/drawing/2014/main" id="{3BC227A4-31E2-35E1-4F02-5D69D5EB4066}"/>
                  </a:ext>
                </a:extLst>
              </p:cNvPr>
              <p:cNvSpPr/>
              <p:nvPr/>
            </p:nvSpPr>
            <p:spPr>
              <a:xfrm>
                <a:off x="1205344" y="3530393"/>
                <a:ext cx="1448" cy="1231"/>
              </a:xfrm>
              <a:custGeom>
                <a:avLst/>
                <a:gdLst>
                  <a:gd name="connsiteX0" fmla="*/ 13886 w 13885"/>
                  <a:gd name="connsiteY0" fmla="*/ 9852 h 11800"/>
                  <a:gd name="connsiteX1" fmla="*/ 11746 w 13885"/>
                  <a:gd name="connsiteY1" fmla="*/ 11800 h 11800"/>
                  <a:gd name="connsiteX2" fmla="*/ 3870 w 13885"/>
                  <a:gd name="connsiteY2" fmla="*/ 10538 h 11800"/>
                  <a:gd name="connsiteX3" fmla="*/ 0 w 13885"/>
                  <a:gd name="connsiteY3" fmla="*/ 6916 h 11800"/>
                  <a:gd name="connsiteX4" fmla="*/ 1070 w 13885"/>
                  <a:gd name="connsiteY4" fmla="*/ 1482 h 11800"/>
                  <a:gd name="connsiteX5" fmla="*/ 4171 w 13885"/>
                  <a:gd name="connsiteY5" fmla="*/ 0 h 11800"/>
                  <a:gd name="connsiteX6" fmla="*/ 12980 w 13885"/>
                  <a:gd name="connsiteY6" fmla="*/ 5763 h 11800"/>
                  <a:gd name="connsiteX7" fmla="*/ 13859 w 13885"/>
                  <a:gd name="connsiteY7" fmla="*/ 9825 h 1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85" h="11800">
                    <a:moveTo>
                      <a:pt x="13886" y="9852"/>
                    </a:moveTo>
                    <a:lnTo>
                      <a:pt x="11746" y="11800"/>
                    </a:lnTo>
                    <a:lnTo>
                      <a:pt x="3870" y="10538"/>
                    </a:lnTo>
                    <a:lnTo>
                      <a:pt x="0" y="6916"/>
                    </a:lnTo>
                    <a:lnTo>
                      <a:pt x="1070" y="1482"/>
                    </a:lnTo>
                    <a:lnTo>
                      <a:pt x="4171" y="0"/>
                    </a:lnTo>
                    <a:lnTo>
                      <a:pt x="12980" y="5763"/>
                    </a:lnTo>
                    <a:lnTo>
                      <a:pt x="13859" y="98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6" name="Freeform: Shape 3965">
                <a:extLst>
                  <a:ext uri="{FF2B5EF4-FFF2-40B4-BE49-F238E27FC236}">
                    <a16:creationId xmlns:a16="http://schemas.microsoft.com/office/drawing/2014/main" id="{E8B907BB-9C9E-A114-C39B-46DFF008F5F0}"/>
                  </a:ext>
                </a:extLst>
              </p:cNvPr>
              <p:cNvSpPr/>
              <p:nvPr/>
            </p:nvSpPr>
            <p:spPr>
              <a:xfrm>
                <a:off x="1191960" y="3502920"/>
                <a:ext cx="916" cy="2006"/>
              </a:xfrm>
              <a:custGeom>
                <a:avLst/>
                <a:gdLst>
                  <a:gd name="connsiteX0" fmla="*/ 6586 w 8781"/>
                  <a:gd name="connsiteY0" fmla="*/ 11252 h 19237"/>
                  <a:gd name="connsiteX1" fmla="*/ 2278 w 8781"/>
                  <a:gd name="connsiteY1" fmla="*/ 19238 h 19237"/>
                  <a:gd name="connsiteX2" fmla="*/ 0 w 8781"/>
                  <a:gd name="connsiteY2" fmla="*/ 17591 h 19237"/>
                  <a:gd name="connsiteX3" fmla="*/ 659 w 8781"/>
                  <a:gd name="connsiteY3" fmla="*/ 11224 h 19237"/>
                  <a:gd name="connsiteX4" fmla="*/ 1455 w 8781"/>
                  <a:gd name="connsiteY4" fmla="*/ 0 h 19237"/>
                  <a:gd name="connsiteX5" fmla="*/ 8782 w 8781"/>
                  <a:gd name="connsiteY5" fmla="*/ 4775 h 19237"/>
                  <a:gd name="connsiteX6" fmla="*/ 8782 w 8781"/>
                  <a:gd name="connsiteY6" fmla="*/ 8809 h 19237"/>
                  <a:gd name="connsiteX7" fmla="*/ 6559 w 8781"/>
                  <a:gd name="connsiteY7" fmla="*/ 11224 h 1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1" h="19237">
                    <a:moveTo>
                      <a:pt x="6586" y="11252"/>
                    </a:moveTo>
                    <a:lnTo>
                      <a:pt x="2278" y="19238"/>
                    </a:lnTo>
                    <a:lnTo>
                      <a:pt x="0" y="17591"/>
                    </a:lnTo>
                    <a:lnTo>
                      <a:pt x="659" y="11224"/>
                    </a:lnTo>
                    <a:lnTo>
                      <a:pt x="1455" y="0"/>
                    </a:lnTo>
                    <a:lnTo>
                      <a:pt x="8782" y="4775"/>
                    </a:lnTo>
                    <a:lnTo>
                      <a:pt x="8782" y="8809"/>
                    </a:lnTo>
                    <a:lnTo>
                      <a:pt x="6559" y="112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7" name="Freeform: Shape 3966">
                <a:extLst>
                  <a:ext uri="{FF2B5EF4-FFF2-40B4-BE49-F238E27FC236}">
                    <a16:creationId xmlns:a16="http://schemas.microsoft.com/office/drawing/2014/main" id="{6DCD6359-476F-5D69-1C66-1C95158C276B}"/>
                  </a:ext>
                </a:extLst>
              </p:cNvPr>
              <p:cNvSpPr/>
              <p:nvPr/>
            </p:nvSpPr>
            <p:spPr>
              <a:xfrm>
                <a:off x="1196523" y="3534981"/>
                <a:ext cx="1088" cy="1090"/>
              </a:xfrm>
              <a:custGeom>
                <a:avLst/>
                <a:gdLst>
                  <a:gd name="connsiteX0" fmla="*/ 6175 w 10428"/>
                  <a:gd name="connsiteY0" fmla="*/ 10456 h 10455"/>
                  <a:gd name="connsiteX1" fmla="*/ 4007 w 10428"/>
                  <a:gd name="connsiteY1" fmla="*/ 10456 h 10455"/>
                  <a:gd name="connsiteX2" fmla="*/ 604 w 10428"/>
                  <a:gd name="connsiteY2" fmla="*/ 5763 h 10455"/>
                  <a:gd name="connsiteX3" fmla="*/ 0 w 10428"/>
                  <a:gd name="connsiteY3" fmla="*/ 2689 h 10455"/>
                  <a:gd name="connsiteX4" fmla="*/ 2058 w 10428"/>
                  <a:gd name="connsiteY4" fmla="*/ 0 h 10455"/>
                  <a:gd name="connsiteX5" fmla="*/ 9825 w 10428"/>
                  <a:gd name="connsiteY5" fmla="*/ 5489 h 10455"/>
                  <a:gd name="connsiteX6" fmla="*/ 10428 w 10428"/>
                  <a:gd name="connsiteY6" fmla="*/ 10017 h 10455"/>
                  <a:gd name="connsiteX7" fmla="*/ 6175 w 10428"/>
                  <a:gd name="connsiteY7" fmla="*/ 10456 h 1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28" h="10455">
                    <a:moveTo>
                      <a:pt x="6175" y="10456"/>
                    </a:moveTo>
                    <a:lnTo>
                      <a:pt x="4007" y="10456"/>
                    </a:lnTo>
                    <a:lnTo>
                      <a:pt x="604" y="5763"/>
                    </a:lnTo>
                    <a:lnTo>
                      <a:pt x="0" y="2689"/>
                    </a:lnTo>
                    <a:lnTo>
                      <a:pt x="2058" y="0"/>
                    </a:lnTo>
                    <a:lnTo>
                      <a:pt x="9825" y="5489"/>
                    </a:lnTo>
                    <a:lnTo>
                      <a:pt x="10428" y="10017"/>
                    </a:lnTo>
                    <a:lnTo>
                      <a:pt x="6175" y="104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8" name="Freeform: Shape 3967">
                <a:extLst>
                  <a:ext uri="{FF2B5EF4-FFF2-40B4-BE49-F238E27FC236}">
                    <a16:creationId xmlns:a16="http://schemas.microsoft.com/office/drawing/2014/main" id="{ACC1F7D1-4E83-B8C7-57D1-33D9C0E50B97}"/>
                  </a:ext>
                </a:extLst>
              </p:cNvPr>
              <p:cNvSpPr/>
              <p:nvPr/>
            </p:nvSpPr>
            <p:spPr>
              <a:xfrm>
                <a:off x="1193386" y="3507560"/>
                <a:ext cx="773" cy="1723"/>
              </a:xfrm>
              <a:custGeom>
                <a:avLst/>
                <a:gdLst>
                  <a:gd name="connsiteX0" fmla="*/ 7410 w 7409"/>
                  <a:gd name="connsiteY0" fmla="*/ 7410 h 16520"/>
                  <a:gd name="connsiteX1" fmla="*/ 1455 w 7409"/>
                  <a:gd name="connsiteY1" fmla="*/ 16521 h 16520"/>
                  <a:gd name="connsiteX2" fmla="*/ 0 w 7409"/>
                  <a:gd name="connsiteY2" fmla="*/ 15121 h 16520"/>
                  <a:gd name="connsiteX3" fmla="*/ 0 w 7409"/>
                  <a:gd name="connsiteY3" fmla="*/ 9303 h 16520"/>
                  <a:gd name="connsiteX4" fmla="*/ 4034 w 7409"/>
                  <a:gd name="connsiteY4" fmla="*/ 1756 h 16520"/>
                  <a:gd name="connsiteX5" fmla="*/ 6285 w 7409"/>
                  <a:gd name="connsiteY5" fmla="*/ 0 h 16520"/>
                  <a:gd name="connsiteX6" fmla="*/ 7410 w 7409"/>
                  <a:gd name="connsiteY6" fmla="*/ 7410 h 1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09" h="16520">
                    <a:moveTo>
                      <a:pt x="7410" y="7410"/>
                    </a:moveTo>
                    <a:lnTo>
                      <a:pt x="1455" y="16521"/>
                    </a:lnTo>
                    <a:lnTo>
                      <a:pt x="0" y="15121"/>
                    </a:lnTo>
                    <a:lnTo>
                      <a:pt x="0" y="9303"/>
                    </a:lnTo>
                    <a:cubicBezTo>
                      <a:pt x="0" y="9303"/>
                      <a:pt x="4034" y="1756"/>
                      <a:pt x="4034" y="1756"/>
                    </a:cubicBezTo>
                    <a:lnTo>
                      <a:pt x="6285" y="0"/>
                    </a:lnTo>
                    <a:lnTo>
                      <a:pt x="7410" y="74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69" name="Freeform: Shape 3968">
                <a:extLst>
                  <a:ext uri="{FF2B5EF4-FFF2-40B4-BE49-F238E27FC236}">
                    <a16:creationId xmlns:a16="http://schemas.microsoft.com/office/drawing/2014/main" id="{2415F226-A223-8CFE-4CEA-6D66777927C3}"/>
                  </a:ext>
                </a:extLst>
              </p:cNvPr>
              <p:cNvSpPr/>
              <p:nvPr/>
            </p:nvSpPr>
            <p:spPr>
              <a:xfrm>
                <a:off x="1305085" y="3443833"/>
                <a:ext cx="887" cy="1818"/>
              </a:xfrm>
              <a:custGeom>
                <a:avLst/>
                <a:gdLst>
                  <a:gd name="connsiteX0" fmla="*/ 8507 w 8507"/>
                  <a:gd name="connsiteY0" fmla="*/ 12541 h 17426"/>
                  <a:gd name="connsiteX1" fmla="*/ 5790 w 8507"/>
                  <a:gd name="connsiteY1" fmla="*/ 17426 h 17426"/>
                  <a:gd name="connsiteX2" fmla="*/ 5379 w 8507"/>
                  <a:gd name="connsiteY2" fmla="*/ 12541 h 17426"/>
                  <a:gd name="connsiteX3" fmla="*/ 439 w 8507"/>
                  <a:gd name="connsiteY3" fmla="*/ 10373 h 17426"/>
                  <a:gd name="connsiteX4" fmla="*/ 0 w 8507"/>
                  <a:gd name="connsiteY4" fmla="*/ 0 h 17426"/>
                  <a:gd name="connsiteX5" fmla="*/ 4995 w 8507"/>
                  <a:gd name="connsiteY5" fmla="*/ 576 h 17426"/>
                  <a:gd name="connsiteX6" fmla="*/ 8480 w 8507"/>
                  <a:gd name="connsiteY6" fmla="*/ 12514 h 1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 h="17426">
                    <a:moveTo>
                      <a:pt x="8507" y="12541"/>
                    </a:moveTo>
                    <a:lnTo>
                      <a:pt x="5790" y="17426"/>
                    </a:lnTo>
                    <a:lnTo>
                      <a:pt x="5379" y="12541"/>
                    </a:lnTo>
                    <a:lnTo>
                      <a:pt x="439" y="10373"/>
                    </a:lnTo>
                    <a:lnTo>
                      <a:pt x="0" y="0"/>
                    </a:lnTo>
                    <a:lnTo>
                      <a:pt x="4995" y="576"/>
                    </a:lnTo>
                    <a:lnTo>
                      <a:pt x="8480" y="125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0" name="Freeform: Shape 3969">
                <a:extLst>
                  <a:ext uri="{FF2B5EF4-FFF2-40B4-BE49-F238E27FC236}">
                    <a16:creationId xmlns:a16="http://schemas.microsoft.com/office/drawing/2014/main" id="{20B7BC78-2AAE-D67B-0DD8-4E3396522D81}"/>
                  </a:ext>
                </a:extLst>
              </p:cNvPr>
              <p:cNvSpPr/>
              <p:nvPr/>
            </p:nvSpPr>
            <p:spPr>
              <a:xfrm>
                <a:off x="1150722" y="3467963"/>
                <a:ext cx="1394" cy="993"/>
              </a:xfrm>
              <a:custGeom>
                <a:avLst/>
                <a:gdLst>
                  <a:gd name="connsiteX0" fmla="*/ 13337 w 13364"/>
                  <a:gd name="connsiteY0" fmla="*/ 5351 h 9522"/>
                  <a:gd name="connsiteX1" fmla="*/ 6504 w 13364"/>
                  <a:gd name="connsiteY1" fmla="*/ 9523 h 9522"/>
                  <a:gd name="connsiteX2" fmla="*/ 768 w 13364"/>
                  <a:gd name="connsiteY2" fmla="*/ 7327 h 9522"/>
                  <a:gd name="connsiteX3" fmla="*/ 0 w 13364"/>
                  <a:gd name="connsiteY3" fmla="*/ 4748 h 9522"/>
                  <a:gd name="connsiteX4" fmla="*/ 1043 w 13364"/>
                  <a:gd name="connsiteY4" fmla="*/ 1784 h 9522"/>
                  <a:gd name="connsiteX5" fmla="*/ 13282 w 13364"/>
                  <a:gd name="connsiteY5" fmla="*/ 0 h 9522"/>
                  <a:gd name="connsiteX6" fmla="*/ 13365 w 13364"/>
                  <a:gd name="connsiteY6" fmla="*/ 5324 h 9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64" h="9522">
                    <a:moveTo>
                      <a:pt x="13337" y="5351"/>
                    </a:moveTo>
                    <a:lnTo>
                      <a:pt x="6504" y="9523"/>
                    </a:lnTo>
                    <a:lnTo>
                      <a:pt x="768" y="7327"/>
                    </a:lnTo>
                    <a:lnTo>
                      <a:pt x="0" y="4748"/>
                    </a:lnTo>
                    <a:lnTo>
                      <a:pt x="1043" y="1784"/>
                    </a:lnTo>
                    <a:lnTo>
                      <a:pt x="13282" y="0"/>
                    </a:lnTo>
                    <a:lnTo>
                      <a:pt x="13365" y="53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1" name="Freeform: Shape 3970">
                <a:extLst>
                  <a:ext uri="{FF2B5EF4-FFF2-40B4-BE49-F238E27FC236}">
                    <a16:creationId xmlns:a16="http://schemas.microsoft.com/office/drawing/2014/main" id="{22591DBD-838B-8942-3F92-2E35055526C5}"/>
                  </a:ext>
                </a:extLst>
              </p:cNvPr>
              <p:cNvSpPr/>
              <p:nvPr/>
            </p:nvSpPr>
            <p:spPr>
              <a:xfrm>
                <a:off x="1306748" y="3441323"/>
                <a:ext cx="681" cy="2167"/>
              </a:xfrm>
              <a:custGeom>
                <a:avLst/>
                <a:gdLst>
                  <a:gd name="connsiteX0" fmla="*/ 6504 w 6531"/>
                  <a:gd name="connsiteY0" fmla="*/ 11718 h 20774"/>
                  <a:gd name="connsiteX1" fmla="*/ 4501 w 6531"/>
                  <a:gd name="connsiteY1" fmla="*/ 20774 h 20774"/>
                  <a:gd name="connsiteX2" fmla="*/ 0 w 6531"/>
                  <a:gd name="connsiteY2" fmla="*/ 11773 h 20774"/>
                  <a:gd name="connsiteX3" fmla="*/ 0 w 6531"/>
                  <a:gd name="connsiteY3" fmla="*/ 7602 h 20774"/>
                  <a:gd name="connsiteX4" fmla="*/ 4830 w 6531"/>
                  <a:gd name="connsiteY4" fmla="*/ 0 h 20774"/>
                  <a:gd name="connsiteX5" fmla="*/ 6531 w 6531"/>
                  <a:gd name="connsiteY5" fmla="*/ 11718 h 2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1" h="20774">
                    <a:moveTo>
                      <a:pt x="6504" y="11718"/>
                    </a:moveTo>
                    <a:lnTo>
                      <a:pt x="4501" y="20774"/>
                    </a:lnTo>
                    <a:lnTo>
                      <a:pt x="0" y="11773"/>
                    </a:lnTo>
                    <a:lnTo>
                      <a:pt x="0" y="7602"/>
                    </a:lnTo>
                    <a:lnTo>
                      <a:pt x="4830" y="0"/>
                    </a:lnTo>
                    <a:lnTo>
                      <a:pt x="6531" y="117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2" name="Freeform: Shape 3971">
                <a:extLst>
                  <a:ext uri="{FF2B5EF4-FFF2-40B4-BE49-F238E27FC236}">
                    <a16:creationId xmlns:a16="http://schemas.microsoft.com/office/drawing/2014/main" id="{0E7BFDFF-472B-A5FE-5A6D-19166E2F5383}"/>
                  </a:ext>
                </a:extLst>
              </p:cNvPr>
              <p:cNvSpPr/>
              <p:nvPr/>
            </p:nvSpPr>
            <p:spPr>
              <a:xfrm>
                <a:off x="1206071" y="3532743"/>
                <a:ext cx="1047" cy="758"/>
              </a:xfrm>
              <a:custGeom>
                <a:avLst/>
                <a:gdLst>
                  <a:gd name="connsiteX0" fmla="*/ 10016 w 10043"/>
                  <a:gd name="connsiteY0" fmla="*/ 6092 h 7272"/>
                  <a:gd name="connsiteX1" fmla="*/ 2991 w 10043"/>
                  <a:gd name="connsiteY1" fmla="*/ 7272 h 7272"/>
                  <a:gd name="connsiteX2" fmla="*/ 0 w 10043"/>
                  <a:gd name="connsiteY2" fmla="*/ 5434 h 7272"/>
                  <a:gd name="connsiteX3" fmla="*/ 357 w 10043"/>
                  <a:gd name="connsiteY3" fmla="*/ 357 h 7272"/>
                  <a:gd name="connsiteX4" fmla="*/ 5873 w 10043"/>
                  <a:gd name="connsiteY4" fmla="*/ 0 h 7272"/>
                  <a:gd name="connsiteX5" fmla="*/ 9907 w 10043"/>
                  <a:gd name="connsiteY5" fmla="*/ 2689 h 7272"/>
                  <a:gd name="connsiteX6" fmla="*/ 10044 w 10043"/>
                  <a:gd name="connsiteY6" fmla="*/ 6065 h 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3" h="7272">
                    <a:moveTo>
                      <a:pt x="10016" y="6092"/>
                    </a:moveTo>
                    <a:lnTo>
                      <a:pt x="2991" y="7272"/>
                    </a:lnTo>
                    <a:lnTo>
                      <a:pt x="0" y="5434"/>
                    </a:lnTo>
                    <a:lnTo>
                      <a:pt x="357" y="357"/>
                    </a:lnTo>
                    <a:lnTo>
                      <a:pt x="5873" y="0"/>
                    </a:lnTo>
                    <a:lnTo>
                      <a:pt x="9907" y="2689"/>
                    </a:lnTo>
                    <a:lnTo>
                      <a:pt x="10044" y="60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3" name="Freeform: Shape 3972">
                <a:extLst>
                  <a:ext uri="{FF2B5EF4-FFF2-40B4-BE49-F238E27FC236}">
                    <a16:creationId xmlns:a16="http://schemas.microsoft.com/office/drawing/2014/main" id="{70FB5282-2A71-9A60-6BCF-FBC4569C6B31}"/>
                  </a:ext>
                </a:extLst>
              </p:cNvPr>
              <p:cNvSpPr/>
              <p:nvPr/>
            </p:nvSpPr>
            <p:spPr>
              <a:xfrm>
                <a:off x="1190938" y="3503026"/>
                <a:ext cx="1005" cy="827"/>
              </a:xfrm>
              <a:custGeom>
                <a:avLst/>
                <a:gdLst>
                  <a:gd name="connsiteX0" fmla="*/ 3074 w 9632"/>
                  <a:gd name="connsiteY0" fmla="*/ 0 h 7931"/>
                  <a:gd name="connsiteX1" fmla="*/ 5186 w 9632"/>
                  <a:gd name="connsiteY1" fmla="*/ 1756 h 7931"/>
                  <a:gd name="connsiteX2" fmla="*/ 9221 w 9632"/>
                  <a:gd name="connsiteY2" fmla="*/ 137 h 7931"/>
                  <a:gd name="connsiteX3" fmla="*/ 9632 w 9632"/>
                  <a:gd name="connsiteY3" fmla="*/ 6092 h 7931"/>
                  <a:gd name="connsiteX4" fmla="*/ 3842 w 9632"/>
                  <a:gd name="connsiteY4" fmla="*/ 6092 h 7931"/>
                  <a:gd name="connsiteX5" fmla="*/ 1015 w 9632"/>
                  <a:gd name="connsiteY5" fmla="*/ 7931 h 7931"/>
                  <a:gd name="connsiteX6" fmla="*/ 0 w 9632"/>
                  <a:gd name="connsiteY6" fmla="*/ 5296 h 7931"/>
                  <a:gd name="connsiteX7" fmla="*/ 0 w 9632"/>
                  <a:gd name="connsiteY7" fmla="*/ 2250 h 7931"/>
                  <a:gd name="connsiteX8" fmla="*/ 3074 w 9632"/>
                  <a:gd name="connsiteY8" fmla="*/ 0 h 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2" h="7931">
                    <a:moveTo>
                      <a:pt x="3074" y="0"/>
                    </a:moveTo>
                    <a:lnTo>
                      <a:pt x="5186" y="1756"/>
                    </a:lnTo>
                    <a:lnTo>
                      <a:pt x="9221" y="137"/>
                    </a:lnTo>
                    <a:lnTo>
                      <a:pt x="9632" y="6092"/>
                    </a:lnTo>
                    <a:lnTo>
                      <a:pt x="3842" y="6092"/>
                    </a:lnTo>
                    <a:lnTo>
                      <a:pt x="1015" y="7931"/>
                    </a:lnTo>
                    <a:lnTo>
                      <a:pt x="0" y="5296"/>
                    </a:lnTo>
                    <a:lnTo>
                      <a:pt x="0" y="2250"/>
                    </a:lnTo>
                    <a:lnTo>
                      <a:pt x="307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4" name="Freeform: Shape 3973">
                <a:extLst>
                  <a:ext uri="{FF2B5EF4-FFF2-40B4-BE49-F238E27FC236}">
                    <a16:creationId xmlns:a16="http://schemas.microsoft.com/office/drawing/2014/main" id="{C1766243-4F18-6946-F262-C4366B8C1595}"/>
                  </a:ext>
                </a:extLst>
              </p:cNvPr>
              <p:cNvSpPr/>
              <p:nvPr/>
            </p:nvSpPr>
            <p:spPr>
              <a:xfrm>
                <a:off x="1308108" y="3438922"/>
                <a:ext cx="793" cy="1414"/>
              </a:xfrm>
              <a:custGeom>
                <a:avLst/>
                <a:gdLst>
                  <a:gd name="connsiteX0" fmla="*/ 7574 w 7601"/>
                  <a:gd name="connsiteY0" fmla="*/ 6257 h 13556"/>
                  <a:gd name="connsiteX1" fmla="*/ 1838 w 7601"/>
                  <a:gd name="connsiteY1" fmla="*/ 13557 h 13556"/>
                  <a:gd name="connsiteX2" fmla="*/ 0 w 7601"/>
                  <a:gd name="connsiteY2" fmla="*/ 11114 h 13556"/>
                  <a:gd name="connsiteX3" fmla="*/ 219 w 7601"/>
                  <a:gd name="connsiteY3" fmla="*/ 6284 h 13556"/>
                  <a:gd name="connsiteX4" fmla="*/ 6230 w 7601"/>
                  <a:gd name="connsiteY4" fmla="*/ 0 h 13556"/>
                  <a:gd name="connsiteX5" fmla="*/ 7409 w 7601"/>
                  <a:gd name="connsiteY5" fmla="*/ 1043 h 13556"/>
                  <a:gd name="connsiteX6" fmla="*/ 7602 w 7601"/>
                  <a:gd name="connsiteY6" fmla="*/ 6284 h 1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1" h="13556">
                    <a:moveTo>
                      <a:pt x="7574" y="6257"/>
                    </a:moveTo>
                    <a:lnTo>
                      <a:pt x="1838" y="13557"/>
                    </a:lnTo>
                    <a:lnTo>
                      <a:pt x="0" y="11114"/>
                    </a:lnTo>
                    <a:lnTo>
                      <a:pt x="219" y="6284"/>
                    </a:lnTo>
                    <a:lnTo>
                      <a:pt x="6230" y="0"/>
                    </a:lnTo>
                    <a:lnTo>
                      <a:pt x="7409" y="1043"/>
                    </a:lnTo>
                    <a:lnTo>
                      <a:pt x="7602" y="62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5" name="Freeform: Shape 3974">
                <a:extLst>
                  <a:ext uri="{FF2B5EF4-FFF2-40B4-BE49-F238E27FC236}">
                    <a16:creationId xmlns:a16="http://schemas.microsoft.com/office/drawing/2014/main" id="{E4DB210E-EBC9-8452-6A51-106F433A84CC}"/>
                  </a:ext>
                </a:extLst>
              </p:cNvPr>
              <p:cNvSpPr/>
              <p:nvPr/>
            </p:nvSpPr>
            <p:spPr>
              <a:xfrm>
                <a:off x="1194276" y="3506161"/>
                <a:ext cx="595" cy="1245"/>
              </a:xfrm>
              <a:custGeom>
                <a:avLst/>
                <a:gdLst>
                  <a:gd name="connsiteX0" fmla="*/ 5708 w 5708"/>
                  <a:gd name="connsiteY0" fmla="*/ 10264 h 11937"/>
                  <a:gd name="connsiteX1" fmla="*/ 604 w 5708"/>
                  <a:gd name="connsiteY1" fmla="*/ 11938 h 11937"/>
                  <a:gd name="connsiteX2" fmla="*/ 0 w 5708"/>
                  <a:gd name="connsiteY2" fmla="*/ 10072 h 11937"/>
                  <a:gd name="connsiteX3" fmla="*/ 2168 w 5708"/>
                  <a:gd name="connsiteY3" fmla="*/ 0 h 11937"/>
                  <a:gd name="connsiteX4" fmla="*/ 5516 w 5708"/>
                  <a:gd name="connsiteY4" fmla="*/ 5132 h 11937"/>
                  <a:gd name="connsiteX5" fmla="*/ 5681 w 5708"/>
                  <a:gd name="connsiteY5" fmla="*/ 10291 h 1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8" h="11937">
                    <a:moveTo>
                      <a:pt x="5708" y="10264"/>
                    </a:moveTo>
                    <a:lnTo>
                      <a:pt x="604" y="11938"/>
                    </a:lnTo>
                    <a:lnTo>
                      <a:pt x="0" y="10072"/>
                    </a:lnTo>
                    <a:lnTo>
                      <a:pt x="2168" y="0"/>
                    </a:lnTo>
                    <a:lnTo>
                      <a:pt x="5516" y="5132"/>
                    </a:lnTo>
                    <a:lnTo>
                      <a:pt x="5681" y="102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6" name="Freeform: Shape 3975">
                <a:extLst>
                  <a:ext uri="{FF2B5EF4-FFF2-40B4-BE49-F238E27FC236}">
                    <a16:creationId xmlns:a16="http://schemas.microsoft.com/office/drawing/2014/main" id="{F9F52859-7463-9AA1-3B23-E588406F0DC6}"/>
                  </a:ext>
                </a:extLst>
              </p:cNvPr>
              <p:cNvSpPr/>
              <p:nvPr/>
            </p:nvSpPr>
            <p:spPr>
              <a:xfrm>
                <a:off x="1308463" y="3491520"/>
                <a:ext cx="695" cy="1096"/>
              </a:xfrm>
              <a:custGeom>
                <a:avLst/>
                <a:gdLst>
                  <a:gd name="connsiteX0" fmla="*/ 6668 w 6668"/>
                  <a:gd name="connsiteY0" fmla="*/ 7574 h 10510"/>
                  <a:gd name="connsiteX1" fmla="*/ 4803 w 6668"/>
                  <a:gd name="connsiteY1" fmla="*/ 10511 h 10510"/>
                  <a:gd name="connsiteX2" fmla="*/ 1400 w 6668"/>
                  <a:gd name="connsiteY2" fmla="*/ 8096 h 10510"/>
                  <a:gd name="connsiteX3" fmla="*/ 0 w 6668"/>
                  <a:gd name="connsiteY3" fmla="*/ 2744 h 10510"/>
                  <a:gd name="connsiteX4" fmla="*/ 4803 w 6668"/>
                  <a:gd name="connsiteY4" fmla="*/ 0 h 10510"/>
                  <a:gd name="connsiteX5" fmla="*/ 6668 w 6668"/>
                  <a:gd name="connsiteY5" fmla="*/ 7574 h 10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8" h="10510">
                    <a:moveTo>
                      <a:pt x="6668" y="7574"/>
                    </a:moveTo>
                    <a:lnTo>
                      <a:pt x="4803" y="10511"/>
                    </a:lnTo>
                    <a:lnTo>
                      <a:pt x="1400" y="8096"/>
                    </a:lnTo>
                    <a:lnTo>
                      <a:pt x="0" y="2744"/>
                    </a:lnTo>
                    <a:lnTo>
                      <a:pt x="4803" y="0"/>
                    </a:lnTo>
                    <a:lnTo>
                      <a:pt x="6668" y="75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7" name="Freeform: Shape 3976">
                <a:extLst>
                  <a:ext uri="{FF2B5EF4-FFF2-40B4-BE49-F238E27FC236}">
                    <a16:creationId xmlns:a16="http://schemas.microsoft.com/office/drawing/2014/main" id="{E46E95CA-3BF1-C634-4140-068B0CF90963}"/>
                  </a:ext>
                </a:extLst>
              </p:cNvPr>
              <p:cNvSpPr/>
              <p:nvPr/>
            </p:nvSpPr>
            <p:spPr>
              <a:xfrm>
                <a:off x="1193377" y="3506109"/>
                <a:ext cx="641" cy="1082"/>
              </a:xfrm>
              <a:custGeom>
                <a:avLst/>
                <a:gdLst>
                  <a:gd name="connsiteX0" fmla="*/ 5077 w 6147"/>
                  <a:gd name="connsiteY0" fmla="*/ 9523 h 10373"/>
                  <a:gd name="connsiteX1" fmla="*/ 1592 w 6147"/>
                  <a:gd name="connsiteY1" fmla="*/ 10374 h 10373"/>
                  <a:gd name="connsiteX2" fmla="*/ 0 w 6147"/>
                  <a:gd name="connsiteY2" fmla="*/ 7465 h 10373"/>
                  <a:gd name="connsiteX3" fmla="*/ 1949 w 6147"/>
                  <a:gd name="connsiteY3" fmla="*/ 2141 h 10373"/>
                  <a:gd name="connsiteX4" fmla="*/ 4281 w 6147"/>
                  <a:gd name="connsiteY4" fmla="*/ 0 h 10373"/>
                  <a:gd name="connsiteX5" fmla="*/ 6147 w 6147"/>
                  <a:gd name="connsiteY5" fmla="*/ 1839 h 10373"/>
                  <a:gd name="connsiteX6" fmla="*/ 5050 w 6147"/>
                  <a:gd name="connsiteY6" fmla="*/ 9495 h 1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47" h="10373">
                    <a:moveTo>
                      <a:pt x="5077" y="9523"/>
                    </a:moveTo>
                    <a:lnTo>
                      <a:pt x="1592" y="10374"/>
                    </a:lnTo>
                    <a:lnTo>
                      <a:pt x="0" y="7465"/>
                    </a:lnTo>
                    <a:lnTo>
                      <a:pt x="1949" y="2141"/>
                    </a:lnTo>
                    <a:lnTo>
                      <a:pt x="4281" y="0"/>
                    </a:lnTo>
                    <a:lnTo>
                      <a:pt x="6147" y="1839"/>
                    </a:lnTo>
                    <a:lnTo>
                      <a:pt x="5050" y="94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8" name="Freeform: Shape 3977">
                <a:extLst>
                  <a:ext uri="{FF2B5EF4-FFF2-40B4-BE49-F238E27FC236}">
                    <a16:creationId xmlns:a16="http://schemas.microsoft.com/office/drawing/2014/main" id="{16197364-3B98-CE52-213E-D0188406C9D7}"/>
                  </a:ext>
                </a:extLst>
              </p:cNvPr>
              <p:cNvSpPr/>
              <p:nvPr/>
            </p:nvSpPr>
            <p:spPr>
              <a:xfrm>
                <a:off x="1150161" y="3469929"/>
                <a:ext cx="816" cy="867"/>
              </a:xfrm>
              <a:custGeom>
                <a:avLst/>
                <a:gdLst>
                  <a:gd name="connsiteX0" fmla="*/ 7794 w 7821"/>
                  <a:gd name="connsiteY0" fmla="*/ 549 h 8315"/>
                  <a:gd name="connsiteX1" fmla="*/ 6559 w 7821"/>
                  <a:gd name="connsiteY1" fmla="*/ 8315 h 8315"/>
                  <a:gd name="connsiteX2" fmla="*/ 1015 w 7821"/>
                  <a:gd name="connsiteY2" fmla="*/ 6010 h 8315"/>
                  <a:gd name="connsiteX3" fmla="*/ 0 w 7821"/>
                  <a:gd name="connsiteY3" fmla="*/ 2717 h 8315"/>
                  <a:gd name="connsiteX4" fmla="*/ 549 w 7821"/>
                  <a:gd name="connsiteY4" fmla="*/ 0 h 8315"/>
                  <a:gd name="connsiteX5" fmla="*/ 7821 w 7821"/>
                  <a:gd name="connsiteY5" fmla="*/ 521 h 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21" h="8315">
                    <a:moveTo>
                      <a:pt x="7794" y="549"/>
                    </a:moveTo>
                    <a:lnTo>
                      <a:pt x="6559" y="8315"/>
                    </a:lnTo>
                    <a:lnTo>
                      <a:pt x="1015" y="6010"/>
                    </a:lnTo>
                    <a:lnTo>
                      <a:pt x="0" y="2717"/>
                    </a:lnTo>
                    <a:lnTo>
                      <a:pt x="549" y="0"/>
                    </a:lnTo>
                    <a:lnTo>
                      <a:pt x="7821" y="5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79" name="Freeform: Shape 3978">
                <a:extLst>
                  <a:ext uri="{FF2B5EF4-FFF2-40B4-BE49-F238E27FC236}">
                    <a16:creationId xmlns:a16="http://schemas.microsoft.com/office/drawing/2014/main" id="{774E0BF5-5F40-3D6D-03C2-2880170D1E7E}"/>
                  </a:ext>
                </a:extLst>
              </p:cNvPr>
              <p:cNvSpPr/>
              <p:nvPr/>
            </p:nvSpPr>
            <p:spPr>
              <a:xfrm>
                <a:off x="1190930" y="3498303"/>
                <a:ext cx="524" cy="1148"/>
              </a:xfrm>
              <a:custGeom>
                <a:avLst/>
                <a:gdLst>
                  <a:gd name="connsiteX0" fmla="*/ 5022 w 5021"/>
                  <a:gd name="connsiteY0" fmla="*/ 5708 h 11004"/>
                  <a:gd name="connsiteX1" fmla="*/ 0 w 5021"/>
                  <a:gd name="connsiteY1" fmla="*/ 11005 h 11004"/>
                  <a:gd name="connsiteX2" fmla="*/ 0 w 5021"/>
                  <a:gd name="connsiteY2" fmla="*/ 5955 h 11004"/>
                  <a:gd name="connsiteX3" fmla="*/ 4199 w 5021"/>
                  <a:gd name="connsiteY3" fmla="*/ 0 h 11004"/>
                  <a:gd name="connsiteX4" fmla="*/ 5022 w 5021"/>
                  <a:gd name="connsiteY4" fmla="*/ 5708 h 1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1" h="11004">
                    <a:moveTo>
                      <a:pt x="5022" y="5708"/>
                    </a:moveTo>
                    <a:lnTo>
                      <a:pt x="0" y="11005"/>
                    </a:lnTo>
                    <a:lnTo>
                      <a:pt x="0" y="5955"/>
                    </a:lnTo>
                    <a:lnTo>
                      <a:pt x="4199" y="0"/>
                    </a:lnTo>
                    <a:lnTo>
                      <a:pt x="5022" y="57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0" name="Freeform: Shape 3979">
                <a:extLst>
                  <a:ext uri="{FF2B5EF4-FFF2-40B4-BE49-F238E27FC236}">
                    <a16:creationId xmlns:a16="http://schemas.microsoft.com/office/drawing/2014/main" id="{0A2AAFEC-CC73-979B-53C5-35F28157631F}"/>
                  </a:ext>
                </a:extLst>
              </p:cNvPr>
              <p:cNvSpPr/>
              <p:nvPr/>
            </p:nvSpPr>
            <p:spPr>
              <a:xfrm>
                <a:off x="1162867" y="3474509"/>
                <a:ext cx="529" cy="1211"/>
              </a:xfrm>
              <a:custGeom>
                <a:avLst/>
                <a:gdLst>
                  <a:gd name="connsiteX0" fmla="*/ 5077 w 5076"/>
                  <a:gd name="connsiteY0" fmla="*/ 8343 h 11608"/>
                  <a:gd name="connsiteX1" fmla="*/ 2580 w 5076"/>
                  <a:gd name="connsiteY1" fmla="*/ 11608 h 11608"/>
                  <a:gd name="connsiteX2" fmla="*/ 0 w 5076"/>
                  <a:gd name="connsiteY2" fmla="*/ 5708 h 11608"/>
                  <a:gd name="connsiteX3" fmla="*/ 2251 w 5076"/>
                  <a:gd name="connsiteY3" fmla="*/ 0 h 11608"/>
                  <a:gd name="connsiteX4" fmla="*/ 5077 w 5076"/>
                  <a:gd name="connsiteY4" fmla="*/ 8343 h 11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6" h="11608">
                    <a:moveTo>
                      <a:pt x="5077" y="8343"/>
                    </a:moveTo>
                    <a:lnTo>
                      <a:pt x="2580" y="11608"/>
                    </a:lnTo>
                    <a:lnTo>
                      <a:pt x="0" y="5708"/>
                    </a:lnTo>
                    <a:lnTo>
                      <a:pt x="2251" y="0"/>
                    </a:lnTo>
                    <a:lnTo>
                      <a:pt x="5077" y="83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1" name="Freeform: Shape 3980">
                <a:extLst>
                  <a:ext uri="{FF2B5EF4-FFF2-40B4-BE49-F238E27FC236}">
                    <a16:creationId xmlns:a16="http://schemas.microsoft.com/office/drawing/2014/main" id="{55180D7B-C8E5-6AF1-C5CD-2FCFF7B8BAEA}"/>
                  </a:ext>
                </a:extLst>
              </p:cNvPr>
              <p:cNvSpPr/>
              <p:nvPr/>
            </p:nvSpPr>
            <p:spPr>
              <a:xfrm>
                <a:off x="1189856" y="3492078"/>
                <a:ext cx="464" cy="1262"/>
              </a:xfrm>
              <a:custGeom>
                <a:avLst/>
                <a:gdLst>
                  <a:gd name="connsiteX0" fmla="*/ 4418 w 4445"/>
                  <a:gd name="connsiteY0" fmla="*/ 6614 h 12102"/>
                  <a:gd name="connsiteX1" fmla="*/ 2579 w 4445"/>
                  <a:gd name="connsiteY1" fmla="*/ 12102 h 12102"/>
                  <a:gd name="connsiteX2" fmla="*/ 0 w 4445"/>
                  <a:gd name="connsiteY2" fmla="*/ 7108 h 12102"/>
                  <a:gd name="connsiteX3" fmla="*/ 3952 w 4445"/>
                  <a:gd name="connsiteY3" fmla="*/ 0 h 12102"/>
                  <a:gd name="connsiteX4" fmla="*/ 4446 w 4445"/>
                  <a:gd name="connsiteY4" fmla="*/ 6614 h 1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 h="12102">
                    <a:moveTo>
                      <a:pt x="4418" y="6614"/>
                    </a:moveTo>
                    <a:lnTo>
                      <a:pt x="2579" y="12102"/>
                    </a:lnTo>
                    <a:lnTo>
                      <a:pt x="0" y="7108"/>
                    </a:lnTo>
                    <a:lnTo>
                      <a:pt x="3952" y="0"/>
                    </a:lnTo>
                    <a:lnTo>
                      <a:pt x="4446" y="66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2" name="Freeform: Shape 3981">
                <a:extLst>
                  <a:ext uri="{FF2B5EF4-FFF2-40B4-BE49-F238E27FC236}">
                    <a16:creationId xmlns:a16="http://schemas.microsoft.com/office/drawing/2014/main" id="{425EE778-25A0-4D9F-CE76-A3370C09A44F}"/>
                  </a:ext>
                </a:extLst>
              </p:cNvPr>
              <p:cNvSpPr/>
              <p:nvPr/>
            </p:nvSpPr>
            <p:spPr>
              <a:xfrm>
                <a:off x="1305434" y="3446916"/>
                <a:ext cx="341" cy="2155"/>
              </a:xfrm>
              <a:custGeom>
                <a:avLst/>
                <a:gdLst>
                  <a:gd name="connsiteX0" fmla="*/ 2031 w 3265"/>
                  <a:gd name="connsiteY0" fmla="*/ 10181 h 20664"/>
                  <a:gd name="connsiteX1" fmla="*/ 3266 w 3265"/>
                  <a:gd name="connsiteY1" fmla="*/ 20665 h 20664"/>
                  <a:gd name="connsiteX2" fmla="*/ 988 w 3265"/>
                  <a:gd name="connsiteY2" fmla="*/ 20665 h 20664"/>
                  <a:gd name="connsiteX3" fmla="*/ 0 w 3265"/>
                  <a:gd name="connsiteY3" fmla="*/ 6586 h 20664"/>
                  <a:gd name="connsiteX4" fmla="*/ 659 w 3265"/>
                  <a:gd name="connsiteY4" fmla="*/ 0 h 20664"/>
                  <a:gd name="connsiteX5" fmla="*/ 2772 w 3265"/>
                  <a:gd name="connsiteY5" fmla="*/ 439 h 20664"/>
                  <a:gd name="connsiteX6" fmla="*/ 2031 w 3265"/>
                  <a:gd name="connsiteY6" fmla="*/ 10181 h 2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5" h="20664">
                    <a:moveTo>
                      <a:pt x="2031" y="10181"/>
                    </a:moveTo>
                    <a:lnTo>
                      <a:pt x="3266" y="20665"/>
                    </a:lnTo>
                    <a:lnTo>
                      <a:pt x="988" y="20665"/>
                    </a:lnTo>
                    <a:cubicBezTo>
                      <a:pt x="988" y="20665"/>
                      <a:pt x="0" y="6586"/>
                      <a:pt x="0" y="6586"/>
                    </a:cubicBezTo>
                    <a:lnTo>
                      <a:pt x="659" y="0"/>
                    </a:lnTo>
                    <a:lnTo>
                      <a:pt x="2772" y="439"/>
                    </a:lnTo>
                    <a:lnTo>
                      <a:pt x="2031" y="101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3" name="Freeform: Shape 3982">
                <a:extLst>
                  <a:ext uri="{FF2B5EF4-FFF2-40B4-BE49-F238E27FC236}">
                    <a16:creationId xmlns:a16="http://schemas.microsoft.com/office/drawing/2014/main" id="{D117621D-CDD2-1885-710D-26FA7974ED54}"/>
                  </a:ext>
                </a:extLst>
              </p:cNvPr>
              <p:cNvSpPr/>
              <p:nvPr/>
            </p:nvSpPr>
            <p:spPr>
              <a:xfrm>
                <a:off x="1141400" y="3466217"/>
                <a:ext cx="492" cy="1331"/>
              </a:xfrm>
              <a:custGeom>
                <a:avLst/>
                <a:gdLst>
                  <a:gd name="connsiteX0" fmla="*/ 4720 w 4720"/>
                  <a:gd name="connsiteY0" fmla="*/ 2607 h 12760"/>
                  <a:gd name="connsiteX1" fmla="*/ 3375 w 4720"/>
                  <a:gd name="connsiteY1" fmla="*/ 12761 h 12760"/>
                  <a:gd name="connsiteX2" fmla="*/ 0 w 4720"/>
                  <a:gd name="connsiteY2" fmla="*/ 2689 h 12760"/>
                  <a:gd name="connsiteX3" fmla="*/ 631 w 4720"/>
                  <a:gd name="connsiteY3" fmla="*/ 0 h 12760"/>
                  <a:gd name="connsiteX4" fmla="*/ 4720 w 4720"/>
                  <a:gd name="connsiteY4" fmla="*/ 2607 h 12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0" h="12760">
                    <a:moveTo>
                      <a:pt x="4720" y="2607"/>
                    </a:moveTo>
                    <a:lnTo>
                      <a:pt x="3375" y="12761"/>
                    </a:lnTo>
                    <a:lnTo>
                      <a:pt x="0" y="2689"/>
                    </a:lnTo>
                    <a:lnTo>
                      <a:pt x="631" y="0"/>
                    </a:lnTo>
                    <a:lnTo>
                      <a:pt x="4720" y="26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4" name="Freeform: Shape 3983">
                <a:extLst>
                  <a:ext uri="{FF2B5EF4-FFF2-40B4-BE49-F238E27FC236}">
                    <a16:creationId xmlns:a16="http://schemas.microsoft.com/office/drawing/2014/main" id="{AE14A438-FFFD-06F8-66BD-ACD7A8606C2F}"/>
                  </a:ext>
                </a:extLst>
              </p:cNvPr>
              <p:cNvSpPr/>
              <p:nvPr/>
            </p:nvSpPr>
            <p:spPr>
              <a:xfrm>
                <a:off x="1189765" y="3497579"/>
                <a:ext cx="464" cy="1194"/>
              </a:xfrm>
              <a:custGeom>
                <a:avLst/>
                <a:gdLst>
                  <a:gd name="connsiteX0" fmla="*/ 4446 w 4445"/>
                  <a:gd name="connsiteY0" fmla="*/ 7492 h 11443"/>
                  <a:gd name="connsiteX1" fmla="*/ 3046 w 4445"/>
                  <a:gd name="connsiteY1" fmla="*/ 11444 h 11443"/>
                  <a:gd name="connsiteX2" fmla="*/ 0 w 4445"/>
                  <a:gd name="connsiteY2" fmla="*/ 6257 h 11443"/>
                  <a:gd name="connsiteX3" fmla="*/ 3403 w 4445"/>
                  <a:gd name="connsiteY3" fmla="*/ 0 h 11443"/>
                  <a:gd name="connsiteX4" fmla="*/ 4418 w 4445"/>
                  <a:gd name="connsiteY4" fmla="*/ 7492 h 1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 h="11443">
                    <a:moveTo>
                      <a:pt x="4446" y="7492"/>
                    </a:moveTo>
                    <a:lnTo>
                      <a:pt x="3046" y="11444"/>
                    </a:lnTo>
                    <a:lnTo>
                      <a:pt x="0" y="6257"/>
                    </a:lnTo>
                    <a:lnTo>
                      <a:pt x="3403" y="0"/>
                    </a:lnTo>
                    <a:lnTo>
                      <a:pt x="4418" y="74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5" name="Freeform: Shape 3984">
                <a:extLst>
                  <a:ext uri="{FF2B5EF4-FFF2-40B4-BE49-F238E27FC236}">
                    <a16:creationId xmlns:a16="http://schemas.microsoft.com/office/drawing/2014/main" id="{1988027F-DB9B-F8FC-5BE3-7CB34D98F28D}"/>
                  </a:ext>
                </a:extLst>
              </p:cNvPr>
              <p:cNvSpPr/>
              <p:nvPr/>
            </p:nvSpPr>
            <p:spPr>
              <a:xfrm>
                <a:off x="1205284" y="3532557"/>
                <a:ext cx="412" cy="1050"/>
              </a:xfrm>
              <a:custGeom>
                <a:avLst/>
                <a:gdLst>
                  <a:gd name="connsiteX0" fmla="*/ 3924 w 3951"/>
                  <a:gd name="connsiteY0" fmla="*/ 4940 h 10071"/>
                  <a:gd name="connsiteX1" fmla="*/ 1976 w 3951"/>
                  <a:gd name="connsiteY1" fmla="*/ 10072 h 10071"/>
                  <a:gd name="connsiteX2" fmla="*/ 0 w 3951"/>
                  <a:gd name="connsiteY2" fmla="*/ 2470 h 10071"/>
                  <a:gd name="connsiteX3" fmla="*/ 3019 w 3951"/>
                  <a:gd name="connsiteY3" fmla="*/ 0 h 10071"/>
                  <a:gd name="connsiteX4" fmla="*/ 3952 w 3951"/>
                  <a:gd name="connsiteY4" fmla="*/ 4940 h 10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10071">
                    <a:moveTo>
                      <a:pt x="3924" y="4940"/>
                    </a:moveTo>
                    <a:lnTo>
                      <a:pt x="1976" y="10072"/>
                    </a:lnTo>
                    <a:lnTo>
                      <a:pt x="0" y="2470"/>
                    </a:lnTo>
                    <a:lnTo>
                      <a:pt x="3019" y="0"/>
                    </a:lnTo>
                    <a:lnTo>
                      <a:pt x="3952" y="49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6" name="Freeform: Shape 3985">
                <a:extLst>
                  <a:ext uri="{FF2B5EF4-FFF2-40B4-BE49-F238E27FC236}">
                    <a16:creationId xmlns:a16="http://schemas.microsoft.com/office/drawing/2014/main" id="{EEA4DDAE-0D29-6FF7-DAEC-5A679B982CB9}"/>
                  </a:ext>
                </a:extLst>
              </p:cNvPr>
              <p:cNvSpPr/>
              <p:nvPr/>
            </p:nvSpPr>
            <p:spPr>
              <a:xfrm>
                <a:off x="1187294" y="3491388"/>
                <a:ext cx="464" cy="1133"/>
              </a:xfrm>
              <a:custGeom>
                <a:avLst/>
                <a:gdLst>
                  <a:gd name="connsiteX0" fmla="*/ 4446 w 4445"/>
                  <a:gd name="connsiteY0" fmla="*/ 8562 h 10867"/>
                  <a:gd name="connsiteX1" fmla="*/ 1318 w 4445"/>
                  <a:gd name="connsiteY1" fmla="*/ 10867 h 10867"/>
                  <a:gd name="connsiteX2" fmla="*/ 0 w 4445"/>
                  <a:gd name="connsiteY2" fmla="*/ 4885 h 10867"/>
                  <a:gd name="connsiteX3" fmla="*/ 2525 w 4445"/>
                  <a:gd name="connsiteY3" fmla="*/ 0 h 10867"/>
                  <a:gd name="connsiteX4" fmla="*/ 4446 w 4445"/>
                  <a:gd name="connsiteY4" fmla="*/ 8562 h 10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 h="10867">
                    <a:moveTo>
                      <a:pt x="4446" y="8562"/>
                    </a:moveTo>
                    <a:lnTo>
                      <a:pt x="1318" y="10867"/>
                    </a:lnTo>
                    <a:lnTo>
                      <a:pt x="0" y="4885"/>
                    </a:lnTo>
                    <a:lnTo>
                      <a:pt x="2525" y="0"/>
                    </a:lnTo>
                    <a:lnTo>
                      <a:pt x="4446" y="85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7" name="Freeform: Shape 3986">
                <a:extLst>
                  <a:ext uri="{FF2B5EF4-FFF2-40B4-BE49-F238E27FC236}">
                    <a16:creationId xmlns:a16="http://schemas.microsoft.com/office/drawing/2014/main" id="{700AA27B-ACEC-EE7F-AB0C-006686FCA9B8}"/>
                  </a:ext>
                </a:extLst>
              </p:cNvPr>
              <p:cNvSpPr/>
              <p:nvPr/>
            </p:nvSpPr>
            <p:spPr>
              <a:xfrm>
                <a:off x="1185591" y="3483099"/>
                <a:ext cx="595" cy="904"/>
              </a:xfrm>
              <a:custGeom>
                <a:avLst/>
                <a:gdLst>
                  <a:gd name="connsiteX0" fmla="*/ 5708 w 5708"/>
                  <a:gd name="connsiteY0" fmla="*/ 0 h 8671"/>
                  <a:gd name="connsiteX1" fmla="*/ 4281 w 5708"/>
                  <a:gd name="connsiteY1" fmla="*/ 8672 h 8671"/>
                  <a:gd name="connsiteX2" fmla="*/ 0 w 5708"/>
                  <a:gd name="connsiteY2" fmla="*/ 5489 h 8671"/>
                  <a:gd name="connsiteX3" fmla="*/ 1427 w 5708"/>
                  <a:gd name="connsiteY3" fmla="*/ 686 h 8671"/>
                  <a:gd name="connsiteX4" fmla="*/ 5708 w 5708"/>
                  <a:gd name="connsiteY4" fmla="*/ 0 h 8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8" h="8671">
                    <a:moveTo>
                      <a:pt x="5708" y="0"/>
                    </a:moveTo>
                    <a:lnTo>
                      <a:pt x="4281" y="8672"/>
                    </a:lnTo>
                    <a:lnTo>
                      <a:pt x="0" y="5489"/>
                    </a:lnTo>
                    <a:lnTo>
                      <a:pt x="1427" y="686"/>
                    </a:lnTo>
                    <a:lnTo>
                      <a:pt x="570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8" name="Freeform: Shape 3987">
                <a:extLst>
                  <a:ext uri="{FF2B5EF4-FFF2-40B4-BE49-F238E27FC236}">
                    <a16:creationId xmlns:a16="http://schemas.microsoft.com/office/drawing/2014/main" id="{A3198A9C-1B31-F0ED-79E3-8DECAB3A0AD6}"/>
                  </a:ext>
                </a:extLst>
              </p:cNvPr>
              <p:cNvSpPr/>
              <p:nvPr/>
            </p:nvSpPr>
            <p:spPr>
              <a:xfrm>
                <a:off x="1193935" y="3519133"/>
                <a:ext cx="518" cy="821"/>
              </a:xfrm>
              <a:custGeom>
                <a:avLst/>
                <a:gdLst>
                  <a:gd name="connsiteX0" fmla="*/ 4199 w 4967"/>
                  <a:gd name="connsiteY0" fmla="*/ 7437 h 7876"/>
                  <a:gd name="connsiteX1" fmla="*/ 576 w 4967"/>
                  <a:gd name="connsiteY1" fmla="*/ 7876 h 7876"/>
                  <a:gd name="connsiteX2" fmla="*/ 0 w 4967"/>
                  <a:gd name="connsiteY2" fmla="*/ 6037 h 7876"/>
                  <a:gd name="connsiteX3" fmla="*/ 412 w 4967"/>
                  <a:gd name="connsiteY3" fmla="*/ 4281 h 7876"/>
                  <a:gd name="connsiteX4" fmla="*/ 4967 w 4967"/>
                  <a:gd name="connsiteY4" fmla="*/ 0 h 7876"/>
                  <a:gd name="connsiteX5" fmla="*/ 4199 w 4967"/>
                  <a:gd name="connsiteY5" fmla="*/ 7437 h 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 h="7876">
                    <a:moveTo>
                      <a:pt x="4199" y="7437"/>
                    </a:moveTo>
                    <a:lnTo>
                      <a:pt x="576" y="7876"/>
                    </a:lnTo>
                    <a:lnTo>
                      <a:pt x="0" y="6037"/>
                    </a:lnTo>
                    <a:lnTo>
                      <a:pt x="412" y="4281"/>
                    </a:lnTo>
                    <a:lnTo>
                      <a:pt x="4967" y="0"/>
                    </a:lnTo>
                    <a:lnTo>
                      <a:pt x="4199"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89" name="Freeform: Shape 3988">
                <a:extLst>
                  <a:ext uri="{FF2B5EF4-FFF2-40B4-BE49-F238E27FC236}">
                    <a16:creationId xmlns:a16="http://schemas.microsoft.com/office/drawing/2014/main" id="{BEBE090B-385F-1981-0642-B844B77B2BC4}"/>
                  </a:ext>
                </a:extLst>
              </p:cNvPr>
              <p:cNvSpPr/>
              <p:nvPr/>
            </p:nvSpPr>
            <p:spPr>
              <a:xfrm>
                <a:off x="1188777" y="3490515"/>
                <a:ext cx="472" cy="1030"/>
              </a:xfrm>
              <a:custGeom>
                <a:avLst/>
                <a:gdLst>
                  <a:gd name="connsiteX0" fmla="*/ 4171 w 4528"/>
                  <a:gd name="connsiteY0" fmla="*/ 9385 h 9879"/>
                  <a:gd name="connsiteX1" fmla="*/ 494 w 4528"/>
                  <a:gd name="connsiteY1" fmla="*/ 9880 h 9879"/>
                  <a:gd name="connsiteX2" fmla="*/ 0 w 4528"/>
                  <a:gd name="connsiteY2" fmla="*/ 6724 h 9879"/>
                  <a:gd name="connsiteX3" fmla="*/ 2497 w 4528"/>
                  <a:gd name="connsiteY3" fmla="*/ 0 h 9879"/>
                  <a:gd name="connsiteX4" fmla="*/ 4528 w 4528"/>
                  <a:gd name="connsiteY4" fmla="*/ 2799 h 9879"/>
                  <a:gd name="connsiteX5" fmla="*/ 4144 w 4528"/>
                  <a:gd name="connsiteY5" fmla="*/ 9413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8" h="9879">
                    <a:moveTo>
                      <a:pt x="4171" y="9385"/>
                    </a:moveTo>
                    <a:lnTo>
                      <a:pt x="494" y="9880"/>
                    </a:lnTo>
                    <a:lnTo>
                      <a:pt x="0" y="6724"/>
                    </a:lnTo>
                    <a:lnTo>
                      <a:pt x="2497" y="0"/>
                    </a:lnTo>
                    <a:lnTo>
                      <a:pt x="4528" y="2799"/>
                    </a:lnTo>
                    <a:lnTo>
                      <a:pt x="4144" y="94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0" name="Freeform: Shape 3989">
                <a:extLst>
                  <a:ext uri="{FF2B5EF4-FFF2-40B4-BE49-F238E27FC236}">
                    <a16:creationId xmlns:a16="http://schemas.microsoft.com/office/drawing/2014/main" id="{53F3D69D-BE92-D2F7-4EFD-DA794E356C30}"/>
                  </a:ext>
                </a:extLst>
              </p:cNvPr>
              <p:cNvSpPr/>
              <p:nvPr/>
            </p:nvSpPr>
            <p:spPr>
              <a:xfrm>
                <a:off x="1192584" y="3508050"/>
                <a:ext cx="590" cy="741"/>
              </a:xfrm>
              <a:custGeom>
                <a:avLst/>
                <a:gdLst>
                  <a:gd name="connsiteX0" fmla="*/ 5626 w 5653"/>
                  <a:gd name="connsiteY0" fmla="*/ 4116 h 7107"/>
                  <a:gd name="connsiteX1" fmla="*/ 4665 w 5653"/>
                  <a:gd name="connsiteY1" fmla="*/ 7108 h 7107"/>
                  <a:gd name="connsiteX2" fmla="*/ 1207 w 5653"/>
                  <a:gd name="connsiteY2" fmla="*/ 6367 h 7107"/>
                  <a:gd name="connsiteX3" fmla="*/ 0 w 5653"/>
                  <a:gd name="connsiteY3" fmla="*/ 3238 h 7107"/>
                  <a:gd name="connsiteX4" fmla="*/ 2607 w 5653"/>
                  <a:gd name="connsiteY4" fmla="*/ 0 h 7107"/>
                  <a:gd name="connsiteX5" fmla="*/ 5653 w 5653"/>
                  <a:gd name="connsiteY5" fmla="*/ 4171 h 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3" h="7107">
                    <a:moveTo>
                      <a:pt x="5626" y="4116"/>
                    </a:moveTo>
                    <a:lnTo>
                      <a:pt x="4665" y="7108"/>
                    </a:lnTo>
                    <a:lnTo>
                      <a:pt x="1207" y="6367"/>
                    </a:lnTo>
                    <a:lnTo>
                      <a:pt x="0" y="3238"/>
                    </a:lnTo>
                    <a:lnTo>
                      <a:pt x="2607" y="0"/>
                    </a:lnTo>
                    <a:lnTo>
                      <a:pt x="5653" y="41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1" name="Freeform: Shape 3990">
                <a:extLst>
                  <a:ext uri="{FF2B5EF4-FFF2-40B4-BE49-F238E27FC236}">
                    <a16:creationId xmlns:a16="http://schemas.microsoft.com/office/drawing/2014/main" id="{1796029E-1FA4-16E9-1D79-5CE4B00A0A58}"/>
                  </a:ext>
                </a:extLst>
              </p:cNvPr>
              <p:cNvSpPr/>
              <p:nvPr/>
            </p:nvSpPr>
            <p:spPr>
              <a:xfrm>
                <a:off x="1192495" y="3498189"/>
                <a:ext cx="438" cy="1048"/>
              </a:xfrm>
              <a:custGeom>
                <a:avLst/>
                <a:gdLst>
                  <a:gd name="connsiteX0" fmla="*/ 2909 w 4198"/>
                  <a:gd name="connsiteY0" fmla="*/ 0 h 10044"/>
                  <a:gd name="connsiteX1" fmla="*/ 4199 w 4198"/>
                  <a:gd name="connsiteY1" fmla="*/ 10044 h 10044"/>
                  <a:gd name="connsiteX2" fmla="*/ 1098 w 4198"/>
                  <a:gd name="connsiteY2" fmla="*/ 9797 h 10044"/>
                  <a:gd name="connsiteX3" fmla="*/ 0 w 4198"/>
                  <a:gd name="connsiteY3" fmla="*/ 4775 h 10044"/>
                  <a:gd name="connsiteX4" fmla="*/ 2936 w 4198"/>
                  <a:gd name="connsiteY4" fmla="*/ 0 h 1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8" h="10044">
                    <a:moveTo>
                      <a:pt x="2909" y="0"/>
                    </a:moveTo>
                    <a:lnTo>
                      <a:pt x="4199" y="10044"/>
                    </a:lnTo>
                    <a:lnTo>
                      <a:pt x="1098" y="9797"/>
                    </a:lnTo>
                    <a:lnTo>
                      <a:pt x="0" y="4775"/>
                    </a:lnTo>
                    <a:lnTo>
                      <a:pt x="293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2" name="Freeform: Shape 3991">
                <a:extLst>
                  <a:ext uri="{FF2B5EF4-FFF2-40B4-BE49-F238E27FC236}">
                    <a16:creationId xmlns:a16="http://schemas.microsoft.com/office/drawing/2014/main" id="{EA242303-EEE2-A3CC-0916-29FC37449ED7}"/>
                  </a:ext>
                </a:extLst>
              </p:cNvPr>
              <p:cNvSpPr/>
              <p:nvPr/>
            </p:nvSpPr>
            <p:spPr>
              <a:xfrm>
                <a:off x="1192389" y="3506733"/>
                <a:ext cx="469" cy="910"/>
              </a:xfrm>
              <a:custGeom>
                <a:avLst/>
                <a:gdLst>
                  <a:gd name="connsiteX0" fmla="*/ 4281 w 4500"/>
                  <a:gd name="connsiteY0" fmla="*/ 6970 h 8726"/>
                  <a:gd name="connsiteX1" fmla="*/ 1866 w 4500"/>
                  <a:gd name="connsiteY1" fmla="*/ 8727 h 8726"/>
                  <a:gd name="connsiteX2" fmla="*/ 0 w 4500"/>
                  <a:gd name="connsiteY2" fmla="*/ 4089 h 8726"/>
                  <a:gd name="connsiteX3" fmla="*/ 2305 w 4500"/>
                  <a:gd name="connsiteY3" fmla="*/ 0 h 8726"/>
                  <a:gd name="connsiteX4" fmla="*/ 4501 w 4500"/>
                  <a:gd name="connsiteY4" fmla="*/ 2881 h 8726"/>
                  <a:gd name="connsiteX5" fmla="*/ 4281 w 4500"/>
                  <a:gd name="connsiteY5" fmla="*/ 6998 h 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 h="8726">
                    <a:moveTo>
                      <a:pt x="4281" y="6970"/>
                    </a:moveTo>
                    <a:lnTo>
                      <a:pt x="1866" y="8727"/>
                    </a:lnTo>
                    <a:lnTo>
                      <a:pt x="0" y="4089"/>
                    </a:lnTo>
                    <a:lnTo>
                      <a:pt x="2305" y="0"/>
                    </a:lnTo>
                    <a:lnTo>
                      <a:pt x="4501" y="2881"/>
                    </a:lnTo>
                    <a:lnTo>
                      <a:pt x="4281" y="69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3" name="Freeform: Shape 3992">
                <a:extLst>
                  <a:ext uri="{FF2B5EF4-FFF2-40B4-BE49-F238E27FC236}">
                    <a16:creationId xmlns:a16="http://schemas.microsoft.com/office/drawing/2014/main" id="{4FA6FD8F-4CAE-A635-863A-0F6D9037C996}"/>
                  </a:ext>
                </a:extLst>
              </p:cNvPr>
              <p:cNvSpPr/>
              <p:nvPr/>
            </p:nvSpPr>
            <p:spPr>
              <a:xfrm>
                <a:off x="1194196" y="3515128"/>
                <a:ext cx="507" cy="776"/>
              </a:xfrm>
              <a:custGeom>
                <a:avLst/>
                <a:gdLst>
                  <a:gd name="connsiteX0" fmla="*/ 2827 w 4857"/>
                  <a:gd name="connsiteY0" fmla="*/ 7080 h 7437"/>
                  <a:gd name="connsiteX1" fmla="*/ 604 w 4857"/>
                  <a:gd name="connsiteY1" fmla="*/ 7437 h 7437"/>
                  <a:gd name="connsiteX2" fmla="*/ 0 w 4857"/>
                  <a:gd name="connsiteY2" fmla="*/ 2388 h 7437"/>
                  <a:gd name="connsiteX3" fmla="*/ 4007 w 4857"/>
                  <a:gd name="connsiteY3" fmla="*/ 0 h 7437"/>
                  <a:gd name="connsiteX4" fmla="*/ 4857 w 4857"/>
                  <a:gd name="connsiteY4" fmla="*/ 2882 h 7437"/>
                  <a:gd name="connsiteX5" fmla="*/ 2827 w 4857"/>
                  <a:gd name="connsiteY5" fmla="*/ 7108 h 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 h="7437">
                    <a:moveTo>
                      <a:pt x="2827" y="7080"/>
                    </a:moveTo>
                    <a:lnTo>
                      <a:pt x="604" y="7437"/>
                    </a:lnTo>
                    <a:lnTo>
                      <a:pt x="0" y="2388"/>
                    </a:lnTo>
                    <a:lnTo>
                      <a:pt x="4007" y="0"/>
                    </a:lnTo>
                    <a:lnTo>
                      <a:pt x="4857" y="2882"/>
                    </a:lnTo>
                    <a:lnTo>
                      <a:pt x="2827" y="71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4" name="Freeform: Shape 3993">
                <a:extLst>
                  <a:ext uri="{FF2B5EF4-FFF2-40B4-BE49-F238E27FC236}">
                    <a16:creationId xmlns:a16="http://schemas.microsoft.com/office/drawing/2014/main" id="{DF22B7C0-1170-CB8A-C149-5D60105E7D42}"/>
                  </a:ext>
                </a:extLst>
              </p:cNvPr>
              <p:cNvSpPr/>
              <p:nvPr/>
            </p:nvSpPr>
            <p:spPr>
              <a:xfrm>
                <a:off x="1201586" y="3547802"/>
                <a:ext cx="412" cy="770"/>
              </a:xfrm>
              <a:custGeom>
                <a:avLst/>
                <a:gdLst>
                  <a:gd name="connsiteX0" fmla="*/ 3952 w 3951"/>
                  <a:gd name="connsiteY0" fmla="*/ 5790 h 7382"/>
                  <a:gd name="connsiteX1" fmla="*/ 1207 w 3951"/>
                  <a:gd name="connsiteY1" fmla="*/ 7382 h 7382"/>
                  <a:gd name="connsiteX2" fmla="*/ 0 w 3951"/>
                  <a:gd name="connsiteY2" fmla="*/ 2360 h 7382"/>
                  <a:gd name="connsiteX3" fmla="*/ 1317 w 3951"/>
                  <a:gd name="connsiteY3" fmla="*/ 0 h 7382"/>
                  <a:gd name="connsiteX4" fmla="*/ 3595 w 3951"/>
                  <a:gd name="connsiteY4" fmla="*/ 1482 h 7382"/>
                  <a:gd name="connsiteX5" fmla="*/ 3952 w 3951"/>
                  <a:gd name="connsiteY5" fmla="*/ 5790 h 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1" h="7382">
                    <a:moveTo>
                      <a:pt x="3952" y="5790"/>
                    </a:moveTo>
                    <a:lnTo>
                      <a:pt x="1207" y="7382"/>
                    </a:lnTo>
                    <a:lnTo>
                      <a:pt x="0" y="2360"/>
                    </a:lnTo>
                    <a:lnTo>
                      <a:pt x="1317" y="0"/>
                    </a:lnTo>
                    <a:lnTo>
                      <a:pt x="3595" y="1482"/>
                    </a:lnTo>
                    <a:lnTo>
                      <a:pt x="3952" y="57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5" name="Freeform: Shape 3994">
                <a:extLst>
                  <a:ext uri="{FF2B5EF4-FFF2-40B4-BE49-F238E27FC236}">
                    <a16:creationId xmlns:a16="http://schemas.microsoft.com/office/drawing/2014/main" id="{26B81990-AF79-0A5F-5513-0AD908A553D9}"/>
                  </a:ext>
                </a:extLst>
              </p:cNvPr>
              <p:cNvSpPr/>
              <p:nvPr/>
            </p:nvSpPr>
            <p:spPr>
              <a:xfrm>
                <a:off x="1204826" y="3530416"/>
                <a:ext cx="429" cy="810"/>
              </a:xfrm>
              <a:custGeom>
                <a:avLst/>
                <a:gdLst>
                  <a:gd name="connsiteX0" fmla="*/ 4089 w 4116"/>
                  <a:gd name="connsiteY0" fmla="*/ 4226 h 7766"/>
                  <a:gd name="connsiteX1" fmla="*/ 851 w 4116"/>
                  <a:gd name="connsiteY1" fmla="*/ 7766 h 7766"/>
                  <a:gd name="connsiteX2" fmla="*/ 0 w 4116"/>
                  <a:gd name="connsiteY2" fmla="*/ 4363 h 7766"/>
                  <a:gd name="connsiteX3" fmla="*/ 851 w 4116"/>
                  <a:gd name="connsiteY3" fmla="*/ 357 h 7766"/>
                  <a:gd name="connsiteX4" fmla="*/ 3787 w 4116"/>
                  <a:gd name="connsiteY4" fmla="*/ 0 h 7766"/>
                  <a:gd name="connsiteX5" fmla="*/ 4116 w 4116"/>
                  <a:gd name="connsiteY5" fmla="*/ 4226 h 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6" h="7766">
                    <a:moveTo>
                      <a:pt x="4089" y="4226"/>
                    </a:moveTo>
                    <a:lnTo>
                      <a:pt x="851" y="7766"/>
                    </a:lnTo>
                    <a:lnTo>
                      <a:pt x="0" y="4363"/>
                    </a:lnTo>
                    <a:lnTo>
                      <a:pt x="851" y="357"/>
                    </a:lnTo>
                    <a:lnTo>
                      <a:pt x="3787" y="0"/>
                    </a:lnTo>
                    <a:lnTo>
                      <a:pt x="4116"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6" name="Freeform: Shape 3995">
                <a:extLst>
                  <a:ext uri="{FF2B5EF4-FFF2-40B4-BE49-F238E27FC236}">
                    <a16:creationId xmlns:a16="http://schemas.microsoft.com/office/drawing/2014/main" id="{3A118482-A537-40C1-C528-4F4923403C83}"/>
                  </a:ext>
                </a:extLst>
              </p:cNvPr>
              <p:cNvSpPr/>
              <p:nvPr/>
            </p:nvSpPr>
            <p:spPr>
              <a:xfrm>
                <a:off x="1323121" y="3403569"/>
                <a:ext cx="381" cy="1672"/>
              </a:xfrm>
              <a:custGeom>
                <a:avLst/>
                <a:gdLst>
                  <a:gd name="connsiteX0" fmla="*/ 3623 w 3649"/>
                  <a:gd name="connsiteY0" fmla="*/ 11114 h 16026"/>
                  <a:gd name="connsiteX1" fmla="*/ 905 w 3649"/>
                  <a:gd name="connsiteY1" fmla="*/ 16027 h 16026"/>
                  <a:gd name="connsiteX2" fmla="*/ 0 w 3649"/>
                  <a:gd name="connsiteY2" fmla="*/ 10401 h 16026"/>
                  <a:gd name="connsiteX3" fmla="*/ 467 w 3649"/>
                  <a:gd name="connsiteY3" fmla="*/ 0 h 16026"/>
                  <a:gd name="connsiteX4" fmla="*/ 3183 w 3649"/>
                  <a:gd name="connsiteY4" fmla="*/ 714 h 16026"/>
                  <a:gd name="connsiteX5" fmla="*/ 3650 w 3649"/>
                  <a:gd name="connsiteY5" fmla="*/ 11114 h 1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49" h="16026">
                    <a:moveTo>
                      <a:pt x="3623" y="11114"/>
                    </a:moveTo>
                    <a:lnTo>
                      <a:pt x="905" y="16027"/>
                    </a:lnTo>
                    <a:lnTo>
                      <a:pt x="0" y="10401"/>
                    </a:lnTo>
                    <a:lnTo>
                      <a:pt x="467" y="0"/>
                    </a:lnTo>
                    <a:lnTo>
                      <a:pt x="3183" y="714"/>
                    </a:lnTo>
                    <a:lnTo>
                      <a:pt x="3650" y="111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7" name="Freeform: Shape 3996">
                <a:extLst>
                  <a:ext uri="{FF2B5EF4-FFF2-40B4-BE49-F238E27FC236}">
                    <a16:creationId xmlns:a16="http://schemas.microsoft.com/office/drawing/2014/main" id="{711E7B5A-035C-224C-BF75-BC91532A5B9A}"/>
                  </a:ext>
                </a:extLst>
              </p:cNvPr>
              <p:cNvSpPr/>
              <p:nvPr/>
            </p:nvSpPr>
            <p:spPr>
              <a:xfrm>
                <a:off x="1193872" y="3509595"/>
                <a:ext cx="372" cy="884"/>
              </a:xfrm>
              <a:custGeom>
                <a:avLst/>
                <a:gdLst>
                  <a:gd name="connsiteX0" fmla="*/ 3567 w 3567"/>
                  <a:gd name="connsiteY0" fmla="*/ 5543 h 8479"/>
                  <a:gd name="connsiteX1" fmla="*/ 0 w 3567"/>
                  <a:gd name="connsiteY1" fmla="*/ 8480 h 8479"/>
                  <a:gd name="connsiteX2" fmla="*/ 0 w 3567"/>
                  <a:gd name="connsiteY2" fmla="*/ 0 h 8479"/>
                  <a:gd name="connsiteX3" fmla="*/ 3375 w 3567"/>
                  <a:gd name="connsiteY3" fmla="*/ 329 h 8479"/>
                  <a:gd name="connsiteX4" fmla="*/ 3567 w 3567"/>
                  <a:gd name="connsiteY4" fmla="*/ 5571 h 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8479">
                    <a:moveTo>
                      <a:pt x="3567" y="5543"/>
                    </a:moveTo>
                    <a:lnTo>
                      <a:pt x="0" y="8480"/>
                    </a:lnTo>
                    <a:lnTo>
                      <a:pt x="0" y="0"/>
                    </a:lnTo>
                    <a:lnTo>
                      <a:pt x="3375" y="329"/>
                    </a:lnTo>
                    <a:lnTo>
                      <a:pt x="3567" y="55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8" name="Freeform: Shape 3997">
                <a:extLst>
                  <a:ext uri="{FF2B5EF4-FFF2-40B4-BE49-F238E27FC236}">
                    <a16:creationId xmlns:a16="http://schemas.microsoft.com/office/drawing/2014/main" id="{C3D03E32-01CE-04D4-3D73-E144A07BF898}"/>
                  </a:ext>
                </a:extLst>
              </p:cNvPr>
              <p:cNvSpPr/>
              <p:nvPr/>
            </p:nvSpPr>
            <p:spPr>
              <a:xfrm>
                <a:off x="1306113" y="3446278"/>
                <a:ext cx="352" cy="1314"/>
              </a:xfrm>
              <a:custGeom>
                <a:avLst/>
                <a:gdLst>
                  <a:gd name="connsiteX0" fmla="*/ 2525 w 3375"/>
                  <a:gd name="connsiteY0" fmla="*/ 0 h 12596"/>
                  <a:gd name="connsiteX1" fmla="*/ 3376 w 3375"/>
                  <a:gd name="connsiteY1" fmla="*/ 12596 h 12596"/>
                  <a:gd name="connsiteX2" fmla="*/ 0 w 3375"/>
                  <a:gd name="connsiteY2" fmla="*/ 12349 h 12596"/>
                  <a:gd name="connsiteX3" fmla="*/ 275 w 3375"/>
                  <a:gd name="connsiteY3" fmla="*/ 1043 h 12596"/>
                  <a:gd name="connsiteX4" fmla="*/ 2525 w 3375"/>
                  <a:gd name="connsiteY4" fmla="*/ 0 h 1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12596">
                    <a:moveTo>
                      <a:pt x="2525" y="0"/>
                    </a:moveTo>
                    <a:lnTo>
                      <a:pt x="3376" y="12596"/>
                    </a:lnTo>
                    <a:lnTo>
                      <a:pt x="0" y="12349"/>
                    </a:lnTo>
                    <a:lnTo>
                      <a:pt x="275" y="1043"/>
                    </a:lnTo>
                    <a:lnTo>
                      <a:pt x="2525"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99" name="Freeform: Shape 3998">
                <a:extLst>
                  <a:ext uri="{FF2B5EF4-FFF2-40B4-BE49-F238E27FC236}">
                    <a16:creationId xmlns:a16="http://schemas.microsoft.com/office/drawing/2014/main" id="{0951FC17-764E-F2E6-7DFF-F58BA8CC72A9}"/>
                  </a:ext>
                </a:extLst>
              </p:cNvPr>
              <p:cNvSpPr/>
              <p:nvPr/>
            </p:nvSpPr>
            <p:spPr>
              <a:xfrm>
                <a:off x="1313867" y="3801676"/>
                <a:ext cx="9131" cy="2361"/>
              </a:xfrm>
              <a:custGeom>
                <a:avLst/>
                <a:gdLst>
                  <a:gd name="connsiteX0" fmla="*/ 1482 w 87543"/>
                  <a:gd name="connsiteY0" fmla="*/ 22586 h 22640"/>
                  <a:gd name="connsiteX1" fmla="*/ 0 w 87543"/>
                  <a:gd name="connsiteY1" fmla="*/ 14023 h 22640"/>
                  <a:gd name="connsiteX2" fmla="*/ 2827 w 87543"/>
                  <a:gd name="connsiteY2" fmla="*/ 10593 h 22640"/>
                  <a:gd name="connsiteX3" fmla="*/ 6998 w 87543"/>
                  <a:gd name="connsiteY3" fmla="*/ 9880 h 22640"/>
                  <a:gd name="connsiteX4" fmla="*/ 7382 w 87543"/>
                  <a:gd name="connsiteY4" fmla="*/ 6669 h 22640"/>
                  <a:gd name="connsiteX5" fmla="*/ 13749 w 87543"/>
                  <a:gd name="connsiteY5" fmla="*/ 6669 h 22640"/>
                  <a:gd name="connsiteX6" fmla="*/ 37652 w 87543"/>
                  <a:gd name="connsiteY6" fmla="*/ 6779 h 22640"/>
                  <a:gd name="connsiteX7" fmla="*/ 42180 w 87543"/>
                  <a:gd name="connsiteY7" fmla="*/ 1400 h 22640"/>
                  <a:gd name="connsiteX8" fmla="*/ 52635 w 87543"/>
                  <a:gd name="connsiteY8" fmla="*/ 0 h 22640"/>
                  <a:gd name="connsiteX9" fmla="*/ 56944 w 87543"/>
                  <a:gd name="connsiteY9" fmla="*/ 1070 h 22640"/>
                  <a:gd name="connsiteX10" fmla="*/ 60073 w 87543"/>
                  <a:gd name="connsiteY10" fmla="*/ 5050 h 22640"/>
                  <a:gd name="connsiteX11" fmla="*/ 66329 w 87543"/>
                  <a:gd name="connsiteY11" fmla="*/ 5379 h 22640"/>
                  <a:gd name="connsiteX12" fmla="*/ 72147 w 87543"/>
                  <a:gd name="connsiteY12" fmla="*/ 10675 h 22640"/>
                  <a:gd name="connsiteX13" fmla="*/ 83619 w 87543"/>
                  <a:gd name="connsiteY13" fmla="*/ 7657 h 22640"/>
                  <a:gd name="connsiteX14" fmla="*/ 87543 w 87543"/>
                  <a:gd name="connsiteY14" fmla="*/ 11718 h 22640"/>
                  <a:gd name="connsiteX15" fmla="*/ 86418 w 87543"/>
                  <a:gd name="connsiteY15" fmla="*/ 14188 h 22640"/>
                  <a:gd name="connsiteX16" fmla="*/ 72888 w 87543"/>
                  <a:gd name="connsiteY16" fmla="*/ 17454 h 22640"/>
                  <a:gd name="connsiteX17" fmla="*/ 54227 w 87543"/>
                  <a:gd name="connsiteY17" fmla="*/ 10127 h 22640"/>
                  <a:gd name="connsiteX18" fmla="*/ 49919 w 87543"/>
                  <a:gd name="connsiteY18" fmla="*/ 6943 h 22640"/>
                  <a:gd name="connsiteX19" fmla="*/ 46927 w 87543"/>
                  <a:gd name="connsiteY19" fmla="*/ 8343 h 22640"/>
                  <a:gd name="connsiteX20" fmla="*/ 43744 w 87543"/>
                  <a:gd name="connsiteY20" fmla="*/ 13310 h 22640"/>
                  <a:gd name="connsiteX21" fmla="*/ 30187 w 87543"/>
                  <a:gd name="connsiteY21" fmla="*/ 13969 h 22640"/>
                  <a:gd name="connsiteX22" fmla="*/ 28403 w 87543"/>
                  <a:gd name="connsiteY22" fmla="*/ 19292 h 22640"/>
                  <a:gd name="connsiteX23" fmla="*/ 13694 w 87543"/>
                  <a:gd name="connsiteY23" fmla="*/ 19512 h 22640"/>
                  <a:gd name="connsiteX24" fmla="*/ 3897 w 87543"/>
                  <a:gd name="connsiteY24" fmla="*/ 19649 h 22640"/>
                  <a:gd name="connsiteX25" fmla="*/ 1455 w 87543"/>
                  <a:gd name="connsiteY25" fmla="*/ 22640 h 2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543" h="22640">
                    <a:moveTo>
                      <a:pt x="1482" y="22586"/>
                    </a:moveTo>
                    <a:lnTo>
                      <a:pt x="0" y="14023"/>
                    </a:lnTo>
                    <a:lnTo>
                      <a:pt x="2827" y="10593"/>
                    </a:lnTo>
                    <a:lnTo>
                      <a:pt x="6998" y="9880"/>
                    </a:lnTo>
                    <a:lnTo>
                      <a:pt x="7382" y="6669"/>
                    </a:lnTo>
                    <a:lnTo>
                      <a:pt x="13749" y="6669"/>
                    </a:lnTo>
                    <a:lnTo>
                      <a:pt x="37652" y="6779"/>
                    </a:lnTo>
                    <a:lnTo>
                      <a:pt x="42180" y="1400"/>
                    </a:lnTo>
                    <a:lnTo>
                      <a:pt x="52635" y="0"/>
                    </a:lnTo>
                    <a:lnTo>
                      <a:pt x="56944" y="1070"/>
                    </a:lnTo>
                    <a:lnTo>
                      <a:pt x="60073" y="5050"/>
                    </a:lnTo>
                    <a:lnTo>
                      <a:pt x="66329" y="5379"/>
                    </a:lnTo>
                    <a:lnTo>
                      <a:pt x="72147" y="10675"/>
                    </a:lnTo>
                    <a:lnTo>
                      <a:pt x="83619" y="7657"/>
                    </a:lnTo>
                    <a:lnTo>
                      <a:pt x="87543" y="11718"/>
                    </a:lnTo>
                    <a:lnTo>
                      <a:pt x="86418" y="14188"/>
                    </a:lnTo>
                    <a:lnTo>
                      <a:pt x="72888" y="17454"/>
                    </a:lnTo>
                    <a:lnTo>
                      <a:pt x="54227" y="10127"/>
                    </a:lnTo>
                    <a:lnTo>
                      <a:pt x="49919" y="6943"/>
                    </a:lnTo>
                    <a:lnTo>
                      <a:pt x="46927" y="8343"/>
                    </a:lnTo>
                    <a:lnTo>
                      <a:pt x="43744" y="13310"/>
                    </a:lnTo>
                    <a:lnTo>
                      <a:pt x="30187" y="13969"/>
                    </a:lnTo>
                    <a:lnTo>
                      <a:pt x="28403" y="19292"/>
                    </a:lnTo>
                    <a:lnTo>
                      <a:pt x="13694" y="19512"/>
                    </a:lnTo>
                    <a:lnTo>
                      <a:pt x="3897" y="19649"/>
                    </a:lnTo>
                    <a:lnTo>
                      <a:pt x="1455" y="226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0" name="Freeform: Shape 3999">
                <a:extLst>
                  <a:ext uri="{FF2B5EF4-FFF2-40B4-BE49-F238E27FC236}">
                    <a16:creationId xmlns:a16="http://schemas.microsoft.com/office/drawing/2014/main" id="{3D5A25F6-7390-73ED-FB2F-428E56E8E9E5}"/>
                  </a:ext>
                </a:extLst>
              </p:cNvPr>
              <p:cNvSpPr/>
              <p:nvPr/>
            </p:nvSpPr>
            <p:spPr>
              <a:xfrm>
                <a:off x="1319686" y="3805260"/>
                <a:ext cx="22203" cy="16968"/>
              </a:xfrm>
              <a:custGeom>
                <a:avLst/>
                <a:gdLst>
                  <a:gd name="connsiteX0" fmla="*/ 51840 w 212875"/>
                  <a:gd name="connsiteY0" fmla="*/ 1263 h 162682"/>
                  <a:gd name="connsiteX1" fmla="*/ 55188 w 212875"/>
                  <a:gd name="connsiteY1" fmla="*/ 5516 h 162682"/>
                  <a:gd name="connsiteX2" fmla="*/ 59414 w 212875"/>
                  <a:gd name="connsiteY2" fmla="*/ 4528 h 162682"/>
                  <a:gd name="connsiteX3" fmla="*/ 74837 w 212875"/>
                  <a:gd name="connsiteY3" fmla="*/ 10154 h 162682"/>
                  <a:gd name="connsiteX4" fmla="*/ 83591 w 212875"/>
                  <a:gd name="connsiteY4" fmla="*/ 7986 h 162682"/>
                  <a:gd name="connsiteX5" fmla="*/ 103542 w 212875"/>
                  <a:gd name="connsiteY5" fmla="*/ 7821 h 162682"/>
                  <a:gd name="connsiteX6" fmla="*/ 100524 w 212875"/>
                  <a:gd name="connsiteY6" fmla="*/ 14463 h 162682"/>
                  <a:gd name="connsiteX7" fmla="*/ 105299 w 212875"/>
                  <a:gd name="connsiteY7" fmla="*/ 19265 h 162682"/>
                  <a:gd name="connsiteX8" fmla="*/ 109003 w 212875"/>
                  <a:gd name="connsiteY8" fmla="*/ 19622 h 162682"/>
                  <a:gd name="connsiteX9" fmla="*/ 113559 w 212875"/>
                  <a:gd name="connsiteY9" fmla="*/ 14133 h 162682"/>
                  <a:gd name="connsiteX10" fmla="*/ 116029 w 212875"/>
                  <a:gd name="connsiteY10" fmla="*/ 13721 h 162682"/>
                  <a:gd name="connsiteX11" fmla="*/ 119981 w 212875"/>
                  <a:gd name="connsiteY11" fmla="*/ 16383 h 162682"/>
                  <a:gd name="connsiteX12" fmla="*/ 123960 w 212875"/>
                  <a:gd name="connsiteY12" fmla="*/ 22695 h 162682"/>
                  <a:gd name="connsiteX13" fmla="*/ 129641 w 212875"/>
                  <a:gd name="connsiteY13" fmla="*/ 17042 h 162682"/>
                  <a:gd name="connsiteX14" fmla="*/ 136062 w 212875"/>
                  <a:gd name="connsiteY14" fmla="*/ 14106 h 162682"/>
                  <a:gd name="connsiteX15" fmla="*/ 152391 w 212875"/>
                  <a:gd name="connsiteY15" fmla="*/ 19128 h 162682"/>
                  <a:gd name="connsiteX16" fmla="*/ 155108 w 212875"/>
                  <a:gd name="connsiteY16" fmla="*/ 15286 h 162682"/>
                  <a:gd name="connsiteX17" fmla="*/ 163451 w 212875"/>
                  <a:gd name="connsiteY17" fmla="*/ 12267 h 162682"/>
                  <a:gd name="connsiteX18" fmla="*/ 163451 w 212875"/>
                  <a:gd name="connsiteY18" fmla="*/ 5681 h 162682"/>
                  <a:gd name="connsiteX19" fmla="*/ 171930 w 212875"/>
                  <a:gd name="connsiteY19" fmla="*/ 7355 h 162682"/>
                  <a:gd name="connsiteX20" fmla="*/ 179148 w 212875"/>
                  <a:gd name="connsiteY20" fmla="*/ 21543 h 162682"/>
                  <a:gd name="connsiteX21" fmla="*/ 178324 w 212875"/>
                  <a:gd name="connsiteY21" fmla="*/ 31066 h 162682"/>
                  <a:gd name="connsiteX22" fmla="*/ 182523 w 212875"/>
                  <a:gd name="connsiteY22" fmla="*/ 31889 h 162682"/>
                  <a:gd name="connsiteX23" fmla="*/ 184390 w 212875"/>
                  <a:gd name="connsiteY23" fmla="*/ 35676 h 162682"/>
                  <a:gd name="connsiteX24" fmla="*/ 191305 w 212875"/>
                  <a:gd name="connsiteY24" fmla="*/ 40753 h 162682"/>
                  <a:gd name="connsiteX25" fmla="*/ 186064 w 212875"/>
                  <a:gd name="connsiteY25" fmla="*/ 44952 h 162682"/>
                  <a:gd name="connsiteX26" fmla="*/ 183456 w 212875"/>
                  <a:gd name="connsiteY26" fmla="*/ 50934 h 162682"/>
                  <a:gd name="connsiteX27" fmla="*/ 186914 w 212875"/>
                  <a:gd name="connsiteY27" fmla="*/ 51099 h 162682"/>
                  <a:gd name="connsiteX28" fmla="*/ 190372 w 212875"/>
                  <a:gd name="connsiteY28" fmla="*/ 48218 h 162682"/>
                  <a:gd name="connsiteX29" fmla="*/ 193802 w 212875"/>
                  <a:gd name="connsiteY29" fmla="*/ 49974 h 162682"/>
                  <a:gd name="connsiteX30" fmla="*/ 195092 w 212875"/>
                  <a:gd name="connsiteY30" fmla="*/ 65095 h 162682"/>
                  <a:gd name="connsiteX31" fmla="*/ 196410 w 212875"/>
                  <a:gd name="connsiteY31" fmla="*/ 67373 h 162682"/>
                  <a:gd name="connsiteX32" fmla="*/ 203517 w 212875"/>
                  <a:gd name="connsiteY32" fmla="*/ 71022 h 162682"/>
                  <a:gd name="connsiteX33" fmla="*/ 203517 w 212875"/>
                  <a:gd name="connsiteY33" fmla="*/ 74947 h 162682"/>
                  <a:gd name="connsiteX34" fmla="*/ 198632 w 212875"/>
                  <a:gd name="connsiteY34" fmla="*/ 81012 h 162682"/>
                  <a:gd name="connsiteX35" fmla="*/ 199208 w 212875"/>
                  <a:gd name="connsiteY35" fmla="*/ 87461 h 162682"/>
                  <a:gd name="connsiteX36" fmla="*/ 199208 w 212875"/>
                  <a:gd name="connsiteY36" fmla="*/ 94871 h 162682"/>
                  <a:gd name="connsiteX37" fmla="*/ 201788 w 212875"/>
                  <a:gd name="connsiteY37" fmla="*/ 97889 h 162682"/>
                  <a:gd name="connsiteX38" fmla="*/ 206426 w 212875"/>
                  <a:gd name="connsiteY38" fmla="*/ 97999 h 162682"/>
                  <a:gd name="connsiteX39" fmla="*/ 205658 w 212875"/>
                  <a:gd name="connsiteY39" fmla="*/ 103790 h 162682"/>
                  <a:gd name="connsiteX40" fmla="*/ 208759 w 212875"/>
                  <a:gd name="connsiteY40" fmla="*/ 106753 h 162682"/>
                  <a:gd name="connsiteX41" fmla="*/ 205411 w 212875"/>
                  <a:gd name="connsiteY41" fmla="*/ 110458 h 162682"/>
                  <a:gd name="connsiteX42" fmla="*/ 204478 w 212875"/>
                  <a:gd name="connsiteY42" fmla="*/ 115453 h 162682"/>
                  <a:gd name="connsiteX43" fmla="*/ 209966 w 212875"/>
                  <a:gd name="connsiteY43" fmla="*/ 117950 h 162682"/>
                  <a:gd name="connsiteX44" fmla="*/ 212875 w 212875"/>
                  <a:gd name="connsiteY44" fmla="*/ 128049 h 162682"/>
                  <a:gd name="connsiteX45" fmla="*/ 204121 w 212875"/>
                  <a:gd name="connsiteY45" fmla="*/ 125250 h 162682"/>
                  <a:gd name="connsiteX46" fmla="*/ 196629 w 212875"/>
                  <a:gd name="connsiteY46" fmla="*/ 125826 h 162682"/>
                  <a:gd name="connsiteX47" fmla="*/ 196190 w 212875"/>
                  <a:gd name="connsiteY47" fmla="*/ 132577 h 162682"/>
                  <a:gd name="connsiteX48" fmla="*/ 202310 w 212875"/>
                  <a:gd name="connsiteY48" fmla="*/ 135074 h 162682"/>
                  <a:gd name="connsiteX49" fmla="*/ 203709 w 212875"/>
                  <a:gd name="connsiteY49" fmla="*/ 138203 h 162682"/>
                  <a:gd name="connsiteX50" fmla="*/ 201267 w 212875"/>
                  <a:gd name="connsiteY50" fmla="*/ 140124 h 162682"/>
                  <a:gd name="connsiteX51" fmla="*/ 200279 w 212875"/>
                  <a:gd name="connsiteY51" fmla="*/ 147040 h 162682"/>
                  <a:gd name="connsiteX52" fmla="*/ 197260 w 212875"/>
                  <a:gd name="connsiteY52" fmla="*/ 152583 h 162682"/>
                  <a:gd name="connsiteX53" fmla="*/ 189082 w 212875"/>
                  <a:gd name="connsiteY53" fmla="*/ 152940 h 162682"/>
                  <a:gd name="connsiteX54" fmla="*/ 185871 w 212875"/>
                  <a:gd name="connsiteY54" fmla="*/ 149125 h 162682"/>
                  <a:gd name="connsiteX55" fmla="*/ 183566 w 212875"/>
                  <a:gd name="connsiteY55" fmla="*/ 149207 h 162682"/>
                  <a:gd name="connsiteX56" fmla="*/ 177886 w 212875"/>
                  <a:gd name="connsiteY56" fmla="*/ 160788 h 162682"/>
                  <a:gd name="connsiteX57" fmla="*/ 171327 w 212875"/>
                  <a:gd name="connsiteY57" fmla="*/ 162682 h 162682"/>
                  <a:gd name="connsiteX58" fmla="*/ 166963 w 212875"/>
                  <a:gd name="connsiteY58" fmla="*/ 158346 h 162682"/>
                  <a:gd name="connsiteX59" fmla="*/ 160761 w 212875"/>
                  <a:gd name="connsiteY59" fmla="*/ 156754 h 162682"/>
                  <a:gd name="connsiteX60" fmla="*/ 163011 w 212875"/>
                  <a:gd name="connsiteY60" fmla="*/ 147424 h 162682"/>
                  <a:gd name="connsiteX61" fmla="*/ 158593 w 212875"/>
                  <a:gd name="connsiteY61" fmla="*/ 128461 h 162682"/>
                  <a:gd name="connsiteX62" fmla="*/ 151074 w 212875"/>
                  <a:gd name="connsiteY62" fmla="*/ 124152 h 162682"/>
                  <a:gd name="connsiteX63" fmla="*/ 143417 w 212875"/>
                  <a:gd name="connsiteY63" fmla="*/ 126649 h 162682"/>
                  <a:gd name="connsiteX64" fmla="*/ 140783 w 212875"/>
                  <a:gd name="connsiteY64" fmla="*/ 124811 h 162682"/>
                  <a:gd name="connsiteX65" fmla="*/ 135870 w 212875"/>
                  <a:gd name="connsiteY65" fmla="*/ 125277 h 162682"/>
                  <a:gd name="connsiteX66" fmla="*/ 132879 w 212875"/>
                  <a:gd name="connsiteY66" fmla="*/ 125552 h 162682"/>
                  <a:gd name="connsiteX67" fmla="*/ 127967 w 212875"/>
                  <a:gd name="connsiteY67" fmla="*/ 130162 h 162682"/>
                  <a:gd name="connsiteX68" fmla="*/ 124920 w 212875"/>
                  <a:gd name="connsiteY68" fmla="*/ 129256 h 162682"/>
                  <a:gd name="connsiteX69" fmla="*/ 125579 w 212875"/>
                  <a:gd name="connsiteY69" fmla="*/ 124729 h 162682"/>
                  <a:gd name="connsiteX70" fmla="*/ 129833 w 212875"/>
                  <a:gd name="connsiteY70" fmla="*/ 119651 h 162682"/>
                  <a:gd name="connsiteX71" fmla="*/ 127061 w 212875"/>
                  <a:gd name="connsiteY71" fmla="*/ 114986 h 162682"/>
                  <a:gd name="connsiteX72" fmla="*/ 126403 w 212875"/>
                  <a:gd name="connsiteY72" fmla="*/ 109003 h 162682"/>
                  <a:gd name="connsiteX73" fmla="*/ 122890 w 212875"/>
                  <a:gd name="connsiteY73" fmla="*/ 106863 h 162682"/>
                  <a:gd name="connsiteX74" fmla="*/ 124015 w 212875"/>
                  <a:gd name="connsiteY74" fmla="*/ 100606 h 162682"/>
                  <a:gd name="connsiteX75" fmla="*/ 119926 w 212875"/>
                  <a:gd name="connsiteY75" fmla="*/ 97532 h 162682"/>
                  <a:gd name="connsiteX76" fmla="*/ 114437 w 212875"/>
                  <a:gd name="connsiteY76" fmla="*/ 87516 h 162682"/>
                  <a:gd name="connsiteX77" fmla="*/ 109031 w 212875"/>
                  <a:gd name="connsiteY77" fmla="*/ 80957 h 162682"/>
                  <a:gd name="connsiteX78" fmla="*/ 105875 w 212875"/>
                  <a:gd name="connsiteY78" fmla="*/ 80243 h 162682"/>
                  <a:gd name="connsiteX79" fmla="*/ 90397 w 212875"/>
                  <a:gd name="connsiteY79" fmla="*/ 80353 h 162682"/>
                  <a:gd name="connsiteX80" fmla="*/ 82631 w 212875"/>
                  <a:gd name="connsiteY80" fmla="*/ 83674 h 162682"/>
                  <a:gd name="connsiteX81" fmla="*/ 76374 w 212875"/>
                  <a:gd name="connsiteY81" fmla="*/ 82988 h 162682"/>
                  <a:gd name="connsiteX82" fmla="*/ 71736 w 212875"/>
                  <a:gd name="connsiteY82" fmla="*/ 84415 h 162682"/>
                  <a:gd name="connsiteX83" fmla="*/ 70089 w 212875"/>
                  <a:gd name="connsiteY83" fmla="*/ 87516 h 162682"/>
                  <a:gd name="connsiteX84" fmla="*/ 64985 w 212875"/>
                  <a:gd name="connsiteY84" fmla="*/ 97368 h 162682"/>
                  <a:gd name="connsiteX85" fmla="*/ 58097 w 212875"/>
                  <a:gd name="connsiteY85" fmla="*/ 102198 h 162682"/>
                  <a:gd name="connsiteX86" fmla="*/ 55298 w 212875"/>
                  <a:gd name="connsiteY86" fmla="*/ 107302 h 162682"/>
                  <a:gd name="connsiteX87" fmla="*/ 46982 w 212875"/>
                  <a:gd name="connsiteY87" fmla="*/ 108866 h 162682"/>
                  <a:gd name="connsiteX88" fmla="*/ 48300 w 212875"/>
                  <a:gd name="connsiteY88" fmla="*/ 102472 h 162682"/>
                  <a:gd name="connsiteX89" fmla="*/ 44293 w 212875"/>
                  <a:gd name="connsiteY89" fmla="*/ 100304 h 162682"/>
                  <a:gd name="connsiteX90" fmla="*/ 43415 w 212875"/>
                  <a:gd name="connsiteY90" fmla="*/ 93608 h 162682"/>
                  <a:gd name="connsiteX91" fmla="*/ 37817 w 212875"/>
                  <a:gd name="connsiteY91" fmla="*/ 92318 h 162682"/>
                  <a:gd name="connsiteX92" fmla="*/ 37487 w 212875"/>
                  <a:gd name="connsiteY92" fmla="*/ 87955 h 162682"/>
                  <a:gd name="connsiteX93" fmla="*/ 32602 w 212875"/>
                  <a:gd name="connsiteY93" fmla="*/ 85897 h 162682"/>
                  <a:gd name="connsiteX94" fmla="*/ 24424 w 212875"/>
                  <a:gd name="connsiteY94" fmla="*/ 75606 h 162682"/>
                  <a:gd name="connsiteX95" fmla="*/ 13914 w 212875"/>
                  <a:gd name="connsiteY95" fmla="*/ 72944 h 162682"/>
                  <a:gd name="connsiteX96" fmla="*/ 12130 w 212875"/>
                  <a:gd name="connsiteY96" fmla="*/ 68937 h 162682"/>
                  <a:gd name="connsiteX97" fmla="*/ 7849 w 212875"/>
                  <a:gd name="connsiteY97" fmla="*/ 65397 h 162682"/>
                  <a:gd name="connsiteX98" fmla="*/ 6724 w 212875"/>
                  <a:gd name="connsiteY98" fmla="*/ 57466 h 162682"/>
                  <a:gd name="connsiteX99" fmla="*/ 8315 w 212875"/>
                  <a:gd name="connsiteY99" fmla="*/ 53980 h 162682"/>
                  <a:gd name="connsiteX100" fmla="*/ 5406 w 212875"/>
                  <a:gd name="connsiteY100" fmla="*/ 49342 h 162682"/>
                  <a:gd name="connsiteX101" fmla="*/ 2251 w 212875"/>
                  <a:gd name="connsiteY101" fmla="*/ 49507 h 162682"/>
                  <a:gd name="connsiteX102" fmla="*/ 0 w 212875"/>
                  <a:gd name="connsiteY102" fmla="*/ 47476 h 162682"/>
                  <a:gd name="connsiteX103" fmla="*/ 549 w 212875"/>
                  <a:gd name="connsiteY103" fmla="*/ 46516 h 162682"/>
                  <a:gd name="connsiteX104" fmla="*/ 6833 w 212875"/>
                  <a:gd name="connsiteY104" fmla="*/ 36005 h 162682"/>
                  <a:gd name="connsiteX105" fmla="*/ 12157 w 212875"/>
                  <a:gd name="connsiteY105" fmla="*/ 35017 h 162682"/>
                  <a:gd name="connsiteX106" fmla="*/ 19155 w 212875"/>
                  <a:gd name="connsiteY106" fmla="*/ 30626 h 162682"/>
                  <a:gd name="connsiteX107" fmla="*/ 33865 w 212875"/>
                  <a:gd name="connsiteY107" fmla="*/ 29419 h 162682"/>
                  <a:gd name="connsiteX108" fmla="*/ 34935 w 212875"/>
                  <a:gd name="connsiteY108" fmla="*/ 25824 h 162682"/>
                  <a:gd name="connsiteX109" fmla="*/ 34880 w 212875"/>
                  <a:gd name="connsiteY109" fmla="*/ 20555 h 162682"/>
                  <a:gd name="connsiteX110" fmla="*/ 28376 w 212875"/>
                  <a:gd name="connsiteY110" fmla="*/ 14600 h 162682"/>
                  <a:gd name="connsiteX111" fmla="*/ 35539 w 212875"/>
                  <a:gd name="connsiteY111" fmla="*/ 11526 h 162682"/>
                  <a:gd name="connsiteX112" fmla="*/ 36609 w 212875"/>
                  <a:gd name="connsiteY112" fmla="*/ 5049 h 162682"/>
                  <a:gd name="connsiteX113" fmla="*/ 35072 w 212875"/>
                  <a:gd name="connsiteY113" fmla="*/ 0 h 162682"/>
                  <a:gd name="connsiteX114" fmla="*/ 51867 w 212875"/>
                  <a:gd name="connsiteY114" fmla="*/ 1372 h 162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12875" h="162682">
                    <a:moveTo>
                      <a:pt x="51840" y="1263"/>
                    </a:moveTo>
                    <a:lnTo>
                      <a:pt x="55188" y="5516"/>
                    </a:lnTo>
                    <a:lnTo>
                      <a:pt x="59414" y="4528"/>
                    </a:lnTo>
                    <a:lnTo>
                      <a:pt x="74837" y="10154"/>
                    </a:lnTo>
                    <a:lnTo>
                      <a:pt x="83591" y="7986"/>
                    </a:lnTo>
                    <a:lnTo>
                      <a:pt x="103542" y="7821"/>
                    </a:lnTo>
                    <a:lnTo>
                      <a:pt x="100524" y="14463"/>
                    </a:lnTo>
                    <a:lnTo>
                      <a:pt x="105299" y="19265"/>
                    </a:lnTo>
                    <a:lnTo>
                      <a:pt x="109003" y="19622"/>
                    </a:lnTo>
                    <a:lnTo>
                      <a:pt x="113559" y="14133"/>
                    </a:lnTo>
                    <a:lnTo>
                      <a:pt x="116029" y="13721"/>
                    </a:lnTo>
                    <a:lnTo>
                      <a:pt x="119981" y="16383"/>
                    </a:lnTo>
                    <a:lnTo>
                      <a:pt x="123960" y="22695"/>
                    </a:lnTo>
                    <a:lnTo>
                      <a:pt x="129641" y="17042"/>
                    </a:lnTo>
                    <a:lnTo>
                      <a:pt x="136062" y="14106"/>
                    </a:lnTo>
                    <a:lnTo>
                      <a:pt x="152391" y="19128"/>
                    </a:lnTo>
                    <a:lnTo>
                      <a:pt x="155108" y="15286"/>
                    </a:lnTo>
                    <a:lnTo>
                      <a:pt x="163451" y="12267"/>
                    </a:lnTo>
                    <a:lnTo>
                      <a:pt x="163451" y="5681"/>
                    </a:lnTo>
                    <a:cubicBezTo>
                      <a:pt x="163451" y="5681"/>
                      <a:pt x="171930" y="7355"/>
                      <a:pt x="171930" y="7355"/>
                    </a:cubicBezTo>
                    <a:lnTo>
                      <a:pt x="179148" y="21543"/>
                    </a:lnTo>
                    <a:lnTo>
                      <a:pt x="178324" y="31066"/>
                    </a:lnTo>
                    <a:lnTo>
                      <a:pt x="182523" y="31889"/>
                    </a:lnTo>
                    <a:lnTo>
                      <a:pt x="184390" y="35676"/>
                    </a:lnTo>
                    <a:lnTo>
                      <a:pt x="191305" y="40753"/>
                    </a:lnTo>
                    <a:lnTo>
                      <a:pt x="186064" y="44952"/>
                    </a:lnTo>
                    <a:lnTo>
                      <a:pt x="183456" y="50934"/>
                    </a:lnTo>
                    <a:lnTo>
                      <a:pt x="186914" y="51099"/>
                    </a:lnTo>
                    <a:lnTo>
                      <a:pt x="190372" y="48218"/>
                    </a:lnTo>
                    <a:lnTo>
                      <a:pt x="193802" y="49974"/>
                    </a:lnTo>
                    <a:lnTo>
                      <a:pt x="195092" y="65095"/>
                    </a:lnTo>
                    <a:lnTo>
                      <a:pt x="196410" y="67373"/>
                    </a:lnTo>
                    <a:lnTo>
                      <a:pt x="203517" y="71022"/>
                    </a:lnTo>
                    <a:lnTo>
                      <a:pt x="203517" y="74947"/>
                    </a:lnTo>
                    <a:cubicBezTo>
                      <a:pt x="203517" y="74947"/>
                      <a:pt x="198632" y="81012"/>
                      <a:pt x="198632" y="81012"/>
                    </a:cubicBezTo>
                    <a:lnTo>
                      <a:pt x="199208" y="87461"/>
                    </a:lnTo>
                    <a:lnTo>
                      <a:pt x="199208" y="94871"/>
                    </a:lnTo>
                    <a:cubicBezTo>
                      <a:pt x="199208" y="94871"/>
                      <a:pt x="201788" y="97889"/>
                      <a:pt x="201788" y="97889"/>
                    </a:cubicBezTo>
                    <a:lnTo>
                      <a:pt x="206426" y="97999"/>
                    </a:lnTo>
                    <a:lnTo>
                      <a:pt x="205658" y="103790"/>
                    </a:lnTo>
                    <a:lnTo>
                      <a:pt x="208759" y="106753"/>
                    </a:lnTo>
                    <a:lnTo>
                      <a:pt x="205411" y="110458"/>
                    </a:lnTo>
                    <a:lnTo>
                      <a:pt x="204478" y="115453"/>
                    </a:lnTo>
                    <a:lnTo>
                      <a:pt x="209966" y="117950"/>
                    </a:lnTo>
                    <a:lnTo>
                      <a:pt x="212875" y="128049"/>
                    </a:lnTo>
                    <a:lnTo>
                      <a:pt x="204121" y="125250"/>
                    </a:lnTo>
                    <a:lnTo>
                      <a:pt x="196629" y="125826"/>
                    </a:lnTo>
                    <a:lnTo>
                      <a:pt x="196190" y="132577"/>
                    </a:lnTo>
                    <a:lnTo>
                      <a:pt x="202310" y="135074"/>
                    </a:lnTo>
                    <a:lnTo>
                      <a:pt x="203709" y="138203"/>
                    </a:lnTo>
                    <a:lnTo>
                      <a:pt x="201267" y="140124"/>
                    </a:lnTo>
                    <a:lnTo>
                      <a:pt x="200279" y="147040"/>
                    </a:lnTo>
                    <a:lnTo>
                      <a:pt x="197260" y="152583"/>
                    </a:lnTo>
                    <a:lnTo>
                      <a:pt x="189082" y="152940"/>
                    </a:lnTo>
                    <a:lnTo>
                      <a:pt x="185871" y="149125"/>
                    </a:lnTo>
                    <a:lnTo>
                      <a:pt x="183566" y="149207"/>
                    </a:lnTo>
                    <a:lnTo>
                      <a:pt x="177886" y="160788"/>
                    </a:lnTo>
                    <a:lnTo>
                      <a:pt x="171327" y="162682"/>
                    </a:lnTo>
                    <a:lnTo>
                      <a:pt x="166963" y="158346"/>
                    </a:lnTo>
                    <a:lnTo>
                      <a:pt x="160761" y="156754"/>
                    </a:lnTo>
                    <a:lnTo>
                      <a:pt x="163011" y="147424"/>
                    </a:lnTo>
                    <a:lnTo>
                      <a:pt x="158593" y="128461"/>
                    </a:lnTo>
                    <a:lnTo>
                      <a:pt x="151074" y="124152"/>
                    </a:lnTo>
                    <a:lnTo>
                      <a:pt x="143417" y="126649"/>
                    </a:lnTo>
                    <a:lnTo>
                      <a:pt x="140783" y="124811"/>
                    </a:lnTo>
                    <a:lnTo>
                      <a:pt x="135870" y="125277"/>
                    </a:lnTo>
                    <a:lnTo>
                      <a:pt x="132879" y="125552"/>
                    </a:lnTo>
                    <a:lnTo>
                      <a:pt x="127967" y="130162"/>
                    </a:lnTo>
                    <a:lnTo>
                      <a:pt x="124920" y="129256"/>
                    </a:lnTo>
                    <a:lnTo>
                      <a:pt x="125579" y="124729"/>
                    </a:lnTo>
                    <a:lnTo>
                      <a:pt x="129833" y="119651"/>
                    </a:lnTo>
                    <a:lnTo>
                      <a:pt x="127061" y="114986"/>
                    </a:lnTo>
                    <a:lnTo>
                      <a:pt x="126403" y="109003"/>
                    </a:lnTo>
                    <a:lnTo>
                      <a:pt x="122890" y="106863"/>
                    </a:lnTo>
                    <a:lnTo>
                      <a:pt x="124015" y="100606"/>
                    </a:lnTo>
                    <a:lnTo>
                      <a:pt x="119926" y="97532"/>
                    </a:lnTo>
                    <a:lnTo>
                      <a:pt x="114437" y="87516"/>
                    </a:lnTo>
                    <a:lnTo>
                      <a:pt x="109031" y="80957"/>
                    </a:lnTo>
                    <a:lnTo>
                      <a:pt x="105875" y="80243"/>
                    </a:lnTo>
                    <a:lnTo>
                      <a:pt x="90397" y="80353"/>
                    </a:lnTo>
                    <a:lnTo>
                      <a:pt x="82631" y="83674"/>
                    </a:lnTo>
                    <a:lnTo>
                      <a:pt x="76374" y="82988"/>
                    </a:lnTo>
                    <a:lnTo>
                      <a:pt x="71736" y="84415"/>
                    </a:lnTo>
                    <a:lnTo>
                      <a:pt x="70089" y="87516"/>
                    </a:lnTo>
                    <a:lnTo>
                      <a:pt x="64985" y="97368"/>
                    </a:lnTo>
                    <a:lnTo>
                      <a:pt x="58097" y="102198"/>
                    </a:lnTo>
                    <a:lnTo>
                      <a:pt x="55298" y="107302"/>
                    </a:lnTo>
                    <a:lnTo>
                      <a:pt x="46982" y="108866"/>
                    </a:lnTo>
                    <a:lnTo>
                      <a:pt x="48300" y="102472"/>
                    </a:lnTo>
                    <a:lnTo>
                      <a:pt x="44293" y="100304"/>
                    </a:lnTo>
                    <a:lnTo>
                      <a:pt x="43415" y="93608"/>
                    </a:lnTo>
                    <a:lnTo>
                      <a:pt x="37817" y="92318"/>
                    </a:lnTo>
                    <a:lnTo>
                      <a:pt x="37487" y="87955"/>
                    </a:lnTo>
                    <a:lnTo>
                      <a:pt x="32602" y="85897"/>
                    </a:lnTo>
                    <a:lnTo>
                      <a:pt x="24424" y="75606"/>
                    </a:lnTo>
                    <a:lnTo>
                      <a:pt x="13914" y="72944"/>
                    </a:lnTo>
                    <a:lnTo>
                      <a:pt x="12130" y="68937"/>
                    </a:lnTo>
                    <a:lnTo>
                      <a:pt x="7849" y="65397"/>
                    </a:lnTo>
                    <a:lnTo>
                      <a:pt x="6724" y="57466"/>
                    </a:lnTo>
                    <a:lnTo>
                      <a:pt x="8315" y="53980"/>
                    </a:lnTo>
                    <a:lnTo>
                      <a:pt x="5406" y="49342"/>
                    </a:lnTo>
                    <a:lnTo>
                      <a:pt x="2251" y="49507"/>
                    </a:lnTo>
                    <a:lnTo>
                      <a:pt x="0" y="47476"/>
                    </a:lnTo>
                    <a:lnTo>
                      <a:pt x="549" y="46516"/>
                    </a:lnTo>
                    <a:lnTo>
                      <a:pt x="6833" y="36005"/>
                    </a:lnTo>
                    <a:lnTo>
                      <a:pt x="12157" y="35017"/>
                    </a:lnTo>
                    <a:lnTo>
                      <a:pt x="19155" y="30626"/>
                    </a:lnTo>
                    <a:lnTo>
                      <a:pt x="33865" y="29419"/>
                    </a:lnTo>
                    <a:lnTo>
                      <a:pt x="34935" y="25824"/>
                    </a:lnTo>
                    <a:lnTo>
                      <a:pt x="34880" y="20555"/>
                    </a:lnTo>
                    <a:lnTo>
                      <a:pt x="28376" y="14600"/>
                    </a:lnTo>
                    <a:lnTo>
                      <a:pt x="35539" y="11526"/>
                    </a:lnTo>
                    <a:lnTo>
                      <a:pt x="36609" y="5049"/>
                    </a:lnTo>
                    <a:lnTo>
                      <a:pt x="35072" y="0"/>
                    </a:lnTo>
                    <a:lnTo>
                      <a:pt x="51867" y="13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1" name="Freeform: Shape 4000">
                <a:extLst>
                  <a:ext uri="{FF2B5EF4-FFF2-40B4-BE49-F238E27FC236}">
                    <a16:creationId xmlns:a16="http://schemas.microsoft.com/office/drawing/2014/main" id="{0C303E22-3760-B06D-3B99-AB52863AC36B}"/>
                  </a:ext>
                </a:extLst>
              </p:cNvPr>
              <p:cNvSpPr/>
              <p:nvPr/>
            </p:nvSpPr>
            <p:spPr>
              <a:xfrm>
                <a:off x="1319176" y="3810598"/>
                <a:ext cx="530" cy="624"/>
              </a:xfrm>
              <a:custGeom>
                <a:avLst/>
                <a:gdLst>
                  <a:gd name="connsiteX0" fmla="*/ 2937 w 5077"/>
                  <a:gd name="connsiteY0" fmla="*/ 4116 h 5982"/>
                  <a:gd name="connsiteX1" fmla="*/ 2937 w 5077"/>
                  <a:gd name="connsiteY1" fmla="*/ 5983 h 5982"/>
                  <a:gd name="connsiteX2" fmla="*/ 1125 w 5077"/>
                  <a:gd name="connsiteY2" fmla="*/ 5104 h 5982"/>
                  <a:gd name="connsiteX3" fmla="*/ 0 w 5077"/>
                  <a:gd name="connsiteY3" fmla="*/ 2991 h 5982"/>
                  <a:gd name="connsiteX4" fmla="*/ 2964 w 5077"/>
                  <a:gd name="connsiteY4" fmla="*/ 0 h 5982"/>
                  <a:gd name="connsiteX5" fmla="*/ 4666 w 5077"/>
                  <a:gd name="connsiteY5" fmla="*/ 357 h 5982"/>
                  <a:gd name="connsiteX6" fmla="*/ 5077 w 5077"/>
                  <a:gd name="connsiteY6" fmla="*/ 2882 h 5982"/>
                  <a:gd name="connsiteX7" fmla="*/ 2992 w 5077"/>
                  <a:gd name="connsiteY7" fmla="*/ 4116 h 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7" h="5982">
                    <a:moveTo>
                      <a:pt x="2937" y="4116"/>
                    </a:moveTo>
                    <a:lnTo>
                      <a:pt x="2937" y="5983"/>
                    </a:lnTo>
                    <a:lnTo>
                      <a:pt x="1125" y="5104"/>
                    </a:lnTo>
                    <a:lnTo>
                      <a:pt x="0" y="2991"/>
                    </a:lnTo>
                    <a:lnTo>
                      <a:pt x="2964" y="0"/>
                    </a:lnTo>
                    <a:lnTo>
                      <a:pt x="4666" y="357"/>
                    </a:lnTo>
                    <a:lnTo>
                      <a:pt x="5077" y="2882"/>
                    </a:lnTo>
                    <a:lnTo>
                      <a:pt x="2992" y="41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2" name="Freeform: Shape 4001">
                <a:extLst>
                  <a:ext uri="{FF2B5EF4-FFF2-40B4-BE49-F238E27FC236}">
                    <a16:creationId xmlns:a16="http://schemas.microsoft.com/office/drawing/2014/main" id="{B4536362-7611-8A8B-0DB9-55C6A94CBE4C}"/>
                  </a:ext>
                </a:extLst>
              </p:cNvPr>
              <p:cNvSpPr/>
              <p:nvPr/>
            </p:nvSpPr>
            <p:spPr>
              <a:xfrm>
                <a:off x="1319892" y="3810710"/>
                <a:ext cx="326" cy="389"/>
              </a:xfrm>
              <a:custGeom>
                <a:avLst/>
                <a:gdLst>
                  <a:gd name="connsiteX0" fmla="*/ 3129 w 3128"/>
                  <a:gd name="connsiteY0" fmla="*/ 2854 h 3732"/>
                  <a:gd name="connsiteX1" fmla="*/ 1427 w 3128"/>
                  <a:gd name="connsiteY1" fmla="*/ 3732 h 3732"/>
                  <a:gd name="connsiteX2" fmla="*/ 0 w 3128"/>
                  <a:gd name="connsiteY2" fmla="*/ 2388 h 3732"/>
                  <a:gd name="connsiteX3" fmla="*/ 1839 w 3128"/>
                  <a:gd name="connsiteY3" fmla="*/ 0 h 3732"/>
                  <a:gd name="connsiteX4" fmla="*/ 2799 w 3128"/>
                  <a:gd name="connsiteY4" fmla="*/ 274 h 3732"/>
                  <a:gd name="connsiteX5" fmla="*/ 3129 w 3128"/>
                  <a:gd name="connsiteY5" fmla="*/ 2854 h 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3732">
                    <a:moveTo>
                      <a:pt x="3129" y="2854"/>
                    </a:moveTo>
                    <a:lnTo>
                      <a:pt x="1427" y="3732"/>
                    </a:lnTo>
                    <a:lnTo>
                      <a:pt x="0" y="2388"/>
                    </a:lnTo>
                    <a:lnTo>
                      <a:pt x="1839" y="0"/>
                    </a:lnTo>
                    <a:lnTo>
                      <a:pt x="2799" y="274"/>
                    </a:lnTo>
                    <a:lnTo>
                      <a:pt x="3129"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3" name="Freeform: Shape 4002">
                <a:extLst>
                  <a:ext uri="{FF2B5EF4-FFF2-40B4-BE49-F238E27FC236}">
                    <a16:creationId xmlns:a16="http://schemas.microsoft.com/office/drawing/2014/main" id="{EFDC683F-2F64-90C8-F5D2-3A4DF8622EE9}"/>
                  </a:ext>
                </a:extLst>
              </p:cNvPr>
              <p:cNvSpPr/>
              <p:nvPr/>
            </p:nvSpPr>
            <p:spPr>
              <a:xfrm>
                <a:off x="1394104" y="3837249"/>
                <a:ext cx="6059" cy="4313"/>
              </a:xfrm>
              <a:custGeom>
                <a:avLst/>
                <a:gdLst>
                  <a:gd name="connsiteX0" fmla="*/ 15039 w 58096"/>
                  <a:gd name="connsiteY0" fmla="*/ 3074 h 41356"/>
                  <a:gd name="connsiteX1" fmla="*/ 20445 w 58096"/>
                  <a:gd name="connsiteY1" fmla="*/ 5324 h 41356"/>
                  <a:gd name="connsiteX2" fmla="*/ 58097 w 58096"/>
                  <a:gd name="connsiteY2" fmla="*/ 5132 h 41356"/>
                  <a:gd name="connsiteX3" fmla="*/ 57438 w 58096"/>
                  <a:gd name="connsiteY3" fmla="*/ 39408 h 41356"/>
                  <a:gd name="connsiteX4" fmla="*/ 20363 w 58096"/>
                  <a:gd name="connsiteY4" fmla="*/ 39765 h 41356"/>
                  <a:gd name="connsiteX5" fmla="*/ 17289 w 58096"/>
                  <a:gd name="connsiteY5" fmla="*/ 41357 h 41356"/>
                  <a:gd name="connsiteX6" fmla="*/ 8919 w 58096"/>
                  <a:gd name="connsiteY6" fmla="*/ 37926 h 41356"/>
                  <a:gd name="connsiteX7" fmla="*/ 1455 w 58096"/>
                  <a:gd name="connsiteY7" fmla="*/ 36197 h 41356"/>
                  <a:gd name="connsiteX8" fmla="*/ 0 w 58096"/>
                  <a:gd name="connsiteY8" fmla="*/ 34084 h 41356"/>
                  <a:gd name="connsiteX9" fmla="*/ 12843 w 58096"/>
                  <a:gd name="connsiteY9" fmla="*/ 12789 h 41356"/>
                  <a:gd name="connsiteX10" fmla="*/ 13612 w 58096"/>
                  <a:gd name="connsiteY10" fmla="*/ 0 h 41356"/>
                  <a:gd name="connsiteX11" fmla="*/ 15066 w 58096"/>
                  <a:gd name="connsiteY11" fmla="*/ 3046 h 41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096" h="41356">
                    <a:moveTo>
                      <a:pt x="15039" y="3074"/>
                    </a:moveTo>
                    <a:lnTo>
                      <a:pt x="20445" y="5324"/>
                    </a:lnTo>
                    <a:lnTo>
                      <a:pt x="58097" y="5132"/>
                    </a:lnTo>
                    <a:lnTo>
                      <a:pt x="57438" y="39408"/>
                    </a:lnTo>
                    <a:lnTo>
                      <a:pt x="20363" y="39765"/>
                    </a:lnTo>
                    <a:lnTo>
                      <a:pt x="17289" y="41357"/>
                    </a:lnTo>
                    <a:lnTo>
                      <a:pt x="8919" y="37926"/>
                    </a:lnTo>
                    <a:lnTo>
                      <a:pt x="1455" y="36197"/>
                    </a:lnTo>
                    <a:lnTo>
                      <a:pt x="0" y="34084"/>
                    </a:lnTo>
                    <a:lnTo>
                      <a:pt x="12843" y="12789"/>
                    </a:lnTo>
                    <a:lnTo>
                      <a:pt x="13612" y="0"/>
                    </a:lnTo>
                    <a:lnTo>
                      <a:pt x="15066"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4" name="Freeform: Shape 4003">
                <a:extLst>
                  <a:ext uri="{FF2B5EF4-FFF2-40B4-BE49-F238E27FC236}">
                    <a16:creationId xmlns:a16="http://schemas.microsoft.com/office/drawing/2014/main" id="{D3E2B1DE-CB09-CFA0-B428-26CAF91140FA}"/>
                  </a:ext>
                </a:extLst>
              </p:cNvPr>
              <p:cNvSpPr/>
              <p:nvPr/>
            </p:nvSpPr>
            <p:spPr>
              <a:xfrm>
                <a:off x="1391213" y="3832864"/>
                <a:ext cx="1586" cy="1735"/>
              </a:xfrm>
              <a:custGeom>
                <a:avLst/>
                <a:gdLst>
                  <a:gd name="connsiteX0" fmla="*/ 8096 w 15203"/>
                  <a:gd name="connsiteY0" fmla="*/ 0 h 16630"/>
                  <a:gd name="connsiteX1" fmla="*/ 9331 w 15203"/>
                  <a:gd name="connsiteY1" fmla="*/ 494 h 16630"/>
                  <a:gd name="connsiteX2" fmla="*/ 13831 w 15203"/>
                  <a:gd name="connsiteY2" fmla="*/ 274 h 16630"/>
                  <a:gd name="connsiteX3" fmla="*/ 15204 w 15203"/>
                  <a:gd name="connsiteY3" fmla="*/ 1893 h 16630"/>
                  <a:gd name="connsiteX4" fmla="*/ 15121 w 15203"/>
                  <a:gd name="connsiteY4" fmla="*/ 4116 h 16630"/>
                  <a:gd name="connsiteX5" fmla="*/ 13008 w 15203"/>
                  <a:gd name="connsiteY5" fmla="*/ 6970 h 16630"/>
                  <a:gd name="connsiteX6" fmla="*/ 10181 w 15203"/>
                  <a:gd name="connsiteY6" fmla="*/ 13557 h 16630"/>
                  <a:gd name="connsiteX7" fmla="*/ 7712 w 15203"/>
                  <a:gd name="connsiteY7" fmla="*/ 16630 h 16630"/>
                  <a:gd name="connsiteX8" fmla="*/ 741 w 15203"/>
                  <a:gd name="connsiteY8" fmla="*/ 14627 h 16630"/>
                  <a:gd name="connsiteX9" fmla="*/ 0 w 15203"/>
                  <a:gd name="connsiteY9" fmla="*/ 12267 h 16630"/>
                  <a:gd name="connsiteX10" fmla="*/ 1839 w 15203"/>
                  <a:gd name="connsiteY10" fmla="*/ 8974 h 16630"/>
                  <a:gd name="connsiteX11" fmla="*/ 4720 w 15203"/>
                  <a:gd name="connsiteY11" fmla="*/ 8974 h 16630"/>
                  <a:gd name="connsiteX12" fmla="*/ 5681 w 15203"/>
                  <a:gd name="connsiteY12" fmla="*/ 6147 h 16630"/>
                  <a:gd name="connsiteX13" fmla="*/ 5735 w 15203"/>
                  <a:gd name="connsiteY13" fmla="*/ 3266 h 16630"/>
                  <a:gd name="connsiteX14" fmla="*/ 8123 w 15203"/>
                  <a:gd name="connsiteY14" fmla="*/ 27 h 1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3" h="16630">
                    <a:moveTo>
                      <a:pt x="8096" y="0"/>
                    </a:moveTo>
                    <a:lnTo>
                      <a:pt x="9331" y="494"/>
                    </a:lnTo>
                    <a:lnTo>
                      <a:pt x="13831" y="274"/>
                    </a:lnTo>
                    <a:lnTo>
                      <a:pt x="15204" y="1893"/>
                    </a:lnTo>
                    <a:lnTo>
                      <a:pt x="15121" y="4116"/>
                    </a:lnTo>
                    <a:lnTo>
                      <a:pt x="13008" y="6970"/>
                    </a:lnTo>
                    <a:lnTo>
                      <a:pt x="10181" y="13557"/>
                    </a:lnTo>
                    <a:lnTo>
                      <a:pt x="7712" y="16630"/>
                    </a:lnTo>
                    <a:lnTo>
                      <a:pt x="741" y="14627"/>
                    </a:lnTo>
                    <a:lnTo>
                      <a:pt x="0" y="12267"/>
                    </a:lnTo>
                    <a:lnTo>
                      <a:pt x="1839" y="8974"/>
                    </a:lnTo>
                    <a:lnTo>
                      <a:pt x="4720" y="8974"/>
                    </a:lnTo>
                    <a:lnTo>
                      <a:pt x="5681" y="6147"/>
                    </a:lnTo>
                    <a:lnTo>
                      <a:pt x="5735" y="3266"/>
                    </a:lnTo>
                    <a:lnTo>
                      <a:pt x="8123"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5" name="Freeform: Shape 4004">
                <a:extLst>
                  <a:ext uri="{FF2B5EF4-FFF2-40B4-BE49-F238E27FC236}">
                    <a16:creationId xmlns:a16="http://schemas.microsoft.com/office/drawing/2014/main" id="{159243A0-EF9E-9748-4B02-F004148339E5}"/>
                  </a:ext>
                </a:extLst>
              </p:cNvPr>
              <p:cNvSpPr/>
              <p:nvPr/>
            </p:nvSpPr>
            <p:spPr>
              <a:xfrm>
                <a:off x="1082462" y="3788919"/>
                <a:ext cx="12302" cy="12972"/>
              </a:xfrm>
              <a:custGeom>
                <a:avLst/>
                <a:gdLst>
                  <a:gd name="connsiteX0" fmla="*/ 97642 w 117949"/>
                  <a:gd name="connsiteY0" fmla="*/ 58701 h 124371"/>
                  <a:gd name="connsiteX1" fmla="*/ 105793 w 117949"/>
                  <a:gd name="connsiteY1" fmla="*/ 62954 h 124371"/>
                  <a:gd name="connsiteX2" fmla="*/ 109607 w 117949"/>
                  <a:gd name="connsiteY2" fmla="*/ 59140 h 124371"/>
                  <a:gd name="connsiteX3" fmla="*/ 117950 w 117949"/>
                  <a:gd name="connsiteY3" fmla="*/ 64217 h 124371"/>
                  <a:gd name="connsiteX4" fmla="*/ 106479 w 117949"/>
                  <a:gd name="connsiteY4" fmla="*/ 73931 h 124371"/>
                  <a:gd name="connsiteX5" fmla="*/ 90864 w 117949"/>
                  <a:gd name="connsiteY5" fmla="*/ 84525 h 124371"/>
                  <a:gd name="connsiteX6" fmla="*/ 88970 w 117949"/>
                  <a:gd name="connsiteY6" fmla="*/ 90836 h 124371"/>
                  <a:gd name="connsiteX7" fmla="*/ 90507 w 117949"/>
                  <a:gd name="connsiteY7" fmla="*/ 97587 h 124371"/>
                  <a:gd name="connsiteX8" fmla="*/ 84689 w 117949"/>
                  <a:gd name="connsiteY8" fmla="*/ 103844 h 124371"/>
                  <a:gd name="connsiteX9" fmla="*/ 78679 w 117949"/>
                  <a:gd name="connsiteY9" fmla="*/ 104613 h 124371"/>
                  <a:gd name="connsiteX10" fmla="*/ 79063 w 117949"/>
                  <a:gd name="connsiteY10" fmla="*/ 109690 h 124371"/>
                  <a:gd name="connsiteX11" fmla="*/ 75331 w 117949"/>
                  <a:gd name="connsiteY11" fmla="*/ 111528 h 124371"/>
                  <a:gd name="connsiteX12" fmla="*/ 73026 w 117949"/>
                  <a:gd name="connsiteY12" fmla="*/ 114959 h 124371"/>
                  <a:gd name="connsiteX13" fmla="*/ 65067 w 117949"/>
                  <a:gd name="connsiteY13" fmla="*/ 118554 h 124371"/>
                  <a:gd name="connsiteX14" fmla="*/ 61994 w 117949"/>
                  <a:gd name="connsiteY14" fmla="*/ 124371 h 124371"/>
                  <a:gd name="connsiteX15" fmla="*/ 61719 w 117949"/>
                  <a:gd name="connsiteY15" fmla="*/ 124234 h 124371"/>
                  <a:gd name="connsiteX16" fmla="*/ 58371 w 117949"/>
                  <a:gd name="connsiteY16" fmla="*/ 122917 h 124371"/>
                  <a:gd name="connsiteX17" fmla="*/ 56752 w 117949"/>
                  <a:gd name="connsiteY17" fmla="*/ 122313 h 124371"/>
                  <a:gd name="connsiteX18" fmla="*/ 48821 w 117949"/>
                  <a:gd name="connsiteY18" fmla="*/ 119432 h 124371"/>
                  <a:gd name="connsiteX19" fmla="*/ 42235 w 117949"/>
                  <a:gd name="connsiteY19" fmla="*/ 118801 h 124371"/>
                  <a:gd name="connsiteX20" fmla="*/ 25412 w 117949"/>
                  <a:gd name="connsiteY20" fmla="*/ 117099 h 124371"/>
                  <a:gd name="connsiteX21" fmla="*/ 13502 w 117949"/>
                  <a:gd name="connsiteY21" fmla="*/ 110842 h 124371"/>
                  <a:gd name="connsiteX22" fmla="*/ 0 w 117949"/>
                  <a:gd name="connsiteY22" fmla="*/ 100331 h 124371"/>
                  <a:gd name="connsiteX23" fmla="*/ 3869 w 117949"/>
                  <a:gd name="connsiteY23" fmla="*/ 85211 h 124371"/>
                  <a:gd name="connsiteX24" fmla="*/ 2058 w 117949"/>
                  <a:gd name="connsiteY24" fmla="*/ 76676 h 124371"/>
                  <a:gd name="connsiteX25" fmla="*/ 14654 w 117949"/>
                  <a:gd name="connsiteY25" fmla="*/ 54419 h 124371"/>
                  <a:gd name="connsiteX26" fmla="*/ 42235 w 117949"/>
                  <a:gd name="connsiteY26" fmla="*/ 53569 h 124371"/>
                  <a:gd name="connsiteX27" fmla="*/ 47751 w 117949"/>
                  <a:gd name="connsiteY27" fmla="*/ 53376 h 124371"/>
                  <a:gd name="connsiteX28" fmla="*/ 52443 w 117949"/>
                  <a:gd name="connsiteY28" fmla="*/ 51071 h 124371"/>
                  <a:gd name="connsiteX29" fmla="*/ 53102 w 117949"/>
                  <a:gd name="connsiteY29" fmla="*/ 45363 h 124371"/>
                  <a:gd name="connsiteX30" fmla="*/ 51565 w 117949"/>
                  <a:gd name="connsiteY30" fmla="*/ 42262 h 124371"/>
                  <a:gd name="connsiteX31" fmla="*/ 44458 w 117949"/>
                  <a:gd name="connsiteY31" fmla="*/ 34139 h 124371"/>
                  <a:gd name="connsiteX32" fmla="*/ 42235 w 117949"/>
                  <a:gd name="connsiteY32" fmla="*/ 32630 h 124371"/>
                  <a:gd name="connsiteX33" fmla="*/ 34386 w 117949"/>
                  <a:gd name="connsiteY33" fmla="*/ 27443 h 124371"/>
                  <a:gd name="connsiteX34" fmla="*/ 26510 w 117949"/>
                  <a:gd name="connsiteY34" fmla="*/ 18853 h 124371"/>
                  <a:gd name="connsiteX35" fmla="*/ 35676 w 117949"/>
                  <a:gd name="connsiteY35" fmla="*/ 15313 h 124371"/>
                  <a:gd name="connsiteX36" fmla="*/ 38256 w 117949"/>
                  <a:gd name="connsiteY36" fmla="*/ 960 h 124371"/>
                  <a:gd name="connsiteX37" fmla="*/ 42235 w 117949"/>
                  <a:gd name="connsiteY37" fmla="*/ 878 h 124371"/>
                  <a:gd name="connsiteX38" fmla="*/ 56725 w 117949"/>
                  <a:gd name="connsiteY38" fmla="*/ 604 h 124371"/>
                  <a:gd name="connsiteX39" fmla="*/ 58344 w 117949"/>
                  <a:gd name="connsiteY39" fmla="*/ 604 h 124371"/>
                  <a:gd name="connsiteX40" fmla="*/ 90726 w 117949"/>
                  <a:gd name="connsiteY40" fmla="*/ 0 h 124371"/>
                  <a:gd name="connsiteX41" fmla="*/ 90287 w 117949"/>
                  <a:gd name="connsiteY41" fmla="*/ 30599 h 124371"/>
                  <a:gd name="connsiteX42" fmla="*/ 88778 w 117949"/>
                  <a:gd name="connsiteY42" fmla="*/ 57768 h 124371"/>
                  <a:gd name="connsiteX43" fmla="*/ 97615 w 117949"/>
                  <a:gd name="connsiteY43" fmla="*/ 58673 h 12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7949" h="124371">
                    <a:moveTo>
                      <a:pt x="97642" y="58701"/>
                    </a:moveTo>
                    <a:lnTo>
                      <a:pt x="105793" y="62954"/>
                    </a:lnTo>
                    <a:lnTo>
                      <a:pt x="109607" y="59140"/>
                    </a:lnTo>
                    <a:lnTo>
                      <a:pt x="117950" y="64217"/>
                    </a:lnTo>
                    <a:lnTo>
                      <a:pt x="106479" y="73931"/>
                    </a:lnTo>
                    <a:lnTo>
                      <a:pt x="90864" y="84525"/>
                    </a:lnTo>
                    <a:lnTo>
                      <a:pt x="88970" y="90836"/>
                    </a:lnTo>
                    <a:lnTo>
                      <a:pt x="90507" y="97587"/>
                    </a:lnTo>
                    <a:lnTo>
                      <a:pt x="84689" y="103844"/>
                    </a:lnTo>
                    <a:lnTo>
                      <a:pt x="78679" y="104613"/>
                    </a:lnTo>
                    <a:lnTo>
                      <a:pt x="79063" y="109690"/>
                    </a:lnTo>
                    <a:lnTo>
                      <a:pt x="75331" y="111528"/>
                    </a:lnTo>
                    <a:lnTo>
                      <a:pt x="73026" y="114959"/>
                    </a:lnTo>
                    <a:lnTo>
                      <a:pt x="65067" y="118554"/>
                    </a:lnTo>
                    <a:lnTo>
                      <a:pt x="61994" y="124371"/>
                    </a:lnTo>
                    <a:lnTo>
                      <a:pt x="61719" y="124234"/>
                    </a:lnTo>
                    <a:lnTo>
                      <a:pt x="58371" y="122917"/>
                    </a:lnTo>
                    <a:lnTo>
                      <a:pt x="56752" y="122313"/>
                    </a:lnTo>
                    <a:lnTo>
                      <a:pt x="48821" y="119432"/>
                    </a:lnTo>
                    <a:lnTo>
                      <a:pt x="42235" y="118801"/>
                    </a:lnTo>
                    <a:lnTo>
                      <a:pt x="25412" y="117099"/>
                    </a:lnTo>
                    <a:lnTo>
                      <a:pt x="13502" y="110842"/>
                    </a:lnTo>
                    <a:lnTo>
                      <a:pt x="0" y="100331"/>
                    </a:lnTo>
                    <a:lnTo>
                      <a:pt x="3869" y="85211"/>
                    </a:lnTo>
                    <a:lnTo>
                      <a:pt x="2058" y="76676"/>
                    </a:lnTo>
                    <a:lnTo>
                      <a:pt x="14654" y="54419"/>
                    </a:lnTo>
                    <a:lnTo>
                      <a:pt x="42235" y="53569"/>
                    </a:lnTo>
                    <a:lnTo>
                      <a:pt x="47751" y="53376"/>
                    </a:lnTo>
                    <a:lnTo>
                      <a:pt x="52443" y="51071"/>
                    </a:lnTo>
                    <a:lnTo>
                      <a:pt x="53102" y="45363"/>
                    </a:lnTo>
                    <a:lnTo>
                      <a:pt x="51565" y="42262"/>
                    </a:lnTo>
                    <a:lnTo>
                      <a:pt x="44458" y="34139"/>
                    </a:lnTo>
                    <a:lnTo>
                      <a:pt x="42235" y="32630"/>
                    </a:lnTo>
                    <a:lnTo>
                      <a:pt x="34386" y="27443"/>
                    </a:lnTo>
                    <a:lnTo>
                      <a:pt x="26510" y="18853"/>
                    </a:lnTo>
                    <a:lnTo>
                      <a:pt x="35676" y="15313"/>
                    </a:lnTo>
                    <a:lnTo>
                      <a:pt x="38256" y="960"/>
                    </a:lnTo>
                    <a:lnTo>
                      <a:pt x="42235" y="878"/>
                    </a:lnTo>
                    <a:lnTo>
                      <a:pt x="56725" y="604"/>
                    </a:lnTo>
                    <a:lnTo>
                      <a:pt x="58344" y="604"/>
                    </a:lnTo>
                    <a:cubicBezTo>
                      <a:pt x="58344" y="604"/>
                      <a:pt x="90726" y="0"/>
                      <a:pt x="90726" y="0"/>
                    </a:cubicBezTo>
                    <a:lnTo>
                      <a:pt x="90287" y="30599"/>
                    </a:lnTo>
                    <a:lnTo>
                      <a:pt x="88778" y="57768"/>
                    </a:lnTo>
                    <a:lnTo>
                      <a:pt x="97615" y="586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6" name="Freeform: Shape 4005">
                <a:extLst>
                  <a:ext uri="{FF2B5EF4-FFF2-40B4-BE49-F238E27FC236}">
                    <a16:creationId xmlns:a16="http://schemas.microsoft.com/office/drawing/2014/main" id="{62D347A4-BC02-687C-4CAE-590890951D70}"/>
                  </a:ext>
                </a:extLst>
              </p:cNvPr>
              <p:cNvSpPr/>
              <p:nvPr/>
            </p:nvSpPr>
            <p:spPr>
              <a:xfrm>
                <a:off x="1197939" y="3826839"/>
                <a:ext cx="9056" cy="11094"/>
              </a:xfrm>
              <a:custGeom>
                <a:avLst/>
                <a:gdLst>
                  <a:gd name="connsiteX0" fmla="*/ 56560 w 86829"/>
                  <a:gd name="connsiteY0" fmla="*/ 98657 h 106369"/>
                  <a:gd name="connsiteX1" fmla="*/ 48546 w 86829"/>
                  <a:gd name="connsiteY1" fmla="*/ 104640 h 106369"/>
                  <a:gd name="connsiteX2" fmla="*/ 40423 w 86829"/>
                  <a:gd name="connsiteY2" fmla="*/ 104009 h 106369"/>
                  <a:gd name="connsiteX3" fmla="*/ 37460 w 86829"/>
                  <a:gd name="connsiteY3" fmla="*/ 100634 h 106369"/>
                  <a:gd name="connsiteX4" fmla="*/ 31587 w 86829"/>
                  <a:gd name="connsiteY4" fmla="*/ 102417 h 106369"/>
                  <a:gd name="connsiteX5" fmla="*/ 24205 w 86829"/>
                  <a:gd name="connsiteY5" fmla="*/ 99618 h 106369"/>
                  <a:gd name="connsiteX6" fmla="*/ 13420 w 86829"/>
                  <a:gd name="connsiteY6" fmla="*/ 106369 h 106369"/>
                  <a:gd name="connsiteX7" fmla="*/ 7821 w 86829"/>
                  <a:gd name="connsiteY7" fmla="*/ 105354 h 106369"/>
                  <a:gd name="connsiteX8" fmla="*/ 0 w 86829"/>
                  <a:gd name="connsiteY8" fmla="*/ 100606 h 106369"/>
                  <a:gd name="connsiteX9" fmla="*/ 6065 w 86829"/>
                  <a:gd name="connsiteY9" fmla="*/ 95776 h 106369"/>
                  <a:gd name="connsiteX10" fmla="*/ 11032 w 86829"/>
                  <a:gd name="connsiteY10" fmla="*/ 86994 h 106369"/>
                  <a:gd name="connsiteX11" fmla="*/ 12020 w 86829"/>
                  <a:gd name="connsiteY11" fmla="*/ 75002 h 106369"/>
                  <a:gd name="connsiteX12" fmla="*/ 15862 w 86829"/>
                  <a:gd name="connsiteY12" fmla="*/ 70281 h 106369"/>
                  <a:gd name="connsiteX13" fmla="*/ 17564 w 86829"/>
                  <a:gd name="connsiteY13" fmla="*/ 63887 h 106369"/>
                  <a:gd name="connsiteX14" fmla="*/ 7547 w 86829"/>
                  <a:gd name="connsiteY14" fmla="*/ 50276 h 106369"/>
                  <a:gd name="connsiteX15" fmla="*/ 4446 w 86829"/>
                  <a:gd name="connsiteY15" fmla="*/ 38585 h 106369"/>
                  <a:gd name="connsiteX16" fmla="*/ 3403 w 86829"/>
                  <a:gd name="connsiteY16" fmla="*/ 25714 h 106369"/>
                  <a:gd name="connsiteX17" fmla="*/ 5077 w 86829"/>
                  <a:gd name="connsiteY17" fmla="*/ 19841 h 106369"/>
                  <a:gd name="connsiteX18" fmla="*/ 17152 w 86829"/>
                  <a:gd name="connsiteY18" fmla="*/ 3924 h 106369"/>
                  <a:gd name="connsiteX19" fmla="*/ 17838 w 86829"/>
                  <a:gd name="connsiteY19" fmla="*/ 686 h 106369"/>
                  <a:gd name="connsiteX20" fmla="*/ 20061 w 86829"/>
                  <a:gd name="connsiteY20" fmla="*/ 0 h 106369"/>
                  <a:gd name="connsiteX21" fmla="*/ 32739 w 86829"/>
                  <a:gd name="connsiteY21" fmla="*/ 4857 h 106369"/>
                  <a:gd name="connsiteX22" fmla="*/ 40451 w 86829"/>
                  <a:gd name="connsiteY22" fmla="*/ 5928 h 106369"/>
                  <a:gd name="connsiteX23" fmla="*/ 48711 w 86829"/>
                  <a:gd name="connsiteY23" fmla="*/ 8891 h 106369"/>
                  <a:gd name="connsiteX24" fmla="*/ 64655 w 86829"/>
                  <a:gd name="connsiteY24" fmla="*/ 23135 h 106369"/>
                  <a:gd name="connsiteX25" fmla="*/ 80682 w 86829"/>
                  <a:gd name="connsiteY25" fmla="*/ 32026 h 106369"/>
                  <a:gd name="connsiteX26" fmla="*/ 83399 w 86829"/>
                  <a:gd name="connsiteY26" fmla="*/ 38640 h 106369"/>
                  <a:gd name="connsiteX27" fmla="*/ 86830 w 86829"/>
                  <a:gd name="connsiteY27" fmla="*/ 45253 h 106369"/>
                  <a:gd name="connsiteX28" fmla="*/ 86281 w 86829"/>
                  <a:gd name="connsiteY28" fmla="*/ 49590 h 106369"/>
                  <a:gd name="connsiteX29" fmla="*/ 66769 w 86829"/>
                  <a:gd name="connsiteY29" fmla="*/ 75441 h 106369"/>
                  <a:gd name="connsiteX30" fmla="*/ 59798 w 86829"/>
                  <a:gd name="connsiteY30" fmla="*/ 94404 h 106369"/>
                  <a:gd name="connsiteX31" fmla="*/ 56615 w 86829"/>
                  <a:gd name="connsiteY31" fmla="*/ 98740 h 10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6829" h="106369">
                    <a:moveTo>
                      <a:pt x="56560" y="98657"/>
                    </a:moveTo>
                    <a:lnTo>
                      <a:pt x="48546" y="104640"/>
                    </a:lnTo>
                    <a:lnTo>
                      <a:pt x="40423" y="104009"/>
                    </a:lnTo>
                    <a:lnTo>
                      <a:pt x="37460" y="100634"/>
                    </a:lnTo>
                    <a:lnTo>
                      <a:pt x="31587" y="102417"/>
                    </a:lnTo>
                    <a:lnTo>
                      <a:pt x="24205" y="99618"/>
                    </a:lnTo>
                    <a:lnTo>
                      <a:pt x="13420" y="106369"/>
                    </a:lnTo>
                    <a:lnTo>
                      <a:pt x="7821" y="105354"/>
                    </a:lnTo>
                    <a:lnTo>
                      <a:pt x="0" y="100606"/>
                    </a:lnTo>
                    <a:lnTo>
                      <a:pt x="6065" y="95776"/>
                    </a:lnTo>
                    <a:lnTo>
                      <a:pt x="11032" y="86994"/>
                    </a:lnTo>
                    <a:lnTo>
                      <a:pt x="12020" y="75002"/>
                    </a:lnTo>
                    <a:lnTo>
                      <a:pt x="15862" y="70281"/>
                    </a:lnTo>
                    <a:lnTo>
                      <a:pt x="17564" y="63887"/>
                    </a:lnTo>
                    <a:lnTo>
                      <a:pt x="7547" y="50276"/>
                    </a:lnTo>
                    <a:lnTo>
                      <a:pt x="4446" y="38585"/>
                    </a:lnTo>
                    <a:lnTo>
                      <a:pt x="3403" y="25714"/>
                    </a:lnTo>
                    <a:lnTo>
                      <a:pt x="5077" y="19841"/>
                    </a:lnTo>
                    <a:lnTo>
                      <a:pt x="17152" y="3924"/>
                    </a:lnTo>
                    <a:lnTo>
                      <a:pt x="17838" y="686"/>
                    </a:lnTo>
                    <a:lnTo>
                      <a:pt x="20061" y="0"/>
                    </a:lnTo>
                    <a:lnTo>
                      <a:pt x="32739" y="4857"/>
                    </a:lnTo>
                    <a:lnTo>
                      <a:pt x="40451" y="5928"/>
                    </a:lnTo>
                    <a:lnTo>
                      <a:pt x="48711" y="8891"/>
                    </a:lnTo>
                    <a:lnTo>
                      <a:pt x="64655" y="23135"/>
                    </a:lnTo>
                    <a:lnTo>
                      <a:pt x="80682" y="32026"/>
                    </a:lnTo>
                    <a:lnTo>
                      <a:pt x="83399" y="38640"/>
                    </a:lnTo>
                    <a:lnTo>
                      <a:pt x="86830" y="45253"/>
                    </a:lnTo>
                    <a:lnTo>
                      <a:pt x="86281" y="49590"/>
                    </a:lnTo>
                    <a:lnTo>
                      <a:pt x="66769" y="75441"/>
                    </a:lnTo>
                    <a:lnTo>
                      <a:pt x="59798" y="94404"/>
                    </a:lnTo>
                    <a:lnTo>
                      <a:pt x="56615" y="987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7" name="Freeform: Shape 4006">
                <a:extLst>
                  <a:ext uri="{FF2B5EF4-FFF2-40B4-BE49-F238E27FC236}">
                    <a16:creationId xmlns:a16="http://schemas.microsoft.com/office/drawing/2014/main" id="{CC9917B9-A8FE-0125-3DFB-D81B0B67C690}"/>
                  </a:ext>
                </a:extLst>
              </p:cNvPr>
              <p:cNvSpPr/>
              <p:nvPr/>
            </p:nvSpPr>
            <p:spPr>
              <a:xfrm>
                <a:off x="1175782" y="3793092"/>
                <a:ext cx="1703" cy="1795"/>
              </a:xfrm>
              <a:custGeom>
                <a:avLst/>
                <a:gdLst>
                  <a:gd name="connsiteX0" fmla="*/ 8096 w 16328"/>
                  <a:gd name="connsiteY0" fmla="*/ 1756 h 17206"/>
                  <a:gd name="connsiteX1" fmla="*/ 9962 w 16328"/>
                  <a:gd name="connsiteY1" fmla="*/ 0 h 17206"/>
                  <a:gd name="connsiteX2" fmla="*/ 11718 w 16328"/>
                  <a:gd name="connsiteY2" fmla="*/ 1263 h 17206"/>
                  <a:gd name="connsiteX3" fmla="*/ 12761 w 16328"/>
                  <a:gd name="connsiteY3" fmla="*/ 5187 h 17206"/>
                  <a:gd name="connsiteX4" fmla="*/ 16219 w 16328"/>
                  <a:gd name="connsiteY4" fmla="*/ 6394 h 17206"/>
                  <a:gd name="connsiteX5" fmla="*/ 16329 w 16328"/>
                  <a:gd name="connsiteY5" fmla="*/ 7876 h 17206"/>
                  <a:gd name="connsiteX6" fmla="*/ 10154 w 16328"/>
                  <a:gd name="connsiteY6" fmla="*/ 9605 h 17206"/>
                  <a:gd name="connsiteX7" fmla="*/ 6696 w 16328"/>
                  <a:gd name="connsiteY7" fmla="*/ 8480 h 17206"/>
                  <a:gd name="connsiteX8" fmla="*/ 7464 w 16328"/>
                  <a:gd name="connsiteY8" fmla="*/ 14051 h 17206"/>
                  <a:gd name="connsiteX9" fmla="*/ 5598 w 16328"/>
                  <a:gd name="connsiteY9" fmla="*/ 16493 h 17206"/>
                  <a:gd name="connsiteX10" fmla="*/ 3019 w 16328"/>
                  <a:gd name="connsiteY10" fmla="*/ 17207 h 17206"/>
                  <a:gd name="connsiteX11" fmla="*/ 1153 w 16328"/>
                  <a:gd name="connsiteY11" fmla="*/ 13831 h 17206"/>
                  <a:gd name="connsiteX12" fmla="*/ 768 w 16328"/>
                  <a:gd name="connsiteY12" fmla="*/ 9111 h 17206"/>
                  <a:gd name="connsiteX13" fmla="*/ 0 w 16328"/>
                  <a:gd name="connsiteY13" fmla="*/ 7300 h 17206"/>
                  <a:gd name="connsiteX14" fmla="*/ 1948 w 16328"/>
                  <a:gd name="connsiteY14" fmla="*/ 4556 h 17206"/>
                  <a:gd name="connsiteX15" fmla="*/ 6257 w 16328"/>
                  <a:gd name="connsiteY15" fmla="*/ 6861 h 17206"/>
                  <a:gd name="connsiteX16" fmla="*/ 9276 w 16328"/>
                  <a:gd name="connsiteY16" fmla="*/ 4803 h 17206"/>
                  <a:gd name="connsiteX17" fmla="*/ 8041 w 16328"/>
                  <a:gd name="connsiteY17" fmla="*/ 1729 h 1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28" h="17206">
                    <a:moveTo>
                      <a:pt x="8096" y="1756"/>
                    </a:moveTo>
                    <a:lnTo>
                      <a:pt x="9962" y="0"/>
                    </a:lnTo>
                    <a:lnTo>
                      <a:pt x="11718" y="1263"/>
                    </a:lnTo>
                    <a:lnTo>
                      <a:pt x="12761" y="5187"/>
                    </a:lnTo>
                    <a:lnTo>
                      <a:pt x="16219" y="6394"/>
                    </a:lnTo>
                    <a:lnTo>
                      <a:pt x="16329" y="7876"/>
                    </a:lnTo>
                    <a:lnTo>
                      <a:pt x="10154" y="9605"/>
                    </a:lnTo>
                    <a:lnTo>
                      <a:pt x="6696" y="8480"/>
                    </a:lnTo>
                    <a:lnTo>
                      <a:pt x="7464" y="14051"/>
                    </a:lnTo>
                    <a:lnTo>
                      <a:pt x="5598" y="16493"/>
                    </a:lnTo>
                    <a:lnTo>
                      <a:pt x="3019" y="17207"/>
                    </a:lnTo>
                    <a:lnTo>
                      <a:pt x="1153" y="13831"/>
                    </a:lnTo>
                    <a:lnTo>
                      <a:pt x="768" y="9111"/>
                    </a:lnTo>
                    <a:lnTo>
                      <a:pt x="0" y="7300"/>
                    </a:lnTo>
                    <a:lnTo>
                      <a:pt x="1948" y="4556"/>
                    </a:lnTo>
                    <a:lnTo>
                      <a:pt x="6257" y="6861"/>
                    </a:lnTo>
                    <a:lnTo>
                      <a:pt x="9276" y="4803"/>
                    </a:lnTo>
                    <a:lnTo>
                      <a:pt x="8041" y="17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8" name="Freeform: Shape 4007">
                <a:extLst>
                  <a:ext uri="{FF2B5EF4-FFF2-40B4-BE49-F238E27FC236}">
                    <a16:creationId xmlns:a16="http://schemas.microsoft.com/office/drawing/2014/main" id="{85D892F3-4D7D-313A-A110-ADA2EA23F6E5}"/>
                  </a:ext>
                </a:extLst>
              </p:cNvPr>
              <p:cNvSpPr/>
              <p:nvPr/>
            </p:nvSpPr>
            <p:spPr>
              <a:xfrm>
                <a:off x="1177551" y="3798273"/>
                <a:ext cx="1314" cy="1563"/>
              </a:xfrm>
              <a:custGeom>
                <a:avLst/>
                <a:gdLst>
                  <a:gd name="connsiteX0" fmla="*/ 0 w 12596"/>
                  <a:gd name="connsiteY0" fmla="*/ 1784 h 14984"/>
                  <a:gd name="connsiteX1" fmla="*/ 2717 w 12596"/>
                  <a:gd name="connsiteY1" fmla="*/ 0 h 14984"/>
                  <a:gd name="connsiteX2" fmla="*/ 5982 w 12596"/>
                  <a:gd name="connsiteY2" fmla="*/ 1509 h 14984"/>
                  <a:gd name="connsiteX3" fmla="*/ 8150 w 12596"/>
                  <a:gd name="connsiteY3" fmla="*/ 4391 h 14984"/>
                  <a:gd name="connsiteX4" fmla="*/ 9742 w 12596"/>
                  <a:gd name="connsiteY4" fmla="*/ 4116 h 14984"/>
                  <a:gd name="connsiteX5" fmla="*/ 10264 w 12596"/>
                  <a:gd name="connsiteY5" fmla="*/ 7300 h 14984"/>
                  <a:gd name="connsiteX6" fmla="*/ 12596 w 12596"/>
                  <a:gd name="connsiteY6" fmla="*/ 12404 h 14984"/>
                  <a:gd name="connsiteX7" fmla="*/ 10675 w 12596"/>
                  <a:gd name="connsiteY7" fmla="*/ 14984 h 14984"/>
                  <a:gd name="connsiteX8" fmla="*/ 9578 w 12596"/>
                  <a:gd name="connsiteY8" fmla="*/ 13008 h 14984"/>
                  <a:gd name="connsiteX9" fmla="*/ 4446 w 12596"/>
                  <a:gd name="connsiteY9" fmla="*/ 12679 h 14984"/>
                  <a:gd name="connsiteX10" fmla="*/ 4281 w 12596"/>
                  <a:gd name="connsiteY10" fmla="*/ 10758 h 14984"/>
                  <a:gd name="connsiteX11" fmla="*/ 6394 w 12596"/>
                  <a:gd name="connsiteY11" fmla="*/ 9605 h 14984"/>
                  <a:gd name="connsiteX12" fmla="*/ 2360 w 12596"/>
                  <a:gd name="connsiteY12" fmla="*/ 7163 h 14984"/>
                  <a:gd name="connsiteX13" fmla="*/ 1509 w 12596"/>
                  <a:gd name="connsiteY13" fmla="*/ 4062 h 14984"/>
                  <a:gd name="connsiteX14" fmla="*/ 0 w 12596"/>
                  <a:gd name="connsiteY14" fmla="*/ 1811 h 1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596" h="14984">
                    <a:moveTo>
                      <a:pt x="0" y="1784"/>
                    </a:moveTo>
                    <a:lnTo>
                      <a:pt x="2717" y="0"/>
                    </a:lnTo>
                    <a:lnTo>
                      <a:pt x="5982" y="1509"/>
                    </a:lnTo>
                    <a:lnTo>
                      <a:pt x="8150" y="4391"/>
                    </a:lnTo>
                    <a:lnTo>
                      <a:pt x="9742" y="4116"/>
                    </a:lnTo>
                    <a:lnTo>
                      <a:pt x="10264" y="7300"/>
                    </a:lnTo>
                    <a:lnTo>
                      <a:pt x="12596" y="12404"/>
                    </a:lnTo>
                    <a:lnTo>
                      <a:pt x="10675" y="14984"/>
                    </a:lnTo>
                    <a:lnTo>
                      <a:pt x="9578" y="13008"/>
                    </a:lnTo>
                    <a:lnTo>
                      <a:pt x="4446" y="12679"/>
                    </a:lnTo>
                    <a:lnTo>
                      <a:pt x="4281" y="10758"/>
                    </a:lnTo>
                    <a:lnTo>
                      <a:pt x="6394" y="9605"/>
                    </a:lnTo>
                    <a:lnTo>
                      <a:pt x="2360" y="7163"/>
                    </a:lnTo>
                    <a:lnTo>
                      <a:pt x="1509" y="4062"/>
                    </a:lnTo>
                    <a:lnTo>
                      <a:pt x="0"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09" name="Freeform: Shape 4008">
                <a:extLst>
                  <a:ext uri="{FF2B5EF4-FFF2-40B4-BE49-F238E27FC236}">
                    <a16:creationId xmlns:a16="http://schemas.microsoft.com/office/drawing/2014/main" id="{AE7A5EA5-9BDA-2746-CB16-B5E06F2360F3}"/>
                  </a:ext>
                </a:extLst>
              </p:cNvPr>
              <p:cNvSpPr/>
              <p:nvPr/>
            </p:nvSpPr>
            <p:spPr>
              <a:xfrm>
                <a:off x="1177213" y="3794678"/>
                <a:ext cx="469" cy="492"/>
              </a:xfrm>
              <a:custGeom>
                <a:avLst/>
                <a:gdLst>
                  <a:gd name="connsiteX0" fmla="*/ 4309 w 4500"/>
                  <a:gd name="connsiteY0" fmla="*/ 3540 h 4720"/>
                  <a:gd name="connsiteX1" fmla="*/ 1866 w 4500"/>
                  <a:gd name="connsiteY1" fmla="*/ 4720 h 4720"/>
                  <a:gd name="connsiteX2" fmla="*/ 0 w 4500"/>
                  <a:gd name="connsiteY2" fmla="*/ 2278 h 4720"/>
                  <a:gd name="connsiteX3" fmla="*/ 1976 w 4500"/>
                  <a:gd name="connsiteY3" fmla="*/ 0 h 4720"/>
                  <a:gd name="connsiteX4" fmla="*/ 4501 w 4500"/>
                  <a:gd name="connsiteY4" fmla="*/ 2278 h 4720"/>
                  <a:gd name="connsiteX5" fmla="*/ 4309 w 4500"/>
                  <a:gd name="connsiteY5" fmla="*/ 3540 h 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 h="4720">
                    <a:moveTo>
                      <a:pt x="4309" y="3540"/>
                    </a:moveTo>
                    <a:lnTo>
                      <a:pt x="1866" y="4720"/>
                    </a:lnTo>
                    <a:lnTo>
                      <a:pt x="0" y="2278"/>
                    </a:lnTo>
                    <a:lnTo>
                      <a:pt x="1976" y="0"/>
                    </a:lnTo>
                    <a:lnTo>
                      <a:pt x="4501" y="2278"/>
                    </a:lnTo>
                    <a:lnTo>
                      <a:pt x="4309"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0" name="Freeform: Shape 4009">
                <a:extLst>
                  <a:ext uri="{FF2B5EF4-FFF2-40B4-BE49-F238E27FC236}">
                    <a16:creationId xmlns:a16="http://schemas.microsoft.com/office/drawing/2014/main" id="{04DFFFEC-7C54-C933-5654-3BFB23A9EB05}"/>
                  </a:ext>
                </a:extLst>
              </p:cNvPr>
              <p:cNvSpPr/>
              <p:nvPr/>
            </p:nvSpPr>
            <p:spPr>
              <a:xfrm>
                <a:off x="1171864" y="3787968"/>
                <a:ext cx="209" cy="192"/>
              </a:xfrm>
              <a:custGeom>
                <a:avLst/>
                <a:gdLst>
                  <a:gd name="connsiteX0" fmla="*/ 0 w 2003"/>
                  <a:gd name="connsiteY0" fmla="*/ 1811 h 1838"/>
                  <a:gd name="connsiteX1" fmla="*/ 82 w 2003"/>
                  <a:gd name="connsiteY1" fmla="*/ 741 h 1838"/>
                  <a:gd name="connsiteX2" fmla="*/ 1152 w 2003"/>
                  <a:gd name="connsiteY2" fmla="*/ 0 h 1838"/>
                  <a:gd name="connsiteX3" fmla="*/ 2003 w 2003"/>
                  <a:gd name="connsiteY3" fmla="*/ 1537 h 1838"/>
                  <a:gd name="connsiteX4" fmla="*/ 0 w 2003"/>
                  <a:gd name="connsiteY4" fmla="*/ 1839 h 1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3" h="1838">
                    <a:moveTo>
                      <a:pt x="0" y="1811"/>
                    </a:moveTo>
                    <a:lnTo>
                      <a:pt x="82" y="741"/>
                    </a:lnTo>
                    <a:lnTo>
                      <a:pt x="1152" y="0"/>
                    </a:lnTo>
                    <a:lnTo>
                      <a:pt x="2003" y="1537"/>
                    </a:lnTo>
                    <a:lnTo>
                      <a:pt x="0" y="18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1" name="Freeform: Shape 4010">
                <a:extLst>
                  <a:ext uri="{FF2B5EF4-FFF2-40B4-BE49-F238E27FC236}">
                    <a16:creationId xmlns:a16="http://schemas.microsoft.com/office/drawing/2014/main" id="{F27D1AE9-E93E-FCB0-F0EF-EC5A8E370271}"/>
                  </a:ext>
                </a:extLst>
              </p:cNvPr>
              <p:cNvSpPr/>
              <p:nvPr/>
            </p:nvSpPr>
            <p:spPr>
              <a:xfrm>
                <a:off x="1136958" y="3782003"/>
                <a:ext cx="8699" cy="6203"/>
              </a:xfrm>
              <a:custGeom>
                <a:avLst/>
                <a:gdLst>
                  <a:gd name="connsiteX0" fmla="*/ 76347 w 83399"/>
                  <a:gd name="connsiteY0" fmla="*/ 46708 h 59469"/>
                  <a:gd name="connsiteX1" fmla="*/ 80929 w 83399"/>
                  <a:gd name="connsiteY1" fmla="*/ 50001 h 59469"/>
                  <a:gd name="connsiteX2" fmla="*/ 79804 w 83399"/>
                  <a:gd name="connsiteY2" fmla="*/ 59469 h 59469"/>
                  <a:gd name="connsiteX3" fmla="*/ 70968 w 83399"/>
                  <a:gd name="connsiteY3" fmla="*/ 53322 h 59469"/>
                  <a:gd name="connsiteX4" fmla="*/ 47284 w 83399"/>
                  <a:gd name="connsiteY4" fmla="*/ 55792 h 59469"/>
                  <a:gd name="connsiteX5" fmla="*/ 30873 w 83399"/>
                  <a:gd name="connsiteY5" fmla="*/ 52416 h 59469"/>
                  <a:gd name="connsiteX6" fmla="*/ 21104 w 83399"/>
                  <a:gd name="connsiteY6" fmla="*/ 54612 h 59469"/>
                  <a:gd name="connsiteX7" fmla="*/ 17893 w 83399"/>
                  <a:gd name="connsiteY7" fmla="*/ 59414 h 59469"/>
                  <a:gd name="connsiteX8" fmla="*/ 10648 w 83399"/>
                  <a:gd name="connsiteY8" fmla="*/ 52745 h 59469"/>
                  <a:gd name="connsiteX9" fmla="*/ 1784 w 83399"/>
                  <a:gd name="connsiteY9" fmla="*/ 50358 h 59469"/>
                  <a:gd name="connsiteX10" fmla="*/ 0 w 83399"/>
                  <a:gd name="connsiteY10" fmla="*/ 47147 h 59469"/>
                  <a:gd name="connsiteX11" fmla="*/ 2305 w 83399"/>
                  <a:gd name="connsiteY11" fmla="*/ 41192 h 59469"/>
                  <a:gd name="connsiteX12" fmla="*/ 6751 w 83399"/>
                  <a:gd name="connsiteY12" fmla="*/ 39765 h 59469"/>
                  <a:gd name="connsiteX13" fmla="*/ 19402 w 83399"/>
                  <a:gd name="connsiteY13" fmla="*/ 43360 h 59469"/>
                  <a:gd name="connsiteX14" fmla="*/ 21707 w 83399"/>
                  <a:gd name="connsiteY14" fmla="*/ 41000 h 59469"/>
                  <a:gd name="connsiteX15" fmla="*/ 25824 w 83399"/>
                  <a:gd name="connsiteY15" fmla="*/ 44677 h 59469"/>
                  <a:gd name="connsiteX16" fmla="*/ 49754 w 83399"/>
                  <a:gd name="connsiteY16" fmla="*/ 46955 h 59469"/>
                  <a:gd name="connsiteX17" fmla="*/ 54804 w 83399"/>
                  <a:gd name="connsiteY17" fmla="*/ 43634 h 59469"/>
                  <a:gd name="connsiteX18" fmla="*/ 61966 w 83399"/>
                  <a:gd name="connsiteY18" fmla="*/ 42893 h 59469"/>
                  <a:gd name="connsiteX19" fmla="*/ 62405 w 83399"/>
                  <a:gd name="connsiteY19" fmla="*/ 39545 h 59469"/>
                  <a:gd name="connsiteX20" fmla="*/ 57054 w 83399"/>
                  <a:gd name="connsiteY20" fmla="*/ 36499 h 59469"/>
                  <a:gd name="connsiteX21" fmla="*/ 49123 w 83399"/>
                  <a:gd name="connsiteY21" fmla="*/ 28129 h 59469"/>
                  <a:gd name="connsiteX22" fmla="*/ 51236 w 83399"/>
                  <a:gd name="connsiteY22" fmla="*/ 25714 h 59469"/>
                  <a:gd name="connsiteX23" fmla="*/ 49754 w 83399"/>
                  <a:gd name="connsiteY23" fmla="*/ 22778 h 59469"/>
                  <a:gd name="connsiteX24" fmla="*/ 50385 w 83399"/>
                  <a:gd name="connsiteY24" fmla="*/ 15588 h 59469"/>
                  <a:gd name="connsiteX25" fmla="*/ 41823 w 83399"/>
                  <a:gd name="connsiteY25" fmla="*/ 10127 h 59469"/>
                  <a:gd name="connsiteX26" fmla="*/ 31450 w 83399"/>
                  <a:gd name="connsiteY26" fmla="*/ 9166 h 59469"/>
                  <a:gd name="connsiteX27" fmla="*/ 29885 w 83399"/>
                  <a:gd name="connsiteY27" fmla="*/ 6751 h 59469"/>
                  <a:gd name="connsiteX28" fmla="*/ 31504 w 83399"/>
                  <a:gd name="connsiteY28" fmla="*/ 3540 h 59469"/>
                  <a:gd name="connsiteX29" fmla="*/ 38173 w 83399"/>
                  <a:gd name="connsiteY29" fmla="*/ 768 h 59469"/>
                  <a:gd name="connsiteX30" fmla="*/ 49672 w 83399"/>
                  <a:gd name="connsiteY30" fmla="*/ 0 h 59469"/>
                  <a:gd name="connsiteX31" fmla="*/ 63036 w 83399"/>
                  <a:gd name="connsiteY31" fmla="*/ 5406 h 59469"/>
                  <a:gd name="connsiteX32" fmla="*/ 79612 w 83399"/>
                  <a:gd name="connsiteY32" fmla="*/ 7574 h 59469"/>
                  <a:gd name="connsiteX33" fmla="*/ 81808 w 83399"/>
                  <a:gd name="connsiteY33" fmla="*/ 15204 h 59469"/>
                  <a:gd name="connsiteX34" fmla="*/ 79475 w 83399"/>
                  <a:gd name="connsiteY34" fmla="*/ 19512 h 59469"/>
                  <a:gd name="connsiteX35" fmla="*/ 83399 w 83399"/>
                  <a:gd name="connsiteY35" fmla="*/ 24177 h 59469"/>
                  <a:gd name="connsiteX36" fmla="*/ 78350 w 83399"/>
                  <a:gd name="connsiteY36" fmla="*/ 30407 h 59469"/>
                  <a:gd name="connsiteX37" fmla="*/ 80436 w 83399"/>
                  <a:gd name="connsiteY37" fmla="*/ 33865 h 59469"/>
                  <a:gd name="connsiteX38" fmla="*/ 79859 w 83399"/>
                  <a:gd name="connsiteY38" fmla="*/ 37652 h 59469"/>
                  <a:gd name="connsiteX39" fmla="*/ 77636 w 83399"/>
                  <a:gd name="connsiteY39" fmla="*/ 40396 h 59469"/>
                  <a:gd name="connsiteX40" fmla="*/ 73218 w 83399"/>
                  <a:gd name="connsiteY40" fmla="*/ 41055 h 59469"/>
                  <a:gd name="connsiteX41" fmla="*/ 76292 w 83399"/>
                  <a:gd name="connsiteY41" fmla="*/ 46708 h 59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3399" h="59469">
                    <a:moveTo>
                      <a:pt x="76347" y="46708"/>
                    </a:moveTo>
                    <a:lnTo>
                      <a:pt x="80929" y="50001"/>
                    </a:lnTo>
                    <a:lnTo>
                      <a:pt x="79804" y="59469"/>
                    </a:lnTo>
                    <a:lnTo>
                      <a:pt x="70968" y="53322"/>
                    </a:lnTo>
                    <a:lnTo>
                      <a:pt x="47284" y="55792"/>
                    </a:lnTo>
                    <a:lnTo>
                      <a:pt x="30873" y="52416"/>
                    </a:lnTo>
                    <a:lnTo>
                      <a:pt x="21104" y="54612"/>
                    </a:lnTo>
                    <a:lnTo>
                      <a:pt x="17893" y="59414"/>
                    </a:lnTo>
                    <a:lnTo>
                      <a:pt x="10648" y="52745"/>
                    </a:lnTo>
                    <a:lnTo>
                      <a:pt x="1784" y="50358"/>
                    </a:lnTo>
                    <a:lnTo>
                      <a:pt x="0" y="47147"/>
                    </a:lnTo>
                    <a:lnTo>
                      <a:pt x="2305" y="41192"/>
                    </a:lnTo>
                    <a:lnTo>
                      <a:pt x="6751" y="39765"/>
                    </a:lnTo>
                    <a:lnTo>
                      <a:pt x="19402" y="43360"/>
                    </a:lnTo>
                    <a:lnTo>
                      <a:pt x="21707" y="41000"/>
                    </a:lnTo>
                    <a:lnTo>
                      <a:pt x="25824" y="44677"/>
                    </a:lnTo>
                    <a:lnTo>
                      <a:pt x="49754" y="46955"/>
                    </a:lnTo>
                    <a:lnTo>
                      <a:pt x="54804" y="43634"/>
                    </a:lnTo>
                    <a:lnTo>
                      <a:pt x="61966" y="42893"/>
                    </a:lnTo>
                    <a:lnTo>
                      <a:pt x="62405" y="39545"/>
                    </a:lnTo>
                    <a:lnTo>
                      <a:pt x="57054" y="36499"/>
                    </a:lnTo>
                    <a:lnTo>
                      <a:pt x="49123" y="28129"/>
                    </a:lnTo>
                    <a:lnTo>
                      <a:pt x="51236" y="25714"/>
                    </a:lnTo>
                    <a:lnTo>
                      <a:pt x="49754" y="22778"/>
                    </a:lnTo>
                    <a:lnTo>
                      <a:pt x="50385" y="15588"/>
                    </a:lnTo>
                    <a:lnTo>
                      <a:pt x="41823" y="10127"/>
                    </a:lnTo>
                    <a:lnTo>
                      <a:pt x="31450" y="9166"/>
                    </a:lnTo>
                    <a:lnTo>
                      <a:pt x="29885" y="6751"/>
                    </a:lnTo>
                    <a:lnTo>
                      <a:pt x="31504" y="3540"/>
                    </a:lnTo>
                    <a:lnTo>
                      <a:pt x="38173" y="768"/>
                    </a:lnTo>
                    <a:lnTo>
                      <a:pt x="49672" y="0"/>
                    </a:lnTo>
                    <a:lnTo>
                      <a:pt x="63036" y="5406"/>
                    </a:lnTo>
                    <a:lnTo>
                      <a:pt x="79612" y="7574"/>
                    </a:lnTo>
                    <a:lnTo>
                      <a:pt x="81808" y="15204"/>
                    </a:lnTo>
                    <a:lnTo>
                      <a:pt x="79475" y="19512"/>
                    </a:lnTo>
                    <a:lnTo>
                      <a:pt x="83399" y="24177"/>
                    </a:lnTo>
                    <a:lnTo>
                      <a:pt x="78350" y="30407"/>
                    </a:lnTo>
                    <a:lnTo>
                      <a:pt x="80436" y="33865"/>
                    </a:lnTo>
                    <a:lnTo>
                      <a:pt x="79859" y="37652"/>
                    </a:lnTo>
                    <a:lnTo>
                      <a:pt x="77636" y="40396"/>
                    </a:lnTo>
                    <a:lnTo>
                      <a:pt x="73218" y="41055"/>
                    </a:lnTo>
                    <a:lnTo>
                      <a:pt x="76292" y="467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2" name="Freeform: Shape 4011">
                <a:extLst>
                  <a:ext uri="{FF2B5EF4-FFF2-40B4-BE49-F238E27FC236}">
                    <a16:creationId xmlns:a16="http://schemas.microsoft.com/office/drawing/2014/main" id="{8E94697B-5E65-CA00-C332-E66D106D5326}"/>
                  </a:ext>
                </a:extLst>
              </p:cNvPr>
              <p:cNvSpPr/>
              <p:nvPr/>
            </p:nvSpPr>
            <p:spPr>
              <a:xfrm>
                <a:off x="1140530" y="3785172"/>
                <a:ext cx="1571" cy="810"/>
              </a:xfrm>
              <a:custGeom>
                <a:avLst/>
                <a:gdLst>
                  <a:gd name="connsiteX0" fmla="*/ 15012 w 15066"/>
                  <a:gd name="connsiteY0" fmla="*/ 7245 h 7766"/>
                  <a:gd name="connsiteX1" fmla="*/ 13941 w 15066"/>
                  <a:gd name="connsiteY1" fmla="*/ 7766 h 7766"/>
                  <a:gd name="connsiteX2" fmla="*/ 7849 w 15066"/>
                  <a:gd name="connsiteY2" fmla="*/ 6559 h 7766"/>
                  <a:gd name="connsiteX3" fmla="*/ 5187 w 15066"/>
                  <a:gd name="connsiteY3" fmla="*/ 4693 h 7766"/>
                  <a:gd name="connsiteX4" fmla="*/ 1839 w 15066"/>
                  <a:gd name="connsiteY4" fmla="*/ 3705 h 7766"/>
                  <a:gd name="connsiteX5" fmla="*/ 0 w 15066"/>
                  <a:gd name="connsiteY5" fmla="*/ 1345 h 7766"/>
                  <a:gd name="connsiteX6" fmla="*/ 3046 w 15066"/>
                  <a:gd name="connsiteY6" fmla="*/ 0 h 7766"/>
                  <a:gd name="connsiteX7" fmla="*/ 7300 w 15066"/>
                  <a:gd name="connsiteY7" fmla="*/ 1427 h 7766"/>
                  <a:gd name="connsiteX8" fmla="*/ 11252 w 15066"/>
                  <a:gd name="connsiteY8" fmla="*/ 3622 h 7766"/>
                  <a:gd name="connsiteX9" fmla="*/ 13475 w 15066"/>
                  <a:gd name="connsiteY9" fmla="*/ 4199 h 7766"/>
                  <a:gd name="connsiteX10" fmla="*/ 15066 w 15066"/>
                  <a:gd name="connsiteY10" fmla="*/ 7272 h 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066" h="7766">
                    <a:moveTo>
                      <a:pt x="15012" y="7245"/>
                    </a:moveTo>
                    <a:lnTo>
                      <a:pt x="13941" y="7766"/>
                    </a:lnTo>
                    <a:lnTo>
                      <a:pt x="7849" y="6559"/>
                    </a:lnTo>
                    <a:lnTo>
                      <a:pt x="5187" y="4693"/>
                    </a:lnTo>
                    <a:lnTo>
                      <a:pt x="1839" y="3705"/>
                    </a:lnTo>
                    <a:lnTo>
                      <a:pt x="0" y="1345"/>
                    </a:lnTo>
                    <a:lnTo>
                      <a:pt x="3046" y="0"/>
                    </a:lnTo>
                    <a:lnTo>
                      <a:pt x="7300" y="1427"/>
                    </a:lnTo>
                    <a:lnTo>
                      <a:pt x="11252" y="3622"/>
                    </a:lnTo>
                    <a:lnTo>
                      <a:pt x="13475" y="4199"/>
                    </a:lnTo>
                    <a:lnTo>
                      <a:pt x="15066" y="72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3" name="Freeform: Shape 4012">
                <a:extLst>
                  <a:ext uri="{FF2B5EF4-FFF2-40B4-BE49-F238E27FC236}">
                    <a16:creationId xmlns:a16="http://schemas.microsoft.com/office/drawing/2014/main" id="{CEA0DADD-288A-8CA5-ABC8-B7F63082B9D2}"/>
                  </a:ext>
                </a:extLst>
              </p:cNvPr>
              <p:cNvSpPr/>
              <p:nvPr/>
            </p:nvSpPr>
            <p:spPr>
              <a:xfrm>
                <a:off x="1141732" y="3781511"/>
                <a:ext cx="756" cy="329"/>
              </a:xfrm>
              <a:custGeom>
                <a:avLst/>
                <a:gdLst>
                  <a:gd name="connsiteX0" fmla="*/ 7245 w 7244"/>
                  <a:gd name="connsiteY0" fmla="*/ 1564 h 3156"/>
                  <a:gd name="connsiteX1" fmla="*/ 6668 w 7244"/>
                  <a:gd name="connsiteY1" fmla="*/ 3156 h 3156"/>
                  <a:gd name="connsiteX2" fmla="*/ 631 w 7244"/>
                  <a:gd name="connsiteY2" fmla="*/ 1921 h 3156"/>
                  <a:gd name="connsiteX3" fmla="*/ 0 w 7244"/>
                  <a:gd name="connsiteY3" fmla="*/ 1235 h 3156"/>
                  <a:gd name="connsiteX4" fmla="*/ 3046 w 7244"/>
                  <a:gd name="connsiteY4" fmla="*/ 0 h 3156"/>
                  <a:gd name="connsiteX5" fmla="*/ 7245 w 7244"/>
                  <a:gd name="connsiteY5" fmla="*/ 1592 h 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44" h="3156">
                    <a:moveTo>
                      <a:pt x="7245" y="1564"/>
                    </a:moveTo>
                    <a:lnTo>
                      <a:pt x="6668" y="3156"/>
                    </a:lnTo>
                    <a:lnTo>
                      <a:pt x="631" y="1921"/>
                    </a:lnTo>
                    <a:lnTo>
                      <a:pt x="0" y="1235"/>
                    </a:lnTo>
                    <a:lnTo>
                      <a:pt x="3046" y="0"/>
                    </a:lnTo>
                    <a:lnTo>
                      <a:pt x="7245" y="1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4" name="Freeform: Shape 4013">
                <a:extLst>
                  <a:ext uri="{FF2B5EF4-FFF2-40B4-BE49-F238E27FC236}">
                    <a16:creationId xmlns:a16="http://schemas.microsoft.com/office/drawing/2014/main" id="{9D534D43-9C9C-1BBD-23D8-5A5B78D2B112}"/>
                  </a:ext>
                </a:extLst>
              </p:cNvPr>
              <p:cNvSpPr/>
              <p:nvPr/>
            </p:nvSpPr>
            <p:spPr>
              <a:xfrm>
                <a:off x="1139396" y="3787865"/>
                <a:ext cx="449" cy="346"/>
              </a:xfrm>
              <a:custGeom>
                <a:avLst/>
                <a:gdLst>
                  <a:gd name="connsiteX0" fmla="*/ 4309 w 4308"/>
                  <a:gd name="connsiteY0" fmla="*/ 2388 h 3320"/>
                  <a:gd name="connsiteX1" fmla="*/ 1290 w 4308"/>
                  <a:gd name="connsiteY1" fmla="*/ 3321 h 3320"/>
                  <a:gd name="connsiteX2" fmla="*/ 0 w 4308"/>
                  <a:gd name="connsiteY2" fmla="*/ 1811 h 3320"/>
                  <a:gd name="connsiteX3" fmla="*/ 2058 w 4308"/>
                  <a:gd name="connsiteY3" fmla="*/ 0 h 3320"/>
                  <a:gd name="connsiteX4" fmla="*/ 4281 w 4308"/>
                  <a:gd name="connsiteY4" fmla="*/ 2360 h 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3320">
                    <a:moveTo>
                      <a:pt x="4309" y="2388"/>
                    </a:moveTo>
                    <a:lnTo>
                      <a:pt x="1290" y="3321"/>
                    </a:lnTo>
                    <a:lnTo>
                      <a:pt x="0" y="1811"/>
                    </a:lnTo>
                    <a:lnTo>
                      <a:pt x="2058" y="0"/>
                    </a:lnTo>
                    <a:lnTo>
                      <a:pt x="4281" y="23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5" name="Freeform: Shape 4014">
                <a:extLst>
                  <a:ext uri="{FF2B5EF4-FFF2-40B4-BE49-F238E27FC236}">
                    <a16:creationId xmlns:a16="http://schemas.microsoft.com/office/drawing/2014/main" id="{CF99397C-11EA-E16A-1C32-E5A6FB5B36D7}"/>
                  </a:ext>
                </a:extLst>
              </p:cNvPr>
              <p:cNvSpPr/>
              <p:nvPr/>
            </p:nvSpPr>
            <p:spPr>
              <a:xfrm>
                <a:off x="1401964" y="3722736"/>
                <a:ext cx="409" cy="412"/>
              </a:xfrm>
              <a:custGeom>
                <a:avLst/>
                <a:gdLst>
                  <a:gd name="connsiteX0" fmla="*/ 3842 w 3924"/>
                  <a:gd name="connsiteY0" fmla="*/ 3430 h 3951"/>
                  <a:gd name="connsiteX1" fmla="*/ 2113 w 3924"/>
                  <a:gd name="connsiteY1" fmla="*/ 3952 h 3951"/>
                  <a:gd name="connsiteX2" fmla="*/ 0 w 3924"/>
                  <a:gd name="connsiteY2" fmla="*/ 905 h 3951"/>
                  <a:gd name="connsiteX3" fmla="*/ 851 w 3924"/>
                  <a:gd name="connsiteY3" fmla="*/ 0 h 3951"/>
                  <a:gd name="connsiteX4" fmla="*/ 3924 w 3924"/>
                  <a:gd name="connsiteY4" fmla="*/ 1564 h 3951"/>
                  <a:gd name="connsiteX5" fmla="*/ 3842 w 3924"/>
                  <a:gd name="connsiteY5" fmla="*/ 3458 h 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4" h="3951">
                    <a:moveTo>
                      <a:pt x="3842" y="3430"/>
                    </a:moveTo>
                    <a:lnTo>
                      <a:pt x="2113" y="3952"/>
                    </a:lnTo>
                    <a:lnTo>
                      <a:pt x="0" y="905"/>
                    </a:lnTo>
                    <a:lnTo>
                      <a:pt x="851" y="0"/>
                    </a:lnTo>
                    <a:lnTo>
                      <a:pt x="3924" y="1564"/>
                    </a:lnTo>
                    <a:lnTo>
                      <a:pt x="3842" y="34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6" name="Freeform: Shape 4015">
                <a:extLst>
                  <a:ext uri="{FF2B5EF4-FFF2-40B4-BE49-F238E27FC236}">
                    <a16:creationId xmlns:a16="http://schemas.microsoft.com/office/drawing/2014/main" id="{E0CF27CD-B733-3E7E-18A0-32D6A38C78AD}"/>
                  </a:ext>
                </a:extLst>
              </p:cNvPr>
              <p:cNvSpPr/>
              <p:nvPr/>
            </p:nvSpPr>
            <p:spPr>
              <a:xfrm>
                <a:off x="1404620" y="3726297"/>
                <a:ext cx="424" cy="323"/>
              </a:xfrm>
              <a:custGeom>
                <a:avLst/>
                <a:gdLst>
                  <a:gd name="connsiteX0" fmla="*/ 3677 w 4061"/>
                  <a:gd name="connsiteY0" fmla="*/ 0 h 3101"/>
                  <a:gd name="connsiteX1" fmla="*/ 4062 w 4061"/>
                  <a:gd name="connsiteY1" fmla="*/ 3101 h 3101"/>
                  <a:gd name="connsiteX2" fmla="*/ 1372 w 4061"/>
                  <a:gd name="connsiteY2" fmla="*/ 3101 h 3101"/>
                  <a:gd name="connsiteX3" fmla="*/ 0 w 4061"/>
                  <a:gd name="connsiteY3" fmla="*/ 1070 h 3101"/>
                  <a:gd name="connsiteX4" fmla="*/ 3677 w 4061"/>
                  <a:gd name="connsiteY4" fmla="*/ 0 h 3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3101">
                    <a:moveTo>
                      <a:pt x="3677" y="0"/>
                    </a:moveTo>
                    <a:lnTo>
                      <a:pt x="4062" y="3101"/>
                    </a:lnTo>
                    <a:lnTo>
                      <a:pt x="1372" y="3101"/>
                    </a:lnTo>
                    <a:cubicBezTo>
                      <a:pt x="1372" y="3101"/>
                      <a:pt x="0" y="1070"/>
                      <a:pt x="0" y="1070"/>
                    </a:cubicBezTo>
                    <a:lnTo>
                      <a:pt x="367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7" name="Freeform: Shape 4016">
                <a:extLst>
                  <a:ext uri="{FF2B5EF4-FFF2-40B4-BE49-F238E27FC236}">
                    <a16:creationId xmlns:a16="http://schemas.microsoft.com/office/drawing/2014/main" id="{903C0D84-22E0-E772-12B3-6A2E5571EDA0}"/>
                  </a:ext>
                </a:extLst>
              </p:cNvPr>
              <p:cNvSpPr/>
              <p:nvPr/>
            </p:nvSpPr>
            <p:spPr>
              <a:xfrm>
                <a:off x="1124990" y="3786612"/>
                <a:ext cx="6603" cy="2602"/>
              </a:xfrm>
              <a:custGeom>
                <a:avLst/>
                <a:gdLst>
                  <a:gd name="connsiteX0" fmla="*/ 82 w 63310"/>
                  <a:gd name="connsiteY0" fmla="*/ 8013 h 24945"/>
                  <a:gd name="connsiteX1" fmla="*/ 905 w 63310"/>
                  <a:gd name="connsiteY1" fmla="*/ 4967 h 24945"/>
                  <a:gd name="connsiteX2" fmla="*/ 4583 w 63310"/>
                  <a:gd name="connsiteY2" fmla="*/ 2196 h 24945"/>
                  <a:gd name="connsiteX3" fmla="*/ 11938 w 63310"/>
                  <a:gd name="connsiteY3" fmla="*/ 2278 h 24945"/>
                  <a:gd name="connsiteX4" fmla="*/ 13200 w 63310"/>
                  <a:gd name="connsiteY4" fmla="*/ 686 h 24945"/>
                  <a:gd name="connsiteX5" fmla="*/ 16054 w 63310"/>
                  <a:gd name="connsiteY5" fmla="*/ 0 h 24945"/>
                  <a:gd name="connsiteX6" fmla="*/ 20088 w 63310"/>
                  <a:gd name="connsiteY6" fmla="*/ 1070 h 24945"/>
                  <a:gd name="connsiteX7" fmla="*/ 24013 w 63310"/>
                  <a:gd name="connsiteY7" fmla="*/ 1070 h 24945"/>
                  <a:gd name="connsiteX8" fmla="*/ 29831 w 63310"/>
                  <a:gd name="connsiteY8" fmla="*/ 1921 h 24945"/>
                  <a:gd name="connsiteX9" fmla="*/ 31120 w 63310"/>
                  <a:gd name="connsiteY9" fmla="*/ 1619 h 24945"/>
                  <a:gd name="connsiteX10" fmla="*/ 36966 w 63310"/>
                  <a:gd name="connsiteY10" fmla="*/ 3513 h 24945"/>
                  <a:gd name="connsiteX11" fmla="*/ 38886 w 63310"/>
                  <a:gd name="connsiteY11" fmla="*/ 3156 h 24945"/>
                  <a:gd name="connsiteX12" fmla="*/ 43442 w 63310"/>
                  <a:gd name="connsiteY12" fmla="*/ 3705 h 24945"/>
                  <a:gd name="connsiteX13" fmla="*/ 46653 w 63310"/>
                  <a:gd name="connsiteY13" fmla="*/ 7712 h 24945"/>
                  <a:gd name="connsiteX14" fmla="*/ 49315 w 63310"/>
                  <a:gd name="connsiteY14" fmla="*/ 7986 h 24945"/>
                  <a:gd name="connsiteX15" fmla="*/ 50687 w 63310"/>
                  <a:gd name="connsiteY15" fmla="*/ 9111 h 24945"/>
                  <a:gd name="connsiteX16" fmla="*/ 55298 w 63310"/>
                  <a:gd name="connsiteY16" fmla="*/ 9852 h 24945"/>
                  <a:gd name="connsiteX17" fmla="*/ 59688 w 63310"/>
                  <a:gd name="connsiteY17" fmla="*/ 11581 h 24945"/>
                  <a:gd name="connsiteX18" fmla="*/ 63311 w 63310"/>
                  <a:gd name="connsiteY18" fmla="*/ 18305 h 24945"/>
                  <a:gd name="connsiteX19" fmla="*/ 63311 w 63310"/>
                  <a:gd name="connsiteY19" fmla="*/ 19101 h 24945"/>
                  <a:gd name="connsiteX20" fmla="*/ 59469 w 63310"/>
                  <a:gd name="connsiteY20" fmla="*/ 20418 h 24945"/>
                  <a:gd name="connsiteX21" fmla="*/ 57630 w 63310"/>
                  <a:gd name="connsiteY21" fmla="*/ 19951 h 24945"/>
                  <a:gd name="connsiteX22" fmla="*/ 54035 w 63310"/>
                  <a:gd name="connsiteY22" fmla="*/ 20747 h 24945"/>
                  <a:gd name="connsiteX23" fmla="*/ 52087 w 63310"/>
                  <a:gd name="connsiteY23" fmla="*/ 20225 h 24945"/>
                  <a:gd name="connsiteX24" fmla="*/ 50193 w 63310"/>
                  <a:gd name="connsiteY24" fmla="*/ 18250 h 24945"/>
                  <a:gd name="connsiteX25" fmla="*/ 47778 w 63310"/>
                  <a:gd name="connsiteY25" fmla="*/ 17372 h 24945"/>
                  <a:gd name="connsiteX26" fmla="*/ 46708 w 63310"/>
                  <a:gd name="connsiteY26" fmla="*/ 18387 h 24945"/>
                  <a:gd name="connsiteX27" fmla="*/ 44156 w 63310"/>
                  <a:gd name="connsiteY27" fmla="*/ 18085 h 24945"/>
                  <a:gd name="connsiteX28" fmla="*/ 41686 w 63310"/>
                  <a:gd name="connsiteY28" fmla="*/ 21131 h 24945"/>
                  <a:gd name="connsiteX29" fmla="*/ 39106 w 63310"/>
                  <a:gd name="connsiteY29" fmla="*/ 20829 h 24945"/>
                  <a:gd name="connsiteX30" fmla="*/ 37707 w 63310"/>
                  <a:gd name="connsiteY30" fmla="*/ 19292 h 24945"/>
                  <a:gd name="connsiteX31" fmla="*/ 35813 w 63310"/>
                  <a:gd name="connsiteY31" fmla="*/ 20280 h 24945"/>
                  <a:gd name="connsiteX32" fmla="*/ 35347 w 63310"/>
                  <a:gd name="connsiteY32" fmla="*/ 22750 h 24945"/>
                  <a:gd name="connsiteX33" fmla="*/ 35978 w 63310"/>
                  <a:gd name="connsiteY33" fmla="*/ 24946 h 24945"/>
                  <a:gd name="connsiteX34" fmla="*/ 33974 w 63310"/>
                  <a:gd name="connsiteY34" fmla="*/ 24671 h 24945"/>
                  <a:gd name="connsiteX35" fmla="*/ 30626 w 63310"/>
                  <a:gd name="connsiteY35" fmla="*/ 21680 h 24945"/>
                  <a:gd name="connsiteX36" fmla="*/ 28211 w 63310"/>
                  <a:gd name="connsiteY36" fmla="*/ 20390 h 24945"/>
                  <a:gd name="connsiteX37" fmla="*/ 25138 w 63310"/>
                  <a:gd name="connsiteY37" fmla="*/ 20994 h 24945"/>
                  <a:gd name="connsiteX38" fmla="*/ 24013 w 63310"/>
                  <a:gd name="connsiteY38" fmla="*/ 20363 h 24945"/>
                  <a:gd name="connsiteX39" fmla="*/ 18497 w 63310"/>
                  <a:gd name="connsiteY39" fmla="*/ 20555 h 24945"/>
                  <a:gd name="connsiteX40" fmla="*/ 15615 w 63310"/>
                  <a:gd name="connsiteY40" fmla="*/ 17810 h 24945"/>
                  <a:gd name="connsiteX41" fmla="*/ 15478 w 63310"/>
                  <a:gd name="connsiteY41" fmla="*/ 15698 h 24945"/>
                  <a:gd name="connsiteX42" fmla="*/ 12486 w 63310"/>
                  <a:gd name="connsiteY42" fmla="*/ 15012 h 24945"/>
                  <a:gd name="connsiteX43" fmla="*/ 8562 w 63310"/>
                  <a:gd name="connsiteY43" fmla="*/ 9633 h 24945"/>
                  <a:gd name="connsiteX44" fmla="*/ 3760 w 63310"/>
                  <a:gd name="connsiteY44" fmla="*/ 10099 h 24945"/>
                  <a:gd name="connsiteX45" fmla="*/ 0 w 63310"/>
                  <a:gd name="connsiteY45" fmla="*/ 7959 h 2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3310" h="24945">
                    <a:moveTo>
                      <a:pt x="82" y="8013"/>
                    </a:moveTo>
                    <a:lnTo>
                      <a:pt x="905" y="4967"/>
                    </a:lnTo>
                    <a:lnTo>
                      <a:pt x="4583" y="2196"/>
                    </a:lnTo>
                    <a:lnTo>
                      <a:pt x="11938" y="2278"/>
                    </a:lnTo>
                    <a:lnTo>
                      <a:pt x="13200" y="686"/>
                    </a:lnTo>
                    <a:lnTo>
                      <a:pt x="16054" y="0"/>
                    </a:lnTo>
                    <a:lnTo>
                      <a:pt x="20088" y="1070"/>
                    </a:lnTo>
                    <a:lnTo>
                      <a:pt x="24013" y="1070"/>
                    </a:lnTo>
                    <a:cubicBezTo>
                      <a:pt x="24013" y="1070"/>
                      <a:pt x="29831" y="1921"/>
                      <a:pt x="29831" y="1921"/>
                    </a:cubicBezTo>
                    <a:lnTo>
                      <a:pt x="31120" y="1619"/>
                    </a:lnTo>
                    <a:lnTo>
                      <a:pt x="36966" y="3513"/>
                    </a:lnTo>
                    <a:lnTo>
                      <a:pt x="38886" y="3156"/>
                    </a:lnTo>
                    <a:lnTo>
                      <a:pt x="43442" y="3705"/>
                    </a:lnTo>
                    <a:lnTo>
                      <a:pt x="46653" y="7712"/>
                    </a:lnTo>
                    <a:lnTo>
                      <a:pt x="49315" y="7986"/>
                    </a:lnTo>
                    <a:lnTo>
                      <a:pt x="50687" y="9111"/>
                    </a:lnTo>
                    <a:lnTo>
                      <a:pt x="55298" y="9852"/>
                    </a:lnTo>
                    <a:lnTo>
                      <a:pt x="59688" y="11581"/>
                    </a:lnTo>
                    <a:lnTo>
                      <a:pt x="63311" y="18305"/>
                    </a:lnTo>
                    <a:lnTo>
                      <a:pt x="63311" y="19101"/>
                    </a:lnTo>
                    <a:cubicBezTo>
                      <a:pt x="63311" y="19101"/>
                      <a:pt x="59469" y="20418"/>
                      <a:pt x="59469" y="20418"/>
                    </a:cubicBezTo>
                    <a:lnTo>
                      <a:pt x="57630" y="19951"/>
                    </a:lnTo>
                    <a:lnTo>
                      <a:pt x="54035" y="20747"/>
                    </a:lnTo>
                    <a:lnTo>
                      <a:pt x="52087" y="20225"/>
                    </a:lnTo>
                    <a:lnTo>
                      <a:pt x="50193" y="18250"/>
                    </a:lnTo>
                    <a:lnTo>
                      <a:pt x="47778" y="17372"/>
                    </a:lnTo>
                    <a:lnTo>
                      <a:pt x="46708" y="18387"/>
                    </a:lnTo>
                    <a:lnTo>
                      <a:pt x="44156" y="18085"/>
                    </a:lnTo>
                    <a:lnTo>
                      <a:pt x="41686" y="21131"/>
                    </a:lnTo>
                    <a:lnTo>
                      <a:pt x="39106" y="20829"/>
                    </a:lnTo>
                    <a:lnTo>
                      <a:pt x="37707" y="19292"/>
                    </a:lnTo>
                    <a:lnTo>
                      <a:pt x="35813" y="20280"/>
                    </a:lnTo>
                    <a:lnTo>
                      <a:pt x="35347" y="22750"/>
                    </a:lnTo>
                    <a:lnTo>
                      <a:pt x="35978" y="24946"/>
                    </a:lnTo>
                    <a:lnTo>
                      <a:pt x="33974" y="24671"/>
                    </a:lnTo>
                    <a:lnTo>
                      <a:pt x="30626" y="21680"/>
                    </a:lnTo>
                    <a:lnTo>
                      <a:pt x="28211" y="20390"/>
                    </a:lnTo>
                    <a:lnTo>
                      <a:pt x="25138" y="20994"/>
                    </a:lnTo>
                    <a:lnTo>
                      <a:pt x="24013" y="20363"/>
                    </a:lnTo>
                    <a:lnTo>
                      <a:pt x="18497" y="20555"/>
                    </a:lnTo>
                    <a:lnTo>
                      <a:pt x="15615" y="17810"/>
                    </a:lnTo>
                    <a:lnTo>
                      <a:pt x="15478" y="15698"/>
                    </a:lnTo>
                    <a:lnTo>
                      <a:pt x="12486" y="15012"/>
                    </a:lnTo>
                    <a:lnTo>
                      <a:pt x="8562" y="9633"/>
                    </a:lnTo>
                    <a:lnTo>
                      <a:pt x="3760" y="10099"/>
                    </a:lnTo>
                    <a:lnTo>
                      <a:pt x="0" y="79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8" name="Freeform: Shape 4017">
                <a:extLst>
                  <a:ext uri="{FF2B5EF4-FFF2-40B4-BE49-F238E27FC236}">
                    <a16:creationId xmlns:a16="http://schemas.microsoft.com/office/drawing/2014/main" id="{31FC60AD-9C26-6119-AAC8-B56A8C25872F}"/>
                  </a:ext>
                </a:extLst>
              </p:cNvPr>
              <p:cNvSpPr/>
              <p:nvPr/>
            </p:nvSpPr>
            <p:spPr>
              <a:xfrm>
                <a:off x="1472629" y="3735745"/>
                <a:ext cx="13250" cy="15010"/>
              </a:xfrm>
              <a:custGeom>
                <a:avLst/>
                <a:gdLst>
                  <a:gd name="connsiteX0" fmla="*/ 124811 w 127033"/>
                  <a:gd name="connsiteY0" fmla="*/ 42646 h 143911"/>
                  <a:gd name="connsiteX1" fmla="*/ 117538 w 127033"/>
                  <a:gd name="connsiteY1" fmla="*/ 48327 h 143911"/>
                  <a:gd name="connsiteX2" fmla="*/ 60951 w 127033"/>
                  <a:gd name="connsiteY2" fmla="*/ 65314 h 143911"/>
                  <a:gd name="connsiteX3" fmla="*/ 74700 w 127033"/>
                  <a:gd name="connsiteY3" fmla="*/ 82301 h 143911"/>
                  <a:gd name="connsiteX4" fmla="*/ 88613 w 127033"/>
                  <a:gd name="connsiteY4" fmla="*/ 99810 h 143911"/>
                  <a:gd name="connsiteX5" fmla="*/ 79969 w 127033"/>
                  <a:gd name="connsiteY5" fmla="*/ 105409 h 143911"/>
                  <a:gd name="connsiteX6" fmla="*/ 74096 w 127033"/>
                  <a:gd name="connsiteY6" fmla="*/ 116523 h 143911"/>
                  <a:gd name="connsiteX7" fmla="*/ 52910 w 127033"/>
                  <a:gd name="connsiteY7" fmla="*/ 121490 h 143911"/>
                  <a:gd name="connsiteX8" fmla="*/ 45253 w 127033"/>
                  <a:gd name="connsiteY8" fmla="*/ 133455 h 143911"/>
                  <a:gd name="connsiteX9" fmla="*/ 36747 w 127033"/>
                  <a:gd name="connsiteY9" fmla="*/ 140783 h 143911"/>
                  <a:gd name="connsiteX10" fmla="*/ 31340 w 127033"/>
                  <a:gd name="connsiteY10" fmla="*/ 143911 h 143911"/>
                  <a:gd name="connsiteX11" fmla="*/ 0 w 127033"/>
                  <a:gd name="connsiteY11" fmla="*/ 138368 h 143911"/>
                  <a:gd name="connsiteX12" fmla="*/ 604 w 127033"/>
                  <a:gd name="connsiteY12" fmla="*/ 132111 h 143911"/>
                  <a:gd name="connsiteX13" fmla="*/ 5708 w 127033"/>
                  <a:gd name="connsiteY13" fmla="*/ 112708 h 143911"/>
                  <a:gd name="connsiteX14" fmla="*/ 6723 w 127033"/>
                  <a:gd name="connsiteY14" fmla="*/ 98850 h 143911"/>
                  <a:gd name="connsiteX15" fmla="*/ 13530 w 127033"/>
                  <a:gd name="connsiteY15" fmla="*/ 82301 h 143911"/>
                  <a:gd name="connsiteX16" fmla="*/ 15258 w 127033"/>
                  <a:gd name="connsiteY16" fmla="*/ 65616 h 143911"/>
                  <a:gd name="connsiteX17" fmla="*/ 17399 w 127033"/>
                  <a:gd name="connsiteY17" fmla="*/ 56231 h 143911"/>
                  <a:gd name="connsiteX18" fmla="*/ 17564 w 127033"/>
                  <a:gd name="connsiteY18" fmla="*/ 34496 h 143911"/>
                  <a:gd name="connsiteX19" fmla="*/ 18305 w 127033"/>
                  <a:gd name="connsiteY19" fmla="*/ 26016 h 143911"/>
                  <a:gd name="connsiteX20" fmla="*/ 20994 w 127033"/>
                  <a:gd name="connsiteY20" fmla="*/ 23958 h 143911"/>
                  <a:gd name="connsiteX21" fmla="*/ 24644 w 127033"/>
                  <a:gd name="connsiteY21" fmla="*/ 21982 h 143911"/>
                  <a:gd name="connsiteX22" fmla="*/ 28294 w 127033"/>
                  <a:gd name="connsiteY22" fmla="*/ 22805 h 143911"/>
                  <a:gd name="connsiteX23" fmla="*/ 34030 w 127033"/>
                  <a:gd name="connsiteY23" fmla="*/ 29831 h 143911"/>
                  <a:gd name="connsiteX24" fmla="*/ 43991 w 127033"/>
                  <a:gd name="connsiteY24" fmla="*/ 35072 h 143911"/>
                  <a:gd name="connsiteX25" fmla="*/ 55380 w 127033"/>
                  <a:gd name="connsiteY25" fmla="*/ 36554 h 143911"/>
                  <a:gd name="connsiteX26" fmla="*/ 112791 w 127033"/>
                  <a:gd name="connsiteY26" fmla="*/ 0 h 143911"/>
                  <a:gd name="connsiteX27" fmla="*/ 120886 w 127033"/>
                  <a:gd name="connsiteY27" fmla="*/ 28980 h 143911"/>
                  <a:gd name="connsiteX28" fmla="*/ 118966 w 127033"/>
                  <a:gd name="connsiteY28" fmla="*/ 31999 h 143911"/>
                  <a:gd name="connsiteX29" fmla="*/ 119707 w 127033"/>
                  <a:gd name="connsiteY29" fmla="*/ 35648 h 143911"/>
                  <a:gd name="connsiteX30" fmla="*/ 125771 w 127033"/>
                  <a:gd name="connsiteY30" fmla="*/ 36170 h 143911"/>
                  <a:gd name="connsiteX31" fmla="*/ 127034 w 127033"/>
                  <a:gd name="connsiteY31" fmla="*/ 37926 h 143911"/>
                  <a:gd name="connsiteX32" fmla="*/ 124783 w 127033"/>
                  <a:gd name="connsiteY32" fmla="*/ 42701 h 1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33" h="143911">
                    <a:moveTo>
                      <a:pt x="124811" y="42646"/>
                    </a:moveTo>
                    <a:lnTo>
                      <a:pt x="117538" y="48327"/>
                    </a:lnTo>
                    <a:lnTo>
                      <a:pt x="60951" y="65314"/>
                    </a:lnTo>
                    <a:lnTo>
                      <a:pt x="74700" y="82301"/>
                    </a:lnTo>
                    <a:lnTo>
                      <a:pt x="88613" y="99810"/>
                    </a:lnTo>
                    <a:lnTo>
                      <a:pt x="79969" y="105409"/>
                    </a:lnTo>
                    <a:lnTo>
                      <a:pt x="74096" y="116523"/>
                    </a:lnTo>
                    <a:lnTo>
                      <a:pt x="52910" y="121490"/>
                    </a:lnTo>
                    <a:lnTo>
                      <a:pt x="45253" y="133455"/>
                    </a:lnTo>
                    <a:lnTo>
                      <a:pt x="36747" y="140783"/>
                    </a:lnTo>
                    <a:lnTo>
                      <a:pt x="31340" y="143911"/>
                    </a:lnTo>
                    <a:lnTo>
                      <a:pt x="0" y="138368"/>
                    </a:lnTo>
                    <a:lnTo>
                      <a:pt x="604" y="132111"/>
                    </a:lnTo>
                    <a:lnTo>
                      <a:pt x="5708" y="112708"/>
                    </a:lnTo>
                    <a:lnTo>
                      <a:pt x="6723" y="98850"/>
                    </a:lnTo>
                    <a:lnTo>
                      <a:pt x="13530" y="82301"/>
                    </a:lnTo>
                    <a:lnTo>
                      <a:pt x="15258" y="65616"/>
                    </a:lnTo>
                    <a:lnTo>
                      <a:pt x="17399" y="56231"/>
                    </a:lnTo>
                    <a:lnTo>
                      <a:pt x="17564" y="34496"/>
                    </a:lnTo>
                    <a:lnTo>
                      <a:pt x="18305" y="26016"/>
                    </a:lnTo>
                    <a:lnTo>
                      <a:pt x="20994" y="23958"/>
                    </a:lnTo>
                    <a:lnTo>
                      <a:pt x="24644" y="21982"/>
                    </a:lnTo>
                    <a:lnTo>
                      <a:pt x="28294" y="22805"/>
                    </a:lnTo>
                    <a:lnTo>
                      <a:pt x="34030" y="29831"/>
                    </a:lnTo>
                    <a:lnTo>
                      <a:pt x="43991" y="35072"/>
                    </a:lnTo>
                    <a:lnTo>
                      <a:pt x="55380" y="36554"/>
                    </a:lnTo>
                    <a:lnTo>
                      <a:pt x="112791" y="0"/>
                    </a:lnTo>
                    <a:lnTo>
                      <a:pt x="120886" y="28980"/>
                    </a:lnTo>
                    <a:lnTo>
                      <a:pt x="118966" y="31999"/>
                    </a:lnTo>
                    <a:lnTo>
                      <a:pt x="119707" y="35648"/>
                    </a:lnTo>
                    <a:lnTo>
                      <a:pt x="125771" y="36170"/>
                    </a:lnTo>
                    <a:lnTo>
                      <a:pt x="127034" y="37926"/>
                    </a:lnTo>
                    <a:lnTo>
                      <a:pt x="124783" y="42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19" name="Freeform: Shape 4018">
                <a:extLst>
                  <a:ext uri="{FF2B5EF4-FFF2-40B4-BE49-F238E27FC236}">
                    <a16:creationId xmlns:a16="http://schemas.microsoft.com/office/drawing/2014/main" id="{CE1AF668-DA67-9293-8A34-C2EC081B28FB}"/>
                  </a:ext>
                </a:extLst>
              </p:cNvPr>
              <p:cNvSpPr/>
              <p:nvPr/>
            </p:nvSpPr>
            <p:spPr>
              <a:xfrm>
                <a:off x="1469483" y="3830271"/>
                <a:ext cx="24476" cy="28535"/>
              </a:xfrm>
              <a:custGeom>
                <a:avLst/>
                <a:gdLst>
                  <a:gd name="connsiteX0" fmla="*/ 135980 w 234664"/>
                  <a:gd name="connsiteY0" fmla="*/ 29282 h 273579"/>
                  <a:gd name="connsiteX1" fmla="*/ 163121 w 234664"/>
                  <a:gd name="connsiteY1" fmla="*/ 34880 h 273579"/>
                  <a:gd name="connsiteX2" fmla="*/ 165783 w 234664"/>
                  <a:gd name="connsiteY2" fmla="*/ 34167 h 273579"/>
                  <a:gd name="connsiteX3" fmla="*/ 175965 w 234664"/>
                  <a:gd name="connsiteY3" fmla="*/ 21680 h 273579"/>
                  <a:gd name="connsiteX4" fmla="*/ 200608 w 234664"/>
                  <a:gd name="connsiteY4" fmla="*/ 10483 h 273579"/>
                  <a:gd name="connsiteX5" fmla="*/ 213973 w 234664"/>
                  <a:gd name="connsiteY5" fmla="*/ 19677 h 273579"/>
                  <a:gd name="connsiteX6" fmla="*/ 234665 w 234664"/>
                  <a:gd name="connsiteY6" fmla="*/ 18798 h 273579"/>
                  <a:gd name="connsiteX7" fmla="*/ 218117 w 234664"/>
                  <a:gd name="connsiteY7" fmla="*/ 42454 h 273579"/>
                  <a:gd name="connsiteX8" fmla="*/ 207798 w 234664"/>
                  <a:gd name="connsiteY8" fmla="*/ 54090 h 273579"/>
                  <a:gd name="connsiteX9" fmla="*/ 207798 w 234664"/>
                  <a:gd name="connsiteY9" fmla="*/ 120941 h 273579"/>
                  <a:gd name="connsiteX10" fmla="*/ 207798 w 234664"/>
                  <a:gd name="connsiteY10" fmla="*/ 145036 h 273579"/>
                  <a:gd name="connsiteX11" fmla="*/ 207798 w 234664"/>
                  <a:gd name="connsiteY11" fmla="*/ 159032 h 273579"/>
                  <a:gd name="connsiteX12" fmla="*/ 214028 w 234664"/>
                  <a:gd name="connsiteY12" fmla="*/ 168967 h 273579"/>
                  <a:gd name="connsiteX13" fmla="*/ 220065 w 234664"/>
                  <a:gd name="connsiteY13" fmla="*/ 178050 h 273579"/>
                  <a:gd name="connsiteX14" fmla="*/ 224484 w 234664"/>
                  <a:gd name="connsiteY14" fmla="*/ 184746 h 273579"/>
                  <a:gd name="connsiteX15" fmla="*/ 217267 w 234664"/>
                  <a:gd name="connsiteY15" fmla="*/ 193226 h 273579"/>
                  <a:gd name="connsiteX16" fmla="*/ 205301 w 234664"/>
                  <a:gd name="connsiteY16" fmla="*/ 196848 h 273579"/>
                  <a:gd name="connsiteX17" fmla="*/ 206015 w 234664"/>
                  <a:gd name="connsiteY17" fmla="*/ 202090 h 273579"/>
                  <a:gd name="connsiteX18" fmla="*/ 206234 w 234664"/>
                  <a:gd name="connsiteY18" fmla="*/ 203627 h 273579"/>
                  <a:gd name="connsiteX19" fmla="*/ 201926 w 234664"/>
                  <a:gd name="connsiteY19" fmla="*/ 204038 h 273579"/>
                  <a:gd name="connsiteX20" fmla="*/ 201816 w 234664"/>
                  <a:gd name="connsiteY20" fmla="*/ 206920 h 273579"/>
                  <a:gd name="connsiteX21" fmla="*/ 197562 w 234664"/>
                  <a:gd name="connsiteY21" fmla="*/ 210350 h 273579"/>
                  <a:gd name="connsiteX22" fmla="*/ 191003 w 234664"/>
                  <a:gd name="connsiteY22" fmla="*/ 211338 h 273579"/>
                  <a:gd name="connsiteX23" fmla="*/ 185075 w 234664"/>
                  <a:gd name="connsiteY23" fmla="*/ 215537 h 273579"/>
                  <a:gd name="connsiteX24" fmla="*/ 184746 w 234664"/>
                  <a:gd name="connsiteY24" fmla="*/ 217156 h 273579"/>
                  <a:gd name="connsiteX25" fmla="*/ 181727 w 234664"/>
                  <a:gd name="connsiteY25" fmla="*/ 232031 h 273579"/>
                  <a:gd name="connsiteX26" fmla="*/ 177364 w 234664"/>
                  <a:gd name="connsiteY26" fmla="*/ 235296 h 273579"/>
                  <a:gd name="connsiteX27" fmla="*/ 173358 w 234664"/>
                  <a:gd name="connsiteY27" fmla="*/ 248606 h 273579"/>
                  <a:gd name="connsiteX28" fmla="*/ 165070 w 234664"/>
                  <a:gd name="connsiteY28" fmla="*/ 265923 h 273579"/>
                  <a:gd name="connsiteX29" fmla="*/ 160486 w 234664"/>
                  <a:gd name="connsiteY29" fmla="*/ 273003 h 273579"/>
                  <a:gd name="connsiteX30" fmla="*/ 156946 w 234664"/>
                  <a:gd name="connsiteY30" fmla="*/ 271082 h 273579"/>
                  <a:gd name="connsiteX31" fmla="*/ 155080 w 234664"/>
                  <a:gd name="connsiteY31" fmla="*/ 273579 h 273579"/>
                  <a:gd name="connsiteX32" fmla="*/ 116139 w 234664"/>
                  <a:gd name="connsiteY32" fmla="*/ 246218 h 273579"/>
                  <a:gd name="connsiteX33" fmla="*/ 108729 w 234664"/>
                  <a:gd name="connsiteY33" fmla="*/ 238864 h 273579"/>
                  <a:gd name="connsiteX34" fmla="*/ 110540 w 234664"/>
                  <a:gd name="connsiteY34" fmla="*/ 231921 h 273579"/>
                  <a:gd name="connsiteX35" fmla="*/ 107495 w 234664"/>
                  <a:gd name="connsiteY35" fmla="*/ 224731 h 273579"/>
                  <a:gd name="connsiteX36" fmla="*/ 25495 w 234664"/>
                  <a:gd name="connsiteY36" fmla="*/ 178105 h 273579"/>
                  <a:gd name="connsiteX37" fmla="*/ 9495 w 234664"/>
                  <a:gd name="connsiteY37" fmla="*/ 169021 h 273579"/>
                  <a:gd name="connsiteX38" fmla="*/ 110 w 234664"/>
                  <a:gd name="connsiteY38" fmla="*/ 165481 h 273579"/>
                  <a:gd name="connsiteX39" fmla="*/ 851 w 234664"/>
                  <a:gd name="connsiteY39" fmla="*/ 151376 h 273579"/>
                  <a:gd name="connsiteX40" fmla="*/ 1180 w 234664"/>
                  <a:gd name="connsiteY40" fmla="*/ 145118 h 273579"/>
                  <a:gd name="connsiteX41" fmla="*/ 1427 w 234664"/>
                  <a:gd name="connsiteY41" fmla="*/ 140563 h 273579"/>
                  <a:gd name="connsiteX42" fmla="*/ 0 w 234664"/>
                  <a:gd name="connsiteY42" fmla="*/ 132577 h 273579"/>
                  <a:gd name="connsiteX43" fmla="*/ 4885 w 234664"/>
                  <a:gd name="connsiteY43" fmla="*/ 125360 h 273579"/>
                  <a:gd name="connsiteX44" fmla="*/ 6257 w 234664"/>
                  <a:gd name="connsiteY44" fmla="*/ 121023 h 273579"/>
                  <a:gd name="connsiteX45" fmla="*/ 6861 w 234664"/>
                  <a:gd name="connsiteY45" fmla="*/ 119130 h 273579"/>
                  <a:gd name="connsiteX46" fmla="*/ 14710 w 234664"/>
                  <a:gd name="connsiteY46" fmla="*/ 110925 h 273579"/>
                  <a:gd name="connsiteX47" fmla="*/ 17536 w 234664"/>
                  <a:gd name="connsiteY47" fmla="*/ 104338 h 273579"/>
                  <a:gd name="connsiteX48" fmla="*/ 25769 w 234664"/>
                  <a:gd name="connsiteY48" fmla="*/ 99206 h 273579"/>
                  <a:gd name="connsiteX49" fmla="*/ 25302 w 234664"/>
                  <a:gd name="connsiteY49" fmla="*/ 94376 h 273579"/>
                  <a:gd name="connsiteX50" fmla="*/ 30763 w 234664"/>
                  <a:gd name="connsiteY50" fmla="*/ 87927 h 273579"/>
                  <a:gd name="connsiteX51" fmla="*/ 32328 w 234664"/>
                  <a:gd name="connsiteY51" fmla="*/ 80436 h 273579"/>
                  <a:gd name="connsiteX52" fmla="*/ 29501 w 234664"/>
                  <a:gd name="connsiteY52" fmla="*/ 63201 h 273579"/>
                  <a:gd name="connsiteX53" fmla="*/ 24205 w 234664"/>
                  <a:gd name="connsiteY53" fmla="*/ 53020 h 273579"/>
                  <a:gd name="connsiteX54" fmla="*/ 19814 w 234664"/>
                  <a:gd name="connsiteY54" fmla="*/ 49946 h 273579"/>
                  <a:gd name="connsiteX55" fmla="*/ 14298 w 234664"/>
                  <a:gd name="connsiteY55" fmla="*/ 37487 h 273579"/>
                  <a:gd name="connsiteX56" fmla="*/ 15258 w 234664"/>
                  <a:gd name="connsiteY56" fmla="*/ 28321 h 273579"/>
                  <a:gd name="connsiteX57" fmla="*/ 8260 w 234664"/>
                  <a:gd name="connsiteY57" fmla="*/ 24314 h 273579"/>
                  <a:gd name="connsiteX58" fmla="*/ 1921 w 234664"/>
                  <a:gd name="connsiteY58" fmla="*/ 11965 h 273579"/>
                  <a:gd name="connsiteX59" fmla="*/ 13228 w 234664"/>
                  <a:gd name="connsiteY59" fmla="*/ 0 h 273579"/>
                  <a:gd name="connsiteX60" fmla="*/ 59387 w 234664"/>
                  <a:gd name="connsiteY60" fmla="*/ 0 h 273579"/>
                  <a:gd name="connsiteX61" fmla="*/ 63970 w 234664"/>
                  <a:gd name="connsiteY61" fmla="*/ 4830 h 273579"/>
                  <a:gd name="connsiteX62" fmla="*/ 86693 w 234664"/>
                  <a:gd name="connsiteY62" fmla="*/ 5735 h 273579"/>
                  <a:gd name="connsiteX63" fmla="*/ 123466 w 234664"/>
                  <a:gd name="connsiteY63" fmla="*/ 29144 h 273579"/>
                  <a:gd name="connsiteX64" fmla="*/ 136063 w 234664"/>
                  <a:gd name="connsiteY64" fmla="*/ 29309 h 27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34664" h="273579">
                    <a:moveTo>
                      <a:pt x="135980" y="29282"/>
                    </a:moveTo>
                    <a:lnTo>
                      <a:pt x="163121" y="34880"/>
                    </a:lnTo>
                    <a:lnTo>
                      <a:pt x="165783" y="34167"/>
                    </a:lnTo>
                    <a:lnTo>
                      <a:pt x="175965" y="21680"/>
                    </a:lnTo>
                    <a:lnTo>
                      <a:pt x="200608" y="10483"/>
                    </a:lnTo>
                    <a:lnTo>
                      <a:pt x="213973" y="19677"/>
                    </a:lnTo>
                    <a:lnTo>
                      <a:pt x="234665" y="18798"/>
                    </a:lnTo>
                    <a:lnTo>
                      <a:pt x="218117" y="42454"/>
                    </a:lnTo>
                    <a:lnTo>
                      <a:pt x="207798" y="54090"/>
                    </a:lnTo>
                    <a:lnTo>
                      <a:pt x="207798" y="120941"/>
                    </a:lnTo>
                    <a:cubicBezTo>
                      <a:pt x="207798" y="120941"/>
                      <a:pt x="207798" y="145036"/>
                      <a:pt x="207798" y="145036"/>
                    </a:cubicBezTo>
                    <a:lnTo>
                      <a:pt x="207798" y="159032"/>
                    </a:lnTo>
                    <a:lnTo>
                      <a:pt x="214028" y="168967"/>
                    </a:lnTo>
                    <a:lnTo>
                      <a:pt x="220065" y="178050"/>
                    </a:lnTo>
                    <a:lnTo>
                      <a:pt x="224484" y="184746"/>
                    </a:lnTo>
                    <a:lnTo>
                      <a:pt x="217267" y="193226"/>
                    </a:lnTo>
                    <a:lnTo>
                      <a:pt x="205301" y="196848"/>
                    </a:lnTo>
                    <a:lnTo>
                      <a:pt x="206015" y="202090"/>
                    </a:lnTo>
                    <a:lnTo>
                      <a:pt x="206234" y="203627"/>
                    </a:lnTo>
                    <a:lnTo>
                      <a:pt x="201926" y="204038"/>
                    </a:lnTo>
                    <a:lnTo>
                      <a:pt x="201816" y="206920"/>
                    </a:lnTo>
                    <a:lnTo>
                      <a:pt x="197562" y="210350"/>
                    </a:lnTo>
                    <a:lnTo>
                      <a:pt x="191003" y="211338"/>
                    </a:lnTo>
                    <a:lnTo>
                      <a:pt x="185075" y="215537"/>
                    </a:lnTo>
                    <a:lnTo>
                      <a:pt x="184746" y="217156"/>
                    </a:lnTo>
                    <a:lnTo>
                      <a:pt x="181727" y="232031"/>
                    </a:lnTo>
                    <a:lnTo>
                      <a:pt x="177364" y="235296"/>
                    </a:lnTo>
                    <a:lnTo>
                      <a:pt x="173358" y="248606"/>
                    </a:lnTo>
                    <a:lnTo>
                      <a:pt x="165070" y="265923"/>
                    </a:lnTo>
                    <a:lnTo>
                      <a:pt x="160486" y="273003"/>
                    </a:lnTo>
                    <a:lnTo>
                      <a:pt x="156946" y="271082"/>
                    </a:lnTo>
                    <a:lnTo>
                      <a:pt x="155080" y="273579"/>
                    </a:lnTo>
                    <a:lnTo>
                      <a:pt x="116139" y="246218"/>
                    </a:lnTo>
                    <a:lnTo>
                      <a:pt x="108729" y="238864"/>
                    </a:lnTo>
                    <a:lnTo>
                      <a:pt x="110540" y="231921"/>
                    </a:lnTo>
                    <a:lnTo>
                      <a:pt x="107495" y="224731"/>
                    </a:lnTo>
                    <a:lnTo>
                      <a:pt x="25495" y="178105"/>
                    </a:lnTo>
                    <a:lnTo>
                      <a:pt x="9495" y="169021"/>
                    </a:lnTo>
                    <a:lnTo>
                      <a:pt x="110" y="165481"/>
                    </a:lnTo>
                    <a:lnTo>
                      <a:pt x="851" y="151376"/>
                    </a:lnTo>
                    <a:lnTo>
                      <a:pt x="1180" y="145118"/>
                    </a:lnTo>
                    <a:lnTo>
                      <a:pt x="1427" y="140563"/>
                    </a:lnTo>
                    <a:lnTo>
                      <a:pt x="0" y="132577"/>
                    </a:lnTo>
                    <a:lnTo>
                      <a:pt x="4885" y="125360"/>
                    </a:lnTo>
                    <a:lnTo>
                      <a:pt x="6257" y="121023"/>
                    </a:lnTo>
                    <a:lnTo>
                      <a:pt x="6861" y="119130"/>
                    </a:lnTo>
                    <a:lnTo>
                      <a:pt x="14710" y="110925"/>
                    </a:lnTo>
                    <a:lnTo>
                      <a:pt x="17536" y="104338"/>
                    </a:lnTo>
                    <a:lnTo>
                      <a:pt x="25769" y="99206"/>
                    </a:lnTo>
                    <a:lnTo>
                      <a:pt x="25302" y="94376"/>
                    </a:lnTo>
                    <a:lnTo>
                      <a:pt x="30763" y="87927"/>
                    </a:lnTo>
                    <a:lnTo>
                      <a:pt x="32328" y="80436"/>
                    </a:lnTo>
                    <a:lnTo>
                      <a:pt x="29501" y="63201"/>
                    </a:lnTo>
                    <a:lnTo>
                      <a:pt x="24205" y="53020"/>
                    </a:lnTo>
                    <a:lnTo>
                      <a:pt x="19814" y="49946"/>
                    </a:lnTo>
                    <a:lnTo>
                      <a:pt x="14298" y="37487"/>
                    </a:lnTo>
                    <a:lnTo>
                      <a:pt x="15258" y="28321"/>
                    </a:lnTo>
                    <a:lnTo>
                      <a:pt x="8260" y="24314"/>
                    </a:lnTo>
                    <a:lnTo>
                      <a:pt x="1921" y="11965"/>
                    </a:lnTo>
                    <a:lnTo>
                      <a:pt x="13228" y="0"/>
                    </a:lnTo>
                    <a:lnTo>
                      <a:pt x="59387" y="0"/>
                    </a:lnTo>
                    <a:lnTo>
                      <a:pt x="63970" y="4830"/>
                    </a:lnTo>
                    <a:lnTo>
                      <a:pt x="86693" y="5735"/>
                    </a:lnTo>
                    <a:lnTo>
                      <a:pt x="123466" y="29144"/>
                    </a:lnTo>
                    <a:lnTo>
                      <a:pt x="136063" y="293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0" name="Freeform: Shape 4019">
                <a:extLst>
                  <a:ext uri="{FF2B5EF4-FFF2-40B4-BE49-F238E27FC236}">
                    <a16:creationId xmlns:a16="http://schemas.microsoft.com/office/drawing/2014/main" id="{4AA97D3C-F0AA-893D-AE26-3E694668B1DC}"/>
                  </a:ext>
                </a:extLst>
              </p:cNvPr>
              <p:cNvSpPr/>
              <p:nvPr/>
            </p:nvSpPr>
            <p:spPr>
              <a:xfrm>
                <a:off x="1491134" y="3850728"/>
                <a:ext cx="475" cy="392"/>
              </a:xfrm>
              <a:custGeom>
                <a:avLst/>
                <a:gdLst>
                  <a:gd name="connsiteX0" fmla="*/ 4555 w 4555"/>
                  <a:gd name="connsiteY0" fmla="*/ 1866 h 3759"/>
                  <a:gd name="connsiteX1" fmla="*/ 1729 w 4555"/>
                  <a:gd name="connsiteY1" fmla="*/ 3760 h 3759"/>
                  <a:gd name="connsiteX2" fmla="*/ 0 w 4555"/>
                  <a:gd name="connsiteY2" fmla="*/ 2470 h 3759"/>
                  <a:gd name="connsiteX3" fmla="*/ 3842 w 4555"/>
                  <a:gd name="connsiteY3" fmla="*/ 0 h 3759"/>
                  <a:gd name="connsiteX4" fmla="*/ 4528 w 4555"/>
                  <a:gd name="connsiteY4" fmla="*/ 1866 h 3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3759">
                    <a:moveTo>
                      <a:pt x="4555" y="1866"/>
                    </a:moveTo>
                    <a:lnTo>
                      <a:pt x="1729" y="3760"/>
                    </a:lnTo>
                    <a:lnTo>
                      <a:pt x="0" y="2470"/>
                    </a:lnTo>
                    <a:lnTo>
                      <a:pt x="3842" y="0"/>
                    </a:lnTo>
                    <a:lnTo>
                      <a:pt x="4528" y="18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1" name="Freeform: Shape 4020">
                <a:extLst>
                  <a:ext uri="{FF2B5EF4-FFF2-40B4-BE49-F238E27FC236}">
                    <a16:creationId xmlns:a16="http://schemas.microsoft.com/office/drawing/2014/main" id="{0128FA49-6187-16E6-7FDF-77169BB71A77}"/>
                  </a:ext>
                </a:extLst>
              </p:cNvPr>
              <p:cNvSpPr/>
              <p:nvPr/>
            </p:nvSpPr>
            <p:spPr>
              <a:xfrm>
                <a:off x="1577977" y="3697164"/>
                <a:ext cx="33584" cy="16378"/>
              </a:xfrm>
              <a:custGeom>
                <a:avLst/>
                <a:gdLst>
                  <a:gd name="connsiteX0" fmla="*/ 321961 w 321988"/>
                  <a:gd name="connsiteY0" fmla="*/ 39902 h 157028"/>
                  <a:gd name="connsiteX1" fmla="*/ 321467 w 321988"/>
                  <a:gd name="connsiteY1" fmla="*/ 46187 h 157028"/>
                  <a:gd name="connsiteX2" fmla="*/ 310161 w 321988"/>
                  <a:gd name="connsiteY2" fmla="*/ 47943 h 157028"/>
                  <a:gd name="connsiteX3" fmla="*/ 309420 w 321988"/>
                  <a:gd name="connsiteY3" fmla="*/ 49233 h 157028"/>
                  <a:gd name="connsiteX4" fmla="*/ 305083 w 321988"/>
                  <a:gd name="connsiteY4" fmla="*/ 56505 h 157028"/>
                  <a:gd name="connsiteX5" fmla="*/ 297756 w 321988"/>
                  <a:gd name="connsiteY5" fmla="*/ 55353 h 157028"/>
                  <a:gd name="connsiteX6" fmla="*/ 286285 w 321988"/>
                  <a:gd name="connsiteY6" fmla="*/ 61719 h 157028"/>
                  <a:gd name="connsiteX7" fmla="*/ 282992 w 321988"/>
                  <a:gd name="connsiteY7" fmla="*/ 63558 h 157028"/>
                  <a:gd name="connsiteX8" fmla="*/ 268886 w 321988"/>
                  <a:gd name="connsiteY8" fmla="*/ 71379 h 157028"/>
                  <a:gd name="connsiteX9" fmla="*/ 266746 w 321988"/>
                  <a:gd name="connsiteY9" fmla="*/ 77362 h 157028"/>
                  <a:gd name="connsiteX10" fmla="*/ 259419 w 321988"/>
                  <a:gd name="connsiteY10" fmla="*/ 85759 h 157028"/>
                  <a:gd name="connsiteX11" fmla="*/ 253161 w 321988"/>
                  <a:gd name="connsiteY11" fmla="*/ 85073 h 157028"/>
                  <a:gd name="connsiteX12" fmla="*/ 245066 w 321988"/>
                  <a:gd name="connsiteY12" fmla="*/ 87872 h 157028"/>
                  <a:gd name="connsiteX13" fmla="*/ 227557 w 321988"/>
                  <a:gd name="connsiteY13" fmla="*/ 85897 h 157028"/>
                  <a:gd name="connsiteX14" fmla="*/ 222480 w 321988"/>
                  <a:gd name="connsiteY14" fmla="*/ 87461 h 157028"/>
                  <a:gd name="connsiteX15" fmla="*/ 216223 w 321988"/>
                  <a:gd name="connsiteY15" fmla="*/ 97478 h 157028"/>
                  <a:gd name="connsiteX16" fmla="*/ 212217 w 321988"/>
                  <a:gd name="connsiteY16" fmla="*/ 108565 h 157028"/>
                  <a:gd name="connsiteX17" fmla="*/ 208539 w 321988"/>
                  <a:gd name="connsiteY17" fmla="*/ 111803 h 157028"/>
                  <a:gd name="connsiteX18" fmla="*/ 205301 w 321988"/>
                  <a:gd name="connsiteY18" fmla="*/ 109662 h 157028"/>
                  <a:gd name="connsiteX19" fmla="*/ 197425 w 321988"/>
                  <a:gd name="connsiteY19" fmla="*/ 111776 h 157028"/>
                  <a:gd name="connsiteX20" fmla="*/ 194296 w 321988"/>
                  <a:gd name="connsiteY20" fmla="*/ 114877 h 157028"/>
                  <a:gd name="connsiteX21" fmla="*/ 188588 w 321988"/>
                  <a:gd name="connsiteY21" fmla="*/ 115096 h 157028"/>
                  <a:gd name="connsiteX22" fmla="*/ 187271 w 321988"/>
                  <a:gd name="connsiteY22" fmla="*/ 112105 h 157028"/>
                  <a:gd name="connsiteX23" fmla="*/ 188232 w 321988"/>
                  <a:gd name="connsiteY23" fmla="*/ 108263 h 157028"/>
                  <a:gd name="connsiteX24" fmla="*/ 184582 w 321988"/>
                  <a:gd name="connsiteY24" fmla="*/ 101814 h 157028"/>
                  <a:gd name="connsiteX25" fmla="*/ 171354 w 321988"/>
                  <a:gd name="connsiteY25" fmla="*/ 109251 h 157028"/>
                  <a:gd name="connsiteX26" fmla="*/ 163121 w 321988"/>
                  <a:gd name="connsiteY26" fmla="*/ 107192 h 157028"/>
                  <a:gd name="connsiteX27" fmla="*/ 162161 w 321988"/>
                  <a:gd name="connsiteY27" fmla="*/ 109498 h 157028"/>
                  <a:gd name="connsiteX28" fmla="*/ 163999 w 321988"/>
                  <a:gd name="connsiteY28" fmla="*/ 113532 h 157028"/>
                  <a:gd name="connsiteX29" fmla="*/ 159499 w 321988"/>
                  <a:gd name="connsiteY29" fmla="*/ 113696 h 157028"/>
                  <a:gd name="connsiteX30" fmla="*/ 148796 w 321988"/>
                  <a:gd name="connsiteY30" fmla="*/ 122670 h 157028"/>
                  <a:gd name="connsiteX31" fmla="*/ 138560 w 321988"/>
                  <a:gd name="connsiteY31" fmla="*/ 124289 h 157028"/>
                  <a:gd name="connsiteX32" fmla="*/ 134004 w 321988"/>
                  <a:gd name="connsiteY32" fmla="*/ 134334 h 157028"/>
                  <a:gd name="connsiteX33" fmla="*/ 136172 w 321988"/>
                  <a:gd name="connsiteY33" fmla="*/ 139850 h 157028"/>
                  <a:gd name="connsiteX34" fmla="*/ 135514 w 321988"/>
                  <a:gd name="connsiteY34" fmla="*/ 143966 h 157028"/>
                  <a:gd name="connsiteX35" fmla="*/ 133153 w 321988"/>
                  <a:gd name="connsiteY35" fmla="*/ 146957 h 157028"/>
                  <a:gd name="connsiteX36" fmla="*/ 128296 w 321988"/>
                  <a:gd name="connsiteY36" fmla="*/ 147095 h 157028"/>
                  <a:gd name="connsiteX37" fmla="*/ 113751 w 321988"/>
                  <a:gd name="connsiteY37" fmla="*/ 150827 h 157028"/>
                  <a:gd name="connsiteX38" fmla="*/ 94761 w 321988"/>
                  <a:gd name="connsiteY38" fmla="*/ 151074 h 157028"/>
                  <a:gd name="connsiteX39" fmla="*/ 86829 w 321988"/>
                  <a:gd name="connsiteY39" fmla="*/ 157029 h 157028"/>
                  <a:gd name="connsiteX40" fmla="*/ 80298 w 321988"/>
                  <a:gd name="connsiteY40" fmla="*/ 152089 h 157028"/>
                  <a:gd name="connsiteX41" fmla="*/ 74096 w 321988"/>
                  <a:gd name="connsiteY41" fmla="*/ 153269 h 157028"/>
                  <a:gd name="connsiteX42" fmla="*/ 71983 w 321988"/>
                  <a:gd name="connsiteY42" fmla="*/ 148549 h 157028"/>
                  <a:gd name="connsiteX43" fmla="*/ 67510 w 321988"/>
                  <a:gd name="connsiteY43" fmla="*/ 146820 h 157028"/>
                  <a:gd name="connsiteX44" fmla="*/ 64299 w 321988"/>
                  <a:gd name="connsiteY44" fmla="*/ 142512 h 157028"/>
                  <a:gd name="connsiteX45" fmla="*/ 46708 w 321988"/>
                  <a:gd name="connsiteY45" fmla="*/ 149592 h 157028"/>
                  <a:gd name="connsiteX46" fmla="*/ 35731 w 321988"/>
                  <a:gd name="connsiteY46" fmla="*/ 142265 h 157028"/>
                  <a:gd name="connsiteX47" fmla="*/ 4500 w 321988"/>
                  <a:gd name="connsiteY47" fmla="*/ 144295 h 157028"/>
                  <a:gd name="connsiteX48" fmla="*/ 1427 w 321988"/>
                  <a:gd name="connsiteY48" fmla="*/ 141880 h 157028"/>
                  <a:gd name="connsiteX49" fmla="*/ 0 w 321988"/>
                  <a:gd name="connsiteY49" fmla="*/ 134910 h 157028"/>
                  <a:gd name="connsiteX50" fmla="*/ 1372 w 321988"/>
                  <a:gd name="connsiteY50" fmla="*/ 129476 h 157028"/>
                  <a:gd name="connsiteX51" fmla="*/ 5626 w 321988"/>
                  <a:gd name="connsiteY51" fmla="*/ 129284 h 157028"/>
                  <a:gd name="connsiteX52" fmla="*/ 9440 w 321988"/>
                  <a:gd name="connsiteY52" fmla="*/ 122533 h 157028"/>
                  <a:gd name="connsiteX53" fmla="*/ 21598 w 321988"/>
                  <a:gd name="connsiteY53" fmla="*/ 118526 h 157028"/>
                  <a:gd name="connsiteX54" fmla="*/ 36993 w 321988"/>
                  <a:gd name="connsiteY54" fmla="*/ 127335 h 157028"/>
                  <a:gd name="connsiteX55" fmla="*/ 49150 w 321988"/>
                  <a:gd name="connsiteY55" fmla="*/ 117840 h 157028"/>
                  <a:gd name="connsiteX56" fmla="*/ 57768 w 321988"/>
                  <a:gd name="connsiteY56" fmla="*/ 114767 h 157028"/>
                  <a:gd name="connsiteX57" fmla="*/ 74124 w 321988"/>
                  <a:gd name="connsiteY57" fmla="*/ 119075 h 157028"/>
                  <a:gd name="connsiteX58" fmla="*/ 84167 w 321988"/>
                  <a:gd name="connsiteY58" fmla="*/ 109525 h 157028"/>
                  <a:gd name="connsiteX59" fmla="*/ 90809 w 321988"/>
                  <a:gd name="connsiteY59" fmla="*/ 108811 h 157028"/>
                  <a:gd name="connsiteX60" fmla="*/ 92016 w 321988"/>
                  <a:gd name="connsiteY60" fmla="*/ 104585 h 157028"/>
                  <a:gd name="connsiteX61" fmla="*/ 101073 w 321988"/>
                  <a:gd name="connsiteY61" fmla="*/ 103872 h 157028"/>
                  <a:gd name="connsiteX62" fmla="*/ 108317 w 321988"/>
                  <a:gd name="connsiteY62" fmla="*/ 95749 h 157028"/>
                  <a:gd name="connsiteX63" fmla="*/ 77938 w 321988"/>
                  <a:gd name="connsiteY63" fmla="*/ 80518 h 157028"/>
                  <a:gd name="connsiteX64" fmla="*/ 71709 w 321988"/>
                  <a:gd name="connsiteY64" fmla="*/ 68964 h 157028"/>
                  <a:gd name="connsiteX65" fmla="*/ 62927 w 321988"/>
                  <a:gd name="connsiteY65" fmla="*/ 80929 h 157028"/>
                  <a:gd name="connsiteX66" fmla="*/ 57960 w 321988"/>
                  <a:gd name="connsiteY66" fmla="*/ 82466 h 157028"/>
                  <a:gd name="connsiteX67" fmla="*/ 45857 w 321988"/>
                  <a:gd name="connsiteY67" fmla="*/ 79832 h 157028"/>
                  <a:gd name="connsiteX68" fmla="*/ 41027 w 321988"/>
                  <a:gd name="connsiteY68" fmla="*/ 71544 h 157028"/>
                  <a:gd name="connsiteX69" fmla="*/ 34578 w 321988"/>
                  <a:gd name="connsiteY69" fmla="*/ 71077 h 157028"/>
                  <a:gd name="connsiteX70" fmla="*/ 28047 w 321988"/>
                  <a:gd name="connsiteY70" fmla="*/ 67071 h 157028"/>
                  <a:gd name="connsiteX71" fmla="*/ 29309 w 321988"/>
                  <a:gd name="connsiteY71" fmla="*/ 63064 h 157028"/>
                  <a:gd name="connsiteX72" fmla="*/ 31011 w 321988"/>
                  <a:gd name="connsiteY72" fmla="*/ 61747 h 157028"/>
                  <a:gd name="connsiteX73" fmla="*/ 43634 w 321988"/>
                  <a:gd name="connsiteY73" fmla="*/ 51922 h 157028"/>
                  <a:gd name="connsiteX74" fmla="*/ 45391 w 321988"/>
                  <a:gd name="connsiteY74" fmla="*/ 49260 h 157028"/>
                  <a:gd name="connsiteX75" fmla="*/ 46461 w 321988"/>
                  <a:gd name="connsiteY75" fmla="*/ 47586 h 157028"/>
                  <a:gd name="connsiteX76" fmla="*/ 55956 w 321988"/>
                  <a:gd name="connsiteY76" fmla="*/ 41905 h 157028"/>
                  <a:gd name="connsiteX77" fmla="*/ 55682 w 321988"/>
                  <a:gd name="connsiteY77" fmla="*/ 39957 h 157028"/>
                  <a:gd name="connsiteX78" fmla="*/ 53514 w 321988"/>
                  <a:gd name="connsiteY78" fmla="*/ 37789 h 157028"/>
                  <a:gd name="connsiteX79" fmla="*/ 48382 w 321988"/>
                  <a:gd name="connsiteY79" fmla="*/ 38393 h 157028"/>
                  <a:gd name="connsiteX80" fmla="*/ 47284 w 321988"/>
                  <a:gd name="connsiteY80" fmla="*/ 35182 h 157028"/>
                  <a:gd name="connsiteX81" fmla="*/ 48986 w 321988"/>
                  <a:gd name="connsiteY81" fmla="*/ 32795 h 157028"/>
                  <a:gd name="connsiteX82" fmla="*/ 51648 w 321988"/>
                  <a:gd name="connsiteY82" fmla="*/ 29062 h 157028"/>
                  <a:gd name="connsiteX83" fmla="*/ 51977 w 321988"/>
                  <a:gd name="connsiteY83" fmla="*/ 25632 h 157028"/>
                  <a:gd name="connsiteX84" fmla="*/ 53925 w 321988"/>
                  <a:gd name="connsiteY84" fmla="*/ 23546 h 157028"/>
                  <a:gd name="connsiteX85" fmla="*/ 58810 w 321988"/>
                  <a:gd name="connsiteY85" fmla="*/ 18277 h 157028"/>
                  <a:gd name="connsiteX86" fmla="*/ 63558 w 321988"/>
                  <a:gd name="connsiteY86" fmla="*/ 16932 h 157028"/>
                  <a:gd name="connsiteX87" fmla="*/ 75633 w 321988"/>
                  <a:gd name="connsiteY87" fmla="*/ 16082 h 157028"/>
                  <a:gd name="connsiteX88" fmla="*/ 87104 w 321988"/>
                  <a:gd name="connsiteY88" fmla="*/ 18551 h 157028"/>
                  <a:gd name="connsiteX89" fmla="*/ 98520 w 321988"/>
                  <a:gd name="connsiteY89" fmla="*/ 23546 h 157028"/>
                  <a:gd name="connsiteX90" fmla="*/ 105710 w 321988"/>
                  <a:gd name="connsiteY90" fmla="*/ 26675 h 157028"/>
                  <a:gd name="connsiteX91" fmla="*/ 122505 w 321988"/>
                  <a:gd name="connsiteY91" fmla="*/ 31176 h 157028"/>
                  <a:gd name="connsiteX92" fmla="*/ 122094 w 321988"/>
                  <a:gd name="connsiteY92" fmla="*/ 23519 h 157028"/>
                  <a:gd name="connsiteX93" fmla="*/ 126622 w 321988"/>
                  <a:gd name="connsiteY93" fmla="*/ 8398 h 157028"/>
                  <a:gd name="connsiteX94" fmla="*/ 145942 w 321988"/>
                  <a:gd name="connsiteY94" fmla="*/ 0 h 157028"/>
                  <a:gd name="connsiteX95" fmla="*/ 152747 w 321988"/>
                  <a:gd name="connsiteY95" fmla="*/ 2004 h 157028"/>
                  <a:gd name="connsiteX96" fmla="*/ 169790 w 321988"/>
                  <a:gd name="connsiteY96" fmla="*/ 13145 h 157028"/>
                  <a:gd name="connsiteX97" fmla="*/ 180876 w 321988"/>
                  <a:gd name="connsiteY97" fmla="*/ 15698 h 157028"/>
                  <a:gd name="connsiteX98" fmla="*/ 188232 w 321988"/>
                  <a:gd name="connsiteY98" fmla="*/ 15862 h 157028"/>
                  <a:gd name="connsiteX99" fmla="*/ 195092 w 321988"/>
                  <a:gd name="connsiteY99" fmla="*/ 11581 h 157028"/>
                  <a:gd name="connsiteX100" fmla="*/ 207963 w 321988"/>
                  <a:gd name="connsiteY100" fmla="*/ 13447 h 157028"/>
                  <a:gd name="connsiteX101" fmla="*/ 224291 w 321988"/>
                  <a:gd name="connsiteY101" fmla="*/ 10044 h 157028"/>
                  <a:gd name="connsiteX102" fmla="*/ 255796 w 321988"/>
                  <a:gd name="connsiteY102" fmla="*/ 14600 h 157028"/>
                  <a:gd name="connsiteX103" fmla="*/ 273030 w 321988"/>
                  <a:gd name="connsiteY103" fmla="*/ 13831 h 157028"/>
                  <a:gd name="connsiteX104" fmla="*/ 288535 w 321988"/>
                  <a:gd name="connsiteY104" fmla="*/ 18030 h 157028"/>
                  <a:gd name="connsiteX105" fmla="*/ 294216 w 321988"/>
                  <a:gd name="connsiteY105" fmla="*/ 23519 h 157028"/>
                  <a:gd name="connsiteX106" fmla="*/ 299622 w 321988"/>
                  <a:gd name="connsiteY106" fmla="*/ 29282 h 157028"/>
                  <a:gd name="connsiteX107" fmla="*/ 312027 w 321988"/>
                  <a:gd name="connsiteY107" fmla="*/ 31779 h 157028"/>
                  <a:gd name="connsiteX108" fmla="*/ 312877 w 321988"/>
                  <a:gd name="connsiteY108" fmla="*/ 32767 h 157028"/>
                  <a:gd name="connsiteX109" fmla="*/ 318558 w 321988"/>
                  <a:gd name="connsiteY109" fmla="*/ 39353 h 157028"/>
                  <a:gd name="connsiteX110" fmla="*/ 321989 w 321988"/>
                  <a:gd name="connsiteY110" fmla="*/ 39957 h 157028"/>
                  <a:gd name="connsiteX111" fmla="*/ 69870 w 321988"/>
                  <a:gd name="connsiteY111" fmla="*/ 128955 h 157028"/>
                  <a:gd name="connsiteX112" fmla="*/ 72916 w 321988"/>
                  <a:gd name="connsiteY112" fmla="*/ 130683 h 157028"/>
                  <a:gd name="connsiteX113" fmla="*/ 74453 w 321988"/>
                  <a:gd name="connsiteY113" fmla="*/ 126704 h 157028"/>
                  <a:gd name="connsiteX114" fmla="*/ 73492 w 321988"/>
                  <a:gd name="connsiteY114" fmla="*/ 126403 h 157028"/>
                  <a:gd name="connsiteX115" fmla="*/ 69897 w 321988"/>
                  <a:gd name="connsiteY115" fmla="*/ 128955 h 157028"/>
                  <a:gd name="connsiteX116" fmla="*/ 49754 w 321988"/>
                  <a:gd name="connsiteY116" fmla="*/ 119734 h 157028"/>
                  <a:gd name="connsiteX117" fmla="*/ 50331 w 321988"/>
                  <a:gd name="connsiteY117" fmla="*/ 125470 h 157028"/>
                  <a:gd name="connsiteX118" fmla="*/ 52553 w 321988"/>
                  <a:gd name="connsiteY118" fmla="*/ 126183 h 157028"/>
                  <a:gd name="connsiteX119" fmla="*/ 52361 w 321988"/>
                  <a:gd name="connsiteY119" fmla="*/ 129064 h 157028"/>
                  <a:gd name="connsiteX120" fmla="*/ 54255 w 321988"/>
                  <a:gd name="connsiteY120" fmla="*/ 131507 h 157028"/>
                  <a:gd name="connsiteX121" fmla="*/ 57027 w 321988"/>
                  <a:gd name="connsiteY121" fmla="*/ 129833 h 157028"/>
                  <a:gd name="connsiteX122" fmla="*/ 53596 w 321988"/>
                  <a:gd name="connsiteY122" fmla="*/ 125881 h 157028"/>
                  <a:gd name="connsiteX123" fmla="*/ 52416 w 321988"/>
                  <a:gd name="connsiteY123" fmla="*/ 120420 h 157028"/>
                  <a:gd name="connsiteX124" fmla="*/ 49754 w 321988"/>
                  <a:gd name="connsiteY124" fmla="*/ 119706 h 157028"/>
                  <a:gd name="connsiteX125" fmla="*/ 35264 w 321988"/>
                  <a:gd name="connsiteY125" fmla="*/ 130986 h 157028"/>
                  <a:gd name="connsiteX126" fmla="*/ 36554 w 321988"/>
                  <a:gd name="connsiteY126" fmla="*/ 132797 h 157028"/>
                  <a:gd name="connsiteX127" fmla="*/ 40067 w 321988"/>
                  <a:gd name="connsiteY127" fmla="*/ 134196 h 157028"/>
                  <a:gd name="connsiteX128" fmla="*/ 42482 w 321988"/>
                  <a:gd name="connsiteY128" fmla="*/ 131287 h 157028"/>
                  <a:gd name="connsiteX129" fmla="*/ 41823 w 321988"/>
                  <a:gd name="connsiteY129" fmla="*/ 130245 h 157028"/>
                  <a:gd name="connsiteX130" fmla="*/ 35264 w 321988"/>
                  <a:gd name="connsiteY130" fmla="*/ 130986 h 15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321988" h="157028">
                    <a:moveTo>
                      <a:pt x="321961" y="39902"/>
                    </a:moveTo>
                    <a:lnTo>
                      <a:pt x="321467" y="46187"/>
                    </a:lnTo>
                    <a:lnTo>
                      <a:pt x="310161" y="47943"/>
                    </a:lnTo>
                    <a:lnTo>
                      <a:pt x="309420" y="49233"/>
                    </a:lnTo>
                    <a:lnTo>
                      <a:pt x="305083" y="56505"/>
                    </a:lnTo>
                    <a:lnTo>
                      <a:pt x="297756" y="55353"/>
                    </a:lnTo>
                    <a:lnTo>
                      <a:pt x="286285" y="61719"/>
                    </a:lnTo>
                    <a:lnTo>
                      <a:pt x="282992" y="63558"/>
                    </a:lnTo>
                    <a:lnTo>
                      <a:pt x="268886" y="71379"/>
                    </a:lnTo>
                    <a:lnTo>
                      <a:pt x="266746" y="77362"/>
                    </a:lnTo>
                    <a:lnTo>
                      <a:pt x="259419" y="85759"/>
                    </a:lnTo>
                    <a:lnTo>
                      <a:pt x="253161" y="85073"/>
                    </a:lnTo>
                    <a:lnTo>
                      <a:pt x="245066" y="87872"/>
                    </a:lnTo>
                    <a:lnTo>
                      <a:pt x="227557" y="85897"/>
                    </a:lnTo>
                    <a:lnTo>
                      <a:pt x="222480" y="87461"/>
                    </a:lnTo>
                    <a:lnTo>
                      <a:pt x="216223" y="97478"/>
                    </a:lnTo>
                    <a:lnTo>
                      <a:pt x="212217" y="108565"/>
                    </a:lnTo>
                    <a:lnTo>
                      <a:pt x="208539" y="111803"/>
                    </a:lnTo>
                    <a:lnTo>
                      <a:pt x="205301" y="109662"/>
                    </a:lnTo>
                    <a:lnTo>
                      <a:pt x="197425" y="111776"/>
                    </a:lnTo>
                    <a:lnTo>
                      <a:pt x="194296" y="114877"/>
                    </a:lnTo>
                    <a:lnTo>
                      <a:pt x="188588" y="115096"/>
                    </a:lnTo>
                    <a:lnTo>
                      <a:pt x="187271" y="112105"/>
                    </a:lnTo>
                    <a:lnTo>
                      <a:pt x="188232" y="108263"/>
                    </a:lnTo>
                    <a:lnTo>
                      <a:pt x="184582" y="101814"/>
                    </a:lnTo>
                    <a:lnTo>
                      <a:pt x="171354" y="109251"/>
                    </a:lnTo>
                    <a:lnTo>
                      <a:pt x="163121" y="107192"/>
                    </a:lnTo>
                    <a:lnTo>
                      <a:pt x="162161" y="109498"/>
                    </a:lnTo>
                    <a:lnTo>
                      <a:pt x="163999" y="113532"/>
                    </a:lnTo>
                    <a:lnTo>
                      <a:pt x="159499" y="113696"/>
                    </a:lnTo>
                    <a:lnTo>
                      <a:pt x="148796" y="122670"/>
                    </a:lnTo>
                    <a:lnTo>
                      <a:pt x="138560" y="124289"/>
                    </a:lnTo>
                    <a:lnTo>
                      <a:pt x="134004" y="134334"/>
                    </a:lnTo>
                    <a:lnTo>
                      <a:pt x="136172" y="139850"/>
                    </a:lnTo>
                    <a:lnTo>
                      <a:pt x="135514" y="143966"/>
                    </a:lnTo>
                    <a:lnTo>
                      <a:pt x="133153" y="146957"/>
                    </a:lnTo>
                    <a:lnTo>
                      <a:pt x="128296" y="147095"/>
                    </a:lnTo>
                    <a:lnTo>
                      <a:pt x="113751" y="150827"/>
                    </a:lnTo>
                    <a:lnTo>
                      <a:pt x="94761" y="151074"/>
                    </a:lnTo>
                    <a:lnTo>
                      <a:pt x="86829" y="157029"/>
                    </a:lnTo>
                    <a:lnTo>
                      <a:pt x="80298" y="152089"/>
                    </a:lnTo>
                    <a:lnTo>
                      <a:pt x="74096" y="153269"/>
                    </a:lnTo>
                    <a:lnTo>
                      <a:pt x="71983" y="148549"/>
                    </a:lnTo>
                    <a:lnTo>
                      <a:pt x="67510" y="146820"/>
                    </a:lnTo>
                    <a:lnTo>
                      <a:pt x="64299" y="142512"/>
                    </a:lnTo>
                    <a:lnTo>
                      <a:pt x="46708" y="149592"/>
                    </a:lnTo>
                    <a:lnTo>
                      <a:pt x="35731" y="142265"/>
                    </a:lnTo>
                    <a:lnTo>
                      <a:pt x="4500" y="144295"/>
                    </a:lnTo>
                    <a:lnTo>
                      <a:pt x="1427" y="141880"/>
                    </a:lnTo>
                    <a:lnTo>
                      <a:pt x="0" y="134910"/>
                    </a:lnTo>
                    <a:lnTo>
                      <a:pt x="1372" y="129476"/>
                    </a:lnTo>
                    <a:lnTo>
                      <a:pt x="5626" y="129284"/>
                    </a:lnTo>
                    <a:lnTo>
                      <a:pt x="9440" y="122533"/>
                    </a:lnTo>
                    <a:lnTo>
                      <a:pt x="21598" y="118526"/>
                    </a:lnTo>
                    <a:lnTo>
                      <a:pt x="36993" y="127335"/>
                    </a:lnTo>
                    <a:lnTo>
                      <a:pt x="49150" y="117840"/>
                    </a:lnTo>
                    <a:lnTo>
                      <a:pt x="57768" y="114767"/>
                    </a:lnTo>
                    <a:lnTo>
                      <a:pt x="74124" y="119075"/>
                    </a:lnTo>
                    <a:lnTo>
                      <a:pt x="84167" y="109525"/>
                    </a:lnTo>
                    <a:lnTo>
                      <a:pt x="90809" y="108811"/>
                    </a:lnTo>
                    <a:lnTo>
                      <a:pt x="92016" y="104585"/>
                    </a:lnTo>
                    <a:lnTo>
                      <a:pt x="101073" y="103872"/>
                    </a:lnTo>
                    <a:lnTo>
                      <a:pt x="108317" y="95749"/>
                    </a:lnTo>
                    <a:lnTo>
                      <a:pt x="77938" y="80518"/>
                    </a:lnTo>
                    <a:lnTo>
                      <a:pt x="71709" y="68964"/>
                    </a:lnTo>
                    <a:lnTo>
                      <a:pt x="62927" y="80929"/>
                    </a:lnTo>
                    <a:lnTo>
                      <a:pt x="57960" y="82466"/>
                    </a:lnTo>
                    <a:lnTo>
                      <a:pt x="45857" y="79832"/>
                    </a:lnTo>
                    <a:lnTo>
                      <a:pt x="41027" y="71544"/>
                    </a:lnTo>
                    <a:lnTo>
                      <a:pt x="34578" y="71077"/>
                    </a:lnTo>
                    <a:lnTo>
                      <a:pt x="28047" y="67071"/>
                    </a:lnTo>
                    <a:lnTo>
                      <a:pt x="29309" y="63064"/>
                    </a:lnTo>
                    <a:lnTo>
                      <a:pt x="31011" y="61747"/>
                    </a:lnTo>
                    <a:lnTo>
                      <a:pt x="43634" y="51922"/>
                    </a:lnTo>
                    <a:lnTo>
                      <a:pt x="45391" y="49260"/>
                    </a:lnTo>
                    <a:lnTo>
                      <a:pt x="46461" y="47586"/>
                    </a:lnTo>
                    <a:lnTo>
                      <a:pt x="55956" y="41905"/>
                    </a:lnTo>
                    <a:lnTo>
                      <a:pt x="55682" y="39957"/>
                    </a:lnTo>
                    <a:lnTo>
                      <a:pt x="53514" y="37789"/>
                    </a:lnTo>
                    <a:lnTo>
                      <a:pt x="48382" y="38393"/>
                    </a:lnTo>
                    <a:lnTo>
                      <a:pt x="47284" y="35182"/>
                    </a:lnTo>
                    <a:lnTo>
                      <a:pt x="48986" y="32795"/>
                    </a:lnTo>
                    <a:lnTo>
                      <a:pt x="51648" y="29062"/>
                    </a:lnTo>
                    <a:lnTo>
                      <a:pt x="51977" y="25632"/>
                    </a:lnTo>
                    <a:lnTo>
                      <a:pt x="53925" y="23546"/>
                    </a:lnTo>
                    <a:lnTo>
                      <a:pt x="58810" y="18277"/>
                    </a:lnTo>
                    <a:lnTo>
                      <a:pt x="63558" y="16932"/>
                    </a:lnTo>
                    <a:lnTo>
                      <a:pt x="75633" y="16082"/>
                    </a:lnTo>
                    <a:lnTo>
                      <a:pt x="87104" y="18551"/>
                    </a:lnTo>
                    <a:lnTo>
                      <a:pt x="98520" y="23546"/>
                    </a:lnTo>
                    <a:lnTo>
                      <a:pt x="105710" y="26675"/>
                    </a:lnTo>
                    <a:lnTo>
                      <a:pt x="122505" y="31176"/>
                    </a:lnTo>
                    <a:lnTo>
                      <a:pt x="122094" y="23519"/>
                    </a:lnTo>
                    <a:lnTo>
                      <a:pt x="126622" y="8398"/>
                    </a:lnTo>
                    <a:lnTo>
                      <a:pt x="145942" y="0"/>
                    </a:lnTo>
                    <a:lnTo>
                      <a:pt x="152747" y="2004"/>
                    </a:lnTo>
                    <a:lnTo>
                      <a:pt x="169790" y="13145"/>
                    </a:lnTo>
                    <a:lnTo>
                      <a:pt x="180876" y="15698"/>
                    </a:lnTo>
                    <a:lnTo>
                      <a:pt x="188232" y="15862"/>
                    </a:lnTo>
                    <a:lnTo>
                      <a:pt x="195092" y="11581"/>
                    </a:lnTo>
                    <a:lnTo>
                      <a:pt x="207963" y="13447"/>
                    </a:lnTo>
                    <a:lnTo>
                      <a:pt x="224291" y="10044"/>
                    </a:lnTo>
                    <a:lnTo>
                      <a:pt x="255796" y="14600"/>
                    </a:lnTo>
                    <a:lnTo>
                      <a:pt x="273030" y="13831"/>
                    </a:lnTo>
                    <a:lnTo>
                      <a:pt x="288535" y="18030"/>
                    </a:lnTo>
                    <a:lnTo>
                      <a:pt x="294216" y="23519"/>
                    </a:lnTo>
                    <a:lnTo>
                      <a:pt x="299622" y="29282"/>
                    </a:lnTo>
                    <a:lnTo>
                      <a:pt x="312027" y="31779"/>
                    </a:lnTo>
                    <a:lnTo>
                      <a:pt x="312877" y="32767"/>
                    </a:lnTo>
                    <a:lnTo>
                      <a:pt x="318558" y="39353"/>
                    </a:lnTo>
                    <a:lnTo>
                      <a:pt x="321989" y="39957"/>
                    </a:lnTo>
                    <a:moveTo>
                      <a:pt x="69870" y="128955"/>
                    </a:moveTo>
                    <a:lnTo>
                      <a:pt x="72916" y="130683"/>
                    </a:lnTo>
                    <a:lnTo>
                      <a:pt x="74453" y="126704"/>
                    </a:lnTo>
                    <a:lnTo>
                      <a:pt x="73492" y="126403"/>
                    </a:lnTo>
                    <a:lnTo>
                      <a:pt x="69897" y="128955"/>
                    </a:lnTo>
                    <a:moveTo>
                      <a:pt x="49754" y="119734"/>
                    </a:moveTo>
                    <a:lnTo>
                      <a:pt x="50331" y="125470"/>
                    </a:lnTo>
                    <a:lnTo>
                      <a:pt x="52553" y="126183"/>
                    </a:lnTo>
                    <a:lnTo>
                      <a:pt x="52361" y="129064"/>
                    </a:lnTo>
                    <a:lnTo>
                      <a:pt x="54255" y="131507"/>
                    </a:lnTo>
                    <a:lnTo>
                      <a:pt x="57027" y="129833"/>
                    </a:lnTo>
                    <a:lnTo>
                      <a:pt x="53596" y="125881"/>
                    </a:lnTo>
                    <a:lnTo>
                      <a:pt x="52416" y="120420"/>
                    </a:lnTo>
                    <a:lnTo>
                      <a:pt x="49754" y="119706"/>
                    </a:lnTo>
                    <a:moveTo>
                      <a:pt x="35264" y="130986"/>
                    </a:moveTo>
                    <a:lnTo>
                      <a:pt x="36554" y="132797"/>
                    </a:lnTo>
                    <a:lnTo>
                      <a:pt x="40067" y="134196"/>
                    </a:lnTo>
                    <a:lnTo>
                      <a:pt x="42482" y="131287"/>
                    </a:lnTo>
                    <a:lnTo>
                      <a:pt x="41823" y="130245"/>
                    </a:lnTo>
                    <a:lnTo>
                      <a:pt x="35264" y="1309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2" name="Freeform: Shape 4021">
                <a:extLst>
                  <a:ext uri="{FF2B5EF4-FFF2-40B4-BE49-F238E27FC236}">
                    <a16:creationId xmlns:a16="http://schemas.microsoft.com/office/drawing/2014/main" id="{3354F380-EDFE-40EA-6128-CF85382314CC}"/>
                  </a:ext>
                </a:extLst>
              </p:cNvPr>
              <p:cNvSpPr/>
              <p:nvPr/>
            </p:nvSpPr>
            <p:spPr>
              <a:xfrm>
                <a:off x="1657673" y="3827331"/>
                <a:ext cx="32948" cy="35141"/>
              </a:xfrm>
              <a:custGeom>
                <a:avLst/>
                <a:gdLst>
                  <a:gd name="connsiteX0" fmla="*/ 75770 w 315896"/>
                  <a:gd name="connsiteY0" fmla="*/ 20692 h 336917"/>
                  <a:gd name="connsiteX1" fmla="*/ 80490 w 315896"/>
                  <a:gd name="connsiteY1" fmla="*/ 28925 h 336917"/>
                  <a:gd name="connsiteX2" fmla="*/ 85485 w 315896"/>
                  <a:gd name="connsiteY2" fmla="*/ 33810 h 336917"/>
                  <a:gd name="connsiteX3" fmla="*/ 89848 w 315896"/>
                  <a:gd name="connsiteY3" fmla="*/ 43634 h 336917"/>
                  <a:gd name="connsiteX4" fmla="*/ 132083 w 315896"/>
                  <a:gd name="connsiteY4" fmla="*/ 72258 h 336917"/>
                  <a:gd name="connsiteX5" fmla="*/ 155025 w 315896"/>
                  <a:gd name="connsiteY5" fmla="*/ 98960 h 336917"/>
                  <a:gd name="connsiteX6" fmla="*/ 159745 w 315896"/>
                  <a:gd name="connsiteY6" fmla="*/ 100688 h 336917"/>
                  <a:gd name="connsiteX7" fmla="*/ 167952 w 315896"/>
                  <a:gd name="connsiteY7" fmla="*/ 98164 h 336917"/>
                  <a:gd name="connsiteX8" fmla="*/ 178709 w 315896"/>
                  <a:gd name="connsiteY8" fmla="*/ 106232 h 336917"/>
                  <a:gd name="connsiteX9" fmla="*/ 187573 w 315896"/>
                  <a:gd name="connsiteY9" fmla="*/ 105052 h 336917"/>
                  <a:gd name="connsiteX10" fmla="*/ 189357 w 315896"/>
                  <a:gd name="connsiteY10" fmla="*/ 108482 h 336917"/>
                  <a:gd name="connsiteX11" fmla="*/ 189466 w 315896"/>
                  <a:gd name="connsiteY11" fmla="*/ 115178 h 336917"/>
                  <a:gd name="connsiteX12" fmla="*/ 202502 w 315896"/>
                  <a:gd name="connsiteY12" fmla="*/ 127116 h 336917"/>
                  <a:gd name="connsiteX13" fmla="*/ 203847 w 315896"/>
                  <a:gd name="connsiteY13" fmla="*/ 120173 h 336917"/>
                  <a:gd name="connsiteX14" fmla="*/ 209720 w 315896"/>
                  <a:gd name="connsiteY14" fmla="*/ 121271 h 336917"/>
                  <a:gd name="connsiteX15" fmla="*/ 214989 w 315896"/>
                  <a:gd name="connsiteY15" fmla="*/ 130464 h 336917"/>
                  <a:gd name="connsiteX16" fmla="*/ 223029 w 315896"/>
                  <a:gd name="connsiteY16" fmla="*/ 132248 h 336917"/>
                  <a:gd name="connsiteX17" fmla="*/ 227914 w 315896"/>
                  <a:gd name="connsiteY17" fmla="*/ 136008 h 336917"/>
                  <a:gd name="connsiteX18" fmla="*/ 228628 w 315896"/>
                  <a:gd name="connsiteY18" fmla="*/ 140316 h 336917"/>
                  <a:gd name="connsiteX19" fmla="*/ 226295 w 315896"/>
                  <a:gd name="connsiteY19" fmla="*/ 145009 h 336917"/>
                  <a:gd name="connsiteX20" fmla="*/ 227749 w 315896"/>
                  <a:gd name="connsiteY20" fmla="*/ 149125 h 336917"/>
                  <a:gd name="connsiteX21" fmla="*/ 228189 w 315896"/>
                  <a:gd name="connsiteY21" fmla="*/ 150388 h 336917"/>
                  <a:gd name="connsiteX22" fmla="*/ 230603 w 315896"/>
                  <a:gd name="connsiteY22" fmla="*/ 149125 h 336917"/>
                  <a:gd name="connsiteX23" fmla="*/ 235187 w 315896"/>
                  <a:gd name="connsiteY23" fmla="*/ 146683 h 336917"/>
                  <a:gd name="connsiteX24" fmla="*/ 237821 w 315896"/>
                  <a:gd name="connsiteY24" fmla="*/ 149125 h 336917"/>
                  <a:gd name="connsiteX25" fmla="*/ 248112 w 315896"/>
                  <a:gd name="connsiteY25" fmla="*/ 158675 h 336917"/>
                  <a:gd name="connsiteX26" fmla="*/ 248112 w 315896"/>
                  <a:gd name="connsiteY26" fmla="*/ 163368 h 336917"/>
                  <a:gd name="connsiteX27" fmla="*/ 243776 w 315896"/>
                  <a:gd name="connsiteY27" fmla="*/ 169268 h 336917"/>
                  <a:gd name="connsiteX28" fmla="*/ 246328 w 315896"/>
                  <a:gd name="connsiteY28" fmla="*/ 174730 h 336917"/>
                  <a:gd name="connsiteX29" fmla="*/ 241252 w 315896"/>
                  <a:gd name="connsiteY29" fmla="*/ 180053 h 336917"/>
                  <a:gd name="connsiteX30" fmla="*/ 240922 w 315896"/>
                  <a:gd name="connsiteY30" fmla="*/ 185981 h 336917"/>
                  <a:gd name="connsiteX31" fmla="*/ 249155 w 315896"/>
                  <a:gd name="connsiteY31" fmla="*/ 192348 h 336917"/>
                  <a:gd name="connsiteX32" fmla="*/ 266279 w 315896"/>
                  <a:gd name="connsiteY32" fmla="*/ 197096 h 336917"/>
                  <a:gd name="connsiteX33" fmla="*/ 268750 w 315896"/>
                  <a:gd name="connsiteY33" fmla="*/ 206234 h 336917"/>
                  <a:gd name="connsiteX34" fmla="*/ 271494 w 315896"/>
                  <a:gd name="connsiteY34" fmla="*/ 218199 h 336917"/>
                  <a:gd name="connsiteX35" fmla="*/ 279617 w 315896"/>
                  <a:gd name="connsiteY35" fmla="*/ 225005 h 336917"/>
                  <a:gd name="connsiteX36" fmla="*/ 280769 w 315896"/>
                  <a:gd name="connsiteY36" fmla="*/ 232470 h 336917"/>
                  <a:gd name="connsiteX37" fmla="*/ 301873 w 315896"/>
                  <a:gd name="connsiteY37" fmla="*/ 236092 h 336917"/>
                  <a:gd name="connsiteX38" fmla="*/ 315896 w 315896"/>
                  <a:gd name="connsiteY38" fmla="*/ 255138 h 336917"/>
                  <a:gd name="connsiteX39" fmla="*/ 311395 w 315896"/>
                  <a:gd name="connsiteY39" fmla="*/ 270286 h 336917"/>
                  <a:gd name="connsiteX40" fmla="*/ 312439 w 315896"/>
                  <a:gd name="connsiteY40" fmla="*/ 277888 h 336917"/>
                  <a:gd name="connsiteX41" fmla="*/ 310600 w 315896"/>
                  <a:gd name="connsiteY41" fmla="*/ 288975 h 336917"/>
                  <a:gd name="connsiteX42" fmla="*/ 312000 w 315896"/>
                  <a:gd name="connsiteY42" fmla="*/ 308706 h 336917"/>
                  <a:gd name="connsiteX43" fmla="*/ 307115 w 315896"/>
                  <a:gd name="connsiteY43" fmla="*/ 334777 h 336917"/>
                  <a:gd name="connsiteX44" fmla="*/ 303272 w 315896"/>
                  <a:gd name="connsiteY44" fmla="*/ 334063 h 336917"/>
                  <a:gd name="connsiteX45" fmla="*/ 295397 w 315896"/>
                  <a:gd name="connsiteY45" fmla="*/ 327862 h 336917"/>
                  <a:gd name="connsiteX46" fmla="*/ 288563 w 315896"/>
                  <a:gd name="connsiteY46" fmla="*/ 332664 h 336917"/>
                  <a:gd name="connsiteX47" fmla="*/ 276488 w 315896"/>
                  <a:gd name="connsiteY47" fmla="*/ 328904 h 336917"/>
                  <a:gd name="connsiteX48" fmla="*/ 275994 w 315896"/>
                  <a:gd name="connsiteY48" fmla="*/ 335765 h 336917"/>
                  <a:gd name="connsiteX49" fmla="*/ 273744 w 315896"/>
                  <a:gd name="connsiteY49" fmla="*/ 336918 h 336917"/>
                  <a:gd name="connsiteX50" fmla="*/ 251625 w 315896"/>
                  <a:gd name="connsiteY50" fmla="*/ 314305 h 336917"/>
                  <a:gd name="connsiteX51" fmla="*/ 237876 w 315896"/>
                  <a:gd name="connsiteY51" fmla="*/ 305770 h 336917"/>
                  <a:gd name="connsiteX52" fmla="*/ 210296 w 315896"/>
                  <a:gd name="connsiteY52" fmla="*/ 284310 h 336917"/>
                  <a:gd name="connsiteX53" fmla="*/ 202612 w 315896"/>
                  <a:gd name="connsiteY53" fmla="*/ 272207 h 336917"/>
                  <a:gd name="connsiteX54" fmla="*/ 186640 w 315896"/>
                  <a:gd name="connsiteY54" fmla="*/ 258979 h 336917"/>
                  <a:gd name="connsiteX55" fmla="*/ 165729 w 315896"/>
                  <a:gd name="connsiteY55" fmla="*/ 231564 h 336917"/>
                  <a:gd name="connsiteX56" fmla="*/ 161667 w 315896"/>
                  <a:gd name="connsiteY56" fmla="*/ 217431 h 336917"/>
                  <a:gd name="connsiteX57" fmla="*/ 156069 w 315896"/>
                  <a:gd name="connsiteY57" fmla="*/ 206207 h 336917"/>
                  <a:gd name="connsiteX58" fmla="*/ 150909 w 315896"/>
                  <a:gd name="connsiteY58" fmla="*/ 199511 h 336917"/>
                  <a:gd name="connsiteX59" fmla="*/ 146134 w 315896"/>
                  <a:gd name="connsiteY59" fmla="*/ 187463 h 336917"/>
                  <a:gd name="connsiteX60" fmla="*/ 129805 w 315896"/>
                  <a:gd name="connsiteY60" fmla="*/ 165811 h 336917"/>
                  <a:gd name="connsiteX61" fmla="*/ 113806 w 315896"/>
                  <a:gd name="connsiteY61" fmla="*/ 153406 h 336917"/>
                  <a:gd name="connsiteX62" fmla="*/ 112434 w 315896"/>
                  <a:gd name="connsiteY62" fmla="*/ 149125 h 336917"/>
                  <a:gd name="connsiteX63" fmla="*/ 101402 w 315896"/>
                  <a:gd name="connsiteY63" fmla="*/ 114245 h 336917"/>
                  <a:gd name="connsiteX64" fmla="*/ 90425 w 315896"/>
                  <a:gd name="connsiteY64" fmla="*/ 104421 h 336917"/>
                  <a:gd name="connsiteX65" fmla="*/ 73520 w 315896"/>
                  <a:gd name="connsiteY65" fmla="*/ 95913 h 336917"/>
                  <a:gd name="connsiteX66" fmla="*/ 67153 w 315896"/>
                  <a:gd name="connsiteY66" fmla="*/ 80792 h 336917"/>
                  <a:gd name="connsiteX67" fmla="*/ 50276 w 315896"/>
                  <a:gd name="connsiteY67" fmla="*/ 60457 h 336917"/>
                  <a:gd name="connsiteX68" fmla="*/ 43826 w 315896"/>
                  <a:gd name="connsiteY68" fmla="*/ 55023 h 336917"/>
                  <a:gd name="connsiteX69" fmla="*/ 32109 w 315896"/>
                  <a:gd name="connsiteY69" fmla="*/ 49480 h 336917"/>
                  <a:gd name="connsiteX70" fmla="*/ 7739 w 315896"/>
                  <a:gd name="connsiteY70" fmla="*/ 25495 h 336917"/>
                  <a:gd name="connsiteX71" fmla="*/ 0 w 315896"/>
                  <a:gd name="connsiteY71" fmla="*/ 10511 h 336917"/>
                  <a:gd name="connsiteX72" fmla="*/ 2251 w 315896"/>
                  <a:gd name="connsiteY72" fmla="*/ 329 h 336917"/>
                  <a:gd name="connsiteX73" fmla="*/ 10703 w 315896"/>
                  <a:gd name="connsiteY73" fmla="*/ 0 h 336917"/>
                  <a:gd name="connsiteX74" fmla="*/ 22558 w 315896"/>
                  <a:gd name="connsiteY74" fmla="*/ 6861 h 336917"/>
                  <a:gd name="connsiteX75" fmla="*/ 30242 w 315896"/>
                  <a:gd name="connsiteY75" fmla="*/ 9331 h 336917"/>
                  <a:gd name="connsiteX76" fmla="*/ 48876 w 315896"/>
                  <a:gd name="connsiteY76" fmla="*/ 9770 h 336917"/>
                  <a:gd name="connsiteX77" fmla="*/ 67537 w 315896"/>
                  <a:gd name="connsiteY77" fmla="*/ 13035 h 336917"/>
                  <a:gd name="connsiteX78" fmla="*/ 75743 w 315896"/>
                  <a:gd name="connsiteY78" fmla="*/ 20692 h 33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15896" h="336917">
                    <a:moveTo>
                      <a:pt x="75770" y="20692"/>
                    </a:moveTo>
                    <a:lnTo>
                      <a:pt x="80490" y="28925"/>
                    </a:lnTo>
                    <a:lnTo>
                      <a:pt x="85485" y="33810"/>
                    </a:lnTo>
                    <a:lnTo>
                      <a:pt x="89848" y="43634"/>
                    </a:lnTo>
                    <a:lnTo>
                      <a:pt x="132083" y="72258"/>
                    </a:lnTo>
                    <a:lnTo>
                      <a:pt x="155025" y="98960"/>
                    </a:lnTo>
                    <a:lnTo>
                      <a:pt x="159745" y="100688"/>
                    </a:lnTo>
                    <a:lnTo>
                      <a:pt x="167952" y="98164"/>
                    </a:lnTo>
                    <a:lnTo>
                      <a:pt x="178709" y="106232"/>
                    </a:lnTo>
                    <a:lnTo>
                      <a:pt x="187573" y="105052"/>
                    </a:lnTo>
                    <a:lnTo>
                      <a:pt x="189357" y="108482"/>
                    </a:lnTo>
                    <a:lnTo>
                      <a:pt x="189466" y="115178"/>
                    </a:lnTo>
                    <a:lnTo>
                      <a:pt x="202502" y="127116"/>
                    </a:lnTo>
                    <a:lnTo>
                      <a:pt x="203847" y="120173"/>
                    </a:lnTo>
                    <a:lnTo>
                      <a:pt x="209720" y="121271"/>
                    </a:lnTo>
                    <a:lnTo>
                      <a:pt x="214989" y="130464"/>
                    </a:lnTo>
                    <a:lnTo>
                      <a:pt x="223029" y="132248"/>
                    </a:lnTo>
                    <a:lnTo>
                      <a:pt x="227914" y="136008"/>
                    </a:lnTo>
                    <a:lnTo>
                      <a:pt x="228628" y="140316"/>
                    </a:lnTo>
                    <a:lnTo>
                      <a:pt x="226295" y="145009"/>
                    </a:lnTo>
                    <a:lnTo>
                      <a:pt x="227749" y="149125"/>
                    </a:lnTo>
                    <a:lnTo>
                      <a:pt x="228189" y="150388"/>
                    </a:lnTo>
                    <a:lnTo>
                      <a:pt x="230603" y="149125"/>
                    </a:lnTo>
                    <a:lnTo>
                      <a:pt x="235187" y="146683"/>
                    </a:lnTo>
                    <a:lnTo>
                      <a:pt x="237821" y="149125"/>
                    </a:lnTo>
                    <a:lnTo>
                      <a:pt x="248112" y="158675"/>
                    </a:lnTo>
                    <a:lnTo>
                      <a:pt x="248112" y="163368"/>
                    </a:lnTo>
                    <a:cubicBezTo>
                      <a:pt x="248112" y="163368"/>
                      <a:pt x="243776" y="169268"/>
                      <a:pt x="243776" y="169268"/>
                    </a:cubicBezTo>
                    <a:lnTo>
                      <a:pt x="246328" y="174730"/>
                    </a:lnTo>
                    <a:lnTo>
                      <a:pt x="241252" y="180053"/>
                    </a:lnTo>
                    <a:lnTo>
                      <a:pt x="240922" y="185981"/>
                    </a:lnTo>
                    <a:lnTo>
                      <a:pt x="249155" y="192348"/>
                    </a:lnTo>
                    <a:lnTo>
                      <a:pt x="266279" y="197096"/>
                    </a:lnTo>
                    <a:lnTo>
                      <a:pt x="268750" y="206234"/>
                    </a:lnTo>
                    <a:lnTo>
                      <a:pt x="271494" y="218199"/>
                    </a:lnTo>
                    <a:lnTo>
                      <a:pt x="279617" y="225005"/>
                    </a:lnTo>
                    <a:lnTo>
                      <a:pt x="280769" y="232470"/>
                    </a:lnTo>
                    <a:lnTo>
                      <a:pt x="301873" y="236092"/>
                    </a:lnTo>
                    <a:lnTo>
                      <a:pt x="315896" y="255138"/>
                    </a:lnTo>
                    <a:lnTo>
                      <a:pt x="311395" y="270286"/>
                    </a:lnTo>
                    <a:lnTo>
                      <a:pt x="312439" y="277888"/>
                    </a:lnTo>
                    <a:lnTo>
                      <a:pt x="310600" y="288975"/>
                    </a:lnTo>
                    <a:lnTo>
                      <a:pt x="312000" y="308706"/>
                    </a:lnTo>
                    <a:lnTo>
                      <a:pt x="307115" y="334777"/>
                    </a:lnTo>
                    <a:lnTo>
                      <a:pt x="303272" y="334063"/>
                    </a:lnTo>
                    <a:lnTo>
                      <a:pt x="295397" y="327862"/>
                    </a:lnTo>
                    <a:lnTo>
                      <a:pt x="288563" y="332664"/>
                    </a:lnTo>
                    <a:lnTo>
                      <a:pt x="276488" y="328904"/>
                    </a:lnTo>
                    <a:lnTo>
                      <a:pt x="275994" y="335765"/>
                    </a:lnTo>
                    <a:lnTo>
                      <a:pt x="273744" y="336918"/>
                    </a:lnTo>
                    <a:lnTo>
                      <a:pt x="251625" y="314305"/>
                    </a:lnTo>
                    <a:lnTo>
                      <a:pt x="237876" y="305770"/>
                    </a:lnTo>
                    <a:lnTo>
                      <a:pt x="210296" y="284310"/>
                    </a:lnTo>
                    <a:lnTo>
                      <a:pt x="202612" y="272207"/>
                    </a:lnTo>
                    <a:lnTo>
                      <a:pt x="186640" y="258979"/>
                    </a:lnTo>
                    <a:lnTo>
                      <a:pt x="165729" y="231564"/>
                    </a:lnTo>
                    <a:lnTo>
                      <a:pt x="161667" y="217431"/>
                    </a:lnTo>
                    <a:lnTo>
                      <a:pt x="156069" y="206207"/>
                    </a:lnTo>
                    <a:lnTo>
                      <a:pt x="150909" y="199511"/>
                    </a:lnTo>
                    <a:lnTo>
                      <a:pt x="146134" y="187463"/>
                    </a:lnTo>
                    <a:lnTo>
                      <a:pt x="129805" y="165811"/>
                    </a:lnTo>
                    <a:lnTo>
                      <a:pt x="113806" y="153406"/>
                    </a:lnTo>
                    <a:lnTo>
                      <a:pt x="112434" y="149125"/>
                    </a:lnTo>
                    <a:lnTo>
                      <a:pt x="101402" y="114245"/>
                    </a:lnTo>
                    <a:lnTo>
                      <a:pt x="90425" y="104421"/>
                    </a:lnTo>
                    <a:lnTo>
                      <a:pt x="73520" y="95913"/>
                    </a:lnTo>
                    <a:lnTo>
                      <a:pt x="67153" y="80792"/>
                    </a:lnTo>
                    <a:lnTo>
                      <a:pt x="50276" y="60457"/>
                    </a:lnTo>
                    <a:lnTo>
                      <a:pt x="43826" y="55023"/>
                    </a:lnTo>
                    <a:lnTo>
                      <a:pt x="32109" y="49480"/>
                    </a:lnTo>
                    <a:lnTo>
                      <a:pt x="7739" y="25495"/>
                    </a:lnTo>
                    <a:lnTo>
                      <a:pt x="0" y="10511"/>
                    </a:lnTo>
                    <a:lnTo>
                      <a:pt x="2251" y="329"/>
                    </a:lnTo>
                    <a:lnTo>
                      <a:pt x="10703" y="0"/>
                    </a:lnTo>
                    <a:lnTo>
                      <a:pt x="22558" y="6861"/>
                    </a:lnTo>
                    <a:lnTo>
                      <a:pt x="30242" y="9331"/>
                    </a:lnTo>
                    <a:lnTo>
                      <a:pt x="48876" y="9770"/>
                    </a:lnTo>
                    <a:lnTo>
                      <a:pt x="67537" y="13035"/>
                    </a:lnTo>
                    <a:lnTo>
                      <a:pt x="75743" y="206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3" name="Freeform: Shape 4022">
                <a:extLst>
                  <a:ext uri="{FF2B5EF4-FFF2-40B4-BE49-F238E27FC236}">
                    <a16:creationId xmlns:a16="http://schemas.microsoft.com/office/drawing/2014/main" id="{50376596-F083-A1B1-4143-AC95A419DFF6}"/>
                  </a:ext>
                </a:extLst>
              </p:cNvPr>
              <p:cNvSpPr/>
              <p:nvPr/>
            </p:nvSpPr>
            <p:spPr>
              <a:xfrm>
                <a:off x="1689239" y="3862816"/>
                <a:ext cx="30956" cy="8458"/>
              </a:xfrm>
              <a:custGeom>
                <a:avLst/>
                <a:gdLst>
                  <a:gd name="connsiteX0" fmla="*/ 82 w 296796"/>
                  <a:gd name="connsiteY0" fmla="*/ 21790 h 81093"/>
                  <a:gd name="connsiteX1" fmla="*/ 9935 w 296796"/>
                  <a:gd name="connsiteY1" fmla="*/ 3952 h 81093"/>
                  <a:gd name="connsiteX2" fmla="*/ 15423 w 296796"/>
                  <a:gd name="connsiteY2" fmla="*/ 0 h 81093"/>
                  <a:gd name="connsiteX3" fmla="*/ 35566 w 296796"/>
                  <a:gd name="connsiteY3" fmla="*/ 2936 h 81093"/>
                  <a:gd name="connsiteX4" fmla="*/ 44897 w 296796"/>
                  <a:gd name="connsiteY4" fmla="*/ 137 h 81093"/>
                  <a:gd name="connsiteX5" fmla="*/ 49727 w 296796"/>
                  <a:gd name="connsiteY5" fmla="*/ 576 h 81093"/>
                  <a:gd name="connsiteX6" fmla="*/ 61912 w 296796"/>
                  <a:gd name="connsiteY6" fmla="*/ 6806 h 81093"/>
                  <a:gd name="connsiteX7" fmla="*/ 79173 w 296796"/>
                  <a:gd name="connsiteY7" fmla="*/ 9934 h 81093"/>
                  <a:gd name="connsiteX8" fmla="*/ 91715 w 296796"/>
                  <a:gd name="connsiteY8" fmla="*/ 22640 h 81093"/>
                  <a:gd name="connsiteX9" fmla="*/ 105052 w 296796"/>
                  <a:gd name="connsiteY9" fmla="*/ 25632 h 81093"/>
                  <a:gd name="connsiteX10" fmla="*/ 141221 w 296796"/>
                  <a:gd name="connsiteY10" fmla="*/ 27470 h 81093"/>
                  <a:gd name="connsiteX11" fmla="*/ 146792 w 296796"/>
                  <a:gd name="connsiteY11" fmla="*/ 23436 h 81093"/>
                  <a:gd name="connsiteX12" fmla="*/ 151732 w 296796"/>
                  <a:gd name="connsiteY12" fmla="*/ 16219 h 81093"/>
                  <a:gd name="connsiteX13" fmla="*/ 157139 w 296796"/>
                  <a:gd name="connsiteY13" fmla="*/ 14353 h 81093"/>
                  <a:gd name="connsiteX14" fmla="*/ 166387 w 296796"/>
                  <a:gd name="connsiteY14" fmla="*/ 19814 h 81093"/>
                  <a:gd name="connsiteX15" fmla="*/ 176129 w 296796"/>
                  <a:gd name="connsiteY15" fmla="*/ 20664 h 81093"/>
                  <a:gd name="connsiteX16" fmla="*/ 191744 w 296796"/>
                  <a:gd name="connsiteY16" fmla="*/ 26153 h 81093"/>
                  <a:gd name="connsiteX17" fmla="*/ 202447 w 296796"/>
                  <a:gd name="connsiteY17" fmla="*/ 27992 h 81093"/>
                  <a:gd name="connsiteX18" fmla="*/ 208979 w 296796"/>
                  <a:gd name="connsiteY18" fmla="*/ 32932 h 81093"/>
                  <a:gd name="connsiteX19" fmla="*/ 218830 w 296796"/>
                  <a:gd name="connsiteY19" fmla="*/ 27690 h 81093"/>
                  <a:gd name="connsiteX20" fmla="*/ 245807 w 296796"/>
                  <a:gd name="connsiteY20" fmla="*/ 28239 h 81093"/>
                  <a:gd name="connsiteX21" fmla="*/ 247728 w 296796"/>
                  <a:gd name="connsiteY21" fmla="*/ 31230 h 81093"/>
                  <a:gd name="connsiteX22" fmla="*/ 245121 w 296796"/>
                  <a:gd name="connsiteY22" fmla="*/ 33892 h 81093"/>
                  <a:gd name="connsiteX23" fmla="*/ 232689 w 296796"/>
                  <a:gd name="connsiteY23" fmla="*/ 36389 h 81093"/>
                  <a:gd name="connsiteX24" fmla="*/ 215620 w 296796"/>
                  <a:gd name="connsiteY24" fmla="*/ 36883 h 81093"/>
                  <a:gd name="connsiteX25" fmla="*/ 213754 w 296796"/>
                  <a:gd name="connsiteY25" fmla="*/ 44649 h 81093"/>
                  <a:gd name="connsiteX26" fmla="*/ 228079 w 296796"/>
                  <a:gd name="connsiteY26" fmla="*/ 52279 h 81093"/>
                  <a:gd name="connsiteX27" fmla="*/ 253628 w 296796"/>
                  <a:gd name="connsiteY27" fmla="*/ 51593 h 81093"/>
                  <a:gd name="connsiteX28" fmla="*/ 258513 w 296796"/>
                  <a:gd name="connsiteY28" fmla="*/ 54337 h 81093"/>
                  <a:gd name="connsiteX29" fmla="*/ 267459 w 296796"/>
                  <a:gd name="connsiteY29" fmla="*/ 63558 h 81093"/>
                  <a:gd name="connsiteX30" fmla="*/ 288014 w 296796"/>
                  <a:gd name="connsiteY30" fmla="*/ 64381 h 81093"/>
                  <a:gd name="connsiteX31" fmla="*/ 291637 w 296796"/>
                  <a:gd name="connsiteY31" fmla="*/ 66165 h 81093"/>
                  <a:gd name="connsiteX32" fmla="*/ 296796 w 296796"/>
                  <a:gd name="connsiteY32" fmla="*/ 71873 h 81093"/>
                  <a:gd name="connsiteX33" fmla="*/ 288014 w 296796"/>
                  <a:gd name="connsiteY33" fmla="*/ 77087 h 81093"/>
                  <a:gd name="connsiteX34" fmla="*/ 281263 w 296796"/>
                  <a:gd name="connsiteY34" fmla="*/ 79200 h 81093"/>
                  <a:gd name="connsiteX35" fmla="*/ 261312 w 296796"/>
                  <a:gd name="connsiteY35" fmla="*/ 68003 h 81093"/>
                  <a:gd name="connsiteX36" fmla="*/ 259638 w 296796"/>
                  <a:gd name="connsiteY36" fmla="*/ 72614 h 81093"/>
                  <a:gd name="connsiteX37" fmla="*/ 262465 w 296796"/>
                  <a:gd name="connsiteY37" fmla="*/ 79447 h 81093"/>
                  <a:gd name="connsiteX38" fmla="*/ 259885 w 296796"/>
                  <a:gd name="connsiteY38" fmla="*/ 81094 h 81093"/>
                  <a:gd name="connsiteX39" fmla="*/ 226158 w 296796"/>
                  <a:gd name="connsiteY39" fmla="*/ 69897 h 81093"/>
                  <a:gd name="connsiteX40" fmla="*/ 206975 w 296796"/>
                  <a:gd name="connsiteY40" fmla="*/ 71900 h 81093"/>
                  <a:gd name="connsiteX41" fmla="*/ 186722 w 296796"/>
                  <a:gd name="connsiteY41" fmla="*/ 69074 h 81093"/>
                  <a:gd name="connsiteX42" fmla="*/ 174071 w 296796"/>
                  <a:gd name="connsiteY42" fmla="*/ 69513 h 81093"/>
                  <a:gd name="connsiteX43" fmla="*/ 153928 w 296796"/>
                  <a:gd name="connsiteY43" fmla="*/ 65945 h 81093"/>
                  <a:gd name="connsiteX44" fmla="*/ 128296 w 296796"/>
                  <a:gd name="connsiteY44" fmla="*/ 56066 h 81093"/>
                  <a:gd name="connsiteX45" fmla="*/ 110760 w 296796"/>
                  <a:gd name="connsiteY45" fmla="*/ 52196 h 81093"/>
                  <a:gd name="connsiteX46" fmla="*/ 72313 w 296796"/>
                  <a:gd name="connsiteY46" fmla="*/ 52471 h 81093"/>
                  <a:gd name="connsiteX47" fmla="*/ 52361 w 296796"/>
                  <a:gd name="connsiteY47" fmla="*/ 45500 h 81093"/>
                  <a:gd name="connsiteX48" fmla="*/ 29529 w 296796"/>
                  <a:gd name="connsiteY48" fmla="*/ 41521 h 81093"/>
                  <a:gd name="connsiteX49" fmla="*/ 26483 w 296796"/>
                  <a:gd name="connsiteY49" fmla="*/ 38914 h 81093"/>
                  <a:gd name="connsiteX50" fmla="*/ 26538 w 296796"/>
                  <a:gd name="connsiteY50" fmla="*/ 33151 h 81093"/>
                  <a:gd name="connsiteX51" fmla="*/ 24809 w 296796"/>
                  <a:gd name="connsiteY51" fmla="*/ 30324 h 81093"/>
                  <a:gd name="connsiteX52" fmla="*/ 0 w 296796"/>
                  <a:gd name="connsiteY52" fmla="*/ 21817 h 8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96796" h="81093">
                    <a:moveTo>
                      <a:pt x="82" y="21790"/>
                    </a:moveTo>
                    <a:lnTo>
                      <a:pt x="9935" y="3952"/>
                    </a:lnTo>
                    <a:lnTo>
                      <a:pt x="15423" y="0"/>
                    </a:lnTo>
                    <a:lnTo>
                      <a:pt x="35566" y="2936"/>
                    </a:lnTo>
                    <a:lnTo>
                      <a:pt x="44897" y="137"/>
                    </a:lnTo>
                    <a:lnTo>
                      <a:pt x="49727" y="576"/>
                    </a:lnTo>
                    <a:lnTo>
                      <a:pt x="61912" y="6806"/>
                    </a:lnTo>
                    <a:lnTo>
                      <a:pt x="79173" y="9934"/>
                    </a:lnTo>
                    <a:lnTo>
                      <a:pt x="91715" y="22640"/>
                    </a:lnTo>
                    <a:lnTo>
                      <a:pt x="105052" y="25632"/>
                    </a:lnTo>
                    <a:lnTo>
                      <a:pt x="141221" y="27470"/>
                    </a:lnTo>
                    <a:lnTo>
                      <a:pt x="146792" y="23436"/>
                    </a:lnTo>
                    <a:lnTo>
                      <a:pt x="151732" y="16219"/>
                    </a:lnTo>
                    <a:lnTo>
                      <a:pt x="157139" y="14353"/>
                    </a:lnTo>
                    <a:lnTo>
                      <a:pt x="166387" y="19814"/>
                    </a:lnTo>
                    <a:lnTo>
                      <a:pt x="176129" y="20664"/>
                    </a:lnTo>
                    <a:lnTo>
                      <a:pt x="191744" y="26153"/>
                    </a:lnTo>
                    <a:lnTo>
                      <a:pt x="202447" y="27992"/>
                    </a:lnTo>
                    <a:lnTo>
                      <a:pt x="208979" y="32932"/>
                    </a:lnTo>
                    <a:lnTo>
                      <a:pt x="218830" y="27690"/>
                    </a:lnTo>
                    <a:lnTo>
                      <a:pt x="245807" y="28239"/>
                    </a:lnTo>
                    <a:lnTo>
                      <a:pt x="247728" y="31230"/>
                    </a:lnTo>
                    <a:lnTo>
                      <a:pt x="245121" y="33892"/>
                    </a:lnTo>
                    <a:lnTo>
                      <a:pt x="232689" y="36389"/>
                    </a:lnTo>
                    <a:lnTo>
                      <a:pt x="215620" y="36883"/>
                    </a:lnTo>
                    <a:lnTo>
                      <a:pt x="213754" y="44649"/>
                    </a:lnTo>
                    <a:lnTo>
                      <a:pt x="228079" y="52279"/>
                    </a:lnTo>
                    <a:lnTo>
                      <a:pt x="253628" y="51593"/>
                    </a:lnTo>
                    <a:lnTo>
                      <a:pt x="258513" y="54337"/>
                    </a:lnTo>
                    <a:lnTo>
                      <a:pt x="267459" y="63558"/>
                    </a:lnTo>
                    <a:lnTo>
                      <a:pt x="288014" y="64381"/>
                    </a:lnTo>
                    <a:lnTo>
                      <a:pt x="291637" y="66165"/>
                    </a:lnTo>
                    <a:lnTo>
                      <a:pt x="296796" y="71873"/>
                    </a:lnTo>
                    <a:lnTo>
                      <a:pt x="288014" y="77087"/>
                    </a:lnTo>
                    <a:lnTo>
                      <a:pt x="281263" y="79200"/>
                    </a:lnTo>
                    <a:lnTo>
                      <a:pt x="261312" y="68003"/>
                    </a:lnTo>
                    <a:lnTo>
                      <a:pt x="259638" y="72614"/>
                    </a:lnTo>
                    <a:lnTo>
                      <a:pt x="262465" y="79447"/>
                    </a:lnTo>
                    <a:lnTo>
                      <a:pt x="259885" y="81094"/>
                    </a:lnTo>
                    <a:lnTo>
                      <a:pt x="226158" y="69897"/>
                    </a:lnTo>
                    <a:lnTo>
                      <a:pt x="206975" y="71900"/>
                    </a:lnTo>
                    <a:lnTo>
                      <a:pt x="186722" y="69074"/>
                    </a:lnTo>
                    <a:lnTo>
                      <a:pt x="174071" y="69513"/>
                    </a:lnTo>
                    <a:lnTo>
                      <a:pt x="153928" y="65945"/>
                    </a:lnTo>
                    <a:lnTo>
                      <a:pt x="128296" y="56066"/>
                    </a:lnTo>
                    <a:lnTo>
                      <a:pt x="110760" y="52196"/>
                    </a:lnTo>
                    <a:lnTo>
                      <a:pt x="72313" y="52471"/>
                    </a:lnTo>
                    <a:lnTo>
                      <a:pt x="52361" y="45500"/>
                    </a:lnTo>
                    <a:lnTo>
                      <a:pt x="29529" y="41521"/>
                    </a:lnTo>
                    <a:lnTo>
                      <a:pt x="26483" y="38914"/>
                    </a:lnTo>
                    <a:lnTo>
                      <a:pt x="26538" y="33151"/>
                    </a:lnTo>
                    <a:lnTo>
                      <a:pt x="24809" y="30324"/>
                    </a:lnTo>
                    <a:lnTo>
                      <a:pt x="0" y="218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4" name="Freeform: Shape 4023">
                <a:extLst>
                  <a:ext uri="{FF2B5EF4-FFF2-40B4-BE49-F238E27FC236}">
                    <a16:creationId xmlns:a16="http://schemas.microsoft.com/office/drawing/2014/main" id="{FB3BE5A7-4BA8-93C4-7CAA-520DAA984AE5}"/>
                  </a:ext>
                </a:extLst>
              </p:cNvPr>
              <p:cNvSpPr/>
              <p:nvPr/>
            </p:nvSpPr>
            <p:spPr>
              <a:xfrm>
                <a:off x="1687953" y="3849134"/>
                <a:ext cx="5261" cy="4820"/>
              </a:xfrm>
              <a:custGeom>
                <a:avLst/>
                <a:gdLst>
                  <a:gd name="connsiteX0" fmla="*/ 9331 w 50440"/>
                  <a:gd name="connsiteY0" fmla="*/ 1674 h 46213"/>
                  <a:gd name="connsiteX1" fmla="*/ 12816 w 50440"/>
                  <a:gd name="connsiteY1" fmla="*/ 1427 h 46213"/>
                  <a:gd name="connsiteX2" fmla="*/ 16027 w 50440"/>
                  <a:gd name="connsiteY2" fmla="*/ 5242 h 46213"/>
                  <a:gd name="connsiteX3" fmla="*/ 17865 w 50440"/>
                  <a:gd name="connsiteY3" fmla="*/ 412 h 46213"/>
                  <a:gd name="connsiteX4" fmla="*/ 21516 w 50440"/>
                  <a:gd name="connsiteY4" fmla="*/ 0 h 46213"/>
                  <a:gd name="connsiteX5" fmla="*/ 24452 w 50440"/>
                  <a:gd name="connsiteY5" fmla="*/ 1674 h 46213"/>
                  <a:gd name="connsiteX6" fmla="*/ 31971 w 50440"/>
                  <a:gd name="connsiteY6" fmla="*/ 21213 h 46213"/>
                  <a:gd name="connsiteX7" fmla="*/ 33810 w 50440"/>
                  <a:gd name="connsiteY7" fmla="*/ 26565 h 46213"/>
                  <a:gd name="connsiteX8" fmla="*/ 47147 w 50440"/>
                  <a:gd name="connsiteY8" fmla="*/ 30791 h 46213"/>
                  <a:gd name="connsiteX9" fmla="*/ 44760 w 50440"/>
                  <a:gd name="connsiteY9" fmla="*/ 36280 h 46213"/>
                  <a:gd name="connsiteX10" fmla="*/ 42592 w 50440"/>
                  <a:gd name="connsiteY10" fmla="*/ 41274 h 46213"/>
                  <a:gd name="connsiteX11" fmla="*/ 44760 w 50440"/>
                  <a:gd name="connsiteY11" fmla="*/ 42427 h 46213"/>
                  <a:gd name="connsiteX12" fmla="*/ 49645 w 50440"/>
                  <a:gd name="connsiteY12" fmla="*/ 40835 h 46213"/>
                  <a:gd name="connsiteX13" fmla="*/ 50441 w 50440"/>
                  <a:gd name="connsiteY13" fmla="*/ 43689 h 46213"/>
                  <a:gd name="connsiteX14" fmla="*/ 46900 w 50440"/>
                  <a:gd name="connsiteY14" fmla="*/ 43525 h 46213"/>
                  <a:gd name="connsiteX15" fmla="*/ 45199 w 50440"/>
                  <a:gd name="connsiteY15" fmla="*/ 46214 h 46213"/>
                  <a:gd name="connsiteX16" fmla="*/ 39902 w 50440"/>
                  <a:gd name="connsiteY16" fmla="*/ 45885 h 46213"/>
                  <a:gd name="connsiteX17" fmla="*/ 32822 w 50440"/>
                  <a:gd name="connsiteY17" fmla="*/ 40890 h 46213"/>
                  <a:gd name="connsiteX18" fmla="*/ 24068 w 50440"/>
                  <a:gd name="connsiteY18" fmla="*/ 37844 h 46213"/>
                  <a:gd name="connsiteX19" fmla="*/ 23327 w 50440"/>
                  <a:gd name="connsiteY19" fmla="*/ 36252 h 46213"/>
                  <a:gd name="connsiteX20" fmla="*/ 21982 w 50440"/>
                  <a:gd name="connsiteY20" fmla="*/ 33398 h 46213"/>
                  <a:gd name="connsiteX21" fmla="*/ 22476 w 50440"/>
                  <a:gd name="connsiteY21" fmla="*/ 28431 h 46213"/>
                  <a:gd name="connsiteX22" fmla="*/ 20692 w 50440"/>
                  <a:gd name="connsiteY22" fmla="*/ 26565 h 46213"/>
                  <a:gd name="connsiteX23" fmla="*/ 18277 w 50440"/>
                  <a:gd name="connsiteY23" fmla="*/ 21213 h 46213"/>
                  <a:gd name="connsiteX24" fmla="*/ 15560 w 50440"/>
                  <a:gd name="connsiteY24" fmla="*/ 18057 h 46213"/>
                  <a:gd name="connsiteX25" fmla="*/ 4940 w 50440"/>
                  <a:gd name="connsiteY25" fmla="*/ 17783 h 46213"/>
                  <a:gd name="connsiteX26" fmla="*/ 0 w 50440"/>
                  <a:gd name="connsiteY26" fmla="*/ 15231 h 46213"/>
                  <a:gd name="connsiteX27" fmla="*/ 9276 w 50440"/>
                  <a:gd name="connsiteY27" fmla="*/ 1674 h 4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440" h="46213">
                    <a:moveTo>
                      <a:pt x="9331" y="1674"/>
                    </a:moveTo>
                    <a:lnTo>
                      <a:pt x="12816" y="1427"/>
                    </a:lnTo>
                    <a:lnTo>
                      <a:pt x="16027" y="5242"/>
                    </a:lnTo>
                    <a:lnTo>
                      <a:pt x="17865" y="412"/>
                    </a:lnTo>
                    <a:lnTo>
                      <a:pt x="21516" y="0"/>
                    </a:lnTo>
                    <a:lnTo>
                      <a:pt x="24452" y="1674"/>
                    </a:lnTo>
                    <a:lnTo>
                      <a:pt x="31971" y="21213"/>
                    </a:lnTo>
                    <a:lnTo>
                      <a:pt x="33810" y="26565"/>
                    </a:lnTo>
                    <a:lnTo>
                      <a:pt x="47147" y="30791"/>
                    </a:lnTo>
                    <a:lnTo>
                      <a:pt x="44760" y="36280"/>
                    </a:lnTo>
                    <a:lnTo>
                      <a:pt x="42592" y="41274"/>
                    </a:lnTo>
                    <a:lnTo>
                      <a:pt x="44760" y="42427"/>
                    </a:lnTo>
                    <a:lnTo>
                      <a:pt x="49645" y="40835"/>
                    </a:lnTo>
                    <a:lnTo>
                      <a:pt x="50441" y="43689"/>
                    </a:lnTo>
                    <a:lnTo>
                      <a:pt x="46900" y="43525"/>
                    </a:lnTo>
                    <a:lnTo>
                      <a:pt x="45199" y="46214"/>
                    </a:lnTo>
                    <a:lnTo>
                      <a:pt x="39902" y="45885"/>
                    </a:lnTo>
                    <a:lnTo>
                      <a:pt x="32822" y="40890"/>
                    </a:lnTo>
                    <a:lnTo>
                      <a:pt x="24068" y="37844"/>
                    </a:lnTo>
                    <a:lnTo>
                      <a:pt x="23327" y="36252"/>
                    </a:lnTo>
                    <a:lnTo>
                      <a:pt x="21982" y="33398"/>
                    </a:lnTo>
                    <a:lnTo>
                      <a:pt x="22476" y="28431"/>
                    </a:lnTo>
                    <a:lnTo>
                      <a:pt x="20692" y="26565"/>
                    </a:lnTo>
                    <a:lnTo>
                      <a:pt x="18277" y="21213"/>
                    </a:lnTo>
                    <a:lnTo>
                      <a:pt x="15560" y="18057"/>
                    </a:lnTo>
                    <a:lnTo>
                      <a:pt x="4940" y="17783"/>
                    </a:lnTo>
                    <a:lnTo>
                      <a:pt x="0" y="15231"/>
                    </a:lnTo>
                    <a:lnTo>
                      <a:pt x="9276" y="16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5" name="Freeform: Shape 4024">
                <a:extLst>
                  <a:ext uri="{FF2B5EF4-FFF2-40B4-BE49-F238E27FC236}">
                    <a16:creationId xmlns:a16="http://schemas.microsoft.com/office/drawing/2014/main" id="{C924C5B5-7833-BF08-2E77-AA49150D4FD6}"/>
                  </a:ext>
                </a:extLst>
              </p:cNvPr>
              <p:cNvSpPr/>
              <p:nvPr/>
            </p:nvSpPr>
            <p:spPr>
              <a:xfrm>
                <a:off x="1663357" y="3839848"/>
                <a:ext cx="2416" cy="2825"/>
              </a:xfrm>
              <a:custGeom>
                <a:avLst/>
                <a:gdLst>
                  <a:gd name="connsiteX0" fmla="*/ 21899 w 23161"/>
                  <a:gd name="connsiteY0" fmla="*/ 25605 h 27086"/>
                  <a:gd name="connsiteX1" fmla="*/ 18908 w 23161"/>
                  <a:gd name="connsiteY1" fmla="*/ 27087 h 27086"/>
                  <a:gd name="connsiteX2" fmla="*/ 16877 w 23161"/>
                  <a:gd name="connsiteY2" fmla="*/ 26894 h 27086"/>
                  <a:gd name="connsiteX3" fmla="*/ 13200 w 23161"/>
                  <a:gd name="connsiteY3" fmla="*/ 19567 h 27086"/>
                  <a:gd name="connsiteX4" fmla="*/ 7821 w 23161"/>
                  <a:gd name="connsiteY4" fmla="*/ 15917 h 27086"/>
                  <a:gd name="connsiteX5" fmla="*/ 0 w 23161"/>
                  <a:gd name="connsiteY5" fmla="*/ 3403 h 27086"/>
                  <a:gd name="connsiteX6" fmla="*/ 8205 w 23161"/>
                  <a:gd name="connsiteY6" fmla="*/ 0 h 27086"/>
                  <a:gd name="connsiteX7" fmla="*/ 15752 w 23161"/>
                  <a:gd name="connsiteY7" fmla="*/ 8892 h 27086"/>
                  <a:gd name="connsiteX8" fmla="*/ 18880 w 23161"/>
                  <a:gd name="connsiteY8" fmla="*/ 10428 h 27086"/>
                  <a:gd name="connsiteX9" fmla="*/ 23162 w 23161"/>
                  <a:gd name="connsiteY9" fmla="*/ 15972 h 27086"/>
                  <a:gd name="connsiteX10" fmla="*/ 21872 w 23161"/>
                  <a:gd name="connsiteY10" fmla="*/ 25605 h 2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61" h="27086">
                    <a:moveTo>
                      <a:pt x="21899" y="25605"/>
                    </a:moveTo>
                    <a:lnTo>
                      <a:pt x="18908" y="27087"/>
                    </a:lnTo>
                    <a:lnTo>
                      <a:pt x="16877" y="26894"/>
                    </a:lnTo>
                    <a:lnTo>
                      <a:pt x="13200" y="19567"/>
                    </a:lnTo>
                    <a:lnTo>
                      <a:pt x="7821" y="15917"/>
                    </a:lnTo>
                    <a:lnTo>
                      <a:pt x="0" y="3403"/>
                    </a:lnTo>
                    <a:lnTo>
                      <a:pt x="8205" y="0"/>
                    </a:lnTo>
                    <a:lnTo>
                      <a:pt x="15752" y="8892"/>
                    </a:lnTo>
                    <a:lnTo>
                      <a:pt x="18880" y="10428"/>
                    </a:lnTo>
                    <a:lnTo>
                      <a:pt x="23162" y="15972"/>
                    </a:lnTo>
                    <a:lnTo>
                      <a:pt x="21872" y="256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6" name="Freeform: Shape 4025">
                <a:extLst>
                  <a:ext uri="{FF2B5EF4-FFF2-40B4-BE49-F238E27FC236}">
                    <a16:creationId xmlns:a16="http://schemas.microsoft.com/office/drawing/2014/main" id="{F3EE0493-0010-B63A-D7C9-AEDDB447E9FD}"/>
                  </a:ext>
                </a:extLst>
              </p:cNvPr>
              <p:cNvSpPr/>
              <p:nvPr/>
            </p:nvSpPr>
            <p:spPr>
              <a:xfrm>
                <a:off x="1667886" y="3847348"/>
                <a:ext cx="2015" cy="2625"/>
              </a:xfrm>
              <a:custGeom>
                <a:avLst/>
                <a:gdLst>
                  <a:gd name="connsiteX0" fmla="*/ 17810 w 19319"/>
                  <a:gd name="connsiteY0" fmla="*/ 24589 h 25165"/>
                  <a:gd name="connsiteX1" fmla="*/ 15285 w 19319"/>
                  <a:gd name="connsiteY1" fmla="*/ 25165 h 25165"/>
                  <a:gd name="connsiteX2" fmla="*/ 7355 w 19319"/>
                  <a:gd name="connsiteY2" fmla="*/ 21131 h 25165"/>
                  <a:gd name="connsiteX3" fmla="*/ 3073 w 19319"/>
                  <a:gd name="connsiteY3" fmla="*/ 14325 h 25165"/>
                  <a:gd name="connsiteX4" fmla="*/ 0 w 19319"/>
                  <a:gd name="connsiteY4" fmla="*/ 9001 h 25165"/>
                  <a:gd name="connsiteX5" fmla="*/ 714 w 19319"/>
                  <a:gd name="connsiteY5" fmla="*/ 5242 h 25165"/>
                  <a:gd name="connsiteX6" fmla="*/ 1893 w 19319"/>
                  <a:gd name="connsiteY6" fmla="*/ 1098 h 25165"/>
                  <a:gd name="connsiteX7" fmla="*/ 7683 w 19319"/>
                  <a:gd name="connsiteY7" fmla="*/ 0 h 25165"/>
                  <a:gd name="connsiteX8" fmla="*/ 10977 w 19319"/>
                  <a:gd name="connsiteY8" fmla="*/ 5242 h 25165"/>
                  <a:gd name="connsiteX9" fmla="*/ 15861 w 19319"/>
                  <a:gd name="connsiteY9" fmla="*/ 14325 h 25165"/>
                  <a:gd name="connsiteX10" fmla="*/ 19319 w 19319"/>
                  <a:gd name="connsiteY10" fmla="*/ 21762 h 25165"/>
                  <a:gd name="connsiteX11" fmla="*/ 17756 w 19319"/>
                  <a:gd name="connsiteY11" fmla="*/ 24616 h 2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319" h="25165">
                    <a:moveTo>
                      <a:pt x="17810" y="24589"/>
                    </a:moveTo>
                    <a:lnTo>
                      <a:pt x="15285" y="25165"/>
                    </a:lnTo>
                    <a:lnTo>
                      <a:pt x="7355" y="21131"/>
                    </a:lnTo>
                    <a:lnTo>
                      <a:pt x="3073" y="14325"/>
                    </a:lnTo>
                    <a:lnTo>
                      <a:pt x="0" y="9001"/>
                    </a:lnTo>
                    <a:lnTo>
                      <a:pt x="714" y="5242"/>
                    </a:lnTo>
                    <a:lnTo>
                      <a:pt x="1893" y="1098"/>
                    </a:lnTo>
                    <a:lnTo>
                      <a:pt x="7683" y="0"/>
                    </a:lnTo>
                    <a:lnTo>
                      <a:pt x="10977" y="5242"/>
                    </a:lnTo>
                    <a:lnTo>
                      <a:pt x="15861" y="14325"/>
                    </a:lnTo>
                    <a:lnTo>
                      <a:pt x="19319" y="21762"/>
                    </a:lnTo>
                    <a:lnTo>
                      <a:pt x="17756" y="246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7" name="Freeform: Shape 4026">
                <a:extLst>
                  <a:ext uri="{FF2B5EF4-FFF2-40B4-BE49-F238E27FC236}">
                    <a16:creationId xmlns:a16="http://schemas.microsoft.com/office/drawing/2014/main" id="{1A2AC3BB-1E07-4246-D021-BEB53B723DC8}"/>
                  </a:ext>
                </a:extLst>
              </p:cNvPr>
              <p:cNvSpPr/>
              <p:nvPr/>
            </p:nvSpPr>
            <p:spPr>
              <a:xfrm>
                <a:off x="1695367" y="3852245"/>
                <a:ext cx="2161" cy="2184"/>
              </a:xfrm>
              <a:custGeom>
                <a:avLst/>
                <a:gdLst>
                  <a:gd name="connsiteX0" fmla="*/ 0 w 20718"/>
                  <a:gd name="connsiteY0" fmla="*/ 10428 h 20939"/>
                  <a:gd name="connsiteX1" fmla="*/ 1674 w 20718"/>
                  <a:gd name="connsiteY1" fmla="*/ 6394 h 20939"/>
                  <a:gd name="connsiteX2" fmla="*/ 1784 w 20718"/>
                  <a:gd name="connsiteY2" fmla="*/ 1976 h 20939"/>
                  <a:gd name="connsiteX3" fmla="*/ 2662 w 20718"/>
                  <a:gd name="connsiteY3" fmla="*/ 796 h 20939"/>
                  <a:gd name="connsiteX4" fmla="*/ 5763 w 20718"/>
                  <a:gd name="connsiteY4" fmla="*/ 796 h 20939"/>
                  <a:gd name="connsiteX5" fmla="*/ 7272 w 20718"/>
                  <a:gd name="connsiteY5" fmla="*/ 0 h 20939"/>
                  <a:gd name="connsiteX6" fmla="*/ 9578 w 20718"/>
                  <a:gd name="connsiteY6" fmla="*/ 1262 h 20939"/>
                  <a:gd name="connsiteX7" fmla="*/ 12267 w 20718"/>
                  <a:gd name="connsiteY7" fmla="*/ 1262 h 20939"/>
                  <a:gd name="connsiteX8" fmla="*/ 15094 w 20718"/>
                  <a:gd name="connsiteY8" fmla="*/ 2305 h 20939"/>
                  <a:gd name="connsiteX9" fmla="*/ 20143 w 20718"/>
                  <a:gd name="connsiteY9" fmla="*/ 6422 h 20939"/>
                  <a:gd name="connsiteX10" fmla="*/ 20719 w 20718"/>
                  <a:gd name="connsiteY10" fmla="*/ 9687 h 20939"/>
                  <a:gd name="connsiteX11" fmla="*/ 17838 w 20718"/>
                  <a:gd name="connsiteY11" fmla="*/ 17344 h 20939"/>
                  <a:gd name="connsiteX12" fmla="*/ 12706 w 20718"/>
                  <a:gd name="connsiteY12" fmla="*/ 20939 h 20939"/>
                  <a:gd name="connsiteX13" fmla="*/ 8342 w 20718"/>
                  <a:gd name="connsiteY13" fmla="*/ 16246 h 20939"/>
                  <a:gd name="connsiteX14" fmla="*/ 6202 w 20718"/>
                  <a:gd name="connsiteY14" fmla="*/ 18826 h 20939"/>
                  <a:gd name="connsiteX15" fmla="*/ 1152 w 20718"/>
                  <a:gd name="connsiteY15" fmla="*/ 19896 h 20939"/>
                  <a:gd name="connsiteX16" fmla="*/ 27 w 20718"/>
                  <a:gd name="connsiteY16" fmla="*/ 10456 h 2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718" h="20939">
                    <a:moveTo>
                      <a:pt x="0" y="10428"/>
                    </a:moveTo>
                    <a:lnTo>
                      <a:pt x="1674" y="6394"/>
                    </a:lnTo>
                    <a:lnTo>
                      <a:pt x="1784" y="1976"/>
                    </a:lnTo>
                    <a:lnTo>
                      <a:pt x="2662" y="796"/>
                    </a:lnTo>
                    <a:lnTo>
                      <a:pt x="5763" y="796"/>
                    </a:lnTo>
                    <a:cubicBezTo>
                      <a:pt x="5763" y="796"/>
                      <a:pt x="7272" y="0"/>
                      <a:pt x="7272" y="0"/>
                    </a:cubicBezTo>
                    <a:lnTo>
                      <a:pt x="9578" y="1262"/>
                    </a:lnTo>
                    <a:lnTo>
                      <a:pt x="12267" y="1262"/>
                    </a:lnTo>
                    <a:cubicBezTo>
                      <a:pt x="12267" y="1262"/>
                      <a:pt x="15094" y="2305"/>
                      <a:pt x="15094" y="2305"/>
                    </a:cubicBezTo>
                    <a:lnTo>
                      <a:pt x="20143" y="6422"/>
                    </a:lnTo>
                    <a:lnTo>
                      <a:pt x="20719" y="9687"/>
                    </a:lnTo>
                    <a:lnTo>
                      <a:pt x="17838" y="17344"/>
                    </a:lnTo>
                    <a:lnTo>
                      <a:pt x="12706" y="20939"/>
                    </a:lnTo>
                    <a:lnTo>
                      <a:pt x="8342" y="16246"/>
                    </a:lnTo>
                    <a:lnTo>
                      <a:pt x="6202" y="18826"/>
                    </a:lnTo>
                    <a:lnTo>
                      <a:pt x="1152" y="19896"/>
                    </a:lnTo>
                    <a:lnTo>
                      <a:pt x="27" y="104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8" name="Freeform: Shape 4027">
                <a:extLst>
                  <a:ext uri="{FF2B5EF4-FFF2-40B4-BE49-F238E27FC236}">
                    <a16:creationId xmlns:a16="http://schemas.microsoft.com/office/drawing/2014/main" id="{E5F7AD4E-CB0D-F328-9248-D361A3737E1D}"/>
                  </a:ext>
                </a:extLst>
              </p:cNvPr>
              <p:cNvSpPr/>
              <p:nvPr/>
            </p:nvSpPr>
            <p:spPr>
              <a:xfrm>
                <a:off x="1658941" y="3835495"/>
                <a:ext cx="2467" cy="1815"/>
              </a:xfrm>
              <a:custGeom>
                <a:avLst/>
                <a:gdLst>
                  <a:gd name="connsiteX0" fmla="*/ 1948 w 23655"/>
                  <a:gd name="connsiteY0" fmla="*/ 2662 h 17398"/>
                  <a:gd name="connsiteX1" fmla="*/ 2772 w 23655"/>
                  <a:gd name="connsiteY1" fmla="*/ 0 h 17398"/>
                  <a:gd name="connsiteX2" fmla="*/ 6065 w 23655"/>
                  <a:gd name="connsiteY2" fmla="*/ 933 h 17398"/>
                  <a:gd name="connsiteX3" fmla="*/ 6366 w 23655"/>
                  <a:gd name="connsiteY3" fmla="*/ 2442 h 17398"/>
                  <a:gd name="connsiteX4" fmla="*/ 9714 w 23655"/>
                  <a:gd name="connsiteY4" fmla="*/ 4693 h 17398"/>
                  <a:gd name="connsiteX5" fmla="*/ 12486 w 23655"/>
                  <a:gd name="connsiteY5" fmla="*/ 5818 h 17398"/>
                  <a:gd name="connsiteX6" fmla="*/ 12047 w 23655"/>
                  <a:gd name="connsiteY6" fmla="*/ 8013 h 17398"/>
                  <a:gd name="connsiteX7" fmla="*/ 13968 w 23655"/>
                  <a:gd name="connsiteY7" fmla="*/ 7355 h 17398"/>
                  <a:gd name="connsiteX8" fmla="*/ 16548 w 23655"/>
                  <a:gd name="connsiteY8" fmla="*/ 9825 h 17398"/>
                  <a:gd name="connsiteX9" fmla="*/ 19128 w 23655"/>
                  <a:gd name="connsiteY9" fmla="*/ 10840 h 17398"/>
                  <a:gd name="connsiteX10" fmla="*/ 22421 w 23655"/>
                  <a:gd name="connsiteY10" fmla="*/ 13145 h 17398"/>
                  <a:gd name="connsiteX11" fmla="*/ 23655 w 23655"/>
                  <a:gd name="connsiteY11" fmla="*/ 16329 h 17398"/>
                  <a:gd name="connsiteX12" fmla="*/ 22009 w 23655"/>
                  <a:gd name="connsiteY12" fmla="*/ 17399 h 17398"/>
                  <a:gd name="connsiteX13" fmla="*/ 18387 w 23655"/>
                  <a:gd name="connsiteY13" fmla="*/ 16576 h 17398"/>
                  <a:gd name="connsiteX14" fmla="*/ 17783 w 23655"/>
                  <a:gd name="connsiteY14" fmla="*/ 14600 h 17398"/>
                  <a:gd name="connsiteX15" fmla="*/ 15807 w 23655"/>
                  <a:gd name="connsiteY15" fmla="*/ 14106 h 17398"/>
                  <a:gd name="connsiteX16" fmla="*/ 11306 w 23655"/>
                  <a:gd name="connsiteY16" fmla="*/ 10483 h 17398"/>
                  <a:gd name="connsiteX17" fmla="*/ 9468 w 23655"/>
                  <a:gd name="connsiteY17" fmla="*/ 9879 h 17398"/>
                  <a:gd name="connsiteX18" fmla="*/ 7300 w 23655"/>
                  <a:gd name="connsiteY18" fmla="*/ 10538 h 17398"/>
                  <a:gd name="connsiteX19" fmla="*/ 5406 w 23655"/>
                  <a:gd name="connsiteY19" fmla="*/ 9001 h 17398"/>
                  <a:gd name="connsiteX20" fmla="*/ 2881 w 23655"/>
                  <a:gd name="connsiteY20" fmla="*/ 8562 h 17398"/>
                  <a:gd name="connsiteX21" fmla="*/ 1838 w 23655"/>
                  <a:gd name="connsiteY21" fmla="*/ 6586 h 17398"/>
                  <a:gd name="connsiteX22" fmla="*/ 549 w 23655"/>
                  <a:gd name="connsiteY22" fmla="*/ 6394 h 17398"/>
                  <a:gd name="connsiteX23" fmla="*/ 0 w 23655"/>
                  <a:gd name="connsiteY23" fmla="*/ 4363 h 17398"/>
                  <a:gd name="connsiteX24" fmla="*/ 1948 w 23655"/>
                  <a:gd name="connsiteY24" fmla="*/ 2607 h 17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655" h="17398">
                    <a:moveTo>
                      <a:pt x="1948" y="2662"/>
                    </a:moveTo>
                    <a:lnTo>
                      <a:pt x="2772" y="0"/>
                    </a:lnTo>
                    <a:lnTo>
                      <a:pt x="6065" y="933"/>
                    </a:lnTo>
                    <a:lnTo>
                      <a:pt x="6366" y="2442"/>
                    </a:lnTo>
                    <a:lnTo>
                      <a:pt x="9714" y="4693"/>
                    </a:lnTo>
                    <a:lnTo>
                      <a:pt x="12486" y="5818"/>
                    </a:lnTo>
                    <a:lnTo>
                      <a:pt x="12047" y="8013"/>
                    </a:lnTo>
                    <a:lnTo>
                      <a:pt x="13968" y="7355"/>
                    </a:lnTo>
                    <a:lnTo>
                      <a:pt x="16548" y="9825"/>
                    </a:lnTo>
                    <a:lnTo>
                      <a:pt x="19128" y="10840"/>
                    </a:lnTo>
                    <a:lnTo>
                      <a:pt x="22421" y="13145"/>
                    </a:lnTo>
                    <a:lnTo>
                      <a:pt x="23655" y="16329"/>
                    </a:lnTo>
                    <a:lnTo>
                      <a:pt x="22009" y="17399"/>
                    </a:lnTo>
                    <a:lnTo>
                      <a:pt x="18387" y="16576"/>
                    </a:lnTo>
                    <a:lnTo>
                      <a:pt x="17783" y="14600"/>
                    </a:lnTo>
                    <a:lnTo>
                      <a:pt x="15807" y="14106"/>
                    </a:lnTo>
                    <a:lnTo>
                      <a:pt x="11306" y="10483"/>
                    </a:lnTo>
                    <a:lnTo>
                      <a:pt x="9468" y="9879"/>
                    </a:lnTo>
                    <a:lnTo>
                      <a:pt x="7300" y="10538"/>
                    </a:lnTo>
                    <a:lnTo>
                      <a:pt x="5406" y="9001"/>
                    </a:lnTo>
                    <a:lnTo>
                      <a:pt x="2881" y="8562"/>
                    </a:lnTo>
                    <a:lnTo>
                      <a:pt x="1838" y="6586"/>
                    </a:lnTo>
                    <a:lnTo>
                      <a:pt x="549" y="6394"/>
                    </a:lnTo>
                    <a:lnTo>
                      <a:pt x="0" y="4363"/>
                    </a:lnTo>
                    <a:lnTo>
                      <a:pt x="1948" y="26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29" name="Freeform: Shape 4028">
                <a:extLst>
                  <a:ext uri="{FF2B5EF4-FFF2-40B4-BE49-F238E27FC236}">
                    <a16:creationId xmlns:a16="http://schemas.microsoft.com/office/drawing/2014/main" id="{1F9D7832-4EF2-B8AC-17C7-8A9ADDB72B0E}"/>
                  </a:ext>
                </a:extLst>
              </p:cNvPr>
              <p:cNvSpPr/>
              <p:nvPr/>
            </p:nvSpPr>
            <p:spPr>
              <a:xfrm>
                <a:off x="1672082" y="3852219"/>
                <a:ext cx="1786" cy="2333"/>
              </a:xfrm>
              <a:custGeom>
                <a:avLst/>
                <a:gdLst>
                  <a:gd name="connsiteX0" fmla="*/ 27 w 17124"/>
                  <a:gd name="connsiteY0" fmla="*/ 0 h 22366"/>
                  <a:gd name="connsiteX1" fmla="*/ 5186 w 17124"/>
                  <a:gd name="connsiteY1" fmla="*/ 3375 h 22366"/>
                  <a:gd name="connsiteX2" fmla="*/ 7190 w 17124"/>
                  <a:gd name="connsiteY2" fmla="*/ 6641 h 22366"/>
                  <a:gd name="connsiteX3" fmla="*/ 17124 w 17124"/>
                  <a:gd name="connsiteY3" fmla="*/ 19210 h 22366"/>
                  <a:gd name="connsiteX4" fmla="*/ 15094 w 17124"/>
                  <a:gd name="connsiteY4" fmla="*/ 20664 h 22366"/>
                  <a:gd name="connsiteX5" fmla="*/ 13804 w 17124"/>
                  <a:gd name="connsiteY5" fmla="*/ 19814 h 22366"/>
                  <a:gd name="connsiteX6" fmla="*/ 13639 w 17124"/>
                  <a:gd name="connsiteY6" fmla="*/ 22366 h 22366"/>
                  <a:gd name="connsiteX7" fmla="*/ 10922 w 17124"/>
                  <a:gd name="connsiteY7" fmla="*/ 21186 h 22366"/>
                  <a:gd name="connsiteX8" fmla="*/ 5516 w 17124"/>
                  <a:gd name="connsiteY8" fmla="*/ 10620 h 22366"/>
                  <a:gd name="connsiteX9" fmla="*/ 1674 w 17124"/>
                  <a:gd name="connsiteY9" fmla="*/ 9029 h 22366"/>
                  <a:gd name="connsiteX10" fmla="*/ 165 w 17124"/>
                  <a:gd name="connsiteY10" fmla="*/ 6668 h 22366"/>
                  <a:gd name="connsiteX11" fmla="*/ 0 w 17124"/>
                  <a:gd name="connsiteY11" fmla="*/ 0 h 22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24" h="22366">
                    <a:moveTo>
                      <a:pt x="27" y="0"/>
                    </a:moveTo>
                    <a:lnTo>
                      <a:pt x="5186" y="3375"/>
                    </a:lnTo>
                    <a:lnTo>
                      <a:pt x="7190" y="6641"/>
                    </a:lnTo>
                    <a:lnTo>
                      <a:pt x="17124" y="19210"/>
                    </a:lnTo>
                    <a:lnTo>
                      <a:pt x="15094" y="20664"/>
                    </a:lnTo>
                    <a:lnTo>
                      <a:pt x="13804" y="19814"/>
                    </a:lnTo>
                    <a:lnTo>
                      <a:pt x="13639" y="22366"/>
                    </a:lnTo>
                    <a:lnTo>
                      <a:pt x="10922" y="21186"/>
                    </a:lnTo>
                    <a:lnTo>
                      <a:pt x="5516" y="10620"/>
                    </a:lnTo>
                    <a:lnTo>
                      <a:pt x="1674" y="9029"/>
                    </a:lnTo>
                    <a:lnTo>
                      <a:pt x="165" y="6668"/>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0" name="Freeform: Shape 4029">
                <a:extLst>
                  <a:ext uri="{FF2B5EF4-FFF2-40B4-BE49-F238E27FC236}">
                    <a16:creationId xmlns:a16="http://schemas.microsoft.com/office/drawing/2014/main" id="{41245CE5-E9D2-2B9C-4236-9586D5FD6A32}"/>
                  </a:ext>
                </a:extLst>
              </p:cNvPr>
              <p:cNvSpPr/>
              <p:nvPr/>
            </p:nvSpPr>
            <p:spPr>
              <a:xfrm>
                <a:off x="1683955" y="3840862"/>
                <a:ext cx="1466" cy="1646"/>
              </a:xfrm>
              <a:custGeom>
                <a:avLst/>
                <a:gdLst>
                  <a:gd name="connsiteX0" fmla="*/ 0 w 14051"/>
                  <a:gd name="connsiteY0" fmla="*/ 3348 h 15779"/>
                  <a:gd name="connsiteX1" fmla="*/ 7739 w 14051"/>
                  <a:gd name="connsiteY1" fmla="*/ 0 h 15779"/>
                  <a:gd name="connsiteX2" fmla="*/ 10812 w 14051"/>
                  <a:gd name="connsiteY2" fmla="*/ 7849 h 15779"/>
                  <a:gd name="connsiteX3" fmla="*/ 14051 w 14051"/>
                  <a:gd name="connsiteY3" fmla="*/ 14490 h 15779"/>
                  <a:gd name="connsiteX4" fmla="*/ 13310 w 14051"/>
                  <a:gd name="connsiteY4" fmla="*/ 15780 h 15779"/>
                  <a:gd name="connsiteX5" fmla="*/ 7437 w 14051"/>
                  <a:gd name="connsiteY5" fmla="*/ 7849 h 15779"/>
                  <a:gd name="connsiteX6" fmla="*/ 5050 w 14051"/>
                  <a:gd name="connsiteY6" fmla="*/ 6202 h 15779"/>
                  <a:gd name="connsiteX7" fmla="*/ 1317 w 14051"/>
                  <a:gd name="connsiteY7" fmla="*/ 6751 h 15779"/>
                  <a:gd name="connsiteX8" fmla="*/ 0 w 14051"/>
                  <a:gd name="connsiteY8" fmla="*/ 3375 h 1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51" h="15779">
                    <a:moveTo>
                      <a:pt x="0" y="3348"/>
                    </a:moveTo>
                    <a:lnTo>
                      <a:pt x="7739" y="0"/>
                    </a:lnTo>
                    <a:lnTo>
                      <a:pt x="10812" y="7849"/>
                    </a:lnTo>
                    <a:lnTo>
                      <a:pt x="14051" y="14490"/>
                    </a:lnTo>
                    <a:lnTo>
                      <a:pt x="13310" y="15780"/>
                    </a:lnTo>
                    <a:lnTo>
                      <a:pt x="7437" y="7849"/>
                    </a:lnTo>
                    <a:lnTo>
                      <a:pt x="5050" y="6202"/>
                    </a:lnTo>
                    <a:lnTo>
                      <a:pt x="1317" y="6751"/>
                    </a:lnTo>
                    <a:lnTo>
                      <a:pt x="0" y="33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1" name="Freeform: Shape 4030">
                <a:extLst>
                  <a:ext uri="{FF2B5EF4-FFF2-40B4-BE49-F238E27FC236}">
                    <a16:creationId xmlns:a16="http://schemas.microsoft.com/office/drawing/2014/main" id="{FC0A2DAD-50BE-1142-1758-231EAB5B6F76}"/>
                  </a:ext>
                </a:extLst>
              </p:cNvPr>
              <p:cNvSpPr/>
              <p:nvPr/>
            </p:nvSpPr>
            <p:spPr>
              <a:xfrm>
                <a:off x="1685163" y="3840841"/>
                <a:ext cx="1666" cy="1431"/>
              </a:xfrm>
              <a:custGeom>
                <a:avLst/>
                <a:gdLst>
                  <a:gd name="connsiteX0" fmla="*/ 0 w 15972"/>
                  <a:gd name="connsiteY0" fmla="*/ 3293 h 13721"/>
                  <a:gd name="connsiteX1" fmla="*/ 3595 w 15972"/>
                  <a:gd name="connsiteY1" fmla="*/ 0 h 13721"/>
                  <a:gd name="connsiteX2" fmla="*/ 7492 w 15972"/>
                  <a:gd name="connsiteY2" fmla="*/ 302 h 13721"/>
                  <a:gd name="connsiteX3" fmla="*/ 11526 w 15972"/>
                  <a:gd name="connsiteY3" fmla="*/ 2305 h 13721"/>
                  <a:gd name="connsiteX4" fmla="*/ 12953 w 15972"/>
                  <a:gd name="connsiteY4" fmla="*/ 11306 h 13721"/>
                  <a:gd name="connsiteX5" fmla="*/ 15451 w 15972"/>
                  <a:gd name="connsiteY5" fmla="*/ 11005 h 13721"/>
                  <a:gd name="connsiteX6" fmla="*/ 15972 w 15972"/>
                  <a:gd name="connsiteY6" fmla="*/ 13721 h 13721"/>
                  <a:gd name="connsiteX7" fmla="*/ 12926 w 15972"/>
                  <a:gd name="connsiteY7" fmla="*/ 13227 h 13721"/>
                  <a:gd name="connsiteX8" fmla="*/ 12103 w 15972"/>
                  <a:gd name="connsiteY8" fmla="*/ 11224 h 13721"/>
                  <a:gd name="connsiteX9" fmla="*/ 11252 w 15972"/>
                  <a:gd name="connsiteY9" fmla="*/ 11855 h 13721"/>
                  <a:gd name="connsiteX10" fmla="*/ 5955 w 15972"/>
                  <a:gd name="connsiteY10" fmla="*/ 8974 h 13721"/>
                  <a:gd name="connsiteX11" fmla="*/ 6120 w 15972"/>
                  <a:gd name="connsiteY11" fmla="*/ 4391 h 13721"/>
                  <a:gd name="connsiteX12" fmla="*/ 1592 w 15972"/>
                  <a:gd name="connsiteY12" fmla="*/ 5406 h 13721"/>
                  <a:gd name="connsiteX13" fmla="*/ 27 w 15972"/>
                  <a:gd name="connsiteY13" fmla="*/ 3293 h 13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72" h="13721">
                    <a:moveTo>
                      <a:pt x="0" y="3293"/>
                    </a:moveTo>
                    <a:lnTo>
                      <a:pt x="3595" y="0"/>
                    </a:lnTo>
                    <a:lnTo>
                      <a:pt x="7492" y="302"/>
                    </a:lnTo>
                    <a:lnTo>
                      <a:pt x="11526" y="2305"/>
                    </a:lnTo>
                    <a:lnTo>
                      <a:pt x="12953" y="11306"/>
                    </a:lnTo>
                    <a:lnTo>
                      <a:pt x="15451" y="11005"/>
                    </a:lnTo>
                    <a:lnTo>
                      <a:pt x="15972" y="13721"/>
                    </a:lnTo>
                    <a:lnTo>
                      <a:pt x="12926" y="13227"/>
                    </a:lnTo>
                    <a:lnTo>
                      <a:pt x="12103" y="11224"/>
                    </a:lnTo>
                    <a:lnTo>
                      <a:pt x="11252" y="11855"/>
                    </a:lnTo>
                    <a:lnTo>
                      <a:pt x="5955" y="8974"/>
                    </a:lnTo>
                    <a:lnTo>
                      <a:pt x="6120" y="4391"/>
                    </a:lnTo>
                    <a:lnTo>
                      <a:pt x="1592" y="5406"/>
                    </a:lnTo>
                    <a:lnTo>
                      <a:pt x="27" y="32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2" name="Freeform: Shape 4031">
                <a:extLst>
                  <a:ext uri="{FF2B5EF4-FFF2-40B4-BE49-F238E27FC236}">
                    <a16:creationId xmlns:a16="http://schemas.microsoft.com/office/drawing/2014/main" id="{54B7CF9B-2669-F205-9345-E5DB813B56B0}"/>
                  </a:ext>
                </a:extLst>
              </p:cNvPr>
              <p:cNvSpPr/>
              <p:nvPr/>
            </p:nvSpPr>
            <p:spPr>
              <a:xfrm>
                <a:off x="1696652" y="3831630"/>
                <a:ext cx="1254" cy="1626"/>
              </a:xfrm>
              <a:custGeom>
                <a:avLst/>
                <a:gdLst>
                  <a:gd name="connsiteX0" fmla="*/ 8452 w 12019"/>
                  <a:gd name="connsiteY0" fmla="*/ 15204 h 15587"/>
                  <a:gd name="connsiteX1" fmla="*/ 4610 w 12019"/>
                  <a:gd name="connsiteY1" fmla="*/ 15588 h 15587"/>
                  <a:gd name="connsiteX2" fmla="*/ 4748 w 12019"/>
                  <a:gd name="connsiteY2" fmla="*/ 11115 h 15587"/>
                  <a:gd name="connsiteX3" fmla="*/ 1619 w 12019"/>
                  <a:gd name="connsiteY3" fmla="*/ 9193 h 15587"/>
                  <a:gd name="connsiteX4" fmla="*/ 0 w 12019"/>
                  <a:gd name="connsiteY4" fmla="*/ 5544 h 15587"/>
                  <a:gd name="connsiteX5" fmla="*/ 6065 w 12019"/>
                  <a:gd name="connsiteY5" fmla="*/ 0 h 15587"/>
                  <a:gd name="connsiteX6" fmla="*/ 12020 w 12019"/>
                  <a:gd name="connsiteY6" fmla="*/ 6394 h 15587"/>
                  <a:gd name="connsiteX7" fmla="*/ 11691 w 12019"/>
                  <a:gd name="connsiteY7" fmla="*/ 11279 h 15587"/>
                  <a:gd name="connsiteX8" fmla="*/ 8452 w 12019"/>
                  <a:gd name="connsiteY8" fmla="*/ 15258 h 1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19" h="15587">
                    <a:moveTo>
                      <a:pt x="8452" y="15204"/>
                    </a:moveTo>
                    <a:lnTo>
                      <a:pt x="4610" y="15588"/>
                    </a:lnTo>
                    <a:lnTo>
                      <a:pt x="4748" y="11115"/>
                    </a:lnTo>
                    <a:lnTo>
                      <a:pt x="1619" y="9193"/>
                    </a:lnTo>
                    <a:lnTo>
                      <a:pt x="0" y="5544"/>
                    </a:lnTo>
                    <a:lnTo>
                      <a:pt x="6065" y="0"/>
                    </a:lnTo>
                    <a:lnTo>
                      <a:pt x="12020" y="6394"/>
                    </a:lnTo>
                    <a:lnTo>
                      <a:pt x="11691" y="11279"/>
                    </a:lnTo>
                    <a:lnTo>
                      <a:pt x="8452" y="152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3" name="Freeform: Shape 4032">
                <a:extLst>
                  <a:ext uri="{FF2B5EF4-FFF2-40B4-BE49-F238E27FC236}">
                    <a16:creationId xmlns:a16="http://schemas.microsoft.com/office/drawing/2014/main" id="{0796FD68-B8C1-0656-83E1-26056857AF7A}"/>
                  </a:ext>
                </a:extLst>
              </p:cNvPr>
              <p:cNvSpPr/>
              <p:nvPr/>
            </p:nvSpPr>
            <p:spPr>
              <a:xfrm>
                <a:off x="1685718" y="3844391"/>
                <a:ext cx="1560" cy="1007"/>
              </a:xfrm>
              <a:custGeom>
                <a:avLst/>
                <a:gdLst>
                  <a:gd name="connsiteX0" fmla="*/ 2168 w 14956"/>
                  <a:gd name="connsiteY0" fmla="*/ 741 h 9659"/>
                  <a:gd name="connsiteX1" fmla="*/ 3980 w 14956"/>
                  <a:gd name="connsiteY1" fmla="*/ 0 h 9659"/>
                  <a:gd name="connsiteX2" fmla="*/ 9111 w 14956"/>
                  <a:gd name="connsiteY2" fmla="*/ 4967 h 9659"/>
                  <a:gd name="connsiteX3" fmla="*/ 9687 w 14956"/>
                  <a:gd name="connsiteY3" fmla="*/ 6367 h 9659"/>
                  <a:gd name="connsiteX4" fmla="*/ 12652 w 14956"/>
                  <a:gd name="connsiteY4" fmla="*/ 5818 h 9659"/>
                  <a:gd name="connsiteX5" fmla="*/ 14957 w 14956"/>
                  <a:gd name="connsiteY5" fmla="*/ 8864 h 9659"/>
                  <a:gd name="connsiteX6" fmla="*/ 13310 w 14956"/>
                  <a:gd name="connsiteY6" fmla="*/ 9660 h 9659"/>
                  <a:gd name="connsiteX7" fmla="*/ 11828 w 14956"/>
                  <a:gd name="connsiteY7" fmla="*/ 9660 h 9659"/>
                  <a:gd name="connsiteX8" fmla="*/ 8041 w 14956"/>
                  <a:gd name="connsiteY8" fmla="*/ 6861 h 9659"/>
                  <a:gd name="connsiteX9" fmla="*/ 3101 w 14956"/>
                  <a:gd name="connsiteY9" fmla="*/ 8754 h 9659"/>
                  <a:gd name="connsiteX10" fmla="*/ 220 w 14956"/>
                  <a:gd name="connsiteY10" fmla="*/ 7711 h 9659"/>
                  <a:gd name="connsiteX11" fmla="*/ 0 w 14956"/>
                  <a:gd name="connsiteY11" fmla="*/ 6668 h 9659"/>
                  <a:gd name="connsiteX12" fmla="*/ 2305 w 14956"/>
                  <a:gd name="connsiteY12" fmla="*/ 4500 h 9659"/>
                  <a:gd name="connsiteX13" fmla="*/ 2168 w 14956"/>
                  <a:gd name="connsiteY13" fmla="*/ 741 h 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56" h="9659">
                    <a:moveTo>
                      <a:pt x="2168" y="741"/>
                    </a:moveTo>
                    <a:lnTo>
                      <a:pt x="3980" y="0"/>
                    </a:lnTo>
                    <a:lnTo>
                      <a:pt x="9111" y="4967"/>
                    </a:lnTo>
                    <a:lnTo>
                      <a:pt x="9687" y="6367"/>
                    </a:lnTo>
                    <a:lnTo>
                      <a:pt x="12652" y="5818"/>
                    </a:lnTo>
                    <a:lnTo>
                      <a:pt x="14957" y="8864"/>
                    </a:lnTo>
                    <a:lnTo>
                      <a:pt x="13310" y="9660"/>
                    </a:lnTo>
                    <a:lnTo>
                      <a:pt x="11828" y="9660"/>
                    </a:lnTo>
                    <a:lnTo>
                      <a:pt x="8041" y="6861"/>
                    </a:lnTo>
                    <a:lnTo>
                      <a:pt x="3101" y="8754"/>
                    </a:lnTo>
                    <a:lnTo>
                      <a:pt x="220" y="7711"/>
                    </a:lnTo>
                    <a:lnTo>
                      <a:pt x="0" y="6668"/>
                    </a:lnTo>
                    <a:lnTo>
                      <a:pt x="2305" y="4500"/>
                    </a:lnTo>
                    <a:lnTo>
                      <a:pt x="2168" y="7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4" name="Freeform: Shape 4033">
                <a:extLst>
                  <a:ext uri="{FF2B5EF4-FFF2-40B4-BE49-F238E27FC236}">
                    <a16:creationId xmlns:a16="http://schemas.microsoft.com/office/drawing/2014/main" id="{9987486E-CC1A-7431-907D-83ACE587CA79}"/>
                  </a:ext>
                </a:extLst>
              </p:cNvPr>
              <p:cNvSpPr/>
              <p:nvPr/>
            </p:nvSpPr>
            <p:spPr>
              <a:xfrm>
                <a:off x="1685151" y="3845427"/>
                <a:ext cx="1102" cy="1047"/>
              </a:xfrm>
              <a:custGeom>
                <a:avLst/>
                <a:gdLst>
                  <a:gd name="connsiteX0" fmla="*/ 0 w 10565"/>
                  <a:gd name="connsiteY0" fmla="*/ 5379 h 10043"/>
                  <a:gd name="connsiteX1" fmla="*/ 1071 w 10565"/>
                  <a:gd name="connsiteY1" fmla="*/ 2634 h 10043"/>
                  <a:gd name="connsiteX2" fmla="*/ 3101 w 10565"/>
                  <a:gd name="connsiteY2" fmla="*/ 4089 h 10043"/>
                  <a:gd name="connsiteX3" fmla="*/ 5489 w 10565"/>
                  <a:gd name="connsiteY3" fmla="*/ 2195 h 10043"/>
                  <a:gd name="connsiteX4" fmla="*/ 6230 w 10565"/>
                  <a:gd name="connsiteY4" fmla="*/ 0 h 10043"/>
                  <a:gd name="connsiteX5" fmla="*/ 8645 w 10565"/>
                  <a:gd name="connsiteY5" fmla="*/ 1811 h 10043"/>
                  <a:gd name="connsiteX6" fmla="*/ 10566 w 10565"/>
                  <a:gd name="connsiteY6" fmla="*/ 4665 h 10043"/>
                  <a:gd name="connsiteX7" fmla="*/ 9441 w 10565"/>
                  <a:gd name="connsiteY7" fmla="*/ 6037 h 10043"/>
                  <a:gd name="connsiteX8" fmla="*/ 8755 w 10565"/>
                  <a:gd name="connsiteY8" fmla="*/ 6861 h 10043"/>
                  <a:gd name="connsiteX9" fmla="*/ 7849 w 10565"/>
                  <a:gd name="connsiteY9" fmla="*/ 10016 h 10043"/>
                  <a:gd name="connsiteX10" fmla="*/ 5598 w 10565"/>
                  <a:gd name="connsiteY10" fmla="*/ 8068 h 10043"/>
                  <a:gd name="connsiteX11" fmla="*/ 3211 w 10565"/>
                  <a:gd name="connsiteY11" fmla="*/ 10044 h 10043"/>
                  <a:gd name="connsiteX12" fmla="*/ 2278 w 10565"/>
                  <a:gd name="connsiteY12" fmla="*/ 6888 h 10043"/>
                  <a:gd name="connsiteX13" fmla="*/ 961 w 10565"/>
                  <a:gd name="connsiteY13" fmla="*/ 6037 h 10043"/>
                  <a:gd name="connsiteX14" fmla="*/ 0 w 10565"/>
                  <a:gd name="connsiteY14" fmla="*/ 5434 h 1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65" h="10043">
                    <a:moveTo>
                      <a:pt x="0" y="5379"/>
                    </a:moveTo>
                    <a:lnTo>
                      <a:pt x="1071" y="2634"/>
                    </a:lnTo>
                    <a:lnTo>
                      <a:pt x="3101" y="4089"/>
                    </a:lnTo>
                    <a:lnTo>
                      <a:pt x="5489" y="2195"/>
                    </a:lnTo>
                    <a:lnTo>
                      <a:pt x="6230" y="0"/>
                    </a:lnTo>
                    <a:lnTo>
                      <a:pt x="8645" y="1811"/>
                    </a:lnTo>
                    <a:lnTo>
                      <a:pt x="10566" y="4665"/>
                    </a:lnTo>
                    <a:lnTo>
                      <a:pt x="9441" y="6037"/>
                    </a:lnTo>
                    <a:lnTo>
                      <a:pt x="8755" y="6861"/>
                    </a:lnTo>
                    <a:lnTo>
                      <a:pt x="7849" y="10016"/>
                    </a:lnTo>
                    <a:lnTo>
                      <a:pt x="5598" y="8068"/>
                    </a:lnTo>
                    <a:lnTo>
                      <a:pt x="3211" y="10044"/>
                    </a:lnTo>
                    <a:lnTo>
                      <a:pt x="2278" y="6888"/>
                    </a:lnTo>
                    <a:lnTo>
                      <a:pt x="961" y="6037"/>
                    </a:lnTo>
                    <a:lnTo>
                      <a:pt x="0" y="54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5" name="Freeform: Shape 4034">
                <a:extLst>
                  <a:ext uri="{FF2B5EF4-FFF2-40B4-BE49-F238E27FC236}">
                    <a16:creationId xmlns:a16="http://schemas.microsoft.com/office/drawing/2014/main" id="{039EB8EF-8A44-8AC7-346A-2F53D8ECA29D}"/>
                  </a:ext>
                </a:extLst>
              </p:cNvPr>
              <p:cNvSpPr/>
              <p:nvPr/>
            </p:nvSpPr>
            <p:spPr>
              <a:xfrm>
                <a:off x="1667036" y="3844540"/>
                <a:ext cx="647" cy="1660"/>
              </a:xfrm>
              <a:custGeom>
                <a:avLst/>
                <a:gdLst>
                  <a:gd name="connsiteX0" fmla="*/ 3980 w 6202"/>
                  <a:gd name="connsiteY0" fmla="*/ 14298 h 15917"/>
                  <a:gd name="connsiteX1" fmla="*/ 1400 w 6202"/>
                  <a:gd name="connsiteY1" fmla="*/ 15917 h 15917"/>
                  <a:gd name="connsiteX2" fmla="*/ 247 w 6202"/>
                  <a:gd name="connsiteY2" fmla="*/ 14517 h 15917"/>
                  <a:gd name="connsiteX3" fmla="*/ 933 w 6202"/>
                  <a:gd name="connsiteY3" fmla="*/ 11087 h 15917"/>
                  <a:gd name="connsiteX4" fmla="*/ 2470 w 6202"/>
                  <a:gd name="connsiteY4" fmla="*/ 8233 h 15917"/>
                  <a:gd name="connsiteX5" fmla="*/ 0 w 6202"/>
                  <a:gd name="connsiteY5" fmla="*/ 1400 h 15917"/>
                  <a:gd name="connsiteX6" fmla="*/ 823 w 6202"/>
                  <a:gd name="connsiteY6" fmla="*/ 0 h 15917"/>
                  <a:gd name="connsiteX7" fmla="*/ 3760 w 6202"/>
                  <a:gd name="connsiteY7" fmla="*/ 2223 h 15917"/>
                  <a:gd name="connsiteX8" fmla="*/ 6202 w 6202"/>
                  <a:gd name="connsiteY8" fmla="*/ 8233 h 15917"/>
                  <a:gd name="connsiteX9" fmla="*/ 3980 w 6202"/>
                  <a:gd name="connsiteY9" fmla="*/ 14298 h 15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2" h="15917">
                    <a:moveTo>
                      <a:pt x="3980" y="14298"/>
                    </a:moveTo>
                    <a:lnTo>
                      <a:pt x="1400" y="15917"/>
                    </a:lnTo>
                    <a:lnTo>
                      <a:pt x="247" y="14517"/>
                    </a:lnTo>
                    <a:lnTo>
                      <a:pt x="933" y="11087"/>
                    </a:lnTo>
                    <a:lnTo>
                      <a:pt x="2470" y="8233"/>
                    </a:lnTo>
                    <a:lnTo>
                      <a:pt x="0" y="1400"/>
                    </a:lnTo>
                    <a:lnTo>
                      <a:pt x="823" y="0"/>
                    </a:lnTo>
                    <a:lnTo>
                      <a:pt x="3760" y="2223"/>
                    </a:lnTo>
                    <a:lnTo>
                      <a:pt x="6202" y="8233"/>
                    </a:lnTo>
                    <a:lnTo>
                      <a:pt x="3980" y="142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6" name="Freeform: Shape 4035">
                <a:extLst>
                  <a:ext uri="{FF2B5EF4-FFF2-40B4-BE49-F238E27FC236}">
                    <a16:creationId xmlns:a16="http://schemas.microsoft.com/office/drawing/2014/main" id="{C18A88C9-9DC1-2003-5BAD-4257C4DF84F1}"/>
                  </a:ext>
                </a:extLst>
              </p:cNvPr>
              <p:cNvSpPr/>
              <p:nvPr/>
            </p:nvSpPr>
            <p:spPr>
              <a:xfrm>
                <a:off x="1670651" y="3850625"/>
                <a:ext cx="962" cy="1073"/>
              </a:xfrm>
              <a:custGeom>
                <a:avLst/>
                <a:gdLst>
                  <a:gd name="connsiteX0" fmla="*/ 906 w 9221"/>
                  <a:gd name="connsiteY0" fmla="*/ 27 h 10291"/>
                  <a:gd name="connsiteX1" fmla="*/ 2579 w 9221"/>
                  <a:gd name="connsiteY1" fmla="*/ 137 h 10291"/>
                  <a:gd name="connsiteX2" fmla="*/ 5461 w 9221"/>
                  <a:gd name="connsiteY2" fmla="*/ 2388 h 10291"/>
                  <a:gd name="connsiteX3" fmla="*/ 5818 w 9221"/>
                  <a:gd name="connsiteY3" fmla="*/ 4666 h 10291"/>
                  <a:gd name="connsiteX4" fmla="*/ 7602 w 9221"/>
                  <a:gd name="connsiteY4" fmla="*/ 6888 h 10291"/>
                  <a:gd name="connsiteX5" fmla="*/ 9221 w 9221"/>
                  <a:gd name="connsiteY5" fmla="*/ 9303 h 10291"/>
                  <a:gd name="connsiteX6" fmla="*/ 8315 w 9221"/>
                  <a:gd name="connsiteY6" fmla="*/ 10291 h 10291"/>
                  <a:gd name="connsiteX7" fmla="*/ 1811 w 9221"/>
                  <a:gd name="connsiteY7" fmla="*/ 6888 h 10291"/>
                  <a:gd name="connsiteX8" fmla="*/ 0 w 9221"/>
                  <a:gd name="connsiteY8" fmla="*/ 3403 h 10291"/>
                  <a:gd name="connsiteX9" fmla="*/ 1400 w 9221"/>
                  <a:gd name="connsiteY9" fmla="*/ 1674 h 10291"/>
                  <a:gd name="connsiteX10" fmla="*/ 933 w 9221"/>
                  <a:gd name="connsiteY10" fmla="*/ 0 h 1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21" h="10291">
                    <a:moveTo>
                      <a:pt x="906" y="27"/>
                    </a:moveTo>
                    <a:lnTo>
                      <a:pt x="2579" y="137"/>
                    </a:lnTo>
                    <a:lnTo>
                      <a:pt x="5461" y="2388"/>
                    </a:lnTo>
                    <a:lnTo>
                      <a:pt x="5818" y="4666"/>
                    </a:lnTo>
                    <a:lnTo>
                      <a:pt x="7602" y="6888"/>
                    </a:lnTo>
                    <a:lnTo>
                      <a:pt x="9221" y="9303"/>
                    </a:lnTo>
                    <a:lnTo>
                      <a:pt x="8315" y="10291"/>
                    </a:lnTo>
                    <a:lnTo>
                      <a:pt x="1811" y="6888"/>
                    </a:lnTo>
                    <a:lnTo>
                      <a:pt x="0" y="3403"/>
                    </a:lnTo>
                    <a:lnTo>
                      <a:pt x="1400" y="1674"/>
                    </a:lnTo>
                    <a:lnTo>
                      <a:pt x="933"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7" name="Freeform: Shape 4036">
                <a:extLst>
                  <a:ext uri="{FF2B5EF4-FFF2-40B4-BE49-F238E27FC236}">
                    <a16:creationId xmlns:a16="http://schemas.microsoft.com/office/drawing/2014/main" id="{CB2763C6-3821-D035-4E1A-6FF9617EF93F}"/>
                  </a:ext>
                </a:extLst>
              </p:cNvPr>
              <p:cNvSpPr/>
              <p:nvPr/>
            </p:nvSpPr>
            <p:spPr>
              <a:xfrm>
                <a:off x="1678576" y="3860697"/>
                <a:ext cx="950" cy="612"/>
              </a:xfrm>
              <a:custGeom>
                <a:avLst/>
                <a:gdLst>
                  <a:gd name="connsiteX0" fmla="*/ 27 w 9111"/>
                  <a:gd name="connsiteY0" fmla="*/ 1838 h 5872"/>
                  <a:gd name="connsiteX1" fmla="*/ 1866 w 9111"/>
                  <a:gd name="connsiteY1" fmla="*/ 0 h 5872"/>
                  <a:gd name="connsiteX2" fmla="*/ 8645 w 9111"/>
                  <a:gd name="connsiteY2" fmla="*/ 2964 h 5872"/>
                  <a:gd name="connsiteX3" fmla="*/ 9111 w 9111"/>
                  <a:gd name="connsiteY3" fmla="*/ 4638 h 5872"/>
                  <a:gd name="connsiteX4" fmla="*/ 5160 w 9111"/>
                  <a:gd name="connsiteY4" fmla="*/ 5873 h 5872"/>
                  <a:gd name="connsiteX5" fmla="*/ 0 w 9111"/>
                  <a:gd name="connsiteY5" fmla="*/ 1838 h 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11" h="5872">
                    <a:moveTo>
                      <a:pt x="27" y="1838"/>
                    </a:moveTo>
                    <a:lnTo>
                      <a:pt x="1866" y="0"/>
                    </a:lnTo>
                    <a:lnTo>
                      <a:pt x="8645" y="2964"/>
                    </a:lnTo>
                    <a:lnTo>
                      <a:pt x="9111" y="4638"/>
                    </a:lnTo>
                    <a:lnTo>
                      <a:pt x="5160" y="5873"/>
                    </a:lnTo>
                    <a:lnTo>
                      <a:pt x="0"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8" name="Freeform: Shape 4037">
                <a:extLst>
                  <a:ext uri="{FF2B5EF4-FFF2-40B4-BE49-F238E27FC236}">
                    <a16:creationId xmlns:a16="http://schemas.microsoft.com/office/drawing/2014/main" id="{1EA546D3-15DF-4EA4-E559-93367308FE01}"/>
                  </a:ext>
                </a:extLst>
              </p:cNvPr>
              <p:cNvSpPr/>
              <p:nvPr/>
            </p:nvSpPr>
            <p:spPr>
              <a:xfrm>
                <a:off x="1688108" y="3864885"/>
                <a:ext cx="730" cy="587"/>
              </a:xfrm>
              <a:custGeom>
                <a:avLst/>
                <a:gdLst>
                  <a:gd name="connsiteX0" fmla="*/ 0 w 6998"/>
                  <a:gd name="connsiteY0" fmla="*/ 3403 h 5625"/>
                  <a:gd name="connsiteX1" fmla="*/ 2168 w 6998"/>
                  <a:gd name="connsiteY1" fmla="*/ 2470 h 5625"/>
                  <a:gd name="connsiteX2" fmla="*/ 4803 w 6998"/>
                  <a:gd name="connsiteY2" fmla="*/ 0 h 5625"/>
                  <a:gd name="connsiteX3" fmla="*/ 6998 w 6998"/>
                  <a:gd name="connsiteY3" fmla="*/ 5214 h 5625"/>
                  <a:gd name="connsiteX4" fmla="*/ 2607 w 6998"/>
                  <a:gd name="connsiteY4" fmla="*/ 4775 h 5625"/>
                  <a:gd name="connsiteX5" fmla="*/ 933 w 6998"/>
                  <a:gd name="connsiteY5" fmla="*/ 5626 h 5625"/>
                  <a:gd name="connsiteX6" fmla="*/ 0 w 6998"/>
                  <a:gd name="connsiteY6" fmla="*/ 3403 h 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8" h="5625">
                    <a:moveTo>
                      <a:pt x="0" y="3403"/>
                    </a:moveTo>
                    <a:lnTo>
                      <a:pt x="2168" y="2470"/>
                    </a:lnTo>
                    <a:lnTo>
                      <a:pt x="4803" y="0"/>
                    </a:lnTo>
                    <a:lnTo>
                      <a:pt x="6998" y="5214"/>
                    </a:lnTo>
                    <a:lnTo>
                      <a:pt x="2607" y="4775"/>
                    </a:lnTo>
                    <a:lnTo>
                      <a:pt x="933" y="5626"/>
                    </a:lnTo>
                    <a:lnTo>
                      <a:pt x="0"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39" name="Freeform: Shape 4038">
                <a:extLst>
                  <a:ext uri="{FF2B5EF4-FFF2-40B4-BE49-F238E27FC236}">
                    <a16:creationId xmlns:a16="http://schemas.microsoft.com/office/drawing/2014/main" id="{66378CE1-8AC5-435E-1FD7-2888CAF7111E}"/>
                  </a:ext>
                </a:extLst>
              </p:cNvPr>
              <p:cNvSpPr/>
              <p:nvPr/>
            </p:nvSpPr>
            <p:spPr>
              <a:xfrm>
                <a:off x="1718921" y="3865500"/>
                <a:ext cx="970" cy="412"/>
              </a:xfrm>
              <a:custGeom>
                <a:avLst/>
                <a:gdLst>
                  <a:gd name="connsiteX0" fmla="*/ 0 w 9303"/>
                  <a:gd name="connsiteY0" fmla="*/ 1647 h 3951"/>
                  <a:gd name="connsiteX1" fmla="*/ 933 w 9303"/>
                  <a:gd name="connsiteY1" fmla="*/ 247 h 3951"/>
                  <a:gd name="connsiteX2" fmla="*/ 3430 w 9303"/>
                  <a:gd name="connsiteY2" fmla="*/ 0 h 3951"/>
                  <a:gd name="connsiteX3" fmla="*/ 4666 w 9303"/>
                  <a:gd name="connsiteY3" fmla="*/ 110 h 3951"/>
                  <a:gd name="connsiteX4" fmla="*/ 6093 w 9303"/>
                  <a:gd name="connsiteY4" fmla="*/ 247 h 3951"/>
                  <a:gd name="connsiteX5" fmla="*/ 8810 w 9303"/>
                  <a:gd name="connsiteY5" fmla="*/ 1647 h 3951"/>
                  <a:gd name="connsiteX6" fmla="*/ 9304 w 9303"/>
                  <a:gd name="connsiteY6" fmla="*/ 2744 h 3951"/>
                  <a:gd name="connsiteX7" fmla="*/ 7931 w 9303"/>
                  <a:gd name="connsiteY7" fmla="*/ 3348 h 3951"/>
                  <a:gd name="connsiteX8" fmla="*/ 6093 w 9303"/>
                  <a:gd name="connsiteY8" fmla="*/ 2140 h 3951"/>
                  <a:gd name="connsiteX9" fmla="*/ 4666 w 9303"/>
                  <a:gd name="connsiteY9" fmla="*/ 3101 h 3951"/>
                  <a:gd name="connsiteX10" fmla="*/ 3430 w 9303"/>
                  <a:gd name="connsiteY10" fmla="*/ 3952 h 3951"/>
                  <a:gd name="connsiteX11" fmla="*/ 2415 w 9303"/>
                  <a:gd name="connsiteY11" fmla="*/ 3952 h 3951"/>
                  <a:gd name="connsiteX12" fmla="*/ 0 w 9303"/>
                  <a:gd name="connsiteY12" fmla="*/ 1647 h 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03" h="3951">
                    <a:moveTo>
                      <a:pt x="0" y="1647"/>
                    </a:moveTo>
                    <a:lnTo>
                      <a:pt x="933" y="247"/>
                    </a:lnTo>
                    <a:lnTo>
                      <a:pt x="3430" y="0"/>
                    </a:lnTo>
                    <a:lnTo>
                      <a:pt x="4666" y="110"/>
                    </a:lnTo>
                    <a:lnTo>
                      <a:pt x="6093" y="247"/>
                    </a:lnTo>
                    <a:lnTo>
                      <a:pt x="8810" y="1647"/>
                    </a:lnTo>
                    <a:lnTo>
                      <a:pt x="9304" y="2744"/>
                    </a:lnTo>
                    <a:lnTo>
                      <a:pt x="7931" y="3348"/>
                    </a:lnTo>
                    <a:lnTo>
                      <a:pt x="6093" y="2140"/>
                    </a:lnTo>
                    <a:lnTo>
                      <a:pt x="4666" y="3101"/>
                    </a:lnTo>
                    <a:lnTo>
                      <a:pt x="3430" y="3952"/>
                    </a:lnTo>
                    <a:lnTo>
                      <a:pt x="2415" y="3952"/>
                    </a:lnTo>
                    <a:cubicBezTo>
                      <a:pt x="2415" y="3952"/>
                      <a:pt x="0" y="1647"/>
                      <a:pt x="0" y="1647"/>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0" name="Freeform: Shape 4039">
                <a:extLst>
                  <a:ext uri="{FF2B5EF4-FFF2-40B4-BE49-F238E27FC236}">
                    <a16:creationId xmlns:a16="http://schemas.microsoft.com/office/drawing/2014/main" id="{D2EFDDF2-1063-1D6E-98BF-8D9CB36B95EB}"/>
                  </a:ext>
                </a:extLst>
              </p:cNvPr>
              <p:cNvSpPr/>
              <p:nvPr/>
            </p:nvSpPr>
            <p:spPr>
              <a:xfrm>
                <a:off x="1682452" y="3841677"/>
                <a:ext cx="475" cy="827"/>
              </a:xfrm>
              <a:custGeom>
                <a:avLst/>
                <a:gdLst>
                  <a:gd name="connsiteX0" fmla="*/ 2552 w 4555"/>
                  <a:gd name="connsiteY0" fmla="*/ 2251 h 7931"/>
                  <a:gd name="connsiteX1" fmla="*/ 4555 w 4555"/>
                  <a:gd name="connsiteY1" fmla="*/ 5242 h 7931"/>
                  <a:gd name="connsiteX2" fmla="*/ 2634 w 4555"/>
                  <a:gd name="connsiteY2" fmla="*/ 7931 h 7931"/>
                  <a:gd name="connsiteX3" fmla="*/ 1070 w 4555"/>
                  <a:gd name="connsiteY3" fmla="*/ 6861 h 7931"/>
                  <a:gd name="connsiteX4" fmla="*/ 0 w 4555"/>
                  <a:gd name="connsiteY4" fmla="*/ 3732 h 7931"/>
                  <a:gd name="connsiteX5" fmla="*/ 741 w 4555"/>
                  <a:gd name="connsiteY5" fmla="*/ 961 h 7931"/>
                  <a:gd name="connsiteX6" fmla="*/ 2552 w 4555"/>
                  <a:gd name="connsiteY6" fmla="*/ 0 h 7931"/>
                  <a:gd name="connsiteX7" fmla="*/ 3869 w 4555"/>
                  <a:gd name="connsiteY7" fmla="*/ 1290 h 7931"/>
                  <a:gd name="connsiteX8" fmla="*/ 2552 w 4555"/>
                  <a:gd name="connsiteY8" fmla="*/ 2278 h 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5" h="7931">
                    <a:moveTo>
                      <a:pt x="2552" y="2251"/>
                    </a:moveTo>
                    <a:lnTo>
                      <a:pt x="4555" y="5242"/>
                    </a:lnTo>
                    <a:lnTo>
                      <a:pt x="2634" y="7931"/>
                    </a:lnTo>
                    <a:lnTo>
                      <a:pt x="1070" y="6861"/>
                    </a:lnTo>
                    <a:lnTo>
                      <a:pt x="0" y="3732"/>
                    </a:lnTo>
                    <a:lnTo>
                      <a:pt x="741" y="961"/>
                    </a:lnTo>
                    <a:lnTo>
                      <a:pt x="2552" y="0"/>
                    </a:lnTo>
                    <a:lnTo>
                      <a:pt x="3869" y="1290"/>
                    </a:lnTo>
                    <a:lnTo>
                      <a:pt x="2552" y="22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1" name="Freeform: Shape 4040">
                <a:extLst>
                  <a:ext uri="{FF2B5EF4-FFF2-40B4-BE49-F238E27FC236}">
                    <a16:creationId xmlns:a16="http://schemas.microsoft.com/office/drawing/2014/main" id="{E2C6C665-4A3A-DAC2-0035-F893B9218094}"/>
                  </a:ext>
                </a:extLst>
              </p:cNvPr>
              <p:cNvSpPr/>
              <p:nvPr/>
            </p:nvSpPr>
            <p:spPr>
              <a:xfrm>
                <a:off x="1667591" y="3843893"/>
                <a:ext cx="1016" cy="361"/>
              </a:xfrm>
              <a:custGeom>
                <a:avLst/>
                <a:gdLst>
                  <a:gd name="connsiteX0" fmla="*/ 27 w 9742"/>
                  <a:gd name="connsiteY0" fmla="*/ 1482 h 3457"/>
                  <a:gd name="connsiteX1" fmla="*/ 2882 w 9742"/>
                  <a:gd name="connsiteY1" fmla="*/ 0 h 3457"/>
                  <a:gd name="connsiteX2" fmla="*/ 6230 w 9742"/>
                  <a:gd name="connsiteY2" fmla="*/ 631 h 3457"/>
                  <a:gd name="connsiteX3" fmla="*/ 8644 w 9742"/>
                  <a:gd name="connsiteY3" fmla="*/ 220 h 3457"/>
                  <a:gd name="connsiteX4" fmla="*/ 9742 w 9742"/>
                  <a:gd name="connsiteY4" fmla="*/ 2058 h 3457"/>
                  <a:gd name="connsiteX5" fmla="*/ 4336 w 9742"/>
                  <a:gd name="connsiteY5" fmla="*/ 3458 h 3457"/>
                  <a:gd name="connsiteX6" fmla="*/ 411 w 9742"/>
                  <a:gd name="connsiteY6" fmla="*/ 2662 h 3457"/>
                  <a:gd name="connsiteX7" fmla="*/ 0 w 9742"/>
                  <a:gd name="connsiteY7" fmla="*/ 1482 h 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42" h="3457">
                    <a:moveTo>
                      <a:pt x="27" y="1482"/>
                    </a:moveTo>
                    <a:lnTo>
                      <a:pt x="2882" y="0"/>
                    </a:lnTo>
                    <a:lnTo>
                      <a:pt x="6230" y="631"/>
                    </a:lnTo>
                    <a:lnTo>
                      <a:pt x="8644" y="220"/>
                    </a:lnTo>
                    <a:lnTo>
                      <a:pt x="9742" y="2058"/>
                    </a:lnTo>
                    <a:lnTo>
                      <a:pt x="4336" y="3458"/>
                    </a:lnTo>
                    <a:lnTo>
                      <a:pt x="411" y="2662"/>
                    </a:lnTo>
                    <a:lnTo>
                      <a:pt x="0"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2" name="Freeform: Shape 4041">
                <a:extLst>
                  <a:ext uri="{FF2B5EF4-FFF2-40B4-BE49-F238E27FC236}">
                    <a16:creationId xmlns:a16="http://schemas.microsoft.com/office/drawing/2014/main" id="{6951CEDF-C33F-390F-F421-700760E16AC7}"/>
                  </a:ext>
                </a:extLst>
              </p:cNvPr>
              <p:cNvSpPr/>
              <p:nvPr/>
            </p:nvSpPr>
            <p:spPr>
              <a:xfrm>
                <a:off x="1667307" y="3839141"/>
                <a:ext cx="690" cy="509"/>
              </a:xfrm>
              <a:custGeom>
                <a:avLst/>
                <a:gdLst>
                  <a:gd name="connsiteX0" fmla="*/ 0 w 6613"/>
                  <a:gd name="connsiteY0" fmla="*/ 1894 h 4884"/>
                  <a:gd name="connsiteX1" fmla="*/ 1125 w 6613"/>
                  <a:gd name="connsiteY1" fmla="*/ 0 h 4884"/>
                  <a:gd name="connsiteX2" fmla="*/ 4062 w 6613"/>
                  <a:gd name="connsiteY2" fmla="*/ 2168 h 4884"/>
                  <a:gd name="connsiteX3" fmla="*/ 5159 w 6613"/>
                  <a:gd name="connsiteY3" fmla="*/ 1125 h 4884"/>
                  <a:gd name="connsiteX4" fmla="*/ 6614 w 6613"/>
                  <a:gd name="connsiteY4" fmla="*/ 3815 h 4884"/>
                  <a:gd name="connsiteX5" fmla="*/ 4171 w 6613"/>
                  <a:gd name="connsiteY5" fmla="*/ 4885 h 4884"/>
                  <a:gd name="connsiteX6" fmla="*/ 0 w 6613"/>
                  <a:gd name="connsiteY6" fmla="*/ 1894 h 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3" h="4884">
                    <a:moveTo>
                      <a:pt x="0" y="1894"/>
                    </a:moveTo>
                    <a:lnTo>
                      <a:pt x="1125" y="0"/>
                    </a:lnTo>
                    <a:lnTo>
                      <a:pt x="4062" y="2168"/>
                    </a:lnTo>
                    <a:lnTo>
                      <a:pt x="5159" y="1125"/>
                    </a:lnTo>
                    <a:lnTo>
                      <a:pt x="6614" y="3815"/>
                    </a:lnTo>
                    <a:lnTo>
                      <a:pt x="4171" y="4885"/>
                    </a:lnTo>
                    <a:lnTo>
                      <a:pt x="0" y="1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3" name="Freeform: Shape 4042">
                <a:extLst>
                  <a:ext uri="{FF2B5EF4-FFF2-40B4-BE49-F238E27FC236}">
                    <a16:creationId xmlns:a16="http://schemas.microsoft.com/office/drawing/2014/main" id="{E727F05C-E587-5D92-7BAD-1C6F44DCD227}"/>
                  </a:ext>
                </a:extLst>
              </p:cNvPr>
              <p:cNvSpPr/>
              <p:nvPr/>
            </p:nvSpPr>
            <p:spPr>
              <a:xfrm>
                <a:off x="1663504" y="3837590"/>
                <a:ext cx="584" cy="598"/>
              </a:xfrm>
              <a:custGeom>
                <a:avLst/>
                <a:gdLst>
                  <a:gd name="connsiteX0" fmla="*/ 0 w 5598"/>
                  <a:gd name="connsiteY0" fmla="*/ 851 h 5735"/>
                  <a:gd name="connsiteX1" fmla="*/ 3595 w 5598"/>
                  <a:gd name="connsiteY1" fmla="*/ 0 h 5735"/>
                  <a:gd name="connsiteX2" fmla="*/ 5598 w 5598"/>
                  <a:gd name="connsiteY2" fmla="*/ 4308 h 5735"/>
                  <a:gd name="connsiteX3" fmla="*/ 4610 w 5598"/>
                  <a:gd name="connsiteY3" fmla="*/ 5735 h 5735"/>
                  <a:gd name="connsiteX4" fmla="*/ 0 w 5598"/>
                  <a:gd name="connsiteY4" fmla="*/ 851 h 5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5735">
                    <a:moveTo>
                      <a:pt x="0" y="851"/>
                    </a:moveTo>
                    <a:lnTo>
                      <a:pt x="3595" y="0"/>
                    </a:lnTo>
                    <a:lnTo>
                      <a:pt x="5598" y="4308"/>
                    </a:lnTo>
                    <a:lnTo>
                      <a:pt x="4610" y="5735"/>
                    </a:lnTo>
                    <a:lnTo>
                      <a:pt x="0" y="8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4" name="Freeform: Shape 4043">
                <a:extLst>
                  <a:ext uri="{FF2B5EF4-FFF2-40B4-BE49-F238E27FC236}">
                    <a16:creationId xmlns:a16="http://schemas.microsoft.com/office/drawing/2014/main" id="{CA782DE9-9F9B-6C5B-89DA-03AE2B70246D}"/>
                  </a:ext>
                </a:extLst>
              </p:cNvPr>
              <p:cNvSpPr/>
              <p:nvPr/>
            </p:nvSpPr>
            <p:spPr>
              <a:xfrm>
                <a:off x="1685463" y="3842885"/>
                <a:ext cx="498" cy="549"/>
              </a:xfrm>
              <a:custGeom>
                <a:avLst/>
                <a:gdLst>
                  <a:gd name="connsiteX0" fmla="*/ 3073 w 4775"/>
                  <a:gd name="connsiteY0" fmla="*/ 2305 h 5268"/>
                  <a:gd name="connsiteX1" fmla="*/ 4775 w 4775"/>
                  <a:gd name="connsiteY1" fmla="*/ 4089 h 5268"/>
                  <a:gd name="connsiteX2" fmla="*/ 4007 w 4775"/>
                  <a:gd name="connsiteY2" fmla="*/ 5269 h 5268"/>
                  <a:gd name="connsiteX3" fmla="*/ 933 w 4775"/>
                  <a:gd name="connsiteY3" fmla="*/ 4062 h 5268"/>
                  <a:gd name="connsiteX4" fmla="*/ 0 w 4775"/>
                  <a:gd name="connsiteY4" fmla="*/ 1372 h 5268"/>
                  <a:gd name="connsiteX5" fmla="*/ 1866 w 4775"/>
                  <a:gd name="connsiteY5" fmla="*/ 0 h 5268"/>
                  <a:gd name="connsiteX6" fmla="*/ 3019 w 4775"/>
                  <a:gd name="connsiteY6" fmla="*/ 0 h 5268"/>
                  <a:gd name="connsiteX7" fmla="*/ 3733 w 4775"/>
                  <a:gd name="connsiteY7" fmla="*/ 1235 h 5268"/>
                  <a:gd name="connsiteX8" fmla="*/ 3128 w 4775"/>
                  <a:gd name="connsiteY8" fmla="*/ 2305 h 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 h="5268">
                    <a:moveTo>
                      <a:pt x="3073" y="2305"/>
                    </a:moveTo>
                    <a:lnTo>
                      <a:pt x="4775" y="4089"/>
                    </a:lnTo>
                    <a:lnTo>
                      <a:pt x="4007" y="5269"/>
                    </a:lnTo>
                    <a:lnTo>
                      <a:pt x="933" y="4062"/>
                    </a:lnTo>
                    <a:lnTo>
                      <a:pt x="0" y="1372"/>
                    </a:lnTo>
                    <a:lnTo>
                      <a:pt x="1866" y="0"/>
                    </a:lnTo>
                    <a:lnTo>
                      <a:pt x="3019" y="0"/>
                    </a:lnTo>
                    <a:lnTo>
                      <a:pt x="3733" y="1235"/>
                    </a:lnTo>
                    <a:lnTo>
                      <a:pt x="3128" y="23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5" name="Freeform: Shape 4044">
                <a:extLst>
                  <a:ext uri="{FF2B5EF4-FFF2-40B4-BE49-F238E27FC236}">
                    <a16:creationId xmlns:a16="http://schemas.microsoft.com/office/drawing/2014/main" id="{1A935B92-E4EC-7E0F-3E94-96C5B288BAEB}"/>
                  </a:ext>
                </a:extLst>
              </p:cNvPr>
              <p:cNvSpPr/>
              <p:nvPr/>
            </p:nvSpPr>
            <p:spPr>
              <a:xfrm>
                <a:off x="1694743" y="3853109"/>
                <a:ext cx="481" cy="484"/>
              </a:xfrm>
              <a:custGeom>
                <a:avLst/>
                <a:gdLst>
                  <a:gd name="connsiteX0" fmla="*/ 0 w 4610"/>
                  <a:gd name="connsiteY0" fmla="*/ 1647 h 4637"/>
                  <a:gd name="connsiteX1" fmla="*/ 220 w 4610"/>
                  <a:gd name="connsiteY1" fmla="*/ 0 h 4637"/>
                  <a:gd name="connsiteX2" fmla="*/ 4611 w 4610"/>
                  <a:gd name="connsiteY2" fmla="*/ 82 h 4637"/>
                  <a:gd name="connsiteX3" fmla="*/ 2086 w 4610"/>
                  <a:gd name="connsiteY3" fmla="*/ 4638 h 4637"/>
                  <a:gd name="connsiteX4" fmla="*/ 0 w 4610"/>
                  <a:gd name="connsiteY4" fmla="*/ 1619 h 4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4637">
                    <a:moveTo>
                      <a:pt x="0" y="1647"/>
                    </a:moveTo>
                    <a:lnTo>
                      <a:pt x="220" y="0"/>
                    </a:lnTo>
                    <a:lnTo>
                      <a:pt x="4611" y="82"/>
                    </a:lnTo>
                    <a:lnTo>
                      <a:pt x="2086" y="4638"/>
                    </a:lnTo>
                    <a:lnTo>
                      <a:pt x="0"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6" name="Freeform: Shape 4045">
                <a:extLst>
                  <a:ext uri="{FF2B5EF4-FFF2-40B4-BE49-F238E27FC236}">
                    <a16:creationId xmlns:a16="http://schemas.microsoft.com/office/drawing/2014/main" id="{6F9CBBE3-7B71-724D-FA08-FB55B4459512}"/>
                  </a:ext>
                </a:extLst>
              </p:cNvPr>
              <p:cNvSpPr/>
              <p:nvPr/>
            </p:nvSpPr>
            <p:spPr>
              <a:xfrm>
                <a:off x="1699165" y="3849174"/>
                <a:ext cx="524" cy="429"/>
              </a:xfrm>
              <a:custGeom>
                <a:avLst/>
                <a:gdLst>
                  <a:gd name="connsiteX0" fmla="*/ 0 w 5022"/>
                  <a:gd name="connsiteY0" fmla="*/ 3320 h 4116"/>
                  <a:gd name="connsiteX1" fmla="*/ 659 w 5022"/>
                  <a:gd name="connsiteY1" fmla="*/ 1152 h 4116"/>
                  <a:gd name="connsiteX2" fmla="*/ 2360 w 5022"/>
                  <a:gd name="connsiteY2" fmla="*/ 0 h 4116"/>
                  <a:gd name="connsiteX3" fmla="*/ 5022 w 5022"/>
                  <a:gd name="connsiteY3" fmla="*/ 1921 h 4116"/>
                  <a:gd name="connsiteX4" fmla="*/ 1812 w 5022"/>
                  <a:gd name="connsiteY4" fmla="*/ 4116 h 4116"/>
                  <a:gd name="connsiteX5" fmla="*/ 0 w 5022"/>
                  <a:gd name="connsiteY5" fmla="*/ 3320 h 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2" h="4116">
                    <a:moveTo>
                      <a:pt x="0" y="3320"/>
                    </a:moveTo>
                    <a:lnTo>
                      <a:pt x="659" y="1152"/>
                    </a:lnTo>
                    <a:lnTo>
                      <a:pt x="2360" y="0"/>
                    </a:lnTo>
                    <a:lnTo>
                      <a:pt x="5022" y="1921"/>
                    </a:lnTo>
                    <a:lnTo>
                      <a:pt x="1812" y="4116"/>
                    </a:lnTo>
                    <a:lnTo>
                      <a:pt x="0" y="33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7" name="Freeform: Shape 4046">
                <a:extLst>
                  <a:ext uri="{FF2B5EF4-FFF2-40B4-BE49-F238E27FC236}">
                    <a16:creationId xmlns:a16="http://schemas.microsoft.com/office/drawing/2014/main" id="{E63764B5-047C-2075-CA54-ED80FA629061}"/>
                  </a:ext>
                </a:extLst>
              </p:cNvPr>
              <p:cNvSpPr/>
              <p:nvPr/>
            </p:nvSpPr>
            <p:spPr>
              <a:xfrm>
                <a:off x="1682295" y="3840996"/>
                <a:ext cx="452" cy="489"/>
              </a:xfrm>
              <a:custGeom>
                <a:avLst/>
                <a:gdLst>
                  <a:gd name="connsiteX0" fmla="*/ 0 w 4336"/>
                  <a:gd name="connsiteY0" fmla="*/ 961 h 4692"/>
                  <a:gd name="connsiteX1" fmla="*/ 2553 w 4336"/>
                  <a:gd name="connsiteY1" fmla="*/ 0 h 4692"/>
                  <a:gd name="connsiteX2" fmla="*/ 4336 w 4336"/>
                  <a:gd name="connsiteY2" fmla="*/ 4062 h 4692"/>
                  <a:gd name="connsiteX3" fmla="*/ 2415 w 4336"/>
                  <a:gd name="connsiteY3" fmla="*/ 4693 h 4692"/>
                  <a:gd name="connsiteX4" fmla="*/ 27 w 4336"/>
                  <a:gd name="connsiteY4" fmla="*/ 988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4692">
                    <a:moveTo>
                      <a:pt x="0" y="961"/>
                    </a:moveTo>
                    <a:lnTo>
                      <a:pt x="2553" y="0"/>
                    </a:lnTo>
                    <a:lnTo>
                      <a:pt x="4336" y="4062"/>
                    </a:lnTo>
                    <a:lnTo>
                      <a:pt x="2415" y="4693"/>
                    </a:lnTo>
                    <a:lnTo>
                      <a:pt x="27"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8" name="Freeform: Shape 4047">
                <a:extLst>
                  <a:ext uri="{FF2B5EF4-FFF2-40B4-BE49-F238E27FC236}">
                    <a16:creationId xmlns:a16="http://schemas.microsoft.com/office/drawing/2014/main" id="{4546C35A-96A1-CCF5-7F8E-C5945D979491}"/>
                  </a:ext>
                </a:extLst>
              </p:cNvPr>
              <p:cNvSpPr/>
              <p:nvPr/>
            </p:nvSpPr>
            <p:spPr>
              <a:xfrm>
                <a:off x="1710683" y="3862069"/>
                <a:ext cx="532" cy="389"/>
              </a:xfrm>
              <a:custGeom>
                <a:avLst/>
                <a:gdLst>
                  <a:gd name="connsiteX0" fmla="*/ 4253 w 5104"/>
                  <a:gd name="connsiteY0" fmla="*/ 3513 h 3732"/>
                  <a:gd name="connsiteX1" fmla="*/ 1372 w 5104"/>
                  <a:gd name="connsiteY1" fmla="*/ 3733 h 3732"/>
                  <a:gd name="connsiteX2" fmla="*/ 0 w 5104"/>
                  <a:gd name="connsiteY2" fmla="*/ 2196 h 3732"/>
                  <a:gd name="connsiteX3" fmla="*/ 1976 w 5104"/>
                  <a:gd name="connsiteY3" fmla="*/ 0 h 3732"/>
                  <a:gd name="connsiteX4" fmla="*/ 4583 w 5104"/>
                  <a:gd name="connsiteY4" fmla="*/ 82 h 3732"/>
                  <a:gd name="connsiteX5" fmla="*/ 5104 w 5104"/>
                  <a:gd name="connsiteY5" fmla="*/ 1784 h 3732"/>
                  <a:gd name="connsiteX6" fmla="*/ 4253 w 5104"/>
                  <a:gd name="connsiteY6" fmla="*/ 3540 h 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4" h="3732">
                    <a:moveTo>
                      <a:pt x="4253" y="3513"/>
                    </a:moveTo>
                    <a:lnTo>
                      <a:pt x="1372" y="3733"/>
                    </a:lnTo>
                    <a:lnTo>
                      <a:pt x="0" y="2196"/>
                    </a:lnTo>
                    <a:lnTo>
                      <a:pt x="1976" y="0"/>
                    </a:lnTo>
                    <a:lnTo>
                      <a:pt x="4583" y="82"/>
                    </a:lnTo>
                    <a:lnTo>
                      <a:pt x="5104" y="1784"/>
                    </a:lnTo>
                    <a:lnTo>
                      <a:pt x="4253"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49" name="Freeform: Shape 4048">
                <a:extLst>
                  <a:ext uri="{FF2B5EF4-FFF2-40B4-BE49-F238E27FC236}">
                    <a16:creationId xmlns:a16="http://schemas.microsoft.com/office/drawing/2014/main" id="{168B1148-B98F-AB2C-99A5-F7AA6D07A97E}"/>
                  </a:ext>
                </a:extLst>
              </p:cNvPr>
              <p:cNvSpPr/>
              <p:nvPr/>
            </p:nvSpPr>
            <p:spPr>
              <a:xfrm>
                <a:off x="1719557" y="3871162"/>
                <a:ext cx="509" cy="412"/>
              </a:xfrm>
              <a:custGeom>
                <a:avLst/>
                <a:gdLst>
                  <a:gd name="connsiteX0" fmla="*/ 0 w 4884"/>
                  <a:gd name="connsiteY0" fmla="*/ 2196 h 3951"/>
                  <a:gd name="connsiteX1" fmla="*/ 0 w 4884"/>
                  <a:gd name="connsiteY1" fmla="*/ 0 h 3951"/>
                  <a:gd name="connsiteX2" fmla="*/ 3238 w 4884"/>
                  <a:gd name="connsiteY2" fmla="*/ 329 h 3951"/>
                  <a:gd name="connsiteX3" fmla="*/ 4884 w 4884"/>
                  <a:gd name="connsiteY3" fmla="*/ 3101 h 3951"/>
                  <a:gd name="connsiteX4" fmla="*/ 3156 w 4884"/>
                  <a:gd name="connsiteY4" fmla="*/ 3952 h 3951"/>
                  <a:gd name="connsiteX5" fmla="*/ 0 w 4884"/>
                  <a:gd name="connsiteY5" fmla="*/ 2196 h 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4" h="3951">
                    <a:moveTo>
                      <a:pt x="0" y="2196"/>
                    </a:moveTo>
                    <a:lnTo>
                      <a:pt x="0" y="0"/>
                    </a:lnTo>
                    <a:lnTo>
                      <a:pt x="3238" y="329"/>
                    </a:lnTo>
                    <a:lnTo>
                      <a:pt x="4884" y="3101"/>
                    </a:lnTo>
                    <a:lnTo>
                      <a:pt x="3156" y="3952"/>
                    </a:lnTo>
                    <a:lnTo>
                      <a:pt x="0" y="21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0" name="Freeform: Shape 4049">
                <a:extLst>
                  <a:ext uri="{FF2B5EF4-FFF2-40B4-BE49-F238E27FC236}">
                    <a16:creationId xmlns:a16="http://schemas.microsoft.com/office/drawing/2014/main" id="{6054E9AD-ADFB-F382-2341-D4AC4E374F92}"/>
                  </a:ext>
                </a:extLst>
              </p:cNvPr>
              <p:cNvSpPr/>
              <p:nvPr/>
            </p:nvSpPr>
            <p:spPr>
              <a:xfrm>
                <a:off x="1683554" y="3841743"/>
                <a:ext cx="630" cy="312"/>
              </a:xfrm>
              <a:custGeom>
                <a:avLst/>
                <a:gdLst>
                  <a:gd name="connsiteX0" fmla="*/ 27 w 6037"/>
                  <a:gd name="connsiteY0" fmla="*/ 1097 h 2991"/>
                  <a:gd name="connsiteX1" fmla="*/ 1097 w 6037"/>
                  <a:gd name="connsiteY1" fmla="*/ 0 h 2991"/>
                  <a:gd name="connsiteX2" fmla="*/ 4253 w 6037"/>
                  <a:gd name="connsiteY2" fmla="*/ 192 h 2991"/>
                  <a:gd name="connsiteX3" fmla="*/ 6037 w 6037"/>
                  <a:gd name="connsiteY3" fmla="*/ 2415 h 2991"/>
                  <a:gd name="connsiteX4" fmla="*/ 4775 w 6037"/>
                  <a:gd name="connsiteY4" fmla="*/ 2991 h 2991"/>
                  <a:gd name="connsiteX5" fmla="*/ 4253 w 6037"/>
                  <a:gd name="connsiteY5" fmla="*/ 1921 h 2991"/>
                  <a:gd name="connsiteX6" fmla="*/ 2634 w 6037"/>
                  <a:gd name="connsiteY6" fmla="*/ 2936 h 2991"/>
                  <a:gd name="connsiteX7" fmla="*/ 0 w 6037"/>
                  <a:gd name="connsiteY7" fmla="*/ 1097 h 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37" h="2991">
                    <a:moveTo>
                      <a:pt x="27" y="1097"/>
                    </a:moveTo>
                    <a:lnTo>
                      <a:pt x="1097" y="0"/>
                    </a:lnTo>
                    <a:lnTo>
                      <a:pt x="4253" y="192"/>
                    </a:lnTo>
                    <a:lnTo>
                      <a:pt x="6037" y="2415"/>
                    </a:lnTo>
                    <a:lnTo>
                      <a:pt x="4775" y="2991"/>
                    </a:lnTo>
                    <a:lnTo>
                      <a:pt x="4253" y="1921"/>
                    </a:lnTo>
                    <a:lnTo>
                      <a:pt x="2634" y="2936"/>
                    </a:lnTo>
                    <a:lnTo>
                      <a:pt x="0" y="10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1" name="Freeform: Shape 4050">
                <a:extLst>
                  <a:ext uri="{FF2B5EF4-FFF2-40B4-BE49-F238E27FC236}">
                    <a16:creationId xmlns:a16="http://schemas.microsoft.com/office/drawing/2014/main" id="{7221AF03-459B-3AF8-6CD2-85EF10BF1E82}"/>
                  </a:ext>
                </a:extLst>
              </p:cNvPr>
              <p:cNvSpPr/>
              <p:nvPr/>
            </p:nvSpPr>
            <p:spPr>
              <a:xfrm>
                <a:off x="1685297" y="3843455"/>
                <a:ext cx="472" cy="358"/>
              </a:xfrm>
              <a:custGeom>
                <a:avLst/>
                <a:gdLst>
                  <a:gd name="connsiteX0" fmla="*/ 0 w 4528"/>
                  <a:gd name="connsiteY0" fmla="*/ 411 h 3430"/>
                  <a:gd name="connsiteX1" fmla="*/ 1153 w 4528"/>
                  <a:gd name="connsiteY1" fmla="*/ 0 h 3430"/>
                  <a:gd name="connsiteX2" fmla="*/ 4528 w 4528"/>
                  <a:gd name="connsiteY2" fmla="*/ 2086 h 3430"/>
                  <a:gd name="connsiteX3" fmla="*/ 3513 w 4528"/>
                  <a:gd name="connsiteY3" fmla="*/ 3430 h 3430"/>
                  <a:gd name="connsiteX4" fmla="*/ 1976 w 4528"/>
                  <a:gd name="connsiteY4" fmla="*/ 2799 h 3430"/>
                  <a:gd name="connsiteX5" fmla="*/ 0 w 4528"/>
                  <a:gd name="connsiteY5" fmla="*/ 411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8" h="3430">
                    <a:moveTo>
                      <a:pt x="0" y="411"/>
                    </a:moveTo>
                    <a:lnTo>
                      <a:pt x="1153" y="0"/>
                    </a:lnTo>
                    <a:lnTo>
                      <a:pt x="4528" y="2086"/>
                    </a:lnTo>
                    <a:lnTo>
                      <a:pt x="3513" y="3430"/>
                    </a:lnTo>
                    <a:lnTo>
                      <a:pt x="1976" y="2799"/>
                    </a:lnTo>
                    <a:lnTo>
                      <a:pt x="0" y="4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2" name="Freeform: Shape 4051">
                <a:extLst>
                  <a:ext uri="{FF2B5EF4-FFF2-40B4-BE49-F238E27FC236}">
                    <a16:creationId xmlns:a16="http://schemas.microsoft.com/office/drawing/2014/main" id="{1AF578BE-1193-6341-5B9C-BD78765EF7E4}"/>
                  </a:ext>
                </a:extLst>
              </p:cNvPr>
              <p:cNvSpPr/>
              <p:nvPr/>
            </p:nvSpPr>
            <p:spPr>
              <a:xfrm>
                <a:off x="1720352" y="3866311"/>
                <a:ext cx="467" cy="363"/>
              </a:xfrm>
              <a:custGeom>
                <a:avLst/>
                <a:gdLst>
                  <a:gd name="connsiteX0" fmla="*/ 0 w 4473"/>
                  <a:gd name="connsiteY0" fmla="*/ 1098 h 3485"/>
                  <a:gd name="connsiteX1" fmla="*/ 851 w 4473"/>
                  <a:gd name="connsiteY1" fmla="*/ 0 h 3485"/>
                  <a:gd name="connsiteX2" fmla="*/ 4144 w 4473"/>
                  <a:gd name="connsiteY2" fmla="*/ 1180 h 3485"/>
                  <a:gd name="connsiteX3" fmla="*/ 4474 w 4473"/>
                  <a:gd name="connsiteY3" fmla="*/ 3485 h 3485"/>
                  <a:gd name="connsiteX4" fmla="*/ 0 w 4473"/>
                  <a:gd name="connsiteY4" fmla="*/ 1098 h 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3" h="3485">
                    <a:moveTo>
                      <a:pt x="0" y="1098"/>
                    </a:moveTo>
                    <a:lnTo>
                      <a:pt x="851" y="0"/>
                    </a:lnTo>
                    <a:lnTo>
                      <a:pt x="4144" y="1180"/>
                    </a:lnTo>
                    <a:lnTo>
                      <a:pt x="4474" y="3485"/>
                    </a:lnTo>
                    <a:lnTo>
                      <a:pt x="0" y="10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3" name="Freeform: Shape 4052">
                <a:extLst>
                  <a:ext uri="{FF2B5EF4-FFF2-40B4-BE49-F238E27FC236}">
                    <a16:creationId xmlns:a16="http://schemas.microsoft.com/office/drawing/2014/main" id="{5DAB6124-5158-83F2-C225-5F6128D3A8F2}"/>
                  </a:ext>
                </a:extLst>
              </p:cNvPr>
              <p:cNvSpPr/>
              <p:nvPr/>
            </p:nvSpPr>
            <p:spPr>
              <a:xfrm>
                <a:off x="1699074" y="3835254"/>
                <a:ext cx="358" cy="467"/>
              </a:xfrm>
              <a:custGeom>
                <a:avLst/>
                <a:gdLst>
                  <a:gd name="connsiteX0" fmla="*/ 3156 w 3430"/>
                  <a:gd name="connsiteY0" fmla="*/ 3403 h 4473"/>
                  <a:gd name="connsiteX1" fmla="*/ 1207 w 3430"/>
                  <a:gd name="connsiteY1" fmla="*/ 4473 h 4473"/>
                  <a:gd name="connsiteX2" fmla="*/ 0 w 3430"/>
                  <a:gd name="connsiteY2" fmla="*/ 3458 h 4473"/>
                  <a:gd name="connsiteX3" fmla="*/ 1921 w 3430"/>
                  <a:gd name="connsiteY3" fmla="*/ 0 h 4473"/>
                  <a:gd name="connsiteX4" fmla="*/ 3430 w 3430"/>
                  <a:gd name="connsiteY4" fmla="*/ 164 h 4473"/>
                  <a:gd name="connsiteX5" fmla="*/ 3156 w 3430"/>
                  <a:gd name="connsiteY5" fmla="*/ 3403 h 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30" h="4473">
                    <a:moveTo>
                      <a:pt x="3156" y="3403"/>
                    </a:moveTo>
                    <a:lnTo>
                      <a:pt x="1207" y="4473"/>
                    </a:lnTo>
                    <a:lnTo>
                      <a:pt x="0" y="3458"/>
                    </a:lnTo>
                    <a:lnTo>
                      <a:pt x="1921" y="0"/>
                    </a:lnTo>
                    <a:lnTo>
                      <a:pt x="3430" y="164"/>
                    </a:lnTo>
                    <a:lnTo>
                      <a:pt x="3156"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4" name="Freeform: Shape 4053">
                <a:extLst>
                  <a:ext uri="{FF2B5EF4-FFF2-40B4-BE49-F238E27FC236}">
                    <a16:creationId xmlns:a16="http://schemas.microsoft.com/office/drawing/2014/main" id="{DF787061-A58F-B5D1-19DC-9EDA9CFCFFB4}"/>
                  </a:ext>
                </a:extLst>
              </p:cNvPr>
              <p:cNvSpPr/>
              <p:nvPr/>
            </p:nvSpPr>
            <p:spPr>
              <a:xfrm>
                <a:off x="1657581" y="3826364"/>
                <a:ext cx="418" cy="392"/>
              </a:xfrm>
              <a:custGeom>
                <a:avLst/>
                <a:gdLst>
                  <a:gd name="connsiteX0" fmla="*/ 0 w 4006"/>
                  <a:gd name="connsiteY0" fmla="*/ 1866 h 3759"/>
                  <a:gd name="connsiteX1" fmla="*/ 2881 w 4006"/>
                  <a:gd name="connsiteY1" fmla="*/ 0 h 3759"/>
                  <a:gd name="connsiteX2" fmla="*/ 4007 w 4006"/>
                  <a:gd name="connsiteY2" fmla="*/ 2415 h 3759"/>
                  <a:gd name="connsiteX3" fmla="*/ 2195 w 4006"/>
                  <a:gd name="connsiteY3" fmla="*/ 3760 h 3759"/>
                  <a:gd name="connsiteX4" fmla="*/ 0 w 4006"/>
                  <a:gd name="connsiteY4" fmla="*/ 1894 h 3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3759">
                    <a:moveTo>
                      <a:pt x="0" y="1866"/>
                    </a:moveTo>
                    <a:lnTo>
                      <a:pt x="2881" y="0"/>
                    </a:lnTo>
                    <a:lnTo>
                      <a:pt x="4007" y="2415"/>
                    </a:lnTo>
                    <a:lnTo>
                      <a:pt x="2195" y="3760"/>
                    </a:lnTo>
                    <a:lnTo>
                      <a:pt x="0" y="1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5" name="Freeform: Shape 4054">
                <a:extLst>
                  <a:ext uri="{FF2B5EF4-FFF2-40B4-BE49-F238E27FC236}">
                    <a16:creationId xmlns:a16="http://schemas.microsoft.com/office/drawing/2014/main" id="{CB7CA894-EC8C-7521-4B51-311E70704D40}"/>
                  </a:ext>
                </a:extLst>
              </p:cNvPr>
              <p:cNvSpPr/>
              <p:nvPr/>
            </p:nvSpPr>
            <p:spPr>
              <a:xfrm>
                <a:off x="1715890" y="3866119"/>
                <a:ext cx="447" cy="369"/>
              </a:xfrm>
              <a:custGeom>
                <a:avLst/>
                <a:gdLst>
                  <a:gd name="connsiteX0" fmla="*/ 0 w 4281"/>
                  <a:gd name="connsiteY0" fmla="*/ 1345 h 3540"/>
                  <a:gd name="connsiteX1" fmla="*/ 2607 w 4281"/>
                  <a:gd name="connsiteY1" fmla="*/ 0 h 3540"/>
                  <a:gd name="connsiteX2" fmla="*/ 4281 w 4281"/>
                  <a:gd name="connsiteY2" fmla="*/ 3293 h 3540"/>
                  <a:gd name="connsiteX3" fmla="*/ 988 w 4281"/>
                  <a:gd name="connsiteY3" fmla="*/ 3540 h 3540"/>
                  <a:gd name="connsiteX4" fmla="*/ 27 w 4281"/>
                  <a:gd name="connsiteY4" fmla="*/ 1345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3540">
                    <a:moveTo>
                      <a:pt x="0" y="1345"/>
                    </a:moveTo>
                    <a:lnTo>
                      <a:pt x="2607" y="0"/>
                    </a:lnTo>
                    <a:lnTo>
                      <a:pt x="4281" y="3293"/>
                    </a:lnTo>
                    <a:lnTo>
                      <a:pt x="988" y="3540"/>
                    </a:lnTo>
                    <a:lnTo>
                      <a:pt x="27" y="13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6" name="Freeform: Shape 4055">
                <a:extLst>
                  <a:ext uri="{FF2B5EF4-FFF2-40B4-BE49-F238E27FC236}">
                    <a16:creationId xmlns:a16="http://schemas.microsoft.com/office/drawing/2014/main" id="{31619C80-0A6B-B8F7-ABBD-D8831C8ADE56}"/>
                  </a:ext>
                </a:extLst>
              </p:cNvPr>
              <p:cNvSpPr/>
              <p:nvPr/>
            </p:nvSpPr>
            <p:spPr>
              <a:xfrm>
                <a:off x="1656745" y="3826650"/>
                <a:ext cx="415" cy="384"/>
              </a:xfrm>
              <a:custGeom>
                <a:avLst/>
                <a:gdLst>
                  <a:gd name="connsiteX0" fmla="*/ 27 w 3979"/>
                  <a:gd name="connsiteY0" fmla="*/ 1290 h 3677"/>
                  <a:gd name="connsiteX1" fmla="*/ 2113 w 3979"/>
                  <a:gd name="connsiteY1" fmla="*/ 0 h 3677"/>
                  <a:gd name="connsiteX2" fmla="*/ 3979 w 3979"/>
                  <a:gd name="connsiteY2" fmla="*/ 2415 h 3677"/>
                  <a:gd name="connsiteX3" fmla="*/ 2634 w 3979"/>
                  <a:gd name="connsiteY3" fmla="*/ 3678 h 3677"/>
                  <a:gd name="connsiteX4" fmla="*/ 0 w 3979"/>
                  <a:gd name="connsiteY4" fmla="*/ 1290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3677">
                    <a:moveTo>
                      <a:pt x="27" y="1290"/>
                    </a:moveTo>
                    <a:lnTo>
                      <a:pt x="2113" y="0"/>
                    </a:lnTo>
                    <a:lnTo>
                      <a:pt x="3979" y="2415"/>
                    </a:lnTo>
                    <a:lnTo>
                      <a:pt x="2634" y="3678"/>
                    </a:lnTo>
                    <a:lnTo>
                      <a:pt x="0" y="12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7" name="Freeform: Shape 4056">
                <a:extLst>
                  <a:ext uri="{FF2B5EF4-FFF2-40B4-BE49-F238E27FC236}">
                    <a16:creationId xmlns:a16="http://schemas.microsoft.com/office/drawing/2014/main" id="{A0399291-2938-D899-2A32-58AB2A2FD326}"/>
                  </a:ext>
                </a:extLst>
              </p:cNvPr>
              <p:cNvSpPr/>
              <p:nvPr/>
            </p:nvSpPr>
            <p:spPr>
              <a:xfrm>
                <a:off x="1718446" y="3871417"/>
                <a:ext cx="489" cy="329"/>
              </a:xfrm>
              <a:custGeom>
                <a:avLst/>
                <a:gdLst>
                  <a:gd name="connsiteX0" fmla="*/ 0 w 4692"/>
                  <a:gd name="connsiteY0" fmla="*/ 2141 h 3156"/>
                  <a:gd name="connsiteX1" fmla="*/ 2882 w 4692"/>
                  <a:gd name="connsiteY1" fmla="*/ 0 h 3156"/>
                  <a:gd name="connsiteX2" fmla="*/ 4693 w 4692"/>
                  <a:gd name="connsiteY2" fmla="*/ 1317 h 3156"/>
                  <a:gd name="connsiteX3" fmla="*/ 2223 w 4692"/>
                  <a:gd name="connsiteY3" fmla="*/ 3156 h 3156"/>
                  <a:gd name="connsiteX4" fmla="*/ 27 w 4692"/>
                  <a:gd name="connsiteY4" fmla="*/ 2141 h 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3156">
                    <a:moveTo>
                      <a:pt x="0" y="2141"/>
                    </a:moveTo>
                    <a:lnTo>
                      <a:pt x="2882" y="0"/>
                    </a:lnTo>
                    <a:lnTo>
                      <a:pt x="4693" y="1317"/>
                    </a:lnTo>
                    <a:lnTo>
                      <a:pt x="2223" y="3156"/>
                    </a:lnTo>
                    <a:lnTo>
                      <a:pt x="27"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8" name="Freeform: Shape 4057">
                <a:extLst>
                  <a:ext uri="{FF2B5EF4-FFF2-40B4-BE49-F238E27FC236}">
                    <a16:creationId xmlns:a16="http://schemas.microsoft.com/office/drawing/2014/main" id="{7C561DB6-297E-F715-19D4-887E8C055052}"/>
                  </a:ext>
                </a:extLst>
              </p:cNvPr>
              <p:cNvSpPr/>
              <p:nvPr/>
            </p:nvSpPr>
            <p:spPr>
              <a:xfrm>
                <a:off x="1688792" y="3862529"/>
                <a:ext cx="404" cy="389"/>
              </a:xfrm>
              <a:custGeom>
                <a:avLst/>
                <a:gdLst>
                  <a:gd name="connsiteX0" fmla="*/ 0 w 3869"/>
                  <a:gd name="connsiteY0" fmla="*/ 2333 h 3732"/>
                  <a:gd name="connsiteX1" fmla="*/ 2031 w 3869"/>
                  <a:gd name="connsiteY1" fmla="*/ 0 h 3732"/>
                  <a:gd name="connsiteX2" fmla="*/ 3870 w 3869"/>
                  <a:gd name="connsiteY2" fmla="*/ 1784 h 3732"/>
                  <a:gd name="connsiteX3" fmla="*/ 1564 w 3869"/>
                  <a:gd name="connsiteY3" fmla="*/ 3732 h 3732"/>
                  <a:gd name="connsiteX4" fmla="*/ 0 w 3869"/>
                  <a:gd name="connsiteY4" fmla="*/ 2333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3732">
                    <a:moveTo>
                      <a:pt x="0" y="2333"/>
                    </a:moveTo>
                    <a:lnTo>
                      <a:pt x="2031" y="0"/>
                    </a:lnTo>
                    <a:lnTo>
                      <a:pt x="3870" y="1784"/>
                    </a:lnTo>
                    <a:lnTo>
                      <a:pt x="1564" y="3732"/>
                    </a:lnTo>
                    <a:lnTo>
                      <a:pt x="0" y="23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59" name="Freeform: Shape 4058">
                <a:extLst>
                  <a:ext uri="{FF2B5EF4-FFF2-40B4-BE49-F238E27FC236}">
                    <a16:creationId xmlns:a16="http://schemas.microsoft.com/office/drawing/2014/main" id="{4D0D12DA-6D7E-2895-4213-BDA9DC628327}"/>
                  </a:ext>
                </a:extLst>
              </p:cNvPr>
              <p:cNvSpPr/>
              <p:nvPr/>
            </p:nvSpPr>
            <p:spPr>
              <a:xfrm>
                <a:off x="1663744" y="3841703"/>
                <a:ext cx="524" cy="292"/>
              </a:xfrm>
              <a:custGeom>
                <a:avLst/>
                <a:gdLst>
                  <a:gd name="connsiteX0" fmla="*/ 0 w 5022"/>
                  <a:gd name="connsiteY0" fmla="*/ 1235 h 2798"/>
                  <a:gd name="connsiteX1" fmla="*/ 2992 w 5022"/>
                  <a:gd name="connsiteY1" fmla="*/ 0 h 2798"/>
                  <a:gd name="connsiteX2" fmla="*/ 5022 w 5022"/>
                  <a:gd name="connsiteY2" fmla="*/ 1180 h 2798"/>
                  <a:gd name="connsiteX3" fmla="*/ 2196 w 5022"/>
                  <a:gd name="connsiteY3" fmla="*/ 2799 h 2798"/>
                  <a:gd name="connsiteX4" fmla="*/ 0 w 5022"/>
                  <a:gd name="connsiteY4" fmla="*/ 1235 h 2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2" h="2798">
                    <a:moveTo>
                      <a:pt x="0" y="1235"/>
                    </a:moveTo>
                    <a:lnTo>
                      <a:pt x="2992" y="0"/>
                    </a:lnTo>
                    <a:lnTo>
                      <a:pt x="5022" y="1180"/>
                    </a:lnTo>
                    <a:lnTo>
                      <a:pt x="2196" y="2799"/>
                    </a:lnTo>
                    <a:lnTo>
                      <a:pt x="0"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0" name="Freeform: Shape 4059">
                <a:extLst>
                  <a:ext uri="{FF2B5EF4-FFF2-40B4-BE49-F238E27FC236}">
                    <a16:creationId xmlns:a16="http://schemas.microsoft.com/office/drawing/2014/main" id="{276A74B7-E8B0-18D6-7917-1609E98A310B}"/>
                  </a:ext>
                </a:extLst>
              </p:cNvPr>
              <p:cNvSpPr/>
              <p:nvPr/>
            </p:nvSpPr>
            <p:spPr>
              <a:xfrm>
                <a:off x="1663100" y="3837916"/>
                <a:ext cx="435" cy="352"/>
              </a:xfrm>
              <a:custGeom>
                <a:avLst/>
                <a:gdLst>
                  <a:gd name="connsiteX0" fmla="*/ 27 w 4171"/>
                  <a:gd name="connsiteY0" fmla="*/ 1702 h 3375"/>
                  <a:gd name="connsiteX1" fmla="*/ 1016 w 4171"/>
                  <a:gd name="connsiteY1" fmla="*/ 0 h 3375"/>
                  <a:gd name="connsiteX2" fmla="*/ 4171 w 4171"/>
                  <a:gd name="connsiteY2" fmla="*/ 1647 h 3375"/>
                  <a:gd name="connsiteX3" fmla="*/ 1126 w 4171"/>
                  <a:gd name="connsiteY3" fmla="*/ 3376 h 3375"/>
                  <a:gd name="connsiteX4" fmla="*/ 0 w 4171"/>
                  <a:gd name="connsiteY4" fmla="*/ 1702 h 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1" h="3375">
                    <a:moveTo>
                      <a:pt x="27" y="1702"/>
                    </a:moveTo>
                    <a:lnTo>
                      <a:pt x="1016" y="0"/>
                    </a:lnTo>
                    <a:lnTo>
                      <a:pt x="4171" y="1647"/>
                    </a:lnTo>
                    <a:lnTo>
                      <a:pt x="1126" y="3376"/>
                    </a:lnTo>
                    <a:lnTo>
                      <a:pt x="0" y="17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1" name="Freeform: Shape 4060">
                <a:extLst>
                  <a:ext uri="{FF2B5EF4-FFF2-40B4-BE49-F238E27FC236}">
                    <a16:creationId xmlns:a16="http://schemas.microsoft.com/office/drawing/2014/main" id="{7F8E86ED-D4FE-E33B-24FC-84712A2B4A0A}"/>
                  </a:ext>
                </a:extLst>
              </p:cNvPr>
              <p:cNvSpPr/>
              <p:nvPr/>
            </p:nvSpPr>
            <p:spPr>
              <a:xfrm>
                <a:off x="1661674" y="3837853"/>
                <a:ext cx="409" cy="369"/>
              </a:xfrm>
              <a:custGeom>
                <a:avLst/>
                <a:gdLst>
                  <a:gd name="connsiteX0" fmla="*/ 27 w 3924"/>
                  <a:gd name="connsiteY0" fmla="*/ 1180 h 3540"/>
                  <a:gd name="connsiteX1" fmla="*/ 1894 w 3924"/>
                  <a:gd name="connsiteY1" fmla="*/ 0 h 3540"/>
                  <a:gd name="connsiteX2" fmla="*/ 3925 w 3924"/>
                  <a:gd name="connsiteY2" fmla="*/ 1894 h 3540"/>
                  <a:gd name="connsiteX3" fmla="*/ 1812 w 3924"/>
                  <a:gd name="connsiteY3" fmla="*/ 3540 h 3540"/>
                  <a:gd name="connsiteX4" fmla="*/ 0 w 3924"/>
                  <a:gd name="connsiteY4" fmla="*/ 1180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3540">
                    <a:moveTo>
                      <a:pt x="27" y="1180"/>
                    </a:moveTo>
                    <a:lnTo>
                      <a:pt x="1894" y="0"/>
                    </a:lnTo>
                    <a:lnTo>
                      <a:pt x="3925" y="1894"/>
                    </a:lnTo>
                    <a:lnTo>
                      <a:pt x="1812" y="3540"/>
                    </a:lnTo>
                    <a:lnTo>
                      <a:pt x="0"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2" name="Freeform: Shape 4061">
                <a:extLst>
                  <a:ext uri="{FF2B5EF4-FFF2-40B4-BE49-F238E27FC236}">
                    <a16:creationId xmlns:a16="http://schemas.microsoft.com/office/drawing/2014/main" id="{6D95D818-5F74-BB92-876C-FBB1AD8E681C}"/>
                  </a:ext>
                </a:extLst>
              </p:cNvPr>
              <p:cNvSpPr/>
              <p:nvPr/>
            </p:nvSpPr>
            <p:spPr>
              <a:xfrm>
                <a:off x="1685916" y="3843778"/>
                <a:ext cx="392" cy="378"/>
              </a:xfrm>
              <a:custGeom>
                <a:avLst/>
                <a:gdLst>
                  <a:gd name="connsiteX0" fmla="*/ 0 w 3759"/>
                  <a:gd name="connsiteY0" fmla="*/ 1619 h 3622"/>
                  <a:gd name="connsiteX1" fmla="*/ 274 w 3759"/>
                  <a:gd name="connsiteY1" fmla="*/ 0 h 3622"/>
                  <a:gd name="connsiteX2" fmla="*/ 1619 w 3759"/>
                  <a:gd name="connsiteY2" fmla="*/ 0 h 3622"/>
                  <a:gd name="connsiteX3" fmla="*/ 3759 w 3759"/>
                  <a:gd name="connsiteY3" fmla="*/ 3348 h 3622"/>
                  <a:gd name="connsiteX4" fmla="*/ 2250 w 3759"/>
                  <a:gd name="connsiteY4" fmla="*/ 3622 h 3622"/>
                  <a:gd name="connsiteX5" fmla="*/ 0 w 3759"/>
                  <a:gd name="connsiteY5" fmla="*/ 1619 h 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9" h="3622">
                    <a:moveTo>
                      <a:pt x="0" y="1619"/>
                    </a:moveTo>
                    <a:lnTo>
                      <a:pt x="274" y="0"/>
                    </a:lnTo>
                    <a:lnTo>
                      <a:pt x="1619" y="0"/>
                    </a:lnTo>
                    <a:lnTo>
                      <a:pt x="3759" y="3348"/>
                    </a:lnTo>
                    <a:lnTo>
                      <a:pt x="2250" y="3622"/>
                    </a:lnTo>
                    <a:lnTo>
                      <a:pt x="0" y="16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3" name="Freeform: Shape 4062">
                <a:extLst>
                  <a:ext uri="{FF2B5EF4-FFF2-40B4-BE49-F238E27FC236}">
                    <a16:creationId xmlns:a16="http://schemas.microsoft.com/office/drawing/2014/main" id="{6CCD163D-330B-B716-F215-81C488C239C4}"/>
                  </a:ext>
                </a:extLst>
              </p:cNvPr>
              <p:cNvSpPr/>
              <p:nvPr/>
            </p:nvSpPr>
            <p:spPr>
              <a:xfrm>
                <a:off x="1691142" y="3834516"/>
                <a:ext cx="386" cy="381"/>
              </a:xfrm>
              <a:custGeom>
                <a:avLst/>
                <a:gdLst>
                  <a:gd name="connsiteX0" fmla="*/ 0 w 3704"/>
                  <a:gd name="connsiteY0" fmla="*/ 0 h 3649"/>
                  <a:gd name="connsiteX1" fmla="*/ 3704 w 3704"/>
                  <a:gd name="connsiteY1" fmla="*/ 1893 h 3649"/>
                  <a:gd name="connsiteX2" fmla="*/ 2332 w 3704"/>
                  <a:gd name="connsiteY2" fmla="*/ 3650 h 3649"/>
                  <a:gd name="connsiteX3" fmla="*/ 356 w 3704"/>
                  <a:gd name="connsiteY3" fmla="*/ 3293 h 3649"/>
                  <a:gd name="connsiteX4" fmla="*/ 0 w 3704"/>
                  <a:gd name="connsiteY4" fmla="*/ 0 h 3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 h="3649">
                    <a:moveTo>
                      <a:pt x="0" y="0"/>
                    </a:moveTo>
                    <a:lnTo>
                      <a:pt x="3704" y="1893"/>
                    </a:lnTo>
                    <a:lnTo>
                      <a:pt x="2332" y="3650"/>
                    </a:lnTo>
                    <a:lnTo>
                      <a:pt x="356" y="3293"/>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4" name="Freeform: Shape 4063">
                <a:extLst>
                  <a:ext uri="{FF2B5EF4-FFF2-40B4-BE49-F238E27FC236}">
                    <a16:creationId xmlns:a16="http://schemas.microsoft.com/office/drawing/2014/main" id="{B41B85F6-952D-CB72-7ACA-4881D051DE9B}"/>
                  </a:ext>
                </a:extLst>
              </p:cNvPr>
              <p:cNvSpPr/>
              <p:nvPr/>
            </p:nvSpPr>
            <p:spPr>
              <a:xfrm>
                <a:off x="1703024" y="3853132"/>
                <a:ext cx="418" cy="352"/>
              </a:xfrm>
              <a:custGeom>
                <a:avLst/>
                <a:gdLst>
                  <a:gd name="connsiteX0" fmla="*/ 0 w 4006"/>
                  <a:gd name="connsiteY0" fmla="*/ 2360 h 3375"/>
                  <a:gd name="connsiteX1" fmla="*/ 2415 w 4006"/>
                  <a:gd name="connsiteY1" fmla="*/ 0 h 3375"/>
                  <a:gd name="connsiteX2" fmla="*/ 4007 w 4006"/>
                  <a:gd name="connsiteY2" fmla="*/ 1839 h 3375"/>
                  <a:gd name="connsiteX3" fmla="*/ 3375 w 4006"/>
                  <a:gd name="connsiteY3" fmla="*/ 3375 h 3375"/>
                  <a:gd name="connsiteX4" fmla="*/ 0 w 4006"/>
                  <a:gd name="connsiteY4" fmla="*/ 2388 h 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3375">
                    <a:moveTo>
                      <a:pt x="0" y="2360"/>
                    </a:moveTo>
                    <a:lnTo>
                      <a:pt x="2415" y="0"/>
                    </a:lnTo>
                    <a:lnTo>
                      <a:pt x="4007" y="1839"/>
                    </a:lnTo>
                    <a:lnTo>
                      <a:pt x="3375" y="3375"/>
                    </a:lnTo>
                    <a:lnTo>
                      <a:pt x="0"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5" name="Freeform: Shape 4064">
                <a:extLst>
                  <a:ext uri="{FF2B5EF4-FFF2-40B4-BE49-F238E27FC236}">
                    <a16:creationId xmlns:a16="http://schemas.microsoft.com/office/drawing/2014/main" id="{5117894A-CF38-578F-5D16-4B007C9E5F47}"/>
                  </a:ext>
                </a:extLst>
              </p:cNvPr>
              <p:cNvSpPr/>
              <p:nvPr/>
            </p:nvSpPr>
            <p:spPr>
              <a:xfrm>
                <a:off x="1696523" y="3829575"/>
                <a:ext cx="409" cy="355"/>
              </a:xfrm>
              <a:custGeom>
                <a:avLst/>
                <a:gdLst>
                  <a:gd name="connsiteX0" fmla="*/ 27 w 3924"/>
                  <a:gd name="connsiteY0" fmla="*/ 2525 h 3402"/>
                  <a:gd name="connsiteX1" fmla="*/ 1372 w 3924"/>
                  <a:gd name="connsiteY1" fmla="*/ 659 h 3402"/>
                  <a:gd name="connsiteX2" fmla="*/ 3294 w 3924"/>
                  <a:gd name="connsiteY2" fmla="*/ 0 h 3402"/>
                  <a:gd name="connsiteX3" fmla="*/ 3925 w 3924"/>
                  <a:gd name="connsiteY3" fmla="*/ 1372 h 3402"/>
                  <a:gd name="connsiteX4" fmla="*/ 1537 w 3924"/>
                  <a:gd name="connsiteY4" fmla="*/ 3403 h 3402"/>
                  <a:gd name="connsiteX5" fmla="*/ 0 w 3924"/>
                  <a:gd name="connsiteY5" fmla="*/ 2552 h 3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4" h="3402">
                    <a:moveTo>
                      <a:pt x="27" y="2525"/>
                    </a:moveTo>
                    <a:lnTo>
                      <a:pt x="1372" y="659"/>
                    </a:lnTo>
                    <a:lnTo>
                      <a:pt x="3294" y="0"/>
                    </a:lnTo>
                    <a:lnTo>
                      <a:pt x="3925" y="1372"/>
                    </a:lnTo>
                    <a:lnTo>
                      <a:pt x="1537" y="3403"/>
                    </a:lnTo>
                    <a:lnTo>
                      <a:pt x="0"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6" name="Freeform: Shape 4065">
                <a:extLst>
                  <a:ext uri="{FF2B5EF4-FFF2-40B4-BE49-F238E27FC236}">
                    <a16:creationId xmlns:a16="http://schemas.microsoft.com/office/drawing/2014/main" id="{D5DA915B-F4F4-7E71-23BE-0B54AF9C7360}"/>
                  </a:ext>
                </a:extLst>
              </p:cNvPr>
              <p:cNvSpPr/>
              <p:nvPr/>
            </p:nvSpPr>
            <p:spPr>
              <a:xfrm>
                <a:off x="1669695" y="3849898"/>
                <a:ext cx="421" cy="346"/>
              </a:xfrm>
              <a:custGeom>
                <a:avLst/>
                <a:gdLst>
                  <a:gd name="connsiteX0" fmla="*/ 0 w 4034"/>
                  <a:gd name="connsiteY0" fmla="*/ 2662 h 3320"/>
                  <a:gd name="connsiteX1" fmla="*/ 2278 w 4034"/>
                  <a:gd name="connsiteY1" fmla="*/ 0 h 3320"/>
                  <a:gd name="connsiteX2" fmla="*/ 4034 w 4034"/>
                  <a:gd name="connsiteY2" fmla="*/ 1701 h 3320"/>
                  <a:gd name="connsiteX3" fmla="*/ 3046 w 4034"/>
                  <a:gd name="connsiteY3" fmla="*/ 3320 h 3320"/>
                  <a:gd name="connsiteX4" fmla="*/ 0 w 4034"/>
                  <a:gd name="connsiteY4" fmla="*/ 2689 h 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 h="3320">
                    <a:moveTo>
                      <a:pt x="0" y="2662"/>
                    </a:moveTo>
                    <a:lnTo>
                      <a:pt x="2278" y="0"/>
                    </a:lnTo>
                    <a:lnTo>
                      <a:pt x="4034" y="1701"/>
                    </a:lnTo>
                    <a:lnTo>
                      <a:pt x="3046" y="3320"/>
                    </a:lnTo>
                    <a:lnTo>
                      <a:pt x="0" y="26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7" name="Freeform: Shape 4066">
                <a:extLst>
                  <a:ext uri="{FF2B5EF4-FFF2-40B4-BE49-F238E27FC236}">
                    <a16:creationId xmlns:a16="http://schemas.microsoft.com/office/drawing/2014/main" id="{0E15C305-84BC-8ADF-97AB-C80024A24FF9}"/>
                  </a:ext>
                </a:extLst>
              </p:cNvPr>
              <p:cNvSpPr/>
              <p:nvPr/>
            </p:nvSpPr>
            <p:spPr>
              <a:xfrm>
                <a:off x="1689642" y="3835206"/>
                <a:ext cx="381" cy="366"/>
              </a:xfrm>
              <a:custGeom>
                <a:avLst/>
                <a:gdLst>
                  <a:gd name="connsiteX0" fmla="*/ 27 w 3649"/>
                  <a:gd name="connsiteY0" fmla="*/ 1427 h 3512"/>
                  <a:gd name="connsiteX1" fmla="*/ 631 w 3649"/>
                  <a:gd name="connsiteY1" fmla="*/ 0 h 3512"/>
                  <a:gd name="connsiteX2" fmla="*/ 3649 w 3649"/>
                  <a:gd name="connsiteY2" fmla="*/ 1427 h 3512"/>
                  <a:gd name="connsiteX3" fmla="*/ 3458 w 3649"/>
                  <a:gd name="connsiteY3" fmla="*/ 3513 h 3512"/>
                  <a:gd name="connsiteX4" fmla="*/ 549 w 3649"/>
                  <a:gd name="connsiteY4" fmla="*/ 3430 h 3512"/>
                  <a:gd name="connsiteX5" fmla="*/ 0 w 3649"/>
                  <a:gd name="connsiteY5" fmla="*/ 1427 h 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49" h="3512">
                    <a:moveTo>
                      <a:pt x="27" y="1427"/>
                    </a:moveTo>
                    <a:lnTo>
                      <a:pt x="631" y="0"/>
                    </a:lnTo>
                    <a:lnTo>
                      <a:pt x="3649" y="1427"/>
                    </a:lnTo>
                    <a:lnTo>
                      <a:pt x="3458" y="3513"/>
                    </a:lnTo>
                    <a:lnTo>
                      <a:pt x="549" y="3430"/>
                    </a:lnTo>
                    <a:lnTo>
                      <a:pt x="0" y="14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8" name="Freeform: Shape 4067">
                <a:extLst>
                  <a:ext uri="{FF2B5EF4-FFF2-40B4-BE49-F238E27FC236}">
                    <a16:creationId xmlns:a16="http://schemas.microsoft.com/office/drawing/2014/main" id="{09FB9EA8-E47C-8EC2-06F4-D886BCB899EE}"/>
                  </a:ext>
                </a:extLst>
              </p:cNvPr>
              <p:cNvSpPr/>
              <p:nvPr/>
            </p:nvSpPr>
            <p:spPr>
              <a:xfrm>
                <a:off x="1693618" y="3853109"/>
                <a:ext cx="384" cy="358"/>
              </a:xfrm>
              <a:custGeom>
                <a:avLst/>
                <a:gdLst>
                  <a:gd name="connsiteX0" fmla="*/ 0 w 3677"/>
                  <a:gd name="connsiteY0" fmla="*/ 1893 h 3430"/>
                  <a:gd name="connsiteX1" fmla="*/ 1921 w 3677"/>
                  <a:gd name="connsiteY1" fmla="*/ 0 h 3430"/>
                  <a:gd name="connsiteX2" fmla="*/ 3678 w 3677"/>
                  <a:gd name="connsiteY2" fmla="*/ 878 h 3430"/>
                  <a:gd name="connsiteX3" fmla="*/ 3238 w 3677"/>
                  <a:gd name="connsiteY3" fmla="*/ 3430 h 3430"/>
                  <a:gd name="connsiteX4" fmla="*/ 0 w 3677"/>
                  <a:gd name="connsiteY4" fmla="*/ 1893 h 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7" h="3430">
                    <a:moveTo>
                      <a:pt x="0" y="1893"/>
                    </a:moveTo>
                    <a:lnTo>
                      <a:pt x="1921" y="0"/>
                    </a:lnTo>
                    <a:lnTo>
                      <a:pt x="3678" y="878"/>
                    </a:lnTo>
                    <a:lnTo>
                      <a:pt x="3238" y="3430"/>
                    </a:lnTo>
                    <a:lnTo>
                      <a:pt x="0" y="1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69" name="Freeform: Shape 4068">
                <a:extLst>
                  <a:ext uri="{FF2B5EF4-FFF2-40B4-BE49-F238E27FC236}">
                    <a16:creationId xmlns:a16="http://schemas.microsoft.com/office/drawing/2014/main" id="{F381431B-60A6-0C75-5772-67F0162DDD18}"/>
                  </a:ext>
                </a:extLst>
              </p:cNvPr>
              <p:cNvSpPr/>
              <p:nvPr/>
            </p:nvSpPr>
            <p:spPr>
              <a:xfrm>
                <a:off x="1687916" y="3864527"/>
                <a:ext cx="355" cy="384"/>
              </a:xfrm>
              <a:custGeom>
                <a:avLst/>
                <a:gdLst>
                  <a:gd name="connsiteX0" fmla="*/ 0 w 3402"/>
                  <a:gd name="connsiteY0" fmla="*/ 1290 h 3677"/>
                  <a:gd name="connsiteX1" fmla="*/ 1097 w 3402"/>
                  <a:gd name="connsiteY1" fmla="*/ 0 h 3677"/>
                  <a:gd name="connsiteX2" fmla="*/ 3403 w 3402"/>
                  <a:gd name="connsiteY2" fmla="*/ 302 h 3677"/>
                  <a:gd name="connsiteX3" fmla="*/ 2634 w 3402"/>
                  <a:gd name="connsiteY3" fmla="*/ 3677 h 3677"/>
                  <a:gd name="connsiteX4" fmla="*/ 0 w 3402"/>
                  <a:gd name="connsiteY4" fmla="*/ 1290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3677">
                    <a:moveTo>
                      <a:pt x="0" y="1290"/>
                    </a:moveTo>
                    <a:lnTo>
                      <a:pt x="1097" y="0"/>
                    </a:lnTo>
                    <a:lnTo>
                      <a:pt x="3403" y="302"/>
                    </a:lnTo>
                    <a:lnTo>
                      <a:pt x="2634" y="3677"/>
                    </a:lnTo>
                    <a:lnTo>
                      <a:pt x="0" y="12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0" name="Freeform: Shape 4069">
                <a:extLst>
                  <a:ext uri="{FF2B5EF4-FFF2-40B4-BE49-F238E27FC236}">
                    <a16:creationId xmlns:a16="http://schemas.microsoft.com/office/drawing/2014/main" id="{30C70C7C-1ED2-F4CE-6234-36FDC4DCA835}"/>
                  </a:ext>
                </a:extLst>
              </p:cNvPr>
              <p:cNvSpPr/>
              <p:nvPr/>
            </p:nvSpPr>
            <p:spPr>
              <a:xfrm>
                <a:off x="1694128" y="3843850"/>
                <a:ext cx="312" cy="432"/>
              </a:xfrm>
              <a:custGeom>
                <a:avLst/>
                <a:gdLst>
                  <a:gd name="connsiteX0" fmla="*/ 0 w 2991"/>
                  <a:gd name="connsiteY0" fmla="*/ 1537 h 4143"/>
                  <a:gd name="connsiteX1" fmla="*/ 2992 w 2991"/>
                  <a:gd name="connsiteY1" fmla="*/ 0 h 4143"/>
                  <a:gd name="connsiteX2" fmla="*/ 2168 w 2991"/>
                  <a:gd name="connsiteY2" fmla="*/ 4144 h 4143"/>
                  <a:gd name="connsiteX3" fmla="*/ 851 w 2991"/>
                  <a:gd name="connsiteY3" fmla="*/ 3869 h 4143"/>
                  <a:gd name="connsiteX4" fmla="*/ 27 w 2991"/>
                  <a:gd name="connsiteY4" fmla="*/ 1537 h 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1" h="4143">
                    <a:moveTo>
                      <a:pt x="0" y="1537"/>
                    </a:moveTo>
                    <a:lnTo>
                      <a:pt x="2992" y="0"/>
                    </a:lnTo>
                    <a:lnTo>
                      <a:pt x="2168" y="4144"/>
                    </a:lnTo>
                    <a:lnTo>
                      <a:pt x="851" y="3869"/>
                    </a:lnTo>
                    <a:lnTo>
                      <a:pt x="27" y="15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1" name="Freeform: Shape 4070">
                <a:extLst>
                  <a:ext uri="{FF2B5EF4-FFF2-40B4-BE49-F238E27FC236}">
                    <a16:creationId xmlns:a16="http://schemas.microsoft.com/office/drawing/2014/main" id="{289E407B-D809-53B9-532F-8BC5D8F5BC3F}"/>
                  </a:ext>
                </a:extLst>
              </p:cNvPr>
              <p:cNvSpPr/>
              <p:nvPr/>
            </p:nvSpPr>
            <p:spPr>
              <a:xfrm>
                <a:off x="1719912" y="3865747"/>
                <a:ext cx="332" cy="409"/>
              </a:xfrm>
              <a:custGeom>
                <a:avLst/>
                <a:gdLst>
                  <a:gd name="connsiteX0" fmla="*/ 3156 w 3183"/>
                  <a:gd name="connsiteY0" fmla="*/ 2086 h 3924"/>
                  <a:gd name="connsiteX1" fmla="*/ 2031 w 3183"/>
                  <a:gd name="connsiteY1" fmla="*/ 3924 h 3924"/>
                  <a:gd name="connsiteX2" fmla="*/ 0 w 3183"/>
                  <a:gd name="connsiteY2" fmla="*/ 1427 h 3924"/>
                  <a:gd name="connsiteX3" fmla="*/ 1756 w 3183"/>
                  <a:gd name="connsiteY3" fmla="*/ 0 h 3924"/>
                  <a:gd name="connsiteX4" fmla="*/ 3183 w 3183"/>
                  <a:gd name="connsiteY4" fmla="*/ 768 h 3924"/>
                  <a:gd name="connsiteX5" fmla="*/ 3183 w 3183"/>
                  <a:gd name="connsiteY5" fmla="*/ 2058 h 3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3" h="3924">
                    <a:moveTo>
                      <a:pt x="3156" y="2086"/>
                    </a:moveTo>
                    <a:lnTo>
                      <a:pt x="2031" y="3924"/>
                    </a:lnTo>
                    <a:lnTo>
                      <a:pt x="0" y="1427"/>
                    </a:lnTo>
                    <a:lnTo>
                      <a:pt x="1756" y="0"/>
                    </a:lnTo>
                    <a:lnTo>
                      <a:pt x="3183" y="768"/>
                    </a:lnTo>
                    <a:lnTo>
                      <a:pt x="3183"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2" name="Freeform: Shape 4071">
                <a:extLst>
                  <a:ext uri="{FF2B5EF4-FFF2-40B4-BE49-F238E27FC236}">
                    <a16:creationId xmlns:a16="http://schemas.microsoft.com/office/drawing/2014/main" id="{9D79763C-9B06-5859-18AD-186D343D41DE}"/>
                  </a:ext>
                </a:extLst>
              </p:cNvPr>
              <p:cNvSpPr/>
              <p:nvPr/>
            </p:nvSpPr>
            <p:spPr>
              <a:xfrm>
                <a:off x="1686780" y="3862143"/>
                <a:ext cx="361" cy="361"/>
              </a:xfrm>
              <a:custGeom>
                <a:avLst/>
                <a:gdLst>
                  <a:gd name="connsiteX0" fmla="*/ 0 w 3457"/>
                  <a:gd name="connsiteY0" fmla="*/ 1235 h 3457"/>
                  <a:gd name="connsiteX1" fmla="*/ 1125 w 3457"/>
                  <a:gd name="connsiteY1" fmla="*/ 0 h 3457"/>
                  <a:gd name="connsiteX2" fmla="*/ 2854 w 3457"/>
                  <a:gd name="connsiteY2" fmla="*/ 741 h 3457"/>
                  <a:gd name="connsiteX3" fmla="*/ 3458 w 3457"/>
                  <a:gd name="connsiteY3" fmla="*/ 3458 h 3457"/>
                  <a:gd name="connsiteX4" fmla="*/ 521 w 3457"/>
                  <a:gd name="connsiteY4" fmla="*/ 2442 h 3457"/>
                  <a:gd name="connsiteX5" fmla="*/ 0 w 3457"/>
                  <a:gd name="connsiteY5" fmla="*/ 1235 h 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7" h="3457">
                    <a:moveTo>
                      <a:pt x="0" y="1235"/>
                    </a:moveTo>
                    <a:lnTo>
                      <a:pt x="1125" y="0"/>
                    </a:lnTo>
                    <a:lnTo>
                      <a:pt x="2854" y="741"/>
                    </a:lnTo>
                    <a:lnTo>
                      <a:pt x="3458" y="3458"/>
                    </a:lnTo>
                    <a:lnTo>
                      <a:pt x="521" y="2442"/>
                    </a:lnTo>
                    <a:lnTo>
                      <a:pt x="0"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3" name="Freeform: Shape 4072">
                <a:extLst>
                  <a:ext uri="{FF2B5EF4-FFF2-40B4-BE49-F238E27FC236}">
                    <a16:creationId xmlns:a16="http://schemas.microsoft.com/office/drawing/2014/main" id="{30018D47-F3FE-8D05-1945-889AB2132B3B}"/>
                  </a:ext>
                </a:extLst>
              </p:cNvPr>
              <p:cNvSpPr/>
              <p:nvPr/>
            </p:nvSpPr>
            <p:spPr>
              <a:xfrm>
                <a:off x="1657129" y="3827045"/>
                <a:ext cx="366" cy="346"/>
              </a:xfrm>
              <a:custGeom>
                <a:avLst/>
                <a:gdLst>
                  <a:gd name="connsiteX0" fmla="*/ 0 w 3512"/>
                  <a:gd name="connsiteY0" fmla="*/ 384 h 3320"/>
                  <a:gd name="connsiteX1" fmla="*/ 851 w 3512"/>
                  <a:gd name="connsiteY1" fmla="*/ 0 h 3320"/>
                  <a:gd name="connsiteX2" fmla="*/ 3513 w 3512"/>
                  <a:gd name="connsiteY2" fmla="*/ 2003 h 3320"/>
                  <a:gd name="connsiteX3" fmla="*/ 2992 w 3512"/>
                  <a:gd name="connsiteY3" fmla="*/ 3321 h 3320"/>
                  <a:gd name="connsiteX4" fmla="*/ 659 w 3512"/>
                  <a:gd name="connsiteY4" fmla="*/ 3183 h 3320"/>
                  <a:gd name="connsiteX5" fmla="*/ 0 w 3512"/>
                  <a:gd name="connsiteY5" fmla="*/ 357 h 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 h="3320">
                    <a:moveTo>
                      <a:pt x="0" y="384"/>
                    </a:moveTo>
                    <a:lnTo>
                      <a:pt x="851" y="0"/>
                    </a:lnTo>
                    <a:lnTo>
                      <a:pt x="3513" y="2003"/>
                    </a:lnTo>
                    <a:lnTo>
                      <a:pt x="2992" y="3321"/>
                    </a:lnTo>
                    <a:lnTo>
                      <a:pt x="659" y="3183"/>
                    </a:lnTo>
                    <a:lnTo>
                      <a:pt x="0" y="3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4" name="Freeform: Shape 4073">
                <a:extLst>
                  <a:ext uri="{FF2B5EF4-FFF2-40B4-BE49-F238E27FC236}">
                    <a16:creationId xmlns:a16="http://schemas.microsoft.com/office/drawing/2014/main" id="{187FF5C3-3E5D-58A1-EB64-92CC61A94816}"/>
                  </a:ext>
                </a:extLst>
              </p:cNvPr>
              <p:cNvSpPr/>
              <p:nvPr/>
            </p:nvSpPr>
            <p:spPr>
              <a:xfrm>
                <a:off x="1691151" y="3834112"/>
                <a:ext cx="381" cy="329"/>
              </a:xfrm>
              <a:custGeom>
                <a:avLst/>
                <a:gdLst>
                  <a:gd name="connsiteX0" fmla="*/ 0 w 3650"/>
                  <a:gd name="connsiteY0" fmla="*/ 2031 h 3156"/>
                  <a:gd name="connsiteX1" fmla="*/ 3211 w 3650"/>
                  <a:gd name="connsiteY1" fmla="*/ 0 h 3156"/>
                  <a:gd name="connsiteX2" fmla="*/ 3650 w 3650"/>
                  <a:gd name="connsiteY2" fmla="*/ 3019 h 3156"/>
                  <a:gd name="connsiteX3" fmla="*/ 659 w 3650"/>
                  <a:gd name="connsiteY3" fmla="*/ 3156 h 3156"/>
                  <a:gd name="connsiteX4" fmla="*/ 0 w 3650"/>
                  <a:gd name="connsiteY4" fmla="*/ 2058 h 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3156">
                    <a:moveTo>
                      <a:pt x="0" y="2031"/>
                    </a:moveTo>
                    <a:lnTo>
                      <a:pt x="3211" y="0"/>
                    </a:lnTo>
                    <a:lnTo>
                      <a:pt x="3650" y="3019"/>
                    </a:lnTo>
                    <a:lnTo>
                      <a:pt x="659" y="3156"/>
                    </a:lnTo>
                    <a:lnTo>
                      <a:pt x="0" y="205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5" name="Freeform: Shape 4074">
                <a:extLst>
                  <a:ext uri="{FF2B5EF4-FFF2-40B4-BE49-F238E27FC236}">
                    <a16:creationId xmlns:a16="http://schemas.microsoft.com/office/drawing/2014/main" id="{6724964F-83E7-0515-54A1-3B805E55BFAB}"/>
                  </a:ext>
                </a:extLst>
              </p:cNvPr>
              <p:cNvSpPr/>
              <p:nvPr/>
            </p:nvSpPr>
            <p:spPr>
              <a:xfrm>
                <a:off x="1695854" y="3835077"/>
                <a:ext cx="415" cy="295"/>
              </a:xfrm>
              <a:custGeom>
                <a:avLst/>
                <a:gdLst>
                  <a:gd name="connsiteX0" fmla="*/ 0 w 3979"/>
                  <a:gd name="connsiteY0" fmla="*/ 1482 h 2826"/>
                  <a:gd name="connsiteX1" fmla="*/ 2854 w 3979"/>
                  <a:gd name="connsiteY1" fmla="*/ 0 h 2826"/>
                  <a:gd name="connsiteX2" fmla="*/ 3979 w 3979"/>
                  <a:gd name="connsiteY2" fmla="*/ 2772 h 2826"/>
                  <a:gd name="connsiteX3" fmla="*/ 686 w 3979"/>
                  <a:gd name="connsiteY3" fmla="*/ 2827 h 2826"/>
                  <a:gd name="connsiteX4" fmla="*/ 27 w 3979"/>
                  <a:gd name="connsiteY4" fmla="*/ 1482 h 2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2826">
                    <a:moveTo>
                      <a:pt x="0" y="1482"/>
                    </a:moveTo>
                    <a:lnTo>
                      <a:pt x="2854" y="0"/>
                    </a:lnTo>
                    <a:lnTo>
                      <a:pt x="3979" y="2772"/>
                    </a:lnTo>
                    <a:lnTo>
                      <a:pt x="686" y="2827"/>
                    </a:lnTo>
                    <a:lnTo>
                      <a:pt x="27"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6" name="Freeform: Shape 4075">
                <a:extLst>
                  <a:ext uri="{FF2B5EF4-FFF2-40B4-BE49-F238E27FC236}">
                    <a16:creationId xmlns:a16="http://schemas.microsoft.com/office/drawing/2014/main" id="{2FD4D618-2295-2BC0-5A28-E950FF6BFEFC}"/>
                  </a:ext>
                </a:extLst>
              </p:cNvPr>
              <p:cNvSpPr/>
              <p:nvPr/>
            </p:nvSpPr>
            <p:spPr>
              <a:xfrm>
                <a:off x="1712830" y="3870438"/>
                <a:ext cx="521" cy="212"/>
              </a:xfrm>
              <a:custGeom>
                <a:avLst/>
                <a:gdLst>
                  <a:gd name="connsiteX0" fmla="*/ 0 w 4994"/>
                  <a:gd name="connsiteY0" fmla="*/ 1235 h 2030"/>
                  <a:gd name="connsiteX1" fmla="*/ 878 w 4994"/>
                  <a:gd name="connsiteY1" fmla="*/ 0 h 2030"/>
                  <a:gd name="connsiteX2" fmla="*/ 4473 w 4994"/>
                  <a:gd name="connsiteY2" fmla="*/ 274 h 2030"/>
                  <a:gd name="connsiteX3" fmla="*/ 4994 w 4994"/>
                  <a:gd name="connsiteY3" fmla="*/ 1399 h 2030"/>
                  <a:gd name="connsiteX4" fmla="*/ 1646 w 4994"/>
                  <a:gd name="connsiteY4" fmla="*/ 2031 h 2030"/>
                  <a:gd name="connsiteX5" fmla="*/ 0 w 4994"/>
                  <a:gd name="connsiteY5" fmla="*/ 1235 h 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4" h="2030">
                    <a:moveTo>
                      <a:pt x="0" y="1235"/>
                    </a:moveTo>
                    <a:lnTo>
                      <a:pt x="878" y="0"/>
                    </a:lnTo>
                    <a:lnTo>
                      <a:pt x="4473" y="274"/>
                    </a:lnTo>
                    <a:lnTo>
                      <a:pt x="4994" y="1399"/>
                    </a:lnTo>
                    <a:lnTo>
                      <a:pt x="1646" y="2031"/>
                    </a:lnTo>
                    <a:lnTo>
                      <a:pt x="0" y="12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7" name="Freeform: Shape 4076">
                <a:extLst>
                  <a:ext uri="{FF2B5EF4-FFF2-40B4-BE49-F238E27FC236}">
                    <a16:creationId xmlns:a16="http://schemas.microsoft.com/office/drawing/2014/main" id="{9DE9253B-413D-9657-FB5D-3CDC6E7DE0BF}"/>
                  </a:ext>
                </a:extLst>
              </p:cNvPr>
              <p:cNvSpPr/>
              <p:nvPr/>
            </p:nvSpPr>
            <p:spPr>
              <a:xfrm>
                <a:off x="1702826" y="3852712"/>
                <a:ext cx="398" cy="275"/>
              </a:xfrm>
              <a:custGeom>
                <a:avLst/>
                <a:gdLst>
                  <a:gd name="connsiteX0" fmla="*/ 0 w 3814"/>
                  <a:gd name="connsiteY0" fmla="*/ 1948 h 2634"/>
                  <a:gd name="connsiteX1" fmla="*/ 1592 w 3814"/>
                  <a:gd name="connsiteY1" fmla="*/ 0 h 2634"/>
                  <a:gd name="connsiteX2" fmla="*/ 3595 w 3814"/>
                  <a:gd name="connsiteY2" fmla="*/ 0 h 2634"/>
                  <a:gd name="connsiteX3" fmla="*/ 3815 w 3814"/>
                  <a:gd name="connsiteY3" fmla="*/ 1948 h 2634"/>
                  <a:gd name="connsiteX4" fmla="*/ 1948 w 3814"/>
                  <a:gd name="connsiteY4" fmla="*/ 2634 h 2634"/>
                  <a:gd name="connsiteX5" fmla="*/ 0 w 3814"/>
                  <a:gd name="connsiteY5" fmla="*/ 1948 h 2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 h="2634">
                    <a:moveTo>
                      <a:pt x="0" y="1948"/>
                    </a:moveTo>
                    <a:lnTo>
                      <a:pt x="1592" y="0"/>
                    </a:lnTo>
                    <a:lnTo>
                      <a:pt x="3595" y="0"/>
                    </a:lnTo>
                    <a:cubicBezTo>
                      <a:pt x="3595" y="0"/>
                      <a:pt x="3815" y="1948"/>
                      <a:pt x="3815" y="1948"/>
                    </a:cubicBezTo>
                    <a:lnTo>
                      <a:pt x="1948" y="2634"/>
                    </a:lnTo>
                    <a:lnTo>
                      <a:pt x="0" y="19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8" name="Freeform: Shape 4077">
                <a:extLst>
                  <a:ext uri="{FF2B5EF4-FFF2-40B4-BE49-F238E27FC236}">
                    <a16:creationId xmlns:a16="http://schemas.microsoft.com/office/drawing/2014/main" id="{C42BF7E9-C04D-D565-8C17-728794C7290F}"/>
                  </a:ext>
                </a:extLst>
              </p:cNvPr>
              <p:cNvSpPr/>
              <p:nvPr/>
            </p:nvSpPr>
            <p:spPr>
              <a:xfrm>
                <a:off x="1683070" y="3842765"/>
                <a:ext cx="358" cy="295"/>
              </a:xfrm>
              <a:custGeom>
                <a:avLst/>
                <a:gdLst>
                  <a:gd name="connsiteX0" fmla="*/ 0 w 3430"/>
                  <a:gd name="connsiteY0" fmla="*/ 1070 h 2826"/>
                  <a:gd name="connsiteX1" fmla="*/ 2799 w 3430"/>
                  <a:gd name="connsiteY1" fmla="*/ 0 h 2826"/>
                  <a:gd name="connsiteX2" fmla="*/ 3430 w 3430"/>
                  <a:gd name="connsiteY2" fmla="*/ 2744 h 2826"/>
                  <a:gd name="connsiteX3" fmla="*/ 220 w 3430"/>
                  <a:gd name="connsiteY3" fmla="*/ 2827 h 2826"/>
                  <a:gd name="connsiteX4" fmla="*/ 0 w 3430"/>
                  <a:gd name="connsiteY4" fmla="*/ 1070 h 2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2826">
                    <a:moveTo>
                      <a:pt x="0" y="1070"/>
                    </a:moveTo>
                    <a:lnTo>
                      <a:pt x="2799" y="0"/>
                    </a:lnTo>
                    <a:lnTo>
                      <a:pt x="3430" y="2744"/>
                    </a:lnTo>
                    <a:lnTo>
                      <a:pt x="220" y="2827"/>
                    </a:lnTo>
                    <a:lnTo>
                      <a:pt x="0" y="10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79" name="Freeform: Shape 4078">
                <a:extLst>
                  <a:ext uri="{FF2B5EF4-FFF2-40B4-BE49-F238E27FC236}">
                    <a16:creationId xmlns:a16="http://schemas.microsoft.com/office/drawing/2014/main" id="{E63341AC-FD08-FDEF-450B-32DBC4A09BBC}"/>
                  </a:ext>
                </a:extLst>
              </p:cNvPr>
              <p:cNvSpPr/>
              <p:nvPr/>
            </p:nvSpPr>
            <p:spPr>
              <a:xfrm>
                <a:off x="1716654" y="3866336"/>
                <a:ext cx="335" cy="197"/>
              </a:xfrm>
              <a:custGeom>
                <a:avLst/>
                <a:gdLst>
                  <a:gd name="connsiteX0" fmla="*/ 0 w 3210"/>
                  <a:gd name="connsiteY0" fmla="*/ 823 h 1893"/>
                  <a:gd name="connsiteX1" fmla="*/ 247 w 3210"/>
                  <a:gd name="connsiteY1" fmla="*/ 549 h 1893"/>
                  <a:gd name="connsiteX2" fmla="*/ 1043 w 3210"/>
                  <a:gd name="connsiteY2" fmla="*/ 0 h 1893"/>
                  <a:gd name="connsiteX3" fmla="*/ 1317 w 3210"/>
                  <a:gd name="connsiteY3" fmla="*/ 274 h 1893"/>
                  <a:gd name="connsiteX4" fmla="*/ 1866 w 3210"/>
                  <a:gd name="connsiteY4" fmla="*/ 823 h 1893"/>
                  <a:gd name="connsiteX5" fmla="*/ 1866 w 3210"/>
                  <a:gd name="connsiteY5" fmla="*/ 549 h 1893"/>
                  <a:gd name="connsiteX6" fmla="*/ 2937 w 3210"/>
                  <a:gd name="connsiteY6" fmla="*/ 549 h 1893"/>
                  <a:gd name="connsiteX7" fmla="*/ 3211 w 3210"/>
                  <a:gd name="connsiteY7" fmla="*/ 823 h 1893"/>
                  <a:gd name="connsiteX8" fmla="*/ 3211 w 3210"/>
                  <a:gd name="connsiteY8" fmla="*/ 1894 h 1893"/>
                  <a:gd name="connsiteX9" fmla="*/ 2141 w 3210"/>
                  <a:gd name="connsiteY9" fmla="*/ 1894 h 1893"/>
                  <a:gd name="connsiteX10" fmla="*/ 2141 w 3210"/>
                  <a:gd name="connsiteY10" fmla="*/ 1619 h 1893"/>
                  <a:gd name="connsiteX11" fmla="*/ 1866 w 3210"/>
                  <a:gd name="connsiteY11" fmla="*/ 1619 h 1893"/>
                  <a:gd name="connsiteX12" fmla="*/ 1866 w 3210"/>
                  <a:gd name="connsiteY12" fmla="*/ 1345 h 1893"/>
                  <a:gd name="connsiteX13" fmla="*/ 1592 w 3210"/>
                  <a:gd name="connsiteY13" fmla="*/ 1345 h 1893"/>
                  <a:gd name="connsiteX14" fmla="*/ 1592 w 3210"/>
                  <a:gd name="connsiteY14" fmla="*/ 1070 h 1893"/>
                  <a:gd name="connsiteX15" fmla="*/ 1592 w 3210"/>
                  <a:gd name="connsiteY15" fmla="*/ 1345 h 1893"/>
                  <a:gd name="connsiteX16" fmla="*/ 1317 w 3210"/>
                  <a:gd name="connsiteY16" fmla="*/ 1619 h 1893"/>
                  <a:gd name="connsiteX17" fmla="*/ 247 w 3210"/>
                  <a:gd name="connsiteY17" fmla="*/ 1345 h 1893"/>
                  <a:gd name="connsiteX18" fmla="*/ 0 w 3210"/>
                  <a:gd name="connsiteY18" fmla="*/ 796 h 1893"/>
                  <a:gd name="connsiteX19" fmla="*/ 0 w 3210"/>
                  <a:gd name="connsiteY19" fmla="*/ 796 h 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10" h="1893">
                    <a:moveTo>
                      <a:pt x="0" y="823"/>
                    </a:moveTo>
                    <a:lnTo>
                      <a:pt x="247" y="549"/>
                    </a:lnTo>
                    <a:lnTo>
                      <a:pt x="1043" y="0"/>
                    </a:lnTo>
                    <a:lnTo>
                      <a:pt x="1317" y="274"/>
                    </a:lnTo>
                    <a:lnTo>
                      <a:pt x="1866" y="823"/>
                    </a:lnTo>
                    <a:lnTo>
                      <a:pt x="1866" y="549"/>
                    </a:lnTo>
                    <a:lnTo>
                      <a:pt x="2937" y="549"/>
                    </a:lnTo>
                    <a:lnTo>
                      <a:pt x="3211" y="823"/>
                    </a:lnTo>
                    <a:lnTo>
                      <a:pt x="3211" y="1894"/>
                    </a:lnTo>
                    <a:lnTo>
                      <a:pt x="2141" y="1894"/>
                    </a:lnTo>
                    <a:lnTo>
                      <a:pt x="2141" y="1619"/>
                    </a:lnTo>
                    <a:lnTo>
                      <a:pt x="1866" y="1619"/>
                    </a:lnTo>
                    <a:lnTo>
                      <a:pt x="1866" y="1345"/>
                    </a:lnTo>
                    <a:lnTo>
                      <a:pt x="1592" y="1345"/>
                    </a:lnTo>
                    <a:lnTo>
                      <a:pt x="1592" y="1070"/>
                    </a:lnTo>
                    <a:lnTo>
                      <a:pt x="1592" y="1345"/>
                    </a:lnTo>
                    <a:lnTo>
                      <a:pt x="1317" y="1619"/>
                    </a:lnTo>
                    <a:lnTo>
                      <a:pt x="247" y="1345"/>
                    </a:lnTo>
                    <a:lnTo>
                      <a:pt x="0" y="796"/>
                    </a:lnTo>
                    <a:lnTo>
                      <a:pt x="0" y="7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0" name="Freeform: Shape 4079">
                <a:extLst>
                  <a:ext uri="{FF2B5EF4-FFF2-40B4-BE49-F238E27FC236}">
                    <a16:creationId xmlns:a16="http://schemas.microsoft.com/office/drawing/2014/main" id="{3636A76E-0470-5BB4-962E-25C143BDA00B}"/>
                  </a:ext>
                </a:extLst>
              </p:cNvPr>
              <p:cNvSpPr/>
              <p:nvPr/>
            </p:nvSpPr>
            <p:spPr>
              <a:xfrm>
                <a:off x="1470514" y="3736226"/>
                <a:ext cx="4308" cy="13476"/>
              </a:xfrm>
              <a:custGeom>
                <a:avLst/>
                <a:gdLst>
                  <a:gd name="connsiteX0" fmla="*/ 39902 w 41301"/>
                  <a:gd name="connsiteY0" fmla="*/ 0 h 129201"/>
                  <a:gd name="connsiteX1" fmla="*/ 41219 w 41301"/>
                  <a:gd name="connsiteY1" fmla="*/ 878 h 129201"/>
                  <a:gd name="connsiteX2" fmla="*/ 39875 w 41301"/>
                  <a:gd name="connsiteY2" fmla="*/ 10977 h 129201"/>
                  <a:gd name="connsiteX3" fmla="*/ 41302 w 41301"/>
                  <a:gd name="connsiteY3" fmla="*/ 19320 h 129201"/>
                  <a:gd name="connsiteX4" fmla="*/ 38612 w 41301"/>
                  <a:gd name="connsiteY4" fmla="*/ 21378 h 129201"/>
                  <a:gd name="connsiteX5" fmla="*/ 37871 w 41301"/>
                  <a:gd name="connsiteY5" fmla="*/ 29858 h 129201"/>
                  <a:gd name="connsiteX6" fmla="*/ 28458 w 41301"/>
                  <a:gd name="connsiteY6" fmla="*/ 24808 h 129201"/>
                  <a:gd name="connsiteX7" fmla="*/ 23464 w 41301"/>
                  <a:gd name="connsiteY7" fmla="*/ 28294 h 129201"/>
                  <a:gd name="connsiteX8" fmla="*/ 20884 w 41301"/>
                  <a:gd name="connsiteY8" fmla="*/ 37021 h 129201"/>
                  <a:gd name="connsiteX9" fmla="*/ 20884 w 41301"/>
                  <a:gd name="connsiteY9" fmla="*/ 48684 h 129201"/>
                  <a:gd name="connsiteX10" fmla="*/ 27744 w 41301"/>
                  <a:gd name="connsiteY10" fmla="*/ 51099 h 129201"/>
                  <a:gd name="connsiteX11" fmla="*/ 21158 w 41301"/>
                  <a:gd name="connsiteY11" fmla="*/ 56395 h 129201"/>
                  <a:gd name="connsiteX12" fmla="*/ 18524 w 41301"/>
                  <a:gd name="connsiteY12" fmla="*/ 64326 h 129201"/>
                  <a:gd name="connsiteX13" fmla="*/ 20362 w 41301"/>
                  <a:gd name="connsiteY13" fmla="*/ 65863 h 129201"/>
                  <a:gd name="connsiteX14" fmla="*/ 26263 w 41301"/>
                  <a:gd name="connsiteY14" fmla="*/ 65424 h 129201"/>
                  <a:gd name="connsiteX15" fmla="*/ 35511 w 41301"/>
                  <a:gd name="connsiteY15" fmla="*/ 61033 h 129201"/>
                  <a:gd name="connsiteX16" fmla="*/ 33782 w 41301"/>
                  <a:gd name="connsiteY16" fmla="*/ 77718 h 129201"/>
                  <a:gd name="connsiteX17" fmla="*/ 26976 w 41301"/>
                  <a:gd name="connsiteY17" fmla="*/ 94267 h 129201"/>
                  <a:gd name="connsiteX18" fmla="*/ 25961 w 41301"/>
                  <a:gd name="connsiteY18" fmla="*/ 108125 h 129201"/>
                  <a:gd name="connsiteX19" fmla="*/ 20856 w 41301"/>
                  <a:gd name="connsiteY19" fmla="*/ 127527 h 129201"/>
                  <a:gd name="connsiteX20" fmla="*/ 18716 w 41301"/>
                  <a:gd name="connsiteY20" fmla="*/ 129201 h 129201"/>
                  <a:gd name="connsiteX21" fmla="*/ 2332 w 41301"/>
                  <a:gd name="connsiteY21" fmla="*/ 77718 h 129201"/>
                  <a:gd name="connsiteX22" fmla="*/ 0 w 41301"/>
                  <a:gd name="connsiteY22" fmla="*/ 70309 h 129201"/>
                  <a:gd name="connsiteX23" fmla="*/ 7903 w 41301"/>
                  <a:gd name="connsiteY23" fmla="*/ 59798 h 129201"/>
                  <a:gd name="connsiteX24" fmla="*/ 6531 w 41301"/>
                  <a:gd name="connsiteY24" fmla="*/ 57383 h 129201"/>
                  <a:gd name="connsiteX25" fmla="*/ 13282 w 41301"/>
                  <a:gd name="connsiteY25" fmla="*/ 44348 h 129201"/>
                  <a:gd name="connsiteX26" fmla="*/ 20225 w 41301"/>
                  <a:gd name="connsiteY26" fmla="*/ 15642 h 129201"/>
                  <a:gd name="connsiteX27" fmla="*/ 23244 w 41301"/>
                  <a:gd name="connsiteY27" fmla="*/ 12980 h 129201"/>
                  <a:gd name="connsiteX28" fmla="*/ 24561 w 41301"/>
                  <a:gd name="connsiteY28" fmla="*/ 5241 h 129201"/>
                  <a:gd name="connsiteX29" fmla="*/ 34688 w 41301"/>
                  <a:gd name="connsiteY29" fmla="*/ 5790 h 129201"/>
                  <a:gd name="connsiteX30" fmla="*/ 38091 w 41301"/>
                  <a:gd name="connsiteY30" fmla="*/ 27 h 129201"/>
                  <a:gd name="connsiteX31" fmla="*/ 39875 w 41301"/>
                  <a:gd name="connsiteY31" fmla="*/ 27 h 1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1301" h="129201">
                    <a:moveTo>
                      <a:pt x="39902" y="0"/>
                    </a:moveTo>
                    <a:lnTo>
                      <a:pt x="41219" y="878"/>
                    </a:lnTo>
                    <a:lnTo>
                      <a:pt x="39875" y="10977"/>
                    </a:lnTo>
                    <a:lnTo>
                      <a:pt x="41302" y="19320"/>
                    </a:lnTo>
                    <a:lnTo>
                      <a:pt x="38612" y="21378"/>
                    </a:lnTo>
                    <a:lnTo>
                      <a:pt x="37871" y="29858"/>
                    </a:lnTo>
                    <a:lnTo>
                      <a:pt x="28458" y="24808"/>
                    </a:lnTo>
                    <a:lnTo>
                      <a:pt x="23464" y="28294"/>
                    </a:lnTo>
                    <a:lnTo>
                      <a:pt x="20884" y="37021"/>
                    </a:lnTo>
                    <a:lnTo>
                      <a:pt x="20884" y="48684"/>
                    </a:lnTo>
                    <a:cubicBezTo>
                      <a:pt x="20884" y="48684"/>
                      <a:pt x="27744" y="51099"/>
                      <a:pt x="27744" y="51099"/>
                    </a:cubicBezTo>
                    <a:lnTo>
                      <a:pt x="21158" y="56395"/>
                    </a:lnTo>
                    <a:lnTo>
                      <a:pt x="18524" y="64326"/>
                    </a:lnTo>
                    <a:lnTo>
                      <a:pt x="20362" y="65863"/>
                    </a:lnTo>
                    <a:lnTo>
                      <a:pt x="26263" y="65424"/>
                    </a:lnTo>
                    <a:lnTo>
                      <a:pt x="35511" y="61033"/>
                    </a:lnTo>
                    <a:lnTo>
                      <a:pt x="33782" y="77718"/>
                    </a:lnTo>
                    <a:lnTo>
                      <a:pt x="26976" y="94267"/>
                    </a:lnTo>
                    <a:lnTo>
                      <a:pt x="25961" y="108125"/>
                    </a:lnTo>
                    <a:lnTo>
                      <a:pt x="20856" y="127527"/>
                    </a:lnTo>
                    <a:lnTo>
                      <a:pt x="18716" y="129201"/>
                    </a:lnTo>
                    <a:lnTo>
                      <a:pt x="2332" y="77718"/>
                    </a:lnTo>
                    <a:lnTo>
                      <a:pt x="0" y="70309"/>
                    </a:lnTo>
                    <a:lnTo>
                      <a:pt x="7903" y="59798"/>
                    </a:lnTo>
                    <a:lnTo>
                      <a:pt x="6531" y="57383"/>
                    </a:lnTo>
                    <a:lnTo>
                      <a:pt x="13282" y="44348"/>
                    </a:lnTo>
                    <a:lnTo>
                      <a:pt x="20225" y="15642"/>
                    </a:lnTo>
                    <a:lnTo>
                      <a:pt x="23244" y="12980"/>
                    </a:lnTo>
                    <a:lnTo>
                      <a:pt x="24561" y="5241"/>
                    </a:lnTo>
                    <a:lnTo>
                      <a:pt x="34688" y="5790"/>
                    </a:lnTo>
                    <a:lnTo>
                      <a:pt x="38091" y="27"/>
                    </a:lnTo>
                    <a:lnTo>
                      <a:pt x="39875"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1" name="Freeform: Shape 4080">
                <a:extLst>
                  <a:ext uri="{FF2B5EF4-FFF2-40B4-BE49-F238E27FC236}">
                    <a16:creationId xmlns:a16="http://schemas.microsoft.com/office/drawing/2014/main" id="{2799972D-310F-40F8-1C52-F6FBF009D4E7}"/>
                  </a:ext>
                </a:extLst>
              </p:cNvPr>
              <p:cNvSpPr/>
              <p:nvPr/>
            </p:nvSpPr>
            <p:spPr>
              <a:xfrm>
                <a:off x="1484405" y="3720701"/>
                <a:ext cx="29780" cy="30507"/>
              </a:xfrm>
              <a:custGeom>
                <a:avLst/>
                <a:gdLst>
                  <a:gd name="connsiteX0" fmla="*/ 136144 w 285516"/>
                  <a:gd name="connsiteY0" fmla="*/ 3512 h 292487"/>
                  <a:gd name="connsiteX1" fmla="*/ 148988 w 285516"/>
                  <a:gd name="connsiteY1" fmla="*/ 5269 h 292487"/>
                  <a:gd name="connsiteX2" fmla="*/ 154010 w 285516"/>
                  <a:gd name="connsiteY2" fmla="*/ 2168 h 292487"/>
                  <a:gd name="connsiteX3" fmla="*/ 155629 w 285516"/>
                  <a:gd name="connsiteY3" fmla="*/ 2360 h 292487"/>
                  <a:gd name="connsiteX4" fmla="*/ 157742 w 285516"/>
                  <a:gd name="connsiteY4" fmla="*/ 2607 h 292487"/>
                  <a:gd name="connsiteX5" fmla="*/ 160047 w 285516"/>
                  <a:gd name="connsiteY5" fmla="*/ 4720 h 292487"/>
                  <a:gd name="connsiteX6" fmla="*/ 159416 w 285516"/>
                  <a:gd name="connsiteY6" fmla="*/ 10977 h 292487"/>
                  <a:gd name="connsiteX7" fmla="*/ 161804 w 285516"/>
                  <a:gd name="connsiteY7" fmla="*/ 14243 h 292487"/>
                  <a:gd name="connsiteX8" fmla="*/ 170833 w 285516"/>
                  <a:gd name="connsiteY8" fmla="*/ 7849 h 292487"/>
                  <a:gd name="connsiteX9" fmla="*/ 176431 w 285516"/>
                  <a:gd name="connsiteY9" fmla="*/ 7190 h 292487"/>
                  <a:gd name="connsiteX10" fmla="*/ 178928 w 285516"/>
                  <a:gd name="connsiteY10" fmla="*/ 14270 h 292487"/>
                  <a:gd name="connsiteX11" fmla="*/ 178846 w 285516"/>
                  <a:gd name="connsiteY11" fmla="*/ 20500 h 292487"/>
                  <a:gd name="connsiteX12" fmla="*/ 183621 w 285516"/>
                  <a:gd name="connsiteY12" fmla="*/ 25385 h 292487"/>
                  <a:gd name="connsiteX13" fmla="*/ 183786 w 285516"/>
                  <a:gd name="connsiteY13" fmla="*/ 32191 h 292487"/>
                  <a:gd name="connsiteX14" fmla="*/ 189988 w 285516"/>
                  <a:gd name="connsiteY14" fmla="*/ 36609 h 292487"/>
                  <a:gd name="connsiteX15" fmla="*/ 193747 w 285516"/>
                  <a:gd name="connsiteY15" fmla="*/ 49891 h 292487"/>
                  <a:gd name="connsiteX16" fmla="*/ 199538 w 285516"/>
                  <a:gd name="connsiteY16" fmla="*/ 51401 h 292487"/>
                  <a:gd name="connsiteX17" fmla="*/ 201761 w 285516"/>
                  <a:gd name="connsiteY17" fmla="*/ 53349 h 292487"/>
                  <a:gd name="connsiteX18" fmla="*/ 205410 w 285516"/>
                  <a:gd name="connsiteY18" fmla="*/ 56560 h 292487"/>
                  <a:gd name="connsiteX19" fmla="*/ 214412 w 285516"/>
                  <a:gd name="connsiteY19" fmla="*/ 55682 h 292487"/>
                  <a:gd name="connsiteX20" fmla="*/ 219571 w 285516"/>
                  <a:gd name="connsiteY20" fmla="*/ 57767 h 292487"/>
                  <a:gd name="connsiteX21" fmla="*/ 212326 w 285516"/>
                  <a:gd name="connsiteY21" fmla="*/ 64464 h 292487"/>
                  <a:gd name="connsiteX22" fmla="*/ 216278 w 285516"/>
                  <a:gd name="connsiteY22" fmla="*/ 82329 h 292487"/>
                  <a:gd name="connsiteX23" fmla="*/ 209363 w 285516"/>
                  <a:gd name="connsiteY23" fmla="*/ 84908 h 292487"/>
                  <a:gd name="connsiteX24" fmla="*/ 202913 w 285516"/>
                  <a:gd name="connsiteY24" fmla="*/ 95172 h 292487"/>
                  <a:gd name="connsiteX25" fmla="*/ 203352 w 285516"/>
                  <a:gd name="connsiteY25" fmla="*/ 101676 h 292487"/>
                  <a:gd name="connsiteX26" fmla="*/ 201788 w 285516"/>
                  <a:gd name="connsiteY26" fmla="*/ 101841 h 292487"/>
                  <a:gd name="connsiteX27" fmla="*/ 198907 w 285516"/>
                  <a:gd name="connsiteY27" fmla="*/ 102115 h 292487"/>
                  <a:gd name="connsiteX28" fmla="*/ 196793 w 285516"/>
                  <a:gd name="connsiteY28" fmla="*/ 105051 h 292487"/>
                  <a:gd name="connsiteX29" fmla="*/ 199208 w 285516"/>
                  <a:gd name="connsiteY29" fmla="*/ 113970 h 292487"/>
                  <a:gd name="connsiteX30" fmla="*/ 196052 w 285516"/>
                  <a:gd name="connsiteY30" fmla="*/ 123329 h 292487"/>
                  <a:gd name="connsiteX31" fmla="*/ 201788 w 285516"/>
                  <a:gd name="connsiteY31" fmla="*/ 130903 h 292487"/>
                  <a:gd name="connsiteX32" fmla="*/ 204011 w 285516"/>
                  <a:gd name="connsiteY32" fmla="*/ 133839 h 292487"/>
                  <a:gd name="connsiteX33" fmla="*/ 209253 w 285516"/>
                  <a:gd name="connsiteY33" fmla="*/ 136337 h 292487"/>
                  <a:gd name="connsiteX34" fmla="*/ 216223 w 285516"/>
                  <a:gd name="connsiteY34" fmla="*/ 146710 h 292487"/>
                  <a:gd name="connsiteX35" fmla="*/ 216333 w 285516"/>
                  <a:gd name="connsiteY35" fmla="*/ 158099 h 292487"/>
                  <a:gd name="connsiteX36" fmla="*/ 227063 w 285516"/>
                  <a:gd name="connsiteY36" fmla="*/ 161255 h 292487"/>
                  <a:gd name="connsiteX37" fmla="*/ 245834 w 285516"/>
                  <a:gd name="connsiteY37" fmla="*/ 175278 h 292487"/>
                  <a:gd name="connsiteX38" fmla="*/ 253875 w 285516"/>
                  <a:gd name="connsiteY38" fmla="*/ 177995 h 292487"/>
                  <a:gd name="connsiteX39" fmla="*/ 265209 w 285516"/>
                  <a:gd name="connsiteY39" fmla="*/ 197973 h 292487"/>
                  <a:gd name="connsiteX40" fmla="*/ 265867 w 285516"/>
                  <a:gd name="connsiteY40" fmla="*/ 199099 h 292487"/>
                  <a:gd name="connsiteX41" fmla="*/ 265209 w 285516"/>
                  <a:gd name="connsiteY41" fmla="*/ 201404 h 292487"/>
                  <a:gd name="connsiteX42" fmla="*/ 261723 w 285516"/>
                  <a:gd name="connsiteY42" fmla="*/ 213698 h 292487"/>
                  <a:gd name="connsiteX43" fmla="*/ 261723 w 285516"/>
                  <a:gd name="connsiteY43" fmla="*/ 224566 h 292487"/>
                  <a:gd name="connsiteX44" fmla="*/ 265209 w 285516"/>
                  <a:gd name="connsiteY44" fmla="*/ 225856 h 292487"/>
                  <a:gd name="connsiteX45" fmla="*/ 270917 w 285516"/>
                  <a:gd name="connsiteY45" fmla="*/ 227969 h 292487"/>
                  <a:gd name="connsiteX46" fmla="*/ 272069 w 285516"/>
                  <a:gd name="connsiteY46" fmla="*/ 243831 h 292487"/>
                  <a:gd name="connsiteX47" fmla="*/ 281400 w 285516"/>
                  <a:gd name="connsiteY47" fmla="*/ 252859 h 292487"/>
                  <a:gd name="connsiteX48" fmla="*/ 284967 w 285516"/>
                  <a:gd name="connsiteY48" fmla="*/ 261641 h 292487"/>
                  <a:gd name="connsiteX49" fmla="*/ 285517 w 285516"/>
                  <a:gd name="connsiteY49" fmla="*/ 263123 h 292487"/>
                  <a:gd name="connsiteX50" fmla="*/ 283459 w 285516"/>
                  <a:gd name="connsiteY50" fmla="*/ 263425 h 292487"/>
                  <a:gd name="connsiteX51" fmla="*/ 275857 w 285516"/>
                  <a:gd name="connsiteY51" fmla="*/ 259748 h 292487"/>
                  <a:gd name="connsiteX52" fmla="*/ 273332 w 285516"/>
                  <a:gd name="connsiteY52" fmla="*/ 259665 h 292487"/>
                  <a:gd name="connsiteX53" fmla="*/ 269545 w 285516"/>
                  <a:gd name="connsiteY53" fmla="*/ 260790 h 292487"/>
                  <a:gd name="connsiteX54" fmla="*/ 265209 w 285516"/>
                  <a:gd name="connsiteY54" fmla="*/ 259144 h 292487"/>
                  <a:gd name="connsiteX55" fmla="*/ 260626 w 285516"/>
                  <a:gd name="connsiteY55" fmla="*/ 257387 h 292487"/>
                  <a:gd name="connsiteX56" fmla="*/ 252585 w 285516"/>
                  <a:gd name="connsiteY56" fmla="*/ 257525 h 292487"/>
                  <a:gd name="connsiteX57" fmla="*/ 247014 w 285516"/>
                  <a:gd name="connsiteY57" fmla="*/ 259912 h 292487"/>
                  <a:gd name="connsiteX58" fmla="*/ 237217 w 285516"/>
                  <a:gd name="connsiteY58" fmla="*/ 280028 h 292487"/>
                  <a:gd name="connsiteX59" fmla="*/ 228216 w 285516"/>
                  <a:gd name="connsiteY59" fmla="*/ 291307 h 292487"/>
                  <a:gd name="connsiteX60" fmla="*/ 222754 w 285516"/>
                  <a:gd name="connsiteY60" fmla="*/ 292487 h 292487"/>
                  <a:gd name="connsiteX61" fmla="*/ 201788 w 285516"/>
                  <a:gd name="connsiteY61" fmla="*/ 290401 h 292487"/>
                  <a:gd name="connsiteX62" fmla="*/ 174071 w 285516"/>
                  <a:gd name="connsiteY62" fmla="*/ 287602 h 292487"/>
                  <a:gd name="connsiteX63" fmla="*/ 170860 w 285516"/>
                  <a:gd name="connsiteY63" fmla="*/ 284913 h 292487"/>
                  <a:gd name="connsiteX64" fmla="*/ 155656 w 285516"/>
                  <a:gd name="connsiteY64" fmla="*/ 272289 h 292487"/>
                  <a:gd name="connsiteX65" fmla="*/ 108043 w 285516"/>
                  <a:gd name="connsiteY65" fmla="*/ 232359 h 292487"/>
                  <a:gd name="connsiteX66" fmla="*/ 101264 w 285516"/>
                  <a:gd name="connsiteY66" fmla="*/ 226624 h 292487"/>
                  <a:gd name="connsiteX67" fmla="*/ 47860 w 285516"/>
                  <a:gd name="connsiteY67" fmla="*/ 194378 h 292487"/>
                  <a:gd name="connsiteX68" fmla="*/ 11992 w 285516"/>
                  <a:gd name="connsiteY68" fmla="*/ 186942 h 292487"/>
                  <a:gd name="connsiteX69" fmla="*/ 14243 w 285516"/>
                  <a:gd name="connsiteY69" fmla="*/ 182167 h 292487"/>
                  <a:gd name="connsiteX70" fmla="*/ 12980 w 285516"/>
                  <a:gd name="connsiteY70" fmla="*/ 180410 h 292487"/>
                  <a:gd name="connsiteX71" fmla="*/ 6916 w 285516"/>
                  <a:gd name="connsiteY71" fmla="*/ 179889 h 292487"/>
                  <a:gd name="connsiteX72" fmla="*/ 6175 w 285516"/>
                  <a:gd name="connsiteY72" fmla="*/ 176239 h 292487"/>
                  <a:gd name="connsiteX73" fmla="*/ 8096 w 285516"/>
                  <a:gd name="connsiteY73" fmla="*/ 173220 h 292487"/>
                  <a:gd name="connsiteX74" fmla="*/ 0 w 285516"/>
                  <a:gd name="connsiteY74" fmla="*/ 144240 h 292487"/>
                  <a:gd name="connsiteX75" fmla="*/ 65396 w 285516"/>
                  <a:gd name="connsiteY75" fmla="*/ 106588 h 292487"/>
                  <a:gd name="connsiteX76" fmla="*/ 71626 w 285516"/>
                  <a:gd name="connsiteY76" fmla="*/ 93937 h 292487"/>
                  <a:gd name="connsiteX77" fmla="*/ 72751 w 285516"/>
                  <a:gd name="connsiteY77" fmla="*/ 72230 h 292487"/>
                  <a:gd name="connsiteX78" fmla="*/ 76401 w 285516"/>
                  <a:gd name="connsiteY78" fmla="*/ 62378 h 292487"/>
                  <a:gd name="connsiteX79" fmla="*/ 72779 w 285516"/>
                  <a:gd name="connsiteY79" fmla="*/ 48300 h 292487"/>
                  <a:gd name="connsiteX80" fmla="*/ 73328 w 285516"/>
                  <a:gd name="connsiteY80" fmla="*/ 40149 h 292487"/>
                  <a:gd name="connsiteX81" fmla="*/ 78267 w 285516"/>
                  <a:gd name="connsiteY81" fmla="*/ 30983 h 292487"/>
                  <a:gd name="connsiteX82" fmla="*/ 90507 w 285516"/>
                  <a:gd name="connsiteY82" fmla="*/ 27580 h 292487"/>
                  <a:gd name="connsiteX83" fmla="*/ 104557 w 285516"/>
                  <a:gd name="connsiteY83" fmla="*/ 12294 h 292487"/>
                  <a:gd name="connsiteX84" fmla="*/ 104832 w 285516"/>
                  <a:gd name="connsiteY84" fmla="*/ 9715 h 292487"/>
                  <a:gd name="connsiteX85" fmla="*/ 108098 w 285516"/>
                  <a:gd name="connsiteY85" fmla="*/ 8699 h 292487"/>
                  <a:gd name="connsiteX86" fmla="*/ 111199 w 285516"/>
                  <a:gd name="connsiteY86" fmla="*/ 7711 h 292487"/>
                  <a:gd name="connsiteX87" fmla="*/ 117401 w 285516"/>
                  <a:gd name="connsiteY87" fmla="*/ 0 h 292487"/>
                  <a:gd name="connsiteX88" fmla="*/ 128845 w 285516"/>
                  <a:gd name="connsiteY88" fmla="*/ 302 h 292487"/>
                  <a:gd name="connsiteX89" fmla="*/ 136254 w 285516"/>
                  <a:gd name="connsiteY89" fmla="*/ 3540 h 29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85516" h="292487">
                    <a:moveTo>
                      <a:pt x="136144" y="3512"/>
                    </a:moveTo>
                    <a:lnTo>
                      <a:pt x="148988" y="5269"/>
                    </a:lnTo>
                    <a:lnTo>
                      <a:pt x="154010" y="2168"/>
                    </a:lnTo>
                    <a:lnTo>
                      <a:pt x="155629" y="2360"/>
                    </a:lnTo>
                    <a:lnTo>
                      <a:pt x="157742" y="2607"/>
                    </a:lnTo>
                    <a:lnTo>
                      <a:pt x="160047" y="4720"/>
                    </a:lnTo>
                    <a:lnTo>
                      <a:pt x="159416" y="10977"/>
                    </a:lnTo>
                    <a:lnTo>
                      <a:pt x="161804" y="14243"/>
                    </a:lnTo>
                    <a:lnTo>
                      <a:pt x="170833" y="7849"/>
                    </a:lnTo>
                    <a:lnTo>
                      <a:pt x="176431" y="7190"/>
                    </a:lnTo>
                    <a:lnTo>
                      <a:pt x="178928" y="14270"/>
                    </a:lnTo>
                    <a:lnTo>
                      <a:pt x="178846" y="20500"/>
                    </a:lnTo>
                    <a:lnTo>
                      <a:pt x="183621" y="25385"/>
                    </a:lnTo>
                    <a:lnTo>
                      <a:pt x="183786" y="32191"/>
                    </a:lnTo>
                    <a:lnTo>
                      <a:pt x="189988" y="36609"/>
                    </a:lnTo>
                    <a:lnTo>
                      <a:pt x="193747" y="49891"/>
                    </a:lnTo>
                    <a:lnTo>
                      <a:pt x="199538" y="51401"/>
                    </a:lnTo>
                    <a:lnTo>
                      <a:pt x="201761" y="53349"/>
                    </a:lnTo>
                    <a:lnTo>
                      <a:pt x="205410" y="56560"/>
                    </a:lnTo>
                    <a:lnTo>
                      <a:pt x="214412" y="55682"/>
                    </a:lnTo>
                    <a:lnTo>
                      <a:pt x="219571" y="57767"/>
                    </a:lnTo>
                    <a:lnTo>
                      <a:pt x="212326" y="64464"/>
                    </a:lnTo>
                    <a:lnTo>
                      <a:pt x="216278" y="82329"/>
                    </a:lnTo>
                    <a:lnTo>
                      <a:pt x="209363" y="84908"/>
                    </a:lnTo>
                    <a:lnTo>
                      <a:pt x="202913" y="95172"/>
                    </a:lnTo>
                    <a:lnTo>
                      <a:pt x="203352" y="101676"/>
                    </a:lnTo>
                    <a:lnTo>
                      <a:pt x="201788" y="101841"/>
                    </a:lnTo>
                    <a:lnTo>
                      <a:pt x="198907" y="102115"/>
                    </a:lnTo>
                    <a:lnTo>
                      <a:pt x="196793" y="105051"/>
                    </a:lnTo>
                    <a:lnTo>
                      <a:pt x="199208" y="113970"/>
                    </a:lnTo>
                    <a:lnTo>
                      <a:pt x="196052" y="123329"/>
                    </a:lnTo>
                    <a:lnTo>
                      <a:pt x="201788" y="130903"/>
                    </a:lnTo>
                    <a:lnTo>
                      <a:pt x="204011" y="133839"/>
                    </a:lnTo>
                    <a:lnTo>
                      <a:pt x="209253" y="136337"/>
                    </a:lnTo>
                    <a:lnTo>
                      <a:pt x="216223" y="146710"/>
                    </a:lnTo>
                    <a:lnTo>
                      <a:pt x="216333" y="158099"/>
                    </a:lnTo>
                    <a:lnTo>
                      <a:pt x="227063" y="161255"/>
                    </a:lnTo>
                    <a:lnTo>
                      <a:pt x="245834" y="175278"/>
                    </a:lnTo>
                    <a:lnTo>
                      <a:pt x="253875" y="177995"/>
                    </a:lnTo>
                    <a:lnTo>
                      <a:pt x="265209" y="197973"/>
                    </a:lnTo>
                    <a:lnTo>
                      <a:pt x="265867" y="199099"/>
                    </a:lnTo>
                    <a:lnTo>
                      <a:pt x="265209" y="201404"/>
                    </a:lnTo>
                    <a:lnTo>
                      <a:pt x="261723" y="213698"/>
                    </a:lnTo>
                    <a:lnTo>
                      <a:pt x="261723" y="224566"/>
                    </a:lnTo>
                    <a:cubicBezTo>
                      <a:pt x="261723" y="224566"/>
                      <a:pt x="265209" y="225856"/>
                      <a:pt x="265209" y="225856"/>
                    </a:cubicBezTo>
                    <a:lnTo>
                      <a:pt x="270917" y="227969"/>
                    </a:lnTo>
                    <a:lnTo>
                      <a:pt x="272069" y="243831"/>
                    </a:lnTo>
                    <a:lnTo>
                      <a:pt x="281400" y="252859"/>
                    </a:lnTo>
                    <a:lnTo>
                      <a:pt x="284967" y="261641"/>
                    </a:lnTo>
                    <a:lnTo>
                      <a:pt x="285517" y="263123"/>
                    </a:lnTo>
                    <a:lnTo>
                      <a:pt x="283459" y="263425"/>
                    </a:lnTo>
                    <a:lnTo>
                      <a:pt x="275857" y="259748"/>
                    </a:lnTo>
                    <a:lnTo>
                      <a:pt x="273332" y="259665"/>
                    </a:lnTo>
                    <a:lnTo>
                      <a:pt x="269545" y="260790"/>
                    </a:lnTo>
                    <a:lnTo>
                      <a:pt x="265209" y="259144"/>
                    </a:lnTo>
                    <a:lnTo>
                      <a:pt x="260626" y="257387"/>
                    </a:lnTo>
                    <a:lnTo>
                      <a:pt x="252585" y="257525"/>
                    </a:lnTo>
                    <a:lnTo>
                      <a:pt x="247014" y="259912"/>
                    </a:lnTo>
                    <a:lnTo>
                      <a:pt x="237217" y="280028"/>
                    </a:lnTo>
                    <a:lnTo>
                      <a:pt x="228216" y="291307"/>
                    </a:lnTo>
                    <a:lnTo>
                      <a:pt x="222754" y="292487"/>
                    </a:lnTo>
                    <a:lnTo>
                      <a:pt x="201788" y="290401"/>
                    </a:lnTo>
                    <a:lnTo>
                      <a:pt x="174071" y="287602"/>
                    </a:lnTo>
                    <a:lnTo>
                      <a:pt x="170860" y="284913"/>
                    </a:lnTo>
                    <a:lnTo>
                      <a:pt x="155656" y="272289"/>
                    </a:lnTo>
                    <a:lnTo>
                      <a:pt x="108043" y="232359"/>
                    </a:lnTo>
                    <a:lnTo>
                      <a:pt x="101264" y="226624"/>
                    </a:lnTo>
                    <a:lnTo>
                      <a:pt x="47860" y="194378"/>
                    </a:lnTo>
                    <a:lnTo>
                      <a:pt x="11992" y="186942"/>
                    </a:lnTo>
                    <a:lnTo>
                      <a:pt x="14243" y="182167"/>
                    </a:lnTo>
                    <a:lnTo>
                      <a:pt x="12980" y="180410"/>
                    </a:lnTo>
                    <a:lnTo>
                      <a:pt x="6916" y="179889"/>
                    </a:lnTo>
                    <a:lnTo>
                      <a:pt x="6175" y="176239"/>
                    </a:lnTo>
                    <a:lnTo>
                      <a:pt x="8096" y="173220"/>
                    </a:lnTo>
                    <a:lnTo>
                      <a:pt x="0" y="144240"/>
                    </a:lnTo>
                    <a:lnTo>
                      <a:pt x="65396" y="106588"/>
                    </a:lnTo>
                    <a:lnTo>
                      <a:pt x="71626" y="93937"/>
                    </a:lnTo>
                    <a:lnTo>
                      <a:pt x="72751" y="72230"/>
                    </a:lnTo>
                    <a:lnTo>
                      <a:pt x="76401" y="62378"/>
                    </a:lnTo>
                    <a:lnTo>
                      <a:pt x="72779" y="48300"/>
                    </a:lnTo>
                    <a:lnTo>
                      <a:pt x="73328" y="40149"/>
                    </a:lnTo>
                    <a:lnTo>
                      <a:pt x="78267" y="30983"/>
                    </a:lnTo>
                    <a:lnTo>
                      <a:pt x="90507" y="27580"/>
                    </a:lnTo>
                    <a:lnTo>
                      <a:pt x="104557" y="12294"/>
                    </a:lnTo>
                    <a:lnTo>
                      <a:pt x="104832" y="9715"/>
                    </a:lnTo>
                    <a:lnTo>
                      <a:pt x="108098" y="8699"/>
                    </a:lnTo>
                    <a:lnTo>
                      <a:pt x="111199" y="7711"/>
                    </a:lnTo>
                    <a:lnTo>
                      <a:pt x="117401" y="0"/>
                    </a:lnTo>
                    <a:lnTo>
                      <a:pt x="128845" y="302"/>
                    </a:lnTo>
                    <a:lnTo>
                      <a:pt x="136254"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2" name="Freeform: Shape 4081">
                <a:extLst>
                  <a:ext uri="{FF2B5EF4-FFF2-40B4-BE49-F238E27FC236}">
                    <a16:creationId xmlns:a16="http://schemas.microsoft.com/office/drawing/2014/main" id="{93F06AE4-AC39-1349-507D-BD2F21641095}"/>
                  </a:ext>
                </a:extLst>
              </p:cNvPr>
              <p:cNvSpPr/>
              <p:nvPr/>
            </p:nvSpPr>
            <p:spPr>
              <a:xfrm>
                <a:off x="1096441" y="3797881"/>
                <a:ext cx="13894" cy="13490"/>
              </a:xfrm>
              <a:custGeom>
                <a:avLst/>
                <a:gdLst>
                  <a:gd name="connsiteX0" fmla="*/ 128625 w 133208"/>
                  <a:gd name="connsiteY0" fmla="*/ 6916 h 129338"/>
                  <a:gd name="connsiteX1" fmla="*/ 130985 w 133208"/>
                  <a:gd name="connsiteY1" fmla="*/ 22037 h 129338"/>
                  <a:gd name="connsiteX2" fmla="*/ 125058 w 133208"/>
                  <a:gd name="connsiteY2" fmla="*/ 31313 h 129338"/>
                  <a:gd name="connsiteX3" fmla="*/ 122807 w 133208"/>
                  <a:gd name="connsiteY3" fmla="*/ 38530 h 129338"/>
                  <a:gd name="connsiteX4" fmla="*/ 120804 w 133208"/>
                  <a:gd name="connsiteY4" fmla="*/ 51730 h 129338"/>
                  <a:gd name="connsiteX5" fmla="*/ 122231 w 133208"/>
                  <a:gd name="connsiteY5" fmla="*/ 65232 h 129338"/>
                  <a:gd name="connsiteX6" fmla="*/ 118856 w 133208"/>
                  <a:gd name="connsiteY6" fmla="*/ 67181 h 129338"/>
                  <a:gd name="connsiteX7" fmla="*/ 119322 w 133208"/>
                  <a:gd name="connsiteY7" fmla="*/ 71983 h 129338"/>
                  <a:gd name="connsiteX8" fmla="*/ 115315 w 133208"/>
                  <a:gd name="connsiteY8" fmla="*/ 75386 h 129338"/>
                  <a:gd name="connsiteX9" fmla="*/ 117703 w 133208"/>
                  <a:gd name="connsiteY9" fmla="*/ 84415 h 129338"/>
                  <a:gd name="connsiteX10" fmla="*/ 113422 w 133208"/>
                  <a:gd name="connsiteY10" fmla="*/ 94816 h 129338"/>
                  <a:gd name="connsiteX11" fmla="*/ 116633 w 133208"/>
                  <a:gd name="connsiteY11" fmla="*/ 95968 h 129338"/>
                  <a:gd name="connsiteX12" fmla="*/ 117978 w 133208"/>
                  <a:gd name="connsiteY12" fmla="*/ 102362 h 129338"/>
                  <a:gd name="connsiteX13" fmla="*/ 112461 w 133208"/>
                  <a:gd name="connsiteY13" fmla="*/ 109059 h 129338"/>
                  <a:gd name="connsiteX14" fmla="*/ 111858 w 133208"/>
                  <a:gd name="connsiteY14" fmla="*/ 112050 h 129338"/>
                  <a:gd name="connsiteX15" fmla="*/ 113724 w 133208"/>
                  <a:gd name="connsiteY15" fmla="*/ 118526 h 129338"/>
                  <a:gd name="connsiteX16" fmla="*/ 117099 w 133208"/>
                  <a:gd name="connsiteY16" fmla="*/ 122862 h 129338"/>
                  <a:gd name="connsiteX17" fmla="*/ 116825 w 133208"/>
                  <a:gd name="connsiteY17" fmla="*/ 127144 h 129338"/>
                  <a:gd name="connsiteX18" fmla="*/ 110129 w 133208"/>
                  <a:gd name="connsiteY18" fmla="*/ 129339 h 129338"/>
                  <a:gd name="connsiteX19" fmla="*/ 102774 w 133208"/>
                  <a:gd name="connsiteY19" fmla="*/ 127500 h 129338"/>
                  <a:gd name="connsiteX20" fmla="*/ 97313 w 133208"/>
                  <a:gd name="connsiteY20" fmla="*/ 121929 h 129338"/>
                  <a:gd name="connsiteX21" fmla="*/ 88751 w 133208"/>
                  <a:gd name="connsiteY21" fmla="*/ 119103 h 129338"/>
                  <a:gd name="connsiteX22" fmla="*/ 80408 w 133208"/>
                  <a:gd name="connsiteY22" fmla="*/ 122396 h 129338"/>
                  <a:gd name="connsiteX23" fmla="*/ 60978 w 133208"/>
                  <a:gd name="connsiteY23" fmla="*/ 115123 h 129338"/>
                  <a:gd name="connsiteX24" fmla="*/ 58179 w 133208"/>
                  <a:gd name="connsiteY24" fmla="*/ 118636 h 129338"/>
                  <a:gd name="connsiteX25" fmla="*/ 34743 w 133208"/>
                  <a:gd name="connsiteY25" fmla="*/ 98383 h 129338"/>
                  <a:gd name="connsiteX26" fmla="*/ 29227 w 133208"/>
                  <a:gd name="connsiteY26" fmla="*/ 90946 h 129338"/>
                  <a:gd name="connsiteX27" fmla="*/ 26098 w 133208"/>
                  <a:gd name="connsiteY27" fmla="*/ 85019 h 129338"/>
                  <a:gd name="connsiteX28" fmla="*/ 15643 w 133208"/>
                  <a:gd name="connsiteY28" fmla="*/ 77801 h 129338"/>
                  <a:gd name="connsiteX29" fmla="*/ 2195 w 133208"/>
                  <a:gd name="connsiteY29" fmla="*/ 65259 h 129338"/>
                  <a:gd name="connsiteX30" fmla="*/ 0 w 133208"/>
                  <a:gd name="connsiteY30" fmla="*/ 63229 h 129338"/>
                  <a:gd name="connsiteX31" fmla="*/ 2195 w 133208"/>
                  <a:gd name="connsiteY31" fmla="*/ 60183 h 129338"/>
                  <a:gd name="connsiteX32" fmla="*/ 7053 w 133208"/>
                  <a:gd name="connsiteY32" fmla="*/ 62598 h 129338"/>
                  <a:gd name="connsiteX33" fmla="*/ 10648 w 133208"/>
                  <a:gd name="connsiteY33" fmla="*/ 61417 h 129338"/>
                  <a:gd name="connsiteX34" fmla="*/ 19238 w 133208"/>
                  <a:gd name="connsiteY34" fmla="*/ 60704 h 129338"/>
                  <a:gd name="connsiteX35" fmla="*/ 21680 w 133208"/>
                  <a:gd name="connsiteY35" fmla="*/ 58344 h 129338"/>
                  <a:gd name="connsiteX36" fmla="*/ 23025 w 133208"/>
                  <a:gd name="connsiteY36" fmla="*/ 53157 h 129338"/>
                  <a:gd name="connsiteX37" fmla="*/ 27855 w 133208"/>
                  <a:gd name="connsiteY37" fmla="*/ 51950 h 129338"/>
                  <a:gd name="connsiteX38" fmla="*/ 26483 w 133208"/>
                  <a:gd name="connsiteY38" fmla="*/ 39710 h 129338"/>
                  <a:gd name="connsiteX39" fmla="*/ 29254 w 133208"/>
                  <a:gd name="connsiteY39" fmla="*/ 37213 h 129338"/>
                  <a:gd name="connsiteX40" fmla="*/ 38722 w 133208"/>
                  <a:gd name="connsiteY40" fmla="*/ 37515 h 129338"/>
                  <a:gd name="connsiteX41" fmla="*/ 47888 w 133208"/>
                  <a:gd name="connsiteY41" fmla="*/ 28815 h 129338"/>
                  <a:gd name="connsiteX42" fmla="*/ 50577 w 133208"/>
                  <a:gd name="connsiteY42" fmla="*/ 32438 h 129338"/>
                  <a:gd name="connsiteX43" fmla="*/ 56039 w 133208"/>
                  <a:gd name="connsiteY43" fmla="*/ 35237 h 129338"/>
                  <a:gd name="connsiteX44" fmla="*/ 57246 w 133208"/>
                  <a:gd name="connsiteY44" fmla="*/ 31779 h 129338"/>
                  <a:gd name="connsiteX45" fmla="*/ 65452 w 133208"/>
                  <a:gd name="connsiteY45" fmla="*/ 27416 h 129338"/>
                  <a:gd name="connsiteX46" fmla="*/ 68333 w 133208"/>
                  <a:gd name="connsiteY46" fmla="*/ 23793 h 129338"/>
                  <a:gd name="connsiteX47" fmla="*/ 73273 w 133208"/>
                  <a:gd name="connsiteY47" fmla="*/ 22394 h 129338"/>
                  <a:gd name="connsiteX48" fmla="*/ 72587 w 133208"/>
                  <a:gd name="connsiteY48" fmla="*/ 19128 h 129338"/>
                  <a:gd name="connsiteX49" fmla="*/ 74700 w 133208"/>
                  <a:gd name="connsiteY49" fmla="*/ 13941 h 129338"/>
                  <a:gd name="connsiteX50" fmla="*/ 82329 w 133208"/>
                  <a:gd name="connsiteY50" fmla="*/ 6120 h 129338"/>
                  <a:gd name="connsiteX51" fmla="*/ 84744 w 133208"/>
                  <a:gd name="connsiteY51" fmla="*/ 6504 h 129338"/>
                  <a:gd name="connsiteX52" fmla="*/ 87927 w 133208"/>
                  <a:gd name="connsiteY52" fmla="*/ 10401 h 129338"/>
                  <a:gd name="connsiteX53" fmla="*/ 94431 w 133208"/>
                  <a:gd name="connsiteY53" fmla="*/ 11471 h 129338"/>
                  <a:gd name="connsiteX54" fmla="*/ 101292 w 133208"/>
                  <a:gd name="connsiteY54" fmla="*/ 8453 h 129338"/>
                  <a:gd name="connsiteX55" fmla="*/ 113175 w 133208"/>
                  <a:gd name="connsiteY55" fmla="*/ 6916 h 129338"/>
                  <a:gd name="connsiteX56" fmla="*/ 125469 w 133208"/>
                  <a:gd name="connsiteY56" fmla="*/ 0 h 129338"/>
                  <a:gd name="connsiteX57" fmla="*/ 133208 w 133208"/>
                  <a:gd name="connsiteY57" fmla="*/ 357 h 129338"/>
                  <a:gd name="connsiteX58" fmla="*/ 128625 w 133208"/>
                  <a:gd name="connsiteY58" fmla="*/ 6971 h 12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33208" h="129338">
                    <a:moveTo>
                      <a:pt x="128625" y="6916"/>
                    </a:moveTo>
                    <a:lnTo>
                      <a:pt x="130985" y="22037"/>
                    </a:lnTo>
                    <a:lnTo>
                      <a:pt x="125058" y="31313"/>
                    </a:lnTo>
                    <a:lnTo>
                      <a:pt x="122807" y="38530"/>
                    </a:lnTo>
                    <a:lnTo>
                      <a:pt x="120804" y="51730"/>
                    </a:lnTo>
                    <a:lnTo>
                      <a:pt x="122231" y="65232"/>
                    </a:lnTo>
                    <a:lnTo>
                      <a:pt x="118856" y="67181"/>
                    </a:lnTo>
                    <a:lnTo>
                      <a:pt x="119322" y="71983"/>
                    </a:lnTo>
                    <a:lnTo>
                      <a:pt x="115315" y="75386"/>
                    </a:lnTo>
                    <a:lnTo>
                      <a:pt x="117703" y="84415"/>
                    </a:lnTo>
                    <a:lnTo>
                      <a:pt x="113422" y="94816"/>
                    </a:lnTo>
                    <a:lnTo>
                      <a:pt x="116633" y="95968"/>
                    </a:lnTo>
                    <a:lnTo>
                      <a:pt x="117978" y="102362"/>
                    </a:lnTo>
                    <a:lnTo>
                      <a:pt x="112461" y="109059"/>
                    </a:lnTo>
                    <a:lnTo>
                      <a:pt x="111858" y="112050"/>
                    </a:lnTo>
                    <a:lnTo>
                      <a:pt x="113724" y="118526"/>
                    </a:lnTo>
                    <a:lnTo>
                      <a:pt x="117099" y="122862"/>
                    </a:lnTo>
                    <a:lnTo>
                      <a:pt x="116825" y="127144"/>
                    </a:lnTo>
                    <a:lnTo>
                      <a:pt x="110129" y="129339"/>
                    </a:lnTo>
                    <a:lnTo>
                      <a:pt x="102774" y="127500"/>
                    </a:lnTo>
                    <a:lnTo>
                      <a:pt x="97313" y="121929"/>
                    </a:lnTo>
                    <a:lnTo>
                      <a:pt x="88751" y="119103"/>
                    </a:lnTo>
                    <a:lnTo>
                      <a:pt x="80408" y="122396"/>
                    </a:lnTo>
                    <a:lnTo>
                      <a:pt x="60978" y="115123"/>
                    </a:lnTo>
                    <a:lnTo>
                      <a:pt x="58179" y="118636"/>
                    </a:lnTo>
                    <a:lnTo>
                      <a:pt x="34743" y="98383"/>
                    </a:lnTo>
                    <a:lnTo>
                      <a:pt x="29227" y="90946"/>
                    </a:lnTo>
                    <a:lnTo>
                      <a:pt x="26098" y="85019"/>
                    </a:lnTo>
                    <a:lnTo>
                      <a:pt x="15643" y="77801"/>
                    </a:lnTo>
                    <a:lnTo>
                      <a:pt x="2195" y="65259"/>
                    </a:lnTo>
                    <a:lnTo>
                      <a:pt x="0" y="63229"/>
                    </a:lnTo>
                    <a:lnTo>
                      <a:pt x="2195" y="60183"/>
                    </a:lnTo>
                    <a:lnTo>
                      <a:pt x="7053" y="62598"/>
                    </a:lnTo>
                    <a:lnTo>
                      <a:pt x="10648" y="61417"/>
                    </a:lnTo>
                    <a:lnTo>
                      <a:pt x="19238" y="60704"/>
                    </a:lnTo>
                    <a:lnTo>
                      <a:pt x="21680" y="58344"/>
                    </a:lnTo>
                    <a:lnTo>
                      <a:pt x="23025" y="53157"/>
                    </a:lnTo>
                    <a:lnTo>
                      <a:pt x="27855" y="51950"/>
                    </a:lnTo>
                    <a:lnTo>
                      <a:pt x="26483" y="39710"/>
                    </a:lnTo>
                    <a:lnTo>
                      <a:pt x="29254" y="37213"/>
                    </a:lnTo>
                    <a:lnTo>
                      <a:pt x="38722" y="37515"/>
                    </a:lnTo>
                    <a:lnTo>
                      <a:pt x="47888" y="28815"/>
                    </a:lnTo>
                    <a:lnTo>
                      <a:pt x="50577" y="32438"/>
                    </a:lnTo>
                    <a:lnTo>
                      <a:pt x="56039" y="35237"/>
                    </a:lnTo>
                    <a:lnTo>
                      <a:pt x="57246" y="31779"/>
                    </a:lnTo>
                    <a:lnTo>
                      <a:pt x="65452" y="27416"/>
                    </a:lnTo>
                    <a:lnTo>
                      <a:pt x="68333" y="23793"/>
                    </a:lnTo>
                    <a:lnTo>
                      <a:pt x="73273" y="22394"/>
                    </a:lnTo>
                    <a:lnTo>
                      <a:pt x="72587" y="19128"/>
                    </a:lnTo>
                    <a:lnTo>
                      <a:pt x="74700" y="13941"/>
                    </a:lnTo>
                    <a:lnTo>
                      <a:pt x="82329" y="6120"/>
                    </a:lnTo>
                    <a:lnTo>
                      <a:pt x="84744" y="6504"/>
                    </a:lnTo>
                    <a:lnTo>
                      <a:pt x="87927" y="10401"/>
                    </a:lnTo>
                    <a:lnTo>
                      <a:pt x="94431" y="11471"/>
                    </a:lnTo>
                    <a:lnTo>
                      <a:pt x="101292" y="8453"/>
                    </a:lnTo>
                    <a:lnTo>
                      <a:pt x="113175" y="6916"/>
                    </a:lnTo>
                    <a:lnTo>
                      <a:pt x="125469" y="0"/>
                    </a:lnTo>
                    <a:lnTo>
                      <a:pt x="133208" y="357"/>
                    </a:lnTo>
                    <a:lnTo>
                      <a:pt x="128625" y="69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3" name="Freeform: Shape 4082">
                <a:extLst>
                  <a:ext uri="{FF2B5EF4-FFF2-40B4-BE49-F238E27FC236}">
                    <a16:creationId xmlns:a16="http://schemas.microsoft.com/office/drawing/2014/main" id="{FE44C37A-89A3-AECA-D0B6-2FDA7EA4951B}"/>
                  </a:ext>
                </a:extLst>
              </p:cNvPr>
              <p:cNvSpPr/>
              <p:nvPr/>
            </p:nvSpPr>
            <p:spPr>
              <a:xfrm>
                <a:off x="1575607" y="3736527"/>
                <a:ext cx="87616" cy="83039"/>
              </a:xfrm>
              <a:custGeom>
                <a:avLst/>
                <a:gdLst>
                  <a:gd name="connsiteX0" fmla="*/ 12679 w 840029"/>
                  <a:gd name="connsiteY0" fmla="*/ 298964 h 796148"/>
                  <a:gd name="connsiteX1" fmla="*/ 26949 w 840029"/>
                  <a:gd name="connsiteY1" fmla="*/ 298580 h 796148"/>
                  <a:gd name="connsiteX2" fmla="*/ 30956 w 840029"/>
                  <a:gd name="connsiteY2" fmla="*/ 298360 h 796148"/>
                  <a:gd name="connsiteX3" fmla="*/ 36911 w 840029"/>
                  <a:gd name="connsiteY3" fmla="*/ 301681 h 796148"/>
                  <a:gd name="connsiteX4" fmla="*/ 43223 w 840029"/>
                  <a:gd name="connsiteY4" fmla="*/ 301736 h 796148"/>
                  <a:gd name="connsiteX5" fmla="*/ 45775 w 840029"/>
                  <a:gd name="connsiteY5" fmla="*/ 300034 h 796148"/>
                  <a:gd name="connsiteX6" fmla="*/ 43333 w 840029"/>
                  <a:gd name="connsiteY6" fmla="*/ 304425 h 796148"/>
                  <a:gd name="connsiteX7" fmla="*/ 37158 w 840029"/>
                  <a:gd name="connsiteY7" fmla="*/ 306566 h 796148"/>
                  <a:gd name="connsiteX8" fmla="*/ 41522 w 840029"/>
                  <a:gd name="connsiteY8" fmla="*/ 311066 h 796148"/>
                  <a:gd name="connsiteX9" fmla="*/ 42098 w 840029"/>
                  <a:gd name="connsiteY9" fmla="*/ 320150 h 796148"/>
                  <a:gd name="connsiteX10" fmla="*/ 48711 w 840029"/>
                  <a:gd name="connsiteY10" fmla="*/ 323553 h 796148"/>
                  <a:gd name="connsiteX11" fmla="*/ 57384 w 840029"/>
                  <a:gd name="connsiteY11" fmla="*/ 318174 h 796148"/>
                  <a:gd name="connsiteX12" fmla="*/ 60923 w 840029"/>
                  <a:gd name="connsiteY12" fmla="*/ 313838 h 796148"/>
                  <a:gd name="connsiteX13" fmla="*/ 61500 w 840029"/>
                  <a:gd name="connsiteY13" fmla="*/ 309776 h 796148"/>
                  <a:gd name="connsiteX14" fmla="*/ 69129 w 840029"/>
                  <a:gd name="connsiteY14" fmla="*/ 311258 h 796148"/>
                  <a:gd name="connsiteX15" fmla="*/ 70282 w 840029"/>
                  <a:gd name="connsiteY15" fmla="*/ 315402 h 796148"/>
                  <a:gd name="connsiteX16" fmla="*/ 74096 w 840029"/>
                  <a:gd name="connsiteY16" fmla="*/ 317268 h 796148"/>
                  <a:gd name="connsiteX17" fmla="*/ 74919 w 840029"/>
                  <a:gd name="connsiteY17" fmla="*/ 312493 h 796148"/>
                  <a:gd name="connsiteX18" fmla="*/ 79749 w 840029"/>
                  <a:gd name="connsiteY18" fmla="*/ 305468 h 796148"/>
                  <a:gd name="connsiteX19" fmla="*/ 75331 w 840029"/>
                  <a:gd name="connsiteY19" fmla="*/ 299842 h 796148"/>
                  <a:gd name="connsiteX20" fmla="*/ 69815 w 840029"/>
                  <a:gd name="connsiteY20" fmla="*/ 298882 h 796148"/>
                  <a:gd name="connsiteX21" fmla="*/ 70089 w 840029"/>
                  <a:gd name="connsiteY21" fmla="*/ 296961 h 796148"/>
                  <a:gd name="connsiteX22" fmla="*/ 75468 w 840029"/>
                  <a:gd name="connsiteY22" fmla="*/ 294107 h 796148"/>
                  <a:gd name="connsiteX23" fmla="*/ 72614 w 840029"/>
                  <a:gd name="connsiteY23" fmla="*/ 290457 h 796148"/>
                  <a:gd name="connsiteX24" fmla="*/ 74755 w 840029"/>
                  <a:gd name="connsiteY24" fmla="*/ 284447 h 796148"/>
                  <a:gd name="connsiteX25" fmla="*/ 69047 w 840029"/>
                  <a:gd name="connsiteY25" fmla="*/ 270286 h 796148"/>
                  <a:gd name="connsiteX26" fmla="*/ 62954 w 840029"/>
                  <a:gd name="connsiteY26" fmla="*/ 262026 h 796148"/>
                  <a:gd name="connsiteX27" fmla="*/ 62460 w 840029"/>
                  <a:gd name="connsiteY27" fmla="*/ 252640 h 796148"/>
                  <a:gd name="connsiteX28" fmla="*/ 52279 w 840029"/>
                  <a:gd name="connsiteY28" fmla="*/ 252037 h 796148"/>
                  <a:gd name="connsiteX29" fmla="*/ 46543 w 840029"/>
                  <a:gd name="connsiteY29" fmla="*/ 244462 h 796148"/>
                  <a:gd name="connsiteX30" fmla="*/ 45994 w 840029"/>
                  <a:gd name="connsiteY30" fmla="*/ 240373 h 796148"/>
                  <a:gd name="connsiteX31" fmla="*/ 48492 w 840029"/>
                  <a:gd name="connsiteY31" fmla="*/ 232744 h 796148"/>
                  <a:gd name="connsiteX32" fmla="*/ 47943 w 840029"/>
                  <a:gd name="connsiteY32" fmla="*/ 224456 h 796148"/>
                  <a:gd name="connsiteX33" fmla="*/ 38722 w 840029"/>
                  <a:gd name="connsiteY33" fmla="*/ 222919 h 796148"/>
                  <a:gd name="connsiteX34" fmla="*/ 28925 w 840029"/>
                  <a:gd name="connsiteY34" fmla="*/ 217294 h 796148"/>
                  <a:gd name="connsiteX35" fmla="*/ 28925 w 840029"/>
                  <a:gd name="connsiteY35" fmla="*/ 210131 h 796148"/>
                  <a:gd name="connsiteX36" fmla="*/ 31011 w 840029"/>
                  <a:gd name="connsiteY36" fmla="*/ 204341 h 796148"/>
                  <a:gd name="connsiteX37" fmla="*/ 43497 w 840029"/>
                  <a:gd name="connsiteY37" fmla="*/ 191195 h 796148"/>
                  <a:gd name="connsiteX38" fmla="*/ 49096 w 840029"/>
                  <a:gd name="connsiteY38" fmla="*/ 180794 h 796148"/>
                  <a:gd name="connsiteX39" fmla="*/ 54666 w 840029"/>
                  <a:gd name="connsiteY39" fmla="*/ 176129 h 796148"/>
                  <a:gd name="connsiteX40" fmla="*/ 60265 w 840029"/>
                  <a:gd name="connsiteY40" fmla="*/ 176376 h 796148"/>
                  <a:gd name="connsiteX41" fmla="*/ 65232 w 840029"/>
                  <a:gd name="connsiteY41" fmla="*/ 184938 h 796148"/>
                  <a:gd name="connsiteX42" fmla="*/ 68306 w 840029"/>
                  <a:gd name="connsiteY42" fmla="*/ 186036 h 796148"/>
                  <a:gd name="connsiteX43" fmla="*/ 98575 w 840029"/>
                  <a:gd name="connsiteY43" fmla="*/ 177529 h 796148"/>
                  <a:gd name="connsiteX44" fmla="*/ 100798 w 840029"/>
                  <a:gd name="connsiteY44" fmla="*/ 171272 h 796148"/>
                  <a:gd name="connsiteX45" fmla="*/ 107576 w 840029"/>
                  <a:gd name="connsiteY45" fmla="*/ 163917 h 796148"/>
                  <a:gd name="connsiteX46" fmla="*/ 112132 w 840029"/>
                  <a:gd name="connsiteY46" fmla="*/ 152775 h 796148"/>
                  <a:gd name="connsiteX47" fmla="*/ 129888 w 840029"/>
                  <a:gd name="connsiteY47" fmla="*/ 141249 h 796148"/>
                  <a:gd name="connsiteX48" fmla="*/ 139053 w 840029"/>
                  <a:gd name="connsiteY48" fmla="*/ 125140 h 796148"/>
                  <a:gd name="connsiteX49" fmla="*/ 143362 w 840029"/>
                  <a:gd name="connsiteY49" fmla="*/ 111611 h 796148"/>
                  <a:gd name="connsiteX50" fmla="*/ 158703 w 840029"/>
                  <a:gd name="connsiteY50" fmla="*/ 103597 h 796148"/>
                  <a:gd name="connsiteX51" fmla="*/ 158044 w 840029"/>
                  <a:gd name="connsiteY51" fmla="*/ 95364 h 796148"/>
                  <a:gd name="connsiteX52" fmla="*/ 173385 w 840029"/>
                  <a:gd name="connsiteY52" fmla="*/ 77444 h 796148"/>
                  <a:gd name="connsiteX53" fmla="*/ 180218 w 840029"/>
                  <a:gd name="connsiteY53" fmla="*/ 72477 h 796148"/>
                  <a:gd name="connsiteX54" fmla="*/ 177062 w 840029"/>
                  <a:gd name="connsiteY54" fmla="*/ 69102 h 796148"/>
                  <a:gd name="connsiteX55" fmla="*/ 179395 w 840029"/>
                  <a:gd name="connsiteY55" fmla="*/ 58810 h 796148"/>
                  <a:gd name="connsiteX56" fmla="*/ 176458 w 840029"/>
                  <a:gd name="connsiteY56" fmla="*/ 50221 h 796148"/>
                  <a:gd name="connsiteX57" fmla="*/ 177007 w 840029"/>
                  <a:gd name="connsiteY57" fmla="*/ 47339 h 796148"/>
                  <a:gd name="connsiteX58" fmla="*/ 187271 w 840029"/>
                  <a:gd name="connsiteY58" fmla="*/ 39271 h 796148"/>
                  <a:gd name="connsiteX59" fmla="*/ 197727 w 840029"/>
                  <a:gd name="connsiteY59" fmla="*/ 36856 h 796148"/>
                  <a:gd name="connsiteX60" fmla="*/ 200910 w 840029"/>
                  <a:gd name="connsiteY60" fmla="*/ 32136 h 796148"/>
                  <a:gd name="connsiteX61" fmla="*/ 200114 w 840029"/>
                  <a:gd name="connsiteY61" fmla="*/ 29199 h 796148"/>
                  <a:gd name="connsiteX62" fmla="*/ 205191 w 840029"/>
                  <a:gd name="connsiteY62" fmla="*/ 30132 h 796148"/>
                  <a:gd name="connsiteX63" fmla="*/ 212546 w 840029"/>
                  <a:gd name="connsiteY63" fmla="*/ 24644 h 796148"/>
                  <a:gd name="connsiteX64" fmla="*/ 217348 w 840029"/>
                  <a:gd name="connsiteY64" fmla="*/ 17756 h 796148"/>
                  <a:gd name="connsiteX65" fmla="*/ 216745 w 840029"/>
                  <a:gd name="connsiteY65" fmla="*/ 10264 h 796148"/>
                  <a:gd name="connsiteX66" fmla="*/ 235488 w 840029"/>
                  <a:gd name="connsiteY66" fmla="*/ 0 h 796148"/>
                  <a:gd name="connsiteX67" fmla="*/ 243447 w 840029"/>
                  <a:gd name="connsiteY67" fmla="*/ 1098 h 796148"/>
                  <a:gd name="connsiteX68" fmla="*/ 251625 w 840029"/>
                  <a:gd name="connsiteY68" fmla="*/ 8205 h 796148"/>
                  <a:gd name="connsiteX69" fmla="*/ 258540 w 840029"/>
                  <a:gd name="connsiteY69" fmla="*/ 11169 h 796148"/>
                  <a:gd name="connsiteX70" fmla="*/ 271493 w 840029"/>
                  <a:gd name="connsiteY70" fmla="*/ 7739 h 796148"/>
                  <a:gd name="connsiteX71" fmla="*/ 278793 w 840029"/>
                  <a:gd name="connsiteY71" fmla="*/ 17893 h 796148"/>
                  <a:gd name="connsiteX72" fmla="*/ 289194 w 840029"/>
                  <a:gd name="connsiteY72" fmla="*/ 15862 h 796148"/>
                  <a:gd name="connsiteX73" fmla="*/ 288892 w 840029"/>
                  <a:gd name="connsiteY73" fmla="*/ 21790 h 796148"/>
                  <a:gd name="connsiteX74" fmla="*/ 290264 w 840029"/>
                  <a:gd name="connsiteY74" fmla="*/ 22421 h 796148"/>
                  <a:gd name="connsiteX75" fmla="*/ 292433 w 840029"/>
                  <a:gd name="connsiteY75" fmla="*/ 32218 h 796148"/>
                  <a:gd name="connsiteX76" fmla="*/ 292021 w 840029"/>
                  <a:gd name="connsiteY76" fmla="*/ 35017 h 796148"/>
                  <a:gd name="connsiteX77" fmla="*/ 301132 w 840029"/>
                  <a:gd name="connsiteY77" fmla="*/ 42729 h 796148"/>
                  <a:gd name="connsiteX78" fmla="*/ 299431 w 840029"/>
                  <a:gd name="connsiteY78" fmla="*/ 48684 h 796148"/>
                  <a:gd name="connsiteX79" fmla="*/ 302504 w 840029"/>
                  <a:gd name="connsiteY79" fmla="*/ 54282 h 796148"/>
                  <a:gd name="connsiteX80" fmla="*/ 300308 w 840029"/>
                  <a:gd name="connsiteY80" fmla="*/ 58152 h 796148"/>
                  <a:gd name="connsiteX81" fmla="*/ 301379 w 840029"/>
                  <a:gd name="connsiteY81" fmla="*/ 63613 h 796148"/>
                  <a:gd name="connsiteX82" fmla="*/ 304617 w 840029"/>
                  <a:gd name="connsiteY82" fmla="*/ 65699 h 796148"/>
                  <a:gd name="connsiteX83" fmla="*/ 310133 w 840029"/>
                  <a:gd name="connsiteY83" fmla="*/ 74563 h 796148"/>
                  <a:gd name="connsiteX84" fmla="*/ 315924 w 840029"/>
                  <a:gd name="connsiteY84" fmla="*/ 76401 h 796148"/>
                  <a:gd name="connsiteX85" fmla="*/ 320314 w 840029"/>
                  <a:gd name="connsiteY85" fmla="*/ 72861 h 796148"/>
                  <a:gd name="connsiteX86" fmla="*/ 325089 w 840029"/>
                  <a:gd name="connsiteY86" fmla="*/ 76868 h 796148"/>
                  <a:gd name="connsiteX87" fmla="*/ 331676 w 840029"/>
                  <a:gd name="connsiteY87" fmla="*/ 75797 h 796148"/>
                  <a:gd name="connsiteX88" fmla="*/ 335930 w 840029"/>
                  <a:gd name="connsiteY88" fmla="*/ 79365 h 796148"/>
                  <a:gd name="connsiteX89" fmla="*/ 343723 w 840029"/>
                  <a:gd name="connsiteY89" fmla="*/ 89327 h 796148"/>
                  <a:gd name="connsiteX90" fmla="*/ 356594 w 840029"/>
                  <a:gd name="connsiteY90" fmla="*/ 94102 h 796148"/>
                  <a:gd name="connsiteX91" fmla="*/ 362522 w 840029"/>
                  <a:gd name="connsiteY91" fmla="*/ 98410 h 796148"/>
                  <a:gd name="connsiteX92" fmla="*/ 367050 w 840029"/>
                  <a:gd name="connsiteY92" fmla="*/ 100387 h 796148"/>
                  <a:gd name="connsiteX93" fmla="*/ 367818 w 840029"/>
                  <a:gd name="connsiteY93" fmla="*/ 102253 h 796148"/>
                  <a:gd name="connsiteX94" fmla="*/ 363757 w 840029"/>
                  <a:gd name="connsiteY94" fmla="*/ 103460 h 796148"/>
                  <a:gd name="connsiteX95" fmla="*/ 349487 w 840029"/>
                  <a:gd name="connsiteY95" fmla="*/ 116989 h 796148"/>
                  <a:gd name="connsiteX96" fmla="*/ 348801 w 840029"/>
                  <a:gd name="connsiteY96" fmla="*/ 122615 h 796148"/>
                  <a:gd name="connsiteX97" fmla="*/ 345453 w 840029"/>
                  <a:gd name="connsiteY97" fmla="*/ 128543 h 796148"/>
                  <a:gd name="connsiteX98" fmla="*/ 345260 w 840029"/>
                  <a:gd name="connsiteY98" fmla="*/ 136364 h 796148"/>
                  <a:gd name="connsiteX99" fmla="*/ 341610 w 840029"/>
                  <a:gd name="connsiteY99" fmla="*/ 140892 h 796148"/>
                  <a:gd name="connsiteX100" fmla="*/ 340073 w 840029"/>
                  <a:gd name="connsiteY100" fmla="*/ 147232 h 796148"/>
                  <a:gd name="connsiteX101" fmla="*/ 349459 w 840029"/>
                  <a:gd name="connsiteY101" fmla="*/ 155382 h 796148"/>
                  <a:gd name="connsiteX102" fmla="*/ 355579 w 840029"/>
                  <a:gd name="connsiteY102" fmla="*/ 154751 h 796148"/>
                  <a:gd name="connsiteX103" fmla="*/ 371414 w 840029"/>
                  <a:gd name="connsiteY103" fmla="*/ 163944 h 796148"/>
                  <a:gd name="connsiteX104" fmla="*/ 376216 w 840029"/>
                  <a:gd name="connsiteY104" fmla="*/ 170970 h 796148"/>
                  <a:gd name="connsiteX105" fmla="*/ 379729 w 840029"/>
                  <a:gd name="connsiteY105" fmla="*/ 171519 h 796148"/>
                  <a:gd name="connsiteX106" fmla="*/ 391090 w 840029"/>
                  <a:gd name="connsiteY106" fmla="*/ 179724 h 796148"/>
                  <a:gd name="connsiteX107" fmla="*/ 397758 w 840029"/>
                  <a:gd name="connsiteY107" fmla="*/ 179532 h 796148"/>
                  <a:gd name="connsiteX108" fmla="*/ 408873 w 840029"/>
                  <a:gd name="connsiteY108" fmla="*/ 186173 h 796148"/>
                  <a:gd name="connsiteX109" fmla="*/ 416036 w 840029"/>
                  <a:gd name="connsiteY109" fmla="*/ 186557 h 796148"/>
                  <a:gd name="connsiteX110" fmla="*/ 420426 w 840029"/>
                  <a:gd name="connsiteY110" fmla="*/ 192842 h 796148"/>
                  <a:gd name="connsiteX111" fmla="*/ 434806 w 840029"/>
                  <a:gd name="connsiteY111" fmla="*/ 197535 h 796148"/>
                  <a:gd name="connsiteX112" fmla="*/ 438786 w 840029"/>
                  <a:gd name="connsiteY112" fmla="*/ 194324 h 796148"/>
                  <a:gd name="connsiteX113" fmla="*/ 450065 w 840029"/>
                  <a:gd name="connsiteY113" fmla="*/ 196684 h 796148"/>
                  <a:gd name="connsiteX114" fmla="*/ 459259 w 840029"/>
                  <a:gd name="connsiteY114" fmla="*/ 193555 h 796148"/>
                  <a:gd name="connsiteX115" fmla="*/ 473145 w 840029"/>
                  <a:gd name="connsiteY115" fmla="*/ 199263 h 796148"/>
                  <a:gd name="connsiteX116" fmla="*/ 476218 w 840029"/>
                  <a:gd name="connsiteY116" fmla="*/ 208567 h 796148"/>
                  <a:gd name="connsiteX117" fmla="*/ 491860 w 840029"/>
                  <a:gd name="connsiteY117" fmla="*/ 216964 h 796148"/>
                  <a:gd name="connsiteX118" fmla="*/ 502838 w 840029"/>
                  <a:gd name="connsiteY118" fmla="*/ 214659 h 796148"/>
                  <a:gd name="connsiteX119" fmla="*/ 509150 w 840029"/>
                  <a:gd name="connsiteY119" fmla="*/ 222425 h 796148"/>
                  <a:gd name="connsiteX120" fmla="*/ 515818 w 840029"/>
                  <a:gd name="connsiteY120" fmla="*/ 221136 h 796148"/>
                  <a:gd name="connsiteX121" fmla="*/ 523118 w 840029"/>
                  <a:gd name="connsiteY121" fmla="*/ 222316 h 796148"/>
                  <a:gd name="connsiteX122" fmla="*/ 535056 w 840029"/>
                  <a:gd name="connsiteY122" fmla="*/ 227694 h 796148"/>
                  <a:gd name="connsiteX123" fmla="*/ 544249 w 840029"/>
                  <a:gd name="connsiteY123" fmla="*/ 224895 h 796148"/>
                  <a:gd name="connsiteX124" fmla="*/ 547625 w 840029"/>
                  <a:gd name="connsiteY124" fmla="*/ 228298 h 796148"/>
                  <a:gd name="connsiteX125" fmla="*/ 552647 w 840029"/>
                  <a:gd name="connsiteY125" fmla="*/ 229835 h 796148"/>
                  <a:gd name="connsiteX126" fmla="*/ 566533 w 840029"/>
                  <a:gd name="connsiteY126" fmla="*/ 227832 h 796148"/>
                  <a:gd name="connsiteX127" fmla="*/ 568289 w 840029"/>
                  <a:gd name="connsiteY127" fmla="*/ 227585 h 796148"/>
                  <a:gd name="connsiteX128" fmla="*/ 572845 w 840029"/>
                  <a:gd name="connsiteY128" fmla="*/ 229396 h 796148"/>
                  <a:gd name="connsiteX129" fmla="*/ 574793 w 840029"/>
                  <a:gd name="connsiteY129" fmla="*/ 227804 h 796148"/>
                  <a:gd name="connsiteX130" fmla="*/ 577785 w 840029"/>
                  <a:gd name="connsiteY130" fmla="*/ 217787 h 796148"/>
                  <a:gd name="connsiteX131" fmla="*/ 573092 w 840029"/>
                  <a:gd name="connsiteY131" fmla="*/ 204752 h 796148"/>
                  <a:gd name="connsiteX132" fmla="*/ 574437 w 840029"/>
                  <a:gd name="connsiteY132" fmla="*/ 193034 h 796148"/>
                  <a:gd name="connsiteX133" fmla="*/ 577592 w 840029"/>
                  <a:gd name="connsiteY133" fmla="*/ 183429 h 796148"/>
                  <a:gd name="connsiteX134" fmla="*/ 576660 w 840029"/>
                  <a:gd name="connsiteY134" fmla="*/ 180355 h 796148"/>
                  <a:gd name="connsiteX135" fmla="*/ 577565 w 840029"/>
                  <a:gd name="connsiteY135" fmla="*/ 178242 h 796148"/>
                  <a:gd name="connsiteX136" fmla="*/ 590409 w 840029"/>
                  <a:gd name="connsiteY136" fmla="*/ 173275 h 796148"/>
                  <a:gd name="connsiteX137" fmla="*/ 595815 w 840029"/>
                  <a:gd name="connsiteY137" fmla="*/ 174894 h 796148"/>
                  <a:gd name="connsiteX138" fmla="*/ 598339 w 840029"/>
                  <a:gd name="connsiteY138" fmla="*/ 181508 h 796148"/>
                  <a:gd name="connsiteX139" fmla="*/ 595650 w 840029"/>
                  <a:gd name="connsiteY139" fmla="*/ 192266 h 796148"/>
                  <a:gd name="connsiteX140" fmla="*/ 599849 w 840029"/>
                  <a:gd name="connsiteY140" fmla="*/ 200581 h 796148"/>
                  <a:gd name="connsiteX141" fmla="*/ 595705 w 840029"/>
                  <a:gd name="connsiteY141" fmla="*/ 205493 h 796148"/>
                  <a:gd name="connsiteX142" fmla="*/ 600288 w 840029"/>
                  <a:gd name="connsiteY142" fmla="*/ 211201 h 796148"/>
                  <a:gd name="connsiteX143" fmla="*/ 606792 w 840029"/>
                  <a:gd name="connsiteY143" fmla="*/ 215537 h 796148"/>
                  <a:gd name="connsiteX144" fmla="*/ 609399 w 840029"/>
                  <a:gd name="connsiteY144" fmla="*/ 215180 h 796148"/>
                  <a:gd name="connsiteX145" fmla="*/ 613515 w 840029"/>
                  <a:gd name="connsiteY145" fmla="*/ 214604 h 796148"/>
                  <a:gd name="connsiteX146" fmla="*/ 625316 w 840029"/>
                  <a:gd name="connsiteY146" fmla="*/ 218885 h 796148"/>
                  <a:gd name="connsiteX147" fmla="*/ 629981 w 840029"/>
                  <a:gd name="connsiteY147" fmla="*/ 218227 h 796148"/>
                  <a:gd name="connsiteX148" fmla="*/ 635332 w 840029"/>
                  <a:gd name="connsiteY148" fmla="*/ 217458 h 796148"/>
                  <a:gd name="connsiteX149" fmla="*/ 637775 w 840029"/>
                  <a:gd name="connsiteY149" fmla="*/ 216196 h 796148"/>
                  <a:gd name="connsiteX150" fmla="*/ 643483 w 840029"/>
                  <a:gd name="connsiteY150" fmla="*/ 213260 h 796148"/>
                  <a:gd name="connsiteX151" fmla="*/ 652402 w 840029"/>
                  <a:gd name="connsiteY151" fmla="*/ 216882 h 796148"/>
                  <a:gd name="connsiteX152" fmla="*/ 666837 w 840029"/>
                  <a:gd name="connsiteY152" fmla="*/ 216525 h 796148"/>
                  <a:gd name="connsiteX153" fmla="*/ 670569 w 840029"/>
                  <a:gd name="connsiteY153" fmla="*/ 216415 h 796148"/>
                  <a:gd name="connsiteX154" fmla="*/ 674494 w 840029"/>
                  <a:gd name="connsiteY154" fmla="*/ 214055 h 796148"/>
                  <a:gd name="connsiteX155" fmla="*/ 677238 w 840029"/>
                  <a:gd name="connsiteY155" fmla="*/ 214906 h 796148"/>
                  <a:gd name="connsiteX156" fmla="*/ 680970 w 840029"/>
                  <a:gd name="connsiteY156" fmla="*/ 216086 h 796148"/>
                  <a:gd name="connsiteX157" fmla="*/ 693539 w 840029"/>
                  <a:gd name="connsiteY157" fmla="*/ 214220 h 796148"/>
                  <a:gd name="connsiteX158" fmla="*/ 698451 w 840029"/>
                  <a:gd name="connsiteY158" fmla="*/ 213342 h 796148"/>
                  <a:gd name="connsiteX159" fmla="*/ 702184 w 840029"/>
                  <a:gd name="connsiteY159" fmla="*/ 212683 h 796148"/>
                  <a:gd name="connsiteX160" fmla="*/ 709045 w 840029"/>
                  <a:gd name="connsiteY160" fmla="*/ 211146 h 796148"/>
                  <a:gd name="connsiteX161" fmla="*/ 723370 w 840029"/>
                  <a:gd name="connsiteY161" fmla="*/ 213205 h 796148"/>
                  <a:gd name="connsiteX162" fmla="*/ 742195 w 840029"/>
                  <a:gd name="connsiteY162" fmla="*/ 208923 h 796148"/>
                  <a:gd name="connsiteX163" fmla="*/ 746806 w 840029"/>
                  <a:gd name="connsiteY163" fmla="*/ 201185 h 796148"/>
                  <a:gd name="connsiteX164" fmla="*/ 756932 w 840029"/>
                  <a:gd name="connsiteY164" fmla="*/ 190784 h 796148"/>
                  <a:gd name="connsiteX165" fmla="*/ 765110 w 840029"/>
                  <a:gd name="connsiteY165" fmla="*/ 189384 h 796148"/>
                  <a:gd name="connsiteX166" fmla="*/ 774551 w 840029"/>
                  <a:gd name="connsiteY166" fmla="*/ 185076 h 796148"/>
                  <a:gd name="connsiteX167" fmla="*/ 786159 w 840029"/>
                  <a:gd name="connsiteY167" fmla="*/ 178599 h 796148"/>
                  <a:gd name="connsiteX168" fmla="*/ 791099 w 840029"/>
                  <a:gd name="connsiteY168" fmla="*/ 171299 h 796148"/>
                  <a:gd name="connsiteX169" fmla="*/ 802652 w 840029"/>
                  <a:gd name="connsiteY169" fmla="*/ 166799 h 796148"/>
                  <a:gd name="connsiteX170" fmla="*/ 807976 w 840029"/>
                  <a:gd name="connsiteY170" fmla="*/ 169323 h 796148"/>
                  <a:gd name="connsiteX171" fmla="*/ 815414 w 840029"/>
                  <a:gd name="connsiteY171" fmla="*/ 168994 h 796148"/>
                  <a:gd name="connsiteX172" fmla="*/ 837532 w 840029"/>
                  <a:gd name="connsiteY172" fmla="*/ 181727 h 796148"/>
                  <a:gd name="connsiteX173" fmla="*/ 839124 w 840029"/>
                  <a:gd name="connsiteY173" fmla="*/ 184911 h 796148"/>
                  <a:gd name="connsiteX174" fmla="*/ 835310 w 840029"/>
                  <a:gd name="connsiteY174" fmla="*/ 188918 h 796148"/>
                  <a:gd name="connsiteX175" fmla="*/ 834843 w 840029"/>
                  <a:gd name="connsiteY175" fmla="*/ 192211 h 796148"/>
                  <a:gd name="connsiteX176" fmla="*/ 840030 w 840029"/>
                  <a:gd name="connsiteY176" fmla="*/ 204999 h 796148"/>
                  <a:gd name="connsiteX177" fmla="*/ 835310 w 840029"/>
                  <a:gd name="connsiteY177" fmla="*/ 203984 h 796148"/>
                  <a:gd name="connsiteX178" fmla="*/ 829053 w 840029"/>
                  <a:gd name="connsiteY178" fmla="*/ 198084 h 796148"/>
                  <a:gd name="connsiteX179" fmla="*/ 811544 w 840029"/>
                  <a:gd name="connsiteY179" fmla="*/ 202337 h 796148"/>
                  <a:gd name="connsiteX180" fmla="*/ 791483 w 840029"/>
                  <a:gd name="connsiteY180" fmla="*/ 218885 h 796148"/>
                  <a:gd name="connsiteX181" fmla="*/ 783634 w 840029"/>
                  <a:gd name="connsiteY181" fmla="*/ 222590 h 796148"/>
                  <a:gd name="connsiteX182" fmla="*/ 781165 w 840029"/>
                  <a:gd name="connsiteY182" fmla="*/ 231427 h 796148"/>
                  <a:gd name="connsiteX183" fmla="*/ 782811 w 840029"/>
                  <a:gd name="connsiteY183" fmla="*/ 241059 h 796148"/>
                  <a:gd name="connsiteX184" fmla="*/ 775649 w 840029"/>
                  <a:gd name="connsiteY184" fmla="*/ 255494 h 796148"/>
                  <a:gd name="connsiteX185" fmla="*/ 767580 w 840029"/>
                  <a:gd name="connsiteY185" fmla="*/ 263864 h 796148"/>
                  <a:gd name="connsiteX186" fmla="*/ 767086 w 840029"/>
                  <a:gd name="connsiteY186" fmla="*/ 267514 h 796148"/>
                  <a:gd name="connsiteX187" fmla="*/ 769940 w 840029"/>
                  <a:gd name="connsiteY187" fmla="*/ 271466 h 796148"/>
                  <a:gd name="connsiteX188" fmla="*/ 770133 w 840029"/>
                  <a:gd name="connsiteY188" fmla="*/ 275116 h 796148"/>
                  <a:gd name="connsiteX189" fmla="*/ 758360 w 840029"/>
                  <a:gd name="connsiteY189" fmla="*/ 298360 h 796148"/>
                  <a:gd name="connsiteX190" fmla="*/ 754353 w 840029"/>
                  <a:gd name="connsiteY190" fmla="*/ 309831 h 796148"/>
                  <a:gd name="connsiteX191" fmla="*/ 730642 w 840029"/>
                  <a:gd name="connsiteY191" fmla="*/ 306785 h 796148"/>
                  <a:gd name="connsiteX192" fmla="*/ 732234 w 840029"/>
                  <a:gd name="connsiteY192" fmla="*/ 318833 h 796148"/>
                  <a:gd name="connsiteX193" fmla="*/ 730176 w 840029"/>
                  <a:gd name="connsiteY193" fmla="*/ 335161 h 796148"/>
                  <a:gd name="connsiteX194" fmla="*/ 728446 w 840029"/>
                  <a:gd name="connsiteY194" fmla="*/ 338207 h 796148"/>
                  <a:gd name="connsiteX195" fmla="*/ 724248 w 840029"/>
                  <a:gd name="connsiteY195" fmla="*/ 339607 h 796148"/>
                  <a:gd name="connsiteX196" fmla="*/ 723150 w 840029"/>
                  <a:gd name="connsiteY196" fmla="*/ 346879 h 796148"/>
                  <a:gd name="connsiteX197" fmla="*/ 724769 w 840029"/>
                  <a:gd name="connsiteY197" fmla="*/ 362796 h 796148"/>
                  <a:gd name="connsiteX198" fmla="*/ 718705 w 840029"/>
                  <a:gd name="connsiteY198" fmla="*/ 370425 h 796148"/>
                  <a:gd name="connsiteX199" fmla="*/ 711459 w 840029"/>
                  <a:gd name="connsiteY199" fmla="*/ 367818 h 796148"/>
                  <a:gd name="connsiteX200" fmla="*/ 708221 w 840029"/>
                  <a:gd name="connsiteY200" fmla="*/ 372182 h 796148"/>
                  <a:gd name="connsiteX201" fmla="*/ 705587 w 840029"/>
                  <a:gd name="connsiteY201" fmla="*/ 350557 h 796148"/>
                  <a:gd name="connsiteX202" fmla="*/ 702375 w 840029"/>
                  <a:gd name="connsiteY202" fmla="*/ 342159 h 796148"/>
                  <a:gd name="connsiteX203" fmla="*/ 701305 w 840029"/>
                  <a:gd name="connsiteY203" fmla="*/ 328849 h 796148"/>
                  <a:gd name="connsiteX204" fmla="*/ 698479 w 840029"/>
                  <a:gd name="connsiteY204" fmla="*/ 319162 h 796148"/>
                  <a:gd name="connsiteX205" fmla="*/ 696914 w 840029"/>
                  <a:gd name="connsiteY205" fmla="*/ 318092 h 796148"/>
                  <a:gd name="connsiteX206" fmla="*/ 689725 w 840029"/>
                  <a:gd name="connsiteY206" fmla="*/ 318366 h 796148"/>
                  <a:gd name="connsiteX207" fmla="*/ 688462 w 840029"/>
                  <a:gd name="connsiteY207" fmla="*/ 324376 h 796148"/>
                  <a:gd name="connsiteX208" fmla="*/ 684538 w 840029"/>
                  <a:gd name="connsiteY208" fmla="*/ 330633 h 796148"/>
                  <a:gd name="connsiteX209" fmla="*/ 683770 w 840029"/>
                  <a:gd name="connsiteY209" fmla="*/ 336835 h 796148"/>
                  <a:gd name="connsiteX210" fmla="*/ 679680 w 840029"/>
                  <a:gd name="connsiteY210" fmla="*/ 339332 h 796148"/>
                  <a:gd name="connsiteX211" fmla="*/ 677265 w 840029"/>
                  <a:gd name="connsiteY211" fmla="*/ 336918 h 796148"/>
                  <a:gd name="connsiteX212" fmla="*/ 674576 w 840029"/>
                  <a:gd name="connsiteY212" fmla="*/ 334256 h 796148"/>
                  <a:gd name="connsiteX213" fmla="*/ 671201 w 840029"/>
                  <a:gd name="connsiteY213" fmla="*/ 334777 h 796148"/>
                  <a:gd name="connsiteX214" fmla="*/ 666892 w 840029"/>
                  <a:gd name="connsiteY214" fmla="*/ 320617 h 796148"/>
                  <a:gd name="connsiteX215" fmla="*/ 666288 w 840029"/>
                  <a:gd name="connsiteY215" fmla="*/ 318695 h 796148"/>
                  <a:gd name="connsiteX216" fmla="*/ 666892 w 840029"/>
                  <a:gd name="connsiteY216" fmla="*/ 316500 h 796148"/>
                  <a:gd name="connsiteX217" fmla="*/ 668456 w 840029"/>
                  <a:gd name="connsiteY217" fmla="*/ 310517 h 796148"/>
                  <a:gd name="connsiteX218" fmla="*/ 672161 w 840029"/>
                  <a:gd name="connsiteY218" fmla="*/ 305962 h 796148"/>
                  <a:gd name="connsiteX219" fmla="*/ 677293 w 840029"/>
                  <a:gd name="connsiteY219" fmla="*/ 303712 h 796148"/>
                  <a:gd name="connsiteX220" fmla="*/ 682562 w 840029"/>
                  <a:gd name="connsiteY220" fmla="*/ 301352 h 796148"/>
                  <a:gd name="connsiteX221" fmla="*/ 686843 w 840029"/>
                  <a:gd name="connsiteY221" fmla="*/ 301022 h 796148"/>
                  <a:gd name="connsiteX222" fmla="*/ 689340 w 840029"/>
                  <a:gd name="connsiteY222" fmla="*/ 296631 h 796148"/>
                  <a:gd name="connsiteX223" fmla="*/ 693594 w 840029"/>
                  <a:gd name="connsiteY223" fmla="*/ 293832 h 796148"/>
                  <a:gd name="connsiteX224" fmla="*/ 698506 w 840029"/>
                  <a:gd name="connsiteY224" fmla="*/ 281977 h 796148"/>
                  <a:gd name="connsiteX225" fmla="*/ 703775 w 840029"/>
                  <a:gd name="connsiteY225" fmla="*/ 278135 h 796148"/>
                  <a:gd name="connsiteX226" fmla="*/ 702540 w 840029"/>
                  <a:gd name="connsiteY226" fmla="*/ 275363 h 796148"/>
                  <a:gd name="connsiteX227" fmla="*/ 698506 w 840029"/>
                  <a:gd name="connsiteY227" fmla="*/ 273113 h 796148"/>
                  <a:gd name="connsiteX228" fmla="*/ 691234 w 840029"/>
                  <a:gd name="connsiteY228" fmla="*/ 269490 h 796148"/>
                  <a:gd name="connsiteX229" fmla="*/ 677293 w 840029"/>
                  <a:gd name="connsiteY229" fmla="*/ 269655 h 796148"/>
                  <a:gd name="connsiteX230" fmla="*/ 666892 w 840029"/>
                  <a:gd name="connsiteY230" fmla="*/ 269737 h 796148"/>
                  <a:gd name="connsiteX231" fmla="*/ 644636 w 840029"/>
                  <a:gd name="connsiteY231" fmla="*/ 269984 h 796148"/>
                  <a:gd name="connsiteX232" fmla="*/ 637830 w 840029"/>
                  <a:gd name="connsiteY232" fmla="*/ 268091 h 796148"/>
                  <a:gd name="connsiteX233" fmla="*/ 630036 w 840029"/>
                  <a:gd name="connsiteY233" fmla="*/ 265895 h 796148"/>
                  <a:gd name="connsiteX234" fmla="*/ 626661 w 840029"/>
                  <a:gd name="connsiteY234" fmla="*/ 261532 h 796148"/>
                  <a:gd name="connsiteX235" fmla="*/ 626935 w 840029"/>
                  <a:gd name="connsiteY235" fmla="*/ 245642 h 796148"/>
                  <a:gd name="connsiteX236" fmla="*/ 622709 w 840029"/>
                  <a:gd name="connsiteY236" fmla="*/ 238040 h 796148"/>
                  <a:gd name="connsiteX237" fmla="*/ 617604 w 840029"/>
                  <a:gd name="connsiteY237" fmla="*/ 241443 h 796148"/>
                  <a:gd name="connsiteX238" fmla="*/ 612829 w 840029"/>
                  <a:gd name="connsiteY238" fmla="*/ 241361 h 796148"/>
                  <a:gd name="connsiteX239" fmla="*/ 602346 w 840029"/>
                  <a:gd name="connsiteY239" fmla="*/ 229972 h 796148"/>
                  <a:gd name="connsiteX240" fmla="*/ 600974 w 840029"/>
                  <a:gd name="connsiteY240" fmla="*/ 233238 h 796148"/>
                  <a:gd name="connsiteX241" fmla="*/ 598229 w 840029"/>
                  <a:gd name="connsiteY241" fmla="*/ 233458 h 796148"/>
                  <a:gd name="connsiteX242" fmla="*/ 586182 w 840029"/>
                  <a:gd name="connsiteY242" fmla="*/ 226295 h 796148"/>
                  <a:gd name="connsiteX243" fmla="*/ 586045 w 840029"/>
                  <a:gd name="connsiteY243" fmla="*/ 230686 h 796148"/>
                  <a:gd name="connsiteX244" fmla="*/ 578827 w 840029"/>
                  <a:gd name="connsiteY244" fmla="*/ 238452 h 796148"/>
                  <a:gd name="connsiteX245" fmla="*/ 577263 w 840029"/>
                  <a:gd name="connsiteY245" fmla="*/ 247893 h 796148"/>
                  <a:gd name="connsiteX246" fmla="*/ 588844 w 840029"/>
                  <a:gd name="connsiteY246" fmla="*/ 257498 h 796148"/>
                  <a:gd name="connsiteX247" fmla="*/ 595815 w 840029"/>
                  <a:gd name="connsiteY247" fmla="*/ 259364 h 796148"/>
                  <a:gd name="connsiteX248" fmla="*/ 600343 w 840029"/>
                  <a:gd name="connsiteY248" fmla="*/ 265895 h 796148"/>
                  <a:gd name="connsiteX249" fmla="*/ 598229 w 840029"/>
                  <a:gd name="connsiteY249" fmla="*/ 268420 h 796148"/>
                  <a:gd name="connsiteX250" fmla="*/ 586951 w 840029"/>
                  <a:gd name="connsiteY250" fmla="*/ 269600 h 796148"/>
                  <a:gd name="connsiteX251" fmla="*/ 583712 w 840029"/>
                  <a:gd name="connsiteY251" fmla="*/ 276104 h 796148"/>
                  <a:gd name="connsiteX252" fmla="*/ 577510 w 840029"/>
                  <a:gd name="connsiteY252" fmla="*/ 278848 h 796148"/>
                  <a:gd name="connsiteX253" fmla="*/ 574930 w 840029"/>
                  <a:gd name="connsiteY253" fmla="*/ 284913 h 796148"/>
                  <a:gd name="connsiteX254" fmla="*/ 578635 w 840029"/>
                  <a:gd name="connsiteY254" fmla="*/ 291527 h 796148"/>
                  <a:gd name="connsiteX255" fmla="*/ 593537 w 840029"/>
                  <a:gd name="connsiteY255" fmla="*/ 300034 h 796148"/>
                  <a:gd name="connsiteX256" fmla="*/ 594140 w 840029"/>
                  <a:gd name="connsiteY256" fmla="*/ 307581 h 796148"/>
                  <a:gd name="connsiteX257" fmla="*/ 590518 w 840029"/>
                  <a:gd name="connsiteY257" fmla="*/ 317323 h 796148"/>
                  <a:gd name="connsiteX258" fmla="*/ 594827 w 840029"/>
                  <a:gd name="connsiteY258" fmla="*/ 324623 h 796148"/>
                  <a:gd name="connsiteX259" fmla="*/ 595815 w 840029"/>
                  <a:gd name="connsiteY259" fmla="*/ 330743 h 796148"/>
                  <a:gd name="connsiteX260" fmla="*/ 599437 w 840029"/>
                  <a:gd name="connsiteY260" fmla="*/ 334173 h 796148"/>
                  <a:gd name="connsiteX261" fmla="*/ 599135 w 840029"/>
                  <a:gd name="connsiteY261" fmla="*/ 340815 h 796148"/>
                  <a:gd name="connsiteX262" fmla="*/ 604679 w 840029"/>
                  <a:gd name="connsiteY262" fmla="*/ 366830 h 796148"/>
                  <a:gd name="connsiteX263" fmla="*/ 604679 w 840029"/>
                  <a:gd name="connsiteY263" fmla="*/ 366967 h 796148"/>
                  <a:gd name="connsiteX264" fmla="*/ 602291 w 840029"/>
                  <a:gd name="connsiteY264" fmla="*/ 380826 h 796148"/>
                  <a:gd name="connsiteX265" fmla="*/ 598723 w 840029"/>
                  <a:gd name="connsiteY265" fmla="*/ 385684 h 796148"/>
                  <a:gd name="connsiteX266" fmla="*/ 595184 w 840029"/>
                  <a:gd name="connsiteY266" fmla="*/ 383022 h 796148"/>
                  <a:gd name="connsiteX267" fmla="*/ 591671 w 840029"/>
                  <a:gd name="connsiteY267" fmla="*/ 375118 h 796148"/>
                  <a:gd name="connsiteX268" fmla="*/ 589036 w 840029"/>
                  <a:gd name="connsiteY268" fmla="*/ 376655 h 796148"/>
                  <a:gd name="connsiteX269" fmla="*/ 588131 w 840029"/>
                  <a:gd name="connsiteY269" fmla="*/ 380360 h 796148"/>
                  <a:gd name="connsiteX270" fmla="*/ 576632 w 840029"/>
                  <a:gd name="connsiteY270" fmla="*/ 382061 h 796148"/>
                  <a:gd name="connsiteX271" fmla="*/ 575809 w 840029"/>
                  <a:gd name="connsiteY271" fmla="*/ 372154 h 796148"/>
                  <a:gd name="connsiteX272" fmla="*/ 565298 w 840029"/>
                  <a:gd name="connsiteY272" fmla="*/ 380936 h 796148"/>
                  <a:gd name="connsiteX273" fmla="*/ 545457 w 840029"/>
                  <a:gd name="connsiteY273" fmla="*/ 388593 h 796148"/>
                  <a:gd name="connsiteX274" fmla="*/ 539529 w 840029"/>
                  <a:gd name="connsiteY274" fmla="*/ 396633 h 796148"/>
                  <a:gd name="connsiteX275" fmla="*/ 542328 w 840029"/>
                  <a:gd name="connsiteY275" fmla="*/ 411535 h 796148"/>
                  <a:gd name="connsiteX276" fmla="*/ 537444 w 840029"/>
                  <a:gd name="connsiteY276" fmla="*/ 418505 h 796148"/>
                  <a:gd name="connsiteX277" fmla="*/ 535852 w 840029"/>
                  <a:gd name="connsiteY277" fmla="*/ 423967 h 796148"/>
                  <a:gd name="connsiteX278" fmla="*/ 521609 w 840029"/>
                  <a:gd name="connsiteY278" fmla="*/ 436673 h 796148"/>
                  <a:gd name="connsiteX279" fmla="*/ 513074 w 840029"/>
                  <a:gd name="connsiteY279" fmla="*/ 439719 h 796148"/>
                  <a:gd name="connsiteX280" fmla="*/ 502948 w 840029"/>
                  <a:gd name="connsiteY280" fmla="*/ 443369 h 796148"/>
                  <a:gd name="connsiteX281" fmla="*/ 495401 w 840029"/>
                  <a:gd name="connsiteY281" fmla="*/ 447924 h 796148"/>
                  <a:gd name="connsiteX282" fmla="*/ 487634 w 840029"/>
                  <a:gd name="connsiteY282" fmla="*/ 452837 h 796148"/>
                  <a:gd name="connsiteX283" fmla="*/ 482859 w 840029"/>
                  <a:gd name="connsiteY283" fmla="*/ 456981 h 796148"/>
                  <a:gd name="connsiteX284" fmla="*/ 480527 w 840029"/>
                  <a:gd name="connsiteY284" fmla="*/ 459066 h 796148"/>
                  <a:gd name="connsiteX285" fmla="*/ 458298 w 840029"/>
                  <a:gd name="connsiteY285" fmla="*/ 487058 h 796148"/>
                  <a:gd name="connsiteX286" fmla="*/ 442710 w 840029"/>
                  <a:gd name="connsiteY286" fmla="*/ 496224 h 796148"/>
                  <a:gd name="connsiteX287" fmla="*/ 431788 w 840029"/>
                  <a:gd name="connsiteY287" fmla="*/ 509095 h 796148"/>
                  <a:gd name="connsiteX288" fmla="*/ 414005 w 840029"/>
                  <a:gd name="connsiteY288" fmla="*/ 518672 h 796148"/>
                  <a:gd name="connsiteX289" fmla="*/ 406842 w 840029"/>
                  <a:gd name="connsiteY289" fmla="*/ 524573 h 796148"/>
                  <a:gd name="connsiteX290" fmla="*/ 403577 w 840029"/>
                  <a:gd name="connsiteY290" fmla="*/ 530885 h 796148"/>
                  <a:gd name="connsiteX291" fmla="*/ 404647 w 840029"/>
                  <a:gd name="connsiteY291" fmla="*/ 540901 h 796148"/>
                  <a:gd name="connsiteX292" fmla="*/ 389059 w 840029"/>
                  <a:gd name="connsiteY292" fmla="*/ 548091 h 796148"/>
                  <a:gd name="connsiteX293" fmla="*/ 381101 w 840029"/>
                  <a:gd name="connsiteY293" fmla="*/ 547323 h 796148"/>
                  <a:gd name="connsiteX294" fmla="*/ 376106 w 840029"/>
                  <a:gd name="connsiteY294" fmla="*/ 548750 h 796148"/>
                  <a:gd name="connsiteX295" fmla="*/ 365074 w 840029"/>
                  <a:gd name="connsiteY295" fmla="*/ 566698 h 796148"/>
                  <a:gd name="connsiteX296" fmla="*/ 362495 w 840029"/>
                  <a:gd name="connsiteY296" fmla="*/ 566643 h 796148"/>
                  <a:gd name="connsiteX297" fmla="*/ 359860 w 840029"/>
                  <a:gd name="connsiteY297" fmla="*/ 562444 h 796148"/>
                  <a:gd name="connsiteX298" fmla="*/ 356320 w 840029"/>
                  <a:gd name="connsiteY298" fmla="*/ 561538 h 796148"/>
                  <a:gd name="connsiteX299" fmla="*/ 345864 w 840029"/>
                  <a:gd name="connsiteY299" fmla="*/ 567768 h 796148"/>
                  <a:gd name="connsiteX300" fmla="*/ 339141 w 840029"/>
                  <a:gd name="connsiteY300" fmla="*/ 585057 h 796148"/>
                  <a:gd name="connsiteX301" fmla="*/ 341830 w 840029"/>
                  <a:gd name="connsiteY301" fmla="*/ 598202 h 796148"/>
                  <a:gd name="connsiteX302" fmla="*/ 343065 w 840029"/>
                  <a:gd name="connsiteY302" fmla="*/ 601852 h 796148"/>
                  <a:gd name="connsiteX303" fmla="*/ 341830 w 840029"/>
                  <a:gd name="connsiteY303" fmla="*/ 616891 h 796148"/>
                  <a:gd name="connsiteX304" fmla="*/ 347456 w 840029"/>
                  <a:gd name="connsiteY304" fmla="*/ 640355 h 796148"/>
                  <a:gd name="connsiteX305" fmla="*/ 342434 w 840029"/>
                  <a:gd name="connsiteY305" fmla="*/ 663873 h 796148"/>
                  <a:gd name="connsiteX306" fmla="*/ 333844 w 840029"/>
                  <a:gd name="connsiteY306" fmla="*/ 678253 h 796148"/>
                  <a:gd name="connsiteX307" fmla="*/ 330688 w 840029"/>
                  <a:gd name="connsiteY307" fmla="*/ 689999 h 796148"/>
                  <a:gd name="connsiteX308" fmla="*/ 333158 w 840029"/>
                  <a:gd name="connsiteY308" fmla="*/ 704653 h 796148"/>
                  <a:gd name="connsiteX309" fmla="*/ 333679 w 840029"/>
                  <a:gd name="connsiteY309" fmla="*/ 729572 h 796148"/>
                  <a:gd name="connsiteX310" fmla="*/ 330825 w 840029"/>
                  <a:gd name="connsiteY310" fmla="*/ 730807 h 796148"/>
                  <a:gd name="connsiteX311" fmla="*/ 323992 w 840029"/>
                  <a:gd name="connsiteY311" fmla="*/ 729462 h 796148"/>
                  <a:gd name="connsiteX312" fmla="*/ 317021 w 840029"/>
                  <a:gd name="connsiteY312" fmla="*/ 731685 h 796148"/>
                  <a:gd name="connsiteX313" fmla="*/ 315073 w 840029"/>
                  <a:gd name="connsiteY313" fmla="*/ 738545 h 796148"/>
                  <a:gd name="connsiteX314" fmla="*/ 307416 w 840029"/>
                  <a:gd name="connsiteY314" fmla="*/ 748974 h 796148"/>
                  <a:gd name="connsiteX315" fmla="*/ 305303 w 840029"/>
                  <a:gd name="connsiteY315" fmla="*/ 754517 h 796148"/>
                  <a:gd name="connsiteX316" fmla="*/ 309886 w 840029"/>
                  <a:gd name="connsiteY316" fmla="*/ 760912 h 796148"/>
                  <a:gd name="connsiteX317" fmla="*/ 299869 w 840029"/>
                  <a:gd name="connsiteY317" fmla="*/ 762887 h 796148"/>
                  <a:gd name="connsiteX318" fmla="*/ 286779 w 840029"/>
                  <a:gd name="connsiteY318" fmla="*/ 768788 h 796148"/>
                  <a:gd name="connsiteX319" fmla="*/ 284062 w 840029"/>
                  <a:gd name="connsiteY319" fmla="*/ 772328 h 796148"/>
                  <a:gd name="connsiteX320" fmla="*/ 280412 w 840029"/>
                  <a:gd name="connsiteY320" fmla="*/ 787422 h 796148"/>
                  <a:gd name="connsiteX321" fmla="*/ 264139 w 840029"/>
                  <a:gd name="connsiteY321" fmla="*/ 796148 h 796148"/>
                  <a:gd name="connsiteX322" fmla="*/ 258129 w 840029"/>
                  <a:gd name="connsiteY322" fmla="*/ 794639 h 796148"/>
                  <a:gd name="connsiteX323" fmla="*/ 248524 w 840029"/>
                  <a:gd name="connsiteY323" fmla="*/ 786955 h 796148"/>
                  <a:gd name="connsiteX324" fmla="*/ 236092 w 840029"/>
                  <a:gd name="connsiteY324" fmla="*/ 771614 h 796148"/>
                  <a:gd name="connsiteX325" fmla="*/ 229231 w 840029"/>
                  <a:gd name="connsiteY325" fmla="*/ 754490 h 796148"/>
                  <a:gd name="connsiteX326" fmla="*/ 227859 w 840029"/>
                  <a:gd name="connsiteY326" fmla="*/ 743979 h 796148"/>
                  <a:gd name="connsiteX327" fmla="*/ 230220 w 840029"/>
                  <a:gd name="connsiteY327" fmla="*/ 742799 h 796148"/>
                  <a:gd name="connsiteX328" fmla="*/ 226048 w 840029"/>
                  <a:gd name="connsiteY328" fmla="*/ 738326 h 796148"/>
                  <a:gd name="connsiteX329" fmla="*/ 211723 w 840029"/>
                  <a:gd name="connsiteY329" fmla="*/ 698396 h 796148"/>
                  <a:gd name="connsiteX330" fmla="*/ 205493 w 840029"/>
                  <a:gd name="connsiteY330" fmla="*/ 687858 h 796148"/>
                  <a:gd name="connsiteX331" fmla="*/ 195971 w 840029"/>
                  <a:gd name="connsiteY331" fmla="*/ 677924 h 796148"/>
                  <a:gd name="connsiteX332" fmla="*/ 189000 w 840029"/>
                  <a:gd name="connsiteY332" fmla="*/ 662611 h 796148"/>
                  <a:gd name="connsiteX333" fmla="*/ 185130 w 840029"/>
                  <a:gd name="connsiteY333" fmla="*/ 652951 h 796148"/>
                  <a:gd name="connsiteX334" fmla="*/ 179093 w 840029"/>
                  <a:gd name="connsiteY334" fmla="*/ 623971 h 796148"/>
                  <a:gd name="connsiteX335" fmla="*/ 169049 w 840029"/>
                  <a:gd name="connsiteY335" fmla="*/ 598175 h 796148"/>
                  <a:gd name="connsiteX336" fmla="*/ 164548 w 840029"/>
                  <a:gd name="connsiteY336" fmla="*/ 594882 h 796148"/>
                  <a:gd name="connsiteX337" fmla="*/ 159307 w 840029"/>
                  <a:gd name="connsiteY337" fmla="*/ 586045 h 796148"/>
                  <a:gd name="connsiteX338" fmla="*/ 157139 w 840029"/>
                  <a:gd name="connsiteY338" fmla="*/ 576879 h 796148"/>
                  <a:gd name="connsiteX339" fmla="*/ 145530 w 840029"/>
                  <a:gd name="connsiteY339" fmla="*/ 557147 h 796148"/>
                  <a:gd name="connsiteX340" fmla="*/ 141331 w 840029"/>
                  <a:gd name="connsiteY340" fmla="*/ 542740 h 796148"/>
                  <a:gd name="connsiteX341" fmla="*/ 139713 w 840029"/>
                  <a:gd name="connsiteY341" fmla="*/ 524106 h 796148"/>
                  <a:gd name="connsiteX342" fmla="*/ 127665 w 840029"/>
                  <a:gd name="connsiteY342" fmla="*/ 475093 h 796148"/>
                  <a:gd name="connsiteX343" fmla="*/ 128214 w 840029"/>
                  <a:gd name="connsiteY343" fmla="*/ 472239 h 796148"/>
                  <a:gd name="connsiteX344" fmla="*/ 131095 w 840029"/>
                  <a:gd name="connsiteY344" fmla="*/ 472019 h 796148"/>
                  <a:gd name="connsiteX345" fmla="*/ 129531 w 840029"/>
                  <a:gd name="connsiteY345" fmla="*/ 468561 h 796148"/>
                  <a:gd name="connsiteX346" fmla="*/ 131507 w 840029"/>
                  <a:gd name="connsiteY346" fmla="*/ 465323 h 796148"/>
                  <a:gd name="connsiteX347" fmla="*/ 130629 w 840029"/>
                  <a:gd name="connsiteY347" fmla="*/ 464308 h 796148"/>
                  <a:gd name="connsiteX348" fmla="*/ 125991 w 840029"/>
                  <a:gd name="connsiteY348" fmla="*/ 466448 h 796148"/>
                  <a:gd name="connsiteX349" fmla="*/ 125250 w 840029"/>
                  <a:gd name="connsiteY349" fmla="*/ 456926 h 796148"/>
                  <a:gd name="connsiteX350" fmla="*/ 123686 w 840029"/>
                  <a:gd name="connsiteY350" fmla="*/ 447870 h 796148"/>
                  <a:gd name="connsiteX351" fmla="*/ 122286 w 840029"/>
                  <a:gd name="connsiteY351" fmla="*/ 439664 h 796148"/>
                  <a:gd name="connsiteX352" fmla="*/ 122039 w 840029"/>
                  <a:gd name="connsiteY352" fmla="*/ 438292 h 796148"/>
                  <a:gd name="connsiteX353" fmla="*/ 127336 w 840029"/>
                  <a:gd name="connsiteY353" fmla="*/ 418890 h 796148"/>
                  <a:gd name="connsiteX354" fmla="*/ 126183 w 840029"/>
                  <a:gd name="connsiteY354" fmla="*/ 405717 h 796148"/>
                  <a:gd name="connsiteX355" fmla="*/ 120914 w 840029"/>
                  <a:gd name="connsiteY355" fmla="*/ 396633 h 796148"/>
                  <a:gd name="connsiteX356" fmla="*/ 122121 w 840029"/>
                  <a:gd name="connsiteY356" fmla="*/ 383269 h 796148"/>
                  <a:gd name="connsiteX357" fmla="*/ 120091 w 840029"/>
                  <a:gd name="connsiteY357" fmla="*/ 381183 h 796148"/>
                  <a:gd name="connsiteX358" fmla="*/ 119185 w 840029"/>
                  <a:gd name="connsiteY358" fmla="*/ 380278 h 796148"/>
                  <a:gd name="connsiteX359" fmla="*/ 117977 w 840029"/>
                  <a:gd name="connsiteY359" fmla="*/ 371605 h 796148"/>
                  <a:gd name="connsiteX360" fmla="*/ 122423 w 840029"/>
                  <a:gd name="connsiteY360" fmla="*/ 363482 h 796148"/>
                  <a:gd name="connsiteX361" fmla="*/ 119953 w 840029"/>
                  <a:gd name="connsiteY361" fmla="*/ 361754 h 796148"/>
                  <a:gd name="connsiteX362" fmla="*/ 114355 w 840029"/>
                  <a:gd name="connsiteY362" fmla="*/ 363043 h 796148"/>
                  <a:gd name="connsiteX363" fmla="*/ 108674 w 840029"/>
                  <a:gd name="connsiteY363" fmla="*/ 369026 h 796148"/>
                  <a:gd name="connsiteX364" fmla="*/ 109882 w 840029"/>
                  <a:gd name="connsiteY364" fmla="*/ 381183 h 796148"/>
                  <a:gd name="connsiteX365" fmla="*/ 110102 w 840029"/>
                  <a:gd name="connsiteY365" fmla="*/ 383324 h 796148"/>
                  <a:gd name="connsiteX366" fmla="*/ 103487 w 840029"/>
                  <a:gd name="connsiteY366" fmla="*/ 396963 h 796148"/>
                  <a:gd name="connsiteX367" fmla="*/ 76594 w 840029"/>
                  <a:gd name="connsiteY367" fmla="*/ 409834 h 796148"/>
                  <a:gd name="connsiteX368" fmla="*/ 65369 w 840029"/>
                  <a:gd name="connsiteY368" fmla="*/ 411288 h 796148"/>
                  <a:gd name="connsiteX369" fmla="*/ 55709 w 840029"/>
                  <a:gd name="connsiteY369" fmla="*/ 406787 h 796148"/>
                  <a:gd name="connsiteX370" fmla="*/ 44046 w 840029"/>
                  <a:gd name="connsiteY370" fmla="*/ 397073 h 796148"/>
                  <a:gd name="connsiteX371" fmla="*/ 28952 w 840029"/>
                  <a:gd name="connsiteY371" fmla="*/ 381183 h 796148"/>
                  <a:gd name="connsiteX372" fmla="*/ 17152 w 840029"/>
                  <a:gd name="connsiteY372" fmla="*/ 368669 h 796148"/>
                  <a:gd name="connsiteX373" fmla="*/ 13721 w 840029"/>
                  <a:gd name="connsiteY373" fmla="*/ 360601 h 796148"/>
                  <a:gd name="connsiteX374" fmla="*/ 16493 w 840029"/>
                  <a:gd name="connsiteY374" fmla="*/ 358570 h 796148"/>
                  <a:gd name="connsiteX375" fmla="*/ 21653 w 840029"/>
                  <a:gd name="connsiteY375" fmla="*/ 362275 h 796148"/>
                  <a:gd name="connsiteX376" fmla="*/ 31862 w 840029"/>
                  <a:gd name="connsiteY376" fmla="*/ 360217 h 796148"/>
                  <a:gd name="connsiteX377" fmla="*/ 31807 w 840029"/>
                  <a:gd name="connsiteY377" fmla="*/ 356484 h 796148"/>
                  <a:gd name="connsiteX378" fmla="*/ 35868 w 840029"/>
                  <a:gd name="connsiteY378" fmla="*/ 358323 h 796148"/>
                  <a:gd name="connsiteX379" fmla="*/ 47888 w 840029"/>
                  <a:gd name="connsiteY379" fmla="*/ 353109 h 796148"/>
                  <a:gd name="connsiteX380" fmla="*/ 63832 w 840029"/>
                  <a:gd name="connsiteY380" fmla="*/ 335490 h 796148"/>
                  <a:gd name="connsiteX381" fmla="*/ 80188 w 840029"/>
                  <a:gd name="connsiteY381" fmla="*/ 331182 h 796148"/>
                  <a:gd name="connsiteX382" fmla="*/ 81835 w 840029"/>
                  <a:gd name="connsiteY382" fmla="*/ 328081 h 796148"/>
                  <a:gd name="connsiteX383" fmla="*/ 81122 w 840029"/>
                  <a:gd name="connsiteY383" fmla="*/ 324486 h 796148"/>
                  <a:gd name="connsiteX384" fmla="*/ 77060 w 840029"/>
                  <a:gd name="connsiteY384" fmla="*/ 321385 h 796148"/>
                  <a:gd name="connsiteX385" fmla="*/ 74700 w 840029"/>
                  <a:gd name="connsiteY385" fmla="*/ 325364 h 796148"/>
                  <a:gd name="connsiteX386" fmla="*/ 65918 w 840029"/>
                  <a:gd name="connsiteY386" fmla="*/ 331731 h 796148"/>
                  <a:gd name="connsiteX387" fmla="*/ 52965 w 840029"/>
                  <a:gd name="connsiteY387" fmla="*/ 334201 h 796148"/>
                  <a:gd name="connsiteX388" fmla="*/ 48025 w 840029"/>
                  <a:gd name="connsiteY388" fmla="*/ 340375 h 796148"/>
                  <a:gd name="connsiteX389" fmla="*/ 35621 w 840029"/>
                  <a:gd name="connsiteY389" fmla="*/ 346605 h 796148"/>
                  <a:gd name="connsiteX390" fmla="*/ 20775 w 840029"/>
                  <a:gd name="connsiteY390" fmla="*/ 344409 h 796148"/>
                  <a:gd name="connsiteX391" fmla="*/ 4199 w 840029"/>
                  <a:gd name="connsiteY391" fmla="*/ 333816 h 796148"/>
                  <a:gd name="connsiteX392" fmla="*/ 0 w 840029"/>
                  <a:gd name="connsiteY392" fmla="*/ 324211 h 796148"/>
                  <a:gd name="connsiteX393" fmla="*/ 576 w 840029"/>
                  <a:gd name="connsiteY393" fmla="*/ 319025 h 796148"/>
                  <a:gd name="connsiteX394" fmla="*/ 6587 w 840029"/>
                  <a:gd name="connsiteY394" fmla="*/ 313838 h 796148"/>
                  <a:gd name="connsiteX395" fmla="*/ 22064 w 840029"/>
                  <a:gd name="connsiteY395" fmla="*/ 311944 h 796148"/>
                  <a:gd name="connsiteX396" fmla="*/ 32849 w 840029"/>
                  <a:gd name="connsiteY396" fmla="*/ 314332 h 796148"/>
                  <a:gd name="connsiteX397" fmla="*/ 34221 w 840029"/>
                  <a:gd name="connsiteY397" fmla="*/ 309392 h 796148"/>
                  <a:gd name="connsiteX398" fmla="*/ 22723 w 840029"/>
                  <a:gd name="connsiteY398" fmla="*/ 307609 h 796148"/>
                  <a:gd name="connsiteX399" fmla="*/ 20226 w 840029"/>
                  <a:gd name="connsiteY399" fmla="*/ 303602 h 796148"/>
                  <a:gd name="connsiteX400" fmla="*/ 12816 w 840029"/>
                  <a:gd name="connsiteY400" fmla="*/ 299101 h 79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840029" h="796148">
                    <a:moveTo>
                      <a:pt x="12679" y="298964"/>
                    </a:moveTo>
                    <a:lnTo>
                      <a:pt x="26949" y="298580"/>
                    </a:lnTo>
                    <a:lnTo>
                      <a:pt x="30956" y="298360"/>
                    </a:lnTo>
                    <a:lnTo>
                      <a:pt x="36911" y="301681"/>
                    </a:lnTo>
                    <a:lnTo>
                      <a:pt x="43223" y="301736"/>
                    </a:lnTo>
                    <a:lnTo>
                      <a:pt x="45775" y="300034"/>
                    </a:lnTo>
                    <a:lnTo>
                      <a:pt x="43333" y="304425"/>
                    </a:lnTo>
                    <a:lnTo>
                      <a:pt x="37158" y="306566"/>
                    </a:lnTo>
                    <a:lnTo>
                      <a:pt x="41522" y="311066"/>
                    </a:lnTo>
                    <a:lnTo>
                      <a:pt x="42098" y="320150"/>
                    </a:lnTo>
                    <a:lnTo>
                      <a:pt x="48711" y="323553"/>
                    </a:lnTo>
                    <a:lnTo>
                      <a:pt x="57384" y="318174"/>
                    </a:lnTo>
                    <a:lnTo>
                      <a:pt x="60923" y="313838"/>
                    </a:lnTo>
                    <a:lnTo>
                      <a:pt x="61500" y="309776"/>
                    </a:lnTo>
                    <a:lnTo>
                      <a:pt x="69129" y="311258"/>
                    </a:lnTo>
                    <a:lnTo>
                      <a:pt x="70282" y="315402"/>
                    </a:lnTo>
                    <a:lnTo>
                      <a:pt x="74096" y="317268"/>
                    </a:lnTo>
                    <a:lnTo>
                      <a:pt x="74919" y="312493"/>
                    </a:lnTo>
                    <a:lnTo>
                      <a:pt x="79749" y="305468"/>
                    </a:lnTo>
                    <a:lnTo>
                      <a:pt x="75331" y="299842"/>
                    </a:lnTo>
                    <a:lnTo>
                      <a:pt x="69815" y="298882"/>
                    </a:lnTo>
                    <a:lnTo>
                      <a:pt x="70089" y="296961"/>
                    </a:lnTo>
                    <a:lnTo>
                      <a:pt x="75468" y="294107"/>
                    </a:lnTo>
                    <a:lnTo>
                      <a:pt x="72614" y="290457"/>
                    </a:lnTo>
                    <a:lnTo>
                      <a:pt x="74755" y="284447"/>
                    </a:lnTo>
                    <a:lnTo>
                      <a:pt x="69047" y="270286"/>
                    </a:lnTo>
                    <a:lnTo>
                      <a:pt x="62954" y="262026"/>
                    </a:lnTo>
                    <a:lnTo>
                      <a:pt x="62460" y="252640"/>
                    </a:lnTo>
                    <a:lnTo>
                      <a:pt x="52279" y="252037"/>
                    </a:lnTo>
                    <a:lnTo>
                      <a:pt x="46543" y="244462"/>
                    </a:lnTo>
                    <a:lnTo>
                      <a:pt x="45994" y="240373"/>
                    </a:lnTo>
                    <a:lnTo>
                      <a:pt x="48492" y="232744"/>
                    </a:lnTo>
                    <a:lnTo>
                      <a:pt x="47943" y="224456"/>
                    </a:lnTo>
                    <a:lnTo>
                      <a:pt x="38722" y="222919"/>
                    </a:lnTo>
                    <a:lnTo>
                      <a:pt x="28925" y="217294"/>
                    </a:lnTo>
                    <a:lnTo>
                      <a:pt x="28925" y="210131"/>
                    </a:lnTo>
                    <a:cubicBezTo>
                      <a:pt x="28925" y="210131"/>
                      <a:pt x="31011" y="204341"/>
                      <a:pt x="31011" y="204341"/>
                    </a:cubicBezTo>
                    <a:lnTo>
                      <a:pt x="43497" y="191195"/>
                    </a:lnTo>
                    <a:lnTo>
                      <a:pt x="49096" y="180794"/>
                    </a:lnTo>
                    <a:lnTo>
                      <a:pt x="54666" y="176129"/>
                    </a:lnTo>
                    <a:lnTo>
                      <a:pt x="60265" y="176376"/>
                    </a:lnTo>
                    <a:lnTo>
                      <a:pt x="65232" y="184938"/>
                    </a:lnTo>
                    <a:lnTo>
                      <a:pt x="68306" y="186036"/>
                    </a:lnTo>
                    <a:lnTo>
                      <a:pt x="98575" y="177529"/>
                    </a:lnTo>
                    <a:lnTo>
                      <a:pt x="100798" y="171272"/>
                    </a:lnTo>
                    <a:lnTo>
                      <a:pt x="107576" y="163917"/>
                    </a:lnTo>
                    <a:lnTo>
                      <a:pt x="112132" y="152775"/>
                    </a:lnTo>
                    <a:lnTo>
                      <a:pt x="129888" y="141249"/>
                    </a:lnTo>
                    <a:lnTo>
                      <a:pt x="139053" y="125140"/>
                    </a:lnTo>
                    <a:lnTo>
                      <a:pt x="143362" y="111611"/>
                    </a:lnTo>
                    <a:lnTo>
                      <a:pt x="158703" y="103597"/>
                    </a:lnTo>
                    <a:lnTo>
                      <a:pt x="158044" y="95364"/>
                    </a:lnTo>
                    <a:lnTo>
                      <a:pt x="173385" y="77444"/>
                    </a:lnTo>
                    <a:lnTo>
                      <a:pt x="180218" y="72477"/>
                    </a:lnTo>
                    <a:lnTo>
                      <a:pt x="177062" y="69102"/>
                    </a:lnTo>
                    <a:lnTo>
                      <a:pt x="179395" y="58810"/>
                    </a:lnTo>
                    <a:lnTo>
                      <a:pt x="176458" y="50221"/>
                    </a:lnTo>
                    <a:lnTo>
                      <a:pt x="177007" y="47339"/>
                    </a:lnTo>
                    <a:lnTo>
                      <a:pt x="187271" y="39271"/>
                    </a:lnTo>
                    <a:lnTo>
                      <a:pt x="197727" y="36856"/>
                    </a:lnTo>
                    <a:lnTo>
                      <a:pt x="200910" y="32136"/>
                    </a:lnTo>
                    <a:lnTo>
                      <a:pt x="200114" y="29199"/>
                    </a:lnTo>
                    <a:lnTo>
                      <a:pt x="205191" y="30132"/>
                    </a:lnTo>
                    <a:lnTo>
                      <a:pt x="212546" y="24644"/>
                    </a:lnTo>
                    <a:lnTo>
                      <a:pt x="217348" y="17756"/>
                    </a:lnTo>
                    <a:lnTo>
                      <a:pt x="216745" y="10264"/>
                    </a:lnTo>
                    <a:lnTo>
                      <a:pt x="235488" y="0"/>
                    </a:lnTo>
                    <a:lnTo>
                      <a:pt x="243447" y="1098"/>
                    </a:lnTo>
                    <a:lnTo>
                      <a:pt x="251625" y="8205"/>
                    </a:lnTo>
                    <a:lnTo>
                      <a:pt x="258540" y="11169"/>
                    </a:lnTo>
                    <a:lnTo>
                      <a:pt x="271493" y="7739"/>
                    </a:lnTo>
                    <a:lnTo>
                      <a:pt x="278793" y="17893"/>
                    </a:lnTo>
                    <a:lnTo>
                      <a:pt x="289194" y="15862"/>
                    </a:lnTo>
                    <a:lnTo>
                      <a:pt x="288892" y="21790"/>
                    </a:lnTo>
                    <a:lnTo>
                      <a:pt x="290264" y="22421"/>
                    </a:lnTo>
                    <a:lnTo>
                      <a:pt x="292433" y="32218"/>
                    </a:lnTo>
                    <a:lnTo>
                      <a:pt x="292021" y="35017"/>
                    </a:lnTo>
                    <a:lnTo>
                      <a:pt x="301132" y="42729"/>
                    </a:lnTo>
                    <a:lnTo>
                      <a:pt x="299431" y="48684"/>
                    </a:lnTo>
                    <a:lnTo>
                      <a:pt x="302504" y="54282"/>
                    </a:lnTo>
                    <a:lnTo>
                      <a:pt x="300308" y="58152"/>
                    </a:lnTo>
                    <a:lnTo>
                      <a:pt x="301379" y="63613"/>
                    </a:lnTo>
                    <a:lnTo>
                      <a:pt x="304617" y="65699"/>
                    </a:lnTo>
                    <a:lnTo>
                      <a:pt x="310133" y="74563"/>
                    </a:lnTo>
                    <a:lnTo>
                      <a:pt x="315924" y="76401"/>
                    </a:lnTo>
                    <a:lnTo>
                      <a:pt x="320314" y="72861"/>
                    </a:lnTo>
                    <a:lnTo>
                      <a:pt x="325089" y="76868"/>
                    </a:lnTo>
                    <a:lnTo>
                      <a:pt x="331676" y="75797"/>
                    </a:lnTo>
                    <a:lnTo>
                      <a:pt x="335930" y="79365"/>
                    </a:lnTo>
                    <a:lnTo>
                      <a:pt x="343723" y="89327"/>
                    </a:lnTo>
                    <a:lnTo>
                      <a:pt x="356594" y="94102"/>
                    </a:lnTo>
                    <a:lnTo>
                      <a:pt x="362522" y="98410"/>
                    </a:lnTo>
                    <a:lnTo>
                      <a:pt x="367050" y="100387"/>
                    </a:lnTo>
                    <a:lnTo>
                      <a:pt x="367818" y="102253"/>
                    </a:lnTo>
                    <a:lnTo>
                      <a:pt x="363757" y="103460"/>
                    </a:lnTo>
                    <a:lnTo>
                      <a:pt x="349487" y="116989"/>
                    </a:lnTo>
                    <a:lnTo>
                      <a:pt x="348801" y="122615"/>
                    </a:lnTo>
                    <a:lnTo>
                      <a:pt x="345453" y="128543"/>
                    </a:lnTo>
                    <a:lnTo>
                      <a:pt x="345260" y="136364"/>
                    </a:lnTo>
                    <a:lnTo>
                      <a:pt x="341610" y="140892"/>
                    </a:lnTo>
                    <a:lnTo>
                      <a:pt x="340073" y="147232"/>
                    </a:lnTo>
                    <a:lnTo>
                      <a:pt x="349459" y="155382"/>
                    </a:lnTo>
                    <a:lnTo>
                      <a:pt x="355579" y="154751"/>
                    </a:lnTo>
                    <a:lnTo>
                      <a:pt x="371414" y="163944"/>
                    </a:lnTo>
                    <a:lnTo>
                      <a:pt x="376216" y="170970"/>
                    </a:lnTo>
                    <a:lnTo>
                      <a:pt x="379729" y="171519"/>
                    </a:lnTo>
                    <a:lnTo>
                      <a:pt x="391090" y="179724"/>
                    </a:lnTo>
                    <a:lnTo>
                      <a:pt x="397758" y="179532"/>
                    </a:lnTo>
                    <a:lnTo>
                      <a:pt x="408873" y="186173"/>
                    </a:lnTo>
                    <a:lnTo>
                      <a:pt x="416036" y="186557"/>
                    </a:lnTo>
                    <a:lnTo>
                      <a:pt x="420426" y="192842"/>
                    </a:lnTo>
                    <a:lnTo>
                      <a:pt x="434806" y="197535"/>
                    </a:lnTo>
                    <a:lnTo>
                      <a:pt x="438786" y="194324"/>
                    </a:lnTo>
                    <a:lnTo>
                      <a:pt x="450065" y="196684"/>
                    </a:lnTo>
                    <a:lnTo>
                      <a:pt x="459259" y="193555"/>
                    </a:lnTo>
                    <a:lnTo>
                      <a:pt x="473145" y="199263"/>
                    </a:lnTo>
                    <a:lnTo>
                      <a:pt x="476218" y="208567"/>
                    </a:lnTo>
                    <a:lnTo>
                      <a:pt x="491860" y="216964"/>
                    </a:lnTo>
                    <a:lnTo>
                      <a:pt x="502838" y="214659"/>
                    </a:lnTo>
                    <a:lnTo>
                      <a:pt x="509150" y="222425"/>
                    </a:lnTo>
                    <a:lnTo>
                      <a:pt x="515818" y="221136"/>
                    </a:lnTo>
                    <a:lnTo>
                      <a:pt x="523118" y="222316"/>
                    </a:lnTo>
                    <a:lnTo>
                      <a:pt x="535056" y="227694"/>
                    </a:lnTo>
                    <a:lnTo>
                      <a:pt x="544249" y="224895"/>
                    </a:lnTo>
                    <a:lnTo>
                      <a:pt x="547625" y="228298"/>
                    </a:lnTo>
                    <a:lnTo>
                      <a:pt x="552647" y="229835"/>
                    </a:lnTo>
                    <a:lnTo>
                      <a:pt x="566533" y="227832"/>
                    </a:lnTo>
                    <a:lnTo>
                      <a:pt x="568289" y="227585"/>
                    </a:lnTo>
                    <a:lnTo>
                      <a:pt x="572845" y="229396"/>
                    </a:lnTo>
                    <a:lnTo>
                      <a:pt x="574793" y="227804"/>
                    </a:lnTo>
                    <a:lnTo>
                      <a:pt x="577785" y="217787"/>
                    </a:lnTo>
                    <a:lnTo>
                      <a:pt x="573092" y="204752"/>
                    </a:lnTo>
                    <a:lnTo>
                      <a:pt x="574437" y="193034"/>
                    </a:lnTo>
                    <a:lnTo>
                      <a:pt x="577592" y="183429"/>
                    </a:lnTo>
                    <a:lnTo>
                      <a:pt x="576660" y="180355"/>
                    </a:lnTo>
                    <a:lnTo>
                      <a:pt x="577565" y="178242"/>
                    </a:lnTo>
                    <a:lnTo>
                      <a:pt x="590409" y="173275"/>
                    </a:lnTo>
                    <a:lnTo>
                      <a:pt x="595815" y="174894"/>
                    </a:lnTo>
                    <a:lnTo>
                      <a:pt x="598339" y="181508"/>
                    </a:lnTo>
                    <a:lnTo>
                      <a:pt x="595650" y="192266"/>
                    </a:lnTo>
                    <a:lnTo>
                      <a:pt x="599849" y="200581"/>
                    </a:lnTo>
                    <a:lnTo>
                      <a:pt x="595705" y="205493"/>
                    </a:lnTo>
                    <a:lnTo>
                      <a:pt x="600288" y="211201"/>
                    </a:lnTo>
                    <a:lnTo>
                      <a:pt x="606792" y="215537"/>
                    </a:lnTo>
                    <a:lnTo>
                      <a:pt x="609399" y="215180"/>
                    </a:lnTo>
                    <a:lnTo>
                      <a:pt x="613515" y="214604"/>
                    </a:lnTo>
                    <a:lnTo>
                      <a:pt x="625316" y="218885"/>
                    </a:lnTo>
                    <a:lnTo>
                      <a:pt x="629981" y="218227"/>
                    </a:lnTo>
                    <a:lnTo>
                      <a:pt x="635332" y="217458"/>
                    </a:lnTo>
                    <a:lnTo>
                      <a:pt x="637775" y="216196"/>
                    </a:lnTo>
                    <a:lnTo>
                      <a:pt x="643483" y="213260"/>
                    </a:lnTo>
                    <a:lnTo>
                      <a:pt x="652402" y="216882"/>
                    </a:lnTo>
                    <a:lnTo>
                      <a:pt x="666837" y="216525"/>
                    </a:lnTo>
                    <a:lnTo>
                      <a:pt x="670569" y="216415"/>
                    </a:lnTo>
                    <a:lnTo>
                      <a:pt x="674494" y="214055"/>
                    </a:lnTo>
                    <a:lnTo>
                      <a:pt x="677238" y="214906"/>
                    </a:lnTo>
                    <a:lnTo>
                      <a:pt x="680970" y="216086"/>
                    </a:lnTo>
                    <a:lnTo>
                      <a:pt x="693539" y="214220"/>
                    </a:lnTo>
                    <a:lnTo>
                      <a:pt x="698451" y="213342"/>
                    </a:lnTo>
                    <a:lnTo>
                      <a:pt x="702184" y="212683"/>
                    </a:lnTo>
                    <a:lnTo>
                      <a:pt x="709045" y="211146"/>
                    </a:lnTo>
                    <a:lnTo>
                      <a:pt x="723370" y="213205"/>
                    </a:lnTo>
                    <a:lnTo>
                      <a:pt x="742195" y="208923"/>
                    </a:lnTo>
                    <a:lnTo>
                      <a:pt x="746806" y="201185"/>
                    </a:lnTo>
                    <a:lnTo>
                      <a:pt x="756932" y="190784"/>
                    </a:lnTo>
                    <a:lnTo>
                      <a:pt x="765110" y="189384"/>
                    </a:lnTo>
                    <a:lnTo>
                      <a:pt x="774551" y="185076"/>
                    </a:lnTo>
                    <a:lnTo>
                      <a:pt x="786159" y="178599"/>
                    </a:lnTo>
                    <a:lnTo>
                      <a:pt x="791099" y="171299"/>
                    </a:lnTo>
                    <a:lnTo>
                      <a:pt x="802652" y="166799"/>
                    </a:lnTo>
                    <a:lnTo>
                      <a:pt x="807976" y="169323"/>
                    </a:lnTo>
                    <a:lnTo>
                      <a:pt x="815414" y="168994"/>
                    </a:lnTo>
                    <a:lnTo>
                      <a:pt x="837532" y="181727"/>
                    </a:lnTo>
                    <a:lnTo>
                      <a:pt x="839124" y="184911"/>
                    </a:lnTo>
                    <a:lnTo>
                      <a:pt x="835310" y="188918"/>
                    </a:lnTo>
                    <a:lnTo>
                      <a:pt x="834843" y="192211"/>
                    </a:lnTo>
                    <a:lnTo>
                      <a:pt x="840030" y="204999"/>
                    </a:lnTo>
                    <a:lnTo>
                      <a:pt x="835310" y="203984"/>
                    </a:lnTo>
                    <a:lnTo>
                      <a:pt x="829053" y="198084"/>
                    </a:lnTo>
                    <a:lnTo>
                      <a:pt x="811544" y="202337"/>
                    </a:lnTo>
                    <a:lnTo>
                      <a:pt x="791483" y="218885"/>
                    </a:lnTo>
                    <a:lnTo>
                      <a:pt x="783634" y="222590"/>
                    </a:lnTo>
                    <a:lnTo>
                      <a:pt x="781165" y="231427"/>
                    </a:lnTo>
                    <a:lnTo>
                      <a:pt x="782811" y="241059"/>
                    </a:lnTo>
                    <a:lnTo>
                      <a:pt x="775649" y="255494"/>
                    </a:lnTo>
                    <a:lnTo>
                      <a:pt x="767580" y="263864"/>
                    </a:lnTo>
                    <a:lnTo>
                      <a:pt x="767086" y="267514"/>
                    </a:lnTo>
                    <a:lnTo>
                      <a:pt x="769940" y="271466"/>
                    </a:lnTo>
                    <a:lnTo>
                      <a:pt x="770133" y="275116"/>
                    </a:lnTo>
                    <a:lnTo>
                      <a:pt x="758360" y="298360"/>
                    </a:lnTo>
                    <a:lnTo>
                      <a:pt x="754353" y="309831"/>
                    </a:lnTo>
                    <a:lnTo>
                      <a:pt x="730642" y="306785"/>
                    </a:lnTo>
                    <a:lnTo>
                      <a:pt x="732234" y="318833"/>
                    </a:lnTo>
                    <a:lnTo>
                      <a:pt x="730176" y="335161"/>
                    </a:lnTo>
                    <a:lnTo>
                      <a:pt x="728446" y="338207"/>
                    </a:lnTo>
                    <a:lnTo>
                      <a:pt x="724248" y="339607"/>
                    </a:lnTo>
                    <a:lnTo>
                      <a:pt x="723150" y="346879"/>
                    </a:lnTo>
                    <a:lnTo>
                      <a:pt x="724769" y="362796"/>
                    </a:lnTo>
                    <a:lnTo>
                      <a:pt x="718705" y="370425"/>
                    </a:lnTo>
                    <a:lnTo>
                      <a:pt x="711459" y="367818"/>
                    </a:lnTo>
                    <a:lnTo>
                      <a:pt x="708221" y="372182"/>
                    </a:lnTo>
                    <a:lnTo>
                      <a:pt x="705587" y="350557"/>
                    </a:lnTo>
                    <a:lnTo>
                      <a:pt x="702375" y="342159"/>
                    </a:lnTo>
                    <a:lnTo>
                      <a:pt x="701305" y="328849"/>
                    </a:lnTo>
                    <a:lnTo>
                      <a:pt x="698479" y="319162"/>
                    </a:lnTo>
                    <a:lnTo>
                      <a:pt x="696914" y="318092"/>
                    </a:lnTo>
                    <a:lnTo>
                      <a:pt x="689725" y="318366"/>
                    </a:lnTo>
                    <a:lnTo>
                      <a:pt x="688462" y="324376"/>
                    </a:lnTo>
                    <a:lnTo>
                      <a:pt x="684538" y="330633"/>
                    </a:lnTo>
                    <a:lnTo>
                      <a:pt x="683770" y="336835"/>
                    </a:lnTo>
                    <a:lnTo>
                      <a:pt x="679680" y="339332"/>
                    </a:lnTo>
                    <a:lnTo>
                      <a:pt x="677265" y="336918"/>
                    </a:lnTo>
                    <a:lnTo>
                      <a:pt x="674576" y="334256"/>
                    </a:lnTo>
                    <a:lnTo>
                      <a:pt x="671201" y="334777"/>
                    </a:lnTo>
                    <a:lnTo>
                      <a:pt x="666892" y="320617"/>
                    </a:lnTo>
                    <a:lnTo>
                      <a:pt x="666288" y="318695"/>
                    </a:lnTo>
                    <a:lnTo>
                      <a:pt x="666892" y="316500"/>
                    </a:lnTo>
                    <a:lnTo>
                      <a:pt x="668456" y="310517"/>
                    </a:lnTo>
                    <a:lnTo>
                      <a:pt x="672161" y="305962"/>
                    </a:lnTo>
                    <a:lnTo>
                      <a:pt x="677293" y="303712"/>
                    </a:lnTo>
                    <a:lnTo>
                      <a:pt x="682562" y="301352"/>
                    </a:lnTo>
                    <a:lnTo>
                      <a:pt x="686843" y="301022"/>
                    </a:lnTo>
                    <a:lnTo>
                      <a:pt x="689340" y="296631"/>
                    </a:lnTo>
                    <a:lnTo>
                      <a:pt x="693594" y="293832"/>
                    </a:lnTo>
                    <a:lnTo>
                      <a:pt x="698506" y="281977"/>
                    </a:lnTo>
                    <a:lnTo>
                      <a:pt x="703775" y="278135"/>
                    </a:lnTo>
                    <a:lnTo>
                      <a:pt x="702540" y="275363"/>
                    </a:lnTo>
                    <a:lnTo>
                      <a:pt x="698506" y="273113"/>
                    </a:lnTo>
                    <a:lnTo>
                      <a:pt x="691234" y="269490"/>
                    </a:lnTo>
                    <a:lnTo>
                      <a:pt x="677293" y="269655"/>
                    </a:lnTo>
                    <a:lnTo>
                      <a:pt x="666892" y="269737"/>
                    </a:lnTo>
                    <a:lnTo>
                      <a:pt x="644636" y="269984"/>
                    </a:lnTo>
                    <a:lnTo>
                      <a:pt x="637830" y="268091"/>
                    </a:lnTo>
                    <a:lnTo>
                      <a:pt x="630036" y="265895"/>
                    </a:lnTo>
                    <a:lnTo>
                      <a:pt x="626661" y="261532"/>
                    </a:lnTo>
                    <a:lnTo>
                      <a:pt x="626935" y="245642"/>
                    </a:lnTo>
                    <a:lnTo>
                      <a:pt x="622709" y="238040"/>
                    </a:lnTo>
                    <a:lnTo>
                      <a:pt x="617604" y="241443"/>
                    </a:lnTo>
                    <a:lnTo>
                      <a:pt x="612829" y="241361"/>
                    </a:lnTo>
                    <a:lnTo>
                      <a:pt x="602346" y="229972"/>
                    </a:lnTo>
                    <a:lnTo>
                      <a:pt x="600974" y="233238"/>
                    </a:lnTo>
                    <a:lnTo>
                      <a:pt x="598229" y="233458"/>
                    </a:lnTo>
                    <a:lnTo>
                      <a:pt x="586182" y="226295"/>
                    </a:lnTo>
                    <a:lnTo>
                      <a:pt x="586045" y="230686"/>
                    </a:lnTo>
                    <a:lnTo>
                      <a:pt x="578827" y="238452"/>
                    </a:lnTo>
                    <a:lnTo>
                      <a:pt x="577263" y="247893"/>
                    </a:lnTo>
                    <a:lnTo>
                      <a:pt x="588844" y="257498"/>
                    </a:lnTo>
                    <a:lnTo>
                      <a:pt x="595815" y="259364"/>
                    </a:lnTo>
                    <a:lnTo>
                      <a:pt x="600343" y="265895"/>
                    </a:lnTo>
                    <a:lnTo>
                      <a:pt x="598229" y="268420"/>
                    </a:lnTo>
                    <a:lnTo>
                      <a:pt x="586951" y="269600"/>
                    </a:lnTo>
                    <a:lnTo>
                      <a:pt x="583712" y="276104"/>
                    </a:lnTo>
                    <a:lnTo>
                      <a:pt x="577510" y="278848"/>
                    </a:lnTo>
                    <a:lnTo>
                      <a:pt x="574930" y="284913"/>
                    </a:lnTo>
                    <a:lnTo>
                      <a:pt x="578635" y="291527"/>
                    </a:lnTo>
                    <a:lnTo>
                      <a:pt x="593537" y="300034"/>
                    </a:lnTo>
                    <a:lnTo>
                      <a:pt x="594140" y="307581"/>
                    </a:lnTo>
                    <a:lnTo>
                      <a:pt x="590518" y="317323"/>
                    </a:lnTo>
                    <a:lnTo>
                      <a:pt x="594827" y="324623"/>
                    </a:lnTo>
                    <a:lnTo>
                      <a:pt x="595815" y="330743"/>
                    </a:lnTo>
                    <a:lnTo>
                      <a:pt x="599437" y="334173"/>
                    </a:lnTo>
                    <a:lnTo>
                      <a:pt x="599135" y="340815"/>
                    </a:lnTo>
                    <a:lnTo>
                      <a:pt x="604679" y="366830"/>
                    </a:lnTo>
                    <a:lnTo>
                      <a:pt x="604679" y="366967"/>
                    </a:lnTo>
                    <a:cubicBezTo>
                      <a:pt x="604679" y="366967"/>
                      <a:pt x="602291" y="380826"/>
                      <a:pt x="602291" y="380826"/>
                    </a:cubicBezTo>
                    <a:lnTo>
                      <a:pt x="598723" y="385684"/>
                    </a:lnTo>
                    <a:lnTo>
                      <a:pt x="595184" y="383022"/>
                    </a:lnTo>
                    <a:lnTo>
                      <a:pt x="591671" y="375118"/>
                    </a:lnTo>
                    <a:lnTo>
                      <a:pt x="589036" y="376655"/>
                    </a:lnTo>
                    <a:lnTo>
                      <a:pt x="588131" y="380360"/>
                    </a:lnTo>
                    <a:lnTo>
                      <a:pt x="576632" y="382061"/>
                    </a:lnTo>
                    <a:lnTo>
                      <a:pt x="575809" y="372154"/>
                    </a:lnTo>
                    <a:lnTo>
                      <a:pt x="565298" y="380936"/>
                    </a:lnTo>
                    <a:lnTo>
                      <a:pt x="545457" y="388593"/>
                    </a:lnTo>
                    <a:lnTo>
                      <a:pt x="539529" y="396633"/>
                    </a:lnTo>
                    <a:lnTo>
                      <a:pt x="542328" y="411535"/>
                    </a:lnTo>
                    <a:lnTo>
                      <a:pt x="537444" y="418505"/>
                    </a:lnTo>
                    <a:lnTo>
                      <a:pt x="535852" y="423967"/>
                    </a:lnTo>
                    <a:lnTo>
                      <a:pt x="521609" y="436673"/>
                    </a:lnTo>
                    <a:lnTo>
                      <a:pt x="513074" y="439719"/>
                    </a:lnTo>
                    <a:lnTo>
                      <a:pt x="502948" y="443369"/>
                    </a:lnTo>
                    <a:lnTo>
                      <a:pt x="495401" y="447924"/>
                    </a:lnTo>
                    <a:lnTo>
                      <a:pt x="487634" y="452837"/>
                    </a:lnTo>
                    <a:lnTo>
                      <a:pt x="482859" y="456981"/>
                    </a:lnTo>
                    <a:lnTo>
                      <a:pt x="480527" y="459066"/>
                    </a:lnTo>
                    <a:lnTo>
                      <a:pt x="458298" y="487058"/>
                    </a:lnTo>
                    <a:lnTo>
                      <a:pt x="442710" y="496224"/>
                    </a:lnTo>
                    <a:lnTo>
                      <a:pt x="431788" y="509095"/>
                    </a:lnTo>
                    <a:lnTo>
                      <a:pt x="414005" y="518672"/>
                    </a:lnTo>
                    <a:lnTo>
                      <a:pt x="406842" y="524573"/>
                    </a:lnTo>
                    <a:lnTo>
                      <a:pt x="403577" y="530885"/>
                    </a:lnTo>
                    <a:lnTo>
                      <a:pt x="404647" y="540901"/>
                    </a:lnTo>
                    <a:lnTo>
                      <a:pt x="389059" y="548091"/>
                    </a:lnTo>
                    <a:lnTo>
                      <a:pt x="381101" y="547323"/>
                    </a:lnTo>
                    <a:lnTo>
                      <a:pt x="376106" y="548750"/>
                    </a:lnTo>
                    <a:lnTo>
                      <a:pt x="365074" y="566698"/>
                    </a:lnTo>
                    <a:lnTo>
                      <a:pt x="362495" y="566643"/>
                    </a:lnTo>
                    <a:lnTo>
                      <a:pt x="359860" y="562444"/>
                    </a:lnTo>
                    <a:lnTo>
                      <a:pt x="356320" y="561538"/>
                    </a:lnTo>
                    <a:lnTo>
                      <a:pt x="345864" y="567768"/>
                    </a:lnTo>
                    <a:lnTo>
                      <a:pt x="339141" y="585057"/>
                    </a:lnTo>
                    <a:lnTo>
                      <a:pt x="341830" y="598202"/>
                    </a:lnTo>
                    <a:lnTo>
                      <a:pt x="343065" y="601852"/>
                    </a:lnTo>
                    <a:lnTo>
                      <a:pt x="341830" y="616891"/>
                    </a:lnTo>
                    <a:lnTo>
                      <a:pt x="347456" y="640355"/>
                    </a:lnTo>
                    <a:lnTo>
                      <a:pt x="342434" y="663873"/>
                    </a:lnTo>
                    <a:lnTo>
                      <a:pt x="333844" y="678253"/>
                    </a:lnTo>
                    <a:lnTo>
                      <a:pt x="330688" y="689999"/>
                    </a:lnTo>
                    <a:lnTo>
                      <a:pt x="333158" y="704653"/>
                    </a:lnTo>
                    <a:lnTo>
                      <a:pt x="333679" y="729572"/>
                    </a:lnTo>
                    <a:lnTo>
                      <a:pt x="330825" y="730807"/>
                    </a:lnTo>
                    <a:lnTo>
                      <a:pt x="323992" y="729462"/>
                    </a:lnTo>
                    <a:lnTo>
                      <a:pt x="317021" y="731685"/>
                    </a:lnTo>
                    <a:lnTo>
                      <a:pt x="315073" y="738545"/>
                    </a:lnTo>
                    <a:lnTo>
                      <a:pt x="307416" y="748974"/>
                    </a:lnTo>
                    <a:lnTo>
                      <a:pt x="305303" y="754517"/>
                    </a:lnTo>
                    <a:lnTo>
                      <a:pt x="309886" y="760912"/>
                    </a:lnTo>
                    <a:lnTo>
                      <a:pt x="299869" y="762887"/>
                    </a:lnTo>
                    <a:lnTo>
                      <a:pt x="286779" y="768788"/>
                    </a:lnTo>
                    <a:lnTo>
                      <a:pt x="284062" y="772328"/>
                    </a:lnTo>
                    <a:lnTo>
                      <a:pt x="280412" y="787422"/>
                    </a:lnTo>
                    <a:lnTo>
                      <a:pt x="264139" y="796148"/>
                    </a:lnTo>
                    <a:lnTo>
                      <a:pt x="258129" y="794639"/>
                    </a:lnTo>
                    <a:lnTo>
                      <a:pt x="248524" y="786955"/>
                    </a:lnTo>
                    <a:lnTo>
                      <a:pt x="236092" y="771614"/>
                    </a:lnTo>
                    <a:lnTo>
                      <a:pt x="229231" y="754490"/>
                    </a:lnTo>
                    <a:lnTo>
                      <a:pt x="227859" y="743979"/>
                    </a:lnTo>
                    <a:lnTo>
                      <a:pt x="230220" y="742799"/>
                    </a:lnTo>
                    <a:lnTo>
                      <a:pt x="226048" y="738326"/>
                    </a:lnTo>
                    <a:lnTo>
                      <a:pt x="211723" y="698396"/>
                    </a:lnTo>
                    <a:lnTo>
                      <a:pt x="205493" y="687858"/>
                    </a:lnTo>
                    <a:lnTo>
                      <a:pt x="195971" y="677924"/>
                    </a:lnTo>
                    <a:lnTo>
                      <a:pt x="189000" y="662611"/>
                    </a:lnTo>
                    <a:lnTo>
                      <a:pt x="185130" y="652951"/>
                    </a:lnTo>
                    <a:lnTo>
                      <a:pt x="179093" y="623971"/>
                    </a:lnTo>
                    <a:lnTo>
                      <a:pt x="169049" y="598175"/>
                    </a:lnTo>
                    <a:lnTo>
                      <a:pt x="164548" y="594882"/>
                    </a:lnTo>
                    <a:lnTo>
                      <a:pt x="159307" y="586045"/>
                    </a:lnTo>
                    <a:lnTo>
                      <a:pt x="157139" y="576879"/>
                    </a:lnTo>
                    <a:lnTo>
                      <a:pt x="145530" y="557147"/>
                    </a:lnTo>
                    <a:lnTo>
                      <a:pt x="141331" y="542740"/>
                    </a:lnTo>
                    <a:lnTo>
                      <a:pt x="139713" y="524106"/>
                    </a:lnTo>
                    <a:lnTo>
                      <a:pt x="127665" y="475093"/>
                    </a:lnTo>
                    <a:lnTo>
                      <a:pt x="128214" y="472239"/>
                    </a:lnTo>
                    <a:lnTo>
                      <a:pt x="131095" y="472019"/>
                    </a:lnTo>
                    <a:lnTo>
                      <a:pt x="129531" y="468561"/>
                    </a:lnTo>
                    <a:lnTo>
                      <a:pt x="131507" y="465323"/>
                    </a:lnTo>
                    <a:lnTo>
                      <a:pt x="130629" y="464308"/>
                    </a:lnTo>
                    <a:lnTo>
                      <a:pt x="125991" y="466448"/>
                    </a:lnTo>
                    <a:lnTo>
                      <a:pt x="125250" y="456926"/>
                    </a:lnTo>
                    <a:lnTo>
                      <a:pt x="123686" y="447870"/>
                    </a:lnTo>
                    <a:lnTo>
                      <a:pt x="122286" y="439664"/>
                    </a:lnTo>
                    <a:lnTo>
                      <a:pt x="122039" y="438292"/>
                    </a:lnTo>
                    <a:lnTo>
                      <a:pt x="127336" y="418890"/>
                    </a:lnTo>
                    <a:lnTo>
                      <a:pt x="126183" y="405717"/>
                    </a:lnTo>
                    <a:lnTo>
                      <a:pt x="120914" y="396633"/>
                    </a:lnTo>
                    <a:lnTo>
                      <a:pt x="122121" y="383269"/>
                    </a:lnTo>
                    <a:lnTo>
                      <a:pt x="120091" y="381183"/>
                    </a:lnTo>
                    <a:lnTo>
                      <a:pt x="119185" y="380278"/>
                    </a:lnTo>
                    <a:lnTo>
                      <a:pt x="117977" y="371605"/>
                    </a:lnTo>
                    <a:lnTo>
                      <a:pt x="122423" y="363482"/>
                    </a:lnTo>
                    <a:lnTo>
                      <a:pt x="119953" y="361754"/>
                    </a:lnTo>
                    <a:lnTo>
                      <a:pt x="114355" y="363043"/>
                    </a:lnTo>
                    <a:lnTo>
                      <a:pt x="108674" y="369026"/>
                    </a:lnTo>
                    <a:lnTo>
                      <a:pt x="109882" y="381183"/>
                    </a:lnTo>
                    <a:lnTo>
                      <a:pt x="110102" y="383324"/>
                    </a:lnTo>
                    <a:lnTo>
                      <a:pt x="103487" y="396963"/>
                    </a:lnTo>
                    <a:lnTo>
                      <a:pt x="76594" y="409834"/>
                    </a:lnTo>
                    <a:lnTo>
                      <a:pt x="65369" y="411288"/>
                    </a:lnTo>
                    <a:lnTo>
                      <a:pt x="55709" y="406787"/>
                    </a:lnTo>
                    <a:lnTo>
                      <a:pt x="44046" y="397073"/>
                    </a:lnTo>
                    <a:lnTo>
                      <a:pt x="28952" y="381183"/>
                    </a:lnTo>
                    <a:lnTo>
                      <a:pt x="17152" y="368669"/>
                    </a:lnTo>
                    <a:lnTo>
                      <a:pt x="13721" y="360601"/>
                    </a:lnTo>
                    <a:lnTo>
                      <a:pt x="16493" y="358570"/>
                    </a:lnTo>
                    <a:lnTo>
                      <a:pt x="21653" y="362275"/>
                    </a:lnTo>
                    <a:lnTo>
                      <a:pt x="31862" y="360217"/>
                    </a:lnTo>
                    <a:lnTo>
                      <a:pt x="31807" y="356484"/>
                    </a:lnTo>
                    <a:lnTo>
                      <a:pt x="35868" y="358323"/>
                    </a:lnTo>
                    <a:lnTo>
                      <a:pt x="47888" y="353109"/>
                    </a:lnTo>
                    <a:lnTo>
                      <a:pt x="63832" y="335490"/>
                    </a:lnTo>
                    <a:lnTo>
                      <a:pt x="80188" y="331182"/>
                    </a:lnTo>
                    <a:lnTo>
                      <a:pt x="81835" y="328081"/>
                    </a:lnTo>
                    <a:lnTo>
                      <a:pt x="81122" y="324486"/>
                    </a:lnTo>
                    <a:lnTo>
                      <a:pt x="77060" y="321385"/>
                    </a:lnTo>
                    <a:lnTo>
                      <a:pt x="74700" y="325364"/>
                    </a:lnTo>
                    <a:lnTo>
                      <a:pt x="65918" y="331731"/>
                    </a:lnTo>
                    <a:lnTo>
                      <a:pt x="52965" y="334201"/>
                    </a:lnTo>
                    <a:lnTo>
                      <a:pt x="48025" y="340375"/>
                    </a:lnTo>
                    <a:lnTo>
                      <a:pt x="35621" y="346605"/>
                    </a:lnTo>
                    <a:lnTo>
                      <a:pt x="20775" y="344409"/>
                    </a:lnTo>
                    <a:lnTo>
                      <a:pt x="4199" y="333816"/>
                    </a:lnTo>
                    <a:lnTo>
                      <a:pt x="0" y="324211"/>
                    </a:lnTo>
                    <a:lnTo>
                      <a:pt x="576" y="319025"/>
                    </a:lnTo>
                    <a:lnTo>
                      <a:pt x="6587" y="313838"/>
                    </a:lnTo>
                    <a:lnTo>
                      <a:pt x="22064" y="311944"/>
                    </a:lnTo>
                    <a:lnTo>
                      <a:pt x="32849" y="314332"/>
                    </a:lnTo>
                    <a:lnTo>
                      <a:pt x="34221" y="309392"/>
                    </a:lnTo>
                    <a:lnTo>
                      <a:pt x="22723" y="307609"/>
                    </a:lnTo>
                    <a:lnTo>
                      <a:pt x="20226" y="303602"/>
                    </a:lnTo>
                    <a:lnTo>
                      <a:pt x="12816" y="2991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4" name="Freeform: Shape 4083">
                <a:extLst>
                  <a:ext uri="{FF2B5EF4-FFF2-40B4-BE49-F238E27FC236}">
                    <a16:creationId xmlns:a16="http://schemas.microsoft.com/office/drawing/2014/main" id="{16D4DD90-57D1-D03C-7C79-C64B34349384}"/>
                  </a:ext>
                </a:extLst>
              </p:cNvPr>
              <p:cNvSpPr/>
              <p:nvPr/>
            </p:nvSpPr>
            <p:spPr>
              <a:xfrm>
                <a:off x="1580633" y="3768811"/>
                <a:ext cx="930" cy="515"/>
              </a:xfrm>
              <a:custGeom>
                <a:avLst/>
                <a:gdLst>
                  <a:gd name="connsiteX0" fmla="*/ 0 w 8918"/>
                  <a:gd name="connsiteY0" fmla="*/ 164 h 4939"/>
                  <a:gd name="connsiteX1" fmla="*/ 7903 w 8918"/>
                  <a:gd name="connsiteY1" fmla="*/ 0 h 4939"/>
                  <a:gd name="connsiteX2" fmla="*/ 8919 w 8918"/>
                  <a:gd name="connsiteY2" fmla="*/ 604 h 4939"/>
                  <a:gd name="connsiteX3" fmla="*/ 6065 w 8918"/>
                  <a:gd name="connsiteY3" fmla="*/ 4940 h 4939"/>
                  <a:gd name="connsiteX4" fmla="*/ 851 w 8918"/>
                  <a:gd name="connsiteY4" fmla="*/ 3046 h 4939"/>
                  <a:gd name="connsiteX5" fmla="*/ 0 w 8918"/>
                  <a:gd name="connsiteY5" fmla="*/ 164 h 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18" h="4939">
                    <a:moveTo>
                      <a:pt x="0" y="164"/>
                    </a:moveTo>
                    <a:lnTo>
                      <a:pt x="7903" y="0"/>
                    </a:lnTo>
                    <a:lnTo>
                      <a:pt x="8919" y="604"/>
                    </a:lnTo>
                    <a:lnTo>
                      <a:pt x="6065" y="4940"/>
                    </a:lnTo>
                    <a:lnTo>
                      <a:pt x="851" y="3046"/>
                    </a:lnTo>
                    <a:lnTo>
                      <a:pt x="0" y="1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5" name="Freeform: Shape 4084">
                <a:extLst>
                  <a:ext uri="{FF2B5EF4-FFF2-40B4-BE49-F238E27FC236}">
                    <a16:creationId xmlns:a16="http://schemas.microsoft.com/office/drawing/2014/main" id="{462D51DC-7166-B39B-378E-7C1BE63EF80F}"/>
                  </a:ext>
                </a:extLst>
              </p:cNvPr>
              <p:cNvSpPr/>
              <p:nvPr/>
            </p:nvSpPr>
            <p:spPr>
              <a:xfrm>
                <a:off x="1636789" y="3776388"/>
                <a:ext cx="404" cy="426"/>
              </a:xfrm>
              <a:custGeom>
                <a:avLst/>
                <a:gdLst>
                  <a:gd name="connsiteX0" fmla="*/ 0 w 3869"/>
                  <a:gd name="connsiteY0" fmla="*/ 3129 h 4088"/>
                  <a:gd name="connsiteX1" fmla="*/ 1455 w 3869"/>
                  <a:gd name="connsiteY1" fmla="*/ 0 h 4088"/>
                  <a:gd name="connsiteX2" fmla="*/ 3870 w 3869"/>
                  <a:gd name="connsiteY2" fmla="*/ 1592 h 4088"/>
                  <a:gd name="connsiteX3" fmla="*/ 933 w 3869"/>
                  <a:gd name="connsiteY3" fmla="*/ 4089 h 4088"/>
                  <a:gd name="connsiteX4" fmla="*/ 0 w 3869"/>
                  <a:gd name="connsiteY4" fmla="*/ 3156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4088">
                    <a:moveTo>
                      <a:pt x="0" y="3129"/>
                    </a:moveTo>
                    <a:lnTo>
                      <a:pt x="1455" y="0"/>
                    </a:lnTo>
                    <a:lnTo>
                      <a:pt x="3870" y="1592"/>
                    </a:lnTo>
                    <a:lnTo>
                      <a:pt x="933" y="4089"/>
                    </a:lnTo>
                    <a:lnTo>
                      <a:pt x="0"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6" name="Freeform: Shape 4085">
                <a:extLst>
                  <a:ext uri="{FF2B5EF4-FFF2-40B4-BE49-F238E27FC236}">
                    <a16:creationId xmlns:a16="http://schemas.microsoft.com/office/drawing/2014/main" id="{39E12CB8-5483-05E0-55B2-6DD5502AB6E8}"/>
                  </a:ext>
                </a:extLst>
              </p:cNvPr>
              <p:cNvSpPr/>
              <p:nvPr/>
            </p:nvSpPr>
            <p:spPr>
              <a:xfrm>
                <a:off x="1575309" y="3769117"/>
                <a:ext cx="306" cy="447"/>
              </a:xfrm>
              <a:custGeom>
                <a:avLst/>
                <a:gdLst>
                  <a:gd name="connsiteX0" fmla="*/ 0 w 2936"/>
                  <a:gd name="connsiteY0" fmla="*/ 3376 h 4281"/>
                  <a:gd name="connsiteX1" fmla="*/ 412 w 2936"/>
                  <a:gd name="connsiteY1" fmla="*/ 906 h 4281"/>
                  <a:gd name="connsiteX2" fmla="*/ 2058 w 2936"/>
                  <a:gd name="connsiteY2" fmla="*/ 0 h 4281"/>
                  <a:gd name="connsiteX3" fmla="*/ 2937 w 2936"/>
                  <a:gd name="connsiteY3" fmla="*/ 2251 h 4281"/>
                  <a:gd name="connsiteX4" fmla="*/ 1235 w 2936"/>
                  <a:gd name="connsiteY4" fmla="*/ 4281 h 4281"/>
                  <a:gd name="connsiteX5" fmla="*/ 0 w 2936"/>
                  <a:gd name="connsiteY5" fmla="*/ 3376 h 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6" h="4281">
                    <a:moveTo>
                      <a:pt x="0" y="3376"/>
                    </a:moveTo>
                    <a:lnTo>
                      <a:pt x="412" y="906"/>
                    </a:lnTo>
                    <a:lnTo>
                      <a:pt x="2058" y="0"/>
                    </a:lnTo>
                    <a:lnTo>
                      <a:pt x="2937" y="2251"/>
                    </a:lnTo>
                    <a:lnTo>
                      <a:pt x="1235" y="4281"/>
                    </a:lnTo>
                    <a:lnTo>
                      <a:pt x="0" y="33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7" name="Freeform: Shape 4086">
                <a:extLst>
                  <a:ext uri="{FF2B5EF4-FFF2-40B4-BE49-F238E27FC236}">
                    <a16:creationId xmlns:a16="http://schemas.microsoft.com/office/drawing/2014/main" id="{6CF475CA-7E6B-17ED-D600-FD02AD6E1CE5}"/>
                  </a:ext>
                </a:extLst>
              </p:cNvPr>
              <p:cNvSpPr/>
              <p:nvPr/>
            </p:nvSpPr>
            <p:spPr>
              <a:xfrm>
                <a:off x="1608321" y="3815690"/>
                <a:ext cx="398" cy="306"/>
              </a:xfrm>
              <a:custGeom>
                <a:avLst/>
                <a:gdLst>
                  <a:gd name="connsiteX0" fmla="*/ 3403 w 3814"/>
                  <a:gd name="connsiteY0" fmla="*/ 2854 h 2936"/>
                  <a:gd name="connsiteX1" fmla="*/ 0 w 3814"/>
                  <a:gd name="connsiteY1" fmla="*/ 2936 h 2936"/>
                  <a:gd name="connsiteX2" fmla="*/ 659 w 3814"/>
                  <a:gd name="connsiteY2" fmla="*/ 1235 h 2936"/>
                  <a:gd name="connsiteX3" fmla="*/ 3814 w 3814"/>
                  <a:gd name="connsiteY3" fmla="*/ 0 h 2936"/>
                  <a:gd name="connsiteX4" fmla="*/ 3403 w 3814"/>
                  <a:gd name="connsiteY4" fmla="*/ 2854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2936">
                    <a:moveTo>
                      <a:pt x="3403" y="2854"/>
                    </a:moveTo>
                    <a:lnTo>
                      <a:pt x="0" y="2936"/>
                    </a:lnTo>
                    <a:lnTo>
                      <a:pt x="659" y="1235"/>
                    </a:lnTo>
                    <a:lnTo>
                      <a:pt x="3814" y="0"/>
                    </a:lnTo>
                    <a:lnTo>
                      <a:pt x="3403"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8" name="Freeform: Shape 4087">
                <a:extLst>
                  <a:ext uri="{FF2B5EF4-FFF2-40B4-BE49-F238E27FC236}">
                    <a16:creationId xmlns:a16="http://schemas.microsoft.com/office/drawing/2014/main" id="{522530F7-5952-815F-74B3-A2D6C28AF7E9}"/>
                  </a:ext>
                </a:extLst>
              </p:cNvPr>
              <p:cNvSpPr/>
              <p:nvPr/>
            </p:nvSpPr>
            <p:spPr>
              <a:xfrm>
                <a:off x="1580874" y="3771765"/>
                <a:ext cx="332" cy="363"/>
              </a:xfrm>
              <a:custGeom>
                <a:avLst/>
                <a:gdLst>
                  <a:gd name="connsiteX0" fmla="*/ 0 w 3183"/>
                  <a:gd name="connsiteY0" fmla="*/ 1866 h 3485"/>
                  <a:gd name="connsiteX1" fmla="*/ 686 w 3183"/>
                  <a:gd name="connsiteY1" fmla="*/ 0 h 3485"/>
                  <a:gd name="connsiteX2" fmla="*/ 2991 w 3183"/>
                  <a:gd name="connsiteY2" fmla="*/ 220 h 3485"/>
                  <a:gd name="connsiteX3" fmla="*/ 3183 w 3183"/>
                  <a:gd name="connsiteY3" fmla="*/ 2031 h 3485"/>
                  <a:gd name="connsiteX4" fmla="*/ 1015 w 3183"/>
                  <a:gd name="connsiteY4" fmla="*/ 3485 h 3485"/>
                  <a:gd name="connsiteX5" fmla="*/ 0 w 3183"/>
                  <a:gd name="connsiteY5" fmla="*/ 1894 h 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3" h="3485">
                    <a:moveTo>
                      <a:pt x="0" y="1866"/>
                    </a:moveTo>
                    <a:lnTo>
                      <a:pt x="686" y="0"/>
                    </a:lnTo>
                    <a:lnTo>
                      <a:pt x="2991" y="220"/>
                    </a:lnTo>
                    <a:lnTo>
                      <a:pt x="3183" y="2031"/>
                    </a:lnTo>
                    <a:lnTo>
                      <a:pt x="1015" y="3485"/>
                    </a:lnTo>
                    <a:lnTo>
                      <a:pt x="0" y="1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89" name="Freeform: Shape 4088">
                <a:extLst>
                  <a:ext uri="{FF2B5EF4-FFF2-40B4-BE49-F238E27FC236}">
                    <a16:creationId xmlns:a16="http://schemas.microsoft.com/office/drawing/2014/main" id="{844048EB-B9A3-3C68-8FF9-9D559643515C}"/>
                  </a:ext>
                </a:extLst>
              </p:cNvPr>
              <p:cNvSpPr/>
              <p:nvPr/>
            </p:nvSpPr>
            <p:spPr>
              <a:xfrm>
                <a:off x="1576718" y="3767632"/>
                <a:ext cx="223" cy="94"/>
              </a:xfrm>
              <a:custGeom>
                <a:avLst/>
                <a:gdLst>
                  <a:gd name="connsiteX0" fmla="*/ 1345 w 2140"/>
                  <a:gd name="connsiteY0" fmla="*/ 0 h 905"/>
                  <a:gd name="connsiteX1" fmla="*/ 2141 w 2140"/>
                  <a:gd name="connsiteY1" fmla="*/ 604 h 905"/>
                  <a:gd name="connsiteX2" fmla="*/ 1866 w 2140"/>
                  <a:gd name="connsiteY2" fmla="*/ 905 h 905"/>
                  <a:gd name="connsiteX3" fmla="*/ 795 w 2140"/>
                  <a:gd name="connsiteY3" fmla="*/ 905 h 905"/>
                  <a:gd name="connsiteX4" fmla="*/ 795 w 2140"/>
                  <a:gd name="connsiteY4" fmla="*/ 604 h 905"/>
                  <a:gd name="connsiteX5" fmla="*/ 0 w 2140"/>
                  <a:gd name="connsiteY5" fmla="*/ 604 h 905"/>
                  <a:gd name="connsiteX6" fmla="*/ 1345 w 2140"/>
                  <a:gd name="connsiteY6" fmla="*/ 0 h 905"/>
                  <a:gd name="connsiteX7" fmla="*/ 1345 w 2140"/>
                  <a:gd name="connsiteY7" fmla="*/ 0 h 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0" h="905">
                    <a:moveTo>
                      <a:pt x="1345" y="0"/>
                    </a:moveTo>
                    <a:lnTo>
                      <a:pt x="2141" y="604"/>
                    </a:lnTo>
                    <a:lnTo>
                      <a:pt x="1866" y="905"/>
                    </a:lnTo>
                    <a:lnTo>
                      <a:pt x="795" y="905"/>
                    </a:lnTo>
                    <a:lnTo>
                      <a:pt x="795" y="604"/>
                    </a:lnTo>
                    <a:lnTo>
                      <a:pt x="0" y="604"/>
                    </a:lnTo>
                    <a:lnTo>
                      <a:pt x="1345" y="0"/>
                    </a:lnTo>
                    <a:lnTo>
                      <a:pt x="1345"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0" name="Freeform: Shape 4089">
                <a:extLst>
                  <a:ext uri="{FF2B5EF4-FFF2-40B4-BE49-F238E27FC236}">
                    <a16:creationId xmlns:a16="http://schemas.microsoft.com/office/drawing/2014/main" id="{DB4F0862-E7A7-8DEE-7324-F226C51DBFB7}"/>
                  </a:ext>
                </a:extLst>
              </p:cNvPr>
              <p:cNvSpPr/>
              <p:nvPr/>
            </p:nvSpPr>
            <p:spPr>
              <a:xfrm>
                <a:off x="1500534" y="3711367"/>
                <a:ext cx="59033" cy="53540"/>
              </a:xfrm>
              <a:custGeom>
                <a:avLst/>
                <a:gdLst>
                  <a:gd name="connsiteX0" fmla="*/ 47093 w 565983"/>
                  <a:gd name="connsiteY0" fmla="*/ 30407 h 513321"/>
                  <a:gd name="connsiteX1" fmla="*/ 61363 w 565983"/>
                  <a:gd name="connsiteY1" fmla="*/ 34386 h 513321"/>
                  <a:gd name="connsiteX2" fmla="*/ 67208 w 565983"/>
                  <a:gd name="connsiteY2" fmla="*/ 32136 h 513321"/>
                  <a:gd name="connsiteX3" fmla="*/ 73273 w 565983"/>
                  <a:gd name="connsiteY3" fmla="*/ 33124 h 513321"/>
                  <a:gd name="connsiteX4" fmla="*/ 81643 w 565983"/>
                  <a:gd name="connsiteY4" fmla="*/ 24315 h 513321"/>
                  <a:gd name="connsiteX5" fmla="*/ 110485 w 565983"/>
                  <a:gd name="connsiteY5" fmla="*/ 3952 h 513321"/>
                  <a:gd name="connsiteX6" fmla="*/ 116633 w 565983"/>
                  <a:gd name="connsiteY6" fmla="*/ 2690 h 513321"/>
                  <a:gd name="connsiteX7" fmla="*/ 126155 w 565983"/>
                  <a:gd name="connsiteY7" fmla="*/ 13859 h 513321"/>
                  <a:gd name="connsiteX8" fmla="*/ 120338 w 565983"/>
                  <a:gd name="connsiteY8" fmla="*/ 19210 h 513321"/>
                  <a:gd name="connsiteX9" fmla="*/ 125497 w 565983"/>
                  <a:gd name="connsiteY9" fmla="*/ 27718 h 513321"/>
                  <a:gd name="connsiteX10" fmla="*/ 117758 w 565983"/>
                  <a:gd name="connsiteY10" fmla="*/ 31477 h 513321"/>
                  <a:gd name="connsiteX11" fmla="*/ 117291 w 565983"/>
                  <a:gd name="connsiteY11" fmla="*/ 34743 h 513321"/>
                  <a:gd name="connsiteX12" fmla="*/ 135212 w 565983"/>
                  <a:gd name="connsiteY12" fmla="*/ 50632 h 513321"/>
                  <a:gd name="connsiteX13" fmla="*/ 142100 w 565983"/>
                  <a:gd name="connsiteY13" fmla="*/ 49590 h 513321"/>
                  <a:gd name="connsiteX14" fmla="*/ 143143 w 565983"/>
                  <a:gd name="connsiteY14" fmla="*/ 66110 h 513321"/>
                  <a:gd name="connsiteX15" fmla="*/ 145503 w 565983"/>
                  <a:gd name="connsiteY15" fmla="*/ 74974 h 513321"/>
                  <a:gd name="connsiteX16" fmla="*/ 148961 w 565983"/>
                  <a:gd name="connsiteY16" fmla="*/ 79914 h 513321"/>
                  <a:gd name="connsiteX17" fmla="*/ 157880 w 565983"/>
                  <a:gd name="connsiteY17" fmla="*/ 84964 h 513321"/>
                  <a:gd name="connsiteX18" fmla="*/ 172342 w 565983"/>
                  <a:gd name="connsiteY18" fmla="*/ 86089 h 513321"/>
                  <a:gd name="connsiteX19" fmla="*/ 180054 w 565983"/>
                  <a:gd name="connsiteY19" fmla="*/ 88970 h 513321"/>
                  <a:gd name="connsiteX20" fmla="*/ 184033 w 565983"/>
                  <a:gd name="connsiteY20" fmla="*/ 97231 h 513321"/>
                  <a:gd name="connsiteX21" fmla="*/ 188149 w 565983"/>
                  <a:gd name="connsiteY21" fmla="*/ 101320 h 513321"/>
                  <a:gd name="connsiteX22" fmla="*/ 208073 w 565983"/>
                  <a:gd name="connsiteY22" fmla="*/ 113367 h 513321"/>
                  <a:gd name="connsiteX23" fmla="*/ 230878 w 565983"/>
                  <a:gd name="connsiteY23" fmla="*/ 118444 h 513321"/>
                  <a:gd name="connsiteX24" fmla="*/ 276818 w 565983"/>
                  <a:gd name="connsiteY24" fmla="*/ 107632 h 513321"/>
                  <a:gd name="connsiteX25" fmla="*/ 291033 w 565983"/>
                  <a:gd name="connsiteY25" fmla="*/ 110431 h 513321"/>
                  <a:gd name="connsiteX26" fmla="*/ 292844 w 565983"/>
                  <a:gd name="connsiteY26" fmla="*/ 109141 h 513321"/>
                  <a:gd name="connsiteX27" fmla="*/ 293229 w 565983"/>
                  <a:gd name="connsiteY27" fmla="*/ 105436 h 513321"/>
                  <a:gd name="connsiteX28" fmla="*/ 289771 w 565983"/>
                  <a:gd name="connsiteY28" fmla="*/ 90672 h 513321"/>
                  <a:gd name="connsiteX29" fmla="*/ 300034 w 565983"/>
                  <a:gd name="connsiteY29" fmla="*/ 91303 h 513321"/>
                  <a:gd name="connsiteX30" fmla="*/ 312960 w 565983"/>
                  <a:gd name="connsiteY30" fmla="*/ 86253 h 513321"/>
                  <a:gd name="connsiteX31" fmla="*/ 315869 w 565983"/>
                  <a:gd name="connsiteY31" fmla="*/ 83344 h 513321"/>
                  <a:gd name="connsiteX32" fmla="*/ 317515 w 565983"/>
                  <a:gd name="connsiteY32" fmla="*/ 75962 h 513321"/>
                  <a:gd name="connsiteX33" fmla="*/ 325968 w 565983"/>
                  <a:gd name="connsiteY33" fmla="*/ 68114 h 513321"/>
                  <a:gd name="connsiteX34" fmla="*/ 335573 w 565983"/>
                  <a:gd name="connsiteY34" fmla="*/ 63146 h 513321"/>
                  <a:gd name="connsiteX35" fmla="*/ 344904 w 565983"/>
                  <a:gd name="connsiteY35" fmla="*/ 61720 h 513321"/>
                  <a:gd name="connsiteX36" fmla="*/ 359888 w 565983"/>
                  <a:gd name="connsiteY36" fmla="*/ 63201 h 513321"/>
                  <a:gd name="connsiteX37" fmla="*/ 362302 w 565983"/>
                  <a:gd name="connsiteY37" fmla="*/ 58152 h 513321"/>
                  <a:gd name="connsiteX38" fmla="*/ 366117 w 565983"/>
                  <a:gd name="connsiteY38" fmla="*/ 56395 h 513321"/>
                  <a:gd name="connsiteX39" fmla="*/ 382363 w 565983"/>
                  <a:gd name="connsiteY39" fmla="*/ 58564 h 513321"/>
                  <a:gd name="connsiteX40" fmla="*/ 387193 w 565983"/>
                  <a:gd name="connsiteY40" fmla="*/ 56121 h 513321"/>
                  <a:gd name="connsiteX41" fmla="*/ 394329 w 565983"/>
                  <a:gd name="connsiteY41" fmla="*/ 68470 h 513321"/>
                  <a:gd name="connsiteX42" fmla="*/ 415597 w 565983"/>
                  <a:gd name="connsiteY42" fmla="*/ 74425 h 513321"/>
                  <a:gd name="connsiteX43" fmla="*/ 419164 w 565983"/>
                  <a:gd name="connsiteY43" fmla="*/ 78597 h 513321"/>
                  <a:gd name="connsiteX44" fmla="*/ 434889 w 565983"/>
                  <a:gd name="connsiteY44" fmla="*/ 78130 h 513321"/>
                  <a:gd name="connsiteX45" fmla="*/ 449791 w 565983"/>
                  <a:gd name="connsiteY45" fmla="*/ 84003 h 513321"/>
                  <a:gd name="connsiteX46" fmla="*/ 452205 w 565983"/>
                  <a:gd name="connsiteY46" fmla="*/ 92373 h 513321"/>
                  <a:gd name="connsiteX47" fmla="*/ 456075 w 565983"/>
                  <a:gd name="connsiteY47" fmla="*/ 97587 h 513321"/>
                  <a:gd name="connsiteX48" fmla="*/ 469906 w 565983"/>
                  <a:gd name="connsiteY48" fmla="*/ 102637 h 513321"/>
                  <a:gd name="connsiteX49" fmla="*/ 479621 w 565983"/>
                  <a:gd name="connsiteY49" fmla="*/ 116441 h 513321"/>
                  <a:gd name="connsiteX50" fmla="*/ 501246 w 565983"/>
                  <a:gd name="connsiteY50" fmla="*/ 116386 h 513321"/>
                  <a:gd name="connsiteX51" fmla="*/ 503579 w 565983"/>
                  <a:gd name="connsiteY51" fmla="*/ 120145 h 513321"/>
                  <a:gd name="connsiteX52" fmla="*/ 502755 w 565983"/>
                  <a:gd name="connsiteY52" fmla="*/ 126567 h 513321"/>
                  <a:gd name="connsiteX53" fmla="*/ 504677 w 565983"/>
                  <a:gd name="connsiteY53" fmla="*/ 134224 h 513321"/>
                  <a:gd name="connsiteX54" fmla="*/ 503085 w 565983"/>
                  <a:gd name="connsiteY54" fmla="*/ 140975 h 513321"/>
                  <a:gd name="connsiteX55" fmla="*/ 505692 w 565983"/>
                  <a:gd name="connsiteY55" fmla="*/ 145146 h 513321"/>
                  <a:gd name="connsiteX56" fmla="*/ 506433 w 565983"/>
                  <a:gd name="connsiteY56" fmla="*/ 154120 h 513321"/>
                  <a:gd name="connsiteX57" fmla="*/ 503716 w 565983"/>
                  <a:gd name="connsiteY57" fmla="*/ 164576 h 513321"/>
                  <a:gd name="connsiteX58" fmla="*/ 501548 w 565983"/>
                  <a:gd name="connsiteY58" fmla="*/ 167100 h 513321"/>
                  <a:gd name="connsiteX59" fmla="*/ 501960 w 565983"/>
                  <a:gd name="connsiteY59" fmla="*/ 173659 h 513321"/>
                  <a:gd name="connsiteX60" fmla="*/ 498063 w 565983"/>
                  <a:gd name="connsiteY60" fmla="*/ 188122 h 513321"/>
                  <a:gd name="connsiteX61" fmla="*/ 491504 w 565983"/>
                  <a:gd name="connsiteY61" fmla="*/ 193116 h 513321"/>
                  <a:gd name="connsiteX62" fmla="*/ 494496 w 565983"/>
                  <a:gd name="connsiteY62" fmla="*/ 199977 h 513321"/>
                  <a:gd name="connsiteX63" fmla="*/ 488485 w 565983"/>
                  <a:gd name="connsiteY63" fmla="*/ 201569 h 513321"/>
                  <a:gd name="connsiteX64" fmla="*/ 483408 w 565983"/>
                  <a:gd name="connsiteY64" fmla="*/ 209555 h 513321"/>
                  <a:gd name="connsiteX65" fmla="*/ 487662 w 565983"/>
                  <a:gd name="connsiteY65" fmla="*/ 226432 h 513321"/>
                  <a:gd name="connsiteX66" fmla="*/ 494770 w 565983"/>
                  <a:gd name="connsiteY66" fmla="*/ 228381 h 513321"/>
                  <a:gd name="connsiteX67" fmla="*/ 486509 w 565983"/>
                  <a:gd name="connsiteY67" fmla="*/ 242404 h 513321"/>
                  <a:gd name="connsiteX68" fmla="*/ 494577 w 565983"/>
                  <a:gd name="connsiteY68" fmla="*/ 273387 h 513321"/>
                  <a:gd name="connsiteX69" fmla="*/ 492959 w 565983"/>
                  <a:gd name="connsiteY69" fmla="*/ 283760 h 513321"/>
                  <a:gd name="connsiteX70" fmla="*/ 494276 w 565983"/>
                  <a:gd name="connsiteY70" fmla="*/ 298388 h 513321"/>
                  <a:gd name="connsiteX71" fmla="*/ 519441 w 565983"/>
                  <a:gd name="connsiteY71" fmla="*/ 303931 h 513321"/>
                  <a:gd name="connsiteX72" fmla="*/ 522651 w 565983"/>
                  <a:gd name="connsiteY72" fmla="*/ 313618 h 513321"/>
                  <a:gd name="connsiteX73" fmla="*/ 521526 w 565983"/>
                  <a:gd name="connsiteY73" fmla="*/ 318668 h 513321"/>
                  <a:gd name="connsiteX74" fmla="*/ 520978 w 565983"/>
                  <a:gd name="connsiteY74" fmla="*/ 322922 h 513321"/>
                  <a:gd name="connsiteX75" fmla="*/ 494605 w 565983"/>
                  <a:gd name="connsiteY75" fmla="*/ 355222 h 513321"/>
                  <a:gd name="connsiteX76" fmla="*/ 508491 w 565983"/>
                  <a:gd name="connsiteY76" fmla="*/ 371798 h 513321"/>
                  <a:gd name="connsiteX77" fmla="*/ 513596 w 565983"/>
                  <a:gd name="connsiteY77" fmla="*/ 384421 h 513321"/>
                  <a:gd name="connsiteX78" fmla="*/ 521801 w 565983"/>
                  <a:gd name="connsiteY78" fmla="*/ 395892 h 513321"/>
                  <a:gd name="connsiteX79" fmla="*/ 529485 w 565983"/>
                  <a:gd name="connsiteY79" fmla="*/ 400695 h 513321"/>
                  <a:gd name="connsiteX80" fmla="*/ 539941 w 565983"/>
                  <a:gd name="connsiteY80" fmla="*/ 403823 h 513321"/>
                  <a:gd name="connsiteX81" fmla="*/ 545292 w 565983"/>
                  <a:gd name="connsiteY81" fmla="*/ 408708 h 513321"/>
                  <a:gd name="connsiteX82" fmla="*/ 550644 w 565983"/>
                  <a:gd name="connsiteY82" fmla="*/ 408983 h 513321"/>
                  <a:gd name="connsiteX83" fmla="*/ 552812 w 565983"/>
                  <a:gd name="connsiteY83" fmla="*/ 434121 h 513321"/>
                  <a:gd name="connsiteX84" fmla="*/ 551521 w 565983"/>
                  <a:gd name="connsiteY84" fmla="*/ 442875 h 513321"/>
                  <a:gd name="connsiteX85" fmla="*/ 555419 w 565983"/>
                  <a:gd name="connsiteY85" fmla="*/ 444192 h 513321"/>
                  <a:gd name="connsiteX86" fmla="*/ 562526 w 565983"/>
                  <a:gd name="connsiteY86" fmla="*/ 443122 h 513321"/>
                  <a:gd name="connsiteX87" fmla="*/ 565984 w 565983"/>
                  <a:gd name="connsiteY87" fmla="*/ 445647 h 513321"/>
                  <a:gd name="connsiteX88" fmla="*/ 565024 w 565983"/>
                  <a:gd name="connsiteY88" fmla="*/ 454429 h 513321"/>
                  <a:gd name="connsiteX89" fmla="*/ 561731 w 565983"/>
                  <a:gd name="connsiteY89" fmla="*/ 462112 h 513321"/>
                  <a:gd name="connsiteX90" fmla="*/ 551110 w 565983"/>
                  <a:gd name="connsiteY90" fmla="*/ 462442 h 513321"/>
                  <a:gd name="connsiteX91" fmla="*/ 539255 w 565983"/>
                  <a:gd name="connsiteY91" fmla="*/ 465625 h 513321"/>
                  <a:gd name="connsiteX92" fmla="*/ 536373 w 565983"/>
                  <a:gd name="connsiteY92" fmla="*/ 467491 h 513321"/>
                  <a:gd name="connsiteX93" fmla="*/ 535523 w 565983"/>
                  <a:gd name="connsiteY93" fmla="*/ 471498 h 513321"/>
                  <a:gd name="connsiteX94" fmla="*/ 524106 w 565983"/>
                  <a:gd name="connsiteY94" fmla="*/ 475999 h 513321"/>
                  <a:gd name="connsiteX95" fmla="*/ 518233 w 565983"/>
                  <a:gd name="connsiteY95" fmla="*/ 497377 h 513321"/>
                  <a:gd name="connsiteX96" fmla="*/ 516368 w 565983"/>
                  <a:gd name="connsiteY96" fmla="*/ 509973 h 513321"/>
                  <a:gd name="connsiteX97" fmla="*/ 508354 w 565983"/>
                  <a:gd name="connsiteY97" fmla="*/ 513321 h 513321"/>
                  <a:gd name="connsiteX98" fmla="*/ 489116 w 565983"/>
                  <a:gd name="connsiteY98" fmla="*/ 507201 h 513321"/>
                  <a:gd name="connsiteX99" fmla="*/ 484726 w 565983"/>
                  <a:gd name="connsiteY99" fmla="*/ 502838 h 513321"/>
                  <a:gd name="connsiteX100" fmla="*/ 479210 w 565983"/>
                  <a:gd name="connsiteY100" fmla="*/ 504869 h 513321"/>
                  <a:gd name="connsiteX101" fmla="*/ 465076 w 565983"/>
                  <a:gd name="connsiteY101" fmla="*/ 504292 h 513321"/>
                  <a:gd name="connsiteX102" fmla="*/ 446415 w 565983"/>
                  <a:gd name="connsiteY102" fmla="*/ 500423 h 513321"/>
                  <a:gd name="connsiteX103" fmla="*/ 441393 w 565983"/>
                  <a:gd name="connsiteY103" fmla="*/ 502152 h 513321"/>
                  <a:gd name="connsiteX104" fmla="*/ 432913 w 565983"/>
                  <a:gd name="connsiteY104" fmla="*/ 497871 h 513321"/>
                  <a:gd name="connsiteX105" fmla="*/ 412660 w 565983"/>
                  <a:gd name="connsiteY105" fmla="*/ 497185 h 513321"/>
                  <a:gd name="connsiteX106" fmla="*/ 407391 w 565983"/>
                  <a:gd name="connsiteY106" fmla="*/ 493782 h 513321"/>
                  <a:gd name="connsiteX107" fmla="*/ 391227 w 565983"/>
                  <a:gd name="connsiteY107" fmla="*/ 490186 h 513321"/>
                  <a:gd name="connsiteX108" fmla="*/ 383214 w 565983"/>
                  <a:gd name="connsiteY108" fmla="*/ 471031 h 513321"/>
                  <a:gd name="connsiteX109" fmla="*/ 380909 w 565983"/>
                  <a:gd name="connsiteY109" fmla="*/ 457200 h 513321"/>
                  <a:gd name="connsiteX110" fmla="*/ 371990 w 565983"/>
                  <a:gd name="connsiteY110" fmla="*/ 446113 h 513321"/>
                  <a:gd name="connsiteX111" fmla="*/ 362220 w 565983"/>
                  <a:gd name="connsiteY111" fmla="*/ 444878 h 513321"/>
                  <a:gd name="connsiteX112" fmla="*/ 355332 w 565983"/>
                  <a:gd name="connsiteY112" fmla="*/ 446333 h 513321"/>
                  <a:gd name="connsiteX113" fmla="*/ 340952 w 565983"/>
                  <a:gd name="connsiteY113" fmla="*/ 452096 h 513321"/>
                  <a:gd name="connsiteX114" fmla="*/ 336039 w 565983"/>
                  <a:gd name="connsiteY114" fmla="*/ 457886 h 513321"/>
                  <a:gd name="connsiteX115" fmla="*/ 328904 w 565983"/>
                  <a:gd name="connsiteY115" fmla="*/ 458819 h 513321"/>
                  <a:gd name="connsiteX116" fmla="*/ 314469 w 565983"/>
                  <a:gd name="connsiteY116" fmla="*/ 466805 h 513321"/>
                  <a:gd name="connsiteX117" fmla="*/ 300309 w 565983"/>
                  <a:gd name="connsiteY117" fmla="*/ 460356 h 513321"/>
                  <a:gd name="connsiteX118" fmla="*/ 283871 w 565983"/>
                  <a:gd name="connsiteY118" fmla="*/ 459752 h 513321"/>
                  <a:gd name="connsiteX119" fmla="*/ 275391 w 565983"/>
                  <a:gd name="connsiteY119" fmla="*/ 451602 h 513321"/>
                  <a:gd name="connsiteX120" fmla="*/ 261889 w 565983"/>
                  <a:gd name="connsiteY120" fmla="*/ 446058 h 513321"/>
                  <a:gd name="connsiteX121" fmla="*/ 253546 w 565983"/>
                  <a:gd name="connsiteY121" fmla="*/ 440185 h 513321"/>
                  <a:gd name="connsiteX122" fmla="*/ 252366 w 565983"/>
                  <a:gd name="connsiteY122" fmla="*/ 435712 h 513321"/>
                  <a:gd name="connsiteX123" fmla="*/ 246082 w 565983"/>
                  <a:gd name="connsiteY123" fmla="*/ 429510 h 513321"/>
                  <a:gd name="connsiteX124" fmla="*/ 235296 w 565983"/>
                  <a:gd name="connsiteY124" fmla="*/ 423692 h 513321"/>
                  <a:gd name="connsiteX125" fmla="*/ 224484 w 565983"/>
                  <a:gd name="connsiteY125" fmla="*/ 422951 h 513321"/>
                  <a:gd name="connsiteX126" fmla="*/ 216526 w 565983"/>
                  <a:gd name="connsiteY126" fmla="*/ 419082 h 513321"/>
                  <a:gd name="connsiteX127" fmla="*/ 208045 w 565983"/>
                  <a:gd name="connsiteY127" fmla="*/ 402150 h 513321"/>
                  <a:gd name="connsiteX128" fmla="*/ 205164 w 565983"/>
                  <a:gd name="connsiteY128" fmla="*/ 391529 h 513321"/>
                  <a:gd name="connsiteX129" fmla="*/ 200032 w 565983"/>
                  <a:gd name="connsiteY129" fmla="*/ 387385 h 513321"/>
                  <a:gd name="connsiteX130" fmla="*/ 201623 w 565983"/>
                  <a:gd name="connsiteY130" fmla="*/ 382939 h 513321"/>
                  <a:gd name="connsiteX131" fmla="*/ 194900 w 565983"/>
                  <a:gd name="connsiteY131" fmla="*/ 378960 h 513321"/>
                  <a:gd name="connsiteX132" fmla="*/ 193418 w 565983"/>
                  <a:gd name="connsiteY132" fmla="*/ 369437 h 513321"/>
                  <a:gd name="connsiteX133" fmla="*/ 180657 w 565983"/>
                  <a:gd name="connsiteY133" fmla="*/ 353850 h 513321"/>
                  <a:gd name="connsiteX134" fmla="*/ 176706 w 565983"/>
                  <a:gd name="connsiteY134" fmla="*/ 344712 h 513321"/>
                  <a:gd name="connsiteX135" fmla="*/ 172424 w 565983"/>
                  <a:gd name="connsiteY135" fmla="*/ 344162 h 513321"/>
                  <a:gd name="connsiteX136" fmla="*/ 162655 w 565983"/>
                  <a:gd name="connsiteY136" fmla="*/ 348965 h 513321"/>
                  <a:gd name="connsiteX137" fmla="*/ 159059 w 565983"/>
                  <a:gd name="connsiteY137" fmla="*/ 345809 h 513321"/>
                  <a:gd name="connsiteX138" fmla="*/ 152967 w 565983"/>
                  <a:gd name="connsiteY138" fmla="*/ 344766 h 513321"/>
                  <a:gd name="connsiteX139" fmla="*/ 143692 w 565983"/>
                  <a:gd name="connsiteY139" fmla="*/ 338043 h 513321"/>
                  <a:gd name="connsiteX140" fmla="*/ 142320 w 565983"/>
                  <a:gd name="connsiteY140" fmla="*/ 339854 h 513321"/>
                  <a:gd name="connsiteX141" fmla="*/ 143499 w 565983"/>
                  <a:gd name="connsiteY141" fmla="*/ 345123 h 513321"/>
                  <a:gd name="connsiteX142" fmla="*/ 142375 w 565983"/>
                  <a:gd name="connsiteY142" fmla="*/ 348965 h 513321"/>
                  <a:gd name="connsiteX143" fmla="*/ 130409 w 565983"/>
                  <a:gd name="connsiteY143" fmla="*/ 351188 h 513321"/>
                  <a:gd name="connsiteX144" fmla="*/ 126841 w 565983"/>
                  <a:gd name="connsiteY144" fmla="*/ 342406 h 513321"/>
                  <a:gd name="connsiteX145" fmla="*/ 117511 w 565983"/>
                  <a:gd name="connsiteY145" fmla="*/ 333378 h 513321"/>
                  <a:gd name="connsiteX146" fmla="*/ 116359 w 565983"/>
                  <a:gd name="connsiteY146" fmla="*/ 317515 h 513321"/>
                  <a:gd name="connsiteX147" fmla="*/ 110650 w 565983"/>
                  <a:gd name="connsiteY147" fmla="*/ 315402 h 513321"/>
                  <a:gd name="connsiteX148" fmla="*/ 107137 w 565983"/>
                  <a:gd name="connsiteY148" fmla="*/ 314113 h 513321"/>
                  <a:gd name="connsiteX149" fmla="*/ 107137 w 565983"/>
                  <a:gd name="connsiteY149" fmla="*/ 303245 h 513321"/>
                  <a:gd name="connsiteX150" fmla="*/ 110650 w 565983"/>
                  <a:gd name="connsiteY150" fmla="*/ 290951 h 513321"/>
                  <a:gd name="connsiteX151" fmla="*/ 111309 w 565983"/>
                  <a:gd name="connsiteY151" fmla="*/ 288645 h 513321"/>
                  <a:gd name="connsiteX152" fmla="*/ 110650 w 565983"/>
                  <a:gd name="connsiteY152" fmla="*/ 287520 h 513321"/>
                  <a:gd name="connsiteX153" fmla="*/ 99317 w 565983"/>
                  <a:gd name="connsiteY153" fmla="*/ 267542 h 513321"/>
                  <a:gd name="connsiteX154" fmla="*/ 91275 w 565983"/>
                  <a:gd name="connsiteY154" fmla="*/ 264825 h 513321"/>
                  <a:gd name="connsiteX155" fmla="*/ 72505 w 565983"/>
                  <a:gd name="connsiteY155" fmla="*/ 250801 h 513321"/>
                  <a:gd name="connsiteX156" fmla="*/ 61774 w 565983"/>
                  <a:gd name="connsiteY156" fmla="*/ 247646 h 513321"/>
                  <a:gd name="connsiteX157" fmla="*/ 61664 w 565983"/>
                  <a:gd name="connsiteY157" fmla="*/ 236257 h 513321"/>
                  <a:gd name="connsiteX158" fmla="*/ 54694 w 565983"/>
                  <a:gd name="connsiteY158" fmla="*/ 225883 h 513321"/>
                  <a:gd name="connsiteX159" fmla="*/ 49452 w 565983"/>
                  <a:gd name="connsiteY159" fmla="*/ 223386 h 513321"/>
                  <a:gd name="connsiteX160" fmla="*/ 47229 w 565983"/>
                  <a:gd name="connsiteY160" fmla="*/ 220450 h 513321"/>
                  <a:gd name="connsiteX161" fmla="*/ 41494 w 565983"/>
                  <a:gd name="connsiteY161" fmla="*/ 212875 h 513321"/>
                  <a:gd name="connsiteX162" fmla="*/ 44650 w 565983"/>
                  <a:gd name="connsiteY162" fmla="*/ 203517 h 513321"/>
                  <a:gd name="connsiteX163" fmla="*/ 42235 w 565983"/>
                  <a:gd name="connsiteY163" fmla="*/ 194598 h 513321"/>
                  <a:gd name="connsiteX164" fmla="*/ 44348 w 565983"/>
                  <a:gd name="connsiteY164" fmla="*/ 191662 h 513321"/>
                  <a:gd name="connsiteX165" fmla="*/ 47229 w 565983"/>
                  <a:gd name="connsiteY165" fmla="*/ 191388 h 513321"/>
                  <a:gd name="connsiteX166" fmla="*/ 48794 w 565983"/>
                  <a:gd name="connsiteY166" fmla="*/ 191223 h 513321"/>
                  <a:gd name="connsiteX167" fmla="*/ 48355 w 565983"/>
                  <a:gd name="connsiteY167" fmla="*/ 184719 h 513321"/>
                  <a:gd name="connsiteX168" fmla="*/ 54804 w 565983"/>
                  <a:gd name="connsiteY168" fmla="*/ 174455 h 513321"/>
                  <a:gd name="connsiteX169" fmla="*/ 61719 w 565983"/>
                  <a:gd name="connsiteY169" fmla="*/ 171875 h 513321"/>
                  <a:gd name="connsiteX170" fmla="*/ 57768 w 565983"/>
                  <a:gd name="connsiteY170" fmla="*/ 154010 h 513321"/>
                  <a:gd name="connsiteX171" fmla="*/ 65013 w 565983"/>
                  <a:gd name="connsiteY171" fmla="*/ 147314 h 513321"/>
                  <a:gd name="connsiteX172" fmla="*/ 59853 w 565983"/>
                  <a:gd name="connsiteY172" fmla="*/ 145228 h 513321"/>
                  <a:gd name="connsiteX173" fmla="*/ 50852 w 565983"/>
                  <a:gd name="connsiteY173" fmla="*/ 146107 h 513321"/>
                  <a:gd name="connsiteX174" fmla="*/ 47202 w 565983"/>
                  <a:gd name="connsiteY174" fmla="*/ 142896 h 513321"/>
                  <a:gd name="connsiteX175" fmla="*/ 44979 w 565983"/>
                  <a:gd name="connsiteY175" fmla="*/ 140947 h 513321"/>
                  <a:gd name="connsiteX176" fmla="*/ 39189 w 565983"/>
                  <a:gd name="connsiteY176" fmla="*/ 139438 h 513321"/>
                  <a:gd name="connsiteX177" fmla="*/ 35429 w 565983"/>
                  <a:gd name="connsiteY177" fmla="*/ 126156 h 513321"/>
                  <a:gd name="connsiteX178" fmla="*/ 29227 w 565983"/>
                  <a:gd name="connsiteY178" fmla="*/ 121737 h 513321"/>
                  <a:gd name="connsiteX179" fmla="*/ 29062 w 565983"/>
                  <a:gd name="connsiteY179" fmla="*/ 114931 h 513321"/>
                  <a:gd name="connsiteX180" fmla="*/ 24287 w 565983"/>
                  <a:gd name="connsiteY180" fmla="*/ 110047 h 513321"/>
                  <a:gd name="connsiteX181" fmla="*/ 24370 w 565983"/>
                  <a:gd name="connsiteY181" fmla="*/ 103817 h 513321"/>
                  <a:gd name="connsiteX182" fmla="*/ 21872 w 565983"/>
                  <a:gd name="connsiteY182" fmla="*/ 96736 h 513321"/>
                  <a:gd name="connsiteX183" fmla="*/ 22009 w 565983"/>
                  <a:gd name="connsiteY183" fmla="*/ 91797 h 513321"/>
                  <a:gd name="connsiteX184" fmla="*/ 16274 w 565983"/>
                  <a:gd name="connsiteY184" fmla="*/ 86171 h 513321"/>
                  <a:gd name="connsiteX185" fmla="*/ 15945 w 565983"/>
                  <a:gd name="connsiteY185" fmla="*/ 76978 h 513321"/>
                  <a:gd name="connsiteX186" fmla="*/ 12158 w 565983"/>
                  <a:gd name="connsiteY186" fmla="*/ 73300 h 513321"/>
                  <a:gd name="connsiteX187" fmla="*/ 5544 w 565983"/>
                  <a:gd name="connsiteY187" fmla="*/ 69266 h 513321"/>
                  <a:gd name="connsiteX188" fmla="*/ 11993 w 565983"/>
                  <a:gd name="connsiteY188" fmla="*/ 53816 h 513321"/>
                  <a:gd name="connsiteX189" fmla="*/ 7876 w 565983"/>
                  <a:gd name="connsiteY189" fmla="*/ 50687 h 513321"/>
                  <a:gd name="connsiteX190" fmla="*/ 7026 w 565983"/>
                  <a:gd name="connsiteY190" fmla="*/ 35155 h 513321"/>
                  <a:gd name="connsiteX191" fmla="*/ 3705 w 565983"/>
                  <a:gd name="connsiteY191" fmla="*/ 29172 h 513321"/>
                  <a:gd name="connsiteX192" fmla="*/ 4364 w 565983"/>
                  <a:gd name="connsiteY192" fmla="*/ 22997 h 513321"/>
                  <a:gd name="connsiteX193" fmla="*/ 1071 w 565983"/>
                  <a:gd name="connsiteY193" fmla="*/ 16877 h 513321"/>
                  <a:gd name="connsiteX194" fmla="*/ 0 w 565983"/>
                  <a:gd name="connsiteY194" fmla="*/ 14874 h 513321"/>
                  <a:gd name="connsiteX195" fmla="*/ 1071 w 565983"/>
                  <a:gd name="connsiteY195" fmla="*/ 14600 h 513321"/>
                  <a:gd name="connsiteX196" fmla="*/ 10346 w 565983"/>
                  <a:gd name="connsiteY196" fmla="*/ 12240 h 513321"/>
                  <a:gd name="connsiteX197" fmla="*/ 13310 w 565983"/>
                  <a:gd name="connsiteY197" fmla="*/ 1372 h 513321"/>
                  <a:gd name="connsiteX198" fmla="*/ 16274 w 565983"/>
                  <a:gd name="connsiteY198" fmla="*/ 0 h 513321"/>
                  <a:gd name="connsiteX199" fmla="*/ 17454 w 565983"/>
                  <a:gd name="connsiteY199" fmla="*/ 137 h 513321"/>
                  <a:gd name="connsiteX200" fmla="*/ 22421 w 565983"/>
                  <a:gd name="connsiteY200" fmla="*/ 4638 h 513321"/>
                  <a:gd name="connsiteX201" fmla="*/ 32877 w 565983"/>
                  <a:gd name="connsiteY201" fmla="*/ 20363 h 513321"/>
                  <a:gd name="connsiteX202" fmla="*/ 37899 w 565983"/>
                  <a:gd name="connsiteY202" fmla="*/ 22531 h 513321"/>
                  <a:gd name="connsiteX203" fmla="*/ 42318 w 565983"/>
                  <a:gd name="connsiteY203" fmla="*/ 29172 h 513321"/>
                  <a:gd name="connsiteX204" fmla="*/ 47229 w 565983"/>
                  <a:gd name="connsiteY204" fmla="*/ 30544 h 513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565983" h="513321">
                    <a:moveTo>
                      <a:pt x="47093" y="30407"/>
                    </a:moveTo>
                    <a:lnTo>
                      <a:pt x="61363" y="34386"/>
                    </a:lnTo>
                    <a:lnTo>
                      <a:pt x="67208" y="32136"/>
                    </a:lnTo>
                    <a:lnTo>
                      <a:pt x="73273" y="33124"/>
                    </a:lnTo>
                    <a:lnTo>
                      <a:pt x="81643" y="24315"/>
                    </a:lnTo>
                    <a:lnTo>
                      <a:pt x="110485" y="3952"/>
                    </a:lnTo>
                    <a:lnTo>
                      <a:pt x="116633" y="2690"/>
                    </a:lnTo>
                    <a:lnTo>
                      <a:pt x="126155" y="13859"/>
                    </a:lnTo>
                    <a:lnTo>
                      <a:pt x="120338" y="19210"/>
                    </a:lnTo>
                    <a:lnTo>
                      <a:pt x="125497" y="27718"/>
                    </a:lnTo>
                    <a:lnTo>
                      <a:pt x="117758" y="31477"/>
                    </a:lnTo>
                    <a:lnTo>
                      <a:pt x="117291" y="34743"/>
                    </a:lnTo>
                    <a:lnTo>
                      <a:pt x="135212" y="50632"/>
                    </a:lnTo>
                    <a:lnTo>
                      <a:pt x="142100" y="49590"/>
                    </a:lnTo>
                    <a:lnTo>
                      <a:pt x="143143" y="66110"/>
                    </a:lnTo>
                    <a:lnTo>
                      <a:pt x="145503" y="74974"/>
                    </a:lnTo>
                    <a:lnTo>
                      <a:pt x="148961" y="79914"/>
                    </a:lnTo>
                    <a:lnTo>
                      <a:pt x="157880" y="84964"/>
                    </a:lnTo>
                    <a:lnTo>
                      <a:pt x="172342" y="86089"/>
                    </a:lnTo>
                    <a:lnTo>
                      <a:pt x="180054" y="88970"/>
                    </a:lnTo>
                    <a:lnTo>
                      <a:pt x="184033" y="97231"/>
                    </a:lnTo>
                    <a:lnTo>
                      <a:pt x="188149" y="101320"/>
                    </a:lnTo>
                    <a:lnTo>
                      <a:pt x="208073" y="113367"/>
                    </a:lnTo>
                    <a:lnTo>
                      <a:pt x="230878" y="118444"/>
                    </a:lnTo>
                    <a:lnTo>
                      <a:pt x="276818" y="107632"/>
                    </a:lnTo>
                    <a:lnTo>
                      <a:pt x="291033" y="110431"/>
                    </a:lnTo>
                    <a:lnTo>
                      <a:pt x="292844" y="109141"/>
                    </a:lnTo>
                    <a:lnTo>
                      <a:pt x="293229" y="105436"/>
                    </a:lnTo>
                    <a:lnTo>
                      <a:pt x="289771" y="90672"/>
                    </a:lnTo>
                    <a:lnTo>
                      <a:pt x="300034" y="91303"/>
                    </a:lnTo>
                    <a:lnTo>
                      <a:pt x="312960" y="86253"/>
                    </a:lnTo>
                    <a:lnTo>
                      <a:pt x="315869" y="83344"/>
                    </a:lnTo>
                    <a:lnTo>
                      <a:pt x="317515" y="75962"/>
                    </a:lnTo>
                    <a:lnTo>
                      <a:pt x="325968" y="68114"/>
                    </a:lnTo>
                    <a:lnTo>
                      <a:pt x="335573" y="63146"/>
                    </a:lnTo>
                    <a:lnTo>
                      <a:pt x="344904" y="61720"/>
                    </a:lnTo>
                    <a:lnTo>
                      <a:pt x="359888" y="63201"/>
                    </a:lnTo>
                    <a:lnTo>
                      <a:pt x="362302" y="58152"/>
                    </a:lnTo>
                    <a:lnTo>
                      <a:pt x="366117" y="56395"/>
                    </a:lnTo>
                    <a:lnTo>
                      <a:pt x="382363" y="58564"/>
                    </a:lnTo>
                    <a:lnTo>
                      <a:pt x="387193" y="56121"/>
                    </a:lnTo>
                    <a:lnTo>
                      <a:pt x="394329" y="68470"/>
                    </a:lnTo>
                    <a:lnTo>
                      <a:pt x="415597" y="74425"/>
                    </a:lnTo>
                    <a:lnTo>
                      <a:pt x="419164" y="78597"/>
                    </a:lnTo>
                    <a:lnTo>
                      <a:pt x="434889" y="78130"/>
                    </a:lnTo>
                    <a:lnTo>
                      <a:pt x="449791" y="84003"/>
                    </a:lnTo>
                    <a:lnTo>
                      <a:pt x="452205" y="92373"/>
                    </a:lnTo>
                    <a:lnTo>
                      <a:pt x="456075" y="97587"/>
                    </a:lnTo>
                    <a:lnTo>
                      <a:pt x="469906" y="102637"/>
                    </a:lnTo>
                    <a:lnTo>
                      <a:pt x="479621" y="116441"/>
                    </a:lnTo>
                    <a:lnTo>
                      <a:pt x="501246" y="116386"/>
                    </a:lnTo>
                    <a:lnTo>
                      <a:pt x="503579" y="120145"/>
                    </a:lnTo>
                    <a:lnTo>
                      <a:pt x="502755" y="126567"/>
                    </a:lnTo>
                    <a:lnTo>
                      <a:pt x="504677" y="134224"/>
                    </a:lnTo>
                    <a:lnTo>
                      <a:pt x="503085" y="140975"/>
                    </a:lnTo>
                    <a:lnTo>
                      <a:pt x="505692" y="145146"/>
                    </a:lnTo>
                    <a:lnTo>
                      <a:pt x="506433" y="154120"/>
                    </a:lnTo>
                    <a:lnTo>
                      <a:pt x="503716" y="164576"/>
                    </a:lnTo>
                    <a:lnTo>
                      <a:pt x="501548" y="167100"/>
                    </a:lnTo>
                    <a:lnTo>
                      <a:pt x="501960" y="173659"/>
                    </a:lnTo>
                    <a:lnTo>
                      <a:pt x="498063" y="188122"/>
                    </a:lnTo>
                    <a:lnTo>
                      <a:pt x="491504" y="193116"/>
                    </a:lnTo>
                    <a:lnTo>
                      <a:pt x="494496" y="199977"/>
                    </a:lnTo>
                    <a:lnTo>
                      <a:pt x="488485" y="201569"/>
                    </a:lnTo>
                    <a:lnTo>
                      <a:pt x="483408" y="209555"/>
                    </a:lnTo>
                    <a:lnTo>
                      <a:pt x="487662" y="226432"/>
                    </a:lnTo>
                    <a:lnTo>
                      <a:pt x="494770" y="228381"/>
                    </a:lnTo>
                    <a:lnTo>
                      <a:pt x="486509" y="242404"/>
                    </a:lnTo>
                    <a:lnTo>
                      <a:pt x="494577" y="273387"/>
                    </a:lnTo>
                    <a:lnTo>
                      <a:pt x="492959" y="283760"/>
                    </a:lnTo>
                    <a:lnTo>
                      <a:pt x="494276" y="298388"/>
                    </a:lnTo>
                    <a:lnTo>
                      <a:pt x="519441" y="303931"/>
                    </a:lnTo>
                    <a:lnTo>
                      <a:pt x="522651" y="313618"/>
                    </a:lnTo>
                    <a:lnTo>
                      <a:pt x="521526" y="318668"/>
                    </a:lnTo>
                    <a:lnTo>
                      <a:pt x="520978" y="322922"/>
                    </a:lnTo>
                    <a:lnTo>
                      <a:pt x="494605" y="355222"/>
                    </a:lnTo>
                    <a:lnTo>
                      <a:pt x="508491" y="371798"/>
                    </a:lnTo>
                    <a:lnTo>
                      <a:pt x="513596" y="384421"/>
                    </a:lnTo>
                    <a:lnTo>
                      <a:pt x="521801" y="395892"/>
                    </a:lnTo>
                    <a:lnTo>
                      <a:pt x="529485" y="400695"/>
                    </a:lnTo>
                    <a:lnTo>
                      <a:pt x="539941" y="403823"/>
                    </a:lnTo>
                    <a:lnTo>
                      <a:pt x="545292" y="408708"/>
                    </a:lnTo>
                    <a:lnTo>
                      <a:pt x="550644" y="408983"/>
                    </a:lnTo>
                    <a:lnTo>
                      <a:pt x="552812" y="434121"/>
                    </a:lnTo>
                    <a:lnTo>
                      <a:pt x="551521" y="442875"/>
                    </a:lnTo>
                    <a:lnTo>
                      <a:pt x="555419" y="444192"/>
                    </a:lnTo>
                    <a:lnTo>
                      <a:pt x="562526" y="443122"/>
                    </a:lnTo>
                    <a:lnTo>
                      <a:pt x="565984" y="445647"/>
                    </a:lnTo>
                    <a:lnTo>
                      <a:pt x="565024" y="454429"/>
                    </a:lnTo>
                    <a:lnTo>
                      <a:pt x="561731" y="462112"/>
                    </a:lnTo>
                    <a:lnTo>
                      <a:pt x="551110" y="462442"/>
                    </a:lnTo>
                    <a:lnTo>
                      <a:pt x="539255" y="465625"/>
                    </a:lnTo>
                    <a:lnTo>
                      <a:pt x="536373" y="467491"/>
                    </a:lnTo>
                    <a:lnTo>
                      <a:pt x="535523" y="471498"/>
                    </a:lnTo>
                    <a:lnTo>
                      <a:pt x="524106" y="475999"/>
                    </a:lnTo>
                    <a:lnTo>
                      <a:pt x="518233" y="497377"/>
                    </a:lnTo>
                    <a:lnTo>
                      <a:pt x="516368" y="509973"/>
                    </a:lnTo>
                    <a:lnTo>
                      <a:pt x="508354" y="513321"/>
                    </a:lnTo>
                    <a:lnTo>
                      <a:pt x="489116" y="507201"/>
                    </a:lnTo>
                    <a:lnTo>
                      <a:pt x="484726" y="502838"/>
                    </a:lnTo>
                    <a:lnTo>
                      <a:pt x="479210" y="504869"/>
                    </a:lnTo>
                    <a:lnTo>
                      <a:pt x="465076" y="504292"/>
                    </a:lnTo>
                    <a:lnTo>
                      <a:pt x="446415" y="500423"/>
                    </a:lnTo>
                    <a:lnTo>
                      <a:pt x="441393" y="502152"/>
                    </a:lnTo>
                    <a:lnTo>
                      <a:pt x="432913" y="497871"/>
                    </a:lnTo>
                    <a:lnTo>
                      <a:pt x="412660" y="497185"/>
                    </a:lnTo>
                    <a:lnTo>
                      <a:pt x="407391" y="493782"/>
                    </a:lnTo>
                    <a:lnTo>
                      <a:pt x="391227" y="490186"/>
                    </a:lnTo>
                    <a:lnTo>
                      <a:pt x="383214" y="471031"/>
                    </a:lnTo>
                    <a:lnTo>
                      <a:pt x="380909" y="457200"/>
                    </a:lnTo>
                    <a:lnTo>
                      <a:pt x="371990" y="446113"/>
                    </a:lnTo>
                    <a:lnTo>
                      <a:pt x="362220" y="444878"/>
                    </a:lnTo>
                    <a:lnTo>
                      <a:pt x="355332" y="446333"/>
                    </a:lnTo>
                    <a:lnTo>
                      <a:pt x="340952" y="452096"/>
                    </a:lnTo>
                    <a:lnTo>
                      <a:pt x="336039" y="457886"/>
                    </a:lnTo>
                    <a:lnTo>
                      <a:pt x="328904" y="458819"/>
                    </a:lnTo>
                    <a:lnTo>
                      <a:pt x="314469" y="466805"/>
                    </a:lnTo>
                    <a:lnTo>
                      <a:pt x="300309" y="460356"/>
                    </a:lnTo>
                    <a:lnTo>
                      <a:pt x="283871" y="459752"/>
                    </a:lnTo>
                    <a:lnTo>
                      <a:pt x="275391" y="451602"/>
                    </a:lnTo>
                    <a:lnTo>
                      <a:pt x="261889" y="446058"/>
                    </a:lnTo>
                    <a:lnTo>
                      <a:pt x="253546" y="440185"/>
                    </a:lnTo>
                    <a:lnTo>
                      <a:pt x="252366" y="435712"/>
                    </a:lnTo>
                    <a:lnTo>
                      <a:pt x="246082" y="429510"/>
                    </a:lnTo>
                    <a:lnTo>
                      <a:pt x="235296" y="423692"/>
                    </a:lnTo>
                    <a:lnTo>
                      <a:pt x="224484" y="422951"/>
                    </a:lnTo>
                    <a:lnTo>
                      <a:pt x="216526" y="419082"/>
                    </a:lnTo>
                    <a:lnTo>
                      <a:pt x="208045" y="402150"/>
                    </a:lnTo>
                    <a:lnTo>
                      <a:pt x="205164" y="391529"/>
                    </a:lnTo>
                    <a:lnTo>
                      <a:pt x="200032" y="387385"/>
                    </a:lnTo>
                    <a:lnTo>
                      <a:pt x="201623" y="382939"/>
                    </a:lnTo>
                    <a:lnTo>
                      <a:pt x="194900" y="378960"/>
                    </a:lnTo>
                    <a:lnTo>
                      <a:pt x="193418" y="369437"/>
                    </a:lnTo>
                    <a:lnTo>
                      <a:pt x="180657" y="353850"/>
                    </a:lnTo>
                    <a:lnTo>
                      <a:pt x="176706" y="344712"/>
                    </a:lnTo>
                    <a:lnTo>
                      <a:pt x="172424" y="344162"/>
                    </a:lnTo>
                    <a:lnTo>
                      <a:pt x="162655" y="348965"/>
                    </a:lnTo>
                    <a:lnTo>
                      <a:pt x="159059" y="345809"/>
                    </a:lnTo>
                    <a:lnTo>
                      <a:pt x="152967" y="344766"/>
                    </a:lnTo>
                    <a:lnTo>
                      <a:pt x="143692" y="338043"/>
                    </a:lnTo>
                    <a:lnTo>
                      <a:pt x="142320" y="339854"/>
                    </a:lnTo>
                    <a:lnTo>
                      <a:pt x="143499" y="345123"/>
                    </a:lnTo>
                    <a:lnTo>
                      <a:pt x="142375" y="348965"/>
                    </a:lnTo>
                    <a:lnTo>
                      <a:pt x="130409" y="351188"/>
                    </a:lnTo>
                    <a:lnTo>
                      <a:pt x="126841" y="342406"/>
                    </a:lnTo>
                    <a:lnTo>
                      <a:pt x="117511" y="333378"/>
                    </a:lnTo>
                    <a:lnTo>
                      <a:pt x="116359" y="317515"/>
                    </a:lnTo>
                    <a:lnTo>
                      <a:pt x="110650" y="315402"/>
                    </a:lnTo>
                    <a:lnTo>
                      <a:pt x="107137" y="314113"/>
                    </a:lnTo>
                    <a:lnTo>
                      <a:pt x="107137" y="303245"/>
                    </a:lnTo>
                    <a:cubicBezTo>
                      <a:pt x="107137" y="303245"/>
                      <a:pt x="110650" y="290951"/>
                      <a:pt x="110650" y="290951"/>
                    </a:cubicBezTo>
                    <a:lnTo>
                      <a:pt x="111309" y="288645"/>
                    </a:lnTo>
                    <a:lnTo>
                      <a:pt x="110650" y="287520"/>
                    </a:lnTo>
                    <a:lnTo>
                      <a:pt x="99317" y="267542"/>
                    </a:lnTo>
                    <a:lnTo>
                      <a:pt x="91275" y="264825"/>
                    </a:lnTo>
                    <a:lnTo>
                      <a:pt x="72505" y="250801"/>
                    </a:lnTo>
                    <a:lnTo>
                      <a:pt x="61774" y="247646"/>
                    </a:lnTo>
                    <a:lnTo>
                      <a:pt x="61664" y="236257"/>
                    </a:lnTo>
                    <a:lnTo>
                      <a:pt x="54694" y="225883"/>
                    </a:lnTo>
                    <a:lnTo>
                      <a:pt x="49452" y="223386"/>
                    </a:lnTo>
                    <a:lnTo>
                      <a:pt x="47229" y="220450"/>
                    </a:lnTo>
                    <a:lnTo>
                      <a:pt x="41494" y="212875"/>
                    </a:lnTo>
                    <a:lnTo>
                      <a:pt x="44650" y="203517"/>
                    </a:lnTo>
                    <a:lnTo>
                      <a:pt x="42235" y="194598"/>
                    </a:lnTo>
                    <a:lnTo>
                      <a:pt x="44348" y="191662"/>
                    </a:lnTo>
                    <a:lnTo>
                      <a:pt x="47229" y="191388"/>
                    </a:lnTo>
                    <a:lnTo>
                      <a:pt x="48794" y="191223"/>
                    </a:lnTo>
                    <a:lnTo>
                      <a:pt x="48355" y="184719"/>
                    </a:lnTo>
                    <a:lnTo>
                      <a:pt x="54804" y="174455"/>
                    </a:lnTo>
                    <a:lnTo>
                      <a:pt x="61719" y="171875"/>
                    </a:lnTo>
                    <a:lnTo>
                      <a:pt x="57768" y="154010"/>
                    </a:lnTo>
                    <a:lnTo>
                      <a:pt x="65013" y="147314"/>
                    </a:lnTo>
                    <a:lnTo>
                      <a:pt x="59853" y="145228"/>
                    </a:lnTo>
                    <a:lnTo>
                      <a:pt x="50852" y="146107"/>
                    </a:lnTo>
                    <a:lnTo>
                      <a:pt x="47202" y="142896"/>
                    </a:lnTo>
                    <a:lnTo>
                      <a:pt x="44979" y="140947"/>
                    </a:lnTo>
                    <a:lnTo>
                      <a:pt x="39189" y="139438"/>
                    </a:lnTo>
                    <a:lnTo>
                      <a:pt x="35429" y="126156"/>
                    </a:lnTo>
                    <a:lnTo>
                      <a:pt x="29227" y="121737"/>
                    </a:lnTo>
                    <a:lnTo>
                      <a:pt x="29062" y="114931"/>
                    </a:lnTo>
                    <a:lnTo>
                      <a:pt x="24287" y="110047"/>
                    </a:lnTo>
                    <a:lnTo>
                      <a:pt x="24370" y="103817"/>
                    </a:lnTo>
                    <a:lnTo>
                      <a:pt x="21872" y="96736"/>
                    </a:lnTo>
                    <a:lnTo>
                      <a:pt x="22009" y="91797"/>
                    </a:lnTo>
                    <a:lnTo>
                      <a:pt x="16274" y="86171"/>
                    </a:lnTo>
                    <a:lnTo>
                      <a:pt x="15945" y="76978"/>
                    </a:lnTo>
                    <a:lnTo>
                      <a:pt x="12158" y="73300"/>
                    </a:lnTo>
                    <a:lnTo>
                      <a:pt x="5544" y="69266"/>
                    </a:lnTo>
                    <a:lnTo>
                      <a:pt x="11993" y="53816"/>
                    </a:lnTo>
                    <a:lnTo>
                      <a:pt x="7876" y="50687"/>
                    </a:lnTo>
                    <a:lnTo>
                      <a:pt x="7026" y="35155"/>
                    </a:lnTo>
                    <a:lnTo>
                      <a:pt x="3705" y="29172"/>
                    </a:lnTo>
                    <a:lnTo>
                      <a:pt x="4364" y="22997"/>
                    </a:lnTo>
                    <a:lnTo>
                      <a:pt x="1071" y="16877"/>
                    </a:lnTo>
                    <a:lnTo>
                      <a:pt x="0" y="14874"/>
                    </a:lnTo>
                    <a:lnTo>
                      <a:pt x="1071" y="14600"/>
                    </a:lnTo>
                    <a:lnTo>
                      <a:pt x="10346" y="12240"/>
                    </a:lnTo>
                    <a:lnTo>
                      <a:pt x="13310" y="1372"/>
                    </a:lnTo>
                    <a:lnTo>
                      <a:pt x="16274" y="0"/>
                    </a:lnTo>
                    <a:lnTo>
                      <a:pt x="17454" y="137"/>
                    </a:lnTo>
                    <a:lnTo>
                      <a:pt x="22421" y="4638"/>
                    </a:lnTo>
                    <a:lnTo>
                      <a:pt x="32877" y="20363"/>
                    </a:lnTo>
                    <a:lnTo>
                      <a:pt x="37899" y="22531"/>
                    </a:lnTo>
                    <a:lnTo>
                      <a:pt x="42318" y="29172"/>
                    </a:lnTo>
                    <a:lnTo>
                      <a:pt x="47229" y="305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1" name="Freeform: Shape 4090">
                <a:extLst>
                  <a:ext uri="{FF2B5EF4-FFF2-40B4-BE49-F238E27FC236}">
                    <a16:creationId xmlns:a16="http://schemas.microsoft.com/office/drawing/2014/main" id="{DFC44E41-49A9-9EFF-F598-28BD3F6A55E0}"/>
                  </a:ext>
                </a:extLst>
              </p:cNvPr>
              <p:cNvSpPr/>
              <p:nvPr/>
            </p:nvSpPr>
            <p:spPr>
              <a:xfrm>
                <a:off x="1534925" y="3758409"/>
                <a:ext cx="3031" cy="1526"/>
              </a:xfrm>
              <a:custGeom>
                <a:avLst/>
                <a:gdLst>
                  <a:gd name="connsiteX0" fmla="*/ 26208 w 29061"/>
                  <a:gd name="connsiteY0" fmla="*/ 2772 h 14626"/>
                  <a:gd name="connsiteX1" fmla="*/ 23491 w 29061"/>
                  <a:gd name="connsiteY1" fmla="*/ 6888 h 14626"/>
                  <a:gd name="connsiteX2" fmla="*/ 18716 w 29061"/>
                  <a:gd name="connsiteY2" fmla="*/ 10154 h 14626"/>
                  <a:gd name="connsiteX3" fmla="*/ 18359 w 29061"/>
                  <a:gd name="connsiteY3" fmla="*/ 11855 h 14626"/>
                  <a:gd name="connsiteX4" fmla="*/ 16822 w 29061"/>
                  <a:gd name="connsiteY4" fmla="*/ 11691 h 14626"/>
                  <a:gd name="connsiteX5" fmla="*/ 18359 w 29061"/>
                  <a:gd name="connsiteY5" fmla="*/ 8672 h 14626"/>
                  <a:gd name="connsiteX6" fmla="*/ 17234 w 29061"/>
                  <a:gd name="connsiteY6" fmla="*/ 8205 h 14626"/>
                  <a:gd name="connsiteX7" fmla="*/ 14408 w 29061"/>
                  <a:gd name="connsiteY7" fmla="*/ 9934 h 14626"/>
                  <a:gd name="connsiteX8" fmla="*/ 12322 w 29061"/>
                  <a:gd name="connsiteY8" fmla="*/ 9934 h 14626"/>
                  <a:gd name="connsiteX9" fmla="*/ 10483 w 29061"/>
                  <a:gd name="connsiteY9" fmla="*/ 11224 h 14626"/>
                  <a:gd name="connsiteX10" fmla="*/ 796 w 29061"/>
                  <a:gd name="connsiteY10" fmla="*/ 14627 h 14626"/>
                  <a:gd name="connsiteX11" fmla="*/ 0 w 29061"/>
                  <a:gd name="connsiteY11" fmla="*/ 11005 h 14626"/>
                  <a:gd name="connsiteX12" fmla="*/ 2525 w 29061"/>
                  <a:gd name="connsiteY12" fmla="*/ 11224 h 14626"/>
                  <a:gd name="connsiteX13" fmla="*/ 9852 w 29061"/>
                  <a:gd name="connsiteY13" fmla="*/ 8178 h 14626"/>
                  <a:gd name="connsiteX14" fmla="*/ 10977 w 29061"/>
                  <a:gd name="connsiteY14" fmla="*/ 6394 h 14626"/>
                  <a:gd name="connsiteX15" fmla="*/ 10895 w 29061"/>
                  <a:gd name="connsiteY15" fmla="*/ 4062 h 14626"/>
                  <a:gd name="connsiteX16" fmla="*/ 12075 w 29061"/>
                  <a:gd name="connsiteY16" fmla="*/ 2415 h 14626"/>
                  <a:gd name="connsiteX17" fmla="*/ 14984 w 29061"/>
                  <a:gd name="connsiteY17" fmla="*/ 1509 h 14626"/>
                  <a:gd name="connsiteX18" fmla="*/ 17756 w 29061"/>
                  <a:gd name="connsiteY18" fmla="*/ 3101 h 14626"/>
                  <a:gd name="connsiteX19" fmla="*/ 24068 w 29061"/>
                  <a:gd name="connsiteY19" fmla="*/ 384 h 14626"/>
                  <a:gd name="connsiteX20" fmla="*/ 27251 w 29061"/>
                  <a:gd name="connsiteY20" fmla="*/ 0 h 14626"/>
                  <a:gd name="connsiteX21" fmla="*/ 29062 w 29061"/>
                  <a:gd name="connsiteY21" fmla="*/ 2113 h 14626"/>
                  <a:gd name="connsiteX22" fmla="*/ 26208 w 29061"/>
                  <a:gd name="connsiteY22" fmla="*/ 2744 h 1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061" h="14626">
                    <a:moveTo>
                      <a:pt x="26208" y="2772"/>
                    </a:moveTo>
                    <a:lnTo>
                      <a:pt x="23491" y="6888"/>
                    </a:lnTo>
                    <a:lnTo>
                      <a:pt x="18716" y="10154"/>
                    </a:lnTo>
                    <a:lnTo>
                      <a:pt x="18359" y="11855"/>
                    </a:lnTo>
                    <a:lnTo>
                      <a:pt x="16822" y="11691"/>
                    </a:lnTo>
                    <a:lnTo>
                      <a:pt x="18359" y="8672"/>
                    </a:lnTo>
                    <a:lnTo>
                      <a:pt x="17234" y="8205"/>
                    </a:lnTo>
                    <a:lnTo>
                      <a:pt x="14408" y="9934"/>
                    </a:lnTo>
                    <a:lnTo>
                      <a:pt x="12322" y="9934"/>
                    </a:lnTo>
                    <a:lnTo>
                      <a:pt x="10483" y="11224"/>
                    </a:lnTo>
                    <a:lnTo>
                      <a:pt x="796" y="14627"/>
                    </a:lnTo>
                    <a:lnTo>
                      <a:pt x="0" y="11005"/>
                    </a:lnTo>
                    <a:lnTo>
                      <a:pt x="2525" y="11224"/>
                    </a:lnTo>
                    <a:lnTo>
                      <a:pt x="9852" y="8178"/>
                    </a:lnTo>
                    <a:lnTo>
                      <a:pt x="10977" y="6394"/>
                    </a:lnTo>
                    <a:lnTo>
                      <a:pt x="10895" y="4062"/>
                    </a:lnTo>
                    <a:lnTo>
                      <a:pt x="12075" y="2415"/>
                    </a:lnTo>
                    <a:lnTo>
                      <a:pt x="14984" y="1509"/>
                    </a:lnTo>
                    <a:lnTo>
                      <a:pt x="17756" y="3101"/>
                    </a:lnTo>
                    <a:lnTo>
                      <a:pt x="24068" y="384"/>
                    </a:lnTo>
                    <a:lnTo>
                      <a:pt x="27251" y="0"/>
                    </a:lnTo>
                    <a:lnTo>
                      <a:pt x="29062" y="2113"/>
                    </a:lnTo>
                    <a:lnTo>
                      <a:pt x="26208"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2" name="Freeform: Shape 4091">
                <a:extLst>
                  <a:ext uri="{FF2B5EF4-FFF2-40B4-BE49-F238E27FC236}">
                    <a16:creationId xmlns:a16="http://schemas.microsoft.com/office/drawing/2014/main" id="{4191B4F2-A4E3-F87E-89BE-41A8A7C53CE3}"/>
                  </a:ext>
                </a:extLst>
              </p:cNvPr>
              <p:cNvSpPr/>
              <p:nvPr/>
            </p:nvSpPr>
            <p:spPr>
              <a:xfrm>
                <a:off x="1532412" y="3760613"/>
                <a:ext cx="358" cy="452"/>
              </a:xfrm>
              <a:custGeom>
                <a:avLst/>
                <a:gdLst>
                  <a:gd name="connsiteX0" fmla="*/ 3430 w 3430"/>
                  <a:gd name="connsiteY0" fmla="*/ 2415 h 4335"/>
                  <a:gd name="connsiteX1" fmla="*/ 1646 w 3430"/>
                  <a:gd name="connsiteY1" fmla="*/ 4336 h 4335"/>
                  <a:gd name="connsiteX2" fmla="*/ 0 w 3430"/>
                  <a:gd name="connsiteY2" fmla="*/ 1345 h 4335"/>
                  <a:gd name="connsiteX3" fmla="*/ 2387 w 3430"/>
                  <a:gd name="connsiteY3" fmla="*/ 0 h 4335"/>
                  <a:gd name="connsiteX4" fmla="*/ 3403 w 3430"/>
                  <a:gd name="connsiteY4" fmla="*/ 2388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4335">
                    <a:moveTo>
                      <a:pt x="3430" y="2415"/>
                    </a:moveTo>
                    <a:lnTo>
                      <a:pt x="1646" y="4336"/>
                    </a:lnTo>
                    <a:lnTo>
                      <a:pt x="0" y="1345"/>
                    </a:lnTo>
                    <a:lnTo>
                      <a:pt x="2387" y="0"/>
                    </a:lnTo>
                    <a:lnTo>
                      <a:pt x="3403"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3" name="Freeform: Shape 4092">
                <a:extLst>
                  <a:ext uri="{FF2B5EF4-FFF2-40B4-BE49-F238E27FC236}">
                    <a16:creationId xmlns:a16="http://schemas.microsoft.com/office/drawing/2014/main" id="{B394B514-4A77-99C2-AE8B-AF99A90E9515}"/>
                  </a:ext>
                </a:extLst>
              </p:cNvPr>
              <p:cNvSpPr/>
              <p:nvPr/>
            </p:nvSpPr>
            <p:spPr>
              <a:xfrm>
                <a:off x="1530688" y="3759817"/>
                <a:ext cx="515" cy="306"/>
              </a:xfrm>
              <a:custGeom>
                <a:avLst/>
                <a:gdLst>
                  <a:gd name="connsiteX0" fmla="*/ 4940 w 4939"/>
                  <a:gd name="connsiteY0" fmla="*/ 2086 h 2936"/>
                  <a:gd name="connsiteX1" fmla="*/ 3348 w 4939"/>
                  <a:gd name="connsiteY1" fmla="*/ 2937 h 2936"/>
                  <a:gd name="connsiteX2" fmla="*/ 0 w 4939"/>
                  <a:gd name="connsiteY2" fmla="*/ 960 h 2936"/>
                  <a:gd name="connsiteX3" fmla="*/ 1674 w 4939"/>
                  <a:gd name="connsiteY3" fmla="*/ 0 h 2936"/>
                  <a:gd name="connsiteX4" fmla="*/ 4144 w 4939"/>
                  <a:gd name="connsiteY4" fmla="*/ 522 h 2936"/>
                  <a:gd name="connsiteX5" fmla="*/ 4940 w 4939"/>
                  <a:gd name="connsiteY5" fmla="*/ 2113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9" h="2936">
                    <a:moveTo>
                      <a:pt x="4940" y="2086"/>
                    </a:moveTo>
                    <a:lnTo>
                      <a:pt x="3348" y="2937"/>
                    </a:lnTo>
                    <a:lnTo>
                      <a:pt x="0" y="960"/>
                    </a:lnTo>
                    <a:lnTo>
                      <a:pt x="1674" y="0"/>
                    </a:lnTo>
                    <a:lnTo>
                      <a:pt x="4144" y="522"/>
                    </a:lnTo>
                    <a:lnTo>
                      <a:pt x="4940"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4" name="Freeform: Shape 4093">
                <a:extLst>
                  <a:ext uri="{FF2B5EF4-FFF2-40B4-BE49-F238E27FC236}">
                    <a16:creationId xmlns:a16="http://schemas.microsoft.com/office/drawing/2014/main" id="{439B81E2-546F-A3A7-7D3E-5331EC2AC8F6}"/>
                  </a:ext>
                </a:extLst>
              </p:cNvPr>
              <p:cNvSpPr/>
              <p:nvPr/>
            </p:nvSpPr>
            <p:spPr>
              <a:xfrm>
                <a:off x="1538385" y="3757951"/>
                <a:ext cx="375" cy="369"/>
              </a:xfrm>
              <a:custGeom>
                <a:avLst/>
                <a:gdLst>
                  <a:gd name="connsiteX0" fmla="*/ 3294 w 3595"/>
                  <a:gd name="connsiteY0" fmla="*/ 3101 h 3540"/>
                  <a:gd name="connsiteX1" fmla="*/ 1400 w 3595"/>
                  <a:gd name="connsiteY1" fmla="*/ 3540 h 3540"/>
                  <a:gd name="connsiteX2" fmla="*/ 0 w 3595"/>
                  <a:gd name="connsiteY2" fmla="*/ 2278 h 3540"/>
                  <a:gd name="connsiteX3" fmla="*/ 1372 w 3595"/>
                  <a:gd name="connsiteY3" fmla="*/ 0 h 3540"/>
                  <a:gd name="connsiteX4" fmla="*/ 3595 w 3595"/>
                  <a:gd name="connsiteY4" fmla="*/ 1509 h 3540"/>
                  <a:gd name="connsiteX5" fmla="*/ 3294 w 3595"/>
                  <a:gd name="connsiteY5" fmla="*/ 3129 h 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5" h="3540">
                    <a:moveTo>
                      <a:pt x="3294" y="3101"/>
                    </a:moveTo>
                    <a:lnTo>
                      <a:pt x="1400" y="3540"/>
                    </a:lnTo>
                    <a:lnTo>
                      <a:pt x="0" y="2278"/>
                    </a:lnTo>
                    <a:lnTo>
                      <a:pt x="1372" y="0"/>
                    </a:lnTo>
                    <a:lnTo>
                      <a:pt x="3595" y="1509"/>
                    </a:lnTo>
                    <a:lnTo>
                      <a:pt x="3294" y="31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5" name="Freeform: Shape 4094">
                <a:extLst>
                  <a:ext uri="{FF2B5EF4-FFF2-40B4-BE49-F238E27FC236}">
                    <a16:creationId xmlns:a16="http://schemas.microsoft.com/office/drawing/2014/main" id="{E595BF00-87E6-F185-5A8D-82371FD8DBCB}"/>
                  </a:ext>
                </a:extLst>
              </p:cNvPr>
              <p:cNvSpPr/>
              <p:nvPr/>
            </p:nvSpPr>
            <p:spPr>
              <a:xfrm>
                <a:off x="1538050" y="3758698"/>
                <a:ext cx="395" cy="335"/>
              </a:xfrm>
              <a:custGeom>
                <a:avLst/>
                <a:gdLst>
                  <a:gd name="connsiteX0" fmla="*/ 3787 w 3786"/>
                  <a:gd name="connsiteY0" fmla="*/ 1893 h 3210"/>
                  <a:gd name="connsiteX1" fmla="*/ 1674 w 3786"/>
                  <a:gd name="connsiteY1" fmla="*/ 3211 h 3210"/>
                  <a:gd name="connsiteX2" fmla="*/ 0 w 3786"/>
                  <a:gd name="connsiteY2" fmla="*/ 2250 h 3210"/>
                  <a:gd name="connsiteX3" fmla="*/ 1702 w 3786"/>
                  <a:gd name="connsiteY3" fmla="*/ 0 h 3210"/>
                  <a:gd name="connsiteX4" fmla="*/ 3787 w 3786"/>
                  <a:gd name="connsiteY4" fmla="*/ 247 h 3210"/>
                  <a:gd name="connsiteX5" fmla="*/ 3787 w 3786"/>
                  <a:gd name="connsiteY5" fmla="*/ 1921 h 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6" h="3210">
                    <a:moveTo>
                      <a:pt x="3787" y="1893"/>
                    </a:moveTo>
                    <a:lnTo>
                      <a:pt x="1674" y="3211"/>
                    </a:lnTo>
                    <a:lnTo>
                      <a:pt x="0" y="2250"/>
                    </a:lnTo>
                    <a:lnTo>
                      <a:pt x="1702" y="0"/>
                    </a:lnTo>
                    <a:lnTo>
                      <a:pt x="3787" y="247"/>
                    </a:lnTo>
                    <a:lnTo>
                      <a:pt x="3787" y="192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6" name="Freeform: Shape 4095">
                <a:extLst>
                  <a:ext uri="{FF2B5EF4-FFF2-40B4-BE49-F238E27FC236}">
                    <a16:creationId xmlns:a16="http://schemas.microsoft.com/office/drawing/2014/main" id="{C9CC9B53-B5D8-E34A-5793-CB0EB708A501}"/>
                  </a:ext>
                </a:extLst>
              </p:cNvPr>
              <p:cNvSpPr/>
              <p:nvPr/>
            </p:nvSpPr>
            <p:spPr>
              <a:xfrm>
                <a:off x="1528559" y="3758887"/>
                <a:ext cx="398" cy="315"/>
              </a:xfrm>
              <a:custGeom>
                <a:avLst/>
                <a:gdLst>
                  <a:gd name="connsiteX0" fmla="*/ 3814 w 3814"/>
                  <a:gd name="connsiteY0" fmla="*/ 0 h 3018"/>
                  <a:gd name="connsiteX1" fmla="*/ 3814 w 3814"/>
                  <a:gd name="connsiteY1" fmla="*/ 3019 h 3018"/>
                  <a:gd name="connsiteX2" fmla="*/ 0 w 3814"/>
                  <a:gd name="connsiteY2" fmla="*/ 1455 h 3018"/>
                  <a:gd name="connsiteX3" fmla="*/ 411 w 3814"/>
                  <a:gd name="connsiteY3" fmla="*/ 192 h 3018"/>
                  <a:gd name="connsiteX4" fmla="*/ 3814 w 3814"/>
                  <a:gd name="connsiteY4" fmla="*/ 0 h 3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3018">
                    <a:moveTo>
                      <a:pt x="3814" y="0"/>
                    </a:moveTo>
                    <a:lnTo>
                      <a:pt x="3814" y="3019"/>
                    </a:lnTo>
                    <a:lnTo>
                      <a:pt x="0" y="1455"/>
                    </a:lnTo>
                    <a:lnTo>
                      <a:pt x="411" y="192"/>
                    </a:lnTo>
                    <a:lnTo>
                      <a:pt x="381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7" name="Freeform: Shape 4096">
                <a:extLst>
                  <a:ext uri="{FF2B5EF4-FFF2-40B4-BE49-F238E27FC236}">
                    <a16:creationId xmlns:a16="http://schemas.microsoft.com/office/drawing/2014/main" id="{EC8B3B9E-474B-6532-61F4-EAAAD43E233F}"/>
                  </a:ext>
                </a:extLst>
              </p:cNvPr>
              <p:cNvSpPr/>
              <p:nvPr/>
            </p:nvSpPr>
            <p:spPr>
              <a:xfrm>
                <a:off x="1508202" y="3747544"/>
                <a:ext cx="5768" cy="5533"/>
              </a:xfrm>
              <a:custGeom>
                <a:avLst/>
                <a:gdLst>
                  <a:gd name="connsiteX0" fmla="*/ 41357 w 55298"/>
                  <a:gd name="connsiteY0" fmla="*/ 3348 h 53047"/>
                  <a:gd name="connsiteX1" fmla="*/ 42975 w 55298"/>
                  <a:gd name="connsiteY1" fmla="*/ 4062 h 53047"/>
                  <a:gd name="connsiteX2" fmla="*/ 45171 w 55298"/>
                  <a:gd name="connsiteY2" fmla="*/ 3101 h 53047"/>
                  <a:gd name="connsiteX3" fmla="*/ 47010 w 55298"/>
                  <a:gd name="connsiteY3" fmla="*/ 3458 h 53047"/>
                  <a:gd name="connsiteX4" fmla="*/ 51182 w 55298"/>
                  <a:gd name="connsiteY4" fmla="*/ 7519 h 53047"/>
                  <a:gd name="connsiteX5" fmla="*/ 53541 w 55298"/>
                  <a:gd name="connsiteY5" fmla="*/ 10895 h 53047"/>
                  <a:gd name="connsiteX6" fmla="*/ 53541 w 55298"/>
                  <a:gd name="connsiteY6" fmla="*/ 12734 h 53047"/>
                  <a:gd name="connsiteX7" fmla="*/ 52059 w 55298"/>
                  <a:gd name="connsiteY7" fmla="*/ 15258 h 53047"/>
                  <a:gd name="connsiteX8" fmla="*/ 48327 w 55298"/>
                  <a:gd name="connsiteY8" fmla="*/ 18030 h 53047"/>
                  <a:gd name="connsiteX9" fmla="*/ 47559 w 55298"/>
                  <a:gd name="connsiteY9" fmla="*/ 19677 h 53047"/>
                  <a:gd name="connsiteX10" fmla="*/ 44457 w 55298"/>
                  <a:gd name="connsiteY10" fmla="*/ 18167 h 53047"/>
                  <a:gd name="connsiteX11" fmla="*/ 41686 w 55298"/>
                  <a:gd name="connsiteY11" fmla="*/ 18222 h 53047"/>
                  <a:gd name="connsiteX12" fmla="*/ 37871 w 55298"/>
                  <a:gd name="connsiteY12" fmla="*/ 20610 h 53047"/>
                  <a:gd name="connsiteX13" fmla="*/ 37021 w 55298"/>
                  <a:gd name="connsiteY13" fmla="*/ 21872 h 53047"/>
                  <a:gd name="connsiteX14" fmla="*/ 35456 w 55298"/>
                  <a:gd name="connsiteY14" fmla="*/ 24232 h 53047"/>
                  <a:gd name="connsiteX15" fmla="*/ 37021 w 55298"/>
                  <a:gd name="connsiteY15" fmla="*/ 25550 h 53047"/>
                  <a:gd name="connsiteX16" fmla="*/ 38091 w 55298"/>
                  <a:gd name="connsiteY16" fmla="*/ 26455 h 53047"/>
                  <a:gd name="connsiteX17" fmla="*/ 42180 w 55298"/>
                  <a:gd name="connsiteY17" fmla="*/ 24452 h 53047"/>
                  <a:gd name="connsiteX18" fmla="*/ 45363 w 55298"/>
                  <a:gd name="connsiteY18" fmla="*/ 25879 h 53047"/>
                  <a:gd name="connsiteX19" fmla="*/ 45363 w 55298"/>
                  <a:gd name="connsiteY19" fmla="*/ 28596 h 53047"/>
                  <a:gd name="connsiteX20" fmla="*/ 47614 w 55298"/>
                  <a:gd name="connsiteY20" fmla="*/ 37597 h 53047"/>
                  <a:gd name="connsiteX21" fmla="*/ 48986 w 55298"/>
                  <a:gd name="connsiteY21" fmla="*/ 40177 h 53047"/>
                  <a:gd name="connsiteX22" fmla="*/ 50962 w 55298"/>
                  <a:gd name="connsiteY22" fmla="*/ 41686 h 53047"/>
                  <a:gd name="connsiteX23" fmla="*/ 51483 w 55298"/>
                  <a:gd name="connsiteY23" fmla="*/ 44870 h 53047"/>
                  <a:gd name="connsiteX24" fmla="*/ 54008 w 55298"/>
                  <a:gd name="connsiteY24" fmla="*/ 46324 h 53047"/>
                  <a:gd name="connsiteX25" fmla="*/ 54145 w 55298"/>
                  <a:gd name="connsiteY25" fmla="*/ 50632 h 53047"/>
                  <a:gd name="connsiteX26" fmla="*/ 55298 w 55298"/>
                  <a:gd name="connsiteY26" fmla="*/ 53047 h 53047"/>
                  <a:gd name="connsiteX27" fmla="*/ 34304 w 55298"/>
                  <a:gd name="connsiteY27" fmla="*/ 53047 h 53047"/>
                  <a:gd name="connsiteX28" fmla="*/ 27388 w 55298"/>
                  <a:gd name="connsiteY28" fmla="*/ 38311 h 53047"/>
                  <a:gd name="connsiteX29" fmla="*/ 18799 w 55298"/>
                  <a:gd name="connsiteY29" fmla="*/ 36389 h 53047"/>
                  <a:gd name="connsiteX30" fmla="*/ 0 w 55298"/>
                  <a:gd name="connsiteY30" fmla="*/ 33919 h 53047"/>
                  <a:gd name="connsiteX31" fmla="*/ 9001 w 55298"/>
                  <a:gd name="connsiteY31" fmla="*/ 22640 h 53047"/>
                  <a:gd name="connsiteX32" fmla="*/ 18799 w 55298"/>
                  <a:gd name="connsiteY32" fmla="*/ 2525 h 53047"/>
                  <a:gd name="connsiteX33" fmla="*/ 24370 w 55298"/>
                  <a:gd name="connsiteY33" fmla="*/ 137 h 53047"/>
                  <a:gd name="connsiteX34" fmla="*/ 32410 w 55298"/>
                  <a:gd name="connsiteY34" fmla="*/ 0 h 53047"/>
                  <a:gd name="connsiteX35" fmla="*/ 36993 w 55298"/>
                  <a:gd name="connsiteY35" fmla="*/ 1756 h 53047"/>
                  <a:gd name="connsiteX36" fmla="*/ 41329 w 55298"/>
                  <a:gd name="connsiteY36" fmla="*/ 3403 h 5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5298" h="53047">
                    <a:moveTo>
                      <a:pt x="41357" y="3348"/>
                    </a:moveTo>
                    <a:lnTo>
                      <a:pt x="42975" y="4062"/>
                    </a:lnTo>
                    <a:lnTo>
                      <a:pt x="45171" y="3101"/>
                    </a:lnTo>
                    <a:lnTo>
                      <a:pt x="47010" y="3458"/>
                    </a:lnTo>
                    <a:lnTo>
                      <a:pt x="51182" y="7519"/>
                    </a:lnTo>
                    <a:lnTo>
                      <a:pt x="53541" y="10895"/>
                    </a:lnTo>
                    <a:lnTo>
                      <a:pt x="53541" y="12734"/>
                    </a:lnTo>
                    <a:lnTo>
                      <a:pt x="52059" y="15258"/>
                    </a:lnTo>
                    <a:lnTo>
                      <a:pt x="48327" y="18030"/>
                    </a:lnTo>
                    <a:lnTo>
                      <a:pt x="47559" y="19677"/>
                    </a:lnTo>
                    <a:lnTo>
                      <a:pt x="44457" y="18167"/>
                    </a:lnTo>
                    <a:lnTo>
                      <a:pt x="41686" y="18222"/>
                    </a:lnTo>
                    <a:lnTo>
                      <a:pt x="37871" y="20610"/>
                    </a:lnTo>
                    <a:lnTo>
                      <a:pt x="37021" y="21872"/>
                    </a:lnTo>
                    <a:lnTo>
                      <a:pt x="35456" y="24232"/>
                    </a:lnTo>
                    <a:lnTo>
                      <a:pt x="37021" y="25550"/>
                    </a:lnTo>
                    <a:lnTo>
                      <a:pt x="38091" y="26455"/>
                    </a:lnTo>
                    <a:lnTo>
                      <a:pt x="42180" y="24452"/>
                    </a:lnTo>
                    <a:lnTo>
                      <a:pt x="45363" y="25879"/>
                    </a:lnTo>
                    <a:lnTo>
                      <a:pt x="45363" y="28596"/>
                    </a:lnTo>
                    <a:cubicBezTo>
                      <a:pt x="45363" y="28596"/>
                      <a:pt x="47614" y="37597"/>
                      <a:pt x="47614" y="37597"/>
                    </a:cubicBezTo>
                    <a:lnTo>
                      <a:pt x="48986" y="40177"/>
                    </a:lnTo>
                    <a:lnTo>
                      <a:pt x="50962" y="41686"/>
                    </a:lnTo>
                    <a:lnTo>
                      <a:pt x="51483" y="44870"/>
                    </a:lnTo>
                    <a:lnTo>
                      <a:pt x="54008" y="46324"/>
                    </a:lnTo>
                    <a:lnTo>
                      <a:pt x="54145" y="50632"/>
                    </a:lnTo>
                    <a:lnTo>
                      <a:pt x="55298" y="53047"/>
                    </a:lnTo>
                    <a:lnTo>
                      <a:pt x="34304" y="53047"/>
                    </a:lnTo>
                    <a:lnTo>
                      <a:pt x="27388" y="38311"/>
                    </a:lnTo>
                    <a:lnTo>
                      <a:pt x="18799" y="36389"/>
                    </a:lnTo>
                    <a:lnTo>
                      <a:pt x="0" y="33919"/>
                    </a:lnTo>
                    <a:lnTo>
                      <a:pt x="9001" y="22640"/>
                    </a:lnTo>
                    <a:lnTo>
                      <a:pt x="18799" y="2525"/>
                    </a:lnTo>
                    <a:lnTo>
                      <a:pt x="24370" y="137"/>
                    </a:lnTo>
                    <a:lnTo>
                      <a:pt x="32410" y="0"/>
                    </a:lnTo>
                    <a:lnTo>
                      <a:pt x="36993" y="1756"/>
                    </a:lnTo>
                    <a:lnTo>
                      <a:pt x="41329"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8" name="Freeform: Shape 4097">
                <a:extLst>
                  <a:ext uri="{FF2B5EF4-FFF2-40B4-BE49-F238E27FC236}">
                    <a16:creationId xmlns:a16="http://schemas.microsoft.com/office/drawing/2014/main" id="{D57C1452-2DF3-3AF3-908B-E354DDA970A4}"/>
                  </a:ext>
                </a:extLst>
              </p:cNvPr>
              <p:cNvSpPr/>
              <p:nvPr/>
            </p:nvSpPr>
            <p:spPr>
              <a:xfrm>
                <a:off x="1513374" y="3749650"/>
                <a:ext cx="415" cy="421"/>
              </a:xfrm>
              <a:custGeom>
                <a:avLst/>
                <a:gdLst>
                  <a:gd name="connsiteX0" fmla="*/ 3952 w 3979"/>
                  <a:gd name="connsiteY0" fmla="*/ 1949 h 4034"/>
                  <a:gd name="connsiteX1" fmla="*/ 2113 w 3979"/>
                  <a:gd name="connsiteY1" fmla="*/ 4034 h 4034"/>
                  <a:gd name="connsiteX2" fmla="*/ 0 w 3979"/>
                  <a:gd name="connsiteY2" fmla="*/ 2113 h 4034"/>
                  <a:gd name="connsiteX3" fmla="*/ 2278 w 3979"/>
                  <a:gd name="connsiteY3" fmla="*/ 0 h 4034"/>
                  <a:gd name="connsiteX4" fmla="*/ 3979 w 3979"/>
                  <a:gd name="connsiteY4" fmla="*/ 1949 h 4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4034">
                    <a:moveTo>
                      <a:pt x="3952" y="1949"/>
                    </a:moveTo>
                    <a:lnTo>
                      <a:pt x="2113" y="4034"/>
                    </a:lnTo>
                    <a:lnTo>
                      <a:pt x="0" y="2113"/>
                    </a:lnTo>
                    <a:lnTo>
                      <a:pt x="2278" y="0"/>
                    </a:lnTo>
                    <a:lnTo>
                      <a:pt x="3979" y="19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9" name="Freeform: Shape 4098">
                <a:extLst>
                  <a:ext uri="{FF2B5EF4-FFF2-40B4-BE49-F238E27FC236}">
                    <a16:creationId xmlns:a16="http://schemas.microsoft.com/office/drawing/2014/main" id="{37B6BE9B-7A1C-AF03-DC61-F57DF0E29BB6}"/>
                  </a:ext>
                </a:extLst>
              </p:cNvPr>
              <p:cNvSpPr/>
              <p:nvPr/>
            </p:nvSpPr>
            <p:spPr>
              <a:xfrm>
                <a:off x="1115908" y="3783861"/>
                <a:ext cx="718" cy="358"/>
              </a:xfrm>
              <a:custGeom>
                <a:avLst/>
                <a:gdLst>
                  <a:gd name="connsiteX0" fmla="*/ 1701 w 6887"/>
                  <a:gd name="connsiteY0" fmla="*/ 27 h 3430"/>
                  <a:gd name="connsiteX1" fmla="*/ 2826 w 6887"/>
                  <a:gd name="connsiteY1" fmla="*/ 714 h 3430"/>
                  <a:gd name="connsiteX2" fmla="*/ 6888 w 6887"/>
                  <a:gd name="connsiteY2" fmla="*/ 549 h 3430"/>
                  <a:gd name="connsiteX3" fmla="*/ 6422 w 6887"/>
                  <a:gd name="connsiteY3" fmla="*/ 2442 h 3430"/>
                  <a:gd name="connsiteX4" fmla="*/ 3403 w 6887"/>
                  <a:gd name="connsiteY4" fmla="*/ 2388 h 3430"/>
                  <a:gd name="connsiteX5" fmla="*/ 1372 w 6887"/>
                  <a:gd name="connsiteY5" fmla="*/ 3430 h 3430"/>
                  <a:gd name="connsiteX6" fmla="*/ 0 w 6887"/>
                  <a:gd name="connsiteY6" fmla="*/ 2662 h 3430"/>
                  <a:gd name="connsiteX7" fmla="*/ 1701 w 6887"/>
                  <a:gd name="connsiteY7" fmla="*/ 0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87" h="3430">
                    <a:moveTo>
                      <a:pt x="1701" y="27"/>
                    </a:moveTo>
                    <a:lnTo>
                      <a:pt x="2826" y="714"/>
                    </a:lnTo>
                    <a:lnTo>
                      <a:pt x="6888" y="549"/>
                    </a:lnTo>
                    <a:lnTo>
                      <a:pt x="6422" y="2442"/>
                    </a:lnTo>
                    <a:lnTo>
                      <a:pt x="3403" y="2388"/>
                    </a:lnTo>
                    <a:lnTo>
                      <a:pt x="1372" y="3430"/>
                    </a:lnTo>
                    <a:lnTo>
                      <a:pt x="0" y="2662"/>
                    </a:lnTo>
                    <a:lnTo>
                      <a:pt x="1701"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0" name="Freeform: Shape 4099">
                <a:extLst>
                  <a:ext uri="{FF2B5EF4-FFF2-40B4-BE49-F238E27FC236}">
                    <a16:creationId xmlns:a16="http://schemas.microsoft.com/office/drawing/2014/main" id="{9E978480-D965-62F2-F9B0-D7BC4A65C6C3}"/>
                  </a:ext>
                </a:extLst>
              </p:cNvPr>
              <p:cNvSpPr/>
              <p:nvPr/>
            </p:nvSpPr>
            <p:spPr>
              <a:xfrm>
                <a:off x="1115439" y="3783581"/>
                <a:ext cx="395" cy="401"/>
              </a:xfrm>
              <a:custGeom>
                <a:avLst/>
                <a:gdLst>
                  <a:gd name="connsiteX0" fmla="*/ 3787 w 3787"/>
                  <a:gd name="connsiteY0" fmla="*/ 2772 h 3842"/>
                  <a:gd name="connsiteX1" fmla="*/ 2442 w 3787"/>
                  <a:gd name="connsiteY1" fmla="*/ 3842 h 3842"/>
                  <a:gd name="connsiteX2" fmla="*/ 0 w 3787"/>
                  <a:gd name="connsiteY2" fmla="*/ 2251 h 3842"/>
                  <a:gd name="connsiteX3" fmla="*/ 3074 w 3787"/>
                  <a:gd name="connsiteY3" fmla="*/ 0 h 3842"/>
                  <a:gd name="connsiteX4" fmla="*/ 3760 w 3787"/>
                  <a:gd name="connsiteY4" fmla="*/ 2772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3842">
                    <a:moveTo>
                      <a:pt x="3787" y="2772"/>
                    </a:moveTo>
                    <a:lnTo>
                      <a:pt x="2442" y="3842"/>
                    </a:lnTo>
                    <a:lnTo>
                      <a:pt x="0" y="2251"/>
                    </a:lnTo>
                    <a:lnTo>
                      <a:pt x="3074" y="0"/>
                    </a:lnTo>
                    <a:lnTo>
                      <a:pt x="376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1" name="Freeform: Shape 4100">
                <a:extLst>
                  <a:ext uri="{FF2B5EF4-FFF2-40B4-BE49-F238E27FC236}">
                    <a16:creationId xmlns:a16="http://schemas.microsoft.com/office/drawing/2014/main" id="{D2740C0D-EAEB-A4D4-2D74-670FB31DDAE8}"/>
                  </a:ext>
                </a:extLst>
              </p:cNvPr>
              <p:cNvSpPr/>
              <p:nvPr/>
            </p:nvSpPr>
            <p:spPr>
              <a:xfrm>
                <a:off x="1115725" y="3784044"/>
                <a:ext cx="172" cy="232"/>
              </a:xfrm>
              <a:custGeom>
                <a:avLst/>
                <a:gdLst>
                  <a:gd name="connsiteX0" fmla="*/ 1647 w 1646"/>
                  <a:gd name="connsiteY0" fmla="*/ 1070 h 2223"/>
                  <a:gd name="connsiteX1" fmla="*/ 82 w 1646"/>
                  <a:gd name="connsiteY1" fmla="*/ 2223 h 2223"/>
                  <a:gd name="connsiteX2" fmla="*/ 0 w 1646"/>
                  <a:gd name="connsiteY2" fmla="*/ 631 h 2223"/>
                  <a:gd name="connsiteX3" fmla="*/ 576 w 1646"/>
                  <a:gd name="connsiteY3" fmla="*/ 0 h 2223"/>
                  <a:gd name="connsiteX4" fmla="*/ 1647 w 1646"/>
                  <a:gd name="connsiteY4" fmla="*/ 1070 h 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 h="2223">
                    <a:moveTo>
                      <a:pt x="1647" y="1070"/>
                    </a:moveTo>
                    <a:lnTo>
                      <a:pt x="82" y="2223"/>
                    </a:lnTo>
                    <a:lnTo>
                      <a:pt x="0" y="631"/>
                    </a:lnTo>
                    <a:lnTo>
                      <a:pt x="576" y="0"/>
                    </a:lnTo>
                    <a:lnTo>
                      <a:pt x="1647" y="10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2" name="Freeform: Shape 4101">
                <a:extLst>
                  <a:ext uri="{FF2B5EF4-FFF2-40B4-BE49-F238E27FC236}">
                    <a16:creationId xmlns:a16="http://schemas.microsoft.com/office/drawing/2014/main" id="{C912BA56-2550-7254-6746-3F91F6C98AC4}"/>
                  </a:ext>
                </a:extLst>
              </p:cNvPr>
              <p:cNvSpPr/>
              <p:nvPr/>
            </p:nvSpPr>
            <p:spPr>
              <a:xfrm>
                <a:off x="1508345" y="3639508"/>
                <a:ext cx="124898" cy="68430"/>
              </a:xfrm>
              <a:custGeom>
                <a:avLst/>
                <a:gdLst>
                  <a:gd name="connsiteX0" fmla="*/ 679021 w 1197474"/>
                  <a:gd name="connsiteY0" fmla="*/ 3403 h 656079"/>
                  <a:gd name="connsiteX1" fmla="*/ 692414 w 1197474"/>
                  <a:gd name="connsiteY1" fmla="*/ 10593 h 656079"/>
                  <a:gd name="connsiteX2" fmla="*/ 703336 w 1197474"/>
                  <a:gd name="connsiteY2" fmla="*/ 6449 h 656079"/>
                  <a:gd name="connsiteX3" fmla="*/ 711679 w 1197474"/>
                  <a:gd name="connsiteY3" fmla="*/ 7629 h 656079"/>
                  <a:gd name="connsiteX4" fmla="*/ 716482 w 1197474"/>
                  <a:gd name="connsiteY4" fmla="*/ 15395 h 656079"/>
                  <a:gd name="connsiteX5" fmla="*/ 724056 w 1197474"/>
                  <a:gd name="connsiteY5" fmla="*/ 38173 h 656079"/>
                  <a:gd name="connsiteX6" fmla="*/ 723425 w 1197474"/>
                  <a:gd name="connsiteY6" fmla="*/ 48135 h 656079"/>
                  <a:gd name="connsiteX7" fmla="*/ 720954 w 1197474"/>
                  <a:gd name="connsiteY7" fmla="*/ 55462 h 656079"/>
                  <a:gd name="connsiteX8" fmla="*/ 723150 w 1197474"/>
                  <a:gd name="connsiteY8" fmla="*/ 61500 h 656079"/>
                  <a:gd name="connsiteX9" fmla="*/ 735554 w 1197474"/>
                  <a:gd name="connsiteY9" fmla="*/ 63585 h 656079"/>
                  <a:gd name="connsiteX10" fmla="*/ 748096 w 1197474"/>
                  <a:gd name="connsiteY10" fmla="*/ 60210 h 656079"/>
                  <a:gd name="connsiteX11" fmla="*/ 751965 w 1197474"/>
                  <a:gd name="connsiteY11" fmla="*/ 55709 h 656079"/>
                  <a:gd name="connsiteX12" fmla="*/ 756795 w 1197474"/>
                  <a:gd name="connsiteY12" fmla="*/ 60978 h 656079"/>
                  <a:gd name="connsiteX13" fmla="*/ 762119 w 1197474"/>
                  <a:gd name="connsiteY13" fmla="*/ 72120 h 656079"/>
                  <a:gd name="connsiteX14" fmla="*/ 764534 w 1197474"/>
                  <a:gd name="connsiteY14" fmla="*/ 71489 h 656079"/>
                  <a:gd name="connsiteX15" fmla="*/ 767882 w 1197474"/>
                  <a:gd name="connsiteY15" fmla="*/ 65369 h 656079"/>
                  <a:gd name="connsiteX16" fmla="*/ 783963 w 1197474"/>
                  <a:gd name="connsiteY16" fmla="*/ 71379 h 656079"/>
                  <a:gd name="connsiteX17" fmla="*/ 794913 w 1197474"/>
                  <a:gd name="connsiteY17" fmla="*/ 70336 h 656079"/>
                  <a:gd name="connsiteX18" fmla="*/ 794859 w 1197474"/>
                  <a:gd name="connsiteY18" fmla="*/ 75056 h 656079"/>
                  <a:gd name="connsiteX19" fmla="*/ 786022 w 1197474"/>
                  <a:gd name="connsiteY19" fmla="*/ 87406 h 656079"/>
                  <a:gd name="connsiteX20" fmla="*/ 786461 w 1197474"/>
                  <a:gd name="connsiteY20" fmla="*/ 92044 h 656079"/>
                  <a:gd name="connsiteX21" fmla="*/ 789315 w 1197474"/>
                  <a:gd name="connsiteY21" fmla="*/ 94815 h 656079"/>
                  <a:gd name="connsiteX22" fmla="*/ 802570 w 1197474"/>
                  <a:gd name="connsiteY22" fmla="*/ 89958 h 656079"/>
                  <a:gd name="connsiteX23" fmla="*/ 816676 w 1197474"/>
                  <a:gd name="connsiteY23" fmla="*/ 93745 h 656079"/>
                  <a:gd name="connsiteX24" fmla="*/ 823289 w 1197474"/>
                  <a:gd name="connsiteY24" fmla="*/ 86336 h 656079"/>
                  <a:gd name="connsiteX25" fmla="*/ 844284 w 1197474"/>
                  <a:gd name="connsiteY25" fmla="*/ 74343 h 656079"/>
                  <a:gd name="connsiteX26" fmla="*/ 853257 w 1197474"/>
                  <a:gd name="connsiteY26" fmla="*/ 63969 h 656079"/>
                  <a:gd name="connsiteX27" fmla="*/ 872879 w 1197474"/>
                  <a:gd name="connsiteY27" fmla="*/ 54255 h 656079"/>
                  <a:gd name="connsiteX28" fmla="*/ 887670 w 1197474"/>
                  <a:gd name="connsiteY28" fmla="*/ 51346 h 656079"/>
                  <a:gd name="connsiteX29" fmla="*/ 887177 w 1197474"/>
                  <a:gd name="connsiteY29" fmla="*/ 58399 h 656079"/>
                  <a:gd name="connsiteX30" fmla="*/ 880865 w 1197474"/>
                  <a:gd name="connsiteY30" fmla="*/ 63476 h 656079"/>
                  <a:gd name="connsiteX31" fmla="*/ 880975 w 1197474"/>
                  <a:gd name="connsiteY31" fmla="*/ 67976 h 656079"/>
                  <a:gd name="connsiteX32" fmla="*/ 916321 w 1197474"/>
                  <a:gd name="connsiteY32" fmla="*/ 102170 h 656079"/>
                  <a:gd name="connsiteX33" fmla="*/ 925432 w 1197474"/>
                  <a:gd name="connsiteY33" fmla="*/ 114218 h 656079"/>
                  <a:gd name="connsiteX34" fmla="*/ 957842 w 1197474"/>
                  <a:gd name="connsiteY34" fmla="*/ 171436 h 656079"/>
                  <a:gd name="connsiteX35" fmla="*/ 983721 w 1197474"/>
                  <a:gd name="connsiteY35" fmla="*/ 221080 h 656079"/>
                  <a:gd name="connsiteX36" fmla="*/ 991680 w 1197474"/>
                  <a:gd name="connsiteY36" fmla="*/ 218940 h 656079"/>
                  <a:gd name="connsiteX37" fmla="*/ 997141 w 1197474"/>
                  <a:gd name="connsiteY37" fmla="*/ 207743 h 656079"/>
                  <a:gd name="connsiteX38" fmla="*/ 1003507 w 1197474"/>
                  <a:gd name="connsiteY38" fmla="*/ 203517 h 656079"/>
                  <a:gd name="connsiteX39" fmla="*/ 1012618 w 1197474"/>
                  <a:gd name="connsiteY39" fmla="*/ 207002 h 656079"/>
                  <a:gd name="connsiteX40" fmla="*/ 1016461 w 1197474"/>
                  <a:gd name="connsiteY40" fmla="*/ 215729 h 656079"/>
                  <a:gd name="connsiteX41" fmla="*/ 1030731 w 1197474"/>
                  <a:gd name="connsiteY41" fmla="*/ 226158 h 656079"/>
                  <a:gd name="connsiteX42" fmla="*/ 1054661 w 1197474"/>
                  <a:gd name="connsiteY42" fmla="*/ 226020 h 656079"/>
                  <a:gd name="connsiteX43" fmla="*/ 1073378 w 1197474"/>
                  <a:gd name="connsiteY43" fmla="*/ 216690 h 656079"/>
                  <a:gd name="connsiteX44" fmla="*/ 1083476 w 1197474"/>
                  <a:gd name="connsiteY44" fmla="*/ 216909 h 656079"/>
                  <a:gd name="connsiteX45" fmla="*/ 1097472 w 1197474"/>
                  <a:gd name="connsiteY45" fmla="*/ 225938 h 656079"/>
                  <a:gd name="connsiteX46" fmla="*/ 1104772 w 1197474"/>
                  <a:gd name="connsiteY46" fmla="*/ 236339 h 656079"/>
                  <a:gd name="connsiteX47" fmla="*/ 1110837 w 1197474"/>
                  <a:gd name="connsiteY47" fmla="*/ 249786 h 656079"/>
                  <a:gd name="connsiteX48" fmla="*/ 1128044 w 1197474"/>
                  <a:gd name="connsiteY48" fmla="*/ 260516 h 656079"/>
                  <a:gd name="connsiteX49" fmla="*/ 1138801 w 1197474"/>
                  <a:gd name="connsiteY49" fmla="*/ 278876 h 656079"/>
                  <a:gd name="connsiteX50" fmla="*/ 1162045 w 1197474"/>
                  <a:gd name="connsiteY50" fmla="*/ 283843 h 656079"/>
                  <a:gd name="connsiteX51" fmla="*/ 1178813 w 1197474"/>
                  <a:gd name="connsiteY51" fmla="*/ 273168 h 656079"/>
                  <a:gd name="connsiteX52" fmla="*/ 1181283 w 1197474"/>
                  <a:gd name="connsiteY52" fmla="*/ 283843 h 656079"/>
                  <a:gd name="connsiteX53" fmla="*/ 1197475 w 1197474"/>
                  <a:gd name="connsiteY53" fmla="*/ 302669 h 656079"/>
                  <a:gd name="connsiteX54" fmla="*/ 1191656 w 1197474"/>
                  <a:gd name="connsiteY54" fmla="*/ 301022 h 656079"/>
                  <a:gd name="connsiteX55" fmla="*/ 1184467 w 1197474"/>
                  <a:gd name="connsiteY55" fmla="*/ 303190 h 656079"/>
                  <a:gd name="connsiteX56" fmla="*/ 1181119 w 1197474"/>
                  <a:gd name="connsiteY56" fmla="*/ 307992 h 656079"/>
                  <a:gd name="connsiteX57" fmla="*/ 1180817 w 1197474"/>
                  <a:gd name="connsiteY57" fmla="*/ 319381 h 656079"/>
                  <a:gd name="connsiteX58" fmla="*/ 1175603 w 1197474"/>
                  <a:gd name="connsiteY58" fmla="*/ 327120 h 656079"/>
                  <a:gd name="connsiteX59" fmla="*/ 1151398 w 1197474"/>
                  <a:gd name="connsiteY59" fmla="*/ 336122 h 656079"/>
                  <a:gd name="connsiteX60" fmla="*/ 1145964 w 1197474"/>
                  <a:gd name="connsiteY60" fmla="*/ 354179 h 656079"/>
                  <a:gd name="connsiteX61" fmla="*/ 1149696 w 1197474"/>
                  <a:gd name="connsiteY61" fmla="*/ 382555 h 656079"/>
                  <a:gd name="connsiteX62" fmla="*/ 1144207 w 1197474"/>
                  <a:gd name="connsiteY62" fmla="*/ 391858 h 656079"/>
                  <a:gd name="connsiteX63" fmla="*/ 1136277 w 1197474"/>
                  <a:gd name="connsiteY63" fmla="*/ 393477 h 656079"/>
                  <a:gd name="connsiteX64" fmla="*/ 1124284 w 1197474"/>
                  <a:gd name="connsiteY64" fmla="*/ 401573 h 656079"/>
                  <a:gd name="connsiteX65" fmla="*/ 1119097 w 1197474"/>
                  <a:gd name="connsiteY65" fmla="*/ 395591 h 656079"/>
                  <a:gd name="connsiteX66" fmla="*/ 1100162 w 1197474"/>
                  <a:gd name="connsiteY66" fmla="*/ 395975 h 656079"/>
                  <a:gd name="connsiteX67" fmla="*/ 1076423 w 1197474"/>
                  <a:gd name="connsiteY67" fmla="*/ 386205 h 656079"/>
                  <a:gd name="connsiteX68" fmla="*/ 1072142 w 1197474"/>
                  <a:gd name="connsiteY68" fmla="*/ 386864 h 656079"/>
                  <a:gd name="connsiteX69" fmla="*/ 1050079 w 1197474"/>
                  <a:gd name="connsiteY69" fmla="*/ 453303 h 656079"/>
                  <a:gd name="connsiteX70" fmla="*/ 1050901 w 1197474"/>
                  <a:gd name="connsiteY70" fmla="*/ 457584 h 656079"/>
                  <a:gd name="connsiteX71" fmla="*/ 1058366 w 1197474"/>
                  <a:gd name="connsiteY71" fmla="*/ 462908 h 656079"/>
                  <a:gd name="connsiteX72" fmla="*/ 1056198 w 1197474"/>
                  <a:gd name="connsiteY72" fmla="*/ 472870 h 656079"/>
                  <a:gd name="connsiteX73" fmla="*/ 1048157 w 1197474"/>
                  <a:gd name="connsiteY73" fmla="*/ 470565 h 656079"/>
                  <a:gd name="connsiteX74" fmla="*/ 1039952 w 1197474"/>
                  <a:gd name="connsiteY74" fmla="*/ 472184 h 656079"/>
                  <a:gd name="connsiteX75" fmla="*/ 1030950 w 1197474"/>
                  <a:gd name="connsiteY75" fmla="*/ 465515 h 656079"/>
                  <a:gd name="connsiteX76" fmla="*/ 986081 w 1197474"/>
                  <a:gd name="connsiteY76" fmla="*/ 478002 h 656079"/>
                  <a:gd name="connsiteX77" fmla="*/ 981114 w 1197474"/>
                  <a:gd name="connsiteY77" fmla="*/ 482228 h 656079"/>
                  <a:gd name="connsiteX78" fmla="*/ 983035 w 1197474"/>
                  <a:gd name="connsiteY78" fmla="*/ 487030 h 656079"/>
                  <a:gd name="connsiteX79" fmla="*/ 990253 w 1197474"/>
                  <a:gd name="connsiteY79" fmla="*/ 487030 h 656079"/>
                  <a:gd name="connsiteX80" fmla="*/ 995193 w 1197474"/>
                  <a:gd name="connsiteY80" fmla="*/ 490735 h 656079"/>
                  <a:gd name="connsiteX81" fmla="*/ 992915 w 1197474"/>
                  <a:gd name="connsiteY81" fmla="*/ 500862 h 656079"/>
                  <a:gd name="connsiteX82" fmla="*/ 994479 w 1197474"/>
                  <a:gd name="connsiteY82" fmla="*/ 513897 h 656079"/>
                  <a:gd name="connsiteX83" fmla="*/ 1003343 w 1197474"/>
                  <a:gd name="connsiteY83" fmla="*/ 540901 h 656079"/>
                  <a:gd name="connsiteX84" fmla="*/ 1004166 w 1197474"/>
                  <a:gd name="connsiteY84" fmla="*/ 554321 h 656079"/>
                  <a:gd name="connsiteX85" fmla="*/ 996125 w 1197474"/>
                  <a:gd name="connsiteY85" fmla="*/ 559837 h 656079"/>
                  <a:gd name="connsiteX86" fmla="*/ 997058 w 1197474"/>
                  <a:gd name="connsiteY86" fmla="*/ 566203 h 656079"/>
                  <a:gd name="connsiteX87" fmla="*/ 988853 w 1197474"/>
                  <a:gd name="connsiteY87" fmla="*/ 573503 h 656079"/>
                  <a:gd name="connsiteX88" fmla="*/ 988963 w 1197474"/>
                  <a:gd name="connsiteY88" fmla="*/ 576303 h 656079"/>
                  <a:gd name="connsiteX89" fmla="*/ 989319 w 1197474"/>
                  <a:gd name="connsiteY89" fmla="*/ 585551 h 656079"/>
                  <a:gd name="connsiteX90" fmla="*/ 989622 w 1197474"/>
                  <a:gd name="connsiteY90" fmla="*/ 592741 h 656079"/>
                  <a:gd name="connsiteX91" fmla="*/ 986191 w 1197474"/>
                  <a:gd name="connsiteY91" fmla="*/ 592137 h 656079"/>
                  <a:gd name="connsiteX92" fmla="*/ 980510 w 1197474"/>
                  <a:gd name="connsiteY92" fmla="*/ 585551 h 656079"/>
                  <a:gd name="connsiteX93" fmla="*/ 979659 w 1197474"/>
                  <a:gd name="connsiteY93" fmla="*/ 584563 h 656079"/>
                  <a:gd name="connsiteX94" fmla="*/ 967255 w 1197474"/>
                  <a:gd name="connsiteY94" fmla="*/ 582066 h 656079"/>
                  <a:gd name="connsiteX95" fmla="*/ 961849 w 1197474"/>
                  <a:gd name="connsiteY95" fmla="*/ 576303 h 656079"/>
                  <a:gd name="connsiteX96" fmla="*/ 956168 w 1197474"/>
                  <a:gd name="connsiteY96" fmla="*/ 570814 h 656079"/>
                  <a:gd name="connsiteX97" fmla="*/ 940663 w 1197474"/>
                  <a:gd name="connsiteY97" fmla="*/ 566615 h 656079"/>
                  <a:gd name="connsiteX98" fmla="*/ 923429 w 1197474"/>
                  <a:gd name="connsiteY98" fmla="*/ 567384 h 656079"/>
                  <a:gd name="connsiteX99" fmla="*/ 891924 w 1197474"/>
                  <a:gd name="connsiteY99" fmla="*/ 562828 h 656079"/>
                  <a:gd name="connsiteX100" fmla="*/ 875596 w 1197474"/>
                  <a:gd name="connsiteY100" fmla="*/ 566231 h 656079"/>
                  <a:gd name="connsiteX101" fmla="*/ 862725 w 1197474"/>
                  <a:gd name="connsiteY101" fmla="*/ 564365 h 656079"/>
                  <a:gd name="connsiteX102" fmla="*/ 855864 w 1197474"/>
                  <a:gd name="connsiteY102" fmla="*/ 568646 h 656079"/>
                  <a:gd name="connsiteX103" fmla="*/ 848509 w 1197474"/>
                  <a:gd name="connsiteY103" fmla="*/ 568481 h 656079"/>
                  <a:gd name="connsiteX104" fmla="*/ 837423 w 1197474"/>
                  <a:gd name="connsiteY104" fmla="*/ 565929 h 656079"/>
                  <a:gd name="connsiteX105" fmla="*/ 820380 w 1197474"/>
                  <a:gd name="connsiteY105" fmla="*/ 554787 h 656079"/>
                  <a:gd name="connsiteX106" fmla="*/ 813574 w 1197474"/>
                  <a:gd name="connsiteY106" fmla="*/ 552784 h 656079"/>
                  <a:gd name="connsiteX107" fmla="*/ 794254 w 1197474"/>
                  <a:gd name="connsiteY107" fmla="*/ 561181 h 656079"/>
                  <a:gd name="connsiteX108" fmla="*/ 789727 w 1197474"/>
                  <a:gd name="connsiteY108" fmla="*/ 576303 h 656079"/>
                  <a:gd name="connsiteX109" fmla="*/ 790138 w 1197474"/>
                  <a:gd name="connsiteY109" fmla="*/ 583959 h 656079"/>
                  <a:gd name="connsiteX110" fmla="*/ 773343 w 1197474"/>
                  <a:gd name="connsiteY110" fmla="*/ 579459 h 656079"/>
                  <a:gd name="connsiteX111" fmla="*/ 766153 w 1197474"/>
                  <a:gd name="connsiteY111" fmla="*/ 576330 h 656079"/>
                  <a:gd name="connsiteX112" fmla="*/ 754737 w 1197474"/>
                  <a:gd name="connsiteY112" fmla="*/ 571335 h 656079"/>
                  <a:gd name="connsiteX113" fmla="*/ 743266 w 1197474"/>
                  <a:gd name="connsiteY113" fmla="*/ 568866 h 656079"/>
                  <a:gd name="connsiteX114" fmla="*/ 731191 w 1197474"/>
                  <a:gd name="connsiteY114" fmla="*/ 569716 h 656079"/>
                  <a:gd name="connsiteX115" fmla="*/ 726443 w 1197474"/>
                  <a:gd name="connsiteY115" fmla="*/ 571061 h 656079"/>
                  <a:gd name="connsiteX116" fmla="*/ 721558 w 1197474"/>
                  <a:gd name="connsiteY116" fmla="*/ 576330 h 656079"/>
                  <a:gd name="connsiteX117" fmla="*/ 719610 w 1197474"/>
                  <a:gd name="connsiteY117" fmla="*/ 578416 h 656079"/>
                  <a:gd name="connsiteX118" fmla="*/ 719281 w 1197474"/>
                  <a:gd name="connsiteY118" fmla="*/ 581846 h 656079"/>
                  <a:gd name="connsiteX119" fmla="*/ 716619 w 1197474"/>
                  <a:gd name="connsiteY119" fmla="*/ 585578 h 656079"/>
                  <a:gd name="connsiteX120" fmla="*/ 714917 w 1197474"/>
                  <a:gd name="connsiteY120" fmla="*/ 587966 h 656079"/>
                  <a:gd name="connsiteX121" fmla="*/ 716015 w 1197474"/>
                  <a:gd name="connsiteY121" fmla="*/ 591176 h 656079"/>
                  <a:gd name="connsiteX122" fmla="*/ 714396 w 1197474"/>
                  <a:gd name="connsiteY122" fmla="*/ 592768 h 656079"/>
                  <a:gd name="connsiteX123" fmla="*/ 706409 w 1197474"/>
                  <a:gd name="connsiteY123" fmla="*/ 600617 h 656079"/>
                  <a:gd name="connsiteX124" fmla="*/ 700564 w 1197474"/>
                  <a:gd name="connsiteY124" fmla="*/ 597900 h 656079"/>
                  <a:gd name="connsiteX125" fmla="*/ 696475 w 1197474"/>
                  <a:gd name="connsiteY125" fmla="*/ 602099 h 656079"/>
                  <a:gd name="connsiteX126" fmla="*/ 686651 w 1197474"/>
                  <a:gd name="connsiteY126" fmla="*/ 612115 h 656079"/>
                  <a:gd name="connsiteX127" fmla="*/ 680613 w 1197474"/>
                  <a:gd name="connsiteY127" fmla="*/ 614585 h 656079"/>
                  <a:gd name="connsiteX128" fmla="*/ 676086 w 1197474"/>
                  <a:gd name="connsiteY128" fmla="*/ 616424 h 656079"/>
                  <a:gd name="connsiteX129" fmla="*/ 671997 w 1197474"/>
                  <a:gd name="connsiteY129" fmla="*/ 619772 h 656079"/>
                  <a:gd name="connsiteX130" fmla="*/ 660086 w 1197474"/>
                  <a:gd name="connsiteY130" fmla="*/ 627593 h 656079"/>
                  <a:gd name="connsiteX131" fmla="*/ 646858 w 1197474"/>
                  <a:gd name="connsiteY131" fmla="*/ 644965 h 656079"/>
                  <a:gd name="connsiteX132" fmla="*/ 647902 w 1197474"/>
                  <a:gd name="connsiteY132" fmla="*/ 654954 h 656079"/>
                  <a:gd name="connsiteX133" fmla="*/ 643291 w 1197474"/>
                  <a:gd name="connsiteY133" fmla="*/ 656079 h 656079"/>
                  <a:gd name="connsiteX134" fmla="*/ 631957 w 1197474"/>
                  <a:gd name="connsiteY134" fmla="*/ 648368 h 656079"/>
                  <a:gd name="connsiteX135" fmla="*/ 633576 w 1197474"/>
                  <a:gd name="connsiteY135" fmla="*/ 639888 h 656079"/>
                  <a:gd name="connsiteX136" fmla="*/ 627484 w 1197474"/>
                  <a:gd name="connsiteY136" fmla="*/ 633823 h 656079"/>
                  <a:gd name="connsiteX137" fmla="*/ 589311 w 1197474"/>
                  <a:gd name="connsiteY137" fmla="*/ 630694 h 656079"/>
                  <a:gd name="connsiteX138" fmla="*/ 587417 w 1197474"/>
                  <a:gd name="connsiteY138" fmla="*/ 616452 h 656079"/>
                  <a:gd name="connsiteX139" fmla="*/ 587170 w 1197474"/>
                  <a:gd name="connsiteY139" fmla="*/ 614613 h 656079"/>
                  <a:gd name="connsiteX140" fmla="*/ 586045 w 1197474"/>
                  <a:gd name="connsiteY140" fmla="*/ 606325 h 656079"/>
                  <a:gd name="connsiteX141" fmla="*/ 572186 w 1197474"/>
                  <a:gd name="connsiteY141" fmla="*/ 603718 h 656079"/>
                  <a:gd name="connsiteX142" fmla="*/ 571528 w 1197474"/>
                  <a:gd name="connsiteY142" fmla="*/ 602126 h 656079"/>
                  <a:gd name="connsiteX143" fmla="*/ 571363 w 1197474"/>
                  <a:gd name="connsiteY143" fmla="*/ 589530 h 656079"/>
                  <a:gd name="connsiteX144" fmla="*/ 573010 w 1197474"/>
                  <a:gd name="connsiteY144" fmla="*/ 585606 h 656079"/>
                  <a:gd name="connsiteX145" fmla="*/ 573668 w 1197474"/>
                  <a:gd name="connsiteY145" fmla="*/ 583986 h 656079"/>
                  <a:gd name="connsiteX146" fmla="*/ 573476 w 1197474"/>
                  <a:gd name="connsiteY146" fmla="*/ 576330 h 656079"/>
                  <a:gd name="connsiteX147" fmla="*/ 573202 w 1197474"/>
                  <a:gd name="connsiteY147" fmla="*/ 565243 h 656079"/>
                  <a:gd name="connsiteX148" fmla="*/ 565490 w 1197474"/>
                  <a:gd name="connsiteY148" fmla="*/ 564859 h 656079"/>
                  <a:gd name="connsiteX149" fmla="*/ 560166 w 1197474"/>
                  <a:gd name="connsiteY149" fmla="*/ 549930 h 656079"/>
                  <a:gd name="connsiteX150" fmla="*/ 545209 w 1197474"/>
                  <a:gd name="connsiteY150" fmla="*/ 531543 h 656079"/>
                  <a:gd name="connsiteX151" fmla="*/ 526878 w 1197474"/>
                  <a:gd name="connsiteY151" fmla="*/ 536949 h 656079"/>
                  <a:gd name="connsiteX152" fmla="*/ 493452 w 1197474"/>
                  <a:gd name="connsiteY152" fmla="*/ 534644 h 656079"/>
                  <a:gd name="connsiteX153" fmla="*/ 453715 w 1197474"/>
                  <a:gd name="connsiteY153" fmla="*/ 541066 h 656079"/>
                  <a:gd name="connsiteX154" fmla="*/ 426711 w 1197474"/>
                  <a:gd name="connsiteY154" fmla="*/ 510000 h 656079"/>
                  <a:gd name="connsiteX155" fmla="*/ 352477 w 1197474"/>
                  <a:gd name="connsiteY155" fmla="*/ 455471 h 656079"/>
                  <a:gd name="connsiteX156" fmla="*/ 277009 w 1197474"/>
                  <a:gd name="connsiteY156" fmla="*/ 480307 h 656079"/>
                  <a:gd name="connsiteX157" fmla="*/ 276708 w 1197474"/>
                  <a:gd name="connsiteY157" fmla="*/ 576330 h 656079"/>
                  <a:gd name="connsiteX158" fmla="*/ 276708 w 1197474"/>
                  <a:gd name="connsiteY158" fmla="*/ 585578 h 656079"/>
                  <a:gd name="connsiteX159" fmla="*/ 276598 w 1197474"/>
                  <a:gd name="connsiteY159" fmla="*/ 602099 h 656079"/>
                  <a:gd name="connsiteX160" fmla="*/ 276598 w 1197474"/>
                  <a:gd name="connsiteY160" fmla="*/ 614585 h 656079"/>
                  <a:gd name="connsiteX161" fmla="*/ 276598 w 1197474"/>
                  <a:gd name="connsiteY161" fmla="*/ 616424 h 656079"/>
                  <a:gd name="connsiteX162" fmla="*/ 276598 w 1197474"/>
                  <a:gd name="connsiteY162" fmla="*/ 628307 h 656079"/>
                  <a:gd name="connsiteX163" fmla="*/ 265127 w 1197474"/>
                  <a:gd name="connsiteY163" fmla="*/ 630777 h 656079"/>
                  <a:gd name="connsiteX164" fmla="*/ 260160 w 1197474"/>
                  <a:gd name="connsiteY164" fmla="*/ 628911 h 656079"/>
                  <a:gd name="connsiteX165" fmla="*/ 252366 w 1197474"/>
                  <a:gd name="connsiteY165" fmla="*/ 619470 h 656079"/>
                  <a:gd name="connsiteX166" fmla="*/ 249731 w 1197474"/>
                  <a:gd name="connsiteY166" fmla="*/ 614585 h 656079"/>
                  <a:gd name="connsiteX167" fmla="*/ 242980 w 1197474"/>
                  <a:gd name="connsiteY167" fmla="*/ 602099 h 656079"/>
                  <a:gd name="connsiteX168" fmla="*/ 223166 w 1197474"/>
                  <a:gd name="connsiteY168" fmla="*/ 588323 h 656079"/>
                  <a:gd name="connsiteX169" fmla="*/ 201596 w 1197474"/>
                  <a:gd name="connsiteY169" fmla="*/ 591149 h 656079"/>
                  <a:gd name="connsiteX170" fmla="*/ 181810 w 1197474"/>
                  <a:gd name="connsiteY170" fmla="*/ 602099 h 656079"/>
                  <a:gd name="connsiteX171" fmla="*/ 171628 w 1197474"/>
                  <a:gd name="connsiteY171" fmla="*/ 610991 h 656079"/>
                  <a:gd name="connsiteX172" fmla="*/ 172507 w 1197474"/>
                  <a:gd name="connsiteY172" fmla="*/ 595705 h 656079"/>
                  <a:gd name="connsiteX173" fmla="*/ 176239 w 1197474"/>
                  <a:gd name="connsiteY173" fmla="*/ 585578 h 656079"/>
                  <a:gd name="connsiteX174" fmla="*/ 178572 w 1197474"/>
                  <a:gd name="connsiteY174" fmla="*/ 579157 h 656079"/>
                  <a:gd name="connsiteX175" fmla="*/ 178215 w 1197474"/>
                  <a:gd name="connsiteY175" fmla="*/ 576303 h 656079"/>
                  <a:gd name="connsiteX176" fmla="*/ 177776 w 1197474"/>
                  <a:gd name="connsiteY176" fmla="*/ 573009 h 656079"/>
                  <a:gd name="connsiteX177" fmla="*/ 172891 w 1197474"/>
                  <a:gd name="connsiteY177" fmla="*/ 569744 h 656079"/>
                  <a:gd name="connsiteX178" fmla="*/ 157934 w 1197474"/>
                  <a:gd name="connsiteY178" fmla="*/ 566862 h 656079"/>
                  <a:gd name="connsiteX179" fmla="*/ 148274 w 1197474"/>
                  <a:gd name="connsiteY179" fmla="*/ 556653 h 656079"/>
                  <a:gd name="connsiteX180" fmla="*/ 140014 w 1197474"/>
                  <a:gd name="connsiteY180" fmla="*/ 553662 h 656079"/>
                  <a:gd name="connsiteX181" fmla="*/ 136309 w 1197474"/>
                  <a:gd name="connsiteY181" fmla="*/ 539419 h 656079"/>
                  <a:gd name="connsiteX182" fmla="*/ 126100 w 1197474"/>
                  <a:gd name="connsiteY182" fmla="*/ 518370 h 656079"/>
                  <a:gd name="connsiteX183" fmla="*/ 111062 w 1197474"/>
                  <a:gd name="connsiteY183" fmla="*/ 507036 h 656079"/>
                  <a:gd name="connsiteX184" fmla="*/ 109086 w 1197474"/>
                  <a:gd name="connsiteY184" fmla="*/ 501493 h 656079"/>
                  <a:gd name="connsiteX185" fmla="*/ 115288 w 1197474"/>
                  <a:gd name="connsiteY185" fmla="*/ 495565 h 656079"/>
                  <a:gd name="connsiteX186" fmla="*/ 132605 w 1197474"/>
                  <a:gd name="connsiteY186" fmla="*/ 499462 h 656079"/>
                  <a:gd name="connsiteX187" fmla="*/ 137490 w 1197474"/>
                  <a:gd name="connsiteY187" fmla="*/ 498364 h 656079"/>
                  <a:gd name="connsiteX188" fmla="*/ 131342 w 1197474"/>
                  <a:gd name="connsiteY188" fmla="*/ 482996 h 656079"/>
                  <a:gd name="connsiteX189" fmla="*/ 145448 w 1197474"/>
                  <a:gd name="connsiteY189" fmla="*/ 464939 h 656079"/>
                  <a:gd name="connsiteX190" fmla="*/ 154093 w 1197474"/>
                  <a:gd name="connsiteY190" fmla="*/ 462771 h 656079"/>
                  <a:gd name="connsiteX191" fmla="*/ 185323 w 1197474"/>
                  <a:gd name="connsiteY191" fmla="*/ 462277 h 656079"/>
                  <a:gd name="connsiteX192" fmla="*/ 183319 w 1197474"/>
                  <a:gd name="connsiteY192" fmla="*/ 453797 h 656079"/>
                  <a:gd name="connsiteX193" fmla="*/ 190481 w 1197474"/>
                  <a:gd name="connsiteY193" fmla="*/ 433215 h 656079"/>
                  <a:gd name="connsiteX194" fmla="*/ 189466 w 1197474"/>
                  <a:gd name="connsiteY194" fmla="*/ 416612 h 656079"/>
                  <a:gd name="connsiteX195" fmla="*/ 190921 w 1197474"/>
                  <a:gd name="connsiteY195" fmla="*/ 405634 h 656079"/>
                  <a:gd name="connsiteX196" fmla="*/ 181700 w 1197474"/>
                  <a:gd name="connsiteY196" fmla="*/ 397676 h 656079"/>
                  <a:gd name="connsiteX197" fmla="*/ 172946 w 1197474"/>
                  <a:gd name="connsiteY197" fmla="*/ 397265 h 656079"/>
                  <a:gd name="connsiteX198" fmla="*/ 161365 w 1197474"/>
                  <a:gd name="connsiteY198" fmla="*/ 401244 h 656079"/>
                  <a:gd name="connsiteX199" fmla="*/ 147753 w 1197474"/>
                  <a:gd name="connsiteY199" fmla="*/ 394493 h 656079"/>
                  <a:gd name="connsiteX200" fmla="*/ 134169 w 1197474"/>
                  <a:gd name="connsiteY200" fmla="*/ 392160 h 656079"/>
                  <a:gd name="connsiteX201" fmla="*/ 113230 w 1197474"/>
                  <a:gd name="connsiteY201" fmla="*/ 401107 h 656079"/>
                  <a:gd name="connsiteX202" fmla="*/ 95419 w 1197474"/>
                  <a:gd name="connsiteY202" fmla="*/ 413374 h 656079"/>
                  <a:gd name="connsiteX203" fmla="*/ 83400 w 1197474"/>
                  <a:gd name="connsiteY203" fmla="*/ 417106 h 656079"/>
                  <a:gd name="connsiteX204" fmla="*/ 76978 w 1197474"/>
                  <a:gd name="connsiteY204" fmla="*/ 423774 h 656079"/>
                  <a:gd name="connsiteX205" fmla="*/ 58124 w 1197474"/>
                  <a:gd name="connsiteY205" fmla="*/ 409669 h 656079"/>
                  <a:gd name="connsiteX206" fmla="*/ 59579 w 1197474"/>
                  <a:gd name="connsiteY206" fmla="*/ 406897 h 656079"/>
                  <a:gd name="connsiteX207" fmla="*/ 66329 w 1197474"/>
                  <a:gd name="connsiteY207" fmla="*/ 407391 h 656079"/>
                  <a:gd name="connsiteX208" fmla="*/ 69019 w 1197474"/>
                  <a:gd name="connsiteY208" fmla="*/ 403906 h 656079"/>
                  <a:gd name="connsiteX209" fmla="*/ 58206 w 1197474"/>
                  <a:gd name="connsiteY209" fmla="*/ 378987 h 656079"/>
                  <a:gd name="connsiteX210" fmla="*/ 40836 w 1197474"/>
                  <a:gd name="connsiteY210" fmla="*/ 362824 h 656079"/>
                  <a:gd name="connsiteX211" fmla="*/ 19347 w 1197474"/>
                  <a:gd name="connsiteY211" fmla="*/ 362577 h 656079"/>
                  <a:gd name="connsiteX212" fmla="*/ 14901 w 1197474"/>
                  <a:gd name="connsiteY212" fmla="*/ 354755 h 656079"/>
                  <a:gd name="connsiteX213" fmla="*/ 13529 w 1197474"/>
                  <a:gd name="connsiteY213" fmla="*/ 343092 h 656079"/>
                  <a:gd name="connsiteX214" fmla="*/ 0 w 1197474"/>
                  <a:gd name="connsiteY214" fmla="*/ 329563 h 656079"/>
                  <a:gd name="connsiteX215" fmla="*/ 4309 w 1197474"/>
                  <a:gd name="connsiteY215" fmla="*/ 314085 h 656079"/>
                  <a:gd name="connsiteX216" fmla="*/ 11197 w 1197474"/>
                  <a:gd name="connsiteY216" fmla="*/ 301735 h 656079"/>
                  <a:gd name="connsiteX217" fmla="*/ 6806 w 1197474"/>
                  <a:gd name="connsiteY217" fmla="*/ 289798 h 656079"/>
                  <a:gd name="connsiteX218" fmla="*/ 8946 w 1197474"/>
                  <a:gd name="connsiteY218" fmla="*/ 273030 h 656079"/>
                  <a:gd name="connsiteX219" fmla="*/ 17865 w 1197474"/>
                  <a:gd name="connsiteY219" fmla="*/ 261916 h 656079"/>
                  <a:gd name="connsiteX220" fmla="*/ 22257 w 1197474"/>
                  <a:gd name="connsiteY220" fmla="*/ 248990 h 656079"/>
                  <a:gd name="connsiteX221" fmla="*/ 26455 w 1197474"/>
                  <a:gd name="connsiteY221" fmla="*/ 244270 h 656079"/>
                  <a:gd name="connsiteX222" fmla="*/ 35347 w 1197474"/>
                  <a:gd name="connsiteY222" fmla="*/ 247481 h 656079"/>
                  <a:gd name="connsiteX223" fmla="*/ 50660 w 1197474"/>
                  <a:gd name="connsiteY223" fmla="*/ 267514 h 656079"/>
                  <a:gd name="connsiteX224" fmla="*/ 59771 w 1197474"/>
                  <a:gd name="connsiteY224" fmla="*/ 266005 h 656079"/>
                  <a:gd name="connsiteX225" fmla="*/ 65012 w 1197474"/>
                  <a:gd name="connsiteY225" fmla="*/ 257470 h 656079"/>
                  <a:gd name="connsiteX226" fmla="*/ 61033 w 1197474"/>
                  <a:gd name="connsiteY226" fmla="*/ 233650 h 656079"/>
                  <a:gd name="connsiteX227" fmla="*/ 77225 w 1197474"/>
                  <a:gd name="connsiteY227" fmla="*/ 224676 h 656079"/>
                  <a:gd name="connsiteX228" fmla="*/ 85266 w 1197474"/>
                  <a:gd name="connsiteY228" fmla="*/ 211201 h 656079"/>
                  <a:gd name="connsiteX229" fmla="*/ 107165 w 1197474"/>
                  <a:gd name="connsiteY229" fmla="*/ 200965 h 656079"/>
                  <a:gd name="connsiteX230" fmla="*/ 116002 w 1197474"/>
                  <a:gd name="connsiteY230" fmla="*/ 189055 h 656079"/>
                  <a:gd name="connsiteX231" fmla="*/ 125964 w 1197474"/>
                  <a:gd name="connsiteY231" fmla="*/ 182249 h 656079"/>
                  <a:gd name="connsiteX232" fmla="*/ 136337 w 1197474"/>
                  <a:gd name="connsiteY232" fmla="*/ 184773 h 656079"/>
                  <a:gd name="connsiteX233" fmla="*/ 143170 w 1197474"/>
                  <a:gd name="connsiteY233" fmla="*/ 191772 h 656079"/>
                  <a:gd name="connsiteX234" fmla="*/ 148741 w 1197474"/>
                  <a:gd name="connsiteY234" fmla="*/ 191277 h 656079"/>
                  <a:gd name="connsiteX235" fmla="*/ 156151 w 1197474"/>
                  <a:gd name="connsiteY235" fmla="*/ 185020 h 656079"/>
                  <a:gd name="connsiteX236" fmla="*/ 165454 w 1197474"/>
                  <a:gd name="connsiteY236" fmla="*/ 182468 h 656079"/>
                  <a:gd name="connsiteX237" fmla="*/ 178105 w 1197474"/>
                  <a:gd name="connsiteY237" fmla="*/ 192869 h 656079"/>
                  <a:gd name="connsiteX238" fmla="*/ 200882 w 1197474"/>
                  <a:gd name="connsiteY238" fmla="*/ 194159 h 656079"/>
                  <a:gd name="connsiteX239" fmla="*/ 226679 w 1197474"/>
                  <a:gd name="connsiteY239" fmla="*/ 218227 h 656079"/>
                  <a:gd name="connsiteX240" fmla="*/ 233814 w 1197474"/>
                  <a:gd name="connsiteY240" fmla="*/ 234061 h 656079"/>
                  <a:gd name="connsiteX241" fmla="*/ 236531 w 1197474"/>
                  <a:gd name="connsiteY241" fmla="*/ 232607 h 656079"/>
                  <a:gd name="connsiteX242" fmla="*/ 239084 w 1197474"/>
                  <a:gd name="connsiteY242" fmla="*/ 224621 h 656079"/>
                  <a:gd name="connsiteX243" fmla="*/ 242706 w 1197474"/>
                  <a:gd name="connsiteY243" fmla="*/ 221794 h 656079"/>
                  <a:gd name="connsiteX244" fmla="*/ 248606 w 1197474"/>
                  <a:gd name="connsiteY244" fmla="*/ 222123 h 656079"/>
                  <a:gd name="connsiteX245" fmla="*/ 256757 w 1197474"/>
                  <a:gd name="connsiteY245" fmla="*/ 229615 h 656079"/>
                  <a:gd name="connsiteX246" fmla="*/ 267295 w 1197474"/>
                  <a:gd name="connsiteY246" fmla="*/ 233375 h 656079"/>
                  <a:gd name="connsiteX247" fmla="*/ 277256 w 1197474"/>
                  <a:gd name="connsiteY247" fmla="*/ 228051 h 656079"/>
                  <a:gd name="connsiteX248" fmla="*/ 291692 w 1197474"/>
                  <a:gd name="connsiteY248" fmla="*/ 214412 h 656079"/>
                  <a:gd name="connsiteX249" fmla="*/ 308871 w 1197474"/>
                  <a:gd name="connsiteY249" fmla="*/ 212601 h 656079"/>
                  <a:gd name="connsiteX250" fmla="*/ 321824 w 1197474"/>
                  <a:gd name="connsiteY250" fmla="*/ 219077 h 656079"/>
                  <a:gd name="connsiteX251" fmla="*/ 331072 w 1197474"/>
                  <a:gd name="connsiteY251" fmla="*/ 211201 h 656079"/>
                  <a:gd name="connsiteX252" fmla="*/ 341226 w 1197474"/>
                  <a:gd name="connsiteY252" fmla="*/ 210158 h 656079"/>
                  <a:gd name="connsiteX253" fmla="*/ 350639 w 1197474"/>
                  <a:gd name="connsiteY253" fmla="*/ 214083 h 656079"/>
                  <a:gd name="connsiteX254" fmla="*/ 358844 w 1197474"/>
                  <a:gd name="connsiteY254" fmla="*/ 225965 h 656079"/>
                  <a:gd name="connsiteX255" fmla="*/ 380881 w 1197474"/>
                  <a:gd name="connsiteY255" fmla="*/ 235488 h 656079"/>
                  <a:gd name="connsiteX256" fmla="*/ 388455 w 1197474"/>
                  <a:gd name="connsiteY256" fmla="*/ 233622 h 656079"/>
                  <a:gd name="connsiteX257" fmla="*/ 396908 w 1197474"/>
                  <a:gd name="connsiteY257" fmla="*/ 225279 h 656079"/>
                  <a:gd name="connsiteX258" fmla="*/ 407254 w 1197474"/>
                  <a:gd name="connsiteY258" fmla="*/ 229917 h 656079"/>
                  <a:gd name="connsiteX259" fmla="*/ 425146 w 1197474"/>
                  <a:gd name="connsiteY259" fmla="*/ 228984 h 656079"/>
                  <a:gd name="connsiteX260" fmla="*/ 435932 w 1197474"/>
                  <a:gd name="connsiteY260" fmla="*/ 221739 h 656079"/>
                  <a:gd name="connsiteX261" fmla="*/ 438704 w 1197474"/>
                  <a:gd name="connsiteY261" fmla="*/ 199620 h 656079"/>
                  <a:gd name="connsiteX262" fmla="*/ 410163 w 1197474"/>
                  <a:gd name="connsiteY262" fmla="*/ 184581 h 656079"/>
                  <a:gd name="connsiteX263" fmla="*/ 399076 w 1197474"/>
                  <a:gd name="connsiteY263" fmla="*/ 170887 h 656079"/>
                  <a:gd name="connsiteX264" fmla="*/ 422073 w 1197474"/>
                  <a:gd name="connsiteY264" fmla="*/ 152967 h 656079"/>
                  <a:gd name="connsiteX265" fmla="*/ 421936 w 1197474"/>
                  <a:gd name="connsiteY265" fmla="*/ 146161 h 656079"/>
                  <a:gd name="connsiteX266" fmla="*/ 417792 w 1197474"/>
                  <a:gd name="connsiteY266" fmla="*/ 134910 h 656079"/>
                  <a:gd name="connsiteX267" fmla="*/ 424982 w 1197474"/>
                  <a:gd name="connsiteY267" fmla="*/ 123768 h 656079"/>
                  <a:gd name="connsiteX268" fmla="*/ 437332 w 1197474"/>
                  <a:gd name="connsiteY268" fmla="*/ 119624 h 656079"/>
                  <a:gd name="connsiteX269" fmla="*/ 451355 w 1197474"/>
                  <a:gd name="connsiteY269" fmla="*/ 120667 h 656079"/>
                  <a:gd name="connsiteX270" fmla="*/ 454264 w 1197474"/>
                  <a:gd name="connsiteY270" fmla="*/ 118032 h 656079"/>
                  <a:gd name="connsiteX271" fmla="*/ 446827 w 1197474"/>
                  <a:gd name="connsiteY271" fmla="*/ 110677 h 656079"/>
                  <a:gd name="connsiteX272" fmla="*/ 431403 w 1197474"/>
                  <a:gd name="connsiteY272" fmla="*/ 103954 h 656079"/>
                  <a:gd name="connsiteX273" fmla="*/ 431403 w 1197474"/>
                  <a:gd name="connsiteY273" fmla="*/ 99179 h 656079"/>
                  <a:gd name="connsiteX274" fmla="*/ 434560 w 1197474"/>
                  <a:gd name="connsiteY274" fmla="*/ 94376 h 656079"/>
                  <a:gd name="connsiteX275" fmla="*/ 425394 w 1197474"/>
                  <a:gd name="connsiteY275" fmla="*/ 88202 h 656079"/>
                  <a:gd name="connsiteX276" fmla="*/ 429455 w 1197474"/>
                  <a:gd name="connsiteY276" fmla="*/ 72834 h 656079"/>
                  <a:gd name="connsiteX277" fmla="*/ 436261 w 1197474"/>
                  <a:gd name="connsiteY277" fmla="*/ 68553 h 656079"/>
                  <a:gd name="connsiteX278" fmla="*/ 449461 w 1197474"/>
                  <a:gd name="connsiteY278" fmla="*/ 71736 h 656079"/>
                  <a:gd name="connsiteX279" fmla="*/ 462332 w 1197474"/>
                  <a:gd name="connsiteY279" fmla="*/ 69376 h 656079"/>
                  <a:gd name="connsiteX280" fmla="*/ 469001 w 1197474"/>
                  <a:gd name="connsiteY280" fmla="*/ 72395 h 656079"/>
                  <a:gd name="connsiteX281" fmla="*/ 493425 w 1197474"/>
                  <a:gd name="connsiteY281" fmla="*/ 59771 h 656079"/>
                  <a:gd name="connsiteX282" fmla="*/ 529402 w 1197474"/>
                  <a:gd name="connsiteY282" fmla="*/ 51428 h 656079"/>
                  <a:gd name="connsiteX283" fmla="*/ 543783 w 1197474"/>
                  <a:gd name="connsiteY283" fmla="*/ 51648 h 656079"/>
                  <a:gd name="connsiteX284" fmla="*/ 556626 w 1197474"/>
                  <a:gd name="connsiteY284" fmla="*/ 39189 h 656079"/>
                  <a:gd name="connsiteX285" fmla="*/ 576989 w 1197474"/>
                  <a:gd name="connsiteY285" fmla="*/ 37597 h 656079"/>
                  <a:gd name="connsiteX286" fmla="*/ 630832 w 1197474"/>
                  <a:gd name="connsiteY286" fmla="*/ 22064 h 656079"/>
                  <a:gd name="connsiteX287" fmla="*/ 638790 w 1197474"/>
                  <a:gd name="connsiteY287" fmla="*/ 11581 h 656079"/>
                  <a:gd name="connsiteX288" fmla="*/ 660525 w 1197474"/>
                  <a:gd name="connsiteY288" fmla="*/ 0 h 656079"/>
                  <a:gd name="connsiteX289" fmla="*/ 679049 w 1197474"/>
                  <a:gd name="connsiteY289" fmla="*/ 3540 h 656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1197474" h="656079">
                    <a:moveTo>
                      <a:pt x="679021" y="3403"/>
                    </a:moveTo>
                    <a:lnTo>
                      <a:pt x="692414" y="10593"/>
                    </a:lnTo>
                    <a:lnTo>
                      <a:pt x="703336" y="6449"/>
                    </a:lnTo>
                    <a:lnTo>
                      <a:pt x="711679" y="7629"/>
                    </a:lnTo>
                    <a:lnTo>
                      <a:pt x="716482" y="15395"/>
                    </a:lnTo>
                    <a:lnTo>
                      <a:pt x="724056" y="38173"/>
                    </a:lnTo>
                    <a:lnTo>
                      <a:pt x="723425" y="48135"/>
                    </a:lnTo>
                    <a:lnTo>
                      <a:pt x="720954" y="55462"/>
                    </a:lnTo>
                    <a:lnTo>
                      <a:pt x="723150" y="61500"/>
                    </a:lnTo>
                    <a:lnTo>
                      <a:pt x="735554" y="63585"/>
                    </a:lnTo>
                    <a:lnTo>
                      <a:pt x="748096" y="60210"/>
                    </a:lnTo>
                    <a:lnTo>
                      <a:pt x="751965" y="55709"/>
                    </a:lnTo>
                    <a:lnTo>
                      <a:pt x="756795" y="60978"/>
                    </a:lnTo>
                    <a:lnTo>
                      <a:pt x="762119" y="72120"/>
                    </a:lnTo>
                    <a:lnTo>
                      <a:pt x="764534" y="71489"/>
                    </a:lnTo>
                    <a:lnTo>
                      <a:pt x="767882" y="65369"/>
                    </a:lnTo>
                    <a:lnTo>
                      <a:pt x="783963" y="71379"/>
                    </a:lnTo>
                    <a:lnTo>
                      <a:pt x="794913" y="70336"/>
                    </a:lnTo>
                    <a:lnTo>
                      <a:pt x="794859" y="75056"/>
                    </a:lnTo>
                    <a:lnTo>
                      <a:pt x="786022" y="87406"/>
                    </a:lnTo>
                    <a:lnTo>
                      <a:pt x="786461" y="92044"/>
                    </a:lnTo>
                    <a:lnTo>
                      <a:pt x="789315" y="94815"/>
                    </a:lnTo>
                    <a:lnTo>
                      <a:pt x="802570" y="89958"/>
                    </a:lnTo>
                    <a:lnTo>
                      <a:pt x="816676" y="93745"/>
                    </a:lnTo>
                    <a:lnTo>
                      <a:pt x="823289" y="86336"/>
                    </a:lnTo>
                    <a:lnTo>
                      <a:pt x="844284" y="74343"/>
                    </a:lnTo>
                    <a:lnTo>
                      <a:pt x="853257" y="63969"/>
                    </a:lnTo>
                    <a:lnTo>
                      <a:pt x="872879" y="54255"/>
                    </a:lnTo>
                    <a:lnTo>
                      <a:pt x="887670" y="51346"/>
                    </a:lnTo>
                    <a:lnTo>
                      <a:pt x="887177" y="58399"/>
                    </a:lnTo>
                    <a:lnTo>
                      <a:pt x="880865" y="63476"/>
                    </a:lnTo>
                    <a:lnTo>
                      <a:pt x="880975" y="67976"/>
                    </a:lnTo>
                    <a:lnTo>
                      <a:pt x="916321" y="102170"/>
                    </a:lnTo>
                    <a:lnTo>
                      <a:pt x="925432" y="114218"/>
                    </a:lnTo>
                    <a:lnTo>
                      <a:pt x="957842" y="171436"/>
                    </a:lnTo>
                    <a:lnTo>
                      <a:pt x="983721" y="221080"/>
                    </a:lnTo>
                    <a:lnTo>
                      <a:pt x="991680" y="218940"/>
                    </a:lnTo>
                    <a:lnTo>
                      <a:pt x="997141" y="207743"/>
                    </a:lnTo>
                    <a:lnTo>
                      <a:pt x="1003507" y="203517"/>
                    </a:lnTo>
                    <a:lnTo>
                      <a:pt x="1012618" y="207002"/>
                    </a:lnTo>
                    <a:lnTo>
                      <a:pt x="1016461" y="215729"/>
                    </a:lnTo>
                    <a:lnTo>
                      <a:pt x="1030731" y="226158"/>
                    </a:lnTo>
                    <a:lnTo>
                      <a:pt x="1054661" y="226020"/>
                    </a:lnTo>
                    <a:lnTo>
                      <a:pt x="1073378" y="216690"/>
                    </a:lnTo>
                    <a:lnTo>
                      <a:pt x="1083476" y="216909"/>
                    </a:lnTo>
                    <a:lnTo>
                      <a:pt x="1097472" y="225938"/>
                    </a:lnTo>
                    <a:lnTo>
                      <a:pt x="1104772" y="236339"/>
                    </a:lnTo>
                    <a:lnTo>
                      <a:pt x="1110837" y="249786"/>
                    </a:lnTo>
                    <a:lnTo>
                      <a:pt x="1128044" y="260516"/>
                    </a:lnTo>
                    <a:lnTo>
                      <a:pt x="1138801" y="278876"/>
                    </a:lnTo>
                    <a:lnTo>
                      <a:pt x="1162045" y="283843"/>
                    </a:lnTo>
                    <a:lnTo>
                      <a:pt x="1178813" y="273168"/>
                    </a:lnTo>
                    <a:lnTo>
                      <a:pt x="1181283" y="283843"/>
                    </a:lnTo>
                    <a:lnTo>
                      <a:pt x="1197475" y="302669"/>
                    </a:lnTo>
                    <a:lnTo>
                      <a:pt x="1191656" y="301022"/>
                    </a:lnTo>
                    <a:lnTo>
                      <a:pt x="1184467" y="303190"/>
                    </a:lnTo>
                    <a:lnTo>
                      <a:pt x="1181119" y="307992"/>
                    </a:lnTo>
                    <a:lnTo>
                      <a:pt x="1180817" y="319381"/>
                    </a:lnTo>
                    <a:lnTo>
                      <a:pt x="1175603" y="327120"/>
                    </a:lnTo>
                    <a:lnTo>
                      <a:pt x="1151398" y="336122"/>
                    </a:lnTo>
                    <a:lnTo>
                      <a:pt x="1145964" y="354179"/>
                    </a:lnTo>
                    <a:lnTo>
                      <a:pt x="1149696" y="382555"/>
                    </a:lnTo>
                    <a:lnTo>
                      <a:pt x="1144207" y="391858"/>
                    </a:lnTo>
                    <a:lnTo>
                      <a:pt x="1136277" y="393477"/>
                    </a:lnTo>
                    <a:lnTo>
                      <a:pt x="1124284" y="401573"/>
                    </a:lnTo>
                    <a:lnTo>
                      <a:pt x="1119097" y="395591"/>
                    </a:lnTo>
                    <a:lnTo>
                      <a:pt x="1100162" y="395975"/>
                    </a:lnTo>
                    <a:lnTo>
                      <a:pt x="1076423" y="386205"/>
                    </a:lnTo>
                    <a:lnTo>
                      <a:pt x="1072142" y="386864"/>
                    </a:lnTo>
                    <a:lnTo>
                      <a:pt x="1050079" y="453303"/>
                    </a:lnTo>
                    <a:lnTo>
                      <a:pt x="1050901" y="457584"/>
                    </a:lnTo>
                    <a:lnTo>
                      <a:pt x="1058366" y="462908"/>
                    </a:lnTo>
                    <a:lnTo>
                      <a:pt x="1056198" y="472870"/>
                    </a:lnTo>
                    <a:lnTo>
                      <a:pt x="1048157" y="470565"/>
                    </a:lnTo>
                    <a:lnTo>
                      <a:pt x="1039952" y="472184"/>
                    </a:lnTo>
                    <a:lnTo>
                      <a:pt x="1030950" y="465515"/>
                    </a:lnTo>
                    <a:lnTo>
                      <a:pt x="986081" y="478002"/>
                    </a:lnTo>
                    <a:lnTo>
                      <a:pt x="981114" y="482228"/>
                    </a:lnTo>
                    <a:lnTo>
                      <a:pt x="983035" y="487030"/>
                    </a:lnTo>
                    <a:lnTo>
                      <a:pt x="990253" y="487030"/>
                    </a:lnTo>
                    <a:cubicBezTo>
                      <a:pt x="990253" y="487030"/>
                      <a:pt x="995193" y="490735"/>
                      <a:pt x="995193" y="490735"/>
                    </a:cubicBezTo>
                    <a:lnTo>
                      <a:pt x="992915" y="500862"/>
                    </a:lnTo>
                    <a:lnTo>
                      <a:pt x="994479" y="513897"/>
                    </a:lnTo>
                    <a:lnTo>
                      <a:pt x="1003343" y="540901"/>
                    </a:lnTo>
                    <a:lnTo>
                      <a:pt x="1004166" y="554321"/>
                    </a:lnTo>
                    <a:lnTo>
                      <a:pt x="996125" y="559837"/>
                    </a:lnTo>
                    <a:lnTo>
                      <a:pt x="997058" y="566203"/>
                    </a:lnTo>
                    <a:lnTo>
                      <a:pt x="988853" y="573503"/>
                    </a:lnTo>
                    <a:lnTo>
                      <a:pt x="988963" y="576303"/>
                    </a:lnTo>
                    <a:lnTo>
                      <a:pt x="989319" y="585551"/>
                    </a:lnTo>
                    <a:lnTo>
                      <a:pt x="989622" y="592741"/>
                    </a:lnTo>
                    <a:lnTo>
                      <a:pt x="986191" y="592137"/>
                    </a:lnTo>
                    <a:lnTo>
                      <a:pt x="980510" y="585551"/>
                    </a:lnTo>
                    <a:lnTo>
                      <a:pt x="979659" y="584563"/>
                    </a:lnTo>
                    <a:lnTo>
                      <a:pt x="967255" y="582066"/>
                    </a:lnTo>
                    <a:lnTo>
                      <a:pt x="961849" y="576303"/>
                    </a:lnTo>
                    <a:lnTo>
                      <a:pt x="956168" y="570814"/>
                    </a:lnTo>
                    <a:lnTo>
                      <a:pt x="940663" y="566615"/>
                    </a:lnTo>
                    <a:lnTo>
                      <a:pt x="923429" y="567384"/>
                    </a:lnTo>
                    <a:lnTo>
                      <a:pt x="891924" y="562828"/>
                    </a:lnTo>
                    <a:lnTo>
                      <a:pt x="875596" y="566231"/>
                    </a:lnTo>
                    <a:lnTo>
                      <a:pt x="862725" y="564365"/>
                    </a:lnTo>
                    <a:lnTo>
                      <a:pt x="855864" y="568646"/>
                    </a:lnTo>
                    <a:lnTo>
                      <a:pt x="848509" y="568481"/>
                    </a:lnTo>
                    <a:lnTo>
                      <a:pt x="837423" y="565929"/>
                    </a:lnTo>
                    <a:lnTo>
                      <a:pt x="820380" y="554787"/>
                    </a:lnTo>
                    <a:lnTo>
                      <a:pt x="813574" y="552784"/>
                    </a:lnTo>
                    <a:lnTo>
                      <a:pt x="794254" y="561181"/>
                    </a:lnTo>
                    <a:lnTo>
                      <a:pt x="789727" y="576303"/>
                    </a:lnTo>
                    <a:lnTo>
                      <a:pt x="790138" y="583959"/>
                    </a:lnTo>
                    <a:lnTo>
                      <a:pt x="773343" y="579459"/>
                    </a:lnTo>
                    <a:lnTo>
                      <a:pt x="766153" y="576330"/>
                    </a:lnTo>
                    <a:lnTo>
                      <a:pt x="754737" y="571335"/>
                    </a:lnTo>
                    <a:lnTo>
                      <a:pt x="743266" y="568866"/>
                    </a:lnTo>
                    <a:lnTo>
                      <a:pt x="731191" y="569716"/>
                    </a:lnTo>
                    <a:lnTo>
                      <a:pt x="726443" y="571061"/>
                    </a:lnTo>
                    <a:lnTo>
                      <a:pt x="721558" y="576330"/>
                    </a:lnTo>
                    <a:lnTo>
                      <a:pt x="719610" y="578416"/>
                    </a:lnTo>
                    <a:lnTo>
                      <a:pt x="719281" y="581846"/>
                    </a:lnTo>
                    <a:lnTo>
                      <a:pt x="716619" y="585578"/>
                    </a:lnTo>
                    <a:lnTo>
                      <a:pt x="714917" y="587966"/>
                    </a:lnTo>
                    <a:lnTo>
                      <a:pt x="716015" y="591176"/>
                    </a:lnTo>
                    <a:lnTo>
                      <a:pt x="714396" y="592768"/>
                    </a:lnTo>
                    <a:lnTo>
                      <a:pt x="706409" y="600617"/>
                    </a:lnTo>
                    <a:lnTo>
                      <a:pt x="700564" y="597900"/>
                    </a:lnTo>
                    <a:lnTo>
                      <a:pt x="696475" y="602099"/>
                    </a:lnTo>
                    <a:lnTo>
                      <a:pt x="686651" y="612115"/>
                    </a:lnTo>
                    <a:lnTo>
                      <a:pt x="680613" y="614585"/>
                    </a:lnTo>
                    <a:lnTo>
                      <a:pt x="676086" y="616424"/>
                    </a:lnTo>
                    <a:lnTo>
                      <a:pt x="671997" y="619772"/>
                    </a:lnTo>
                    <a:lnTo>
                      <a:pt x="660086" y="627593"/>
                    </a:lnTo>
                    <a:lnTo>
                      <a:pt x="646858" y="644965"/>
                    </a:lnTo>
                    <a:lnTo>
                      <a:pt x="647902" y="654954"/>
                    </a:lnTo>
                    <a:lnTo>
                      <a:pt x="643291" y="656079"/>
                    </a:lnTo>
                    <a:lnTo>
                      <a:pt x="631957" y="648368"/>
                    </a:lnTo>
                    <a:lnTo>
                      <a:pt x="633576" y="639888"/>
                    </a:lnTo>
                    <a:lnTo>
                      <a:pt x="627484" y="633823"/>
                    </a:lnTo>
                    <a:lnTo>
                      <a:pt x="589311" y="630694"/>
                    </a:lnTo>
                    <a:lnTo>
                      <a:pt x="587417" y="616452"/>
                    </a:lnTo>
                    <a:lnTo>
                      <a:pt x="587170" y="614613"/>
                    </a:lnTo>
                    <a:lnTo>
                      <a:pt x="586045" y="606325"/>
                    </a:lnTo>
                    <a:lnTo>
                      <a:pt x="572186" y="603718"/>
                    </a:lnTo>
                    <a:lnTo>
                      <a:pt x="571528" y="602126"/>
                    </a:lnTo>
                    <a:lnTo>
                      <a:pt x="571363" y="589530"/>
                    </a:lnTo>
                    <a:lnTo>
                      <a:pt x="573010" y="585606"/>
                    </a:lnTo>
                    <a:lnTo>
                      <a:pt x="573668" y="583986"/>
                    </a:lnTo>
                    <a:lnTo>
                      <a:pt x="573476" y="576330"/>
                    </a:lnTo>
                    <a:lnTo>
                      <a:pt x="573202" y="565243"/>
                    </a:lnTo>
                    <a:lnTo>
                      <a:pt x="565490" y="564859"/>
                    </a:lnTo>
                    <a:lnTo>
                      <a:pt x="560166" y="549930"/>
                    </a:lnTo>
                    <a:lnTo>
                      <a:pt x="545209" y="531543"/>
                    </a:lnTo>
                    <a:lnTo>
                      <a:pt x="526878" y="536949"/>
                    </a:lnTo>
                    <a:lnTo>
                      <a:pt x="493452" y="534644"/>
                    </a:lnTo>
                    <a:lnTo>
                      <a:pt x="453715" y="541066"/>
                    </a:lnTo>
                    <a:lnTo>
                      <a:pt x="426711" y="510000"/>
                    </a:lnTo>
                    <a:lnTo>
                      <a:pt x="352477" y="455471"/>
                    </a:lnTo>
                    <a:lnTo>
                      <a:pt x="277009" y="480307"/>
                    </a:lnTo>
                    <a:lnTo>
                      <a:pt x="276708" y="576330"/>
                    </a:lnTo>
                    <a:lnTo>
                      <a:pt x="276708" y="585578"/>
                    </a:lnTo>
                    <a:cubicBezTo>
                      <a:pt x="276708" y="585578"/>
                      <a:pt x="276598" y="602099"/>
                      <a:pt x="276598" y="602099"/>
                    </a:cubicBezTo>
                    <a:lnTo>
                      <a:pt x="276598" y="614585"/>
                    </a:lnTo>
                    <a:cubicBezTo>
                      <a:pt x="276598" y="614585"/>
                      <a:pt x="276598" y="616424"/>
                      <a:pt x="276598" y="616424"/>
                    </a:cubicBezTo>
                    <a:lnTo>
                      <a:pt x="276598" y="628307"/>
                    </a:lnTo>
                    <a:lnTo>
                      <a:pt x="265127" y="630777"/>
                    </a:lnTo>
                    <a:lnTo>
                      <a:pt x="260160" y="628911"/>
                    </a:lnTo>
                    <a:lnTo>
                      <a:pt x="252366" y="619470"/>
                    </a:lnTo>
                    <a:lnTo>
                      <a:pt x="249731" y="614585"/>
                    </a:lnTo>
                    <a:lnTo>
                      <a:pt x="242980" y="602099"/>
                    </a:lnTo>
                    <a:lnTo>
                      <a:pt x="223166" y="588323"/>
                    </a:lnTo>
                    <a:lnTo>
                      <a:pt x="201596" y="591149"/>
                    </a:lnTo>
                    <a:lnTo>
                      <a:pt x="181810" y="602099"/>
                    </a:lnTo>
                    <a:lnTo>
                      <a:pt x="171628" y="610991"/>
                    </a:lnTo>
                    <a:lnTo>
                      <a:pt x="172507" y="595705"/>
                    </a:lnTo>
                    <a:lnTo>
                      <a:pt x="176239" y="585578"/>
                    </a:lnTo>
                    <a:lnTo>
                      <a:pt x="178572" y="579157"/>
                    </a:lnTo>
                    <a:lnTo>
                      <a:pt x="178215" y="576303"/>
                    </a:lnTo>
                    <a:lnTo>
                      <a:pt x="177776" y="573009"/>
                    </a:lnTo>
                    <a:lnTo>
                      <a:pt x="172891" y="569744"/>
                    </a:lnTo>
                    <a:lnTo>
                      <a:pt x="157934" y="566862"/>
                    </a:lnTo>
                    <a:lnTo>
                      <a:pt x="148274" y="556653"/>
                    </a:lnTo>
                    <a:lnTo>
                      <a:pt x="140014" y="553662"/>
                    </a:lnTo>
                    <a:lnTo>
                      <a:pt x="136309" y="539419"/>
                    </a:lnTo>
                    <a:lnTo>
                      <a:pt x="126100" y="518370"/>
                    </a:lnTo>
                    <a:lnTo>
                      <a:pt x="111062" y="507036"/>
                    </a:lnTo>
                    <a:lnTo>
                      <a:pt x="109086" y="501493"/>
                    </a:lnTo>
                    <a:lnTo>
                      <a:pt x="115288" y="495565"/>
                    </a:lnTo>
                    <a:lnTo>
                      <a:pt x="132605" y="499462"/>
                    </a:lnTo>
                    <a:lnTo>
                      <a:pt x="137490" y="498364"/>
                    </a:lnTo>
                    <a:lnTo>
                      <a:pt x="131342" y="482996"/>
                    </a:lnTo>
                    <a:lnTo>
                      <a:pt x="145448" y="464939"/>
                    </a:lnTo>
                    <a:lnTo>
                      <a:pt x="154093" y="462771"/>
                    </a:lnTo>
                    <a:lnTo>
                      <a:pt x="185323" y="462277"/>
                    </a:lnTo>
                    <a:lnTo>
                      <a:pt x="183319" y="453797"/>
                    </a:lnTo>
                    <a:lnTo>
                      <a:pt x="190481" y="433215"/>
                    </a:lnTo>
                    <a:lnTo>
                      <a:pt x="189466" y="416612"/>
                    </a:lnTo>
                    <a:lnTo>
                      <a:pt x="190921" y="405634"/>
                    </a:lnTo>
                    <a:lnTo>
                      <a:pt x="181700" y="397676"/>
                    </a:lnTo>
                    <a:lnTo>
                      <a:pt x="172946" y="397265"/>
                    </a:lnTo>
                    <a:lnTo>
                      <a:pt x="161365" y="401244"/>
                    </a:lnTo>
                    <a:lnTo>
                      <a:pt x="147753" y="394493"/>
                    </a:lnTo>
                    <a:lnTo>
                      <a:pt x="134169" y="392160"/>
                    </a:lnTo>
                    <a:lnTo>
                      <a:pt x="113230" y="401107"/>
                    </a:lnTo>
                    <a:lnTo>
                      <a:pt x="95419" y="413374"/>
                    </a:lnTo>
                    <a:lnTo>
                      <a:pt x="83400" y="417106"/>
                    </a:lnTo>
                    <a:lnTo>
                      <a:pt x="76978" y="423774"/>
                    </a:lnTo>
                    <a:lnTo>
                      <a:pt x="58124" y="409669"/>
                    </a:lnTo>
                    <a:lnTo>
                      <a:pt x="59579" y="406897"/>
                    </a:lnTo>
                    <a:lnTo>
                      <a:pt x="66329" y="407391"/>
                    </a:lnTo>
                    <a:lnTo>
                      <a:pt x="69019" y="403906"/>
                    </a:lnTo>
                    <a:lnTo>
                      <a:pt x="58206" y="378987"/>
                    </a:lnTo>
                    <a:lnTo>
                      <a:pt x="40836" y="362824"/>
                    </a:lnTo>
                    <a:lnTo>
                      <a:pt x="19347" y="362577"/>
                    </a:lnTo>
                    <a:lnTo>
                      <a:pt x="14901" y="354755"/>
                    </a:lnTo>
                    <a:lnTo>
                      <a:pt x="13529" y="343092"/>
                    </a:lnTo>
                    <a:lnTo>
                      <a:pt x="0" y="329563"/>
                    </a:lnTo>
                    <a:lnTo>
                      <a:pt x="4309" y="314085"/>
                    </a:lnTo>
                    <a:lnTo>
                      <a:pt x="11197" y="301735"/>
                    </a:lnTo>
                    <a:lnTo>
                      <a:pt x="6806" y="289798"/>
                    </a:lnTo>
                    <a:lnTo>
                      <a:pt x="8946" y="273030"/>
                    </a:lnTo>
                    <a:lnTo>
                      <a:pt x="17865" y="261916"/>
                    </a:lnTo>
                    <a:lnTo>
                      <a:pt x="22257" y="248990"/>
                    </a:lnTo>
                    <a:lnTo>
                      <a:pt x="26455" y="244270"/>
                    </a:lnTo>
                    <a:lnTo>
                      <a:pt x="35347" y="247481"/>
                    </a:lnTo>
                    <a:lnTo>
                      <a:pt x="50660" y="267514"/>
                    </a:lnTo>
                    <a:lnTo>
                      <a:pt x="59771" y="266005"/>
                    </a:lnTo>
                    <a:lnTo>
                      <a:pt x="65012" y="257470"/>
                    </a:lnTo>
                    <a:lnTo>
                      <a:pt x="61033" y="233650"/>
                    </a:lnTo>
                    <a:lnTo>
                      <a:pt x="77225" y="224676"/>
                    </a:lnTo>
                    <a:lnTo>
                      <a:pt x="85266" y="211201"/>
                    </a:lnTo>
                    <a:lnTo>
                      <a:pt x="107165" y="200965"/>
                    </a:lnTo>
                    <a:lnTo>
                      <a:pt x="116002" y="189055"/>
                    </a:lnTo>
                    <a:lnTo>
                      <a:pt x="125964" y="182249"/>
                    </a:lnTo>
                    <a:lnTo>
                      <a:pt x="136337" y="184773"/>
                    </a:lnTo>
                    <a:lnTo>
                      <a:pt x="143170" y="191772"/>
                    </a:lnTo>
                    <a:lnTo>
                      <a:pt x="148741" y="191277"/>
                    </a:lnTo>
                    <a:lnTo>
                      <a:pt x="156151" y="185020"/>
                    </a:lnTo>
                    <a:lnTo>
                      <a:pt x="165454" y="182468"/>
                    </a:lnTo>
                    <a:lnTo>
                      <a:pt x="178105" y="192869"/>
                    </a:lnTo>
                    <a:lnTo>
                      <a:pt x="200882" y="194159"/>
                    </a:lnTo>
                    <a:lnTo>
                      <a:pt x="226679" y="218227"/>
                    </a:lnTo>
                    <a:lnTo>
                      <a:pt x="233814" y="234061"/>
                    </a:lnTo>
                    <a:lnTo>
                      <a:pt x="236531" y="232607"/>
                    </a:lnTo>
                    <a:lnTo>
                      <a:pt x="239084" y="224621"/>
                    </a:lnTo>
                    <a:lnTo>
                      <a:pt x="242706" y="221794"/>
                    </a:lnTo>
                    <a:lnTo>
                      <a:pt x="248606" y="222123"/>
                    </a:lnTo>
                    <a:lnTo>
                      <a:pt x="256757" y="229615"/>
                    </a:lnTo>
                    <a:lnTo>
                      <a:pt x="267295" y="233375"/>
                    </a:lnTo>
                    <a:lnTo>
                      <a:pt x="277256" y="228051"/>
                    </a:lnTo>
                    <a:lnTo>
                      <a:pt x="291692" y="214412"/>
                    </a:lnTo>
                    <a:lnTo>
                      <a:pt x="308871" y="212601"/>
                    </a:lnTo>
                    <a:lnTo>
                      <a:pt x="321824" y="219077"/>
                    </a:lnTo>
                    <a:lnTo>
                      <a:pt x="331072" y="211201"/>
                    </a:lnTo>
                    <a:lnTo>
                      <a:pt x="341226" y="210158"/>
                    </a:lnTo>
                    <a:lnTo>
                      <a:pt x="350639" y="214083"/>
                    </a:lnTo>
                    <a:lnTo>
                      <a:pt x="358844" y="225965"/>
                    </a:lnTo>
                    <a:lnTo>
                      <a:pt x="380881" y="235488"/>
                    </a:lnTo>
                    <a:lnTo>
                      <a:pt x="388455" y="233622"/>
                    </a:lnTo>
                    <a:lnTo>
                      <a:pt x="396908" y="225279"/>
                    </a:lnTo>
                    <a:lnTo>
                      <a:pt x="407254" y="229917"/>
                    </a:lnTo>
                    <a:lnTo>
                      <a:pt x="425146" y="228984"/>
                    </a:lnTo>
                    <a:lnTo>
                      <a:pt x="435932" y="221739"/>
                    </a:lnTo>
                    <a:lnTo>
                      <a:pt x="438704" y="199620"/>
                    </a:lnTo>
                    <a:lnTo>
                      <a:pt x="410163" y="184581"/>
                    </a:lnTo>
                    <a:lnTo>
                      <a:pt x="399076" y="170887"/>
                    </a:lnTo>
                    <a:lnTo>
                      <a:pt x="422073" y="152967"/>
                    </a:lnTo>
                    <a:lnTo>
                      <a:pt x="421936" y="146161"/>
                    </a:lnTo>
                    <a:lnTo>
                      <a:pt x="417792" y="134910"/>
                    </a:lnTo>
                    <a:lnTo>
                      <a:pt x="424982" y="123768"/>
                    </a:lnTo>
                    <a:lnTo>
                      <a:pt x="437332" y="119624"/>
                    </a:lnTo>
                    <a:lnTo>
                      <a:pt x="451355" y="120667"/>
                    </a:lnTo>
                    <a:lnTo>
                      <a:pt x="454264" y="118032"/>
                    </a:lnTo>
                    <a:lnTo>
                      <a:pt x="446827" y="110677"/>
                    </a:lnTo>
                    <a:lnTo>
                      <a:pt x="431403" y="103954"/>
                    </a:lnTo>
                    <a:lnTo>
                      <a:pt x="431403" y="99179"/>
                    </a:lnTo>
                    <a:cubicBezTo>
                      <a:pt x="431403" y="99179"/>
                      <a:pt x="434560" y="94376"/>
                      <a:pt x="434560" y="94376"/>
                    </a:cubicBezTo>
                    <a:lnTo>
                      <a:pt x="425394" y="88202"/>
                    </a:lnTo>
                    <a:lnTo>
                      <a:pt x="429455" y="72834"/>
                    </a:lnTo>
                    <a:lnTo>
                      <a:pt x="436261" y="68553"/>
                    </a:lnTo>
                    <a:lnTo>
                      <a:pt x="449461" y="71736"/>
                    </a:lnTo>
                    <a:lnTo>
                      <a:pt x="462332" y="69376"/>
                    </a:lnTo>
                    <a:lnTo>
                      <a:pt x="469001" y="72395"/>
                    </a:lnTo>
                    <a:lnTo>
                      <a:pt x="493425" y="59771"/>
                    </a:lnTo>
                    <a:lnTo>
                      <a:pt x="529402" y="51428"/>
                    </a:lnTo>
                    <a:lnTo>
                      <a:pt x="543783" y="51648"/>
                    </a:lnTo>
                    <a:lnTo>
                      <a:pt x="556626" y="39189"/>
                    </a:lnTo>
                    <a:lnTo>
                      <a:pt x="576989" y="37597"/>
                    </a:lnTo>
                    <a:lnTo>
                      <a:pt x="630832" y="22064"/>
                    </a:lnTo>
                    <a:lnTo>
                      <a:pt x="638790" y="11581"/>
                    </a:lnTo>
                    <a:lnTo>
                      <a:pt x="660525" y="0"/>
                    </a:lnTo>
                    <a:lnTo>
                      <a:pt x="679049"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3" name="Freeform: Shape 4102">
                <a:extLst>
                  <a:ext uri="{FF2B5EF4-FFF2-40B4-BE49-F238E27FC236}">
                    <a16:creationId xmlns:a16="http://schemas.microsoft.com/office/drawing/2014/main" id="{D4D5BFE7-3D3B-319F-C632-46672759FB3D}"/>
                  </a:ext>
                </a:extLst>
              </p:cNvPr>
              <p:cNvSpPr/>
              <p:nvPr/>
            </p:nvSpPr>
            <p:spPr>
              <a:xfrm>
                <a:off x="1519525" y="3689198"/>
                <a:ext cx="292" cy="733"/>
              </a:xfrm>
              <a:custGeom>
                <a:avLst/>
                <a:gdLst>
                  <a:gd name="connsiteX0" fmla="*/ 2003 w 2799"/>
                  <a:gd name="connsiteY0" fmla="*/ 6559 h 7025"/>
                  <a:gd name="connsiteX1" fmla="*/ 1125 w 2799"/>
                  <a:gd name="connsiteY1" fmla="*/ 7026 h 7025"/>
                  <a:gd name="connsiteX2" fmla="*/ 0 w 2799"/>
                  <a:gd name="connsiteY2" fmla="*/ 2991 h 7025"/>
                  <a:gd name="connsiteX3" fmla="*/ 1290 w 2799"/>
                  <a:gd name="connsiteY3" fmla="*/ 0 h 7025"/>
                  <a:gd name="connsiteX4" fmla="*/ 2799 w 2799"/>
                  <a:gd name="connsiteY4" fmla="*/ 1125 h 7025"/>
                  <a:gd name="connsiteX5" fmla="*/ 2031 w 2799"/>
                  <a:gd name="connsiteY5" fmla="*/ 6559 h 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 h="7025">
                    <a:moveTo>
                      <a:pt x="2003" y="6559"/>
                    </a:moveTo>
                    <a:lnTo>
                      <a:pt x="1125" y="7026"/>
                    </a:lnTo>
                    <a:lnTo>
                      <a:pt x="0" y="2991"/>
                    </a:lnTo>
                    <a:lnTo>
                      <a:pt x="1290" y="0"/>
                    </a:lnTo>
                    <a:lnTo>
                      <a:pt x="2799" y="1125"/>
                    </a:lnTo>
                    <a:lnTo>
                      <a:pt x="2031" y="65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4" name="Freeform: Shape 4103">
                <a:extLst>
                  <a:ext uri="{FF2B5EF4-FFF2-40B4-BE49-F238E27FC236}">
                    <a16:creationId xmlns:a16="http://schemas.microsoft.com/office/drawing/2014/main" id="{3E397D02-8224-35AE-DC8F-61EAA133C1F5}"/>
                  </a:ext>
                </a:extLst>
              </p:cNvPr>
              <p:cNvSpPr/>
              <p:nvPr/>
            </p:nvSpPr>
            <p:spPr>
              <a:xfrm>
                <a:off x="1518584" y="3689461"/>
                <a:ext cx="366" cy="581"/>
              </a:xfrm>
              <a:custGeom>
                <a:avLst/>
                <a:gdLst>
                  <a:gd name="connsiteX0" fmla="*/ 3513 w 3512"/>
                  <a:gd name="connsiteY0" fmla="*/ 3622 h 5570"/>
                  <a:gd name="connsiteX1" fmla="*/ 2086 w 3512"/>
                  <a:gd name="connsiteY1" fmla="*/ 5571 h 5570"/>
                  <a:gd name="connsiteX2" fmla="*/ 0 w 3512"/>
                  <a:gd name="connsiteY2" fmla="*/ 2525 h 5570"/>
                  <a:gd name="connsiteX3" fmla="*/ 2278 w 3512"/>
                  <a:gd name="connsiteY3" fmla="*/ 0 h 5570"/>
                  <a:gd name="connsiteX4" fmla="*/ 3513 w 3512"/>
                  <a:gd name="connsiteY4" fmla="*/ 3622 h 5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5570">
                    <a:moveTo>
                      <a:pt x="3513" y="3622"/>
                    </a:moveTo>
                    <a:lnTo>
                      <a:pt x="2086" y="5571"/>
                    </a:lnTo>
                    <a:lnTo>
                      <a:pt x="0" y="2525"/>
                    </a:lnTo>
                    <a:lnTo>
                      <a:pt x="2278" y="0"/>
                    </a:lnTo>
                    <a:lnTo>
                      <a:pt x="3513" y="36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5" name="Freeform: Shape 4104">
                <a:extLst>
                  <a:ext uri="{FF2B5EF4-FFF2-40B4-BE49-F238E27FC236}">
                    <a16:creationId xmlns:a16="http://schemas.microsoft.com/office/drawing/2014/main" id="{29267834-13E4-CB98-54B1-BDAEB6B5D522}"/>
                  </a:ext>
                </a:extLst>
              </p:cNvPr>
              <p:cNvSpPr/>
              <p:nvPr/>
            </p:nvSpPr>
            <p:spPr>
              <a:xfrm>
                <a:off x="1672431" y="3773645"/>
                <a:ext cx="23213" cy="27673"/>
              </a:xfrm>
              <a:custGeom>
                <a:avLst/>
                <a:gdLst>
                  <a:gd name="connsiteX0" fmla="*/ 60402 w 222562"/>
                  <a:gd name="connsiteY0" fmla="*/ 2607 h 265318"/>
                  <a:gd name="connsiteX1" fmla="*/ 74124 w 222562"/>
                  <a:gd name="connsiteY1" fmla="*/ 18359 h 265318"/>
                  <a:gd name="connsiteX2" fmla="*/ 83783 w 222562"/>
                  <a:gd name="connsiteY2" fmla="*/ 23875 h 265318"/>
                  <a:gd name="connsiteX3" fmla="*/ 84552 w 222562"/>
                  <a:gd name="connsiteY3" fmla="*/ 30022 h 265318"/>
                  <a:gd name="connsiteX4" fmla="*/ 81286 w 222562"/>
                  <a:gd name="connsiteY4" fmla="*/ 38777 h 265318"/>
                  <a:gd name="connsiteX5" fmla="*/ 89766 w 222562"/>
                  <a:gd name="connsiteY5" fmla="*/ 50083 h 265318"/>
                  <a:gd name="connsiteX6" fmla="*/ 94513 w 222562"/>
                  <a:gd name="connsiteY6" fmla="*/ 52334 h 265318"/>
                  <a:gd name="connsiteX7" fmla="*/ 107137 w 222562"/>
                  <a:gd name="connsiteY7" fmla="*/ 53486 h 265318"/>
                  <a:gd name="connsiteX8" fmla="*/ 119157 w 222562"/>
                  <a:gd name="connsiteY8" fmla="*/ 48958 h 265318"/>
                  <a:gd name="connsiteX9" fmla="*/ 129421 w 222562"/>
                  <a:gd name="connsiteY9" fmla="*/ 55737 h 265318"/>
                  <a:gd name="connsiteX10" fmla="*/ 131013 w 222562"/>
                  <a:gd name="connsiteY10" fmla="*/ 59304 h 265318"/>
                  <a:gd name="connsiteX11" fmla="*/ 129915 w 222562"/>
                  <a:gd name="connsiteY11" fmla="*/ 64409 h 265318"/>
                  <a:gd name="connsiteX12" fmla="*/ 136008 w 222562"/>
                  <a:gd name="connsiteY12" fmla="*/ 66796 h 265318"/>
                  <a:gd name="connsiteX13" fmla="*/ 137078 w 222562"/>
                  <a:gd name="connsiteY13" fmla="*/ 71791 h 265318"/>
                  <a:gd name="connsiteX14" fmla="*/ 142429 w 222562"/>
                  <a:gd name="connsiteY14" fmla="*/ 76484 h 265318"/>
                  <a:gd name="connsiteX15" fmla="*/ 137928 w 222562"/>
                  <a:gd name="connsiteY15" fmla="*/ 85156 h 265318"/>
                  <a:gd name="connsiteX16" fmla="*/ 133153 w 222562"/>
                  <a:gd name="connsiteY16" fmla="*/ 89382 h 265318"/>
                  <a:gd name="connsiteX17" fmla="*/ 117346 w 222562"/>
                  <a:gd name="connsiteY17" fmla="*/ 88696 h 265318"/>
                  <a:gd name="connsiteX18" fmla="*/ 117730 w 222562"/>
                  <a:gd name="connsiteY18" fmla="*/ 94404 h 265318"/>
                  <a:gd name="connsiteX19" fmla="*/ 113669 w 222562"/>
                  <a:gd name="connsiteY19" fmla="*/ 100167 h 265318"/>
                  <a:gd name="connsiteX20" fmla="*/ 136008 w 222562"/>
                  <a:gd name="connsiteY20" fmla="*/ 114931 h 265318"/>
                  <a:gd name="connsiteX21" fmla="*/ 148055 w 222562"/>
                  <a:gd name="connsiteY21" fmla="*/ 119679 h 265318"/>
                  <a:gd name="connsiteX22" fmla="*/ 148137 w 222562"/>
                  <a:gd name="connsiteY22" fmla="*/ 126430 h 265318"/>
                  <a:gd name="connsiteX23" fmla="*/ 150360 w 222562"/>
                  <a:gd name="connsiteY23" fmla="*/ 130519 h 265318"/>
                  <a:gd name="connsiteX24" fmla="*/ 159059 w 222562"/>
                  <a:gd name="connsiteY24" fmla="*/ 136200 h 265318"/>
                  <a:gd name="connsiteX25" fmla="*/ 167018 w 222562"/>
                  <a:gd name="connsiteY25" fmla="*/ 150497 h 265318"/>
                  <a:gd name="connsiteX26" fmla="*/ 182551 w 222562"/>
                  <a:gd name="connsiteY26" fmla="*/ 164109 h 265318"/>
                  <a:gd name="connsiteX27" fmla="*/ 189164 w 222562"/>
                  <a:gd name="connsiteY27" fmla="*/ 172781 h 265318"/>
                  <a:gd name="connsiteX28" fmla="*/ 190701 w 222562"/>
                  <a:gd name="connsiteY28" fmla="*/ 181590 h 265318"/>
                  <a:gd name="connsiteX29" fmla="*/ 193830 w 222562"/>
                  <a:gd name="connsiteY29" fmla="*/ 187216 h 265318"/>
                  <a:gd name="connsiteX30" fmla="*/ 199154 w 222562"/>
                  <a:gd name="connsiteY30" fmla="*/ 186695 h 265318"/>
                  <a:gd name="connsiteX31" fmla="*/ 208951 w 222562"/>
                  <a:gd name="connsiteY31" fmla="*/ 196656 h 265318"/>
                  <a:gd name="connsiteX32" fmla="*/ 215894 w 222562"/>
                  <a:gd name="connsiteY32" fmla="*/ 198907 h 265318"/>
                  <a:gd name="connsiteX33" fmla="*/ 215565 w 222562"/>
                  <a:gd name="connsiteY33" fmla="*/ 203490 h 265318"/>
                  <a:gd name="connsiteX34" fmla="*/ 210405 w 222562"/>
                  <a:gd name="connsiteY34" fmla="*/ 208978 h 265318"/>
                  <a:gd name="connsiteX35" fmla="*/ 214824 w 222562"/>
                  <a:gd name="connsiteY35" fmla="*/ 216635 h 265318"/>
                  <a:gd name="connsiteX36" fmla="*/ 222563 w 222562"/>
                  <a:gd name="connsiteY36" fmla="*/ 222809 h 265318"/>
                  <a:gd name="connsiteX37" fmla="*/ 218089 w 222562"/>
                  <a:gd name="connsiteY37" fmla="*/ 233128 h 265318"/>
                  <a:gd name="connsiteX38" fmla="*/ 219626 w 222562"/>
                  <a:gd name="connsiteY38" fmla="*/ 242129 h 265318"/>
                  <a:gd name="connsiteX39" fmla="*/ 215949 w 222562"/>
                  <a:gd name="connsiteY39" fmla="*/ 246301 h 265318"/>
                  <a:gd name="connsiteX40" fmla="*/ 212299 w 222562"/>
                  <a:gd name="connsiteY40" fmla="*/ 245752 h 265318"/>
                  <a:gd name="connsiteX41" fmla="*/ 209801 w 222562"/>
                  <a:gd name="connsiteY41" fmla="*/ 249045 h 265318"/>
                  <a:gd name="connsiteX42" fmla="*/ 201102 w 222562"/>
                  <a:gd name="connsiteY42" fmla="*/ 253024 h 265318"/>
                  <a:gd name="connsiteX43" fmla="*/ 197892 w 222562"/>
                  <a:gd name="connsiteY43" fmla="*/ 253024 h 265318"/>
                  <a:gd name="connsiteX44" fmla="*/ 189659 w 222562"/>
                  <a:gd name="connsiteY44" fmla="*/ 245697 h 265318"/>
                  <a:gd name="connsiteX45" fmla="*/ 185240 w 222562"/>
                  <a:gd name="connsiteY45" fmla="*/ 249155 h 265318"/>
                  <a:gd name="connsiteX46" fmla="*/ 181700 w 222562"/>
                  <a:gd name="connsiteY46" fmla="*/ 248963 h 265318"/>
                  <a:gd name="connsiteX47" fmla="*/ 179724 w 222562"/>
                  <a:gd name="connsiteY47" fmla="*/ 251268 h 265318"/>
                  <a:gd name="connsiteX48" fmla="*/ 175800 w 222562"/>
                  <a:gd name="connsiteY48" fmla="*/ 252036 h 265318"/>
                  <a:gd name="connsiteX49" fmla="*/ 174976 w 222562"/>
                  <a:gd name="connsiteY49" fmla="*/ 255110 h 265318"/>
                  <a:gd name="connsiteX50" fmla="*/ 178736 w 222562"/>
                  <a:gd name="connsiteY50" fmla="*/ 261147 h 265318"/>
                  <a:gd name="connsiteX51" fmla="*/ 176046 w 222562"/>
                  <a:gd name="connsiteY51" fmla="*/ 265319 h 265318"/>
                  <a:gd name="connsiteX52" fmla="*/ 170997 w 222562"/>
                  <a:gd name="connsiteY52" fmla="*/ 264715 h 265318"/>
                  <a:gd name="connsiteX53" fmla="*/ 166634 w 222562"/>
                  <a:gd name="connsiteY53" fmla="*/ 260269 h 265318"/>
                  <a:gd name="connsiteX54" fmla="*/ 162352 w 222562"/>
                  <a:gd name="connsiteY54" fmla="*/ 258787 h 265318"/>
                  <a:gd name="connsiteX55" fmla="*/ 154888 w 222562"/>
                  <a:gd name="connsiteY55" fmla="*/ 259281 h 265318"/>
                  <a:gd name="connsiteX56" fmla="*/ 150388 w 222562"/>
                  <a:gd name="connsiteY56" fmla="*/ 252585 h 265318"/>
                  <a:gd name="connsiteX57" fmla="*/ 156535 w 222562"/>
                  <a:gd name="connsiteY57" fmla="*/ 250280 h 265318"/>
                  <a:gd name="connsiteX58" fmla="*/ 159279 w 222562"/>
                  <a:gd name="connsiteY58" fmla="*/ 246740 h 265318"/>
                  <a:gd name="connsiteX59" fmla="*/ 161859 w 222562"/>
                  <a:gd name="connsiteY59" fmla="*/ 233979 h 265318"/>
                  <a:gd name="connsiteX60" fmla="*/ 159197 w 222562"/>
                  <a:gd name="connsiteY60" fmla="*/ 228408 h 265318"/>
                  <a:gd name="connsiteX61" fmla="*/ 160926 w 222562"/>
                  <a:gd name="connsiteY61" fmla="*/ 223935 h 265318"/>
                  <a:gd name="connsiteX62" fmla="*/ 159444 w 222562"/>
                  <a:gd name="connsiteY62" fmla="*/ 221630 h 265318"/>
                  <a:gd name="connsiteX63" fmla="*/ 162462 w 222562"/>
                  <a:gd name="connsiteY63" fmla="*/ 212930 h 265318"/>
                  <a:gd name="connsiteX64" fmla="*/ 156535 w 222562"/>
                  <a:gd name="connsiteY64" fmla="*/ 207963 h 265318"/>
                  <a:gd name="connsiteX65" fmla="*/ 154449 w 222562"/>
                  <a:gd name="connsiteY65" fmla="*/ 201788 h 265318"/>
                  <a:gd name="connsiteX66" fmla="*/ 145942 w 222562"/>
                  <a:gd name="connsiteY66" fmla="*/ 198029 h 265318"/>
                  <a:gd name="connsiteX67" fmla="*/ 137764 w 222562"/>
                  <a:gd name="connsiteY67" fmla="*/ 186173 h 265318"/>
                  <a:gd name="connsiteX68" fmla="*/ 136886 w 222562"/>
                  <a:gd name="connsiteY68" fmla="*/ 172012 h 265318"/>
                  <a:gd name="connsiteX69" fmla="*/ 138450 w 222562"/>
                  <a:gd name="connsiteY69" fmla="*/ 162655 h 265318"/>
                  <a:gd name="connsiteX70" fmla="*/ 136145 w 222562"/>
                  <a:gd name="connsiteY70" fmla="*/ 156260 h 265318"/>
                  <a:gd name="connsiteX71" fmla="*/ 128571 w 222562"/>
                  <a:gd name="connsiteY71" fmla="*/ 150387 h 265318"/>
                  <a:gd name="connsiteX72" fmla="*/ 114327 w 222562"/>
                  <a:gd name="connsiteY72" fmla="*/ 131205 h 265318"/>
                  <a:gd name="connsiteX73" fmla="*/ 96572 w 222562"/>
                  <a:gd name="connsiteY73" fmla="*/ 127582 h 265318"/>
                  <a:gd name="connsiteX74" fmla="*/ 86473 w 222562"/>
                  <a:gd name="connsiteY74" fmla="*/ 140837 h 265318"/>
                  <a:gd name="connsiteX75" fmla="*/ 76319 w 222562"/>
                  <a:gd name="connsiteY75" fmla="*/ 145338 h 265318"/>
                  <a:gd name="connsiteX76" fmla="*/ 59195 w 222562"/>
                  <a:gd name="connsiteY76" fmla="*/ 134855 h 265318"/>
                  <a:gd name="connsiteX77" fmla="*/ 50028 w 222562"/>
                  <a:gd name="connsiteY77" fmla="*/ 139739 h 265318"/>
                  <a:gd name="connsiteX78" fmla="*/ 31971 w 222562"/>
                  <a:gd name="connsiteY78" fmla="*/ 156205 h 265318"/>
                  <a:gd name="connsiteX79" fmla="*/ 28184 w 222562"/>
                  <a:gd name="connsiteY79" fmla="*/ 154998 h 265318"/>
                  <a:gd name="connsiteX80" fmla="*/ 26729 w 222562"/>
                  <a:gd name="connsiteY80" fmla="*/ 153296 h 265318"/>
                  <a:gd name="connsiteX81" fmla="*/ 26812 w 222562"/>
                  <a:gd name="connsiteY81" fmla="*/ 148274 h 265318"/>
                  <a:gd name="connsiteX82" fmla="*/ 31917 w 222562"/>
                  <a:gd name="connsiteY82" fmla="*/ 137132 h 265318"/>
                  <a:gd name="connsiteX83" fmla="*/ 31724 w 222562"/>
                  <a:gd name="connsiteY83" fmla="*/ 131260 h 265318"/>
                  <a:gd name="connsiteX84" fmla="*/ 29556 w 222562"/>
                  <a:gd name="connsiteY84" fmla="*/ 126238 h 265318"/>
                  <a:gd name="connsiteX85" fmla="*/ 33618 w 222562"/>
                  <a:gd name="connsiteY85" fmla="*/ 120145 h 265318"/>
                  <a:gd name="connsiteX86" fmla="*/ 36417 w 222562"/>
                  <a:gd name="connsiteY86" fmla="*/ 108592 h 265318"/>
                  <a:gd name="connsiteX87" fmla="*/ 33425 w 222562"/>
                  <a:gd name="connsiteY87" fmla="*/ 98822 h 265318"/>
                  <a:gd name="connsiteX88" fmla="*/ 34469 w 222562"/>
                  <a:gd name="connsiteY88" fmla="*/ 92757 h 265318"/>
                  <a:gd name="connsiteX89" fmla="*/ 26181 w 222562"/>
                  <a:gd name="connsiteY89" fmla="*/ 90287 h 265318"/>
                  <a:gd name="connsiteX90" fmla="*/ 19951 w 222562"/>
                  <a:gd name="connsiteY90" fmla="*/ 93114 h 265318"/>
                  <a:gd name="connsiteX91" fmla="*/ 12542 w 222562"/>
                  <a:gd name="connsiteY91" fmla="*/ 91989 h 265318"/>
                  <a:gd name="connsiteX92" fmla="*/ 10264 w 222562"/>
                  <a:gd name="connsiteY92" fmla="*/ 85375 h 265318"/>
                  <a:gd name="connsiteX93" fmla="*/ 13557 w 222562"/>
                  <a:gd name="connsiteY93" fmla="*/ 73739 h 265318"/>
                  <a:gd name="connsiteX94" fmla="*/ 7245 w 222562"/>
                  <a:gd name="connsiteY94" fmla="*/ 66577 h 265318"/>
                  <a:gd name="connsiteX95" fmla="*/ 1071 w 222562"/>
                  <a:gd name="connsiteY95" fmla="*/ 69623 h 265318"/>
                  <a:gd name="connsiteX96" fmla="*/ 0 w 222562"/>
                  <a:gd name="connsiteY96" fmla="*/ 67345 h 265318"/>
                  <a:gd name="connsiteX97" fmla="*/ 5050 w 222562"/>
                  <a:gd name="connsiteY97" fmla="*/ 55023 h 265318"/>
                  <a:gd name="connsiteX98" fmla="*/ 15176 w 222562"/>
                  <a:gd name="connsiteY98" fmla="*/ 51291 h 265318"/>
                  <a:gd name="connsiteX99" fmla="*/ 13008 w 222562"/>
                  <a:gd name="connsiteY99" fmla="*/ 49809 h 265318"/>
                  <a:gd name="connsiteX100" fmla="*/ 13173 w 222562"/>
                  <a:gd name="connsiteY100" fmla="*/ 47970 h 265318"/>
                  <a:gd name="connsiteX101" fmla="*/ 16905 w 222562"/>
                  <a:gd name="connsiteY101" fmla="*/ 43662 h 265318"/>
                  <a:gd name="connsiteX102" fmla="*/ 18909 w 222562"/>
                  <a:gd name="connsiteY102" fmla="*/ 37926 h 265318"/>
                  <a:gd name="connsiteX103" fmla="*/ 26674 w 222562"/>
                  <a:gd name="connsiteY103" fmla="*/ 34660 h 265318"/>
                  <a:gd name="connsiteX104" fmla="*/ 31148 w 222562"/>
                  <a:gd name="connsiteY104" fmla="*/ 29172 h 265318"/>
                  <a:gd name="connsiteX105" fmla="*/ 33041 w 222562"/>
                  <a:gd name="connsiteY105" fmla="*/ 30352 h 265318"/>
                  <a:gd name="connsiteX106" fmla="*/ 35045 w 222562"/>
                  <a:gd name="connsiteY106" fmla="*/ 40698 h 265318"/>
                  <a:gd name="connsiteX107" fmla="*/ 42043 w 222562"/>
                  <a:gd name="connsiteY107" fmla="*/ 39161 h 265318"/>
                  <a:gd name="connsiteX108" fmla="*/ 48464 w 222562"/>
                  <a:gd name="connsiteY108" fmla="*/ 42152 h 265318"/>
                  <a:gd name="connsiteX109" fmla="*/ 51538 w 222562"/>
                  <a:gd name="connsiteY109" fmla="*/ 41658 h 265318"/>
                  <a:gd name="connsiteX110" fmla="*/ 48546 w 222562"/>
                  <a:gd name="connsiteY110" fmla="*/ 35539 h 265318"/>
                  <a:gd name="connsiteX111" fmla="*/ 50715 w 222562"/>
                  <a:gd name="connsiteY111" fmla="*/ 27306 h 265318"/>
                  <a:gd name="connsiteX112" fmla="*/ 48959 w 222562"/>
                  <a:gd name="connsiteY112" fmla="*/ 20198 h 265318"/>
                  <a:gd name="connsiteX113" fmla="*/ 44952 w 222562"/>
                  <a:gd name="connsiteY113" fmla="*/ 16027 h 265318"/>
                  <a:gd name="connsiteX114" fmla="*/ 43744 w 222562"/>
                  <a:gd name="connsiteY114" fmla="*/ 7163 h 265318"/>
                  <a:gd name="connsiteX115" fmla="*/ 48629 w 222562"/>
                  <a:gd name="connsiteY115" fmla="*/ 0 h 265318"/>
                  <a:gd name="connsiteX116" fmla="*/ 52444 w 222562"/>
                  <a:gd name="connsiteY116" fmla="*/ 2744 h 265318"/>
                  <a:gd name="connsiteX117" fmla="*/ 57274 w 222562"/>
                  <a:gd name="connsiteY117" fmla="*/ 1207 h 265318"/>
                  <a:gd name="connsiteX118" fmla="*/ 60484 w 222562"/>
                  <a:gd name="connsiteY118" fmla="*/ 2634 h 26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22562" h="265318">
                    <a:moveTo>
                      <a:pt x="60402" y="2607"/>
                    </a:moveTo>
                    <a:lnTo>
                      <a:pt x="74124" y="18359"/>
                    </a:lnTo>
                    <a:lnTo>
                      <a:pt x="83783" y="23875"/>
                    </a:lnTo>
                    <a:lnTo>
                      <a:pt x="84552" y="30022"/>
                    </a:lnTo>
                    <a:lnTo>
                      <a:pt x="81286" y="38777"/>
                    </a:lnTo>
                    <a:lnTo>
                      <a:pt x="89766" y="50083"/>
                    </a:lnTo>
                    <a:lnTo>
                      <a:pt x="94513" y="52334"/>
                    </a:lnTo>
                    <a:lnTo>
                      <a:pt x="107137" y="53486"/>
                    </a:lnTo>
                    <a:lnTo>
                      <a:pt x="119157" y="48958"/>
                    </a:lnTo>
                    <a:lnTo>
                      <a:pt x="129421" y="55737"/>
                    </a:lnTo>
                    <a:lnTo>
                      <a:pt x="131013" y="59304"/>
                    </a:lnTo>
                    <a:lnTo>
                      <a:pt x="129915" y="64409"/>
                    </a:lnTo>
                    <a:lnTo>
                      <a:pt x="136008" y="66796"/>
                    </a:lnTo>
                    <a:lnTo>
                      <a:pt x="137078" y="71791"/>
                    </a:lnTo>
                    <a:lnTo>
                      <a:pt x="142429" y="76484"/>
                    </a:lnTo>
                    <a:lnTo>
                      <a:pt x="137928" y="85156"/>
                    </a:lnTo>
                    <a:lnTo>
                      <a:pt x="133153" y="89382"/>
                    </a:lnTo>
                    <a:lnTo>
                      <a:pt x="117346" y="88696"/>
                    </a:lnTo>
                    <a:lnTo>
                      <a:pt x="117730" y="94404"/>
                    </a:lnTo>
                    <a:lnTo>
                      <a:pt x="113669" y="100167"/>
                    </a:lnTo>
                    <a:lnTo>
                      <a:pt x="136008" y="114931"/>
                    </a:lnTo>
                    <a:lnTo>
                      <a:pt x="148055" y="119679"/>
                    </a:lnTo>
                    <a:lnTo>
                      <a:pt x="148137" y="126430"/>
                    </a:lnTo>
                    <a:lnTo>
                      <a:pt x="150360" y="130519"/>
                    </a:lnTo>
                    <a:lnTo>
                      <a:pt x="159059" y="136200"/>
                    </a:lnTo>
                    <a:lnTo>
                      <a:pt x="167018" y="150497"/>
                    </a:lnTo>
                    <a:lnTo>
                      <a:pt x="182551" y="164109"/>
                    </a:lnTo>
                    <a:lnTo>
                      <a:pt x="189164" y="172781"/>
                    </a:lnTo>
                    <a:lnTo>
                      <a:pt x="190701" y="181590"/>
                    </a:lnTo>
                    <a:lnTo>
                      <a:pt x="193830" y="187216"/>
                    </a:lnTo>
                    <a:lnTo>
                      <a:pt x="199154" y="186695"/>
                    </a:lnTo>
                    <a:lnTo>
                      <a:pt x="208951" y="196656"/>
                    </a:lnTo>
                    <a:lnTo>
                      <a:pt x="215894" y="198907"/>
                    </a:lnTo>
                    <a:lnTo>
                      <a:pt x="215565" y="203490"/>
                    </a:lnTo>
                    <a:lnTo>
                      <a:pt x="210405" y="208978"/>
                    </a:lnTo>
                    <a:lnTo>
                      <a:pt x="214824" y="216635"/>
                    </a:lnTo>
                    <a:lnTo>
                      <a:pt x="222563" y="222809"/>
                    </a:lnTo>
                    <a:lnTo>
                      <a:pt x="218089" y="233128"/>
                    </a:lnTo>
                    <a:lnTo>
                      <a:pt x="219626" y="242129"/>
                    </a:lnTo>
                    <a:lnTo>
                      <a:pt x="215949" y="246301"/>
                    </a:lnTo>
                    <a:lnTo>
                      <a:pt x="212299" y="245752"/>
                    </a:lnTo>
                    <a:lnTo>
                      <a:pt x="209801" y="249045"/>
                    </a:lnTo>
                    <a:lnTo>
                      <a:pt x="201102" y="253024"/>
                    </a:lnTo>
                    <a:lnTo>
                      <a:pt x="197892" y="253024"/>
                    </a:lnTo>
                    <a:lnTo>
                      <a:pt x="189659" y="245697"/>
                    </a:lnTo>
                    <a:lnTo>
                      <a:pt x="185240" y="249155"/>
                    </a:lnTo>
                    <a:lnTo>
                      <a:pt x="181700" y="248963"/>
                    </a:lnTo>
                    <a:lnTo>
                      <a:pt x="179724" y="251268"/>
                    </a:lnTo>
                    <a:lnTo>
                      <a:pt x="175800" y="252036"/>
                    </a:lnTo>
                    <a:lnTo>
                      <a:pt x="174976" y="255110"/>
                    </a:lnTo>
                    <a:lnTo>
                      <a:pt x="178736" y="261147"/>
                    </a:lnTo>
                    <a:lnTo>
                      <a:pt x="176046" y="265319"/>
                    </a:lnTo>
                    <a:lnTo>
                      <a:pt x="170997" y="264715"/>
                    </a:lnTo>
                    <a:lnTo>
                      <a:pt x="166634" y="260269"/>
                    </a:lnTo>
                    <a:lnTo>
                      <a:pt x="162352" y="258787"/>
                    </a:lnTo>
                    <a:lnTo>
                      <a:pt x="154888" y="259281"/>
                    </a:lnTo>
                    <a:lnTo>
                      <a:pt x="150388" y="252585"/>
                    </a:lnTo>
                    <a:lnTo>
                      <a:pt x="156535" y="250280"/>
                    </a:lnTo>
                    <a:lnTo>
                      <a:pt x="159279" y="246740"/>
                    </a:lnTo>
                    <a:lnTo>
                      <a:pt x="161859" y="233979"/>
                    </a:lnTo>
                    <a:lnTo>
                      <a:pt x="159197" y="228408"/>
                    </a:lnTo>
                    <a:lnTo>
                      <a:pt x="160926" y="223935"/>
                    </a:lnTo>
                    <a:lnTo>
                      <a:pt x="159444" y="221630"/>
                    </a:lnTo>
                    <a:lnTo>
                      <a:pt x="162462" y="212930"/>
                    </a:lnTo>
                    <a:lnTo>
                      <a:pt x="156535" y="207963"/>
                    </a:lnTo>
                    <a:lnTo>
                      <a:pt x="154449" y="201788"/>
                    </a:lnTo>
                    <a:lnTo>
                      <a:pt x="145942" y="198029"/>
                    </a:lnTo>
                    <a:lnTo>
                      <a:pt x="137764" y="186173"/>
                    </a:lnTo>
                    <a:lnTo>
                      <a:pt x="136886" y="172012"/>
                    </a:lnTo>
                    <a:lnTo>
                      <a:pt x="138450" y="162655"/>
                    </a:lnTo>
                    <a:lnTo>
                      <a:pt x="136145" y="156260"/>
                    </a:lnTo>
                    <a:lnTo>
                      <a:pt x="128571" y="150387"/>
                    </a:lnTo>
                    <a:lnTo>
                      <a:pt x="114327" y="131205"/>
                    </a:lnTo>
                    <a:lnTo>
                      <a:pt x="96572" y="127582"/>
                    </a:lnTo>
                    <a:lnTo>
                      <a:pt x="86473" y="140837"/>
                    </a:lnTo>
                    <a:lnTo>
                      <a:pt x="76319" y="145338"/>
                    </a:lnTo>
                    <a:lnTo>
                      <a:pt x="59195" y="134855"/>
                    </a:lnTo>
                    <a:lnTo>
                      <a:pt x="50028" y="139739"/>
                    </a:lnTo>
                    <a:lnTo>
                      <a:pt x="31971" y="156205"/>
                    </a:lnTo>
                    <a:lnTo>
                      <a:pt x="28184" y="154998"/>
                    </a:lnTo>
                    <a:lnTo>
                      <a:pt x="26729" y="153296"/>
                    </a:lnTo>
                    <a:lnTo>
                      <a:pt x="26812" y="148274"/>
                    </a:lnTo>
                    <a:lnTo>
                      <a:pt x="31917" y="137132"/>
                    </a:lnTo>
                    <a:lnTo>
                      <a:pt x="31724" y="131260"/>
                    </a:lnTo>
                    <a:lnTo>
                      <a:pt x="29556" y="126238"/>
                    </a:lnTo>
                    <a:lnTo>
                      <a:pt x="33618" y="120145"/>
                    </a:lnTo>
                    <a:lnTo>
                      <a:pt x="36417" y="108592"/>
                    </a:lnTo>
                    <a:lnTo>
                      <a:pt x="33425" y="98822"/>
                    </a:lnTo>
                    <a:lnTo>
                      <a:pt x="34469" y="92757"/>
                    </a:lnTo>
                    <a:lnTo>
                      <a:pt x="26181" y="90287"/>
                    </a:lnTo>
                    <a:lnTo>
                      <a:pt x="19951" y="93114"/>
                    </a:lnTo>
                    <a:lnTo>
                      <a:pt x="12542" y="91989"/>
                    </a:lnTo>
                    <a:lnTo>
                      <a:pt x="10264" y="85375"/>
                    </a:lnTo>
                    <a:lnTo>
                      <a:pt x="13557" y="73739"/>
                    </a:lnTo>
                    <a:lnTo>
                      <a:pt x="7245" y="66577"/>
                    </a:lnTo>
                    <a:lnTo>
                      <a:pt x="1071" y="69623"/>
                    </a:lnTo>
                    <a:lnTo>
                      <a:pt x="0" y="67345"/>
                    </a:lnTo>
                    <a:lnTo>
                      <a:pt x="5050" y="55023"/>
                    </a:lnTo>
                    <a:lnTo>
                      <a:pt x="15176" y="51291"/>
                    </a:lnTo>
                    <a:lnTo>
                      <a:pt x="13008" y="49809"/>
                    </a:lnTo>
                    <a:lnTo>
                      <a:pt x="13173" y="47970"/>
                    </a:lnTo>
                    <a:lnTo>
                      <a:pt x="16905" y="43662"/>
                    </a:lnTo>
                    <a:lnTo>
                      <a:pt x="18909" y="37926"/>
                    </a:lnTo>
                    <a:lnTo>
                      <a:pt x="26674" y="34660"/>
                    </a:lnTo>
                    <a:lnTo>
                      <a:pt x="31148" y="29172"/>
                    </a:lnTo>
                    <a:lnTo>
                      <a:pt x="33041" y="30352"/>
                    </a:lnTo>
                    <a:lnTo>
                      <a:pt x="35045" y="40698"/>
                    </a:lnTo>
                    <a:lnTo>
                      <a:pt x="42043" y="39161"/>
                    </a:lnTo>
                    <a:lnTo>
                      <a:pt x="48464" y="42152"/>
                    </a:lnTo>
                    <a:lnTo>
                      <a:pt x="51538" y="41658"/>
                    </a:lnTo>
                    <a:lnTo>
                      <a:pt x="48546" y="35539"/>
                    </a:lnTo>
                    <a:lnTo>
                      <a:pt x="50715" y="27306"/>
                    </a:lnTo>
                    <a:lnTo>
                      <a:pt x="48959" y="20198"/>
                    </a:lnTo>
                    <a:lnTo>
                      <a:pt x="44952" y="16027"/>
                    </a:lnTo>
                    <a:lnTo>
                      <a:pt x="43744" y="7163"/>
                    </a:lnTo>
                    <a:lnTo>
                      <a:pt x="48629" y="0"/>
                    </a:lnTo>
                    <a:lnTo>
                      <a:pt x="52444" y="2744"/>
                    </a:lnTo>
                    <a:lnTo>
                      <a:pt x="57274" y="1207"/>
                    </a:lnTo>
                    <a:lnTo>
                      <a:pt x="60484"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6" name="Freeform: Shape 4105">
                <a:extLst>
                  <a:ext uri="{FF2B5EF4-FFF2-40B4-BE49-F238E27FC236}">
                    <a16:creationId xmlns:a16="http://schemas.microsoft.com/office/drawing/2014/main" id="{1F11F343-5BF1-E56C-A9D9-D536D3A7E261}"/>
                  </a:ext>
                </a:extLst>
              </p:cNvPr>
              <p:cNvSpPr/>
              <p:nvPr/>
            </p:nvSpPr>
            <p:spPr>
              <a:xfrm>
                <a:off x="1473078" y="3731031"/>
                <a:ext cx="4628" cy="5796"/>
              </a:xfrm>
              <a:custGeom>
                <a:avLst/>
                <a:gdLst>
                  <a:gd name="connsiteX0" fmla="*/ 15313 w 44375"/>
                  <a:gd name="connsiteY0" fmla="*/ 49809 h 55572"/>
                  <a:gd name="connsiteX1" fmla="*/ 13529 w 44375"/>
                  <a:gd name="connsiteY1" fmla="*/ 49809 h 55572"/>
                  <a:gd name="connsiteX2" fmla="*/ 10126 w 44375"/>
                  <a:gd name="connsiteY2" fmla="*/ 55572 h 55572"/>
                  <a:gd name="connsiteX3" fmla="*/ 0 w 44375"/>
                  <a:gd name="connsiteY3" fmla="*/ 55023 h 55572"/>
                  <a:gd name="connsiteX4" fmla="*/ 10071 w 44375"/>
                  <a:gd name="connsiteY4" fmla="*/ 32355 h 55572"/>
                  <a:gd name="connsiteX5" fmla="*/ 11498 w 44375"/>
                  <a:gd name="connsiteY5" fmla="*/ 27086 h 55572"/>
                  <a:gd name="connsiteX6" fmla="*/ 15286 w 44375"/>
                  <a:gd name="connsiteY6" fmla="*/ 23080 h 55572"/>
                  <a:gd name="connsiteX7" fmla="*/ 16356 w 44375"/>
                  <a:gd name="connsiteY7" fmla="*/ 13502 h 55572"/>
                  <a:gd name="connsiteX8" fmla="*/ 25247 w 44375"/>
                  <a:gd name="connsiteY8" fmla="*/ 4583 h 55572"/>
                  <a:gd name="connsiteX9" fmla="*/ 25659 w 44375"/>
                  <a:gd name="connsiteY9" fmla="*/ 439 h 55572"/>
                  <a:gd name="connsiteX10" fmla="*/ 29776 w 44375"/>
                  <a:gd name="connsiteY10" fmla="*/ 302 h 55572"/>
                  <a:gd name="connsiteX11" fmla="*/ 37377 w 44375"/>
                  <a:gd name="connsiteY11" fmla="*/ 0 h 55572"/>
                  <a:gd name="connsiteX12" fmla="*/ 37789 w 44375"/>
                  <a:gd name="connsiteY12" fmla="*/ 4034 h 55572"/>
                  <a:gd name="connsiteX13" fmla="*/ 41823 w 44375"/>
                  <a:gd name="connsiteY13" fmla="*/ 7437 h 55572"/>
                  <a:gd name="connsiteX14" fmla="*/ 44375 w 44375"/>
                  <a:gd name="connsiteY14" fmla="*/ 14901 h 55572"/>
                  <a:gd name="connsiteX15" fmla="*/ 41110 w 44375"/>
                  <a:gd name="connsiteY15" fmla="*/ 20719 h 55572"/>
                  <a:gd name="connsiteX16" fmla="*/ 35648 w 44375"/>
                  <a:gd name="connsiteY16" fmla="*/ 25028 h 55572"/>
                  <a:gd name="connsiteX17" fmla="*/ 36691 w 44375"/>
                  <a:gd name="connsiteY17" fmla="*/ 28733 h 55572"/>
                  <a:gd name="connsiteX18" fmla="*/ 29803 w 44375"/>
                  <a:gd name="connsiteY18" fmla="*/ 28925 h 55572"/>
                  <a:gd name="connsiteX19" fmla="*/ 28513 w 44375"/>
                  <a:gd name="connsiteY19" fmla="*/ 29529 h 55572"/>
                  <a:gd name="connsiteX20" fmla="*/ 26318 w 44375"/>
                  <a:gd name="connsiteY20" fmla="*/ 32328 h 55572"/>
                  <a:gd name="connsiteX21" fmla="*/ 25083 w 44375"/>
                  <a:gd name="connsiteY21" fmla="*/ 35319 h 55572"/>
                  <a:gd name="connsiteX22" fmla="*/ 27168 w 44375"/>
                  <a:gd name="connsiteY22" fmla="*/ 38695 h 55572"/>
                  <a:gd name="connsiteX23" fmla="*/ 15368 w 44375"/>
                  <a:gd name="connsiteY23" fmla="*/ 49754 h 5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375" h="55572">
                    <a:moveTo>
                      <a:pt x="15313" y="49809"/>
                    </a:moveTo>
                    <a:lnTo>
                      <a:pt x="13529" y="49809"/>
                    </a:lnTo>
                    <a:lnTo>
                      <a:pt x="10126" y="55572"/>
                    </a:lnTo>
                    <a:lnTo>
                      <a:pt x="0" y="55023"/>
                    </a:lnTo>
                    <a:lnTo>
                      <a:pt x="10071" y="32355"/>
                    </a:lnTo>
                    <a:lnTo>
                      <a:pt x="11498" y="27086"/>
                    </a:lnTo>
                    <a:lnTo>
                      <a:pt x="15286" y="23080"/>
                    </a:lnTo>
                    <a:lnTo>
                      <a:pt x="16356" y="13502"/>
                    </a:lnTo>
                    <a:lnTo>
                      <a:pt x="25247" y="4583"/>
                    </a:lnTo>
                    <a:lnTo>
                      <a:pt x="25659" y="439"/>
                    </a:lnTo>
                    <a:lnTo>
                      <a:pt x="29776" y="302"/>
                    </a:lnTo>
                    <a:lnTo>
                      <a:pt x="37377" y="0"/>
                    </a:lnTo>
                    <a:lnTo>
                      <a:pt x="37789" y="4034"/>
                    </a:lnTo>
                    <a:lnTo>
                      <a:pt x="41823" y="7437"/>
                    </a:lnTo>
                    <a:lnTo>
                      <a:pt x="44375" y="14901"/>
                    </a:lnTo>
                    <a:lnTo>
                      <a:pt x="41110" y="20719"/>
                    </a:lnTo>
                    <a:lnTo>
                      <a:pt x="35648" y="25028"/>
                    </a:lnTo>
                    <a:lnTo>
                      <a:pt x="36691" y="28733"/>
                    </a:lnTo>
                    <a:lnTo>
                      <a:pt x="29803" y="28925"/>
                    </a:lnTo>
                    <a:lnTo>
                      <a:pt x="28513" y="29529"/>
                    </a:lnTo>
                    <a:lnTo>
                      <a:pt x="26318" y="32328"/>
                    </a:lnTo>
                    <a:lnTo>
                      <a:pt x="25083" y="35319"/>
                    </a:lnTo>
                    <a:lnTo>
                      <a:pt x="27168" y="38695"/>
                    </a:lnTo>
                    <a:lnTo>
                      <a:pt x="15368" y="497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7" name="Freeform: Shape 4106">
                <a:extLst>
                  <a:ext uri="{FF2B5EF4-FFF2-40B4-BE49-F238E27FC236}">
                    <a16:creationId xmlns:a16="http://schemas.microsoft.com/office/drawing/2014/main" id="{65CB518C-CEAE-ACBC-C40C-08D831E93A6C}"/>
                  </a:ext>
                </a:extLst>
              </p:cNvPr>
              <p:cNvSpPr/>
              <p:nvPr/>
            </p:nvSpPr>
            <p:spPr>
              <a:xfrm>
                <a:off x="1178026" y="3800786"/>
                <a:ext cx="627" cy="1165"/>
              </a:xfrm>
              <a:custGeom>
                <a:avLst/>
                <a:gdLst>
                  <a:gd name="connsiteX0" fmla="*/ 0 w 6010"/>
                  <a:gd name="connsiteY0" fmla="*/ 6449 h 11169"/>
                  <a:gd name="connsiteX1" fmla="*/ 604 w 6010"/>
                  <a:gd name="connsiteY1" fmla="*/ 4803 h 11169"/>
                  <a:gd name="connsiteX2" fmla="*/ 4281 w 6010"/>
                  <a:gd name="connsiteY2" fmla="*/ 0 h 11169"/>
                  <a:gd name="connsiteX3" fmla="*/ 5736 w 6010"/>
                  <a:gd name="connsiteY3" fmla="*/ 1208 h 11169"/>
                  <a:gd name="connsiteX4" fmla="*/ 6010 w 6010"/>
                  <a:gd name="connsiteY4" fmla="*/ 3156 h 11169"/>
                  <a:gd name="connsiteX5" fmla="*/ 5132 w 6010"/>
                  <a:gd name="connsiteY5" fmla="*/ 9879 h 11169"/>
                  <a:gd name="connsiteX6" fmla="*/ 3924 w 6010"/>
                  <a:gd name="connsiteY6" fmla="*/ 11169 h 11169"/>
                  <a:gd name="connsiteX7" fmla="*/ 1482 w 6010"/>
                  <a:gd name="connsiteY7" fmla="*/ 10209 h 11169"/>
                  <a:gd name="connsiteX8" fmla="*/ 82 w 6010"/>
                  <a:gd name="connsiteY8" fmla="*/ 8617 h 11169"/>
                  <a:gd name="connsiteX9" fmla="*/ 27 w 6010"/>
                  <a:gd name="connsiteY9" fmla="*/ 6449 h 1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0" h="11169">
                    <a:moveTo>
                      <a:pt x="0" y="6449"/>
                    </a:moveTo>
                    <a:lnTo>
                      <a:pt x="604" y="4803"/>
                    </a:lnTo>
                    <a:lnTo>
                      <a:pt x="4281" y="0"/>
                    </a:lnTo>
                    <a:lnTo>
                      <a:pt x="5736" y="1208"/>
                    </a:lnTo>
                    <a:lnTo>
                      <a:pt x="6010" y="3156"/>
                    </a:lnTo>
                    <a:lnTo>
                      <a:pt x="5132" y="9879"/>
                    </a:lnTo>
                    <a:lnTo>
                      <a:pt x="3924" y="11169"/>
                    </a:lnTo>
                    <a:lnTo>
                      <a:pt x="1482" y="10209"/>
                    </a:lnTo>
                    <a:lnTo>
                      <a:pt x="82" y="8617"/>
                    </a:lnTo>
                    <a:lnTo>
                      <a:pt x="27" y="644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8" name="Freeform: Shape 4107">
                <a:extLst>
                  <a:ext uri="{FF2B5EF4-FFF2-40B4-BE49-F238E27FC236}">
                    <a16:creationId xmlns:a16="http://schemas.microsoft.com/office/drawing/2014/main" id="{8386956C-0597-A115-76A1-80356F398CC8}"/>
                  </a:ext>
                </a:extLst>
              </p:cNvPr>
              <p:cNvSpPr/>
              <p:nvPr/>
            </p:nvSpPr>
            <p:spPr>
              <a:xfrm>
                <a:off x="1609798" y="3814216"/>
                <a:ext cx="6749" cy="11950"/>
              </a:xfrm>
              <a:custGeom>
                <a:avLst/>
                <a:gdLst>
                  <a:gd name="connsiteX0" fmla="*/ 16850 w 64710"/>
                  <a:gd name="connsiteY0" fmla="*/ 0 h 114574"/>
                  <a:gd name="connsiteX1" fmla="*/ 26839 w 64710"/>
                  <a:gd name="connsiteY1" fmla="*/ 9550 h 114574"/>
                  <a:gd name="connsiteX2" fmla="*/ 33096 w 64710"/>
                  <a:gd name="connsiteY2" fmla="*/ 15286 h 114574"/>
                  <a:gd name="connsiteX3" fmla="*/ 44431 w 64710"/>
                  <a:gd name="connsiteY3" fmla="*/ 32547 h 114574"/>
                  <a:gd name="connsiteX4" fmla="*/ 46187 w 64710"/>
                  <a:gd name="connsiteY4" fmla="*/ 37075 h 114574"/>
                  <a:gd name="connsiteX5" fmla="*/ 45611 w 64710"/>
                  <a:gd name="connsiteY5" fmla="*/ 38914 h 114574"/>
                  <a:gd name="connsiteX6" fmla="*/ 49178 w 64710"/>
                  <a:gd name="connsiteY6" fmla="*/ 39381 h 114574"/>
                  <a:gd name="connsiteX7" fmla="*/ 52993 w 64710"/>
                  <a:gd name="connsiteY7" fmla="*/ 52169 h 114574"/>
                  <a:gd name="connsiteX8" fmla="*/ 61966 w 64710"/>
                  <a:gd name="connsiteY8" fmla="*/ 65451 h 114574"/>
                  <a:gd name="connsiteX9" fmla="*/ 64299 w 64710"/>
                  <a:gd name="connsiteY9" fmla="*/ 73245 h 114574"/>
                  <a:gd name="connsiteX10" fmla="*/ 64711 w 64710"/>
                  <a:gd name="connsiteY10" fmla="*/ 83097 h 114574"/>
                  <a:gd name="connsiteX11" fmla="*/ 59606 w 64710"/>
                  <a:gd name="connsiteY11" fmla="*/ 98383 h 114574"/>
                  <a:gd name="connsiteX12" fmla="*/ 49754 w 64710"/>
                  <a:gd name="connsiteY12" fmla="*/ 106314 h 114574"/>
                  <a:gd name="connsiteX13" fmla="*/ 29007 w 64710"/>
                  <a:gd name="connsiteY13" fmla="*/ 114574 h 114574"/>
                  <a:gd name="connsiteX14" fmla="*/ 17372 w 64710"/>
                  <a:gd name="connsiteY14" fmla="*/ 112955 h 114574"/>
                  <a:gd name="connsiteX15" fmla="*/ 11718 w 64710"/>
                  <a:gd name="connsiteY15" fmla="*/ 107439 h 114574"/>
                  <a:gd name="connsiteX16" fmla="*/ 5626 w 64710"/>
                  <a:gd name="connsiteY16" fmla="*/ 87982 h 114574"/>
                  <a:gd name="connsiteX17" fmla="*/ 2305 w 64710"/>
                  <a:gd name="connsiteY17" fmla="*/ 56121 h 114574"/>
                  <a:gd name="connsiteX18" fmla="*/ 2744 w 64710"/>
                  <a:gd name="connsiteY18" fmla="*/ 53624 h 114574"/>
                  <a:gd name="connsiteX19" fmla="*/ 1208 w 64710"/>
                  <a:gd name="connsiteY19" fmla="*/ 53898 h 114574"/>
                  <a:gd name="connsiteX20" fmla="*/ 137 w 64710"/>
                  <a:gd name="connsiteY20" fmla="*/ 51812 h 114574"/>
                  <a:gd name="connsiteX21" fmla="*/ 1509 w 64710"/>
                  <a:gd name="connsiteY21" fmla="*/ 50303 h 114574"/>
                  <a:gd name="connsiteX22" fmla="*/ 3074 w 64710"/>
                  <a:gd name="connsiteY22" fmla="*/ 51538 h 114574"/>
                  <a:gd name="connsiteX23" fmla="*/ 4474 w 64710"/>
                  <a:gd name="connsiteY23" fmla="*/ 49617 h 114574"/>
                  <a:gd name="connsiteX24" fmla="*/ 3842 w 64710"/>
                  <a:gd name="connsiteY24" fmla="*/ 48492 h 114574"/>
                  <a:gd name="connsiteX25" fmla="*/ 631 w 64710"/>
                  <a:gd name="connsiteY25" fmla="*/ 49837 h 114574"/>
                  <a:gd name="connsiteX26" fmla="*/ 0 w 64710"/>
                  <a:gd name="connsiteY26" fmla="*/ 47120 h 114574"/>
                  <a:gd name="connsiteX27" fmla="*/ 3294 w 64710"/>
                  <a:gd name="connsiteY27" fmla="*/ 46241 h 114574"/>
                  <a:gd name="connsiteX28" fmla="*/ 7959 w 64710"/>
                  <a:gd name="connsiteY28" fmla="*/ 34606 h 114574"/>
                  <a:gd name="connsiteX29" fmla="*/ 7438 w 64710"/>
                  <a:gd name="connsiteY29" fmla="*/ 26784 h 114574"/>
                  <a:gd name="connsiteX30" fmla="*/ 12926 w 64710"/>
                  <a:gd name="connsiteY30" fmla="*/ 18277 h 114574"/>
                  <a:gd name="connsiteX31" fmla="*/ 11691 w 64710"/>
                  <a:gd name="connsiteY31" fmla="*/ 13145 h 114574"/>
                  <a:gd name="connsiteX32" fmla="*/ 15066 w 64710"/>
                  <a:gd name="connsiteY32" fmla="*/ 9605 h 114574"/>
                  <a:gd name="connsiteX33" fmla="*/ 15149 w 64710"/>
                  <a:gd name="connsiteY33" fmla="*/ 8123 h 114574"/>
                  <a:gd name="connsiteX34" fmla="*/ 19677 w 64710"/>
                  <a:gd name="connsiteY34" fmla="*/ 10264 h 114574"/>
                  <a:gd name="connsiteX35" fmla="*/ 21268 w 64710"/>
                  <a:gd name="connsiteY35" fmla="*/ 9605 h 114574"/>
                  <a:gd name="connsiteX36" fmla="*/ 16823 w 64710"/>
                  <a:gd name="connsiteY36" fmla="*/ 5873 h 114574"/>
                  <a:gd name="connsiteX37" fmla="*/ 12432 w 64710"/>
                  <a:gd name="connsiteY37" fmla="*/ 6202 h 114574"/>
                  <a:gd name="connsiteX38" fmla="*/ 7739 w 64710"/>
                  <a:gd name="connsiteY38" fmla="*/ 1482 h 114574"/>
                  <a:gd name="connsiteX39" fmla="*/ 16960 w 64710"/>
                  <a:gd name="connsiteY39" fmla="*/ 55 h 11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710" h="114574">
                    <a:moveTo>
                      <a:pt x="16850" y="0"/>
                    </a:moveTo>
                    <a:lnTo>
                      <a:pt x="26839" y="9550"/>
                    </a:lnTo>
                    <a:lnTo>
                      <a:pt x="33096" y="15286"/>
                    </a:lnTo>
                    <a:lnTo>
                      <a:pt x="44431" y="32547"/>
                    </a:lnTo>
                    <a:lnTo>
                      <a:pt x="46187" y="37075"/>
                    </a:lnTo>
                    <a:lnTo>
                      <a:pt x="45611" y="38914"/>
                    </a:lnTo>
                    <a:lnTo>
                      <a:pt x="49178" y="39381"/>
                    </a:lnTo>
                    <a:lnTo>
                      <a:pt x="52993" y="52169"/>
                    </a:lnTo>
                    <a:lnTo>
                      <a:pt x="61966" y="65451"/>
                    </a:lnTo>
                    <a:lnTo>
                      <a:pt x="64299" y="73245"/>
                    </a:lnTo>
                    <a:lnTo>
                      <a:pt x="64711" y="83097"/>
                    </a:lnTo>
                    <a:lnTo>
                      <a:pt x="59606" y="98383"/>
                    </a:lnTo>
                    <a:lnTo>
                      <a:pt x="49754" y="106314"/>
                    </a:lnTo>
                    <a:lnTo>
                      <a:pt x="29007" y="114574"/>
                    </a:lnTo>
                    <a:lnTo>
                      <a:pt x="17372" y="112955"/>
                    </a:lnTo>
                    <a:lnTo>
                      <a:pt x="11718" y="107439"/>
                    </a:lnTo>
                    <a:lnTo>
                      <a:pt x="5626" y="87982"/>
                    </a:lnTo>
                    <a:lnTo>
                      <a:pt x="2305" y="56121"/>
                    </a:lnTo>
                    <a:lnTo>
                      <a:pt x="2744" y="53624"/>
                    </a:lnTo>
                    <a:lnTo>
                      <a:pt x="1208" y="53898"/>
                    </a:lnTo>
                    <a:lnTo>
                      <a:pt x="137" y="51812"/>
                    </a:lnTo>
                    <a:lnTo>
                      <a:pt x="1509" y="50303"/>
                    </a:lnTo>
                    <a:lnTo>
                      <a:pt x="3074" y="51538"/>
                    </a:lnTo>
                    <a:lnTo>
                      <a:pt x="4474" y="49617"/>
                    </a:lnTo>
                    <a:lnTo>
                      <a:pt x="3842" y="48492"/>
                    </a:lnTo>
                    <a:lnTo>
                      <a:pt x="631" y="49837"/>
                    </a:lnTo>
                    <a:lnTo>
                      <a:pt x="0" y="47120"/>
                    </a:lnTo>
                    <a:lnTo>
                      <a:pt x="3294" y="46241"/>
                    </a:lnTo>
                    <a:lnTo>
                      <a:pt x="7959" y="34606"/>
                    </a:lnTo>
                    <a:lnTo>
                      <a:pt x="7438" y="26784"/>
                    </a:lnTo>
                    <a:lnTo>
                      <a:pt x="12926" y="18277"/>
                    </a:lnTo>
                    <a:lnTo>
                      <a:pt x="11691" y="13145"/>
                    </a:lnTo>
                    <a:lnTo>
                      <a:pt x="15066" y="9605"/>
                    </a:lnTo>
                    <a:lnTo>
                      <a:pt x="15149" y="8123"/>
                    </a:lnTo>
                    <a:lnTo>
                      <a:pt x="19677" y="10264"/>
                    </a:lnTo>
                    <a:lnTo>
                      <a:pt x="21268" y="9605"/>
                    </a:lnTo>
                    <a:lnTo>
                      <a:pt x="16823" y="5873"/>
                    </a:lnTo>
                    <a:lnTo>
                      <a:pt x="12432" y="6202"/>
                    </a:lnTo>
                    <a:lnTo>
                      <a:pt x="7739" y="1482"/>
                    </a:lnTo>
                    <a:lnTo>
                      <a:pt x="16960" y="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09" name="Freeform: Shape 4108">
                <a:extLst>
                  <a:ext uri="{FF2B5EF4-FFF2-40B4-BE49-F238E27FC236}">
                    <a16:creationId xmlns:a16="http://schemas.microsoft.com/office/drawing/2014/main" id="{5A1BD004-88DC-C794-7D25-BB52F030B688}"/>
                  </a:ext>
                </a:extLst>
              </p:cNvPr>
              <p:cNvSpPr/>
              <p:nvPr/>
            </p:nvSpPr>
            <p:spPr>
              <a:xfrm>
                <a:off x="1610089" y="3814479"/>
                <a:ext cx="527" cy="547"/>
              </a:xfrm>
              <a:custGeom>
                <a:avLst/>
                <a:gdLst>
                  <a:gd name="connsiteX0" fmla="*/ 3129 w 5049"/>
                  <a:gd name="connsiteY0" fmla="*/ 3677 h 5241"/>
                  <a:gd name="connsiteX1" fmla="*/ 3184 w 5049"/>
                  <a:gd name="connsiteY1" fmla="*/ 5241 h 5241"/>
                  <a:gd name="connsiteX2" fmla="*/ 1016 w 5049"/>
                  <a:gd name="connsiteY2" fmla="*/ 4885 h 5241"/>
                  <a:gd name="connsiteX3" fmla="*/ 0 w 5049"/>
                  <a:gd name="connsiteY3" fmla="*/ 3677 h 5241"/>
                  <a:gd name="connsiteX4" fmla="*/ 3458 w 5049"/>
                  <a:gd name="connsiteY4" fmla="*/ 0 h 5241"/>
                  <a:gd name="connsiteX5" fmla="*/ 5050 w 5049"/>
                  <a:gd name="connsiteY5" fmla="*/ 1427 h 5241"/>
                  <a:gd name="connsiteX6" fmla="*/ 3156 w 5049"/>
                  <a:gd name="connsiteY6" fmla="*/ 3677 h 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9" h="5241">
                    <a:moveTo>
                      <a:pt x="3129" y="3677"/>
                    </a:moveTo>
                    <a:lnTo>
                      <a:pt x="3184" y="5241"/>
                    </a:lnTo>
                    <a:lnTo>
                      <a:pt x="1016" y="4885"/>
                    </a:lnTo>
                    <a:lnTo>
                      <a:pt x="0" y="3677"/>
                    </a:lnTo>
                    <a:lnTo>
                      <a:pt x="3458" y="0"/>
                    </a:lnTo>
                    <a:lnTo>
                      <a:pt x="5050" y="1427"/>
                    </a:lnTo>
                    <a:lnTo>
                      <a:pt x="3156" y="36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0" name="Freeform: Shape 4109">
                <a:extLst>
                  <a:ext uri="{FF2B5EF4-FFF2-40B4-BE49-F238E27FC236}">
                    <a16:creationId xmlns:a16="http://schemas.microsoft.com/office/drawing/2014/main" id="{5063017A-B9EB-54FC-586A-D5BAB1FA5AC0}"/>
                  </a:ext>
                </a:extLst>
              </p:cNvPr>
              <p:cNvSpPr/>
              <p:nvPr/>
            </p:nvSpPr>
            <p:spPr>
              <a:xfrm>
                <a:off x="1610127" y="3816460"/>
                <a:ext cx="478" cy="447"/>
              </a:xfrm>
              <a:custGeom>
                <a:avLst/>
                <a:gdLst>
                  <a:gd name="connsiteX0" fmla="*/ 4583 w 4582"/>
                  <a:gd name="connsiteY0" fmla="*/ 2333 h 4281"/>
                  <a:gd name="connsiteX1" fmla="*/ 3568 w 4582"/>
                  <a:gd name="connsiteY1" fmla="*/ 4281 h 4281"/>
                  <a:gd name="connsiteX2" fmla="*/ 0 w 4582"/>
                  <a:gd name="connsiteY2" fmla="*/ 659 h 4281"/>
                  <a:gd name="connsiteX3" fmla="*/ 2250 w 4582"/>
                  <a:gd name="connsiteY3" fmla="*/ 0 h 4281"/>
                  <a:gd name="connsiteX4" fmla="*/ 4583 w 4582"/>
                  <a:gd name="connsiteY4" fmla="*/ 2333 h 4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2" h="4281">
                    <a:moveTo>
                      <a:pt x="4583" y="2333"/>
                    </a:moveTo>
                    <a:lnTo>
                      <a:pt x="3568" y="4281"/>
                    </a:lnTo>
                    <a:lnTo>
                      <a:pt x="0" y="659"/>
                    </a:lnTo>
                    <a:lnTo>
                      <a:pt x="2250" y="0"/>
                    </a:lnTo>
                    <a:lnTo>
                      <a:pt x="4583" y="23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1" name="Freeform: Shape 4110">
                <a:extLst>
                  <a:ext uri="{FF2B5EF4-FFF2-40B4-BE49-F238E27FC236}">
                    <a16:creationId xmlns:a16="http://schemas.microsoft.com/office/drawing/2014/main" id="{2D8D257C-1C10-1136-5016-05F73B518953}"/>
                  </a:ext>
                </a:extLst>
              </p:cNvPr>
              <p:cNvSpPr/>
              <p:nvPr/>
            </p:nvSpPr>
            <p:spPr>
              <a:xfrm>
                <a:off x="1609674" y="3814989"/>
                <a:ext cx="401" cy="283"/>
              </a:xfrm>
              <a:custGeom>
                <a:avLst/>
                <a:gdLst>
                  <a:gd name="connsiteX0" fmla="*/ 3842 w 3841"/>
                  <a:gd name="connsiteY0" fmla="*/ 2717 h 2716"/>
                  <a:gd name="connsiteX1" fmla="*/ 1152 w 3841"/>
                  <a:gd name="connsiteY1" fmla="*/ 2717 h 2716"/>
                  <a:gd name="connsiteX2" fmla="*/ 0 w 3841"/>
                  <a:gd name="connsiteY2" fmla="*/ 1592 h 2716"/>
                  <a:gd name="connsiteX3" fmla="*/ 823 w 3841"/>
                  <a:gd name="connsiteY3" fmla="*/ 0 h 2716"/>
                  <a:gd name="connsiteX4" fmla="*/ 3129 w 3841"/>
                  <a:gd name="connsiteY4" fmla="*/ 741 h 2716"/>
                  <a:gd name="connsiteX5" fmla="*/ 3815 w 3841"/>
                  <a:gd name="connsiteY5" fmla="*/ 2689 h 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 h="2716">
                    <a:moveTo>
                      <a:pt x="3842" y="2717"/>
                    </a:moveTo>
                    <a:lnTo>
                      <a:pt x="1152" y="2717"/>
                    </a:lnTo>
                    <a:lnTo>
                      <a:pt x="0" y="1592"/>
                    </a:lnTo>
                    <a:lnTo>
                      <a:pt x="823" y="0"/>
                    </a:lnTo>
                    <a:lnTo>
                      <a:pt x="3129" y="741"/>
                    </a:lnTo>
                    <a:lnTo>
                      <a:pt x="3815" y="26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2" name="Freeform: Shape 4111">
                <a:extLst>
                  <a:ext uri="{FF2B5EF4-FFF2-40B4-BE49-F238E27FC236}">
                    <a16:creationId xmlns:a16="http://schemas.microsoft.com/office/drawing/2014/main" id="{5822D12B-2974-72E6-E4D5-84ADED791B3F}"/>
                  </a:ext>
                </a:extLst>
              </p:cNvPr>
              <p:cNvSpPr/>
              <p:nvPr/>
            </p:nvSpPr>
            <p:spPr>
              <a:xfrm>
                <a:off x="1373589" y="3801450"/>
                <a:ext cx="36764" cy="29923"/>
              </a:xfrm>
              <a:custGeom>
                <a:avLst/>
                <a:gdLst>
                  <a:gd name="connsiteX0" fmla="*/ 109168 w 352477"/>
                  <a:gd name="connsiteY0" fmla="*/ 6888 h 286888"/>
                  <a:gd name="connsiteX1" fmla="*/ 125606 w 352477"/>
                  <a:gd name="connsiteY1" fmla="*/ 26647 h 286888"/>
                  <a:gd name="connsiteX2" fmla="*/ 140124 w 352477"/>
                  <a:gd name="connsiteY2" fmla="*/ 22970 h 286888"/>
                  <a:gd name="connsiteX3" fmla="*/ 152885 w 352477"/>
                  <a:gd name="connsiteY3" fmla="*/ 16658 h 286888"/>
                  <a:gd name="connsiteX4" fmla="*/ 159718 w 352477"/>
                  <a:gd name="connsiteY4" fmla="*/ 18085 h 286888"/>
                  <a:gd name="connsiteX5" fmla="*/ 168555 w 352477"/>
                  <a:gd name="connsiteY5" fmla="*/ 24369 h 286888"/>
                  <a:gd name="connsiteX6" fmla="*/ 183703 w 352477"/>
                  <a:gd name="connsiteY6" fmla="*/ 31120 h 286888"/>
                  <a:gd name="connsiteX7" fmla="*/ 203599 w 352477"/>
                  <a:gd name="connsiteY7" fmla="*/ 32410 h 286888"/>
                  <a:gd name="connsiteX8" fmla="*/ 219461 w 352477"/>
                  <a:gd name="connsiteY8" fmla="*/ 19676 h 286888"/>
                  <a:gd name="connsiteX9" fmla="*/ 236448 w 352477"/>
                  <a:gd name="connsiteY9" fmla="*/ 15807 h 286888"/>
                  <a:gd name="connsiteX10" fmla="*/ 258595 w 352477"/>
                  <a:gd name="connsiteY10" fmla="*/ 15807 h 286888"/>
                  <a:gd name="connsiteX11" fmla="*/ 270725 w 352477"/>
                  <a:gd name="connsiteY11" fmla="*/ 19265 h 286888"/>
                  <a:gd name="connsiteX12" fmla="*/ 277256 w 352477"/>
                  <a:gd name="connsiteY12" fmla="*/ 23354 h 286888"/>
                  <a:gd name="connsiteX13" fmla="*/ 287849 w 352477"/>
                  <a:gd name="connsiteY13" fmla="*/ 24232 h 286888"/>
                  <a:gd name="connsiteX14" fmla="*/ 291856 w 352477"/>
                  <a:gd name="connsiteY14" fmla="*/ 18606 h 286888"/>
                  <a:gd name="connsiteX15" fmla="*/ 300418 w 352477"/>
                  <a:gd name="connsiteY15" fmla="*/ 11938 h 286888"/>
                  <a:gd name="connsiteX16" fmla="*/ 308925 w 352477"/>
                  <a:gd name="connsiteY16" fmla="*/ 10264 h 286888"/>
                  <a:gd name="connsiteX17" fmla="*/ 314112 w 352477"/>
                  <a:gd name="connsiteY17" fmla="*/ 5296 h 286888"/>
                  <a:gd name="connsiteX18" fmla="*/ 322455 w 352477"/>
                  <a:gd name="connsiteY18" fmla="*/ 5132 h 286888"/>
                  <a:gd name="connsiteX19" fmla="*/ 335710 w 352477"/>
                  <a:gd name="connsiteY19" fmla="*/ 24232 h 286888"/>
                  <a:gd name="connsiteX20" fmla="*/ 338866 w 352477"/>
                  <a:gd name="connsiteY20" fmla="*/ 44567 h 286888"/>
                  <a:gd name="connsiteX21" fmla="*/ 347126 w 352477"/>
                  <a:gd name="connsiteY21" fmla="*/ 46269 h 286888"/>
                  <a:gd name="connsiteX22" fmla="*/ 352478 w 352477"/>
                  <a:gd name="connsiteY22" fmla="*/ 52032 h 286888"/>
                  <a:gd name="connsiteX23" fmla="*/ 350008 w 352477"/>
                  <a:gd name="connsiteY23" fmla="*/ 65040 h 286888"/>
                  <a:gd name="connsiteX24" fmla="*/ 351819 w 352477"/>
                  <a:gd name="connsiteY24" fmla="*/ 69348 h 286888"/>
                  <a:gd name="connsiteX25" fmla="*/ 339168 w 352477"/>
                  <a:gd name="connsiteY25" fmla="*/ 78899 h 286888"/>
                  <a:gd name="connsiteX26" fmla="*/ 332225 w 352477"/>
                  <a:gd name="connsiteY26" fmla="*/ 78651 h 286888"/>
                  <a:gd name="connsiteX27" fmla="*/ 321302 w 352477"/>
                  <a:gd name="connsiteY27" fmla="*/ 96187 h 286888"/>
                  <a:gd name="connsiteX28" fmla="*/ 318256 w 352477"/>
                  <a:gd name="connsiteY28" fmla="*/ 109717 h 286888"/>
                  <a:gd name="connsiteX29" fmla="*/ 312026 w 352477"/>
                  <a:gd name="connsiteY29" fmla="*/ 115507 h 286888"/>
                  <a:gd name="connsiteX30" fmla="*/ 309941 w 352477"/>
                  <a:gd name="connsiteY30" fmla="*/ 128543 h 286888"/>
                  <a:gd name="connsiteX31" fmla="*/ 300555 w 352477"/>
                  <a:gd name="connsiteY31" fmla="*/ 135294 h 286888"/>
                  <a:gd name="connsiteX32" fmla="*/ 298717 w 352477"/>
                  <a:gd name="connsiteY32" fmla="*/ 146792 h 286888"/>
                  <a:gd name="connsiteX33" fmla="*/ 297838 w 352477"/>
                  <a:gd name="connsiteY33" fmla="*/ 152199 h 286888"/>
                  <a:gd name="connsiteX34" fmla="*/ 292624 w 352477"/>
                  <a:gd name="connsiteY34" fmla="*/ 157276 h 286888"/>
                  <a:gd name="connsiteX35" fmla="*/ 287959 w 352477"/>
                  <a:gd name="connsiteY35" fmla="*/ 158428 h 286888"/>
                  <a:gd name="connsiteX36" fmla="*/ 283431 w 352477"/>
                  <a:gd name="connsiteY36" fmla="*/ 163780 h 286888"/>
                  <a:gd name="connsiteX37" fmla="*/ 282251 w 352477"/>
                  <a:gd name="connsiteY37" fmla="*/ 165179 h 286888"/>
                  <a:gd name="connsiteX38" fmla="*/ 280000 w 352477"/>
                  <a:gd name="connsiteY38" fmla="*/ 176595 h 286888"/>
                  <a:gd name="connsiteX39" fmla="*/ 275225 w 352477"/>
                  <a:gd name="connsiteY39" fmla="*/ 185240 h 286888"/>
                  <a:gd name="connsiteX40" fmla="*/ 269957 w 352477"/>
                  <a:gd name="connsiteY40" fmla="*/ 201788 h 286888"/>
                  <a:gd name="connsiteX41" fmla="*/ 263343 w 352477"/>
                  <a:gd name="connsiteY41" fmla="*/ 207853 h 286888"/>
                  <a:gd name="connsiteX42" fmla="*/ 259034 w 352477"/>
                  <a:gd name="connsiteY42" fmla="*/ 217431 h 286888"/>
                  <a:gd name="connsiteX43" fmla="*/ 255329 w 352477"/>
                  <a:gd name="connsiteY43" fmla="*/ 219846 h 286888"/>
                  <a:gd name="connsiteX44" fmla="*/ 249923 w 352477"/>
                  <a:gd name="connsiteY44" fmla="*/ 219626 h 286888"/>
                  <a:gd name="connsiteX45" fmla="*/ 233704 w 352477"/>
                  <a:gd name="connsiteY45" fmla="*/ 204258 h 286888"/>
                  <a:gd name="connsiteX46" fmla="*/ 227914 w 352477"/>
                  <a:gd name="connsiteY46" fmla="*/ 208978 h 286888"/>
                  <a:gd name="connsiteX47" fmla="*/ 216525 w 352477"/>
                  <a:gd name="connsiteY47" fmla="*/ 207716 h 286888"/>
                  <a:gd name="connsiteX48" fmla="*/ 209801 w 352477"/>
                  <a:gd name="connsiteY48" fmla="*/ 212793 h 286888"/>
                  <a:gd name="connsiteX49" fmla="*/ 206124 w 352477"/>
                  <a:gd name="connsiteY49" fmla="*/ 219489 h 286888"/>
                  <a:gd name="connsiteX50" fmla="*/ 199840 w 352477"/>
                  <a:gd name="connsiteY50" fmla="*/ 223249 h 286888"/>
                  <a:gd name="connsiteX51" fmla="*/ 183539 w 352477"/>
                  <a:gd name="connsiteY51" fmla="*/ 239330 h 286888"/>
                  <a:gd name="connsiteX52" fmla="*/ 180876 w 352477"/>
                  <a:gd name="connsiteY52" fmla="*/ 257744 h 286888"/>
                  <a:gd name="connsiteX53" fmla="*/ 174839 w 352477"/>
                  <a:gd name="connsiteY53" fmla="*/ 270478 h 286888"/>
                  <a:gd name="connsiteX54" fmla="*/ 174674 w 352477"/>
                  <a:gd name="connsiteY54" fmla="*/ 270478 h 286888"/>
                  <a:gd name="connsiteX55" fmla="*/ 174181 w 352477"/>
                  <a:gd name="connsiteY55" fmla="*/ 270725 h 286888"/>
                  <a:gd name="connsiteX56" fmla="*/ 173714 w 352477"/>
                  <a:gd name="connsiteY56" fmla="*/ 270807 h 286888"/>
                  <a:gd name="connsiteX57" fmla="*/ 173522 w 352477"/>
                  <a:gd name="connsiteY57" fmla="*/ 270752 h 286888"/>
                  <a:gd name="connsiteX58" fmla="*/ 173412 w 352477"/>
                  <a:gd name="connsiteY58" fmla="*/ 270478 h 286888"/>
                  <a:gd name="connsiteX59" fmla="*/ 173193 w 352477"/>
                  <a:gd name="connsiteY59" fmla="*/ 270478 h 286888"/>
                  <a:gd name="connsiteX60" fmla="*/ 172891 w 352477"/>
                  <a:gd name="connsiteY60" fmla="*/ 270643 h 286888"/>
                  <a:gd name="connsiteX61" fmla="*/ 172616 w 352477"/>
                  <a:gd name="connsiteY61" fmla="*/ 270862 h 286888"/>
                  <a:gd name="connsiteX62" fmla="*/ 172205 w 352477"/>
                  <a:gd name="connsiteY62" fmla="*/ 271576 h 286888"/>
                  <a:gd name="connsiteX63" fmla="*/ 172122 w 352477"/>
                  <a:gd name="connsiteY63" fmla="*/ 271685 h 286888"/>
                  <a:gd name="connsiteX64" fmla="*/ 171985 w 352477"/>
                  <a:gd name="connsiteY64" fmla="*/ 271795 h 286888"/>
                  <a:gd name="connsiteX65" fmla="*/ 171820 w 352477"/>
                  <a:gd name="connsiteY65" fmla="*/ 271850 h 286888"/>
                  <a:gd name="connsiteX66" fmla="*/ 171656 w 352477"/>
                  <a:gd name="connsiteY66" fmla="*/ 271850 h 286888"/>
                  <a:gd name="connsiteX67" fmla="*/ 171519 w 352477"/>
                  <a:gd name="connsiteY67" fmla="*/ 271795 h 286888"/>
                  <a:gd name="connsiteX68" fmla="*/ 171381 w 352477"/>
                  <a:gd name="connsiteY68" fmla="*/ 271713 h 286888"/>
                  <a:gd name="connsiteX69" fmla="*/ 171299 w 352477"/>
                  <a:gd name="connsiteY69" fmla="*/ 271631 h 286888"/>
                  <a:gd name="connsiteX70" fmla="*/ 171134 w 352477"/>
                  <a:gd name="connsiteY70" fmla="*/ 271384 h 286888"/>
                  <a:gd name="connsiteX71" fmla="*/ 170476 w 352477"/>
                  <a:gd name="connsiteY71" fmla="*/ 271603 h 286888"/>
                  <a:gd name="connsiteX72" fmla="*/ 170201 w 352477"/>
                  <a:gd name="connsiteY72" fmla="*/ 272070 h 286888"/>
                  <a:gd name="connsiteX73" fmla="*/ 170037 w 352477"/>
                  <a:gd name="connsiteY73" fmla="*/ 272591 h 286888"/>
                  <a:gd name="connsiteX74" fmla="*/ 169707 w 352477"/>
                  <a:gd name="connsiteY74" fmla="*/ 272893 h 286888"/>
                  <a:gd name="connsiteX75" fmla="*/ 169104 w 352477"/>
                  <a:gd name="connsiteY75" fmla="*/ 273085 h 286888"/>
                  <a:gd name="connsiteX76" fmla="*/ 168280 w 352477"/>
                  <a:gd name="connsiteY76" fmla="*/ 272810 h 286888"/>
                  <a:gd name="connsiteX77" fmla="*/ 168088 w 352477"/>
                  <a:gd name="connsiteY77" fmla="*/ 272427 h 286888"/>
                  <a:gd name="connsiteX78" fmla="*/ 168390 w 352477"/>
                  <a:gd name="connsiteY78" fmla="*/ 271987 h 286888"/>
                  <a:gd name="connsiteX79" fmla="*/ 168390 w 352477"/>
                  <a:gd name="connsiteY79" fmla="*/ 271576 h 286888"/>
                  <a:gd name="connsiteX80" fmla="*/ 168747 w 352477"/>
                  <a:gd name="connsiteY80" fmla="*/ 270341 h 286888"/>
                  <a:gd name="connsiteX81" fmla="*/ 168637 w 352477"/>
                  <a:gd name="connsiteY81" fmla="*/ 269737 h 286888"/>
                  <a:gd name="connsiteX82" fmla="*/ 168335 w 352477"/>
                  <a:gd name="connsiteY82" fmla="*/ 269243 h 286888"/>
                  <a:gd name="connsiteX83" fmla="*/ 167978 w 352477"/>
                  <a:gd name="connsiteY83" fmla="*/ 268969 h 286888"/>
                  <a:gd name="connsiteX84" fmla="*/ 167567 w 352477"/>
                  <a:gd name="connsiteY84" fmla="*/ 268969 h 286888"/>
                  <a:gd name="connsiteX85" fmla="*/ 167210 w 352477"/>
                  <a:gd name="connsiteY85" fmla="*/ 268886 h 286888"/>
                  <a:gd name="connsiteX86" fmla="*/ 166771 w 352477"/>
                  <a:gd name="connsiteY86" fmla="*/ 268475 h 286888"/>
                  <a:gd name="connsiteX87" fmla="*/ 166387 w 352477"/>
                  <a:gd name="connsiteY87" fmla="*/ 267788 h 286888"/>
                  <a:gd name="connsiteX88" fmla="*/ 165673 w 352477"/>
                  <a:gd name="connsiteY88" fmla="*/ 267487 h 286888"/>
                  <a:gd name="connsiteX89" fmla="*/ 165536 w 352477"/>
                  <a:gd name="connsiteY89" fmla="*/ 267404 h 286888"/>
                  <a:gd name="connsiteX90" fmla="*/ 165426 w 352477"/>
                  <a:gd name="connsiteY90" fmla="*/ 267267 h 286888"/>
                  <a:gd name="connsiteX91" fmla="*/ 165344 w 352477"/>
                  <a:gd name="connsiteY91" fmla="*/ 267185 h 286888"/>
                  <a:gd name="connsiteX92" fmla="*/ 165207 w 352477"/>
                  <a:gd name="connsiteY92" fmla="*/ 267075 h 286888"/>
                  <a:gd name="connsiteX93" fmla="*/ 165069 w 352477"/>
                  <a:gd name="connsiteY93" fmla="*/ 267020 h 286888"/>
                  <a:gd name="connsiteX94" fmla="*/ 164905 w 352477"/>
                  <a:gd name="connsiteY94" fmla="*/ 267020 h 286888"/>
                  <a:gd name="connsiteX95" fmla="*/ 164740 w 352477"/>
                  <a:gd name="connsiteY95" fmla="*/ 267075 h 286888"/>
                  <a:gd name="connsiteX96" fmla="*/ 164603 w 352477"/>
                  <a:gd name="connsiteY96" fmla="*/ 267157 h 286888"/>
                  <a:gd name="connsiteX97" fmla="*/ 164356 w 352477"/>
                  <a:gd name="connsiteY97" fmla="*/ 267404 h 286888"/>
                  <a:gd name="connsiteX98" fmla="*/ 164301 w 352477"/>
                  <a:gd name="connsiteY98" fmla="*/ 267459 h 286888"/>
                  <a:gd name="connsiteX99" fmla="*/ 164219 w 352477"/>
                  <a:gd name="connsiteY99" fmla="*/ 267597 h 286888"/>
                  <a:gd name="connsiteX100" fmla="*/ 164219 w 352477"/>
                  <a:gd name="connsiteY100" fmla="*/ 267734 h 286888"/>
                  <a:gd name="connsiteX101" fmla="*/ 164219 w 352477"/>
                  <a:gd name="connsiteY101" fmla="*/ 267898 h 286888"/>
                  <a:gd name="connsiteX102" fmla="*/ 164219 w 352477"/>
                  <a:gd name="connsiteY102" fmla="*/ 268255 h 286888"/>
                  <a:gd name="connsiteX103" fmla="*/ 164136 w 352477"/>
                  <a:gd name="connsiteY103" fmla="*/ 268447 h 286888"/>
                  <a:gd name="connsiteX104" fmla="*/ 164054 w 352477"/>
                  <a:gd name="connsiteY104" fmla="*/ 268365 h 286888"/>
                  <a:gd name="connsiteX105" fmla="*/ 163944 w 352477"/>
                  <a:gd name="connsiteY105" fmla="*/ 268228 h 286888"/>
                  <a:gd name="connsiteX106" fmla="*/ 163944 w 352477"/>
                  <a:gd name="connsiteY106" fmla="*/ 268090 h 286888"/>
                  <a:gd name="connsiteX107" fmla="*/ 163862 w 352477"/>
                  <a:gd name="connsiteY107" fmla="*/ 267953 h 286888"/>
                  <a:gd name="connsiteX108" fmla="*/ 163752 w 352477"/>
                  <a:gd name="connsiteY108" fmla="*/ 267816 h 286888"/>
                  <a:gd name="connsiteX109" fmla="*/ 163642 w 352477"/>
                  <a:gd name="connsiteY109" fmla="*/ 267734 h 286888"/>
                  <a:gd name="connsiteX110" fmla="*/ 163478 w 352477"/>
                  <a:gd name="connsiteY110" fmla="*/ 267679 h 286888"/>
                  <a:gd name="connsiteX111" fmla="*/ 163176 w 352477"/>
                  <a:gd name="connsiteY111" fmla="*/ 267679 h 286888"/>
                  <a:gd name="connsiteX112" fmla="*/ 163066 w 352477"/>
                  <a:gd name="connsiteY112" fmla="*/ 267761 h 286888"/>
                  <a:gd name="connsiteX113" fmla="*/ 162737 w 352477"/>
                  <a:gd name="connsiteY113" fmla="*/ 267761 h 286888"/>
                  <a:gd name="connsiteX114" fmla="*/ 162572 w 352477"/>
                  <a:gd name="connsiteY114" fmla="*/ 267624 h 286888"/>
                  <a:gd name="connsiteX115" fmla="*/ 162407 w 352477"/>
                  <a:gd name="connsiteY115" fmla="*/ 267514 h 286888"/>
                  <a:gd name="connsiteX116" fmla="*/ 162243 w 352477"/>
                  <a:gd name="connsiteY116" fmla="*/ 267514 h 286888"/>
                  <a:gd name="connsiteX117" fmla="*/ 162078 w 352477"/>
                  <a:gd name="connsiteY117" fmla="*/ 267514 h 286888"/>
                  <a:gd name="connsiteX118" fmla="*/ 161941 w 352477"/>
                  <a:gd name="connsiteY118" fmla="*/ 267597 h 286888"/>
                  <a:gd name="connsiteX119" fmla="*/ 161804 w 352477"/>
                  <a:gd name="connsiteY119" fmla="*/ 267706 h 286888"/>
                  <a:gd name="connsiteX120" fmla="*/ 161721 w 352477"/>
                  <a:gd name="connsiteY120" fmla="*/ 267843 h 286888"/>
                  <a:gd name="connsiteX121" fmla="*/ 161666 w 352477"/>
                  <a:gd name="connsiteY121" fmla="*/ 268008 h 286888"/>
                  <a:gd name="connsiteX122" fmla="*/ 161666 w 352477"/>
                  <a:gd name="connsiteY122" fmla="*/ 268173 h 286888"/>
                  <a:gd name="connsiteX123" fmla="*/ 161749 w 352477"/>
                  <a:gd name="connsiteY123" fmla="*/ 268310 h 286888"/>
                  <a:gd name="connsiteX124" fmla="*/ 161886 w 352477"/>
                  <a:gd name="connsiteY124" fmla="*/ 268557 h 286888"/>
                  <a:gd name="connsiteX125" fmla="*/ 162490 w 352477"/>
                  <a:gd name="connsiteY125" fmla="*/ 269161 h 286888"/>
                  <a:gd name="connsiteX126" fmla="*/ 163093 w 352477"/>
                  <a:gd name="connsiteY126" fmla="*/ 269984 h 286888"/>
                  <a:gd name="connsiteX127" fmla="*/ 164081 w 352477"/>
                  <a:gd name="connsiteY127" fmla="*/ 270725 h 286888"/>
                  <a:gd name="connsiteX128" fmla="*/ 164960 w 352477"/>
                  <a:gd name="connsiteY128" fmla="*/ 272399 h 286888"/>
                  <a:gd name="connsiteX129" fmla="*/ 164905 w 352477"/>
                  <a:gd name="connsiteY129" fmla="*/ 272920 h 286888"/>
                  <a:gd name="connsiteX130" fmla="*/ 164685 w 352477"/>
                  <a:gd name="connsiteY130" fmla="*/ 273387 h 286888"/>
                  <a:gd name="connsiteX131" fmla="*/ 164383 w 352477"/>
                  <a:gd name="connsiteY131" fmla="*/ 274237 h 286888"/>
                  <a:gd name="connsiteX132" fmla="*/ 164274 w 352477"/>
                  <a:gd name="connsiteY132" fmla="*/ 274320 h 286888"/>
                  <a:gd name="connsiteX133" fmla="*/ 164164 w 352477"/>
                  <a:gd name="connsiteY133" fmla="*/ 274430 h 286888"/>
                  <a:gd name="connsiteX134" fmla="*/ 164109 w 352477"/>
                  <a:gd name="connsiteY134" fmla="*/ 274594 h 286888"/>
                  <a:gd name="connsiteX135" fmla="*/ 164109 w 352477"/>
                  <a:gd name="connsiteY135" fmla="*/ 274759 h 286888"/>
                  <a:gd name="connsiteX136" fmla="*/ 164109 w 352477"/>
                  <a:gd name="connsiteY136" fmla="*/ 274924 h 286888"/>
                  <a:gd name="connsiteX137" fmla="*/ 164191 w 352477"/>
                  <a:gd name="connsiteY137" fmla="*/ 275061 h 286888"/>
                  <a:gd name="connsiteX138" fmla="*/ 164329 w 352477"/>
                  <a:gd name="connsiteY138" fmla="*/ 275171 h 286888"/>
                  <a:gd name="connsiteX139" fmla="*/ 164438 w 352477"/>
                  <a:gd name="connsiteY139" fmla="*/ 275253 h 286888"/>
                  <a:gd name="connsiteX140" fmla="*/ 164575 w 352477"/>
                  <a:gd name="connsiteY140" fmla="*/ 275665 h 286888"/>
                  <a:gd name="connsiteX141" fmla="*/ 164712 w 352477"/>
                  <a:gd name="connsiteY141" fmla="*/ 275802 h 286888"/>
                  <a:gd name="connsiteX142" fmla="*/ 164795 w 352477"/>
                  <a:gd name="connsiteY142" fmla="*/ 275966 h 286888"/>
                  <a:gd name="connsiteX143" fmla="*/ 164795 w 352477"/>
                  <a:gd name="connsiteY143" fmla="*/ 276131 h 286888"/>
                  <a:gd name="connsiteX144" fmla="*/ 164795 w 352477"/>
                  <a:gd name="connsiteY144" fmla="*/ 276323 h 286888"/>
                  <a:gd name="connsiteX145" fmla="*/ 164685 w 352477"/>
                  <a:gd name="connsiteY145" fmla="*/ 276488 h 286888"/>
                  <a:gd name="connsiteX146" fmla="*/ 164493 w 352477"/>
                  <a:gd name="connsiteY146" fmla="*/ 276680 h 286888"/>
                  <a:gd name="connsiteX147" fmla="*/ 164383 w 352477"/>
                  <a:gd name="connsiteY147" fmla="*/ 276817 h 286888"/>
                  <a:gd name="connsiteX148" fmla="*/ 164301 w 352477"/>
                  <a:gd name="connsiteY148" fmla="*/ 276954 h 286888"/>
                  <a:gd name="connsiteX149" fmla="*/ 164301 w 352477"/>
                  <a:gd name="connsiteY149" fmla="*/ 277119 h 286888"/>
                  <a:gd name="connsiteX150" fmla="*/ 164301 w 352477"/>
                  <a:gd name="connsiteY150" fmla="*/ 277284 h 286888"/>
                  <a:gd name="connsiteX151" fmla="*/ 164356 w 352477"/>
                  <a:gd name="connsiteY151" fmla="*/ 277366 h 286888"/>
                  <a:gd name="connsiteX152" fmla="*/ 164301 w 352477"/>
                  <a:gd name="connsiteY152" fmla="*/ 277503 h 286888"/>
                  <a:gd name="connsiteX153" fmla="*/ 164191 w 352477"/>
                  <a:gd name="connsiteY153" fmla="*/ 277503 h 286888"/>
                  <a:gd name="connsiteX154" fmla="*/ 164026 w 352477"/>
                  <a:gd name="connsiteY154" fmla="*/ 277503 h 286888"/>
                  <a:gd name="connsiteX155" fmla="*/ 163807 w 352477"/>
                  <a:gd name="connsiteY155" fmla="*/ 277585 h 286888"/>
                  <a:gd name="connsiteX156" fmla="*/ 163395 w 352477"/>
                  <a:gd name="connsiteY156" fmla="*/ 277585 h 286888"/>
                  <a:gd name="connsiteX157" fmla="*/ 163340 w 352477"/>
                  <a:gd name="connsiteY157" fmla="*/ 277833 h 286888"/>
                  <a:gd name="connsiteX158" fmla="*/ 163148 w 352477"/>
                  <a:gd name="connsiteY158" fmla="*/ 277942 h 286888"/>
                  <a:gd name="connsiteX159" fmla="*/ 163203 w 352477"/>
                  <a:gd name="connsiteY159" fmla="*/ 278052 h 286888"/>
                  <a:gd name="connsiteX160" fmla="*/ 163203 w 352477"/>
                  <a:gd name="connsiteY160" fmla="*/ 278409 h 286888"/>
                  <a:gd name="connsiteX161" fmla="*/ 163093 w 352477"/>
                  <a:gd name="connsiteY161" fmla="*/ 278546 h 286888"/>
                  <a:gd name="connsiteX162" fmla="*/ 162929 w 352477"/>
                  <a:gd name="connsiteY162" fmla="*/ 278656 h 286888"/>
                  <a:gd name="connsiteX163" fmla="*/ 162764 w 352477"/>
                  <a:gd name="connsiteY163" fmla="*/ 278738 h 286888"/>
                  <a:gd name="connsiteX164" fmla="*/ 162407 w 352477"/>
                  <a:gd name="connsiteY164" fmla="*/ 278738 h 286888"/>
                  <a:gd name="connsiteX165" fmla="*/ 161035 w 352477"/>
                  <a:gd name="connsiteY165" fmla="*/ 278628 h 286888"/>
                  <a:gd name="connsiteX166" fmla="*/ 157138 w 352477"/>
                  <a:gd name="connsiteY166" fmla="*/ 278738 h 286888"/>
                  <a:gd name="connsiteX167" fmla="*/ 154476 w 352477"/>
                  <a:gd name="connsiteY167" fmla="*/ 278930 h 286888"/>
                  <a:gd name="connsiteX168" fmla="*/ 147808 w 352477"/>
                  <a:gd name="connsiteY168" fmla="*/ 279809 h 286888"/>
                  <a:gd name="connsiteX169" fmla="*/ 147177 w 352477"/>
                  <a:gd name="connsiteY169" fmla="*/ 280055 h 286888"/>
                  <a:gd name="connsiteX170" fmla="*/ 146573 w 352477"/>
                  <a:gd name="connsiteY170" fmla="*/ 280165 h 286888"/>
                  <a:gd name="connsiteX171" fmla="*/ 145805 w 352477"/>
                  <a:gd name="connsiteY171" fmla="*/ 280522 h 286888"/>
                  <a:gd name="connsiteX172" fmla="*/ 145064 w 352477"/>
                  <a:gd name="connsiteY172" fmla="*/ 280687 h 286888"/>
                  <a:gd name="connsiteX173" fmla="*/ 144844 w 352477"/>
                  <a:gd name="connsiteY173" fmla="*/ 280577 h 286888"/>
                  <a:gd name="connsiteX174" fmla="*/ 144679 w 352477"/>
                  <a:gd name="connsiteY174" fmla="*/ 280522 h 286888"/>
                  <a:gd name="connsiteX175" fmla="*/ 144514 w 352477"/>
                  <a:gd name="connsiteY175" fmla="*/ 280522 h 286888"/>
                  <a:gd name="connsiteX176" fmla="*/ 144350 w 352477"/>
                  <a:gd name="connsiteY176" fmla="*/ 280577 h 286888"/>
                  <a:gd name="connsiteX177" fmla="*/ 144185 w 352477"/>
                  <a:gd name="connsiteY177" fmla="*/ 280659 h 286888"/>
                  <a:gd name="connsiteX178" fmla="*/ 144103 w 352477"/>
                  <a:gd name="connsiteY178" fmla="*/ 280824 h 286888"/>
                  <a:gd name="connsiteX179" fmla="*/ 144048 w 352477"/>
                  <a:gd name="connsiteY179" fmla="*/ 280989 h 286888"/>
                  <a:gd name="connsiteX180" fmla="*/ 143993 w 352477"/>
                  <a:gd name="connsiteY180" fmla="*/ 281400 h 286888"/>
                  <a:gd name="connsiteX181" fmla="*/ 143664 w 352477"/>
                  <a:gd name="connsiteY181" fmla="*/ 281482 h 286888"/>
                  <a:gd name="connsiteX182" fmla="*/ 141633 w 352477"/>
                  <a:gd name="connsiteY182" fmla="*/ 281482 h 286888"/>
                  <a:gd name="connsiteX183" fmla="*/ 139273 w 352477"/>
                  <a:gd name="connsiteY183" fmla="*/ 281922 h 286888"/>
                  <a:gd name="connsiteX184" fmla="*/ 138724 w 352477"/>
                  <a:gd name="connsiteY184" fmla="*/ 281867 h 286888"/>
                  <a:gd name="connsiteX185" fmla="*/ 137462 w 352477"/>
                  <a:gd name="connsiteY185" fmla="*/ 281729 h 286888"/>
                  <a:gd name="connsiteX186" fmla="*/ 136913 w 352477"/>
                  <a:gd name="connsiteY186" fmla="*/ 281428 h 286888"/>
                  <a:gd name="connsiteX187" fmla="*/ 136968 w 352477"/>
                  <a:gd name="connsiteY187" fmla="*/ 281263 h 286888"/>
                  <a:gd name="connsiteX188" fmla="*/ 137242 w 352477"/>
                  <a:gd name="connsiteY188" fmla="*/ 281016 h 286888"/>
                  <a:gd name="connsiteX189" fmla="*/ 137132 w 352477"/>
                  <a:gd name="connsiteY189" fmla="*/ 280796 h 286888"/>
                  <a:gd name="connsiteX190" fmla="*/ 137132 w 352477"/>
                  <a:gd name="connsiteY190" fmla="*/ 280522 h 286888"/>
                  <a:gd name="connsiteX191" fmla="*/ 137462 w 352477"/>
                  <a:gd name="connsiteY191" fmla="*/ 280275 h 286888"/>
                  <a:gd name="connsiteX192" fmla="*/ 137874 w 352477"/>
                  <a:gd name="connsiteY192" fmla="*/ 280083 h 286888"/>
                  <a:gd name="connsiteX193" fmla="*/ 137874 w 352477"/>
                  <a:gd name="connsiteY193" fmla="*/ 279946 h 286888"/>
                  <a:gd name="connsiteX194" fmla="*/ 137270 w 352477"/>
                  <a:gd name="connsiteY194" fmla="*/ 279781 h 286888"/>
                  <a:gd name="connsiteX195" fmla="*/ 136748 w 352477"/>
                  <a:gd name="connsiteY195" fmla="*/ 279452 h 286888"/>
                  <a:gd name="connsiteX196" fmla="*/ 136200 w 352477"/>
                  <a:gd name="connsiteY196" fmla="*/ 279726 h 286888"/>
                  <a:gd name="connsiteX197" fmla="*/ 135404 w 352477"/>
                  <a:gd name="connsiteY197" fmla="*/ 279946 h 286888"/>
                  <a:gd name="connsiteX198" fmla="*/ 134909 w 352477"/>
                  <a:gd name="connsiteY198" fmla="*/ 279863 h 286888"/>
                  <a:gd name="connsiteX199" fmla="*/ 134196 w 352477"/>
                  <a:gd name="connsiteY199" fmla="*/ 278848 h 286888"/>
                  <a:gd name="connsiteX200" fmla="*/ 133894 w 352477"/>
                  <a:gd name="connsiteY200" fmla="*/ 278189 h 286888"/>
                  <a:gd name="connsiteX201" fmla="*/ 133016 w 352477"/>
                  <a:gd name="connsiteY201" fmla="*/ 277421 h 286888"/>
                  <a:gd name="connsiteX202" fmla="*/ 132879 w 352477"/>
                  <a:gd name="connsiteY202" fmla="*/ 277256 h 286888"/>
                  <a:gd name="connsiteX203" fmla="*/ 132769 w 352477"/>
                  <a:gd name="connsiteY203" fmla="*/ 277119 h 286888"/>
                  <a:gd name="connsiteX204" fmla="*/ 132604 w 352477"/>
                  <a:gd name="connsiteY204" fmla="*/ 277037 h 286888"/>
                  <a:gd name="connsiteX205" fmla="*/ 132440 w 352477"/>
                  <a:gd name="connsiteY205" fmla="*/ 277037 h 286888"/>
                  <a:gd name="connsiteX206" fmla="*/ 132275 w 352477"/>
                  <a:gd name="connsiteY206" fmla="*/ 277037 h 286888"/>
                  <a:gd name="connsiteX207" fmla="*/ 132110 w 352477"/>
                  <a:gd name="connsiteY207" fmla="*/ 277119 h 286888"/>
                  <a:gd name="connsiteX208" fmla="*/ 132001 w 352477"/>
                  <a:gd name="connsiteY208" fmla="*/ 277256 h 286888"/>
                  <a:gd name="connsiteX209" fmla="*/ 131918 w 352477"/>
                  <a:gd name="connsiteY209" fmla="*/ 277394 h 286888"/>
                  <a:gd name="connsiteX210" fmla="*/ 131918 w 352477"/>
                  <a:gd name="connsiteY210" fmla="*/ 277503 h 286888"/>
                  <a:gd name="connsiteX211" fmla="*/ 131808 w 352477"/>
                  <a:gd name="connsiteY211" fmla="*/ 277640 h 286888"/>
                  <a:gd name="connsiteX212" fmla="*/ 131644 w 352477"/>
                  <a:gd name="connsiteY212" fmla="*/ 277778 h 286888"/>
                  <a:gd name="connsiteX213" fmla="*/ 131507 w 352477"/>
                  <a:gd name="connsiteY213" fmla="*/ 277833 h 286888"/>
                  <a:gd name="connsiteX214" fmla="*/ 131397 w 352477"/>
                  <a:gd name="connsiteY214" fmla="*/ 277970 h 286888"/>
                  <a:gd name="connsiteX215" fmla="*/ 131315 w 352477"/>
                  <a:gd name="connsiteY215" fmla="*/ 278135 h 286888"/>
                  <a:gd name="connsiteX216" fmla="*/ 131315 w 352477"/>
                  <a:gd name="connsiteY216" fmla="*/ 278491 h 286888"/>
                  <a:gd name="connsiteX217" fmla="*/ 131452 w 352477"/>
                  <a:gd name="connsiteY217" fmla="*/ 278628 h 286888"/>
                  <a:gd name="connsiteX218" fmla="*/ 131973 w 352477"/>
                  <a:gd name="connsiteY218" fmla="*/ 279232 h 286888"/>
                  <a:gd name="connsiteX219" fmla="*/ 131973 w 352477"/>
                  <a:gd name="connsiteY219" fmla="*/ 280083 h 286888"/>
                  <a:gd name="connsiteX220" fmla="*/ 131644 w 352477"/>
                  <a:gd name="connsiteY220" fmla="*/ 280741 h 286888"/>
                  <a:gd name="connsiteX221" fmla="*/ 131315 w 352477"/>
                  <a:gd name="connsiteY221" fmla="*/ 281016 h 286888"/>
                  <a:gd name="connsiteX222" fmla="*/ 130491 w 352477"/>
                  <a:gd name="connsiteY222" fmla="*/ 281098 h 286888"/>
                  <a:gd name="connsiteX223" fmla="*/ 129915 w 352477"/>
                  <a:gd name="connsiteY223" fmla="*/ 281291 h 286888"/>
                  <a:gd name="connsiteX224" fmla="*/ 129641 w 352477"/>
                  <a:gd name="connsiteY224" fmla="*/ 281236 h 286888"/>
                  <a:gd name="connsiteX225" fmla="*/ 129476 w 352477"/>
                  <a:gd name="connsiteY225" fmla="*/ 281236 h 286888"/>
                  <a:gd name="connsiteX226" fmla="*/ 129311 w 352477"/>
                  <a:gd name="connsiteY226" fmla="*/ 281236 h 286888"/>
                  <a:gd name="connsiteX227" fmla="*/ 129174 w 352477"/>
                  <a:gd name="connsiteY227" fmla="*/ 281318 h 286888"/>
                  <a:gd name="connsiteX228" fmla="*/ 129064 w 352477"/>
                  <a:gd name="connsiteY228" fmla="*/ 281428 h 286888"/>
                  <a:gd name="connsiteX229" fmla="*/ 129009 w 352477"/>
                  <a:gd name="connsiteY229" fmla="*/ 281537 h 286888"/>
                  <a:gd name="connsiteX230" fmla="*/ 128845 w 352477"/>
                  <a:gd name="connsiteY230" fmla="*/ 281702 h 286888"/>
                  <a:gd name="connsiteX231" fmla="*/ 128543 w 352477"/>
                  <a:gd name="connsiteY231" fmla="*/ 281784 h 286888"/>
                  <a:gd name="connsiteX232" fmla="*/ 127747 w 352477"/>
                  <a:gd name="connsiteY232" fmla="*/ 281729 h 286888"/>
                  <a:gd name="connsiteX233" fmla="*/ 127637 w 352477"/>
                  <a:gd name="connsiteY233" fmla="*/ 281729 h 286888"/>
                  <a:gd name="connsiteX234" fmla="*/ 127473 w 352477"/>
                  <a:gd name="connsiteY234" fmla="*/ 281729 h 286888"/>
                  <a:gd name="connsiteX235" fmla="*/ 127281 w 352477"/>
                  <a:gd name="connsiteY235" fmla="*/ 281784 h 286888"/>
                  <a:gd name="connsiteX236" fmla="*/ 127143 w 352477"/>
                  <a:gd name="connsiteY236" fmla="*/ 281894 h 286888"/>
                  <a:gd name="connsiteX237" fmla="*/ 127061 w 352477"/>
                  <a:gd name="connsiteY237" fmla="*/ 282032 h 286888"/>
                  <a:gd name="connsiteX238" fmla="*/ 127006 w 352477"/>
                  <a:gd name="connsiteY238" fmla="*/ 282223 h 286888"/>
                  <a:gd name="connsiteX239" fmla="*/ 127006 w 352477"/>
                  <a:gd name="connsiteY239" fmla="*/ 282388 h 286888"/>
                  <a:gd name="connsiteX240" fmla="*/ 127116 w 352477"/>
                  <a:gd name="connsiteY240" fmla="*/ 282553 h 286888"/>
                  <a:gd name="connsiteX241" fmla="*/ 127335 w 352477"/>
                  <a:gd name="connsiteY241" fmla="*/ 282937 h 286888"/>
                  <a:gd name="connsiteX242" fmla="*/ 127281 w 352477"/>
                  <a:gd name="connsiteY242" fmla="*/ 283266 h 286888"/>
                  <a:gd name="connsiteX243" fmla="*/ 126786 w 352477"/>
                  <a:gd name="connsiteY243" fmla="*/ 283651 h 286888"/>
                  <a:gd name="connsiteX244" fmla="*/ 126402 w 352477"/>
                  <a:gd name="connsiteY244" fmla="*/ 283651 h 286888"/>
                  <a:gd name="connsiteX245" fmla="*/ 126018 w 352477"/>
                  <a:gd name="connsiteY245" fmla="*/ 283239 h 286888"/>
                  <a:gd name="connsiteX246" fmla="*/ 125881 w 352477"/>
                  <a:gd name="connsiteY246" fmla="*/ 283568 h 286888"/>
                  <a:gd name="connsiteX247" fmla="*/ 125497 w 352477"/>
                  <a:gd name="connsiteY247" fmla="*/ 283706 h 286888"/>
                  <a:gd name="connsiteX248" fmla="*/ 123493 w 352477"/>
                  <a:gd name="connsiteY248" fmla="*/ 283266 h 286888"/>
                  <a:gd name="connsiteX249" fmla="*/ 123329 w 352477"/>
                  <a:gd name="connsiteY249" fmla="*/ 283266 h 286888"/>
                  <a:gd name="connsiteX250" fmla="*/ 123164 w 352477"/>
                  <a:gd name="connsiteY250" fmla="*/ 283266 h 286888"/>
                  <a:gd name="connsiteX251" fmla="*/ 123027 w 352477"/>
                  <a:gd name="connsiteY251" fmla="*/ 283349 h 286888"/>
                  <a:gd name="connsiteX252" fmla="*/ 122917 w 352477"/>
                  <a:gd name="connsiteY252" fmla="*/ 283458 h 286888"/>
                  <a:gd name="connsiteX253" fmla="*/ 122862 w 352477"/>
                  <a:gd name="connsiteY253" fmla="*/ 283623 h 286888"/>
                  <a:gd name="connsiteX254" fmla="*/ 122862 w 352477"/>
                  <a:gd name="connsiteY254" fmla="*/ 283760 h 286888"/>
                  <a:gd name="connsiteX255" fmla="*/ 122862 w 352477"/>
                  <a:gd name="connsiteY255" fmla="*/ 283925 h 286888"/>
                  <a:gd name="connsiteX256" fmla="*/ 122862 w 352477"/>
                  <a:gd name="connsiteY256" fmla="*/ 284035 h 286888"/>
                  <a:gd name="connsiteX257" fmla="*/ 119926 w 352477"/>
                  <a:gd name="connsiteY257" fmla="*/ 284529 h 286888"/>
                  <a:gd name="connsiteX258" fmla="*/ 119075 w 352477"/>
                  <a:gd name="connsiteY258" fmla="*/ 284419 h 286888"/>
                  <a:gd name="connsiteX259" fmla="*/ 118718 w 352477"/>
                  <a:gd name="connsiteY259" fmla="*/ 284254 h 286888"/>
                  <a:gd name="connsiteX260" fmla="*/ 118554 w 352477"/>
                  <a:gd name="connsiteY260" fmla="*/ 284172 h 286888"/>
                  <a:gd name="connsiteX261" fmla="*/ 118224 w 352477"/>
                  <a:gd name="connsiteY261" fmla="*/ 284172 h 286888"/>
                  <a:gd name="connsiteX262" fmla="*/ 118059 w 352477"/>
                  <a:gd name="connsiteY262" fmla="*/ 284282 h 286888"/>
                  <a:gd name="connsiteX263" fmla="*/ 117950 w 352477"/>
                  <a:gd name="connsiteY263" fmla="*/ 284392 h 286888"/>
                  <a:gd name="connsiteX264" fmla="*/ 117867 w 352477"/>
                  <a:gd name="connsiteY264" fmla="*/ 284556 h 286888"/>
                  <a:gd name="connsiteX265" fmla="*/ 117813 w 352477"/>
                  <a:gd name="connsiteY265" fmla="*/ 284748 h 286888"/>
                  <a:gd name="connsiteX266" fmla="*/ 116742 w 352477"/>
                  <a:gd name="connsiteY266" fmla="*/ 284995 h 286888"/>
                  <a:gd name="connsiteX267" fmla="*/ 116056 w 352477"/>
                  <a:gd name="connsiteY267" fmla="*/ 285242 h 286888"/>
                  <a:gd name="connsiteX268" fmla="*/ 115425 w 352477"/>
                  <a:gd name="connsiteY268" fmla="*/ 284803 h 286888"/>
                  <a:gd name="connsiteX269" fmla="*/ 115261 w 352477"/>
                  <a:gd name="connsiteY269" fmla="*/ 284721 h 286888"/>
                  <a:gd name="connsiteX270" fmla="*/ 114904 w 352477"/>
                  <a:gd name="connsiteY270" fmla="*/ 284721 h 286888"/>
                  <a:gd name="connsiteX271" fmla="*/ 114766 w 352477"/>
                  <a:gd name="connsiteY271" fmla="*/ 284858 h 286888"/>
                  <a:gd name="connsiteX272" fmla="*/ 114629 w 352477"/>
                  <a:gd name="connsiteY272" fmla="*/ 284995 h 286888"/>
                  <a:gd name="connsiteX273" fmla="*/ 114574 w 352477"/>
                  <a:gd name="connsiteY273" fmla="*/ 285105 h 286888"/>
                  <a:gd name="connsiteX274" fmla="*/ 110869 w 352477"/>
                  <a:gd name="connsiteY274" fmla="*/ 285599 h 286888"/>
                  <a:gd name="connsiteX275" fmla="*/ 110293 w 352477"/>
                  <a:gd name="connsiteY275" fmla="*/ 285297 h 286888"/>
                  <a:gd name="connsiteX276" fmla="*/ 110101 w 352477"/>
                  <a:gd name="connsiteY276" fmla="*/ 285215 h 286888"/>
                  <a:gd name="connsiteX277" fmla="*/ 109936 w 352477"/>
                  <a:gd name="connsiteY277" fmla="*/ 285215 h 286888"/>
                  <a:gd name="connsiteX278" fmla="*/ 109772 w 352477"/>
                  <a:gd name="connsiteY278" fmla="*/ 285215 h 286888"/>
                  <a:gd name="connsiteX279" fmla="*/ 109607 w 352477"/>
                  <a:gd name="connsiteY279" fmla="*/ 285297 h 286888"/>
                  <a:gd name="connsiteX280" fmla="*/ 109497 w 352477"/>
                  <a:gd name="connsiteY280" fmla="*/ 285434 h 286888"/>
                  <a:gd name="connsiteX281" fmla="*/ 109415 w 352477"/>
                  <a:gd name="connsiteY281" fmla="*/ 285599 h 286888"/>
                  <a:gd name="connsiteX282" fmla="*/ 109415 w 352477"/>
                  <a:gd name="connsiteY282" fmla="*/ 285791 h 286888"/>
                  <a:gd name="connsiteX283" fmla="*/ 105820 w 352477"/>
                  <a:gd name="connsiteY283" fmla="*/ 286285 h 286888"/>
                  <a:gd name="connsiteX284" fmla="*/ 104969 w 352477"/>
                  <a:gd name="connsiteY284" fmla="*/ 286285 h 286888"/>
                  <a:gd name="connsiteX285" fmla="*/ 104585 w 352477"/>
                  <a:gd name="connsiteY285" fmla="*/ 286230 h 286888"/>
                  <a:gd name="connsiteX286" fmla="*/ 104420 w 352477"/>
                  <a:gd name="connsiteY286" fmla="*/ 286148 h 286888"/>
                  <a:gd name="connsiteX287" fmla="*/ 104283 w 352477"/>
                  <a:gd name="connsiteY287" fmla="*/ 286148 h 286888"/>
                  <a:gd name="connsiteX288" fmla="*/ 104119 w 352477"/>
                  <a:gd name="connsiteY288" fmla="*/ 286148 h 286888"/>
                  <a:gd name="connsiteX289" fmla="*/ 103981 w 352477"/>
                  <a:gd name="connsiteY289" fmla="*/ 286203 h 286888"/>
                  <a:gd name="connsiteX290" fmla="*/ 103844 w 352477"/>
                  <a:gd name="connsiteY290" fmla="*/ 286312 h 286888"/>
                  <a:gd name="connsiteX291" fmla="*/ 103762 w 352477"/>
                  <a:gd name="connsiteY291" fmla="*/ 286477 h 286888"/>
                  <a:gd name="connsiteX292" fmla="*/ 100661 w 352477"/>
                  <a:gd name="connsiteY292" fmla="*/ 286889 h 286888"/>
                  <a:gd name="connsiteX293" fmla="*/ 100084 w 352477"/>
                  <a:gd name="connsiteY293" fmla="*/ 286779 h 286888"/>
                  <a:gd name="connsiteX294" fmla="*/ 99892 w 352477"/>
                  <a:gd name="connsiteY294" fmla="*/ 286532 h 286888"/>
                  <a:gd name="connsiteX295" fmla="*/ 99783 w 352477"/>
                  <a:gd name="connsiteY295" fmla="*/ 286367 h 286888"/>
                  <a:gd name="connsiteX296" fmla="*/ 99645 w 352477"/>
                  <a:gd name="connsiteY296" fmla="*/ 286285 h 286888"/>
                  <a:gd name="connsiteX297" fmla="*/ 99453 w 352477"/>
                  <a:gd name="connsiteY297" fmla="*/ 286230 h 286888"/>
                  <a:gd name="connsiteX298" fmla="*/ 99261 w 352477"/>
                  <a:gd name="connsiteY298" fmla="*/ 286230 h 286888"/>
                  <a:gd name="connsiteX299" fmla="*/ 99206 w 352477"/>
                  <a:gd name="connsiteY299" fmla="*/ 286285 h 286888"/>
                  <a:gd name="connsiteX300" fmla="*/ 98767 w 352477"/>
                  <a:gd name="connsiteY300" fmla="*/ 286285 h 286888"/>
                  <a:gd name="connsiteX301" fmla="*/ 97148 w 352477"/>
                  <a:gd name="connsiteY301" fmla="*/ 285818 h 286888"/>
                  <a:gd name="connsiteX302" fmla="*/ 96764 w 352477"/>
                  <a:gd name="connsiteY302" fmla="*/ 285407 h 286888"/>
                  <a:gd name="connsiteX303" fmla="*/ 96764 w 352477"/>
                  <a:gd name="connsiteY303" fmla="*/ 285297 h 286888"/>
                  <a:gd name="connsiteX304" fmla="*/ 96654 w 352477"/>
                  <a:gd name="connsiteY304" fmla="*/ 285160 h 286888"/>
                  <a:gd name="connsiteX305" fmla="*/ 96544 w 352477"/>
                  <a:gd name="connsiteY305" fmla="*/ 285050 h 286888"/>
                  <a:gd name="connsiteX306" fmla="*/ 96407 w 352477"/>
                  <a:gd name="connsiteY306" fmla="*/ 284995 h 286888"/>
                  <a:gd name="connsiteX307" fmla="*/ 96215 w 352477"/>
                  <a:gd name="connsiteY307" fmla="*/ 284995 h 286888"/>
                  <a:gd name="connsiteX308" fmla="*/ 93882 w 352477"/>
                  <a:gd name="connsiteY308" fmla="*/ 283760 h 286888"/>
                  <a:gd name="connsiteX309" fmla="*/ 93031 w 352477"/>
                  <a:gd name="connsiteY309" fmla="*/ 283156 h 286888"/>
                  <a:gd name="connsiteX310" fmla="*/ 90699 w 352477"/>
                  <a:gd name="connsiteY310" fmla="*/ 281263 h 286888"/>
                  <a:gd name="connsiteX311" fmla="*/ 89272 w 352477"/>
                  <a:gd name="connsiteY311" fmla="*/ 279809 h 286888"/>
                  <a:gd name="connsiteX312" fmla="*/ 87680 w 352477"/>
                  <a:gd name="connsiteY312" fmla="*/ 278491 h 286888"/>
                  <a:gd name="connsiteX313" fmla="*/ 85841 w 352477"/>
                  <a:gd name="connsiteY313" fmla="*/ 276241 h 286888"/>
                  <a:gd name="connsiteX314" fmla="*/ 83975 w 352477"/>
                  <a:gd name="connsiteY314" fmla="*/ 273496 h 286888"/>
                  <a:gd name="connsiteX315" fmla="*/ 83179 w 352477"/>
                  <a:gd name="connsiteY315" fmla="*/ 271685 h 286888"/>
                  <a:gd name="connsiteX316" fmla="*/ 81368 w 352477"/>
                  <a:gd name="connsiteY316" fmla="*/ 268475 h 286888"/>
                  <a:gd name="connsiteX317" fmla="*/ 81368 w 352477"/>
                  <a:gd name="connsiteY317" fmla="*/ 268255 h 286888"/>
                  <a:gd name="connsiteX318" fmla="*/ 81451 w 352477"/>
                  <a:gd name="connsiteY318" fmla="*/ 268063 h 286888"/>
                  <a:gd name="connsiteX319" fmla="*/ 81451 w 352477"/>
                  <a:gd name="connsiteY319" fmla="*/ 267871 h 286888"/>
                  <a:gd name="connsiteX320" fmla="*/ 81396 w 352477"/>
                  <a:gd name="connsiteY320" fmla="*/ 267706 h 286888"/>
                  <a:gd name="connsiteX321" fmla="*/ 80874 w 352477"/>
                  <a:gd name="connsiteY321" fmla="*/ 266910 h 286888"/>
                  <a:gd name="connsiteX322" fmla="*/ 80819 w 352477"/>
                  <a:gd name="connsiteY322" fmla="*/ 266636 h 286888"/>
                  <a:gd name="connsiteX323" fmla="*/ 80874 w 352477"/>
                  <a:gd name="connsiteY323" fmla="*/ 266197 h 286888"/>
                  <a:gd name="connsiteX324" fmla="*/ 80682 w 352477"/>
                  <a:gd name="connsiteY324" fmla="*/ 265538 h 286888"/>
                  <a:gd name="connsiteX325" fmla="*/ 79969 w 352477"/>
                  <a:gd name="connsiteY325" fmla="*/ 263699 h 286888"/>
                  <a:gd name="connsiteX326" fmla="*/ 79118 w 352477"/>
                  <a:gd name="connsiteY326" fmla="*/ 261861 h 286888"/>
                  <a:gd name="connsiteX327" fmla="*/ 79173 w 352477"/>
                  <a:gd name="connsiteY327" fmla="*/ 261586 h 286888"/>
                  <a:gd name="connsiteX328" fmla="*/ 79173 w 352477"/>
                  <a:gd name="connsiteY328" fmla="*/ 261367 h 286888"/>
                  <a:gd name="connsiteX329" fmla="*/ 79173 w 352477"/>
                  <a:gd name="connsiteY329" fmla="*/ 261202 h 286888"/>
                  <a:gd name="connsiteX330" fmla="*/ 79091 w 352477"/>
                  <a:gd name="connsiteY330" fmla="*/ 261038 h 286888"/>
                  <a:gd name="connsiteX331" fmla="*/ 78953 w 352477"/>
                  <a:gd name="connsiteY331" fmla="*/ 260928 h 286888"/>
                  <a:gd name="connsiteX332" fmla="*/ 78871 w 352477"/>
                  <a:gd name="connsiteY332" fmla="*/ 260873 h 286888"/>
                  <a:gd name="connsiteX333" fmla="*/ 78322 w 352477"/>
                  <a:gd name="connsiteY333" fmla="*/ 260050 h 286888"/>
                  <a:gd name="connsiteX334" fmla="*/ 78322 w 352477"/>
                  <a:gd name="connsiteY334" fmla="*/ 259226 h 286888"/>
                  <a:gd name="connsiteX335" fmla="*/ 78048 w 352477"/>
                  <a:gd name="connsiteY335" fmla="*/ 257937 h 286888"/>
                  <a:gd name="connsiteX336" fmla="*/ 77499 w 352477"/>
                  <a:gd name="connsiteY336" fmla="*/ 255851 h 286888"/>
                  <a:gd name="connsiteX337" fmla="*/ 77499 w 352477"/>
                  <a:gd name="connsiteY337" fmla="*/ 254753 h 286888"/>
                  <a:gd name="connsiteX338" fmla="*/ 78020 w 352477"/>
                  <a:gd name="connsiteY338" fmla="*/ 254643 h 286888"/>
                  <a:gd name="connsiteX339" fmla="*/ 78899 w 352477"/>
                  <a:gd name="connsiteY339" fmla="*/ 254753 h 286888"/>
                  <a:gd name="connsiteX340" fmla="*/ 79063 w 352477"/>
                  <a:gd name="connsiteY340" fmla="*/ 254753 h 286888"/>
                  <a:gd name="connsiteX341" fmla="*/ 79228 w 352477"/>
                  <a:gd name="connsiteY341" fmla="*/ 254698 h 286888"/>
                  <a:gd name="connsiteX342" fmla="*/ 79392 w 352477"/>
                  <a:gd name="connsiteY342" fmla="*/ 254589 h 286888"/>
                  <a:gd name="connsiteX343" fmla="*/ 79475 w 352477"/>
                  <a:gd name="connsiteY343" fmla="*/ 254451 h 286888"/>
                  <a:gd name="connsiteX344" fmla="*/ 79530 w 352477"/>
                  <a:gd name="connsiteY344" fmla="*/ 254286 h 286888"/>
                  <a:gd name="connsiteX345" fmla="*/ 79530 w 352477"/>
                  <a:gd name="connsiteY345" fmla="*/ 254094 h 286888"/>
                  <a:gd name="connsiteX346" fmla="*/ 79475 w 352477"/>
                  <a:gd name="connsiteY346" fmla="*/ 253930 h 286888"/>
                  <a:gd name="connsiteX347" fmla="*/ 79365 w 352477"/>
                  <a:gd name="connsiteY347" fmla="*/ 253793 h 286888"/>
                  <a:gd name="connsiteX348" fmla="*/ 79228 w 352477"/>
                  <a:gd name="connsiteY348" fmla="*/ 253710 h 286888"/>
                  <a:gd name="connsiteX349" fmla="*/ 79063 w 352477"/>
                  <a:gd name="connsiteY349" fmla="*/ 253655 h 286888"/>
                  <a:gd name="connsiteX350" fmla="*/ 78048 w 352477"/>
                  <a:gd name="connsiteY350" fmla="*/ 253573 h 286888"/>
                  <a:gd name="connsiteX351" fmla="*/ 75386 w 352477"/>
                  <a:gd name="connsiteY351" fmla="*/ 252448 h 286888"/>
                  <a:gd name="connsiteX352" fmla="*/ 74617 w 352477"/>
                  <a:gd name="connsiteY352" fmla="*/ 251899 h 286888"/>
                  <a:gd name="connsiteX353" fmla="*/ 73986 w 352477"/>
                  <a:gd name="connsiteY353" fmla="*/ 251295 h 286888"/>
                  <a:gd name="connsiteX354" fmla="*/ 72669 w 352477"/>
                  <a:gd name="connsiteY354" fmla="*/ 249374 h 286888"/>
                  <a:gd name="connsiteX355" fmla="*/ 73163 w 352477"/>
                  <a:gd name="connsiteY355" fmla="*/ 248578 h 286888"/>
                  <a:gd name="connsiteX356" fmla="*/ 73328 w 352477"/>
                  <a:gd name="connsiteY356" fmla="*/ 248414 h 286888"/>
                  <a:gd name="connsiteX357" fmla="*/ 73437 w 352477"/>
                  <a:gd name="connsiteY357" fmla="*/ 248277 h 286888"/>
                  <a:gd name="connsiteX358" fmla="*/ 73492 w 352477"/>
                  <a:gd name="connsiteY358" fmla="*/ 248139 h 286888"/>
                  <a:gd name="connsiteX359" fmla="*/ 73492 w 352477"/>
                  <a:gd name="connsiteY359" fmla="*/ 247837 h 286888"/>
                  <a:gd name="connsiteX360" fmla="*/ 73382 w 352477"/>
                  <a:gd name="connsiteY360" fmla="*/ 247673 h 286888"/>
                  <a:gd name="connsiteX361" fmla="*/ 73273 w 352477"/>
                  <a:gd name="connsiteY361" fmla="*/ 247563 h 286888"/>
                  <a:gd name="connsiteX362" fmla="*/ 73135 w 352477"/>
                  <a:gd name="connsiteY362" fmla="*/ 247508 h 286888"/>
                  <a:gd name="connsiteX363" fmla="*/ 72778 w 352477"/>
                  <a:gd name="connsiteY363" fmla="*/ 247371 h 286888"/>
                  <a:gd name="connsiteX364" fmla="*/ 71654 w 352477"/>
                  <a:gd name="connsiteY364" fmla="*/ 246273 h 286888"/>
                  <a:gd name="connsiteX365" fmla="*/ 70418 w 352477"/>
                  <a:gd name="connsiteY365" fmla="*/ 244078 h 286888"/>
                  <a:gd name="connsiteX366" fmla="*/ 70309 w 352477"/>
                  <a:gd name="connsiteY366" fmla="*/ 243172 h 286888"/>
                  <a:gd name="connsiteX367" fmla="*/ 70309 w 352477"/>
                  <a:gd name="connsiteY367" fmla="*/ 243035 h 286888"/>
                  <a:gd name="connsiteX368" fmla="*/ 70364 w 352477"/>
                  <a:gd name="connsiteY368" fmla="*/ 242870 h 286888"/>
                  <a:gd name="connsiteX369" fmla="*/ 70364 w 352477"/>
                  <a:gd name="connsiteY369" fmla="*/ 242678 h 286888"/>
                  <a:gd name="connsiteX370" fmla="*/ 70226 w 352477"/>
                  <a:gd name="connsiteY370" fmla="*/ 242514 h 286888"/>
                  <a:gd name="connsiteX371" fmla="*/ 70089 w 352477"/>
                  <a:gd name="connsiteY371" fmla="*/ 242404 h 286888"/>
                  <a:gd name="connsiteX372" fmla="*/ 69925 w 352477"/>
                  <a:gd name="connsiteY372" fmla="*/ 242349 h 286888"/>
                  <a:gd name="connsiteX373" fmla="*/ 69732 w 352477"/>
                  <a:gd name="connsiteY373" fmla="*/ 242349 h 286888"/>
                  <a:gd name="connsiteX374" fmla="*/ 69568 w 352477"/>
                  <a:gd name="connsiteY374" fmla="*/ 242349 h 286888"/>
                  <a:gd name="connsiteX375" fmla="*/ 69129 w 352477"/>
                  <a:gd name="connsiteY375" fmla="*/ 241937 h 286888"/>
                  <a:gd name="connsiteX376" fmla="*/ 67949 w 352477"/>
                  <a:gd name="connsiteY376" fmla="*/ 239879 h 286888"/>
                  <a:gd name="connsiteX377" fmla="*/ 67235 w 352477"/>
                  <a:gd name="connsiteY377" fmla="*/ 238863 h 286888"/>
                  <a:gd name="connsiteX378" fmla="*/ 66329 w 352477"/>
                  <a:gd name="connsiteY378" fmla="*/ 237766 h 286888"/>
                  <a:gd name="connsiteX379" fmla="*/ 62515 w 352477"/>
                  <a:gd name="connsiteY379" fmla="*/ 233814 h 286888"/>
                  <a:gd name="connsiteX380" fmla="*/ 60841 w 352477"/>
                  <a:gd name="connsiteY380" fmla="*/ 232277 h 286888"/>
                  <a:gd name="connsiteX381" fmla="*/ 57520 w 352477"/>
                  <a:gd name="connsiteY381" fmla="*/ 229506 h 286888"/>
                  <a:gd name="connsiteX382" fmla="*/ 57465 w 352477"/>
                  <a:gd name="connsiteY382" fmla="*/ 229341 h 286888"/>
                  <a:gd name="connsiteX383" fmla="*/ 58042 w 352477"/>
                  <a:gd name="connsiteY383" fmla="*/ 229643 h 286888"/>
                  <a:gd name="connsiteX384" fmla="*/ 58261 w 352477"/>
                  <a:gd name="connsiteY384" fmla="*/ 229643 h 286888"/>
                  <a:gd name="connsiteX385" fmla="*/ 57356 w 352477"/>
                  <a:gd name="connsiteY385" fmla="*/ 228408 h 286888"/>
                  <a:gd name="connsiteX386" fmla="*/ 56505 w 352477"/>
                  <a:gd name="connsiteY386" fmla="*/ 227667 h 286888"/>
                  <a:gd name="connsiteX387" fmla="*/ 55105 w 352477"/>
                  <a:gd name="connsiteY387" fmla="*/ 226871 h 286888"/>
                  <a:gd name="connsiteX388" fmla="*/ 54172 w 352477"/>
                  <a:gd name="connsiteY388" fmla="*/ 226761 h 286888"/>
                  <a:gd name="connsiteX389" fmla="*/ 53130 w 352477"/>
                  <a:gd name="connsiteY389" fmla="*/ 226185 h 286888"/>
                  <a:gd name="connsiteX390" fmla="*/ 50770 w 352477"/>
                  <a:gd name="connsiteY390" fmla="*/ 225307 h 286888"/>
                  <a:gd name="connsiteX391" fmla="*/ 48190 w 352477"/>
                  <a:gd name="connsiteY391" fmla="*/ 224648 h 286888"/>
                  <a:gd name="connsiteX392" fmla="*/ 44156 w 352477"/>
                  <a:gd name="connsiteY392" fmla="*/ 224127 h 286888"/>
                  <a:gd name="connsiteX393" fmla="*/ 39819 w 352477"/>
                  <a:gd name="connsiteY393" fmla="*/ 223331 h 286888"/>
                  <a:gd name="connsiteX394" fmla="*/ 36691 w 352477"/>
                  <a:gd name="connsiteY394" fmla="*/ 222892 h 286888"/>
                  <a:gd name="connsiteX395" fmla="*/ 33014 w 352477"/>
                  <a:gd name="connsiteY395" fmla="*/ 222754 h 286888"/>
                  <a:gd name="connsiteX396" fmla="*/ 29336 w 352477"/>
                  <a:gd name="connsiteY396" fmla="*/ 223084 h 286888"/>
                  <a:gd name="connsiteX397" fmla="*/ 25275 w 352477"/>
                  <a:gd name="connsiteY397" fmla="*/ 223194 h 286888"/>
                  <a:gd name="connsiteX398" fmla="*/ 549 w 352477"/>
                  <a:gd name="connsiteY398" fmla="*/ 224621 h 286888"/>
                  <a:gd name="connsiteX399" fmla="*/ 2771 w 352477"/>
                  <a:gd name="connsiteY399" fmla="*/ 193061 h 286888"/>
                  <a:gd name="connsiteX400" fmla="*/ 0 w 352477"/>
                  <a:gd name="connsiteY400" fmla="*/ 179230 h 286888"/>
                  <a:gd name="connsiteX401" fmla="*/ 1345 w 352477"/>
                  <a:gd name="connsiteY401" fmla="*/ 163999 h 286888"/>
                  <a:gd name="connsiteX402" fmla="*/ 2826 w 352477"/>
                  <a:gd name="connsiteY402" fmla="*/ 147039 h 286888"/>
                  <a:gd name="connsiteX403" fmla="*/ 11471 w 352477"/>
                  <a:gd name="connsiteY403" fmla="*/ 141962 h 286888"/>
                  <a:gd name="connsiteX404" fmla="*/ 14298 w 352477"/>
                  <a:gd name="connsiteY404" fmla="*/ 132165 h 286888"/>
                  <a:gd name="connsiteX405" fmla="*/ 18579 w 352477"/>
                  <a:gd name="connsiteY405" fmla="*/ 124783 h 286888"/>
                  <a:gd name="connsiteX406" fmla="*/ 25933 w 352477"/>
                  <a:gd name="connsiteY406" fmla="*/ 118224 h 286888"/>
                  <a:gd name="connsiteX407" fmla="*/ 27909 w 352477"/>
                  <a:gd name="connsiteY407" fmla="*/ 112187 h 286888"/>
                  <a:gd name="connsiteX408" fmla="*/ 27690 w 352477"/>
                  <a:gd name="connsiteY408" fmla="*/ 105601 h 286888"/>
                  <a:gd name="connsiteX409" fmla="*/ 31998 w 352477"/>
                  <a:gd name="connsiteY409" fmla="*/ 103487 h 286888"/>
                  <a:gd name="connsiteX410" fmla="*/ 33315 w 352477"/>
                  <a:gd name="connsiteY410" fmla="*/ 100414 h 286888"/>
                  <a:gd name="connsiteX411" fmla="*/ 30269 w 352477"/>
                  <a:gd name="connsiteY411" fmla="*/ 84579 h 286888"/>
                  <a:gd name="connsiteX412" fmla="*/ 23436 w 352477"/>
                  <a:gd name="connsiteY412" fmla="*/ 73547 h 286888"/>
                  <a:gd name="connsiteX413" fmla="*/ 26921 w 352477"/>
                  <a:gd name="connsiteY413" fmla="*/ 66055 h 286888"/>
                  <a:gd name="connsiteX414" fmla="*/ 28486 w 352477"/>
                  <a:gd name="connsiteY414" fmla="*/ 64079 h 286888"/>
                  <a:gd name="connsiteX415" fmla="*/ 28897 w 352477"/>
                  <a:gd name="connsiteY415" fmla="*/ 41329 h 286888"/>
                  <a:gd name="connsiteX416" fmla="*/ 40890 w 352477"/>
                  <a:gd name="connsiteY416" fmla="*/ 28019 h 286888"/>
                  <a:gd name="connsiteX417" fmla="*/ 42866 w 352477"/>
                  <a:gd name="connsiteY417" fmla="*/ 13090 h 286888"/>
                  <a:gd name="connsiteX418" fmla="*/ 57081 w 352477"/>
                  <a:gd name="connsiteY418" fmla="*/ 4583 h 286888"/>
                  <a:gd name="connsiteX419" fmla="*/ 75276 w 352477"/>
                  <a:gd name="connsiteY419" fmla="*/ 4281 h 286888"/>
                  <a:gd name="connsiteX420" fmla="*/ 84167 w 352477"/>
                  <a:gd name="connsiteY420" fmla="*/ 0 h 286888"/>
                  <a:gd name="connsiteX421" fmla="*/ 108619 w 352477"/>
                  <a:gd name="connsiteY421" fmla="*/ 7053 h 28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Lst>
                <a:rect l="l" t="t" r="r" b="b"/>
                <a:pathLst>
                  <a:path w="352477" h="286888">
                    <a:moveTo>
                      <a:pt x="109168" y="6888"/>
                    </a:moveTo>
                    <a:lnTo>
                      <a:pt x="125606" y="26647"/>
                    </a:lnTo>
                    <a:lnTo>
                      <a:pt x="140124" y="22970"/>
                    </a:lnTo>
                    <a:lnTo>
                      <a:pt x="152885" y="16658"/>
                    </a:lnTo>
                    <a:lnTo>
                      <a:pt x="159718" y="18085"/>
                    </a:lnTo>
                    <a:lnTo>
                      <a:pt x="168555" y="24369"/>
                    </a:lnTo>
                    <a:lnTo>
                      <a:pt x="183703" y="31120"/>
                    </a:lnTo>
                    <a:lnTo>
                      <a:pt x="203599" y="32410"/>
                    </a:lnTo>
                    <a:lnTo>
                      <a:pt x="219461" y="19676"/>
                    </a:lnTo>
                    <a:lnTo>
                      <a:pt x="236448" y="15807"/>
                    </a:lnTo>
                    <a:lnTo>
                      <a:pt x="258595" y="15807"/>
                    </a:lnTo>
                    <a:cubicBezTo>
                      <a:pt x="258595" y="15807"/>
                      <a:pt x="270725" y="19265"/>
                      <a:pt x="270725" y="19265"/>
                    </a:cubicBezTo>
                    <a:lnTo>
                      <a:pt x="277256" y="23354"/>
                    </a:lnTo>
                    <a:lnTo>
                      <a:pt x="287849" y="24232"/>
                    </a:lnTo>
                    <a:lnTo>
                      <a:pt x="291856" y="18606"/>
                    </a:lnTo>
                    <a:lnTo>
                      <a:pt x="300418" y="11938"/>
                    </a:lnTo>
                    <a:lnTo>
                      <a:pt x="308925" y="10264"/>
                    </a:lnTo>
                    <a:lnTo>
                      <a:pt x="314112" y="5296"/>
                    </a:lnTo>
                    <a:lnTo>
                      <a:pt x="322455" y="5132"/>
                    </a:lnTo>
                    <a:lnTo>
                      <a:pt x="335710" y="24232"/>
                    </a:lnTo>
                    <a:lnTo>
                      <a:pt x="338866" y="44567"/>
                    </a:lnTo>
                    <a:lnTo>
                      <a:pt x="347126" y="46269"/>
                    </a:lnTo>
                    <a:lnTo>
                      <a:pt x="352478" y="52032"/>
                    </a:lnTo>
                    <a:lnTo>
                      <a:pt x="350008" y="65040"/>
                    </a:lnTo>
                    <a:lnTo>
                      <a:pt x="351819" y="69348"/>
                    </a:lnTo>
                    <a:lnTo>
                      <a:pt x="339168" y="78899"/>
                    </a:lnTo>
                    <a:lnTo>
                      <a:pt x="332225" y="78651"/>
                    </a:lnTo>
                    <a:lnTo>
                      <a:pt x="321302" y="96187"/>
                    </a:lnTo>
                    <a:lnTo>
                      <a:pt x="318256" y="109717"/>
                    </a:lnTo>
                    <a:lnTo>
                      <a:pt x="312026" y="115507"/>
                    </a:lnTo>
                    <a:lnTo>
                      <a:pt x="309941" y="128543"/>
                    </a:lnTo>
                    <a:lnTo>
                      <a:pt x="300555" y="135294"/>
                    </a:lnTo>
                    <a:lnTo>
                      <a:pt x="298717" y="146792"/>
                    </a:lnTo>
                    <a:lnTo>
                      <a:pt x="297838" y="152199"/>
                    </a:lnTo>
                    <a:lnTo>
                      <a:pt x="292624" y="157276"/>
                    </a:lnTo>
                    <a:lnTo>
                      <a:pt x="287959" y="158428"/>
                    </a:lnTo>
                    <a:lnTo>
                      <a:pt x="283431" y="163780"/>
                    </a:lnTo>
                    <a:lnTo>
                      <a:pt x="282251" y="165179"/>
                    </a:lnTo>
                    <a:lnTo>
                      <a:pt x="280000" y="176595"/>
                    </a:lnTo>
                    <a:lnTo>
                      <a:pt x="275225" y="185240"/>
                    </a:lnTo>
                    <a:lnTo>
                      <a:pt x="269957" y="201788"/>
                    </a:lnTo>
                    <a:lnTo>
                      <a:pt x="263343" y="207853"/>
                    </a:lnTo>
                    <a:lnTo>
                      <a:pt x="259034" y="217431"/>
                    </a:lnTo>
                    <a:lnTo>
                      <a:pt x="255329" y="219846"/>
                    </a:lnTo>
                    <a:lnTo>
                      <a:pt x="249923" y="219626"/>
                    </a:lnTo>
                    <a:lnTo>
                      <a:pt x="233704" y="204258"/>
                    </a:lnTo>
                    <a:lnTo>
                      <a:pt x="227914" y="208978"/>
                    </a:lnTo>
                    <a:lnTo>
                      <a:pt x="216525" y="207716"/>
                    </a:lnTo>
                    <a:lnTo>
                      <a:pt x="209801" y="212793"/>
                    </a:lnTo>
                    <a:lnTo>
                      <a:pt x="206124" y="219489"/>
                    </a:lnTo>
                    <a:lnTo>
                      <a:pt x="199840" y="223249"/>
                    </a:lnTo>
                    <a:lnTo>
                      <a:pt x="183539" y="239330"/>
                    </a:lnTo>
                    <a:lnTo>
                      <a:pt x="180876" y="257744"/>
                    </a:lnTo>
                    <a:lnTo>
                      <a:pt x="174839" y="270478"/>
                    </a:lnTo>
                    <a:lnTo>
                      <a:pt x="174674" y="270478"/>
                    </a:lnTo>
                    <a:lnTo>
                      <a:pt x="174181" y="270725"/>
                    </a:lnTo>
                    <a:lnTo>
                      <a:pt x="173714" y="270807"/>
                    </a:lnTo>
                    <a:lnTo>
                      <a:pt x="173522" y="270752"/>
                    </a:lnTo>
                    <a:lnTo>
                      <a:pt x="173412" y="270478"/>
                    </a:lnTo>
                    <a:lnTo>
                      <a:pt x="173193" y="270478"/>
                    </a:lnTo>
                    <a:cubicBezTo>
                      <a:pt x="173193" y="270478"/>
                      <a:pt x="172891" y="270643"/>
                      <a:pt x="172891" y="270643"/>
                    </a:cubicBezTo>
                    <a:lnTo>
                      <a:pt x="172616" y="270862"/>
                    </a:lnTo>
                    <a:lnTo>
                      <a:pt x="172205" y="271576"/>
                    </a:lnTo>
                    <a:lnTo>
                      <a:pt x="172122" y="271685"/>
                    </a:lnTo>
                    <a:lnTo>
                      <a:pt x="171985" y="271795"/>
                    </a:lnTo>
                    <a:lnTo>
                      <a:pt x="171820" y="271850"/>
                    </a:lnTo>
                    <a:lnTo>
                      <a:pt x="171656" y="271850"/>
                    </a:lnTo>
                    <a:lnTo>
                      <a:pt x="171519" y="271795"/>
                    </a:lnTo>
                    <a:lnTo>
                      <a:pt x="171381" y="271713"/>
                    </a:lnTo>
                    <a:lnTo>
                      <a:pt x="171299" y="271631"/>
                    </a:lnTo>
                    <a:lnTo>
                      <a:pt x="171134" y="271384"/>
                    </a:lnTo>
                    <a:lnTo>
                      <a:pt x="170476" y="271603"/>
                    </a:lnTo>
                    <a:lnTo>
                      <a:pt x="170201" y="272070"/>
                    </a:lnTo>
                    <a:lnTo>
                      <a:pt x="170037" y="272591"/>
                    </a:lnTo>
                    <a:lnTo>
                      <a:pt x="169707" y="272893"/>
                    </a:lnTo>
                    <a:lnTo>
                      <a:pt x="169104" y="273085"/>
                    </a:lnTo>
                    <a:lnTo>
                      <a:pt x="168280" y="272810"/>
                    </a:lnTo>
                    <a:lnTo>
                      <a:pt x="168088" y="272427"/>
                    </a:lnTo>
                    <a:lnTo>
                      <a:pt x="168390" y="271987"/>
                    </a:lnTo>
                    <a:lnTo>
                      <a:pt x="168390" y="271576"/>
                    </a:lnTo>
                    <a:cubicBezTo>
                      <a:pt x="168390" y="271576"/>
                      <a:pt x="168747" y="270341"/>
                      <a:pt x="168747" y="270341"/>
                    </a:cubicBezTo>
                    <a:lnTo>
                      <a:pt x="168637" y="269737"/>
                    </a:lnTo>
                    <a:lnTo>
                      <a:pt x="168335" y="269243"/>
                    </a:lnTo>
                    <a:lnTo>
                      <a:pt x="167978" y="268969"/>
                    </a:lnTo>
                    <a:lnTo>
                      <a:pt x="167567" y="268969"/>
                    </a:lnTo>
                    <a:cubicBezTo>
                      <a:pt x="167567" y="268969"/>
                      <a:pt x="167210" y="268886"/>
                      <a:pt x="167210" y="268886"/>
                    </a:cubicBezTo>
                    <a:lnTo>
                      <a:pt x="166771" y="268475"/>
                    </a:lnTo>
                    <a:lnTo>
                      <a:pt x="166387" y="267788"/>
                    </a:lnTo>
                    <a:lnTo>
                      <a:pt x="165673" y="267487"/>
                    </a:lnTo>
                    <a:lnTo>
                      <a:pt x="165536" y="267404"/>
                    </a:lnTo>
                    <a:lnTo>
                      <a:pt x="165426" y="267267"/>
                    </a:lnTo>
                    <a:lnTo>
                      <a:pt x="165344" y="267185"/>
                    </a:lnTo>
                    <a:lnTo>
                      <a:pt x="165207" y="267075"/>
                    </a:lnTo>
                    <a:lnTo>
                      <a:pt x="165069" y="267020"/>
                    </a:lnTo>
                    <a:lnTo>
                      <a:pt x="164905" y="267020"/>
                    </a:lnTo>
                    <a:lnTo>
                      <a:pt x="164740" y="267075"/>
                    </a:lnTo>
                    <a:lnTo>
                      <a:pt x="164603" y="267157"/>
                    </a:lnTo>
                    <a:lnTo>
                      <a:pt x="164356" y="267404"/>
                    </a:lnTo>
                    <a:lnTo>
                      <a:pt x="164301" y="267459"/>
                    </a:lnTo>
                    <a:lnTo>
                      <a:pt x="164219" y="267597"/>
                    </a:lnTo>
                    <a:lnTo>
                      <a:pt x="164219" y="267734"/>
                    </a:lnTo>
                    <a:cubicBezTo>
                      <a:pt x="164219" y="267734"/>
                      <a:pt x="164219" y="267898"/>
                      <a:pt x="164219" y="267898"/>
                    </a:cubicBezTo>
                    <a:lnTo>
                      <a:pt x="164219" y="268255"/>
                    </a:lnTo>
                    <a:lnTo>
                      <a:pt x="164136" y="268447"/>
                    </a:lnTo>
                    <a:lnTo>
                      <a:pt x="164054" y="268365"/>
                    </a:lnTo>
                    <a:lnTo>
                      <a:pt x="163944" y="268228"/>
                    </a:lnTo>
                    <a:lnTo>
                      <a:pt x="163944" y="268090"/>
                    </a:lnTo>
                    <a:cubicBezTo>
                      <a:pt x="163944" y="268090"/>
                      <a:pt x="163862" y="267953"/>
                      <a:pt x="163862" y="267953"/>
                    </a:cubicBezTo>
                    <a:lnTo>
                      <a:pt x="163752" y="267816"/>
                    </a:lnTo>
                    <a:lnTo>
                      <a:pt x="163642" y="267734"/>
                    </a:lnTo>
                    <a:lnTo>
                      <a:pt x="163478" y="267679"/>
                    </a:lnTo>
                    <a:lnTo>
                      <a:pt x="163176" y="267679"/>
                    </a:lnTo>
                    <a:cubicBezTo>
                      <a:pt x="163176" y="267679"/>
                      <a:pt x="163066" y="267761"/>
                      <a:pt x="163066" y="267761"/>
                    </a:cubicBezTo>
                    <a:lnTo>
                      <a:pt x="162737" y="267761"/>
                    </a:lnTo>
                    <a:cubicBezTo>
                      <a:pt x="162737" y="267761"/>
                      <a:pt x="162572" y="267624"/>
                      <a:pt x="162572" y="267624"/>
                    </a:cubicBezTo>
                    <a:lnTo>
                      <a:pt x="162407" y="267514"/>
                    </a:lnTo>
                    <a:lnTo>
                      <a:pt x="162243" y="267514"/>
                    </a:lnTo>
                    <a:cubicBezTo>
                      <a:pt x="162243" y="267514"/>
                      <a:pt x="162078" y="267514"/>
                      <a:pt x="162078" y="267514"/>
                    </a:cubicBezTo>
                    <a:lnTo>
                      <a:pt x="161941" y="267597"/>
                    </a:lnTo>
                    <a:lnTo>
                      <a:pt x="161804" y="267706"/>
                    </a:lnTo>
                    <a:lnTo>
                      <a:pt x="161721" y="267843"/>
                    </a:lnTo>
                    <a:lnTo>
                      <a:pt x="161666" y="268008"/>
                    </a:lnTo>
                    <a:lnTo>
                      <a:pt x="161666" y="268173"/>
                    </a:lnTo>
                    <a:cubicBezTo>
                      <a:pt x="161666" y="268173"/>
                      <a:pt x="161749" y="268310"/>
                      <a:pt x="161749" y="268310"/>
                    </a:cubicBezTo>
                    <a:lnTo>
                      <a:pt x="161886" y="268557"/>
                    </a:lnTo>
                    <a:lnTo>
                      <a:pt x="162490" y="269161"/>
                    </a:lnTo>
                    <a:lnTo>
                      <a:pt x="163093" y="269984"/>
                    </a:lnTo>
                    <a:lnTo>
                      <a:pt x="164081" y="270725"/>
                    </a:lnTo>
                    <a:lnTo>
                      <a:pt x="164960" y="272399"/>
                    </a:lnTo>
                    <a:lnTo>
                      <a:pt x="164905" y="272920"/>
                    </a:lnTo>
                    <a:lnTo>
                      <a:pt x="164685" y="273387"/>
                    </a:lnTo>
                    <a:lnTo>
                      <a:pt x="164383" y="274237"/>
                    </a:lnTo>
                    <a:lnTo>
                      <a:pt x="164274" y="274320"/>
                    </a:lnTo>
                    <a:lnTo>
                      <a:pt x="164164" y="274430"/>
                    </a:lnTo>
                    <a:lnTo>
                      <a:pt x="164109" y="274594"/>
                    </a:lnTo>
                    <a:lnTo>
                      <a:pt x="164109" y="274759"/>
                    </a:lnTo>
                    <a:cubicBezTo>
                      <a:pt x="164109" y="274759"/>
                      <a:pt x="164109" y="274924"/>
                      <a:pt x="164109" y="274924"/>
                    </a:cubicBezTo>
                    <a:lnTo>
                      <a:pt x="164191" y="275061"/>
                    </a:lnTo>
                    <a:lnTo>
                      <a:pt x="164329" y="275171"/>
                    </a:lnTo>
                    <a:lnTo>
                      <a:pt x="164438" y="275253"/>
                    </a:lnTo>
                    <a:lnTo>
                      <a:pt x="164575" y="275665"/>
                    </a:lnTo>
                    <a:lnTo>
                      <a:pt x="164712" y="275802"/>
                    </a:lnTo>
                    <a:lnTo>
                      <a:pt x="164795" y="275966"/>
                    </a:lnTo>
                    <a:lnTo>
                      <a:pt x="164795" y="276131"/>
                    </a:lnTo>
                    <a:cubicBezTo>
                      <a:pt x="164795" y="276131"/>
                      <a:pt x="164795" y="276323"/>
                      <a:pt x="164795" y="276323"/>
                    </a:cubicBezTo>
                    <a:lnTo>
                      <a:pt x="164685" y="276488"/>
                    </a:lnTo>
                    <a:lnTo>
                      <a:pt x="164493" y="276680"/>
                    </a:lnTo>
                    <a:lnTo>
                      <a:pt x="164383" y="276817"/>
                    </a:lnTo>
                    <a:lnTo>
                      <a:pt x="164301" y="276954"/>
                    </a:lnTo>
                    <a:lnTo>
                      <a:pt x="164301" y="277119"/>
                    </a:lnTo>
                    <a:cubicBezTo>
                      <a:pt x="164301" y="277119"/>
                      <a:pt x="164301" y="277284"/>
                      <a:pt x="164301" y="277284"/>
                    </a:cubicBezTo>
                    <a:lnTo>
                      <a:pt x="164356" y="277366"/>
                    </a:lnTo>
                    <a:lnTo>
                      <a:pt x="164301" y="277503"/>
                    </a:lnTo>
                    <a:lnTo>
                      <a:pt x="164191" y="277503"/>
                    </a:lnTo>
                    <a:cubicBezTo>
                      <a:pt x="164191" y="277503"/>
                      <a:pt x="164026" y="277503"/>
                      <a:pt x="164026" y="277503"/>
                    </a:cubicBezTo>
                    <a:lnTo>
                      <a:pt x="163807" y="277585"/>
                    </a:lnTo>
                    <a:lnTo>
                      <a:pt x="163395" y="277585"/>
                    </a:lnTo>
                    <a:cubicBezTo>
                      <a:pt x="163395" y="277585"/>
                      <a:pt x="163340" y="277833"/>
                      <a:pt x="163340" y="277833"/>
                    </a:cubicBezTo>
                    <a:lnTo>
                      <a:pt x="163148" y="277942"/>
                    </a:lnTo>
                    <a:lnTo>
                      <a:pt x="163203" y="278052"/>
                    </a:lnTo>
                    <a:lnTo>
                      <a:pt x="163203" y="278409"/>
                    </a:lnTo>
                    <a:cubicBezTo>
                      <a:pt x="163203" y="278409"/>
                      <a:pt x="163093" y="278546"/>
                      <a:pt x="163093" y="278546"/>
                    </a:cubicBezTo>
                    <a:lnTo>
                      <a:pt x="162929" y="278656"/>
                    </a:lnTo>
                    <a:lnTo>
                      <a:pt x="162764" y="278738"/>
                    </a:lnTo>
                    <a:lnTo>
                      <a:pt x="162407" y="278738"/>
                    </a:lnTo>
                    <a:cubicBezTo>
                      <a:pt x="162407" y="278738"/>
                      <a:pt x="161035" y="278628"/>
                      <a:pt x="161035" y="278628"/>
                    </a:cubicBezTo>
                    <a:lnTo>
                      <a:pt x="157138" y="278738"/>
                    </a:lnTo>
                    <a:lnTo>
                      <a:pt x="154476" y="278930"/>
                    </a:lnTo>
                    <a:lnTo>
                      <a:pt x="147808" y="279809"/>
                    </a:lnTo>
                    <a:lnTo>
                      <a:pt x="147177" y="280055"/>
                    </a:lnTo>
                    <a:lnTo>
                      <a:pt x="146573" y="280165"/>
                    </a:lnTo>
                    <a:lnTo>
                      <a:pt x="145805" y="280522"/>
                    </a:lnTo>
                    <a:lnTo>
                      <a:pt x="145064" y="280687"/>
                    </a:lnTo>
                    <a:lnTo>
                      <a:pt x="144844" y="280577"/>
                    </a:lnTo>
                    <a:lnTo>
                      <a:pt x="144679" y="280522"/>
                    </a:lnTo>
                    <a:lnTo>
                      <a:pt x="144514" y="280522"/>
                    </a:lnTo>
                    <a:lnTo>
                      <a:pt x="144350" y="280577"/>
                    </a:lnTo>
                    <a:lnTo>
                      <a:pt x="144185" y="280659"/>
                    </a:lnTo>
                    <a:lnTo>
                      <a:pt x="144103" y="280824"/>
                    </a:lnTo>
                    <a:lnTo>
                      <a:pt x="144048" y="280989"/>
                    </a:lnTo>
                    <a:lnTo>
                      <a:pt x="143993" y="281400"/>
                    </a:lnTo>
                    <a:lnTo>
                      <a:pt x="143664" y="281482"/>
                    </a:lnTo>
                    <a:lnTo>
                      <a:pt x="141633" y="281482"/>
                    </a:lnTo>
                    <a:cubicBezTo>
                      <a:pt x="141633" y="281482"/>
                      <a:pt x="139273" y="281922"/>
                      <a:pt x="139273" y="281922"/>
                    </a:cubicBezTo>
                    <a:lnTo>
                      <a:pt x="138724" y="281867"/>
                    </a:lnTo>
                    <a:lnTo>
                      <a:pt x="137462" y="281729"/>
                    </a:lnTo>
                    <a:lnTo>
                      <a:pt x="136913" y="281428"/>
                    </a:lnTo>
                    <a:lnTo>
                      <a:pt x="136968" y="281263"/>
                    </a:lnTo>
                    <a:lnTo>
                      <a:pt x="137242" y="281016"/>
                    </a:lnTo>
                    <a:lnTo>
                      <a:pt x="137132" y="280796"/>
                    </a:lnTo>
                    <a:lnTo>
                      <a:pt x="137132" y="280522"/>
                    </a:lnTo>
                    <a:cubicBezTo>
                      <a:pt x="137132" y="280522"/>
                      <a:pt x="137462" y="280275"/>
                      <a:pt x="137462" y="280275"/>
                    </a:cubicBezTo>
                    <a:lnTo>
                      <a:pt x="137874" y="280083"/>
                    </a:lnTo>
                    <a:lnTo>
                      <a:pt x="137874" y="279946"/>
                    </a:lnTo>
                    <a:cubicBezTo>
                      <a:pt x="137874" y="279946"/>
                      <a:pt x="137270" y="279781"/>
                      <a:pt x="137270" y="279781"/>
                    </a:cubicBezTo>
                    <a:lnTo>
                      <a:pt x="136748" y="279452"/>
                    </a:lnTo>
                    <a:lnTo>
                      <a:pt x="136200" y="279726"/>
                    </a:lnTo>
                    <a:lnTo>
                      <a:pt x="135404" y="279946"/>
                    </a:lnTo>
                    <a:lnTo>
                      <a:pt x="134909" y="279863"/>
                    </a:lnTo>
                    <a:lnTo>
                      <a:pt x="134196" y="278848"/>
                    </a:lnTo>
                    <a:lnTo>
                      <a:pt x="133894" y="278189"/>
                    </a:lnTo>
                    <a:lnTo>
                      <a:pt x="133016" y="277421"/>
                    </a:lnTo>
                    <a:lnTo>
                      <a:pt x="132879" y="277256"/>
                    </a:lnTo>
                    <a:lnTo>
                      <a:pt x="132769" y="277119"/>
                    </a:lnTo>
                    <a:lnTo>
                      <a:pt x="132604" y="277037"/>
                    </a:lnTo>
                    <a:lnTo>
                      <a:pt x="132440" y="277037"/>
                    </a:lnTo>
                    <a:cubicBezTo>
                      <a:pt x="132440" y="277037"/>
                      <a:pt x="132275" y="277037"/>
                      <a:pt x="132275" y="277037"/>
                    </a:cubicBezTo>
                    <a:lnTo>
                      <a:pt x="132110" y="277119"/>
                    </a:lnTo>
                    <a:lnTo>
                      <a:pt x="132001" y="277256"/>
                    </a:lnTo>
                    <a:lnTo>
                      <a:pt x="131918" y="277394"/>
                    </a:lnTo>
                    <a:lnTo>
                      <a:pt x="131918" y="277503"/>
                    </a:lnTo>
                    <a:cubicBezTo>
                      <a:pt x="131918" y="277503"/>
                      <a:pt x="131808" y="277640"/>
                      <a:pt x="131808" y="277640"/>
                    </a:cubicBezTo>
                    <a:lnTo>
                      <a:pt x="131644" y="277778"/>
                    </a:lnTo>
                    <a:lnTo>
                      <a:pt x="131507" y="277833"/>
                    </a:lnTo>
                    <a:lnTo>
                      <a:pt x="131397" y="277970"/>
                    </a:lnTo>
                    <a:lnTo>
                      <a:pt x="131315" y="278135"/>
                    </a:lnTo>
                    <a:lnTo>
                      <a:pt x="131315" y="278491"/>
                    </a:lnTo>
                    <a:cubicBezTo>
                      <a:pt x="131315" y="278491"/>
                      <a:pt x="131452" y="278628"/>
                      <a:pt x="131452" y="278628"/>
                    </a:cubicBezTo>
                    <a:lnTo>
                      <a:pt x="131973" y="279232"/>
                    </a:lnTo>
                    <a:lnTo>
                      <a:pt x="131973" y="280083"/>
                    </a:lnTo>
                    <a:lnTo>
                      <a:pt x="131644" y="280741"/>
                    </a:lnTo>
                    <a:lnTo>
                      <a:pt x="131315" y="281016"/>
                    </a:lnTo>
                    <a:lnTo>
                      <a:pt x="130491" y="281098"/>
                    </a:lnTo>
                    <a:lnTo>
                      <a:pt x="129915" y="281291"/>
                    </a:lnTo>
                    <a:lnTo>
                      <a:pt x="129641" y="281236"/>
                    </a:lnTo>
                    <a:lnTo>
                      <a:pt x="129476" y="281236"/>
                    </a:lnTo>
                    <a:cubicBezTo>
                      <a:pt x="129476" y="281236"/>
                      <a:pt x="129311" y="281236"/>
                      <a:pt x="129311" y="281236"/>
                    </a:cubicBezTo>
                    <a:lnTo>
                      <a:pt x="129174" y="281318"/>
                    </a:lnTo>
                    <a:lnTo>
                      <a:pt x="129064" y="281428"/>
                    </a:lnTo>
                    <a:lnTo>
                      <a:pt x="129009" y="281537"/>
                    </a:lnTo>
                    <a:lnTo>
                      <a:pt x="128845" y="281702"/>
                    </a:lnTo>
                    <a:lnTo>
                      <a:pt x="128543" y="281784"/>
                    </a:lnTo>
                    <a:lnTo>
                      <a:pt x="127747" y="281729"/>
                    </a:lnTo>
                    <a:lnTo>
                      <a:pt x="127637" y="281729"/>
                    </a:lnTo>
                    <a:cubicBezTo>
                      <a:pt x="127637" y="281729"/>
                      <a:pt x="127473" y="281729"/>
                      <a:pt x="127473" y="281729"/>
                    </a:cubicBezTo>
                    <a:lnTo>
                      <a:pt x="127281" y="281784"/>
                    </a:lnTo>
                    <a:lnTo>
                      <a:pt x="127143" y="281894"/>
                    </a:lnTo>
                    <a:lnTo>
                      <a:pt x="127061" y="282032"/>
                    </a:lnTo>
                    <a:lnTo>
                      <a:pt x="127006" y="282223"/>
                    </a:lnTo>
                    <a:lnTo>
                      <a:pt x="127006" y="282388"/>
                    </a:lnTo>
                    <a:cubicBezTo>
                      <a:pt x="127006" y="282388"/>
                      <a:pt x="127116" y="282553"/>
                      <a:pt x="127116" y="282553"/>
                    </a:cubicBezTo>
                    <a:lnTo>
                      <a:pt x="127335" y="282937"/>
                    </a:lnTo>
                    <a:lnTo>
                      <a:pt x="127281" y="283266"/>
                    </a:lnTo>
                    <a:lnTo>
                      <a:pt x="126786" y="283651"/>
                    </a:lnTo>
                    <a:lnTo>
                      <a:pt x="126402" y="283651"/>
                    </a:lnTo>
                    <a:cubicBezTo>
                      <a:pt x="126402" y="283651"/>
                      <a:pt x="126018" y="283239"/>
                      <a:pt x="126018" y="283239"/>
                    </a:cubicBezTo>
                    <a:lnTo>
                      <a:pt x="125881" y="283568"/>
                    </a:lnTo>
                    <a:lnTo>
                      <a:pt x="125497" y="283706"/>
                    </a:lnTo>
                    <a:lnTo>
                      <a:pt x="123493" y="283266"/>
                    </a:lnTo>
                    <a:lnTo>
                      <a:pt x="123329" y="283266"/>
                    </a:lnTo>
                    <a:cubicBezTo>
                      <a:pt x="123329" y="283266"/>
                      <a:pt x="123164" y="283266"/>
                      <a:pt x="123164" y="283266"/>
                    </a:cubicBezTo>
                    <a:lnTo>
                      <a:pt x="123027" y="283349"/>
                    </a:lnTo>
                    <a:lnTo>
                      <a:pt x="122917" y="283458"/>
                    </a:lnTo>
                    <a:lnTo>
                      <a:pt x="122862" y="283623"/>
                    </a:lnTo>
                    <a:lnTo>
                      <a:pt x="122862" y="283760"/>
                    </a:lnTo>
                    <a:cubicBezTo>
                      <a:pt x="122862" y="283760"/>
                      <a:pt x="122862" y="283925"/>
                      <a:pt x="122862" y="283925"/>
                    </a:cubicBezTo>
                    <a:lnTo>
                      <a:pt x="122862" y="284035"/>
                    </a:lnTo>
                    <a:cubicBezTo>
                      <a:pt x="122862" y="284035"/>
                      <a:pt x="119926" y="284529"/>
                      <a:pt x="119926" y="284529"/>
                    </a:cubicBezTo>
                    <a:lnTo>
                      <a:pt x="119075" y="284419"/>
                    </a:lnTo>
                    <a:lnTo>
                      <a:pt x="118718" y="284254"/>
                    </a:lnTo>
                    <a:lnTo>
                      <a:pt x="118554" y="284172"/>
                    </a:lnTo>
                    <a:lnTo>
                      <a:pt x="118224" y="284172"/>
                    </a:lnTo>
                    <a:cubicBezTo>
                      <a:pt x="118224" y="284172"/>
                      <a:pt x="118059" y="284282"/>
                      <a:pt x="118059" y="284282"/>
                    </a:cubicBezTo>
                    <a:lnTo>
                      <a:pt x="117950" y="284392"/>
                    </a:lnTo>
                    <a:lnTo>
                      <a:pt x="117867" y="284556"/>
                    </a:lnTo>
                    <a:lnTo>
                      <a:pt x="117813" y="284748"/>
                    </a:lnTo>
                    <a:lnTo>
                      <a:pt x="116742" y="284995"/>
                    </a:lnTo>
                    <a:lnTo>
                      <a:pt x="116056" y="285242"/>
                    </a:lnTo>
                    <a:lnTo>
                      <a:pt x="115425" y="284803"/>
                    </a:lnTo>
                    <a:lnTo>
                      <a:pt x="115261" y="284721"/>
                    </a:lnTo>
                    <a:lnTo>
                      <a:pt x="114904" y="284721"/>
                    </a:lnTo>
                    <a:cubicBezTo>
                      <a:pt x="114904" y="284721"/>
                      <a:pt x="114766" y="284858"/>
                      <a:pt x="114766" y="284858"/>
                    </a:cubicBezTo>
                    <a:lnTo>
                      <a:pt x="114629" y="284995"/>
                    </a:lnTo>
                    <a:lnTo>
                      <a:pt x="114574" y="285105"/>
                    </a:lnTo>
                    <a:lnTo>
                      <a:pt x="110869" y="285599"/>
                    </a:lnTo>
                    <a:lnTo>
                      <a:pt x="110293" y="285297"/>
                    </a:lnTo>
                    <a:lnTo>
                      <a:pt x="110101" y="285215"/>
                    </a:lnTo>
                    <a:lnTo>
                      <a:pt x="109936" y="285215"/>
                    </a:lnTo>
                    <a:cubicBezTo>
                      <a:pt x="109936" y="285215"/>
                      <a:pt x="109772" y="285215"/>
                      <a:pt x="109772" y="285215"/>
                    </a:cubicBezTo>
                    <a:lnTo>
                      <a:pt x="109607" y="285297"/>
                    </a:lnTo>
                    <a:lnTo>
                      <a:pt x="109497" y="285434"/>
                    </a:lnTo>
                    <a:lnTo>
                      <a:pt x="109415" y="285599"/>
                    </a:lnTo>
                    <a:lnTo>
                      <a:pt x="109415" y="285791"/>
                    </a:lnTo>
                    <a:cubicBezTo>
                      <a:pt x="109415" y="285791"/>
                      <a:pt x="105820" y="286285"/>
                      <a:pt x="105820" y="286285"/>
                    </a:cubicBezTo>
                    <a:lnTo>
                      <a:pt x="104969" y="286285"/>
                    </a:lnTo>
                    <a:cubicBezTo>
                      <a:pt x="104969" y="286285"/>
                      <a:pt x="104585" y="286230"/>
                      <a:pt x="104585" y="286230"/>
                    </a:cubicBezTo>
                    <a:lnTo>
                      <a:pt x="104420" y="286148"/>
                    </a:lnTo>
                    <a:lnTo>
                      <a:pt x="104283" y="286148"/>
                    </a:lnTo>
                    <a:cubicBezTo>
                      <a:pt x="104283" y="286148"/>
                      <a:pt x="104119" y="286148"/>
                      <a:pt x="104119" y="286148"/>
                    </a:cubicBezTo>
                    <a:lnTo>
                      <a:pt x="103981" y="286203"/>
                    </a:lnTo>
                    <a:lnTo>
                      <a:pt x="103844" y="286312"/>
                    </a:lnTo>
                    <a:lnTo>
                      <a:pt x="103762" y="286477"/>
                    </a:lnTo>
                    <a:lnTo>
                      <a:pt x="100661" y="286889"/>
                    </a:lnTo>
                    <a:lnTo>
                      <a:pt x="100084" y="286779"/>
                    </a:lnTo>
                    <a:lnTo>
                      <a:pt x="99892" y="286532"/>
                    </a:lnTo>
                    <a:lnTo>
                      <a:pt x="99783" y="286367"/>
                    </a:lnTo>
                    <a:lnTo>
                      <a:pt x="99645" y="286285"/>
                    </a:lnTo>
                    <a:lnTo>
                      <a:pt x="99453" y="286230"/>
                    </a:lnTo>
                    <a:lnTo>
                      <a:pt x="99261" y="286230"/>
                    </a:lnTo>
                    <a:cubicBezTo>
                      <a:pt x="99261" y="286230"/>
                      <a:pt x="99206" y="286285"/>
                      <a:pt x="99206" y="286285"/>
                    </a:cubicBezTo>
                    <a:lnTo>
                      <a:pt x="98767" y="286285"/>
                    </a:lnTo>
                    <a:cubicBezTo>
                      <a:pt x="98767" y="286285"/>
                      <a:pt x="97148" y="285818"/>
                      <a:pt x="97148" y="285818"/>
                    </a:cubicBezTo>
                    <a:lnTo>
                      <a:pt x="96764" y="285407"/>
                    </a:lnTo>
                    <a:lnTo>
                      <a:pt x="96764" y="285297"/>
                    </a:lnTo>
                    <a:cubicBezTo>
                      <a:pt x="96764" y="285297"/>
                      <a:pt x="96654" y="285160"/>
                      <a:pt x="96654" y="285160"/>
                    </a:cubicBezTo>
                    <a:lnTo>
                      <a:pt x="96544" y="285050"/>
                    </a:lnTo>
                    <a:lnTo>
                      <a:pt x="96407" y="284995"/>
                    </a:lnTo>
                    <a:lnTo>
                      <a:pt x="96215" y="284995"/>
                    </a:lnTo>
                    <a:cubicBezTo>
                      <a:pt x="96215" y="284995"/>
                      <a:pt x="93882" y="283760"/>
                      <a:pt x="93882" y="283760"/>
                    </a:cubicBezTo>
                    <a:lnTo>
                      <a:pt x="93031" y="283156"/>
                    </a:lnTo>
                    <a:lnTo>
                      <a:pt x="90699" y="281263"/>
                    </a:lnTo>
                    <a:lnTo>
                      <a:pt x="89272" y="279809"/>
                    </a:lnTo>
                    <a:lnTo>
                      <a:pt x="87680" y="278491"/>
                    </a:lnTo>
                    <a:lnTo>
                      <a:pt x="85841" y="276241"/>
                    </a:lnTo>
                    <a:lnTo>
                      <a:pt x="83975" y="273496"/>
                    </a:lnTo>
                    <a:lnTo>
                      <a:pt x="83179" y="271685"/>
                    </a:lnTo>
                    <a:lnTo>
                      <a:pt x="81368" y="268475"/>
                    </a:lnTo>
                    <a:lnTo>
                      <a:pt x="81368" y="268255"/>
                    </a:lnTo>
                    <a:cubicBezTo>
                      <a:pt x="81368" y="268255"/>
                      <a:pt x="81451" y="268063"/>
                      <a:pt x="81451" y="268063"/>
                    </a:cubicBezTo>
                    <a:lnTo>
                      <a:pt x="81451" y="267871"/>
                    </a:lnTo>
                    <a:lnTo>
                      <a:pt x="81396" y="267706"/>
                    </a:lnTo>
                    <a:lnTo>
                      <a:pt x="80874" y="266910"/>
                    </a:lnTo>
                    <a:lnTo>
                      <a:pt x="80819" y="266636"/>
                    </a:lnTo>
                    <a:lnTo>
                      <a:pt x="80874" y="266197"/>
                    </a:lnTo>
                    <a:lnTo>
                      <a:pt x="80682" y="265538"/>
                    </a:lnTo>
                    <a:lnTo>
                      <a:pt x="79969" y="263699"/>
                    </a:lnTo>
                    <a:lnTo>
                      <a:pt x="79118" y="261861"/>
                    </a:lnTo>
                    <a:lnTo>
                      <a:pt x="79173" y="261586"/>
                    </a:lnTo>
                    <a:lnTo>
                      <a:pt x="79173" y="261367"/>
                    </a:lnTo>
                    <a:cubicBezTo>
                      <a:pt x="79173" y="261367"/>
                      <a:pt x="79173" y="261202"/>
                      <a:pt x="79173" y="261202"/>
                    </a:cubicBezTo>
                    <a:lnTo>
                      <a:pt x="79091" y="261038"/>
                    </a:lnTo>
                    <a:lnTo>
                      <a:pt x="78953" y="260928"/>
                    </a:lnTo>
                    <a:lnTo>
                      <a:pt x="78871" y="260873"/>
                    </a:lnTo>
                    <a:lnTo>
                      <a:pt x="78322" y="260050"/>
                    </a:lnTo>
                    <a:lnTo>
                      <a:pt x="78322" y="259226"/>
                    </a:lnTo>
                    <a:cubicBezTo>
                      <a:pt x="78322" y="259226"/>
                      <a:pt x="78048" y="257937"/>
                      <a:pt x="78048" y="257937"/>
                    </a:cubicBezTo>
                    <a:lnTo>
                      <a:pt x="77499" y="255851"/>
                    </a:lnTo>
                    <a:lnTo>
                      <a:pt x="77499" y="254753"/>
                    </a:lnTo>
                    <a:lnTo>
                      <a:pt x="78020" y="254643"/>
                    </a:lnTo>
                    <a:lnTo>
                      <a:pt x="78899" y="254753"/>
                    </a:lnTo>
                    <a:lnTo>
                      <a:pt x="79063" y="254753"/>
                    </a:lnTo>
                    <a:cubicBezTo>
                      <a:pt x="79063" y="254753"/>
                      <a:pt x="79228" y="254698"/>
                      <a:pt x="79228" y="254698"/>
                    </a:cubicBezTo>
                    <a:lnTo>
                      <a:pt x="79392" y="254589"/>
                    </a:lnTo>
                    <a:lnTo>
                      <a:pt x="79475" y="254451"/>
                    </a:lnTo>
                    <a:lnTo>
                      <a:pt x="79530" y="254286"/>
                    </a:lnTo>
                    <a:lnTo>
                      <a:pt x="79530" y="254094"/>
                    </a:lnTo>
                    <a:lnTo>
                      <a:pt x="79475" y="253930"/>
                    </a:lnTo>
                    <a:lnTo>
                      <a:pt x="79365" y="253793"/>
                    </a:lnTo>
                    <a:lnTo>
                      <a:pt x="79228" y="253710"/>
                    </a:lnTo>
                    <a:lnTo>
                      <a:pt x="79063" y="253655"/>
                    </a:lnTo>
                    <a:lnTo>
                      <a:pt x="78048" y="253573"/>
                    </a:lnTo>
                    <a:lnTo>
                      <a:pt x="75386" y="252448"/>
                    </a:lnTo>
                    <a:lnTo>
                      <a:pt x="74617" y="251899"/>
                    </a:lnTo>
                    <a:lnTo>
                      <a:pt x="73986" y="251295"/>
                    </a:lnTo>
                    <a:lnTo>
                      <a:pt x="72669" y="249374"/>
                    </a:lnTo>
                    <a:lnTo>
                      <a:pt x="73163" y="248578"/>
                    </a:lnTo>
                    <a:lnTo>
                      <a:pt x="73328" y="248414"/>
                    </a:lnTo>
                    <a:lnTo>
                      <a:pt x="73437" y="248277"/>
                    </a:lnTo>
                    <a:lnTo>
                      <a:pt x="73492" y="248139"/>
                    </a:lnTo>
                    <a:lnTo>
                      <a:pt x="73492" y="247837"/>
                    </a:lnTo>
                    <a:cubicBezTo>
                      <a:pt x="73492" y="247837"/>
                      <a:pt x="73382" y="247673"/>
                      <a:pt x="73382" y="247673"/>
                    </a:cubicBezTo>
                    <a:lnTo>
                      <a:pt x="73273" y="247563"/>
                    </a:lnTo>
                    <a:lnTo>
                      <a:pt x="73135" y="247508"/>
                    </a:lnTo>
                    <a:lnTo>
                      <a:pt x="72778" y="247371"/>
                    </a:lnTo>
                    <a:lnTo>
                      <a:pt x="71654" y="246273"/>
                    </a:lnTo>
                    <a:lnTo>
                      <a:pt x="70418" y="244078"/>
                    </a:lnTo>
                    <a:lnTo>
                      <a:pt x="70309" y="243172"/>
                    </a:lnTo>
                    <a:lnTo>
                      <a:pt x="70309" y="243035"/>
                    </a:lnTo>
                    <a:cubicBezTo>
                      <a:pt x="70309" y="243035"/>
                      <a:pt x="70364" y="242870"/>
                      <a:pt x="70364" y="242870"/>
                    </a:cubicBezTo>
                    <a:lnTo>
                      <a:pt x="70364" y="242678"/>
                    </a:lnTo>
                    <a:cubicBezTo>
                      <a:pt x="70364" y="242678"/>
                      <a:pt x="70226" y="242514"/>
                      <a:pt x="70226" y="242514"/>
                    </a:cubicBezTo>
                    <a:lnTo>
                      <a:pt x="70089" y="242404"/>
                    </a:lnTo>
                    <a:lnTo>
                      <a:pt x="69925" y="242349"/>
                    </a:lnTo>
                    <a:lnTo>
                      <a:pt x="69732" y="242349"/>
                    </a:lnTo>
                    <a:cubicBezTo>
                      <a:pt x="69732" y="242349"/>
                      <a:pt x="69568" y="242349"/>
                      <a:pt x="69568" y="242349"/>
                    </a:cubicBezTo>
                    <a:lnTo>
                      <a:pt x="69129" y="241937"/>
                    </a:lnTo>
                    <a:lnTo>
                      <a:pt x="67949" y="239879"/>
                    </a:lnTo>
                    <a:lnTo>
                      <a:pt x="67235" y="238863"/>
                    </a:lnTo>
                    <a:lnTo>
                      <a:pt x="66329" y="237766"/>
                    </a:lnTo>
                    <a:lnTo>
                      <a:pt x="62515" y="233814"/>
                    </a:lnTo>
                    <a:lnTo>
                      <a:pt x="60841" y="232277"/>
                    </a:lnTo>
                    <a:lnTo>
                      <a:pt x="57520" y="229506"/>
                    </a:lnTo>
                    <a:lnTo>
                      <a:pt x="57465" y="229341"/>
                    </a:lnTo>
                    <a:lnTo>
                      <a:pt x="58042" y="229643"/>
                    </a:lnTo>
                    <a:lnTo>
                      <a:pt x="58261" y="229643"/>
                    </a:lnTo>
                    <a:lnTo>
                      <a:pt x="57356" y="228408"/>
                    </a:lnTo>
                    <a:lnTo>
                      <a:pt x="56505" y="227667"/>
                    </a:lnTo>
                    <a:lnTo>
                      <a:pt x="55105" y="226871"/>
                    </a:lnTo>
                    <a:lnTo>
                      <a:pt x="54172" y="226761"/>
                    </a:lnTo>
                    <a:lnTo>
                      <a:pt x="53130" y="226185"/>
                    </a:lnTo>
                    <a:lnTo>
                      <a:pt x="50770" y="225307"/>
                    </a:lnTo>
                    <a:lnTo>
                      <a:pt x="48190" y="224648"/>
                    </a:lnTo>
                    <a:lnTo>
                      <a:pt x="44156" y="224127"/>
                    </a:lnTo>
                    <a:lnTo>
                      <a:pt x="39819" y="223331"/>
                    </a:lnTo>
                    <a:lnTo>
                      <a:pt x="36691" y="222892"/>
                    </a:lnTo>
                    <a:lnTo>
                      <a:pt x="33014" y="222754"/>
                    </a:lnTo>
                    <a:lnTo>
                      <a:pt x="29336" y="223084"/>
                    </a:lnTo>
                    <a:lnTo>
                      <a:pt x="25275" y="223194"/>
                    </a:lnTo>
                    <a:lnTo>
                      <a:pt x="549" y="224621"/>
                    </a:lnTo>
                    <a:lnTo>
                      <a:pt x="2771" y="193061"/>
                    </a:lnTo>
                    <a:lnTo>
                      <a:pt x="0" y="179230"/>
                    </a:lnTo>
                    <a:lnTo>
                      <a:pt x="1345" y="163999"/>
                    </a:lnTo>
                    <a:lnTo>
                      <a:pt x="2826" y="147039"/>
                    </a:lnTo>
                    <a:lnTo>
                      <a:pt x="11471" y="141962"/>
                    </a:lnTo>
                    <a:lnTo>
                      <a:pt x="14298" y="132165"/>
                    </a:lnTo>
                    <a:lnTo>
                      <a:pt x="18579" y="124783"/>
                    </a:lnTo>
                    <a:lnTo>
                      <a:pt x="25933" y="118224"/>
                    </a:lnTo>
                    <a:lnTo>
                      <a:pt x="27909" y="112187"/>
                    </a:lnTo>
                    <a:lnTo>
                      <a:pt x="27690" y="105601"/>
                    </a:lnTo>
                    <a:lnTo>
                      <a:pt x="31998" y="103487"/>
                    </a:lnTo>
                    <a:lnTo>
                      <a:pt x="33315" y="100414"/>
                    </a:lnTo>
                    <a:lnTo>
                      <a:pt x="30269" y="84579"/>
                    </a:lnTo>
                    <a:lnTo>
                      <a:pt x="23436" y="73547"/>
                    </a:lnTo>
                    <a:lnTo>
                      <a:pt x="26921" y="66055"/>
                    </a:lnTo>
                    <a:lnTo>
                      <a:pt x="28486" y="64079"/>
                    </a:lnTo>
                    <a:lnTo>
                      <a:pt x="28897" y="41329"/>
                    </a:lnTo>
                    <a:lnTo>
                      <a:pt x="40890" y="28019"/>
                    </a:lnTo>
                    <a:lnTo>
                      <a:pt x="42866" y="13090"/>
                    </a:lnTo>
                    <a:lnTo>
                      <a:pt x="57081" y="4583"/>
                    </a:lnTo>
                    <a:lnTo>
                      <a:pt x="75276" y="4281"/>
                    </a:lnTo>
                    <a:lnTo>
                      <a:pt x="84167" y="0"/>
                    </a:lnTo>
                    <a:lnTo>
                      <a:pt x="108619" y="70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3" name="Freeform: Shape 4112">
                <a:extLst>
                  <a:ext uri="{FF2B5EF4-FFF2-40B4-BE49-F238E27FC236}">
                    <a16:creationId xmlns:a16="http://schemas.microsoft.com/office/drawing/2014/main" id="{A05F9801-1D29-4E9C-81A4-1CCB6BF9DF78}"/>
                  </a:ext>
                </a:extLst>
              </p:cNvPr>
              <p:cNvSpPr/>
              <p:nvPr/>
            </p:nvSpPr>
            <p:spPr>
              <a:xfrm>
                <a:off x="1387297" y="3830792"/>
                <a:ext cx="489" cy="232"/>
              </a:xfrm>
              <a:custGeom>
                <a:avLst/>
                <a:gdLst>
                  <a:gd name="connsiteX0" fmla="*/ 4611 w 4692"/>
                  <a:gd name="connsiteY0" fmla="*/ 1454 h 2222"/>
                  <a:gd name="connsiteX1" fmla="*/ 2168 w 4692"/>
                  <a:gd name="connsiteY1" fmla="*/ 2223 h 2222"/>
                  <a:gd name="connsiteX2" fmla="*/ 0 w 4692"/>
                  <a:gd name="connsiteY2" fmla="*/ 1345 h 2222"/>
                  <a:gd name="connsiteX3" fmla="*/ 1015 w 4692"/>
                  <a:gd name="connsiteY3" fmla="*/ 302 h 2222"/>
                  <a:gd name="connsiteX4" fmla="*/ 4693 w 4692"/>
                  <a:gd name="connsiteY4" fmla="*/ 0 h 2222"/>
                  <a:gd name="connsiteX5" fmla="*/ 4611 w 4692"/>
                  <a:gd name="connsiteY5" fmla="*/ 1454 h 2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 h="2222">
                    <a:moveTo>
                      <a:pt x="4611" y="1454"/>
                    </a:moveTo>
                    <a:lnTo>
                      <a:pt x="2168" y="2223"/>
                    </a:lnTo>
                    <a:lnTo>
                      <a:pt x="0" y="1345"/>
                    </a:lnTo>
                    <a:lnTo>
                      <a:pt x="1015" y="302"/>
                    </a:lnTo>
                    <a:lnTo>
                      <a:pt x="4693" y="0"/>
                    </a:lnTo>
                    <a:lnTo>
                      <a:pt x="4611" y="14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4" name="Freeform: Shape 4113">
                <a:extLst>
                  <a:ext uri="{FF2B5EF4-FFF2-40B4-BE49-F238E27FC236}">
                    <a16:creationId xmlns:a16="http://schemas.microsoft.com/office/drawing/2014/main" id="{881E8932-058E-A0E6-631E-20BA77688D95}"/>
                  </a:ext>
                </a:extLst>
              </p:cNvPr>
              <p:cNvSpPr/>
              <p:nvPr/>
            </p:nvSpPr>
            <p:spPr>
              <a:xfrm>
                <a:off x="1611083" y="3746353"/>
                <a:ext cx="24794" cy="14140"/>
              </a:xfrm>
              <a:custGeom>
                <a:avLst/>
                <a:gdLst>
                  <a:gd name="connsiteX0" fmla="*/ 236586 w 237711"/>
                  <a:gd name="connsiteY0" fmla="*/ 86089 h 135568"/>
                  <a:gd name="connsiteX1" fmla="*/ 237519 w 237711"/>
                  <a:gd name="connsiteY1" fmla="*/ 89162 h 135568"/>
                  <a:gd name="connsiteX2" fmla="*/ 234363 w 237711"/>
                  <a:gd name="connsiteY2" fmla="*/ 98767 h 135568"/>
                  <a:gd name="connsiteX3" fmla="*/ 233019 w 237711"/>
                  <a:gd name="connsiteY3" fmla="*/ 110485 h 135568"/>
                  <a:gd name="connsiteX4" fmla="*/ 237711 w 237711"/>
                  <a:gd name="connsiteY4" fmla="*/ 123521 h 135568"/>
                  <a:gd name="connsiteX5" fmla="*/ 234720 w 237711"/>
                  <a:gd name="connsiteY5" fmla="*/ 133537 h 135568"/>
                  <a:gd name="connsiteX6" fmla="*/ 232772 w 237711"/>
                  <a:gd name="connsiteY6" fmla="*/ 135129 h 135568"/>
                  <a:gd name="connsiteX7" fmla="*/ 228216 w 237711"/>
                  <a:gd name="connsiteY7" fmla="*/ 133318 h 135568"/>
                  <a:gd name="connsiteX8" fmla="*/ 226460 w 237711"/>
                  <a:gd name="connsiteY8" fmla="*/ 133565 h 135568"/>
                  <a:gd name="connsiteX9" fmla="*/ 212574 w 237711"/>
                  <a:gd name="connsiteY9" fmla="*/ 135568 h 135568"/>
                  <a:gd name="connsiteX10" fmla="*/ 207552 w 237711"/>
                  <a:gd name="connsiteY10" fmla="*/ 134031 h 135568"/>
                  <a:gd name="connsiteX11" fmla="*/ 204176 w 237711"/>
                  <a:gd name="connsiteY11" fmla="*/ 130629 h 135568"/>
                  <a:gd name="connsiteX12" fmla="*/ 194982 w 237711"/>
                  <a:gd name="connsiteY12" fmla="*/ 133428 h 135568"/>
                  <a:gd name="connsiteX13" fmla="*/ 183045 w 237711"/>
                  <a:gd name="connsiteY13" fmla="*/ 128049 h 135568"/>
                  <a:gd name="connsiteX14" fmla="*/ 175745 w 237711"/>
                  <a:gd name="connsiteY14" fmla="*/ 126869 h 135568"/>
                  <a:gd name="connsiteX15" fmla="*/ 169076 w 237711"/>
                  <a:gd name="connsiteY15" fmla="*/ 128159 h 135568"/>
                  <a:gd name="connsiteX16" fmla="*/ 162764 w 237711"/>
                  <a:gd name="connsiteY16" fmla="*/ 120392 h 135568"/>
                  <a:gd name="connsiteX17" fmla="*/ 151787 w 237711"/>
                  <a:gd name="connsiteY17" fmla="*/ 122697 h 135568"/>
                  <a:gd name="connsiteX18" fmla="*/ 136145 w 237711"/>
                  <a:gd name="connsiteY18" fmla="*/ 114300 h 135568"/>
                  <a:gd name="connsiteX19" fmla="*/ 133071 w 237711"/>
                  <a:gd name="connsiteY19" fmla="*/ 104997 h 135568"/>
                  <a:gd name="connsiteX20" fmla="*/ 119185 w 237711"/>
                  <a:gd name="connsiteY20" fmla="*/ 99289 h 135568"/>
                  <a:gd name="connsiteX21" fmla="*/ 109992 w 237711"/>
                  <a:gd name="connsiteY21" fmla="*/ 102417 h 135568"/>
                  <a:gd name="connsiteX22" fmla="*/ 98713 w 237711"/>
                  <a:gd name="connsiteY22" fmla="*/ 100057 h 135568"/>
                  <a:gd name="connsiteX23" fmla="*/ 94733 w 237711"/>
                  <a:gd name="connsiteY23" fmla="*/ 103268 h 135568"/>
                  <a:gd name="connsiteX24" fmla="*/ 80353 w 237711"/>
                  <a:gd name="connsiteY24" fmla="*/ 98575 h 135568"/>
                  <a:gd name="connsiteX25" fmla="*/ 75963 w 237711"/>
                  <a:gd name="connsiteY25" fmla="*/ 92291 h 135568"/>
                  <a:gd name="connsiteX26" fmla="*/ 68800 w 237711"/>
                  <a:gd name="connsiteY26" fmla="*/ 91907 h 135568"/>
                  <a:gd name="connsiteX27" fmla="*/ 57685 w 237711"/>
                  <a:gd name="connsiteY27" fmla="*/ 85265 h 135568"/>
                  <a:gd name="connsiteX28" fmla="*/ 51017 w 237711"/>
                  <a:gd name="connsiteY28" fmla="*/ 85457 h 135568"/>
                  <a:gd name="connsiteX29" fmla="*/ 39656 w 237711"/>
                  <a:gd name="connsiteY29" fmla="*/ 77252 h 135568"/>
                  <a:gd name="connsiteX30" fmla="*/ 36143 w 237711"/>
                  <a:gd name="connsiteY30" fmla="*/ 76703 h 135568"/>
                  <a:gd name="connsiteX31" fmla="*/ 31340 w 237711"/>
                  <a:gd name="connsiteY31" fmla="*/ 69677 h 135568"/>
                  <a:gd name="connsiteX32" fmla="*/ 15506 w 237711"/>
                  <a:gd name="connsiteY32" fmla="*/ 60484 h 135568"/>
                  <a:gd name="connsiteX33" fmla="*/ 9386 w 237711"/>
                  <a:gd name="connsiteY33" fmla="*/ 61115 h 135568"/>
                  <a:gd name="connsiteX34" fmla="*/ 0 w 237711"/>
                  <a:gd name="connsiteY34" fmla="*/ 52965 h 135568"/>
                  <a:gd name="connsiteX35" fmla="*/ 1537 w 237711"/>
                  <a:gd name="connsiteY35" fmla="*/ 46626 h 135568"/>
                  <a:gd name="connsiteX36" fmla="*/ 5187 w 237711"/>
                  <a:gd name="connsiteY36" fmla="*/ 42097 h 135568"/>
                  <a:gd name="connsiteX37" fmla="*/ 5379 w 237711"/>
                  <a:gd name="connsiteY37" fmla="*/ 34276 h 135568"/>
                  <a:gd name="connsiteX38" fmla="*/ 8727 w 237711"/>
                  <a:gd name="connsiteY38" fmla="*/ 28348 h 135568"/>
                  <a:gd name="connsiteX39" fmla="*/ 9413 w 237711"/>
                  <a:gd name="connsiteY39" fmla="*/ 22723 h 135568"/>
                  <a:gd name="connsiteX40" fmla="*/ 23684 w 237711"/>
                  <a:gd name="connsiteY40" fmla="*/ 9193 h 135568"/>
                  <a:gd name="connsiteX41" fmla="*/ 27745 w 237711"/>
                  <a:gd name="connsiteY41" fmla="*/ 7986 h 135568"/>
                  <a:gd name="connsiteX42" fmla="*/ 30270 w 237711"/>
                  <a:gd name="connsiteY42" fmla="*/ 13365 h 135568"/>
                  <a:gd name="connsiteX43" fmla="*/ 32548 w 237711"/>
                  <a:gd name="connsiteY43" fmla="*/ 14325 h 135568"/>
                  <a:gd name="connsiteX44" fmla="*/ 38174 w 237711"/>
                  <a:gd name="connsiteY44" fmla="*/ 7409 h 135568"/>
                  <a:gd name="connsiteX45" fmla="*/ 39408 w 237711"/>
                  <a:gd name="connsiteY45" fmla="*/ 1125 h 135568"/>
                  <a:gd name="connsiteX46" fmla="*/ 45144 w 237711"/>
                  <a:gd name="connsiteY46" fmla="*/ 0 h 135568"/>
                  <a:gd name="connsiteX47" fmla="*/ 58591 w 237711"/>
                  <a:gd name="connsiteY47" fmla="*/ 3485 h 135568"/>
                  <a:gd name="connsiteX48" fmla="*/ 61857 w 237711"/>
                  <a:gd name="connsiteY48" fmla="*/ 12075 h 135568"/>
                  <a:gd name="connsiteX49" fmla="*/ 72615 w 237711"/>
                  <a:gd name="connsiteY49" fmla="*/ 16960 h 135568"/>
                  <a:gd name="connsiteX50" fmla="*/ 79722 w 237711"/>
                  <a:gd name="connsiteY50" fmla="*/ 24644 h 135568"/>
                  <a:gd name="connsiteX51" fmla="*/ 92401 w 237711"/>
                  <a:gd name="connsiteY51" fmla="*/ 29062 h 135568"/>
                  <a:gd name="connsiteX52" fmla="*/ 102362 w 237711"/>
                  <a:gd name="connsiteY52" fmla="*/ 42070 h 135568"/>
                  <a:gd name="connsiteX53" fmla="*/ 112022 w 237711"/>
                  <a:gd name="connsiteY53" fmla="*/ 38145 h 135568"/>
                  <a:gd name="connsiteX54" fmla="*/ 117346 w 237711"/>
                  <a:gd name="connsiteY54" fmla="*/ 38941 h 135568"/>
                  <a:gd name="connsiteX55" fmla="*/ 120145 w 237711"/>
                  <a:gd name="connsiteY55" fmla="*/ 40972 h 135568"/>
                  <a:gd name="connsiteX56" fmla="*/ 122066 w 237711"/>
                  <a:gd name="connsiteY56" fmla="*/ 51702 h 135568"/>
                  <a:gd name="connsiteX57" fmla="*/ 126238 w 237711"/>
                  <a:gd name="connsiteY57" fmla="*/ 53623 h 135568"/>
                  <a:gd name="connsiteX58" fmla="*/ 127939 w 237711"/>
                  <a:gd name="connsiteY58" fmla="*/ 57273 h 135568"/>
                  <a:gd name="connsiteX59" fmla="*/ 133126 w 237711"/>
                  <a:gd name="connsiteY59" fmla="*/ 58097 h 135568"/>
                  <a:gd name="connsiteX60" fmla="*/ 139932 w 237711"/>
                  <a:gd name="connsiteY60" fmla="*/ 62625 h 135568"/>
                  <a:gd name="connsiteX61" fmla="*/ 147863 w 237711"/>
                  <a:gd name="connsiteY61" fmla="*/ 59743 h 135568"/>
                  <a:gd name="connsiteX62" fmla="*/ 149729 w 237711"/>
                  <a:gd name="connsiteY62" fmla="*/ 62433 h 135568"/>
                  <a:gd name="connsiteX63" fmla="*/ 147726 w 237711"/>
                  <a:gd name="connsiteY63" fmla="*/ 67043 h 135568"/>
                  <a:gd name="connsiteX64" fmla="*/ 148357 w 237711"/>
                  <a:gd name="connsiteY64" fmla="*/ 70418 h 135568"/>
                  <a:gd name="connsiteX65" fmla="*/ 153736 w 237711"/>
                  <a:gd name="connsiteY65" fmla="*/ 72422 h 135568"/>
                  <a:gd name="connsiteX66" fmla="*/ 158127 w 237711"/>
                  <a:gd name="connsiteY66" fmla="*/ 70968 h 135568"/>
                  <a:gd name="connsiteX67" fmla="*/ 162682 w 237711"/>
                  <a:gd name="connsiteY67" fmla="*/ 71983 h 135568"/>
                  <a:gd name="connsiteX68" fmla="*/ 164850 w 237711"/>
                  <a:gd name="connsiteY68" fmla="*/ 70144 h 135568"/>
                  <a:gd name="connsiteX69" fmla="*/ 169379 w 237711"/>
                  <a:gd name="connsiteY69" fmla="*/ 76484 h 135568"/>
                  <a:gd name="connsiteX70" fmla="*/ 174675 w 237711"/>
                  <a:gd name="connsiteY70" fmla="*/ 84881 h 135568"/>
                  <a:gd name="connsiteX71" fmla="*/ 176568 w 237711"/>
                  <a:gd name="connsiteY71" fmla="*/ 84222 h 135568"/>
                  <a:gd name="connsiteX72" fmla="*/ 176294 w 237711"/>
                  <a:gd name="connsiteY72" fmla="*/ 79832 h 135568"/>
                  <a:gd name="connsiteX73" fmla="*/ 178243 w 237711"/>
                  <a:gd name="connsiteY73" fmla="*/ 77663 h 135568"/>
                  <a:gd name="connsiteX74" fmla="*/ 180356 w 237711"/>
                  <a:gd name="connsiteY74" fmla="*/ 81752 h 135568"/>
                  <a:gd name="connsiteX75" fmla="*/ 185817 w 237711"/>
                  <a:gd name="connsiteY75" fmla="*/ 84607 h 135568"/>
                  <a:gd name="connsiteX76" fmla="*/ 191086 w 237711"/>
                  <a:gd name="connsiteY76" fmla="*/ 78651 h 135568"/>
                  <a:gd name="connsiteX77" fmla="*/ 208979 w 237711"/>
                  <a:gd name="connsiteY77" fmla="*/ 87845 h 135568"/>
                  <a:gd name="connsiteX78" fmla="*/ 223715 w 237711"/>
                  <a:gd name="connsiteY78" fmla="*/ 88147 h 135568"/>
                  <a:gd name="connsiteX79" fmla="*/ 226350 w 237711"/>
                  <a:gd name="connsiteY79" fmla="*/ 85841 h 135568"/>
                  <a:gd name="connsiteX80" fmla="*/ 228161 w 237711"/>
                  <a:gd name="connsiteY80" fmla="*/ 84250 h 135568"/>
                  <a:gd name="connsiteX81" fmla="*/ 236449 w 237711"/>
                  <a:gd name="connsiteY81" fmla="*/ 86006 h 135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37711" h="135568">
                    <a:moveTo>
                      <a:pt x="236586" y="86089"/>
                    </a:moveTo>
                    <a:lnTo>
                      <a:pt x="237519" y="89162"/>
                    </a:lnTo>
                    <a:lnTo>
                      <a:pt x="234363" y="98767"/>
                    </a:lnTo>
                    <a:lnTo>
                      <a:pt x="233019" y="110485"/>
                    </a:lnTo>
                    <a:lnTo>
                      <a:pt x="237711" y="123521"/>
                    </a:lnTo>
                    <a:lnTo>
                      <a:pt x="234720" y="133537"/>
                    </a:lnTo>
                    <a:lnTo>
                      <a:pt x="232772" y="135129"/>
                    </a:lnTo>
                    <a:lnTo>
                      <a:pt x="228216" y="133318"/>
                    </a:lnTo>
                    <a:lnTo>
                      <a:pt x="226460" y="133565"/>
                    </a:lnTo>
                    <a:lnTo>
                      <a:pt x="212574" y="135568"/>
                    </a:lnTo>
                    <a:lnTo>
                      <a:pt x="207552" y="134031"/>
                    </a:lnTo>
                    <a:lnTo>
                      <a:pt x="204176" y="130629"/>
                    </a:lnTo>
                    <a:lnTo>
                      <a:pt x="194982" y="133428"/>
                    </a:lnTo>
                    <a:lnTo>
                      <a:pt x="183045" y="128049"/>
                    </a:lnTo>
                    <a:lnTo>
                      <a:pt x="175745" y="126869"/>
                    </a:lnTo>
                    <a:lnTo>
                      <a:pt x="169076" y="128159"/>
                    </a:lnTo>
                    <a:lnTo>
                      <a:pt x="162764" y="120392"/>
                    </a:lnTo>
                    <a:lnTo>
                      <a:pt x="151787" y="122697"/>
                    </a:lnTo>
                    <a:lnTo>
                      <a:pt x="136145" y="114300"/>
                    </a:lnTo>
                    <a:lnTo>
                      <a:pt x="133071" y="104997"/>
                    </a:lnTo>
                    <a:lnTo>
                      <a:pt x="119185" y="99289"/>
                    </a:lnTo>
                    <a:lnTo>
                      <a:pt x="109992" y="102417"/>
                    </a:lnTo>
                    <a:lnTo>
                      <a:pt x="98713" y="100057"/>
                    </a:lnTo>
                    <a:lnTo>
                      <a:pt x="94733" y="103268"/>
                    </a:lnTo>
                    <a:lnTo>
                      <a:pt x="80353" y="98575"/>
                    </a:lnTo>
                    <a:lnTo>
                      <a:pt x="75963" y="92291"/>
                    </a:lnTo>
                    <a:lnTo>
                      <a:pt x="68800" y="91907"/>
                    </a:lnTo>
                    <a:lnTo>
                      <a:pt x="57685" y="85265"/>
                    </a:lnTo>
                    <a:lnTo>
                      <a:pt x="51017" y="85457"/>
                    </a:lnTo>
                    <a:lnTo>
                      <a:pt x="39656" y="77252"/>
                    </a:lnTo>
                    <a:lnTo>
                      <a:pt x="36143" y="76703"/>
                    </a:lnTo>
                    <a:lnTo>
                      <a:pt x="31340" y="69677"/>
                    </a:lnTo>
                    <a:lnTo>
                      <a:pt x="15506" y="60484"/>
                    </a:lnTo>
                    <a:lnTo>
                      <a:pt x="9386" y="61115"/>
                    </a:lnTo>
                    <a:lnTo>
                      <a:pt x="0" y="52965"/>
                    </a:lnTo>
                    <a:lnTo>
                      <a:pt x="1537" y="46626"/>
                    </a:lnTo>
                    <a:lnTo>
                      <a:pt x="5187" y="42097"/>
                    </a:lnTo>
                    <a:lnTo>
                      <a:pt x="5379" y="34276"/>
                    </a:lnTo>
                    <a:lnTo>
                      <a:pt x="8727" y="28348"/>
                    </a:lnTo>
                    <a:lnTo>
                      <a:pt x="9413" y="22723"/>
                    </a:lnTo>
                    <a:lnTo>
                      <a:pt x="23684" y="9193"/>
                    </a:lnTo>
                    <a:lnTo>
                      <a:pt x="27745" y="7986"/>
                    </a:lnTo>
                    <a:lnTo>
                      <a:pt x="30270" y="13365"/>
                    </a:lnTo>
                    <a:lnTo>
                      <a:pt x="32548" y="14325"/>
                    </a:lnTo>
                    <a:lnTo>
                      <a:pt x="38174" y="7409"/>
                    </a:lnTo>
                    <a:lnTo>
                      <a:pt x="39408" y="1125"/>
                    </a:lnTo>
                    <a:lnTo>
                      <a:pt x="45144" y="0"/>
                    </a:lnTo>
                    <a:lnTo>
                      <a:pt x="58591" y="3485"/>
                    </a:lnTo>
                    <a:lnTo>
                      <a:pt x="61857" y="12075"/>
                    </a:lnTo>
                    <a:lnTo>
                      <a:pt x="72615" y="16960"/>
                    </a:lnTo>
                    <a:lnTo>
                      <a:pt x="79722" y="24644"/>
                    </a:lnTo>
                    <a:lnTo>
                      <a:pt x="92401" y="29062"/>
                    </a:lnTo>
                    <a:lnTo>
                      <a:pt x="102362" y="42070"/>
                    </a:lnTo>
                    <a:lnTo>
                      <a:pt x="112022" y="38145"/>
                    </a:lnTo>
                    <a:lnTo>
                      <a:pt x="117346" y="38941"/>
                    </a:lnTo>
                    <a:lnTo>
                      <a:pt x="120145" y="40972"/>
                    </a:lnTo>
                    <a:lnTo>
                      <a:pt x="122066" y="51702"/>
                    </a:lnTo>
                    <a:lnTo>
                      <a:pt x="126238" y="53623"/>
                    </a:lnTo>
                    <a:lnTo>
                      <a:pt x="127939" y="57273"/>
                    </a:lnTo>
                    <a:lnTo>
                      <a:pt x="133126" y="58097"/>
                    </a:lnTo>
                    <a:lnTo>
                      <a:pt x="139932" y="62625"/>
                    </a:lnTo>
                    <a:lnTo>
                      <a:pt x="147863" y="59743"/>
                    </a:lnTo>
                    <a:lnTo>
                      <a:pt x="149729" y="62433"/>
                    </a:lnTo>
                    <a:lnTo>
                      <a:pt x="147726" y="67043"/>
                    </a:lnTo>
                    <a:lnTo>
                      <a:pt x="148357" y="70418"/>
                    </a:lnTo>
                    <a:lnTo>
                      <a:pt x="153736" y="72422"/>
                    </a:lnTo>
                    <a:lnTo>
                      <a:pt x="158127" y="70968"/>
                    </a:lnTo>
                    <a:lnTo>
                      <a:pt x="162682" y="71983"/>
                    </a:lnTo>
                    <a:lnTo>
                      <a:pt x="164850" y="70144"/>
                    </a:lnTo>
                    <a:lnTo>
                      <a:pt x="169379" y="76484"/>
                    </a:lnTo>
                    <a:lnTo>
                      <a:pt x="174675" y="84881"/>
                    </a:lnTo>
                    <a:lnTo>
                      <a:pt x="176568" y="84222"/>
                    </a:lnTo>
                    <a:lnTo>
                      <a:pt x="176294" y="79832"/>
                    </a:lnTo>
                    <a:lnTo>
                      <a:pt x="178243" y="77663"/>
                    </a:lnTo>
                    <a:lnTo>
                      <a:pt x="180356" y="81752"/>
                    </a:lnTo>
                    <a:lnTo>
                      <a:pt x="185817" y="84607"/>
                    </a:lnTo>
                    <a:lnTo>
                      <a:pt x="191086" y="78651"/>
                    </a:lnTo>
                    <a:lnTo>
                      <a:pt x="208979" y="87845"/>
                    </a:lnTo>
                    <a:lnTo>
                      <a:pt x="223715" y="88147"/>
                    </a:lnTo>
                    <a:lnTo>
                      <a:pt x="226350" y="85841"/>
                    </a:lnTo>
                    <a:lnTo>
                      <a:pt x="228161" y="84250"/>
                    </a:lnTo>
                    <a:lnTo>
                      <a:pt x="236449" y="860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5" name="Freeform: Shape 4114">
                <a:extLst>
                  <a:ext uri="{FF2B5EF4-FFF2-40B4-BE49-F238E27FC236}">
                    <a16:creationId xmlns:a16="http://schemas.microsoft.com/office/drawing/2014/main" id="{802670AD-3229-F377-145B-E86450999E75}"/>
                  </a:ext>
                </a:extLst>
              </p:cNvPr>
              <p:cNvSpPr/>
              <p:nvPr/>
            </p:nvSpPr>
            <p:spPr>
              <a:xfrm>
                <a:off x="1172542" y="3790178"/>
                <a:ext cx="529" cy="426"/>
              </a:xfrm>
              <a:custGeom>
                <a:avLst/>
                <a:gdLst>
                  <a:gd name="connsiteX0" fmla="*/ 5077 w 5076"/>
                  <a:gd name="connsiteY0" fmla="*/ 3567 h 4088"/>
                  <a:gd name="connsiteX1" fmla="*/ 3952 w 5076"/>
                  <a:gd name="connsiteY1" fmla="*/ 4089 h 4088"/>
                  <a:gd name="connsiteX2" fmla="*/ 2278 w 5076"/>
                  <a:gd name="connsiteY2" fmla="*/ 3622 h 4088"/>
                  <a:gd name="connsiteX3" fmla="*/ 0 w 5076"/>
                  <a:gd name="connsiteY3" fmla="*/ 1482 h 4088"/>
                  <a:gd name="connsiteX4" fmla="*/ 192 w 5076"/>
                  <a:gd name="connsiteY4" fmla="*/ 631 h 4088"/>
                  <a:gd name="connsiteX5" fmla="*/ 1701 w 5076"/>
                  <a:gd name="connsiteY5" fmla="*/ 0 h 4088"/>
                  <a:gd name="connsiteX6" fmla="*/ 3732 w 5076"/>
                  <a:gd name="connsiteY6" fmla="*/ 1290 h 4088"/>
                  <a:gd name="connsiteX7" fmla="*/ 5077 w 5076"/>
                  <a:gd name="connsiteY7" fmla="*/ 3567 h 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6" h="4088">
                    <a:moveTo>
                      <a:pt x="5077" y="3567"/>
                    </a:moveTo>
                    <a:lnTo>
                      <a:pt x="3952" y="4089"/>
                    </a:lnTo>
                    <a:lnTo>
                      <a:pt x="2278" y="3622"/>
                    </a:lnTo>
                    <a:lnTo>
                      <a:pt x="0" y="1482"/>
                    </a:lnTo>
                    <a:lnTo>
                      <a:pt x="192" y="631"/>
                    </a:lnTo>
                    <a:lnTo>
                      <a:pt x="1701" y="0"/>
                    </a:lnTo>
                    <a:lnTo>
                      <a:pt x="3732" y="1290"/>
                    </a:lnTo>
                    <a:lnTo>
                      <a:pt x="5077" y="35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6" name="Freeform: Shape 4115">
                <a:extLst>
                  <a:ext uri="{FF2B5EF4-FFF2-40B4-BE49-F238E27FC236}">
                    <a16:creationId xmlns:a16="http://schemas.microsoft.com/office/drawing/2014/main" id="{E0EA0E12-FC4A-E6A3-8BD6-08354DC934B8}"/>
                  </a:ext>
                </a:extLst>
              </p:cNvPr>
              <p:cNvSpPr/>
              <p:nvPr/>
            </p:nvSpPr>
            <p:spPr>
              <a:xfrm>
                <a:off x="1173246" y="3790845"/>
                <a:ext cx="292" cy="386"/>
              </a:xfrm>
              <a:custGeom>
                <a:avLst/>
                <a:gdLst>
                  <a:gd name="connsiteX0" fmla="*/ 2744 w 2799"/>
                  <a:gd name="connsiteY0" fmla="*/ 3074 h 3704"/>
                  <a:gd name="connsiteX1" fmla="*/ 878 w 2799"/>
                  <a:gd name="connsiteY1" fmla="*/ 3705 h 3704"/>
                  <a:gd name="connsiteX2" fmla="*/ 0 w 2799"/>
                  <a:gd name="connsiteY2" fmla="*/ 2442 h 3704"/>
                  <a:gd name="connsiteX3" fmla="*/ 823 w 2799"/>
                  <a:gd name="connsiteY3" fmla="*/ 0 h 3704"/>
                  <a:gd name="connsiteX4" fmla="*/ 2799 w 2799"/>
                  <a:gd name="connsiteY4" fmla="*/ 823 h 3704"/>
                  <a:gd name="connsiteX5" fmla="*/ 2744 w 2799"/>
                  <a:gd name="connsiteY5" fmla="*/ 3046 h 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 h="3704">
                    <a:moveTo>
                      <a:pt x="2744" y="3074"/>
                    </a:moveTo>
                    <a:lnTo>
                      <a:pt x="878" y="3705"/>
                    </a:lnTo>
                    <a:lnTo>
                      <a:pt x="0" y="2442"/>
                    </a:lnTo>
                    <a:lnTo>
                      <a:pt x="823" y="0"/>
                    </a:lnTo>
                    <a:lnTo>
                      <a:pt x="2799" y="823"/>
                    </a:lnTo>
                    <a:lnTo>
                      <a:pt x="2744"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7" name="Freeform: Shape 4116">
                <a:extLst>
                  <a:ext uri="{FF2B5EF4-FFF2-40B4-BE49-F238E27FC236}">
                    <a16:creationId xmlns:a16="http://schemas.microsoft.com/office/drawing/2014/main" id="{3A745F49-CE23-1091-1236-6BFB26E367FE}"/>
                  </a:ext>
                </a:extLst>
              </p:cNvPr>
              <p:cNvSpPr/>
              <p:nvPr/>
            </p:nvSpPr>
            <p:spPr>
              <a:xfrm>
                <a:off x="1679418" y="3798900"/>
                <a:ext cx="16138" cy="13401"/>
              </a:xfrm>
              <a:custGeom>
                <a:avLst/>
                <a:gdLst>
                  <a:gd name="connsiteX0" fmla="*/ 152611 w 154723"/>
                  <a:gd name="connsiteY0" fmla="*/ 27 h 128487"/>
                  <a:gd name="connsiteX1" fmla="*/ 146738 w 154723"/>
                  <a:gd name="connsiteY1" fmla="*/ 16740 h 128487"/>
                  <a:gd name="connsiteX2" fmla="*/ 154724 w 154723"/>
                  <a:gd name="connsiteY2" fmla="*/ 37322 h 128487"/>
                  <a:gd name="connsiteX3" fmla="*/ 150936 w 154723"/>
                  <a:gd name="connsiteY3" fmla="*/ 51016 h 128487"/>
                  <a:gd name="connsiteX4" fmla="*/ 153407 w 154723"/>
                  <a:gd name="connsiteY4" fmla="*/ 63393 h 128487"/>
                  <a:gd name="connsiteX5" fmla="*/ 151925 w 154723"/>
                  <a:gd name="connsiteY5" fmla="*/ 70638 h 128487"/>
                  <a:gd name="connsiteX6" fmla="*/ 148933 w 154723"/>
                  <a:gd name="connsiteY6" fmla="*/ 73273 h 128487"/>
                  <a:gd name="connsiteX7" fmla="*/ 145613 w 154723"/>
                  <a:gd name="connsiteY7" fmla="*/ 71489 h 128487"/>
                  <a:gd name="connsiteX8" fmla="*/ 142347 w 154723"/>
                  <a:gd name="connsiteY8" fmla="*/ 72340 h 128487"/>
                  <a:gd name="connsiteX9" fmla="*/ 136035 w 154723"/>
                  <a:gd name="connsiteY9" fmla="*/ 78267 h 128487"/>
                  <a:gd name="connsiteX10" fmla="*/ 130163 w 154723"/>
                  <a:gd name="connsiteY10" fmla="*/ 79420 h 128487"/>
                  <a:gd name="connsiteX11" fmla="*/ 127692 w 154723"/>
                  <a:gd name="connsiteY11" fmla="*/ 81862 h 128487"/>
                  <a:gd name="connsiteX12" fmla="*/ 120009 w 154723"/>
                  <a:gd name="connsiteY12" fmla="*/ 82247 h 128487"/>
                  <a:gd name="connsiteX13" fmla="*/ 119268 w 154723"/>
                  <a:gd name="connsiteY13" fmla="*/ 90424 h 128487"/>
                  <a:gd name="connsiteX14" fmla="*/ 108263 w 154723"/>
                  <a:gd name="connsiteY14" fmla="*/ 88504 h 128487"/>
                  <a:gd name="connsiteX15" fmla="*/ 102280 w 154723"/>
                  <a:gd name="connsiteY15" fmla="*/ 92153 h 128487"/>
                  <a:gd name="connsiteX16" fmla="*/ 103488 w 154723"/>
                  <a:gd name="connsiteY16" fmla="*/ 102994 h 128487"/>
                  <a:gd name="connsiteX17" fmla="*/ 112297 w 154723"/>
                  <a:gd name="connsiteY17" fmla="*/ 110431 h 128487"/>
                  <a:gd name="connsiteX18" fmla="*/ 111611 w 154723"/>
                  <a:gd name="connsiteY18" fmla="*/ 116441 h 128487"/>
                  <a:gd name="connsiteX19" fmla="*/ 105958 w 154723"/>
                  <a:gd name="connsiteY19" fmla="*/ 114547 h 128487"/>
                  <a:gd name="connsiteX20" fmla="*/ 103570 w 154723"/>
                  <a:gd name="connsiteY20" fmla="*/ 115480 h 128487"/>
                  <a:gd name="connsiteX21" fmla="*/ 99646 w 154723"/>
                  <a:gd name="connsiteY21" fmla="*/ 110760 h 128487"/>
                  <a:gd name="connsiteX22" fmla="*/ 90370 w 154723"/>
                  <a:gd name="connsiteY22" fmla="*/ 112516 h 128487"/>
                  <a:gd name="connsiteX23" fmla="*/ 87050 w 154723"/>
                  <a:gd name="connsiteY23" fmla="*/ 114931 h 128487"/>
                  <a:gd name="connsiteX24" fmla="*/ 79777 w 154723"/>
                  <a:gd name="connsiteY24" fmla="*/ 113587 h 128487"/>
                  <a:gd name="connsiteX25" fmla="*/ 79640 w 154723"/>
                  <a:gd name="connsiteY25" fmla="*/ 119596 h 128487"/>
                  <a:gd name="connsiteX26" fmla="*/ 73932 w 154723"/>
                  <a:gd name="connsiteY26" fmla="*/ 124838 h 128487"/>
                  <a:gd name="connsiteX27" fmla="*/ 66220 w 154723"/>
                  <a:gd name="connsiteY27" fmla="*/ 125442 h 128487"/>
                  <a:gd name="connsiteX28" fmla="*/ 60979 w 154723"/>
                  <a:gd name="connsiteY28" fmla="*/ 128488 h 128487"/>
                  <a:gd name="connsiteX29" fmla="*/ 54941 w 154723"/>
                  <a:gd name="connsiteY29" fmla="*/ 124920 h 128487"/>
                  <a:gd name="connsiteX30" fmla="*/ 47394 w 154723"/>
                  <a:gd name="connsiteY30" fmla="*/ 123301 h 128487"/>
                  <a:gd name="connsiteX31" fmla="*/ 40945 w 154723"/>
                  <a:gd name="connsiteY31" fmla="*/ 126485 h 128487"/>
                  <a:gd name="connsiteX32" fmla="*/ 36554 w 154723"/>
                  <a:gd name="connsiteY32" fmla="*/ 125030 h 128487"/>
                  <a:gd name="connsiteX33" fmla="*/ 34826 w 154723"/>
                  <a:gd name="connsiteY33" fmla="*/ 121682 h 128487"/>
                  <a:gd name="connsiteX34" fmla="*/ 38503 w 154723"/>
                  <a:gd name="connsiteY34" fmla="*/ 114410 h 128487"/>
                  <a:gd name="connsiteX35" fmla="*/ 35237 w 154723"/>
                  <a:gd name="connsiteY35" fmla="*/ 108016 h 128487"/>
                  <a:gd name="connsiteX36" fmla="*/ 29611 w 154723"/>
                  <a:gd name="connsiteY36" fmla="*/ 113943 h 128487"/>
                  <a:gd name="connsiteX37" fmla="*/ 22449 w 154723"/>
                  <a:gd name="connsiteY37" fmla="*/ 113888 h 128487"/>
                  <a:gd name="connsiteX38" fmla="*/ 21570 w 154723"/>
                  <a:gd name="connsiteY38" fmla="*/ 101100 h 128487"/>
                  <a:gd name="connsiteX39" fmla="*/ 18305 w 154723"/>
                  <a:gd name="connsiteY39" fmla="*/ 99206 h 128487"/>
                  <a:gd name="connsiteX40" fmla="*/ 16109 w 154723"/>
                  <a:gd name="connsiteY40" fmla="*/ 91824 h 128487"/>
                  <a:gd name="connsiteX41" fmla="*/ 15972 w 154723"/>
                  <a:gd name="connsiteY41" fmla="*/ 88778 h 128487"/>
                  <a:gd name="connsiteX42" fmla="*/ 10401 w 154723"/>
                  <a:gd name="connsiteY42" fmla="*/ 76127 h 128487"/>
                  <a:gd name="connsiteX43" fmla="*/ 12185 w 154723"/>
                  <a:gd name="connsiteY43" fmla="*/ 67894 h 128487"/>
                  <a:gd name="connsiteX44" fmla="*/ 4666 w 154723"/>
                  <a:gd name="connsiteY44" fmla="*/ 60567 h 128487"/>
                  <a:gd name="connsiteX45" fmla="*/ 4144 w 154723"/>
                  <a:gd name="connsiteY45" fmla="*/ 50907 h 128487"/>
                  <a:gd name="connsiteX46" fmla="*/ 55 w 154723"/>
                  <a:gd name="connsiteY46" fmla="*/ 42976 h 128487"/>
                  <a:gd name="connsiteX47" fmla="*/ 0 w 154723"/>
                  <a:gd name="connsiteY47" fmla="*/ 36499 h 128487"/>
                  <a:gd name="connsiteX48" fmla="*/ 686 w 154723"/>
                  <a:gd name="connsiteY48" fmla="*/ 34166 h 128487"/>
                  <a:gd name="connsiteX49" fmla="*/ 5873 w 154723"/>
                  <a:gd name="connsiteY49" fmla="*/ 33096 h 128487"/>
                  <a:gd name="connsiteX50" fmla="*/ 19292 w 154723"/>
                  <a:gd name="connsiteY50" fmla="*/ 14051 h 128487"/>
                  <a:gd name="connsiteX51" fmla="*/ 23903 w 154723"/>
                  <a:gd name="connsiteY51" fmla="*/ 11060 h 128487"/>
                  <a:gd name="connsiteX52" fmla="*/ 37981 w 154723"/>
                  <a:gd name="connsiteY52" fmla="*/ 8096 h 128487"/>
                  <a:gd name="connsiteX53" fmla="*/ 47038 w 154723"/>
                  <a:gd name="connsiteY53" fmla="*/ 10785 h 128487"/>
                  <a:gd name="connsiteX54" fmla="*/ 54886 w 154723"/>
                  <a:gd name="connsiteY54" fmla="*/ 9029 h 128487"/>
                  <a:gd name="connsiteX55" fmla="*/ 63476 w 154723"/>
                  <a:gd name="connsiteY55" fmla="*/ 10209 h 128487"/>
                  <a:gd name="connsiteX56" fmla="*/ 72340 w 154723"/>
                  <a:gd name="connsiteY56" fmla="*/ 8013 h 128487"/>
                  <a:gd name="connsiteX57" fmla="*/ 76868 w 154723"/>
                  <a:gd name="connsiteY57" fmla="*/ 9633 h 128487"/>
                  <a:gd name="connsiteX58" fmla="*/ 80162 w 154723"/>
                  <a:gd name="connsiteY58" fmla="*/ 13831 h 128487"/>
                  <a:gd name="connsiteX59" fmla="*/ 83427 w 154723"/>
                  <a:gd name="connsiteY59" fmla="*/ 10456 h 128487"/>
                  <a:gd name="connsiteX60" fmla="*/ 87927 w 154723"/>
                  <a:gd name="connsiteY60" fmla="*/ 17152 h 128487"/>
                  <a:gd name="connsiteX61" fmla="*/ 95392 w 154723"/>
                  <a:gd name="connsiteY61" fmla="*/ 16658 h 128487"/>
                  <a:gd name="connsiteX62" fmla="*/ 99673 w 154723"/>
                  <a:gd name="connsiteY62" fmla="*/ 18140 h 128487"/>
                  <a:gd name="connsiteX63" fmla="*/ 104037 w 154723"/>
                  <a:gd name="connsiteY63" fmla="*/ 22586 h 128487"/>
                  <a:gd name="connsiteX64" fmla="*/ 109086 w 154723"/>
                  <a:gd name="connsiteY64" fmla="*/ 23189 h 128487"/>
                  <a:gd name="connsiteX65" fmla="*/ 111776 w 154723"/>
                  <a:gd name="connsiteY65" fmla="*/ 19018 h 128487"/>
                  <a:gd name="connsiteX66" fmla="*/ 108016 w 154723"/>
                  <a:gd name="connsiteY66" fmla="*/ 12980 h 128487"/>
                  <a:gd name="connsiteX67" fmla="*/ 108839 w 154723"/>
                  <a:gd name="connsiteY67" fmla="*/ 9907 h 128487"/>
                  <a:gd name="connsiteX68" fmla="*/ 112763 w 154723"/>
                  <a:gd name="connsiteY68" fmla="*/ 9138 h 128487"/>
                  <a:gd name="connsiteX69" fmla="*/ 114739 w 154723"/>
                  <a:gd name="connsiteY69" fmla="*/ 6833 h 128487"/>
                  <a:gd name="connsiteX70" fmla="*/ 118280 w 154723"/>
                  <a:gd name="connsiteY70" fmla="*/ 7025 h 128487"/>
                  <a:gd name="connsiteX71" fmla="*/ 122698 w 154723"/>
                  <a:gd name="connsiteY71" fmla="*/ 3568 h 128487"/>
                  <a:gd name="connsiteX72" fmla="*/ 130931 w 154723"/>
                  <a:gd name="connsiteY72" fmla="*/ 10895 h 128487"/>
                  <a:gd name="connsiteX73" fmla="*/ 134142 w 154723"/>
                  <a:gd name="connsiteY73" fmla="*/ 10895 h 128487"/>
                  <a:gd name="connsiteX74" fmla="*/ 142841 w 154723"/>
                  <a:gd name="connsiteY74" fmla="*/ 6916 h 128487"/>
                  <a:gd name="connsiteX75" fmla="*/ 145339 w 154723"/>
                  <a:gd name="connsiteY75" fmla="*/ 3622 h 128487"/>
                  <a:gd name="connsiteX76" fmla="*/ 148988 w 154723"/>
                  <a:gd name="connsiteY76" fmla="*/ 4171 h 128487"/>
                  <a:gd name="connsiteX77" fmla="*/ 152666 w 154723"/>
                  <a:gd name="connsiteY77" fmla="*/ 0 h 128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54723" h="128487">
                    <a:moveTo>
                      <a:pt x="152611" y="27"/>
                    </a:moveTo>
                    <a:lnTo>
                      <a:pt x="146738" y="16740"/>
                    </a:lnTo>
                    <a:lnTo>
                      <a:pt x="154724" y="37322"/>
                    </a:lnTo>
                    <a:lnTo>
                      <a:pt x="150936" y="51016"/>
                    </a:lnTo>
                    <a:lnTo>
                      <a:pt x="153407" y="63393"/>
                    </a:lnTo>
                    <a:lnTo>
                      <a:pt x="151925" y="70638"/>
                    </a:lnTo>
                    <a:lnTo>
                      <a:pt x="148933" y="73273"/>
                    </a:lnTo>
                    <a:lnTo>
                      <a:pt x="145613" y="71489"/>
                    </a:lnTo>
                    <a:lnTo>
                      <a:pt x="142347" y="72340"/>
                    </a:lnTo>
                    <a:lnTo>
                      <a:pt x="136035" y="78267"/>
                    </a:lnTo>
                    <a:lnTo>
                      <a:pt x="130163" y="79420"/>
                    </a:lnTo>
                    <a:lnTo>
                      <a:pt x="127692" y="81862"/>
                    </a:lnTo>
                    <a:lnTo>
                      <a:pt x="120009" y="82247"/>
                    </a:lnTo>
                    <a:lnTo>
                      <a:pt x="119268" y="90424"/>
                    </a:lnTo>
                    <a:lnTo>
                      <a:pt x="108263" y="88504"/>
                    </a:lnTo>
                    <a:lnTo>
                      <a:pt x="102280" y="92153"/>
                    </a:lnTo>
                    <a:lnTo>
                      <a:pt x="103488" y="102994"/>
                    </a:lnTo>
                    <a:lnTo>
                      <a:pt x="112297" y="110431"/>
                    </a:lnTo>
                    <a:lnTo>
                      <a:pt x="111611" y="116441"/>
                    </a:lnTo>
                    <a:lnTo>
                      <a:pt x="105958" y="114547"/>
                    </a:lnTo>
                    <a:lnTo>
                      <a:pt x="103570" y="115480"/>
                    </a:lnTo>
                    <a:lnTo>
                      <a:pt x="99646" y="110760"/>
                    </a:lnTo>
                    <a:lnTo>
                      <a:pt x="90370" y="112516"/>
                    </a:lnTo>
                    <a:lnTo>
                      <a:pt x="87050" y="114931"/>
                    </a:lnTo>
                    <a:lnTo>
                      <a:pt x="79777" y="113587"/>
                    </a:lnTo>
                    <a:lnTo>
                      <a:pt x="79640" y="119596"/>
                    </a:lnTo>
                    <a:lnTo>
                      <a:pt x="73932" y="124838"/>
                    </a:lnTo>
                    <a:lnTo>
                      <a:pt x="66220" y="125442"/>
                    </a:lnTo>
                    <a:lnTo>
                      <a:pt x="60979" y="128488"/>
                    </a:lnTo>
                    <a:lnTo>
                      <a:pt x="54941" y="124920"/>
                    </a:lnTo>
                    <a:lnTo>
                      <a:pt x="47394" y="123301"/>
                    </a:lnTo>
                    <a:lnTo>
                      <a:pt x="40945" y="126485"/>
                    </a:lnTo>
                    <a:lnTo>
                      <a:pt x="36554" y="125030"/>
                    </a:lnTo>
                    <a:lnTo>
                      <a:pt x="34826" y="121682"/>
                    </a:lnTo>
                    <a:lnTo>
                      <a:pt x="38503" y="114410"/>
                    </a:lnTo>
                    <a:lnTo>
                      <a:pt x="35237" y="108016"/>
                    </a:lnTo>
                    <a:lnTo>
                      <a:pt x="29611" y="113943"/>
                    </a:lnTo>
                    <a:lnTo>
                      <a:pt x="22449" y="113888"/>
                    </a:lnTo>
                    <a:lnTo>
                      <a:pt x="21570" y="101100"/>
                    </a:lnTo>
                    <a:lnTo>
                      <a:pt x="18305" y="99206"/>
                    </a:lnTo>
                    <a:lnTo>
                      <a:pt x="16109" y="91824"/>
                    </a:lnTo>
                    <a:lnTo>
                      <a:pt x="15972" y="88778"/>
                    </a:lnTo>
                    <a:lnTo>
                      <a:pt x="10401" y="76127"/>
                    </a:lnTo>
                    <a:lnTo>
                      <a:pt x="12185" y="67894"/>
                    </a:lnTo>
                    <a:lnTo>
                      <a:pt x="4666" y="60567"/>
                    </a:lnTo>
                    <a:lnTo>
                      <a:pt x="4144" y="50907"/>
                    </a:lnTo>
                    <a:lnTo>
                      <a:pt x="55" y="42976"/>
                    </a:lnTo>
                    <a:lnTo>
                      <a:pt x="0" y="36499"/>
                    </a:lnTo>
                    <a:lnTo>
                      <a:pt x="686" y="34166"/>
                    </a:lnTo>
                    <a:lnTo>
                      <a:pt x="5873" y="33096"/>
                    </a:lnTo>
                    <a:lnTo>
                      <a:pt x="19292" y="14051"/>
                    </a:lnTo>
                    <a:lnTo>
                      <a:pt x="23903" y="11060"/>
                    </a:lnTo>
                    <a:lnTo>
                      <a:pt x="37981" y="8096"/>
                    </a:lnTo>
                    <a:lnTo>
                      <a:pt x="47038" y="10785"/>
                    </a:lnTo>
                    <a:lnTo>
                      <a:pt x="54886" y="9029"/>
                    </a:lnTo>
                    <a:lnTo>
                      <a:pt x="63476" y="10209"/>
                    </a:lnTo>
                    <a:lnTo>
                      <a:pt x="72340" y="8013"/>
                    </a:lnTo>
                    <a:lnTo>
                      <a:pt x="76868" y="9633"/>
                    </a:lnTo>
                    <a:lnTo>
                      <a:pt x="80162" y="13831"/>
                    </a:lnTo>
                    <a:lnTo>
                      <a:pt x="83427" y="10456"/>
                    </a:lnTo>
                    <a:lnTo>
                      <a:pt x="87927" y="17152"/>
                    </a:lnTo>
                    <a:lnTo>
                      <a:pt x="95392" y="16658"/>
                    </a:lnTo>
                    <a:lnTo>
                      <a:pt x="99673" y="18140"/>
                    </a:lnTo>
                    <a:lnTo>
                      <a:pt x="104037" y="22586"/>
                    </a:lnTo>
                    <a:lnTo>
                      <a:pt x="109086" y="23189"/>
                    </a:lnTo>
                    <a:lnTo>
                      <a:pt x="111776" y="19018"/>
                    </a:lnTo>
                    <a:lnTo>
                      <a:pt x="108016" y="12980"/>
                    </a:lnTo>
                    <a:lnTo>
                      <a:pt x="108839" y="9907"/>
                    </a:lnTo>
                    <a:lnTo>
                      <a:pt x="112763" y="9138"/>
                    </a:lnTo>
                    <a:lnTo>
                      <a:pt x="114739" y="6833"/>
                    </a:lnTo>
                    <a:lnTo>
                      <a:pt x="118280" y="7025"/>
                    </a:lnTo>
                    <a:lnTo>
                      <a:pt x="122698" y="3568"/>
                    </a:lnTo>
                    <a:lnTo>
                      <a:pt x="130931" y="10895"/>
                    </a:lnTo>
                    <a:lnTo>
                      <a:pt x="134142" y="10895"/>
                    </a:lnTo>
                    <a:lnTo>
                      <a:pt x="142841" y="6916"/>
                    </a:lnTo>
                    <a:lnTo>
                      <a:pt x="145339" y="3622"/>
                    </a:lnTo>
                    <a:lnTo>
                      <a:pt x="148988" y="4171"/>
                    </a:lnTo>
                    <a:lnTo>
                      <a:pt x="15266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8" name="Freeform: Shape 4117">
                <a:extLst>
                  <a:ext uri="{FF2B5EF4-FFF2-40B4-BE49-F238E27FC236}">
                    <a16:creationId xmlns:a16="http://schemas.microsoft.com/office/drawing/2014/main" id="{043088DA-946F-119A-6416-3434A31348CA}"/>
                  </a:ext>
                </a:extLst>
              </p:cNvPr>
              <p:cNvSpPr/>
              <p:nvPr/>
            </p:nvSpPr>
            <p:spPr>
              <a:xfrm>
                <a:off x="1681133" y="3813890"/>
                <a:ext cx="426" cy="343"/>
              </a:xfrm>
              <a:custGeom>
                <a:avLst/>
                <a:gdLst>
                  <a:gd name="connsiteX0" fmla="*/ 4090 w 4089"/>
                  <a:gd name="connsiteY0" fmla="*/ 768 h 3293"/>
                  <a:gd name="connsiteX1" fmla="*/ 1839 w 4089"/>
                  <a:gd name="connsiteY1" fmla="*/ 3293 h 3293"/>
                  <a:gd name="connsiteX2" fmla="*/ 0 w 4089"/>
                  <a:gd name="connsiteY2" fmla="*/ 1427 h 3293"/>
                  <a:gd name="connsiteX3" fmla="*/ 961 w 4089"/>
                  <a:gd name="connsiteY3" fmla="*/ 0 h 3293"/>
                  <a:gd name="connsiteX4" fmla="*/ 4090 w 4089"/>
                  <a:gd name="connsiteY4" fmla="*/ 768 h 3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9" h="3293">
                    <a:moveTo>
                      <a:pt x="4090" y="768"/>
                    </a:moveTo>
                    <a:lnTo>
                      <a:pt x="1839" y="3293"/>
                    </a:lnTo>
                    <a:lnTo>
                      <a:pt x="0" y="1427"/>
                    </a:lnTo>
                    <a:lnTo>
                      <a:pt x="961" y="0"/>
                    </a:lnTo>
                    <a:lnTo>
                      <a:pt x="4090" y="7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19" name="Freeform: Shape 4118">
                <a:extLst>
                  <a:ext uri="{FF2B5EF4-FFF2-40B4-BE49-F238E27FC236}">
                    <a16:creationId xmlns:a16="http://schemas.microsoft.com/office/drawing/2014/main" id="{184174A2-7C67-D90C-60CF-EADD55A1AD6E}"/>
                  </a:ext>
                </a:extLst>
              </p:cNvPr>
              <p:cNvSpPr/>
              <p:nvPr/>
            </p:nvSpPr>
            <p:spPr>
              <a:xfrm>
                <a:off x="1680632" y="3813495"/>
                <a:ext cx="358" cy="406"/>
              </a:xfrm>
              <a:custGeom>
                <a:avLst/>
                <a:gdLst>
                  <a:gd name="connsiteX0" fmla="*/ 3430 w 3430"/>
                  <a:gd name="connsiteY0" fmla="*/ 2525 h 3897"/>
                  <a:gd name="connsiteX1" fmla="*/ 2827 w 3430"/>
                  <a:gd name="connsiteY1" fmla="*/ 3897 h 3897"/>
                  <a:gd name="connsiteX2" fmla="*/ 878 w 3430"/>
                  <a:gd name="connsiteY2" fmla="*/ 2854 h 3897"/>
                  <a:gd name="connsiteX3" fmla="*/ 0 w 3430"/>
                  <a:gd name="connsiteY3" fmla="*/ 576 h 3897"/>
                  <a:gd name="connsiteX4" fmla="*/ 1427 w 3430"/>
                  <a:gd name="connsiteY4" fmla="*/ 0 h 3897"/>
                  <a:gd name="connsiteX5" fmla="*/ 3430 w 3430"/>
                  <a:gd name="connsiteY5" fmla="*/ 2525 h 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30" h="3897">
                    <a:moveTo>
                      <a:pt x="3430" y="2525"/>
                    </a:moveTo>
                    <a:lnTo>
                      <a:pt x="2827" y="3897"/>
                    </a:lnTo>
                    <a:lnTo>
                      <a:pt x="878" y="2854"/>
                    </a:lnTo>
                    <a:lnTo>
                      <a:pt x="0" y="576"/>
                    </a:lnTo>
                    <a:lnTo>
                      <a:pt x="1427" y="0"/>
                    </a:lnTo>
                    <a:lnTo>
                      <a:pt x="3430" y="25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0" name="Freeform: Shape 4119">
                <a:extLst>
                  <a:ext uri="{FF2B5EF4-FFF2-40B4-BE49-F238E27FC236}">
                    <a16:creationId xmlns:a16="http://schemas.microsoft.com/office/drawing/2014/main" id="{E0C754CB-ECDB-7F0B-69FF-358BE800F926}"/>
                  </a:ext>
                </a:extLst>
              </p:cNvPr>
              <p:cNvSpPr/>
              <p:nvPr/>
            </p:nvSpPr>
            <p:spPr>
              <a:xfrm>
                <a:off x="1681885" y="3811105"/>
                <a:ext cx="372" cy="369"/>
              </a:xfrm>
              <a:custGeom>
                <a:avLst/>
                <a:gdLst>
                  <a:gd name="connsiteX0" fmla="*/ 3568 w 3567"/>
                  <a:gd name="connsiteY0" fmla="*/ 3156 h 3540"/>
                  <a:gd name="connsiteX1" fmla="*/ 768 w 3567"/>
                  <a:gd name="connsiteY1" fmla="*/ 3540 h 3540"/>
                  <a:gd name="connsiteX2" fmla="*/ 0 w 3567"/>
                  <a:gd name="connsiteY2" fmla="*/ 1509 h 3540"/>
                  <a:gd name="connsiteX3" fmla="*/ 1674 w 3567"/>
                  <a:gd name="connsiteY3" fmla="*/ 0 h 3540"/>
                  <a:gd name="connsiteX4" fmla="*/ 3568 w 3567"/>
                  <a:gd name="connsiteY4" fmla="*/ 3156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540">
                    <a:moveTo>
                      <a:pt x="3568" y="3156"/>
                    </a:moveTo>
                    <a:lnTo>
                      <a:pt x="768" y="3540"/>
                    </a:lnTo>
                    <a:lnTo>
                      <a:pt x="0" y="1509"/>
                    </a:lnTo>
                    <a:lnTo>
                      <a:pt x="1674" y="0"/>
                    </a:lnTo>
                    <a:lnTo>
                      <a:pt x="3568"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1" name="Freeform: Shape 4120">
                <a:extLst>
                  <a:ext uri="{FF2B5EF4-FFF2-40B4-BE49-F238E27FC236}">
                    <a16:creationId xmlns:a16="http://schemas.microsoft.com/office/drawing/2014/main" id="{E3263187-58F3-BF4E-B455-F5DCF68B95B0}"/>
                  </a:ext>
                </a:extLst>
              </p:cNvPr>
              <p:cNvSpPr/>
              <p:nvPr/>
            </p:nvSpPr>
            <p:spPr>
              <a:xfrm>
                <a:off x="1682097" y="3811546"/>
                <a:ext cx="352" cy="363"/>
              </a:xfrm>
              <a:custGeom>
                <a:avLst/>
                <a:gdLst>
                  <a:gd name="connsiteX0" fmla="*/ 2415 w 3375"/>
                  <a:gd name="connsiteY0" fmla="*/ 0 h 3484"/>
                  <a:gd name="connsiteX1" fmla="*/ 3375 w 3375"/>
                  <a:gd name="connsiteY1" fmla="*/ 3485 h 3484"/>
                  <a:gd name="connsiteX2" fmla="*/ 330 w 3375"/>
                  <a:gd name="connsiteY2" fmla="*/ 2799 h 3484"/>
                  <a:gd name="connsiteX3" fmla="*/ 0 w 3375"/>
                  <a:gd name="connsiteY3" fmla="*/ 1180 h 3484"/>
                  <a:gd name="connsiteX4" fmla="*/ 2388 w 3375"/>
                  <a:gd name="connsiteY4" fmla="*/ 0 h 3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3484">
                    <a:moveTo>
                      <a:pt x="2415" y="0"/>
                    </a:moveTo>
                    <a:lnTo>
                      <a:pt x="3375" y="3485"/>
                    </a:lnTo>
                    <a:lnTo>
                      <a:pt x="330" y="2799"/>
                    </a:lnTo>
                    <a:lnTo>
                      <a:pt x="0" y="1180"/>
                    </a:lnTo>
                    <a:lnTo>
                      <a:pt x="238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2" name="Freeform: Shape 4121">
                <a:extLst>
                  <a:ext uri="{FF2B5EF4-FFF2-40B4-BE49-F238E27FC236}">
                    <a16:creationId xmlns:a16="http://schemas.microsoft.com/office/drawing/2014/main" id="{D5FBDF47-CFB1-7DA3-13D4-9B722832546B}"/>
                  </a:ext>
                </a:extLst>
              </p:cNvPr>
              <p:cNvSpPr/>
              <p:nvPr/>
            </p:nvSpPr>
            <p:spPr>
              <a:xfrm>
                <a:off x="1648233" y="3753140"/>
                <a:ext cx="27433" cy="60097"/>
              </a:xfrm>
              <a:custGeom>
                <a:avLst/>
                <a:gdLst>
                  <a:gd name="connsiteX0" fmla="*/ 173824 w 263013"/>
                  <a:gd name="connsiteY0" fmla="*/ 12020 h 576192"/>
                  <a:gd name="connsiteX1" fmla="*/ 180191 w 263013"/>
                  <a:gd name="connsiteY1" fmla="*/ 31724 h 576192"/>
                  <a:gd name="connsiteX2" fmla="*/ 185268 w 263013"/>
                  <a:gd name="connsiteY2" fmla="*/ 29803 h 576192"/>
                  <a:gd name="connsiteX3" fmla="*/ 190262 w 263013"/>
                  <a:gd name="connsiteY3" fmla="*/ 32081 h 576192"/>
                  <a:gd name="connsiteX4" fmla="*/ 193034 w 263013"/>
                  <a:gd name="connsiteY4" fmla="*/ 61225 h 576192"/>
                  <a:gd name="connsiteX5" fmla="*/ 191196 w 263013"/>
                  <a:gd name="connsiteY5" fmla="*/ 77170 h 576192"/>
                  <a:gd name="connsiteX6" fmla="*/ 188561 w 263013"/>
                  <a:gd name="connsiteY6" fmla="*/ 80216 h 576192"/>
                  <a:gd name="connsiteX7" fmla="*/ 190372 w 263013"/>
                  <a:gd name="connsiteY7" fmla="*/ 86967 h 576192"/>
                  <a:gd name="connsiteX8" fmla="*/ 185158 w 263013"/>
                  <a:gd name="connsiteY8" fmla="*/ 89931 h 576192"/>
                  <a:gd name="connsiteX9" fmla="*/ 181481 w 263013"/>
                  <a:gd name="connsiteY9" fmla="*/ 96242 h 576192"/>
                  <a:gd name="connsiteX10" fmla="*/ 176239 w 263013"/>
                  <a:gd name="connsiteY10" fmla="*/ 96599 h 576192"/>
                  <a:gd name="connsiteX11" fmla="*/ 172342 w 263013"/>
                  <a:gd name="connsiteY11" fmla="*/ 104914 h 576192"/>
                  <a:gd name="connsiteX12" fmla="*/ 165399 w 263013"/>
                  <a:gd name="connsiteY12" fmla="*/ 108702 h 576192"/>
                  <a:gd name="connsiteX13" fmla="*/ 162545 w 263013"/>
                  <a:gd name="connsiteY13" fmla="*/ 114794 h 576192"/>
                  <a:gd name="connsiteX14" fmla="*/ 163643 w 263013"/>
                  <a:gd name="connsiteY14" fmla="*/ 120557 h 576192"/>
                  <a:gd name="connsiteX15" fmla="*/ 158099 w 263013"/>
                  <a:gd name="connsiteY15" fmla="*/ 124866 h 576192"/>
                  <a:gd name="connsiteX16" fmla="*/ 157496 w 263013"/>
                  <a:gd name="connsiteY16" fmla="*/ 131946 h 576192"/>
                  <a:gd name="connsiteX17" fmla="*/ 161173 w 263013"/>
                  <a:gd name="connsiteY17" fmla="*/ 135047 h 576192"/>
                  <a:gd name="connsiteX18" fmla="*/ 162957 w 263013"/>
                  <a:gd name="connsiteY18" fmla="*/ 140673 h 576192"/>
                  <a:gd name="connsiteX19" fmla="*/ 158182 w 263013"/>
                  <a:gd name="connsiteY19" fmla="*/ 150525 h 576192"/>
                  <a:gd name="connsiteX20" fmla="*/ 161502 w 263013"/>
                  <a:gd name="connsiteY20" fmla="*/ 151622 h 576192"/>
                  <a:gd name="connsiteX21" fmla="*/ 176376 w 263013"/>
                  <a:gd name="connsiteY21" fmla="*/ 144734 h 576192"/>
                  <a:gd name="connsiteX22" fmla="*/ 194982 w 263013"/>
                  <a:gd name="connsiteY22" fmla="*/ 144377 h 576192"/>
                  <a:gd name="connsiteX23" fmla="*/ 191250 w 263013"/>
                  <a:gd name="connsiteY23" fmla="*/ 151979 h 576192"/>
                  <a:gd name="connsiteX24" fmla="*/ 195476 w 263013"/>
                  <a:gd name="connsiteY24" fmla="*/ 159581 h 576192"/>
                  <a:gd name="connsiteX25" fmla="*/ 197562 w 263013"/>
                  <a:gd name="connsiteY25" fmla="*/ 173055 h 576192"/>
                  <a:gd name="connsiteX26" fmla="*/ 205960 w 263013"/>
                  <a:gd name="connsiteY26" fmla="*/ 176870 h 576192"/>
                  <a:gd name="connsiteX27" fmla="*/ 212079 w 263013"/>
                  <a:gd name="connsiteY27" fmla="*/ 176760 h 576192"/>
                  <a:gd name="connsiteX28" fmla="*/ 214851 w 263013"/>
                  <a:gd name="connsiteY28" fmla="*/ 181041 h 576192"/>
                  <a:gd name="connsiteX29" fmla="*/ 210296 w 263013"/>
                  <a:gd name="connsiteY29" fmla="*/ 188314 h 576192"/>
                  <a:gd name="connsiteX30" fmla="*/ 210680 w 263013"/>
                  <a:gd name="connsiteY30" fmla="*/ 195229 h 576192"/>
                  <a:gd name="connsiteX31" fmla="*/ 207826 w 263013"/>
                  <a:gd name="connsiteY31" fmla="*/ 200279 h 576192"/>
                  <a:gd name="connsiteX32" fmla="*/ 206756 w 263013"/>
                  <a:gd name="connsiteY32" fmla="*/ 207194 h 576192"/>
                  <a:gd name="connsiteX33" fmla="*/ 227393 w 263013"/>
                  <a:gd name="connsiteY33" fmla="*/ 210625 h 576192"/>
                  <a:gd name="connsiteX34" fmla="*/ 228902 w 263013"/>
                  <a:gd name="connsiteY34" fmla="*/ 219324 h 576192"/>
                  <a:gd name="connsiteX35" fmla="*/ 232936 w 263013"/>
                  <a:gd name="connsiteY35" fmla="*/ 222178 h 576192"/>
                  <a:gd name="connsiteX36" fmla="*/ 233513 w 263013"/>
                  <a:gd name="connsiteY36" fmla="*/ 226075 h 576192"/>
                  <a:gd name="connsiteX37" fmla="*/ 235571 w 263013"/>
                  <a:gd name="connsiteY37" fmla="*/ 227612 h 576192"/>
                  <a:gd name="connsiteX38" fmla="*/ 247289 w 263013"/>
                  <a:gd name="connsiteY38" fmla="*/ 228380 h 576192"/>
                  <a:gd name="connsiteX39" fmla="*/ 260708 w 263013"/>
                  <a:gd name="connsiteY39" fmla="*/ 220230 h 576192"/>
                  <a:gd name="connsiteX40" fmla="*/ 263014 w 263013"/>
                  <a:gd name="connsiteY40" fmla="*/ 225746 h 576192"/>
                  <a:gd name="connsiteX41" fmla="*/ 258540 w 263013"/>
                  <a:gd name="connsiteY41" fmla="*/ 231235 h 576192"/>
                  <a:gd name="connsiteX42" fmla="*/ 250774 w 263013"/>
                  <a:gd name="connsiteY42" fmla="*/ 234500 h 576192"/>
                  <a:gd name="connsiteX43" fmla="*/ 248771 w 263013"/>
                  <a:gd name="connsiteY43" fmla="*/ 240236 h 576192"/>
                  <a:gd name="connsiteX44" fmla="*/ 245038 w 263013"/>
                  <a:gd name="connsiteY44" fmla="*/ 244544 h 576192"/>
                  <a:gd name="connsiteX45" fmla="*/ 244874 w 263013"/>
                  <a:gd name="connsiteY45" fmla="*/ 246383 h 576192"/>
                  <a:gd name="connsiteX46" fmla="*/ 247042 w 263013"/>
                  <a:gd name="connsiteY46" fmla="*/ 247865 h 576192"/>
                  <a:gd name="connsiteX47" fmla="*/ 236915 w 263013"/>
                  <a:gd name="connsiteY47" fmla="*/ 251597 h 576192"/>
                  <a:gd name="connsiteX48" fmla="*/ 231866 w 263013"/>
                  <a:gd name="connsiteY48" fmla="*/ 263919 h 576192"/>
                  <a:gd name="connsiteX49" fmla="*/ 227228 w 263013"/>
                  <a:gd name="connsiteY49" fmla="*/ 261175 h 576192"/>
                  <a:gd name="connsiteX50" fmla="*/ 222618 w 263013"/>
                  <a:gd name="connsiteY50" fmla="*/ 264029 h 576192"/>
                  <a:gd name="connsiteX51" fmla="*/ 214961 w 263013"/>
                  <a:gd name="connsiteY51" fmla="*/ 264111 h 576192"/>
                  <a:gd name="connsiteX52" fmla="*/ 215016 w 263013"/>
                  <a:gd name="connsiteY52" fmla="*/ 270121 h 576192"/>
                  <a:gd name="connsiteX53" fmla="*/ 212518 w 263013"/>
                  <a:gd name="connsiteY53" fmla="*/ 271768 h 576192"/>
                  <a:gd name="connsiteX54" fmla="*/ 202913 w 263013"/>
                  <a:gd name="connsiteY54" fmla="*/ 272344 h 576192"/>
                  <a:gd name="connsiteX55" fmla="*/ 200608 w 263013"/>
                  <a:gd name="connsiteY55" fmla="*/ 279754 h 576192"/>
                  <a:gd name="connsiteX56" fmla="*/ 198770 w 263013"/>
                  <a:gd name="connsiteY56" fmla="*/ 281784 h 576192"/>
                  <a:gd name="connsiteX57" fmla="*/ 180685 w 263013"/>
                  <a:gd name="connsiteY57" fmla="*/ 284693 h 576192"/>
                  <a:gd name="connsiteX58" fmla="*/ 172726 w 263013"/>
                  <a:gd name="connsiteY58" fmla="*/ 281812 h 576192"/>
                  <a:gd name="connsiteX59" fmla="*/ 170366 w 263013"/>
                  <a:gd name="connsiteY59" fmla="*/ 286587 h 576192"/>
                  <a:gd name="connsiteX60" fmla="*/ 165070 w 263013"/>
                  <a:gd name="connsiteY60" fmla="*/ 293064 h 576192"/>
                  <a:gd name="connsiteX61" fmla="*/ 165564 w 263013"/>
                  <a:gd name="connsiteY61" fmla="*/ 302120 h 576192"/>
                  <a:gd name="connsiteX62" fmla="*/ 161694 w 263013"/>
                  <a:gd name="connsiteY62" fmla="*/ 308157 h 576192"/>
                  <a:gd name="connsiteX63" fmla="*/ 162929 w 263013"/>
                  <a:gd name="connsiteY63" fmla="*/ 318448 h 576192"/>
                  <a:gd name="connsiteX64" fmla="*/ 152803 w 263013"/>
                  <a:gd name="connsiteY64" fmla="*/ 321906 h 576192"/>
                  <a:gd name="connsiteX65" fmla="*/ 154970 w 263013"/>
                  <a:gd name="connsiteY65" fmla="*/ 327065 h 576192"/>
                  <a:gd name="connsiteX66" fmla="*/ 159664 w 263013"/>
                  <a:gd name="connsiteY66" fmla="*/ 329590 h 576192"/>
                  <a:gd name="connsiteX67" fmla="*/ 161831 w 263013"/>
                  <a:gd name="connsiteY67" fmla="*/ 341473 h 576192"/>
                  <a:gd name="connsiteX68" fmla="*/ 164603 w 263013"/>
                  <a:gd name="connsiteY68" fmla="*/ 346989 h 576192"/>
                  <a:gd name="connsiteX69" fmla="*/ 185103 w 263013"/>
                  <a:gd name="connsiteY69" fmla="*/ 370041 h 576192"/>
                  <a:gd name="connsiteX70" fmla="*/ 185268 w 263013"/>
                  <a:gd name="connsiteY70" fmla="*/ 377533 h 576192"/>
                  <a:gd name="connsiteX71" fmla="*/ 189878 w 263013"/>
                  <a:gd name="connsiteY71" fmla="*/ 388099 h 576192"/>
                  <a:gd name="connsiteX72" fmla="*/ 195120 w 263013"/>
                  <a:gd name="connsiteY72" fmla="*/ 386809 h 576192"/>
                  <a:gd name="connsiteX73" fmla="*/ 197068 w 263013"/>
                  <a:gd name="connsiteY73" fmla="*/ 387934 h 576192"/>
                  <a:gd name="connsiteX74" fmla="*/ 195202 w 263013"/>
                  <a:gd name="connsiteY74" fmla="*/ 394081 h 576192"/>
                  <a:gd name="connsiteX75" fmla="*/ 190564 w 263013"/>
                  <a:gd name="connsiteY75" fmla="*/ 395755 h 576192"/>
                  <a:gd name="connsiteX76" fmla="*/ 188149 w 263013"/>
                  <a:gd name="connsiteY76" fmla="*/ 398664 h 576192"/>
                  <a:gd name="connsiteX77" fmla="*/ 186777 w 263013"/>
                  <a:gd name="connsiteY77" fmla="*/ 417325 h 576192"/>
                  <a:gd name="connsiteX78" fmla="*/ 177035 w 263013"/>
                  <a:gd name="connsiteY78" fmla="*/ 423637 h 576192"/>
                  <a:gd name="connsiteX79" fmla="*/ 177803 w 263013"/>
                  <a:gd name="connsiteY79" fmla="*/ 432886 h 576192"/>
                  <a:gd name="connsiteX80" fmla="*/ 188177 w 263013"/>
                  <a:gd name="connsiteY80" fmla="*/ 449186 h 576192"/>
                  <a:gd name="connsiteX81" fmla="*/ 198276 w 263013"/>
                  <a:gd name="connsiteY81" fmla="*/ 457035 h 576192"/>
                  <a:gd name="connsiteX82" fmla="*/ 202557 w 263013"/>
                  <a:gd name="connsiteY82" fmla="*/ 463155 h 576192"/>
                  <a:gd name="connsiteX83" fmla="*/ 205740 w 263013"/>
                  <a:gd name="connsiteY83" fmla="*/ 476108 h 576192"/>
                  <a:gd name="connsiteX84" fmla="*/ 203874 w 263013"/>
                  <a:gd name="connsiteY84" fmla="*/ 488430 h 576192"/>
                  <a:gd name="connsiteX85" fmla="*/ 206591 w 263013"/>
                  <a:gd name="connsiteY85" fmla="*/ 495428 h 576192"/>
                  <a:gd name="connsiteX86" fmla="*/ 212162 w 263013"/>
                  <a:gd name="connsiteY86" fmla="*/ 502755 h 576192"/>
                  <a:gd name="connsiteX87" fmla="*/ 214138 w 263013"/>
                  <a:gd name="connsiteY87" fmla="*/ 513677 h 576192"/>
                  <a:gd name="connsiteX88" fmla="*/ 218666 w 263013"/>
                  <a:gd name="connsiteY88" fmla="*/ 525478 h 576192"/>
                  <a:gd name="connsiteX89" fmla="*/ 206701 w 263013"/>
                  <a:gd name="connsiteY89" fmla="*/ 545896 h 576192"/>
                  <a:gd name="connsiteX90" fmla="*/ 194434 w 263013"/>
                  <a:gd name="connsiteY90" fmla="*/ 559068 h 576192"/>
                  <a:gd name="connsiteX91" fmla="*/ 192622 w 263013"/>
                  <a:gd name="connsiteY91" fmla="*/ 568289 h 576192"/>
                  <a:gd name="connsiteX92" fmla="*/ 191332 w 263013"/>
                  <a:gd name="connsiteY92" fmla="*/ 572653 h 576192"/>
                  <a:gd name="connsiteX93" fmla="*/ 186667 w 263013"/>
                  <a:gd name="connsiteY93" fmla="*/ 576193 h 576192"/>
                  <a:gd name="connsiteX94" fmla="*/ 185048 w 263013"/>
                  <a:gd name="connsiteY94" fmla="*/ 561538 h 576192"/>
                  <a:gd name="connsiteX95" fmla="*/ 185625 w 263013"/>
                  <a:gd name="connsiteY95" fmla="*/ 554787 h 576192"/>
                  <a:gd name="connsiteX96" fmla="*/ 190153 w 263013"/>
                  <a:gd name="connsiteY96" fmla="*/ 549875 h 576192"/>
                  <a:gd name="connsiteX97" fmla="*/ 193007 w 263013"/>
                  <a:gd name="connsiteY97" fmla="*/ 530445 h 576192"/>
                  <a:gd name="connsiteX98" fmla="*/ 186091 w 263013"/>
                  <a:gd name="connsiteY98" fmla="*/ 522075 h 576192"/>
                  <a:gd name="connsiteX99" fmla="*/ 189933 w 263013"/>
                  <a:gd name="connsiteY99" fmla="*/ 519166 h 576192"/>
                  <a:gd name="connsiteX100" fmla="*/ 187107 w 263013"/>
                  <a:gd name="connsiteY100" fmla="*/ 512470 h 576192"/>
                  <a:gd name="connsiteX101" fmla="*/ 180740 w 263013"/>
                  <a:gd name="connsiteY101" fmla="*/ 508875 h 576192"/>
                  <a:gd name="connsiteX102" fmla="*/ 178791 w 263013"/>
                  <a:gd name="connsiteY102" fmla="*/ 504539 h 576192"/>
                  <a:gd name="connsiteX103" fmla="*/ 181481 w 263013"/>
                  <a:gd name="connsiteY103" fmla="*/ 501438 h 576192"/>
                  <a:gd name="connsiteX104" fmla="*/ 187847 w 263013"/>
                  <a:gd name="connsiteY104" fmla="*/ 505554 h 576192"/>
                  <a:gd name="connsiteX105" fmla="*/ 189686 w 263013"/>
                  <a:gd name="connsiteY105" fmla="*/ 496251 h 576192"/>
                  <a:gd name="connsiteX106" fmla="*/ 182523 w 263013"/>
                  <a:gd name="connsiteY106" fmla="*/ 475477 h 576192"/>
                  <a:gd name="connsiteX107" fmla="*/ 178791 w 263013"/>
                  <a:gd name="connsiteY107" fmla="*/ 470290 h 576192"/>
                  <a:gd name="connsiteX108" fmla="*/ 174044 w 263013"/>
                  <a:gd name="connsiteY108" fmla="*/ 467189 h 576192"/>
                  <a:gd name="connsiteX109" fmla="*/ 172424 w 263013"/>
                  <a:gd name="connsiteY109" fmla="*/ 453221 h 576192"/>
                  <a:gd name="connsiteX110" fmla="*/ 164878 w 263013"/>
                  <a:gd name="connsiteY110" fmla="*/ 433242 h 576192"/>
                  <a:gd name="connsiteX111" fmla="*/ 163121 w 263013"/>
                  <a:gd name="connsiteY111" fmla="*/ 412523 h 576192"/>
                  <a:gd name="connsiteX112" fmla="*/ 158840 w 263013"/>
                  <a:gd name="connsiteY112" fmla="*/ 394026 h 576192"/>
                  <a:gd name="connsiteX113" fmla="*/ 143362 w 263013"/>
                  <a:gd name="connsiteY113" fmla="*/ 362878 h 576192"/>
                  <a:gd name="connsiteX114" fmla="*/ 138944 w 263013"/>
                  <a:gd name="connsiteY114" fmla="*/ 359421 h 576192"/>
                  <a:gd name="connsiteX115" fmla="*/ 137462 w 263013"/>
                  <a:gd name="connsiteY115" fmla="*/ 368614 h 576192"/>
                  <a:gd name="connsiteX116" fmla="*/ 133044 w 263013"/>
                  <a:gd name="connsiteY116" fmla="*/ 377725 h 576192"/>
                  <a:gd name="connsiteX117" fmla="*/ 127308 w 263013"/>
                  <a:gd name="connsiteY117" fmla="*/ 381842 h 576192"/>
                  <a:gd name="connsiteX118" fmla="*/ 120612 w 263013"/>
                  <a:gd name="connsiteY118" fmla="*/ 382555 h 576192"/>
                  <a:gd name="connsiteX119" fmla="*/ 118060 w 263013"/>
                  <a:gd name="connsiteY119" fmla="*/ 386864 h 576192"/>
                  <a:gd name="connsiteX120" fmla="*/ 106809 w 263013"/>
                  <a:gd name="connsiteY120" fmla="*/ 393614 h 576192"/>
                  <a:gd name="connsiteX121" fmla="*/ 94816 w 263013"/>
                  <a:gd name="connsiteY121" fmla="*/ 405772 h 576192"/>
                  <a:gd name="connsiteX122" fmla="*/ 91138 w 263013"/>
                  <a:gd name="connsiteY122" fmla="*/ 405827 h 576192"/>
                  <a:gd name="connsiteX123" fmla="*/ 84963 w 263013"/>
                  <a:gd name="connsiteY123" fmla="*/ 402726 h 576192"/>
                  <a:gd name="connsiteX124" fmla="*/ 77143 w 263013"/>
                  <a:gd name="connsiteY124" fmla="*/ 404729 h 576192"/>
                  <a:gd name="connsiteX125" fmla="*/ 66742 w 263013"/>
                  <a:gd name="connsiteY125" fmla="*/ 400585 h 576192"/>
                  <a:gd name="connsiteX126" fmla="*/ 65698 w 263013"/>
                  <a:gd name="connsiteY126" fmla="*/ 396716 h 576192"/>
                  <a:gd name="connsiteX127" fmla="*/ 60704 w 263013"/>
                  <a:gd name="connsiteY127" fmla="*/ 397457 h 576192"/>
                  <a:gd name="connsiteX128" fmla="*/ 60183 w 263013"/>
                  <a:gd name="connsiteY128" fmla="*/ 389965 h 576192"/>
                  <a:gd name="connsiteX129" fmla="*/ 68855 w 263013"/>
                  <a:gd name="connsiteY129" fmla="*/ 357774 h 576192"/>
                  <a:gd name="connsiteX130" fmla="*/ 65424 w 263013"/>
                  <a:gd name="connsiteY130" fmla="*/ 332225 h 576192"/>
                  <a:gd name="connsiteX131" fmla="*/ 53761 w 263013"/>
                  <a:gd name="connsiteY131" fmla="*/ 305303 h 576192"/>
                  <a:gd name="connsiteX132" fmla="*/ 52279 w 263013"/>
                  <a:gd name="connsiteY132" fmla="*/ 305084 h 576192"/>
                  <a:gd name="connsiteX133" fmla="*/ 50687 w 263013"/>
                  <a:gd name="connsiteY133" fmla="*/ 308679 h 576192"/>
                  <a:gd name="connsiteX134" fmla="*/ 48684 w 263013"/>
                  <a:gd name="connsiteY134" fmla="*/ 308679 h 576192"/>
                  <a:gd name="connsiteX135" fmla="*/ 43690 w 263013"/>
                  <a:gd name="connsiteY135" fmla="*/ 304672 h 576192"/>
                  <a:gd name="connsiteX136" fmla="*/ 40012 w 263013"/>
                  <a:gd name="connsiteY136" fmla="*/ 298360 h 576192"/>
                  <a:gd name="connsiteX137" fmla="*/ 40067 w 263013"/>
                  <a:gd name="connsiteY137" fmla="*/ 293859 h 576192"/>
                  <a:gd name="connsiteX138" fmla="*/ 44677 w 263013"/>
                  <a:gd name="connsiteY138" fmla="*/ 289167 h 576192"/>
                  <a:gd name="connsiteX139" fmla="*/ 44430 w 263013"/>
                  <a:gd name="connsiteY139" fmla="*/ 286697 h 576192"/>
                  <a:gd name="connsiteX140" fmla="*/ 37295 w 263013"/>
                  <a:gd name="connsiteY140" fmla="*/ 282553 h 576192"/>
                  <a:gd name="connsiteX141" fmla="*/ 32355 w 263013"/>
                  <a:gd name="connsiteY141" fmla="*/ 274759 h 576192"/>
                  <a:gd name="connsiteX142" fmla="*/ 26483 w 263013"/>
                  <a:gd name="connsiteY142" fmla="*/ 275857 h 576192"/>
                  <a:gd name="connsiteX143" fmla="*/ 23766 w 263013"/>
                  <a:gd name="connsiteY143" fmla="*/ 274704 h 576192"/>
                  <a:gd name="connsiteX144" fmla="*/ 6504 w 263013"/>
                  <a:gd name="connsiteY144" fmla="*/ 254149 h 576192"/>
                  <a:gd name="connsiteX145" fmla="*/ 2141 w 263013"/>
                  <a:gd name="connsiteY145" fmla="*/ 243694 h 576192"/>
                  <a:gd name="connsiteX146" fmla="*/ 686 w 263013"/>
                  <a:gd name="connsiteY146" fmla="*/ 240263 h 576192"/>
                  <a:gd name="connsiteX147" fmla="*/ 0 w 263013"/>
                  <a:gd name="connsiteY147" fmla="*/ 238754 h 576192"/>
                  <a:gd name="connsiteX148" fmla="*/ 2141 w 263013"/>
                  <a:gd name="connsiteY148" fmla="*/ 231262 h 576192"/>
                  <a:gd name="connsiteX149" fmla="*/ 4638 w 263013"/>
                  <a:gd name="connsiteY149" fmla="*/ 228847 h 576192"/>
                  <a:gd name="connsiteX150" fmla="*/ 5873 w 263013"/>
                  <a:gd name="connsiteY150" fmla="*/ 229204 h 576192"/>
                  <a:gd name="connsiteX151" fmla="*/ 7273 w 263013"/>
                  <a:gd name="connsiteY151" fmla="*/ 231509 h 576192"/>
                  <a:gd name="connsiteX152" fmla="*/ 10428 w 263013"/>
                  <a:gd name="connsiteY152" fmla="*/ 232195 h 576192"/>
                  <a:gd name="connsiteX153" fmla="*/ 11718 w 263013"/>
                  <a:gd name="connsiteY153" fmla="*/ 235104 h 576192"/>
                  <a:gd name="connsiteX154" fmla="*/ 13475 w 263013"/>
                  <a:gd name="connsiteY154" fmla="*/ 234445 h 576192"/>
                  <a:gd name="connsiteX155" fmla="*/ 11883 w 263013"/>
                  <a:gd name="connsiteY155" fmla="*/ 212848 h 576192"/>
                  <a:gd name="connsiteX156" fmla="*/ 15121 w 263013"/>
                  <a:gd name="connsiteY156" fmla="*/ 208484 h 576192"/>
                  <a:gd name="connsiteX157" fmla="*/ 22366 w 263013"/>
                  <a:gd name="connsiteY157" fmla="*/ 211092 h 576192"/>
                  <a:gd name="connsiteX158" fmla="*/ 28431 w 263013"/>
                  <a:gd name="connsiteY158" fmla="*/ 203462 h 576192"/>
                  <a:gd name="connsiteX159" fmla="*/ 26812 w 263013"/>
                  <a:gd name="connsiteY159" fmla="*/ 187545 h 576192"/>
                  <a:gd name="connsiteX160" fmla="*/ 27910 w 263013"/>
                  <a:gd name="connsiteY160" fmla="*/ 180273 h 576192"/>
                  <a:gd name="connsiteX161" fmla="*/ 32108 w 263013"/>
                  <a:gd name="connsiteY161" fmla="*/ 178873 h 576192"/>
                  <a:gd name="connsiteX162" fmla="*/ 33837 w 263013"/>
                  <a:gd name="connsiteY162" fmla="*/ 175827 h 576192"/>
                  <a:gd name="connsiteX163" fmla="*/ 35896 w 263013"/>
                  <a:gd name="connsiteY163" fmla="*/ 159499 h 576192"/>
                  <a:gd name="connsiteX164" fmla="*/ 34304 w 263013"/>
                  <a:gd name="connsiteY164" fmla="*/ 147451 h 576192"/>
                  <a:gd name="connsiteX165" fmla="*/ 58015 w 263013"/>
                  <a:gd name="connsiteY165" fmla="*/ 150497 h 576192"/>
                  <a:gd name="connsiteX166" fmla="*/ 62021 w 263013"/>
                  <a:gd name="connsiteY166" fmla="*/ 139026 h 576192"/>
                  <a:gd name="connsiteX167" fmla="*/ 73795 w 263013"/>
                  <a:gd name="connsiteY167" fmla="*/ 115782 h 576192"/>
                  <a:gd name="connsiteX168" fmla="*/ 73602 w 263013"/>
                  <a:gd name="connsiteY168" fmla="*/ 112132 h 576192"/>
                  <a:gd name="connsiteX169" fmla="*/ 70748 w 263013"/>
                  <a:gd name="connsiteY169" fmla="*/ 108180 h 576192"/>
                  <a:gd name="connsiteX170" fmla="*/ 71242 w 263013"/>
                  <a:gd name="connsiteY170" fmla="*/ 104530 h 576192"/>
                  <a:gd name="connsiteX171" fmla="*/ 79311 w 263013"/>
                  <a:gd name="connsiteY171" fmla="*/ 96160 h 576192"/>
                  <a:gd name="connsiteX172" fmla="*/ 86473 w 263013"/>
                  <a:gd name="connsiteY172" fmla="*/ 81725 h 576192"/>
                  <a:gd name="connsiteX173" fmla="*/ 84827 w 263013"/>
                  <a:gd name="connsiteY173" fmla="*/ 72093 h 576192"/>
                  <a:gd name="connsiteX174" fmla="*/ 87296 w 263013"/>
                  <a:gd name="connsiteY174" fmla="*/ 63256 h 576192"/>
                  <a:gd name="connsiteX175" fmla="*/ 95145 w 263013"/>
                  <a:gd name="connsiteY175" fmla="*/ 59551 h 576192"/>
                  <a:gd name="connsiteX176" fmla="*/ 115206 w 263013"/>
                  <a:gd name="connsiteY176" fmla="*/ 43003 h 576192"/>
                  <a:gd name="connsiteX177" fmla="*/ 132715 w 263013"/>
                  <a:gd name="connsiteY177" fmla="*/ 38749 h 576192"/>
                  <a:gd name="connsiteX178" fmla="*/ 138972 w 263013"/>
                  <a:gd name="connsiteY178" fmla="*/ 44650 h 576192"/>
                  <a:gd name="connsiteX179" fmla="*/ 143692 w 263013"/>
                  <a:gd name="connsiteY179" fmla="*/ 45665 h 576192"/>
                  <a:gd name="connsiteX180" fmla="*/ 138505 w 263013"/>
                  <a:gd name="connsiteY180" fmla="*/ 32877 h 576192"/>
                  <a:gd name="connsiteX181" fmla="*/ 138972 w 263013"/>
                  <a:gd name="connsiteY181" fmla="*/ 29584 h 576192"/>
                  <a:gd name="connsiteX182" fmla="*/ 142786 w 263013"/>
                  <a:gd name="connsiteY182" fmla="*/ 25577 h 576192"/>
                  <a:gd name="connsiteX183" fmla="*/ 152089 w 263013"/>
                  <a:gd name="connsiteY183" fmla="*/ 19951 h 576192"/>
                  <a:gd name="connsiteX184" fmla="*/ 151293 w 263013"/>
                  <a:gd name="connsiteY184" fmla="*/ 10126 h 576192"/>
                  <a:gd name="connsiteX185" fmla="*/ 155300 w 263013"/>
                  <a:gd name="connsiteY185" fmla="*/ 6641 h 576192"/>
                  <a:gd name="connsiteX186" fmla="*/ 157111 w 263013"/>
                  <a:gd name="connsiteY186" fmla="*/ 521 h 576192"/>
                  <a:gd name="connsiteX187" fmla="*/ 160706 w 263013"/>
                  <a:gd name="connsiteY187" fmla="*/ 0 h 576192"/>
                  <a:gd name="connsiteX188" fmla="*/ 163834 w 263013"/>
                  <a:gd name="connsiteY188" fmla="*/ 4446 h 576192"/>
                  <a:gd name="connsiteX189" fmla="*/ 168857 w 263013"/>
                  <a:gd name="connsiteY189" fmla="*/ 6339 h 576192"/>
                  <a:gd name="connsiteX190" fmla="*/ 173797 w 263013"/>
                  <a:gd name="connsiteY190" fmla="*/ 11938 h 57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263013" h="576192">
                    <a:moveTo>
                      <a:pt x="173824" y="12020"/>
                    </a:moveTo>
                    <a:lnTo>
                      <a:pt x="180191" y="31724"/>
                    </a:lnTo>
                    <a:lnTo>
                      <a:pt x="185268" y="29803"/>
                    </a:lnTo>
                    <a:lnTo>
                      <a:pt x="190262" y="32081"/>
                    </a:lnTo>
                    <a:lnTo>
                      <a:pt x="193034" y="61225"/>
                    </a:lnTo>
                    <a:lnTo>
                      <a:pt x="191196" y="77170"/>
                    </a:lnTo>
                    <a:lnTo>
                      <a:pt x="188561" y="80216"/>
                    </a:lnTo>
                    <a:lnTo>
                      <a:pt x="190372" y="86967"/>
                    </a:lnTo>
                    <a:lnTo>
                      <a:pt x="185158" y="89931"/>
                    </a:lnTo>
                    <a:lnTo>
                      <a:pt x="181481" y="96242"/>
                    </a:lnTo>
                    <a:lnTo>
                      <a:pt x="176239" y="96599"/>
                    </a:lnTo>
                    <a:lnTo>
                      <a:pt x="172342" y="104914"/>
                    </a:lnTo>
                    <a:lnTo>
                      <a:pt x="165399" y="108702"/>
                    </a:lnTo>
                    <a:lnTo>
                      <a:pt x="162545" y="114794"/>
                    </a:lnTo>
                    <a:lnTo>
                      <a:pt x="163643" y="120557"/>
                    </a:lnTo>
                    <a:lnTo>
                      <a:pt x="158099" y="124866"/>
                    </a:lnTo>
                    <a:lnTo>
                      <a:pt x="157496" y="131946"/>
                    </a:lnTo>
                    <a:lnTo>
                      <a:pt x="161173" y="135047"/>
                    </a:lnTo>
                    <a:lnTo>
                      <a:pt x="162957" y="140673"/>
                    </a:lnTo>
                    <a:lnTo>
                      <a:pt x="158182" y="150525"/>
                    </a:lnTo>
                    <a:lnTo>
                      <a:pt x="161502" y="151622"/>
                    </a:lnTo>
                    <a:lnTo>
                      <a:pt x="176376" y="144734"/>
                    </a:lnTo>
                    <a:lnTo>
                      <a:pt x="194982" y="144377"/>
                    </a:lnTo>
                    <a:lnTo>
                      <a:pt x="191250" y="151979"/>
                    </a:lnTo>
                    <a:lnTo>
                      <a:pt x="195476" y="159581"/>
                    </a:lnTo>
                    <a:lnTo>
                      <a:pt x="197562" y="173055"/>
                    </a:lnTo>
                    <a:lnTo>
                      <a:pt x="205960" y="176870"/>
                    </a:lnTo>
                    <a:lnTo>
                      <a:pt x="212079" y="176760"/>
                    </a:lnTo>
                    <a:lnTo>
                      <a:pt x="214851" y="181041"/>
                    </a:lnTo>
                    <a:lnTo>
                      <a:pt x="210296" y="188314"/>
                    </a:lnTo>
                    <a:lnTo>
                      <a:pt x="210680" y="195229"/>
                    </a:lnTo>
                    <a:lnTo>
                      <a:pt x="207826" y="200279"/>
                    </a:lnTo>
                    <a:lnTo>
                      <a:pt x="206756" y="207194"/>
                    </a:lnTo>
                    <a:lnTo>
                      <a:pt x="227393" y="210625"/>
                    </a:lnTo>
                    <a:lnTo>
                      <a:pt x="228902" y="219324"/>
                    </a:lnTo>
                    <a:lnTo>
                      <a:pt x="232936" y="222178"/>
                    </a:lnTo>
                    <a:lnTo>
                      <a:pt x="233513" y="226075"/>
                    </a:lnTo>
                    <a:lnTo>
                      <a:pt x="235571" y="227612"/>
                    </a:lnTo>
                    <a:lnTo>
                      <a:pt x="247289" y="228380"/>
                    </a:lnTo>
                    <a:lnTo>
                      <a:pt x="260708" y="220230"/>
                    </a:lnTo>
                    <a:lnTo>
                      <a:pt x="263014" y="225746"/>
                    </a:lnTo>
                    <a:lnTo>
                      <a:pt x="258540" y="231235"/>
                    </a:lnTo>
                    <a:lnTo>
                      <a:pt x="250774" y="234500"/>
                    </a:lnTo>
                    <a:lnTo>
                      <a:pt x="248771" y="240236"/>
                    </a:lnTo>
                    <a:lnTo>
                      <a:pt x="245038" y="244544"/>
                    </a:lnTo>
                    <a:lnTo>
                      <a:pt x="244874" y="246383"/>
                    </a:lnTo>
                    <a:lnTo>
                      <a:pt x="247042" y="247865"/>
                    </a:lnTo>
                    <a:lnTo>
                      <a:pt x="236915" y="251597"/>
                    </a:lnTo>
                    <a:lnTo>
                      <a:pt x="231866" y="263919"/>
                    </a:lnTo>
                    <a:lnTo>
                      <a:pt x="227228" y="261175"/>
                    </a:lnTo>
                    <a:lnTo>
                      <a:pt x="222618" y="264029"/>
                    </a:lnTo>
                    <a:lnTo>
                      <a:pt x="214961" y="264111"/>
                    </a:lnTo>
                    <a:lnTo>
                      <a:pt x="215016" y="270121"/>
                    </a:lnTo>
                    <a:lnTo>
                      <a:pt x="212518" y="271768"/>
                    </a:lnTo>
                    <a:lnTo>
                      <a:pt x="202913" y="272344"/>
                    </a:lnTo>
                    <a:lnTo>
                      <a:pt x="200608" y="279754"/>
                    </a:lnTo>
                    <a:lnTo>
                      <a:pt x="198770" y="281784"/>
                    </a:lnTo>
                    <a:lnTo>
                      <a:pt x="180685" y="284693"/>
                    </a:lnTo>
                    <a:lnTo>
                      <a:pt x="172726" y="281812"/>
                    </a:lnTo>
                    <a:lnTo>
                      <a:pt x="170366" y="286587"/>
                    </a:lnTo>
                    <a:lnTo>
                      <a:pt x="165070" y="293064"/>
                    </a:lnTo>
                    <a:lnTo>
                      <a:pt x="165564" y="302120"/>
                    </a:lnTo>
                    <a:lnTo>
                      <a:pt x="161694" y="308157"/>
                    </a:lnTo>
                    <a:lnTo>
                      <a:pt x="162929" y="318448"/>
                    </a:lnTo>
                    <a:lnTo>
                      <a:pt x="152803" y="321906"/>
                    </a:lnTo>
                    <a:lnTo>
                      <a:pt x="154970" y="327065"/>
                    </a:lnTo>
                    <a:lnTo>
                      <a:pt x="159664" y="329590"/>
                    </a:lnTo>
                    <a:lnTo>
                      <a:pt x="161831" y="341473"/>
                    </a:lnTo>
                    <a:lnTo>
                      <a:pt x="164603" y="346989"/>
                    </a:lnTo>
                    <a:lnTo>
                      <a:pt x="185103" y="370041"/>
                    </a:lnTo>
                    <a:lnTo>
                      <a:pt x="185268" y="377533"/>
                    </a:lnTo>
                    <a:lnTo>
                      <a:pt x="189878" y="388099"/>
                    </a:lnTo>
                    <a:lnTo>
                      <a:pt x="195120" y="386809"/>
                    </a:lnTo>
                    <a:lnTo>
                      <a:pt x="197068" y="387934"/>
                    </a:lnTo>
                    <a:lnTo>
                      <a:pt x="195202" y="394081"/>
                    </a:lnTo>
                    <a:lnTo>
                      <a:pt x="190564" y="395755"/>
                    </a:lnTo>
                    <a:lnTo>
                      <a:pt x="188149" y="398664"/>
                    </a:lnTo>
                    <a:lnTo>
                      <a:pt x="186777" y="417325"/>
                    </a:lnTo>
                    <a:lnTo>
                      <a:pt x="177035" y="423637"/>
                    </a:lnTo>
                    <a:lnTo>
                      <a:pt x="177803" y="432886"/>
                    </a:lnTo>
                    <a:lnTo>
                      <a:pt x="188177" y="449186"/>
                    </a:lnTo>
                    <a:lnTo>
                      <a:pt x="198276" y="457035"/>
                    </a:lnTo>
                    <a:lnTo>
                      <a:pt x="202557" y="463155"/>
                    </a:lnTo>
                    <a:lnTo>
                      <a:pt x="205740" y="476108"/>
                    </a:lnTo>
                    <a:lnTo>
                      <a:pt x="203874" y="488430"/>
                    </a:lnTo>
                    <a:lnTo>
                      <a:pt x="206591" y="495428"/>
                    </a:lnTo>
                    <a:lnTo>
                      <a:pt x="212162" y="502755"/>
                    </a:lnTo>
                    <a:lnTo>
                      <a:pt x="214138" y="513677"/>
                    </a:lnTo>
                    <a:lnTo>
                      <a:pt x="218666" y="525478"/>
                    </a:lnTo>
                    <a:lnTo>
                      <a:pt x="206701" y="545896"/>
                    </a:lnTo>
                    <a:lnTo>
                      <a:pt x="194434" y="559068"/>
                    </a:lnTo>
                    <a:lnTo>
                      <a:pt x="192622" y="568289"/>
                    </a:lnTo>
                    <a:lnTo>
                      <a:pt x="191332" y="572653"/>
                    </a:lnTo>
                    <a:lnTo>
                      <a:pt x="186667" y="576193"/>
                    </a:lnTo>
                    <a:lnTo>
                      <a:pt x="185048" y="561538"/>
                    </a:lnTo>
                    <a:lnTo>
                      <a:pt x="185625" y="554787"/>
                    </a:lnTo>
                    <a:lnTo>
                      <a:pt x="190153" y="549875"/>
                    </a:lnTo>
                    <a:lnTo>
                      <a:pt x="193007" y="530445"/>
                    </a:lnTo>
                    <a:lnTo>
                      <a:pt x="186091" y="522075"/>
                    </a:lnTo>
                    <a:lnTo>
                      <a:pt x="189933" y="519166"/>
                    </a:lnTo>
                    <a:lnTo>
                      <a:pt x="187107" y="512470"/>
                    </a:lnTo>
                    <a:lnTo>
                      <a:pt x="180740" y="508875"/>
                    </a:lnTo>
                    <a:lnTo>
                      <a:pt x="178791" y="504539"/>
                    </a:lnTo>
                    <a:lnTo>
                      <a:pt x="181481" y="501438"/>
                    </a:lnTo>
                    <a:lnTo>
                      <a:pt x="187847" y="505554"/>
                    </a:lnTo>
                    <a:lnTo>
                      <a:pt x="189686" y="496251"/>
                    </a:lnTo>
                    <a:lnTo>
                      <a:pt x="182523" y="475477"/>
                    </a:lnTo>
                    <a:lnTo>
                      <a:pt x="178791" y="470290"/>
                    </a:lnTo>
                    <a:lnTo>
                      <a:pt x="174044" y="467189"/>
                    </a:lnTo>
                    <a:lnTo>
                      <a:pt x="172424" y="453221"/>
                    </a:lnTo>
                    <a:lnTo>
                      <a:pt x="164878" y="433242"/>
                    </a:lnTo>
                    <a:lnTo>
                      <a:pt x="163121" y="412523"/>
                    </a:lnTo>
                    <a:lnTo>
                      <a:pt x="158840" y="394026"/>
                    </a:lnTo>
                    <a:lnTo>
                      <a:pt x="143362" y="362878"/>
                    </a:lnTo>
                    <a:lnTo>
                      <a:pt x="138944" y="359421"/>
                    </a:lnTo>
                    <a:lnTo>
                      <a:pt x="137462" y="368614"/>
                    </a:lnTo>
                    <a:lnTo>
                      <a:pt x="133044" y="377725"/>
                    </a:lnTo>
                    <a:lnTo>
                      <a:pt x="127308" y="381842"/>
                    </a:lnTo>
                    <a:lnTo>
                      <a:pt x="120612" y="382555"/>
                    </a:lnTo>
                    <a:lnTo>
                      <a:pt x="118060" y="386864"/>
                    </a:lnTo>
                    <a:lnTo>
                      <a:pt x="106809" y="393614"/>
                    </a:lnTo>
                    <a:lnTo>
                      <a:pt x="94816" y="405772"/>
                    </a:lnTo>
                    <a:lnTo>
                      <a:pt x="91138" y="405827"/>
                    </a:lnTo>
                    <a:lnTo>
                      <a:pt x="84963" y="402726"/>
                    </a:lnTo>
                    <a:lnTo>
                      <a:pt x="77143" y="404729"/>
                    </a:lnTo>
                    <a:lnTo>
                      <a:pt x="66742" y="400585"/>
                    </a:lnTo>
                    <a:lnTo>
                      <a:pt x="65698" y="396716"/>
                    </a:lnTo>
                    <a:lnTo>
                      <a:pt x="60704" y="397457"/>
                    </a:lnTo>
                    <a:lnTo>
                      <a:pt x="60183" y="389965"/>
                    </a:lnTo>
                    <a:lnTo>
                      <a:pt x="68855" y="357774"/>
                    </a:lnTo>
                    <a:lnTo>
                      <a:pt x="65424" y="332225"/>
                    </a:lnTo>
                    <a:lnTo>
                      <a:pt x="53761" y="305303"/>
                    </a:lnTo>
                    <a:lnTo>
                      <a:pt x="52279" y="305084"/>
                    </a:lnTo>
                    <a:lnTo>
                      <a:pt x="50687" y="308679"/>
                    </a:lnTo>
                    <a:lnTo>
                      <a:pt x="48684" y="308679"/>
                    </a:lnTo>
                    <a:cubicBezTo>
                      <a:pt x="48684" y="308679"/>
                      <a:pt x="43690" y="304672"/>
                      <a:pt x="43690" y="304672"/>
                    </a:cubicBezTo>
                    <a:lnTo>
                      <a:pt x="40012" y="298360"/>
                    </a:lnTo>
                    <a:lnTo>
                      <a:pt x="40067" y="293859"/>
                    </a:lnTo>
                    <a:lnTo>
                      <a:pt x="44677" y="289167"/>
                    </a:lnTo>
                    <a:lnTo>
                      <a:pt x="44430" y="286697"/>
                    </a:lnTo>
                    <a:lnTo>
                      <a:pt x="37295" y="282553"/>
                    </a:lnTo>
                    <a:lnTo>
                      <a:pt x="32355" y="274759"/>
                    </a:lnTo>
                    <a:lnTo>
                      <a:pt x="26483" y="275857"/>
                    </a:lnTo>
                    <a:lnTo>
                      <a:pt x="23766" y="274704"/>
                    </a:lnTo>
                    <a:lnTo>
                      <a:pt x="6504" y="254149"/>
                    </a:lnTo>
                    <a:lnTo>
                      <a:pt x="2141" y="243694"/>
                    </a:lnTo>
                    <a:lnTo>
                      <a:pt x="686" y="240263"/>
                    </a:lnTo>
                    <a:lnTo>
                      <a:pt x="0" y="238754"/>
                    </a:lnTo>
                    <a:lnTo>
                      <a:pt x="2141" y="231262"/>
                    </a:lnTo>
                    <a:lnTo>
                      <a:pt x="4638" y="228847"/>
                    </a:lnTo>
                    <a:lnTo>
                      <a:pt x="5873" y="229204"/>
                    </a:lnTo>
                    <a:lnTo>
                      <a:pt x="7273" y="231509"/>
                    </a:lnTo>
                    <a:lnTo>
                      <a:pt x="10428" y="232195"/>
                    </a:lnTo>
                    <a:lnTo>
                      <a:pt x="11718" y="235104"/>
                    </a:lnTo>
                    <a:lnTo>
                      <a:pt x="13475" y="234445"/>
                    </a:lnTo>
                    <a:lnTo>
                      <a:pt x="11883" y="212848"/>
                    </a:lnTo>
                    <a:lnTo>
                      <a:pt x="15121" y="208484"/>
                    </a:lnTo>
                    <a:lnTo>
                      <a:pt x="22366" y="211092"/>
                    </a:lnTo>
                    <a:lnTo>
                      <a:pt x="28431" y="203462"/>
                    </a:lnTo>
                    <a:lnTo>
                      <a:pt x="26812" y="187545"/>
                    </a:lnTo>
                    <a:lnTo>
                      <a:pt x="27910" y="180273"/>
                    </a:lnTo>
                    <a:lnTo>
                      <a:pt x="32108" y="178873"/>
                    </a:lnTo>
                    <a:lnTo>
                      <a:pt x="33837" y="175827"/>
                    </a:lnTo>
                    <a:lnTo>
                      <a:pt x="35896" y="159499"/>
                    </a:lnTo>
                    <a:lnTo>
                      <a:pt x="34304" y="147451"/>
                    </a:lnTo>
                    <a:lnTo>
                      <a:pt x="58015" y="150497"/>
                    </a:lnTo>
                    <a:lnTo>
                      <a:pt x="62021" y="139026"/>
                    </a:lnTo>
                    <a:lnTo>
                      <a:pt x="73795" y="115782"/>
                    </a:lnTo>
                    <a:lnTo>
                      <a:pt x="73602" y="112132"/>
                    </a:lnTo>
                    <a:lnTo>
                      <a:pt x="70748" y="108180"/>
                    </a:lnTo>
                    <a:lnTo>
                      <a:pt x="71242" y="104530"/>
                    </a:lnTo>
                    <a:lnTo>
                      <a:pt x="79311" y="96160"/>
                    </a:lnTo>
                    <a:lnTo>
                      <a:pt x="86473" y="81725"/>
                    </a:lnTo>
                    <a:lnTo>
                      <a:pt x="84827" y="72093"/>
                    </a:lnTo>
                    <a:lnTo>
                      <a:pt x="87296" y="63256"/>
                    </a:lnTo>
                    <a:lnTo>
                      <a:pt x="95145" y="59551"/>
                    </a:lnTo>
                    <a:lnTo>
                      <a:pt x="115206" y="43003"/>
                    </a:lnTo>
                    <a:lnTo>
                      <a:pt x="132715" y="38749"/>
                    </a:lnTo>
                    <a:lnTo>
                      <a:pt x="138972" y="44650"/>
                    </a:lnTo>
                    <a:lnTo>
                      <a:pt x="143692" y="45665"/>
                    </a:lnTo>
                    <a:lnTo>
                      <a:pt x="138505" y="32877"/>
                    </a:lnTo>
                    <a:lnTo>
                      <a:pt x="138972" y="29584"/>
                    </a:lnTo>
                    <a:lnTo>
                      <a:pt x="142786" y="25577"/>
                    </a:lnTo>
                    <a:lnTo>
                      <a:pt x="152089" y="19951"/>
                    </a:lnTo>
                    <a:lnTo>
                      <a:pt x="151293" y="10126"/>
                    </a:lnTo>
                    <a:lnTo>
                      <a:pt x="155300" y="6641"/>
                    </a:lnTo>
                    <a:lnTo>
                      <a:pt x="157111" y="521"/>
                    </a:lnTo>
                    <a:lnTo>
                      <a:pt x="160706" y="0"/>
                    </a:lnTo>
                    <a:lnTo>
                      <a:pt x="163834" y="4446"/>
                    </a:lnTo>
                    <a:lnTo>
                      <a:pt x="168857" y="6339"/>
                    </a:lnTo>
                    <a:lnTo>
                      <a:pt x="173797" y="119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3" name="Freeform: Shape 4122">
                <a:extLst>
                  <a:ext uri="{FF2B5EF4-FFF2-40B4-BE49-F238E27FC236}">
                    <a16:creationId xmlns:a16="http://schemas.microsoft.com/office/drawing/2014/main" id="{8CEA623A-39CE-75DF-BDB1-328DFA7A4677}"/>
                  </a:ext>
                </a:extLst>
              </p:cNvPr>
              <p:cNvSpPr/>
              <p:nvPr/>
            </p:nvSpPr>
            <p:spPr>
              <a:xfrm>
                <a:off x="1652169" y="3785358"/>
                <a:ext cx="819" cy="781"/>
              </a:xfrm>
              <a:custGeom>
                <a:avLst/>
                <a:gdLst>
                  <a:gd name="connsiteX0" fmla="*/ 6888 w 7848"/>
                  <a:gd name="connsiteY0" fmla="*/ 7300 h 7492"/>
                  <a:gd name="connsiteX1" fmla="*/ 5297 w 7848"/>
                  <a:gd name="connsiteY1" fmla="*/ 7492 h 7492"/>
                  <a:gd name="connsiteX2" fmla="*/ 1839 w 7848"/>
                  <a:gd name="connsiteY2" fmla="*/ 4528 h 7492"/>
                  <a:gd name="connsiteX3" fmla="*/ 0 w 7848"/>
                  <a:gd name="connsiteY3" fmla="*/ 1455 h 7492"/>
                  <a:gd name="connsiteX4" fmla="*/ 3897 w 7848"/>
                  <a:gd name="connsiteY4" fmla="*/ 0 h 7492"/>
                  <a:gd name="connsiteX5" fmla="*/ 4967 w 7848"/>
                  <a:gd name="connsiteY5" fmla="*/ 1235 h 7492"/>
                  <a:gd name="connsiteX6" fmla="*/ 7519 w 7848"/>
                  <a:gd name="connsiteY6" fmla="*/ 1290 h 7492"/>
                  <a:gd name="connsiteX7" fmla="*/ 7849 w 7848"/>
                  <a:gd name="connsiteY7" fmla="*/ 5105 h 7492"/>
                  <a:gd name="connsiteX8" fmla="*/ 6916 w 7848"/>
                  <a:gd name="connsiteY8" fmla="*/ 7300 h 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8" h="7492">
                    <a:moveTo>
                      <a:pt x="6888" y="7300"/>
                    </a:moveTo>
                    <a:lnTo>
                      <a:pt x="5297" y="7492"/>
                    </a:lnTo>
                    <a:lnTo>
                      <a:pt x="1839" y="4528"/>
                    </a:lnTo>
                    <a:lnTo>
                      <a:pt x="0" y="1455"/>
                    </a:lnTo>
                    <a:lnTo>
                      <a:pt x="3897" y="0"/>
                    </a:lnTo>
                    <a:lnTo>
                      <a:pt x="4967" y="1235"/>
                    </a:lnTo>
                    <a:lnTo>
                      <a:pt x="7519" y="1290"/>
                    </a:lnTo>
                    <a:lnTo>
                      <a:pt x="7849" y="5105"/>
                    </a:lnTo>
                    <a:lnTo>
                      <a:pt x="6916" y="73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4" name="Freeform: Shape 4123">
                <a:extLst>
                  <a:ext uri="{FF2B5EF4-FFF2-40B4-BE49-F238E27FC236}">
                    <a16:creationId xmlns:a16="http://schemas.microsoft.com/office/drawing/2014/main" id="{D5A662E5-8D64-B3FD-9FD3-3C83581E7DA5}"/>
                  </a:ext>
                </a:extLst>
              </p:cNvPr>
              <p:cNvSpPr/>
              <p:nvPr/>
            </p:nvSpPr>
            <p:spPr>
              <a:xfrm>
                <a:off x="1665874" y="3806076"/>
                <a:ext cx="612" cy="767"/>
              </a:xfrm>
              <a:custGeom>
                <a:avLst/>
                <a:gdLst>
                  <a:gd name="connsiteX0" fmla="*/ 5845 w 5872"/>
                  <a:gd name="connsiteY0" fmla="*/ 7355 h 7354"/>
                  <a:gd name="connsiteX1" fmla="*/ 3540 w 5872"/>
                  <a:gd name="connsiteY1" fmla="*/ 7355 h 7354"/>
                  <a:gd name="connsiteX2" fmla="*/ 2772 w 5872"/>
                  <a:gd name="connsiteY2" fmla="*/ 4254 h 7354"/>
                  <a:gd name="connsiteX3" fmla="*/ 0 w 5872"/>
                  <a:gd name="connsiteY3" fmla="*/ 2909 h 7354"/>
                  <a:gd name="connsiteX4" fmla="*/ 3952 w 5872"/>
                  <a:gd name="connsiteY4" fmla="*/ 0 h 7354"/>
                  <a:gd name="connsiteX5" fmla="*/ 5571 w 5872"/>
                  <a:gd name="connsiteY5" fmla="*/ 1372 h 7354"/>
                  <a:gd name="connsiteX6" fmla="*/ 4418 w 5872"/>
                  <a:gd name="connsiteY6" fmla="*/ 2964 h 7354"/>
                  <a:gd name="connsiteX7" fmla="*/ 5873 w 5872"/>
                  <a:gd name="connsiteY7" fmla="*/ 7355 h 7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2" h="7354">
                    <a:moveTo>
                      <a:pt x="5845" y="7355"/>
                    </a:moveTo>
                    <a:lnTo>
                      <a:pt x="3540" y="7355"/>
                    </a:lnTo>
                    <a:lnTo>
                      <a:pt x="2772" y="4254"/>
                    </a:lnTo>
                    <a:lnTo>
                      <a:pt x="0" y="2909"/>
                    </a:lnTo>
                    <a:lnTo>
                      <a:pt x="3952" y="0"/>
                    </a:lnTo>
                    <a:lnTo>
                      <a:pt x="5571" y="1372"/>
                    </a:lnTo>
                    <a:lnTo>
                      <a:pt x="4418" y="2964"/>
                    </a:lnTo>
                    <a:lnTo>
                      <a:pt x="5873" y="73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5" name="Freeform: Shape 4124">
                <a:extLst>
                  <a:ext uri="{FF2B5EF4-FFF2-40B4-BE49-F238E27FC236}">
                    <a16:creationId xmlns:a16="http://schemas.microsoft.com/office/drawing/2014/main" id="{655FB4F3-B265-A936-1E02-784092779661}"/>
                  </a:ext>
                </a:extLst>
              </p:cNvPr>
              <p:cNvSpPr/>
              <p:nvPr/>
            </p:nvSpPr>
            <p:spPr>
              <a:xfrm>
                <a:off x="1667167" y="3807985"/>
                <a:ext cx="535" cy="750"/>
              </a:xfrm>
              <a:custGeom>
                <a:avLst/>
                <a:gdLst>
                  <a:gd name="connsiteX0" fmla="*/ 3348 w 5131"/>
                  <a:gd name="connsiteY0" fmla="*/ 7135 h 7190"/>
                  <a:gd name="connsiteX1" fmla="*/ 1729 w 5131"/>
                  <a:gd name="connsiteY1" fmla="*/ 7190 h 7190"/>
                  <a:gd name="connsiteX2" fmla="*/ 384 w 5131"/>
                  <a:gd name="connsiteY2" fmla="*/ 4528 h 7190"/>
                  <a:gd name="connsiteX3" fmla="*/ 0 w 5131"/>
                  <a:gd name="connsiteY3" fmla="*/ 2058 h 7190"/>
                  <a:gd name="connsiteX4" fmla="*/ 1317 w 5131"/>
                  <a:gd name="connsiteY4" fmla="*/ 604 h 7190"/>
                  <a:gd name="connsiteX5" fmla="*/ 4445 w 5131"/>
                  <a:gd name="connsiteY5" fmla="*/ 0 h 7190"/>
                  <a:gd name="connsiteX6" fmla="*/ 5022 w 5131"/>
                  <a:gd name="connsiteY6" fmla="*/ 933 h 7190"/>
                  <a:gd name="connsiteX7" fmla="*/ 5131 w 5131"/>
                  <a:gd name="connsiteY7" fmla="*/ 5708 h 7190"/>
                  <a:gd name="connsiteX8" fmla="*/ 3320 w 5131"/>
                  <a:gd name="connsiteY8" fmla="*/ 7135 h 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1" h="7190">
                    <a:moveTo>
                      <a:pt x="3348" y="7135"/>
                    </a:moveTo>
                    <a:lnTo>
                      <a:pt x="1729" y="7190"/>
                    </a:lnTo>
                    <a:lnTo>
                      <a:pt x="384" y="4528"/>
                    </a:lnTo>
                    <a:lnTo>
                      <a:pt x="0" y="2058"/>
                    </a:lnTo>
                    <a:lnTo>
                      <a:pt x="1317" y="604"/>
                    </a:lnTo>
                    <a:lnTo>
                      <a:pt x="4445" y="0"/>
                    </a:lnTo>
                    <a:lnTo>
                      <a:pt x="5022" y="933"/>
                    </a:lnTo>
                    <a:lnTo>
                      <a:pt x="5131" y="5708"/>
                    </a:lnTo>
                    <a:lnTo>
                      <a:pt x="3320" y="71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6" name="Freeform: Shape 4125">
                <a:extLst>
                  <a:ext uri="{FF2B5EF4-FFF2-40B4-BE49-F238E27FC236}">
                    <a16:creationId xmlns:a16="http://schemas.microsoft.com/office/drawing/2014/main" id="{6FD236C4-9604-F621-CD58-D65C5B547E70}"/>
                  </a:ext>
                </a:extLst>
              </p:cNvPr>
              <p:cNvSpPr/>
              <p:nvPr/>
            </p:nvSpPr>
            <p:spPr>
              <a:xfrm>
                <a:off x="1666601" y="3808154"/>
                <a:ext cx="389" cy="925"/>
              </a:xfrm>
              <a:custGeom>
                <a:avLst/>
                <a:gdLst>
                  <a:gd name="connsiteX0" fmla="*/ 3732 w 3731"/>
                  <a:gd name="connsiteY0" fmla="*/ 275 h 8864"/>
                  <a:gd name="connsiteX1" fmla="*/ 1921 w 3731"/>
                  <a:gd name="connsiteY1" fmla="*/ 8864 h 8864"/>
                  <a:gd name="connsiteX2" fmla="*/ 0 w 3731"/>
                  <a:gd name="connsiteY2" fmla="*/ 6641 h 8864"/>
                  <a:gd name="connsiteX3" fmla="*/ 2195 w 3731"/>
                  <a:gd name="connsiteY3" fmla="*/ 0 h 8864"/>
                  <a:gd name="connsiteX4" fmla="*/ 3732 w 3731"/>
                  <a:gd name="connsiteY4" fmla="*/ 275 h 8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1" h="8864">
                    <a:moveTo>
                      <a:pt x="3732" y="275"/>
                    </a:moveTo>
                    <a:lnTo>
                      <a:pt x="1921" y="8864"/>
                    </a:lnTo>
                    <a:lnTo>
                      <a:pt x="0" y="6641"/>
                    </a:lnTo>
                    <a:lnTo>
                      <a:pt x="2195" y="0"/>
                    </a:lnTo>
                    <a:lnTo>
                      <a:pt x="3732" y="2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7" name="Freeform: Shape 4126">
                <a:extLst>
                  <a:ext uri="{FF2B5EF4-FFF2-40B4-BE49-F238E27FC236}">
                    <a16:creationId xmlns:a16="http://schemas.microsoft.com/office/drawing/2014/main" id="{B3D21EDE-E926-A7C8-2CCA-6E945CCEE217}"/>
                  </a:ext>
                </a:extLst>
              </p:cNvPr>
              <p:cNvSpPr/>
              <p:nvPr/>
            </p:nvSpPr>
            <p:spPr>
              <a:xfrm>
                <a:off x="1666417" y="3813409"/>
                <a:ext cx="532" cy="452"/>
              </a:xfrm>
              <a:custGeom>
                <a:avLst/>
                <a:gdLst>
                  <a:gd name="connsiteX0" fmla="*/ 3815 w 5104"/>
                  <a:gd name="connsiteY0" fmla="*/ 3678 h 4336"/>
                  <a:gd name="connsiteX1" fmla="*/ 0 w 5104"/>
                  <a:gd name="connsiteY1" fmla="*/ 4336 h 4336"/>
                  <a:gd name="connsiteX2" fmla="*/ 2141 w 5104"/>
                  <a:gd name="connsiteY2" fmla="*/ 0 h 4336"/>
                  <a:gd name="connsiteX3" fmla="*/ 5105 w 5104"/>
                  <a:gd name="connsiteY3" fmla="*/ 1015 h 4336"/>
                  <a:gd name="connsiteX4" fmla="*/ 3815 w 5104"/>
                  <a:gd name="connsiteY4" fmla="*/ 3678 h 4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4" h="4336">
                    <a:moveTo>
                      <a:pt x="3815" y="3678"/>
                    </a:moveTo>
                    <a:lnTo>
                      <a:pt x="0" y="4336"/>
                    </a:lnTo>
                    <a:lnTo>
                      <a:pt x="2141" y="0"/>
                    </a:lnTo>
                    <a:lnTo>
                      <a:pt x="5105" y="1015"/>
                    </a:lnTo>
                    <a:lnTo>
                      <a:pt x="3815" y="36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8" name="Freeform: Shape 4127">
                <a:extLst>
                  <a:ext uri="{FF2B5EF4-FFF2-40B4-BE49-F238E27FC236}">
                    <a16:creationId xmlns:a16="http://schemas.microsoft.com/office/drawing/2014/main" id="{7D31111B-EFC5-DD83-7AF1-D1BCFE4296D0}"/>
                  </a:ext>
                </a:extLst>
              </p:cNvPr>
              <p:cNvSpPr/>
              <p:nvPr/>
            </p:nvSpPr>
            <p:spPr>
              <a:xfrm>
                <a:off x="1666629" y="3809462"/>
                <a:ext cx="361" cy="464"/>
              </a:xfrm>
              <a:custGeom>
                <a:avLst/>
                <a:gdLst>
                  <a:gd name="connsiteX0" fmla="*/ 3458 w 3457"/>
                  <a:gd name="connsiteY0" fmla="*/ 3183 h 4445"/>
                  <a:gd name="connsiteX1" fmla="*/ 1619 w 3457"/>
                  <a:gd name="connsiteY1" fmla="*/ 4446 h 4445"/>
                  <a:gd name="connsiteX2" fmla="*/ 0 w 3457"/>
                  <a:gd name="connsiteY2" fmla="*/ 1400 h 4445"/>
                  <a:gd name="connsiteX3" fmla="*/ 961 w 3457"/>
                  <a:gd name="connsiteY3" fmla="*/ 0 h 4445"/>
                  <a:gd name="connsiteX4" fmla="*/ 3458 w 3457"/>
                  <a:gd name="connsiteY4" fmla="*/ 3156 h 4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4445">
                    <a:moveTo>
                      <a:pt x="3458" y="3183"/>
                    </a:moveTo>
                    <a:lnTo>
                      <a:pt x="1619" y="4446"/>
                    </a:lnTo>
                    <a:lnTo>
                      <a:pt x="0" y="1400"/>
                    </a:lnTo>
                    <a:lnTo>
                      <a:pt x="961" y="0"/>
                    </a:lnTo>
                    <a:lnTo>
                      <a:pt x="3458" y="31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29" name="Freeform: Shape 4128">
                <a:extLst>
                  <a:ext uri="{FF2B5EF4-FFF2-40B4-BE49-F238E27FC236}">
                    <a16:creationId xmlns:a16="http://schemas.microsoft.com/office/drawing/2014/main" id="{A3C0B9F1-5221-D924-744F-FA9824DE73DC}"/>
                  </a:ext>
                </a:extLst>
              </p:cNvPr>
              <p:cNvSpPr/>
              <p:nvPr/>
            </p:nvSpPr>
            <p:spPr>
              <a:xfrm>
                <a:off x="1666414" y="3810501"/>
                <a:ext cx="406" cy="404"/>
              </a:xfrm>
              <a:custGeom>
                <a:avLst/>
                <a:gdLst>
                  <a:gd name="connsiteX0" fmla="*/ 3897 w 3896"/>
                  <a:gd name="connsiteY0" fmla="*/ 3869 h 3869"/>
                  <a:gd name="connsiteX1" fmla="*/ 1262 w 3896"/>
                  <a:gd name="connsiteY1" fmla="*/ 3869 h 3869"/>
                  <a:gd name="connsiteX2" fmla="*/ 0 w 3896"/>
                  <a:gd name="connsiteY2" fmla="*/ 1509 h 3869"/>
                  <a:gd name="connsiteX3" fmla="*/ 933 w 3896"/>
                  <a:gd name="connsiteY3" fmla="*/ 0 h 3869"/>
                  <a:gd name="connsiteX4" fmla="*/ 3897 w 3896"/>
                  <a:gd name="connsiteY4" fmla="*/ 3869 h 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6" h="3869">
                    <a:moveTo>
                      <a:pt x="3897" y="3869"/>
                    </a:moveTo>
                    <a:lnTo>
                      <a:pt x="1262" y="3869"/>
                    </a:lnTo>
                    <a:lnTo>
                      <a:pt x="0" y="1509"/>
                    </a:lnTo>
                    <a:lnTo>
                      <a:pt x="933" y="0"/>
                    </a:lnTo>
                    <a:lnTo>
                      <a:pt x="3897" y="38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0" name="Freeform: Shape 4129">
                <a:extLst>
                  <a:ext uri="{FF2B5EF4-FFF2-40B4-BE49-F238E27FC236}">
                    <a16:creationId xmlns:a16="http://schemas.microsoft.com/office/drawing/2014/main" id="{DDEE948C-4F05-CC2C-9DF0-0DB48C18CB7B}"/>
                  </a:ext>
                </a:extLst>
              </p:cNvPr>
              <p:cNvSpPr/>
              <p:nvPr/>
            </p:nvSpPr>
            <p:spPr>
              <a:xfrm>
                <a:off x="1665610" y="3812124"/>
                <a:ext cx="392" cy="415"/>
              </a:xfrm>
              <a:custGeom>
                <a:avLst/>
                <a:gdLst>
                  <a:gd name="connsiteX0" fmla="*/ 3760 w 3760"/>
                  <a:gd name="connsiteY0" fmla="*/ 1455 h 3979"/>
                  <a:gd name="connsiteX1" fmla="*/ 2909 w 3760"/>
                  <a:gd name="connsiteY1" fmla="*/ 3979 h 3979"/>
                  <a:gd name="connsiteX2" fmla="*/ 0 w 3760"/>
                  <a:gd name="connsiteY2" fmla="*/ 577 h 3979"/>
                  <a:gd name="connsiteX3" fmla="*/ 2086 w 3760"/>
                  <a:gd name="connsiteY3" fmla="*/ 0 h 3979"/>
                  <a:gd name="connsiteX4" fmla="*/ 3760 w 3760"/>
                  <a:gd name="connsiteY4" fmla="*/ 1455 h 3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 h="3979">
                    <a:moveTo>
                      <a:pt x="3760" y="1455"/>
                    </a:moveTo>
                    <a:lnTo>
                      <a:pt x="2909" y="3979"/>
                    </a:lnTo>
                    <a:lnTo>
                      <a:pt x="0" y="577"/>
                    </a:lnTo>
                    <a:lnTo>
                      <a:pt x="2086" y="0"/>
                    </a:lnTo>
                    <a:lnTo>
                      <a:pt x="3760" y="14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1" name="Freeform: Shape 4130">
                <a:extLst>
                  <a:ext uri="{FF2B5EF4-FFF2-40B4-BE49-F238E27FC236}">
                    <a16:creationId xmlns:a16="http://schemas.microsoft.com/office/drawing/2014/main" id="{6D634D5B-D623-2B20-9ECB-882F03A9FBB6}"/>
                  </a:ext>
                </a:extLst>
              </p:cNvPr>
              <p:cNvSpPr/>
              <p:nvPr/>
            </p:nvSpPr>
            <p:spPr>
              <a:xfrm>
                <a:off x="1666389" y="3812968"/>
                <a:ext cx="424" cy="361"/>
              </a:xfrm>
              <a:custGeom>
                <a:avLst/>
                <a:gdLst>
                  <a:gd name="connsiteX0" fmla="*/ 4062 w 4061"/>
                  <a:gd name="connsiteY0" fmla="*/ 1482 h 3457"/>
                  <a:gd name="connsiteX1" fmla="*/ 2112 w 4061"/>
                  <a:gd name="connsiteY1" fmla="*/ 3458 h 3457"/>
                  <a:gd name="connsiteX2" fmla="*/ 0 w 4061"/>
                  <a:gd name="connsiteY2" fmla="*/ 2058 h 3457"/>
                  <a:gd name="connsiteX3" fmla="*/ 2085 w 4061"/>
                  <a:gd name="connsiteY3" fmla="*/ 0 h 3457"/>
                  <a:gd name="connsiteX4" fmla="*/ 4062 w 4061"/>
                  <a:gd name="connsiteY4" fmla="*/ 1482 h 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3457">
                    <a:moveTo>
                      <a:pt x="4062" y="1482"/>
                    </a:moveTo>
                    <a:lnTo>
                      <a:pt x="2112" y="3458"/>
                    </a:lnTo>
                    <a:lnTo>
                      <a:pt x="0" y="2058"/>
                    </a:lnTo>
                    <a:lnTo>
                      <a:pt x="2085" y="0"/>
                    </a:lnTo>
                    <a:lnTo>
                      <a:pt x="4062"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2" name="Freeform: Shape 4131">
                <a:extLst>
                  <a:ext uri="{FF2B5EF4-FFF2-40B4-BE49-F238E27FC236}">
                    <a16:creationId xmlns:a16="http://schemas.microsoft.com/office/drawing/2014/main" id="{2CCEC887-CDB3-6F17-BB0D-A152ABF71D71}"/>
                  </a:ext>
                </a:extLst>
              </p:cNvPr>
              <p:cNvSpPr/>
              <p:nvPr/>
            </p:nvSpPr>
            <p:spPr>
              <a:xfrm>
                <a:off x="1665934" y="3813990"/>
                <a:ext cx="409" cy="375"/>
              </a:xfrm>
              <a:custGeom>
                <a:avLst/>
                <a:gdLst>
                  <a:gd name="connsiteX0" fmla="*/ 3924 w 3924"/>
                  <a:gd name="connsiteY0" fmla="*/ 2854 h 3595"/>
                  <a:gd name="connsiteX1" fmla="*/ 906 w 3924"/>
                  <a:gd name="connsiteY1" fmla="*/ 3595 h 3595"/>
                  <a:gd name="connsiteX2" fmla="*/ 0 w 3924"/>
                  <a:gd name="connsiteY2" fmla="*/ 1509 h 3595"/>
                  <a:gd name="connsiteX3" fmla="*/ 1015 w 3924"/>
                  <a:gd name="connsiteY3" fmla="*/ 0 h 3595"/>
                  <a:gd name="connsiteX4" fmla="*/ 3924 w 3924"/>
                  <a:gd name="connsiteY4" fmla="*/ 2854 h 3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 h="3595">
                    <a:moveTo>
                      <a:pt x="3924" y="2854"/>
                    </a:moveTo>
                    <a:lnTo>
                      <a:pt x="906" y="3595"/>
                    </a:lnTo>
                    <a:lnTo>
                      <a:pt x="0" y="1509"/>
                    </a:lnTo>
                    <a:lnTo>
                      <a:pt x="1015" y="0"/>
                    </a:lnTo>
                    <a:lnTo>
                      <a:pt x="3924"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3" name="Freeform: Shape 4132">
                <a:extLst>
                  <a:ext uri="{FF2B5EF4-FFF2-40B4-BE49-F238E27FC236}">
                    <a16:creationId xmlns:a16="http://schemas.microsoft.com/office/drawing/2014/main" id="{24A390B4-B571-90F0-62D8-98BAFB6E636E}"/>
                  </a:ext>
                </a:extLst>
              </p:cNvPr>
              <p:cNvSpPr/>
              <p:nvPr/>
            </p:nvSpPr>
            <p:spPr>
              <a:xfrm>
                <a:off x="1664812" y="3807584"/>
                <a:ext cx="352" cy="429"/>
              </a:xfrm>
              <a:custGeom>
                <a:avLst/>
                <a:gdLst>
                  <a:gd name="connsiteX0" fmla="*/ 3348 w 3375"/>
                  <a:gd name="connsiteY0" fmla="*/ 960 h 4116"/>
                  <a:gd name="connsiteX1" fmla="*/ 2497 w 3375"/>
                  <a:gd name="connsiteY1" fmla="*/ 4116 h 4116"/>
                  <a:gd name="connsiteX2" fmla="*/ 0 w 3375"/>
                  <a:gd name="connsiteY2" fmla="*/ 1674 h 4116"/>
                  <a:gd name="connsiteX3" fmla="*/ 1811 w 3375"/>
                  <a:gd name="connsiteY3" fmla="*/ 0 h 4116"/>
                  <a:gd name="connsiteX4" fmla="*/ 3375 w 3375"/>
                  <a:gd name="connsiteY4" fmla="*/ 933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4116">
                    <a:moveTo>
                      <a:pt x="3348" y="960"/>
                    </a:moveTo>
                    <a:lnTo>
                      <a:pt x="2497" y="4116"/>
                    </a:lnTo>
                    <a:lnTo>
                      <a:pt x="0" y="1674"/>
                    </a:lnTo>
                    <a:lnTo>
                      <a:pt x="1811" y="0"/>
                    </a:lnTo>
                    <a:lnTo>
                      <a:pt x="3375" y="9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4" name="Freeform: Shape 4133">
                <a:extLst>
                  <a:ext uri="{FF2B5EF4-FFF2-40B4-BE49-F238E27FC236}">
                    <a16:creationId xmlns:a16="http://schemas.microsoft.com/office/drawing/2014/main" id="{3F378407-F3A0-85DA-21D1-977779148806}"/>
                  </a:ext>
                </a:extLst>
              </p:cNvPr>
              <p:cNvSpPr/>
              <p:nvPr/>
            </p:nvSpPr>
            <p:spPr>
              <a:xfrm>
                <a:off x="1666403" y="3811946"/>
                <a:ext cx="346" cy="386"/>
              </a:xfrm>
              <a:custGeom>
                <a:avLst/>
                <a:gdLst>
                  <a:gd name="connsiteX0" fmla="*/ 3294 w 3320"/>
                  <a:gd name="connsiteY0" fmla="*/ 2772 h 3705"/>
                  <a:gd name="connsiteX1" fmla="*/ 55 w 3320"/>
                  <a:gd name="connsiteY1" fmla="*/ 3705 h 3705"/>
                  <a:gd name="connsiteX2" fmla="*/ 0 w 3320"/>
                  <a:gd name="connsiteY2" fmla="*/ 2031 h 3705"/>
                  <a:gd name="connsiteX3" fmla="*/ 2827 w 3320"/>
                  <a:gd name="connsiteY3" fmla="*/ 0 h 3705"/>
                  <a:gd name="connsiteX4" fmla="*/ 3320 w 3320"/>
                  <a:gd name="connsiteY4" fmla="*/ 2772 h 3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0" h="3705">
                    <a:moveTo>
                      <a:pt x="3294" y="2772"/>
                    </a:moveTo>
                    <a:lnTo>
                      <a:pt x="55" y="3705"/>
                    </a:lnTo>
                    <a:lnTo>
                      <a:pt x="0" y="2031"/>
                    </a:lnTo>
                    <a:lnTo>
                      <a:pt x="2827" y="0"/>
                    </a:lnTo>
                    <a:lnTo>
                      <a:pt x="332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5" name="Freeform: Shape 4134">
                <a:extLst>
                  <a:ext uri="{FF2B5EF4-FFF2-40B4-BE49-F238E27FC236}">
                    <a16:creationId xmlns:a16="http://schemas.microsoft.com/office/drawing/2014/main" id="{CAFCAB3A-750B-D8F9-459B-1E2D2310E39A}"/>
                  </a:ext>
                </a:extLst>
              </p:cNvPr>
              <p:cNvSpPr/>
              <p:nvPr/>
            </p:nvSpPr>
            <p:spPr>
              <a:xfrm>
                <a:off x="1666718" y="3803760"/>
                <a:ext cx="303" cy="412"/>
              </a:xfrm>
              <a:custGeom>
                <a:avLst/>
                <a:gdLst>
                  <a:gd name="connsiteX0" fmla="*/ 2744 w 2909"/>
                  <a:gd name="connsiteY0" fmla="*/ 3019 h 3951"/>
                  <a:gd name="connsiteX1" fmla="*/ 1372 w 2909"/>
                  <a:gd name="connsiteY1" fmla="*/ 3952 h 3951"/>
                  <a:gd name="connsiteX2" fmla="*/ 0 w 2909"/>
                  <a:gd name="connsiteY2" fmla="*/ 0 h 3951"/>
                  <a:gd name="connsiteX3" fmla="*/ 2909 w 2909"/>
                  <a:gd name="connsiteY3" fmla="*/ 384 h 3951"/>
                  <a:gd name="connsiteX4" fmla="*/ 2744 w 2909"/>
                  <a:gd name="connsiteY4" fmla="*/ 3019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9" h="3951">
                    <a:moveTo>
                      <a:pt x="2744" y="3019"/>
                    </a:moveTo>
                    <a:lnTo>
                      <a:pt x="1372" y="3952"/>
                    </a:lnTo>
                    <a:lnTo>
                      <a:pt x="0" y="0"/>
                    </a:lnTo>
                    <a:lnTo>
                      <a:pt x="2909" y="384"/>
                    </a:lnTo>
                    <a:lnTo>
                      <a:pt x="2744"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6" name="Freeform: Shape 4135">
                <a:extLst>
                  <a:ext uri="{FF2B5EF4-FFF2-40B4-BE49-F238E27FC236}">
                    <a16:creationId xmlns:a16="http://schemas.microsoft.com/office/drawing/2014/main" id="{E066677E-A31D-753E-9B04-FBA581091D0F}"/>
                  </a:ext>
                </a:extLst>
              </p:cNvPr>
              <p:cNvSpPr/>
              <p:nvPr/>
            </p:nvSpPr>
            <p:spPr>
              <a:xfrm>
                <a:off x="1666715" y="3810990"/>
                <a:ext cx="269" cy="438"/>
              </a:xfrm>
              <a:custGeom>
                <a:avLst/>
                <a:gdLst>
                  <a:gd name="connsiteX0" fmla="*/ 2579 w 2579"/>
                  <a:gd name="connsiteY0" fmla="*/ 3595 h 4198"/>
                  <a:gd name="connsiteX1" fmla="*/ 0 w 2579"/>
                  <a:gd name="connsiteY1" fmla="*/ 4199 h 4198"/>
                  <a:gd name="connsiteX2" fmla="*/ 576 w 2579"/>
                  <a:gd name="connsiteY2" fmla="*/ 0 h 4198"/>
                  <a:gd name="connsiteX3" fmla="*/ 1976 w 2579"/>
                  <a:gd name="connsiteY3" fmla="*/ 604 h 4198"/>
                  <a:gd name="connsiteX4" fmla="*/ 2579 w 2579"/>
                  <a:gd name="connsiteY4" fmla="*/ 3622 h 4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9" h="4198">
                    <a:moveTo>
                      <a:pt x="2579" y="3595"/>
                    </a:moveTo>
                    <a:lnTo>
                      <a:pt x="0" y="4199"/>
                    </a:lnTo>
                    <a:lnTo>
                      <a:pt x="576" y="0"/>
                    </a:lnTo>
                    <a:lnTo>
                      <a:pt x="1976" y="604"/>
                    </a:lnTo>
                    <a:lnTo>
                      <a:pt x="2579" y="362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7" name="Freeform: Shape 4136">
                <a:extLst>
                  <a:ext uri="{FF2B5EF4-FFF2-40B4-BE49-F238E27FC236}">
                    <a16:creationId xmlns:a16="http://schemas.microsoft.com/office/drawing/2014/main" id="{AF1F26A7-B5AB-A1B4-A8BD-D58A9C674C9B}"/>
                  </a:ext>
                </a:extLst>
              </p:cNvPr>
              <p:cNvSpPr/>
              <p:nvPr/>
            </p:nvSpPr>
            <p:spPr>
              <a:xfrm>
                <a:off x="1665593" y="3810635"/>
                <a:ext cx="389" cy="292"/>
              </a:xfrm>
              <a:custGeom>
                <a:avLst/>
                <a:gdLst>
                  <a:gd name="connsiteX0" fmla="*/ 3018 w 3731"/>
                  <a:gd name="connsiteY0" fmla="*/ 2772 h 2799"/>
                  <a:gd name="connsiteX1" fmla="*/ 0 w 3731"/>
                  <a:gd name="connsiteY1" fmla="*/ 2772 h 2799"/>
                  <a:gd name="connsiteX2" fmla="*/ 714 w 3731"/>
                  <a:gd name="connsiteY2" fmla="*/ 933 h 2799"/>
                  <a:gd name="connsiteX3" fmla="*/ 2332 w 3731"/>
                  <a:gd name="connsiteY3" fmla="*/ 0 h 2799"/>
                  <a:gd name="connsiteX4" fmla="*/ 3732 w 3731"/>
                  <a:gd name="connsiteY4" fmla="*/ 604 h 2799"/>
                  <a:gd name="connsiteX5" fmla="*/ 3018 w 3731"/>
                  <a:gd name="connsiteY5" fmla="*/ 2799 h 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1" h="2799">
                    <a:moveTo>
                      <a:pt x="3018" y="2772"/>
                    </a:moveTo>
                    <a:lnTo>
                      <a:pt x="0" y="2772"/>
                    </a:lnTo>
                    <a:lnTo>
                      <a:pt x="714" y="933"/>
                    </a:lnTo>
                    <a:lnTo>
                      <a:pt x="2332" y="0"/>
                    </a:lnTo>
                    <a:lnTo>
                      <a:pt x="3732" y="604"/>
                    </a:lnTo>
                    <a:lnTo>
                      <a:pt x="3018" y="27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8" name="Freeform: Shape 4137">
                <a:extLst>
                  <a:ext uri="{FF2B5EF4-FFF2-40B4-BE49-F238E27FC236}">
                    <a16:creationId xmlns:a16="http://schemas.microsoft.com/office/drawing/2014/main" id="{420C8BCA-3050-F96D-19F9-E48EA7BD33EE}"/>
                  </a:ext>
                </a:extLst>
              </p:cNvPr>
              <p:cNvSpPr/>
              <p:nvPr/>
            </p:nvSpPr>
            <p:spPr>
              <a:xfrm>
                <a:off x="1667339" y="3810441"/>
                <a:ext cx="395" cy="269"/>
              </a:xfrm>
              <a:custGeom>
                <a:avLst/>
                <a:gdLst>
                  <a:gd name="connsiteX0" fmla="*/ 3458 w 3787"/>
                  <a:gd name="connsiteY0" fmla="*/ 2278 h 2579"/>
                  <a:gd name="connsiteX1" fmla="*/ 2223 w 3787"/>
                  <a:gd name="connsiteY1" fmla="*/ 2580 h 2579"/>
                  <a:gd name="connsiteX2" fmla="*/ 0 w 3787"/>
                  <a:gd name="connsiteY2" fmla="*/ 1125 h 2579"/>
                  <a:gd name="connsiteX3" fmla="*/ 686 w 3787"/>
                  <a:gd name="connsiteY3" fmla="*/ 0 h 2579"/>
                  <a:gd name="connsiteX4" fmla="*/ 3787 w 3787"/>
                  <a:gd name="connsiteY4" fmla="*/ 55 h 2579"/>
                  <a:gd name="connsiteX5" fmla="*/ 3430 w 3787"/>
                  <a:gd name="connsiteY5" fmla="*/ 2278 h 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7" h="2579">
                    <a:moveTo>
                      <a:pt x="3458" y="2278"/>
                    </a:moveTo>
                    <a:lnTo>
                      <a:pt x="2223" y="2580"/>
                    </a:lnTo>
                    <a:lnTo>
                      <a:pt x="0" y="1125"/>
                    </a:lnTo>
                    <a:lnTo>
                      <a:pt x="686" y="0"/>
                    </a:lnTo>
                    <a:lnTo>
                      <a:pt x="3787" y="55"/>
                    </a:lnTo>
                    <a:lnTo>
                      <a:pt x="3430" y="22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39" name="Freeform: Shape 4138">
                <a:extLst>
                  <a:ext uri="{FF2B5EF4-FFF2-40B4-BE49-F238E27FC236}">
                    <a16:creationId xmlns:a16="http://schemas.microsoft.com/office/drawing/2014/main" id="{77CD5815-7DB8-7A88-40EF-03DEDCCBD8E2}"/>
                  </a:ext>
                </a:extLst>
              </p:cNvPr>
              <p:cNvSpPr/>
              <p:nvPr/>
            </p:nvSpPr>
            <p:spPr>
              <a:xfrm>
                <a:off x="1665848" y="3806805"/>
                <a:ext cx="252" cy="429"/>
              </a:xfrm>
              <a:custGeom>
                <a:avLst/>
                <a:gdLst>
                  <a:gd name="connsiteX0" fmla="*/ 1948 w 2415"/>
                  <a:gd name="connsiteY0" fmla="*/ 27 h 4116"/>
                  <a:gd name="connsiteX1" fmla="*/ 2415 w 2415"/>
                  <a:gd name="connsiteY1" fmla="*/ 4116 h 4116"/>
                  <a:gd name="connsiteX2" fmla="*/ 521 w 2415"/>
                  <a:gd name="connsiteY2" fmla="*/ 3842 h 4116"/>
                  <a:gd name="connsiteX3" fmla="*/ 0 w 2415"/>
                  <a:gd name="connsiteY3" fmla="*/ 2305 h 4116"/>
                  <a:gd name="connsiteX4" fmla="*/ 466 w 2415"/>
                  <a:gd name="connsiteY4" fmla="*/ 521 h 4116"/>
                  <a:gd name="connsiteX5" fmla="*/ 1976 w 2415"/>
                  <a:gd name="connsiteY5" fmla="*/ 0 h 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5" h="4116">
                    <a:moveTo>
                      <a:pt x="1948" y="27"/>
                    </a:moveTo>
                    <a:lnTo>
                      <a:pt x="2415" y="4116"/>
                    </a:lnTo>
                    <a:lnTo>
                      <a:pt x="521" y="3842"/>
                    </a:lnTo>
                    <a:lnTo>
                      <a:pt x="0" y="2305"/>
                    </a:lnTo>
                    <a:lnTo>
                      <a:pt x="466" y="521"/>
                    </a:lnTo>
                    <a:lnTo>
                      <a:pt x="197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0" name="Freeform: Shape 4139">
                <a:extLst>
                  <a:ext uri="{FF2B5EF4-FFF2-40B4-BE49-F238E27FC236}">
                    <a16:creationId xmlns:a16="http://schemas.microsoft.com/office/drawing/2014/main" id="{823F2B9A-475D-91A7-194A-E923857CD207}"/>
                  </a:ext>
                </a:extLst>
              </p:cNvPr>
              <p:cNvSpPr/>
              <p:nvPr/>
            </p:nvSpPr>
            <p:spPr>
              <a:xfrm>
                <a:off x="1667256" y="3807109"/>
                <a:ext cx="358" cy="306"/>
              </a:xfrm>
              <a:custGeom>
                <a:avLst/>
                <a:gdLst>
                  <a:gd name="connsiteX0" fmla="*/ 3403 w 3430"/>
                  <a:gd name="connsiteY0" fmla="*/ 1893 h 2936"/>
                  <a:gd name="connsiteX1" fmla="*/ 1016 w 3430"/>
                  <a:gd name="connsiteY1" fmla="*/ 2936 h 2936"/>
                  <a:gd name="connsiteX2" fmla="*/ 0 w 3430"/>
                  <a:gd name="connsiteY2" fmla="*/ 1674 h 2936"/>
                  <a:gd name="connsiteX3" fmla="*/ 440 w 3430"/>
                  <a:gd name="connsiteY3" fmla="*/ 0 h 2936"/>
                  <a:gd name="connsiteX4" fmla="*/ 3129 w 3430"/>
                  <a:gd name="connsiteY4" fmla="*/ 192 h 2936"/>
                  <a:gd name="connsiteX5" fmla="*/ 3430 w 3430"/>
                  <a:gd name="connsiteY5" fmla="*/ 1893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30" h="2936">
                    <a:moveTo>
                      <a:pt x="3403" y="1893"/>
                    </a:moveTo>
                    <a:lnTo>
                      <a:pt x="1016" y="2936"/>
                    </a:lnTo>
                    <a:lnTo>
                      <a:pt x="0" y="1674"/>
                    </a:lnTo>
                    <a:lnTo>
                      <a:pt x="440" y="0"/>
                    </a:lnTo>
                    <a:lnTo>
                      <a:pt x="3129" y="192"/>
                    </a:lnTo>
                    <a:lnTo>
                      <a:pt x="3430" y="1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1" name="Freeform: Shape 4140">
                <a:extLst>
                  <a:ext uri="{FF2B5EF4-FFF2-40B4-BE49-F238E27FC236}">
                    <a16:creationId xmlns:a16="http://schemas.microsoft.com/office/drawing/2014/main" id="{BA4A7E90-31CB-E15E-5E47-7B49DB7A2CF9}"/>
                  </a:ext>
                </a:extLst>
              </p:cNvPr>
              <p:cNvSpPr/>
              <p:nvPr/>
            </p:nvSpPr>
            <p:spPr>
              <a:xfrm>
                <a:off x="1713669" y="3774550"/>
                <a:ext cx="57" cy="69"/>
              </a:xfrm>
              <a:custGeom>
                <a:avLst/>
                <a:gdLst>
                  <a:gd name="connsiteX0" fmla="*/ 0 w 548"/>
                  <a:gd name="connsiteY0" fmla="*/ 55 h 658"/>
                  <a:gd name="connsiteX1" fmla="*/ 494 w 548"/>
                  <a:gd name="connsiteY1" fmla="*/ 0 h 658"/>
                  <a:gd name="connsiteX2" fmla="*/ 549 w 548"/>
                  <a:gd name="connsiteY2" fmla="*/ 659 h 658"/>
                  <a:gd name="connsiteX3" fmla="*/ 165 w 548"/>
                  <a:gd name="connsiteY3" fmla="*/ 576 h 658"/>
                  <a:gd name="connsiteX4" fmla="*/ 0 w 548"/>
                  <a:gd name="connsiteY4" fmla="*/ 27 h 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 h="658">
                    <a:moveTo>
                      <a:pt x="0" y="55"/>
                    </a:moveTo>
                    <a:lnTo>
                      <a:pt x="494" y="0"/>
                    </a:lnTo>
                    <a:lnTo>
                      <a:pt x="549" y="659"/>
                    </a:lnTo>
                    <a:lnTo>
                      <a:pt x="165" y="576"/>
                    </a:lnTo>
                    <a:lnTo>
                      <a:pt x="0"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2" name="Freeform: Shape 4141">
                <a:extLst>
                  <a:ext uri="{FF2B5EF4-FFF2-40B4-BE49-F238E27FC236}">
                    <a16:creationId xmlns:a16="http://schemas.microsoft.com/office/drawing/2014/main" id="{7CC7FB01-894F-5591-CE89-09596EDA8519}"/>
                  </a:ext>
                </a:extLst>
              </p:cNvPr>
              <p:cNvSpPr/>
              <p:nvPr/>
            </p:nvSpPr>
            <p:spPr>
              <a:xfrm>
                <a:off x="1313051" y="3757301"/>
                <a:ext cx="37519" cy="41392"/>
              </a:xfrm>
              <a:custGeom>
                <a:avLst/>
                <a:gdLst>
                  <a:gd name="connsiteX0" fmla="*/ 359695 w 359722"/>
                  <a:gd name="connsiteY0" fmla="*/ 75880 h 396852"/>
                  <a:gd name="connsiteX1" fmla="*/ 311094 w 359722"/>
                  <a:gd name="connsiteY1" fmla="*/ 76676 h 396852"/>
                  <a:gd name="connsiteX2" fmla="*/ 309310 w 359722"/>
                  <a:gd name="connsiteY2" fmla="*/ 78048 h 396852"/>
                  <a:gd name="connsiteX3" fmla="*/ 336670 w 359722"/>
                  <a:gd name="connsiteY3" fmla="*/ 339634 h 396852"/>
                  <a:gd name="connsiteX4" fmla="*/ 344491 w 359722"/>
                  <a:gd name="connsiteY4" fmla="*/ 350117 h 396852"/>
                  <a:gd name="connsiteX5" fmla="*/ 339881 w 359722"/>
                  <a:gd name="connsiteY5" fmla="*/ 372072 h 396852"/>
                  <a:gd name="connsiteX6" fmla="*/ 335682 w 359722"/>
                  <a:gd name="connsiteY6" fmla="*/ 373993 h 396852"/>
                  <a:gd name="connsiteX7" fmla="*/ 231070 w 359722"/>
                  <a:gd name="connsiteY7" fmla="*/ 374075 h 396852"/>
                  <a:gd name="connsiteX8" fmla="*/ 229012 w 359722"/>
                  <a:gd name="connsiteY8" fmla="*/ 373471 h 396852"/>
                  <a:gd name="connsiteX9" fmla="*/ 226843 w 359722"/>
                  <a:gd name="connsiteY9" fmla="*/ 369492 h 396852"/>
                  <a:gd name="connsiteX10" fmla="*/ 223687 w 359722"/>
                  <a:gd name="connsiteY10" fmla="*/ 375694 h 396852"/>
                  <a:gd name="connsiteX11" fmla="*/ 214576 w 359722"/>
                  <a:gd name="connsiteY11" fmla="*/ 377807 h 396852"/>
                  <a:gd name="connsiteX12" fmla="*/ 187847 w 359722"/>
                  <a:gd name="connsiteY12" fmla="*/ 376463 h 396852"/>
                  <a:gd name="connsiteX13" fmla="*/ 180986 w 359722"/>
                  <a:gd name="connsiteY13" fmla="*/ 384970 h 396852"/>
                  <a:gd name="connsiteX14" fmla="*/ 164438 w 359722"/>
                  <a:gd name="connsiteY14" fmla="*/ 370260 h 396852"/>
                  <a:gd name="connsiteX15" fmla="*/ 157248 w 359722"/>
                  <a:gd name="connsiteY15" fmla="*/ 374569 h 396852"/>
                  <a:gd name="connsiteX16" fmla="*/ 154092 w 359722"/>
                  <a:gd name="connsiteY16" fmla="*/ 383817 h 396852"/>
                  <a:gd name="connsiteX17" fmla="*/ 153351 w 359722"/>
                  <a:gd name="connsiteY17" fmla="*/ 392818 h 396852"/>
                  <a:gd name="connsiteX18" fmla="*/ 147231 w 359722"/>
                  <a:gd name="connsiteY18" fmla="*/ 396853 h 396852"/>
                  <a:gd name="connsiteX19" fmla="*/ 141935 w 359722"/>
                  <a:gd name="connsiteY19" fmla="*/ 396551 h 396852"/>
                  <a:gd name="connsiteX20" fmla="*/ 136474 w 359722"/>
                  <a:gd name="connsiteY20" fmla="*/ 392846 h 396852"/>
                  <a:gd name="connsiteX21" fmla="*/ 133455 w 359722"/>
                  <a:gd name="connsiteY21" fmla="*/ 388483 h 396852"/>
                  <a:gd name="connsiteX22" fmla="*/ 126430 w 359722"/>
                  <a:gd name="connsiteY22" fmla="*/ 384860 h 396852"/>
                  <a:gd name="connsiteX23" fmla="*/ 121160 w 359722"/>
                  <a:gd name="connsiteY23" fmla="*/ 378082 h 396852"/>
                  <a:gd name="connsiteX24" fmla="*/ 120776 w 359722"/>
                  <a:gd name="connsiteY24" fmla="*/ 374734 h 396852"/>
                  <a:gd name="connsiteX25" fmla="*/ 117511 w 359722"/>
                  <a:gd name="connsiteY25" fmla="*/ 374103 h 396852"/>
                  <a:gd name="connsiteX26" fmla="*/ 113284 w 359722"/>
                  <a:gd name="connsiteY26" fmla="*/ 370041 h 396852"/>
                  <a:gd name="connsiteX27" fmla="*/ 107768 w 359722"/>
                  <a:gd name="connsiteY27" fmla="*/ 356759 h 396852"/>
                  <a:gd name="connsiteX28" fmla="*/ 94870 w 359722"/>
                  <a:gd name="connsiteY28" fmla="*/ 354783 h 396852"/>
                  <a:gd name="connsiteX29" fmla="*/ 89738 w 359722"/>
                  <a:gd name="connsiteY29" fmla="*/ 347840 h 396852"/>
                  <a:gd name="connsiteX30" fmla="*/ 79420 w 359722"/>
                  <a:gd name="connsiteY30" fmla="*/ 339442 h 396852"/>
                  <a:gd name="connsiteX31" fmla="*/ 60923 w 359722"/>
                  <a:gd name="connsiteY31" fmla="*/ 338180 h 396852"/>
                  <a:gd name="connsiteX32" fmla="*/ 54941 w 359722"/>
                  <a:gd name="connsiteY32" fmla="*/ 341253 h 396852"/>
                  <a:gd name="connsiteX33" fmla="*/ 46790 w 359722"/>
                  <a:gd name="connsiteY33" fmla="*/ 341253 h 396852"/>
                  <a:gd name="connsiteX34" fmla="*/ 40094 w 359722"/>
                  <a:gd name="connsiteY34" fmla="*/ 343970 h 396852"/>
                  <a:gd name="connsiteX35" fmla="*/ 26592 w 359722"/>
                  <a:gd name="connsiteY35" fmla="*/ 342159 h 396852"/>
                  <a:gd name="connsiteX36" fmla="*/ 22997 w 359722"/>
                  <a:gd name="connsiteY36" fmla="*/ 343805 h 396852"/>
                  <a:gd name="connsiteX37" fmla="*/ 19100 w 359722"/>
                  <a:gd name="connsiteY37" fmla="*/ 352011 h 396852"/>
                  <a:gd name="connsiteX38" fmla="*/ 18387 w 359722"/>
                  <a:gd name="connsiteY38" fmla="*/ 350612 h 396852"/>
                  <a:gd name="connsiteX39" fmla="*/ 19320 w 359722"/>
                  <a:gd name="connsiteY39" fmla="*/ 348663 h 396852"/>
                  <a:gd name="connsiteX40" fmla="*/ 18524 w 359722"/>
                  <a:gd name="connsiteY40" fmla="*/ 348032 h 396852"/>
                  <a:gd name="connsiteX41" fmla="*/ 16823 w 359722"/>
                  <a:gd name="connsiteY41" fmla="*/ 351380 h 396852"/>
                  <a:gd name="connsiteX42" fmla="*/ 16877 w 359722"/>
                  <a:gd name="connsiteY42" fmla="*/ 356566 h 396852"/>
                  <a:gd name="connsiteX43" fmla="*/ 16575 w 359722"/>
                  <a:gd name="connsiteY43" fmla="*/ 356896 h 396852"/>
                  <a:gd name="connsiteX44" fmla="*/ 16328 w 359722"/>
                  <a:gd name="connsiteY44" fmla="*/ 356978 h 396852"/>
                  <a:gd name="connsiteX45" fmla="*/ 16630 w 359722"/>
                  <a:gd name="connsiteY45" fmla="*/ 348828 h 396852"/>
                  <a:gd name="connsiteX46" fmla="*/ 18551 w 359722"/>
                  <a:gd name="connsiteY46" fmla="*/ 339799 h 396852"/>
                  <a:gd name="connsiteX47" fmla="*/ 28595 w 359722"/>
                  <a:gd name="connsiteY47" fmla="*/ 311862 h 396852"/>
                  <a:gd name="connsiteX48" fmla="*/ 30214 w 359722"/>
                  <a:gd name="connsiteY48" fmla="*/ 295314 h 396852"/>
                  <a:gd name="connsiteX49" fmla="*/ 29336 w 359722"/>
                  <a:gd name="connsiteY49" fmla="*/ 282882 h 396852"/>
                  <a:gd name="connsiteX50" fmla="*/ 25879 w 359722"/>
                  <a:gd name="connsiteY50" fmla="*/ 269545 h 396852"/>
                  <a:gd name="connsiteX51" fmla="*/ 17426 w 359722"/>
                  <a:gd name="connsiteY51" fmla="*/ 255494 h 396852"/>
                  <a:gd name="connsiteX52" fmla="*/ 20225 w 359722"/>
                  <a:gd name="connsiteY52" fmla="*/ 250911 h 396852"/>
                  <a:gd name="connsiteX53" fmla="*/ 19430 w 359722"/>
                  <a:gd name="connsiteY53" fmla="*/ 242376 h 396852"/>
                  <a:gd name="connsiteX54" fmla="*/ 22393 w 359722"/>
                  <a:gd name="connsiteY54" fmla="*/ 241965 h 396852"/>
                  <a:gd name="connsiteX55" fmla="*/ 23272 w 359722"/>
                  <a:gd name="connsiteY55" fmla="*/ 240675 h 396852"/>
                  <a:gd name="connsiteX56" fmla="*/ 24424 w 359722"/>
                  <a:gd name="connsiteY56" fmla="*/ 228655 h 396852"/>
                  <a:gd name="connsiteX57" fmla="*/ 17673 w 359722"/>
                  <a:gd name="connsiteY57" fmla="*/ 215482 h 396852"/>
                  <a:gd name="connsiteX58" fmla="*/ 13529 w 359722"/>
                  <a:gd name="connsiteY58" fmla="*/ 214302 h 396852"/>
                  <a:gd name="connsiteX59" fmla="*/ 4803 w 359722"/>
                  <a:gd name="connsiteY59" fmla="*/ 200855 h 396852"/>
                  <a:gd name="connsiteX60" fmla="*/ 2140 w 359722"/>
                  <a:gd name="connsiteY60" fmla="*/ 203133 h 396852"/>
                  <a:gd name="connsiteX61" fmla="*/ 219 w 359722"/>
                  <a:gd name="connsiteY61" fmla="*/ 209829 h 396852"/>
                  <a:gd name="connsiteX62" fmla="*/ 0 w 359722"/>
                  <a:gd name="connsiteY62" fmla="*/ 206371 h 396852"/>
                  <a:gd name="connsiteX63" fmla="*/ 713 w 359722"/>
                  <a:gd name="connsiteY63" fmla="*/ 202694 h 396852"/>
                  <a:gd name="connsiteX64" fmla="*/ 3897 w 359722"/>
                  <a:gd name="connsiteY64" fmla="*/ 193391 h 396852"/>
                  <a:gd name="connsiteX65" fmla="*/ 27909 w 359722"/>
                  <a:gd name="connsiteY65" fmla="*/ 192924 h 396852"/>
                  <a:gd name="connsiteX66" fmla="*/ 118993 w 359722"/>
                  <a:gd name="connsiteY66" fmla="*/ 192759 h 396852"/>
                  <a:gd name="connsiteX67" fmla="*/ 117264 w 359722"/>
                  <a:gd name="connsiteY67" fmla="*/ 156919 h 396852"/>
                  <a:gd name="connsiteX68" fmla="*/ 115452 w 359722"/>
                  <a:gd name="connsiteY68" fmla="*/ 148439 h 396852"/>
                  <a:gd name="connsiteX69" fmla="*/ 116303 w 359722"/>
                  <a:gd name="connsiteY69" fmla="*/ 144076 h 396852"/>
                  <a:gd name="connsiteX70" fmla="*/ 120063 w 359722"/>
                  <a:gd name="connsiteY70" fmla="*/ 139136 h 396852"/>
                  <a:gd name="connsiteX71" fmla="*/ 131095 w 359722"/>
                  <a:gd name="connsiteY71" fmla="*/ 131589 h 396852"/>
                  <a:gd name="connsiteX72" fmla="*/ 148796 w 359722"/>
                  <a:gd name="connsiteY72" fmla="*/ 124262 h 396852"/>
                  <a:gd name="connsiteX73" fmla="*/ 149235 w 359722"/>
                  <a:gd name="connsiteY73" fmla="*/ 43744 h 396852"/>
                  <a:gd name="connsiteX74" fmla="*/ 245862 w 359722"/>
                  <a:gd name="connsiteY74" fmla="*/ 43113 h 396852"/>
                  <a:gd name="connsiteX75" fmla="*/ 246987 w 359722"/>
                  <a:gd name="connsiteY75" fmla="*/ 0 h 396852"/>
                  <a:gd name="connsiteX76" fmla="*/ 359722 w 359722"/>
                  <a:gd name="connsiteY76" fmla="*/ 75852 h 396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59722" h="396852">
                    <a:moveTo>
                      <a:pt x="359695" y="75880"/>
                    </a:moveTo>
                    <a:lnTo>
                      <a:pt x="311094" y="76676"/>
                    </a:lnTo>
                    <a:lnTo>
                      <a:pt x="309310" y="78048"/>
                    </a:lnTo>
                    <a:lnTo>
                      <a:pt x="336670" y="339634"/>
                    </a:lnTo>
                    <a:lnTo>
                      <a:pt x="344491" y="350117"/>
                    </a:lnTo>
                    <a:lnTo>
                      <a:pt x="339881" y="372072"/>
                    </a:lnTo>
                    <a:lnTo>
                      <a:pt x="335682" y="373993"/>
                    </a:lnTo>
                    <a:lnTo>
                      <a:pt x="231070" y="374075"/>
                    </a:lnTo>
                    <a:lnTo>
                      <a:pt x="229012" y="373471"/>
                    </a:lnTo>
                    <a:lnTo>
                      <a:pt x="226843" y="369492"/>
                    </a:lnTo>
                    <a:lnTo>
                      <a:pt x="223687" y="375694"/>
                    </a:lnTo>
                    <a:lnTo>
                      <a:pt x="214576" y="377807"/>
                    </a:lnTo>
                    <a:lnTo>
                      <a:pt x="187847" y="376463"/>
                    </a:lnTo>
                    <a:lnTo>
                      <a:pt x="180986" y="384970"/>
                    </a:lnTo>
                    <a:lnTo>
                      <a:pt x="164438" y="370260"/>
                    </a:lnTo>
                    <a:lnTo>
                      <a:pt x="157248" y="374569"/>
                    </a:lnTo>
                    <a:lnTo>
                      <a:pt x="154092" y="383817"/>
                    </a:lnTo>
                    <a:lnTo>
                      <a:pt x="153351" y="392818"/>
                    </a:lnTo>
                    <a:lnTo>
                      <a:pt x="147231" y="396853"/>
                    </a:lnTo>
                    <a:lnTo>
                      <a:pt x="141935" y="396551"/>
                    </a:lnTo>
                    <a:lnTo>
                      <a:pt x="136474" y="392846"/>
                    </a:lnTo>
                    <a:lnTo>
                      <a:pt x="133455" y="388483"/>
                    </a:lnTo>
                    <a:lnTo>
                      <a:pt x="126430" y="384860"/>
                    </a:lnTo>
                    <a:lnTo>
                      <a:pt x="121160" y="378082"/>
                    </a:lnTo>
                    <a:lnTo>
                      <a:pt x="120776" y="374734"/>
                    </a:lnTo>
                    <a:lnTo>
                      <a:pt x="117511" y="374103"/>
                    </a:lnTo>
                    <a:lnTo>
                      <a:pt x="113284" y="370041"/>
                    </a:lnTo>
                    <a:lnTo>
                      <a:pt x="107768" y="356759"/>
                    </a:lnTo>
                    <a:lnTo>
                      <a:pt x="94870" y="354783"/>
                    </a:lnTo>
                    <a:lnTo>
                      <a:pt x="89738" y="347840"/>
                    </a:lnTo>
                    <a:lnTo>
                      <a:pt x="79420" y="339442"/>
                    </a:lnTo>
                    <a:lnTo>
                      <a:pt x="60923" y="338180"/>
                    </a:lnTo>
                    <a:lnTo>
                      <a:pt x="54941" y="341253"/>
                    </a:lnTo>
                    <a:lnTo>
                      <a:pt x="46790" y="341253"/>
                    </a:lnTo>
                    <a:cubicBezTo>
                      <a:pt x="46790" y="341253"/>
                      <a:pt x="40094" y="343970"/>
                      <a:pt x="40094" y="343970"/>
                    </a:cubicBezTo>
                    <a:lnTo>
                      <a:pt x="26592" y="342159"/>
                    </a:lnTo>
                    <a:lnTo>
                      <a:pt x="22997" y="343805"/>
                    </a:lnTo>
                    <a:lnTo>
                      <a:pt x="19100" y="352011"/>
                    </a:lnTo>
                    <a:lnTo>
                      <a:pt x="18387" y="350612"/>
                    </a:lnTo>
                    <a:lnTo>
                      <a:pt x="19320" y="348663"/>
                    </a:lnTo>
                    <a:lnTo>
                      <a:pt x="18524" y="348032"/>
                    </a:lnTo>
                    <a:lnTo>
                      <a:pt x="16823" y="351380"/>
                    </a:lnTo>
                    <a:lnTo>
                      <a:pt x="16877" y="356566"/>
                    </a:lnTo>
                    <a:lnTo>
                      <a:pt x="16575" y="356896"/>
                    </a:lnTo>
                    <a:lnTo>
                      <a:pt x="16328" y="356978"/>
                    </a:lnTo>
                    <a:lnTo>
                      <a:pt x="16630" y="348828"/>
                    </a:lnTo>
                    <a:lnTo>
                      <a:pt x="18551" y="339799"/>
                    </a:lnTo>
                    <a:lnTo>
                      <a:pt x="28595" y="311862"/>
                    </a:lnTo>
                    <a:lnTo>
                      <a:pt x="30214" y="295314"/>
                    </a:lnTo>
                    <a:lnTo>
                      <a:pt x="29336" y="282882"/>
                    </a:lnTo>
                    <a:lnTo>
                      <a:pt x="25879" y="269545"/>
                    </a:lnTo>
                    <a:lnTo>
                      <a:pt x="17426" y="255494"/>
                    </a:lnTo>
                    <a:lnTo>
                      <a:pt x="20225" y="250911"/>
                    </a:lnTo>
                    <a:lnTo>
                      <a:pt x="19430" y="242376"/>
                    </a:lnTo>
                    <a:lnTo>
                      <a:pt x="22393" y="241965"/>
                    </a:lnTo>
                    <a:lnTo>
                      <a:pt x="23272" y="240675"/>
                    </a:lnTo>
                    <a:lnTo>
                      <a:pt x="24424" y="228655"/>
                    </a:lnTo>
                    <a:lnTo>
                      <a:pt x="17673" y="215482"/>
                    </a:lnTo>
                    <a:lnTo>
                      <a:pt x="13529" y="214302"/>
                    </a:lnTo>
                    <a:lnTo>
                      <a:pt x="4803" y="200855"/>
                    </a:lnTo>
                    <a:lnTo>
                      <a:pt x="2140" y="203133"/>
                    </a:lnTo>
                    <a:lnTo>
                      <a:pt x="219" y="209829"/>
                    </a:lnTo>
                    <a:lnTo>
                      <a:pt x="0" y="206371"/>
                    </a:lnTo>
                    <a:lnTo>
                      <a:pt x="713" y="202694"/>
                    </a:lnTo>
                    <a:lnTo>
                      <a:pt x="3897" y="193391"/>
                    </a:lnTo>
                    <a:lnTo>
                      <a:pt x="27909" y="192924"/>
                    </a:lnTo>
                    <a:lnTo>
                      <a:pt x="118993" y="192759"/>
                    </a:lnTo>
                    <a:lnTo>
                      <a:pt x="117264" y="156919"/>
                    </a:lnTo>
                    <a:lnTo>
                      <a:pt x="115452" y="148439"/>
                    </a:lnTo>
                    <a:lnTo>
                      <a:pt x="116303" y="144076"/>
                    </a:lnTo>
                    <a:lnTo>
                      <a:pt x="120063" y="139136"/>
                    </a:lnTo>
                    <a:lnTo>
                      <a:pt x="131095" y="131589"/>
                    </a:lnTo>
                    <a:lnTo>
                      <a:pt x="148796" y="124262"/>
                    </a:lnTo>
                    <a:lnTo>
                      <a:pt x="149235" y="43744"/>
                    </a:lnTo>
                    <a:lnTo>
                      <a:pt x="245862" y="43113"/>
                    </a:lnTo>
                    <a:lnTo>
                      <a:pt x="246987" y="0"/>
                    </a:lnTo>
                    <a:lnTo>
                      <a:pt x="359722" y="758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3" name="Freeform: Shape 4142">
                <a:extLst>
                  <a:ext uri="{FF2B5EF4-FFF2-40B4-BE49-F238E27FC236}">
                    <a16:creationId xmlns:a16="http://schemas.microsoft.com/office/drawing/2014/main" id="{61F39ECD-87F1-1BB5-6679-797B8C08FEDF}"/>
                  </a:ext>
                </a:extLst>
              </p:cNvPr>
              <p:cNvSpPr/>
              <p:nvPr/>
            </p:nvSpPr>
            <p:spPr>
              <a:xfrm>
                <a:off x="1174434" y="3792142"/>
                <a:ext cx="346" cy="452"/>
              </a:xfrm>
              <a:custGeom>
                <a:avLst/>
                <a:gdLst>
                  <a:gd name="connsiteX0" fmla="*/ 27 w 3320"/>
                  <a:gd name="connsiteY0" fmla="*/ 2607 h 4335"/>
                  <a:gd name="connsiteX1" fmla="*/ 2168 w 3320"/>
                  <a:gd name="connsiteY1" fmla="*/ 0 h 4335"/>
                  <a:gd name="connsiteX2" fmla="*/ 3320 w 3320"/>
                  <a:gd name="connsiteY2" fmla="*/ 3540 h 4335"/>
                  <a:gd name="connsiteX3" fmla="*/ 1784 w 3320"/>
                  <a:gd name="connsiteY3" fmla="*/ 4336 h 4335"/>
                  <a:gd name="connsiteX4" fmla="*/ 0 w 3320"/>
                  <a:gd name="connsiteY4" fmla="*/ 2579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0" h="4335">
                    <a:moveTo>
                      <a:pt x="27" y="2607"/>
                    </a:moveTo>
                    <a:lnTo>
                      <a:pt x="2168" y="0"/>
                    </a:lnTo>
                    <a:lnTo>
                      <a:pt x="3320" y="3540"/>
                    </a:lnTo>
                    <a:lnTo>
                      <a:pt x="1784" y="4336"/>
                    </a:lnTo>
                    <a:lnTo>
                      <a:pt x="0" y="25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4" name="Freeform: Shape 4143">
                <a:extLst>
                  <a:ext uri="{FF2B5EF4-FFF2-40B4-BE49-F238E27FC236}">
                    <a16:creationId xmlns:a16="http://schemas.microsoft.com/office/drawing/2014/main" id="{05122354-1A96-5841-CE7D-49534A5D020D}"/>
                  </a:ext>
                </a:extLst>
              </p:cNvPr>
              <p:cNvSpPr/>
              <p:nvPr/>
            </p:nvSpPr>
            <p:spPr>
              <a:xfrm>
                <a:off x="1409349" y="3726051"/>
                <a:ext cx="724" cy="601"/>
              </a:xfrm>
              <a:custGeom>
                <a:avLst/>
                <a:gdLst>
                  <a:gd name="connsiteX0" fmla="*/ 6942 w 6942"/>
                  <a:gd name="connsiteY0" fmla="*/ 4418 h 5762"/>
                  <a:gd name="connsiteX1" fmla="*/ 5296 w 6942"/>
                  <a:gd name="connsiteY1" fmla="*/ 5763 h 5762"/>
                  <a:gd name="connsiteX2" fmla="*/ 1454 w 6942"/>
                  <a:gd name="connsiteY2" fmla="*/ 4446 h 5762"/>
                  <a:gd name="connsiteX3" fmla="*/ 192 w 6942"/>
                  <a:gd name="connsiteY3" fmla="*/ 3019 h 5762"/>
                  <a:gd name="connsiteX4" fmla="*/ 0 w 6942"/>
                  <a:gd name="connsiteY4" fmla="*/ 55 h 5762"/>
                  <a:gd name="connsiteX5" fmla="*/ 1454 w 6942"/>
                  <a:gd name="connsiteY5" fmla="*/ 0 h 5762"/>
                  <a:gd name="connsiteX6" fmla="*/ 6942 w 6942"/>
                  <a:gd name="connsiteY6" fmla="*/ 4391 h 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2" h="5762">
                    <a:moveTo>
                      <a:pt x="6942" y="4418"/>
                    </a:moveTo>
                    <a:lnTo>
                      <a:pt x="5296" y="5763"/>
                    </a:lnTo>
                    <a:lnTo>
                      <a:pt x="1454" y="4446"/>
                    </a:lnTo>
                    <a:lnTo>
                      <a:pt x="192" y="3019"/>
                    </a:lnTo>
                    <a:lnTo>
                      <a:pt x="0" y="55"/>
                    </a:lnTo>
                    <a:lnTo>
                      <a:pt x="1454" y="0"/>
                    </a:lnTo>
                    <a:lnTo>
                      <a:pt x="6942" y="43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5" name="Freeform: Shape 4144">
                <a:extLst>
                  <a:ext uri="{FF2B5EF4-FFF2-40B4-BE49-F238E27FC236}">
                    <a16:creationId xmlns:a16="http://schemas.microsoft.com/office/drawing/2014/main" id="{83033683-491F-4770-D438-3373E2212B7B}"/>
                  </a:ext>
                </a:extLst>
              </p:cNvPr>
              <p:cNvSpPr/>
              <p:nvPr/>
            </p:nvSpPr>
            <p:spPr>
              <a:xfrm>
                <a:off x="1408859" y="3725610"/>
                <a:ext cx="475" cy="321"/>
              </a:xfrm>
              <a:custGeom>
                <a:avLst/>
                <a:gdLst>
                  <a:gd name="connsiteX0" fmla="*/ 4556 w 4555"/>
                  <a:gd name="connsiteY0" fmla="*/ 1235 h 3073"/>
                  <a:gd name="connsiteX1" fmla="*/ 2854 w 4555"/>
                  <a:gd name="connsiteY1" fmla="*/ 3074 h 3073"/>
                  <a:gd name="connsiteX2" fmla="*/ 110 w 4555"/>
                  <a:gd name="connsiteY2" fmla="*/ 1976 h 3073"/>
                  <a:gd name="connsiteX3" fmla="*/ 0 w 4555"/>
                  <a:gd name="connsiteY3" fmla="*/ 631 h 3073"/>
                  <a:gd name="connsiteX4" fmla="*/ 2415 w 4555"/>
                  <a:gd name="connsiteY4" fmla="*/ 0 h 3073"/>
                  <a:gd name="connsiteX5" fmla="*/ 4528 w 4555"/>
                  <a:gd name="connsiteY5" fmla="*/ 1208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 h="3073">
                    <a:moveTo>
                      <a:pt x="4556" y="1235"/>
                    </a:moveTo>
                    <a:lnTo>
                      <a:pt x="2854" y="3074"/>
                    </a:lnTo>
                    <a:lnTo>
                      <a:pt x="110" y="1976"/>
                    </a:lnTo>
                    <a:lnTo>
                      <a:pt x="0" y="631"/>
                    </a:lnTo>
                    <a:lnTo>
                      <a:pt x="2415" y="0"/>
                    </a:lnTo>
                    <a:lnTo>
                      <a:pt x="4528" y="12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6" name="Freeform: Shape 4145">
                <a:extLst>
                  <a:ext uri="{FF2B5EF4-FFF2-40B4-BE49-F238E27FC236}">
                    <a16:creationId xmlns:a16="http://schemas.microsoft.com/office/drawing/2014/main" id="{05BB5D8A-0C05-D0A2-2699-D13CC25124CA}"/>
                  </a:ext>
                </a:extLst>
              </p:cNvPr>
              <p:cNvSpPr/>
              <p:nvPr/>
            </p:nvSpPr>
            <p:spPr>
              <a:xfrm>
                <a:off x="1465711" y="3873409"/>
                <a:ext cx="9852" cy="24338"/>
              </a:xfrm>
              <a:custGeom>
                <a:avLst/>
                <a:gdLst>
                  <a:gd name="connsiteX0" fmla="*/ 31175 w 94458"/>
                  <a:gd name="connsiteY0" fmla="*/ 6312 h 233347"/>
                  <a:gd name="connsiteX1" fmla="*/ 35539 w 94458"/>
                  <a:gd name="connsiteY1" fmla="*/ 8754 h 233347"/>
                  <a:gd name="connsiteX2" fmla="*/ 39381 w 94458"/>
                  <a:gd name="connsiteY2" fmla="*/ 3924 h 233347"/>
                  <a:gd name="connsiteX3" fmla="*/ 46049 w 94458"/>
                  <a:gd name="connsiteY3" fmla="*/ 9413 h 233347"/>
                  <a:gd name="connsiteX4" fmla="*/ 53431 w 94458"/>
                  <a:gd name="connsiteY4" fmla="*/ 19787 h 233347"/>
                  <a:gd name="connsiteX5" fmla="*/ 57027 w 94458"/>
                  <a:gd name="connsiteY5" fmla="*/ 41467 h 233347"/>
                  <a:gd name="connsiteX6" fmla="*/ 56834 w 94458"/>
                  <a:gd name="connsiteY6" fmla="*/ 49946 h 233347"/>
                  <a:gd name="connsiteX7" fmla="*/ 64546 w 94458"/>
                  <a:gd name="connsiteY7" fmla="*/ 59551 h 233347"/>
                  <a:gd name="connsiteX8" fmla="*/ 66384 w 94458"/>
                  <a:gd name="connsiteY8" fmla="*/ 65095 h 233347"/>
                  <a:gd name="connsiteX9" fmla="*/ 56752 w 94458"/>
                  <a:gd name="connsiteY9" fmla="*/ 65507 h 233347"/>
                  <a:gd name="connsiteX10" fmla="*/ 56697 w 94458"/>
                  <a:gd name="connsiteY10" fmla="*/ 69815 h 233347"/>
                  <a:gd name="connsiteX11" fmla="*/ 48904 w 94458"/>
                  <a:gd name="connsiteY11" fmla="*/ 84415 h 233347"/>
                  <a:gd name="connsiteX12" fmla="*/ 50577 w 94458"/>
                  <a:gd name="connsiteY12" fmla="*/ 91578 h 233347"/>
                  <a:gd name="connsiteX13" fmla="*/ 54858 w 94458"/>
                  <a:gd name="connsiteY13" fmla="*/ 108976 h 233347"/>
                  <a:gd name="connsiteX14" fmla="*/ 55462 w 94458"/>
                  <a:gd name="connsiteY14" fmla="*/ 121353 h 233347"/>
                  <a:gd name="connsiteX15" fmla="*/ 64052 w 94458"/>
                  <a:gd name="connsiteY15" fmla="*/ 122945 h 233347"/>
                  <a:gd name="connsiteX16" fmla="*/ 68717 w 94458"/>
                  <a:gd name="connsiteY16" fmla="*/ 127253 h 233347"/>
                  <a:gd name="connsiteX17" fmla="*/ 93471 w 94458"/>
                  <a:gd name="connsiteY17" fmla="*/ 159417 h 233347"/>
                  <a:gd name="connsiteX18" fmla="*/ 94459 w 94458"/>
                  <a:gd name="connsiteY18" fmla="*/ 166195 h 233347"/>
                  <a:gd name="connsiteX19" fmla="*/ 91495 w 94458"/>
                  <a:gd name="connsiteY19" fmla="*/ 173687 h 233347"/>
                  <a:gd name="connsiteX20" fmla="*/ 92922 w 94458"/>
                  <a:gd name="connsiteY20" fmla="*/ 182167 h 233347"/>
                  <a:gd name="connsiteX21" fmla="*/ 91385 w 94458"/>
                  <a:gd name="connsiteY21" fmla="*/ 199566 h 233347"/>
                  <a:gd name="connsiteX22" fmla="*/ 85018 w 94458"/>
                  <a:gd name="connsiteY22" fmla="*/ 203517 h 233347"/>
                  <a:gd name="connsiteX23" fmla="*/ 78350 w 94458"/>
                  <a:gd name="connsiteY23" fmla="*/ 204176 h 233347"/>
                  <a:gd name="connsiteX24" fmla="*/ 72313 w 94458"/>
                  <a:gd name="connsiteY24" fmla="*/ 216608 h 233347"/>
                  <a:gd name="connsiteX25" fmla="*/ 76292 w 94458"/>
                  <a:gd name="connsiteY25" fmla="*/ 222700 h 233347"/>
                  <a:gd name="connsiteX26" fmla="*/ 75907 w 94458"/>
                  <a:gd name="connsiteY26" fmla="*/ 233348 h 233347"/>
                  <a:gd name="connsiteX27" fmla="*/ 70309 w 94458"/>
                  <a:gd name="connsiteY27" fmla="*/ 232909 h 233347"/>
                  <a:gd name="connsiteX28" fmla="*/ 69650 w 94458"/>
                  <a:gd name="connsiteY28" fmla="*/ 230439 h 233347"/>
                  <a:gd name="connsiteX29" fmla="*/ 71900 w 94458"/>
                  <a:gd name="connsiteY29" fmla="*/ 225472 h 233347"/>
                  <a:gd name="connsiteX30" fmla="*/ 64902 w 94458"/>
                  <a:gd name="connsiteY30" fmla="*/ 221383 h 233347"/>
                  <a:gd name="connsiteX31" fmla="*/ 50797 w 94458"/>
                  <a:gd name="connsiteY31" fmla="*/ 206481 h 233347"/>
                  <a:gd name="connsiteX32" fmla="*/ 50083 w 94458"/>
                  <a:gd name="connsiteY32" fmla="*/ 200197 h 233347"/>
                  <a:gd name="connsiteX33" fmla="*/ 45830 w 94458"/>
                  <a:gd name="connsiteY33" fmla="*/ 195559 h 233347"/>
                  <a:gd name="connsiteX34" fmla="*/ 50934 w 94458"/>
                  <a:gd name="connsiteY34" fmla="*/ 187847 h 233347"/>
                  <a:gd name="connsiteX35" fmla="*/ 51126 w 94458"/>
                  <a:gd name="connsiteY35" fmla="*/ 182414 h 233347"/>
                  <a:gd name="connsiteX36" fmla="*/ 55407 w 94458"/>
                  <a:gd name="connsiteY36" fmla="*/ 176980 h 233347"/>
                  <a:gd name="connsiteX37" fmla="*/ 56011 w 94458"/>
                  <a:gd name="connsiteY37" fmla="*/ 168198 h 233347"/>
                  <a:gd name="connsiteX38" fmla="*/ 53239 w 94458"/>
                  <a:gd name="connsiteY38" fmla="*/ 155410 h 233347"/>
                  <a:gd name="connsiteX39" fmla="*/ 48190 w 94458"/>
                  <a:gd name="connsiteY39" fmla="*/ 150388 h 233347"/>
                  <a:gd name="connsiteX40" fmla="*/ 30297 w 94458"/>
                  <a:gd name="connsiteY40" fmla="*/ 154120 h 233347"/>
                  <a:gd name="connsiteX41" fmla="*/ 28376 w 94458"/>
                  <a:gd name="connsiteY41" fmla="*/ 156206 h 233347"/>
                  <a:gd name="connsiteX42" fmla="*/ 22476 w 94458"/>
                  <a:gd name="connsiteY42" fmla="*/ 149729 h 233347"/>
                  <a:gd name="connsiteX43" fmla="*/ 15890 w 94458"/>
                  <a:gd name="connsiteY43" fmla="*/ 138148 h 233347"/>
                  <a:gd name="connsiteX44" fmla="*/ 12980 w 94458"/>
                  <a:gd name="connsiteY44" fmla="*/ 136804 h 233347"/>
                  <a:gd name="connsiteX45" fmla="*/ 9358 w 94458"/>
                  <a:gd name="connsiteY45" fmla="*/ 138889 h 233347"/>
                  <a:gd name="connsiteX46" fmla="*/ 2827 w 94458"/>
                  <a:gd name="connsiteY46" fmla="*/ 131287 h 233347"/>
                  <a:gd name="connsiteX47" fmla="*/ 3183 w 94458"/>
                  <a:gd name="connsiteY47" fmla="*/ 128516 h 233347"/>
                  <a:gd name="connsiteX48" fmla="*/ 0 w 94458"/>
                  <a:gd name="connsiteY48" fmla="*/ 126183 h 233347"/>
                  <a:gd name="connsiteX49" fmla="*/ 3897 w 94458"/>
                  <a:gd name="connsiteY49" fmla="*/ 123109 h 233347"/>
                  <a:gd name="connsiteX50" fmla="*/ 8644 w 94458"/>
                  <a:gd name="connsiteY50" fmla="*/ 114410 h 233347"/>
                  <a:gd name="connsiteX51" fmla="*/ 9166 w 94458"/>
                  <a:gd name="connsiteY51" fmla="*/ 105683 h 233347"/>
                  <a:gd name="connsiteX52" fmla="*/ 7684 w 94458"/>
                  <a:gd name="connsiteY52" fmla="*/ 101786 h 233347"/>
                  <a:gd name="connsiteX53" fmla="*/ 8974 w 94458"/>
                  <a:gd name="connsiteY53" fmla="*/ 98191 h 233347"/>
                  <a:gd name="connsiteX54" fmla="*/ 22778 w 94458"/>
                  <a:gd name="connsiteY54" fmla="*/ 91468 h 233347"/>
                  <a:gd name="connsiteX55" fmla="*/ 24068 w 94458"/>
                  <a:gd name="connsiteY55" fmla="*/ 88860 h 233347"/>
                  <a:gd name="connsiteX56" fmla="*/ 19347 w 94458"/>
                  <a:gd name="connsiteY56" fmla="*/ 87461 h 233347"/>
                  <a:gd name="connsiteX57" fmla="*/ 16932 w 94458"/>
                  <a:gd name="connsiteY57" fmla="*/ 81286 h 233347"/>
                  <a:gd name="connsiteX58" fmla="*/ 18497 w 94458"/>
                  <a:gd name="connsiteY58" fmla="*/ 70885 h 233347"/>
                  <a:gd name="connsiteX59" fmla="*/ 15725 w 94458"/>
                  <a:gd name="connsiteY59" fmla="*/ 63229 h 233347"/>
                  <a:gd name="connsiteX60" fmla="*/ 20362 w 94458"/>
                  <a:gd name="connsiteY60" fmla="*/ 52828 h 233347"/>
                  <a:gd name="connsiteX61" fmla="*/ 17481 w 94458"/>
                  <a:gd name="connsiteY61" fmla="*/ 44622 h 233347"/>
                  <a:gd name="connsiteX62" fmla="*/ 23738 w 94458"/>
                  <a:gd name="connsiteY62" fmla="*/ 41110 h 233347"/>
                  <a:gd name="connsiteX63" fmla="*/ 28568 w 94458"/>
                  <a:gd name="connsiteY63" fmla="*/ 34880 h 233347"/>
                  <a:gd name="connsiteX64" fmla="*/ 25083 w 94458"/>
                  <a:gd name="connsiteY64" fmla="*/ 28925 h 233347"/>
                  <a:gd name="connsiteX65" fmla="*/ 24561 w 94458"/>
                  <a:gd name="connsiteY65" fmla="*/ 24452 h 233347"/>
                  <a:gd name="connsiteX66" fmla="*/ 18689 w 94458"/>
                  <a:gd name="connsiteY66" fmla="*/ 19869 h 233347"/>
                  <a:gd name="connsiteX67" fmla="*/ 19512 w 94458"/>
                  <a:gd name="connsiteY67" fmla="*/ 14408 h 233347"/>
                  <a:gd name="connsiteX68" fmla="*/ 15395 w 94458"/>
                  <a:gd name="connsiteY68" fmla="*/ 8946 h 233347"/>
                  <a:gd name="connsiteX69" fmla="*/ 13804 w 94458"/>
                  <a:gd name="connsiteY69" fmla="*/ 6257 h 233347"/>
                  <a:gd name="connsiteX70" fmla="*/ 9468 w 94458"/>
                  <a:gd name="connsiteY70" fmla="*/ 6861 h 233347"/>
                  <a:gd name="connsiteX71" fmla="*/ 7409 w 94458"/>
                  <a:gd name="connsiteY71" fmla="*/ 0 h 233347"/>
                  <a:gd name="connsiteX72" fmla="*/ 22860 w 94458"/>
                  <a:gd name="connsiteY72" fmla="*/ 6120 h 233347"/>
                  <a:gd name="connsiteX73" fmla="*/ 31175 w 94458"/>
                  <a:gd name="connsiteY73" fmla="*/ 6120 h 23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94458" h="233347">
                    <a:moveTo>
                      <a:pt x="31175" y="6312"/>
                    </a:moveTo>
                    <a:lnTo>
                      <a:pt x="35539" y="8754"/>
                    </a:lnTo>
                    <a:lnTo>
                      <a:pt x="39381" y="3924"/>
                    </a:lnTo>
                    <a:lnTo>
                      <a:pt x="46049" y="9413"/>
                    </a:lnTo>
                    <a:lnTo>
                      <a:pt x="53431" y="19787"/>
                    </a:lnTo>
                    <a:lnTo>
                      <a:pt x="57027" y="41467"/>
                    </a:lnTo>
                    <a:lnTo>
                      <a:pt x="56834" y="49946"/>
                    </a:lnTo>
                    <a:lnTo>
                      <a:pt x="64546" y="59551"/>
                    </a:lnTo>
                    <a:lnTo>
                      <a:pt x="66384" y="65095"/>
                    </a:lnTo>
                    <a:lnTo>
                      <a:pt x="56752" y="65507"/>
                    </a:lnTo>
                    <a:lnTo>
                      <a:pt x="56697" y="69815"/>
                    </a:lnTo>
                    <a:lnTo>
                      <a:pt x="48904" y="84415"/>
                    </a:lnTo>
                    <a:lnTo>
                      <a:pt x="50577" y="91578"/>
                    </a:lnTo>
                    <a:lnTo>
                      <a:pt x="54858" y="108976"/>
                    </a:lnTo>
                    <a:lnTo>
                      <a:pt x="55462" y="121353"/>
                    </a:lnTo>
                    <a:lnTo>
                      <a:pt x="64052" y="122945"/>
                    </a:lnTo>
                    <a:lnTo>
                      <a:pt x="68717" y="127253"/>
                    </a:lnTo>
                    <a:lnTo>
                      <a:pt x="93471" y="159417"/>
                    </a:lnTo>
                    <a:lnTo>
                      <a:pt x="94459" y="166195"/>
                    </a:lnTo>
                    <a:lnTo>
                      <a:pt x="91495" y="173687"/>
                    </a:lnTo>
                    <a:lnTo>
                      <a:pt x="92922" y="182167"/>
                    </a:lnTo>
                    <a:lnTo>
                      <a:pt x="91385" y="199566"/>
                    </a:lnTo>
                    <a:lnTo>
                      <a:pt x="85018" y="203517"/>
                    </a:lnTo>
                    <a:lnTo>
                      <a:pt x="78350" y="204176"/>
                    </a:lnTo>
                    <a:lnTo>
                      <a:pt x="72313" y="216608"/>
                    </a:lnTo>
                    <a:lnTo>
                      <a:pt x="76292" y="222700"/>
                    </a:lnTo>
                    <a:lnTo>
                      <a:pt x="75907" y="233348"/>
                    </a:lnTo>
                    <a:lnTo>
                      <a:pt x="70309" y="232909"/>
                    </a:lnTo>
                    <a:lnTo>
                      <a:pt x="69650" y="230439"/>
                    </a:lnTo>
                    <a:lnTo>
                      <a:pt x="71900" y="225472"/>
                    </a:lnTo>
                    <a:lnTo>
                      <a:pt x="64902" y="221383"/>
                    </a:lnTo>
                    <a:lnTo>
                      <a:pt x="50797" y="206481"/>
                    </a:lnTo>
                    <a:lnTo>
                      <a:pt x="50083" y="200197"/>
                    </a:lnTo>
                    <a:lnTo>
                      <a:pt x="45830" y="195559"/>
                    </a:lnTo>
                    <a:lnTo>
                      <a:pt x="50934" y="187847"/>
                    </a:lnTo>
                    <a:lnTo>
                      <a:pt x="51126" y="182414"/>
                    </a:lnTo>
                    <a:lnTo>
                      <a:pt x="55407" y="176980"/>
                    </a:lnTo>
                    <a:lnTo>
                      <a:pt x="56011" y="168198"/>
                    </a:lnTo>
                    <a:lnTo>
                      <a:pt x="53239" y="155410"/>
                    </a:lnTo>
                    <a:lnTo>
                      <a:pt x="48190" y="150388"/>
                    </a:lnTo>
                    <a:lnTo>
                      <a:pt x="30297" y="154120"/>
                    </a:lnTo>
                    <a:lnTo>
                      <a:pt x="28376" y="156206"/>
                    </a:lnTo>
                    <a:lnTo>
                      <a:pt x="22476" y="149729"/>
                    </a:lnTo>
                    <a:lnTo>
                      <a:pt x="15890" y="138148"/>
                    </a:lnTo>
                    <a:lnTo>
                      <a:pt x="12980" y="136804"/>
                    </a:lnTo>
                    <a:lnTo>
                      <a:pt x="9358" y="138889"/>
                    </a:lnTo>
                    <a:lnTo>
                      <a:pt x="2827" y="131287"/>
                    </a:lnTo>
                    <a:lnTo>
                      <a:pt x="3183" y="128516"/>
                    </a:lnTo>
                    <a:lnTo>
                      <a:pt x="0" y="126183"/>
                    </a:lnTo>
                    <a:lnTo>
                      <a:pt x="3897" y="123109"/>
                    </a:lnTo>
                    <a:lnTo>
                      <a:pt x="8644" y="114410"/>
                    </a:lnTo>
                    <a:lnTo>
                      <a:pt x="9166" y="105683"/>
                    </a:lnTo>
                    <a:lnTo>
                      <a:pt x="7684" y="101786"/>
                    </a:lnTo>
                    <a:lnTo>
                      <a:pt x="8974" y="98191"/>
                    </a:lnTo>
                    <a:lnTo>
                      <a:pt x="22778" y="91468"/>
                    </a:lnTo>
                    <a:lnTo>
                      <a:pt x="24068" y="88860"/>
                    </a:lnTo>
                    <a:lnTo>
                      <a:pt x="19347" y="87461"/>
                    </a:lnTo>
                    <a:lnTo>
                      <a:pt x="16932" y="81286"/>
                    </a:lnTo>
                    <a:lnTo>
                      <a:pt x="18497" y="70885"/>
                    </a:lnTo>
                    <a:lnTo>
                      <a:pt x="15725" y="63229"/>
                    </a:lnTo>
                    <a:lnTo>
                      <a:pt x="20362" y="52828"/>
                    </a:lnTo>
                    <a:lnTo>
                      <a:pt x="17481" y="44622"/>
                    </a:lnTo>
                    <a:lnTo>
                      <a:pt x="23738" y="41110"/>
                    </a:lnTo>
                    <a:lnTo>
                      <a:pt x="28568" y="34880"/>
                    </a:lnTo>
                    <a:lnTo>
                      <a:pt x="25083" y="28925"/>
                    </a:lnTo>
                    <a:lnTo>
                      <a:pt x="24561" y="24452"/>
                    </a:lnTo>
                    <a:lnTo>
                      <a:pt x="18689" y="19869"/>
                    </a:lnTo>
                    <a:lnTo>
                      <a:pt x="19512" y="14408"/>
                    </a:lnTo>
                    <a:lnTo>
                      <a:pt x="15395" y="8946"/>
                    </a:lnTo>
                    <a:lnTo>
                      <a:pt x="13804" y="6257"/>
                    </a:lnTo>
                    <a:lnTo>
                      <a:pt x="9468" y="6861"/>
                    </a:lnTo>
                    <a:lnTo>
                      <a:pt x="7409" y="0"/>
                    </a:lnTo>
                    <a:lnTo>
                      <a:pt x="22860" y="6120"/>
                    </a:lnTo>
                    <a:lnTo>
                      <a:pt x="31175" y="61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7" name="Freeform: Shape 4146">
                <a:extLst>
                  <a:ext uri="{FF2B5EF4-FFF2-40B4-BE49-F238E27FC236}">
                    <a16:creationId xmlns:a16="http://schemas.microsoft.com/office/drawing/2014/main" id="{070BA92C-707B-587F-49DA-D5002228212C}"/>
                  </a:ext>
                </a:extLst>
              </p:cNvPr>
              <p:cNvSpPr/>
              <p:nvPr/>
            </p:nvSpPr>
            <p:spPr>
              <a:xfrm>
                <a:off x="1471415" y="3881432"/>
                <a:ext cx="744" cy="555"/>
              </a:xfrm>
              <a:custGeom>
                <a:avLst/>
                <a:gdLst>
                  <a:gd name="connsiteX0" fmla="*/ 1262 w 7135"/>
                  <a:gd name="connsiteY0" fmla="*/ 0 h 5324"/>
                  <a:gd name="connsiteX1" fmla="*/ 3787 w 7135"/>
                  <a:gd name="connsiteY1" fmla="*/ 1839 h 5324"/>
                  <a:gd name="connsiteX2" fmla="*/ 4610 w 7135"/>
                  <a:gd name="connsiteY2" fmla="*/ 933 h 5324"/>
                  <a:gd name="connsiteX3" fmla="*/ 7135 w 7135"/>
                  <a:gd name="connsiteY3" fmla="*/ 2086 h 5324"/>
                  <a:gd name="connsiteX4" fmla="*/ 5050 w 7135"/>
                  <a:gd name="connsiteY4" fmla="*/ 5324 h 5324"/>
                  <a:gd name="connsiteX5" fmla="*/ 2854 w 7135"/>
                  <a:gd name="connsiteY5" fmla="*/ 2937 h 5324"/>
                  <a:gd name="connsiteX6" fmla="*/ 576 w 7135"/>
                  <a:gd name="connsiteY6" fmla="*/ 3375 h 5324"/>
                  <a:gd name="connsiteX7" fmla="*/ 0 w 7135"/>
                  <a:gd name="connsiteY7" fmla="*/ 1455 h 5324"/>
                  <a:gd name="connsiteX8" fmla="*/ 1262 w 7135"/>
                  <a:gd name="connsiteY8" fmla="*/ 27 h 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5" h="5324">
                    <a:moveTo>
                      <a:pt x="1262" y="0"/>
                    </a:moveTo>
                    <a:lnTo>
                      <a:pt x="3787" y="1839"/>
                    </a:lnTo>
                    <a:lnTo>
                      <a:pt x="4610" y="933"/>
                    </a:lnTo>
                    <a:lnTo>
                      <a:pt x="7135" y="2086"/>
                    </a:lnTo>
                    <a:lnTo>
                      <a:pt x="5050" y="5324"/>
                    </a:lnTo>
                    <a:lnTo>
                      <a:pt x="2854" y="2937"/>
                    </a:lnTo>
                    <a:lnTo>
                      <a:pt x="576" y="3375"/>
                    </a:lnTo>
                    <a:lnTo>
                      <a:pt x="0" y="1455"/>
                    </a:lnTo>
                    <a:lnTo>
                      <a:pt x="1262"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8" name="Freeform: Shape 4147">
                <a:extLst>
                  <a:ext uri="{FF2B5EF4-FFF2-40B4-BE49-F238E27FC236}">
                    <a16:creationId xmlns:a16="http://schemas.microsoft.com/office/drawing/2014/main" id="{8EAC8D98-C82E-34DA-50DA-A71077F698FD}"/>
                  </a:ext>
                </a:extLst>
              </p:cNvPr>
              <p:cNvSpPr/>
              <p:nvPr/>
            </p:nvSpPr>
            <p:spPr>
              <a:xfrm>
                <a:off x="1006080" y="3738198"/>
                <a:ext cx="92974" cy="61185"/>
              </a:xfrm>
              <a:custGeom>
                <a:avLst/>
                <a:gdLst>
                  <a:gd name="connsiteX0" fmla="*/ 71187 w 891402"/>
                  <a:gd name="connsiteY0" fmla="*/ 8287 h 586620"/>
                  <a:gd name="connsiteX1" fmla="*/ 179916 w 891402"/>
                  <a:gd name="connsiteY1" fmla="*/ 47531 h 586620"/>
                  <a:gd name="connsiteX2" fmla="*/ 260900 w 891402"/>
                  <a:gd name="connsiteY2" fmla="*/ 47531 h 586620"/>
                  <a:gd name="connsiteX3" fmla="*/ 262355 w 891402"/>
                  <a:gd name="connsiteY3" fmla="*/ 46186 h 586620"/>
                  <a:gd name="connsiteX4" fmla="*/ 264743 w 891402"/>
                  <a:gd name="connsiteY4" fmla="*/ 32218 h 586620"/>
                  <a:gd name="connsiteX5" fmla="*/ 314881 w 891402"/>
                  <a:gd name="connsiteY5" fmla="*/ 33755 h 586620"/>
                  <a:gd name="connsiteX6" fmla="*/ 321879 w 891402"/>
                  <a:gd name="connsiteY6" fmla="*/ 42701 h 586620"/>
                  <a:gd name="connsiteX7" fmla="*/ 358982 w 891402"/>
                  <a:gd name="connsiteY7" fmla="*/ 73492 h 586620"/>
                  <a:gd name="connsiteX8" fmla="*/ 365266 w 891402"/>
                  <a:gd name="connsiteY8" fmla="*/ 85704 h 586620"/>
                  <a:gd name="connsiteX9" fmla="*/ 366968 w 891402"/>
                  <a:gd name="connsiteY9" fmla="*/ 96352 h 586620"/>
                  <a:gd name="connsiteX10" fmla="*/ 372538 w 891402"/>
                  <a:gd name="connsiteY10" fmla="*/ 106094 h 586620"/>
                  <a:gd name="connsiteX11" fmla="*/ 385409 w 891402"/>
                  <a:gd name="connsiteY11" fmla="*/ 115947 h 586620"/>
                  <a:gd name="connsiteX12" fmla="*/ 406348 w 891402"/>
                  <a:gd name="connsiteY12" fmla="*/ 126540 h 586620"/>
                  <a:gd name="connsiteX13" fmla="*/ 411398 w 891402"/>
                  <a:gd name="connsiteY13" fmla="*/ 126677 h 586620"/>
                  <a:gd name="connsiteX14" fmla="*/ 417765 w 891402"/>
                  <a:gd name="connsiteY14" fmla="*/ 120474 h 586620"/>
                  <a:gd name="connsiteX15" fmla="*/ 422183 w 891402"/>
                  <a:gd name="connsiteY15" fmla="*/ 108317 h 586620"/>
                  <a:gd name="connsiteX16" fmla="*/ 426684 w 891402"/>
                  <a:gd name="connsiteY16" fmla="*/ 101868 h 586620"/>
                  <a:gd name="connsiteX17" fmla="*/ 436892 w 891402"/>
                  <a:gd name="connsiteY17" fmla="*/ 97999 h 586620"/>
                  <a:gd name="connsiteX18" fmla="*/ 462030 w 891402"/>
                  <a:gd name="connsiteY18" fmla="*/ 101923 h 586620"/>
                  <a:gd name="connsiteX19" fmla="*/ 468177 w 891402"/>
                  <a:gd name="connsiteY19" fmla="*/ 109580 h 586620"/>
                  <a:gd name="connsiteX20" fmla="*/ 480472 w 891402"/>
                  <a:gd name="connsiteY20" fmla="*/ 119624 h 586620"/>
                  <a:gd name="connsiteX21" fmla="*/ 495812 w 891402"/>
                  <a:gd name="connsiteY21" fmla="*/ 151018 h 586620"/>
                  <a:gd name="connsiteX22" fmla="*/ 501905 w 891402"/>
                  <a:gd name="connsiteY22" fmla="*/ 156864 h 586620"/>
                  <a:gd name="connsiteX23" fmla="*/ 508107 w 891402"/>
                  <a:gd name="connsiteY23" fmla="*/ 166990 h 586620"/>
                  <a:gd name="connsiteX24" fmla="*/ 517053 w 891402"/>
                  <a:gd name="connsiteY24" fmla="*/ 174510 h 586620"/>
                  <a:gd name="connsiteX25" fmla="*/ 520429 w 891402"/>
                  <a:gd name="connsiteY25" fmla="*/ 192183 h 586620"/>
                  <a:gd name="connsiteX26" fmla="*/ 526027 w 891402"/>
                  <a:gd name="connsiteY26" fmla="*/ 200663 h 586620"/>
                  <a:gd name="connsiteX27" fmla="*/ 530143 w 891402"/>
                  <a:gd name="connsiteY27" fmla="*/ 212189 h 586620"/>
                  <a:gd name="connsiteX28" fmla="*/ 556626 w 891402"/>
                  <a:gd name="connsiteY28" fmla="*/ 224154 h 586620"/>
                  <a:gd name="connsiteX29" fmla="*/ 571610 w 891402"/>
                  <a:gd name="connsiteY29" fmla="*/ 225691 h 586620"/>
                  <a:gd name="connsiteX30" fmla="*/ 578855 w 891402"/>
                  <a:gd name="connsiteY30" fmla="*/ 230850 h 586620"/>
                  <a:gd name="connsiteX31" fmla="*/ 587719 w 891402"/>
                  <a:gd name="connsiteY31" fmla="*/ 227804 h 586620"/>
                  <a:gd name="connsiteX32" fmla="*/ 586045 w 891402"/>
                  <a:gd name="connsiteY32" fmla="*/ 237025 h 586620"/>
                  <a:gd name="connsiteX33" fmla="*/ 582368 w 891402"/>
                  <a:gd name="connsiteY33" fmla="*/ 245011 h 586620"/>
                  <a:gd name="connsiteX34" fmla="*/ 576138 w 891402"/>
                  <a:gd name="connsiteY34" fmla="*/ 249539 h 586620"/>
                  <a:gd name="connsiteX35" fmla="*/ 571967 w 891402"/>
                  <a:gd name="connsiteY35" fmla="*/ 256098 h 586620"/>
                  <a:gd name="connsiteX36" fmla="*/ 567686 w 891402"/>
                  <a:gd name="connsiteY36" fmla="*/ 342433 h 586620"/>
                  <a:gd name="connsiteX37" fmla="*/ 573421 w 891402"/>
                  <a:gd name="connsiteY37" fmla="*/ 361424 h 586620"/>
                  <a:gd name="connsiteX38" fmla="*/ 573531 w 891402"/>
                  <a:gd name="connsiteY38" fmla="*/ 367159 h 586620"/>
                  <a:gd name="connsiteX39" fmla="*/ 577510 w 891402"/>
                  <a:gd name="connsiteY39" fmla="*/ 372429 h 586620"/>
                  <a:gd name="connsiteX40" fmla="*/ 579431 w 891402"/>
                  <a:gd name="connsiteY40" fmla="*/ 368888 h 586620"/>
                  <a:gd name="connsiteX41" fmla="*/ 580776 w 891402"/>
                  <a:gd name="connsiteY41" fmla="*/ 369767 h 586620"/>
                  <a:gd name="connsiteX42" fmla="*/ 580776 w 891402"/>
                  <a:gd name="connsiteY42" fmla="*/ 380112 h 586620"/>
                  <a:gd name="connsiteX43" fmla="*/ 586841 w 891402"/>
                  <a:gd name="connsiteY43" fmla="*/ 396139 h 586620"/>
                  <a:gd name="connsiteX44" fmla="*/ 606380 w 891402"/>
                  <a:gd name="connsiteY44" fmla="*/ 421277 h 586620"/>
                  <a:gd name="connsiteX45" fmla="*/ 613762 w 891402"/>
                  <a:gd name="connsiteY45" fmla="*/ 439417 h 586620"/>
                  <a:gd name="connsiteX46" fmla="*/ 625563 w 891402"/>
                  <a:gd name="connsiteY46" fmla="*/ 453660 h 586620"/>
                  <a:gd name="connsiteX47" fmla="*/ 631463 w 891402"/>
                  <a:gd name="connsiteY47" fmla="*/ 456843 h 586620"/>
                  <a:gd name="connsiteX48" fmla="*/ 644334 w 891402"/>
                  <a:gd name="connsiteY48" fmla="*/ 458984 h 586620"/>
                  <a:gd name="connsiteX49" fmla="*/ 651798 w 891402"/>
                  <a:gd name="connsiteY49" fmla="*/ 462194 h 586620"/>
                  <a:gd name="connsiteX50" fmla="*/ 662007 w 891402"/>
                  <a:gd name="connsiteY50" fmla="*/ 472787 h 586620"/>
                  <a:gd name="connsiteX51" fmla="*/ 666096 w 891402"/>
                  <a:gd name="connsiteY51" fmla="*/ 474626 h 586620"/>
                  <a:gd name="connsiteX52" fmla="*/ 696256 w 891402"/>
                  <a:gd name="connsiteY52" fmla="*/ 467656 h 586620"/>
                  <a:gd name="connsiteX53" fmla="*/ 711350 w 891402"/>
                  <a:gd name="connsiteY53" fmla="*/ 466201 h 586620"/>
                  <a:gd name="connsiteX54" fmla="*/ 721202 w 891402"/>
                  <a:gd name="connsiteY54" fmla="*/ 461453 h 586620"/>
                  <a:gd name="connsiteX55" fmla="*/ 732700 w 891402"/>
                  <a:gd name="connsiteY55" fmla="*/ 459587 h 586620"/>
                  <a:gd name="connsiteX56" fmla="*/ 740329 w 891402"/>
                  <a:gd name="connsiteY56" fmla="*/ 460301 h 586620"/>
                  <a:gd name="connsiteX57" fmla="*/ 746504 w 891402"/>
                  <a:gd name="connsiteY57" fmla="*/ 464829 h 586620"/>
                  <a:gd name="connsiteX58" fmla="*/ 754106 w 891402"/>
                  <a:gd name="connsiteY58" fmla="*/ 465213 h 586620"/>
                  <a:gd name="connsiteX59" fmla="*/ 759951 w 891402"/>
                  <a:gd name="connsiteY59" fmla="*/ 460191 h 586620"/>
                  <a:gd name="connsiteX60" fmla="*/ 761378 w 891402"/>
                  <a:gd name="connsiteY60" fmla="*/ 450723 h 586620"/>
                  <a:gd name="connsiteX61" fmla="*/ 774523 w 891402"/>
                  <a:gd name="connsiteY61" fmla="*/ 439060 h 586620"/>
                  <a:gd name="connsiteX62" fmla="*/ 783360 w 891402"/>
                  <a:gd name="connsiteY62" fmla="*/ 419054 h 586620"/>
                  <a:gd name="connsiteX63" fmla="*/ 784540 w 891402"/>
                  <a:gd name="connsiteY63" fmla="*/ 401161 h 586620"/>
                  <a:gd name="connsiteX64" fmla="*/ 790413 w 891402"/>
                  <a:gd name="connsiteY64" fmla="*/ 385821 h 586620"/>
                  <a:gd name="connsiteX65" fmla="*/ 804793 w 891402"/>
                  <a:gd name="connsiteY65" fmla="*/ 378795 h 586620"/>
                  <a:gd name="connsiteX66" fmla="*/ 832949 w 891402"/>
                  <a:gd name="connsiteY66" fmla="*/ 374075 h 586620"/>
                  <a:gd name="connsiteX67" fmla="*/ 850760 w 891402"/>
                  <a:gd name="connsiteY67" fmla="*/ 368202 h 586620"/>
                  <a:gd name="connsiteX68" fmla="*/ 876748 w 891402"/>
                  <a:gd name="connsiteY68" fmla="*/ 372785 h 586620"/>
                  <a:gd name="connsiteX69" fmla="*/ 884734 w 891402"/>
                  <a:gd name="connsiteY69" fmla="*/ 370453 h 586620"/>
                  <a:gd name="connsiteX70" fmla="*/ 888713 w 891402"/>
                  <a:gd name="connsiteY70" fmla="*/ 374898 h 586620"/>
                  <a:gd name="connsiteX71" fmla="*/ 891403 w 891402"/>
                  <a:gd name="connsiteY71" fmla="*/ 386397 h 586620"/>
                  <a:gd name="connsiteX72" fmla="*/ 887451 w 891402"/>
                  <a:gd name="connsiteY72" fmla="*/ 394328 h 586620"/>
                  <a:gd name="connsiteX73" fmla="*/ 875184 w 891402"/>
                  <a:gd name="connsiteY73" fmla="*/ 409778 h 586620"/>
                  <a:gd name="connsiteX74" fmla="*/ 871973 w 891402"/>
                  <a:gd name="connsiteY74" fmla="*/ 422347 h 586620"/>
                  <a:gd name="connsiteX75" fmla="*/ 866787 w 891402"/>
                  <a:gd name="connsiteY75" fmla="*/ 429098 h 586620"/>
                  <a:gd name="connsiteX76" fmla="*/ 871122 w 891402"/>
                  <a:gd name="connsiteY76" fmla="*/ 433873 h 586620"/>
                  <a:gd name="connsiteX77" fmla="*/ 867802 w 891402"/>
                  <a:gd name="connsiteY77" fmla="*/ 439554 h 586620"/>
                  <a:gd name="connsiteX78" fmla="*/ 870299 w 891402"/>
                  <a:gd name="connsiteY78" fmla="*/ 444878 h 586620"/>
                  <a:gd name="connsiteX79" fmla="*/ 862478 w 891402"/>
                  <a:gd name="connsiteY79" fmla="*/ 469110 h 586620"/>
                  <a:gd name="connsiteX80" fmla="*/ 860639 w 891402"/>
                  <a:gd name="connsiteY80" fmla="*/ 471196 h 586620"/>
                  <a:gd name="connsiteX81" fmla="*/ 859048 w 891402"/>
                  <a:gd name="connsiteY81" fmla="*/ 470071 h 586620"/>
                  <a:gd name="connsiteX82" fmla="*/ 854300 w 891402"/>
                  <a:gd name="connsiteY82" fmla="*/ 457941 h 586620"/>
                  <a:gd name="connsiteX83" fmla="*/ 847384 w 891402"/>
                  <a:gd name="connsiteY83" fmla="*/ 465268 h 586620"/>
                  <a:gd name="connsiteX84" fmla="*/ 842170 w 891402"/>
                  <a:gd name="connsiteY84" fmla="*/ 466421 h 586620"/>
                  <a:gd name="connsiteX85" fmla="*/ 832538 w 891402"/>
                  <a:gd name="connsiteY85" fmla="*/ 481706 h 586620"/>
                  <a:gd name="connsiteX86" fmla="*/ 824826 w 891402"/>
                  <a:gd name="connsiteY86" fmla="*/ 481569 h 586620"/>
                  <a:gd name="connsiteX87" fmla="*/ 822960 w 891402"/>
                  <a:gd name="connsiteY87" fmla="*/ 486289 h 586620"/>
                  <a:gd name="connsiteX88" fmla="*/ 790577 w 891402"/>
                  <a:gd name="connsiteY88" fmla="*/ 486866 h 586620"/>
                  <a:gd name="connsiteX89" fmla="*/ 788958 w 891402"/>
                  <a:gd name="connsiteY89" fmla="*/ 486866 h 586620"/>
                  <a:gd name="connsiteX90" fmla="*/ 774468 w 891402"/>
                  <a:gd name="connsiteY90" fmla="*/ 487167 h 586620"/>
                  <a:gd name="connsiteX91" fmla="*/ 770489 w 891402"/>
                  <a:gd name="connsiteY91" fmla="*/ 487250 h 586620"/>
                  <a:gd name="connsiteX92" fmla="*/ 767909 w 891402"/>
                  <a:gd name="connsiteY92" fmla="*/ 501602 h 586620"/>
                  <a:gd name="connsiteX93" fmla="*/ 758744 w 891402"/>
                  <a:gd name="connsiteY93" fmla="*/ 505143 h 586620"/>
                  <a:gd name="connsiteX94" fmla="*/ 766620 w 891402"/>
                  <a:gd name="connsiteY94" fmla="*/ 513732 h 586620"/>
                  <a:gd name="connsiteX95" fmla="*/ 774468 w 891402"/>
                  <a:gd name="connsiteY95" fmla="*/ 518919 h 586620"/>
                  <a:gd name="connsiteX96" fmla="*/ 776691 w 891402"/>
                  <a:gd name="connsiteY96" fmla="*/ 520428 h 586620"/>
                  <a:gd name="connsiteX97" fmla="*/ 783799 w 891402"/>
                  <a:gd name="connsiteY97" fmla="*/ 528552 h 586620"/>
                  <a:gd name="connsiteX98" fmla="*/ 785336 w 891402"/>
                  <a:gd name="connsiteY98" fmla="*/ 531653 h 586620"/>
                  <a:gd name="connsiteX99" fmla="*/ 784677 w 891402"/>
                  <a:gd name="connsiteY99" fmla="*/ 537361 h 586620"/>
                  <a:gd name="connsiteX100" fmla="*/ 779984 w 891402"/>
                  <a:gd name="connsiteY100" fmla="*/ 539666 h 586620"/>
                  <a:gd name="connsiteX101" fmla="*/ 774468 w 891402"/>
                  <a:gd name="connsiteY101" fmla="*/ 539858 h 586620"/>
                  <a:gd name="connsiteX102" fmla="*/ 746888 w 891402"/>
                  <a:gd name="connsiteY102" fmla="*/ 540709 h 586620"/>
                  <a:gd name="connsiteX103" fmla="*/ 734292 w 891402"/>
                  <a:gd name="connsiteY103" fmla="*/ 562965 h 586620"/>
                  <a:gd name="connsiteX104" fmla="*/ 736103 w 891402"/>
                  <a:gd name="connsiteY104" fmla="*/ 571500 h 586620"/>
                  <a:gd name="connsiteX105" fmla="*/ 732234 w 891402"/>
                  <a:gd name="connsiteY105" fmla="*/ 586621 h 586620"/>
                  <a:gd name="connsiteX106" fmla="*/ 706300 w 891402"/>
                  <a:gd name="connsiteY106" fmla="*/ 560577 h 586620"/>
                  <a:gd name="connsiteX107" fmla="*/ 681135 w 891402"/>
                  <a:gd name="connsiteY107" fmla="*/ 540105 h 586620"/>
                  <a:gd name="connsiteX108" fmla="*/ 668072 w 891402"/>
                  <a:gd name="connsiteY108" fmla="*/ 535467 h 586620"/>
                  <a:gd name="connsiteX109" fmla="*/ 649822 w 891402"/>
                  <a:gd name="connsiteY109" fmla="*/ 536620 h 586620"/>
                  <a:gd name="connsiteX110" fmla="*/ 630942 w 891402"/>
                  <a:gd name="connsiteY110" fmla="*/ 544661 h 586620"/>
                  <a:gd name="connsiteX111" fmla="*/ 607862 w 891402"/>
                  <a:gd name="connsiteY111" fmla="*/ 551027 h 586620"/>
                  <a:gd name="connsiteX112" fmla="*/ 570155 w 891402"/>
                  <a:gd name="connsiteY112" fmla="*/ 541944 h 586620"/>
                  <a:gd name="connsiteX113" fmla="*/ 548722 w 891402"/>
                  <a:gd name="connsiteY113" fmla="*/ 532586 h 586620"/>
                  <a:gd name="connsiteX114" fmla="*/ 537608 w 891402"/>
                  <a:gd name="connsiteY114" fmla="*/ 525560 h 586620"/>
                  <a:gd name="connsiteX115" fmla="*/ 514995 w 891402"/>
                  <a:gd name="connsiteY115" fmla="*/ 520072 h 586620"/>
                  <a:gd name="connsiteX116" fmla="*/ 501274 w 891402"/>
                  <a:gd name="connsiteY116" fmla="*/ 512580 h 586620"/>
                  <a:gd name="connsiteX117" fmla="*/ 475285 w 891402"/>
                  <a:gd name="connsiteY117" fmla="*/ 503276 h 586620"/>
                  <a:gd name="connsiteX118" fmla="*/ 446607 w 891402"/>
                  <a:gd name="connsiteY118" fmla="*/ 483188 h 586620"/>
                  <a:gd name="connsiteX119" fmla="*/ 434175 w 891402"/>
                  <a:gd name="connsiteY119" fmla="*/ 480883 h 586620"/>
                  <a:gd name="connsiteX120" fmla="*/ 405964 w 891402"/>
                  <a:gd name="connsiteY120" fmla="*/ 471553 h 586620"/>
                  <a:gd name="connsiteX121" fmla="*/ 386754 w 891402"/>
                  <a:gd name="connsiteY121" fmla="*/ 454208 h 586620"/>
                  <a:gd name="connsiteX122" fmla="*/ 357939 w 891402"/>
                  <a:gd name="connsiteY122" fmla="*/ 437798 h 586620"/>
                  <a:gd name="connsiteX123" fmla="*/ 344080 w 891402"/>
                  <a:gd name="connsiteY123" fmla="*/ 420399 h 586620"/>
                  <a:gd name="connsiteX124" fmla="*/ 339168 w 891402"/>
                  <a:gd name="connsiteY124" fmla="*/ 409696 h 586620"/>
                  <a:gd name="connsiteX125" fmla="*/ 340265 w 891402"/>
                  <a:gd name="connsiteY125" fmla="*/ 404482 h 586620"/>
                  <a:gd name="connsiteX126" fmla="*/ 346248 w 891402"/>
                  <a:gd name="connsiteY126" fmla="*/ 399131 h 586620"/>
                  <a:gd name="connsiteX127" fmla="*/ 345013 w 891402"/>
                  <a:gd name="connsiteY127" fmla="*/ 391858 h 586620"/>
                  <a:gd name="connsiteX128" fmla="*/ 348773 w 891402"/>
                  <a:gd name="connsiteY128" fmla="*/ 383900 h 586620"/>
                  <a:gd name="connsiteX129" fmla="*/ 349651 w 891402"/>
                  <a:gd name="connsiteY129" fmla="*/ 376874 h 586620"/>
                  <a:gd name="connsiteX130" fmla="*/ 340979 w 891402"/>
                  <a:gd name="connsiteY130" fmla="*/ 358487 h 586620"/>
                  <a:gd name="connsiteX131" fmla="*/ 343175 w 891402"/>
                  <a:gd name="connsiteY131" fmla="*/ 349514 h 586620"/>
                  <a:gd name="connsiteX132" fmla="*/ 335628 w 891402"/>
                  <a:gd name="connsiteY132" fmla="*/ 337576 h 586620"/>
                  <a:gd name="connsiteX133" fmla="*/ 315539 w 891402"/>
                  <a:gd name="connsiteY133" fmla="*/ 317268 h 586620"/>
                  <a:gd name="connsiteX134" fmla="*/ 297976 w 891402"/>
                  <a:gd name="connsiteY134" fmla="*/ 294244 h 586620"/>
                  <a:gd name="connsiteX135" fmla="*/ 281044 w 891402"/>
                  <a:gd name="connsiteY135" fmla="*/ 276461 h 586620"/>
                  <a:gd name="connsiteX136" fmla="*/ 271439 w 891402"/>
                  <a:gd name="connsiteY136" fmla="*/ 270094 h 586620"/>
                  <a:gd name="connsiteX137" fmla="*/ 267981 w 891402"/>
                  <a:gd name="connsiteY137" fmla="*/ 264139 h 586620"/>
                  <a:gd name="connsiteX138" fmla="*/ 264715 w 891402"/>
                  <a:gd name="connsiteY138" fmla="*/ 263260 h 586620"/>
                  <a:gd name="connsiteX139" fmla="*/ 264166 w 891402"/>
                  <a:gd name="connsiteY139" fmla="*/ 256646 h 586620"/>
                  <a:gd name="connsiteX140" fmla="*/ 258650 w 891402"/>
                  <a:gd name="connsiteY140" fmla="*/ 253848 h 586620"/>
                  <a:gd name="connsiteX141" fmla="*/ 253738 w 891402"/>
                  <a:gd name="connsiteY141" fmla="*/ 248468 h 586620"/>
                  <a:gd name="connsiteX142" fmla="*/ 239330 w 891402"/>
                  <a:gd name="connsiteY142" fmla="*/ 241608 h 586620"/>
                  <a:gd name="connsiteX143" fmla="*/ 233869 w 891402"/>
                  <a:gd name="connsiteY143" fmla="*/ 236943 h 586620"/>
                  <a:gd name="connsiteX144" fmla="*/ 230082 w 891402"/>
                  <a:gd name="connsiteY144" fmla="*/ 238287 h 586620"/>
                  <a:gd name="connsiteX145" fmla="*/ 230905 w 891402"/>
                  <a:gd name="connsiteY145" fmla="*/ 234500 h 586620"/>
                  <a:gd name="connsiteX146" fmla="*/ 228079 w 891402"/>
                  <a:gd name="connsiteY146" fmla="*/ 225554 h 586620"/>
                  <a:gd name="connsiteX147" fmla="*/ 231372 w 891402"/>
                  <a:gd name="connsiteY147" fmla="*/ 215071 h 586620"/>
                  <a:gd name="connsiteX148" fmla="*/ 229231 w 891402"/>
                  <a:gd name="connsiteY148" fmla="*/ 208978 h 586620"/>
                  <a:gd name="connsiteX149" fmla="*/ 224401 w 891402"/>
                  <a:gd name="connsiteY149" fmla="*/ 203929 h 586620"/>
                  <a:gd name="connsiteX150" fmla="*/ 216580 w 891402"/>
                  <a:gd name="connsiteY150" fmla="*/ 200690 h 586620"/>
                  <a:gd name="connsiteX151" fmla="*/ 209116 w 891402"/>
                  <a:gd name="connsiteY151" fmla="*/ 191360 h 586620"/>
                  <a:gd name="connsiteX152" fmla="*/ 197233 w 891402"/>
                  <a:gd name="connsiteY152" fmla="*/ 183786 h 586620"/>
                  <a:gd name="connsiteX153" fmla="*/ 193363 w 891402"/>
                  <a:gd name="connsiteY153" fmla="*/ 177720 h 586620"/>
                  <a:gd name="connsiteX154" fmla="*/ 190564 w 891402"/>
                  <a:gd name="connsiteY154" fmla="*/ 166524 h 586620"/>
                  <a:gd name="connsiteX155" fmla="*/ 175141 w 891402"/>
                  <a:gd name="connsiteY155" fmla="*/ 159306 h 586620"/>
                  <a:gd name="connsiteX156" fmla="*/ 151732 w 891402"/>
                  <a:gd name="connsiteY156" fmla="*/ 133867 h 586620"/>
                  <a:gd name="connsiteX157" fmla="*/ 145475 w 891402"/>
                  <a:gd name="connsiteY157" fmla="*/ 124399 h 586620"/>
                  <a:gd name="connsiteX158" fmla="*/ 141661 w 891402"/>
                  <a:gd name="connsiteY158" fmla="*/ 133318 h 586620"/>
                  <a:gd name="connsiteX159" fmla="*/ 136419 w 891402"/>
                  <a:gd name="connsiteY159" fmla="*/ 131479 h 586620"/>
                  <a:gd name="connsiteX160" fmla="*/ 137078 w 891402"/>
                  <a:gd name="connsiteY160" fmla="*/ 122478 h 586620"/>
                  <a:gd name="connsiteX161" fmla="*/ 141578 w 891402"/>
                  <a:gd name="connsiteY161" fmla="*/ 117319 h 586620"/>
                  <a:gd name="connsiteX162" fmla="*/ 130683 w 891402"/>
                  <a:gd name="connsiteY162" fmla="*/ 97148 h 586620"/>
                  <a:gd name="connsiteX163" fmla="*/ 120338 w 891402"/>
                  <a:gd name="connsiteY163" fmla="*/ 71379 h 586620"/>
                  <a:gd name="connsiteX164" fmla="*/ 116111 w 891402"/>
                  <a:gd name="connsiteY164" fmla="*/ 53486 h 586620"/>
                  <a:gd name="connsiteX165" fmla="*/ 97176 w 891402"/>
                  <a:gd name="connsiteY165" fmla="*/ 40615 h 586620"/>
                  <a:gd name="connsiteX166" fmla="*/ 87433 w 891402"/>
                  <a:gd name="connsiteY166" fmla="*/ 40451 h 586620"/>
                  <a:gd name="connsiteX167" fmla="*/ 75880 w 891402"/>
                  <a:gd name="connsiteY167" fmla="*/ 35539 h 586620"/>
                  <a:gd name="connsiteX168" fmla="*/ 71516 w 891402"/>
                  <a:gd name="connsiteY168" fmla="*/ 35730 h 586620"/>
                  <a:gd name="connsiteX169" fmla="*/ 68580 w 891402"/>
                  <a:gd name="connsiteY169" fmla="*/ 40039 h 586620"/>
                  <a:gd name="connsiteX170" fmla="*/ 66961 w 891402"/>
                  <a:gd name="connsiteY170" fmla="*/ 50934 h 586620"/>
                  <a:gd name="connsiteX171" fmla="*/ 76045 w 891402"/>
                  <a:gd name="connsiteY171" fmla="*/ 91522 h 586620"/>
                  <a:gd name="connsiteX172" fmla="*/ 83344 w 891402"/>
                  <a:gd name="connsiteY172" fmla="*/ 101374 h 586620"/>
                  <a:gd name="connsiteX173" fmla="*/ 99344 w 891402"/>
                  <a:gd name="connsiteY173" fmla="*/ 115288 h 586620"/>
                  <a:gd name="connsiteX174" fmla="*/ 106589 w 891402"/>
                  <a:gd name="connsiteY174" fmla="*/ 127610 h 586620"/>
                  <a:gd name="connsiteX175" fmla="*/ 122204 w 891402"/>
                  <a:gd name="connsiteY175" fmla="*/ 144844 h 586620"/>
                  <a:gd name="connsiteX176" fmla="*/ 131040 w 891402"/>
                  <a:gd name="connsiteY176" fmla="*/ 167292 h 586620"/>
                  <a:gd name="connsiteX177" fmla="*/ 144570 w 891402"/>
                  <a:gd name="connsiteY177" fmla="*/ 184279 h 586620"/>
                  <a:gd name="connsiteX178" fmla="*/ 149125 w 891402"/>
                  <a:gd name="connsiteY178" fmla="*/ 187545 h 586620"/>
                  <a:gd name="connsiteX179" fmla="*/ 155657 w 891402"/>
                  <a:gd name="connsiteY179" fmla="*/ 202611 h 586620"/>
                  <a:gd name="connsiteX180" fmla="*/ 159746 w 891402"/>
                  <a:gd name="connsiteY180" fmla="*/ 202748 h 586620"/>
                  <a:gd name="connsiteX181" fmla="*/ 164521 w 891402"/>
                  <a:gd name="connsiteY181" fmla="*/ 207743 h 586620"/>
                  <a:gd name="connsiteX182" fmla="*/ 171519 w 891402"/>
                  <a:gd name="connsiteY182" fmla="*/ 231920 h 586620"/>
                  <a:gd name="connsiteX183" fmla="*/ 187381 w 891402"/>
                  <a:gd name="connsiteY183" fmla="*/ 261257 h 586620"/>
                  <a:gd name="connsiteX184" fmla="*/ 188972 w 891402"/>
                  <a:gd name="connsiteY184" fmla="*/ 273469 h 586620"/>
                  <a:gd name="connsiteX185" fmla="*/ 192293 w 891402"/>
                  <a:gd name="connsiteY185" fmla="*/ 281455 h 586620"/>
                  <a:gd name="connsiteX186" fmla="*/ 196519 w 891402"/>
                  <a:gd name="connsiteY186" fmla="*/ 284638 h 586620"/>
                  <a:gd name="connsiteX187" fmla="*/ 202666 w 891402"/>
                  <a:gd name="connsiteY187" fmla="*/ 283211 h 586620"/>
                  <a:gd name="connsiteX188" fmla="*/ 207688 w 891402"/>
                  <a:gd name="connsiteY188" fmla="*/ 285763 h 586620"/>
                  <a:gd name="connsiteX189" fmla="*/ 214330 w 891402"/>
                  <a:gd name="connsiteY189" fmla="*/ 292075 h 586620"/>
                  <a:gd name="connsiteX190" fmla="*/ 223825 w 891402"/>
                  <a:gd name="connsiteY190" fmla="*/ 306840 h 586620"/>
                  <a:gd name="connsiteX191" fmla="*/ 224895 w 891402"/>
                  <a:gd name="connsiteY191" fmla="*/ 313838 h 586620"/>
                  <a:gd name="connsiteX192" fmla="*/ 222480 w 891402"/>
                  <a:gd name="connsiteY192" fmla="*/ 318777 h 586620"/>
                  <a:gd name="connsiteX193" fmla="*/ 214522 w 891402"/>
                  <a:gd name="connsiteY193" fmla="*/ 324293 h 586620"/>
                  <a:gd name="connsiteX194" fmla="*/ 209582 w 891402"/>
                  <a:gd name="connsiteY194" fmla="*/ 323964 h 586620"/>
                  <a:gd name="connsiteX195" fmla="*/ 196711 w 891402"/>
                  <a:gd name="connsiteY195" fmla="*/ 304041 h 586620"/>
                  <a:gd name="connsiteX196" fmla="*/ 145805 w 891402"/>
                  <a:gd name="connsiteY196" fmla="*/ 262821 h 586620"/>
                  <a:gd name="connsiteX197" fmla="*/ 147726 w 891402"/>
                  <a:gd name="connsiteY197" fmla="*/ 239659 h 586620"/>
                  <a:gd name="connsiteX198" fmla="*/ 144981 w 891402"/>
                  <a:gd name="connsiteY198" fmla="*/ 229203 h 586620"/>
                  <a:gd name="connsiteX199" fmla="*/ 139904 w 891402"/>
                  <a:gd name="connsiteY199" fmla="*/ 221272 h 586620"/>
                  <a:gd name="connsiteX200" fmla="*/ 115123 w 891402"/>
                  <a:gd name="connsiteY200" fmla="*/ 200773 h 586620"/>
                  <a:gd name="connsiteX201" fmla="*/ 102664 w 891402"/>
                  <a:gd name="connsiteY201" fmla="*/ 200251 h 586620"/>
                  <a:gd name="connsiteX202" fmla="*/ 82713 w 891402"/>
                  <a:gd name="connsiteY202" fmla="*/ 188561 h 586620"/>
                  <a:gd name="connsiteX203" fmla="*/ 65589 w 891402"/>
                  <a:gd name="connsiteY203" fmla="*/ 170640 h 586620"/>
                  <a:gd name="connsiteX204" fmla="*/ 67537 w 891402"/>
                  <a:gd name="connsiteY204" fmla="*/ 166881 h 586620"/>
                  <a:gd name="connsiteX205" fmla="*/ 85046 w 891402"/>
                  <a:gd name="connsiteY205" fmla="*/ 166634 h 586620"/>
                  <a:gd name="connsiteX206" fmla="*/ 88696 w 891402"/>
                  <a:gd name="connsiteY206" fmla="*/ 153132 h 586620"/>
                  <a:gd name="connsiteX207" fmla="*/ 87982 w 891402"/>
                  <a:gd name="connsiteY207" fmla="*/ 143746 h 586620"/>
                  <a:gd name="connsiteX208" fmla="*/ 64903 w 891402"/>
                  <a:gd name="connsiteY208" fmla="*/ 116770 h 586620"/>
                  <a:gd name="connsiteX209" fmla="*/ 43058 w 891402"/>
                  <a:gd name="connsiteY209" fmla="*/ 99892 h 586620"/>
                  <a:gd name="connsiteX210" fmla="*/ 30078 w 891402"/>
                  <a:gd name="connsiteY210" fmla="*/ 66933 h 586620"/>
                  <a:gd name="connsiteX211" fmla="*/ 16411 w 891402"/>
                  <a:gd name="connsiteY211" fmla="*/ 43470 h 586620"/>
                  <a:gd name="connsiteX212" fmla="*/ 12734 w 891402"/>
                  <a:gd name="connsiteY212" fmla="*/ 29748 h 586620"/>
                  <a:gd name="connsiteX213" fmla="*/ 0 w 891402"/>
                  <a:gd name="connsiteY213" fmla="*/ 5955 h 586620"/>
                  <a:gd name="connsiteX214" fmla="*/ 68580 w 891402"/>
                  <a:gd name="connsiteY214" fmla="*/ 0 h 586620"/>
                  <a:gd name="connsiteX215" fmla="*/ 68690 w 891402"/>
                  <a:gd name="connsiteY215" fmla="*/ 5708 h 586620"/>
                  <a:gd name="connsiteX216" fmla="*/ 70968 w 891402"/>
                  <a:gd name="connsiteY216" fmla="*/ 8370 h 58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891402" h="586620">
                    <a:moveTo>
                      <a:pt x="71187" y="8287"/>
                    </a:moveTo>
                    <a:lnTo>
                      <a:pt x="179916" y="47531"/>
                    </a:lnTo>
                    <a:lnTo>
                      <a:pt x="260900" y="47531"/>
                    </a:lnTo>
                    <a:cubicBezTo>
                      <a:pt x="260900" y="47531"/>
                      <a:pt x="262355" y="46186"/>
                      <a:pt x="262355" y="46186"/>
                    </a:cubicBezTo>
                    <a:lnTo>
                      <a:pt x="264743" y="32218"/>
                    </a:lnTo>
                    <a:lnTo>
                      <a:pt x="314881" y="33755"/>
                    </a:lnTo>
                    <a:lnTo>
                      <a:pt x="321879" y="42701"/>
                    </a:lnTo>
                    <a:lnTo>
                      <a:pt x="358982" y="73492"/>
                    </a:lnTo>
                    <a:lnTo>
                      <a:pt x="365266" y="85704"/>
                    </a:lnTo>
                    <a:lnTo>
                      <a:pt x="366968" y="96352"/>
                    </a:lnTo>
                    <a:lnTo>
                      <a:pt x="372538" y="106094"/>
                    </a:lnTo>
                    <a:lnTo>
                      <a:pt x="385409" y="115947"/>
                    </a:lnTo>
                    <a:lnTo>
                      <a:pt x="406348" y="126540"/>
                    </a:lnTo>
                    <a:lnTo>
                      <a:pt x="411398" y="126677"/>
                    </a:lnTo>
                    <a:lnTo>
                      <a:pt x="417765" y="120474"/>
                    </a:lnTo>
                    <a:lnTo>
                      <a:pt x="422183" y="108317"/>
                    </a:lnTo>
                    <a:lnTo>
                      <a:pt x="426684" y="101868"/>
                    </a:lnTo>
                    <a:lnTo>
                      <a:pt x="436892" y="97999"/>
                    </a:lnTo>
                    <a:lnTo>
                      <a:pt x="462030" y="101923"/>
                    </a:lnTo>
                    <a:lnTo>
                      <a:pt x="468177" y="109580"/>
                    </a:lnTo>
                    <a:lnTo>
                      <a:pt x="480472" y="119624"/>
                    </a:lnTo>
                    <a:lnTo>
                      <a:pt x="495812" y="151018"/>
                    </a:lnTo>
                    <a:lnTo>
                      <a:pt x="501905" y="156864"/>
                    </a:lnTo>
                    <a:lnTo>
                      <a:pt x="508107" y="166990"/>
                    </a:lnTo>
                    <a:lnTo>
                      <a:pt x="517053" y="174510"/>
                    </a:lnTo>
                    <a:lnTo>
                      <a:pt x="520429" y="192183"/>
                    </a:lnTo>
                    <a:lnTo>
                      <a:pt x="526027" y="200663"/>
                    </a:lnTo>
                    <a:lnTo>
                      <a:pt x="530143" y="212189"/>
                    </a:lnTo>
                    <a:lnTo>
                      <a:pt x="556626" y="224154"/>
                    </a:lnTo>
                    <a:lnTo>
                      <a:pt x="571610" y="225691"/>
                    </a:lnTo>
                    <a:lnTo>
                      <a:pt x="578855" y="230850"/>
                    </a:lnTo>
                    <a:lnTo>
                      <a:pt x="587719" y="227804"/>
                    </a:lnTo>
                    <a:lnTo>
                      <a:pt x="586045" y="237025"/>
                    </a:lnTo>
                    <a:lnTo>
                      <a:pt x="582368" y="245011"/>
                    </a:lnTo>
                    <a:lnTo>
                      <a:pt x="576138" y="249539"/>
                    </a:lnTo>
                    <a:lnTo>
                      <a:pt x="571967" y="256098"/>
                    </a:lnTo>
                    <a:lnTo>
                      <a:pt x="567686" y="342433"/>
                    </a:lnTo>
                    <a:lnTo>
                      <a:pt x="573421" y="361424"/>
                    </a:lnTo>
                    <a:lnTo>
                      <a:pt x="573531" y="367159"/>
                    </a:lnTo>
                    <a:lnTo>
                      <a:pt x="577510" y="372429"/>
                    </a:lnTo>
                    <a:lnTo>
                      <a:pt x="579431" y="368888"/>
                    </a:lnTo>
                    <a:lnTo>
                      <a:pt x="580776" y="369767"/>
                    </a:lnTo>
                    <a:lnTo>
                      <a:pt x="580776" y="380112"/>
                    </a:lnTo>
                    <a:cubicBezTo>
                      <a:pt x="580776" y="380112"/>
                      <a:pt x="586841" y="396139"/>
                      <a:pt x="586841" y="396139"/>
                    </a:cubicBezTo>
                    <a:lnTo>
                      <a:pt x="606380" y="421277"/>
                    </a:lnTo>
                    <a:lnTo>
                      <a:pt x="613762" y="439417"/>
                    </a:lnTo>
                    <a:lnTo>
                      <a:pt x="625563" y="453660"/>
                    </a:lnTo>
                    <a:lnTo>
                      <a:pt x="631463" y="456843"/>
                    </a:lnTo>
                    <a:lnTo>
                      <a:pt x="644334" y="458984"/>
                    </a:lnTo>
                    <a:lnTo>
                      <a:pt x="651798" y="462194"/>
                    </a:lnTo>
                    <a:lnTo>
                      <a:pt x="662007" y="472787"/>
                    </a:lnTo>
                    <a:lnTo>
                      <a:pt x="666096" y="474626"/>
                    </a:lnTo>
                    <a:lnTo>
                      <a:pt x="696256" y="467656"/>
                    </a:lnTo>
                    <a:lnTo>
                      <a:pt x="711350" y="466201"/>
                    </a:lnTo>
                    <a:lnTo>
                      <a:pt x="721202" y="461453"/>
                    </a:lnTo>
                    <a:lnTo>
                      <a:pt x="732700" y="459587"/>
                    </a:lnTo>
                    <a:lnTo>
                      <a:pt x="740329" y="460301"/>
                    </a:lnTo>
                    <a:lnTo>
                      <a:pt x="746504" y="464829"/>
                    </a:lnTo>
                    <a:lnTo>
                      <a:pt x="754106" y="465213"/>
                    </a:lnTo>
                    <a:lnTo>
                      <a:pt x="759951" y="460191"/>
                    </a:lnTo>
                    <a:lnTo>
                      <a:pt x="761378" y="450723"/>
                    </a:lnTo>
                    <a:lnTo>
                      <a:pt x="774523" y="439060"/>
                    </a:lnTo>
                    <a:lnTo>
                      <a:pt x="783360" y="419054"/>
                    </a:lnTo>
                    <a:lnTo>
                      <a:pt x="784540" y="401161"/>
                    </a:lnTo>
                    <a:lnTo>
                      <a:pt x="790413" y="385821"/>
                    </a:lnTo>
                    <a:lnTo>
                      <a:pt x="804793" y="378795"/>
                    </a:lnTo>
                    <a:lnTo>
                      <a:pt x="832949" y="374075"/>
                    </a:lnTo>
                    <a:lnTo>
                      <a:pt x="850760" y="368202"/>
                    </a:lnTo>
                    <a:lnTo>
                      <a:pt x="876748" y="372785"/>
                    </a:lnTo>
                    <a:lnTo>
                      <a:pt x="884734" y="370453"/>
                    </a:lnTo>
                    <a:lnTo>
                      <a:pt x="888713" y="374898"/>
                    </a:lnTo>
                    <a:lnTo>
                      <a:pt x="891403" y="386397"/>
                    </a:lnTo>
                    <a:lnTo>
                      <a:pt x="887451" y="394328"/>
                    </a:lnTo>
                    <a:lnTo>
                      <a:pt x="875184" y="409778"/>
                    </a:lnTo>
                    <a:lnTo>
                      <a:pt x="871973" y="422347"/>
                    </a:lnTo>
                    <a:lnTo>
                      <a:pt x="866787" y="429098"/>
                    </a:lnTo>
                    <a:lnTo>
                      <a:pt x="871122" y="433873"/>
                    </a:lnTo>
                    <a:lnTo>
                      <a:pt x="867802" y="439554"/>
                    </a:lnTo>
                    <a:lnTo>
                      <a:pt x="870299" y="444878"/>
                    </a:lnTo>
                    <a:lnTo>
                      <a:pt x="862478" y="469110"/>
                    </a:lnTo>
                    <a:lnTo>
                      <a:pt x="860639" y="471196"/>
                    </a:lnTo>
                    <a:lnTo>
                      <a:pt x="859048" y="470071"/>
                    </a:lnTo>
                    <a:lnTo>
                      <a:pt x="854300" y="457941"/>
                    </a:lnTo>
                    <a:lnTo>
                      <a:pt x="847384" y="465268"/>
                    </a:lnTo>
                    <a:lnTo>
                      <a:pt x="842170" y="466421"/>
                    </a:lnTo>
                    <a:lnTo>
                      <a:pt x="832538" y="481706"/>
                    </a:lnTo>
                    <a:lnTo>
                      <a:pt x="824826" y="481569"/>
                    </a:lnTo>
                    <a:lnTo>
                      <a:pt x="822960" y="486289"/>
                    </a:lnTo>
                    <a:lnTo>
                      <a:pt x="790577" y="486866"/>
                    </a:lnTo>
                    <a:lnTo>
                      <a:pt x="788958" y="486866"/>
                    </a:lnTo>
                    <a:cubicBezTo>
                      <a:pt x="788958" y="486866"/>
                      <a:pt x="774468" y="487167"/>
                      <a:pt x="774468" y="487167"/>
                    </a:cubicBezTo>
                    <a:lnTo>
                      <a:pt x="770489" y="487250"/>
                    </a:lnTo>
                    <a:lnTo>
                      <a:pt x="767909" y="501602"/>
                    </a:lnTo>
                    <a:lnTo>
                      <a:pt x="758744" y="505143"/>
                    </a:lnTo>
                    <a:lnTo>
                      <a:pt x="766620" y="513732"/>
                    </a:lnTo>
                    <a:lnTo>
                      <a:pt x="774468" y="518919"/>
                    </a:lnTo>
                    <a:lnTo>
                      <a:pt x="776691" y="520428"/>
                    </a:lnTo>
                    <a:lnTo>
                      <a:pt x="783799" y="528552"/>
                    </a:lnTo>
                    <a:lnTo>
                      <a:pt x="785336" y="531653"/>
                    </a:lnTo>
                    <a:lnTo>
                      <a:pt x="784677" y="537361"/>
                    </a:lnTo>
                    <a:lnTo>
                      <a:pt x="779984" y="539666"/>
                    </a:lnTo>
                    <a:lnTo>
                      <a:pt x="774468" y="539858"/>
                    </a:lnTo>
                    <a:lnTo>
                      <a:pt x="746888" y="540709"/>
                    </a:lnTo>
                    <a:lnTo>
                      <a:pt x="734292" y="562965"/>
                    </a:lnTo>
                    <a:lnTo>
                      <a:pt x="736103" y="571500"/>
                    </a:lnTo>
                    <a:lnTo>
                      <a:pt x="732234" y="586621"/>
                    </a:lnTo>
                    <a:lnTo>
                      <a:pt x="706300" y="560577"/>
                    </a:lnTo>
                    <a:lnTo>
                      <a:pt x="681135" y="540105"/>
                    </a:lnTo>
                    <a:lnTo>
                      <a:pt x="668072" y="535467"/>
                    </a:lnTo>
                    <a:lnTo>
                      <a:pt x="649822" y="536620"/>
                    </a:lnTo>
                    <a:lnTo>
                      <a:pt x="630942" y="544661"/>
                    </a:lnTo>
                    <a:lnTo>
                      <a:pt x="607862" y="551027"/>
                    </a:lnTo>
                    <a:lnTo>
                      <a:pt x="570155" y="541944"/>
                    </a:lnTo>
                    <a:lnTo>
                      <a:pt x="548722" y="532586"/>
                    </a:lnTo>
                    <a:lnTo>
                      <a:pt x="537608" y="525560"/>
                    </a:lnTo>
                    <a:lnTo>
                      <a:pt x="514995" y="520072"/>
                    </a:lnTo>
                    <a:lnTo>
                      <a:pt x="501274" y="512580"/>
                    </a:lnTo>
                    <a:lnTo>
                      <a:pt x="475285" y="503276"/>
                    </a:lnTo>
                    <a:lnTo>
                      <a:pt x="446607" y="483188"/>
                    </a:lnTo>
                    <a:lnTo>
                      <a:pt x="434175" y="480883"/>
                    </a:lnTo>
                    <a:lnTo>
                      <a:pt x="405964" y="471553"/>
                    </a:lnTo>
                    <a:lnTo>
                      <a:pt x="386754" y="454208"/>
                    </a:lnTo>
                    <a:lnTo>
                      <a:pt x="357939" y="437798"/>
                    </a:lnTo>
                    <a:lnTo>
                      <a:pt x="344080" y="420399"/>
                    </a:lnTo>
                    <a:lnTo>
                      <a:pt x="339168" y="409696"/>
                    </a:lnTo>
                    <a:lnTo>
                      <a:pt x="340265" y="404482"/>
                    </a:lnTo>
                    <a:lnTo>
                      <a:pt x="346248" y="399131"/>
                    </a:lnTo>
                    <a:lnTo>
                      <a:pt x="345013" y="391858"/>
                    </a:lnTo>
                    <a:lnTo>
                      <a:pt x="348773" y="383900"/>
                    </a:lnTo>
                    <a:lnTo>
                      <a:pt x="349651" y="376874"/>
                    </a:lnTo>
                    <a:lnTo>
                      <a:pt x="340979" y="358487"/>
                    </a:lnTo>
                    <a:lnTo>
                      <a:pt x="343175" y="349514"/>
                    </a:lnTo>
                    <a:lnTo>
                      <a:pt x="335628" y="337576"/>
                    </a:lnTo>
                    <a:lnTo>
                      <a:pt x="315539" y="317268"/>
                    </a:lnTo>
                    <a:lnTo>
                      <a:pt x="297976" y="294244"/>
                    </a:lnTo>
                    <a:lnTo>
                      <a:pt x="281044" y="276461"/>
                    </a:lnTo>
                    <a:lnTo>
                      <a:pt x="271439" y="270094"/>
                    </a:lnTo>
                    <a:lnTo>
                      <a:pt x="267981" y="264139"/>
                    </a:lnTo>
                    <a:lnTo>
                      <a:pt x="264715" y="263260"/>
                    </a:lnTo>
                    <a:lnTo>
                      <a:pt x="264166" y="256646"/>
                    </a:lnTo>
                    <a:lnTo>
                      <a:pt x="258650" y="253848"/>
                    </a:lnTo>
                    <a:lnTo>
                      <a:pt x="253738" y="248468"/>
                    </a:lnTo>
                    <a:lnTo>
                      <a:pt x="239330" y="241608"/>
                    </a:lnTo>
                    <a:lnTo>
                      <a:pt x="233869" y="236943"/>
                    </a:lnTo>
                    <a:lnTo>
                      <a:pt x="230082" y="238287"/>
                    </a:lnTo>
                    <a:lnTo>
                      <a:pt x="230905" y="234500"/>
                    </a:lnTo>
                    <a:lnTo>
                      <a:pt x="228079" y="225554"/>
                    </a:lnTo>
                    <a:lnTo>
                      <a:pt x="231372" y="215071"/>
                    </a:lnTo>
                    <a:lnTo>
                      <a:pt x="229231" y="208978"/>
                    </a:lnTo>
                    <a:lnTo>
                      <a:pt x="224401" y="203929"/>
                    </a:lnTo>
                    <a:lnTo>
                      <a:pt x="216580" y="200690"/>
                    </a:lnTo>
                    <a:lnTo>
                      <a:pt x="209116" y="191360"/>
                    </a:lnTo>
                    <a:lnTo>
                      <a:pt x="197233" y="183786"/>
                    </a:lnTo>
                    <a:lnTo>
                      <a:pt x="193363" y="177720"/>
                    </a:lnTo>
                    <a:lnTo>
                      <a:pt x="190564" y="166524"/>
                    </a:lnTo>
                    <a:lnTo>
                      <a:pt x="175141" y="159306"/>
                    </a:lnTo>
                    <a:lnTo>
                      <a:pt x="151732" y="133867"/>
                    </a:lnTo>
                    <a:lnTo>
                      <a:pt x="145475" y="124399"/>
                    </a:lnTo>
                    <a:lnTo>
                      <a:pt x="141661" y="133318"/>
                    </a:lnTo>
                    <a:lnTo>
                      <a:pt x="136419" y="131479"/>
                    </a:lnTo>
                    <a:lnTo>
                      <a:pt x="137078" y="122478"/>
                    </a:lnTo>
                    <a:lnTo>
                      <a:pt x="141578" y="117319"/>
                    </a:lnTo>
                    <a:lnTo>
                      <a:pt x="130683" y="97148"/>
                    </a:lnTo>
                    <a:lnTo>
                      <a:pt x="120338" y="71379"/>
                    </a:lnTo>
                    <a:lnTo>
                      <a:pt x="116111" y="53486"/>
                    </a:lnTo>
                    <a:lnTo>
                      <a:pt x="97176" y="40615"/>
                    </a:lnTo>
                    <a:lnTo>
                      <a:pt x="87433" y="40451"/>
                    </a:lnTo>
                    <a:lnTo>
                      <a:pt x="75880" y="35539"/>
                    </a:lnTo>
                    <a:lnTo>
                      <a:pt x="71516" y="35730"/>
                    </a:lnTo>
                    <a:lnTo>
                      <a:pt x="68580" y="40039"/>
                    </a:lnTo>
                    <a:lnTo>
                      <a:pt x="66961" y="50934"/>
                    </a:lnTo>
                    <a:lnTo>
                      <a:pt x="76045" y="91522"/>
                    </a:lnTo>
                    <a:lnTo>
                      <a:pt x="83344" y="101374"/>
                    </a:lnTo>
                    <a:lnTo>
                      <a:pt x="99344" y="115288"/>
                    </a:lnTo>
                    <a:lnTo>
                      <a:pt x="106589" y="127610"/>
                    </a:lnTo>
                    <a:lnTo>
                      <a:pt x="122204" y="144844"/>
                    </a:lnTo>
                    <a:lnTo>
                      <a:pt x="131040" y="167292"/>
                    </a:lnTo>
                    <a:lnTo>
                      <a:pt x="144570" y="184279"/>
                    </a:lnTo>
                    <a:lnTo>
                      <a:pt x="149125" y="187545"/>
                    </a:lnTo>
                    <a:lnTo>
                      <a:pt x="155657" y="202611"/>
                    </a:lnTo>
                    <a:lnTo>
                      <a:pt x="159746" y="202748"/>
                    </a:lnTo>
                    <a:lnTo>
                      <a:pt x="164521" y="207743"/>
                    </a:lnTo>
                    <a:lnTo>
                      <a:pt x="171519" y="231920"/>
                    </a:lnTo>
                    <a:lnTo>
                      <a:pt x="187381" y="261257"/>
                    </a:lnTo>
                    <a:lnTo>
                      <a:pt x="188972" y="273469"/>
                    </a:lnTo>
                    <a:lnTo>
                      <a:pt x="192293" y="281455"/>
                    </a:lnTo>
                    <a:lnTo>
                      <a:pt x="196519" y="284638"/>
                    </a:lnTo>
                    <a:lnTo>
                      <a:pt x="202666" y="283211"/>
                    </a:lnTo>
                    <a:lnTo>
                      <a:pt x="207688" y="285763"/>
                    </a:lnTo>
                    <a:lnTo>
                      <a:pt x="214330" y="292075"/>
                    </a:lnTo>
                    <a:lnTo>
                      <a:pt x="223825" y="306840"/>
                    </a:lnTo>
                    <a:lnTo>
                      <a:pt x="224895" y="313838"/>
                    </a:lnTo>
                    <a:lnTo>
                      <a:pt x="222480" y="318777"/>
                    </a:lnTo>
                    <a:lnTo>
                      <a:pt x="214522" y="324293"/>
                    </a:lnTo>
                    <a:lnTo>
                      <a:pt x="209582" y="323964"/>
                    </a:lnTo>
                    <a:lnTo>
                      <a:pt x="196711" y="304041"/>
                    </a:lnTo>
                    <a:lnTo>
                      <a:pt x="145805" y="262821"/>
                    </a:lnTo>
                    <a:lnTo>
                      <a:pt x="147726" y="239659"/>
                    </a:lnTo>
                    <a:lnTo>
                      <a:pt x="144981" y="229203"/>
                    </a:lnTo>
                    <a:lnTo>
                      <a:pt x="139904" y="221272"/>
                    </a:lnTo>
                    <a:lnTo>
                      <a:pt x="115123" y="200773"/>
                    </a:lnTo>
                    <a:lnTo>
                      <a:pt x="102664" y="200251"/>
                    </a:lnTo>
                    <a:lnTo>
                      <a:pt x="82713" y="188561"/>
                    </a:lnTo>
                    <a:lnTo>
                      <a:pt x="65589" y="170640"/>
                    </a:lnTo>
                    <a:lnTo>
                      <a:pt x="67537" y="166881"/>
                    </a:lnTo>
                    <a:lnTo>
                      <a:pt x="85046" y="166634"/>
                    </a:lnTo>
                    <a:lnTo>
                      <a:pt x="88696" y="153132"/>
                    </a:lnTo>
                    <a:lnTo>
                      <a:pt x="87982" y="143746"/>
                    </a:lnTo>
                    <a:lnTo>
                      <a:pt x="64903" y="116770"/>
                    </a:lnTo>
                    <a:lnTo>
                      <a:pt x="43058" y="99892"/>
                    </a:lnTo>
                    <a:lnTo>
                      <a:pt x="30078" y="66933"/>
                    </a:lnTo>
                    <a:lnTo>
                      <a:pt x="16411" y="43470"/>
                    </a:lnTo>
                    <a:lnTo>
                      <a:pt x="12734" y="29748"/>
                    </a:lnTo>
                    <a:lnTo>
                      <a:pt x="0" y="5955"/>
                    </a:lnTo>
                    <a:lnTo>
                      <a:pt x="68580" y="0"/>
                    </a:lnTo>
                    <a:lnTo>
                      <a:pt x="68690" y="5708"/>
                    </a:lnTo>
                    <a:lnTo>
                      <a:pt x="70968" y="83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49" name="Freeform: Shape 4148">
                <a:extLst>
                  <a:ext uri="{FF2B5EF4-FFF2-40B4-BE49-F238E27FC236}">
                    <a16:creationId xmlns:a16="http://schemas.microsoft.com/office/drawing/2014/main" id="{B6AE809B-6CEC-1058-7310-7C86E448D74C}"/>
                  </a:ext>
                </a:extLst>
              </p:cNvPr>
              <p:cNvSpPr/>
              <p:nvPr/>
            </p:nvSpPr>
            <p:spPr>
              <a:xfrm>
                <a:off x="1672514" y="3823839"/>
                <a:ext cx="12843" cy="16687"/>
              </a:xfrm>
              <a:custGeom>
                <a:avLst/>
                <a:gdLst>
                  <a:gd name="connsiteX0" fmla="*/ 26071 w 123136"/>
                  <a:gd name="connsiteY0" fmla="*/ 26208 h 159992"/>
                  <a:gd name="connsiteX1" fmla="*/ 30380 w 123136"/>
                  <a:gd name="connsiteY1" fmla="*/ 31614 h 159992"/>
                  <a:gd name="connsiteX2" fmla="*/ 34523 w 123136"/>
                  <a:gd name="connsiteY2" fmla="*/ 26921 h 159992"/>
                  <a:gd name="connsiteX3" fmla="*/ 42509 w 123136"/>
                  <a:gd name="connsiteY3" fmla="*/ 23464 h 159992"/>
                  <a:gd name="connsiteX4" fmla="*/ 46818 w 123136"/>
                  <a:gd name="connsiteY4" fmla="*/ 27114 h 159992"/>
                  <a:gd name="connsiteX5" fmla="*/ 50412 w 123136"/>
                  <a:gd name="connsiteY5" fmla="*/ 27306 h 159992"/>
                  <a:gd name="connsiteX6" fmla="*/ 57356 w 123136"/>
                  <a:gd name="connsiteY6" fmla="*/ 17728 h 159992"/>
                  <a:gd name="connsiteX7" fmla="*/ 58069 w 123136"/>
                  <a:gd name="connsiteY7" fmla="*/ 13749 h 159992"/>
                  <a:gd name="connsiteX8" fmla="*/ 65506 w 123136"/>
                  <a:gd name="connsiteY8" fmla="*/ 16273 h 159992"/>
                  <a:gd name="connsiteX9" fmla="*/ 70776 w 123136"/>
                  <a:gd name="connsiteY9" fmla="*/ 24891 h 159992"/>
                  <a:gd name="connsiteX10" fmla="*/ 86171 w 123136"/>
                  <a:gd name="connsiteY10" fmla="*/ 36993 h 159992"/>
                  <a:gd name="connsiteX11" fmla="*/ 90837 w 123136"/>
                  <a:gd name="connsiteY11" fmla="*/ 43799 h 159992"/>
                  <a:gd name="connsiteX12" fmla="*/ 97395 w 123136"/>
                  <a:gd name="connsiteY12" fmla="*/ 56341 h 159992"/>
                  <a:gd name="connsiteX13" fmla="*/ 99316 w 123136"/>
                  <a:gd name="connsiteY13" fmla="*/ 70281 h 159992"/>
                  <a:gd name="connsiteX14" fmla="*/ 95007 w 123136"/>
                  <a:gd name="connsiteY14" fmla="*/ 87598 h 159992"/>
                  <a:gd name="connsiteX15" fmla="*/ 98438 w 123136"/>
                  <a:gd name="connsiteY15" fmla="*/ 94541 h 159992"/>
                  <a:gd name="connsiteX16" fmla="*/ 97724 w 123136"/>
                  <a:gd name="connsiteY16" fmla="*/ 110403 h 159992"/>
                  <a:gd name="connsiteX17" fmla="*/ 100442 w 123136"/>
                  <a:gd name="connsiteY17" fmla="*/ 115974 h 159992"/>
                  <a:gd name="connsiteX18" fmla="*/ 108043 w 123136"/>
                  <a:gd name="connsiteY18" fmla="*/ 121216 h 159992"/>
                  <a:gd name="connsiteX19" fmla="*/ 122066 w 123136"/>
                  <a:gd name="connsiteY19" fmla="*/ 150388 h 159992"/>
                  <a:gd name="connsiteX20" fmla="*/ 121929 w 123136"/>
                  <a:gd name="connsiteY20" fmla="*/ 150689 h 159992"/>
                  <a:gd name="connsiteX21" fmla="*/ 122094 w 123136"/>
                  <a:gd name="connsiteY21" fmla="*/ 151128 h 159992"/>
                  <a:gd name="connsiteX22" fmla="*/ 121956 w 123136"/>
                  <a:gd name="connsiteY22" fmla="*/ 151760 h 159992"/>
                  <a:gd name="connsiteX23" fmla="*/ 122039 w 123136"/>
                  <a:gd name="connsiteY23" fmla="*/ 152007 h 159992"/>
                  <a:gd name="connsiteX24" fmla="*/ 122560 w 123136"/>
                  <a:gd name="connsiteY24" fmla="*/ 152528 h 159992"/>
                  <a:gd name="connsiteX25" fmla="*/ 122725 w 123136"/>
                  <a:gd name="connsiteY25" fmla="*/ 152967 h 159992"/>
                  <a:gd name="connsiteX26" fmla="*/ 122725 w 123136"/>
                  <a:gd name="connsiteY26" fmla="*/ 153132 h 159992"/>
                  <a:gd name="connsiteX27" fmla="*/ 122725 w 123136"/>
                  <a:gd name="connsiteY27" fmla="*/ 153296 h 159992"/>
                  <a:gd name="connsiteX28" fmla="*/ 122450 w 123136"/>
                  <a:gd name="connsiteY28" fmla="*/ 153598 h 159992"/>
                  <a:gd name="connsiteX29" fmla="*/ 122450 w 123136"/>
                  <a:gd name="connsiteY29" fmla="*/ 154147 h 159992"/>
                  <a:gd name="connsiteX30" fmla="*/ 122725 w 123136"/>
                  <a:gd name="connsiteY30" fmla="*/ 154724 h 159992"/>
                  <a:gd name="connsiteX31" fmla="*/ 123082 w 123136"/>
                  <a:gd name="connsiteY31" fmla="*/ 155217 h 159992"/>
                  <a:gd name="connsiteX32" fmla="*/ 123136 w 123136"/>
                  <a:gd name="connsiteY32" fmla="*/ 155492 h 159992"/>
                  <a:gd name="connsiteX33" fmla="*/ 123136 w 123136"/>
                  <a:gd name="connsiteY33" fmla="*/ 155602 h 159992"/>
                  <a:gd name="connsiteX34" fmla="*/ 122917 w 123136"/>
                  <a:gd name="connsiteY34" fmla="*/ 155547 h 159992"/>
                  <a:gd name="connsiteX35" fmla="*/ 122725 w 123136"/>
                  <a:gd name="connsiteY35" fmla="*/ 155602 h 159992"/>
                  <a:gd name="connsiteX36" fmla="*/ 122533 w 123136"/>
                  <a:gd name="connsiteY36" fmla="*/ 156013 h 159992"/>
                  <a:gd name="connsiteX37" fmla="*/ 122533 w 123136"/>
                  <a:gd name="connsiteY37" fmla="*/ 156315 h 159992"/>
                  <a:gd name="connsiteX38" fmla="*/ 122725 w 123136"/>
                  <a:gd name="connsiteY38" fmla="*/ 157221 h 159992"/>
                  <a:gd name="connsiteX39" fmla="*/ 122670 w 123136"/>
                  <a:gd name="connsiteY39" fmla="*/ 157550 h 159992"/>
                  <a:gd name="connsiteX40" fmla="*/ 122176 w 123136"/>
                  <a:gd name="connsiteY40" fmla="*/ 157770 h 159992"/>
                  <a:gd name="connsiteX41" fmla="*/ 122094 w 123136"/>
                  <a:gd name="connsiteY41" fmla="*/ 157770 h 159992"/>
                  <a:gd name="connsiteX42" fmla="*/ 121764 w 123136"/>
                  <a:gd name="connsiteY42" fmla="*/ 157550 h 159992"/>
                  <a:gd name="connsiteX43" fmla="*/ 121600 w 123136"/>
                  <a:gd name="connsiteY43" fmla="*/ 157550 h 159992"/>
                  <a:gd name="connsiteX44" fmla="*/ 121051 w 123136"/>
                  <a:gd name="connsiteY44" fmla="*/ 158099 h 159992"/>
                  <a:gd name="connsiteX45" fmla="*/ 120749 w 123136"/>
                  <a:gd name="connsiteY45" fmla="*/ 158181 h 159992"/>
                  <a:gd name="connsiteX46" fmla="*/ 120310 w 123136"/>
                  <a:gd name="connsiteY46" fmla="*/ 158456 h 159992"/>
                  <a:gd name="connsiteX47" fmla="*/ 119843 w 123136"/>
                  <a:gd name="connsiteY47" fmla="*/ 158209 h 159992"/>
                  <a:gd name="connsiteX48" fmla="*/ 119267 w 123136"/>
                  <a:gd name="connsiteY48" fmla="*/ 158346 h 159992"/>
                  <a:gd name="connsiteX49" fmla="*/ 118856 w 123136"/>
                  <a:gd name="connsiteY49" fmla="*/ 158264 h 159992"/>
                  <a:gd name="connsiteX50" fmla="*/ 118361 w 123136"/>
                  <a:gd name="connsiteY50" fmla="*/ 158318 h 159992"/>
                  <a:gd name="connsiteX51" fmla="*/ 117950 w 123136"/>
                  <a:gd name="connsiteY51" fmla="*/ 157880 h 159992"/>
                  <a:gd name="connsiteX52" fmla="*/ 117017 w 123136"/>
                  <a:gd name="connsiteY52" fmla="*/ 157578 h 159992"/>
                  <a:gd name="connsiteX53" fmla="*/ 117017 w 123136"/>
                  <a:gd name="connsiteY53" fmla="*/ 157330 h 159992"/>
                  <a:gd name="connsiteX54" fmla="*/ 117593 w 123136"/>
                  <a:gd name="connsiteY54" fmla="*/ 156864 h 159992"/>
                  <a:gd name="connsiteX55" fmla="*/ 117593 w 123136"/>
                  <a:gd name="connsiteY55" fmla="*/ 156562 h 159992"/>
                  <a:gd name="connsiteX56" fmla="*/ 116880 w 123136"/>
                  <a:gd name="connsiteY56" fmla="*/ 155629 h 159992"/>
                  <a:gd name="connsiteX57" fmla="*/ 116166 w 123136"/>
                  <a:gd name="connsiteY57" fmla="*/ 155217 h 159992"/>
                  <a:gd name="connsiteX58" fmla="*/ 116166 w 123136"/>
                  <a:gd name="connsiteY58" fmla="*/ 154943 h 159992"/>
                  <a:gd name="connsiteX59" fmla="*/ 115837 w 123136"/>
                  <a:gd name="connsiteY59" fmla="*/ 154943 h 159992"/>
                  <a:gd name="connsiteX60" fmla="*/ 115535 w 123136"/>
                  <a:gd name="connsiteY60" fmla="*/ 154751 h 159992"/>
                  <a:gd name="connsiteX61" fmla="*/ 115535 w 123136"/>
                  <a:gd name="connsiteY61" fmla="*/ 154586 h 159992"/>
                  <a:gd name="connsiteX62" fmla="*/ 115974 w 123136"/>
                  <a:gd name="connsiteY62" fmla="*/ 154120 h 159992"/>
                  <a:gd name="connsiteX63" fmla="*/ 116056 w 123136"/>
                  <a:gd name="connsiteY63" fmla="*/ 153845 h 159992"/>
                  <a:gd name="connsiteX64" fmla="*/ 115919 w 123136"/>
                  <a:gd name="connsiteY64" fmla="*/ 153598 h 159992"/>
                  <a:gd name="connsiteX65" fmla="*/ 115508 w 123136"/>
                  <a:gd name="connsiteY65" fmla="*/ 153516 h 159992"/>
                  <a:gd name="connsiteX66" fmla="*/ 115398 w 123136"/>
                  <a:gd name="connsiteY66" fmla="*/ 153379 h 159992"/>
                  <a:gd name="connsiteX67" fmla="*/ 115261 w 123136"/>
                  <a:gd name="connsiteY67" fmla="*/ 153296 h 159992"/>
                  <a:gd name="connsiteX68" fmla="*/ 115096 w 123136"/>
                  <a:gd name="connsiteY68" fmla="*/ 153241 h 159992"/>
                  <a:gd name="connsiteX69" fmla="*/ 114931 w 123136"/>
                  <a:gd name="connsiteY69" fmla="*/ 153241 h 159992"/>
                  <a:gd name="connsiteX70" fmla="*/ 114767 w 123136"/>
                  <a:gd name="connsiteY70" fmla="*/ 153324 h 159992"/>
                  <a:gd name="connsiteX71" fmla="*/ 114657 w 123136"/>
                  <a:gd name="connsiteY71" fmla="*/ 153434 h 159992"/>
                  <a:gd name="connsiteX72" fmla="*/ 114574 w 123136"/>
                  <a:gd name="connsiteY72" fmla="*/ 153571 h 159992"/>
                  <a:gd name="connsiteX73" fmla="*/ 114519 w 123136"/>
                  <a:gd name="connsiteY73" fmla="*/ 153736 h 159992"/>
                  <a:gd name="connsiteX74" fmla="*/ 114465 w 123136"/>
                  <a:gd name="connsiteY74" fmla="*/ 154065 h 159992"/>
                  <a:gd name="connsiteX75" fmla="*/ 114574 w 123136"/>
                  <a:gd name="connsiteY75" fmla="*/ 154614 h 159992"/>
                  <a:gd name="connsiteX76" fmla="*/ 114492 w 123136"/>
                  <a:gd name="connsiteY76" fmla="*/ 155108 h 159992"/>
                  <a:gd name="connsiteX77" fmla="*/ 114081 w 123136"/>
                  <a:gd name="connsiteY77" fmla="*/ 155547 h 159992"/>
                  <a:gd name="connsiteX78" fmla="*/ 113696 w 123136"/>
                  <a:gd name="connsiteY78" fmla="*/ 155629 h 159992"/>
                  <a:gd name="connsiteX79" fmla="*/ 113422 w 123136"/>
                  <a:gd name="connsiteY79" fmla="*/ 155519 h 159992"/>
                  <a:gd name="connsiteX80" fmla="*/ 113175 w 123136"/>
                  <a:gd name="connsiteY80" fmla="*/ 155794 h 159992"/>
                  <a:gd name="connsiteX81" fmla="*/ 112077 w 123136"/>
                  <a:gd name="connsiteY81" fmla="*/ 155547 h 159992"/>
                  <a:gd name="connsiteX82" fmla="*/ 111364 w 123136"/>
                  <a:gd name="connsiteY82" fmla="*/ 155547 h 159992"/>
                  <a:gd name="connsiteX83" fmla="*/ 110842 w 123136"/>
                  <a:gd name="connsiteY83" fmla="*/ 155327 h 159992"/>
                  <a:gd name="connsiteX84" fmla="*/ 110211 w 123136"/>
                  <a:gd name="connsiteY84" fmla="*/ 154531 h 159992"/>
                  <a:gd name="connsiteX85" fmla="*/ 109113 w 123136"/>
                  <a:gd name="connsiteY85" fmla="*/ 154147 h 159992"/>
                  <a:gd name="connsiteX86" fmla="*/ 108235 w 123136"/>
                  <a:gd name="connsiteY86" fmla="*/ 154147 h 159992"/>
                  <a:gd name="connsiteX87" fmla="*/ 107357 w 123136"/>
                  <a:gd name="connsiteY87" fmla="*/ 154915 h 159992"/>
                  <a:gd name="connsiteX88" fmla="*/ 107137 w 123136"/>
                  <a:gd name="connsiteY88" fmla="*/ 154998 h 159992"/>
                  <a:gd name="connsiteX89" fmla="*/ 106479 w 123136"/>
                  <a:gd name="connsiteY89" fmla="*/ 154861 h 159992"/>
                  <a:gd name="connsiteX90" fmla="*/ 105984 w 123136"/>
                  <a:gd name="connsiteY90" fmla="*/ 154531 h 159992"/>
                  <a:gd name="connsiteX91" fmla="*/ 105683 w 123136"/>
                  <a:gd name="connsiteY91" fmla="*/ 154531 h 159992"/>
                  <a:gd name="connsiteX92" fmla="*/ 105381 w 123136"/>
                  <a:gd name="connsiteY92" fmla="*/ 154833 h 159992"/>
                  <a:gd name="connsiteX93" fmla="*/ 105052 w 123136"/>
                  <a:gd name="connsiteY93" fmla="*/ 154833 h 159992"/>
                  <a:gd name="connsiteX94" fmla="*/ 105052 w 123136"/>
                  <a:gd name="connsiteY94" fmla="*/ 155190 h 159992"/>
                  <a:gd name="connsiteX95" fmla="*/ 104531 w 123136"/>
                  <a:gd name="connsiteY95" fmla="*/ 155574 h 159992"/>
                  <a:gd name="connsiteX96" fmla="*/ 104311 w 123136"/>
                  <a:gd name="connsiteY96" fmla="*/ 156041 h 159992"/>
                  <a:gd name="connsiteX97" fmla="*/ 103926 w 123136"/>
                  <a:gd name="connsiteY97" fmla="*/ 156535 h 159992"/>
                  <a:gd name="connsiteX98" fmla="*/ 103735 w 123136"/>
                  <a:gd name="connsiteY98" fmla="*/ 157056 h 159992"/>
                  <a:gd name="connsiteX99" fmla="*/ 103405 w 123136"/>
                  <a:gd name="connsiteY99" fmla="*/ 157166 h 159992"/>
                  <a:gd name="connsiteX100" fmla="*/ 103323 w 123136"/>
                  <a:gd name="connsiteY100" fmla="*/ 157550 h 159992"/>
                  <a:gd name="connsiteX101" fmla="*/ 102636 w 123136"/>
                  <a:gd name="connsiteY101" fmla="*/ 158154 h 159992"/>
                  <a:gd name="connsiteX102" fmla="*/ 102115 w 123136"/>
                  <a:gd name="connsiteY102" fmla="*/ 158209 h 159992"/>
                  <a:gd name="connsiteX103" fmla="*/ 101045 w 123136"/>
                  <a:gd name="connsiteY103" fmla="*/ 157989 h 159992"/>
                  <a:gd name="connsiteX104" fmla="*/ 100825 w 123136"/>
                  <a:gd name="connsiteY104" fmla="*/ 158071 h 159992"/>
                  <a:gd name="connsiteX105" fmla="*/ 100743 w 123136"/>
                  <a:gd name="connsiteY105" fmla="*/ 158703 h 159992"/>
                  <a:gd name="connsiteX106" fmla="*/ 99975 w 123136"/>
                  <a:gd name="connsiteY106" fmla="*/ 159471 h 159992"/>
                  <a:gd name="connsiteX107" fmla="*/ 99975 w 123136"/>
                  <a:gd name="connsiteY107" fmla="*/ 159608 h 159992"/>
                  <a:gd name="connsiteX108" fmla="*/ 99892 w 123136"/>
                  <a:gd name="connsiteY108" fmla="*/ 159773 h 159992"/>
                  <a:gd name="connsiteX109" fmla="*/ 99782 w 123136"/>
                  <a:gd name="connsiteY109" fmla="*/ 159883 h 159992"/>
                  <a:gd name="connsiteX110" fmla="*/ 99646 w 123136"/>
                  <a:gd name="connsiteY110" fmla="*/ 159993 h 159992"/>
                  <a:gd name="connsiteX111" fmla="*/ 99481 w 123136"/>
                  <a:gd name="connsiteY111" fmla="*/ 159993 h 159992"/>
                  <a:gd name="connsiteX112" fmla="*/ 99316 w 123136"/>
                  <a:gd name="connsiteY112" fmla="*/ 159993 h 159992"/>
                  <a:gd name="connsiteX113" fmla="*/ 99151 w 123136"/>
                  <a:gd name="connsiteY113" fmla="*/ 159910 h 159992"/>
                  <a:gd name="connsiteX114" fmla="*/ 99014 w 123136"/>
                  <a:gd name="connsiteY114" fmla="*/ 159800 h 159992"/>
                  <a:gd name="connsiteX115" fmla="*/ 98657 w 123136"/>
                  <a:gd name="connsiteY115" fmla="*/ 159389 h 159992"/>
                  <a:gd name="connsiteX116" fmla="*/ 97697 w 123136"/>
                  <a:gd name="connsiteY116" fmla="*/ 158675 h 159992"/>
                  <a:gd name="connsiteX117" fmla="*/ 96956 w 123136"/>
                  <a:gd name="connsiteY117" fmla="*/ 156727 h 159992"/>
                  <a:gd name="connsiteX118" fmla="*/ 96627 w 123136"/>
                  <a:gd name="connsiteY118" fmla="*/ 155300 h 159992"/>
                  <a:gd name="connsiteX119" fmla="*/ 95858 w 123136"/>
                  <a:gd name="connsiteY119" fmla="*/ 153351 h 159992"/>
                  <a:gd name="connsiteX120" fmla="*/ 95584 w 123136"/>
                  <a:gd name="connsiteY120" fmla="*/ 152857 h 159992"/>
                  <a:gd name="connsiteX121" fmla="*/ 94541 w 123136"/>
                  <a:gd name="connsiteY121" fmla="*/ 151869 h 159992"/>
                  <a:gd name="connsiteX122" fmla="*/ 93141 w 123136"/>
                  <a:gd name="connsiteY122" fmla="*/ 151101 h 159992"/>
                  <a:gd name="connsiteX123" fmla="*/ 92730 w 123136"/>
                  <a:gd name="connsiteY123" fmla="*/ 150689 h 159992"/>
                  <a:gd name="connsiteX124" fmla="*/ 92318 w 123136"/>
                  <a:gd name="connsiteY124" fmla="*/ 150744 h 159992"/>
                  <a:gd name="connsiteX125" fmla="*/ 91604 w 123136"/>
                  <a:gd name="connsiteY125" fmla="*/ 150497 h 159992"/>
                  <a:gd name="connsiteX126" fmla="*/ 90672 w 123136"/>
                  <a:gd name="connsiteY126" fmla="*/ 150497 h 159992"/>
                  <a:gd name="connsiteX127" fmla="*/ 90672 w 123136"/>
                  <a:gd name="connsiteY127" fmla="*/ 150058 h 159992"/>
                  <a:gd name="connsiteX128" fmla="*/ 90479 w 123136"/>
                  <a:gd name="connsiteY128" fmla="*/ 149976 h 159992"/>
                  <a:gd name="connsiteX129" fmla="*/ 75715 w 123136"/>
                  <a:gd name="connsiteY129" fmla="*/ 142429 h 159992"/>
                  <a:gd name="connsiteX130" fmla="*/ 70638 w 123136"/>
                  <a:gd name="connsiteY130" fmla="*/ 136831 h 159992"/>
                  <a:gd name="connsiteX131" fmla="*/ 60155 w 123136"/>
                  <a:gd name="connsiteY131" fmla="*/ 132220 h 159992"/>
                  <a:gd name="connsiteX132" fmla="*/ 51538 w 123136"/>
                  <a:gd name="connsiteY132" fmla="*/ 126485 h 159992"/>
                  <a:gd name="connsiteX133" fmla="*/ 48629 w 123136"/>
                  <a:gd name="connsiteY133" fmla="*/ 121984 h 159992"/>
                  <a:gd name="connsiteX134" fmla="*/ 40972 w 123136"/>
                  <a:gd name="connsiteY134" fmla="*/ 118883 h 159992"/>
                  <a:gd name="connsiteX135" fmla="*/ 34029 w 123136"/>
                  <a:gd name="connsiteY135" fmla="*/ 113367 h 159992"/>
                  <a:gd name="connsiteX136" fmla="*/ 32629 w 123136"/>
                  <a:gd name="connsiteY136" fmla="*/ 109690 h 159992"/>
                  <a:gd name="connsiteX137" fmla="*/ 35429 w 123136"/>
                  <a:gd name="connsiteY137" fmla="*/ 106753 h 159992"/>
                  <a:gd name="connsiteX138" fmla="*/ 34633 w 123136"/>
                  <a:gd name="connsiteY138" fmla="*/ 102582 h 159992"/>
                  <a:gd name="connsiteX139" fmla="*/ 26592 w 123136"/>
                  <a:gd name="connsiteY139" fmla="*/ 91248 h 159992"/>
                  <a:gd name="connsiteX140" fmla="*/ 17948 w 123136"/>
                  <a:gd name="connsiteY140" fmla="*/ 83482 h 159992"/>
                  <a:gd name="connsiteX141" fmla="*/ 18551 w 123136"/>
                  <a:gd name="connsiteY141" fmla="*/ 77691 h 159992"/>
                  <a:gd name="connsiteX142" fmla="*/ 13447 w 123136"/>
                  <a:gd name="connsiteY142" fmla="*/ 73986 h 159992"/>
                  <a:gd name="connsiteX143" fmla="*/ 13228 w 123136"/>
                  <a:gd name="connsiteY143" fmla="*/ 70364 h 159992"/>
                  <a:gd name="connsiteX144" fmla="*/ 14846 w 123136"/>
                  <a:gd name="connsiteY144" fmla="*/ 65424 h 159992"/>
                  <a:gd name="connsiteX145" fmla="*/ 13776 w 123136"/>
                  <a:gd name="connsiteY145" fmla="*/ 58097 h 159992"/>
                  <a:gd name="connsiteX146" fmla="*/ 7547 w 123136"/>
                  <a:gd name="connsiteY146" fmla="*/ 48382 h 159992"/>
                  <a:gd name="connsiteX147" fmla="*/ 8809 w 123136"/>
                  <a:gd name="connsiteY147" fmla="*/ 44348 h 159992"/>
                  <a:gd name="connsiteX148" fmla="*/ 6751 w 123136"/>
                  <a:gd name="connsiteY148" fmla="*/ 22366 h 159992"/>
                  <a:gd name="connsiteX149" fmla="*/ 0 w 123136"/>
                  <a:gd name="connsiteY149" fmla="*/ 8480 h 159992"/>
                  <a:gd name="connsiteX150" fmla="*/ 1976 w 123136"/>
                  <a:gd name="connsiteY150" fmla="*/ 851 h 159992"/>
                  <a:gd name="connsiteX151" fmla="*/ 3814 w 123136"/>
                  <a:gd name="connsiteY151" fmla="*/ 0 h 159992"/>
                  <a:gd name="connsiteX152" fmla="*/ 7409 w 123136"/>
                  <a:gd name="connsiteY152" fmla="*/ 4693 h 159992"/>
                  <a:gd name="connsiteX153" fmla="*/ 19320 w 123136"/>
                  <a:gd name="connsiteY153" fmla="*/ 7492 h 159992"/>
                  <a:gd name="connsiteX154" fmla="*/ 22037 w 123136"/>
                  <a:gd name="connsiteY154" fmla="*/ 13310 h 159992"/>
                  <a:gd name="connsiteX155" fmla="*/ 28623 w 123136"/>
                  <a:gd name="connsiteY155" fmla="*/ 13913 h 159992"/>
                  <a:gd name="connsiteX156" fmla="*/ 29254 w 123136"/>
                  <a:gd name="connsiteY156" fmla="*/ 21351 h 159992"/>
                  <a:gd name="connsiteX157" fmla="*/ 25906 w 123136"/>
                  <a:gd name="connsiteY157" fmla="*/ 26290 h 15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23136" h="159992">
                    <a:moveTo>
                      <a:pt x="26071" y="26208"/>
                    </a:moveTo>
                    <a:lnTo>
                      <a:pt x="30380" y="31614"/>
                    </a:lnTo>
                    <a:lnTo>
                      <a:pt x="34523" y="26921"/>
                    </a:lnTo>
                    <a:lnTo>
                      <a:pt x="42509" y="23464"/>
                    </a:lnTo>
                    <a:lnTo>
                      <a:pt x="46818" y="27114"/>
                    </a:lnTo>
                    <a:lnTo>
                      <a:pt x="50412" y="27306"/>
                    </a:lnTo>
                    <a:lnTo>
                      <a:pt x="57356" y="17728"/>
                    </a:lnTo>
                    <a:lnTo>
                      <a:pt x="58069" y="13749"/>
                    </a:lnTo>
                    <a:lnTo>
                      <a:pt x="65506" y="16273"/>
                    </a:lnTo>
                    <a:lnTo>
                      <a:pt x="70776" y="24891"/>
                    </a:lnTo>
                    <a:lnTo>
                      <a:pt x="86171" y="36993"/>
                    </a:lnTo>
                    <a:lnTo>
                      <a:pt x="90837" y="43799"/>
                    </a:lnTo>
                    <a:lnTo>
                      <a:pt x="97395" y="56341"/>
                    </a:lnTo>
                    <a:lnTo>
                      <a:pt x="99316" y="70281"/>
                    </a:lnTo>
                    <a:lnTo>
                      <a:pt x="95007" y="87598"/>
                    </a:lnTo>
                    <a:lnTo>
                      <a:pt x="98438" y="94541"/>
                    </a:lnTo>
                    <a:lnTo>
                      <a:pt x="97724" y="110403"/>
                    </a:lnTo>
                    <a:lnTo>
                      <a:pt x="100442" y="115974"/>
                    </a:lnTo>
                    <a:lnTo>
                      <a:pt x="108043" y="121216"/>
                    </a:lnTo>
                    <a:lnTo>
                      <a:pt x="122066" y="150388"/>
                    </a:lnTo>
                    <a:lnTo>
                      <a:pt x="121929" y="150689"/>
                    </a:lnTo>
                    <a:lnTo>
                      <a:pt x="122094" y="151128"/>
                    </a:lnTo>
                    <a:lnTo>
                      <a:pt x="121956" y="151760"/>
                    </a:lnTo>
                    <a:lnTo>
                      <a:pt x="122039" y="152007"/>
                    </a:lnTo>
                    <a:lnTo>
                      <a:pt x="122560" y="152528"/>
                    </a:lnTo>
                    <a:lnTo>
                      <a:pt x="122725" y="152967"/>
                    </a:lnTo>
                    <a:lnTo>
                      <a:pt x="122725" y="153132"/>
                    </a:lnTo>
                    <a:cubicBezTo>
                      <a:pt x="122725" y="153132"/>
                      <a:pt x="122725" y="153296"/>
                      <a:pt x="122725" y="153296"/>
                    </a:cubicBezTo>
                    <a:lnTo>
                      <a:pt x="122450" y="153598"/>
                    </a:lnTo>
                    <a:lnTo>
                      <a:pt x="122450" y="154147"/>
                    </a:lnTo>
                    <a:cubicBezTo>
                      <a:pt x="122450" y="154147"/>
                      <a:pt x="122725" y="154724"/>
                      <a:pt x="122725" y="154724"/>
                    </a:cubicBezTo>
                    <a:lnTo>
                      <a:pt x="123082" y="155217"/>
                    </a:lnTo>
                    <a:lnTo>
                      <a:pt x="123136" y="155492"/>
                    </a:lnTo>
                    <a:lnTo>
                      <a:pt x="123136" y="155602"/>
                    </a:lnTo>
                    <a:cubicBezTo>
                      <a:pt x="123136" y="155602"/>
                      <a:pt x="122917" y="155547"/>
                      <a:pt x="122917" y="155547"/>
                    </a:cubicBezTo>
                    <a:lnTo>
                      <a:pt x="122725" y="155602"/>
                    </a:lnTo>
                    <a:lnTo>
                      <a:pt x="122533" y="156013"/>
                    </a:lnTo>
                    <a:lnTo>
                      <a:pt x="122533" y="156315"/>
                    </a:lnTo>
                    <a:cubicBezTo>
                      <a:pt x="122533" y="156315"/>
                      <a:pt x="122725" y="157221"/>
                      <a:pt x="122725" y="157221"/>
                    </a:cubicBezTo>
                    <a:lnTo>
                      <a:pt x="122670" y="157550"/>
                    </a:lnTo>
                    <a:lnTo>
                      <a:pt x="122176" y="157770"/>
                    </a:lnTo>
                    <a:lnTo>
                      <a:pt x="122094" y="157770"/>
                    </a:lnTo>
                    <a:cubicBezTo>
                      <a:pt x="122094" y="157770"/>
                      <a:pt x="121764" y="157550"/>
                      <a:pt x="121764" y="157550"/>
                    </a:cubicBezTo>
                    <a:lnTo>
                      <a:pt x="121600" y="157550"/>
                    </a:lnTo>
                    <a:cubicBezTo>
                      <a:pt x="121600" y="157550"/>
                      <a:pt x="121051" y="158099"/>
                      <a:pt x="121051" y="158099"/>
                    </a:cubicBezTo>
                    <a:lnTo>
                      <a:pt x="120749" y="158181"/>
                    </a:lnTo>
                    <a:lnTo>
                      <a:pt x="120310" y="158456"/>
                    </a:lnTo>
                    <a:lnTo>
                      <a:pt x="119843" y="158209"/>
                    </a:lnTo>
                    <a:lnTo>
                      <a:pt x="119267" y="158346"/>
                    </a:lnTo>
                    <a:lnTo>
                      <a:pt x="118856" y="158264"/>
                    </a:lnTo>
                    <a:lnTo>
                      <a:pt x="118361" y="158318"/>
                    </a:lnTo>
                    <a:lnTo>
                      <a:pt x="117950" y="157880"/>
                    </a:lnTo>
                    <a:lnTo>
                      <a:pt x="117017" y="157578"/>
                    </a:lnTo>
                    <a:lnTo>
                      <a:pt x="117017" y="157330"/>
                    </a:lnTo>
                    <a:cubicBezTo>
                      <a:pt x="117017" y="157330"/>
                      <a:pt x="117593" y="156864"/>
                      <a:pt x="117593" y="156864"/>
                    </a:cubicBezTo>
                    <a:lnTo>
                      <a:pt x="117593" y="156562"/>
                    </a:lnTo>
                    <a:cubicBezTo>
                      <a:pt x="117593" y="156562"/>
                      <a:pt x="116880" y="155629"/>
                      <a:pt x="116880" y="155629"/>
                    </a:cubicBezTo>
                    <a:lnTo>
                      <a:pt x="116166" y="155217"/>
                    </a:lnTo>
                    <a:lnTo>
                      <a:pt x="116166" y="154943"/>
                    </a:lnTo>
                    <a:lnTo>
                      <a:pt x="115837" y="154943"/>
                    </a:lnTo>
                    <a:cubicBezTo>
                      <a:pt x="115837" y="154943"/>
                      <a:pt x="115535" y="154751"/>
                      <a:pt x="115535" y="154751"/>
                    </a:cubicBezTo>
                    <a:lnTo>
                      <a:pt x="115535" y="154586"/>
                    </a:lnTo>
                    <a:lnTo>
                      <a:pt x="115974" y="154120"/>
                    </a:lnTo>
                    <a:lnTo>
                      <a:pt x="116056" y="153845"/>
                    </a:lnTo>
                    <a:lnTo>
                      <a:pt x="115919" y="153598"/>
                    </a:lnTo>
                    <a:lnTo>
                      <a:pt x="115508" y="153516"/>
                    </a:lnTo>
                    <a:lnTo>
                      <a:pt x="115398" y="153379"/>
                    </a:lnTo>
                    <a:lnTo>
                      <a:pt x="115261" y="153296"/>
                    </a:lnTo>
                    <a:lnTo>
                      <a:pt x="115096" y="153241"/>
                    </a:lnTo>
                    <a:lnTo>
                      <a:pt x="114931" y="153241"/>
                    </a:lnTo>
                    <a:cubicBezTo>
                      <a:pt x="114931" y="153241"/>
                      <a:pt x="114767" y="153324"/>
                      <a:pt x="114767" y="153324"/>
                    </a:cubicBezTo>
                    <a:lnTo>
                      <a:pt x="114657" y="153434"/>
                    </a:lnTo>
                    <a:lnTo>
                      <a:pt x="114574" y="153571"/>
                    </a:lnTo>
                    <a:lnTo>
                      <a:pt x="114519" y="153736"/>
                    </a:lnTo>
                    <a:lnTo>
                      <a:pt x="114465" y="154065"/>
                    </a:lnTo>
                    <a:lnTo>
                      <a:pt x="114574" y="154614"/>
                    </a:lnTo>
                    <a:lnTo>
                      <a:pt x="114492" y="155108"/>
                    </a:lnTo>
                    <a:lnTo>
                      <a:pt x="114081" y="155547"/>
                    </a:lnTo>
                    <a:lnTo>
                      <a:pt x="113696" y="155629"/>
                    </a:lnTo>
                    <a:lnTo>
                      <a:pt x="113422" y="155519"/>
                    </a:lnTo>
                    <a:lnTo>
                      <a:pt x="113175" y="155794"/>
                    </a:lnTo>
                    <a:lnTo>
                      <a:pt x="112077" y="155547"/>
                    </a:lnTo>
                    <a:lnTo>
                      <a:pt x="111364" y="155547"/>
                    </a:lnTo>
                    <a:lnTo>
                      <a:pt x="110842" y="155327"/>
                    </a:lnTo>
                    <a:lnTo>
                      <a:pt x="110211" y="154531"/>
                    </a:lnTo>
                    <a:lnTo>
                      <a:pt x="109113" y="154147"/>
                    </a:lnTo>
                    <a:lnTo>
                      <a:pt x="108235" y="154147"/>
                    </a:lnTo>
                    <a:cubicBezTo>
                      <a:pt x="108235" y="154147"/>
                      <a:pt x="107357" y="154915"/>
                      <a:pt x="107357" y="154915"/>
                    </a:cubicBezTo>
                    <a:lnTo>
                      <a:pt x="107137" y="154998"/>
                    </a:lnTo>
                    <a:lnTo>
                      <a:pt x="106479" y="154861"/>
                    </a:lnTo>
                    <a:lnTo>
                      <a:pt x="105984" y="154531"/>
                    </a:lnTo>
                    <a:lnTo>
                      <a:pt x="105683" y="154531"/>
                    </a:lnTo>
                    <a:lnTo>
                      <a:pt x="105381" y="154833"/>
                    </a:lnTo>
                    <a:lnTo>
                      <a:pt x="105052" y="154833"/>
                    </a:lnTo>
                    <a:lnTo>
                      <a:pt x="105052" y="155190"/>
                    </a:lnTo>
                    <a:lnTo>
                      <a:pt x="104531" y="155574"/>
                    </a:lnTo>
                    <a:lnTo>
                      <a:pt x="104311" y="156041"/>
                    </a:lnTo>
                    <a:lnTo>
                      <a:pt x="103926" y="156535"/>
                    </a:lnTo>
                    <a:lnTo>
                      <a:pt x="103735" y="157056"/>
                    </a:lnTo>
                    <a:lnTo>
                      <a:pt x="103405" y="157166"/>
                    </a:lnTo>
                    <a:lnTo>
                      <a:pt x="103323" y="157550"/>
                    </a:lnTo>
                    <a:lnTo>
                      <a:pt x="102636" y="158154"/>
                    </a:lnTo>
                    <a:lnTo>
                      <a:pt x="102115" y="158209"/>
                    </a:lnTo>
                    <a:lnTo>
                      <a:pt x="101045" y="157989"/>
                    </a:lnTo>
                    <a:lnTo>
                      <a:pt x="100825" y="158071"/>
                    </a:lnTo>
                    <a:lnTo>
                      <a:pt x="100743" y="158703"/>
                    </a:lnTo>
                    <a:lnTo>
                      <a:pt x="99975" y="159471"/>
                    </a:lnTo>
                    <a:lnTo>
                      <a:pt x="99975" y="159608"/>
                    </a:lnTo>
                    <a:cubicBezTo>
                      <a:pt x="99975" y="159608"/>
                      <a:pt x="99892" y="159773"/>
                      <a:pt x="99892" y="159773"/>
                    </a:cubicBezTo>
                    <a:lnTo>
                      <a:pt x="99782" y="159883"/>
                    </a:lnTo>
                    <a:lnTo>
                      <a:pt x="99646" y="159993"/>
                    </a:lnTo>
                    <a:lnTo>
                      <a:pt x="99481" y="159993"/>
                    </a:lnTo>
                    <a:cubicBezTo>
                      <a:pt x="99481" y="159993"/>
                      <a:pt x="99316" y="159993"/>
                      <a:pt x="99316" y="159993"/>
                    </a:cubicBezTo>
                    <a:lnTo>
                      <a:pt x="99151" y="159910"/>
                    </a:lnTo>
                    <a:lnTo>
                      <a:pt x="99014" y="159800"/>
                    </a:lnTo>
                    <a:lnTo>
                      <a:pt x="98657" y="159389"/>
                    </a:lnTo>
                    <a:lnTo>
                      <a:pt x="97697" y="158675"/>
                    </a:lnTo>
                    <a:lnTo>
                      <a:pt x="96956" y="156727"/>
                    </a:lnTo>
                    <a:lnTo>
                      <a:pt x="96627" y="155300"/>
                    </a:lnTo>
                    <a:lnTo>
                      <a:pt x="95858" y="153351"/>
                    </a:lnTo>
                    <a:lnTo>
                      <a:pt x="95584" y="152857"/>
                    </a:lnTo>
                    <a:lnTo>
                      <a:pt x="94541" y="151869"/>
                    </a:lnTo>
                    <a:lnTo>
                      <a:pt x="93141" y="151101"/>
                    </a:lnTo>
                    <a:lnTo>
                      <a:pt x="92730" y="150689"/>
                    </a:lnTo>
                    <a:lnTo>
                      <a:pt x="92318" y="150744"/>
                    </a:lnTo>
                    <a:lnTo>
                      <a:pt x="91604" y="150497"/>
                    </a:lnTo>
                    <a:lnTo>
                      <a:pt x="90672" y="150497"/>
                    </a:lnTo>
                    <a:lnTo>
                      <a:pt x="90672" y="150058"/>
                    </a:lnTo>
                    <a:lnTo>
                      <a:pt x="90479" y="149976"/>
                    </a:lnTo>
                    <a:lnTo>
                      <a:pt x="75715" y="142429"/>
                    </a:lnTo>
                    <a:lnTo>
                      <a:pt x="70638" y="136831"/>
                    </a:lnTo>
                    <a:lnTo>
                      <a:pt x="60155" y="132220"/>
                    </a:lnTo>
                    <a:lnTo>
                      <a:pt x="51538" y="126485"/>
                    </a:lnTo>
                    <a:lnTo>
                      <a:pt x="48629" y="121984"/>
                    </a:lnTo>
                    <a:lnTo>
                      <a:pt x="40972" y="118883"/>
                    </a:lnTo>
                    <a:lnTo>
                      <a:pt x="34029" y="113367"/>
                    </a:lnTo>
                    <a:lnTo>
                      <a:pt x="32629" y="109690"/>
                    </a:lnTo>
                    <a:lnTo>
                      <a:pt x="35429" y="106753"/>
                    </a:lnTo>
                    <a:lnTo>
                      <a:pt x="34633" y="102582"/>
                    </a:lnTo>
                    <a:lnTo>
                      <a:pt x="26592" y="91248"/>
                    </a:lnTo>
                    <a:lnTo>
                      <a:pt x="17948" y="83482"/>
                    </a:lnTo>
                    <a:lnTo>
                      <a:pt x="18551" y="77691"/>
                    </a:lnTo>
                    <a:lnTo>
                      <a:pt x="13447" y="73986"/>
                    </a:lnTo>
                    <a:lnTo>
                      <a:pt x="13228" y="70364"/>
                    </a:lnTo>
                    <a:lnTo>
                      <a:pt x="14846" y="65424"/>
                    </a:lnTo>
                    <a:lnTo>
                      <a:pt x="13776" y="58097"/>
                    </a:lnTo>
                    <a:lnTo>
                      <a:pt x="7547" y="48382"/>
                    </a:lnTo>
                    <a:lnTo>
                      <a:pt x="8809" y="44348"/>
                    </a:lnTo>
                    <a:lnTo>
                      <a:pt x="6751" y="22366"/>
                    </a:lnTo>
                    <a:lnTo>
                      <a:pt x="0" y="8480"/>
                    </a:lnTo>
                    <a:lnTo>
                      <a:pt x="1976" y="851"/>
                    </a:lnTo>
                    <a:lnTo>
                      <a:pt x="3814" y="0"/>
                    </a:lnTo>
                    <a:lnTo>
                      <a:pt x="7409" y="4693"/>
                    </a:lnTo>
                    <a:lnTo>
                      <a:pt x="19320" y="7492"/>
                    </a:lnTo>
                    <a:lnTo>
                      <a:pt x="22037" y="13310"/>
                    </a:lnTo>
                    <a:lnTo>
                      <a:pt x="28623" y="13913"/>
                    </a:lnTo>
                    <a:lnTo>
                      <a:pt x="29254" y="21351"/>
                    </a:lnTo>
                    <a:lnTo>
                      <a:pt x="25906" y="262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0" name="Freeform: Shape 4149">
                <a:extLst>
                  <a:ext uri="{FF2B5EF4-FFF2-40B4-BE49-F238E27FC236}">
                    <a16:creationId xmlns:a16="http://schemas.microsoft.com/office/drawing/2014/main" id="{F948E46F-FD49-FD4F-F9BC-D2B91E8658C2}"/>
                  </a:ext>
                </a:extLst>
              </p:cNvPr>
              <p:cNvSpPr/>
              <p:nvPr/>
            </p:nvSpPr>
            <p:spPr>
              <a:xfrm>
                <a:off x="1671069" y="3824678"/>
                <a:ext cx="842" cy="515"/>
              </a:xfrm>
              <a:custGeom>
                <a:avLst/>
                <a:gdLst>
                  <a:gd name="connsiteX0" fmla="*/ 7767 w 8068"/>
                  <a:gd name="connsiteY0" fmla="*/ 3074 h 4939"/>
                  <a:gd name="connsiteX1" fmla="*/ 6422 w 8068"/>
                  <a:gd name="connsiteY1" fmla="*/ 4007 h 4939"/>
                  <a:gd name="connsiteX2" fmla="*/ 4857 w 8068"/>
                  <a:gd name="connsiteY2" fmla="*/ 3430 h 4939"/>
                  <a:gd name="connsiteX3" fmla="*/ 2552 w 8068"/>
                  <a:gd name="connsiteY3" fmla="*/ 4940 h 4939"/>
                  <a:gd name="connsiteX4" fmla="*/ 1948 w 8068"/>
                  <a:gd name="connsiteY4" fmla="*/ 2196 h 4939"/>
                  <a:gd name="connsiteX5" fmla="*/ 494 w 8068"/>
                  <a:gd name="connsiteY5" fmla="*/ 2113 h 4939"/>
                  <a:gd name="connsiteX6" fmla="*/ 0 w 8068"/>
                  <a:gd name="connsiteY6" fmla="*/ 467 h 4939"/>
                  <a:gd name="connsiteX7" fmla="*/ 1564 w 8068"/>
                  <a:gd name="connsiteY7" fmla="*/ 0 h 4939"/>
                  <a:gd name="connsiteX8" fmla="*/ 8068 w 8068"/>
                  <a:gd name="connsiteY8" fmla="*/ 82 h 4939"/>
                  <a:gd name="connsiteX9" fmla="*/ 7767 w 8068"/>
                  <a:gd name="connsiteY9" fmla="*/ 3046 h 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8" h="4939">
                    <a:moveTo>
                      <a:pt x="7767" y="3074"/>
                    </a:moveTo>
                    <a:lnTo>
                      <a:pt x="6422" y="4007"/>
                    </a:lnTo>
                    <a:lnTo>
                      <a:pt x="4857" y="3430"/>
                    </a:lnTo>
                    <a:lnTo>
                      <a:pt x="2552" y="4940"/>
                    </a:lnTo>
                    <a:lnTo>
                      <a:pt x="1948" y="2196"/>
                    </a:lnTo>
                    <a:lnTo>
                      <a:pt x="494" y="2113"/>
                    </a:lnTo>
                    <a:lnTo>
                      <a:pt x="0" y="467"/>
                    </a:lnTo>
                    <a:lnTo>
                      <a:pt x="1564" y="0"/>
                    </a:lnTo>
                    <a:lnTo>
                      <a:pt x="8068" y="82"/>
                    </a:lnTo>
                    <a:lnTo>
                      <a:pt x="7767"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1" name="Freeform: Shape 4150">
                <a:extLst>
                  <a:ext uri="{FF2B5EF4-FFF2-40B4-BE49-F238E27FC236}">
                    <a16:creationId xmlns:a16="http://schemas.microsoft.com/office/drawing/2014/main" id="{6E1674A6-C046-8530-CE08-B8D5588315C3}"/>
                  </a:ext>
                </a:extLst>
              </p:cNvPr>
              <p:cNvSpPr/>
              <p:nvPr/>
            </p:nvSpPr>
            <p:spPr>
              <a:xfrm>
                <a:off x="1672700" y="3827626"/>
                <a:ext cx="524" cy="615"/>
              </a:xfrm>
              <a:custGeom>
                <a:avLst/>
                <a:gdLst>
                  <a:gd name="connsiteX0" fmla="*/ 5022 w 5022"/>
                  <a:gd name="connsiteY0" fmla="*/ 1784 h 5900"/>
                  <a:gd name="connsiteX1" fmla="*/ 2662 w 5022"/>
                  <a:gd name="connsiteY1" fmla="*/ 5900 h 5900"/>
                  <a:gd name="connsiteX2" fmla="*/ 576 w 5022"/>
                  <a:gd name="connsiteY2" fmla="*/ 5406 h 5900"/>
                  <a:gd name="connsiteX3" fmla="*/ 0 w 5022"/>
                  <a:gd name="connsiteY3" fmla="*/ 302 h 5900"/>
                  <a:gd name="connsiteX4" fmla="*/ 2333 w 5022"/>
                  <a:gd name="connsiteY4" fmla="*/ 0 h 5900"/>
                  <a:gd name="connsiteX5" fmla="*/ 5022 w 5022"/>
                  <a:gd name="connsiteY5" fmla="*/ 1784 h 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2" h="5900">
                    <a:moveTo>
                      <a:pt x="5022" y="1784"/>
                    </a:moveTo>
                    <a:lnTo>
                      <a:pt x="2662" y="5900"/>
                    </a:lnTo>
                    <a:lnTo>
                      <a:pt x="576" y="5406"/>
                    </a:lnTo>
                    <a:lnTo>
                      <a:pt x="0" y="302"/>
                    </a:lnTo>
                    <a:lnTo>
                      <a:pt x="2333" y="0"/>
                    </a:lnTo>
                    <a:lnTo>
                      <a:pt x="5022"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2" name="Freeform: Shape 4151">
                <a:extLst>
                  <a:ext uri="{FF2B5EF4-FFF2-40B4-BE49-F238E27FC236}">
                    <a16:creationId xmlns:a16="http://schemas.microsoft.com/office/drawing/2014/main" id="{2975B95B-B040-BC53-788F-339F4C863981}"/>
                  </a:ext>
                </a:extLst>
              </p:cNvPr>
              <p:cNvSpPr/>
              <p:nvPr/>
            </p:nvSpPr>
            <p:spPr>
              <a:xfrm>
                <a:off x="1684796" y="3835658"/>
                <a:ext cx="335" cy="472"/>
              </a:xfrm>
              <a:custGeom>
                <a:avLst/>
                <a:gdLst>
                  <a:gd name="connsiteX0" fmla="*/ 2964 w 3211"/>
                  <a:gd name="connsiteY0" fmla="*/ 4391 h 4527"/>
                  <a:gd name="connsiteX1" fmla="*/ 1482 w 3211"/>
                  <a:gd name="connsiteY1" fmla="*/ 4528 h 4527"/>
                  <a:gd name="connsiteX2" fmla="*/ 0 w 3211"/>
                  <a:gd name="connsiteY2" fmla="*/ 2497 h 4527"/>
                  <a:gd name="connsiteX3" fmla="*/ 1345 w 3211"/>
                  <a:gd name="connsiteY3" fmla="*/ 0 h 4527"/>
                  <a:gd name="connsiteX4" fmla="*/ 2305 w 3211"/>
                  <a:gd name="connsiteY4" fmla="*/ 82 h 4527"/>
                  <a:gd name="connsiteX5" fmla="*/ 3211 w 3211"/>
                  <a:gd name="connsiteY5" fmla="*/ 2607 h 4527"/>
                  <a:gd name="connsiteX6" fmla="*/ 2937 w 3211"/>
                  <a:gd name="connsiteY6" fmla="*/ 4418 h 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1" h="4527">
                    <a:moveTo>
                      <a:pt x="2964" y="4391"/>
                    </a:moveTo>
                    <a:lnTo>
                      <a:pt x="1482" y="4528"/>
                    </a:lnTo>
                    <a:lnTo>
                      <a:pt x="0" y="2497"/>
                    </a:lnTo>
                    <a:lnTo>
                      <a:pt x="1345" y="0"/>
                    </a:lnTo>
                    <a:lnTo>
                      <a:pt x="2305" y="82"/>
                    </a:lnTo>
                    <a:lnTo>
                      <a:pt x="3211" y="2607"/>
                    </a:lnTo>
                    <a:lnTo>
                      <a:pt x="2937" y="44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3" name="Freeform: Shape 4152">
                <a:extLst>
                  <a:ext uri="{FF2B5EF4-FFF2-40B4-BE49-F238E27FC236}">
                    <a16:creationId xmlns:a16="http://schemas.microsoft.com/office/drawing/2014/main" id="{7BC31F33-ABAA-CF94-4CA2-EFC7422F67E8}"/>
                  </a:ext>
                </a:extLst>
              </p:cNvPr>
              <p:cNvSpPr/>
              <p:nvPr/>
            </p:nvSpPr>
            <p:spPr>
              <a:xfrm>
                <a:off x="1671369" y="3825167"/>
                <a:ext cx="361" cy="429"/>
              </a:xfrm>
              <a:custGeom>
                <a:avLst/>
                <a:gdLst>
                  <a:gd name="connsiteX0" fmla="*/ 3430 w 3457"/>
                  <a:gd name="connsiteY0" fmla="*/ 1756 h 4116"/>
                  <a:gd name="connsiteX1" fmla="*/ 2278 w 3457"/>
                  <a:gd name="connsiteY1" fmla="*/ 4116 h 4116"/>
                  <a:gd name="connsiteX2" fmla="*/ 0 w 3457"/>
                  <a:gd name="connsiteY2" fmla="*/ 1647 h 4116"/>
                  <a:gd name="connsiteX3" fmla="*/ 1838 w 3457"/>
                  <a:gd name="connsiteY3" fmla="*/ 0 h 4116"/>
                  <a:gd name="connsiteX4" fmla="*/ 3458 w 3457"/>
                  <a:gd name="connsiteY4" fmla="*/ 1756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4116">
                    <a:moveTo>
                      <a:pt x="3430" y="1756"/>
                    </a:moveTo>
                    <a:lnTo>
                      <a:pt x="2278" y="4116"/>
                    </a:lnTo>
                    <a:lnTo>
                      <a:pt x="0" y="1647"/>
                    </a:lnTo>
                    <a:lnTo>
                      <a:pt x="1838" y="0"/>
                    </a:lnTo>
                    <a:lnTo>
                      <a:pt x="3458" y="17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4" name="Freeform: Shape 4153">
                <a:extLst>
                  <a:ext uri="{FF2B5EF4-FFF2-40B4-BE49-F238E27FC236}">
                    <a16:creationId xmlns:a16="http://schemas.microsoft.com/office/drawing/2014/main" id="{2444C5B1-ADF9-8A3E-1B2A-FE1A52F3F685}"/>
                  </a:ext>
                </a:extLst>
              </p:cNvPr>
              <p:cNvSpPr/>
              <p:nvPr/>
            </p:nvSpPr>
            <p:spPr>
              <a:xfrm>
                <a:off x="1718649" y="3827935"/>
                <a:ext cx="349" cy="355"/>
              </a:xfrm>
              <a:custGeom>
                <a:avLst/>
                <a:gdLst>
                  <a:gd name="connsiteX0" fmla="*/ 3348 w 3347"/>
                  <a:gd name="connsiteY0" fmla="*/ 2086 h 3403"/>
                  <a:gd name="connsiteX1" fmla="*/ 1866 w 3347"/>
                  <a:gd name="connsiteY1" fmla="*/ 3403 h 3403"/>
                  <a:gd name="connsiteX2" fmla="*/ 0 w 3347"/>
                  <a:gd name="connsiteY2" fmla="*/ 2635 h 3403"/>
                  <a:gd name="connsiteX3" fmla="*/ 1043 w 3347"/>
                  <a:gd name="connsiteY3" fmla="*/ 494 h 3403"/>
                  <a:gd name="connsiteX4" fmla="*/ 2607 w 3347"/>
                  <a:gd name="connsiteY4" fmla="*/ 0 h 3403"/>
                  <a:gd name="connsiteX5" fmla="*/ 3348 w 3347"/>
                  <a:gd name="connsiteY5" fmla="*/ 2086 h 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7" h="3403">
                    <a:moveTo>
                      <a:pt x="3348" y="2086"/>
                    </a:moveTo>
                    <a:lnTo>
                      <a:pt x="1866" y="3403"/>
                    </a:lnTo>
                    <a:lnTo>
                      <a:pt x="0" y="2635"/>
                    </a:lnTo>
                    <a:lnTo>
                      <a:pt x="1043" y="494"/>
                    </a:lnTo>
                    <a:lnTo>
                      <a:pt x="2607" y="0"/>
                    </a:lnTo>
                    <a:lnTo>
                      <a:pt x="3348" y="20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5" name="Freeform: Shape 4154">
                <a:extLst>
                  <a:ext uri="{FF2B5EF4-FFF2-40B4-BE49-F238E27FC236}">
                    <a16:creationId xmlns:a16="http://schemas.microsoft.com/office/drawing/2014/main" id="{DD55CECC-014A-9D11-C041-DB5CB07AD387}"/>
                  </a:ext>
                </a:extLst>
              </p:cNvPr>
              <p:cNvSpPr/>
              <p:nvPr/>
            </p:nvSpPr>
            <p:spPr>
              <a:xfrm>
                <a:off x="1458137" y="3876870"/>
                <a:ext cx="32499" cy="53168"/>
              </a:xfrm>
              <a:custGeom>
                <a:avLst/>
                <a:gdLst>
                  <a:gd name="connsiteX0" fmla="*/ 299403 w 311587"/>
                  <a:gd name="connsiteY0" fmla="*/ 24451 h 509753"/>
                  <a:gd name="connsiteX1" fmla="*/ 302559 w 311587"/>
                  <a:gd name="connsiteY1" fmla="*/ 45473 h 509753"/>
                  <a:gd name="connsiteX2" fmla="*/ 302010 w 311587"/>
                  <a:gd name="connsiteY2" fmla="*/ 58371 h 509753"/>
                  <a:gd name="connsiteX3" fmla="*/ 304672 w 311587"/>
                  <a:gd name="connsiteY3" fmla="*/ 67153 h 509753"/>
                  <a:gd name="connsiteX4" fmla="*/ 300144 w 311587"/>
                  <a:gd name="connsiteY4" fmla="*/ 73931 h 509753"/>
                  <a:gd name="connsiteX5" fmla="*/ 303684 w 311587"/>
                  <a:gd name="connsiteY5" fmla="*/ 75989 h 509753"/>
                  <a:gd name="connsiteX6" fmla="*/ 303163 w 311587"/>
                  <a:gd name="connsiteY6" fmla="*/ 89985 h 509753"/>
                  <a:gd name="connsiteX7" fmla="*/ 305413 w 311587"/>
                  <a:gd name="connsiteY7" fmla="*/ 105738 h 509753"/>
                  <a:gd name="connsiteX8" fmla="*/ 304041 w 311587"/>
                  <a:gd name="connsiteY8" fmla="*/ 110376 h 509753"/>
                  <a:gd name="connsiteX9" fmla="*/ 307965 w 311587"/>
                  <a:gd name="connsiteY9" fmla="*/ 112406 h 509753"/>
                  <a:gd name="connsiteX10" fmla="*/ 307361 w 311587"/>
                  <a:gd name="connsiteY10" fmla="*/ 117511 h 509753"/>
                  <a:gd name="connsiteX11" fmla="*/ 310572 w 311587"/>
                  <a:gd name="connsiteY11" fmla="*/ 118746 h 509753"/>
                  <a:gd name="connsiteX12" fmla="*/ 311588 w 311587"/>
                  <a:gd name="connsiteY12" fmla="*/ 122313 h 509753"/>
                  <a:gd name="connsiteX13" fmla="*/ 311066 w 311587"/>
                  <a:gd name="connsiteY13" fmla="*/ 130189 h 509753"/>
                  <a:gd name="connsiteX14" fmla="*/ 303958 w 311587"/>
                  <a:gd name="connsiteY14" fmla="*/ 139987 h 509753"/>
                  <a:gd name="connsiteX15" fmla="*/ 306263 w 311587"/>
                  <a:gd name="connsiteY15" fmla="*/ 143636 h 509753"/>
                  <a:gd name="connsiteX16" fmla="*/ 304425 w 311587"/>
                  <a:gd name="connsiteY16" fmla="*/ 148521 h 509753"/>
                  <a:gd name="connsiteX17" fmla="*/ 292158 w 311587"/>
                  <a:gd name="connsiteY17" fmla="*/ 163972 h 509753"/>
                  <a:gd name="connsiteX18" fmla="*/ 283129 w 311587"/>
                  <a:gd name="connsiteY18" fmla="*/ 179148 h 509753"/>
                  <a:gd name="connsiteX19" fmla="*/ 267267 w 311587"/>
                  <a:gd name="connsiteY19" fmla="*/ 189411 h 509753"/>
                  <a:gd name="connsiteX20" fmla="*/ 259391 w 311587"/>
                  <a:gd name="connsiteY20" fmla="*/ 196656 h 509753"/>
                  <a:gd name="connsiteX21" fmla="*/ 240730 w 311587"/>
                  <a:gd name="connsiteY21" fmla="*/ 201953 h 509753"/>
                  <a:gd name="connsiteX22" fmla="*/ 208567 w 311587"/>
                  <a:gd name="connsiteY22" fmla="*/ 217760 h 509753"/>
                  <a:gd name="connsiteX23" fmla="*/ 200361 w 311587"/>
                  <a:gd name="connsiteY23" fmla="*/ 225252 h 509753"/>
                  <a:gd name="connsiteX24" fmla="*/ 179010 w 311587"/>
                  <a:gd name="connsiteY24" fmla="*/ 253189 h 509753"/>
                  <a:gd name="connsiteX25" fmla="*/ 162929 w 311587"/>
                  <a:gd name="connsiteY25" fmla="*/ 260461 h 509753"/>
                  <a:gd name="connsiteX26" fmla="*/ 145338 w 311587"/>
                  <a:gd name="connsiteY26" fmla="*/ 278738 h 509753"/>
                  <a:gd name="connsiteX27" fmla="*/ 133702 w 311587"/>
                  <a:gd name="connsiteY27" fmla="*/ 286779 h 509753"/>
                  <a:gd name="connsiteX28" fmla="*/ 131150 w 311587"/>
                  <a:gd name="connsiteY28" fmla="*/ 304041 h 509753"/>
                  <a:gd name="connsiteX29" fmla="*/ 138669 w 311587"/>
                  <a:gd name="connsiteY29" fmla="*/ 310901 h 509753"/>
                  <a:gd name="connsiteX30" fmla="*/ 142566 w 311587"/>
                  <a:gd name="connsiteY30" fmla="*/ 318009 h 509753"/>
                  <a:gd name="connsiteX31" fmla="*/ 142566 w 311587"/>
                  <a:gd name="connsiteY31" fmla="*/ 326763 h 509753"/>
                  <a:gd name="connsiteX32" fmla="*/ 147835 w 311587"/>
                  <a:gd name="connsiteY32" fmla="*/ 341583 h 509753"/>
                  <a:gd name="connsiteX33" fmla="*/ 150250 w 311587"/>
                  <a:gd name="connsiteY33" fmla="*/ 356868 h 509753"/>
                  <a:gd name="connsiteX34" fmla="*/ 151375 w 311587"/>
                  <a:gd name="connsiteY34" fmla="*/ 358240 h 509753"/>
                  <a:gd name="connsiteX35" fmla="*/ 154367 w 311587"/>
                  <a:gd name="connsiteY35" fmla="*/ 357307 h 509753"/>
                  <a:gd name="connsiteX36" fmla="*/ 155519 w 311587"/>
                  <a:gd name="connsiteY36" fmla="*/ 359091 h 509753"/>
                  <a:gd name="connsiteX37" fmla="*/ 155299 w 311587"/>
                  <a:gd name="connsiteY37" fmla="*/ 375420 h 509753"/>
                  <a:gd name="connsiteX38" fmla="*/ 157084 w 311587"/>
                  <a:gd name="connsiteY38" fmla="*/ 383433 h 509753"/>
                  <a:gd name="connsiteX39" fmla="*/ 150936 w 311587"/>
                  <a:gd name="connsiteY39" fmla="*/ 411151 h 509753"/>
                  <a:gd name="connsiteX40" fmla="*/ 155272 w 311587"/>
                  <a:gd name="connsiteY40" fmla="*/ 411480 h 509753"/>
                  <a:gd name="connsiteX41" fmla="*/ 155547 w 311587"/>
                  <a:gd name="connsiteY41" fmla="*/ 413840 h 509753"/>
                  <a:gd name="connsiteX42" fmla="*/ 151760 w 311587"/>
                  <a:gd name="connsiteY42" fmla="*/ 425009 h 509753"/>
                  <a:gd name="connsiteX43" fmla="*/ 142731 w 311587"/>
                  <a:gd name="connsiteY43" fmla="*/ 436288 h 509753"/>
                  <a:gd name="connsiteX44" fmla="*/ 91522 w 311587"/>
                  <a:gd name="connsiteY44" fmla="*/ 458078 h 509753"/>
                  <a:gd name="connsiteX45" fmla="*/ 76182 w 311587"/>
                  <a:gd name="connsiteY45" fmla="*/ 469000 h 509753"/>
                  <a:gd name="connsiteX46" fmla="*/ 69568 w 311587"/>
                  <a:gd name="connsiteY46" fmla="*/ 482008 h 509753"/>
                  <a:gd name="connsiteX47" fmla="*/ 75056 w 311587"/>
                  <a:gd name="connsiteY47" fmla="*/ 489418 h 509753"/>
                  <a:gd name="connsiteX48" fmla="*/ 79365 w 311587"/>
                  <a:gd name="connsiteY48" fmla="*/ 487826 h 509753"/>
                  <a:gd name="connsiteX49" fmla="*/ 78075 w 311587"/>
                  <a:gd name="connsiteY49" fmla="*/ 509753 h 509753"/>
                  <a:gd name="connsiteX50" fmla="*/ 55791 w 311587"/>
                  <a:gd name="connsiteY50" fmla="*/ 508985 h 509753"/>
                  <a:gd name="connsiteX51" fmla="*/ 54666 w 311587"/>
                  <a:gd name="connsiteY51" fmla="*/ 484011 h 509753"/>
                  <a:gd name="connsiteX52" fmla="*/ 51346 w 311587"/>
                  <a:gd name="connsiteY52" fmla="*/ 479977 h 509753"/>
                  <a:gd name="connsiteX53" fmla="*/ 50330 w 311587"/>
                  <a:gd name="connsiteY53" fmla="*/ 475943 h 509753"/>
                  <a:gd name="connsiteX54" fmla="*/ 53102 w 311587"/>
                  <a:gd name="connsiteY54" fmla="*/ 453275 h 509753"/>
                  <a:gd name="connsiteX55" fmla="*/ 51702 w 311587"/>
                  <a:gd name="connsiteY55" fmla="*/ 428193 h 509753"/>
                  <a:gd name="connsiteX56" fmla="*/ 48080 w 311587"/>
                  <a:gd name="connsiteY56" fmla="*/ 415596 h 509753"/>
                  <a:gd name="connsiteX57" fmla="*/ 44732 w 311587"/>
                  <a:gd name="connsiteY57" fmla="*/ 412056 h 509753"/>
                  <a:gd name="connsiteX58" fmla="*/ 38639 w 311587"/>
                  <a:gd name="connsiteY58" fmla="*/ 398198 h 509753"/>
                  <a:gd name="connsiteX59" fmla="*/ 38639 w 311587"/>
                  <a:gd name="connsiteY59" fmla="*/ 389553 h 509753"/>
                  <a:gd name="connsiteX60" fmla="*/ 31614 w 311587"/>
                  <a:gd name="connsiteY60" fmla="*/ 365952 h 509753"/>
                  <a:gd name="connsiteX61" fmla="*/ 63832 w 311587"/>
                  <a:gd name="connsiteY61" fmla="*/ 331264 h 509753"/>
                  <a:gd name="connsiteX62" fmla="*/ 63558 w 311587"/>
                  <a:gd name="connsiteY62" fmla="*/ 325117 h 509753"/>
                  <a:gd name="connsiteX63" fmla="*/ 66714 w 311587"/>
                  <a:gd name="connsiteY63" fmla="*/ 318229 h 509753"/>
                  <a:gd name="connsiteX64" fmla="*/ 66549 w 311587"/>
                  <a:gd name="connsiteY64" fmla="*/ 309749 h 509753"/>
                  <a:gd name="connsiteX65" fmla="*/ 75496 w 311587"/>
                  <a:gd name="connsiteY65" fmla="*/ 301049 h 509753"/>
                  <a:gd name="connsiteX66" fmla="*/ 81889 w 311587"/>
                  <a:gd name="connsiteY66" fmla="*/ 286477 h 509753"/>
                  <a:gd name="connsiteX67" fmla="*/ 80517 w 311587"/>
                  <a:gd name="connsiteY67" fmla="*/ 281016 h 509753"/>
                  <a:gd name="connsiteX68" fmla="*/ 77087 w 311587"/>
                  <a:gd name="connsiteY68" fmla="*/ 278244 h 509753"/>
                  <a:gd name="connsiteX69" fmla="*/ 75687 w 311587"/>
                  <a:gd name="connsiteY69" fmla="*/ 274128 h 509753"/>
                  <a:gd name="connsiteX70" fmla="*/ 77005 w 311587"/>
                  <a:gd name="connsiteY70" fmla="*/ 261641 h 509753"/>
                  <a:gd name="connsiteX71" fmla="*/ 73245 w 311587"/>
                  <a:gd name="connsiteY71" fmla="*/ 255961 h 509753"/>
                  <a:gd name="connsiteX72" fmla="*/ 74096 w 311587"/>
                  <a:gd name="connsiteY72" fmla="*/ 253079 h 509753"/>
                  <a:gd name="connsiteX73" fmla="*/ 78816 w 311587"/>
                  <a:gd name="connsiteY73" fmla="*/ 250005 h 509753"/>
                  <a:gd name="connsiteX74" fmla="*/ 78596 w 311587"/>
                  <a:gd name="connsiteY74" fmla="*/ 244105 h 509753"/>
                  <a:gd name="connsiteX75" fmla="*/ 82164 w 311587"/>
                  <a:gd name="connsiteY75" fmla="*/ 239138 h 509753"/>
                  <a:gd name="connsiteX76" fmla="*/ 80271 w 311587"/>
                  <a:gd name="connsiteY76" fmla="*/ 223797 h 509753"/>
                  <a:gd name="connsiteX77" fmla="*/ 81725 w 311587"/>
                  <a:gd name="connsiteY77" fmla="*/ 207112 h 509753"/>
                  <a:gd name="connsiteX78" fmla="*/ 77444 w 311587"/>
                  <a:gd name="connsiteY78" fmla="*/ 194818 h 509753"/>
                  <a:gd name="connsiteX79" fmla="*/ 79612 w 311587"/>
                  <a:gd name="connsiteY79" fmla="*/ 188753 h 509753"/>
                  <a:gd name="connsiteX80" fmla="*/ 74041 w 311587"/>
                  <a:gd name="connsiteY80" fmla="*/ 186887 h 509753"/>
                  <a:gd name="connsiteX81" fmla="*/ 67208 w 311587"/>
                  <a:gd name="connsiteY81" fmla="*/ 181755 h 509753"/>
                  <a:gd name="connsiteX82" fmla="*/ 50961 w 311587"/>
                  <a:gd name="connsiteY82" fmla="*/ 178681 h 509753"/>
                  <a:gd name="connsiteX83" fmla="*/ 44485 w 311587"/>
                  <a:gd name="connsiteY83" fmla="*/ 173193 h 509753"/>
                  <a:gd name="connsiteX84" fmla="*/ 29172 w 311587"/>
                  <a:gd name="connsiteY84" fmla="*/ 166442 h 509753"/>
                  <a:gd name="connsiteX85" fmla="*/ 7080 w 311587"/>
                  <a:gd name="connsiteY85" fmla="*/ 165536 h 509753"/>
                  <a:gd name="connsiteX86" fmla="*/ 5351 w 311587"/>
                  <a:gd name="connsiteY86" fmla="*/ 154202 h 509753"/>
                  <a:gd name="connsiteX87" fmla="*/ 4062 w 311587"/>
                  <a:gd name="connsiteY87" fmla="*/ 146353 h 509753"/>
                  <a:gd name="connsiteX88" fmla="*/ 0 w 311587"/>
                  <a:gd name="connsiteY88" fmla="*/ 139767 h 509753"/>
                  <a:gd name="connsiteX89" fmla="*/ 219 w 311587"/>
                  <a:gd name="connsiteY89" fmla="*/ 135321 h 509753"/>
                  <a:gd name="connsiteX90" fmla="*/ 66906 w 311587"/>
                  <a:gd name="connsiteY90" fmla="*/ 112763 h 509753"/>
                  <a:gd name="connsiteX91" fmla="*/ 69925 w 311587"/>
                  <a:gd name="connsiteY91" fmla="*/ 111446 h 509753"/>
                  <a:gd name="connsiteX92" fmla="*/ 80984 w 311587"/>
                  <a:gd name="connsiteY92" fmla="*/ 107466 h 509753"/>
                  <a:gd name="connsiteX93" fmla="*/ 83920 w 311587"/>
                  <a:gd name="connsiteY93" fmla="*/ 106314 h 509753"/>
                  <a:gd name="connsiteX94" fmla="*/ 87378 w 311587"/>
                  <a:gd name="connsiteY94" fmla="*/ 105106 h 509753"/>
                  <a:gd name="connsiteX95" fmla="*/ 88421 w 311587"/>
                  <a:gd name="connsiteY95" fmla="*/ 104914 h 509753"/>
                  <a:gd name="connsiteX96" fmla="*/ 95007 w 311587"/>
                  <a:gd name="connsiteY96" fmla="*/ 116495 h 509753"/>
                  <a:gd name="connsiteX97" fmla="*/ 100908 w 311587"/>
                  <a:gd name="connsiteY97" fmla="*/ 122972 h 509753"/>
                  <a:gd name="connsiteX98" fmla="*/ 102829 w 311587"/>
                  <a:gd name="connsiteY98" fmla="*/ 120886 h 509753"/>
                  <a:gd name="connsiteX99" fmla="*/ 120722 w 311587"/>
                  <a:gd name="connsiteY99" fmla="*/ 117154 h 509753"/>
                  <a:gd name="connsiteX100" fmla="*/ 125771 w 311587"/>
                  <a:gd name="connsiteY100" fmla="*/ 122176 h 509753"/>
                  <a:gd name="connsiteX101" fmla="*/ 128542 w 311587"/>
                  <a:gd name="connsiteY101" fmla="*/ 134964 h 509753"/>
                  <a:gd name="connsiteX102" fmla="*/ 127939 w 311587"/>
                  <a:gd name="connsiteY102" fmla="*/ 143746 h 509753"/>
                  <a:gd name="connsiteX103" fmla="*/ 123658 w 311587"/>
                  <a:gd name="connsiteY103" fmla="*/ 149180 h 509753"/>
                  <a:gd name="connsiteX104" fmla="*/ 123466 w 311587"/>
                  <a:gd name="connsiteY104" fmla="*/ 154614 h 509753"/>
                  <a:gd name="connsiteX105" fmla="*/ 118361 w 311587"/>
                  <a:gd name="connsiteY105" fmla="*/ 162325 h 509753"/>
                  <a:gd name="connsiteX106" fmla="*/ 122615 w 311587"/>
                  <a:gd name="connsiteY106" fmla="*/ 166963 h 509753"/>
                  <a:gd name="connsiteX107" fmla="*/ 123329 w 311587"/>
                  <a:gd name="connsiteY107" fmla="*/ 173248 h 509753"/>
                  <a:gd name="connsiteX108" fmla="*/ 137434 w 311587"/>
                  <a:gd name="connsiteY108" fmla="*/ 188149 h 509753"/>
                  <a:gd name="connsiteX109" fmla="*/ 144432 w 311587"/>
                  <a:gd name="connsiteY109" fmla="*/ 192238 h 509753"/>
                  <a:gd name="connsiteX110" fmla="*/ 142182 w 311587"/>
                  <a:gd name="connsiteY110" fmla="*/ 197205 h 509753"/>
                  <a:gd name="connsiteX111" fmla="*/ 142841 w 311587"/>
                  <a:gd name="connsiteY111" fmla="*/ 199675 h 509753"/>
                  <a:gd name="connsiteX112" fmla="*/ 148439 w 311587"/>
                  <a:gd name="connsiteY112" fmla="*/ 200114 h 509753"/>
                  <a:gd name="connsiteX113" fmla="*/ 148823 w 311587"/>
                  <a:gd name="connsiteY113" fmla="*/ 189466 h 509753"/>
                  <a:gd name="connsiteX114" fmla="*/ 144844 w 311587"/>
                  <a:gd name="connsiteY114" fmla="*/ 183374 h 509753"/>
                  <a:gd name="connsiteX115" fmla="*/ 150881 w 311587"/>
                  <a:gd name="connsiteY115" fmla="*/ 170942 h 509753"/>
                  <a:gd name="connsiteX116" fmla="*/ 157550 w 311587"/>
                  <a:gd name="connsiteY116" fmla="*/ 170283 h 509753"/>
                  <a:gd name="connsiteX117" fmla="*/ 163917 w 311587"/>
                  <a:gd name="connsiteY117" fmla="*/ 166332 h 509753"/>
                  <a:gd name="connsiteX118" fmla="*/ 165454 w 311587"/>
                  <a:gd name="connsiteY118" fmla="*/ 148933 h 509753"/>
                  <a:gd name="connsiteX119" fmla="*/ 164027 w 311587"/>
                  <a:gd name="connsiteY119" fmla="*/ 140453 h 509753"/>
                  <a:gd name="connsiteX120" fmla="*/ 166990 w 311587"/>
                  <a:gd name="connsiteY120" fmla="*/ 132961 h 509753"/>
                  <a:gd name="connsiteX121" fmla="*/ 166003 w 311587"/>
                  <a:gd name="connsiteY121" fmla="*/ 126183 h 509753"/>
                  <a:gd name="connsiteX122" fmla="*/ 141249 w 311587"/>
                  <a:gd name="connsiteY122" fmla="*/ 94020 h 509753"/>
                  <a:gd name="connsiteX123" fmla="*/ 136584 w 311587"/>
                  <a:gd name="connsiteY123" fmla="*/ 89711 h 509753"/>
                  <a:gd name="connsiteX124" fmla="*/ 127994 w 311587"/>
                  <a:gd name="connsiteY124" fmla="*/ 88119 h 509753"/>
                  <a:gd name="connsiteX125" fmla="*/ 127390 w 311587"/>
                  <a:gd name="connsiteY125" fmla="*/ 75743 h 509753"/>
                  <a:gd name="connsiteX126" fmla="*/ 123109 w 311587"/>
                  <a:gd name="connsiteY126" fmla="*/ 58344 h 509753"/>
                  <a:gd name="connsiteX127" fmla="*/ 121435 w 311587"/>
                  <a:gd name="connsiteY127" fmla="*/ 51181 h 509753"/>
                  <a:gd name="connsiteX128" fmla="*/ 129229 w 311587"/>
                  <a:gd name="connsiteY128" fmla="*/ 36581 h 509753"/>
                  <a:gd name="connsiteX129" fmla="*/ 129283 w 311587"/>
                  <a:gd name="connsiteY129" fmla="*/ 32273 h 509753"/>
                  <a:gd name="connsiteX130" fmla="*/ 138916 w 311587"/>
                  <a:gd name="connsiteY130" fmla="*/ 31861 h 509753"/>
                  <a:gd name="connsiteX131" fmla="*/ 156150 w 311587"/>
                  <a:gd name="connsiteY131" fmla="*/ 31751 h 509753"/>
                  <a:gd name="connsiteX132" fmla="*/ 164877 w 311587"/>
                  <a:gd name="connsiteY132" fmla="*/ 27470 h 509753"/>
                  <a:gd name="connsiteX133" fmla="*/ 174098 w 311587"/>
                  <a:gd name="connsiteY133" fmla="*/ 31504 h 509753"/>
                  <a:gd name="connsiteX134" fmla="*/ 177172 w 311587"/>
                  <a:gd name="connsiteY134" fmla="*/ 36005 h 509753"/>
                  <a:gd name="connsiteX135" fmla="*/ 188231 w 311587"/>
                  <a:gd name="connsiteY135" fmla="*/ 36197 h 509753"/>
                  <a:gd name="connsiteX136" fmla="*/ 194104 w 311587"/>
                  <a:gd name="connsiteY136" fmla="*/ 32136 h 509753"/>
                  <a:gd name="connsiteX137" fmla="*/ 203627 w 311587"/>
                  <a:gd name="connsiteY137" fmla="*/ 33645 h 509753"/>
                  <a:gd name="connsiteX138" fmla="*/ 210899 w 311587"/>
                  <a:gd name="connsiteY138" fmla="*/ 34743 h 509753"/>
                  <a:gd name="connsiteX139" fmla="*/ 218089 w 311587"/>
                  <a:gd name="connsiteY139" fmla="*/ 32410 h 509753"/>
                  <a:gd name="connsiteX140" fmla="*/ 221437 w 311587"/>
                  <a:gd name="connsiteY140" fmla="*/ 30077 h 509753"/>
                  <a:gd name="connsiteX141" fmla="*/ 223495 w 311587"/>
                  <a:gd name="connsiteY141" fmla="*/ 24314 h 509753"/>
                  <a:gd name="connsiteX142" fmla="*/ 226460 w 311587"/>
                  <a:gd name="connsiteY142" fmla="*/ 22723 h 509753"/>
                  <a:gd name="connsiteX143" fmla="*/ 234637 w 311587"/>
                  <a:gd name="connsiteY143" fmla="*/ 23052 h 509753"/>
                  <a:gd name="connsiteX144" fmla="*/ 242267 w 311587"/>
                  <a:gd name="connsiteY144" fmla="*/ 26784 h 509753"/>
                  <a:gd name="connsiteX145" fmla="*/ 254369 w 311587"/>
                  <a:gd name="connsiteY145" fmla="*/ 20061 h 509753"/>
                  <a:gd name="connsiteX146" fmla="*/ 264880 w 311587"/>
                  <a:gd name="connsiteY146" fmla="*/ 19430 h 509753"/>
                  <a:gd name="connsiteX147" fmla="*/ 273442 w 311587"/>
                  <a:gd name="connsiteY147" fmla="*/ 14106 h 509753"/>
                  <a:gd name="connsiteX148" fmla="*/ 287053 w 311587"/>
                  <a:gd name="connsiteY148" fmla="*/ 8782 h 509753"/>
                  <a:gd name="connsiteX149" fmla="*/ 298716 w 311587"/>
                  <a:gd name="connsiteY149" fmla="*/ 0 h 509753"/>
                  <a:gd name="connsiteX150" fmla="*/ 302860 w 311587"/>
                  <a:gd name="connsiteY150" fmla="*/ 1125 h 509753"/>
                  <a:gd name="connsiteX151" fmla="*/ 303958 w 311587"/>
                  <a:gd name="connsiteY151" fmla="*/ 9578 h 509753"/>
                  <a:gd name="connsiteX152" fmla="*/ 299266 w 311587"/>
                  <a:gd name="connsiteY152" fmla="*/ 24342 h 509753"/>
                  <a:gd name="connsiteX153" fmla="*/ 127308 w 311587"/>
                  <a:gd name="connsiteY153" fmla="*/ 45171 h 509753"/>
                  <a:gd name="connsiteX154" fmla="*/ 127884 w 311587"/>
                  <a:gd name="connsiteY154" fmla="*/ 47092 h 509753"/>
                  <a:gd name="connsiteX155" fmla="*/ 130162 w 311587"/>
                  <a:gd name="connsiteY155" fmla="*/ 46653 h 509753"/>
                  <a:gd name="connsiteX156" fmla="*/ 132357 w 311587"/>
                  <a:gd name="connsiteY156" fmla="*/ 49041 h 509753"/>
                  <a:gd name="connsiteX157" fmla="*/ 134443 w 311587"/>
                  <a:gd name="connsiteY157" fmla="*/ 45802 h 509753"/>
                  <a:gd name="connsiteX158" fmla="*/ 131918 w 311587"/>
                  <a:gd name="connsiteY158" fmla="*/ 44650 h 509753"/>
                  <a:gd name="connsiteX159" fmla="*/ 131095 w 311587"/>
                  <a:gd name="connsiteY159" fmla="*/ 45555 h 509753"/>
                  <a:gd name="connsiteX160" fmla="*/ 128570 w 311587"/>
                  <a:gd name="connsiteY160" fmla="*/ 43716 h 509753"/>
                  <a:gd name="connsiteX161" fmla="*/ 127308 w 311587"/>
                  <a:gd name="connsiteY161" fmla="*/ 45144 h 50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311587" h="509753">
                    <a:moveTo>
                      <a:pt x="299403" y="24451"/>
                    </a:moveTo>
                    <a:lnTo>
                      <a:pt x="302559" y="45473"/>
                    </a:lnTo>
                    <a:lnTo>
                      <a:pt x="302010" y="58371"/>
                    </a:lnTo>
                    <a:lnTo>
                      <a:pt x="304672" y="67153"/>
                    </a:lnTo>
                    <a:lnTo>
                      <a:pt x="300144" y="73931"/>
                    </a:lnTo>
                    <a:lnTo>
                      <a:pt x="303684" y="75989"/>
                    </a:lnTo>
                    <a:lnTo>
                      <a:pt x="303163" y="89985"/>
                    </a:lnTo>
                    <a:lnTo>
                      <a:pt x="305413" y="105738"/>
                    </a:lnTo>
                    <a:lnTo>
                      <a:pt x="304041" y="110376"/>
                    </a:lnTo>
                    <a:lnTo>
                      <a:pt x="307965" y="112406"/>
                    </a:lnTo>
                    <a:lnTo>
                      <a:pt x="307361" y="117511"/>
                    </a:lnTo>
                    <a:lnTo>
                      <a:pt x="310572" y="118746"/>
                    </a:lnTo>
                    <a:lnTo>
                      <a:pt x="311588" y="122313"/>
                    </a:lnTo>
                    <a:lnTo>
                      <a:pt x="311066" y="130189"/>
                    </a:lnTo>
                    <a:lnTo>
                      <a:pt x="303958" y="139987"/>
                    </a:lnTo>
                    <a:lnTo>
                      <a:pt x="306263" y="143636"/>
                    </a:lnTo>
                    <a:lnTo>
                      <a:pt x="304425" y="148521"/>
                    </a:lnTo>
                    <a:lnTo>
                      <a:pt x="292158" y="163972"/>
                    </a:lnTo>
                    <a:lnTo>
                      <a:pt x="283129" y="179148"/>
                    </a:lnTo>
                    <a:lnTo>
                      <a:pt x="267267" y="189411"/>
                    </a:lnTo>
                    <a:lnTo>
                      <a:pt x="259391" y="196656"/>
                    </a:lnTo>
                    <a:lnTo>
                      <a:pt x="240730" y="201953"/>
                    </a:lnTo>
                    <a:lnTo>
                      <a:pt x="208567" y="217760"/>
                    </a:lnTo>
                    <a:lnTo>
                      <a:pt x="200361" y="225252"/>
                    </a:lnTo>
                    <a:lnTo>
                      <a:pt x="179010" y="253189"/>
                    </a:lnTo>
                    <a:lnTo>
                      <a:pt x="162929" y="260461"/>
                    </a:lnTo>
                    <a:lnTo>
                      <a:pt x="145338" y="278738"/>
                    </a:lnTo>
                    <a:lnTo>
                      <a:pt x="133702" y="286779"/>
                    </a:lnTo>
                    <a:lnTo>
                      <a:pt x="131150" y="304041"/>
                    </a:lnTo>
                    <a:lnTo>
                      <a:pt x="138669" y="310901"/>
                    </a:lnTo>
                    <a:lnTo>
                      <a:pt x="142566" y="318009"/>
                    </a:lnTo>
                    <a:lnTo>
                      <a:pt x="142566" y="326763"/>
                    </a:lnTo>
                    <a:cubicBezTo>
                      <a:pt x="142566" y="326763"/>
                      <a:pt x="147835" y="341583"/>
                      <a:pt x="147835" y="341583"/>
                    </a:cubicBezTo>
                    <a:lnTo>
                      <a:pt x="150250" y="356868"/>
                    </a:lnTo>
                    <a:lnTo>
                      <a:pt x="151375" y="358240"/>
                    </a:lnTo>
                    <a:lnTo>
                      <a:pt x="154367" y="357307"/>
                    </a:lnTo>
                    <a:lnTo>
                      <a:pt x="155519" y="359091"/>
                    </a:lnTo>
                    <a:lnTo>
                      <a:pt x="155299" y="375420"/>
                    </a:lnTo>
                    <a:lnTo>
                      <a:pt x="157084" y="383433"/>
                    </a:lnTo>
                    <a:lnTo>
                      <a:pt x="150936" y="411151"/>
                    </a:lnTo>
                    <a:lnTo>
                      <a:pt x="155272" y="411480"/>
                    </a:lnTo>
                    <a:lnTo>
                      <a:pt x="155547" y="413840"/>
                    </a:lnTo>
                    <a:lnTo>
                      <a:pt x="151760" y="425009"/>
                    </a:lnTo>
                    <a:lnTo>
                      <a:pt x="142731" y="436288"/>
                    </a:lnTo>
                    <a:lnTo>
                      <a:pt x="91522" y="458078"/>
                    </a:lnTo>
                    <a:lnTo>
                      <a:pt x="76182" y="469000"/>
                    </a:lnTo>
                    <a:lnTo>
                      <a:pt x="69568" y="482008"/>
                    </a:lnTo>
                    <a:lnTo>
                      <a:pt x="75056" y="489418"/>
                    </a:lnTo>
                    <a:lnTo>
                      <a:pt x="79365" y="487826"/>
                    </a:lnTo>
                    <a:lnTo>
                      <a:pt x="78075" y="509753"/>
                    </a:lnTo>
                    <a:lnTo>
                      <a:pt x="55791" y="508985"/>
                    </a:lnTo>
                    <a:lnTo>
                      <a:pt x="54666" y="484011"/>
                    </a:lnTo>
                    <a:lnTo>
                      <a:pt x="51346" y="479977"/>
                    </a:lnTo>
                    <a:lnTo>
                      <a:pt x="50330" y="475943"/>
                    </a:lnTo>
                    <a:lnTo>
                      <a:pt x="53102" y="453275"/>
                    </a:lnTo>
                    <a:lnTo>
                      <a:pt x="51702" y="428193"/>
                    </a:lnTo>
                    <a:lnTo>
                      <a:pt x="48080" y="415596"/>
                    </a:lnTo>
                    <a:lnTo>
                      <a:pt x="44732" y="412056"/>
                    </a:lnTo>
                    <a:lnTo>
                      <a:pt x="38639" y="398198"/>
                    </a:lnTo>
                    <a:lnTo>
                      <a:pt x="38639" y="389553"/>
                    </a:lnTo>
                    <a:cubicBezTo>
                      <a:pt x="38639" y="389553"/>
                      <a:pt x="31614" y="365952"/>
                      <a:pt x="31614" y="365952"/>
                    </a:cubicBezTo>
                    <a:lnTo>
                      <a:pt x="63832" y="331264"/>
                    </a:lnTo>
                    <a:lnTo>
                      <a:pt x="63558" y="325117"/>
                    </a:lnTo>
                    <a:lnTo>
                      <a:pt x="66714" y="318229"/>
                    </a:lnTo>
                    <a:lnTo>
                      <a:pt x="66549" y="309749"/>
                    </a:lnTo>
                    <a:lnTo>
                      <a:pt x="75496" y="301049"/>
                    </a:lnTo>
                    <a:lnTo>
                      <a:pt x="81889" y="286477"/>
                    </a:lnTo>
                    <a:lnTo>
                      <a:pt x="80517" y="281016"/>
                    </a:lnTo>
                    <a:lnTo>
                      <a:pt x="77087" y="278244"/>
                    </a:lnTo>
                    <a:lnTo>
                      <a:pt x="75687" y="274128"/>
                    </a:lnTo>
                    <a:lnTo>
                      <a:pt x="77005" y="261641"/>
                    </a:lnTo>
                    <a:lnTo>
                      <a:pt x="73245" y="255961"/>
                    </a:lnTo>
                    <a:lnTo>
                      <a:pt x="74096" y="253079"/>
                    </a:lnTo>
                    <a:lnTo>
                      <a:pt x="78816" y="250005"/>
                    </a:lnTo>
                    <a:lnTo>
                      <a:pt x="78596" y="244105"/>
                    </a:lnTo>
                    <a:lnTo>
                      <a:pt x="82164" y="239138"/>
                    </a:lnTo>
                    <a:lnTo>
                      <a:pt x="80271" y="223797"/>
                    </a:lnTo>
                    <a:lnTo>
                      <a:pt x="81725" y="207112"/>
                    </a:lnTo>
                    <a:lnTo>
                      <a:pt x="77444" y="194818"/>
                    </a:lnTo>
                    <a:lnTo>
                      <a:pt x="79612" y="188753"/>
                    </a:lnTo>
                    <a:lnTo>
                      <a:pt x="74041" y="186887"/>
                    </a:lnTo>
                    <a:lnTo>
                      <a:pt x="67208" y="181755"/>
                    </a:lnTo>
                    <a:lnTo>
                      <a:pt x="50961" y="178681"/>
                    </a:lnTo>
                    <a:lnTo>
                      <a:pt x="44485" y="173193"/>
                    </a:lnTo>
                    <a:lnTo>
                      <a:pt x="29172" y="166442"/>
                    </a:lnTo>
                    <a:lnTo>
                      <a:pt x="7080" y="165536"/>
                    </a:lnTo>
                    <a:lnTo>
                      <a:pt x="5351" y="154202"/>
                    </a:lnTo>
                    <a:lnTo>
                      <a:pt x="4062" y="146353"/>
                    </a:lnTo>
                    <a:lnTo>
                      <a:pt x="0" y="139767"/>
                    </a:lnTo>
                    <a:lnTo>
                      <a:pt x="219" y="135321"/>
                    </a:lnTo>
                    <a:lnTo>
                      <a:pt x="66906" y="112763"/>
                    </a:lnTo>
                    <a:lnTo>
                      <a:pt x="69925" y="111446"/>
                    </a:lnTo>
                    <a:lnTo>
                      <a:pt x="80984" y="107466"/>
                    </a:lnTo>
                    <a:lnTo>
                      <a:pt x="83920" y="106314"/>
                    </a:lnTo>
                    <a:lnTo>
                      <a:pt x="87378" y="105106"/>
                    </a:lnTo>
                    <a:lnTo>
                      <a:pt x="88421" y="104914"/>
                    </a:lnTo>
                    <a:lnTo>
                      <a:pt x="95007" y="116495"/>
                    </a:lnTo>
                    <a:lnTo>
                      <a:pt x="100908" y="122972"/>
                    </a:lnTo>
                    <a:lnTo>
                      <a:pt x="102829" y="120886"/>
                    </a:lnTo>
                    <a:lnTo>
                      <a:pt x="120722" y="117154"/>
                    </a:lnTo>
                    <a:lnTo>
                      <a:pt x="125771" y="122176"/>
                    </a:lnTo>
                    <a:lnTo>
                      <a:pt x="128542" y="134964"/>
                    </a:lnTo>
                    <a:lnTo>
                      <a:pt x="127939" y="143746"/>
                    </a:lnTo>
                    <a:lnTo>
                      <a:pt x="123658" y="149180"/>
                    </a:lnTo>
                    <a:lnTo>
                      <a:pt x="123466" y="154614"/>
                    </a:lnTo>
                    <a:lnTo>
                      <a:pt x="118361" y="162325"/>
                    </a:lnTo>
                    <a:lnTo>
                      <a:pt x="122615" y="166963"/>
                    </a:lnTo>
                    <a:lnTo>
                      <a:pt x="123329" y="173248"/>
                    </a:lnTo>
                    <a:lnTo>
                      <a:pt x="137434" y="188149"/>
                    </a:lnTo>
                    <a:lnTo>
                      <a:pt x="144432" y="192238"/>
                    </a:lnTo>
                    <a:lnTo>
                      <a:pt x="142182" y="197205"/>
                    </a:lnTo>
                    <a:lnTo>
                      <a:pt x="142841" y="199675"/>
                    </a:lnTo>
                    <a:lnTo>
                      <a:pt x="148439" y="200114"/>
                    </a:lnTo>
                    <a:lnTo>
                      <a:pt x="148823" y="189466"/>
                    </a:lnTo>
                    <a:lnTo>
                      <a:pt x="144844" y="183374"/>
                    </a:lnTo>
                    <a:lnTo>
                      <a:pt x="150881" y="170942"/>
                    </a:lnTo>
                    <a:lnTo>
                      <a:pt x="157550" y="170283"/>
                    </a:lnTo>
                    <a:lnTo>
                      <a:pt x="163917" y="166332"/>
                    </a:lnTo>
                    <a:lnTo>
                      <a:pt x="165454" y="148933"/>
                    </a:lnTo>
                    <a:lnTo>
                      <a:pt x="164027" y="140453"/>
                    </a:lnTo>
                    <a:lnTo>
                      <a:pt x="166990" y="132961"/>
                    </a:lnTo>
                    <a:lnTo>
                      <a:pt x="166003" y="126183"/>
                    </a:lnTo>
                    <a:lnTo>
                      <a:pt x="141249" y="94020"/>
                    </a:lnTo>
                    <a:lnTo>
                      <a:pt x="136584" y="89711"/>
                    </a:lnTo>
                    <a:lnTo>
                      <a:pt x="127994" y="88119"/>
                    </a:lnTo>
                    <a:lnTo>
                      <a:pt x="127390" y="75743"/>
                    </a:lnTo>
                    <a:lnTo>
                      <a:pt x="123109" y="58344"/>
                    </a:lnTo>
                    <a:lnTo>
                      <a:pt x="121435" y="51181"/>
                    </a:lnTo>
                    <a:lnTo>
                      <a:pt x="129229" y="36581"/>
                    </a:lnTo>
                    <a:lnTo>
                      <a:pt x="129283" y="32273"/>
                    </a:lnTo>
                    <a:lnTo>
                      <a:pt x="138916" y="31861"/>
                    </a:lnTo>
                    <a:lnTo>
                      <a:pt x="156150" y="31751"/>
                    </a:lnTo>
                    <a:lnTo>
                      <a:pt x="164877" y="27470"/>
                    </a:lnTo>
                    <a:lnTo>
                      <a:pt x="174098" y="31504"/>
                    </a:lnTo>
                    <a:lnTo>
                      <a:pt x="177172" y="36005"/>
                    </a:lnTo>
                    <a:lnTo>
                      <a:pt x="188231" y="36197"/>
                    </a:lnTo>
                    <a:lnTo>
                      <a:pt x="194104" y="32136"/>
                    </a:lnTo>
                    <a:lnTo>
                      <a:pt x="203627" y="33645"/>
                    </a:lnTo>
                    <a:lnTo>
                      <a:pt x="210899" y="34743"/>
                    </a:lnTo>
                    <a:lnTo>
                      <a:pt x="218089" y="32410"/>
                    </a:lnTo>
                    <a:lnTo>
                      <a:pt x="221437" y="30077"/>
                    </a:lnTo>
                    <a:lnTo>
                      <a:pt x="223495" y="24314"/>
                    </a:lnTo>
                    <a:lnTo>
                      <a:pt x="226460" y="22723"/>
                    </a:lnTo>
                    <a:lnTo>
                      <a:pt x="234637" y="23052"/>
                    </a:lnTo>
                    <a:lnTo>
                      <a:pt x="242267" y="26784"/>
                    </a:lnTo>
                    <a:lnTo>
                      <a:pt x="254369" y="20061"/>
                    </a:lnTo>
                    <a:lnTo>
                      <a:pt x="264880" y="19430"/>
                    </a:lnTo>
                    <a:lnTo>
                      <a:pt x="273442" y="14106"/>
                    </a:lnTo>
                    <a:lnTo>
                      <a:pt x="287053" y="8782"/>
                    </a:lnTo>
                    <a:lnTo>
                      <a:pt x="298716" y="0"/>
                    </a:lnTo>
                    <a:lnTo>
                      <a:pt x="302860" y="1125"/>
                    </a:lnTo>
                    <a:lnTo>
                      <a:pt x="303958" y="9578"/>
                    </a:lnTo>
                    <a:lnTo>
                      <a:pt x="299266" y="24342"/>
                    </a:lnTo>
                    <a:moveTo>
                      <a:pt x="127308" y="45171"/>
                    </a:moveTo>
                    <a:lnTo>
                      <a:pt x="127884" y="47092"/>
                    </a:lnTo>
                    <a:lnTo>
                      <a:pt x="130162" y="46653"/>
                    </a:lnTo>
                    <a:lnTo>
                      <a:pt x="132357" y="49041"/>
                    </a:lnTo>
                    <a:lnTo>
                      <a:pt x="134443" y="45802"/>
                    </a:lnTo>
                    <a:lnTo>
                      <a:pt x="131918" y="44650"/>
                    </a:lnTo>
                    <a:lnTo>
                      <a:pt x="131095" y="45555"/>
                    </a:lnTo>
                    <a:lnTo>
                      <a:pt x="128570" y="43716"/>
                    </a:lnTo>
                    <a:lnTo>
                      <a:pt x="127308" y="451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6" name="Freeform: Shape 4155">
                <a:extLst>
                  <a:ext uri="{FF2B5EF4-FFF2-40B4-BE49-F238E27FC236}">
                    <a16:creationId xmlns:a16="http://schemas.microsoft.com/office/drawing/2014/main" id="{13F67644-FD2F-A131-F85C-05F92D8CA8F2}"/>
                  </a:ext>
                </a:extLst>
              </p:cNvPr>
              <p:cNvSpPr/>
              <p:nvPr/>
            </p:nvSpPr>
            <p:spPr>
              <a:xfrm>
                <a:off x="1466257" y="3926926"/>
                <a:ext cx="389" cy="429"/>
              </a:xfrm>
              <a:custGeom>
                <a:avLst/>
                <a:gdLst>
                  <a:gd name="connsiteX0" fmla="*/ 3733 w 3732"/>
                  <a:gd name="connsiteY0" fmla="*/ 1784 h 4116"/>
                  <a:gd name="connsiteX1" fmla="*/ 2113 w 3732"/>
                  <a:gd name="connsiteY1" fmla="*/ 4116 h 4116"/>
                  <a:gd name="connsiteX2" fmla="*/ 0 w 3732"/>
                  <a:gd name="connsiteY2" fmla="*/ 2168 h 4116"/>
                  <a:gd name="connsiteX3" fmla="*/ 1784 w 3732"/>
                  <a:gd name="connsiteY3" fmla="*/ 0 h 4116"/>
                  <a:gd name="connsiteX4" fmla="*/ 3733 w 3732"/>
                  <a:gd name="connsiteY4" fmla="*/ 1812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4116">
                    <a:moveTo>
                      <a:pt x="3733" y="1784"/>
                    </a:moveTo>
                    <a:lnTo>
                      <a:pt x="2113" y="4116"/>
                    </a:lnTo>
                    <a:lnTo>
                      <a:pt x="0" y="2168"/>
                    </a:lnTo>
                    <a:lnTo>
                      <a:pt x="1784" y="0"/>
                    </a:lnTo>
                    <a:lnTo>
                      <a:pt x="3733" y="18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7" name="Freeform: Shape 4156">
                <a:extLst>
                  <a:ext uri="{FF2B5EF4-FFF2-40B4-BE49-F238E27FC236}">
                    <a16:creationId xmlns:a16="http://schemas.microsoft.com/office/drawing/2014/main" id="{F3EAF1C8-2DEC-ACEB-AC5B-A1F7A9547385}"/>
                  </a:ext>
                </a:extLst>
              </p:cNvPr>
              <p:cNvSpPr/>
              <p:nvPr/>
            </p:nvSpPr>
            <p:spPr>
              <a:xfrm>
                <a:off x="1474026" y="3912354"/>
                <a:ext cx="309" cy="429"/>
              </a:xfrm>
              <a:custGeom>
                <a:avLst/>
                <a:gdLst>
                  <a:gd name="connsiteX0" fmla="*/ 2387 w 2963"/>
                  <a:gd name="connsiteY0" fmla="*/ 3650 h 4116"/>
                  <a:gd name="connsiteX1" fmla="*/ 960 w 2963"/>
                  <a:gd name="connsiteY1" fmla="*/ 4116 h 4116"/>
                  <a:gd name="connsiteX2" fmla="*/ 0 w 2963"/>
                  <a:gd name="connsiteY2" fmla="*/ 1564 h 4116"/>
                  <a:gd name="connsiteX3" fmla="*/ 2031 w 2963"/>
                  <a:gd name="connsiteY3" fmla="*/ 0 h 4116"/>
                  <a:gd name="connsiteX4" fmla="*/ 2963 w 2963"/>
                  <a:gd name="connsiteY4" fmla="*/ 1070 h 4116"/>
                  <a:gd name="connsiteX5" fmla="*/ 2360 w 2963"/>
                  <a:gd name="connsiteY5" fmla="*/ 3650 h 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3" h="4116">
                    <a:moveTo>
                      <a:pt x="2387" y="3650"/>
                    </a:moveTo>
                    <a:lnTo>
                      <a:pt x="960" y="4116"/>
                    </a:lnTo>
                    <a:lnTo>
                      <a:pt x="0" y="1564"/>
                    </a:lnTo>
                    <a:lnTo>
                      <a:pt x="2031" y="0"/>
                    </a:lnTo>
                    <a:lnTo>
                      <a:pt x="2963" y="1070"/>
                    </a:lnTo>
                    <a:lnTo>
                      <a:pt x="2360" y="36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8" name="Freeform: Shape 4157">
                <a:extLst>
                  <a:ext uri="{FF2B5EF4-FFF2-40B4-BE49-F238E27FC236}">
                    <a16:creationId xmlns:a16="http://schemas.microsoft.com/office/drawing/2014/main" id="{EEEB5DCD-1AD5-2034-A8A2-21684E1D6028}"/>
                  </a:ext>
                </a:extLst>
              </p:cNvPr>
              <p:cNvSpPr/>
              <p:nvPr/>
            </p:nvSpPr>
            <p:spPr>
              <a:xfrm>
                <a:off x="1401434" y="3897281"/>
                <a:ext cx="41452" cy="40055"/>
              </a:xfrm>
              <a:custGeom>
                <a:avLst/>
                <a:gdLst>
                  <a:gd name="connsiteX0" fmla="*/ 343558 w 397429"/>
                  <a:gd name="connsiteY0" fmla="*/ 20582 h 384037"/>
                  <a:gd name="connsiteX1" fmla="*/ 372483 w 397429"/>
                  <a:gd name="connsiteY1" fmla="*/ 15780 h 384037"/>
                  <a:gd name="connsiteX2" fmla="*/ 388208 w 397429"/>
                  <a:gd name="connsiteY2" fmla="*/ 18058 h 384037"/>
                  <a:gd name="connsiteX3" fmla="*/ 397429 w 397429"/>
                  <a:gd name="connsiteY3" fmla="*/ 25412 h 384037"/>
                  <a:gd name="connsiteX4" fmla="*/ 384312 w 397429"/>
                  <a:gd name="connsiteY4" fmla="*/ 27443 h 384037"/>
                  <a:gd name="connsiteX5" fmla="*/ 376957 w 397429"/>
                  <a:gd name="connsiteY5" fmla="*/ 33645 h 384037"/>
                  <a:gd name="connsiteX6" fmla="*/ 372045 w 397429"/>
                  <a:gd name="connsiteY6" fmla="*/ 30572 h 384037"/>
                  <a:gd name="connsiteX7" fmla="*/ 365733 w 397429"/>
                  <a:gd name="connsiteY7" fmla="*/ 33288 h 384037"/>
                  <a:gd name="connsiteX8" fmla="*/ 349377 w 397429"/>
                  <a:gd name="connsiteY8" fmla="*/ 46626 h 384037"/>
                  <a:gd name="connsiteX9" fmla="*/ 338976 w 397429"/>
                  <a:gd name="connsiteY9" fmla="*/ 32191 h 384037"/>
                  <a:gd name="connsiteX10" fmla="*/ 321055 w 397429"/>
                  <a:gd name="connsiteY10" fmla="*/ 34359 h 384037"/>
                  <a:gd name="connsiteX11" fmla="*/ 272317 w 397429"/>
                  <a:gd name="connsiteY11" fmla="*/ 42427 h 384037"/>
                  <a:gd name="connsiteX12" fmla="*/ 271933 w 397429"/>
                  <a:gd name="connsiteY12" fmla="*/ 155821 h 384037"/>
                  <a:gd name="connsiteX13" fmla="*/ 242953 w 397429"/>
                  <a:gd name="connsiteY13" fmla="*/ 157715 h 384037"/>
                  <a:gd name="connsiteX14" fmla="*/ 242624 w 397429"/>
                  <a:gd name="connsiteY14" fmla="*/ 202584 h 384037"/>
                  <a:gd name="connsiteX15" fmla="*/ 242624 w 397429"/>
                  <a:gd name="connsiteY15" fmla="*/ 245258 h 384037"/>
                  <a:gd name="connsiteX16" fmla="*/ 242541 w 397429"/>
                  <a:gd name="connsiteY16" fmla="*/ 364937 h 384037"/>
                  <a:gd name="connsiteX17" fmla="*/ 229835 w 397429"/>
                  <a:gd name="connsiteY17" fmla="*/ 370014 h 384037"/>
                  <a:gd name="connsiteX18" fmla="*/ 226350 w 397429"/>
                  <a:gd name="connsiteY18" fmla="*/ 375502 h 384037"/>
                  <a:gd name="connsiteX19" fmla="*/ 220614 w 397429"/>
                  <a:gd name="connsiteY19" fmla="*/ 378137 h 384037"/>
                  <a:gd name="connsiteX20" fmla="*/ 220614 w 397429"/>
                  <a:gd name="connsiteY20" fmla="*/ 382061 h 384037"/>
                  <a:gd name="connsiteX21" fmla="*/ 217047 w 397429"/>
                  <a:gd name="connsiteY21" fmla="*/ 384037 h 384037"/>
                  <a:gd name="connsiteX22" fmla="*/ 205301 w 397429"/>
                  <a:gd name="connsiteY22" fmla="*/ 379756 h 384037"/>
                  <a:gd name="connsiteX23" fmla="*/ 189000 w 397429"/>
                  <a:gd name="connsiteY23" fmla="*/ 382171 h 384037"/>
                  <a:gd name="connsiteX24" fmla="*/ 181892 w 397429"/>
                  <a:gd name="connsiteY24" fmla="*/ 378110 h 384037"/>
                  <a:gd name="connsiteX25" fmla="*/ 167156 w 397429"/>
                  <a:gd name="connsiteY25" fmla="*/ 375338 h 384037"/>
                  <a:gd name="connsiteX26" fmla="*/ 164740 w 397429"/>
                  <a:gd name="connsiteY26" fmla="*/ 368505 h 384037"/>
                  <a:gd name="connsiteX27" fmla="*/ 165399 w 397429"/>
                  <a:gd name="connsiteY27" fmla="*/ 361781 h 384037"/>
                  <a:gd name="connsiteX28" fmla="*/ 160486 w 397429"/>
                  <a:gd name="connsiteY28" fmla="*/ 359339 h 384037"/>
                  <a:gd name="connsiteX29" fmla="*/ 159471 w 397429"/>
                  <a:gd name="connsiteY29" fmla="*/ 355304 h 384037"/>
                  <a:gd name="connsiteX30" fmla="*/ 156727 w 397429"/>
                  <a:gd name="connsiteY30" fmla="*/ 353465 h 384037"/>
                  <a:gd name="connsiteX31" fmla="*/ 151815 w 397429"/>
                  <a:gd name="connsiteY31" fmla="*/ 354810 h 384037"/>
                  <a:gd name="connsiteX32" fmla="*/ 147808 w 397429"/>
                  <a:gd name="connsiteY32" fmla="*/ 361314 h 384037"/>
                  <a:gd name="connsiteX33" fmla="*/ 147040 w 397429"/>
                  <a:gd name="connsiteY33" fmla="*/ 367269 h 384037"/>
                  <a:gd name="connsiteX34" fmla="*/ 138395 w 397429"/>
                  <a:gd name="connsiteY34" fmla="*/ 373060 h 384037"/>
                  <a:gd name="connsiteX35" fmla="*/ 117401 w 397429"/>
                  <a:gd name="connsiteY35" fmla="*/ 352533 h 384037"/>
                  <a:gd name="connsiteX36" fmla="*/ 104338 w 397429"/>
                  <a:gd name="connsiteY36" fmla="*/ 329014 h 384037"/>
                  <a:gd name="connsiteX37" fmla="*/ 102198 w 397429"/>
                  <a:gd name="connsiteY37" fmla="*/ 317461 h 384037"/>
                  <a:gd name="connsiteX38" fmla="*/ 98356 w 397429"/>
                  <a:gd name="connsiteY38" fmla="*/ 309420 h 384037"/>
                  <a:gd name="connsiteX39" fmla="*/ 99179 w 397429"/>
                  <a:gd name="connsiteY39" fmla="*/ 301269 h 384037"/>
                  <a:gd name="connsiteX40" fmla="*/ 94623 w 397429"/>
                  <a:gd name="connsiteY40" fmla="*/ 295890 h 384037"/>
                  <a:gd name="connsiteX41" fmla="*/ 94459 w 397429"/>
                  <a:gd name="connsiteY41" fmla="*/ 286999 h 384037"/>
                  <a:gd name="connsiteX42" fmla="*/ 90891 w 397429"/>
                  <a:gd name="connsiteY42" fmla="*/ 277229 h 384037"/>
                  <a:gd name="connsiteX43" fmla="*/ 91769 w 397429"/>
                  <a:gd name="connsiteY43" fmla="*/ 270945 h 384037"/>
                  <a:gd name="connsiteX44" fmla="*/ 89931 w 397429"/>
                  <a:gd name="connsiteY44" fmla="*/ 263206 h 384037"/>
                  <a:gd name="connsiteX45" fmla="*/ 91413 w 397429"/>
                  <a:gd name="connsiteY45" fmla="*/ 255494 h 384037"/>
                  <a:gd name="connsiteX46" fmla="*/ 88888 w 397429"/>
                  <a:gd name="connsiteY46" fmla="*/ 246383 h 384037"/>
                  <a:gd name="connsiteX47" fmla="*/ 84141 w 397429"/>
                  <a:gd name="connsiteY47" fmla="*/ 238863 h 384037"/>
                  <a:gd name="connsiteX48" fmla="*/ 80051 w 397429"/>
                  <a:gd name="connsiteY48" fmla="*/ 224456 h 384037"/>
                  <a:gd name="connsiteX49" fmla="*/ 80133 w 397429"/>
                  <a:gd name="connsiteY49" fmla="*/ 202502 h 384037"/>
                  <a:gd name="connsiteX50" fmla="*/ 78570 w 397429"/>
                  <a:gd name="connsiteY50" fmla="*/ 190509 h 384037"/>
                  <a:gd name="connsiteX51" fmla="*/ 81670 w 397429"/>
                  <a:gd name="connsiteY51" fmla="*/ 185707 h 384037"/>
                  <a:gd name="connsiteX52" fmla="*/ 81725 w 397429"/>
                  <a:gd name="connsiteY52" fmla="*/ 179697 h 384037"/>
                  <a:gd name="connsiteX53" fmla="*/ 78377 w 397429"/>
                  <a:gd name="connsiteY53" fmla="*/ 167786 h 384037"/>
                  <a:gd name="connsiteX54" fmla="*/ 65479 w 397429"/>
                  <a:gd name="connsiteY54" fmla="*/ 150195 h 384037"/>
                  <a:gd name="connsiteX55" fmla="*/ 61582 w 397429"/>
                  <a:gd name="connsiteY55" fmla="*/ 140865 h 384037"/>
                  <a:gd name="connsiteX56" fmla="*/ 48904 w 397429"/>
                  <a:gd name="connsiteY56" fmla="*/ 121161 h 384037"/>
                  <a:gd name="connsiteX57" fmla="*/ 42894 w 397429"/>
                  <a:gd name="connsiteY57" fmla="*/ 101813 h 384037"/>
                  <a:gd name="connsiteX58" fmla="*/ 38530 w 397429"/>
                  <a:gd name="connsiteY58" fmla="*/ 96078 h 384037"/>
                  <a:gd name="connsiteX59" fmla="*/ 24561 w 397429"/>
                  <a:gd name="connsiteY59" fmla="*/ 66494 h 384037"/>
                  <a:gd name="connsiteX60" fmla="*/ 17344 w 397429"/>
                  <a:gd name="connsiteY60" fmla="*/ 55353 h 384037"/>
                  <a:gd name="connsiteX61" fmla="*/ 7931 w 397429"/>
                  <a:gd name="connsiteY61" fmla="*/ 46049 h 384037"/>
                  <a:gd name="connsiteX62" fmla="*/ 1564 w 397429"/>
                  <a:gd name="connsiteY62" fmla="*/ 30709 h 384037"/>
                  <a:gd name="connsiteX63" fmla="*/ 0 w 397429"/>
                  <a:gd name="connsiteY63" fmla="*/ 8727 h 384037"/>
                  <a:gd name="connsiteX64" fmla="*/ 9880 w 397429"/>
                  <a:gd name="connsiteY64" fmla="*/ 5571 h 384037"/>
                  <a:gd name="connsiteX65" fmla="*/ 15039 w 397429"/>
                  <a:gd name="connsiteY65" fmla="*/ 7986 h 384037"/>
                  <a:gd name="connsiteX66" fmla="*/ 23272 w 397429"/>
                  <a:gd name="connsiteY66" fmla="*/ 8398 h 384037"/>
                  <a:gd name="connsiteX67" fmla="*/ 35813 w 397429"/>
                  <a:gd name="connsiteY67" fmla="*/ 823 h 384037"/>
                  <a:gd name="connsiteX68" fmla="*/ 41302 w 397429"/>
                  <a:gd name="connsiteY68" fmla="*/ 0 h 384037"/>
                  <a:gd name="connsiteX69" fmla="*/ 49672 w 397429"/>
                  <a:gd name="connsiteY69" fmla="*/ 1180 h 384037"/>
                  <a:gd name="connsiteX70" fmla="*/ 53157 w 397429"/>
                  <a:gd name="connsiteY70" fmla="*/ 5928 h 384037"/>
                  <a:gd name="connsiteX71" fmla="*/ 65397 w 397429"/>
                  <a:gd name="connsiteY71" fmla="*/ 13941 h 384037"/>
                  <a:gd name="connsiteX72" fmla="*/ 194790 w 397429"/>
                  <a:gd name="connsiteY72" fmla="*/ 13008 h 384037"/>
                  <a:gd name="connsiteX73" fmla="*/ 210241 w 397429"/>
                  <a:gd name="connsiteY73" fmla="*/ 26016 h 384037"/>
                  <a:gd name="connsiteX74" fmla="*/ 244490 w 397429"/>
                  <a:gd name="connsiteY74" fmla="*/ 28925 h 384037"/>
                  <a:gd name="connsiteX75" fmla="*/ 252448 w 397429"/>
                  <a:gd name="connsiteY75" fmla="*/ 27910 h 384037"/>
                  <a:gd name="connsiteX76" fmla="*/ 265977 w 397429"/>
                  <a:gd name="connsiteY76" fmla="*/ 32657 h 384037"/>
                  <a:gd name="connsiteX77" fmla="*/ 277394 w 397429"/>
                  <a:gd name="connsiteY77" fmla="*/ 29831 h 384037"/>
                  <a:gd name="connsiteX78" fmla="*/ 285956 w 397429"/>
                  <a:gd name="connsiteY78" fmla="*/ 32245 h 384037"/>
                  <a:gd name="connsiteX79" fmla="*/ 321000 w 397429"/>
                  <a:gd name="connsiteY79" fmla="*/ 25110 h 384037"/>
                  <a:gd name="connsiteX80" fmla="*/ 326626 w 397429"/>
                  <a:gd name="connsiteY80" fmla="*/ 23985 h 384037"/>
                  <a:gd name="connsiteX81" fmla="*/ 343449 w 397429"/>
                  <a:gd name="connsiteY81" fmla="*/ 20555 h 38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97429" h="384037">
                    <a:moveTo>
                      <a:pt x="343558" y="20582"/>
                    </a:moveTo>
                    <a:lnTo>
                      <a:pt x="372483" y="15780"/>
                    </a:lnTo>
                    <a:lnTo>
                      <a:pt x="388208" y="18058"/>
                    </a:lnTo>
                    <a:lnTo>
                      <a:pt x="397429" y="25412"/>
                    </a:lnTo>
                    <a:lnTo>
                      <a:pt x="384312" y="27443"/>
                    </a:lnTo>
                    <a:lnTo>
                      <a:pt x="376957" y="33645"/>
                    </a:lnTo>
                    <a:lnTo>
                      <a:pt x="372045" y="30572"/>
                    </a:lnTo>
                    <a:lnTo>
                      <a:pt x="365733" y="33288"/>
                    </a:lnTo>
                    <a:lnTo>
                      <a:pt x="349377" y="46626"/>
                    </a:lnTo>
                    <a:lnTo>
                      <a:pt x="338976" y="32191"/>
                    </a:lnTo>
                    <a:lnTo>
                      <a:pt x="321055" y="34359"/>
                    </a:lnTo>
                    <a:lnTo>
                      <a:pt x="272317" y="42427"/>
                    </a:lnTo>
                    <a:lnTo>
                      <a:pt x="271933" y="155821"/>
                    </a:lnTo>
                    <a:lnTo>
                      <a:pt x="242953" y="157715"/>
                    </a:lnTo>
                    <a:lnTo>
                      <a:pt x="242624" y="202584"/>
                    </a:lnTo>
                    <a:lnTo>
                      <a:pt x="242624" y="245258"/>
                    </a:lnTo>
                    <a:lnTo>
                      <a:pt x="242541" y="364937"/>
                    </a:lnTo>
                    <a:lnTo>
                      <a:pt x="229835" y="370014"/>
                    </a:lnTo>
                    <a:lnTo>
                      <a:pt x="226350" y="375502"/>
                    </a:lnTo>
                    <a:lnTo>
                      <a:pt x="220614" y="378137"/>
                    </a:lnTo>
                    <a:lnTo>
                      <a:pt x="220614" y="382061"/>
                    </a:lnTo>
                    <a:lnTo>
                      <a:pt x="217047" y="384037"/>
                    </a:lnTo>
                    <a:lnTo>
                      <a:pt x="205301" y="379756"/>
                    </a:lnTo>
                    <a:lnTo>
                      <a:pt x="189000" y="382171"/>
                    </a:lnTo>
                    <a:lnTo>
                      <a:pt x="181892" y="378110"/>
                    </a:lnTo>
                    <a:lnTo>
                      <a:pt x="167156" y="375338"/>
                    </a:lnTo>
                    <a:lnTo>
                      <a:pt x="164740" y="368505"/>
                    </a:lnTo>
                    <a:lnTo>
                      <a:pt x="165399" y="361781"/>
                    </a:lnTo>
                    <a:lnTo>
                      <a:pt x="160486" y="359339"/>
                    </a:lnTo>
                    <a:lnTo>
                      <a:pt x="159471" y="355304"/>
                    </a:lnTo>
                    <a:lnTo>
                      <a:pt x="156727" y="353465"/>
                    </a:lnTo>
                    <a:lnTo>
                      <a:pt x="151815" y="354810"/>
                    </a:lnTo>
                    <a:lnTo>
                      <a:pt x="147808" y="361314"/>
                    </a:lnTo>
                    <a:lnTo>
                      <a:pt x="147040" y="367269"/>
                    </a:lnTo>
                    <a:lnTo>
                      <a:pt x="138395" y="373060"/>
                    </a:lnTo>
                    <a:lnTo>
                      <a:pt x="117401" y="352533"/>
                    </a:lnTo>
                    <a:lnTo>
                      <a:pt x="104338" y="329014"/>
                    </a:lnTo>
                    <a:lnTo>
                      <a:pt x="102198" y="317461"/>
                    </a:lnTo>
                    <a:lnTo>
                      <a:pt x="98356" y="309420"/>
                    </a:lnTo>
                    <a:lnTo>
                      <a:pt x="99179" y="301269"/>
                    </a:lnTo>
                    <a:lnTo>
                      <a:pt x="94623" y="295890"/>
                    </a:lnTo>
                    <a:lnTo>
                      <a:pt x="94459" y="286999"/>
                    </a:lnTo>
                    <a:lnTo>
                      <a:pt x="90891" y="277229"/>
                    </a:lnTo>
                    <a:lnTo>
                      <a:pt x="91769" y="270945"/>
                    </a:lnTo>
                    <a:lnTo>
                      <a:pt x="89931" y="263206"/>
                    </a:lnTo>
                    <a:lnTo>
                      <a:pt x="91413" y="255494"/>
                    </a:lnTo>
                    <a:lnTo>
                      <a:pt x="88888" y="246383"/>
                    </a:lnTo>
                    <a:lnTo>
                      <a:pt x="84141" y="238863"/>
                    </a:lnTo>
                    <a:lnTo>
                      <a:pt x="80051" y="224456"/>
                    </a:lnTo>
                    <a:lnTo>
                      <a:pt x="80133" y="202502"/>
                    </a:lnTo>
                    <a:lnTo>
                      <a:pt x="78570" y="190509"/>
                    </a:lnTo>
                    <a:lnTo>
                      <a:pt x="81670" y="185707"/>
                    </a:lnTo>
                    <a:lnTo>
                      <a:pt x="81725" y="179697"/>
                    </a:lnTo>
                    <a:lnTo>
                      <a:pt x="78377" y="167786"/>
                    </a:lnTo>
                    <a:lnTo>
                      <a:pt x="65479" y="150195"/>
                    </a:lnTo>
                    <a:lnTo>
                      <a:pt x="61582" y="140865"/>
                    </a:lnTo>
                    <a:lnTo>
                      <a:pt x="48904" y="121161"/>
                    </a:lnTo>
                    <a:lnTo>
                      <a:pt x="42894" y="101813"/>
                    </a:lnTo>
                    <a:lnTo>
                      <a:pt x="38530" y="96078"/>
                    </a:lnTo>
                    <a:lnTo>
                      <a:pt x="24561" y="66494"/>
                    </a:lnTo>
                    <a:lnTo>
                      <a:pt x="17344" y="55353"/>
                    </a:lnTo>
                    <a:lnTo>
                      <a:pt x="7931" y="46049"/>
                    </a:lnTo>
                    <a:lnTo>
                      <a:pt x="1564" y="30709"/>
                    </a:lnTo>
                    <a:lnTo>
                      <a:pt x="0" y="8727"/>
                    </a:lnTo>
                    <a:lnTo>
                      <a:pt x="9880" y="5571"/>
                    </a:lnTo>
                    <a:lnTo>
                      <a:pt x="15039" y="7986"/>
                    </a:lnTo>
                    <a:lnTo>
                      <a:pt x="23272" y="8398"/>
                    </a:lnTo>
                    <a:lnTo>
                      <a:pt x="35813" y="823"/>
                    </a:lnTo>
                    <a:lnTo>
                      <a:pt x="41302" y="0"/>
                    </a:lnTo>
                    <a:lnTo>
                      <a:pt x="49672" y="1180"/>
                    </a:lnTo>
                    <a:lnTo>
                      <a:pt x="53157" y="5928"/>
                    </a:lnTo>
                    <a:lnTo>
                      <a:pt x="65397" y="13941"/>
                    </a:lnTo>
                    <a:lnTo>
                      <a:pt x="194790" y="13008"/>
                    </a:lnTo>
                    <a:lnTo>
                      <a:pt x="210241" y="26016"/>
                    </a:lnTo>
                    <a:lnTo>
                      <a:pt x="244490" y="28925"/>
                    </a:lnTo>
                    <a:lnTo>
                      <a:pt x="252448" y="27910"/>
                    </a:lnTo>
                    <a:lnTo>
                      <a:pt x="265977" y="32657"/>
                    </a:lnTo>
                    <a:lnTo>
                      <a:pt x="277394" y="29831"/>
                    </a:lnTo>
                    <a:lnTo>
                      <a:pt x="285956" y="32245"/>
                    </a:lnTo>
                    <a:lnTo>
                      <a:pt x="321000" y="25110"/>
                    </a:lnTo>
                    <a:lnTo>
                      <a:pt x="326626" y="23985"/>
                    </a:lnTo>
                    <a:lnTo>
                      <a:pt x="343449" y="205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59" name="Freeform: Shape 4158">
                <a:extLst>
                  <a:ext uri="{FF2B5EF4-FFF2-40B4-BE49-F238E27FC236}">
                    <a16:creationId xmlns:a16="http://schemas.microsoft.com/office/drawing/2014/main" id="{ED5E605E-9AD2-87DC-1380-6AACFDA2626D}"/>
                  </a:ext>
                </a:extLst>
              </p:cNvPr>
              <p:cNvSpPr/>
              <p:nvPr/>
            </p:nvSpPr>
            <p:spPr>
              <a:xfrm>
                <a:off x="1365973" y="3770216"/>
                <a:ext cx="48428" cy="38106"/>
              </a:xfrm>
              <a:custGeom>
                <a:avLst/>
                <a:gdLst>
                  <a:gd name="connsiteX0" fmla="*/ 435548 w 464307"/>
                  <a:gd name="connsiteY0" fmla="*/ 16466 h 365348"/>
                  <a:gd name="connsiteX1" fmla="*/ 441091 w 464307"/>
                  <a:gd name="connsiteY1" fmla="*/ 47915 h 365348"/>
                  <a:gd name="connsiteX2" fmla="*/ 441448 w 464307"/>
                  <a:gd name="connsiteY2" fmla="*/ 58042 h 365348"/>
                  <a:gd name="connsiteX3" fmla="*/ 441640 w 464307"/>
                  <a:gd name="connsiteY3" fmla="*/ 63695 h 365348"/>
                  <a:gd name="connsiteX4" fmla="*/ 453221 w 464307"/>
                  <a:gd name="connsiteY4" fmla="*/ 79914 h 365348"/>
                  <a:gd name="connsiteX5" fmla="*/ 453056 w 464307"/>
                  <a:gd name="connsiteY5" fmla="*/ 86665 h 365348"/>
                  <a:gd name="connsiteX6" fmla="*/ 460575 w 464307"/>
                  <a:gd name="connsiteY6" fmla="*/ 95749 h 365348"/>
                  <a:gd name="connsiteX7" fmla="*/ 464308 w 464307"/>
                  <a:gd name="connsiteY7" fmla="*/ 100194 h 365348"/>
                  <a:gd name="connsiteX8" fmla="*/ 459505 w 464307"/>
                  <a:gd name="connsiteY8" fmla="*/ 109881 h 365348"/>
                  <a:gd name="connsiteX9" fmla="*/ 457612 w 464307"/>
                  <a:gd name="connsiteY9" fmla="*/ 114602 h 365348"/>
                  <a:gd name="connsiteX10" fmla="*/ 457365 w 464307"/>
                  <a:gd name="connsiteY10" fmla="*/ 116495 h 365348"/>
                  <a:gd name="connsiteX11" fmla="*/ 456350 w 464307"/>
                  <a:gd name="connsiteY11" fmla="*/ 124701 h 365348"/>
                  <a:gd name="connsiteX12" fmla="*/ 455224 w 464307"/>
                  <a:gd name="connsiteY12" fmla="*/ 133757 h 365348"/>
                  <a:gd name="connsiteX13" fmla="*/ 453166 w 464307"/>
                  <a:gd name="connsiteY13" fmla="*/ 150470 h 365348"/>
                  <a:gd name="connsiteX14" fmla="*/ 450339 w 464307"/>
                  <a:gd name="connsiteY14" fmla="*/ 206947 h 365348"/>
                  <a:gd name="connsiteX15" fmla="*/ 417106 w 464307"/>
                  <a:gd name="connsiteY15" fmla="*/ 243721 h 365348"/>
                  <a:gd name="connsiteX16" fmla="*/ 402287 w 464307"/>
                  <a:gd name="connsiteY16" fmla="*/ 264550 h 365348"/>
                  <a:gd name="connsiteX17" fmla="*/ 400228 w 464307"/>
                  <a:gd name="connsiteY17" fmla="*/ 273661 h 365348"/>
                  <a:gd name="connsiteX18" fmla="*/ 396606 w 464307"/>
                  <a:gd name="connsiteY18" fmla="*/ 279287 h 365348"/>
                  <a:gd name="connsiteX19" fmla="*/ 391502 w 464307"/>
                  <a:gd name="connsiteY19" fmla="*/ 282059 h 365348"/>
                  <a:gd name="connsiteX20" fmla="*/ 395481 w 464307"/>
                  <a:gd name="connsiteY20" fmla="*/ 304590 h 365348"/>
                  <a:gd name="connsiteX21" fmla="*/ 387138 w 464307"/>
                  <a:gd name="connsiteY21" fmla="*/ 304754 h 365348"/>
                  <a:gd name="connsiteX22" fmla="*/ 381952 w 464307"/>
                  <a:gd name="connsiteY22" fmla="*/ 309721 h 365348"/>
                  <a:gd name="connsiteX23" fmla="*/ 373444 w 464307"/>
                  <a:gd name="connsiteY23" fmla="*/ 311395 h 365348"/>
                  <a:gd name="connsiteX24" fmla="*/ 364882 w 464307"/>
                  <a:gd name="connsiteY24" fmla="*/ 318064 h 365348"/>
                  <a:gd name="connsiteX25" fmla="*/ 360876 w 464307"/>
                  <a:gd name="connsiteY25" fmla="*/ 323690 h 365348"/>
                  <a:gd name="connsiteX26" fmla="*/ 350282 w 464307"/>
                  <a:gd name="connsiteY26" fmla="*/ 322812 h 365348"/>
                  <a:gd name="connsiteX27" fmla="*/ 343751 w 464307"/>
                  <a:gd name="connsiteY27" fmla="*/ 318723 h 365348"/>
                  <a:gd name="connsiteX28" fmla="*/ 331621 w 464307"/>
                  <a:gd name="connsiteY28" fmla="*/ 315237 h 365348"/>
                  <a:gd name="connsiteX29" fmla="*/ 309475 w 464307"/>
                  <a:gd name="connsiteY29" fmla="*/ 315237 h 365348"/>
                  <a:gd name="connsiteX30" fmla="*/ 292487 w 464307"/>
                  <a:gd name="connsiteY30" fmla="*/ 319134 h 365348"/>
                  <a:gd name="connsiteX31" fmla="*/ 276625 w 464307"/>
                  <a:gd name="connsiteY31" fmla="*/ 331868 h 365348"/>
                  <a:gd name="connsiteX32" fmla="*/ 256729 w 464307"/>
                  <a:gd name="connsiteY32" fmla="*/ 330578 h 365348"/>
                  <a:gd name="connsiteX33" fmla="*/ 241581 w 464307"/>
                  <a:gd name="connsiteY33" fmla="*/ 323827 h 365348"/>
                  <a:gd name="connsiteX34" fmla="*/ 232744 w 464307"/>
                  <a:gd name="connsiteY34" fmla="*/ 317543 h 365348"/>
                  <a:gd name="connsiteX35" fmla="*/ 225911 w 464307"/>
                  <a:gd name="connsiteY35" fmla="*/ 316116 h 365348"/>
                  <a:gd name="connsiteX36" fmla="*/ 213150 w 464307"/>
                  <a:gd name="connsiteY36" fmla="*/ 322428 h 365348"/>
                  <a:gd name="connsiteX37" fmla="*/ 198632 w 464307"/>
                  <a:gd name="connsiteY37" fmla="*/ 326105 h 365348"/>
                  <a:gd name="connsiteX38" fmla="*/ 182194 w 464307"/>
                  <a:gd name="connsiteY38" fmla="*/ 306346 h 365348"/>
                  <a:gd name="connsiteX39" fmla="*/ 157743 w 464307"/>
                  <a:gd name="connsiteY39" fmla="*/ 299293 h 365348"/>
                  <a:gd name="connsiteX40" fmla="*/ 148851 w 464307"/>
                  <a:gd name="connsiteY40" fmla="*/ 303574 h 365348"/>
                  <a:gd name="connsiteX41" fmla="*/ 130656 w 464307"/>
                  <a:gd name="connsiteY41" fmla="*/ 303876 h 365348"/>
                  <a:gd name="connsiteX42" fmla="*/ 116441 w 464307"/>
                  <a:gd name="connsiteY42" fmla="*/ 312383 h 365348"/>
                  <a:gd name="connsiteX43" fmla="*/ 114465 w 464307"/>
                  <a:gd name="connsiteY43" fmla="*/ 327312 h 365348"/>
                  <a:gd name="connsiteX44" fmla="*/ 102472 w 464307"/>
                  <a:gd name="connsiteY44" fmla="*/ 340622 h 365348"/>
                  <a:gd name="connsiteX45" fmla="*/ 102061 w 464307"/>
                  <a:gd name="connsiteY45" fmla="*/ 363372 h 365348"/>
                  <a:gd name="connsiteX46" fmla="*/ 100496 w 464307"/>
                  <a:gd name="connsiteY46" fmla="*/ 365348 h 365348"/>
                  <a:gd name="connsiteX47" fmla="*/ 99179 w 464307"/>
                  <a:gd name="connsiteY47" fmla="*/ 364333 h 365348"/>
                  <a:gd name="connsiteX48" fmla="*/ 98850 w 464307"/>
                  <a:gd name="connsiteY48" fmla="*/ 362878 h 365348"/>
                  <a:gd name="connsiteX49" fmla="*/ 92209 w 464307"/>
                  <a:gd name="connsiteY49" fmla="*/ 359283 h 365348"/>
                  <a:gd name="connsiteX50" fmla="*/ 88806 w 464307"/>
                  <a:gd name="connsiteY50" fmla="*/ 354096 h 365348"/>
                  <a:gd name="connsiteX51" fmla="*/ 77856 w 464307"/>
                  <a:gd name="connsiteY51" fmla="*/ 344519 h 365348"/>
                  <a:gd name="connsiteX52" fmla="*/ 64875 w 464307"/>
                  <a:gd name="connsiteY52" fmla="*/ 349212 h 365348"/>
                  <a:gd name="connsiteX53" fmla="*/ 66440 w 464307"/>
                  <a:gd name="connsiteY53" fmla="*/ 356402 h 365348"/>
                  <a:gd name="connsiteX54" fmla="*/ 65205 w 464307"/>
                  <a:gd name="connsiteY54" fmla="*/ 359256 h 365348"/>
                  <a:gd name="connsiteX55" fmla="*/ 57027 w 464307"/>
                  <a:gd name="connsiteY55" fmla="*/ 347236 h 365348"/>
                  <a:gd name="connsiteX56" fmla="*/ 59908 w 464307"/>
                  <a:gd name="connsiteY56" fmla="*/ 342461 h 365348"/>
                  <a:gd name="connsiteX57" fmla="*/ 58481 w 464307"/>
                  <a:gd name="connsiteY57" fmla="*/ 337987 h 365348"/>
                  <a:gd name="connsiteX58" fmla="*/ 54118 w 464307"/>
                  <a:gd name="connsiteY58" fmla="*/ 335353 h 365348"/>
                  <a:gd name="connsiteX59" fmla="*/ 47998 w 464307"/>
                  <a:gd name="connsiteY59" fmla="*/ 337384 h 365348"/>
                  <a:gd name="connsiteX60" fmla="*/ 41412 w 464307"/>
                  <a:gd name="connsiteY60" fmla="*/ 336670 h 365348"/>
                  <a:gd name="connsiteX61" fmla="*/ 25632 w 464307"/>
                  <a:gd name="connsiteY61" fmla="*/ 325913 h 365348"/>
                  <a:gd name="connsiteX62" fmla="*/ 24397 w 464307"/>
                  <a:gd name="connsiteY62" fmla="*/ 317213 h 365348"/>
                  <a:gd name="connsiteX63" fmla="*/ 28404 w 464307"/>
                  <a:gd name="connsiteY63" fmla="*/ 314002 h 365348"/>
                  <a:gd name="connsiteX64" fmla="*/ 21159 w 464307"/>
                  <a:gd name="connsiteY64" fmla="*/ 307800 h 365348"/>
                  <a:gd name="connsiteX65" fmla="*/ 13612 w 464307"/>
                  <a:gd name="connsiteY65" fmla="*/ 304480 h 365348"/>
                  <a:gd name="connsiteX66" fmla="*/ 6834 w 464307"/>
                  <a:gd name="connsiteY66" fmla="*/ 295286 h 365348"/>
                  <a:gd name="connsiteX67" fmla="*/ 5297 w 464307"/>
                  <a:gd name="connsiteY67" fmla="*/ 287300 h 365348"/>
                  <a:gd name="connsiteX68" fmla="*/ 2223 w 464307"/>
                  <a:gd name="connsiteY68" fmla="*/ 282992 h 365348"/>
                  <a:gd name="connsiteX69" fmla="*/ 0 w 464307"/>
                  <a:gd name="connsiteY69" fmla="*/ 279918 h 365348"/>
                  <a:gd name="connsiteX70" fmla="*/ 1263 w 464307"/>
                  <a:gd name="connsiteY70" fmla="*/ 265840 h 365348"/>
                  <a:gd name="connsiteX71" fmla="*/ 20939 w 464307"/>
                  <a:gd name="connsiteY71" fmla="*/ 265840 h 365348"/>
                  <a:gd name="connsiteX72" fmla="*/ 37542 w 464307"/>
                  <a:gd name="connsiteY72" fmla="*/ 257360 h 365348"/>
                  <a:gd name="connsiteX73" fmla="*/ 70172 w 464307"/>
                  <a:gd name="connsiteY73" fmla="*/ 254534 h 365348"/>
                  <a:gd name="connsiteX74" fmla="*/ 95886 w 464307"/>
                  <a:gd name="connsiteY74" fmla="*/ 254314 h 365348"/>
                  <a:gd name="connsiteX75" fmla="*/ 99481 w 464307"/>
                  <a:gd name="connsiteY75" fmla="*/ 251926 h 365348"/>
                  <a:gd name="connsiteX76" fmla="*/ 109031 w 464307"/>
                  <a:gd name="connsiteY76" fmla="*/ 240840 h 365348"/>
                  <a:gd name="connsiteX77" fmla="*/ 113751 w 464307"/>
                  <a:gd name="connsiteY77" fmla="*/ 225883 h 365348"/>
                  <a:gd name="connsiteX78" fmla="*/ 114986 w 464307"/>
                  <a:gd name="connsiteY78" fmla="*/ 209088 h 365348"/>
                  <a:gd name="connsiteX79" fmla="*/ 118883 w 464307"/>
                  <a:gd name="connsiteY79" fmla="*/ 200992 h 365348"/>
                  <a:gd name="connsiteX80" fmla="*/ 119295 w 464307"/>
                  <a:gd name="connsiteY80" fmla="*/ 138148 h 365348"/>
                  <a:gd name="connsiteX81" fmla="*/ 140124 w 464307"/>
                  <a:gd name="connsiteY81" fmla="*/ 133839 h 365348"/>
                  <a:gd name="connsiteX82" fmla="*/ 164905 w 464307"/>
                  <a:gd name="connsiteY82" fmla="*/ 128707 h 365348"/>
                  <a:gd name="connsiteX83" fmla="*/ 169351 w 464307"/>
                  <a:gd name="connsiteY83" fmla="*/ 124783 h 365348"/>
                  <a:gd name="connsiteX84" fmla="*/ 178599 w 464307"/>
                  <a:gd name="connsiteY84" fmla="*/ 116578 h 365348"/>
                  <a:gd name="connsiteX85" fmla="*/ 186091 w 464307"/>
                  <a:gd name="connsiteY85" fmla="*/ 109936 h 365348"/>
                  <a:gd name="connsiteX86" fmla="*/ 201953 w 464307"/>
                  <a:gd name="connsiteY86" fmla="*/ 95803 h 365348"/>
                  <a:gd name="connsiteX87" fmla="*/ 214961 w 464307"/>
                  <a:gd name="connsiteY87" fmla="*/ 84167 h 365348"/>
                  <a:gd name="connsiteX88" fmla="*/ 256235 w 464307"/>
                  <a:gd name="connsiteY88" fmla="*/ 58097 h 365348"/>
                  <a:gd name="connsiteX89" fmla="*/ 347346 w 464307"/>
                  <a:gd name="connsiteY89" fmla="*/ 0 h 365348"/>
                  <a:gd name="connsiteX90" fmla="*/ 389663 w 464307"/>
                  <a:gd name="connsiteY90" fmla="*/ 9989 h 365348"/>
                  <a:gd name="connsiteX91" fmla="*/ 411672 w 464307"/>
                  <a:gd name="connsiteY91" fmla="*/ 27251 h 365348"/>
                  <a:gd name="connsiteX92" fmla="*/ 435575 w 464307"/>
                  <a:gd name="connsiteY92" fmla="*/ 16520 h 36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64307" h="365348">
                    <a:moveTo>
                      <a:pt x="435548" y="16466"/>
                    </a:moveTo>
                    <a:lnTo>
                      <a:pt x="441091" y="47915"/>
                    </a:lnTo>
                    <a:lnTo>
                      <a:pt x="441448" y="58042"/>
                    </a:lnTo>
                    <a:lnTo>
                      <a:pt x="441640" y="63695"/>
                    </a:lnTo>
                    <a:lnTo>
                      <a:pt x="453221" y="79914"/>
                    </a:lnTo>
                    <a:lnTo>
                      <a:pt x="453056" y="86665"/>
                    </a:lnTo>
                    <a:lnTo>
                      <a:pt x="460575" y="95749"/>
                    </a:lnTo>
                    <a:lnTo>
                      <a:pt x="464308" y="100194"/>
                    </a:lnTo>
                    <a:lnTo>
                      <a:pt x="459505" y="109881"/>
                    </a:lnTo>
                    <a:lnTo>
                      <a:pt x="457612" y="114602"/>
                    </a:lnTo>
                    <a:lnTo>
                      <a:pt x="457365" y="116495"/>
                    </a:lnTo>
                    <a:lnTo>
                      <a:pt x="456350" y="124701"/>
                    </a:lnTo>
                    <a:lnTo>
                      <a:pt x="455224" y="133757"/>
                    </a:lnTo>
                    <a:lnTo>
                      <a:pt x="453166" y="150470"/>
                    </a:lnTo>
                    <a:lnTo>
                      <a:pt x="450339" y="206947"/>
                    </a:lnTo>
                    <a:lnTo>
                      <a:pt x="417106" y="243721"/>
                    </a:lnTo>
                    <a:lnTo>
                      <a:pt x="402287" y="264550"/>
                    </a:lnTo>
                    <a:lnTo>
                      <a:pt x="400228" y="273661"/>
                    </a:lnTo>
                    <a:lnTo>
                      <a:pt x="396606" y="279287"/>
                    </a:lnTo>
                    <a:lnTo>
                      <a:pt x="391502" y="282059"/>
                    </a:lnTo>
                    <a:lnTo>
                      <a:pt x="395481" y="304590"/>
                    </a:lnTo>
                    <a:lnTo>
                      <a:pt x="387138" y="304754"/>
                    </a:lnTo>
                    <a:lnTo>
                      <a:pt x="381952" y="309721"/>
                    </a:lnTo>
                    <a:lnTo>
                      <a:pt x="373444" y="311395"/>
                    </a:lnTo>
                    <a:lnTo>
                      <a:pt x="364882" y="318064"/>
                    </a:lnTo>
                    <a:lnTo>
                      <a:pt x="360876" y="323690"/>
                    </a:lnTo>
                    <a:lnTo>
                      <a:pt x="350282" y="322812"/>
                    </a:lnTo>
                    <a:lnTo>
                      <a:pt x="343751" y="318723"/>
                    </a:lnTo>
                    <a:lnTo>
                      <a:pt x="331621" y="315237"/>
                    </a:lnTo>
                    <a:lnTo>
                      <a:pt x="309475" y="315237"/>
                    </a:lnTo>
                    <a:cubicBezTo>
                      <a:pt x="309475" y="315237"/>
                      <a:pt x="292487" y="319134"/>
                      <a:pt x="292487" y="319134"/>
                    </a:cubicBezTo>
                    <a:lnTo>
                      <a:pt x="276625" y="331868"/>
                    </a:lnTo>
                    <a:lnTo>
                      <a:pt x="256729" y="330578"/>
                    </a:lnTo>
                    <a:lnTo>
                      <a:pt x="241581" y="323827"/>
                    </a:lnTo>
                    <a:lnTo>
                      <a:pt x="232744" y="317543"/>
                    </a:lnTo>
                    <a:lnTo>
                      <a:pt x="225911" y="316116"/>
                    </a:lnTo>
                    <a:lnTo>
                      <a:pt x="213150" y="322428"/>
                    </a:lnTo>
                    <a:lnTo>
                      <a:pt x="198632" y="326105"/>
                    </a:lnTo>
                    <a:lnTo>
                      <a:pt x="182194" y="306346"/>
                    </a:lnTo>
                    <a:lnTo>
                      <a:pt x="157743" y="299293"/>
                    </a:lnTo>
                    <a:lnTo>
                      <a:pt x="148851" y="303574"/>
                    </a:lnTo>
                    <a:lnTo>
                      <a:pt x="130656" y="303876"/>
                    </a:lnTo>
                    <a:lnTo>
                      <a:pt x="116441" y="312383"/>
                    </a:lnTo>
                    <a:lnTo>
                      <a:pt x="114465" y="327312"/>
                    </a:lnTo>
                    <a:lnTo>
                      <a:pt x="102472" y="340622"/>
                    </a:lnTo>
                    <a:lnTo>
                      <a:pt x="102061" y="363372"/>
                    </a:lnTo>
                    <a:lnTo>
                      <a:pt x="100496" y="365348"/>
                    </a:lnTo>
                    <a:lnTo>
                      <a:pt x="99179" y="364333"/>
                    </a:lnTo>
                    <a:lnTo>
                      <a:pt x="98850" y="362878"/>
                    </a:lnTo>
                    <a:lnTo>
                      <a:pt x="92209" y="359283"/>
                    </a:lnTo>
                    <a:lnTo>
                      <a:pt x="88806" y="354096"/>
                    </a:lnTo>
                    <a:lnTo>
                      <a:pt x="77856" y="344519"/>
                    </a:lnTo>
                    <a:lnTo>
                      <a:pt x="64875" y="349212"/>
                    </a:lnTo>
                    <a:lnTo>
                      <a:pt x="66440" y="356402"/>
                    </a:lnTo>
                    <a:lnTo>
                      <a:pt x="65205" y="359256"/>
                    </a:lnTo>
                    <a:lnTo>
                      <a:pt x="57027" y="347236"/>
                    </a:lnTo>
                    <a:lnTo>
                      <a:pt x="59908" y="342461"/>
                    </a:lnTo>
                    <a:lnTo>
                      <a:pt x="58481" y="337987"/>
                    </a:lnTo>
                    <a:lnTo>
                      <a:pt x="54118" y="335353"/>
                    </a:lnTo>
                    <a:lnTo>
                      <a:pt x="47998" y="337384"/>
                    </a:lnTo>
                    <a:lnTo>
                      <a:pt x="41412" y="336670"/>
                    </a:lnTo>
                    <a:lnTo>
                      <a:pt x="25632" y="325913"/>
                    </a:lnTo>
                    <a:lnTo>
                      <a:pt x="24397" y="317213"/>
                    </a:lnTo>
                    <a:lnTo>
                      <a:pt x="28404" y="314002"/>
                    </a:lnTo>
                    <a:lnTo>
                      <a:pt x="21159" y="307800"/>
                    </a:lnTo>
                    <a:lnTo>
                      <a:pt x="13612" y="304480"/>
                    </a:lnTo>
                    <a:lnTo>
                      <a:pt x="6834" y="295286"/>
                    </a:lnTo>
                    <a:lnTo>
                      <a:pt x="5297" y="287300"/>
                    </a:lnTo>
                    <a:lnTo>
                      <a:pt x="2223" y="282992"/>
                    </a:lnTo>
                    <a:lnTo>
                      <a:pt x="0" y="279918"/>
                    </a:lnTo>
                    <a:lnTo>
                      <a:pt x="1263" y="265840"/>
                    </a:lnTo>
                    <a:lnTo>
                      <a:pt x="20939" y="265840"/>
                    </a:lnTo>
                    <a:lnTo>
                      <a:pt x="37542" y="257360"/>
                    </a:lnTo>
                    <a:lnTo>
                      <a:pt x="70172" y="254534"/>
                    </a:lnTo>
                    <a:lnTo>
                      <a:pt x="95886" y="254314"/>
                    </a:lnTo>
                    <a:lnTo>
                      <a:pt x="99481" y="251926"/>
                    </a:lnTo>
                    <a:lnTo>
                      <a:pt x="109031" y="240840"/>
                    </a:lnTo>
                    <a:lnTo>
                      <a:pt x="113751" y="225883"/>
                    </a:lnTo>
                    <a:lnTo>
                      <a:pt x="114986" y="209088"/>
                    </a:lnTo>
                    <a:lnTo>
                      <a:pt x="118883" y="200992"/>
                    </a:lnTo>
                    <a:lnTo>
                      <a:pt x="119295" y="138148"/>
                    </a:lnTo>
                    <a:lnTo>
                      <a:pt x="140124" y="133839"/>
                    </a:lnTo>
                    <a:lnTo>
                      <a:pt x="164905" y="128707"/>
                    </a:lnTo>
                    <a:lnTo>
                      <a:pt x="169351" y="124783"/>
                    </a:lnTo>
                    <a:lnTo>
                      <a:pt x="178599" y="116578"/>
                    </a:lnTo>
                    <a:lnTo>
                      <a:pt x="186091" y="109936"/>
                    </a:lnTo>
                    <a:lnTo>
                      <a:pt x="201953" y="95803"/>
                    </a:lnTo>
                    <a:lnTo>
                      <a:pt x="214961" y="84167"/>
                    </a:lnTo>
                    <a:lnTo>
                      <a:pt x="256235" y="58097"/>
                    </a:lnTo>
                    <a:lnTo>
                      <a:pt x="347346" y="0"/>
                    </a:lnTo>
                    <a:lnTo>
                      <a:pt x="389663" y="9989"/>
                    </a:lnTo>
                    <a:lnTo>
                      <a:pt x="411672" y="27251"/>
                    </a:lnTo>
                    <a:lnTo>
                      <a:pt x="435575" y="165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0" name="Freeform: Shape 4159">
                <a:extLst>
                  <a:ext uri="{FF2B5EF4-FFF2-40B4-BE49-F238E27FC236}">
                    <a16:creationId xmlns:a16="http://schemas.microsoft.com/office/drawing/2014/main" id="{53126E4B-EB1F-3E70-3053-6E34905DE712}"/>
                  </a:ext>
                </a:extLst>
              </p:cNvPr>
              <p:cNvSpPr/>
              <p:nvPr/>
            </p:nvSpPr>
            <p:spPr>
              <a:xfrm>
                <a:off x="1524912" y="3765276"/>
                <a:ext cx="23952" cy="27364"/>
              </a:xfrm>
              <a:custGeom>
                <a:avLst/>
                <a:gdLst>
                  <a:gd name="connsiteX0" fmla="*/ 128625 w 229642"/>
                  <a:gd name="connsiteY0" fmla="*/ 0 h 262354"/>
                  <a:gd name="connsiteX1" fmla="*/ 133730 w 229642"/>
                  <a:gd name="connsiteY1" fmla="*/ 12734 h 262354"/>
                  <a:gd name="connsiteX2" fmla="*/ 142676 w 229642"/>
                  <a:gd name="connsiteY2" fmla="*/ 24314 h 262354"/>
                  <a:gd name="connsiteX3" fmla="*/ 154284 w 229642"/>
                  <a:gd name="connsiteY3" fmla="*/ 34606 h 262354"/>
                  <a:gd name="connsiteX4" fmla="*/ 185761 w 229642"/>
                  <a:gd name="connsiteY4" fmla="*/ 44183 h 262354"/>
                  <a:gd name="connsiteX5" fmla="*/ 191085 w 229642"/>
                  <a:gd name="connsiteY5" fmla="*/ 43195 h 262354"/>
                  <a:gd name="connsiteX6" fmla="*/ 198385 w 229642"/>
                  <a:gd name="connsiteY6" fmla="*/ 47614 h 262354"/>
                  <a:gd name="connsiteX7" fmla="*/ 213204 w 229642"/>
                  <a:gd name="connsiteY7" fmla="*/ 69074 h 262354"/>
                  <a:gd name="connsiteX8" fmla="*/ 220806 w 229642"/>
                  <a:gd name="connsiteY8" fmla="*/ 76922 h 262354"/>
                  <a:gd name="connsiteX9" fmla="*/ 229231 w 229642"/>
                  <a:gd name="connsiteY9" fmla="*/ 79804 h 262354"/>
                  <a:gd name="connsiteX10" fmla="*/ 229643 w 229642"/>
                  <a:gd name="connsiteY10" fmla="*/ 87625 h 262354"/>
                  <a:gd name="connsiteX11" fmla="*/ 219763 w 229642"/>
                  <a:gd name="connsiteY11" fmla="*/ 105463 h 262354"/>
                  <a:gd name="connsiteX12" fmla="*/ 215455 w 229642"/>
                  <a:gd name="connsiteY12" fmla="*/ 113257 h 262354"/>
                  <a:gd name="connsiteX13" fmla="*/ 201569 w 229642"/>
                  <a:gd name="connsiteY13" fmla="*/ 125524 h 262354"/>
                  <a:gd name="connsiteX14" fmla="*/ 192595 w 229642"/>
                  <a:gd name="connsiteY14" fmla="*/ 143197 h 262354"/>
                  <a:gd name="connsiteX15" fmla="*/ 191085 w 229642"/>
                  <a:gd name="connsiteY15" fmla="*/ 146134 h 262354"/>
                  <a:gd name="connsiteX16" fmla="*/ 183676 w 229642"/>
                  <a:gd name="connsiteY16" fmla="*/ 146628 h 262354"/>
                  <a:gd name="connsiteX17" fmla="*/ 183621 w 229642"/>
                  <a:gd name="connsiteY17" fmla="*/ 143225 h 262354"/>
                  <a:gd name="connsiteX18" fmla="*/ 183566 w 229642"/>
                  <a:gd name="connsiteY18" fmla="*/ 140535 h 262354"/>
                  <a:gd name="connsiteX19" fmla="*/ 180438 w 229642"/>
                  <a:gd name="connsiteY19" fmla="*/ 140426 h 262354"/>
                  <a:gd name="connsiteX20" fmla="*/ 178407 w 229642"/>
                  <a:gd name="connsiteY20" fmla="*/ 143225 h 262354"/>
                  <a:gd name="connsiteX21" fmla="*/ 171765 w 229642"/>
                  <a:gd name="connsiteY21" fmla="*/ 152281 h 262354"/>
                  <a:gd name="connsiteX22" fmla="*/ 171162 w 229642"/>
                  <a:gd name="connsiteY22" fmla="*/ 157385 h 262354"/>
                  <a:gd name="connsiteX23" fmla="*/ 168692 w 229642"/>
                  <a:gd name="connsiteY23" fmla="*/ 164027 h 262354"/>
                  <a:gd name="connsiteX24" fmla="*/ 167347 w 229642"/>
                  <a:gd name="connsiteY24" fmla="*/ 167649 h 262354"/>
                  <a:gd name="connsiteX25" fmla="*/ 168006 w 229642"/>
                  <a:gd name="connsiteY25" fmla="*/ 172232 h 262354"/>
                  <a:gd name="connsiteX26" fmla="*/ 169296 w 229642"/>
                  <a:gd name="connsiteY26" fmla="*/ 181288 h 262354"/>
                  <a:gd name="connsiteX27" fmla="*/ 170640 w 229642"/>
                  <a:gd name="connsiteY27" fmla="*/ 190509 h 262354"/>
                  <a:gd name="connsiteX28" fmla="*/ 153762 w 229642"/>
                  <a:gd name="connsiteY28" fmla="*/ 192759 h 262354"/>
                  <a:gd name="connsiteX29" fmla="*/ 141908 w 229642"/>
                  <a:gd name="connsiteY29" fmla="*/ 197233 h 262354"/>
                  <a:gd name="connsiteX30" fmla="*/ 136775 w 229642"/>
                  <a:gd name="connsiteY30" fmla="*/ 203215 h 262354"/>
                  <a:gd name="connsiteX31" fmla="*/ 133372 w 229642"/>
                  <a:gd name="connsiteY31" fmla="*/ 216909 h 262354"/>
                  <a:gd name="connsiteX32" fmla="*/ 127719 w 229642"/>
                  <a:gd name="connsiteY32" fmla="*/ 222919 h 262354"/>
                  <a:gd name="connsiteX33" fmla="*/ 109168 w 229642"/>
                  <a:gd name="connsiteY33" fmla="*/ 224099 h 262354"/>
                  <a:gd name="connsiteX34" fmla="*/ 101484 w 229642"/>
                  <a:gd name="connsiteY34" fmla="*/ 226350 h 262354"/>
                  <a:gd name="connsiteX35" fmla="*/ 95474 w 229642"/>
                  <a:gd name="connsiteY35" fmla="*/ 234747 h 262354"/>
                  <a:gd name="connsiteX36" fmla="*/ 96764 w 229642"/>
                  <a:gd name="connsiteY36" fmla="*/ 239824 h 262354"/>
                  <a:gd name="connsiteX37" fmla="*/ 95172 w 229642"/>
                  <a:gd name="connsiteY37" fmla="*/ 245340 h 262354"/>
                  <a:gd name="connsiteX38" fmla="*/ 88559 w 229642"/>
                  <a:gd name="connsiteY38" fmla="*/ 251487 h 262354"/>
                  <a:gd name="connsiteX39" fmla="*/ 82575 w 229642"/>
                  <a:gd name="connsiteY39" fmla="*/ 253298 h 262354"/>
                  <a:gd name="connsiteX40" fmla="*/ 75139 w 229642"/>
                  <a:gd name="connsiteY40" fmla="*/ 250829 h 262354"/>
                  <a:gd name="connsiteX41" fmla="*/ 61828 w 229642"/>
                  <a:gd name="connsiteY41" fmla="*/ 251871 h 262354"/>
                  <a:gd name="connsiteX42" fmla="*/ 47833 w 229642"/>
                  <a:gd name="connsiteY42" fmla="*/ 258842 h 262354"/>
                  <a:gd name="connsiteX43" fmla="*/ 32547 w 229642"/>
                  <a:gd name="connsiteY43" fmla="*/ 262355 h 262354"/>
                  <a:gd name="connsiteX44" fmla="*/ 0 w 229642"/>
                  <a:gd name="connsiteY44" fmla="*/ 189878 h 262354"/>
                  <a:gd name="connsiteX45" fmla="*/ 23573 w 229642"/>
                  <a:gd name="connsiteY45" fmla="*/ 181261 h 262354"/>
                  <a:gd name="connsiteX46" fmla="*/ 48272 w 229642"/>
                  <a:gd name="connsiteY46" fmla="*/ 172205 h 262354"/>
                  <a:gd name="connsiteX47" fmla="*/ 70611 w 229642"/>
                  <a:gd name="connsiteY47" fmla="*/ 163999 h 262354"/>
                  <a:gd name="connsiteX48" fmla="*/ 88640 w 229642"/>
                  <a:gd name="connsiteY48" fmla="*/ 157358 h 262354"/>
                  <a:gd name="connsiteX49" fmla="*/ 93031 w 229642"/>
                  <a:gd name="connsiteY49" fmla="*/ 143225 h 262354"/>
                  <a:gd name="connsiteX50" fmla="*/ 104640 w 229642"/>
                  <a:gd name="connsiteY50" fmla="*/ 105518 h 262354"/>
                  <a:gd name="connsiteX51" fmla="*/ 107521 w 229642"/>
                  <a:gd name="connsiteY51" fmla="*/ 96187 h 262354"/>
                  <a:gd name="connsiteX52" fmla="*/ 94404 w 229642"/>
                  <a:gd name="connsiteY52" fmla="*/ 73163 h 262354"/>
                  <a:gd name="connsiteX53" fmla="*/ 94815 w 229642"/>
                  <a:gd name="connsiteY53" fmla="*/ 68388 h 262354"/>
                  <a:gd name="connsiteX54" fmla="*/ 95419 w 229642"/>
                  <a:gd name="connsiteY54" fmla="*/ 59990 h 262354"/>
                  <a:gd name="connsiteX55" fmla="*/ 104887 w 229642"/>
                  <a:gd name="connsiteY55" fmla="*/ 43470 h 262354"/>
                  <a:gd name="connsiteX56" fmla="*/ 103405 w 229642"/>
                  <a:gd name="connsiteY56" fmla="*/ 33563 h 262354"/>
                  <a:gd name="connsiteX57" fmla="*/ 108921 w 229642"/>
                  <a:gd name="connsiteY57" fmla="*/ 30297 h 262354"/>
                  <a:gd name="connsiteX58" fmla="*/ 113092 w 229642"/>
                  <a:gd name="connsiteY58" fmla="*/ 30928 h 262354"/>
                  <a:gd name="connsiteX59" fmla="*/ 117703 w 229642"/>
                  <a:gd name="connsiteY59" fmla="*/ 29281 h 262354"/>
                  <a:gd name="connsiteX60" fmla="*/ 116083 w 229642"/>
                  <a:gd name="connsiteY60" fmla="*/ 25083 h 262354"/>
                  <a:gd name="connsiteX61" fmla="*/ 111336 w 229642"/>
                  <a:gd name="connsiteY61" fmla="*/ 24369 h 262354"/>
                  <a:gd name="connsiteX62" fmla="*/ 113065 w 229642"/>
                  <a:gd name="connsiteY62" fmla="*/ 1317 h 262354"/>
                  <a:gd name="connsiteX63" fmla="*/ 118169 w 229642"/>
                  <a:gd name="connsiteY63" fmla="*/ 439 h 262354"/>
                  <a:gd name="connsiteX64" fmla="*/ 118361 w 229642"/>
                  <a:gd name="connsiteY64" fmla="*/ 4501 h 262354"/>
                  <a:gd name="connsiteX65" fmla="*/ 121298 w 229642"/>
                  <a:gd name="connsiteY65" fmla="*/ 7409 h 262354"/>
                  <a:gd name="connsiteX66" fmla="*/ 128707 w 229642"/>
                  <a:gd name="connsiteY66" fmla="*/ 110 h 262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29642" h="262354">
                    <a:moveTo>
                      <a:pt x="128625" y="0"/>
                    </a:moveTo>
                    <a:lnTo>
                      <a:pt x="133730" y="12734"/>
                    </a:lnTo>
                    <a:lnTo>
                      <a:pt x="142676" y="24314"/>
                    </a:lnTo>
                    <a:lnTo>
                      <a:pt x="154284" y="34606"/>
                    </a:lnTo>
                    <a:lnTo>
                      <a:pt x="185761" y="44183"/>
                    </a:lnTo>
                    <a:lnTo>
                      <a:pt x="191085" y="43195"/>
                    </a:lnTo>
                    <a:lnTo>
                      <a:pt x="198385" y="47614"/>
                    </a:lnTo>
                    <a:lnTo>
                      <a:pt x="213204" y="69074"/>
                    </a:lnTo>
                    <a:lnTo>
                      <a:pt x="220806" y="76922"/>
                    </a:lnTo>
                    <a:lnTo>
                      <a:pt x="229231" y="79804"/>
                    </a:lnTo>
                    <a:lnTo>
                      <a:pt x="229643" y="87625"/>
                    </a:lnTo>
                    <a:lnTo>
                      <a:pt x="219763" y="105463"/>
                    </a:lnTo>
                    <a:lnTo>
                      <a:pt x="215455" y="113257"/>
                    </a:lnTo>
                    <a:lnTo>
                      <a:pt x="201569" y="125524"/>
                    </a:lnTo>
                    <a:lnTo>
                      <a:pt x="192595" y="143197"/>
                    </a:lnTo>
                    <a:lnTo>
                      <a:pt x="191085" y="146134"/>
                    </a:lnTo>
                    <a:lnTo>
                      <a:pt x="183676" y="146628"/>
                    </a:lnTo>
                    <a:lnTo>
                      <a:pt x="183621" y="143225"/>
                    </a:lnTo>
                    <a:lnTo>
                      <a:pt x="183566" y="140535"/>
                    </a:lnTo>
                    <a:lnTo>
                      <a:pt x="180438" y="140426"/>
                    </a:lnTo>
                    <a:lnTo>
                      <a:pt x="178407" y="143225"/>
                    </a:lnTo>
                    <a:lnTo>
                      <a:pt x="171765" y="152281"/>
                    </a:lnTo>
                    <a:lnTo>
                      <a:pt x="171162" y="157385"/>
                    </a:lnTo>
                    <a:lnTo>
                      <a:pt x="168692" y="164027"/>
                    </a:lnTo>
                    <a:lnTo>
                      <a:pt x="167347" y="167649"/>
                    </a:lnTo>
                    <a:lnTo>
                      <a:pt x="168006" y="172232"/>
                    </a:lnTo>
                    <a:lnTo>
                      <a:pt x="169296" y="181288"/>
                    </a:lnTo>
                    <a:lnTo>
                      <a:pt x="170640" y="190509"/>
                    </a:lnTo>
                    <a:lnTo>
                      <a:pt x="153762" y="192759"/>
                    </a:lnTo>
                    <a:lnTo>
                      <a:pt x="141908" y="197233"/>
                    </a:lnTo>
                    <a:lnTo>
                      <a:pt x="136775" y="203215"/>
                    </a:lnTo>
                    <a:lnTo>
                      <a:pt x="133372" y="216909"/>
                    </a:lnTo>
                    <a:lnTo>
                      <a:pt x="127719" y="222919"/>
                    </a:lnTo>
                    <a:lnTo>
                      <a:pt x="109168" y="224099"/>
                    </a:lnTo>
                    <a:lnTo>
                      <a:pt x="101484" y="226350"/>
                    </a:lnTo>
                    <a:lnTo>
                      <a:pt x="95474" y="234747"/>
                    </a:lnTo>
                    <a:lnTo>
                      <a:pt x="96764" y="239824"/>
                    </a:lnTo>
                    <a:lnTo>
                      <a:pt x="95172" y="245340"/>
                    </a:lnTo>
                    <a:lnTo>
                      <a:pt x="88559" y="251487"/>
                    </a:lnTo>
                    <a:lnTo>
                      <a:pt x="82575" y="253298"/>
                    </a:lnTo>
                    <a:lnTo>
                      <a:pt x="75139" y="250829"/>
                    </a:lnTo>
                    <a:lnTo>
                      <a:pt x="61828" y="251871"/>
                    </a:lnTo>
                    <a:lnTo>
                      <a:pt x="47833" y="258842"/>
                    </a:lnTo>
                    <a:lnTo>
                      <a:pt x="32547" y="262355"/>
                    </a:lnTo>
                    <a:lnTo>
                      <a:pt x="0" y="189878"/>
                    </a:lnTo>
                    <a:lnTo>
                      <a:pt x="23573" y="181261"/>
                    </a:lnTo>
                    <a:lnTo>
                      <a:pt x="48272" y="172205"/>
                    </a:lnTo>
                    <a:lnTo>
                      <a:pt x="70611" y="163999"/>
                    </a:lnTo>
                    <a:lnTo>
                      <a:pt x="88640" y="157358"/>
                    </a:lnTo>
                    <a:lnTo>
                      <a:pt x="93031" y="143225"/>
                    </a:lnTo>
                    <a:lnTo>
                      <a:pt x="104640" y="105518"/>
                    </a:lnTo>
                    <a:lnTo>
                      <a:pt x="107521" y="96187"/>
                    </a:lnTo>
                    <a:lnTo>
                      <a:pt x="94404" y="73163"/>
                    </a:lnTo>
                    <a:lnTo>
                      <a:pt x="94815" y="68388"/>
                    </a:lnTo>
                    <a:lnTo>
                      <a:pt x="95419" y="59990"/>
                    </a:lnTo>
                    <a:lnTo>
                      <a:pt x="104887" y="43470"/>
                    </a:lnTo>
                    <a:lnTo>
                      <a:pt x="103405" y="33563"/>
                    </a:lnTo>
                    <a:lnTo>
                      <a:pt x="108921" y="30297"/>
                    </a:lnTo>
                    <a:lnTo>
                      <a:pt x="113092" y="30928"/>
                    </a:lnTo>
                    <a:lnTo>
                      <a:pt x="117703" y="29281"/>
                    </a:lnTo>
                    <a:lnTo>
                      <a:pt x="116083" y="25083"/>
                    </a:lnTo>
                    <a:lnTo>
                      <a:pt x="111336" y="24369"/>
                    </a:lnTo>
                    <a:lnTo>
                      <a:pt x="113065" y="1317"/>
                    </a:lnTo>
                    <a:lnTo>
                      <a:pt x="118169" y="439"/>
                    </a:lnTo>
                    <a:lnTo>
                      <a:pt x="118361" y="4501"/>
                    </a:lnTo>
                    <a:lnTo>
                      <a:pt x="121298" y="7409"/>
                    </a:lnTo>
                    <a:lnTo>
                      <a:pt x="128707" y="1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1" name="Freeform: Shape 4160">
                <a:extLst>
                  <a:ext uri="{FF2B5EF4-FFF2-40B4-BE49-F238E27FC236}">
                    <a16:creationId xmlns:a16="http://schemas.microsoft.com/office/drawing/2014/main" id="{3495DA30-C1BD-BE22-CFB2-393C5620B23D}"/>
                  </a:ext>
                </a:extLst>
              </p:cNvPr>
              <p:cNvSpPr/>
              <p:nvPr/>
            </p:nvSpPr>
            <p:spPr>
              <a:xfrm>
                <a:off x="1537441" y="3760616"/>
                <a:ext cx="1079" cy="2473"/>
              </a:xfrm>
              <a:custGeom>
                <a:avLst/>
                <a:gdLst>
                  <a:gd name="connsiteX0" fmla="*/ 10345 w 10345"/>
                  <a:gd name="connsiteY0" fmla="*/ 9605 h 23710"/>
                  <a:gd name="connsiteX1" fmla="*/ 5324 w 10345"/>
                  <a:gd name="connsiteY1" fmla="*/ 23711 h 23710"/>
                  <a:gd name="connsiteX2" fmla="*/ 2717 w 10345"/>
                  <a:gd name="connsiteY2" fmla="*/ 22668 h 23710"/>
                  <a:gd name="connsiteX3" fmla="*/ 2717 w 10345"/>
                  <a:gd name="connsiteY3" fmla="*/ 11471 h 23710"/>
                  <a:gd name="connsiteX4" fmla="*/ 0 w 10345"/>
                  <a:gd name="connsiteY4" fmla="*/ 9797 h 23710"/>
                  <a:gd name="connsiteX5" fmla="*/ 3156 w 10345"/>
                  <a:gd name="connsiteY5" fmla="*/ 4171 h 23710"/>
                  <a:gd name="connsiteX6" fmla="*/ 5653 w 10345"/>
                  <a:gd name="connsiteY6" fmla="*/ 4062 h 23710"/>
                  <a:gd name="connsiteX7" fmla="*/ 7601 w 10345"/>
                  <a:gd name="connsiteY7" fmla="*/ 0 h 23710"/>
                  <a:gd name="connsiteX8" fmla="*/ 9440 w 10345"/>
                  <a:gd name="connsiteY8" fmla="*/ 110 h 23710"/>
                  <a:gd name="connsiteX9" fmla="*/ 10209 w 10345"/>
                  <a:gd name="connsiteY9" fmla="*/ 5406 h 23710"/>
                  <a:gd name="connsiteX10" fmla="*/ 7711 w 10345"/>
                  <a:gd name="connsiteY10" fmla="*/ 6916 h 23710"/>
                  <a:gd name="connsiteX11" fmla="*/ 10318 w 10345"/>
                  <a:gd name="connsiteY11" fmla="*/ 9633 h 2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45" h="23710">
                    <a:moveTo>
                      <a:pt x="10345" y="9605"/>
                    </a:moveTo>
                    <a:lnTo>
                      <a:pt x="5324" y="23711"/>
                    </a:lnTo>
                    <a:lnTo>
                      <a:pt x="2717" y="22668"/>
                    </a:lnTo>
                    <a:lnTo>
                      <a:pt x="2717" y="11471"/>
                    </a:lnTo>
                    <a:lnTo>
                      <a:pt x="0" y="9797"/>
                    </a:lnTo>
                    <a:lnTo>
                      <a:pt x="3156" y="4171"/>
                    </a:lnTo>
                    <a:lnTo>
                      <a:pt x="5653" y="4062"/>
                    </a:lnTo>
                    <a:lnTo>
                      <a:pt x="7601" y="0"/>
                    </a:lnTo>
                    <a:lnTo>
                      <a:pt x="9440" y="110"/>
                    </a:lnTo>
                    <a:lnTo>
                      <a:pt x="10209" y="5406"/>
                    </a:lnTo>
                    <a:lnTo>
                      <a:pt x="7711" y="6916"/>
                    </a:lnTo>
                    <a:lnTo>
                      <a:pt x="10318" y="96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2" name="Freeform: Shape 4161">
                <a:extLst>
                  <a:ext uri="{FF2B5EF4-FFF2-40B4-BE49-F238E27FC236}">
                    <a16:creationId xmlns:a16="http://schemas.microsoft.com/office/drawing/2014/main" id="{7F2931CB-1C13-AA5E-84B5-DC9EADD194C6}"/>
                  </a:ext>
                </a:extLst>
              </p:cNvPr>
              <p:cNvSpPr/>
              <p:nvPr/>
            </p:nvSpPr>
            <p:spPr>
              <a:xfrm>
                <a:off x="1545218" y="3779736"/>
                <a:ext cx="1036" cy="1537"/>
              </a:xfrm>
              <a:custGeom>
                <a:avLst/>
                <a:gdLst>
                  <a:gd name="connsiteX0" fmla="*/ 4665 w 9934"/>
                  <a:gd name="connsiteY0" fmla="*/ 11334 h 14736"/>
                  <a:gd name="connsiteX1" fmla="*/ 384 w 9934"/>
                  <a:gd name="connsiteY1" fmla="*/ 14737 h 14736"/>
                  <a:gd name="connsiteX2" fmla="*/ 0 w 9934"/>
                  <a:gd name="connsiteY2" fmla="*/ 11636 h 14736"/>
                  <a:gd name="connsiteX3" fmla="*/ 301 w 9934"/>
                  <a:gd name="connsiteY3" fmla="*/ 9248 h 14736"/>
                  <a:gd name="connsiteX4" fmla="*/ 7053 w 9934"/>
                  <a:gd name="connsiteY4" fmla="*/ 659 h 14736"/>
                  <a:gd name="connsiteX5" fmla="*/ 8123 w 9934"/>
                  <a:gd name="connsiteY5" fmla="*/ 0 h 14736"/>
                  <a:gd name="connsiteX6" fmla="*/ 9934 w 9934"/>
                  <a:gd name="connsiteY6" fmla="*/ 3924 h 14736"/>
                  <a:gd name="connsiteX7" fmla="*/ 5900 w 9934"/>
                  <a:gd name="connsiteY7" fmla="*/ 6915 h 14736"/>
                  <a:gd name="connsiteX8" fmla="*/ 4638 w 9934"/>
                  <a:gd name="connsiteY8" fmla="*/ 11361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4" h="14736">
                    <a:moveTo>
                      <a:pt x="4665" y="11334"/>
                    </a:moveTo>
                    <a:lnTo>
                      <a:pt x="384" y="14737"/>
                    </a:lnTo>
                    <a:lnTo>
                      <a:pt x="0" y="11636"/>
                    </a:lnTo>
                    <a:lnTo>
                      <a:pt x="301" y="9248"/>
                    </a:lnTo>
                    <a:lnTo>
                      <a:pt x="7053" y="659"/>
                    </a:lnTo>
                    <a:lnTo>
                      <a:pt x="8123" y="0"/>
                    </a:lnTo>
                    <a:lnTo>
                      <a:pt x="9934" y="3924"/>
                    </a:lnTo>
                    <a:lnTo>
                      <a:pt x="5900" y="6915"/>
                    </a:lnTo>
                    <a:lnTo>
                      <a:pt x="4638" y="113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3" name="Freeform: Shape 4162">
                <a:extLst>
                  <a:ext uri="{FF2B5EF4-FFF2-40B4-BE49-F238E27FC236}">
                    <a16:creationId xmlns:a16="http://schemas.microsoft.com/office/drawing/2014/main" id="{01792C46-A6D9-E668-2917-AD71BD4DFA0A}"/>
                  </a:ext>
                </a:extLst>
              </p:cNvPr>
              <p:cNvSpPr/>
              <p:nvPr/>
            </p:nvSpPr>
            <p:spPr>
              <a:xfrm>
                <a:off x="1537839" y="3764037"/>
                <a:ext cx="418" cy="395"/>
              </a:xfrm>
              <a:custGeom>
                <a:avLst/>
                <a:gdLst>
                  <a:gd name="connsiteX0" fmla="*/ 3979 w 4006"/>
                  <a:gd name="connsiteY0" fmla="*/ 1564 h 3787"/>
                  <a:gd name="connsiteX1" fmla="*/ 2003 w 4006"/>
                  <a:gd name="connsiteY1" fmla="*/ 3787 h 3787"/>
                  <a:gd name="connsiteX2" fmla="*/ 0 w 4006"/>
                  <a:gd name="connsiteY2" fmla="*/ 2854 h 3787"/>
                  <a:gd name="connsiteX3" fmla="*/ 1811 w 4006"/>
                  <a:gd name="connsiteY3" fmla="*/ 0 h 3787"/>
                  <a:gd name="connsiteX4" fmla="*/ 4007 w 4006"/>
                  <a:gd name="connsiteY4" fmla="*/ 1564 h 3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3787">
                    <a:moveTo>
                      <a:pt x="3979" y="1564"/>
                    </a:moveTo>
                    <a:lnTo>
                      <a:pt x="2003" y="3787"/>
                    </a:lnTo>
                    <a:lnTo>
                      <a:pt x="0" y="2854"/>
                    </a:lnTo>
                    <a:lnTo>
                      <a:pt x="1811" y="0"/>
                    </a:lnTo>
                    <a:lnTo>
                      <a:pt x="4007"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4" name="Freeform: Shape 4163">
                <a:extLst>
                  <a:ext uri="{FF2B5EF4-FFF2-40B4-BE49-F238E27FC236}">
                    <a16:creationId xmlns:a16="http://schemas.microsoft.com/office/drawing/2014/main" id="{B85F9E6B-0DB1-FE43-30BD-0013923F0E82}"/>
                  </a:ext>
                </a:extLst>
              </p:cNvPr>
              <p:cNvSpPr/>
              <p:nvPr/>
            </p:nvSpPr>
            <p:spPr>
              <a:xfrm>
                <a:off x="1536974" y="3789703"/>
                <a:ext cx="429" cy="312"/>
              </a:xfrm>
              <a:custGeom>
                <a:avLst/>
                <a:gdLst>
                  <a:gd name="connsiteX0" fmla="*/ 4116 w 4116"/>
                  <a:gd name="connsiteY0" fmla="*/ 0 h 2991"/>
                  <a:gd name="connsiteX1" fmla="*/ 3897 w 4116"/>
                  <a:gd name="connsiteY1" fmla="*/ 2991 h 2991"/>
                  <a:gd name="connsiteX2" fmla="*/ 604 w 4116"/>
                  <a:gd name="connsiteY2" fmla="*/ 2717 h 2991"/>
                  <a:gd name="connsiteX3" fmla="*/ 0 w 4116"/>
                  <a:gd name="connsiteY3" fmla="*/ 1866 h 2991"/>
                  <a:gd name="connsiteX4" fmla="*/ 4116 w 4116"/>
                  <a:gd name="connsiteY4" fmla="*/ 0 h 2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2991">
                    <a:moveTo>
                      <a:pt x="4116" y="0"/>
                    </a:moveTo>
                    <a:lnTo>
                      <a:pt x="3897" y="2991"/>
                    </a:lnTo>
                    <a:lnTo>
                      <a:pt x="604" y="2717"/>
                    </a:lnTo>
                    <a:lnTo>
                      <a:pt x="0" y="1866"/>
                    </a:lnTo>
                    <a:lnTo>
                      <a:pt x="411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5" name="Freeform: Shape 4164">
                <a:extLst>
                  <a:ext uri="{FF2B5EF4-FFF2-40B4-BE49-F238E27FC236}">
                    <a16:creationId xmlns:a16="http://schemas.microsoft.com/office/drawing/2014/main" id="{A7A66B2B-35F4-A3E7-2B7A-B3EA214BDAB2}"/>
                  </a:ext>
                </a:extLst>
              </p:cNvPr>
              <p:cNvSpPr/>
              <p:nvPr/>
            </p:nvSpPr>
            <p:spPr>
              <a:xfrm>
                <a:off x="1110716" y="3814811"/>
                <a:ext cx="17898" cy="7431"/>
              </a:xfrm>
              <a:custGeom>
                <a:avLst/>
                <a:gdLst>
                  <a:gd name="connsiteX0" fmla="*/ 146491 w 171600"/>
                  <a:gd name="connsiteY0" fmla="*/ 11554 h 71242"/>
                  <a:gd name="connsiteX1" fmla="*/ 162051 w 171600"/>
                  <a:gd name="connsiteY1" fmla="*/ 27333 h 71242"/>
                  <a:gd name="connsiteX2" fmla="*/ 166304 w 171600"/>
                  <a:gd name="connsiteY2" fmla="*/ 28157 h 71242"/>
                  <a:gd name="connsiteX3" fmla="*/ 164246 w 171600"/>
                  <a:gd name="connsiteY3" fmla="*/ 32493 h 71242"/>
                  <a:gd name="connsiteX4" fmla="*/ 165234 w 171600"/>
                  <a:gd name="connsiteY4" fmla="*/ 34276 h 71242"/>
                  <a:gd name="connsiteX5" fmla="*/ 171601 w 171600"/>
                  <a:gd name="connsiteY5" fmla="*/ 49727 h 71242"/>
                  <a:gd name="connsiteX6" fmla="*/ 167320 w 171600"/>
                  <a:gd name="connsiteY6" fmla="*/ 51730 h 71242"/>
                  <a:gd name="connsiteX7" fmla="*/ 161145 w 171600"/>
                  <a:gd name="connsiteY7" fmla="*/ 61966 h 71242"/>
                  <a:gd name="connsiteX8" fmla="*/ 155958 w 171600"/>
                  <a:gd name="connsiteY8" fmla="*/ 57905 h 71242"/>
                  <a:gd name="connsiteX9" fmla="*/ 155821 w 171600"/>
                  <a:gd name="connsiteY9" fmla="*/ 63009 h 71242"/>
                  <a:gd name="connsiteX10" fmla="*/ 153433 w 171600"/>
                  <a:gd name="connsiteY10" fmla="*/ 64738 h 71242"/>
                  <a:gd name="connsiteX11" fmla="*/ 150827 w 171600"/>
                  <a:gd name="connsiteY11" fmla="*/ 71242 h 71242"/>
                  <a:gd name="connsiteX12" fmla="*/ 142649 w 171600"/>
                  <a:gd name="connsiteY12" fmla="*/ 61994 h 71242"/>
                  <a:gd name="connsiteX13" fmla="*/ 135678 w 171600"/>
                  <a:gd name="connsiteY13" fmla="*/ 48135 h 71242"/>
                  <a:gd name="connsiteX14" fmla="*/ 139959 w 171600"/>
                  <a:gd name="connsiteY14" fmla="*/ 42729 h 71242"/>
                  <a:gd name="connsiteX15" fmla="*/ 140590 w 171600"/>
                  <a:gd name="connsiteY15" fmla="*/ 35868 h 71242"/>
                  <a:gd name="connsiteX16" fmla="*/ 134745 w 171600"/>
                  <a:gd name="connsiteY16" fmla="*/ 35978 h 71242"/>
                  <a:gd name="connsiteX17" fmla="*/ 127939 w 171600"/>
                  <a:gd name="connsiteY17" fmla="*/ 26455 h 71242"/>
                  <a:gd name="connsiteX18" fmla="*/ 120145 w 171600"/>
                  <a:gd name="connsiteY18" fmla="*/ 20939 h 71242"/>
                  <a:gd name="connsiteX19" fmla="*/ 111062 w 171600"/>
                  <a:gd name="connsiteY19" fmla="*/ 18222 h 71242"/>
                  <a:gd name="connsiteX20" fmla="*/ 104805 w 171600"/>
                  <a:gd name="connsiteY20" fmla="*/ 18689 h 71242"/>
                  <a:gd name="connsiteX21" fmla="*/ 99892 w 171600"/>
                  <a:gd name="connsiteY21" fmla="*/ 21378 h 71242"/>
                  <a:gd name="connsiteX22" fmla="*/ 92922 w 171600"/>
                  <a:gd name="connsiteY22" fmla="*/ 31779 h 71242"/>
                  <a:gd name="connsiteX23" fmla="*/ 76621 w 171600"/>
                  <a:gd name="connsiteY23" fmla="*/ 41247 h 71242"/>
                  <a:gd name="connsiteX24" fmla="*/ 76401 w 171600"/>
                  <a:gd name="connsiteY24" fmla="*/ 47230 h 71242"/>
                  <a:gd name="connsiteX25" fmla="*/ 87763 w 171600"/>
                  <a:gd name="connsiteY25" fmla="*/ 62515 h 71242"/>
                  <a:gd name="connsiteX26" fmla="*/ 74453 w 171600"/>
                  <a:gd name="connsiteY26" fmla="*/ 70199 h 71242"/>
                  <a:gd name="connsiteX27" fmla="*/ 63887 w 171600"/>
                  <a:gd name="connsiteY27" fmla="*/ 70556 h 71242"/>
                  <a:gd name="connsiteX28" fmla="*/ 60073 w 171600"/>
                  <a:gd name="connsiteY28" fmla="*/ 62899 h 71242"/>
                  <a:gd name="connsiteX29" fmla="*/ 57246 w 171600"/>
                  <a:gd name="connsiteY29" fmla="*/ 61280 h 71242"/>
                  <a:gd name="connsiteX30" fmla="*/ 58234 w 171600"/>
                  <a:gd name="connsiteY30" fmla="*/ 58371 h 71242"/>
                  <a:gd name="connsiteX31" fmla="*/ 56423 w 171600"/>
                  <a:gd name="connsiteY31" fmla="*/ 54776 h 71242"/>
                  <a:gd name="connsiteX32" fmla="*/ 54694 w 171600"/>
                  <a:gd name="connsiteY32" fmla="*/ 54721 h 71242"/>
                  <a:gd name="connsiteX33" fmla="*/ 51648 w 171600"/>
                  <a:gd name="connsiteY33" fmla="*/ 58371 h 71242"/>
                  <a:gd name="connsiteX34" fmla="*/ 45775 w 171600"/>
                  <a:gd name="connsiteY34" fmla="*/ 56752 h 71242"/>
                  <a:gd name="connsiteX35" fmla="*/ 37899 w 171600"/>
                  <a:gd name="connsiteY35" fmla="*/ 45638 h 71242"/>
                  <a:gd name="connsiteX36" fmla="*/ 31696 w 171600"/>
                  <a:gd name="connsiteY36" fmla="*/ 42537 h 71242"/>
                  <a:gd name="connsiteX37" fmla="*/ 23601 w 171600"/>
                  <a:gd name="connsiteY37" fmla="*/ 40177 h 71242"/>
                  <a:gd name="connsiteX38" fmla="*/ 18195 w 171600"/>
                  <a:gd name="connsiteY38" fmla="*/ 40918 h 71242"/>
                  <a:gd name="connsiteX39" fmla="*/ 8590 w 171600"/>
                  <a:gd name="connsiteY39" fmla="*/ 39271 h 71242"/>
                  <a:gd name="connsiteX40" fmla="*/ 5159 w 171600"/>
                  <a:gd name="connsiteY40" fmla="*/ 41219 h 71242"/>
                  <a:gd name="connsiteX41" fmla="*/ 3540 w 171600"/>
                  <a:gd name="connsiteY41" fmla="*/ 46955 h 71242"/>
                  <a:gd name="connsiteX42" fmla="*/ 2744 w 171600"/>
                  <a:gd name="connsiteY42" fmla="*/ 41521 h 71242"/>
                  <a:gd name="connsiteX43" fmla="*/ 0 w 171600"/>
                  <a:gd name="connsiteY43" fmla="*/ 38228 h 71242"/>
                  <a:gd name="connsiteX44" fmla="*/ 5049 w 171600"/>
                  <a:gd name="connsiteY44" fmla="*/ 33865 h 71242"/>
                  <a:gd name="connsiteX45" fmla="*/ 3595 w 171600"/>
                  <a:gd name="connsiteY45" fmla="*/ 25357 h 71242"/>
                  <a:gd name="connsiteX46" fmla="*/ 8507 w 171600"/>
                  <a:gd name="connsiteY46" fmla="*/ 20171 h 71242"/>
                  <a:gd name="connsiteX47" fmla="*/ 2689 w 171600"/>
                  <a:gd name="connsiteY47" fmla="*/ 15094 h 71242"/>
                  <a:gd name="connsiteX48" fmla="*/ 2607 w 171600"/>
                  <a:gd name="connsiteY48" fmla="*/ 5352 h 71242"/>
                  <a:gd name="connsiteX49" fmla="*/ 5104 w 171600"/>
                  <a:gd name="connsiteY49" fmla="*/ 467 h 71242"/>
                  <a:gd name="connsiteX50" fmla="*/ 10620 w 171600"/>
                  <a:gd name="connsiteY50" fmla="*/ 3101 h 71242"/>
                  <a:gd name="connsiteX51" fmla="*/ 13420 w 171600"/>
                  <a:gd name="connsiteY51" fmla="*/ 1345 h 71242"/>
                  <a:gd name="connsiteX52" fmla="*/ 18771 w 171600"/>
                  <a:gd name="connsiteY52" fmla="*/ 6367 h 71242"/>
                  <a:gd name="connsiteX53" fmla="*/ 19869 w 171600"/>
                  <a:gd name="connsiteY53" fmla="*/ 10868 h 71242"/>
                  <a:gd name="connsiteX54" fmla="*/ 22558 w 171600"/>
                  <a:gd name="connsiteY54" fmla="*/ 10319 h 71242"/>
                  <a:gd name="connsiteX55" fmla="*/ 27004 w 171600"/>
                  <a:gd name="connsiteY55" fmla="*/ 12679 h 71242"/>
                  <a:gd name="connsiteX56" fmla="*/ 26702 w 171600"/>
                  <a:gd name="connsiteY56" fmla="*/ 13941 h 71242"/>
                  <a:gd name="connsiteX57" fmla="*/ 22860 w 171600"/>
                  <a:gd name="connsiteY57" fmla="*/ 14161 h 71242"/>
                  <a:gd name="connsiteX58" fmla="*/ 23573 w 171600"/>
                  <a:gd name="connsiteY58" fmla="*/ 18222 h 71242"/>
                  <a:gd name="connsiteX59" fmla="*/ 27909 w 171600"/>
                  <a:gd name="connsiteY59" fmla="*/ 20143 h 71242"/>
                  <a:gd name="connsiteX60" fmla="*/ 35731 w 171600"/>
                  <a:gd name="connsiteY60" fmla="*/ 19292 h 71242"/>
                  <a:gd name="connsiteX61" fmla="*/ 32492 w 171600"/>
                  <a:gd name="connsiteY61" fmla="*/ 14764 h 71242"/>
                  <a:gd name="connsiteX62" fmla="*/ 33233 w 171600"/>
                  <a:gd name="connsiteY62" fmla="*/ 13584 h 71242"/>
                  <a:gd name="connsiteX63" fmla="*/ 44293 w 171600"/>
                  <a:gd name="connsiteY63" fmla="*/ 23876 h 71242"/>
                  <a:gd name="connsiteX64" fmla="*/ 53678 w 171600"/>
                  <a:gd name="connsiteY64" fmla="*/ 24644 h 71242"/>
                  <a:gd name="connsiteX65" fmla="*/ 63695 w 171600"/>
                  <a:gd name="connsiteY65" fmla="*/ 21735 h 71242"/>
                  <a:gd name="connsiteX66" fmla="*/ 73300 w 171600"/>
                  <a:gd name="connsiteY66" fmla="*/ 15423 h 71242"/>
                  <a:gd name="connsiteX67" fmla="*/ 85375 w 171600"/>
                  <a:gd name="connsiteY67" fmla="*/ 11746 h 71242"/>
                  <a:gd name="connsiteX68" fmla="*/ 95392 w 171600"/>
                  <a:gd name="connsiteY68" fmla="*/ 5571 h 71242"/>
                  <a:gd name="connsiteX69" fmla="*/ 100880 w 171600"/>
                  <a:gd name="connsiteY69" fmla="*/ 0 h 71242"/>
                  <a:gd name="connsiteX70" fmla="*/ 115699 w 171600"/>
                  <a:gd name="connsiteY70" fmla="*/ 2058 h 71242"/>
                  <a:gd name="connsiteX71" fmla="*/ 117126 w 171600"/>
                  <a:gd name="connsiteY71" fmla="*/ 4830 h 71242"/>
                  <a:gd name="connsiteX72" fmla="*/ 135212 w 171600"/>
                  <a:gd name="connsiteY72" fmla="*/ 6696 h 71242"/>
                  <a:gd name="connsiteX73" fmla="*/ 146463 w 171600"/>
                  <a:gd name="connsiteY73" fmla="*/ 11499 h 7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600" h="71242">
                    <a:moveTo>
                      <a:pt x="146491" y="11554"/>
                    </a:moveTo>
                    <a:lnTo>
                      <a:pt x="162051" y="27333"/>
                    </a:lnTo>
                    <a:lnTo>
                      <a:pt x="166304" y="28157"/>
                    </a:lnTo>
                    <a:lnTo>
                      <a:pt x="164246" y="32493"/>
                    </a:lnTo>
                    <a:lnTo>
                      <a:pt x="165234" y="34276"/>
                    </a:lnTo>
                    <a:lnTo>
                      <a:pt x="171601" y="49727"/>
                    </a:lnTo>
                    <a:lnTo>
                      <a:pt x="167320" y="51730"/>
                    </a:lnTo>
                    <a:lnTo>
                      <a:pt x="161145" y="61966"/>
                    </a:lnTo>
                    <a:lnTo>
                      <a:pt x="155958" y="57905"/>
                    </a:lnTo>
                    <a:lnTo>
                      <a:pt x="155821" y="63009"/>
                    </a:lnTo>
                    <a:lnTo>
                      <a:pt x="153433" y="64738"/>
                    </a:lnTo>
                    <a:lnTo>
                      <a:pt x="150827" y="71242"/>
                    </a:lnTo>
                    <a:lnTo>
                      <a:pt x="142649" y="61994"/>
                    </a:lnTo>
                    <a:lnTo>
                      <a:pt x="135678" y="48135"/>
                    </a:lnTo>
                    <a:lnTo>
                      <a:pt x="139959" y="42729"/>
                    </a:lnTo>
                    <a:lnTo>
                      <a:pt x="140590" y="35868"/>
                    </a:lnTo>
                    <a:lnTo>
                      <a:pt x="134745" y="35978"/>
                    </a:lnTo>
                    <a:lnTo>
                      <a:pt x="127939" y="26455"/>
                    </a:lnTo>
                    <a:lnTo>
                      <a:pt x="120145" y="20939"/>
                    </a:lnTo>
                    <a:lnTo>
                      <a:pt x="111062" y="18222"/>
                    </a:lnTo>
                    <a:lnTo>
                      <a:pt x="104805" y="18689"/>
                    </a:lnTo>
                    <a:lnTo>
                      <a:pt x="99892" y="21378"/>
                    </a:lnTo>
                    <a:lnTo>
                      <a:pt x="92922" y="31779"/>
                    </a:lnTo>
                    <a:lnTo>
                      <a:pt x="76621" y="41247"/>
                    </a:lnTo>
                    <a:lnTo>
                      <a:pt x="76401" y="47230"/>
                    </a:lnTo>
                    <a:lnTo>
                      <a:pt x="87763" y="62515"/>
                    </a:lnTo>
                    <a:lnTo>
                      <a:pt x="74453" y="70199"/>
                    </a:lnTo>
                    <a:lnTo>
                      <a:pt x="63887" y="70556"/>
                    </a:lnTo>
                    <a:lnTo>
                      <a:pt x="60073" y="62899"/>
                    </a:lnTo>
                    <a:lnTo>
                      <a:pt x="57246" y="61280"/>
                    </a:lnTo>
                    <a:lnTo>
                      <a:pt x="58234" y="58371"/>
                    </a:lnTo>
                    <a:lnTo>
                      <a:pt x="56423" y="54776"/>
                    </a:lnTo>
                    <a:lnTo>
                      <a:pt x="54694" y="54721"/>
                    </a:lnTo>
                    <a:lnTo>
                      <a:pt x="51648" y="58371"/>
                    </a:lnTo>
                    <a:lnTo>
                      <a:pt x="45775" y="56752"/>
                    </a:lnTo>
                    <a:lnTo>
                      <a:pt x="37899" y="45638"/>
                    </a:lnTo>
                    <a:lnTo>
                      <a:pt x="31696" y="42537"/>
                    </a:lnTo>
                    <a:lnTo>
                      <a:pt x="23601" y="40177"/>
                    </a:lnTo>
                    <a:lnTo>
                      <a:pt x="18195" y="40918"/>
                    </a:lnTo>
                    <a:lnTo>
                      <a:pt x="8590" y="39271"/>
                    </a:lnTo>
                    <a:lnTo>
                      <a:pt x="5159" y="41219"/>
                    </a:lnTo>
                    <a:lnTo>
                      <a:pt x="3540" y="46955"/>
                    </a:lnTo>
                    <a:lnTo>
                      <a:pt x="2744" y="41521"/>
                    </a:lnTo>
                    <a:lnTo>
                      <a:pt x="0" y="38228"/>
                    </a:lnTo>
                    <a:lnTo>
                      <a:pt x="5049" y="33865"/>
                    </a:lnTo>
                    <a:lnTo>
                      <a:pt x="3595" y="25357"/>
                    </a:lnTo>
                    <a:lnTo>
                      <a:pt x="8507" y="20171"/>
                    </a:lnTo>
                    <a:lnTo>
                      <a:pt x="2689" y="15094"/>
                    </a:lnTo>
                    <a:lnTo>
                      <a:pt x="2607" y="5352"/>
                    </a:lnTo>
                    <a:lnTo>
                      <a:pt x="5104" y="467"/>
                    </a:lnTo>
                    <a:lnTo>
                      <a:pt x="10620" y="3101"/>
                    </a:lnTo>
                    <a:lnTo>
                      <a:pt x="13420" y="1345"/>
                    </a:lnTo>
                    <a:lnTo>
                      <a:pt x="18771" y="6367"/>
                    </a:lnTo>
                    <a:lnTo>
                      <a:pt x="19869" y="10868"/>
                    </a:lnTo>
                    <a:lnTo>
                      <a:pt x="22558" y="10319"/>
                    </a:lnTo>
                    <a:lnTo>
                      <a:pt x="27004" y="12679"/>
                    </a:lnTo>
                    <a:lnTo>
                      <a:pt x="26702" y="13941"/>
                    </a:lnTo>
                    <a:lnTo>
                      <a:pt x="22860" y="14161"/>
                    </a:lnTo>
                    <a:lnTo>
                      <a:pt x="23573" y="18222"/>
                    </a:lnTo>
                    <a:lnTo>
                      <a:pt x="27909" y="20143"/>
                    </a:lnTo>
                    <a:lnTo>
                      <a:pt x="35731" y="19292"/>
                    </a:lnTo>
                    <a:lnTo>
                      <a:pt x="32492" y="14764"/>
                    </a:lnTo>
                    <a:lnTo>
                      <a:pt x="33233" y="13584"/>
                    </a:lnTo>
                    <a:lnTo>
                      <a:pt x="44293" y="23876"/>
                    </a:lnTo>
                    <a:lnTo>
                      <a:pt x="53678" y="24644"/>
                    </a:lnTo>
                    <a:lnTo>
                      <a:pt x="63695" y="21735"/>
                    </a:lnTo>
                    <a:lnTo>
                      <a:pt x="73300" y="15423"/>
                    </a:lnTo>
                    <a:lnTo>
                      <a:pt x="85375" y="11746"/>
                    </a:lnTo>
                    <a:lnTo>
                      <a:pt x="95392" y="5571"/>
                    </a:lnTo>
                    <a:lnTo>
                      <a:pt x="100880" y="0"/>
                    </a:lnTo>
                    <a:lnTo>
                      <a:pt x="115699" y="2058"/>
                    </a:lnTo>
                    <a:lnTo>
                      <a:pt x="117126" y="4830"/>
                    </a:lnTo>
                    <a:lnTo>
                      <a:pt x="135212" y="6696"/>
                    </a:lnTo>
                    <a:lnTo>
                      <a:pt x="146463" y="114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6" name="Freeform: Shape 4165">
                <a:extLst>
                  <a:ext uri="{FF2B5EF4-FFF2-40B4-BE49-F238E27FC236}">
                    <a16:creationId xmlns:a16="http://schemas.microsoft.com/office/drawing/2014/main" id="{DCDE1DF9-18A6-7F5D-198C-5BBA6C03413E}"/>
                  </a:ext>
                </a:extLst>
              </p:cNvPr>
              <p:cNvSpPr/>
              <p:nvPr/>
            </p:nvSpPr>
            <p:spPr>
              <a:xfrm>
                <a:off x="1159035" y="3786660"/>
                <a:ext cx="5164" cy="1912"/>
              </a:xfrm>
              <a:custGeom>
                <a:avLst/>
                <a:gdLst>
                  <a:gd name="connsiteX0" fmla="*/ 7492 w 49507"/>
                  <a:gd name="connsiteY0" fmla="*/ 0 h 18332"/>
                  <a:gd name="connsiteX1" fmla="*/ 10511 w 49507"/>
                  <a:gd name="connsiteY1" fmla="*/ 741 h 18332"/>
                  <a:gd name="connsiteX2" fmla="*/ 14106 w 49507"/>
                  <a:gd name="connsiteY2" fmla="*/ 522 h 18332"/>
                  <a:gd name="connsiteX3" fmla="*/ 16411 w 49507"/>
                  <a:gd name="connsiteY3" fmla="*/ 1125 h 18332"/>
                  <a:gd name="connsiteX4" fmla="*/ 18936 w 49507"/>
                  <a:gd name="connsiteY4" fmla="*/ 494 h 18332"/>
                  <a:gd name="connsiteX5" fmla="*/ 23628 w 49507"/>
                  <a:gd name="connsiteY5" fmla="*/ 1235 h 18332"/>
                  <a:gd name="connsiteX6" fmla="*/ 25577 w 49507"/>
                  <a:gd name="connsiteY6" fmla="*/ 576 h 18332"/>
                  <a:gd name="connsiteX7" fmla="*/ 28815 w 49507"/>
                  <a:gd name="connsiteY7" fmla="*/ 1153 h 18332"/>
                  <a:gd name="connsiteX8" fmla="*/ 33371 w 49507"/>
                  <a:gd name="connsiteY8" fmla="*/ 1098 h 18332"/>
                  <a:gd name="connsiteX9" fmla="*/ 36691 w 49507"/>
                  <a:gd name="connsiteY9" fmla="*/ 2031 h 18332"/>
                  <a:gd name="connsiteX10" fmla="*/ 40204 w 49507"/>
                  <a:gd name="connsiteY10" fmla="*/ 1784 h 18332"/>
                  <a:gd name="connsiteX11" fmla="*/ 47778 w 49507"/>
                  <a:gd name="connsiteY11" fmla="*/ 4473 h 18332"/>
                  <a:gd name="connsiteX12" fmla="*/ 49507 w 49507"/>
                  <a:gd name="connsiteY12" fmla="*/ 7876 h 18332"/>
                  <a:gd name="connsiteX13" fmla="*/ 49150 w 49507"/>
                  <a:gd name="connsiteY13" fmla="*/ 9276 h 18332"/>
                  <a:gd name="connsiteX14" fmla="*/ 45363 w 49507"/>
                  <a:gd name="connsiteY14" fmla="*/ 10017 h 18332"/>
                  <a:gd name="connsiteX15" fmla="*/ 44129 w 49507"/>
                  <a:gd name="connsiteY15" fmla="*/ 11334 h 18332"/>
                  <a:gd name="connsiteX16" fmla="*/ 42152 w 49507"/>
                  <a:gd name="connsiteY16" fmla="*/ 15286 h 18332"/>
                  <a:gd name="connsiteX17" fmla="*/ 39683 w 49507"/>
                  <a:gd name="connsiteY17" fmla="*/ 16521 h 18332"/>
                  <a:gd name="connsiteX18" fmla="*/ 36856 w 49507"/>
                  <a:gd name="connsiteY18" fmla="*/ 16438 h 18332"/>
                  <a:gd name="connsiteX19" fmla="*/ 29995 w 49507"/>
                  <a:gd name="connsiteY19" fmla="*/ 18332 h 18332"/>
                  <a:gd name="connsiteX20" fmla="*/ 27800 w 49507"/>
                  <a:gd name="connsiteY20" fmla="*/ 16466 h 18332"/>
                  <a:gd name="connsiteX21" fmla="*/ 25988 w 49507"/>
                  <a:gd name="connsiteY21" fmla="*/ 17591 h 18332"/>
                  <a:gd name="connsiteX22" fmla="*/ 23683 w 49507"/>
                  <a:gd name="connsiteY22" fmla="*/ 16109 h 18332"/>
                  <a:gd name="connsiteX23" fmla="*/ 20308 w 49507"/>
                  <a:gd name="connsiteY23" fmla="*/ 16905 h 18332"/>
                  <a:gd name="connsiteX24" fmla="*/ 14847 w 49507"/>
                  <a:gd name="connsiteY24" fmla="*/ 16274 h 18332"/>
                  <a:gd name="connsiteX25" fmla="*/ 9276 w 49507"/>
                  <a:gd name="connsiteY25" fmla="*/ 17893 h 18332"/>
                  <a:gd name="connsiteX26" fmla="*/ 8370 w 49507"/>
                  <a:gd name="connsiteY26" fmla="*/ 16740 h 18332"/>
                  <a:gd name="connsiteX27" fmla="*/ 4830 w 49507"/>
                  <a:gd name="connsiteY27" fmla="*/ 17454 h 18332"/>
                  <a:gd name="connsiteX28" fmla="*/ 1674 w 49507"/>
                  <a:gd name="connsiteY28" fmla="*/ 16191 h 18332"/>
                  <a:gd name="connsiteX29" fmla="*/ 2470 w 49507"/>
                  <a:gd name="connsiteY29" fmla="*/ 15149 h 18332"/>
                  <a:gd name="connsiteX30" fmla="*/ 2607 w 49507"/>
                  <a:gd name="connsiteY30" fmla="*/ 10675 h 18332"/>
                  <a:gd name="connsiteX31" fmla="*/ 3403 w 49507"/>
                  <a:gd name="connsiteY31" fmla="*/ 9386 h 18332"/>
                  <a:gd name="connsiteX32" fmla="*/ 2223 w 49507"/>
                  <a:gd name="connsiteY32" fmla="*/ 6916 h 18332"/>
                  <a:gd name="connsiteX33" fmla="*/ 0 w 49507"/>
                  <a:gd name="connsiteY33" fmla="*/ 4583 h 18332"/>
                  <a:gd name="connsiteX34" fmla="*/ 3266 w 49507"/>
                  <a:gd name="connsiteY34" fmla="*/ 2882 h 18332"/>
                  <a:gd name="connsiteX35" fmla="*/ 3787 w 49507"/>
                  <a:gd name="connsiteY35" fmla="*/ 165 h 18332"/>
                  <a:gd name="connsiteX36" fmla="*/ 7519 w 49507"/>
                  <a:gd name="connsiteY36" fmla="*/ 0 h 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9507" h="18332">
                    <a:moveTo>
                      <a:pt x="7492" y="0"/>
                    </a:moveTo>
                    <a:lnTo>
                      <a:pt x="10511" y="741"/>
                    </a:lnTo>
                    <a:lnTo>
                      <a:pt x="14106" y="522"/>
                    </a:lnTo>
                    <a:lnTo>
                      <a:pt x="16411" y="1125"/>
                    </a:lnTo>
                    <a:lnTo>
                      <a:pt x="18936" y="494"/>
                    </a:lnTo>
                    <a:lnTo>
                      <a:pt x="23628" y="1235"/>
                    </a:lnTo>
                    <a:lnTo>
                      <a:pt x="25577" y="576"/>
                    </a:lnTo>
                    <a:lnTo>
                      <a:pt x="28815" y="1153"/>
                    </a:lnTo>
                    <a:lnTo>
                      <a:pt x="33371" y="1098"/>
                    </a:lnTo>
                    <a:lnTo>
                      <a:pt x="36691" y="2031"/>
                    </a:lnTo>
                    <a:lnTo>
                      <a:pt x="40204" y="1784"/>
                    </a:lnTo>
                    <a:lnTo>
                      <a:pt x="47778" y="4473"/>
                    </a:lnTo>
                    <a:lnTo>
                      <a:pt x="49507" y="7876"/>
                    </a:lnTo>
                    <a:lnTo>
                      <a:pt x="49150" y="9276"/>
                    </a:lnTo>
                    <a:lnTo>
                      <a:pt x="45363" y="10017"/>
                    </a:lnTo>
                    <a:lnTo>
                      <a:pt x="44129" y="11334"/>
                    </a:lnTo>
                    <a:lnTo>
                      <a:pt x="42152" y="15286"/>
                    </a:lnTo>
                    <a:lnTo>
                      <a:pt x="39683" y="16521"/>
                    </a:lnTo>
                    <a:lnTo>
                      <a:pt x="36856" y="16438"/>
                    </a:lnTo>
                    <a:lnTo>
                      <a:pt x="29995" y="18332"/>
                    </a:lnTo>
                    <a:lnTo>
                      <a:pt x="27800" y="16466"/>
                    </a:lnTo>
                    <a:lnTo>
                      <a:pt x="25988" y="17591"/>
                    </a:lnTo>
                    <a:lnTo>
                      <a:pt x="23683" y="16109"/>
                    </a:lnTo>
                    <a:lnTo>
                      <a:pt x="20308" y="16905"/>
                    </a:lnTo>
                    <a:lnTo>
                      <a:pt x="14847" y="16274"/>
                    </a:lnTo>
                    <a:lnTo>
                      <a:pt x="9276" y="17893"/>
                    </a:lnTo>
                    <a:lnTo>
                      <a:pt x="8370" y="16740"/>
                    </a:lnTo>
                    <a:lnTo>
                      <a:pt x="4830" y="17454"/>
                    </a:lnTo>
                    <a:lnTo>
                      <a:pt x="1674" y="16191"/>
                    </a:lnTo>
                    <a:lnTo>
                      <a:pt x="2470" y="15149"/>
                    </a:lnTo>
                    <a:lnTo>
                      <a:pt x="2607" y="10675"/>
                    </a:lnTo>
                    <a:lnTo>
                      <a:pt x="3403" y="9386"/>
                    </a:lnTo>
                    <a:lnTo>
                      <a:pt x="2223" y="6916"/>
                    </a:lnTo>
                    <a:lnTo>
                      <a:pt x="0" y="4583"/>
                    </a:lnTo>
                    <a:lnTo>
                      <a:pt x="3266" y="2882"/>
                    </a:lnTo>
                    <a:lnTo>
                      <a:pt x="3787" y="165"/>
                    </a:lnTo>
                    <a:lnTo>
                      <a:pt x="7519"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7" name="Freeform: Shape 4166">
                <a:extLst>
                  <a:ext uri="{FF2B5EF4-FFF2-40B4-BE49-F238E27FC236}">
                    <a16:creationId xmlns:a16="http://schemas.microsoft.com/office/drawing/2014/main" id="{1D7DDB61-2F7E-1C5A-6EBB-A65AC86F63AE}"/>
                  </a:ext>
                </a:extLst>
              </p:cNvPr>
              <p:cNvSpPr/>
              <p:nvPr/>
            </p:nvSpPr>
            <p:spPr>
              <a:xfrm>
                <a:off x="1164456" y="3787705"/>
                <a:ext cx="489" cy="341"/>
              </a:xfrm>
              <a:custGeom>
                <a:avLst/>
                <a:gdLst>
                  <a:gd name="connsiteX0" fmla="*/ 4693 w 4692"/>
                  <a:gd name="connsiteY0" fmla="*/ 2388 h 3265"/>
                  <a:gd name="connsiteX1" fmla="*/ 686 w 4692"/>
                  <a:gd name="connsiteY1" fmla="*/ 3266 h 3265"/>
                  <a:gd name="connsiteX2" fmla="*/ 0 w 4692"/>
                  <a:gd name="connsiteY2" fmla="*/ 2607 h 3265"/>
                  <a:gd name="connsiteX3" fmla="*/ 4007 w 4692"/>
                  <a:gd name="connsiteY3" fmla="*/ 0 h 3265"/>
                  <a:gd name="connsiteX4" fmla="*/ 4693 w 4692"/>
                  <a:gd name="connsiteY4" fmla="*/ 2388 h 3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3265">
                    <a:moveTo>
                      <a:pt x="4693" y="2388"/>
                    </a:moveTo>
                    <a:lnTo>
                      <a:pt x="686" y="3266"/>
                    </a:lnTo>
                    <a:lnTo>
                      <a:pt x="0" y="2607"/>
                    </a:lnTo>
                    <a:lnTo>
                      <a:pt x="4007" y="0"/>
                    </a:lnTo>
                    <a:lnTo>
                      <a:pt x="4693"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8" name="Freeform: Shape 4167">
                <a:extLst>
                  <a:ext uri="{FF2B5EF4-FFF2-40B4-BE49-F238E27FC236}">
                    <a16:creationId xmlns:a16="http://schemas.microsoft.com/office/drawing/2014/main" id="{4BA099C2-9C55-565F-CBE2-C76E9835AEE6}"/>
                  </a:ext>
                </a:extLst>
              </p:cNvPr>
              <p:cNvSpPr/>
              <p:nvPr/>
            </p:nvSpPr>
            <p:spPr>
              <a:xfrm>
                <a:off x="1156905" y="3787880"/>
                <a:ext cx="432" cy="300"/>
              </a:xfrm>
              <a:custGeom>
                <a:avLst/>
                <a:gdLst>
                  <a:gd name="connsiteX0" fmla="*/ 4116 w 4143"/>
                  <a:gd name="connsiteY0" fmla="*/ 1180 h 2881"/>
                  <a:gd name="connsiteX1" fmla="*/ 1948 w 4143"/>
                  <a:gd name="connsiteY1" fmla="*/ 2882 h 2881"/>
                  <a:gd name="connsiteX2" fmla="*/ 0 w 4143"/>
                  <a:gd name="connsiteY2" fmla="*/ 1619 h 2881"/>
                  <a:gd name="connsiteX3" fmla="*/ 604 w 4143"/>
                  <a:gd name="connsiteY3" fmla="*/ 302 h 2881"/>
                  <a:gd name="connsiteX4" fmla="*/ 3430 w 4143"/>
                  <a:gd name="connsiteY4" fmla="*/ 0 h 2881"/>
                  <a:gd name="connsiteX5" fmla="*/ 4144 w 4143"/>
                  <a:gd name="connsiteY5" fmla="*/ 1180 h 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3" h="2881">
                    <a:moveTo>
                      <a:pt x="4116" y="1180"/>
                    </a:moveTo>
                    <a:lnTo>
                      <a:pt x="1948" y="2882"/>
                    </a:lnTo>
                    <a:lnTo>
                      <a:pt x="0" y="1619"/>
                    </a:lnTo>
                    <a:lnTo>
                      <a:pt x="604" y="302"/>
                    </a:lnTo>
                    <a:lnTo>
                      <a:pt x="3430" y="0"/>
                    </a:lnTo>
                    <a:lnTo>
                      <a:pt x="4144" y="11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69" name="Freeform: Shape 4168">
                <a:extLst>
                  <a:ext uri="{FF2B5EF4-FFF2-40B4-BE49-F238E27FC236}">
                    <a16:creationId xmlns:a16="http://schemas.microsoft.com/office/drawing/2014/main" id="{C18E87A2-8527-C711-1FB2-7DD1FD8F20E1}"/>
                  </a:ext>
                </a:extLst>
              </p:cNvPr>
              <p:cNvSpPr/>
              <p:nvPr/>
            </p:nvSpPr>
            <p:spPr>
              <a:xfrm>
                <a:off x="1472449" y="3738811"/>
                <a:ext cx="2018" cy="4282"/>
              </a:xfrm>
              <a:custGeom>
                <a:avLst/>
                <a:gdLst>
                  <a:gd name="connsiteX0" fmla="*/ 7738 w 19347"/>
                  <a:gd name="connsiteY0" fmla="*/ 40616 h 41054"/>
                  <a:gd name="connsiteX1" fmla="*/ 1838 w 19347"/>
                  <a:gd name="connsiteY1" fmla="*/ 41055 h 41054"/>
                  <a:gd name="connsiteX2" fmla="*/ 0 w 19347"/>
                  <a:gd name="connsiteY2" fmla="*/ 39518 h 41054"/>
                  <a:gd name="connsiteX3" fmla="*/ 2634 w 19347"/>
                  <a:gd name="connsiteY3" fmla="*/ 31587 h 41054"/>
                  <a:gd name="connsiteX4" fmla="*/ 9220 w 19347"/>
                  <a:gd name="connsiteY4" fmla="*/ 26291 h 41054"/>
                  <a:gd name="connsiteX5" fmla="*/ 2332 w 19347"/>
                  <a:gd name="connsiteY5" fmla="*/ 23876 h 41054"/>
                  <a:gd name="connsiteX6" fmla="*/ 2332 w 19347"/>
                  <a:gd name="connsiteY6" fmla="*/ 12212 h 41054"/>
                  <a:gd name="connsiteX7" fmla="*/ 4940 w 19347"/>
                  <a:gd name="connsiteY7" fmla="*/ 3485 h 41054"/>
                  <a:gd name="connsiteX8" fmla="*/ 9934 w 19347"/>
                  <a:gd name="connsiteY8" fmla="*/ 0 h 41054"/>
                  <a:gd name="connsiteX9" fmla="*/ 19347 w 19347"/>
                  <a:gd name="connsiteY9" fmla="*/ 5050 h 41054"/>
                  <a:gd name="connsiteX10" fmla="*/ 19183 w 19347"/>
                  <a:gd name="connsiteY10" fmla="*/ 26784 h 41054"/>
                  <a:gd name="connsiteX11" fmla="*/ 17042 w 19347"/>
                  <a:gd name="connsiteY11" fmla="*/ 36170 h 41054"/>
                  <a:gd name="connsiteX12" fmla="*/ 7793 w 19347"/>
                  <a:gd name="connsiteY12" fmla="*/ 40561 h 4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47" h="41054">
                    <a:moveTo>
                      <a:pt x="7738" y="40616"/>
                    </a:moveTo>
                    <a:lnTo>
                      <a:pt x="1838" y="41055"/>
                    </a:lnTo>
                    <a:lnTo>
                      <a:pt x="0" y="39518"/>
                    </a:lnTo>
                    <a:lnTo>
                      <a:pt x="2634" y="31587"/>
                    </a:lnTo>
                    <a:lnTo>
                      <a:pt x="9220" y="26291"/>
                    </a:lnTo>
                    <a:lnTo>
                      <a:pt x="2332" y="23876"/>
                    </a:lnTo>
                    <a:lnTo>
                      <a:pt x="2332" y="12212"/>
                    </a:lnTo>
                    <a:cubicBezTo>
                      <a:pt x="2332" y="12212"/>
                      <a:pt x="4940" y="3485"/>
                      <a:pt x="4940" y="3485"/>
                    </a:cubicBezTo>
                    <a:lnTo>
                      <a:pt x="9934" y="0"/>
                    </a:lnTo>
                    <a:lnTo>
                      <a:pt x="19347" y="5050"/>
                    </a:lnTo>
                    <a:lnTo>
                      <a:pt x="19183" y="26784"/>
                    </a:lnTo>
                    <a:lnTo>
                      <a:pt x="17042" y="36170"/>
                    </a:lnTo>
                    <a:lnTo>
                      <a:pt x="7793" y="405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0" name="Freeform: Shape 4169">
                <a:extLst>
                  <a:ext uri="{FF2B5EF4-FFF2-40B4-BE49-F238E27FC236}">
                    <a16:creationId xmlns:a16="http://schemas.microsoft.com/office/drawing/2014/main" id="{F58C3E86-2833-C933-0852-3C8AED02696A}"/>
                  </a:ext>
                </a:extLst>
              </p:cNvPr>
              <p:cNvSpPr/>
              <p:nvPr/>
            </p:nvSpPr>
            <p:spPr>
              <a:xfrm>
                <a:off x="1470365" y="3742208"/>
                <a:ext cx="976" cy="1348"/>
              </a:xfrm>
              <a:custGeom>
                <a:avLst/>
                <a:gdLst>
                  <a:gd name="connsiteX0" fmla="*/ 9358 w 9357"/>
                  <a:gd name="connsiteY0" fmla="*/ 2415 h 12925"/>
                  <a:gd name="connsiteX1" fmla="*/ 1455 w 9357"/>
                  <a:gd name="connsiteY1" fmla="*/ 12926 h 12925"/>
                  <a:gd name="connsiteX2" fmla="*/ 0 w 9357"/>
                  <a:gd name="connsiteY2" fmla="*/ 9468 h 12925"/>
                  <a:gd name="connsiteX3" fmla="*/ 439 w 9357"/>
                  <a:gd name="connsiteY3" fmla="*/ 9029 h 12925"/>
                  <a:gd name="connsiteX4" fmla="*/ 7464 w 9357"/>
                  <a:gd name="connsiteY4" fmla="*/ 796 h 12925"/>
                  <a:gd name="connsiteX5" fmla="*/ 7986 w 9357"/>
                  <a:gd name="connsiteY5" fmla="*/ 0 h 12925"/>
                  <a:gd name="connsiteX6" fmla="*/ 9358 w 9357"/>
                  <a:gd name="connsiteY6" fmla="*/ 2415 h 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7" h="12925">
                    <a:moveTo>
                      <a:pt x="9358" y="2415"/>
                    </a:moveTo>
                    <a:lnTo>
                      <a:pt x="1455" y="12926"/>
                    </a:lnTo>
                    <a:lnTo>
                      <a:pt x="0" y="9468"/>
                    </a:lnTo>
                    <a:lnTo>
                      <a:pt x="439" y="9029"/>
                    </a:lnTo>
                    <a:lnTo>
                      <a:pt x="7464" y="796"/>
                    </a:lnTo>
                    <a:lnTo>
                      <a:pt x="7986" y="0"/>
                    </a:lnTo>
                    <a:lnTo>
                      <a:pt x="9358"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1" name="Freeform: Shape 4170">
                <a:extLst>
                  <a:ext uri="{FF2B5EF4-FFF2-40B4-BE49-F238E27FC236}">
                    <a16:creationId xmlns:a16="http://schemas.microsoft.com/office/drawing/2014/main" id="{A788A22F-5E45-0A05-B5DB-4A0FD8A2B8E8}"/>
                  </a:ext>
                </a:extLst>
              </p:cNvPr>
              <p:cNvSpPr/>
              <p:nvPr/>
            </p:nvSpPr>
            <p:spPr>
              <a:xfrm>
                <a:off x="1173223" y="3904786"/>
                <a:ext cx="25689" cy="27707"/>
              </a:xfrm>
              <a:custGeom>
                <a:avLst/>
                <a:gdLst>
                  <a:gd name="connsiteX0" fmla="*/ 131808 w 246300"/>
                  <a:gd name="connsiteY0" fmla="*/ 27223 h 265648"/>
                  <a:gd name="connsiteX1" fmla="*/ 136200 w 246300"/>
                  <a:gd name="connsiteY1" fmla="*/ 36060 h 265648"/>
                  <a:gd name="connsiteX2" fmla="*/ 136968 w 246300"/>
                  <a:gd name="connsiteY2" fmla="*/ 42975 h 265648"/>
                  <a:gd name="connsiteX3" fmla="*/ 139657 w 246300"/>
                  <a:gd name="connsiteY3" fmla="*/ 44704 h 265648"/>
                  <a:gd name="connsiteX4" fmla="*/ 138724 w 246300"/>
                  <a:gd name="connsiteY4" fmla="*/ 46543 h 265648"/>
                  <a:gd name="connsiteX5" fmla="*/ 141359 w 246300"/>
                  <a:gd name="connsiteY5" fmla="*/ 53184 h 265648"/>
                  <a:gd name="connsiteX6" fmla="*/ 138203 w 246300"/>
                  <a:gd name="connsiteY6" fmla="*/ 70418 h 265648"/>
                  <a:gd name="connsiteX7" fmla="*/ 139191 w 246300"/>
                  <a:gd name="connsiteY7" fmla="*/ 75441 h 265648"/>
                  <a:gd name="connsiteX8" fmla="*/ 137572 w 246300"/>
                  <a:gd name="connsiteY8" fmla="*/ 87653 h 265648"/>
                  <a:gd name="connsiteX9" fmla="*/ 141551 w 246300"/>
                  <a:gd name="connsiteY9" fmla="*/ 89492 h 265648"/>
                  <a:gd name="connsiteX10" fmla="*/ 146765 w 246300"/>
                  <a:gd name="connsiteY10" fmla="*/ 88256 h 265648"/>
                  <a:gd name="connsiteX11" fmla="*/ 156617 w 246300"/>
                  <a:gd name="connsiteY11" fmla="*/ 92318 h 265648"/>
                  <a:gd name="connsiteX12" fmla="*/ 170723 w 246300"/>
                  <a:gd name="connsiteY12" fmla="*/ 94074 h 265648"/>
                  <a:gd name="connsiteX13" fmla="*/ 176980 w 246300"/>
                  <a:gd name="connsiteY13" fmla="*/ 92345 h 265648"/>
                  <a:gd name="connsiteX14" fmla="*/ 182715 w 246300"/>
                  <a:gd name="connsiteY14" fmla="*/ 87982 h 265648"/>
                  <a:gd name="connsiteX15" fmla="*/ 189109 w 246300"/>
                  <a:gd name="connsiteY15" fmla="*/ 93800 h 265648"/>
                  <a:gd name="connsiteX16" fmla="*/ 199400 w 246300"/>
                  <a:gd name="connsiteY16" fmla="*/ 94431 h 265648"/>
                  <a:gd name="connsiteX17" fmla="*/ 206289 w 246300"/>
                  <a:gd name="connsiteY17" fmla="*/ 105573 h 265648"/>
                  <a:gd name="connsiteX18" fmla="*/ 206728 w 246300"/>
                  <a:gd name="connsiteY18" fmla="*/ 120008 h 265648"/>
                  <a:gd name="connsiteX19" fmla="*/ 209060 w 246300"/>
                  <a:gd name="connsiteY19" fmla="*/ 123466 h 265648"/>
                  <a:gd name="connsiteX20" fmla="*/ 209198 w 246300"/>
                  <a:gd name="connsiteY20" fmla="*/ 135431 h 265648"/>
                  <a:gd name="connsiteX21" fmla="*/ 213149 w 246300"/>
                  <a:gd name="connsiteY21" fmla="*/ 147725 h 265648"/>
                  <a:gd name="connsiteX22" fmla="*/ 224648 w 246300"/>
                  <a:gd name="connsiteY22" fmla="*/ 148357 h 265648"/>
                  <a:gd name="connsiteX23" fmla="*/ 235269 w 246300"/>
                  <a:gd name="connsiteY23" fmla="*/ 143664 h 265648"/>
                  <a:gd name="connsiteX24" fmla="*/ 240455 w 246300"/>
                  <a:gd name="connsiteY24" fmla="*/ 145777 h 265648"/>
                  <a:gd name="connsiteX25" fmla="*/ 245258 w 246300"/>
                  <a:gd name="connsiteY25" fmla="*/ 150580 h 265648"/>
                  <a:gd name="connsiteX26" fmla="*/ 246301 w 246300"/>
                  <a:gd name="connsiteY26" fmla="*/ 160816 h 265648"/>
                  <a:gd name="connsiteX27" fmla="*/ 241032 w 246300"/>
                  <a:gd name="connsiteY27" fmla="*/ 187051 h 265648"/>
                  <a:gd name="connsiteX28" fmla="*/ 236503 w 246300"/>
                  <a:gd name="connsiteY28" fmla="*/ 196135 h 265648"/>
                  <a:gd name="connsiteX29" fmla="*/ 236805 w 246300"/>
                  <a:gd name="connsiteY29" fmla="*/ 200635 h 265648"/>
                  <a:gd name="connsiteX30" fmla="*/ 236010 w 246300"/>
                  <a:gd name="connsiteY30" fmla="*/ 206920 h 265648"/>
                  <a:gd name="connsiteX31" fmla="*/ 235378 w 246300"/>
                  <a:gd name="connsiteY31" fmla="*/ 221190 h 265648"/>
                  <a:gd name="connsiteX32" fmla="*/ 230356 w 246300"/>
                  <a:gd name="connsiteY32" fmla="*/ 235269 h 265648"/>
                  <a:gd name="connsiteX33" fmla="*/ 221986 w 246300"/>
                  <a:gd name="connsiteY33" fmla="*/ 241361 h 265648"/>
                  <a:gd name="connsiteX34" fmla="*/ 220257 w 246300"/>
                  <a:gd name="connsiteY34" fmla="*/ 244764 h 265648"/>
                  <a:gd name="connsiteX35" fmla="*/ 214055 w 246300"/>
                  <a:gd name="connsiteY35" fmla="*/ 245889 h 265648"/>
                  <a:gd name="connsiteX36" fmla="*/ 208155 w 246300"/>
                  <a:gd name="connsiteY36" fmla="*/ 251131 h 265648"/>
                  <a:gd name="connsiteX37" fmla="*/ 207057 w 246300"/>
                  <a:gd name="connsiteY37" fmla="*/ 257388 h 265648"/>
                  <a:gd name="connsiteX38" fmla="*/ 203572 w 246300"/>
                  <a:gd name="connsiteY38" fmla="*/ 260708 h 265648"/>
                  <a:gd name="connsiteX39" fmla="*/ 192210 w 246300"/>
                  <a:gd name="connsiteY39" fmla="*/ 257305 h 265648"/>
                  <a:gd name="connsiteX40" fmla="*/ 187106 w 246300"/>
                  <a:gd name="connsiteY40" fmla="*/ 260214 h 265648"/>
                  <a:gd name="connsiteX41" fmla="*/ 185871 w 246300"/>
                  <a:gd name="connsiteY41" fmla="*/ 264029 h 265648"/>
                  <a:gd name="connsiteX42" fmla="*/ 183484 w 246300"/>
                  <a:gd name="connsiteY42" fmla="*/ 265648 h 265648"/>
                  <a:gd name="connsiteX43" fmla="*/ 177666 w 246300"/>
                  <a:gd name="connsiteY43" fmla="*/ 261367 h 265648"/>
                  <a:gd name="connsiteX44" fmla="*/ 172945 w 246300"/>
                  <a:gd name="connsiteY44" fmla="*/ 262684 h 265648"/>
                  <a:gd name="connsiteX45" fmla="*/ 168363 w 246300"/>
                  <a:gd name="connsiteY45" fmla="*/ 260736 h 265648"/>
                  <a:gd name="connsiteX46" fmla="*/ 162188 w 246300"/>
                  <a:gd name="connsiteY46" fmla="*/ 262574 h 265648"/>
                  <a:gd name="connsiteX47" fmla="*/ 138779 w 246300"/>
                  <a:gd name="connsiteY47" fmla="*/ 255851 h 265648"/>
                  <a:gd name="connsiteX48" fmla="*/ 119295 w 246300"/>
                  <a:gd name="connsiteY48" fmla="*/ 256125 h 265648"/>
                  <a:gd name="connsiteX49" fmla="*/ 117758 w 246300"/>
                  <a:gd name="connsiteY49" fmla="*/ 251762 h 265648"/>
                  <a:gd name="connsiteX50" fmla="*/ 128872 w 246300"/>
                  <a:gd name="connsiteY50" fmla="*/ 238672 h 265648"/>
                  <a:gd name="connsiteX51" fmla="*/ 133400 w 246300"/>
                  <a:gd name="connsiteY51" fmla="*/ 219654 h 265648"/>
                  <a:gd name="connsiteX52" fmla="*/ 140179 w 246300"/>
                  <a:gd name="connsiteY52" fmla="*/ 214412 h 265648"/>
                  <a:gd name="connsiteX53" fmla="*/ 142017 w 246300"/>
                  <a:gd name="connsiteY53" fmla="*/ 206947 h 265648"/>
                  <a:gd name="connsiteX54" fmla="*/ 148494 w 246300"/>
                  <a:gd name="connsiteY54" fmla="*/ 200334 h 265648"/>
                  <a:gd name="connsiteX55" fmla="*/ 149399 w 246300"/>
                  <a:gd name="connsiteY55" fmla="*/ 196821 h 265648"/>
                  <a:gd name="connsiteX56" fmla="*/ 142649 w 246300"/>
                  <a:gd name="connsiteY56" fmla="*/ 186064 h 265648"/>
                  <a:gd name="connsiteX57" fmla="*/ 130354 w 246300"/>
                  <a:gd name="connsiteY57" fmla="*/ 179724 h 265648"/>
                  <a:gd name="connsiteX58" fmla="*/ 126320 w 246300"/>
                  <a:gd name="connsiteY58" fmla="*/ 180602 h 265648"/>
                  <a:gd name="connsiteX59" fmla="*/ 121929 w 246300"/>
                  <a:gd name="connsiteY59" fmla="*/ 176705 h 265648"/>
                  <a:gd name="connsiteX60" fmla="*/ 107165 w 246300"/>
                  <a:gd name="connsiteY60" fmla="*/ 170393 h 265648"/>
                  <a:gd name="connsiteX61" fmla="*/ 77883 w 246300"/>
                  <a:gd name="connsiteY61" fmla="*/ 149948 h 265648"/>
                  <a:gd name="connsiteX62" fmla="*/ 68388 w 246300"/>
                  <a:gd name="connsiteY62" fmla="*/ 150332 h 265648"/>
                  <a:gd name="connsiteX63" fmla="*/ 49123 w 246300"/>
                  <a:gd name="connsiteY63" fmla="*/ 142594 h 265648"/>
                  <a:gd name="connsiteX64" fmla="*/ 44320 w 246300"/>
                  <a:gd name="connsiteY64" fmla="*/ 135705 h 265648"/>
                  <a:gd name="connsiteX65" fmla="*/ 33947 w 246300"/>
                  <a:gd name="connsiteY65" fmla="*/ 130134 h 265648"/>
                  <a:gd name="connsiteX66" fmla="*/ 22970 w 246300"/>
                  <a:gd name="connsiteY66" fmla="*/ 120063 h 265648"/>
                  <a:gd name="connsiteX67" fmla="*/ 19347 w 246300"/>
                  <a:gd name="connsiteY67" fmla="*/ 117236 h 265648"/>
                  <a:gd name="connsiteX68" fmla="*/ 11416 w 246300"/>
                  <a:gd name="connsiteY68" fmla="*/ 102115 h 265648"/>
                  <a:gd name="connsiteX69" fmla="*/ 0 w 246300"/>
                  <a:gd name="connsiteY69" fmla="*/ 93114 h 265648"/>
                  <a:gd name="connsiteX70" fmla="*/ 11059 w 246300"/>
                  <a:gd name="connsiteY70" fmla="*/ 55791 h 265648"/>
                  <a:gd name="connsiteX71" fmla="*/ 11444 w 246300"/>
                  <a:gd name="connsiteY71" fmla="*/ 39710 h 265648"/>
                  <a:gd name="connsiteX72" fmla="*/ 21103 w 246300"/>
                  <a:gd name="connsiteY72" fmla="*/ 25001 h 265648"/>
                  <a:gd name="connsiteX73" fmla="*/ 27717 w 246300"/>
                  <a:gd name="connsiteY73" fmla="*/ 10977 h 265648"/>
                  <a:gd name="connsiteX74" fmla="*/ 78377 w 246300"/>
                  <a:gd name="connsiteY74" fmla="*/ 164 h 265648"/>
                  <a:gd name="connsiteX75" fmla="*/ 104750 w 246300"/>
                  <a:gd name="connsiteY75" fmla="*/ 0 h 265648"/>
                  <a:gd name="connsiteX76" fmla="*/ 130820 w 246300"/>
                  <a:gd name="connsiteY76" fmla="*/ 15972 h 265648"/>
                  <a:gd name="connsiteX77" fmla="*/ 131863 w 246300"/>
                  <a:gd name="connsiteY77" fmla="*/ 27223 h 26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46300" h="265648">
                    <a:moveTo>
                      <a:pt x="131808" y="27223"/>
                    </a:moveTo>
                    <a:lnTo>
                      <a:pt x="136200" y="36060"/>
                    </a:lnTo>
                    <a:lnTo>
                      <a:pt x="136968" y="42975"/>
                    </a:lnTo>
                    <a:lnTo>
                      <a:pt x="139657" y="44704"/>
                    </a:lnTo>
                    <a:lnTo>
                      <a:pt x="138724" y="46543"/>
                    </a:lnTo>
                    <a:lnTo>
                      <a:pt x="141359" y="53184"/>
                    </a:lnTo>
                    <a:lnTo>
                      <a:pt x="138203" y="70418"/>
                    </a:lnTo>
                    <a:lnTo>
                      <a:pt x="139191" y="75441"/>
                    </a:lnTo>
                    <a:lnTo>
                      <a:pt x="137572" y="87653"/>
                    </a:lnTo>
                    <a:lnTo>
                      <a:pt x="141551" y="89492"/>
                    </a:lnTo>
                    <a:lnTo>
                      <a:pt x="146765" y="88256"/>
                    </a:lnTo>
                    <a:lnTo>
                      <a:pt x="156617" y="92318"/>
                    </a:lnTo>
                    <a:lnTo>
                      <a:pt x="170723" y="94074"/>
                    </a:lnTo>
                    <a:lnTo>
                      <a:pt x="176980" y="92345"/>
                    </a:lnTo>
                    <a:lnTo>
                      <a:pt x="182715" y="87982"/>
                    </a:lnTo>
                    <a:lnTo>
                      <a:pt x="189109" y="93800"/>
                    </a:lnTo>
                    <a:lnTo>
                      <a:pt x="199400" y="94431"/>
                    </a:lnTo>
                    <a:lnTo>
                      <a:pt x="206289" y="105573"/>
                    </a:lnTo>
                    <a:lnTo>
                      <a:pt x="206728" y="120008"/>
                    </a:lnTo>
                    <a:lnTo>
                      <a:pt x="209060" y="123466"/>
                    </a:lnTo>
                    <a:lnTo>
                      <a:pt x="209198" y="135431"/>
                    </a:lnTo>
                    <a:lnTo>
                      <a:pt x="213149" y="147725"/>
                    </a:lnTo>
                    <a:lnTo>
                      <a:pt x="224648" y="148357"/>
                    </a:lnTo>
                    <a:lnTo>
                      <a:pt x="235269" y="143664"/>
                    </a:lnTo>
                    <a:lnTo>
                      <a:pt x="240455" y="145777"/>
                    </a:lnTo>
                    <a:lnTo>
                      <a:pt x="245258" y="150580"/>
                    </a:lnTo>
                    <a:lnTo>
                      <a:pt x="246301" y="160816"/>
                    </a:lnTo>
                    <a:lnTo>
                      <a:pt x="241032" y="187051"/>
                    </a:lnTo>
                    <a:lnTo>
                      <a:pt x="236503" y="196135"/>
                    </a:lnTo>
                    <a:lnTo>
                      <a:pt x="236805" y="200635"/>
                    </a:lnTo>
                    <a:lnTo>
                      <a:pt x="236010" y="206920"/>
                    </a:lnTo>
                    <a:lnTo>
                      <a:pt x="235378" y="221190"/>
                    </a:lnTo>
                    <a:lnTo>
                      <a:pt x="230356" y="235269"/>
                    </a:lnTo>
                    <a:lnTo>
                      <a:pt x="221986" y="241361"/>
                    </a:lnTo>
                    <a:lnTo>
                      <a:pt x="220257" y="244764"/>
                    </a:lnTo>
                    <a:lnTo>
                      <a:pt x="214055" y="245889"/>
                    </a:lnTo>
                    <a:lnTo>
                      <a:pt x="208155" y="251131"/>
                    </a:lnTo>
                    <a:lnTo>
                      <a:pt x="207057" y="257388"/>
                    </a:lnTo>
                    <a:lnTo>
                      <a:pt x="203572" y="260708"/>
                    </a:lnTo>
                    <a:lnTo>
                      <a:pt x="192210" y="257305"/>
                    </a:lnTo>
                    <a:lnTo>
                      <a:pt x="187106" y="260214"/>
                    </a:lnTo>
                    <a:lnTo>
                      <a:pt x="185871" y="264029"/>
                    </a:lnTo>
                    <a:lnTo>
                      <a:pt x="183484" y="265648"/>
                    </a:lnTo>
                    <a:lnTo>
                      <a:pt x="177666" y="261367"/>
                    </a:lnTo>
                    <a:lnTo>
                      <a:pt x="172945" y="262684"/>
                    </a:lnTo>
                    <a:lnTo>
                      <a:pt x="168363" y="260736"/>
                    </a:lnTo>
                    <a:lnTo>
                      <a:pt x="162188" y="262574"/>
                    </a:lnTo>
                    <a:lnTo>
                      <a:pt x="138779" y="255851"/>
                    </a:lnTo>
                    <a:lnTo>
                      <a:pt x="119295" y="256125"/>
                    </a:lnTo>
                    <a:lnTo>
                      <a:pt x="117758" y="251762"/>
                    </a:lnTo>
                    <a:lnTo>
                      <a:pt x="128872" y="238672"/>
                    </a:lnTo>
                    <a:lnTo>
                      <a:pt x="133400" y="219654"/>
                    </a:lnTo>
                    <a:lnTo>
                      <a:pt x="140179" y="214412"/>
                    </a:lnTo>
                    <a:lnTo>
                      <a:pt x="142017" y="206947"/>
                    </a:lnTo>
                    <a:lnTo>
                      <a:pt x="148494" y="200334"/>
                    </a:lnTo>
                    <a:lnTo>
                      <a:pt x="149399" y="196821"/>
                    </a:lnTo>
                    <a:lnTo>
                      <a:pt x="142649" y="186064"/>
                    </a:lnTo>
                    <a:lnTo>
                      <a:pt x="130354" y="179724"/>
                    </a:lnTo>
                    <a:lnTo>
                      <a:pt x="126320" y="180602"/>
                    </a:lnTo>
                    <a:lnTo>
                      <a:pt x="121929" y="176705"/>
                    </a:lnTo>
                    <a:lnTo>
                      <a:pt x="107165" y="170393"/>
                    </a:lnTo>
                    <a:lnTo>
                      <a:pt x="77883" y="149948"/>
                    </a:lnTo>
                    <a:lnTo>
                      <a:pt x="68388" y="150332"/>
                    </a:lnTo>
                    <a:lnTo>
                      <a:pt x="49123" y="142594"/>
                    </a:lnTo>
                    <a:lnTo>
                      <a:pt x="44320" y="135705"/>
                    </a:lnTo>
                    <a:lnTo>
                      <a:pt x="33947" y="130134"/>
                    </a:lnTo>
                    <a:lnTo>
                      <a:pt x="22970" y="120063"/>
                    </a:lnTo>
                    <a:lnTo>
                      <a:pt x="19347" y="117236"/>
                    </a:lnTo>
                    <a:lnTo>
                      <a:pt x="11416" y="102115"/>
                    </a:lnTo>
                    <a:lnTo>
                      <a:pt x="0" y="93114"/>
                    </a:lnTo>
                    <a:lnTo>
                      <a:pt x="11059" y="55791"/>
                    </a:lnTo>
                    <a:lnTo>
                      <a:pt x="11444" y="39710"/>
                    </a:lnTo>
                    <a:lnTo>
                      <a:pt x="21103" y="25001"/>
                    </a:lnTo>
                    <a:lnTo>
                      <a:pt x="27717" y="10977"/>
                    </a:lnTo>
                    <a:lnTo>
                      <a:pt x="78377" y="164"/>
                    </a:lnTo>
                    <a:lnTo>
                      <a:pt x="104750" y="0"/>
                    </a:lnTo>
                    <a:lnTo>
                      <a:pt x="130820" y="15972"/>
                    </a:lnTo>
                    <a:lnTo>
                      <a:pt x="131863" y="27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2" name="Freeform: Shape 4171">
                <a:extLst>
                  <a:ext uri="{FF2B5EF4-FFF2-40B4-BE49-F238E27FC236}">
                    <a16:creationId xmlns:a16="http://schemas.microsoft.com/office/drawing/2014/main" id="{D5A932BE-7EEB-E653-2C05-7F45CCA43F42}"/>
                  </a:ext>
                </a:extLst>
              </p:cNvPr>
              <p:cNvSpPr/>
              <p:nvPr/>
            </p:nvSpPr>
            <p:spPr>
              <a:xfrm>
                <a:off x="1521171" y="3761337"/>
                <a:ext cx="2567" cy="5630"/>
              </a:xfrm>
              <a:custGeom>
                <a:avLst/>
                <a:gdLst>
                  <a:gd name="connsiteX0" fmla="*/ 15423 w 24616"/>
                  <a:gd name="connsiteY0" fmla="*/ 53102 h 53980"/>
                  <a:gd name="connsiteX1" fmla="*/ 9550 w 24616"/>
                  <a:gd name="connsiteY1" fmla="*/ 53980 h 53980"/>
                  <a:gd name="connsiteX2" fmla="*/ 5982 w 24616"/>
                  <a:gd name="connsiteY2" fmla="*/ 52608 h 53980"/>
                  <a:gd name="connsiteX3" fmla="*/ 1015 w 24616"/>
                  <a:gd name="connsiteY3" fmla="*/ 45555 h 53980"/>
                  <a:gd name="connsiteX4" fmla="*/ 2196 w 24616"/>
                  <a:gd name="connsiteY4" fmla="*/ 41247 h 53980"/>
                  <a:gd name="connsiteX5" fmla="*/ 0 w 24616"/>
                  <a:gd name="connsiteY5" fmla="*/ 22558 h 53980"/>
                  <a:gd name="connsiteX6" fmla="*/ 1345 w 24616"/>
                  <a:gd name="connsiteY6" fmla="*/ 19183 h 53980"/>
                  <a:gd name="connsiteX7" fmla="*/ 3979 w 24616"/>
                  <a:gd name="connsiteY7" fmla="*/ 17920 h 53980"/>
                  <a:gd name="connsiteX8" fmla="*/ 6449 w 24616"/>
                  <a:gd name="connsiteY8" fmla="*/ 6614 h 53980"/>
                  <a:gd name="connsiteX9" fmla="*/ 13804 w 24616"/>
                  <a:gd name="connsiteY9" fmla="*/ 0 h 53980"/>
                  <a:gd name="connsiteX10" fmla="*/ 23299 w 24616"/>
                  <a:gd name="connsiteY10" fmla="*/ 8782 h 53980"/>
                  <a:gd name="connsiteX11" fmla="*/ 23601 w 24616"/>
                  <a:gd name="connsiteY11" fmla="*/ 13282 h 53980"/>
                  <a:gd name="connsiteX12" fmla="*/ 21433 w 24616"/>
                  <a:gd name="connsiteY12" fmla="*/ 19128 h 53980"/>
                  <a:gd name="connsiteX13" fmla="*/ 24616 w 24616"/>
                  <a:gd name="connsiteY13" fmla="*/ 35429 h 53980"/>
                  <a:gd name="connsiteX14" fmla="*/ 19621 w 24616"/>
                  <a:gd name="connsiteY14" fmla="*/ 47119 h 53980"/>
                  <a:gd name="connsiteX15" fmla="*/ 15286 w 24616"/>
                  <a:gd name="connsiteY15" fmla="*/ 49891 h 53980"/>
                  <a:gd name="connsiteX16" fmla="*/ 15450 w 24616"/>
                  <a:gd name="connsiteY16" fmla="*/ 53075 h 5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616" h="53980">
                    <a:moveTo>
                      <a:pt x="15423" y="53102"/>
                    </a:moveTo>
                    <a:lnTo>
                      <a:pt x="9550" y="53980"/>
                    </a:lnTo>
                    <a:lnTo>
                      <a:pt x="5982" y="52608"/>
                    </a:lnTo>
                    <a:lnTo>
                      <a:pt x="1015" y="45555"/>
                    </a:lnTo>
                    <a:lnTo>
                      <a:pt x="2196" y="41247"/>
                    </a:lnTo>
                    <a:lnTo>
                      <a:pt x="0" y="22558"/>
                    </a:lnTo>
                    <a:lnTo>
                      <a:pt x="1345" y="19183"/>
                    </a:lnTo>
                    <a:lnTo>
                      <a:pt x="3979" y="17920"/>
                    </a:lnTo>
                    <a:lnTo>
                      <a:pt x="6449" y="6614"/>
                    </a:lnTo>
                    <a:lnTo>
                      <a:pt x="13804" y="0"/>
                    </a:lnTo>
                    <a:lnTo>
                      <a:pt x="23299" y="8782"/>
                    </a:lnTo>
                    <a:lnTo>
                      <a:pt x="23601" y="13282"/>
                    </a:lnTo>
                    <a:lnTo>
                      <a:pt x="21433" y="19128"/>
                    </a:lnTo>
                    <a:lnTo>
                      <a:pt x="24616" y="35429"/>
                    </a:lnTo>
                    <a:lnTo>
                      <a:pt x="19621" y="47119"/>
                    </a:lnTo>
                    <a:lnTo>
                      <a:pt x="15286" y="49891"/>
                    </a:lnTo>
                    <a:lnTo>
                      <a:pt x="15450" y="530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3" name="Freeform: Shape 4172">
                <a:extLst>
                  <a:ext uri="{FF2B5EF4-FFF2-40B4-BE49-F238E27FC236}">
                    <a16:creationId xmlns:a16="http://schemas.microsoft.com/office/drawing/2014/main" id="{1CF63635-BFA6-1102-F9F3-3602ADF69442}"/>
                  </a:ext>
                </a:extLst>
              </p:cNvPr>
              <p:cNvSpPr/>
              <p:nvPr/>
            </p:nvSpPr>
            <p:spPr>
              <a:xfrm>
                <a:off x="1552147" y="3722478"/>
                <a:ext cx="44426" cy="46038"/>
              </a:xfrm>
              <a:custGeom>
                <a:avLst/>
                <a:gdLst>
                  <a:gd name="connsiteX0" fmla="*/ 343668 w 425942"/>
                  <a:gd name="connsiteY0" fmla="*/ 37130 h 441392"/>
                  <a:gd name="connsiteX1" fmla="*/ 346906 w 425942"/>
                  <a:gd name="connsiteY1" fmla="*/ 39353 h 441392"/>
                  <a:gd name="connsiteX2" fmla="*/ 358406 w 425942"/>
                  <a:gd name="connsiteY2" fmla="*/ 39134 h 441392"/>
                  <a:gd name="connsiteX3" fmla="*/ 364388 w 425942"/>
                  <a:gd name="connsiteY3" fmla="*/ 46598 h 441392"/>
                  <a:gd name="connsiteX4" fmla="*/ 378219 w 425942"/>
                  <a:gd name="connsiteY4" fmla="*/ 50961 h 441392"/>
                  <a:gd name="connsiteX5" fmla="*/ 378274 w 425942"/>
                  <a:gd name="connsiteY5" fmla="*/ 60210 h 441392"/>
                  <a:gd name="connsiteX6" fmla="*/ 388318 w 425942"/>
                  <a:gd name="connsiteY6" fmla="*/ 65451 h 441392"/>
                  <a:gd name="connsiteX7" fmla="*/ 385464 w 425942"/>
                  <a:gd name="connsiteY7" fmla="*/ 73163 h 441392"/>
                  <a:gd name="connsiteX8" fmla="*/ 378741 w 425942"/>
                  <a:gd name="connsiteY8" fmla="*/ 77417 h 441392"/>
                  <a:gd name="connsiteX9" fmla="*/ 368943 w 425942"/>
                  <a:gd name="connsiteY9" fmla="*/ 89354 h 441392"/>
                  <a:gd name="connsiteX10" fmla="*/ 373252 w 425942"/>
                  <a:gd name="connsiteY10" fmla="*/ 108894 h 441392"/>
                  <a:gd name="connsiteX11" fmla="*/ 373608 w 425942"/>
                  <a:gd name="connsiteY11" fmla="*/ 126622 h 441392"/>
                  <a:gd name="connsiteX12" fmla="*/ 375722 w 425942"/>
                  <a:gd name="connsiteY12" fmla="*/ 136254 h 441392"/>
                  <a:gd name="connsiteX13" fmla="*/ 396661 w 425942"/>
                  <a:gd name="connsiteY13" fmla="*/ 147643 h 441392"/>
                  <a:gd name="connsiteX14" fmla="*/ 405415 w 425942"/>
                  <a:gd name="connsiteY14" fmla="*/ 147341 h 441392"/>
                  <a:gd name="connsiteX15" fmla="*/ 406732 w 425942"/>
                  <a:gd name="connsiteY15" fmla="*/ 157166 h 441392"/>
                  <a:gd name="connsiteX16" fmla="*/ 416941 w 425942"/>
                  <a:gd name="connsiteY16" fmla="*/ 159032 h 441392"/>
                  <a:gd name="connsiteX17" fmla="*/ 425146 w 425942"/>
                  <a:gd name="connsiteY17" fmla="*/ 163834 h 441392"/>
                  <a:gd name="connsiteX18" fmla="*/ 425942 w 425942"/>
                  <a:gd name="connsiteY18" fmla="*/ 166771 h 441392"/>
                  <a:gd name="connsiteX19" fmla="*/ 422759 w 425942"/>
                  <a:gd name="connsiteY19" fmla="*/ 171491 h 441392"/>
                  <a:gd name="connsiteX20" fmla="*/ 412303 w 425942"/>
                  <a:gd name="connsiteY20" fmla="*/ 173906 h 441392"/>
                  <a:gd name="connsiteX21" fmla="*/ 402040 w 425942"/>
                  <a:gd name="connsiteY21" fmla="*/ 181974 h 441392"/>
                  <a:gd name="connsiteX22" fmla="*/ 401491 w 425942"/>
                  <a:gd name="connsiteY22" fmla="*/ 184856 h 441392"/>
                  <a:gd name="connsiteX23" fmla="*/ 404427 w 425942"/>
                  <a:gd name="connsiteY23" fmla="*/ 193446 h 441392"/>
                  <a:gd name="connsiteX24" fmla="*/ 402095 w 425942"/>
                  <a:gd name="connsiteY24" fmla="*/ 203737 h 441392"/>
                  <a:gd name="connsiteX25" fmla="*/ 405250 w 425942"/>
                  <a:gd name="connsiteY25" fmla="*/ 207112 h 441392"/>
                  <a:gd name="connsiteX26" fmla="*/ 398417 w 425942"/>
                  <a:gd name="connsiteY26" fmla="*/ 212079 h 441392"/>
                  <a:gd name="connsiteX27" fmla="*/ 383077 w 425942"/>
                  <a:gd name="connsiteY27" fmla="*/ 229999 h 441392"/>
                  <a:gd name="connsiteX28" fmla="*/ 383735 w 425942"/>
                  <a:gd name="connsiteY28" fmla="*/ 238232 h 441392"/>
                  <a:gd name="connsiteX29" fmla="*/ 368395 w 425942"/>
                  <a:gd name="connsiteY29" fmla="*/ 246246 h 441392"/>
                  <a:gd name="connsiteX30" fmla="*/ 364086 w 425942"/>
                  <a:gd name="connsiteY30" fmla="*/ 259775 h 441392"/>
                  <a:gd name="connsiteX31" fmla="*/ 354920 w 425942"/>
                  <a:gd name="connsiteY31" fmla="*/ 275884 h 441392"/>
                  <a:gd name="connsiteX32" fmla="*/ 337165 w 425942"/>
                  <a:gd name="connsiteY32" fmla="*/ 287410 h 441392"/>
                  <a:gd name="connsiteX33" fmla="*/ 332609 w 425942"/>
                  <a:gd name="connsiteY33" fmla="*/ 298552 h 441392"/>
                  <a:gd name="connsiteX34" fmla="*/ 325830 w 425942"/>
                  <a:gd name="connsiteY34" fmla="*/ 305907 h 441392"/>
                  <a:gd name="connsiteX35" fmla="*/ 323607 w 425942"/>
                  <a:gd name="connsiteY35" fmla="*/ 312164 h 441392"/>
                  <a:gd name="connsiteX36" fmla="*/ 293338 w 425942"/>
                  <a:gd name="connsiteY36" fmla="*/ 320671 h 441392"/>
                  <a:gd name="connsiteX37" fmla="*/ 290264 w 425942"/>
                  <a:gd name="connsiteY37" fmla="*/ 319573 h 441392"/>
                  <a:gd name="connsiteX38" fmla="*/ 285297 w 425942"/>
                  <a:gd name="connsiteY38" fmla="*/ 311011 h 441392"/>
                  <a:gd name="connsiteX39" fmla="*/ 279699 w 425942"/>
                  <a:gd name="connsiteY39" fmla="*/ 310764 h 441392"/>
                  <a:gd name="connsiteX40" fmla="*/ 274128 w 425942"/>
                  <a:gd name="connsiteY40" fmla="*/ 315429 h 441392"/>
                  <a:gd name="connsiteX41" fmla="*/ 268530 w 425942"/>
                  <a:gd name="connsiteY41" fmla="*/ 325830 h 441392"/>
                  <a:gd name="connsiteX42" fmla="*/ 256043 w 425942"/>
                  <a:gd name="connsiteY42" fmla="*/ 338976 h 441392"/>
                  <a:gd name="connsiteX43" fmla="*/ 253985 w 425942"/>
                  <a:gd name="connsiteY43" fmla="*/ 344766 h 441392"/>
                  <a:gd name="connsiteX44" fmla="*/ 253985 w 425942"/>
                  <a:gd name="connsiteY44" fmla="*/ 351929 h 441392"/>
                  <a:gd name="connsiteX45" fmla="*/ 263755 w 425942"/>
                  <a:gd name="connsiteY45" fmla="*/ 357555 h 441392"/>
                  <a:gd name="connsiteX46" fmla="*/ 272975 w 425942"/>
                  <a:gd name="connsiteY46" fmla="*/ 359091 h 441392"/>
                  <a:gd name="connsiteX47" fmla="*/ 273524 w 425942"/>
                  <a:gd name="connsiteY47" fmla="*/ 367379 h 441392"/>
                  <a:gd name="connsiteX48" fmla="*/ 271027 w 425942"/>
                  <a:gd name="connsiteY48" fmla="*/ 375008 h 441392"/>
                  <a:gd name="connsiteX49" fmla="*/ 271576 w 425942"/>
                  <a:gd name="connsiteY49" fmla="*/ 379097 h 441392"/>
                  <a:gd name="connsiteX50" fmla="*/ 277311 w 425942"/>
                  <a:gd name="connsiteY50" fmla="*/ 386672 h 441392"/>
                  <a:gd name="connsiteX51" fmla="*/ 287493 w 425942"/>
                  <a:gd name="connsiteY51" fmla="*/ 387275 h 441392"/>
                  <a:gd name="connsiteX52" fmla="*/ 287986 w 425942"/>
                  <a:gd name="connsiteY52" fmla="*/ 396661 h 441392"/>
                  <a:gd name="connsiteX53" fmla="*/ 294079 w 425942"/>
                  <a:gd name="connsiteY53" fmla="*/ 404921 h 441392"/>
                  <a:gd name="connsiteX54" fmla="*/ 299787 w 425942"/>
                  <a:gd name="connsiteY54" fmla="*/ 419082 h 441392"/>
                  <a:gd name="connsiteX55" fmla="*/ 297646 w 425942"/>
                  <a:gd name="connsiteY55" fmla="*/ 425092 h 441392"/>
                  <a:gd name="connsiteX56" fmla="*/ 300501 w 425942"/>
                  <a:gd name="connsiteY56" fmla="*/ 428742 h 441392"/>
                  <a:gd name="connsiteX57" fmla="*/ 295122 w 425942"/>
                  <a:gd name="connsiteY57" fmla="*/ 431596 h 441392"/>
                  <a:gd name="connsiteX58" fmla="*/ 294847 w 425942"/>
                  <a:gd name="connsiteY58" fmla="*/ 433517 h 441392"/>
                  <a:gd name="connsiteX59" fmla="*/ 286477 w 425942"/>
                  <a:gd name="connsiteY59" fmla="*/ 434148 h 441392"/>
                  <a:gd name="connsiteX60" fmla="*/ 284611 w 425942"/>
                  <a:gd name="connsiteY60" fmla="*/ 428467 h 441392"/>
                  <a:gd name="connsiteX61" fmla="*/ 271603 w 425942"/>
                  <a:gd name="connsiteY61" fmla="*/ 432831 h 441392"/>
                  <a:gd name="connsiteX62" fmla="*/ 270890 w 425942"/>
                  <a:gd name="connsiteY62" fmla="*/ 434669 h 441392"/>
                  <a:gd name="connsiteX63" fmla="*/ 268338 w 425942"/>
                  <a:gd name="connsiteY63" fmla="*/ 436371 h 441392"/>
                  <a:gd name="connsiteX64" fmla="*/ 262026 w 425942"/>
                  <a:gd name="connsiteY64" fmla="*/ 436316 h 441392"/>
                  <a:gd name="connsiteX65" fmla="*/ 256071 w 425942"/>
                  <a:gd name="connsiteY65" fmla="*/ 432995 h 441392"/>
                  <a:gd name="connsiteX66" fmla="*/ 252064 w 425942"/>
                  <a:gd name="connsiteY66" fmla="*/ 433215 h 441392"/>
                  <a:gd name="connsiteX67" fmla="*/ 237793 w 425942"/>
                  <a:gd name="connsiteY67" fmla="*/ 433599 h 441392"/>
                  <a:gd name="connsiteX68" fmla="*/ 236998 w 425942"/>
                  <a:gd name="connsiteY68" fmla="*/ 432776 h 441392"/>
                  <a:gd name="connsiteX69" fmla="*/ 235735 w 425942"/>
                  <a:gd name="connsiteY69" fmla="*/ 433517 h 441392"/>
                  <a:gd name="connsiteX70" fmla="*/ 229533 w 425942"/>
                  <a:gd name="connsiteY70" fmla="*/ 430608 h 441392"/>
                  <a:gd name="connsiteX71" fmla="*/ 225801 w 425942"/>
                  <a:gd name="connsiteY71" fmla="*/ 435465 h 441392"/>
                  <a:gd name="connsiteX72" fmla="*/ 220285 w 425942"/>
                  <a:gd name="connsiteY72" fmla="*/ 437578 h 441392"/>
                  <a:gd name="connsiteX73" fmla="*/ 217183 w 425942"/>
                  <a:gd name="connsiteY73" fmla="*/ 437880 h 441392"/>
                  <a:gd name="connsiteX74" fmla="*/ 216004 w 425942"/>
                  <a:gd name="connsiteY74" fmla="*/ 435054 h 441392"/>
                  <a:gd name="connsiteX75" fmla="*/ 209418 w 425942"/>
                  <a:gd name="connsiteY75" fmla="*/ 438182 h 441392"/>
                  <a:gd name="connsiteX76" fmla="*/ 205274 w 425942"/>
                  <a:gd name="connsiteY76" fmla="*/ 435877 h 441392"/>
                  <a:gd name="connsiteX77" fmla="*/ 197892 w 425942"/>
                  <a:gd name="connsiteY77" fmla="*/ 441393 h 441392"/>
                  <a:gd name="connsiteX78" fmla="*/ 195806 w 425942"/>
                  <a:gd name="connsiteY78" fmla="*/ 435959 h 441392"/>
                  <a:gd name="connsiteX79" fmla="*/ 196355 w 425942"/>
                  <a:gd name="connsiteY79" fmla="*/ 430992 h 441392"/>
                  <a:gd name="connsiteX80" fmla="*/ 192622 w 425942"/>
                  <a:gd name="connsiteY80" fmla="*/ 424625 h 441392"/>
                  <a:gd name="connsiteX81" fmla="*/ 194241 w 425942"/>
                  <a:gd name="connsiteY81" fmla="*/ 418094 h 441392"/>
                  <a:gd name="connsiteX82" fmla="*/ 188616 w 425942"/>
                  <a:gd name="connsiteY82" fmla="*/ 416063 h 441392"/>
                  <a:gd name="connsiteX83" fmla="*/ 182825 w 425942"/>
                  <a:gd name="connsiteY83" fmla="*/ 416914 h 441392"/>
                  <a:gd name="connsiteX84" fmla="*/ 177858 w 425942"/>
                  <a:gd name="connsiteY84" fmla="*/ 414608 h 441392"/>
                  <a:gd name="connsiteX85" fmla="*/ 171299 w 425942"/>
                  <a:gd name="connsiteY85" fmla="*/ 414801 h 441392"/>
                  <a:gd name="connsiteX86" fmla="*/ 172205 w 425942"/>
                  <a:gd name="connsiteY86" fmla="*/ 403604 h 441392"/>
                  <a:gd name="connsiteX87" fmla="*/ 166305 w 425942"/>
                  <a:gd name="connsiteY87" fmla="*/ 392435 h 441392"/>
                  <a:gd name="connsiteX88" fmla="*/ 161392 w 425942"/>
                  <a:gd name="connsiteY88" fmla="*/ 389827 h 441392"/>
                  <a:gd name="connsiteX89" fmla="*/ 157056 w 425942"/>
                  <a:gd name="connsiteY89" fmla="*/ 390816 h 441392"/>
                  <a:gd name="connsiteX90" fmla="*/ 150607 w 425942"/>
                  <a:gd name="connsiteY90" fmla="*/ 395837 h 441392"/>
                  <a:gd name="connsiteX91" fmla="*/ 115288 w 425942"/>
                  <a:gd name="connsiteY91" fmla="*/ 399378 h 441392"/>
                  <a:gd name="connsiteX92" fmla="*/ 110321 w 425942"/>
                  <a:gd name="connsiteY92" fmla="*/ 402863 h 441392"/>
                  <a:gd name="connsiteX93" fmla="*/ 97340 w 425942"/>
                  <a:gd name="connsiteY93" fmla="*/ 398884 h 441392"/>
                  <a:gd name="connsiteX94" fmla="*/ 95364 w 425942"/>
                  <a:gd name="connsiteY94" fmla="*/ 394301 h 441392"/>
                  <a:gd name="connsiteX95" fmla="*/ 92565 w 425942"/>
                  <a:gd name="connsiteY95" fmla="*/ 394959 h 441392"/>
                  <a:gd name="connsiteX96" fmla="*/ 91495 w 425942"/>
                  <a:gd name="connsiteY96" fmla="*/ 398170 h 441392"/>
                  <a:gd name="connsiteX97" fmla="*/ 80819 w 425942"/>
                  <a:gd name="connsiteY97" fmla="*/ 397896 h 441392"/>
                  <a:gd name="connsiteX98" fmla="*/ 75166 w 425942"/>
                  <a:gd name="connsiteY98" fmla="*/ 402369 h 441392"/>
                  <a:gd name="connsiteX99" fmla="*/ 50989 w 425942"/>
                  <a:gd name="connsiteY99" fmla="*/ 401079 h 441392"/>
                  <a:gd name="connsiteX100" fmla="*/ 43278 w 425942"/>
                  <a:gd name="connsiteY100" fmla="*/ 403631 h 441392"/>
                  <a:gd name="connsiteX101" fmla="*/ 37871 w 425942"/>
                  <a:gd name="connsiteY101" fmla="*/ 403165 h 441392"/>
                  <a:gd name="connsiteX102" fmla="*/ 27937 w 425942"/>
                  <a:gd name="connsiteY102" fmla="*/ 407885 h 441392"/>
                  <a:gd name="connsiteX103" fmla="*/ 21762 w 425942"/>
                  <a:gd name="connsiteY103" fmla="*/ 403219 h 441392"/>
                  <a:gd name="connsiteX104" fmla="*/ 23629 w 425942"/>
                  <a:gd name="connsiteY104" fmla="*/ 390623 h 441392"/>
                  <a:gd name="connsiteX105" fmla="*/ 29501 w 425942"/>
                  <a:gd name="connsiteY105" fmla="*/ 369245 h 441392"/>
                  <a:gd name="connsiteX106" fmla="*/ 40917 w 425942"/>
                  <a:gd name="connsiteY106" fmla="*/ 364745 h 441392"/>
                  <a:gd name="connsiteX107" fmla="*/ 41768 w 425942"/>
                  <a:gd name="connsiteY107" fmla="*/ 360738 h 441392"/>
                  <a:gd name="connsiteX108" fmla="*/ 44650 w 425942"/>
                  <a:gd name="connsiteY108" fmla="*/ 358872 h 441392"/>
                  <a:gd name="connsiteX109" fmla="*/ 56505 w 425942"/>
                  <a:gd name="connsiteY109" fmla="*/ 355688 h 441392"/>
                  <a:gd name="connsiteX110" fmla="*/ 67125 w 425942"/>
                  <a:gd name="connsiteY110" fmla="*/ 355359 h 441392"/>
                  <a:gd name="connsiteX111" fmla="*/ 70418 w 425942"/>
                  <a:gd name="connsiteY111" fmla="*/ 347675 h 441392"/>
                  <a:gd name="connsiteX112" fmla="*/ 71379 w 425942"/>
                  <a:gd name="connsiteY112" fmla="*/ 338893 h 441392"/>
                  <a:gd name="connsiteX113" fmla="*/ 67921 w 425942"/>
                  <a:gd name="connsiteY113" fmla="*/ 336368 h 441392"/>
                  <a:gd name="connsiteX114" fmla="*/ 60813 w 425942"/>
                  <a:gd name="connsiteY114" fmla="*/ 337439 h 441392"/>
                  <a:gd name="connsiteX115" fmla="*/ 56917 w 425942"/>
                  <a:gd name="connsiteY115" fmla="*/ 336122 h 441392"/>
                  <a:gd name="connsiteX116" fmla="*/ 58206 w 425942"/>
                  <a:gd name="connsiteY116" fmla="*/ 327367 h 441392"/>
                  <a:gd name="connsiteX117" fmla="*/ 56038 w 425942"/>
                  <a:gd name="connsiteY117" fmla="*/ 302230 h 441392"/>
                  <a:gd name="connsiteX118" fmla="*/ 50687 w 425942"/>
                  <a:gd name="connsiteY118" fmla="*/ 301955 h 441392"/>
                  <a:gd name="connsiteX119" fmla="*/ 45336 w 425942"/>
                  <a:gd name="connsiteY119" fmla="*/ 297070 h 441392"/>
                  <a:gd name="connsiteX120" fmla="*/ 34880 w 425942"/>
                  <a:gd name="connsiteY120" fmla="*/ 293942 h 441392"/>
                  <a:gd name="connsiteX121" fmla="*/ 27196 w 425942"/>
                  <a:gd name="connsiteY121" fmla="*/ 289139 h 441392"/>
                  <a:gd name="connsiteX122" fmla="*/ 18990 w 425942"/>
                  <a:gd name="connsiteY122" fmla="*/ 277668 h 441392"/>
                  <a:gd name="connsiteX123" fmla="*/ 13886 w 425942"/>
                  <a:gd name="connsiteY123" fmla="*/ 265044 h 441392"/>
                  <a:gd name="connsiteX124" fmla="*/ 0 w 425942"/>
                  <a:gd name="connsiteY124" fmla="*/ 248469 h 441392"/>
                  <a:gd name="connsiteX125" fmla="*/ 47943 w 425942"/>
                  <a:gd name="connsiteY125" fmla="*/ 264056 h 441392"/>
                  <a:gd name="connsiteX126" fmla="*/ 78487 w 425942"/>
                  <a:gd name="connsiteY126" fmla="*/ 261257 h 441392"/>
                  <a:gd name="connsiteX127" fmla="*/ 95145 w 425942"/>
                  <a:gd name="connsiteY127" fmla="*/ 263645 h 441392"/>
                  <a:gd name="connsiteX128" fmla="*/ 106177 w 425942"/>
                  <a:gd name="connsiteY128" fmla="*/ 258485 h 441392"/>
                  <a:gd name="connsiteX129" fmla="*/ 124728 w 425942"/>
                  <a:gd name="connsiteY129" fmla="*/ 259007 h 441392"/>
                  <a:gd name="connsiteX130" fmla="*/ 156946 w 425942"/>
                  <a:gd name="connsiteY130" fmla="*/ 248798 h 441392"/>
                  <a:gd name="connsiteX131" fmla="*/ 160541 w 425942"/>
                  <a:gd name="connsiteY131" fmla="*/ 244956 h 441392"/>
                  <a:gd name="connsiteX132" fmla="*/ 158675 w 425942"/>
                  <a:gd name="connsiteY132" fmla="*/ 240428 h 441392"/>
                  <a:gd name="connsiteX133" fmla="*/ 160377 w 425942"/>
                  <a:gd name="connsiteY133" fmla="*/ 233155 h 441392"/>
                  <a:gd name="connsiteX134" fmla="*/ 159745 w 425942"/>
                  <a:gd name="connsiteY134" fmla="*/ 223029 h 441392"/>
                  <a:gd name="connsiteX135" fmla="*/ 162078 w 425942"/>
                  <a:gd name="connsiteY135" fmla="*/ 213232 h 441392"/>
                  <a:gd name="connsiteX136" fmla="*/ 168445 w 425942"/>
                  <a:gd name="connsiteY136" fmla="*/ 209170 h 441392"/>
                  <a:gd name="connsiteX137" fmla="*/ 173357 w 425942"/>
                  <a:gd name="connsiteY137" fmla="*/ 202419 h 441392"/>
                  <a:gd name="connsiteX138" fmla="*/ 178352 w 425942"/>
                  <a:gd name="connsiteY138" fmla="*/ 199620 h 441392"/>
                  <a:gd name="connsiteX139" fmla="*/ 189247 w 425942"/>
                  <a:gd name="connsiteY139" fmla="*/ 202200 h 441392"/>
                  <a:gd name="connsiteX140" fmla="*/ 201130 w 425942"/>
                  <a:gd name="connsiteY140" fmla="*/ 198742 h 441392"/>
                  <a:gd name="connsiteX141" fmla="*/ 202392 w 425942"/>
                  <a:gd name="connsiteY141" fmla="*/ 196574 h 441392"/>
                  <a:gd name="connsiteX142" fmla="*/ 198824 w 425942"/>
                  <a:gd name="connsiteY142" fmla="*/ 194598 h 441392"/>
                  <a:gd name="connsiteX143" fmla="*/ 198468 w 425942"/>
                  <a:gd name="connsiteY143" fmla="*/ 191936 h 441392"/>
                  <a:gd name="connsiteX144" fmla="*/ 209390 w 425942"/>
                  <a:gd name="connsiteY144" fmla="*/ 186804 h 441392"/>
                  <a:gd name="connsiteX145" fmla="*/ 214879 w 425942"/>
                  <a:gd name="connsiteY145" fmla="*/ 181892 h 441392"/>
                  <a:gd name="connsiteX146" fmla="*/ 225773 w 425942"/>
                  <a:gd name="connsiteY146" fmla="*/ 185624 h 441392"/>
                  <a:gd name="connsiteX147" fmla="*/ 229341 w 425942"/>
                  <a:gd name="connsiteY147" fmla="*/ 183484 h 441392"/>
                  <a:gd name="connsiteX148" fmla="*/ 235872 w 425942"/>
                  <a:gd name="connsiteY148" fmla="*/ 188094 h 441392"/>
                  <a:gd name="connsiteX149" fmla="*/ 240785 w 425942"/>
                  <a:gd name="connsiteY149" fmla="*/ 186283 h 441392"/>
                  <a:gd name="connsiteX150" fmla="*/ 246795 w 425942"/>
                  <a:gd name="connsiteY150" fmla="*/ 178791 h 441392"/>
                  <a:gd name="connsiteX151" fmla="*/ 248057 w 425942"/>
                  <a:gd name="connsiteY151" fmla="*/ 175717 h 441392"/>
                  <a:gd name="connsiteX152" fmla="*/ 246795 w 425942"/>
                  <a:gd name="connsiteY152" fmla="*/ 159279 h 441392"/>
                  <a:gd name="connsiteX153" fmla="*/ 251679 w 425942"/>
                  <a:gd name="connsiteY153" fmla="*/ 152555 h 441392"/>
                  <a:gd name="connsiteX154" fmla="*/ 251296 w 425942"/>
                  <a:gd name="connsiteY154" fmla="*/ 147808 h 441392"/>
                  <a:gd name="connsiteX155" fmla="*/ 255302 w 425942"/>
                  <a:gd name="connsiteY155" fmla="*/ 138450 h 441392"/>
                  <a:gd name="connsiteX156" fmla="*/ 267925 w 425942"/>
                  <a:gd name="connsiteY156" fmla="*/ 135294 h 441392"/>
                  <a:gd name="connsiteX157" fmla="*/ 276899 w 425942"/>
                  <a:gd name="connsiteY157" fmla="*/ 127747 h 441392"/>
                  <a:gd name="connsiteX158" fmla="*/ 272701 w 425942"/>
                  <a:gd name="connsiteY158" fmla="*/ 116221 h 441392"/>
                  <a:gd name="connsiteX159" fmla="*/ 266307 w 425942"/>
                  <a:gd name="connsiteY159" fmla="*/ 110239 h 441392"/>
                  <a:gd name="connsiteX160" fmla="*/ 265786 w 425942"/>
                  <a:gd name="connsiteY160" fmla="*/ 104832 h 441392"/>
                  <a:gd name="connsiteX161" fmla="*/ 286697 w 425942"/>
                  <a:gd name="connsiteY161" fmla="*/ 106561 h 441392"/>
                  <a:gd name="connsiteX162" fmla="*/ 294024 w 425942"/>
                  <a:gd name="connsiteY162" fmla="*/ 105463 h 441392"/>
                  <a:gd name="connsiteX163" fmla="*/ 299760 w 425942"/>
                  <a:gd name="connsiteY163" fmla="*/ 101676 h 441392"/>
                  <a:gd name="connsiteX164" fmla="*/ 302147 w 425942"/>
                  <a:gd name="connsiteY164" fmla="*/ 93114 h 441392"/>
                  <a:gd name="connsiteX165" fmla="*/ 299101 w 425942"/>
                  <a:gd name="connsiteY165" fmla="*/ 87982 h 441392"/>
                  <a:gd name="connsiteX166" fmla="*/ 299211 w 425942"/>
                  <a:gd name="connsiteY166" fmla="*/ 84908 h 441392"/>
                  <a:gd name="connsiteX167" fmla="*/ 316747 w 425942"/>
                  <a:gd name="connsiteY167" fmla="*/ 62543 h 441392"/>
                  <a:gd name="connsiteX168" fmla="*/ 315018 w 425942"/>
                  <a:gd name="connsiteY168" fmla="*/ 58124 h 441392"/>
                  <a:gd name="connsiteX169" fmla="*/ 316143 w 425942"/>
                  <a:gd name="connsiteY169" fmla="*/ 52855 h 441392"/>
                  <a:gd name="connsiteX170" fmla="*/ 312987 w 425942"/>
                  <a:gd name="connsiteY170" fmla="*/ 42399 h 441392"/>
                  <a:gd name="connsiteX171" fmla="*/ 305056 w 425942"/>
                  <a:gd name="connsiteY171" fmla="*/ 31477 h 441392"/>
                  <a:gd name="connsiteX172" fmla="*/ 305660 w 425942"/>
                  <a:gd name="connsiteY172" fmla="*/ 29556 h 441392"/>
                  <a:gd name="connsiteX173" fmla="*/ 316884 w 425942"/>
                  <a:gd name="connsiteY173" fmla="*/ 17097 h 441392"/>
                  <a:gd name="connsiteX174" fmla="*/ 321083 w 425942"/>
                  <a:gd name="connsiteY174" fmla="*/ 16960 h 441392"/>
                  <a:gd name="connsiteX175" fmla="*/ 335765 w 425942"/>
                  <a:gd name="connsiteY175" fmla="*/ 5516 h 441392"/>
                  <a:gd name="connsiteX176" fmla="*/ 346001 w 425942"/>
                  <a:gd name="connsiteY176" fmla="*/ 2360 h 441392"/>
                  <a:gd name="connsiteX177" fmla="*/ 375530 w 425942"/>
                  <a:gd name="connsiteY177" fmla="*/ 0 h 441392"/>
                  <a:gd name="connsiteX178" fmla="*/ 379646 w 425942"/>
                  <a:gd name="connsiteY178" fmla="*/ 6010 h 441392"/>
                  <a:gd name="connsiteX179" fmla="*/ 360464 w 425942"/>
                  <a:gd name="connsiteY179" fmla="*/ 7602 h 441392"/>
                  <a:gd name="connsiteX180" fmla="*/ 354289 w 425942"/>
                  <a:gd name="connsiteY180" fmla="*/ 16987 h 441392"/>
                  <a:gd name="connsiteX181" fmla="*/ 344300 w 425942"/>
                  <a:gd name="connsiteY181" fmla="*/ 24973 h 441392"/>
                  <a:gd name="connsiteX182" fmla="*/ 343916 w 425942"/>
                  <a:gd name="connsiteY182" fmla="*/ 36938 h 44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425942" h="441392">
                    <a:moveTo>
                      <a:pt x="343668" y="37130"/>
                    </a:moveTo>
                    <a:lnTo>
                      <a:pt x="346906" y="39353"/>
                    </a:lnTo>
                    <a:lnTo>
                      <a:pt x="358406" y="39134"/>
                    </a:lnTo>
                    <a:lnTo>
                      <a:pt x="364388" y="46598"/>
                    </a:lnTo>
                    <a:lnTo>
                      <a:pt x="378219" y="50961"/>
                    </a:lnTo>
                    <a:lnTo>
                      <a:pt x="378274" y="60210"/>
                    </a:lnTo>
                    <a:lnTo>
                      <a:pt x="388318" y="65451"/>
                    </a:lnTo>
                    <a:lnTo>
                      <a:pt x="385464" y="73163"/>
                    </a:lnTo>
                    <a:lnTo>
                      <a:pt x="378741" y="77417"/>
                    </a:lnTo>
                    <a:lnTo>
                      <a:pt x="368943" y="89354"/>
                    </a:lnTo>
                    <a:lnTo>
                      <a:pt x="373252" y="108894"/>
                    </a:lnTo>
                    <a:lnTo>
                      <a:pt x="373608" y="126622"/>
                    </a:lnTo>
                    <a:lnTo>
                      <a:pt x="375722" y="136254"/>
                    </a:lnTo>
                    <a:lnTo>
                      <a:pt x="396661" y="147643"/>
                    </a:lnTo>
                    <a:lnTo>
                      <a:pt x="405415" y="147341"/>
                    </a:lnTo>
                    <a:lnTo>
                      <a:pt x="406732" y="157166"/>
                    </a:lnTo>
                    <a:lnTo>
                      <a:pt x="416941" y="159032"/>
                    </a:lnTo>
                    <a:lnTo>
                      <a:pt x="425146" y="163834"/>
                    </a:lnTo>
                    <a:lnTo>
                      <a:pt x="425942" y="166771"/>
                    </a:lnTo>
                    <a:lnTo>
                      <a:pt x="422759" y="171491"/>
                    </a:lnTo>
                    <a:lnTo>
                      <a:pt x="412303" y="173906"/>
                    </a:lnTo>
                    <a:lnTo>
                      <a:pt x="402040" y="181974"/>
                    </a:lnTo>
                    <a:lnTo>
                      <a:pt x="401491" y="184856"/>
                    </a:lnTo>
                    <a:lnTo>
                      <a:pt x="404427" y="193446"/>
                    </a:lnTo>
                    <a:lnTo>
                      <a:pt x="402095" y="203737"/>
                    </a:lnTo>
                    <a:lnTo>
                      <a:pt x="405250" y="207112"/>
                    </a:lnTo>
                    <a:lnTo>
                      <a:pt x="398417" y="212079"/>
                    </a:lnTo>
                    <a:lnTo>
                      <a:pt x="383077" y="229999"/>
                    </a:lnTo>
                    <a:lnTo>
                      <a:pt x="383735" y="238232"/>
                    </a:lnTo>
                    <a:lnTo>
                      <a:pt x="368395" y="246246"/>
                    </a:lnTo>
                    <a:lnTo>
                      <a:pt x="364086" y="259775"/>
                    </a:lnTo>
                    <a:lnTo>
                      <a:pt x="354920" y="275884"/>
                    </a:lnTo>
                    <a:lnTo>
                      <a:pt x="337165" y="287410"/>
                    </a:lnTo>
                    <a:lnTo>
                      <a:pt x="332609" y="298552"/>
                    </a:lnTo>
                    <a:lnTo>
                      <a:pt x="325830" y="305907"/>
                    </a:lnTo>
                    <a:lnTo>
                      <a:pt x="323607" y="312164"/>
                    </a:lnTo>
                    <a:lnTo>
                      <a:pt x="293338" y="320671"/>
                    </a:lnTo>
                    <a:lnTo>
                      <a:pt x="290264" y="319573"/>
                    </a:lnTo>
                    <a:lnTo>
                      <a:pt x="285297" y="311011"/>
                    </a:lnTo>
                    <a:lnTo>
                      <a:pt x="279699" y="310764"/>
                    </a:lnTo>
                    <a:lnTo>
                      <a:pt x="274128" y="315429"/>
                    </a:lnTo>
                    <a:lnTo>
                      <a:pt x="268530" y="325830"/>
                    </a:lnTo>
                    <a:lnTo>
                      <a:pt x="256043" y="338976"/>
                    </a:lnTo>
                    <a:lnTo>
                      <a:pt x="253985" y="344766"/>
                    </a:lnTo>
                    <a:lnTo>
                      <a:pt x="253985" y="351929"/>
                    </a:lnTo>
                    <a:cubicBezTo>
                      <a:pt x="253985" y="351929"/>
                      <a:pt x="263755" y="357555"/>
                      <a:pt x="263755" y="357555"/>
                    </a:cubicBezTo>
                    <a:lnTo>
                      <a:pt x="272975" y="359091"/>
                    </a:lnTo>
                    <a:lnTo>
                      <a:pt x="273524" y="367379"/>
                    </a:lnTo>
                    <a:lnTo>
                      <a:pt x="271027" y="375008"/>
                    </a:lnTo>
                    <a:lnTo>
                      <a:pt x="271576" y="379097"/>
                    </a:lnTo>
                    <a:lnTo>
                      <a:pt x="277311" y="386672"/>
                    </a:lnTo>
                    <a:lnTo>
                      <a:pt x="287493" y="387275"/>
                    </a:lnTo>
                    <a:lnTo>
                      <a:pt x="287986" y="396661"/>
                    </a:lnTo>
                    <a:lnTo>
                      <a:pt x="294079" y="404921"/>
                    </a:lnTo>
                    <a:lnTo>
                      <a:pt x="299787" y="419082"/>
                    </a:lnTo>
                    <a:lnTo>
                      <a:pt x="297646" y="425092"/>
                    </a:lnTo>
                    <a:lnTo>
                      <a:pt x="300501" y="428742"/>
                    </a:lnTo>
                    <a:lnTo>
                      <a:pt x="295122" y="431596"/>
                    </a:lnTo>
                    <a:lnTo>
                      <a:pt x="294847" y="433517"/>
                    </a:lnTo>
                    <a:lnTo>
                      <a:pt x="286477" y="434148"/>
                    </a:lnTo>
                    <a:lnTo>
                      <a:pt x="284611" y="428467"/>
                    </a:lnTo>
                    <a:lnTo>
                      <a:pt x="271603" y="432831"/>
                    </a:lnTo>
                    <a:lnTo>
                      <a:pt x="270890" y="434669"/>
                    </a:lnTo>
                    <a:lnTo>
                      <a:pt x="268338" y="436371"/>
                    </a:lnTo>
                    <a:lnTo>
                      <a:pt x="262026" y="436316"/>
                    </a:lnTo>
                    <a:lnTo>
                      <a:pt x="256071" y="432995"/>
                    </a:lnTo>
                    <a:lnTo>
                      <a:pt x="252064" y="433215"/>
                    </a:lnTo>
                    <a:lnTo>
                      <a:pt x="237793" y="433599"/>
                    </a:lnTo>
                    <a:lnTo>
                      <a:pt x="236998" y="432776"/>
                    </a:lnTo>
                    <a:lnTo>
                      <a:pt x="235735" y="433517"/>
                    </a:lnTo>
                    <a:lnTo>
                      <a:pt x="229533" y="430608"/>
                    </a:lnTo>
                    <a:lnTo>
                      <a:pt x="225801" y="435465"/>
                    </a:lnTo>
                    <a:lnTo>
                      <a:pt x="220285" y="437578"/>
                    </a:lnTo>
                    <a:lnTo>
                      <a:pt x="217183" y="437880"/>
                    </a:lnTo>
                    <a:lnTo>
                      <a:pt x="216004" y="435054"/>
                    </a:lnTo>
                    <a:lnTo>
                      <a:pt x="209418" y="438182"/>
                    </a:lnTo>
                    <a:lnTo>
                      <a:pt x="205274" y="435877"/>
                    </a:lnTo>
                    <a:lnTo>
                      <a:pt x="197892" y="441393"/>
                    </a:lnTo>
                    <a:lnTo>
                      <a:pt x="195806" y="435959"/>
                    </a:lnTo>
                    <a:lnTo>
                      <a:pt x="196355" y="430992"/>
                    </a:lnTo>
                    <a:lnTo>
                      <a:pt x="192622" y="424625"/>
                    </a:lnTo>
                    <a:lnTo>
                      <a:pt x="194241" y="418094"/>
                    </a:lnTo>
                    <a:lnTo>
                      <a:pt x="188616" y="416063"/>
                    </a:lnTo>
                    <a:lnTo>
                      <a:pt x="182825" y="416914"/>
                    </a:lnTo>
                    <a:lnTo>
                      <a:pt x="177858" y="414608"/>
                    </a:lnTo>
                    <a:lnTo>
                      <a:pt x="171299" y="414801"/>
                    </a:lnTo>
                    <a:lnTo>
                      <a:pt x="172205" y="403604"/>
                    </a:lnTo>
                    <a:lnTo>
                      <a:pt x="166305" y="392435"/>
                    </a:lnTo>
                    <a:lnTo>
                      <a:pt x="161392" y="389827"/>
                    </a:lnTo>
                    <a:lnTo>
                      <a:pt x="157056" y="390816"/>
                    </a:lnTo>
                    <a:lnTo>
                      <a:pt x="150607" y="395837"/>
                    </a:lnTo>
                    <a:lnTo>
                      <a:pt x="115288" y="399378"/>
                    </a:lnTo>
                    <a:lnTo>
                      <a:pt x="110321" y="402863"/>
                    </a:lnTo>
                    <a:lnTo>
                      <a:pt x="97340" y="398884"/>
                    </a:lnTo>
                    <a:lnTo>
                      <a:pt x="95364" y="394301"/>
                    </a:lnTo>
                    <a:lnTo>
                      <a:pt x="92565" y="394959"/>
                    </a:lnTo>
                    <a:lnTo>
                      <a:pt x="91495" y="398170"/>
                    </a:lnTo>
                    <a:lnTo>
                      <a:pt x="80819" y="397896"/>
                    </a:lnTo>
                    <a:lnTo>
                      <a:pt x="75166" y="402369"/>
                    </a:lnTo>
                    <a:lnTo>
                      <a:pt x="50989" y="401079"/>
                    </a:lnTo>
                    <a:lnTo>
                      <a:pt x="43278" y="403631"/>
                    </a:lnTo>
                    <a:lnTo>
                      <a:pt x="37871" y="403165"/>
                    </a:lnTo>
                    <a:lnTo>
                      <a:pt x="27937" y="407885"/>
                    </a:lnTo>
                    <a:lnTo>
                      <a:pt x="21762" y="403219"/>
                    </a:lnTo>
                    <a:lnTo>
                      <a:pt x="23629" y="390623"/>
                    </a:lnTo>
                    <a:lnTo>
                      <a:pt x="29501" y="369245"/>
                    </a:lnTo>
                    <a:lnTo>
                      <a:pt x="40917" y="364745"/>
                    </a:lnTo>
                    <a:lnTo>
                      <a:pt x="41768" y="360738"/>
                    </a:lnTo>
                    <a:lnTo>
                      <a:pt x="44650" y="358872"/>
                    </a:lnTo>
                    <a:lnTo>
                      <a:pt x="56505" y="355688"/>
                    </a:lnTo>
                    <a:lnTo>
                      <a:pt x="67125" y="355359"/>
                    </a:lnTo>
                    <a:lnTo>
                      <a:pt x="70418" y="347675"/>
                    </a:lnTo>
                    <a:lnTo>
                      <a:pt x="71379" y="338893"/>
                    </a:lnTo>
                    <a:lnTo>
                      <a:pt x="67921" y="336368"/>
                    </a:lnTo>
                    <a:lnTo>
                      <a:pt x="60813" y="337439"/>
                    </a:lnTo>
                    <a:lnTo>
                      <a:pt x="56917" y="336122"/>
                    </a:lnTo>
                    <a:lnTo>
                      <a:pt x="58206" y="327367"/>
                    </a:lnTo>
                    <a:lnTo>
                      <a:pt x="56038" y="302230"/>
                    </a:lnTo>
                    <a:lnTo>
                      <a:pt x="50687" y="301955"/>
                    </a:lnTo>
                    <a:lnTo>
                      <a:pt x="45336" y="297070"/>
                    </a:lnTo>
                    <a:lnTo>
                      <a:pt x="34880" y="293942"/>
                    </a:lnTo>
                    <a:lnTo>
                      <a:pt x="27196" y="289139"/>
                    </a:lnTo>
                    <a:lnTo>
                      <a:pt x="18990" y="277668"/>
                    </a:lnTo>
                    <a:lnTo>
                      <a:pt x="13886" y="265044"/>
                    </a:lnTo>
                    <a:lnTo>
                      <a:pt x="0" y="248469"/>
                    </a:lnTo>
                    <a:lnTo>
                      <a:pt x="47943" y="264056"/>
                    </a:lnTo>
                    <a:lnTo>
                      <a:pt x="78487" y="261257"/>
                    </a:lnTo>
                    <a:lnTo>
                      <a:pt x="95145" y="263645"/>
                    </a:lnTo>
                    <a:lnTo>
                      <a:pt x="106177" y="258485"/>
                    </a:lnTo>
                    <a:lnTo>
                      <a:pt x="124728" y="259007"/>
                    </a:lnTo>
                    <a:lnTo>
                      <a:pt x="156946" y="248798"/>
                    </a:lnTo>
                    <a:lnTo>
                      <a:pt x="160541" y="244956"/>
                    </a:lnTo>
                    <a:lnTo>
                      <a:pt x="158675" y="240428"/>
                    </a:lnTo>
                    <a:lnTo>
                      <a:pt x="160377" y="233155"/>
                    </a:lnTo>
                    <a:lnTo>
                      <a:pt x="159745" y="223029"/>
                    </a:lnTo>
                    <a:lnTo>
                      <a:pt x="162078" y="213232"/>
                    </a:lnTo>
                    <a:lnTo>
                      <a:pt x="168445" y="209170"/>
                    </a:lnTo>
                    <a:lnTo>
                      <a:pt x="173357" y="202419"/>
                    </a:lnTo>
                    <a:lnTo>
                      <a:pt x="178352" y="199620"/>
                    </a:lnTo>
                    <a:lnTo>
                      <a:pt x="189247" y="202200"/>
                    </a:lnTo>
                    <a:lnTo>
                      <a:pt x="201130" y="198742"/>
                    </a:lnTo>
                    <a:lnTo>
                      <a:pt x="202392" y="196574"/>
                    </a:lnTo>
                    <a:lnTo>
                      <a:pt x="198824" y="194598"/>
                    </a:lnTo>
                    <a:lnTo>
                      <a:pt x="198468" y="191936"/>
                    </a:lnTo>
                    <a:lnTo>
                      <a:pt x="209390" y="186804"/>
                    </a:lnTo>
                    <a:lnTo>
                      <a:pt x="214879" y="181892"/>
                    </a:lnTo>
                    <a:lnTo>
                      <a:pt x="225773" y="185624"/>
                    </a:lnTo>
                    <a:lnTo>
                      <a:pt x="229341" y="183484"/>
                    </a:lnTo>
                    <a:lnTo>
                      <a:pt x="235872" y="188094"/>
                    </a:lnTo>
                    <a:lnTo>
                      <a:pt x="240785" y="186283"/>
                    </a:lnTo>
                    <a:lnTo>
                      <a:pt x="246795" y="178791"/>
                    </a:lnTo>
                    <a:lnTo>
                      <a:pt x="248057" y="175717"/>
                    </a:lnTo>
                    <a:lnTo>
                      <a:pt x="246795" y="159279"/>
                    </a:lnTo>
                    <a:lnTo>
                      <a:pt x="251679" y="152555"/>
                    </a:lnTo>
                    <a:lnTo>
                      <a:pt x="251296" y="147808"/>
                    </a:lnTo>
                    <a:lnTo>
                      <a:pt x="255302" y="138450"/>
                    </a:lnTo>
                    <a:lnTo>
                      <a:pt x="267925" y="135294"/>
                    </a:lnTo>
                    <a:lnTo>
                      <a:pt x="276899" y="127747"/>
                    </a:lnTo>
                    <a:lnTo>
                      <a:pt x="272701" y="116221"/>
                    </a:lnTo>
                    <a:lnTo>
                      <a:pt x="266307" y="110239"/>
                    </a:lnTo>
                    <a:lnTo>
                      <a:pt x="265786" y="104832"/>
                    </a:lnTo>
                    <a:lnTo>
                      <a:pt x="286697" y="106561"/>
                    </a:lnTo>
                    <a:lnTo>
                      <a:pt x="294024" y="105463"/>
                    </a:lnTo>
                    <a:lnTo>
                      <a:pt x="299760" y="101676"/>
                    </a:lnTo>
                    <a:lnTo>
                      <a:pt x="302147" y="93114"/>
                    </a:lnTo>
                    <a:lnTo>
                      <a:pt x="299101" y="87982"/>
                    </a:lnTo>
                    <a:lnTo>
                      <a:pt x="299211" y="84908"/>
                    </a:lnTo>
                    <a:lnTo>
                      <a:pt x="316747" y="62543"/>
                    </a:lnTo>
                    <a:lnTo>
                      <a:pt x="315018" y="58124"/>
                    </a:lnTo>
                    <a:lnTo>
                      <a:pt x="316143" y="52855"/>
                    </a:lnTo>
                    <a:lnTo>
                      <a:pt x="312987" y="42399"/>
                    </a:lnTo>
                    <a:lnTo>
                      <a:pt x="305056" y="31477"/>
                    </a:lnTo>
                    <a:lnTo>
                      <a:pt x="305660" y="29556"/>
                    </a:lnTo>
                    <a:lnTo>
                      <a:pt x="316884" y="17097"/>
                    </a:lnTo>
                    <a:lnTo>
                      <a:pt x="321083" y="16960"/>
                    </a:lnTo>
                    <a:lnTo>
                      <a:pt x="335765" y="5516"/>
                    </a:lnTo>
                    <a:lnTo>
                      <a:pt x="346001" y="2360"/>
                    </a:lnTo>
                    <a:lnTo>
                      <a:pt x="375530" y="0"/>
                    </a:lnTo>
                    <a:lnTo>
                      <a:pt x="379646" y="6010"/>
                    </a:lnTo>
                    <a:lnTo>
                      <a:pt x="360464" y="7602"/>
                    </a:lnTo>
                    <a:lnTo>
                      <a:pt x="354289" y="16987"/>
                    </a:lnTo>
                    <a:lnTo>
                      <a:pt x="344300" y="24973"/>
                    </a:lnTo>
                    <a:lnTo>
                      <a:pt x="343916" y="369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4" name="Freeform: Shape 4173">
                <a:extLst>
                  <a:ext uri="{FF2B5EF4-FFF2-40B4-BE49-F238E27FC236}">
                    <a16:creationId xmlns:a16="http://schemas.microsoft.com/office/drawing/2014/main" id="{0E8A6543-0CF3-17A0-D2D0-6EADDFD49F57}"/>
                  </a:ext>
                </a:extLst>
              </p:cNvPr>
              <p:cNvSpPr/>
              <p:nvPr/>
            </p:nvSpPr>
            <p:spPr>
              <a:xfrm>
                <a:off x="1568666" y="3763335"/>
                <a:ext cx="844" cy="484"/>
              </a:xfrm>
              <a:custGeom>
                <a:avLst/>
                <a:gdLst>
                  <a:gd name="connsiteX0" fmla="*/ 8096 w 8095"/>
                  <a:gd name="connsiteY0" fmla="*/ 3238 h 4637"/>
                  <a:gd name="connsiteX1" fmla="*/ 6230 w 8095"/>
                  <a:gd name="connsiteY1" fmla="*/ 4638 h 4637"/>
                  <a:gd name="connsiteX2" fmla="*/ 357 w 8095"/>
                  <a:gd name="connsiteY2" fmla="*/ 2360 h 4637"/>
                  <a:gd name="connsiteX3" fmla="*/ 0 w 8095"/>
                  <a:gd name="connsiteY3" fmla="*/ 1756 h 4637"/>
                  <a:gd name="connsiteX4" fmla="*/ 2278 w 8095"/>
                  <a:gd name="connsiteY4" fmla="*/ 0 h 4637"/>
                  <a:gd name="connsiteX5" fmla="*/ 3678 w 8095"/>
                  <a:gd name="connsiteY5" fmla="*/ 1701 h 4637"/>
                  <a:gd name="connsiteX6" fmla="*/ 8096 w 8095"/>
                  <a:gd name="connsiteY6" fmla="*/ 3238 h 4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95" h="4637">
                    <a:moveTo>
                      <a:pt x="8096" y="3238"/>
                    </a:moveTo>
                    <a:lnTo>
                      <a:pt x="6230" y="4638"/>
                    </a:lnTo>
                    <a:lnTo>
                      <a:pt x="357" y="2360"/>
                    </a:lnTo>
                    <a:lnTo>
                      <a:pt x="0" y="1756"/>
                    </a:lnTo>
                    <a:lnTo>
                      <a:pt x="2278" y="0"/>
                    </a:lnTo>
                    <a:lnTo>
                      <a:pt x="3678" y="1701"/>
                    </a:lnTo>
                    <a:lnTo>
                      <a:pt x="8096" y="32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5" name="Freeform: Shape 4174">
                <a:extLst>
                  <a:ext uri="{FF2B5EF4-FFF2-40B4-BE49-F238E27FC236}">
                    <a16:creationId xmlns:a16="http://schemas.microsoft.com/office/drawing/2014/main" id="{F3B25F85-7DD1-B1E2-DEC4-ADC23B0E9866}"/>
                  </a:ext>
                </a:extLst>
              </p:cNvPr>
              <p:cNvSpPr/>
              <p:nvPr/>
            </p:nvSpPr>
            <p:spPr>
              <a:xfrm>
                <a:off x="1571731" y="3767348"/>
                <a:ext cx="386" cy="346"/>
              </a:xfrm>
              <a:custGeom>
                <a:avLst/>
                <a:gdLst>
                  <a:gd name="connsiteX0" fmla="*/ 3320 w 3705"/>
                  <a:gd name="connsiteY0" fmla="*/ 2662 h 3320"/>
                  <a:gd name="connsiteX1" fmla="*/ 961 w 3705"/>
                  <a:gd name="connsiteY1" fmla="*/ 3320 h 3320"/>
                  <a:gd name="connsiteX2" fmla="*/ 0 w 3705"/>
                  <a:gd name="connsiteY2" fmla="*/ 1152 h 3320"/>
                  <a:gd name="connsiteX3" fmla="*/ 1290 w 3705"/>
                  <a:gd name="connsiteY3" fmla="*/ 0 h 3320"/>
                  <a:gd name="connsiteX4" fmla="*/ 3705 w 3705"/>
                  <a:gd name="connsiteY4" fmla="*/ 1290 h 3320"/>
                  <a:gd name="connsiteX5" fmla="*/ 3320 w 3705"/>
                  <a:gd name="connsiteY5" fmla="*/ 2662 h 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5" h="3320">
                    <a:moveTo>
                      <a:pt x="3320" y="2662"/>
                    </a:moveTo>
                    <a:lnTo>
                      <a:pt x="961" y="3320"/>
                    </a:lnTo>
                    <a:lnTo>
                      <a:pt x="0" y="1152"/>
                    </a:lnTo>
                    <a:lnTo>
                      <a:pt x="1290" y="0"/>
                    </a:lnTo>
                    <a:lnTo>
                      <a:pt x="3705" y="1290"/>
                    </a:lnTo>
                    <a:lnTo>
                      <a:pt x="3320"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6" name="Freeform: Shape 4175">
                <a:extLst>
                  <a:ext uri="{FF2B5EF4-FFF2-40B4-BE49-F238E27FC236}">
                    <a16:creationId xmlns:a16="http://schemas.microsoft.com/office/drawing/2014/main" id="{53C978E7-260F-3D2D-C1CA-3987CBF1A55A}"/>
                  </a:ext>
                </a:extLst>
              </p:cNvPr>
              <p:cNvSpPr/>
              <p:nvPr/>
            </p:nvSpPr>
            <p:spPr>
              <a:xfrm>
                <a:off x="1192352" y="3680190"/>
                <a:ext cx="507" cy="736"/>
              </a:xfrm>
              <a:custGeom>
                <a:avLst/>
                <a:gdLst>
                  <a:gd name="connsiteX0" fmla="*/ 4857 w 4857"/>
                  <a:gd name="connsiteY0" fmla="*/ 2388 h 7052"/>
                  <a:gd name="connsiteX1" fmla="*/ 2579 w 4857"/>
                  <a:gd name="connsiteY1" fmla="*/ 7053 h 7052"/>
                  <a:gd name="connsiteX2" fmla="*/ 631 w 4857"/>
                  <a:gd name="connsiteY2" fmla="*/ 4281 h 7052"/>
                  <a:gd name="connsiteX3" fmla="*/ 0 w 4857"/>
                  <a:gd name="connsiteY3" fmla="*/ 0 h 7052"/>
                  <a:gd name="connsiteX4" fmla="*/ 4857 w 4857"/>
                  <a:gd name="connsiteY4" fmla="*/ 2388 h 7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 h="7052">
                    <a:moveTo>
                      <a:pt x="4857" y="2388"/>
                    </a:moveTo>
                    <a:lnTo>
                      <a:pt x="2579" y="7053"/>
                    </a:lnTo>
                    <a:lnTo>
                      <a:pt x="631" y="4281"/>
                    </a:lnTo>
                    <a:lnTo>
                      <a:pt x="0" y="0"/>
                    </a:lnTo>
                    <a:lnTo>
                      <a:pt x="4857"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7" name="Freeform: Shape 4176">
                <a:extLst>
                  <a:ext uri="{FF2B5EF4-FFF2-40B4-BE49-F238E27FC236}">
                    <a16:creationId xmlns:a16="http://schemas.microsoft.com/office/drawing/2014/main" id="{3212B72B-6FFD-3C1B-B33A-09E76D73021C}"/>
                  </a:ext>
                </a:extLst>
              </p:cNvPr>
              <p:cNvSpPr/>
              <p:nvPr/>
            </p:nvSpPr>
            <p:spPr>
              <a:xfrm>
                <a:off x="1192378" y="3681178"/>
                <a:ext cx="458" cy="489"/>
              </a:xfrm>
              <a:custGeom>
                <a:avLst/>
                <a:gdLst>
                  <a:gd name="connsiteX0" fmla="*/ 4007 w 4390"/>
                  <a:gd name="connsiteY0" fmla="*/ 2854 h 4692"/>
                  <a:gd name="connsiteX1" fmla="*/ 1674 w 4390"/>
                  <a:gd name="connsiteY1" fmla="*/ 4693 h 4692"/>
                  <a:gd name="connsiteX2" fmla="*/ 0 w 4390"/>
                  <a:gd name="connsiteY2" fmla="*/ 2854 h 4692"/>
                  <a:gd name="connsiteX3" fmla="*/ 2607 w 4390"/>
                  <a:gd name="connsiteY3" fmla="*/ 0 h 4692"/>
                  <a:gd name="connsiteX4" fmla="*/ 4391 w 4390"/>
                  <a:gd name="connsiteY4" fmla="*/ 659 h 4692"/>
                  <a:gd name="connsiteX5" fmla="*/ 4007 w 4390"/>
                  <a:gd name="connsiteY5" fmla="*/ 2827 h 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0" h="4692">
                    <a:moveTo>
                      <a:pt x="4007" y="2854"/>
                    </a:moveTo>
                    <a:lnTo>
                      <a:pt x="1674" y="4693"/>
                    </a:lnTo>
                    <a:lnTo>
                      <a:pt x="0" y="2854"/>
                    </a:lnTo>
                    <a:lnTo>
                      <a:pt x="2607" y="0"/>
                    </a:lnTo>
                    <a:lnTo>
                      <a:pt x="4391" y="659"/>
                    </a:lnTo>
                    <a:lnTo>
                      <a:pt x="4007" y="28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8" name="Freeform: Shape 4177">
                <a:extLst>
                  <a:ext uri="{FF2B5EF4-FFF2-40B4-BE49-F238E27FC236}">
                    <a16:creationId xmlns:a16="http://schemas.microsoft.com/office/drawing/2014/main" id="{066793F6-7C5A-9DA6-A2B5-937159728FB9}"/>
                  </a:ext>
                </a:extLst>
              </p:cNvPr>
              <p:cNvSpPr/>
              <p:nvPr/>
            </p:nvSpPr>
            <p:spPr>
              <a:xfrm>
                <a:off x="1330125" y="3818206"/>
                <a:ext cx="12600" cy="12858"/>
              </a:xfrm>
              <a:custGeom>
                <a:avLst/>
                <a:gdLst>
                  <a:gd name="connsiteX0" fmla="*/ 88970 w 120804"/>
                  <a:gd name="connsiteY0" fmla="*/ 28815 h 123273"/>
                  <a:gd name="connsiteX1" fmla="*/ 94322 w 120804"/>
                  <a:gd name="connsiteY1" fmla="*/ 40369 h 123273"/>
                  <a:gd name="connsiteX2" fmla="*/ 94431 w 120804"/>
                  <a:gd name="connsiteY2" fmla="*/ 44622 h 123273"/>
                  <a:gd name="connsiteX3" fmla="*/ 93059 w 120804"/>
                  <a:gd name="connsiteY3" fmla="*/ 51648 h 123273"/>
                  <a:gd name="connsiteX4" fmla="*/ 86830 w 120804"/>
                  <a:gd name="connsiteY4" fmla="*/ 60155 h 123273"/>
                  <a:gd name="connsiteX5" fmla="*/ 96737 w 120804"/>
                  <a:gd name="connsiteY5" fmla="*/ 66192 h 123273"/>
                  <a:gd name="connsiteX6" fmla="*/ 105409 w 120804"/>
                  <a:gd name="connsiteY6" fmla="*/ 66659 h 123273"/>
                  <a:gd name="connsiteX7" fmla="*/ 110184 w 120804"/>
                  <a:gd name="connsiteY7" fmla="*/ 76154 h 123273"/>
                  <a:gd name="connsiteX8" fmla="*/ 119459 w 120804"/>
                  <a:gd name="connsiteY8" fmla="*/ 80353 h 123273"/>
                  <a:gd name="connsiteX9" fmla="*/ 120804 w 120804"/>
                  <a:gd name="connsiteY9" fmla="*/ 94788 h 123273"/>
                  <a:gd name="connsiteX10" fmla="*/ 116248 w 120804"/>
                  <a:gd name="connsiteY10" fmla="*/ 102472 h 123273"/>
                  <a:gd name="connsiteX11" fmla="*/ 115315 w 120804"/>
                  <a:gd name="connsiteY11" fmla="*/ 108208 h 123273"/>
                  <a:gd name="connsiteX12" fmla="*/ 116880 w 120804"/>
                  <a:gd name="connsiteY12" fmla="*/ 123274 h 123273"/>
                  <a:gd name="connsiteX13" fmla="*/ 110623 w 120804"/>
                  <a:gd name="connsiteY13" fmla="*/ 122670 h 123273"/>
                  <a:gd name="connsiteX14" fmla="*/ 104887 w 120804"/>
                  <a:gd name="connsiteY14" fmla="*/ 119240 h 123273"/>
                  <a:gd name="connsiteX15" fmla="*/ 95694 w 120804"/>
                  <a:gd name="connsiteY15" fmla="*/ 116934 h 123273"/>
                  <a:gd name="connsiteX16" fmla="*/ 65644 w 120804"/>
                  <a:gd name="connsiteY16" fmla="*/ 100469 h 123273"/>
                  <a:gd name="connsiteX17" fmla="*/ 41329 w 120804"/>
                  <a:gd name="connsiteY17" fmla="*/ 77142 h 123273"/>
                  <a:gd name="connsiteX18" fmla="*/ 32328 w 120804"/>
                  <a:gd name="connsiteY18" fmla="*/ 70858 h 123273"/>
                  <a:gd name="connsiteX19" fmla="*/ 21598 w 120804"/>
                  <a:gd name="connsiteY19" fmla="*/ 66659 h 123273"/>
                  <a:gd name="connsiteX20" fmla="*/ 18250 w 120804"/>
                  <a:gd name="connsiteY20" fmla="*/ 61143 h 123273"/>
                  <a:gd name="connsiteX21" fmla="*/ 4885 w 120804"/>
                  <a:gd name="connsiteY21" fmla="*/ 54227 h 123273"/>
                  <a:gd name="connsiteX22" fmla="*/ 0 w 120804"/>
                  <a:gd name="connsiteY22" fmla="*/ 47559 h 123273"/>
                  <a:gd name="connsiteX23" fmla="*/ 2882 w 120804"/>
                  <a:gd name="connsiteY23" fmla="*/ 45994 h 123273"/>
                  <a:gd name="connsiteX24" fmla="*/ 5626 w 120804"/>
                  <a:gd name="connsiteY24" fmla="*/ 39353 h 123273"/>
                  <a:gd name="connsiteX25" fmla="*/ 25851 w 120804"/>
                  <a:gd name="connsiteY25" fmla="*/ 22037 h 123273"/>
                  <a:gd name="connsiteX26" fmla="*/ 27059 w 120804"/>
                  <a:gd name="connsiteY26" fmla="*/ 13694 h 123273"/>
                  <a:gd name="connsiteX27" fmla="*/ 34880 w 120804"/>
                  <a:gd name="connsiteY27" fmla="*/ 9386 h 123273"/>
                  <a:gd name="connsiteX28" fmla="*/ 35786 w 120804"/>
                  <a:gd name="connsiteY28" fmla="*/ 1125 h 123273"/>
                  <a:gd name="connsiteX29" fmla="*/ 40698 w 120804"/>
                  <a:gd name="connsiteY29" fmla="*/ 659 h 123273"/>
                  <a:gd name="connsiteX30" fmla="*/ 43333 w 120804"/>
                  <a:gd name="connsiteY30" fmla="*/ 2497 h 123273"/>
                  <a:gd name="connsiteX31" fmla="*/ 50989 w 120804"/>
                  <a:gd name="connsiteY31" fmla="*/ 0 h 123273"/>
                  <a:gd name="connsiteX32" fmla="*/ 58509 w 120804"/>
                  <a:gd name="connsiteY32" fmla="*/ 4309 h 123273"/>
                  <a:gd name="connsiteX33" fmla="*/ 62927 w 120804"/>
                  <a:gd name="connsiteY33" fmla="*/ 23272 h 123273"/>
                  <a:gd name="connsiteX34" fmla="*/ 60676 w 120804"/>
                  <a:gd name="connsiteY34" fmla="*/ 32602 h 123273"/>
                  <a:gd name="connsiteX35" fmla="*/ 66879 w 120804"/>
                  <a:gd name="connsiteY35" fmla="*/ 34194 h 123273"/>
                  <a:gd name="connsiteX36" fmla="*/ 71242 w 120804"/>
                  <a:gd name="connsiteY36" fmla="*/ 38530 h 123273"/>
                  <a:gd name="connsiteX37" fmla="*/ 77801 w 120804"/>
                  <a:gd name="connsiteY37" fmla="*/ 36637 h 123273"/>
                  <a:gd name="connsiteX38" fmla="*/ 83482 w 120804"/>
                  <a:gd name="connsiteY38" fmla="*/ 25055 h 123273"/>
                  <a:gd name="connsiteX39" fmla="*/ 85787 w 120804"/>
                  <a:gd name="connsiteY39" fmla="*/ 24973 h 123273"/>
                  <a:gd name="connsiteX40" fmla="*/ 88998 w 120804"/>
                  <a:gd name="connsiteY40" fmla="*/ 28788 h 123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0804" h="123273">
                    <a:moveTo>
                      <a:pt x="88970" y="28815"/>
                    </a:moveTo>
                    <a:lnTo>
                      <a:pt x="94322" y="40369"/>
                    </a:lnTo>
                    <a:lnTo>
                      <a:pt x="94431" y="44622"/>
                    </a:lnTo>
                    <a:lnTo>
                      <a:pt x="93059" y="51648"/>
                    </a:lnTo>
                    <a:lnTo>
                      <a:pt x="86830" y="60155"/>
                    </a:lnTo>
                    <a:lnTo>
                      <a:pt x="96737" y="66192"/>
                    </a:lnTo>
                    <a:lnTo>
                      <a:pt x="105409" y="66659"/>
                    </a:lnTo>
                    <a:lnTo>
                      <a:pt x="110184" y="76154"/>
                    </a:lnTo>
                    <a:lnTo>
                      <a:pt x="119459" y="80353"/>
                    </a:lnTo>
                    <a:lnTo>
                      <a:pt x="120804" y="94788"/>
                    </a:lnTo>
                    <a:lnTo>
                      <a:pt x="116248" y="102472"/>
                    </a:lnTo>
                    <a:lnTo>
                      <a:pt x="115315" y="108208"/>
                    </a:lnTo>
                    <a:lnTo>
                      <a:pt x="116880" y="123274"/>
                    </a:lnTo>
                    <a:lnTo>
                      <a:pt x="110623" y="122670"/>
                    </a:lnTo>
                    <a:lnTo>
                      <a:pt x="104887" y="119240"/>
                    </a:lnTo>
                    <a:lnTo>
                      <a:pt x="95694" y="116934"/>
                    </a:lnTo>
                    <a:lnTo>
                      <a:pt x="65644" y="100469"/>
                    </a:lnTo>
                    <a:lnTo>
                      <a:pt x="41329" y="77142"/>
                    </a:lnTo>
                    <a:lnTo>
                      <a:pt x="32328" y="70858"/>
                    </a:lnTo>
                    <a:lnTo>
                      <a:pt x="21598" y="66659"/>
                    </a:lnTo>
                    <a:lnTo>
                      <a:pt x="18250" y="61143"/>
                    </a:lnTo>
                    <a:lnTo>
                      <a:pt x="4885" y="54227"/>
                    </a:lnTo>
                    <a:lnTo>
                      <a:pt x="0" y="47559"/>
                    </a:lnTo>
                    <a:lnTo>
                      <a:pt x="2882" y="45994"/>
                    </a:lnTo>
                    <a:lnTo>
                      <a:pt x="5626" y="39353"/>
                    </a:lnTo>
                    <a:lnTo>
                      <a:pt x="25851" y="22037"/>
                    </a:lnTo>
                    <a:lnTo>
                      <a:pt x="27059" y="13694"/>
                    </a:lnTo>
                    <a:lnTo>
                      <a:pt x="34880" y="9386"/>
                    </a:lnTo>
                    <a:lnTo>
                      <a:pt x="35786" y="1125"/>
                    </a:lnTo>
                    <a:lnTo>
                      <a:pt x="40698" y="659"/>
                    </a:lnTo>
                    <a:lnTo>
                      <a:pt x="43333" y="2497"/>
                    </a:lnTo>
                    <a:lnTo>
                      <a:pt x="50989" y="0"/>
                    </a:lnTo>
                    <a:lnTo>
                      <a:pt x="58509" y="4309"/>
                    </a:lnTo>
                    <a:lnTo>
                      <a:pt x="62927" y="23272"/>
                    </a:lnTo>
                    <a:lnTo>
                      <a:pt x="60676" y="32602"/>
                    </a:lnTo>
                    <a:lnTo>
                      <a:pt x="66879" y="34194"/>
                    </a:lnTo>
                    <a:lnTo>
                      <a:pt x="71242" y="38530"/>
                    </a:lnTo>
                    <a:lnTo>
                      <a:pt x="77801" y="36637"/>
                    </a:lnTo>
                    <a:lnTo>
                      <a:pt x="83482" y="25055"/>
                    </a:lnTo>
                    <a:lnTo>
                      <a:pt x="85787" y="24973"/>
                    </a:lnTo>
                    <a:lnTo>
                      <a:pt x="88998" y="287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79" name="Freeform: Shape 4178">
                <a:extLst>
                  <a:ext uri="{FF2B5EF4-FFF2-40B4-BE49-F238E27FC236}">
                    <a16:creationId xmlns:a16="http://schemas.microsoft.com/office/drawing/2014/main" id="{CF5F7290-AD5D-059D-4B72-577201E58C46}"/>
                  </a:ext>
                </a:extLst>
              </p:cNvPr>
              <p:cNvSpPr/>
              <p:nvPr/>
            </p:nvSpPr>
            <p:spPr>
              <a:xfrm>
                <a:off x="1448376" y="3936028"/>
                <a:ext cx="7333" cy="7293"/>
              </a:xfrm>
              <a:custGeom>
                <a:avLst/>
                <a:gdLst>
                  <a:gd name="connsiteX0" fmla="*/ 0 w 70309"/>
                  <a:gd name="connsiteY0" fmla="*/ 35951 h 69924"/>
                  <a:gd name="connsiteX1" fmla="*/ 9194 w 70309"/>
                  <a:gd name="connsiteY1" fmla="*/ 29721 h 69924"/>
                  <a:gd name="connsiteX2" fmla="*/ 20967 w 70309"/>
                  <a:gd name="connsiteY2" fmla="*/ 11718 h 69924"/>
                  <a:gd name="connsiteX3" fmla="*/ 29529 w 70309"/>
                  <a:gd name="connsiteY3" fmla="*/ 8672 h 69924"/>
                  <a:gd name="connsiteX4" fmla="*/ 33206 w 70309"/>
                  <a:gd name="connsiteY4" fmla="*/ 4034 h 69924"/>
                  <a:gd name="connsiteX5" fmla="*/ 46735 w 70309"/>
                  <a:gd name="connsiteY5" fmla="*/ 0 h 69924"/>
                  <a:gd name="connsiteX6" fmla="*/ 55874 w 70309"/>
                  <a:gd name="connsiteY6" fmla="*/ 8672 h 69924"/>
                  <a:gd name="connsiteX7" fmla="*/ 67263 w 70309"/>
                  <a:gd name="connsiteY7" fmla="*/ 17728 h 69924"/>
                  <a:gd name="connsiteX8" fmla="*/ 70309 w 70309"/>
                  <a:gd name="connsiteY8" fmla="*/ 27251 h 69924"/>
                  <a:gd name="connsiteX9" fmla="*/ 62240 w 70309"/>
                  <a:gd name="connsiteY9" fmla="*/ 37569 h 69924"/>
                  <a:gd name="connsiteX10" fmla="*/ 61473 w 70309"/>
                  <a:gd name="connsiteY10" fmla="*/ 45281 h 69924"/>
                  <a:gd name="connsiteX11" fmla="*/ 51977 w 70309"/>
                  <a:gd name="connsiteY11" fmla="*/ 51154 h 69924"/>
                  <a:gd name="connsiteX12" fmla="*/ 39710 w 70309"/>
                  <a:gd name="connsiteY12" fmla="*/ 53267 h 69924"/>
                  <a:gd name="connsiteX13" fmla="*/ 35292 w 70309"/>
                  <a:gd name="connsiteY13" fmla="*/ 57740 h 69924"/>
                  <a:gd name="connsiteX14" fmla="*/ 31862 w 70309"/>
                  <a:gd name="connsiteY14" fmla="*/ 67949 h 69924"/>
                  <a:gd name="connsiteX15" fmla="*/ 29281 w 70309"/>
                  <a:gd name="connsiteY15" fmla="*/ 69925 h 69924"/>
                  <a:gd name="connsiteX16" fmla="*/ 20472 w 70309"/>
                  <a:gd name="connsiteY16" fmla="*/ 67565 h 69924"/>
                  <a:gd name="connsiteX17" fmla="*/ 10483 w 70309"/>
                  <a:gd name="connsiteY17" fmla="*/ 57164 h 69924"/>
                  <a:gd name="connsiteX18" fmla="*/ 10181 w 70309"/>
                  <a:gd name="connsiteY18" fmla="*/ 53185 h 69924"/>
                  <a:gd name="connsiteX19" fmla="*/ 55 w 70309"/>
                  <a:gd name="connsiteY19" fmla="*/ 35923 h 6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309" h="69924">
                    <a:moveTo>
                      <a:pt x="0" y="35951"/>
                    </a:moveTo>
                    <a:lnTo>
                      <a:pt x="9194" y="29721"/>
                    </a:lnTo>
                    <a:lnTo>
                      <a:pt x="20967" y="11718"/>
                    </a:lnTo>
                    <a:lnTo>
                      <a:pt x="29529" y="8672"/>
                    </a:lnTo>
                    <a:lnTo>
                      <a:pt x="33206" y="4034"/>
                    </a:lnTo>
                    <a:lnTo>
                      <a:pt x="46735" y="0"/>
                    </a:lnTo>
                    <a:lnTo>
                      <a:pt x="55874" y="8672"/>
                    </a:lnTo>
                    <a:lnTo>
                      <a:pt x="67263" y="17728"/>
                    </a:lnTo>
                    <a:lnTo>
                      <a:pt x="70309" y="27251"/>
                    </a:lnTo>
                    <a:lnTo>
                      <a:pt x="62240" y="37569"/>
                    </a:lnTo>
                    <a:lnTo>
                      <a:pt x="61473" y="45281"/>
                    </a:lnTo>
                    <a:lnTo>
                      <a:pt x="51977" y="51154"/>
                    </a:lnTo>
                    <a:lnTo>
                      <a:pt x="39710" y="53267"/>
                    </a:lnTo>
                    <a:lnTo>
                      <a:pt x="35292" y="57740"/>
                    </a:lnTo>
                    <a:lnTo>
                      <a:pt x="31862" y="67949"/>
                    </a:lnTo>
                    <a:lnTo>
                      <a:pt x="29281" y="69925"/>
                    </a:lnTo>
                    <a:lnTo>
                      <a:pt x="20472" y="67565"/>
                    </a:lnTo>
                    <a:lnTo>
                      <a:pt x="10483" y="57164"/>
                    </a:lnTo>
                    <a:lnTo>
                      <a:pt x="10181" y="53185"/>
                    </a:lnTo>
                    <a:lnTo>
                      <a:pt x="55" y="359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0" name="Freeform: Shape 4179">
                <a:extLst>
                  <a:ext uri="{FF2B5EF4-FFF2-40B4-BE49-F238E27FC236}">
                    <a16:creationId xmlns:a16="http://schemas.microsoft.com/office/drawing/2014/main" id="{F6E4FF77-92C5-50D4-5F46-8E8DF7F54C7B}"/>
                  </a:ext>
                </a:extLst>
              </p:cNvPr>
              <p:cNvSpPr/>
              <p:nvPr/>
            </p:nvSpPr>
            <p:spPr>
              <a:xfrm>
                <a:off x="1394244" y="3736501"/>
                <a:ext cx="48290" cy="46945"/>
              </a:xfrm>
              <a:custGeom>
                <a:avLst/>
                <a:gdLst>
                  <a:gd name="connsiteX0" fmla="*/ 462991 w 462990"/>
                  <a:gd name="connsiteY0" fmla="*/ 52855 h 450092"/>
                  <a:gd name="connsiteX1" fmla="*/ 455032 w 462990"/>
                  <a:gd name="connsiteY1" fmla="*/ 61664 h 450092"/>
                  <a:gd name="connsiteX2" fmla="*/ 456953 w 462990"/>
                  <a:gd name="connsiteY2" fmla="*/ 75056 h 450092"/>
                  <a:gd name="connsiteX3" fmla="*/ 458655 w 462990"/>
                  <a:gd name="connsiteY3" fmla="*/ 84799 h 450092"/>
                  <a:gd name="connsiteX4" fmla="*/ 456486 w 462990"/>
                  <a:gd name="connsiteY4" fmla="*/ 92565 h 450092"/>
                  <a:gd name="connsiteX5" fmla="*/ 450229 w 462990"/>
                  <a:gd name="connsiteY5" fmla="*/ 103872 h 450092"/>
                  <a:gd name="connsiteX6" fmla="*/ 458627 w 462990"/>
                  <a:gd name="connsiteY6" fmla="*/ 136501 h 450092"/>
                  <a:gd name="connsiteX7" fmla="*/ 458627 w 462990"/>
                  <a:gd name="connsiteY7" fmla="*/ 371441 h 450092"/>
                  <a:gd name="connsiteX8" fmla="*/ 458627 w 462990"/>
                  <a:gd name="connsiteY8" fmla="*/ 381293 h 450092"/>
                  <a:gd name="connsiteX9" fmla="*/ 458627 w 462990"/>
                  <a:gd name="connsiteY9" fmla="*/ 434532 h 450092"/>
                  <a:gd name="connsiteX10" fmla="*/ 429236 w 462990"/>
                  <a:gd name="connsiteY10" fmla="*/ 434532 h 450092"/>
                  <a:gd name="connsiteX11" fmla="*/ 429236 w 462990"/>
                  <a:gd name="connsiteY11" fmla="*/ 450092 h 450092"/>
                  <a:gd name="connsiteX12" fmla="*/ 427040 w 462990"/>
                  <a:gd name="connsiteY12" fmla="*/ 448940 h 450092"/>
                  <a:gd name="connsiteX13" fmla="*/ 425202 w 462990"/>
                  <a:gd name="connsiteY13" fmla="*/ 448007 h 450092"/>
                  <a:gd name="connsiteX14" fmla="*/ 413538 w 462990"/>
                  <a:gd name="connsiteY14" fmla="*/ 441887 h 450092"/>
                  <a:gd name="connsiteX15" fmla="*/ 409587 w 462990"/>
                  <a:gd name="connsiteY15" fmla="*/ 439801 h 450092"/>
                  <a:gd name="connsiteX16" fmla="*/ 396935 w 462990"/>
                  <a:gd name="connsiteY16" fmla="*/ 433160 h 450092"/>
                  <a:gd name="connsiteX17" fmla="*/ 369931 w 462990"/>
                  <a:gd name="connsiteY17" fmla="*/ 419027 h 450092"/>
                  <a:gd name="connsiteX18" fmla="*/ 323855 w 462990"/>
                  <a:gd name="connsiteY18" fmla="*/ 394767 h 450092"/>
                  <a:gd name="connsiteX19" fmla="*/ 298415 w 462990"/>
                  <a:gd name="connsiteY19" fmla="*/ 381320 h 450092"/>
                  <a:gd name="connsiteX20" fmla="*/ 194955 w 462990"/>
                  <a:gd name="connsiteY20" fmla="*/ 326242 h 450092"/>
                  <a:gd name="connsiteX21" fmla="*/ 164466 w 462990"/>
                  <a:gd name="connsiteY21" fmla="*/ 339744 h 450092"/>
                  <a:gd name="connsiteX22" fmla="*/ 140563 w 462990"/>
                  <a:gd name="connsiteY22" fmla="*/ 350474 h 450092"/>
                  <a:gd name="connsiteX23" fmla="*/ 118554 w 462990"/>
                  <a:gd name="connsiteY23" fmla="*/ 333213 h 450092"/>
                  <a:gd name="connsiteX24" fmla="*/ 76237 w 462990"/>
                  <a:gd name="connsiteY24" fmla="*/ 323223 h 450092"/>
                  <a:gd name="connsiteX25" fmla="*/ 64656 w 462990"/>
                  <a:gd name="connsiteY25" fmla="*/ 299787 h 450092"/>
                  <a:gd name="connsiteX26" fmla="*/ 58947 w 462990"/>
                  <a:gd name="connsiteY26" fmla="*/ 300610 h 450092"/>
                  <a:gd name="connsiteX27" fmla="*/ 39655 w 462990"/>
                  <a:gd name="connsiteY27" fmla="*/ 289825 h 450092"/>
                  <a:gd name="connsiteX28" fmla="*/ 30709 w 462990"/>
                  <a:gd name="connsiteY28" fmla="*/ 291966 h 450092"/>
                  <a:gd name="connsiteX29" fmla="*/ 25550 w 462990"/>
                  <a:gd name="connsiteY29" fmla="*/ 288371 h 450092"/>
                  <a:gd name="connsiteX30" fmla="*/ 23464 w 462990"/>
                  <a:gd name="connsiteY30" fmla="*/ 283376 h 450092"/>
                  <a:gd name="connsiteX31" fmla="*/ 19101 w 462990"/>
                  <a:gd name="connsiteY31" fmla="*/ 279507 h 450092"/>
                  <a:gd name="connsiteX32" fmla="*/ 17591 w 462990"/>
                  <a:gd name="connsiteY32" fmla="*/ 263508 h 450092"/>
                  <a:gd name="connsiteX33" fmla="*/ 467 w 462990"/>
                  <a:gd name="connsiteY33" fmla="*/ 236888 h 450092"/>
                  <a:gd name="connsiteX34" fmla="*/ 3650 w 462990"/>
                  <a:gd name="connsiteY34" fmla="*/ 230356 h 450092"/>
                  <a:gd name="connsiteX35" fmla="*/ 12816 w 462990"/>
                  <a:gd name="connsiteY35" fmla="*/ 225664 h 450092"/>
                  <a:gd name="connsiteX36" fmla="*/ 14572 w 462990"/>
                  <a:gd name="connsiteY36" fmla="*/ 222535 h 450092"/>
                  <a:gd name="connsiteX37" fmla="*/ 15066 w 462990"/>
                  <a:gd name="connsiteY37" fmla="*/ 214906 h 450092"/>
                  <a:gd name="connsiteX38" fmla="*/ 11306 w 462990"/>
                  <a:gd name="connsiteY38" fmla="*/ 199730 h 450092"/>
                  <a:gd name="connsiteX39" fmla="*/ 16191 w 462990"/>
                  <a:gd name="connsiteY39" fmla="*/ 181179 h 450092"/>
                  <a:gd name="connsiteX40" fmla="*/ 12953 w 462990"/>
                  <a:gd name="connsiteY40" fmla="*/ 167375 h 450092"/>
                  <a:gd name="connsiteX41" fmla="*/ 14627 w 462990"/>
                  <a:gd name="connsiteY41" fmla="*/ 150333 h 450092"/>
                  <a:gd name="connsiteX42" fmla="*/ 11499 w 462990"/>
                  <a:gd name="connsiteY42" fmla="*/ 130546 h 450092"/>
                  <a:gd name="connsiteX43" fmla="*/ 0 w 462990"/>
                  <a:gd name="connsiteY43" fmla="*/ 105354 h 450092"/>
                  <a:gd name="connsiteX44" fmla="*/ 4309 w 462990"/>
                  <a:gd name="connsiteY44" fmla="*/ 100990 h 450092"/>
                  <a:gd name="connsiteX45" fmla="*/ 15862 w 462990"/>
                  <a:gd name="connsiteY45" fmla="*/ 95804 h 450092"/>
                  <a:gd name="connsiteX46" fmla="*/ 24095 w 462990"/>
                  <a:gd name="connsiteY46" fmla="*/ 84168 h 450092"/>
                  <a:gd name="connsiteX47" fmla="*/ 25796 w 462990"/>
                  <a:gd name="connsiteY47" fmla="*/ 75029 h 450092"/>
                  <a:gd name="connsiteX48" fmla="*/ 22366 w 462990"/>
                  <a:gd name="connsiteY48" fmla="*/ 57301 h 450092"/>
                  <a:gd name="connsiteX49" fmla="*/ 26812 w 462990"/>
                  <a:gd name="connsiteY49" fmla="*/ 51044 h 450092"/>
                  <a:gd name="connsiteX50" fmla="*/ 33563 w 462990"/>
                  <a:gd name="connsiteY50" fmla="*/ 48629 h 450092"/>
                  <a:gd name="connsiteX51" fmla="*/ 36829 w 462990"/>
                  <a:gd name="connsiteY51" fmla="*/ 41988 h 450092"/>
                  <a:gd name="connsiteX52" fmla="*/ 44183 w 462990"/>
                  <a:gd name="connsiteY52" fmla="*/ 35813 h 450092"/>
                  <a:gd name="connsiteX53" fmla="*/ 62598 w 462990"/>
                  <a:gd name="connsiteY53" fmla="*/ 25988 h 450092"/>
                  <a:gd name="connsiteX54" fmla="*/ 63970 w 462990"/>
                  <a:gd name="connsiteY54" fmla="*/ 22586 h 450092"/>
                  <a:gd name="connsiteX55" fmla="*/ 61500 w 462990"/>
                  <a:gd name="connsiteY55" fmla="*/ 17591 h 450092"/>
                  <a:gd name="connsiteX56" fmla="*/ 61500 w 462990"/>
                  <a:gd name="connsiteY56" fmla="*/ 8974 h 450092"/>
                  <a:gd name="connsiteX57" fmla="*/ 63503 w 462990"/>
                  <a:gd name="connsiteY57" fmla="*/ 0 h 450092"/>
                  <a:gd name="connsiteX58" fmla="*/ 86885 w 462990"/>
                  <a:gd name="connsiteY58" fmla="*/ 11910 h 450092"/>
                  <a:gd name="connsiteX59" fmla="*/ 98438 w 462990"/>
                  <a:gd name="connsiteY59" fmla="*/ 12926 h 450092"/>
                  <a:gd name="connsiteX60" fmla="*/ 115590 w 462990"/>
                  <a:gd name="connsiteY60" fmla="*/ 9248 h 450092"/>
                  <a:gd name="connsiteX61" fmla="*/ 122670 w 462990"/>
                  <a:gd name="connsiteY61" fmla="*/ 12569 h 450092"/>
                  <a:gd name="connsiteX62" fmla="*/ 141441 w 462990"/>
                  <a:gd name="connsiteY62" fmla="*/ 16493 h 450092"/>
                  <a:gd name="connsiteX63" fmla="*/ 146271 w 462990"/>
                  <a:gd name="connsiteY63" fmla="*/ 20472 h 450092"/>
                  <a:gd name="connsiteX64" fmla="*/ 171299 w 462990"/>
                  <a:gd name="connsiteY64" fmla="*/ 28376 h 450092"/>
                  <a:gd name="connsiteX65" fmla="*/ 174565 w 462990"/>
                  <a:gd name="connsiteY65" fmla="*/ 34166 h 450092"/>
                  <a:gd name="connsiteX66" fmla="*/ 175745 w 462990"/>
                  <a:gd name="connsiteY66" fmla="*/ 43854 h 450092"/>
                  <a:gd name="connsiteX67" fmla="*/ 179752 w 462990"/>
                  <a:gd name="connsiteY67" fmla="*/ 53486 h 450092"/>
                  <a:gd name="connsiteX68" fmla="*/ 188149 w 462990"/>
                  <a:gd name="connsiteY68" fmla="*/ 62515 h 450092"/>
                  <a:gd name="connsiteX69" fmla="*/ 198111 w 462990"/>
                  <a:gd name="connsiteY69" fmla="*/ 66522 h 450092"/>
                  <a:gd name="connsiteX70" fmla="*/ 217046 w 462990"/>
                  <a:gd name="connsiteY70" fmla="*/ 68141 h 450092"/>
                  <a:gd name="connsiteX71" fmla="*/ 238918 w 462990"/>
                  <a:gd name="connsiteY71" fmla="*/ 75002 h 450092"/>
                  <a:gd name="connsiteX72" fmla="*/ 257662 w 462990"/>
                  <a:gd name="connsiteY72" fmla="*/ 82521 h 450092"/>
                  <a:gd name="connsiteX73" fmla="*/ 278409 w 462990"/>
                  <a:gd name="connsiteY73" fmla="*/ 98383 h 450092"/>
                  <a:gd name="connsiteX74" fmla="*/ 286971 w 462990"/>
                  <a:gd name="connsiteY74" fmla="*/ 100112 h 450092"/>
                  <a:gd name="connsiteX75" fmla="*/ 303931 w 462990"/>
                  <a:gd name="connsiteY75" fmla="*/ 92153 h 450092"/>
                  <a:gd name="connsiteX76" fmla="*/ 315677 w 462990"/>
                  <a:gd name="connsiteY76" fmla="*/ 75002 h 450092"/>
                  <a:gd name="connsiteX77" fmla="*/ 316336 w 462990"/>
                  <a:gd name="connsiteY77" fmla="*/ 68635 h 450092"/>
                  <a:gd name="connsiteX78" fmla="*/ 311642 w 462990"/>
                  <a:gd name="connsiteY78" fmla="*/ 59140 h 450092"/>
                  <a:gd name="connsiteX79" fmla="*/ 309475 w 462990"/>
                  <a:gd name="connsiteY79" fmla="*/ 48382 h 450092"/>
                  <a:gd name="connsiteX80" fmla="*/ 310243 w 462990"/>
                  <a:gd name="connsiteY80" fmla="*/ 41905 h 450092"/>
                  <a:gd name="connsiteX81" fmla="*/ 314305 w 462990"/>
                  <a:gd name="connsiteY81" fmla="*/ 35292 h 450092"/>
                  <a:gd name="connsiteX82" fmla="*/ 328822 w 462990"/>
                  <a:gd name="connsiteY82" fmla="*/ 21653 h 450092"/>
                  <a:gd name="connsiteX83" fmla="*/ 341007 w 462990"/>
                  <a:gd name="connsiteY83" fmla="*/ 15149 h 450092"/>
                  <a:gd name="connsiteX84" fmla="*/ 352039 w 462990"/>
                  <a:gd name="connsiteY84" fmla="*/ 13310 h 450092"/>
                  <a:gd name="connsiteX85" fmla="*/ 361095 w 462990"/>
                  <a:gd name="connsiteY85" fmla="*/ 8150 h 450092"/>
                  <a:gd name="connsiteX86" fmla="*/ 374898 w 462990"/>
                  <a:gd name="connsiteY86" fmla="*/ 8727 h 450092"/>
                  <a:gd name="connsiteX87" fmla="*/ 402067 w 462990"/>
                  <a:gd name="connsiteY87" fmla="*/ 18551 h 450092"/>
                  <a:gd name="connsiteX88" fmla="*/ 404016 w 462990"/>
                  <a:gd name="connsiteY88" fmla="*/ 24973 h 450092"/>
                  <a:gd name="connsiteX89" fmla="*/ 402863 w 462990"/>
                  <a:gd name="connsiteY89" fmla="*/ 29089 h 450092"/>
                  <a:gd name="connsiteX90" fmla="*/ 407912 w 462990"/>
                  <a:gd name="connsiteY90" fmla="*/ 33069 h 450092"/>
                  <a:gd name="connsiteX91" fmla="*/ 422019 w 462990"/>
                  <a:gd name="connsiteY91" fmla="*/ 34935 h 450092"/>
                  <a:gd name="connsiteX92" fmla="*/ 433105 w 462990"/>
                  <a:gd name="connsiteY92" fmla="*/ 40286 h 450092"/>
                  <a:gd name="connsiteX93" fmla="*/ 457337 w 462990"/>
                  <a:gd name="connsiteY93" fmla="*/ 41659 h 450092"/>
                  <a:gd name="connsiteX94" fmla="*/ 462991 w 462990"/>
                  <a:gd name="connsiteY94" fmla="*/ 52828 h 45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62990" h="450092">
                    <a:moveTo>
                      <a:pt x="462991" y="52855"/>
                    </a:moveTo>
                    <a:lnTo>
                      <a:pt x="455032" y="61664"/>
                    </a:lnTo>
                    <a:lnTo>
                      <a:pt x="456953" y="75056"/>
                    </a:lnTo>
                    <a:lnTo>
                      <a:pt x="458655" y="84799"/>
                    </a:lnTo>
                    <a:lnTo>
                      <a:pt x="456486" y="92565"/>
                    </a:lnTo>
                    <a:lnTo>
                      <a:pt x="450229" y="103872"/>
                    </a:lnTo>
                    <a:lnTo>
                      <a:pt x="458627" y="136501"/>
                    </a:lnTo>
                    <a:lnTo>
                      <a:pt x="458627" y="371441"/>
                    </a:lnTo>
                    <a:cubicBezTo>
                      <a:pt x="458627" y="371441"/>
                      <a:pt x="458627" y="381293"/>
                      <a:pt x="458627" y="381293"/>
                    </a:cubicBezTo>
                    <a:lnTo>
                      <a:pt x="458627" y="434532"/>
                    </a:lnTo>
                    <a:lnTo>
                      <a:pt x="429236" y="434532"/>
                    </a:lnTo>
                    <a:lnTo>
                      <a:pt x="429236" y="450092"/>
                    </a:lnTo>
                    <a:cubicBezTo>
                      <a:pt x="429236" y="450092"/>
                      <a:pt x="427040" y="448940"/>
                      <a:pt x="427040" y="448940"/>
                    </a:cubicBezTo>
                    <a:lnTo>
                      <a:pt x="425202" y="448007"/>
                    </a:lnTo>
                    <a:lnTo>
                      <a:pt x="413538" y="441887"/>
                    </a:lnTo>
                    <a:lnTo>
                      <a:pt x="409587" y="439801"/>
                    </a:lnTo>
                    <a:lnTo>
                      <a:pt x="396935" y="433160"/>
                    </a:lnTo>
                    <a:lnTo>
                      <a:pt x="369931" y="419027"/>
                    </a:lnTo>
                    <a:lnTo>
                      <a:pt x="323855" y="394767"/>
                    </a:lnTo>
                    <a:lnTo>
                      <a:pt x="298415" y="381320"/>
                    </a:lnTo>
                    <a:lnTo>
                      <a:pt x="194955" y="326242"/>
                    </a:lnTo>
                    <a:lnTo>
                      <a:pt x="164466" y="339744"/>
                    </a:lnTo>
                    <a:lnTo>
                      <a:pt x="140563" y="350474"/>
                    </a:lnTo>
                    <a:lnTo>
                      <a:pt x="118554" y="333213"/>
                    </a:lnTo>
                    <a:lnTo>
                      <a:pt x="76237" y="323223"/>
                    </a:lnTo>
                    <a:lnTo>
                      <a:pt x="64656" y="299787"/>
                    </a:lnTo>
                    <a:lnTo>
                      <a:pt x="58947" y="300610"/>
                    </a:lnTo>
                    <a:lnTo>
                      <a:pt x="39655" y="289825"/>
                    </a:lnTo>
                    <a:lnTo>
                      <a:pt x="30709" y="291966"/>
                    </a:lnTo>
                    <a:lnTo>
                      <a:pt x="25550" y="288371"/>
                    </a:lnTo>
                    <a:lnTo>
                      <a:pt x="23464" y="283376"/>
                    </a:lnTo>
                    <a:lnTo>
                      <a:pt x="19101" y="279507"/>
                    </a:lnTo>
                    <a:lnTo>
                      <a:pt x="17591" y="263508"/>
                    </a:lnTo>
                    <a:lnTo>
                      <a:pt x="467" y="236888"/>
                    </a:lnTo>
                    <a:lnTo>
                      <a:pt x="3650" y="230356"/>
                    </a:lnTo>
                    <a:lnTo>
                      <a:pt x="12816" y="225664"/>
                    </a:lnTo>
                    <a:lnTo>
                      <a:pt x="14572" y="222535"/>
                    </a:lnTo>
                    <a:lnTo>
                      <a:pt x="15066" y="214906"/>
                    </a:lnTo>
                    <a:lnTo>
                      <a:pt x="11306" y="199730"/>
                    </a:lnTo>
                    <a:lnTo>
                      <a:pt x="16191" y="181179"/>
                    </a:lnTo>
                    <a:lnTo>
                      <a:pt x="12953" y="167375"/>
                    </a:lnTo>
                    <a:lnTo>
                      <a:pt x="14627" y="150333"/>
                    </a:lnTo>
                    <a:lnTo>
                      <a:pt x="11499" y="130546"/>
                    </a:lnTo>
                    <a:lnTo>
                      <a:pt x="0" y="105354"/>
                    </a:lnTo>
                    <a:lnTo>
                      <a:pt x="4309" y="100990"/>
                    </a:lnTo>
                    <a:lnTo>
                      <a:pt x="15862" y="95804"/>
                    </a:lnTo>
                    <a:lnTo>
                      <a:pt x="24095" y="84168"/>
                    </a:lnTo>
                    <a:lnTo>
                      <a:pt x="25796" y="75029"/>
                    </a:lnTo>
                    <a:lnTo>
                      <a:pt x="22366" y="57301"/>
                    </a:lnTo>
                    <a:lnTo>
                      <a:pt x="26812" y="51044"/>
                    </a:lnTo>
                    <a:lnTo>
                      <a:pt x="33563" y="48629"/>
                    </a:lnTo>
                    <a:lnTo>
                      <a:pt x="36829" y="41988"/>
                    </a:lnTo>
                    <a:lnTo>
                      <a:pt x="44183" y="35813"/>
                    </a:lnTo>
                    <a:lnTo>
                      <a:pt x="62598" y="25988"/>
                    </a:lnTo>
                    <a:lnTo>
                      <a:pt x="63970" y="22586"/>
                    </a:lnTo>
                    <a:lnTo>
                      <a:pt x="61500" y="17591"/>
                    </a:lnTo>
                    <a:lnTo>
                      <a:pt x="61500" y="8974"/>
                    </a:lnTo>
                    <a:cubicBezTo>
                      <a:pt x="61500" y="8974"/>
                      <a:pt x="63503" y="0"/>
                      <a:pt x="63503" y="0"/>
                    </a:cubicBezTo>
                    <a:lnTo>
                      <a:pt x="86885" y="11910"/>
                    </a:lnTo>
                    <a:lnTo>
                      <a:pt x="98438" y="12926"/>
                    </a:lnTo>
                    <a:lnTo>
                      <a:pt x="115590" y="9248"/>
                    </a:lnTo>
                    <a:lnTo>
                      <a:pt x="122670" y="12569"/>
                    </a:lnTo>
                    <a:lnTo>
                      <a:pt x="141441" y="16493"/>
                    </a:lnTo>
                    <a:lnTo>
                      <a:pt x="146271" y="20472"/>
                    </a:lnTo>
                    <a:lnTo>
                      <a:pt x="171299" y="28376"/>
                    </a:lnTo>
                    <a:lnTo>
                      <a:pt x="174565" y="34166"/>
                    </a:lnTo>
                    <a:lnTo>
                      <a:pt x="175745" y="43854"/>
                    </a:lnTo>
                    <a:lnTo>
                      <a:pt x="179752" y="53486"/>
                    </a:lnTo>
                    <a:lnTo>
                      <a:pt x="188149" y="62515"/>
                    </a:lnTo>
                    <a:lnTo>
                      <a:pt x="198111" y="66522"/>
                    </a:lnTo>
                    <a:lnTo>
                      <a:pt x="217046" y="68141"/>
                    </a:lnTo>
                    <a:lnTo>
                      <a:pt x="238918" y="75002"/>
                    </a:lnTo>
                    <a:lnTo>
                      <a:pt x="257662" y="82521"/>
                    </a:lnTo>
                    <a:lnTo>
                      <a:pt x="278409" y="98383"/>
                    </a:lnTo>
                    <a:lnTo>
                      <a:pt x="286971" y="100112"/>
                    </a:lnTo>
                    <a:lnTo>
                      <a:pt x="303931" y="92153"/>
                    </a:lnTo>
                    <a:lnTo>
                      <a:pt x="315677" y="75002"/>
                    </a:lnTo>
                    <a:lnTo>
                      <a:pt x="316336" y="68635"/>
                    </a:lnTo>
                    <a:lnTo>
                      <a:pt x="311642" y="59140"/>
                    </a:lnTo>
                    <a:lnTo>
                      <a:pt x="309475" y="48382"/>
                    </a:lnTo>
                    <a:lnTo>
                      <a:pt x="310243" y="41905"/>
                    </a:lnTo>
                    <a:lnTo>
                      <a:pt x="314305" y="35292"/>
                    </a:lnTo>
                    <a:lnTo>
                      <a:pt x="328822" y="21653"/>
                    </a:lnTo>
                    <a:lnTo>
                      <a:pt x="341007" y="15149"/>
                    </a:lnTo>
                    <a:lnTo>
                      <a:pt x="352039" y="13310"/>
                    </a:lnTo>
                    <a:lnTo>
                      <a:pt x="361095" y="8150"/>
                    </a:lnTo>
                    <a:lnTo>
                      <a:pt x="374898" y="8727"/>
                    </a:lnTo>
                    <a:lnTo>
                      <a:pt x="402067" y="18551"/>
                    </a:lnTo>
                    <a:lnTo>
                      <a:pt x="404016" y="24973"/>
                    </a:lnTo>
                    <a:lnTo>
                      <a:pt x="402863" y="29089"/>
                    </a:lnTo>
                    <a:lnTo>
                      <a:pt x="407912" y="33069"/>
                    </a:lnTo>
                    <a:lnTo>
                      <a:pt x="422019" y="34935"/>
                    </a:lnTo>
                    <a:lnTo>
                      <a:pt x="433105" y="40286"/>
                    </a:lnTo>
                    <a:lnTo>
                      <a:pt x="457337" y="41659"/>
                    </a:lnTo>
                    <a:lnTo>
                      <a:pt x="462991" y="528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1" name="Freeform: Shape 4180">
                <a:extLst>
                  <a:ext uri="{FF2B5EF4-FFF2-40B4-BE49-F238E27FC236}">
                    <a16:creationId xmlns:a16="http://schemas.microsoft.com/office/drawing/2014/main" id="{8221EA9D-4F95-AD3B-37DA-068C2BB91970}"/>
                  </a:ext>
                </a:extLst>
              </p:cNvPr>
              <p:cNvSpPr/>
              <p:nvPr/>
            </p:nvSpPr>
            <p:spPr>
              <a:xfrm>
                <a:off x="1325038" y="3726265"/>
                <a:ext cx="37279" cy="29831"/>
              </a:xfrm>
              <a:custGeom>
                <a:avLst/>
                <a:gdLst>
                  <a:gd name="connsiteX0" fmla="*/ 229753 w 357417"/>
                  <a:gd name="connsiteY0" fmla="*/ 1592 h 286010"/>
                  <a:gd name="connsiteX1" fmla="*/ 229615 w 357417"/>
                  <a:gd name="connsiteY1" fmla="*/ 2223 h 286010"/>
                  <a:gd name="connsiteX2" fmla="*/ 229451 w 357417"/>
                  <a:gd name="connsiteY2" fmla="*/ 2470 h 286010"/>
                  <a:gd name="connsiteX3" fmla="*/ 229451 w 357417"/>
                  <a:gd name="connsiteY3" fmla="*/ 2799 h 286010"/>
                  <a:gd name="connsiteX4" fmla="*/ 229670 w 357417"/>
                  <a:gd name="connsiteY4" fmla="*/ 5351 h 286010"/>
                  <a:gd name="connsiteX5" fmla="*/ 229999 w 357417"/>
                  <a:gd name="connsiteY5" fmla="*/ 7245 h 286010"/>
                  <a:gd name="connsiteX6" fmla="*/ 230191 w 357417"/>
                  <a:gd name="connsiteY6" fmla="*/ 7904 h 286010"/>
                  <a:gd name="connsiteX7" fmla="*/ 230466 w 357417"/>
                  <a:gd name="connsiteY7" fmla="*/ 8398 h 286010"/>
                  <a:gd name="connsiteX8" fmla="*/ 230877 w 357417"/>
                  <a:gd name="connsiteY8" fmla="*/ 8398 h 286010"/>
                  <a:gd name="connsiteX9" fmla="*/ 231344 w 357417"/>
                  <a:gd name="connsiteY9" fmla="*/ 8260 h 286010"/>
                  <a:gd name="connsiteX10" fmla="*/ 231838 w 357417"/>
                  <a:gd name="connsiteY10" fmla="*/ 8343 h 286010"/>
                  <a:gd name="connsiteX11" fmla="*/ 231646 w 357417"/>
                  <a:gd name="connsiteY11" fmla="*/ 8919 h 286010"/>
                  <a:gd name="connsiteX12" fmla="*/ 231564 w 357417"/>
                  <a:gd name="connsiteY12" fmla="*/ 9138 h 286010"/>
                  <a:gd name="connsiteX13" fmla="*/ 232113 w 357417"/>
                  <a:gd name="connsiteY13" fmla="*/ 11334 h 286010"/>
                  <a:gd name="connsiteX14" fmla="*/ 232826 w 357417"/>
                  <a:gd name="connsiteY14" fmla="*/ 13227 h 286010"/>
                  <a:gd name="connsiteX15" fmla="*/ 233018 w 357417"/>
                  <a:gd name="connsiteY15" fmla="*/ 13337 h 286010"/>
                  <a:gd name="connsiteX16" fmla="*/ 233265 w 357417"/>
                  <a:gd name="connsiteY16" fmla="*/ 13255 h 286010"/>
                  <a:gd name="connsiteX17" fmla="*/ 233649 w 357417"/>
                  <a:gd name="connsiteY17" fmla="*/ 13667 h 286010"/>
                  <a:gd name="connsiteX18" fmla="*/ 233979 w 357417"/>
                  <a:gd name="connsiteY18" fmla="*/ 13557 h 286010"/>
                  <a:gd name="connsiteX19" fmla="*/ 234226 w 357417"/>
                  <a:gd name="connsiteY19" fmla="*/ 13749 h 286010"/>
                  <a:gd name="connsiteX20" fmla="*/ 234500 w 357417"/>
                  <a:gd name="connsiteY20" fmla="*/ 13749 h 286010"/>
                  <a:gd name="connsiteX21" fmla="*/ 234802 w 357417"/>
                  <a:gd name="connsiteY21" fmla="*/ 13913 h 286010"/>
                  <a:gd name="connsiteX22" fmla="*/ 235433 w 357417"/>
                  <a:gd name="connsiteY22" fmla="*/ 14902 h 286010"/>
                  <a:gd name="connsiteX23" fmla="*/ 236805 w 357417"/>
                  <a:gd name="connsiteY23" fmla="*/ 15945 h 286010"/>
                  <a:gd name="connsiteX24" fmla="*/ 238095 w 357417"/>
                  <a:gd name="connsiteY24" fmla="*/ 18387 h 286010"/>
                  <a:gd name="connsiteX25" fmla="*/ 238973 w 357417"/>
                  <a:gd name="connsiteY25" fmla="*/ 18661 h 286010"/>
                  <a:gd name="connsiteX26" fmla="*/ 239440 w 357417"/>
                  <a:gd name="connsiteY26" fmla="*/ 18579 h 286010"/>
                  <a:gd name="connsiteX27" fmla="*/ 240126 w 357417"/>
                  <a:gd name="connsiteY27" fmla="*/ 19457 h 286010"/>
                  <a:gd name="connsiteX28" fmla="*/ 240977 w 357417"/>
                  <a:gd name="connsiteY28" fmla="*/ 20225 h 286010"/>
                  <a:gd name="connsiteX29" fmla="*/ 242074 w 357417"/>
                  <a:gd name="connsiteY29" fmla="*/ 21625 h 286010"/>
                  <a:gd name="connsiteX30" fmla="*/ 242897 w 357417"/>
                  <a:gd name="connsiteY30" fmla="*/ 22092 h 286010"/>
                  <a:gd name="connsiteX31" fmla="*/ 243501 w 357417"/>
                  <a:gd name="connsiteY31" fmla="*/ 22256 h 286010"/>
                  <a:gd name="connsiteX32" fmla="*/ 243803 w 357417"/>
                  <a:gd name="connsiteY32" fmla="*/ 22256 h 286010"/>
                  <a:gd name="connsiteX33" fmla="*/ 244160 w 357417"/>
                  <a:gd name="connsiteY33" fmla="*/ 22640 h 286010"/>
                  <a:gd name="connsiteX34" fmla="*/ 244462 w 357417"/>
                  <a:gd name="connsiteY34" fmla="*/ 23052 h 286010"/>
                  <a:gd name="connsiteX35" fmla="*/ 245285 w 357417"/>
                  <a:gd name="connsiteY35" fmla="*/ 23793 h 286010"/>
                  <a:gd name="connsiteX36" fmla="*/ 245862 w 357417"/>
                  <a:gd name="connsiteY36" fmla="*/ 24013 h 286010"/>
                  <a:gd name="connsiteX37" fmla="*/ 246355 w 357417"/>
                  <a:gd name="connsiteY37" fmla="*/ 24507 h 286010"/>
                  <a:gd name="connsiteX38" fmla="*/ 246795 w 357417"/>
                  <a:gd name="connsiteY38" fmla="*/ 24671 h 286010"/>
                  <a:gd name="connsiteX39" fmla="*/ 247234 w 357417"/>
                  <a:gd name="connsiteY39" fmla="*/ 24973 h 286010"/>
                  <a:gd name="connsiteX40" fmla="*/ 247727 w 357417"/>
                  <a:gd name="connsiteY40" fmla="*/ 25055 h 286010"/>
                  <a:gd name="connsiteX41" fmla="*/ 248167 w 357417"/>
                  <a:gd name="connsiteY41" fmla="*/ 25302 h 286010"/>
                  <a:gd name="connsiteX42" fmla="*/ 249401 w 357417"/>
                  <a:gd name="connsiteY42" fmla="*/ 25742 h 286010"/>
                  <a:gd name="connsiteX43" fmla="*/ 249704 w 357417"/>
                  <a:gd name="connsiteY43" fmla="*/ 25687 h 286010"/>
                  <a:gd name="connsiteX44" fmla="*/ 249896 w 357417"/>
                  <a:gd name="connsiteY44" fmla="*/ 25495 h 286010"/>
                  <a:gd name="connsiteX45" fmla="*/ 250088 w 357417"/>
                  <a:gd name="connsiteY45" fmla="*/ 25495 h 286010"/>
                  <a:gd name="connsiteX46" fmla="*/ 250307 w 357417"/>
                  <a:gd name="connsiteY46" fmla="*/ 25440 h 286010"/>
                  <a:gd name="connsiteX47" fmla="*/ 250801 w 357417"/>
                  <a:gd name="connsiteY47" fmla="*/ 26043 h 286010"/>
                  <a:gd name="connsiteX48" fmla="*/ 251405 w 357417"/>
                  <a:gd name="connsiteY48" fmla="*/ 26318 h 286010"/>
                  <a:gd name="connsiteX49" fmla="*/ 251707 w 357417"/>
                  <a:gd name="connsiteY49" fmla="*/ 26373 h 286010"/>
                  <a:gd name="connsiteX50" fmla="*/ 252091 w 357417"/>
                  <a:gd name="connsiteY50" fmla="*/ 26236 h 286010"/>
                  <a:gd name="connsiteX51" fmla="*/ 254067 w 357417"/>
                  <a:gd name="connsiteY51" fmla="*/ 26812 h 286010"/>
                  <a:gd name="connsiteX52" fmla="*/ 254890 w 357417"/>
                  <a:gd name="connsiteY52" fmla="*/ 26812 h 286010"/>
                  <a:gd name="connsiteX53" fmla="*/ 256372 w 357417"/>
                  <a:gd name="connsiteY53" fmla="*/ 27443 h 286010"/>
                  <a:gd name="connsiteX54" fmla="*/ 256921 w 357417"/>
                  <a:gd name="connsiteY54" fmla="*/ 27580 h 286010"/>
                  <a:gd name="connsiteX55" fmla="*/ 257525 w 357417"/>
                  <a:gd name="connsiteY55" fmla="*/ 27443 h 286010"/>
                  <a:gd name="connsiteX56" fmla="*/ 257964 w 357417"/>
                  <a:gd name="connsiteY56" fmla="*/ 27608 h 286010"/>
                  <a:gd name="connsiteX57" fmla="*/ 258293 w 357417"/>
                  <a:gd name="connsiteY57" fmla="*/ 27608 h 286010"/>
                  <a:gd name="connsiteX58" fmla="*/ 258458 w 357417"/>
                  <a:gd name="connsiteY58" fmla="*/ 27800 h 286010"/>
                  <a:gd name="connsiteX59" fmla="*/ 258595 w 357417"/>
                  <a:gd name="connsiteY59" fmla="*/ 27717 h 286010"/>
                  <a:gd name="connsiteX60" fmla="*/ 258979 w 357417"/>
                  <a:gd name="connsiteY60" fmla="*/ 27827 h 286010"/>
                  <a:gd name="connsiteX61" fmla="*/ 259473 w 357417"/>
                  <a:gd name="connsiteY61" fmla="*/ 27470 h 286010"/>
                  <a:gd name="connsiteX62" fmla="*/ 259885 w 357417"/>
                  <a:gd name="connsiteY62" fmla="*/ 27470 h 286010"/>
                  <a:gd name="connsiteX63" fmla="*/ 260242 w 357417"/>
                  <a:gd name="connsiteY63" fmla="*/ 27141 h 286010"/>
                  <a:gd name="connsiteX64" fmla="*/ 260434 w 357417"/>
                  <a:gd name="connsiteY64" fmla="*/ 27059 h 286010"/>
                  <a:gd name="connsiteX65" fmla="*/ 260653 w 357417"/>
                  <a:gd name="connsiteY65" fmla="*/ 27059 h 286010"/>
                  <a:gd name="connsiteX66" fmla="*/ 260818 w 357417"/>
                  <a:gd name="connsiteY66" fmla="*/ 26976 h 286010"/>
                  <a:gd name="connsiteX67" fmla="*/ 260928 w 357417"/>
                  <a:gd name="connsiteY67" fmla="*/ 26922 h 286010"/>
                  <a:gd name="connsiteX68" fmla="*/ 261065 w 357417"/>
                  <a:gd name="connsiteY68" fmla="*/ 26592 h 286010"/>
                  <a:gd name="connsiteX69" fmla="*/ 261175 w 357417"/>
                  <a:gd name="connsiteY69" fmla="*/ 26702 h 286010"/>
                  <a:gd name="connsiteX70" fmla="*/ 262108 w 357417"/>
                  <a:gd name="connsiteY70" fmla="*/ 26345 h 286010"/>
                  <a:gd name="connsiteX71" fmla="*/ 262437 w 357417"/>
                  <a:gd name="connsiteY71" fmla="*/ 26455 h 286010"/>
                  <a:gd name="connsiteX72" fmla="*/ 262821 w 357417"/>
                  <a:gd name="connsiteY72" fmla="*/ 26455 h 286010"/>
                  <a:gd name="connsiteX73" fmla="*/ 263068 w 357417"/>
                  <a:gd name="connsiteY73" fmla="*/ 26455 h 286010"/>
                  <a:gd name="connsiteX74" fmla="*/ 263178 w 357417"/>
                  <a:gd name="connsiteY74" fmla="*/ 26400 h 286010"/>
                  <a:gd name="connsiteX75" fmla="*/ 263233 w 357417"/>
                  <a:gd name="connsiteY75" fmla="*/ 26290 h 286010"/>
                  <a:gd name="connsiteX76" fmla="*/ 263370 w 357417"/>
                  <a:gd name="connsiteY76" fmla="*/ 26290 h 286010"/>
                  <a:gd name="connsiteX77" fmla="*/ 263946 w 357417"/>
                  <a:gd name="connsiteY77" fmla="*/ 25933 h 286010"/>
                  <a:gd name="connsiteX78" fmla="*/ 264331 w 357417"/>
                  <a:gd name="connsiteY78" fmla="*/ 25933 h 286010"/>
                  <a:gd name="connsiteX79" fmla="*/ 264715 w 357417"/>
                  <a:gd name="connsiteY79" fmla="*/ 25796 h 286010"/>
                  <a:gd name="connsiteX80" fmla="*/ 264825 w 357417"/>
                  <a:gd name="connsiteY80" fmla="*/ 25796 h 286010"/>
                  <a:gd name="connsiteX81" fmla="*/ 265017 w 357417"/>
                  <a:gd name="connsiteY81" fmla="*/ 25961 h 286010"/>
                  <a:gd name="connsiteX82" fmla="*/ 265181 w 357417"/>
                  <a:gd name="connsiteY82" fmla="*/ 25906 h 286010"/>
                  <a:gd name="connsiteX83" fmla="*/ 265456 w 357417"/>
                  <a:gd name="connsiteY83" fmla="*/ 25906 h 286010"/>
                  <a:gd name="connsiteX84" fmla="*/ 265648 w 357417"/>
                  <a:gd name="connsiteY84" fmla="*/ 25824 h 286010"/>
                  <a:gd name="connsiteX85" fmla="*/ 266252 w 357417"/>
                  <a:gd name="connsiteY85" fmla="*/ 25632 h 286010"/>
                  <a:gd name="connsiteX86" fmla="*/ 266883 w 357417"/>
                  <a:gd name="connsiteY86" fmla="*/ 25138 h 286010"/>
                  <a:gd name="connsiteX87" fmla="*/ 267487 w 357417"/>
                  <a:gd name="connsiteY87" fmla="*/ 24973 h 286010"/>
                  <a:gd name="connsiteX88" fmla="*/ 267706 w 357417"/>
                  <a:gd name="connsiteY88" fmla="*/ 24809 h 286010"/>
                  <a:gd name="connsiteX89" fmla="*/ 267953 w 357417"/>
                  <a:gd name="connsiteY89" fmla="*/ 24809 h 286010"/>
                  <a:gd name="connsiteX90" fmla="*/ 268282 w 357417"/>
                  <a:gd name="connsiteY90" fmla="*/ 24589 h 286010"/>
                  <a:gd name="connsiteX91" fmla="*/ 268502 w 357417"/>
                  <a:gd name="connsiteY91" fmla="*/ 24589 h 286010"/>
                  <a:gd name="connsiteX92" fmla="*/ 269023 w 357417"/>
                  <a:gd name="connsiteY92" fmla="*/ 24397 h 286010"/>
                  <a:gd name="connsiteX93" fmla="*/ 269078 w 357417"/>
                  <a:gd name="connsiteY93" fmla="*/ 24561 h 286010"/>
                  <a:gd name="connsiteX94" fmla="*/ 269325 w 357417"/>
                  <a:gd name="connsiteY94" fmla="*/ 24671 h 286010"/>
                  <a:gd name="connsiteX95" fmla="*/ 269682 w 357417"/>
                  <a:gd name="connsiteY95" fmla="*/ 24534 h 286010"/>
                  <a:gd name="connsiteX96" fmla="*/ 270121 w 357417"/>
                  <a:gd name="connsiteY96" fmla="*/ 24534 h 286010"/>
                  <a:gd name="connsiteX97" fmla="*/ 271301 w 357417"/>
                  <a:gd name="connsiteY97" fmla="*/ 23766 h 286010"/>
                  <a:gd name="connsiteX98" fmla="*/ 271685 w 357417"/>
                  <a:gd name="connsiteY98" fmla="*/ 23628 h 286010"/>
                  <a:gd name="connsiteX99" fmla="*/ 271932 w 357417"/>
                  <a:gd name="connsiteY99" fmla="*/ 23738 h 286010"/>
                  <a:gd name="connsiteX100" fmla="*/ 272069 w 357417"/>
                  <a:gd name="connsiteY100" fmla="*/ 23875 h 286010"/>
                  <a:gd name="connsiteX101" fmla="*/ 271850 w 357417"/>
                  <a:gd name="connsiteY101" fmla="*/ 24068 h 286010"/>
                  <a:gd name="connsiteX102" fmla="*/ 271768 w 357417"/>
                  <a:gd name="connsiteY102" fmla="*/ 24287 h 286010"/>
                  <a:gd name="connsiteX103" fmla="*/ 271932 w 357417"/>
                  <a:gd name="connsiteY103" fmla="*/ 24424 h 286010"/>
                  <a:gd name="connsiteX104" fmla="*/ 271877 w 357417"/>
                  <a:gd name="connsiteY104" fmla="*/ 24671 h 286010"/>
                  <a:gd name="connsiteX105" fmla="*/ 272317 w 357417"/>
                  <a:gd name="connsiteY105" fmla="*/ 25357 h 286010"/>
                  <a:gd name="connsiteX106" fmla="*/ 272399 w 357417"/>
                  <a:gd name="connsiteY106" fmla="*/ 25357 h 286010"/>
                  <a:gd name="connsiteX107" fmla="*/ 273003 w 357417"/>
                  <a:gd name="connsiteY107" fmla="*/ 25687 h 286010"/>
                  <a:gd name="connsiteX108" fmla="*/ 273634 w 357417"/>
                  <a:gd name="connsiteY108" fmla="*/ 25879 h 286010"/>
                  <a:gd name="connsiteX109" fmla="*/ 273853 w 357417"/>
                  <a:gd name="connsiteY109" fmla="*/ 25961 h 286010"/>
                  <a:gd name="connsiteX110" fmla="*/ 274430 w 357417"/>
                  <a:gd name="connsiteY110" fmla="*/ 25961 h 286010"/>
                  <a:gd name="connsiteX111" fmla="*/ 274951 w 357417"/>
                  <a:gd name="connsiteY111" fmla="*/ 25879 h 286010"/>
                  <a:gd name="connsiteX112" fmla="*/ 275747 w 357417"/>
                  <a:gd name="connsiteY112" fmla="*/ 25550 h 286010"/>
                  <a:gd name="connsiteX113" fmla="*/ 276323 w 357417"/>
                  <a:gd name="connsiteY113" fmla="*/ 25055 h 286010"/>
                  <a:gd name="connsiteX114" fmla="*/ 276515 w 357417"/>
                  <a:gd name="connsiteY114" fmla="*/ 24644 h 286010"/>
                  <a:gd name="connsiteX115" fmla="*/ 276735 w 357417"/>
                  <a:gd name="connsiteY115" fmla="*/ 23518 h 286010"/>
                  <a:gd name="connsiteX116" fmla="*/ 276954 w 357417"/>
                  <a:gd name="connsiteY116" fmla="*/ 23217 h 286010"/>
                  <a:gd name="connsiteX117" fmla="*/ 277256 w 357417"/>
                  <a:gd name="connsiteY117" fmla="*/ 23135 h 286010"/>
                  <a:gd name="connsiteX118" fmla="*/ 277585 w 357417"/>
                  <a:gd name="connsiteY118" fmla="*/ 22860 h 286010"/>
                  <a:gd name="connsiteX119" fmla="*/ 277860 w 357417"/>
                  <a:gd name="connsiteY119" fmla="*/ 22778 h 286010"/>
                  <a:gd name="connsiteX120" fmla="*/ 278025 w 357417"/>
                  <a:gd name="connsiteY120" fmla="*/ 22778 h 286010"/>
                  <a:gd name="connsiteX121" fmla="*/ 278272 w 357417"/>
                  <a:gd name="connsiteY121" fmla="*/ 22668 h 286010"/>
                  <a:gd name="connsiteX122" fmla="*/ 278876 w 357417"/>
                  <a:gd name="connsiteY122" fmla="*/ 22805 h 286010"/>
                  <a:gd name="connsiteX123" fmla="*/ 279150 w 357417"/>
                  <a:gd name="connsiteY123" fmla="*/ 22805 h 286010"/>
                  <a:gd name="connsiteX124" fmla="*/ 279232 w 357417"/>
                  <a:gd name="connsiteY124" fmla="*/ 22997 h 286010"/>
                  <a:gd name="connsiteX125" fmla="*/ 279644 w 357417"/>
                  <a:gd name="connsiteY125" fmla="*/ 23436 h 286010"/>
                  <a:gd name="connsiteX126" fmla="*/ 281867 w 357417"/>
                  <a:gd name="connsiteY126" fmla="*/ 24946 h 286010"/>
                  <a:gd name="connsiteX127" fmla="*/ 282388 w 357417"/>
                  <a:gd name="connsiteY127" fmla="*/ 25138 h 286010"/>
                  <a:gd name="connsiteX128" fmla="*/ 282663 w 357417"/>
                  <a:gd name="connsiteY128" fmla="*/ 25083 h 286010"/>
                  <a:gd name="connsiteX129" fmla="*/ 283266 w 357417"/>
                  <a:gd name="connsiteY129" fmla="*/ 25220 h 286010"/>
                  <a:gd name="connsiteX130" fmla="*/ 284721 w 357417"/>
                  <a:gd name="connsiteY130" fmla="*/ 25851 h 286010"/>
                  <a:gd name="connsiteX131" fmla="*/ 285160 w 357417"/>
                  <a:gd name="connsiteY131" fmla="*/ 25906 h 286010"/>
                  <a:gd name="connsiteX132" fmla="*/ 285818 w 357417"/>
                  <a:gd name="connsiteY132" fmla="*/ 25659 h 286010"/>
                  <a:gd name="connsiteX133" fmla="*/ 286066 w 357417"/>
                  <a:gd name="connsiteY133" fmla="*/ 25933 h 286010"/>
                  <a:gd name="connsiteX134" fmla="*/ 286614 w 357417"/>
                  <a:gd name="connsiteY134" fmla="*/ 26126 h 286010"/>
                  <a:gd name="connsiteX135" fmla="*/ 289276 w 357417"/>
                  <a:gd name="connsiteY135" fmla="*/ 26373 h 286010"/>
                  <a:gd name="connsiteX136" fmla="*/ 289606 w 357417"/>
                  <a:gd name="connsiteY136" fmla="*/ 26181 h 286010"/>
                  <a:gd name="connsiteX137" fmla="*/ 290182 w 357417"/>
                  <a:gd name="connsiteY137" fmla="*/ 25714 h 286010"/>
                  <a:gd name="connsiteX138" fmla="*/ 291472 w 357417"/>
                  <a:gd name="connsiteY138" fmla="*/ 25385 h 286010"/>
                  <a:gd name="connsiteX139" fmla="*/ 291829 w 357417"/>
                  <a:gd name="connsiteY139" fmla="*/ 25193 h 286010"/>
                  <a:gd name="connsiteX140" fmla="*/ 292048 w 357417"/>
                  <a:gd name="connsiteY140" fmla="*/ 25138 h 286010"/>
                  <a:gd name="connsiteX141" fmla="*/ 292185 w 357417"/>
                  <a:gd name="connsiteY141" fmla="*/ 25028 h 286010"/>
                  <a:gd name="connsiteX142" fmla="*/ 292515 w 357417"/>
                  <a:gd name="connsiteY142" fmla="*/ 25028 h 286010"/>
                  <a:gd name="connsiteX143" fmla="*/ 292789 w 357417"/>
                  <a:gd name="connsiteY143" fmla="*/ 24863 h 286010"/>
                  <a:gd name="connsiteX144" fmla="*/ 293146 w 357417"/>
                  <a:gd name="connsiteY144" fmla="*/ 24973 h 286010"/>
                  <a:gd name="connsiteX145" fmla="*/ 293667 w 357417"/>
                  <a:gd name="connsiteY145" fmla="*/ 24726 h 286010"/>
                  <a:gd name="connsiteX146" fmla="*/ 294463 w 357417"/>
                  <a:gd name="connsiteY146" fmla="*/ 23985 h 286010"/>
                  <a:gd name="connsiteX147" fmla="*/ 295231 w 357417"/>
                  <a:gd name="connsiteY147" fmla="*/ 22805 h 286010"/>
                  <a:gd name="connsiteX148" fmla="*/ 295506 w 357417"/>
                  <a:gd name="connsiteY148" fmla="*/ 22860 h 286010"/>
                  <a:gd name="connsiteX149" fmla="*/ 295725 w 357417"/>
                  <a:gd name="connsiteY149" fmla="*/ 23107 h 286010"/>
                  <a:gd name="connsiteX150" fmla="*/ 296000 w 357417"/>
                  <a:gd name="connsiteY150" fmla="*/ 23244 h 286010"/>
                  <a:gd name="connsiteX151" fmla="*/ 296411 w 357417"/>
                  <a:gd name="connsiteY151" fmla="*/ 23107 h 286010"/>
                  <a:gd name="connsiteX152" fmla="*/ 296823 w 357417"/>
                  <a:gd name="connsiteY152" fmla="*/ 22805 h 286010"/>
                  <a:gd name="connsiteX153" fmla="*/ 297207 w 357417"/>
                  <a:gd name="connsiteY153" fmla="*/ 22421 h 286010"/>
                  <a:gd name="connsiteX154" fmla="*/ 297729 w 357417"/>
                  <a:gd name="connsiteY154" fmla="*/ 21680 h 286010"/>
                  <a:gd name="connsiteX155" fmla="*/ 298854 w 357417"/>
                  <a:gd name="connsiteY155" fmla="*/ 19457 h 286010"/>
                  <a:gd name="connsiteX156" fmla="*/ 298964 w 357417"/>
                  <a:gd name="connsiteY156" fmla="*/ 18991 h 286010"/>
                  <a:gd name="connsiteX157" fmla="*/ 298909 w 357417"/>
                  <a:gd name="connsiteY157" fmla="*/ 18826 h 286010"/>
                  <a:gd name="connsiteX158" fmla="*/ 299128 w 357417"/>
                  <a:gd name="connsiteY158" fmla="*/ 18743 h 286010"/>
                  <a:gd name="connsiteX159" fmla="*/ 298964 w 357417"/>
                  <a:gd name="connsiteY159" fmla="*/ 18551 h 286010"/>
                  <a:gd name="connsiteX160" fmla="*/ 299074 w 357417"/>
                  <a:gd name="connsiteY160" fmla="*/ 18277 h 286010"/>
                  <a:gd name="connsiteX161" fmla="*/ 299348 w 357417"/>
                  <a:gd name="connsiteY161" fmla="*/ 18003 h 286010"/>
                  <a:gd name="connsiteX162" fmla="*/ 299430 w 357417"/>
                  <a:gd name="connsiteY162" fmla="*/ 17893 h 286010"/>
                  <a:gd name="connsiteX163" fmla="*/ 299567 w 357417"/>
                  <a:gd name="connsiteY163" fmla="*/ 17756 h 286010"/>
                  <a:gd name="connsiteX164" fmla="*/ 299732 w 357417"/>
                  <a:gd name="connsiteY164" fmla="*/ 17756 h 286010"/>
                  <a:gd name="connsiteX165" fmla="*/ 299924 w 357417"/>
                  <a:gd name="connsiteY165" fmla="*/ 17756 h 286010"/>
                  <a:gd name="connsiteX166" fmla="*/ 300061 w 357417"/>
                  <a:gd name="connsiteY166" fmla="*/ 17838 h 286010"/>
                  <a:gd name="connsiteX167" fmla="*/ 300198 w 357417"/>
                  <a:gd name="connsiteY167" fmla="*/ 17975 h 286010"/>
                  <a:gd name="connsiteX168" fmla="*/ 300308 w 357417"/>
                  <a:gd name="connsiteY168" fmla="*/ 18167 h 286010"/>
                  <a:gd name="connsiteX169" fmla="*/ 300501 w 357417"/>
                  <a:gd name="connsiteY169" fmla="*/ 18579 h 286010"/>
                  <a:gd name="connsiteX170" fmla="*/ 300336 w 357417"/>
                  <a:gd name="connsiteY170" fmla="*/ 18936 h 286010"/>
                  <a:gd name="connsiteX171" fmla="*/ 300418 w 357417"/>
                  <a:gd name="connsiteY171" fmla="*/ 19238 h 286010"/>
                  <a:gd name="connsiteX172" fmla="*/ 300281 w 357417"/>
                  <a:gd name="connsiteY172" fmla="*/ 19402 h 286010"/>
                  <a:gd name="connsiteX173" fmla="*/ 300089 w 357417"/>
                  <a:gd name="connsiteY173" fmla="*/ 19924 h 286010"/>
                  <a:gd name="connsiteX174" fmla="*/ 300144 w 357417"/>
                  <a:gd name="connsiteY174" fmla="*/ 20143 h 286010"/>
                  <a:gd name="connsiteX175" fmla="*/ 300308 w 357417"/>
                  <a:gd name="connsiteY175" fmla="*/ 20253 h 286010"/>
                  <a:gd name="connsiteX176" fmla="*/ 300501 w 357417"/>
                  <a:gd name="connsiteY176" fmla="*/ 20637 h 286010"/>
                  <a:gd name="connsiteX177" fmla="*/ 300391 w 357417"/>
                  <a:gd name="connsiteY177" fmla="*/ 21104 h 286010"/>
                  <a:gd name="connsiteX178" fmla="*/ 300034 w 357417"/>
                  <a:gd name="connsiteY178" fmla="*/ 21735 h 286010"/>
                  <a:gd name="connsiteX179" fmla="*/ 299979 w 357417"/>
                  <a:gd name="connsiteY179" fmla="*/ 22201 h 286010"/>
                  <a:gd name="connsiteX180" fmla="*/ 300116 w 357417"/>
                  <a:gd name="connsiteY180" fmla="*/ 22695 h 286010"/>
                  <a:gd name="connsiteX181" fmla="*/ 301351 w 357417"/>
                  <a:gd name="connsiteY181" fmla="*/ 23299 h 286010"/>
                  <a:gd name="connsiteX182" fmla="*/ 304068 w 357417"/>
                  <a:gd name="connsiteY182" fmla="*/ 28870 h 286010"/>
                  <a:gd name="connsiteX183" fmla="*/ 311478 w 357417"/>
                  <a:gd name="connsiteY183" fmla="*/ 29803 h 286010"/>
                  <a:gd name="connsiteX184" fmla="*/ 316692 w 357417"/>
                  <a:gd name="connsiteY184" fmla="*/ 28486 h 286010"/>
                  <a:gd name="connsiteX185" fmla="*/ 322482 w 357417"/>
                  <a:gd name="connsiteY185" fmla="*/ 30050 h 286010"/>
                  <a:gd name="connsiteX186" fmla="*/ 325885 w 357417"/>
                  <a:gd name="connsiteY186" fmla="*/ 33233 h 286010"/>
                  <a:gd name="connsiteX187" fmla="*/ 335463 w 357417"/>
                  <a:gd name="connsiteY187" fmla="*/ 42207 h 286010"/>
                  <a:gd name="connsiteX188" fmla="*/ 333734 w 357417"/>
                  <a:gd name="connsiteY188" fmla="*/ 46708 h 286010"/>
                  <a:gd name="connsiteX189" fmla="*/ 337000 w 357417"/>
                  <a:gd name="connsiteY189" fmla="*/ 51126 h 286010"/>
                  <a:gd name="connsiteX190" fmla="*/ 335627 w 357417"/>
                  <a:gd name="connsiteY190" fmla="*/ 54886 h 286010"/>
                  <a:gd name="connsiteX191" fmla="*/ 338756 w 357417"/>
                  <a:gd name="connsiteY191" fmla="*/ 65314 h 286010"/>
                  <a:gd name="connsiteX192" fmla="*/ 337055 w 357417"/>
                  <a:gd name="connsiteY192" fmla="*/ 79091 h 286010"/>
                  <a:gd name="connsiteX193" fmla="*/ 340540 w 357417"/>
                  <a:gd name="connsiteY193" fmla="*/ 83975 h 286010"/>
                  <a:gd name="connsiteX194" fmla="*/ 338564 w 357417"/>
                  <a:gd name="connsiteY194" fmla="*/ 93443 h 286010"/>
                  <a:gd name="connsiteX195" fmla="*/ 343696 w 357417"/>
                  <a:gd name="connsiteY195" fmla="*/ 101758 h 286010"/>
                  <a:gd name="connsiteX196" fmla="*/ 342817 w 357417"/>
                  <a:gd name="connsiteY196" fmla="*/ 106396 h 286010"/>
                  <a:gd name="connsiteX197" fmla="*/ 346715 w 357417"/>
                  <a:gd name="connsiteY197" fmla="*/ 112571 h 286010"/>
                  <a:gd name="connsiteX198" fmla="*/ 354371 w 357417"/>
                  <a:gd name="connsiteY198" fmla="*/ 118746 h 286010"/>
                  <a:gd name="connsiteX199" fmla="*/ 357417 w 357417"/>
                  <a:gd name="connsiteY199" fmla="*/ 121216 h 286010"/>
                  <a:gd name="connsiteX200" fmla="*/ 354371 w 357417"/>
                  <a:gd name="connsiteY200" fmla="*/ 124042 h 286010"/>
                  <a:gd name="connsiteX201" fmla="*/ 351297 w 357417"/>
                  <a:gd name="connsiteY201" fmla="*/ 126896 h 286010"/>
                  <a:gd name="connsiteX202" fmla="*/ 350721 w 357417"/>
                  <a:gd name="connsiteY202" fmla="*/ 131946 h 286010"/>
                  <a:gd name="connsiteX203" fmla="*/ 352889 w 357417"/>
                  <a:gd name="connsiteY203" fmla="*/ 134526 h 286010"/>
                  <a:gd name="connsiteX204" fmla="*/ 351819 w 357417"/>
                  <a:gd name="connsiteY204" fmla="*/ 135733 h 286010"/>
                  <a:gd name="connsiteX205" fmla="*/ 328959 w 357417"/>
                  <a:gd name="connsiteY205" fmla="*/ 132989 h 286010"/>
                  <a:gd name="connsiteX206" fmla="*/ 325885 w 357417"/>
                  <a:gd name="connsiteY206" fmla="*/ 133236 h 286010"/>
                  <a:gd name="connsiteX207" fmla="*/ 313536 w 357417"/>
                  <a:gd name="connsiteY207" fmla="*/ 134169 h 286010"/>
                  <a:gd name="connsiteX208" fmla="*/ 311478 w 357417"/>
                  <a:gd name="connsiteY208" fmla="*/ 134333 h 286010"/>
                  <a:gd name="connsiteX209" fmla="*/ 303135 w 357417"/>
                  <a:gd name="connsiteY209" fmla="*/ 134937 h 286010"/>
                  <a:gd name="connsiteX210" fmla="*/ 301708 w 357417"/>
                  <a:gd name="connsiteY210" fmla="*/ 137736 h 286010"/>
                  <a:gd name="connsiteX211" fmla="*/ 303794 w 357417"/>
                  <a:gd name="connsiteY211" fmla="*/ 145558 h 286010"/>
                  <a:gd name="connsiteX212" fmla="*/ 290374 w 357417"/>
                  <a:gd name="connsiteY212" fmla="*/ 149125 h 286010"/>
                  <a:gd name="connsiteX213" fmla="*/ 279836 w 357417"/>
                  <a:gd name="connsiteY213" fmla="*/ 152638 h 286010"/>
                  <a:gd name="connsiteX214" fmla="*/ 279369 w 357417"/>
                  <a:gd name="connsiteY214" fmla="*/ 159828 h 286010"/>
                  <a:gd name="connsiteX215" fmla="*/ 276625 w 357417"/>
                  <a:gd name="connsiteY215" fmla="*/ 164987 h 286010"/>
                  <a:gd name="connsiteX216" fmla="*/ 283184 w 357417"/>
                  <a:gd name="connsiteY216" fmla="*/ 173742 h 286010"/>
                  <a:gd name="connsiteX217" fmla="*/ 279863 w 357417"/>
                  <a:gd name="connsiteY217" fmla="*/ 183621 h 286010"/>
                  <a:gd name="connsiteX218" fmla="*/ 261092 w 357417"/>
                  <a:gd name="connsiteY218" fmla="*/ 189357 h 286010"/>
                  <a:gd name="connsiteX219" fmla="*/ 252009 w 357417"/>
                  <a:gd name="connsiteY219" fmla="*/ 197644 h 286010"/>
                  <a:gd name="connsiteX220" fmla="*/ 241828 w 357417"/>
                  <a:gd name="connsiteY220" fmla="*/ 203188 h 286010"/>
                  <a:gd name="connsiteX221" fmla="*/ 232113 w 357417"/>
                  <a:gd name="connsiteY221" fmla="*/ 211201 h 286010"/>
                  <a:gd name="connsiteX222" fmla="*/ 224264 w 357417"/>
                  <a:gd name="connsiteY222" fmla="*/ 223907 h 286010"/>
                  <a:gd name="connsiteX223" fmla="*/ 219324 w 357417"/>
                  <a:gd name="connsiteY223" fmla="*/ 223441 h 286010"/>
                  <a:gd name="connsiteX224" fmla="*/ 216580 w 357417"/>
                  <a:gd name="connsiteY224" fmla="*/ 220861 h 286010"/>
                  <a:gd name="connsiteX225" fmla="*/ 198166 w 357417"/>
                  <a:gd name="connsiteY225" fmla="*/ 222371 h 286010"/>
                  <a:gd name="connsiteX226" fmla="*/ 187984 w 357417"/>
                  <a:gd name="connsiteY226" fmla="*/ 225362 h 286010"/>
                  <a:gd name="connsiteX227" fmla="*/ 176678 w 357417"/>
                  <a:gd name="connsiteY227" fmla="*/ 224182 h 286010"/>
                  <a:gd name="connsiteX228" fmla="*/ 170695 w 357417"/>
                  <a:gd name="connsiteY228" fmla="*/ 228106 h 286010"/>
                  <a:gd name="connsiteX229" fmla="*/ 164328 w 357417"/>
                  <a:gd name="connsiteY229" fmla="*/ 229204 h 286010"/>
                  <a:gd name="connsiteX230" fmla="*/ 133400 w 357417"/>
                  <a:gd name="connsiteY230" fmla="*/ 250719 h 286010"/>
                  <a:gd name="connsiteX231" fmla="*/ 132549 w 357417"/>
                  <a:gd name="connsiteY231" fmla="*/ 286011 h 286010"/>
                  <a:gd name="connsiteX232" fmla="*/ 0 w 357417"/>
                  <a:gd name="connsiteY232" fmla="*/ 285819 h 286010"/>
                  <a:gd name="connsiteX233" fmla="*/ 7958 w 357417"/>
                  <a:gd name="connsiteY233" fmla="*/ 276433 h 286010"/>
                  <a:gd name="connsiteX234" fmla="*/ 31532 w 357417"/>
                  <a:gd name="connsiteY234" fmla="*/ 271932 h 286010"/>
                  <a:gd name="connsiteX235" fmla="*/ 49205 w 357417"/>
                  <a:gd name="connsiteY235" fmla="*/ 264084 h 286010"/>
                  <a:gd name="connsiteX236" fmla="*/ 62652 w 357417"/>
                  <a:gd name="connsiteY236" fmla="*/ 249594 h 286010"/>
                  <a:gd name="connsiteX237" fmla="*/ 77636 w 357417"/>
                  <a:gd name="connsiteY237" fmla="*/ 240785 h 286010"/>
                  <a:gd name="connsiteX238" fmla="*/ 87461 w 357417"/>
                  <a:gd name="connsiteY238" fmla="*/ 229972 h 286010"/>
                  <a:gd name="connsiteX239" fmla="*/ 99508 w 357417"/>
                  <a:gd name="connsiteY239" fmla="*/ 211833 h 286010"/>
                  <a:gd name="connsiteX240" fmla="*/ 104036 w 357417"/>
                  <a:gd name="connsiteY240" fmla="*/ 200416 h 286010"/>
                  <a:gd name="connsiteX241" fmla="*/ 104530 w 357417"/>
                  <a:gd name="connsiteY241" fmla="*/ 193830 h 286010"/>
                  <a:gd name="connsiteX242" fmla="*/ 97120 w 357417"/>
                  <a:gd name="connsiteY242" fmla="*/ 185295 h 286010"/>
                  <a:gd name="connsiteX243" fmla="*/ 98904 w 357417"/>
                  <a:gd name="connsiteY243" fmla="*/ 179065 h 286010"/>
                  <a:gd name="connsiteX244" fmla="*/ 98575 w 357417"/>
                  <a:gd name="connsiteY244" fmla="*/ 159224 h 286010"/>
                  <a:gd name="connsiteX245" fmla="*/ 103158 w 357417"/>
                  <a:gd name="connsiteY245" fmla="*/ 149070 h 286010"/>
                  <a:gd name="connsiteX246" fmla="*/ 114821 w 357417"/>
                  <a:gd name="connsiteY246" fmla="*/ 132687 h 286010"/>
                  <a:gd name="connsiteX247" fmla="*/ 115261 w 357417"/>
                  <a:gd name="connsiteY247" fmla="*/ 119542 h 286010"/>
                  <a:gd name="connsiteX248" fmla="*/ 126786 w 357417"/>
                  <a:gd name="connsiteY248" fmla="*/ 108235 h 286010"/>
                  <a:gd name="connsiteX249" fmla="*/ 135157 w 357417"/>
                  <a:gd name="connsiteY249" fmla="*/ 96627 h 286010"/>
                  <a:gd name="connsiteX250" fmla="*/ 166195 w 357417"/>
                  <a:gd name="connsiteY250" fmla="*/ 81615 h 286010"/>
                  <a:gd name="connsiteX251" fmla="*/ 182743 w 357417"/>
                  <a:gd name="connsiteY251" fmla="*/ 71187 h 286010"/>
                  <a:gd name="connsiteX252" fmla="*/ 188259 w 357417"/>
                  <a:gd name="connsiteY252" fmla="*/ 64710 h 286010"/>
                  <a:gd name="connsiteX253" fmla="*/ 200910 w 357417"/>
                  <a:gd name="connsiteY253" fmla="*/ 40616 h 286010"/>
                  <a:gd name="connsiteX254" fmla="*/ 213287 w 357417"/>
                  <a:gd name="connsiteY254" fmla="*/ 5159 h 286010"/>
                  <a:gd name="connsiteX255" fmla="*/ 229231 w 357417"/>
                  <a:gd name="connsiteY255" fmla="*/ 0 h 286010"/>
                  <a:gd name="connsiteX256" fmla="*/ 230356 w 357417"/>
                  <a:gd name="connsiteY256" fmla="*/ 1537 h 28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357417" h="286010">
                    <a:moveTo>
                      <a:pt x="229753" y="1592"/>
                    </a:moveTo>
                    <a:lnTo>
                      <a:pt x="229615" y="2223"/>
                    </a:lnTo>
                    <a:lnTo>
                      <a:pt x="229451" y="2470"/>
                    </a:lnTo>
                    <a:lnTo>
                      <a:pt x="229451" y="2799"/>
                    </a:lnTo>
                    <a:lnTo>
                      <a:pt x="229670" y="5351"/>
                    </a:lnTo>
                    <a:lnTo>
                      <a:pt x="229999" y="7245"/>
                    </a:lnTo>
                    <a:lnTo>
                      <a:pt x="230191" y="7904"/>
                    </a:lnTo>
                    <a:lnTo>
                      <a:pt x="230466" y="8398"/>
                    </a:lnTo>
                    <a:lnTo>
                      <a:pt x="230877" y="8398"/>
                    </a:lnTo>
                    <a:cubicBezTo>
                      <a:pt x="230877" y="8398"/>
                      <a:pt x="231344" y="8260"/>
                      <a:pt x="231344" y="8260"/>
                    </a:cubicBezTo>
                    <a:lnTo>
                      <a:pt x="231838" y="8343"/>
                    </a:lnTo>
                    <a:lnTo>
                      <a:pt x="231646" y="8919"/>
                    </a:lnTo>
                    <a:lnTo>
                      <a:pt x="231564" y="9138"/>
                    </a:lnTo>
                    <a:lnTo>
                      <a:pt x="232113" y="11334"/>
                    </a:lnTo>
                    <a:lnTo>
                      <a:pt x="232826" y="13227"/>
                    </a:lnTo>
                    <a:lnTo>
                      <a:pt x="233018" y="13337"/>
                    </a:lnTo>
                    <a:lnTo>
                      <a:pt x="233265" y="13255"/>
                    </a:lnTo>
                    <a:lnTo>
                      <a:pt x="233649" y="13667"/>
                    </a:lnTo>
                    <a:lnTo>
                      <a:pt x="233979" y="13557"/>
                    </a:lnTo>
                    <a:lnTo>
                      <a:pt x="234226" y="13749"/>
                    </a:lnTo>
                    <a:lnTo>
                      <a:pt x="234500" y="13749"/>
                    </a:lnTo>
                    <a:cubicBezTo>
                      <a:pt x="234500" y="13749"/>
                      <a:pt x="234802" y="13913"/>
                      <a:pt x="234802" y="13913"/>
                    </a:cubicBezTo>
                    <a:lnTo>
                      <a:pt x="235433" y="14902"/>
                    </a:lnTo>
                    <a:lnTo>
                      <a:pt x="236805" y="15945"/>
                    </a:lnTo>
                    <a:lnTo>
                      <a:pt x="238095" y="18387"/>
                    </a:lnTo>
                    <a:lnTo>
                      <a:pt x="238973" y="18661"/>
                    </a:lnTo>
                    <a:lnTo>
                      <a:pt x="239440" y="18579"/>
                    </a:lnTo>
                    <a:lnTo>
                      <a:pt x="240126" y="19457"/>
                    </a:lnTo>
                    <a:lnTo>
                      <a:pt x="240977" y="20225"/>
                    </a:lnTo>
                    <a:lnTo>
                      <a:pt x="242074" y="21625"/>
                    </a:lnTo>
                    <a:lnTo>
                      <a:pt x="242897" y="22092"/>
                    </a:lnTo>
                    <a:lnTo>
                      <a:pt x="243501" y="22256"/>
                    </a:lnTo>
                    <a:lnTo>
                      <a:pt x="243803" y="22256"/>
                    </a:lnTo>
                    <a:cubicBezTo>
                      <a:pt x="243803" y="22256"/>
                      <a:pt x="244160" y="22640"/>
                      <a:pt x="244160" y="22640"/>
                    </a:cubicBezTo>
                    <a:lnTo>
                      <a:pt x="244462" y="23052"/>
                    </a:lnTo>
                    <a:lnTo>
                      <a:pt x="245285" y="23793"/>
                    </a:lnTo>
                    <a:lnTo>
                      <a:pt x="245862" y="24013"/>
                    </a:lnTo>
                    <a:lnTo>
                      <a:pt x="246355" y="24507"/>
                    </a:lnTo>
                    <a:lnTo>
                      <a:pt x="246795" y="24671"/>
                    </a:lnTo>
                    <a:lnTo>
                      <a:pt x="247234" y="24973"/>
                    </a:lnTo>
                    <a:lnTo>
                      <a:pt x="247727" y="25055"/>
                    </a:lnTo>
                    <a:lnTo>
                      <a:pt x="248167" y="25302"/>
                    </a:lnTo>
                    <a:lnTo>
                      <a:pt x="249401" y="25742"/>
                    </a:lnTo>
                    <a:lnTo>
                      <a:pt x="249704" y="25687"/>
                    </a:lnTo>
                    <a:lnTo>
                      <a:pt x="249896" y="25495"/>
                    </a:lnTo>
                    <a:lnTo>
                      <a:pt x="250088" y="25495"/>
                    </a:lnTo>
                    <a:cubicBezTo>
                      <a:pt x="250088" y="25495"/>
                      <a:pt x="250307" y="25440"/>
                      <a:pt x="250307" y="25440"/>
                    </a:cubicBezTo>
                    <a:lnTo>
                      <a:pt x="250801" y="26043"/>
                    </a:lnTo>
                    <a:lnTo>
                      <a:pt x="251405" y="26318"/>
                    </a:lnTo>
                    <a:lnTo>
                      <a:pt x="251707" y="26373"/>
                    </a:lnTo>
                    <a:lnTo>
                      <a:pt x="252091" y="26236"/>
                    </a:lnTo>
                    <a:lnTo>
                      <a:pt x="254067" y="26812"/>
                    </a:lnTo>
                    <a:lnTo>
                      <a:pt x="254890" y="26812"/>
                    </a:lnTo>
                    <a:lnTo>
                      <a:pt x="256372" y="27443"/>
                    </a:lnTo>
                    <a:lnTo>
                      <a:pt x="256921" y="27580"/>
                    </a:lnTo>
                    <a:lnTo>
                      <a:pt x="257525" y="27443"/>
                    </a:lnTo>
                    <a:lnTo>
                      <a:pt x="257964" y="27608"/>
                    </a:lnTo>
                    <a:lnTo>
                      <a:pt x="258293" y="27608"/>
                    </a:lnTo>
                    <a:lnTo>
                      <a:pt x="258458" y="27800"/>
                    </a:lnTo>
                    <a:lnTo>
                      <a:pt x="258595" y="27717"/>
                    </a:lnTo>
                    <a:lnTo>
                      <a:pt x="258979" y="27827"/>
                    </a:lnTo>
                    <a:lnTo>
                      <a:pt x="259473" y="27470"/>
                    </a:lnTo>
                    <a:lnTo>
                      <a:pt x="259885" y="27470"/>
                    </a:lnTo>
                    <a:cubicBezTo>
                      <a:pt x="259885" y="27470"/>
                      <a:pt x="260242" y="27141"/>
                      <a:pt x="260242" y="27141"/>
                    </a:cubicBezTo>
                    <a:lnTo>
                      <a:pt x="260434" y="27059"/>
                    </a:lnTo>
                    <a:lnTo>
                      <a:pt x="260653" y="27059"/>
                    </a:lnTo>
                    <a:lnTo>
                      <a:pt x="260818" y="26976"/>
                    </a:lnTo>
                    <a:lnTo>
                      <a:pt x="260928" y="26922"/>
                    </a:lnTo>
                    <a:lnTo>
                      <a:pt x="261065" y="26592"/>
                    </a:lnTo>
                    <a:lnTo>
                      <a:pt x="261175" y="26702"/>
                    </a:lnTo>
                    <a:lnTo>
                      <a:pt x="262108" y="26345"/>
                    </a:lnTo>
                    <a:lnTo>
                      <a:pt x="262437" y="26455"/>
                    </a:lnTo>
                    <a:lnTo>
                      <a:pt x="262821" y="26455"/>
                    </a:lnTo>
                    <a:cubicBezTo>
                      <a:pt x="262821" y="26455"/>
                      <a:pt x="263068" y="26455"/>
                      <a:pt x="263068" y="26455"/>
                    </a:cubicBezTo>
                    <a:lnTo>
                      <a:pt x="263178" y="26400"/>
                    </a:lnTo>
                    <a:lnTo>
                      <a:pt x="263233" y="26290"/>
                    </a:lnTo>
                    <a:lnTo>
                      <a:pt x="263370" y="26290"/>
                    </a:lnTo>
                    <a:lnTo>
                      <a:pt x="263946" y="25933"/>
                    </a:lnTo>
                    <a:lnTo>
                      <a:pt x="264331" y="25933"/>
                    </a:lnTo>
                    <a:lnTo>
                      <a:pt x="264715" y="25796"/>
                    </a:lnTo>
                    <a:lnTo>
                      <a:pt x="264825" y="25796"/>
                    </a:lnTo>
                    <a:cubicBezTo>
                      <a:pt x="264825" y="25796"/>
                      <a:pt x="265017" y="25961"/>
                      <a:pt x="265017" y="25961"/>
                    </a:cubicBezTo>
                    <a:lnTo>
                      <a:pt x="265181" y="25906"/>
                    </a:lnTo>
                    <a:lnTo>
                      <a:pt x="265456" y="25906"/>
                    </a:lnTo>
                    <a:lnTo>
                      <a:pt x="265648" y="25824"/>
                    </a:lnTo>
                    <a:lnTo>
                      <a:pt x="266252" y="25632"/>
                    </a:lnTo>
                    <a:lnTo>
                      <a:pt x="266883" y="25138"/>
                    </a:lnTo>
                    <a:lnTo>
                      <a:pt x="267487" y="24973"/>
                    </a:lnTo>
                    <a:lnTo>
                      <a:pt x="267706" y="24809"/>
                    </a:lnTo>
                    <a:lnTo>
                      <a:pt x="267953" y="24809"/>
                    </a:lnTo>
                    <a:lnTo>
                      <a:pt x="268282" y="24589"/>
                    </a:lnTo>
                    <a:lnTo>
                      <a:pt x="268502" y="24589"/>
                    </a:lnTo>
                    <a:cubicBezTo>
                      <a:pt x="268502" y="24589"/>
                      <a:pt x="269023" y="24397"/>
                      <a:pt x="269023" y="24397"/>
                    </a:cubicBezTo>
                    <a:lnTo>
                      <a:pt x="269078" y="24561"/>
                    </a:lnTo>
                    <a:lnTo>
                      <a:pt x="269325" y="24671"/>
                    </a:lnTo>
                    <a:lnTo>
                      <a:pt x="269682" y="24534"/>
                    </a:lnTo>
                    <a:lnTo>
                      <a:pt x="270121" y="24534"/>
                    </a:lnTo>
                    <a:lnTo>
                      <a:pt x="271301" y="23766"/>
                    </a:lnTo>
                    <a:lnTo>
                      <a:pt x="271685" y="23628"/>
                    </a:lnTo>
                    <a:lnTo>
                      <a:pt x="271932" y="23738"/>
                    </a:lnTo>
                    <a:lnTo>
                      <a:pt x="272069" y="23875"/>
                    </a:lnTo>
                    <a:lnTo>
                      <a:pt x="271850" y="24068"/>
                    </a:lnTo>
                    <a:lnTo>
                      <a:pt x="271768" y="24287"/>
                    </a:lnTo>
                    <a:lnTo>
                      <a:pt x="271932" y="24424"/>
                    </a:lnTo>
                    <a:lnTo>
                      <a:pt x="271877" y="24671"/>
                    </a:lnTo>
                    <a:lnTo>
                      <a:pt x="272317" y="25357"/>
                    </a:lnTo>
                    <a:lnTo>
                      <a:pt x="272399" y="25357"/>
                    </a:lnTo>
                    <a:lnTo>
                      <a:pt x="273003" y="25687"/>
                    </a:lnTo>
                    <a:lnTo>
                      <a:pt x="273634" y="25879"/>
                    </a:lnTo>
                    <a:lnTo>
                      <a:pt x="273853" y="25961"/>
                    </a:lnTo>
                    <a:lnTo>
                      <a:pt x="274430" y="25961"/>
                    </a:lnTo>
                    <a:lnTo>
                      <a:pt x="274951" y="25879"/>
                    </a:lnTo>
                    <a:lnTo>
                      <a:pt x="275747" y="25550"/>
                    </a:lnTo>
                    <a:lnTo>
                      <a:pt x="276323" y="25055"/>
                    </a:lnTo>
                    <a:lnTo>
                      <a:pt x="276515" y="24644"/>
                    </a:lnTo>
                    <a:lnTo>
                      <a:pt x="276735" y="23518"/>
                    </a:lnTo>
                    <a:lnTo>
                      <a:pt x="276954" y="23217"/>
                    </a:lnTo>
                    <a:lnTo>
                      <a:pt x="277256" y="23135"/>
                    </a:lnTo>
                    <a:lnTo>
                      <a:pt x="277585" y="22860"/>
                    </a:lnTo>
                    <a:lnTo>
                      <a:pt x="277860" y="22778"/>
                    </a:lnTo>
                    <a:lnTo>
                      <a:pt x="278025" y="22778"/>
                    </a:lnTo>
                    <a:cubicBezTo>
                      <a:pt x="278025" y="22778"/>
                      <a:pt x="278272" y="22668"/>
                      <a:pt x="278272" y="22668"/>
                    </a:cubicBezTo>
                    <a:lnTo>
                      <a:pt x="278876" y="22805"/>
                    </a:lnTo>
                    <a:lnTo>
                      <a:pt x="279150" y="22805"/>
                    </a:lnTo>
                    <a:cubicBezTo>
                      <a:pt x="279150" y="22805"/>
                      <a:pt x="279232" y="22997"/>
                      <a:pt x="279232" y="22997"/>
                    </a:cubicBezTo>
                    <a:lnTo>
                      <a:pt x="279644" y="23436"/>
                    </a:lnTo>
                    <a:lnTo>
                      <a:pt x="281867" y="24946"/>
                    </a:lnTo>
                    <a:lnTo>
                      <a:pt x="282388" y="25138"/>
                    </a:lnTo>
                    <a:lnTo>
                      <a:pt x="282663" y="25083"/>
                    </a:lnTo>
                    <a:lnTo>
                      <a:pt x="283266" y="25220"/>
                    </a:lnTo>
                    <a:lnTo>
                      <a:pt x="284721" y="25851"/>
                    </a:lnTo>
                    <a:lnTo>
                      <a:pt x="285160" y="25906"/>
                    </a:lnTo>
                    <a:lnTo>
                      <a:pt x="285818" y="25659"/>
                    </a:lnTo>
                    <a:lnTo>
                      <a:pt x="286066" y="25933"/>
                    </a:lnTo>
                    <a:lnTo>
                      <a:pt x="286614" y="26126"/>
                    </a:lnTo>
                    <a:lnTo>
                      <a:pt x="289276" y="26373"/>
                    </a:lnTo>
                    <a:lnTo>
                      <a:pt x="289606" y="26181"/>
                    </a:lnTo>
                    <a:lnTo>
                      <a:pt x="290182" y="25714"/>
                    </a:lnTo>
                    <a:lnTo>
                      <a:pt x="291472" y="25385"/>
                    </a:lnTo>
                    <a:lnTo>
                      <a:pt x="291829" y="25193"/>
                    </a:lnTo>
                    <a:lnTo>
                      <a:pt x="292048" y="25138"/>
                    </a:lnTo>
                    <a:lnTo>
                      <a:pt x="292185" y="25028"/>
                    </a:lnTo>
                    <a:lnTo>
                      <a:pt x="292515" y="25028"/>
                    </a:lnTo>
                    <a:lnTo>
                      <a:pt x="292789" y="24863"/>
                    </a:lnTo>
                    <a:lnTo>
                      <a:pt x="293146" y="24973"/>
                    </a:lnTo>
                    <a:lnTo>
                      <a:pt x="293667" y="24726"/>
                    </a:lnTo>
                    <a:lnTo>
                      <a:pt x="294463" y="23985"/>
                    </a:lnTo>
                    <a:lnTo>
                      <a:pt x="295231" y="22805"/>
                    </a:lnTo>
                    <a:lnTo>
                      <a:pt x="295506" y="22860"/>
                    </a:lnTo>
                    <a:lnTo>
                      <a:pt x="295725" y="23107"/>
                    </a:lnTo>
                    <a:lnTo>
                      <a:pt x="296000" y="23244"/>
                    </a:lnTo>
                    <a:lnTo>
                      <a:pt x="296411" y="23107"/>
                    </a:lnTo>
                    <a:lnTo>
                      <a:pt x="296823" y="22805"/>
                    </a:lnTo>
                    <a:lnTo>
                      <a:pt x="297207" y="22421"/>
                    </a:lnTo>
                    <a:lnTo>
                      <a:pt x="297729" y="21680"/>
                    </a:lnTo>
                    <a:lnTo>
                      <a:pt x="298854" y="19457"/>
                    </a:lnTo>
                    <a:lnTo>
                      <a:pt x="298964" y="18991"/>
                    </a:lnTo>
                    <a:lnTo>
                      <a:pt x="298909" y="18826"/>
                    </a:lnTo>
                    <a:lnTo>
                      <a:pt x="299128" y="18743"/>
                    </a:lnTo>
                    <a:lnTo>
                      <a:pt x="298964" y="18551"/>
                    </a:lnTo>
                    <a:lnTo>
                      <a:pt x="299074" y="18277"/>
                    </a:lnTo>
                    <a:lnTo>
                      <a:pt x="299348" y="18003"/>
                    </a:lnTo>
                    <a:lnTo>
                      <a:pt x="299430" y="17893"/>
                    </a:lnTo>
                    <a:lnTo>
                      <a:pt x="299567" y="17756"/>
                    </a:lnTo>
                    <a:lnTo>
                      <a:pt x="299732" y="17756"/>
                    </a:lnTo>
                    <a:cubicBezTo>
                      <a:pt x="299732" y="17756"/>
                      <a:pt x="299924" y="17756"/>
                      <a:pt x="299924" y="17756"/>
                    </a:cubicBezTo>
                    <a:lnTo>
                      <a:pt x="300061" y="17838"/>
                    </a:lnTo>
                    <a:lnTo>
                      <a:pt x="300198" y="17975"/>
                    </a:lnTo>
                    <a:lnTo>
                      <a:pt x="300308" y="18167"/>
                    </a:lnTo>
                    <a:lnTo>
                      <a:pt x="300501" y="18579"/>
                    </a:lnTo>
                    <a:lnTo>
                      <a:pt x="300336" y="18936"/>
                    </a:lnTo>
                    <a:lnTo>
                      <a:pt x="300418" y="19238"/>
                    </a:lnTo>
                    <a:lnTo>
                      <a:pt x="300281" y="19402"/>
                    </a:lnTo>
                    <a:lnTo>
                      <a:pt x="300089" y="19924"/>
                    </a:lnTo>
                    <a:lnTo>
                      <a:pt x="300144" y="20143"/>
                    </a:lnTo>
                    <a:lnTo>
                      <a:pt x="300308" y="20253"/>
                    </a:lnTo>
                    <a:lnTo>
                      <a:pt x="300501" y="20637"/>
                    </a:lnTo>
                    <a:lnTo>
                      <a:pt x="300391" y="21104"/>
                    </a:lnTo>
                    <a:lnTo>
                      <a:pt x="300034" y="21735"/>
                    </a:lnTo>
                    <a:lnTo>
                      <a:pt x="299979" y="22201"/>
                    </a:lnTo>
                    <a:lnTo>
                      <a:pt x="300116" y="22695"/>
                    </a:lnTo>
                    <a:lnTo>
                      <a:pt x="301351" y="23299"/>
                    </a:lnTo>
                    <a:lnTo>
                      <a:pt x="304068" y="28870"/>
                    </a:lnTo>
                    <a:lnTo>
                      <a:pt x="311478" y="29803"/>
                    </a:lnTo>
                    <a:lnTo>
                      <a:pt x="316692" y="28486"/>
                    </a:lnTo>
                    <a:lnTo>
                      <a:pt x="322482" y="30050"/>
                    </a:lnTo>
                    <a:lnTo>
                      <a:pt x="325885" y="33233"/>
                    </a:lnTo>
                    <a:lnTo>
                      <a:pt x="335463" y="42207"/>
                    </a:lnTo>
                    <a:lnTo>
                      <a:pt x="333734" y="46708"/>
                    </a:lnTo>
                    <a:lnTo>
                      <a:pt x="337000" y="51126"/>
                    </a:lnTo>
                    <a:lnTo>
                      <a:pt x="335627" y="54886"/>
                    </a:lnTo>
                    <a:lnTo>
                      <a:pt x="338756" y="65314"/>
                    </a:lnTo>
                    <a:lnTo>
                      <a:pt x="337055" y="79091"/>
                    </a:lnTo>
                    <a:lnTo>
                      <a:pt x="340540" y="83975"/>
                    </a:lnTo>
                    <a:lnTo>
                      <a:pt x="338564" y="93443"/>
                    </a:lnTo>
                    <a:lnTo>
                      <a:pt x="343696" y="101758"/>
                    </a:lnTo>
                    <a:lnTo>
                      <a:pt x="342817" y="106396"/>
                    </a:lnTo>
                    <a:lnTo>
                      <a:pt x="346715" y="112571"/>
                    </a:lnTo>
                    <a:lnTo>
                      <a:pt x="354371" y="118746"/>
                    </a:lnTo>
                    <a:lnTo>
                      <a:pt x="357417" y="121216"/>
                    </a:lnTo>
                    <a:lnTo>
                      <a:pt x="354371" y="124042"/>
                    </a:lnTo>
                    <a:lnTo>
                      <a:pt x="351297" y="126896"/>
                    </a:lnTo>
                    <a:lnTo>
                      <a:pt x="350721" y="131946"/>
                    </a:lnTo>
                    <a:lnTo>
                      <a:pt x="352889" y="134526"/>
                    </a:lnTo>
                    <a:lnTo>
                      <a:pt x="351819" y="135733"/>
                    </a:lnTo>
                    <a:lnTo>
                      <a:pt x="328959" y="132989"/>
                    </a:lnTo>
                    <a:lnTo>
                      <a:pt x="325885" y="133236"/>
                    </a:lnTo>
                    <a:lnTo>
                      <a:pt x="313536" y="134169"/>
                    </a:lnTo>
                    <a:lnTo>
                      <a:pt x="311478" y="134333"/>
                    </a:lnTo>
                    <a:lnTo>
                      <a:pt x="303135" y="134937"/>
                    </a:lnTo>
                    <a:lnTo>
                      <a:pt x="301708" y="137736"/>
                    </a:lnTo>
                    <a:lnTo>
                      <a:pt x="303794" y="145558"/>
                    </a:lnTo>
                    <a:lnTo>
                      <a:pt x="290374" y="149125"/>
                    </a:lnTo>
                    <a:lnTo>
                      <a:pt x="279836" y="152638"/>
                    </a:lnTo>
                    <a:lnTo>
                      <a:pt x="279369" y="159828"/>
                    </a:lnTo>
                    <a:lnTo>
                      <a:pt x="276625" y="164987"/>
                    </a:lnTo>
                    <a:lnTo>
                      <a:pt x="283184" y="173742"/>
                    </a:lnTo>
                    <a:lnTo>
                      <a:pt x="279863" y="183621"/>
                    </a:lnTo>
                    <a:lnTo>
                      <a:pt x="261092" y="189357"/>
                    </a:lnTo>
                    <a:lnTo>
                      <a:pt x="252009" y="197644"/>
                    </a:lnTo>
                    <a:lnTo>
                      <a:pt x="241828" y="203188"/>
                    </a:lnTo>
                    <a:lnTo>
                      <a:pt x="232113" y="211201"/>
                    </a:lnTo>
                    <a:lnTo>
                      <a:pt x="224264" y="223907"/>
                    </a:lnTo>
                    <a:lnTo>
                      <a:pt x="219324" y="223441"/>
                    </a:lnTo>
                    <a:lnTo>
                      <a:pt x="216580" y="220861"/>
                    </a:lnTo>
                    <a:lnTo>
                      <a:pt x="198166" y="222371"/>
                    </a:lnTo>
                    <a:lnTo>
                      <a:pt x="187984" y="225362"/>
                    </a:lnTo>
                    <a:lnTo>
                      <a:pt x="176678" y="224182"/>
                    </a:lnTo>
                    <a:lnTo>
                      <a:pt x="170695" y="228106"/>
                    </a:lnTo>
                    <a:lnTo>
                      <a:pt x="164328" y="229204"/>
                    </a:lnTo>
                    <a:lnTo>
                      <a:pt x="133400" y="250719"/>
                    </a:lnTo>
                    <a:lnTo>
                      <a:pt x="132549" y="286011"/>
                    </a:lnTo>
                    <a:lnTo>
                      <a:pt x="0" y="285819"/>
                    </a:lnTo>
                    <a:lnTo>
                      <a:pt x="7958" y="276433"/>
                    </a:lnTo>
                    <a:lnTo>
                      <a:pt x="31532" y="271932"/>
                    </a:lnTo>
                    <a:lnTo>
                      <a:pt x="49205" y="264084"/>
                    </a:lnTo>
                    <a:lnTo>
                      <a:pt x="62652" y="249594"/>
                    </a:lnTo>
                    <a:lnTo>
                      <a:pt x="77636" y="240785"/>
                    </a:lnTo>
                    <a:lnTo>
                      <a:pt x="87461" y="229972"/>
                    </a:lnTo>
                    <a:lnTo>
                      <a:pt x="99508" y="211833"/>
                    </a:lnTo>
                    <a:lnTo>
                      <a:pt x="104036" y="200416"/>
                    </a:lnTo>
                    <a:lnTo>
                      <a:pt x="104530" y="193830"/>
                    </a:lnTo>
                    <a:lnTo>
                      <a:pt x="97120" y="185295"/>
                    </a:lnTo>
                    <a:lnTo>
                      <a:pt x="98904" y="179065"/>
                    </a:lnTo>
                    <a:lnTo>
                      <a:pt x="98575" y="159224"/>
                    </a:lnTo>
                    <a:lnTo>
                      <a:pt x="103158" y="149070"/>
                    </a:lnTo>
                    <a:lnTo>
                      <a:pt x="114821" y="132687"/>
                    </a:lnTo>
                    <a:lnTo>
                      <a:pt x="115261" y="119542"/>
                    </a:lnTo>
                    <a:lnTo>
                      <a:pt x="126786" y="108235"/>
                    </a:lnTo>
                    <a:lnTo>
                      <a:pt x="135157" y="96627"/>
                    </a:lnTo>
                    <a:lnTo>
                      <a:pt x="166195" y="81615"/>
                    </a:lnTo>
                    <a:lnTo>
                      <a:pt x="182743" y="71187"/>
                    </a:lnTo>
                    <a:lnTo>
                      <a:pt x="188259" y="64710"/>
                    </a:lnTo>
                    <a:lnTo>
                      <a:pt x="200910" y="40616"/>
                    </a:lnTo>
                    <a:lnTo>
                      <a:pt x="213287" y="5159"/>
                    </a:lnTo>
                    <a:lnTo>
                      <a:pt x="229231" y="0"/>
                    </a:lnTo>
                    <a:lnTo>
                      <a:pt x="230356" y="15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2" name="Freeform: Shape 4181">
                <a:extLst>
                  <a:ext uri="{FF2B5EF4-FFF2-40B4-BE49-F238E27FC236}">
                    <a16:creationId xmlns:a16="http://schemas.microsoft.com/office/drawing/2014/main" id="{922F97E9-BCA1-A11A-F4EE-5CB53444DFDB}"/>
                  </a:ext>
                </a:extLst>
              </p:cNvPr>
              <p:cNvSpPr/>
              <p:nvPr/>
            </p:nvSpPr>
            <p:spPr>
              <a:xfrm>
                <a:off x="1498032" y="3881444"/>
                <a:ext cx="22197" cy="44283"/>
              </a:xfrm>
              <a:custGeom>
                <a:avLst/>
                <a:gdLst>
                  <a:gd name="connsiteX0" fmla="*/ 185240 w 212820"/>
                  <a:gd name="connsiteY0" fmla="*/ 12843 h 424570"/>
                  <a:gd name="connsiteX1" fmla="*/ 187353 w 212820"/>
                  <a:gd name="connsiteY1" fmla="*/ 20720 h 424570"/>
                  <a:gd name="connsiteX2" fmla="*/ 195806 w 212820"/>
                  <a:gd name="connsiteY2" fmla="*/ 31065 h 424570"/>
                  <a:gd name="connsiteX3" fmla="*/ 199538 w 212820"/>
                  <a:gd name="connsiteY3" fmla="*/ 46324 h 424570"/>
                  <a:gd name="connsiteX4" fmla="*/ 202831 w 212820"/>
                  <a:gd name="connsiteY4" fmla="*/ 55627 h 424570"/>
                  <a:gd name="connsiteX5" fmla="*/ 204368 w 212820"/>
                  <a:gd name="connsiteY5" fmla="*/ 79145 h 424570"/>
                  <a:gd name="connsiteX6" fmla="*/ 207634 w 212820"/>
                  <a:gd name="connsiteY6" fmla="*/ 89876 h 424570"/>
                  <a:gd name="connsiteX7" fmla="*/ 212820 w 212820"/>
                  <a:gd name="connsiteY7" fmla="*/ 101210 h 424570"/>
                  <a:gd name="connsiteX8" fmla="*/ 211009 w 212820"/>
                  <a:gd name="connsiteY8" fmla="*/ 109333 h 424570"/>
                  <a:gd name="connsiteX9" fmla="*/ 205466 w 212820"/>
                  <a:gd name="connsiteY9" fmla="*/ 120969 h 424570"/>
                  <a:gd name="connsiteX10" fmla="*/ 199950 w 212820"/>
                  <a:gd name="connsiteY10" fmla="*/ 118417 h 424570"/>
                  <a:gd name="connsiteX11" fmla="*/ 195394 w 212820"/>
                  <a:gd name="connsiteY11" fmla="*/ 105628 h 424570"/>
                  <a:gd name="connsiteX12" fmla="*/ 190619 w 212820"/>
                  <a:gd name="connsiteY12" fmla="*/ 105628 h 424570"/>
                  <a:gd name="connsiteX13" fmla="*/ 187984 w 212820"/>
                  <a:gd name="connsiteY13" fmla="*/ 108702 h 424570"/>
                  <a:gd name="connsiteX14" fmla="*/ 190537 w 212820"/>
                  <a:gd name="connsiteY14" fmla="*/ 119020 h 424570"/>
                  <a:gd name="connsiteX15" fmla="*/ 189796 w 212820"/>
                  <a:gd name="connsiteY15" fmla="*/ 124179 h 424570"/>
                  <a:gd name="connsiteX16" fmla="*/ 194187 w 212820"/>
                  <a:gd name="connsiteY16" fmla="*/ 128927 h 424570"/>
                  <a:gd name="connsiteX17" fmla="*/ 194571 w 212820"/>
                  <a:gd name="connsiteY17" fmla="*/ 136721 h 424570"/>
                  <a:gd name="connsiteX18" fmla="*/ 191525 w 212820"/>
                  <a:gd name="connsiteY18" fmla="*/ 148082 h 424570"/>
                  <a:gd name="connsiteX19" fmla="*/ 186997 w 212820"/>
                  <a:gd name="connsiteY19" fmla="*/ 150827 h 424570"/>
                  <a:gd name="connsiteX20" fmla="*/ 182084 w 212820"/>
                  <a:gd name="connsiteY20" fmla="*/ 161749 h 424570"/>
                  <a:gd name="connsiteX21" fmla="*/ 184115 w 212820"/>
                  <a:gd name="connsiteY21" fmla="*/ 176431 h 424570"/>
                  <a:gd name="connsiteX22" fmla="*/ 179175 w 212820"/>
                  <a:gd name="connsiteY22" fmla="*/ 196519 h 424570"/>
                  <a:gd name="connsiteX23" fmla="*/ 155986 w 212820"/>
                  <a:gd name="connsiteY23" fmla="*/ 264303 h 424570"/>
                  <a:gd name="connsiteX24" fmla="*/ 148384 w 212820"/>
                  <a:gd name="connsiteY24" fmla="*/ 292515 h 424570"/>
                  <a:gd name="connsiteX25" fmla="*/ 137242 w 212820"/>
                  <a:gd name="connsiteY25" fmla="*/ 323278 h 424570"/>
                  <a:gd name="connsiteX26" fmla="*/ 130217 w 212820"/>
                  <a:gd name="connsiteY26" fmla="*/ 354481 h 424570"/>
                  <a:gd name="connsiteX27" fmla="*/ 127665 w 212820"/>
                  <a:gd name="connsiteY27" fmla="*/ 366803 h 424570"/>
                  <a:gd name="connsiteX28" fmla="*/ 113559 w 212820"/>
                  <a:gd name="connsiteY28" fmla="*/ 403302 h 424570"/>
                  <a:gd name="connsiteX29" fmla="*/ 102746 w 212820"/>
                  <a:gd name="connsiteY29" fmla="*/ 410575 h 424570"/>
                  <a:gd name="connsiteX30" fmla="*/ 90397 w 212820"/>
                  <a:gd name="connsiteY30" fmla="*/ 411535 h 424570"/>
                  <a:gd name="connsiteX31" fmla="*/ 68635 w 212820"/>
                  <a:gd name="connsiteY31" fmla="*/ 423088 h 424570"/>
                  <a:gd name="connsiteX32" fmla="*/ 57905 w 212820"/>
                  <a:gd name="connsiteY32" fmla="*/ 424570 h 424570"/>
                  <a:gd name="connsiteX33" fmla="*/ 45857 w 212820"/>
                  <a:gd name="connsiteY33" fmla="*/ 416337 h 424570"/>
                  <a:gd name="connsiteX34" fmla="*/ 33535 w 212820"/>
                  <a:gd name="connsiteY34" fmla="*/ 413730 h 424570"/>
                  <a:gd name="connsiteX35" fmla="*/ 23739 w 212820"/>
                  <a:gd name="connsiteY35" fmla="*/ 405278 h 424570"/>
                  <a:gd name="connsiteX36" fmla="*/ 19814 w 212820"/>
                  <a:gd name="connsiteY36" fmla="*/ 392764 h 424570"/>
                  <a:gd name="connsiteX37" fmla="*/ 13886 w 212820"/>
                  <a:gd name="connsiteY37" fmla="*/ 385821 h 424570"/>
                  <a:gd name="connsiteX38" fmla="*/ 12789 w 212820"/>
                  <a:gd name="connsiteY38" fmla="*/ 381842 h 424570"/>
                  <a:gd name="connsiteX39" fmla="*/ 11663 w 212820"/>
                  <a:gd name="connsiteY39" fmla="*/ 363647 h 424570"/>
                  <a:gd name="connsiteX40" fmla="*/ 15368 w 212820"/>
                  <a:gd name="connsiteY40" fmla="*/ 358323 h 424570"/>
                  <a:gd name="connsiteX41" fmla="*/ 14655 w 212820"/>
                  <a:gd name="connsiteY41" fmla="*/ 354481 h 424570"/>
                  <a:gd name="connsiteX42" fmla="*/ 11498 w 212820"/>
                  <a:gd name="connsiteY42" fmla="*/ 350694 h 424570"/>
                  <a:gd name="connsiteX43" fmla="*/ 10291 w 212820"/>
                  <a:gd name="connsiteY43" fmla="*/ 343367 h 424570"/>
                  <a:gd name="connsiteX44" fmla="*/ 3595 w 212820"/>
                  <a:gd name="connsiteY44" fmla="*/ 334393 h 424570"/>
                  <a:gd name="connsiteX45" fmla="*/ 0 w 212820"/>
                  <a:gd name="connsiteY45" fmla="*/ 319025 h 424570"/>
                  <a:gd name="connsiteX46" fmla="*/ 1729 w 212820"/>
                  <a:gd name="connsiteY46" fmla="*/ 316253 h 424570"/>
                  <a:gd name="connsiteX47" fmla="*/ 357 w 212820"/>
                  <a:gd name="connsiteY47" fmla="*/ 310764 h 424570"/>
                  <a:gd name="connsiteX48" fmla="*/ 6587 w 212820"/>
                  <a:gd name="connsiteY48" fmla="*/ 296713 h 424570"/>
                  <a:gd name="connsiteX49" fmla="*/ 7767 w 212820"/>
                  <a:gd name="connsiteY49" fmla="*/ 287795 h 424570"/>
                  <a:gd name="connsiteX50" fmla="*/ 14325 w 212820"/>
                  <a:gd name="connsiteY50" fmla="*/ 287520 h 424570"/>
                  <a:gd name="connsiteX51" fmla="*/ 20088 w 212820"/>
                  <a:gd name="connsiteY51" fmla="*/ 272070 h 424570"/>
                  <a:gd name="connsiteX52" fmla="*/ 24946 w 212820"/>
                  <a:gd name="connsiteY52" fmla="*/ 264303 h 424570"/>
                  <a:gd name="connsiteX53" fmla="*/ 36088 w 212820"/>
                  <a:gd name="connsiteY53" fmla="*/ 245395 h 424570"/>
                  <a:gd name="connsiteX54" fmla="*/ 34085 w 212820"/>
                  <a:gd name="connsiteY54" fmla="*/ 238068 h 424570"/>
                  <a:gd name="connsiteX55" fmla="*/ 36060 w 212820"/>
                  <a:gd name="connsiteY55" fmla="*/ 229890 h 424570"/>
                  <a:gd name="connsiteX56" fmla="*/ 30928 w 212820"/>
                  <a:gd name="connsiteY56" fmla="*/ 220175 h 424570"/>
                  <a:gd name="connsiteX57" fmla="*/ 29310 w 212820"/>
                  <a:gd name="connsiteY57" fmla="*/ 207304 h 424570"/>
                  <a:gd name="connsiteX58" fmla="*/ 23711 w 212820"/>
                  <a:gd name="connsiteY58" fmla="*/ 195504 h 424570"/>
                  <a:gd name="connsiteX59" fmla="*/ 22943 w 212820"/>
                  <a:gd name="connsiteY59" fmla="*/ 176458 h 424570"/>
                  <a:gd name="connsiteX60" fmla="*/ 21103 w 212820"/>
                  <a:gd name="connsiteY60" fmla="*/ 174126 h 424570"/>
                  <a:gd name="connsiteX61" fmla="*/ 20692 w 212820"/>
                  <a:gd name="connsiteY61" fmla="*/ 167594 h 424570"/>
                  <a:gd name="connsiteX62" fmla="*/ 34716 w 212820"/>
                  <a:gd name="connsiteY62" fmla="*/ 143719 h 424570"/>
                  <a:gd name="connsiteX63" fmla="*/ 35703 w 212820"/>
                  <a:gd name="connsiteY63" fmla="*/ 129119 h 424570"/>
                  <a:gd name="connsiteX64" fmla="*/ 42482 w 212820"/>
                  <a:gd name="connsiteY64" fmla="*/ 128488 h 424570"/>
                  <a:gd name="connsiteX65" fmla="*/ 47367 w 212820"/>
                  <a:gd name="connsiteY65" fmla="*/ 131205 h 424570"/>
                  <a:gd name="connsiteX66" fmla="*/ 58701 w 212820"/>
                  <a:gd name="connsiteY66" fmla="*/ 120914 h 424570"/>
                  <a:gd name="connsiteX67" fmla="*/ 60759 w 212820"/>
                  <a:gd name="connsiteY67" fmla="*/ 126649 h 424570"/>
                  <a:gd name="connsiteX68" fmla="*/ 65369 w 212820"/>
                  <a:gd name="connsiteY68" fmla="*/ 121764 h 424570"/>
                  <a:gd name="connsiteX69" fmla="*/ 70007 w 212820"/>
                  <a:gd name="connsiteY69" fmla="*/ 121902 h 424570"/>
                  <a:gd name="connsiteX70" fmla="*/ 71928 w 212820"/>
                  <a:gd name="connsiteY70" fmla="*/ 115974 h 424570"/>
                  <a:gd name="connsiteX71" fmla="*/ 75029 w 212820"/>
                  <a:gd name="connsiteY71" fmla="*/ 117566 h 424570"/>
                  <a:gd name="connsiteX72" fmla="*/ 79969 w 212820"/>
                  <a:gd name="connsiteY72" fmla="*/ 116166 h 424570"/>
                  <a:gd name="connsiteX73" fmla="*/ 83125 w 212820"/>
                  <a:gd name="connsiteY73" fmla="*/ 118362 h 424570"/>
                  <a:gd name="connsiteX74" fmla="*/ 82933 w 212820"/>
                  <a:gd name="connsiteY74" fmla="*/ 115233 h 424570"/>
                  <a:gd name="connsiteX75" fmla="*/ 85979 w 212820"/>
                  <a:gd name="connsiteY75" fmla="*/ 113532 h 424570"/>
                  <a:gd name="connsiteX76" fmla="*/ 89793 w 212820"/>
                  <a:gd name="connsiteY76" fmla="*/ 116139 h 424570"/>
                  <a:gd name="connsiteX77" fmla="*/ 91165 w 212820"/>
                  <a:gd name="connsiteY77" fmla="*/ 111693 h 424570"/>
                  <a:gd name="connsiteX78" fmla="*/ 95639 w 212820"/>
                  <a:gd name="connsiteY78" fmla="*/ 107604 h 424570"/>
                  <a:gd name="connsiteX79" fmla="*/ 107906 w 212820"/>
                  <a:gd name="connsiteY79" fmla="*/ 98410 h 424570"/>
                  <a:gd name="connsiteX80" fmla="*/ 111720 w 212820"/>
                  <a:gd name="connsiteY80" fmla="*/ 102280 h 424570"/>
                  <a:gd name="connsiteX81" fmla="*/ 109772 w 212820"/>
                  <a:gd name="connsiteY81" fmla="*/ 106067 h 424570"/>
                  <a:gd name="connsiteX82" fmla="*/ 116880 w 212820"/>
                  <a:gd name="connsiteY82" fmla="*/ 105546 h 424570"/>
                  <a:gd name="connsiteX83" fmla="*/ 112571 w 212820"/>
                  <a:gd name="connsiteY83" fmla="*/ 97560 h 424570"/>
                  <a:gd name="connsiteX84" fmla="*/ 118966 w 212820"/>
                  <a:gd name="connsiteY84" fmla="*/ 89876 h 424570"/>
                  <a:gd name="connsiteX85" fmla="*/ 120008 w 212820"/>
                  <a:gd name="connsiteY85" fmla="*/ 86281 h 424570"/>
                  <a:gd name="connsiteX86" fmla="*/ 123741 w 212820"/>
                  <a:gd name="connsiteY86" fmla="*/ 82548 h 424570"/>
                  <a:gd name="connsiteX87" fmla="*/ 125333 w 212820"/>
                  <a:gd name="connsiteY87" fmla="*/ 85951 h 424570"/>
                  <a:gd name="connsiteX88" fmla="*/ 123356 w 212820"/>
                  <a:gd name="connsiteY88" fmla="*/ 89876 h 424570"/>
                  <a:gd name="connsiteX89" fmla="*/ 122478 w 212820"/>
                  <a:gd name="connsiteY89" fmla="*/ 94349 h 424570"/>
                  <a:gd name="connsiteX90" fmla="*/ 123329 w 212820"/>
                  <a:gd name="connsiteY90" fmla="*/ 95804 h 424570"/>
                  <a:gd name="connsiteX91" fmla="*/ 126759 w 212820"/>
                  <a:gd name="connsiteY91" fmla="*/ 92236 h 424570"/>
                  <a:gd name="connsiteX92" fmla="*/ 132248 w 212820"/>
                  <a:gd name="connsiteY92" fmla="*/ 80627 h 424570"/>
                  <a:gd name="connsiteX93" fmla="*/ 131287 w 212820"/>
                  <a:gd name="connsiteY93" fmla="*/ 74041 h 424570"/>
                  <a:gd name="connsiteX94" fmla="*/ 133346 w 212820"/>
                  <a:gd name="connsiteY94" fmla="*/ 69239 h 424570"/>
                  <a:gd name="connsiteX95" fmla="*/ 138203 w 212820"/>
                  <a:gd name="connsiteY95" fmla="*/ 69348 h 424570"/>
                  <a:gd name="connsiteX96" fmla="*/ 139849 w 212820"/>
                  <a:gd name="connsiteY96" fmla="*/ 71077 h 424570"/>
                  <a:gd name="connsiteX97" fmla="*/ 140975 w 212820"/>
                  <a:gd name="connsiteY97" fmla="*/ 69897 h 424570"/>
                  <a:gd name="connsiteX98" fmla="*/ 141085 w 212820"/>
                  <a:gd name="connsiteY98" fmla="*/ 67565 h 424570"/>
                  <a:gd name="connsiteX99" fmla="*/ 139548 w 212820"/>
                  <a:gd name="connsiteY99" fmla="*/ 68635 h 424570"/>
                  <a:gd name="connsiteX100" fmla="*/ 137572 w 212820"/>
                  <a:gd name="connsiteY100" fmla="*/ 67290 h 424570"/>
                  <a:gd name="connsiteX101" fmla="*/ 138258 w 212820"/>
                  <a:gd name="connsiteY101" fmla="*/ 65177 h 424570"/>
                  <a:gd name="connsiteX102" fmla="*/ 140920 w 212820"/>
                  <a:gd name="connsiteY102" fmla="*/ 64326 h 424570"/>
                  <a:gd name="connsiteX103" fmla="*/ 139493 w 212820"/>
                  <a:gd name="connsiteY103" fmla="*/ 62158 h 424570"/>
                  <a:gd name="connsiteX104" fmla="*/ 140535 w 212820"/>
                  <a:gd name="connsiteY104" fmla="*/ 59771 h 424570"/>
                  <a:gd name="connsiteX105" fmla="*/ 137297 w 212820"/>
                  <a:gd name="connsiteY105" fmla="*/ 58014 h 424570"/>
                  <a:gd name="connsiteX106" fmla="*/ 136282 w 212820"/>
                  <a:gd name="connsiteY106" fmla="*/ 55188 h 424570"/>
                  <a:gd name="connsiteX107" fmla="*/ 136941 w 212820"/>
                  <a:gd name="connsiteY107" fmla="*/ 49946 h 424570"/>
                  <a:gd name="connsiteX108" fmla="*/ 140783 w 212820"/>
                  <a:gd name="connsiteY108" fmla="*/ 48409 h 424570"/>
                  <a:gd name="connsiteX109" fmla="*/ 143335 w 212820"/>
                  <a:gd name="connsiteY109" fmla="*/ 49068 h 424570"/>
                  <a:gd name="connsiteX110" fmla="*/ 145420 w 212820"/>
                  <a:gd name="connsiteY110" fmla="*/ 54529 h 424570"/>
                  <a:gd name="connsiteX111" fmla="*/ 147808 w 212820"/>
                  <a:gd name="connsiteY111" fmla="*/ 55682 h 424570"/>
                  <a:gd name="connsiteX112" fmla="*/ 150250 w 212820"/>
                  <a:gd name="connsiteY112" fmla="*/ 53898 h 424570"/>
                  <a:gd name="connsiteX113" fmla="*/ 150085 w 212820"/>
                  <a:gd name="connsiteY113" fmla="*/ 47943 h 424570"/>
                  <a:gd name="connsiteX114" fmla="*/ 154970 w 212820"/>
                  <a:gd name="connsiteY114" fmla="*/ 48217 h 424570"/>
                  <a:gd name="connsiteX115" fmla="*/ 155273 w 212820"/>
                  <a:gd name="connsiteY115" fmla="*/ 43854 h 424570"/>
                  <a:gd name="connsiteX116" fmla="*/ 158895 w 212820"/>
                  <a:gd name="connsiteY116" fmla="*/ 45281 h 424570"/>
                  <a:gd name="connsiteX117" fmla="*/ 162957 w 212820"/>
                  <a:gd name="connsiteY117" fmla="*/ 42948 h 424570"/>
                  <a:gd name="connsiteX118" fmla="*/ 165289 w 212820"/>
                  <a:gd name="connsiteY118" fmla="*/ 33206 h 424570"/>
                  <a:gd name="connsiteX119" fmla="*/ 167978 w 212820"/>
                  <a:gd name="connsiteY119" fmla="*/ 29556 h 424570"/>
                  <a:gd name="connsiteX120" fmla="*/ 167978 w 212820"/>
                  <a:gd name="connsiteY120" fmla="*/ 25742 h 424570"/>
                  <a:gd name="connsiteX121" fmla="*/ 162764 w 212820"/>
                  <a:gd name="connsiteY121" fmla="*/ 14956 h 424570"/>
                  <a:gd name="connsiteX122" fmla="*/ 163368 w 212820"/>
                  <a:gd name="connsiteY122" fmla="*/ 14188 h 424570"/>
                  <a:gd name="connsiteX123" fmla="*/ 167320 w 212820"/>
                  <a:gd name="connsiteY123" fmla="*/ 15286 h 424570"/>
                  <a:gd name="connsiteX124" fmla="*/ 169159 w 212820"/>
                  <a:gd name="connsiteY124" fmla="*/ 11471 h 424570"/>
                  <a:gd name="connsiteX125" fmla="*/ 173714 w 212820"/>
                  <a:gd name="connsiteY125" fmla="*/ 8617 h 424570"/>
                  <a:gd name="connsiteX126" fmla="*/ 175251 w 212820"/>
                  <a:gd name="connsiteY126" fmla="*/ 2909 h 424570"/>
                  <a:gd name="connsiteX127" fmla="*/ 175004 w 212820"/>
                  <a:gd name="connsiteY127" fmla="*/ 1701 h 424570"/>
                  <a:gd name="connsiteX128" fmla="*/ 176842 w 212820"/>
                  <a:gd name="connsiteY128" fmla="*/ 0 h 424570"/>
                  <a:gd name="connsiteX129" fmla="*/ 179230 w 212820"/>
                  <a:gd name="connsiteY129" fmla="*/ 2909 h 424570"/>
                  <a:gd name="connsiteX130" fmla="*/ 180465 w 212820"/>
                  <a:gd name="connsiteY130" fmla="*/ 6065 h 424570"/>
                  <a:gd name="connsiteX131" fmla="*/ 177337 w 212820"/>
                  <a:gd name="connsiteY131" fmla="*/ 7629 h 424570"/>
                  <a:gd name="connsiteX132" fmla="*/ 185268 w 212820"/>
                  <a:gd name="connsiteY132" fmla="*/ 12898 h 42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212820" h="424570">
                    <a:moveTo>
                      <a:pt x="185240" y="12843"/>
                    </a:moveTo>
                    <a:lnTo>
                      <a:pt x="187353" y="20720"/>
                    </a:lnTo>
                    <a:lnTo>
                      <a:pt x="195806" y="31065"/>
                    </a:lnTo>
                    <a:lnTo>
                      <a:pt x="199538" y="46324"/>
                    </a:lnTo>
                    <a:lnTo>
                      <a:pt x="202831" y="55627"/>
                    </a:lnTo>
                    <a:lnTo>
                      <a:pt x="204368" y="79145"/>
                    </a:lnTo>
                    <a:lnTo>
                      <a:pt x="207634" y="89876"/>
                    </a:lnTo>
                    <a:lnTo>
                      <a:pt x="212820" y="101210"/>
                    </a:lnTo>
                    <a:lnTo>
                      <a:pt x="211009" y="109333"/>
                    </a:lnTo>
                    <a:lnTo>
                      <a:pt x="205466" y="120969"/>
                    </a:lnTo>
                    <a:lnTo>
                      <a:pt x="199950" y="118417"/>
                    </a:lnTo>
                    <a:lnTo>
                      <a:pt x="195394" y="105628"/>
                    </a:lnTo>
                    <a:lnTo>
                      <a:pt x="190619" y="105628"/>
                    </a:lnTo>
                    <a:cubicBezTo>
                      <a:pt x="190619" y="105628"/>
                      <a:pt x="187984" y="108702"/>
                      <a:pt x="187984" y="108702"/>
                    </a:cubicBezTo>
                    <a:lnTo>
                      <a:pt x="190537" y="119020"/>
                    </a:lnTo>
                    <a:lnTo>
                      <a:pt x="189796" y="124179"/>
                    </a:lnTo>
                    <a:lnTo>
                      <a:pt x="194187" y="128927"/>
                    </a:lnTo>
                    <a:lnTo>
                      <a:pt x="194571" y="136721"/>
                    </a:lnTo>
                    <a:lnTo>
                      <a:pt x="191525" y="148082"/>
                    </a:lnTo>
                    <a:lnTo>
                      <a:pt x="186997" y="150827"/>
                    </a:lnTo>
                    <a:lnTo>
                      <a:pt x="182084" y="161749"/>
                    </a:lnTo>
                    <a:lnTo>
                      <a:pt x="184115" y="176431"/>
                    </a:lnTo>
                    <a:lnTo>
                      <a:pt x="179175" y="196519"/>
                    </a:lnTo>
                    <a:lnTo>
                      <a:pt x="155986" y="264303"/>
                    </a:lnTo>
                    <a:lnTo>
                      <a:pt x="148384" y="292515"/>
                    </a:lnTo>
                    <a:lnTo>
                      <a:pt x="137242" y="323278"/>
                    </a:lnTo>
                    <a:lnTo>
                      <a:pt x="130217" y="354481"/>
                    </a:lnTo>
                    <a:lnTo>
                      <a:pt x="127665" y="366803"/>
                    </a:lnTo>
                    <a:lnTo>
                      <a:pt x="113559" y="403302"/>
                    </a:lnTo>
                    <a:lnTo>
                      <a:pt x="102746" y="410575"/>
                    </a:lnTo>
                    <a:lnTo>
                      <a:pt x="90397" y="411535"/>
                    </a:lnTo>
                    <a:lnTo>
                      <a:pt x="68635" y="423088"/>
                    </a:lnTo>
                    <a:lnTo>
                      <a:pt x="57905" y="424570"/>
                    </a:lnTo>
                    <a:lnTo>
                      <a:pt x="45857" y="416337"/>
                    </a:lnTo>
                    <a:lnTo>
                      <a:pt x="33535" y="413730"/>
                    </a:lnTo>
                    <a:lnTo>
                      <a:pt x="23739" y="405278"/>
                    </a:lnTo>
                    <a:lnTo>
                      <a:pt x="19814" y="392764"/>
                    </a:lnTo>
                    <a:lnTo>
                      <a:pt x="13886" y="385821"/>
                    </a:lnTo>
                    <a:lnTo>
                      <a:pt x="12789" y="381842"/>
                    </a:lnTo>
                    <a:lnTo>
                      <a:pt x="11663" y="363647"/>
                    </a:lnTo>
                    <a:lnTo>
                      <a:pt x="15368" y="358323"/>
                    </a:lnTo>
                    <a:lnTo>
                      <a:pt x="14655" y="354481"/>
                    </a:lnTo>
                    <a:lnTo>
                      <a:pt x="11498" y="350694"/>
                    </a:lnTo>
                    <a:lnTo>
                      <a:pt x="10291" y="343367"/>
                    </a:lnTo>
                    <a:lnTo>
                      <a:pt x="3595" y="334393"/>
                    </a:lnTo>
                    <a:lnTo>
                      <a:pt x="0" y="319025"/>
                    </a:lnTo>
                    <a:lnTo>
                      <a:pt x="1729" y="316253"/>
                    </a:lnTo>
                    <a:lnTo>
                      <a:pt x="357" y="310764"/>
                    </a:lnTo>
                    <a:lnTo>
                      <a:pt x="6587" y="296713"/>
                    </a:lnTo>
                    <a:lnTo>
                      <a:pt x="7767" y="287795"/>
                    </a:lnTo>
                    <a:lnTo>
                      <a:pt x="14325" y="287520"/>
                    </a:lnTo>
                    <a:lnTo>
                      <a:pt x="20088" y="272070"/>
                    </a:lnTo>
                    <a:lnTo>
                      <a:pt x="24946" y="264303"/>
                    </a:lnTo>
                    <a:lnTo>
                      <a:pt x="36088" y="245395"/>
                    </a:lnTo>
                    <a:lnTo>
                      <a:pt x="34085" y="238068"/>
                    </a:lnTo>
                    <a:lnTo>
                      <a:pt x="36060" y="229890"/>
                    </a:lnTo>
                    <a:lnTo>
                      <a:pt x="30928" y="220175"/>
                    </a:lnTo>
                    <a:lnTo>
                      <a:pt x="29310" y="207304"/>
                    </a:lnTo>
                    <a:lnTo>
                      <a:pt x="23711" y="195504"/>
                    </a:lnTo>
                    <a:lnTo>
                      <a:pt x="22943" y="176458"/>
                    </a:lnTo>
                    <a:lnTo>
                      <a:pt x="21103" y="174126"/>
                    </a:lnTo>
                    <a:lnTo>
                      <a:pt x="20692" y="167594"/>
                    </a:lnTo>
                    <a:lnTo>
                      <a:pt x="34716" y="143719"/>
                    </a:lnTo>
                    <a:lnTo>
                      <a:pt x="35703" y="129119"/>
                    </a:lnTo>
                    <a:lnTo>
                      <a:pt x="42482" y="128488"/>
                    </a:lnTo>
                    <a:lnTo>
                      <a:pt x="47367" y="131205"/>
                    </a:lnTo>
                    <a:lnTo>
                      <a:pt x="58701" y="120914"/>
                    </a:lnTo>
                    <a:lnTo>
                      <a:pt x="60759" y="126649"/>
                    </a:lnTo>
                    <a:lnTo>
                      <a:pt x="65369" y="121764"/>
                    </a:lnTo>
                    <a:lnTo>
                      <a:pt x="70007" y="121902"/>
                    </a:lnTo>
                    <a:lnTo>
                      <a:pt x="71928" y="115974"/>
                    </a:lnTo>
                    <a:lnTo>
                      <a:pt x="75029" y="117566"/>
                    </a:lnTo>
                    <a:lnTo>
                      <a:pt x="79969" y="116166"/>
                    </a:lnTo>
                    <a:lnTo>
                      <a:pt x="83125" y="118362"/>
                    </a:lnTo>
                    <a:lnTo>
                      <a:pt x="82933" y="115233"/>
                    </a:lnTo>
                    <a:lnTo>
                      <a:pt x="85979" y="113532"/>
                    </a:lnTo>
                    <a:lnTo>
                      <a:pt x="89793" y="116139"/>
                    </a:lnTo>
                    <a:lnTo>
                      <a:pt x="91165" y="111693"/>
                    </a:lnTo>
                    <a:lnTo>
                      <a:pt x="95639" y="107604"/>
                    </a:lnTo>
                    <a:lnTo>
                      <a:pt x="107906" y="98410"/>
                    </a:lnTo>
                    <a:lnTo>
                      <a:pt x="111720" y="102280"/>
                    </a:lnTo>
                    <a:lnTo>
                      <a:pt x="109772" y="106067"/>
                    </a:lnTo>
                    <a:lnTo>
                      <a:pt x="116880" y="105546"/>
                    </a:lnTo>
                    <a:lnTo>
                      <a:pt x="112571" y="97560"/>
                    </a:lnTo>
                    <a:lnTo>
                      <a:pt x="118966" y="89876"/>
                    </a:lnTo>
                    <a:lnTo>
                      <a:pt x="120008" y="86281"/>
                    </a:lnTo>
                    <a:lnTo>
                      <a:pt x="123741" y="82548"/>
                    </a:lnTo>
                    <a:lnTo>
                      <a:pt x="125333" y="85951"/>
                    </a:lnTo>
                    <a:lnTo>
                      <a:pt x="123356" y="89876"/>
                    </a:lnTo>
                    <a:lnTo>
                      <a:pt x="122478" y="94349"/>
                    </a:lnTo>
                    <a:lnTo>
                      <a:pt x="123329" y="95804"/>
                    </a:lnTo>
                    <a:lnTo>
                      <a:pt x="126759" y="92236"/>
                    </a:lnTo>
                    <a:lnTo>
                      <a:pt x="132248" y="80627"/>
                    </a:lnTo>
                    <a:lnTo>
                      <a:pt x="131287" y="74041"/>
                    </a:lnTo>
                    <a:lnTo>
                      <a:pt x="133346" y="69239"/>
                    </a:lnTo>
                    <a:lnTo>
                      <a:pt x="138203" y="69348"/>
                    </a:lnTo>
                    <a:lnTo>
                      <a:pt x="139849" y="71077"/>
                    </a:lnTo>
                    <a:lnTo>
                      <a:pt x="140975" y="69897"/>
                    </a:lnTo>
                    <a:lnTo>
                      <a:pt x="141085" y="67565"/>
                    </a:lnTo>
                    <a:lnTo>
                      <a:pt x="139548" y="68635"/>
                    </a:lnTo>
                    <a:lnTo>
                      <a:pt x="137572" y="67290"/>
                    </a:lnTo>
                    <a:lnTo>
                      <a:pt x="138258" y="65177"/>
                    </a:lnTo>
                    <a:lnTo>
                      <a:pt x="140920" y="64326"/>
                    </a:lnTo>
                    <a:lnTo>
                      <a:pt x="139493" y="62158"/>
                    </a:lnTo>
                    <a:lnTo>
                      <a:pt x="140535" y="59771"/>
                    </a:lnTo>
                    <a:lnTo>
                      <a:pt x="137297" y="58014"/>
                    </a:lnTo>
                    <a:lnTo>
                      <a:pt x="136282" y="55188"/>
                    </a:lnTo>
                    <a:lnTo>
                      <a:pt x="136941" y="49946"/>
                    </a:lnTo>
                    <a:lnTo>
                      <a:pt x="140783" y="48409"/>
                    </a:lnTo>
                    <a:lnTo>
                      <a:pt x="143335" y="49068"/>
                    </a:lnTo>
                    <a:lnTo>
                      <a:pt x="145420" y="54529"/>
                    </a:lnTo>
                    <a:lnTo>
                      <a:pt x="147808" y="55682"/>
                    </a:lnTo>
                    <a:lnTo>
                      <a:pt x="150250" y="53898"/>
                    </a:lnTo>
                    <a:lnTo>
                      <a:pt x="150085" y="47943"/>
                    </a:lnTo>
                    <a:lnTo>
                      <a:pt x="154970" y="48217"/>
                    </a:lnTo>
                    <a:lnTo>
                      <a:pt x="155273" y="43854"/>
                    </a:lnTo>
                    <a:lnTo>
                      <a:pt x="158895" y="45281"/>
                    </a:lnTo>
                    <a:lnTo>
                      <a:pt x="162957" y="42948"/>
                    </a:lnTo>
                    <a:lnTo>
                      <a:pt x="165289" y="33206"/>
                    </a:lnTo>
                    <a:lnTo>
                      <a:pt x="167978" y="29556"/>
                    </a:lnTo>
                    <a:lnTo>
                      <a:pt x="167978" y="25742"/>
                    </a:lnTo>
                    <a:cubicBezTo>
                      <a:pt x="167978" y="25742"/>
                      <a:pt x="162764" y="14956"/>
                      <a:pt x="162764" y="14956"/>
                    </a:cubicBezTo>
                    <a:lnTo>
                      <a:pt x="163368" y="14188"/>
                    </a:lnTo>
                    <a:lnTo>
                      <a:pt x="167320" y="15286"/>
                    </a:lnTo>
                    <a:lnTo>
                      <a:pt x="169159" y="11471"/>
                    </a:lnTo>
                    <a:lnTo>
                      <a:pt x="173714" y="8617"/>
                    </a:lnTo>
                    <a:lnTo>
                      <a:pt x="175251" y="2909"/>
                    </a:lnTo>
                    <a:lnTo>
                      <a:pt x="175004" y="1701"/>
                    </a:lnTo>
                    <a:lnTo>
                      <a:pt x="176842" y="0"/>
                    </a:lnTo>
                    <a:lnTo>
                      <a:pt x="179230" y="2909"/>
                    </a:lnTo>
                    <a:lnTo>
                      <a:pt x="180465" y="6065"/>
                    </a:lnTo>
                    <a:lnTo>
                      <a:pt x="177337" y="7629"/>
                    </a:lnTo>
                    <a:lnTo>
                      <a:pt x="185268" y="128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3" name="Freeform: Shape 4182">
                <a:extLst>
                  <a:ext uri="{FF2B5EF4-FFF2-40B4-BE49-F238E27FC236}">
                    <a16:creationId xmlns:a16="http://schemas.microsoft.com/office/drawing/2014/main" id="{06B40FB8-5683-3AA6-343F-419C760BA8BB}"/>
                  </a:ext>
                </a:extLst>
              </p:cNvPr>
              <p:cNvSpPr/>
              <p:nvPr/>
            </p:nvSpPr>
            <p:spPr>
              <a:xfrm>
                <a:off x="1513142" y="3885325"/>
                <a:ext cx="675" cy="1007"/>
              </a:xfrm>
              <a:custGeom>
                <a:avLst/>
                <a:gdLst>
                  <a:gd name="connsiteX0" fmla="*/ 4062 w 6476"/>
                  <a:gd name="connsiteY0" fmla="*/ 0 h 9659"/>
                  <a:gd name="connsiteX1" fmla="*/ 6477 w 6476"/>
                  <a:gd name="connsiteY1" fmla="*/ 9166 h 9659"/>
                  <a:gd name="connsiteX2" fmla="*/ 5214 w 6476"/>
                  <a:gd name="connsiteY2" fmla="*/ 9660 h 9659"/>
                  <a:gd name="connsiteX3" fmla="*/ 4226 w 6476"/>
                  <a:gd name="connsiteY3" fmla="*/ 6531 h 9659"/>
                  <a:gd name="connsiteX4" fmla="*/ 906 w 6476"/>
                  <a:gd name="connsiteY4" fmla="*/ 5626 h 9659"/>
                  <a:gd name="connsiteX5" fmla="*/ 0 w 6476"/>
                  <a:gd name="connsiteY5" fmla="*/ 2827 h 9659"/>
                  <a:gd name="connsiteX6" fmla="*/ 357 w 6476"/>
                  <a:gd name="connsiteY6" fmla="*/ 1564 h 9659"/>
                  <a:gd name="connsiteX7" fmla="*/ 2333 w 6476"/>
                  <a:gd name="connsiteY7" fmla="*/ 1756 h 9659"/>
                  <a:gd name="connsiteX8" fmla="*/ 4089 w 6476"/>
                  <a:gd name="connsiteY8" fmla="*/ 27 h 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6" h="9659">
                    <a:moveTo>
                      <a:pt x="4062" y="0"/>
                    </a:moveTo>
                    <a:lnTo>
                      <a:pt x="6477" y="9166"/>
                    </a:lnTo>
                    <a:lnTo>
                      <a:pt x="5214" y="9660"/>
                    </a:lnTo>
                    <a:lnTo>
                      <a:pt x="4226" y="6531"/>
                    </a:lnTo>
                    <a:lnTo>
                      <a:pt x="906" y="5626"/>
                    </a:lnTo>
                    <a:lnTo>
                      <a:pt x="0" y="2827"/>
                    </a:lnTo>
                    <a:lnTo>
                      <a:pt x="357" y="1564"/>
                    </a:lnTo>
                    <a:lnTo>
                      <a:pt x="2333" y="1756"/>
                    </a:lnTo>
                    <a:lnTo>
                      <a:pt x="4089"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4" name="Freeform: Shape 4183">
                <a:extLst>
                  <a:ext uri="{FF2B5EF4-FFF2-40B4-BE49-F238E27FC236}">
                    <a16:creationId xmlns:a16="http://schemas.microsoft.com/office/drawing/2014/main" id="{54AF64AB-28AA-8D2A-F876-EB4E8C525B2D}"/>
                  </a:ext>
                </a:extLst>
              </p:cNvPr>
              <p:cNvSpPr/>
              <p:nvPr/>
            </p:nvSpPr>
            <p:spPr>
              <a:xfrm>
                <a:off x="1518309" y="3896766"/>
                <a:ext cx="378" cy="610"/>
              </a:xfrm>
              <a:custGeom>
                <a:avLst/>
                <a:gdLst>
                  <a:gd name="connsiteX0" fmla="*/ 3623 w 3622"/>
                  <a:gd name="connsiteY0" fmla="*/ 576 h 5845"/>
                  <a:gd name="connsiteX1" fmla="*/ 1015 w 3622"/>
                  <a:gd name="connsiteY1" fmla="*/ 5845 h 5845"/>
                  <a:gd name="connsiteX2" fmla="*/ 0 w 3622"/>
                  <a:gd name="connsiteY2" fmla="*/ 4665 h 5845"/>
                  <a:gd name="connsiteX3" fmla="*/ 2442 w 3622"/>
                  <a:gd name="connsiteY3" fmla="*/ 0 h 5845"/>
                  <a:gd name="connsiteX4" fmla="*/ 3623 w 3622"/>
                  <a:gd name="connsiteY4" fmla="*/ 604 h 5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5845">
                    <a:moveTo>
                      <a:pt x="3623" y="576"/>
                    </a:moveTo>
                    <a:lnTo>
                      <a:pt x="1015" y="5845"/>
                    </a:lnTo>
                    <a:lnTo>
                      <a:pt x="0" y="4665"/>
                    </a:lnTo>
                    <a:lnTo>
                      <a:pt x="2442" y="0"/>
                    </a:lnTo>
                    <a:lnTo>
                      <a:pt x="3623" y="6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5" name="Freeform: Shape 4184">
                <a:extLst>
                  <a:ext uri="{FF2B5EF4-FFF2-40B4-BE49-F238E27FC236}">
                    <a16:creationId xmlns:a16="http://schemas.microsoft.com/office/drawing/2014/main" id="{AF6ECD22-A2F9-31B0-9FC1-32FB0AB5B1B6}"/>
                  </a:ext>
                </a:extLst>
              </p:cNvPr>
              <p:cNvSpPr/>
              <p:nvPr/>
            </p:nvSpPr>
            <p:spPr>
              <a:xfrm>
                <a:off x="1327852" y="3765216"/>
                <a:ext cx="50557" cy="47850"/>
              </a:xfrm>
              <a:custGeom>
                <a:avLst/>
                <a:gdLst>
                  <a:gd name="connsiteX0" fmla="*/ 484725 w 484725"/>
                  <a:gd name="connsiteY0" fmla="*/ 186036 h 458764"/>
                  <a:gd name="connsiteX1" fmla="*/ 484314 w 484725"/>
                  <a:gd name="connsiteY1" fmla="*/ 248881 h 458764"/>
                  <a:gd name="connsiteX2" fmla="*/ 480417 w 484725"/>
                  <a:gd name="connsiteY2" fmla="*/ 256976 h 458764"/>
                  <a:gd name="connsiteX3" fmla="*/ 479182 w 484725"/>
                  <a:gd name="connsiteY3" fmla="*/ 273771 h 458764"/>
                  <a:gd name="connsiteX4" fmla="*/ 474462 w 484725"/>
                  <a:gd name="connsiteY4" fmla="*/ 288728 h 458764"/>
                  <a:gd name="connsiteX5" fmla="*/ 464912 w 484725"/>
                  <a:gd name="connsiteY5" fmla="*/ 299815 h 458764"/>
                  <a:gd name="connsiteX6" fmla="*/ 461316 w 484725"/>
                  <a:gd name="connsiteY6" fmla="*/ 302202 h 458764"/>
                  <a:gd name="connsiteX7" fmla="*/ 435602 w 484725"/>
                  <a:gd name="connsiteY7" fmla="*/ 302422 h 458764"/>
                  <a:gd name="connsiteX8" fmla="*/ 402973 w 484725"/>
                  <a:gd name="connsiteY8" fmla="*/ 305249 h 458764"/>
                  <a:gd name="connsiteX9" fmla="*/ 386370 w 484725"/>
                  <a:gd name="connsiteY9" fmla="*/ 313728 h 458764"/>
                  <a:gd name="connsiteX10" fmla="*/ 366693 w 484725"/>
                  <a:gd name="connsiteY10" fmla="*/ 313728 h 458764"/>
                  <a:gd name="connsiteX11" fmla="*/ 339058 w 484725"/>
                  <a:gd name="connsiteY11" fmla="*/ 311560 h 458764"/>
                  <a:gd name="connsiteX12" fmla="*/ 328410 w 484725"/>
                  <a:gd name="connsiteY12" fmla="*/ 319189 h 458764"/>
                  <a:gd name="connsiteX13" fmla="*/ 311450 w 484725"/>
                  <a:gd name="connsiteY13" fmla="*/ 327779 h 458764"/>
                  <a:gd name="connsiteX14" fmla="*/ 303108 w 484725"/>
                  <a:gd name="connsiteY14" fmla="*/ 329673 h 458764"/>
                  <a:gd name="connsiteX15" fmla="*/ 301104 w 484725"/>
                  <a:gd name="connsiteY15" fmla="*/ 336561 h 458764"/>
                  <a:gd name="connsiteX16" fmla="*/ 298387 w 484725"/>
                  <a:gd name="connsiteY16" fmla="*/ 338454 h 458764"/>
                  <a:gd name="connsiteX17" fmla="*/ 287465 w 484725"/>
                  <a:gd name="connsiteY17" fmla="*/ 335107 h 458764"/>
                  <a:gd name="connsiteX18" fmla="*/ 286038 w 484725"/>
                  <a:gd name="connsiteY18" fmla="*/ 336067 h 458764"/>
                  <a:gd name="connsiteX19" fmla="*/ 283980 w 484725"/>
                  <a:gd name="connsiteY19" fmla="*/ 337412 h 458764"/>
                  <a:gd name="connsiteX20" fmla="*/ 277366 w 484725"/>
                  <a:gd name="connsiteY20" fmla="*/ 341720 h 458764"/>
                  <a:gd name="connsiteX21" fmla="*/ 274814 w 484725"/>
                  <a:gd name="connsiteY21" fmla="*/ 354097 h 458764"/>
                  <a:gd name="connsiteX22" fmla="*/ 264084 w 484725"/>
                  <a:gd name="connsiteY22" fmla="*/ 352917 h 458764"/>
                  <a:gd name="connsiteX23" fmla="*/ 263892 w 484725"/>
                  <a:gd name="connsiteY23" fmla="*/ 364882 h 458764"/>
                  <a:gd name="connsiteX24" fmla="*/ 259583 w 484725"/>
                  <a:gd name="connsiteY24" fmla="*/ 366556 h 458764"/>
                  <a:gd name="connsiteX25" fmla="*/ 258238 w 484725"/>
                  <a:gd name="connsiteY25" fmla="*/ 368806 h 458764"/>
                  <a:gd name="connsiteX26" fmla="*/ 244572 w 484725"/>
                  <a:gd name="connsiteY26" fmla="*/ 362467 h 458764"/>
                  <a:gd name="connsiteX27" fmla="*/ 243227 w 484725"/>
                  <a:gd name="connsiteY27" fmla="*/ 360134 h 458764"/>
                  <a:gd name="connsiteX28" fmla="*/ 240977 w 484725"/>
                  <a:gd name="connsiteY28" fmla="*/ 361232 h 458764"/>
                  <a:gd name="connsiteX29" fmla="*/ 232799 w 484725"/>
                  <a:gd name="connsiteY29" fmla="*/ 369740 h 458764"/>
                  <a:gd name="connsiteX30" fmla="*/ 235488 w 484725"/>
                  <a:gd name="connsiteY30" fmla="*/ 380140 h 458764"/>
                  <a:gd name="connsiteX31" fmla="*/ 233869 w 484725"/>
                  <a:gd name="connsiteY31" fmla="*/ 382500 h 458764"/>
                  <a:gd name="connsiteX32" fmla="*/ 228435 w 484725"/>
                  <a:gd name="connsiteY32" fmla="*/ 383104 h 458764"/>
                  <a:gd name="connsiteX33" fmla="*/ 230054 w 484725"/>
                  <a:gd name="connsiteY33" fmla="*/ 386589 h 458764"/>
                  <a:gd name="connsiteX34" fmla="*/ 229012 w 484725"/>
                  <a:gd name="connsiteY34" fmla="*/ 393697 h 458764"/>
                  <a:gd name="connsiteX35" fmla="*/ 223797 w 484725"/>
                  <a:gd name="connsiteY35" fmla="*/ 401601 h 458764"/>
                  <a:gd name="connsiteX36" fmla="*/ 220751 w 484725"/>
                  <a:gd name="connsiteY36" fmla="*/ 403851 h 458764"/>
                  <a:gd name="connsiteX37" fmla="*/ 209445 w 484725"/>
                  <a:gd name="connsiteY37" fmla="*/ 405388 h 458764"/>
                  <a:gd name="connsiteX38" fmla="*/ 203490 w 484725"/>
                  <a:gd name="connsiteY38" fmla="*/ 409916 h 458764"/>
                  <a:gd name="connsiteX39" fmla="*/ 206893 w 484725"/>
                  <a:gd name="connsiteY39" fmla="*/ 420372 h 458764"/>
                  <a:gd name="connsiteX40" fmla="*/ 204533 w 484725"/>
                  <a:gd name="connsiteY40" fmla="*/ 427040 h 458764"/>
                  <a:gd name="connsiteX41" fmla="*/ 198577 w 484725"/>
                  <a:gd name="connsiteY41" fmla="*/ 432886 h 458764"/>
                  <a:gd name="connsiteX42" fmla="*/ 200087 w 484725"/>
                  <a:gd name="connsiteY42" fmla="*/ 438704 h 458764"/>
                  <a:gd name="connsiteX43" fmla="*/ 197672 w 484725"/>
                  <a:gd name="connsiteY43" fmla="*/ 451135 h 458764"/>
                  <a:gd name="connsiteX44" fmla="*/ 190262 w 484725"/>
                  <a:gd name="connsiteY44" fmla="*/ 451053 h 458764"/>
                  <a:gd name="connsiteX45" fmla="*/ 182962 w 484725"/>
                  <a:gd name="connsiteY45" fmla="*/ 457584 h 458764"/>
                  <a:gd name="connsiteX46" fmla="*/ 179367 w 484725"/>
                  <a:gd name="connsiteY46" fmla="*/ 457584 h 458764"/>
                  <a:gd name="connsiteX47" fmla="*/ 177227 w 484725"/>
                  <a:gd name="connsiteY47" fmla="*/ 455773 h 458764"/>
                  <a:gd name="connsiteX48" fmla="*/ 178379 w 484725"/>
                  <a:gd name="connsiteY48" fmla="*/ 450422 h 458764"/>
                  <a:gd name="connsiteX49" fmla="*/ 175827 w 484725"/>
                  <a:gd name="connsiteY49" fmla="*/ 442655 h 458764"/>
                  <a:gd name="connsiteX50" fmla="*/ 171820 w 484725"/>
                  <a:gd name="connsiteY50" fmla="*/ 443506 h 458764"/>
                  <a:gd name="connsiteX51" fmla="*/ 170037 w 484725"/>
                  <a:gd name="connsiteY51" fmla="*/ 446744 h 458764"/>
                  <a:gd name="connsiteX52" fmla="*/ 164411 w 484725"/>
                  <a:gd name="connsiteY52" fmla="*/ 444823 h 458764"/>
                  <a:gd name="connsiteX53" fmla="*/ 164054 w 484725"/>
                  <a:gd name="connsiteY53" fmla="*/ 452233 h 458764"/>
                  <a:gd name="connsiteX54" fmla="*/ 155519 w 484725"/>
                  <a:gd name="connsiteY54" fmla="*/ 453578 h 458764"/>
                  <a:gd name="connsiteX55" fmla="*/ 153104 w 484725"/>
                  <a:gd name="connsiteY55" fmla="*/ 458490 h 458764"/>
                  <a:gd name="connsiteX56" fmla="*/ 143636 w 484725"/>
                  <a:gd name="connsiteY56" fmla="*/ 455581 h 458764"/>
                  <a:gd name="connsiteX57" fmla="*/ 140151 w 484725"/>
                  <a:gd name="connsiteY57" fmla="*/ 450230 h 458764"/>
                  <a:gd name="connsiteX58" fmla="*/ 132906 w 484725"/>
                  <a:gd name="connsiteY58" fmla="*/ 451245 h 458764"/>
                  <a:gd name="connsiteX59" fmla="*/ 129723 w 484725"/>
                  <a:gd name="connsiteY59" fmla="*/ 456871 h 458764"/>
                  <a:gd name="connsiteX60" fmla="*/ 125332 w 484725"/>
                  <a:gd name="connsiteY60" fmla="*/ 458764 h 458764"/>
                  <a:gd name="connsiteX61" fmla="*/ 125332 w 484725"/>
                  <a:gd name="connsiteY61" fmla="*/ 454840 h 458764"/>
                  <a:gd name="connsiteX62" fmla="*/ 118197 w 484725"/>
                  <a:gd name="connsiteY62" fmla="*/ 451190 h 458764"/>
                  <a:gd name="connsiteX63" fmla="*/ 116880 w 484725"/>
                  <a:gd name="connsiteY63" fmla="*/ 448912 h 458764"/>
                  <a:gd name="connsiteX64" fmla="*/ 115590 w 484725"/>
                  <a:gd name="connsiteY64" fmla="*/ 433791 h 458764"/>
                  <a:gd name="connsiteX65" fmla="*/ 112159 w 484725"/>
                  <a:gd name="connsiteY65" fmla="*/ 432035 h 458764"/>
                  <a:gd name="connsiteX66" fmla="*/ 108702 w 484725"/>
                  <a:gd name="connsiteY66" fmla="*/ 434917 h 458764"/>
                  <a:gd name="connsiteX67" fmla="*/ 105244 w 484725"/>
                  <a:gd name="connsiteY67" fmla="*/ 434752 h 458764"/>
                  <a:gd name="connsiteX68" fmla="*/ 107851 w 484725"/>
                  <a:gd name="connsiteY68" fmla="*/ 428769 h 458764"/>
                  <a:gd name="connsiteX69" fmla="*/ 113092 w 484725"/>
                  <a:gd name="connsiteY69" fmla="*/ 424571 h 458764"/>
                  <a:gd name="connsiteX70" fmla="*/ 106177 w 484725"/>
                  <a:gd name="connsiteY70" fmla="*/ 419494 h 458764"/>
                  <a:gd name="connsiteX71" fmla="*/ 104311 w 484725"/>
                  <a:gd name="connsiteY71" fmla="*/ 415707 h 458764"/>
                  <a:gd name="connsiteX72" fmla="*/ 100112 w 484725"/>
                  <a:gd name="connsiteY72" fmla="*/ 414883 h 458764"/>
                  <a:gd name="connsiteX73" fmla="*/ 100935 w 484725"/>
                  <a:gd name="connsiteY73" fmla="*/ 405360 h 458764"/>
                  <a:gd name="connsiteX74" fmla="*/ 93718 w 484725"/>
                  <a:gd name="connsiteY74" fmla="*/ 391172 h 458764"/>
                  <a:gd name="connsiteX75" fmla="*/ 85265 w 484725"/>
                  <a:gd name="connsiteY75" fmla="*/ 389498 h 458764"/>
                  <a:gd name="connsiteX76" fmla="*/ 85265 w 484725"/>
                  <a:gd name="connsiteY76" fmla="*/ 396085 h 458764"/>
                  <a:gd name="connsiteX77" fmla="*/ 76895 w 484725"/>
                  <a:gd name="connsiteY77" fmla="*/ 399103 h 458764"/>
                  <a:gd name="connsiteX78" fmla="*/ 74178 w 484725"/>
                  <a:gd name="connsiteY78" fmla="*/ 402945 h 458764"/>
                  <a:gd name="connsiteX79" fmla="*/ 57850 w 484725"/>
                  <a:gd name="connsiteY79" fmla="*/ 397923 h 458764"/>
                  <a:gd name="connsiteX80" fmla="*/ 51428 w 484725"/>
                  <a:gd name="connsiteY80" fmla="*/ 400860 h 458764"/>
                  <a:gd name="connsiteX81" fmla="*/ 45748 w 484725"/>
                  <a:gd name="connsiteY81" fmla="*/ 406513 h 458764"/>
                  <a:gd name="connsiteX82" fmla="*/ 41768 w 484725"/>
                  <a:gd name="connsiteY82" fmla="*/ 400201 h 458764"/>
                  <a:gd name="connsiteX83" fmla="*/ 37817 w 484725"/>
                  <a:gd name="connsiteY83" fmla="*/ 397539 h 458764"/>
                  <a:gd name="connsiteX84" fmla="*/ 35347 w 484725"/>
                  <a:gd name="connsiteY84" fmla="*/ 397951 h 458764"/>
                  <a:gd name="connsiteX85" fmla="*/ 30791 w 484725"/>
                  <a:gd name="connsiteY85" fmla="*/ 403439 h 458764"/>
                  <a:gd name="connsiteX86" fmla="*/ 27086 w 484725"/>
                  <a:gd name="connsiteY86" fmla="*/ 403082 h 458764"/>
                  <a:gd name="connsiteX87" fmla="*/ 22311 w 484725"/>
                  <a:gd name="connsiteY87" fmla="*/ 398280 h 458764"/>
                  <a:gd name="connsiteX88" fmla="*/ 25330 w 484725"/>
                  <a:gd name="connsiteY88" fmla="*/ 391639 h 458764"/>
                  <a:gd name="connsiteX89" fmla="*/ 25330 w 484725"/>
                  <a:gd name="connsiteY89" fmla="*/ 388757 h 458764"/>
                  <a:gd name="connsiteX90" fmla="*/ 23930 w 484725"/>
                  <a:gd name="connsiteY90" fmla="*/ 384229 h 458764"/>
                  <a:gd name="connsiteX91" fmla="*/ 25138 w 484725"/>
                  <a:gd name="connsiteY91" fmla="*/ 380881 h 458764"/>
                  <a:gd name="connsiteX92" fmla="*/ 24259 w 484725"/>
                  <a:gd name="connsiteY92" fmla="*/ 373389 h 458764"/>
                  <a:gd name="connsiteX93" fmla="*/ 20610 w 484725"/>
                  <a:gd name="connsiteY93" fmla="*/ 366144 h 458764"/>
                  <a:gd name="connsiteX94" fmla="*/ 16932 w 484725"/>
                  <a:gd name="connsiteY94" fmla="*/ 362000 h 458764"/>
                  <a:gd name="connsiteX95" fmla="*/ 11938 w 484725"/>
                  <a:gd name="connsiteY95" fmla="*/ 363537 h 458764"/>
                  <a:gd name="connsiteX96" fmla="*/ 5681 w 484725"/>
                  <a:gd name="connsiteY96" fmla="*/ 354069 h 458764"/>
                  <a:gd name="connsiteX97" fmla="*/ 8782 w 484725"/>
                  <a:gd name="connsiteY97" fmla="*/ 346770 h 458764"/>
                  <a:gd name="connsiteX98" fmla="*/ 6943 w 484725"/>
                  <a:gd name="connsiteY98" fmla="*/ 343312 h 458764"/>
                  <a:gd name="connsiteX99" fmla="*/ 6477 w 484725"/>
                  <a:gd name="connsiteY99" fmla="*/ 336039 h 458764"/>
                  <a:gd name="connsiteX100" fmla="*/ 1207 w 484725"/>
                  <a:gd name="connsiteY100" fmla="*/ 330523 h 458764"/>
                  <a:gd name="connsiteX101" fmla="*/ 2250 w 484725"/>
                  <a:gd name="connsiteY101" fmla="*/ 324129 h 458764"/>
                  <a:gd name="connsiteX102" fmla="*/ 0 w 484725"/>
                  <a:gd name="connsiteY102" fmla="*/ 320671 h 458764"/>
                  <a:gd name="connsiteX103" fmla="*/ 5296 w 484725"/>
                  <a:gd name="connsiteY103" fmla="*/ 320973 h 458764"/>
                  <a:gd name="connsiteX104" fmla="*/ 11416 w 484725"/>
                  <a:gd name="connsiteY104" fmla="*/ 316939 h 458764"/>
                  <a:gd name="connsiteX105" fmla="*/ 12157 w 484725"/>
                  <a:gd name="connsiteY105" fmla="*/ 307938 h 458764"/>
                  <a:gd name="connsiteX106" fmla="*/ 15313 w 484725"/>
                  <a:gd name="connsiteY106" fmla="*/ 298690 h 458764"/>
                  <a:gd name="connsiteX107" fmla="*/ 22503 w 484725"/>
                  <a:gd name="connsiteY107" fmla="*/ 294381 h 458764"/>
                  <a:gd name="connsiteX108" fmla="*/ 39051 w 484725"/>
                  <a:gd name="connsiteY108" fmla="*/ 309090 h 458764"/>
                  <a:gd name="connsiteX109" fmla="*/ 45912 w 484725"/>
                  <a:gd name="connsiteY109" fmla="*/ 300583 h 458764"/>
                  <a:gd name="connsiteX110" fmla="*/ 72641 w 484725"/>
                  <a:gd name="connsiteY110" fmla="*/ 301928 h 458764"/>
                  <a:gd name="connsiteX111" fmla="*/ 81753 w 484725"/>
                  <a:gd name="connsiteY111" fmla="*/ 299815 h 458764"/>
                  <a:gd name="connsiteX112" fmla="*/ 84908 w 484725"/>
                  <a:gd name="connsiteY112" fmla="*/ 293612 h 458764"/>
                  <a:gd name="connsiteX113" fmla="*/ 87077 w 484725"/>
                  <a:gd name="connsiteY113" fmla="*/ 297592 h 458764"/>
                  <a:gd name="connsiteX114" fmla="*/ 89135 w 484725"/>
                  <a:gd name="connsiteY114" fmla="*/ 298195 h 458764"/>
                  <a:gd name="connsiteX115" fmla="*/ 193747 w 484725"/>
                  <a:gd name="connsiteY115" fmla="*/ 298113 h 458764"/>
                  <a:gd name="connsiteX116" fmla="*/ 197946 w 484725"/>
                  <a:gd name="connsiteY116" fmla="*/ 296192 h 458764"/>
                  <a:gd name="connsiteX117" fmla="*/ 202556 w 484725"/>
                  <a:gd name="connsiteY117" fmla="*/ 274238 h 458764"/>
                  <a:gd name="connsiteX118" fmla="*/ 194735 w 484725"/>
                  <a:gd name="connsiteY118" fmla="*/ 263755 h 458764"/>
                  <a:gd name="connsiteX119" fmla="*/ 167375 w 484725"/>
                  <a:gd name="connsiteY119" fmla="*/ 2168 h 458764"/>
                  <a:gd name="connsiteX120" fmla="*/ 169159 w 484725"/>
                  <a:gd name="connsiteY120" fmla="*/ 796 h 458764"/>
                  <a:gd name="connsiteX121" fmla="*/ 217760 w 484725"/>
                  <a:gd name="connsiteY121" fmla="*/ 0 h 458764"/>
                  <a:gd name="connsiteX122" fmla="*/ 283897 w 484725"/>
                  <a:gd name="connsiteY122" fmla="*/ 46955 h 458764"/>
                  <a:gd name="connsiteX123" fmla="*/ 285956 w 484725"/>
                  <a:gd name="connsiteY123" fmla="*/ 48409 h 458764"/>
                  <a:gd name="connsiteX124" fmla="*/ 298305 w 484725"/>
                  <a:gd name="connsiteY124" fmla="*/ 57109 h 458764"/>
                  <a:gd name="connsiteX125" fmla="*/ 326818 w 484725"/>
                  <a:gd name="connsiteY125" fmla="*/ 77115 h 458764"/>
                  <a:gd name="connsiteX126" fmla="*/ 367626 w 484725"/>
                  <a:gd name="connsiteY126" fmla="*/ 105628 h 458764"/>
                  <a:gd name="connsiteX127" fmla="*/ 392160 w 484725"/>
                  <a:gd name="connsiteY127" fmla="*/ 123933 h 458764"/>
                  <a:gd name="connsiteX128" fmla="*/ 395646 w 484725"/>
                  <a:gd name="connsiteY128" fmla="*/ 135596 h 458764"/>
                  <a:gd name="connsiteX129" fmla="*/ 406293 w 484725"/>
                  <a:gd name="connsiteY129" fmla="*/ 141002 h 458764"/>
                  <a:gd name="connsiteX130" fmla="*/ 413401 w 484725"/>
                  <a:gd name="connsiteY130" fmla="*/ 149427 h 458764"/>
                  <a:gd name="connsiteX131" fmla="*/ 425339 w 484725"/>
                  <a:gd name="connsiteY131" fmla="*/ 150772 h 458764"/>
                  <a:gd name="connsiteX132" fmla="*/ 430635 w 484725"/>
                  <a:gd name="connsiteY132" fmla="*/ 156809 h 458764"/>
                  <a:gd name="connsiteX133" fmla="*/ 439581 w 484725"/>
                  <a:gd name="connsiteY133" fmla="*/ 157907 h 458764"/>
                  <a:gd name="connsiteX134" fmla="*/ 454071 w 484725"/>
                  <a:gd name="connsiteY134" fmla="*/ 164411 h 458764"/>
                  <a:gd name="connsiteX135" fmla="*/ 455444 w 484725"/>
                  <a:gd name="connsiteY135" fmla="*/ 175059 h 458764"/>
                  <a:gd name="connsiteX136" fmla="*/ 452837 w 484725"/>
                  <a:gd name="connsiteY136" fmla="*/ 185323 h 458764"/>
                  <a:gd name="connsiteX137" fmla="*/ 457584 w 484725"/>
                  <a:gd name="connsiteY137" fmla="*/ 190235 h 458764"/>
                  <a:gd name="connsiteX138" fmla="*/ 484698 w 484725"/>
                  <a:gd name="connsiteY138" fmla="*/ 186064 h 45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484725" h="458764">
                    <a:moveTo>
                      <a:pt x="484725" y="186036"/>
                    </a:moveTo>
                    <a:lnTo>
                      <a:pt x="484314" y="248881"/>
                    </a:lnTo>
                    <a:lnTo>
                      <a:pt x="480417" y="256976"/>
                    </a:lnTo>
                    <a:lnTo>
                      <a:pt x="479182" y="273771"/>
                    </a:lnTo>
                    <a:lnTo>
                      <a:pt x="474462" y="288728"/>
                    </a:lnTo>
                    <a:lnTo>
                      <a:pt x="464912" y="299815"/>
                    </a:lnTo>
                    <a:lnTo>
                      <a:pt x="461316" y="302202"/>
                    </a:lnTo>
                    <a:lnTo>
                      <a:pt x="435602" y="302422"/>
                    </a:lnTo>
                    <a:lnTo>
                      <a:pt x="402973" y="305249"/>
                    </a:lnTo>
                    <a:lnTo>
                      <a:pt x="386370" y="313728"/>
                    </a:lnTo>
                    <a:lnTo>
                      <a:pt x="366693" y="313728"/>
                    </a:lnTo>
                    <a:lnTo>
                      <a:pt x="339058" y="311560"/>
                    </a:lnTo>
                    <a:lnTo>
                      <a:pt x="328410" y="319189"/>
                    </a:lnTo>
                    <a:lnTo>
                      <a:pt x="311450" y="327779"/>
                    </a:lnTo>
                    <a:lnTo>
                      <a:pt x="303108" y="329673"/>
                    </a:lnTo>
                    <a:lnTo>
                      <a:pt x="301104" y="336561"/>
                    </a:lnTo>
                    <a:lnTo>
                      <a:pt x="298387" y="338454"/>
                    </a:lnTo>
                    <a:lnTo>
                      <a:pt x="287465" y="335107"/>
                    </a:lnTo>
                    <a:lnTo>
                      <a:pt x="286038" y="336067"/>
                    </a:lnTo>
                    <a:lnTo>
                      <a:pt x="283980" y="337412"/>
                    </a:lnTo>
                    <a:lnTo>
                      <a:pt x="277366" y="341720"/>
                    </a:lnTo>
                    <a:lnTo>
                      <a:pt x="274814" y="354097"/>
                    </a:lnTo>
                    <a:lnTo>
                      <a:pt x="264084" y="352917"/>
                    </a:lnTo>
                    <a:lnTo>
                      <a:pt x="263892" y="364882"/>
                    </a:lnTo>
                    <a:lnTo>
                      <a:pt x="259583" y="366556"/>
                    </a:lnTo>
                    <a:lnTo>
                      <a:pt x="258238" y="368806"/>
                    </a:lnTo>
                    <a:lnTo>
                      <a:pt x="244572" y="362467"/>
                    </a:lnTo>
                    <a:lnTo>
                      <a:pt x="243227" y="360134"/>
                    </a:lnTo>
                    <a:lnTo>
                      <a:pt x="240977" y="361232"/>
                    </a:lnTo>
                    <a:lnTo>
                      <a:pt x="232799" y="369740"/>
                    </a:lnTo>
                    <a:lnTo>
                      <a:pt x="235488" y="380140"/>
                    </a:lnTo>
                    <a:lnTo>
                      <a:pt x="233869" y="382500"/>
                    </a:lnTo>
                    <a:lnTo>
                      <a:pt x="228435" y="383104"/>
                    </a:lnTo>
                    <a:lnTo>
                      <a:pt x="230054" y="386589"/>
                    </a:lnTo>
                    <a:lnTo>
                      <a:pt x="229012" y="393697"/>
                    </a:lnTo>
                    <a:lnTo>
                      <a:pt x="223797" y="401601"/>
                    </a:lnTo>
                    <a:lnTo>
                      <a:pt x="220751" y="403851"/>
                    </a:lnTo>
                    <a:lnTo>
                      <a:pt x="209445" y="405388"/>
                    </a:lnTo>
                    <a:lnTo>
                      <a:pt x="203490" y="409916"/>
                    </a:lnTo>
                    <a:lnTo>
                      <a:pt x="206893" y="420372"/>
                    </a:lnTo>
                    <a:lnTo>
                      <a:pt x="204533" y="427040"/>
                    </a:lnTo>
                    <a:lnTo>
                      <a:pt x="198577" y="432886"/>
                    </a:lnTo>
                    <a:lnTo>
                      <a:pt x="200087" y="438704"/>
                    </a:lnTo>
                    <a:lnTo>
                      <a:pt x="197672" y="451135"/>
                    </a:lnTo>
                    <a:lnTo>
                      <a:pt x="190262" y="451053"/>
                    </a:lnTo>
                    <a:lnTo>
                      <a:pt x="182962" y="457584"/>
                    </a:lnTo>
                    <a:lnTo>
                      <a:pt x="179367" y="457584"/>
                    </a:lnTo>
                    <a:cubicBezTo>
                      <a:pt x="179367" y="457584"/>
                      <a:pt x="177227" y="455773"/>
                      <a:pt x="177227" y="455773"/>
                    </a:cubicBezTo>
                    <a:lnTo>
                      <a:pt x="178379" y="450422"/>
                    </a:lnTo>
                    <a:lnTo>
                      <a:pt x="175827" y="442655"/>
                    </a:lnTo>
                    <a:lnTo>
                      <a:pt x="171820" y="443506"/>
                    </a:lnTo>
                    <a:lnTo>
                      <a:pt x="170037" y="446744"/>
                    </a:lnTo>
                    <a:lnTo>
                      <a:pt x="164411" y="444823"/>
                    </a:lnTo>
                    <a:lnTo>
                      <a:pt x="164054" y="452233"/>
                    </a:lnTo>
                    <a:lnTo>
                      <a:pt x="155519" y="453578"/>
                    </a:lnTo>
                    <a:lnTo>
                      <a:pt x="153104" y="458490"/>
                    </a:lnTo>
                    <a:lnTo>
                      <a:pt x="143636" y="455581"/>
                    </a:lnTo>
                    <a:lnTo>
                      <a:pt x="140151" y="450230"/>
                    </a:lnTo>
                    <a:lnTo>
                      <a:pt x="132906" y="451245"/>
                    </a:lnTo>
                    <a:lnTo>
                      <a:pt x="129723" y="456871"/>
                    </a:lnTo>
                    <a:lnTo>
                      <a:pt x="125332" y="458764"/>
                    </a:lnTo>
                    <a:lnTo>
                      <a:pt x="125332" y="454840"/>
                    </a:lnTo>
                    <a:cubicBezTo>
                      <a:pt x="125332" y="454840"/>
                      <a:pt x="118197" y="451190"/>
                      <a:pt x="118197" y="451190"/>
                    </a:cubicBezTo>
                    <a:lnTo>
                      <a:pt x="116880" y="448912"/>
                    </a:lnTo>
                    <a:lnTo>
                      <a:pt x="115590" y="433791"/>
                    </a:lnTo>
                    <a:lnTo>
                      <a:pt x="112159" y="432035"/>
                    </a:lnTo>
                    <a:lnTo>
                      <a:pt x="108702" y="434917"/>
                    </a:lnTo>
                    <a:lnTo>
                      <a:pt x="105244" y="434752"/>
                    </a:lnTo>
                    <a:lnTo>
                      <a:pt x="107851" y="428769"/>
                    </a:lnTo>
                    <a:lnTo>
                      <a:pt x="113092" y="424571"/>
                    </a:lnTo>
                    <a:lnTo>
                      <a:pt x="106177" y="419494"/>
                    </a:lnTo>
                    <a:lnTo>
                      <a:pt x="104311" y="415707"/>
                    </a:lnTo>
                    <a:lnTo>
                      <a:pt x="100112" y="414883"/>
                    </a:lnTo>
                    <a:lnTo>
                      <a:pt x="100935" y="405360"/>
                    </a:lnTo>
                    <a:lnTo>
                      <a:pt x="93718" y="391172"/>
                    </a:lnTo>
                    <a:lnTo>
                      <a:pt x="85265" y="389498"/>
                    </a:lnTo>
                    <a:lnTo>
                      <a:pt x="85265" y="396085"/>
                    </a:lnTo>
                    <a:cubicBezTo>
                      <a:pt x="85265" y="396085"/>
                      <a:pt x="76895" y="399103"/>
                      <a:pt x="76895" y="399103"/>
                    </a:cubicBezTo>
                    <a:lnTo>
                      <a:pt x="74178" y="402945"/>
                    </a:lnTo>
                    <a:lnTo>
                      <a:pt x="57850" y="397923"/>
                    </a:lnTo>
                    <a:lnTo>
                      <a:pt x="51428" y="400860"/>
                    </a:lnTo>
                    <a:lnTo>
                      <a:pt x="45748" y="406513"/>
                    </a:lnTo>
                    <a:lnTo>
                      <a:pt x="41768" y="400201"/>
                    </a:lnTo>
                    <a:lnTo>
                      <a:pt x="37817" y="397539"/>
                    </a:lnTo>
                    <a:lnTo>
                      <a:pt x="35347" y="397951"/>
                    </a:lnTo>
                    <a:lnTo>
                      <a:pt x="30791" y="403439"/>
                    </a:lnTo>
                    <a:lnTo>
                      <a:pt x="27086" y="403082"/>
                    </a:lnTo>
                    <a:lnTo>
                      <a:pt x="22311" y="398280"/>
                    </a:lnTo>
                    <a:lnTo>
                      <a:pt x="25330" y="391639"/>
                    </a:lnTo>
                    <a:lnTo>
                      <a:pt x="25330" y="388757"/>
                    </a:lnTo>
                    <a:cubicBezTo>
                      <a:pt x="25330" y="388757"/>
                      <a:pt x="23930" y="384229"/>
                      <a:pt x="23930" y="384229"/>
                    </a:cubicBezTo>
                    <a:lnTo>
                      <a:pt x="25138" y="380881"/>
                    </a:lnTo>
                    <a:lnTo>
                      <a:pt x="24259" y="373389"/>
                    </a:lnTo>
                    <a:lnTo>
                      <a:pt x="20610" y="366144"/>
                    </a:lnTo>
                    <a:lnTo>
                      <a:pt x="16932" y="362000"/>
                    </a:lnTo>
                    <a:lnTo>
                      <a:pt x="11938" y="363537"/>
                    </a:lnTo>
                    <a:lnTo>
                      <a:pt x="5681" y="354069"/>
                    </a:lnTo>
                    <a:lnTo>
                      <a:pt x="8782" y="346770"/>
                    </a:lnTo>
                    <a:lnTo>
                      <a:pt x="6943" y="343312"/>
                    </a:lnTo>
                    <a:lnTo>
                      <a:pt x="6477" y="336039"/>
                    </a:lnTo>
                    <a:lnTo>
                      <a:pt x="1207" y="330523"/>
                    </a:lnTo>
                    <a:lnTo>
                      <a:pt x="2250" y="324129"/>
                    </a:lnTo>
                    <a:lnTo>
                      <a:pt x="0" y="320671"/>
                    </a:lnTo>
                    <a:lnTo>
                      <a:pt x="5296" y="320973"/>
                    </a:lnTo>
                    <a:lnTo>
                      <a:pt x="11416" y="316939"/>
                    </a:lnTo>
                    <a:lnTo>
                      <a:pt x="12157" y="307938"/>
                    </a:lnTo>
                    <a:lnTo>
                      <a:pt x="15313" y="298690"/>
                    </a:lnTo>
                    <a:lnTo>
                      <a:pt x="22503" y="294381"/>
                    </a:lnTo>
                    <a:lnTo>
                      <a:pt x="39051" y="309090"/>
                    </a:lnTo>
                    <a:lnTo>
                      <a:pt x="45912" y="300583"/>
                    </a:lnTo>
                    <a:lnTo>
                      <a:pt x="72641" y="301928"/>
                    </a:lnTo>
                    <a:lnTo>
                      <a:pt x="81753" y="299815"/>
                    </a:lnTo>
                    <a:lnTo>
                      <a:pt x="84908" y="293612"/>
                    </a:lnTo>
                    <a:lnTo>
                      <a:pt x="87077" y="297592"/>
                    </a:lnTo>
                    <a:lnTo>
                      <a:pt x="89135" y="298195"/>
                    </a:lnTo>
                    <a:lnTo>
                      <a:pt x="193747" y="298113"/>
                    </a:lnTo>
                    <a:lnTo>
                      <a:pt x="197946" y="296192"/>
                    </a:lnTo>
                    <a:lnTo>
                      <a:pt x="202556" y="274238"/>
                    </a:lnTo>
                    <a:lnTo>
                      <a:pt x="194735" y="263755"/>
                    </a:lnTo>
                    <a:lnTo>
                      <a:pt x="167375" y="2168"/>
                    </a:lnTo>
                    <a:lnTo>
                      <a:pt x="169159" y="796"/>
                    </a:lnTo>
                    <a:lnTo>
                      <a:pt x="217760" y="0"/>
                    </a:lnTo>
                    <a:lnTo>
                      <a:pt x="283897" y="46955"/>
                    </a:lnTo>
                    <a:lnTo>
                      <a:pt x="285956" y="48409"/>
                    </a:lnTo>
                    <a:lnTo>
                      <a:pt x="298305" y="57109"/>
                    </a:lnTo>
                    <a:lnTo>
                      <a:pt x="326818" y="77115"/>
                    </a:lnTo>
                    <a:lnTo>
                      <a:pt x="367626" y="105628"/>
                    </a:lnTo>
                    <a:lnTo>
                      <a:pt x="392160" y="123933"/>
                    </a:lnTo>
                    <a:lnTo>
                      <a:pt x="395646" y="135596"/>
                    </a:lnTo>
                    <a:lnTo>
                      <a:pt x="406293" y="141002"/>
                    </a:lnTo>
                    <a:lnTo>
                      <a:pt x="413401" y="149427"/>
                    </a:lnTo>
                    <a:lnTo>
                      <a:pt x="425339" y="150772"/>
                    </a:lnTo>
                    <a:lnTo>
                      <a:pt x="430635" y="156809"/>
                    </a:lnTo>
                    <a:lnTo>
                      <a:pt x="439581" y="157907"/>
                    </a:lnTo>
                    <a:lnTo>
                      <a:pt x="454071" y="164411"/>
                    </a:lnTo>
                    <a:lnTo>
                      <a:pt x="455444" y="175059"/>
                    </a:lnTo>
                    <a:lnTo>
                      <a:pt x="452837" y="185323"/>
                    </a:lnTo>
                    <a:lnTo>
                      <a:pt x="457584" y="190235"/>
                    </a:lnTo>
                    <a:lnTo>
                      <a:pt x="484698" y="1860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6" name="Freeform: Shape 4185">
                <a:extLst>
                  <a:ext uri="{FF2B5EF4-FFF2-40B4-BE49-F238E27FC236}">
                    <a16:creationId xmlns:a16="http://schemas.microsoft.com/office/drawing/2014/main" id="{F1BB5705-7A76-28C8-3B04-0E668741E7A9}"/>
                  </a:ext>
                </a:extLst>
              </p:cNvPr>
              <p:cNvSpPr/>
              <p:nvPr/>
            </p:nvSpPr>
            <p:spPr>
              <a:xfrm>
                <a:off x="1186155" y="3941378"/>
                <a:ext cx="16364" cy="17724"/>
              </a:xfrm>
              <a:custGeom>
                <a:avLst/>
                <a:gdLst>
                  <a:gd name="connsiteX0" fmla="*/ 148549 w 156891"/>
                  <a:gd name="connsiteY0" fmla="*/ 126348 h 169927"/>
                  <a:gd name="connsiteX1" fmla="*/ 134580 w 156891"/>
                  <a:gd name="connsiteY1" fmla="*/ 150525 h 169927"/>
                  <a:gd name="connsiteX2" fmla="*/ 124756 w 156891"/>
                  <a:gd name="connsiteY2" fmla="*/ 158813 h 169927"/>
                  <a:gd name="connsiteX3" fmla="*/ 102225 w 156891"/>
                  <a:gd name="connsiteY3" fmla="*/ 169927 h 169927"/>
                  <a:gd name="connsiteX4" fmla="*/ 89821 w 156891"/>
                  <a:gd name="connsiteY4" fmla="*/ 163972 h 169927"/>
                  <a:gd name="connsiteX5" fmla="*/ 81149 w 156891"/>
                  <a:gd name="connsiteY5" fmla="*/ 162874 h 169927"/>
                  <a:gd name="connsiteX6" fmla="*/ 67263 w 156891"/>
                  <a:gd name="connsiteY6" fmla="*/ 168061 h 169927"/>
                  <a:gd name="connsiteX7" fmla="*/ 64711 w 156891"/>
                  <a:gd name="connsiteY7" fmla="*/ 166579 h 169927"/>
                  <a:gd name="connsiteX8" fmla="*/ 47449 w 156891"/>
                  <a:gd name="connsiteY8" fmla="*/ 159800 h 169927"/>
                  <a:gd name="connsiteX9" fmla="*/ 37377 w 156891"/>
                  <a:gd name="connsiteY9" fmla="*/ 151677 h 169927"/>
                  <a:gd name="connsiteX10" fmla="*/ 17262 w 156891"/>
                  <a:gd name="connsiteY10" fmla="*/ 152007 h 169927"/>
                  <a:gd name="connsiteX11" fmla="*/ 11910 w 156891"/>
                  <a:gd name="connsiteY11" fmla="*/ 144048 h 169927"/>
                  <a:gd name="connsiteX12" fmla="*/ 6724 w 156891"/>
                  <a:gd name="connsiteY12" fmla="*/ 140590 h 169927"/>
                  <a:gd name="connsiteX13" fmla="*/ 165 w 156891"/>
                  <a:gd name="connsiteY13" fmla="*/ 129915 h 169927"/>
                  <a:gd name="connsiteX14" fmla="*/ 0 w 156891"/>
                  <a:gd name="connsiteY14" fmla="*/ 118938 h 169927"/>
                  <a:gd name="connsiteX15" fmla="*/ 2223 w 156891"/>
                  <a:gd name="connsiteY15" fmla="*/ 106068 h 169927"/>
                  <a:gd name="connsiteX16" fmla="*/ 8233 w 156891"/>
                  <a:gd name="connsiteY16" fmla="*/ 103268 h 169927"/>
                  <a:gd name="connsiteX17" fmla="*/ 8700 w 156891"/>
                  <a:gd name="connsiteY17" fmla="*/ 100853 h 169927"/>
                  <a:gd name="connsiteX18" fmla="*/ 6778 w 156891"/>
                  <a:gd name="connsiteY18" fmla="*/ 81122 h 169927"/>
                  <a:gd name="connsiteX19" fmla="*/ 9276 w 156891"/>
                  <a:gd name="connsiteY19" fmla="*/ 74590 h 169927"/>
                  <a:gd name="connsiteX20" fmla="*/ 7190 w 156891"/>
                  <a:gd name="connsiteY20" fmla="*/ 61033 h 169927"/>
                  <a:gd name="connsiteX21" fmla="*/ 10291 w 156891"/>
                  <a:gd name="connsiteY21" fmla="*/ 58097 h 169927"/>
                  <a:gd name="connsiteX22" fmla="*/ 12404 w 156891"/>
                  <a:gd name="connsiteY22" fmla="*/ 52526 h 169927"/>
                  <a:gd name="connsiteX23" fmla="*/ 10785 w 156891"/>
                  <a:gd name="connsiteY23" fmla="*/ 46187 h 169927"/>
                  <a:gd name="connsiteX24" fmla="*/ 14984 w 156891"/>
                  <a:gd name="connsiteY24" fmla="*/ 37625 h 169927"/>
                  <a:gd name="connsiteX25" fmla="*/ 15945 w 156891"/>
                  <a:gd name="connsiteY25" fmla="*/ 28651 h 169927"/>
                  <a:gd name="connsiteX26" fmla="*/ 17948 w 156891"/>
                  <a:gd name="connsiteY26" fmla="*/ 26620 h 169927"/>
                  <a:gd name="connsiteX27" fmla="*/ 15917 w 156891"/>
                  <a:gd name="connsiteY27" fmla="*/ 14271 h 169927"/>
                  <a:gd name="connsiteX28" fmla="*/ 22503 w 156891"/>
                  <a:gd name="connsiteY28" fmla="*/ 8124 h 169927"/>
                  <a:gd name="connsiteX29" fmla="*/ 23738 w 156891"/>
                  <a:gd name="connsiteY29" fmla="*/ 2388 h 169927"/>
                  <a:gd name="connsiteX30" fmla="*/ 26647 w 156891"/>
                  <a:gd name="connsiteY30" fmla="*/ 5434 h 169927"/>
                  <a:gd name="connsiteX31" fmla="*/ 30764 w 156891"/>
                  <a:gd name="connsiteY31" fmla="*/ 6120 h 169927"/>
                  <a:gd name="connsiteX32" fmla="*/ 35813 w 156891"/>
                  <a:gd name="connsiteY32" fmla="*/ 5324 h 169927"/>
                  <a:gd name="connsiteX33" fmla="*/ 39710 w 156891"/>
                  <a:gd name="connsiteY33" fmla="*/ 192 h 169927"/>
                  <a:gd name="connsiteX34" fmla="*/ 46818 w 156891"/>
                  <a:gd name="connsiteY34" fmla="*/ 0 h 169927"/>
                  <a:gd name="connsiteX35" fmla="*/ 65644 w 156891"/>
                  <a:gd name="connsiteY35" fmla="*/ 17015 h 169927"/>
                  <a:gd name="connsiteX36" fmla="*/ 71187 w 156891"/>
                  <a:gd name="connsiteY36" fmla="*/ 24589 h 169927"/>
                  <a:gd name="connsiteX37" fmla="*/ 71928 w 156891"/>
                  <a:gd name="connsiteY37" fmla="*/ 32548 h 169927"/>
                  <a:gd name="connsiteX38" fmla="*/ 75797 w 156891"/>
                  <a:gd name="connsiteY38" fmla="*/ 32603 h 169927"/>
                  <a:gd name="connsiteX39" fmla="*/ 83646 w 156891"/>
                  <a:gd name="connsiteY39" fmla="*/ 25962 h 169927"/>
                  <a:gd name="connsiteX40" fmla="*/ 93773 w 156891"/>
                  <a:gd name="connsiteY40" fmla="*/ 39025 h 169927"/>
                  <a:gd name="connsiteX41" fmla="*/ 114876 w 156891"/>
                  <a:gd name="connsiteY41" fmla="*/ 48245 h 169927"/>
                  <a:gd name="connsiteX42" fmla="*/ 118197 w 156891"/>
                  <a:gd name="connsiteY42" fmla="*/ 54639 h 169927"/>
                  <a:gd name="connsiteX43" fmla="*/ 135568 w 156891"/>
                  <a:gd name="connsiteY43" fmla="*/ 67099 h 169927"/>
                  <a:gd name="connsiteX44" fmla="*/ 137709 w 156891"/>
                  <a:gd name="connsiteY44" fmla="*/ 68635 h 169927"/>
                  <a:gd name="connsiteX45" fmla="*/ 142457 w 156891"/>
                  <a:gd name="connsiteY45" fmla="*/ 80107 h 169927"/>
                  <a:gd name="connsiteX46" fmla="*/ 156892 w 156891"/>
                  <a:gd name="connsiteY46" fmla="*/ 90864 h 169927"/>
                  <a:gd name="connsiteX47" fmla="*/ 144762 w 156891"/>
                  <a:gd name="connsiteY47" fmla="*/ 105793 h 169927"/>
                  <a:gd name="connsiteX48" fmla="*/ 144377 w 156891"/>
                  <a:gd name="connsiteY48" fmla="*/ 122862 h 169927"/>
                  <a:gd name="connsiteX49" fmla="*/ 148494 w 156891"/>
                  <a:gd name="connsiteY49" fmla="*/ 126320 h 16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6891" h="169927">
                    <a:moveTo>
                      <a:pt x="148549" y="126348"/>
                    </a:moveTo>
                    <a:lnTo>
                      <a:pt x="134580" y="150525"/>
                    </a:lnTo>
                    <a:lnTo>
                      <a:pt x="124756" y="158813"/>
                    </a:lnTo>
                    <a:lnTo>
                      <a:pt x="102225" y="169927"/>
                    </a:lnTo>
                    <a:lnTo>
                      <a:pt x="89821" y="163972"/>
                    </a:lnTo>
                    <a:lnTo>
                      <a:pt x="81149" y="162874"/>
                    </a:lnTo>
                    <a:lnTo>
                      <a:pt x="67263" y="168061"/>
                    </a:lnTo>
                    <a:lnTo>
                      <a:pt x="64711" y="166579"/>
                    </a:lnTo>
                    <a:lnTo>
                      <a:pt x="47449" y="159800"/>
                    </a:lnTo>
                    <a:lnTo>
                      <a:pt x="37377" y="151677"/>
                    </a:lnTo>
                    <a:lnTo>
                      <a:pt x="17262" y="152007"/>
                    </a:lnTo>
                    <a:lnTo>
                      <a:pt x="11910" y="144048"/>
                    </a:lnTo>
                    <a:lnTo>
                      <a:pt x="6724" y="140590"/>
                    </a:lnTo>
                    <a:lnTo>
                      <a:pt x="165" y="129915"/>
                    </a:lnTo>
                    <a:lnTo>
                      <a:pt x="0" y="118938"/>
                    </a:lnTo>
                    <a:lnTo>
                      <a:pt x="2223" y="106068"/>
                    </a:lnTo>
                    <a:lnTo>
                      <a:pt x="8233" y="103268"/>
                    </a:lnTo>
                    <a:lnTo>
                      <a:pt x="8700" y="100853"/>
                    </a:lnTo>
                    <a:lnTo>
                      <a:pt x="6778" y="81122"/>
                    </a:lnTo>
                    <a:lnTo>
                      <a:pt x="9276" y="74590"/>
                    </a:lnTo>
                    <a:lnTo>
                      <a:pt x="7190" y="61033"/>
                    </a:lnTo>
                    <a:lnTo>
                      <a:pt x="10291" y="58097"/>
                    </a:lnTo>
                    <a:lnTo>
                      <a:pt x="12404" y="52526"/>
                    </a:lnTo>
                    <a:lnTo>
                      <a:pt x="10785" y="46187"/>
                    </a:lnTo>
                    <a:lnTo>
                      <a:pt x="14984" y="37625"/>
                    </a:lnTo>
                    <a:lnTo>
                      <a:pt x="15945" y="28651"/>
                    </a:lnTo>
                    <a:lnTo>
                      <a:pt x="17948" y="26620"/>
                    </a:lnTo>
                    <a:lnTo>
                      <a:pt x="15917" y="14271"/>
                    </a:lnTo>
                    <a:lnTo>
                      <a:pt x="22503" y="8124"/>
                    </a:lnTo>
                    <a:lnTo>
                      <a:pt x="23738" y="2388"/>
                    </a:lnTo>
                    <a:lnTo>
                      <a:pt x="26647" y="5434"/>
                    </a:lnTo>
                    <a:lnTo>
                      <a:pt x="30764" y="6120"/>
                    </a:lnTo>
                    <a:lnTo>
                      <a:pt x="35813" y="5324"/>
                    </a:lnTo>
                    <a:lnTo>
                      <a:pt x="39710" y="192"/>
                    </a:lnTo>
                    <a:lnTo>
                      <a:pt x="46818" y="0"/>
                    </a:lnTo>
                    <a:lnTo>
                      <a:pt x="65644" y="17015"/>
                    </a:lnTo>
                    <a:lnTo>
                      <a:pt x="71187" y="24589"/>
                    </a:lnTo>
                    <a:lnTo>
                      <a:pt x="71928" y="32548"/>
                    </a:lnTo>
                    <a:lnTo>
                      <a:pt x="75797" y="32603"/>
                    </a:lnTo>
                    <a:lnTo>
                      <a:pt x="83646" y="25962"/>
                    </a:lnTo>
                    <a:lnTo>
                      <a:pt x="93773" y="39025"/>
                    </a:lnTo>
                    <a:lnTo>
                      <a:pt x="114876" y="48245"/>
                    </a:lnTo>
                    <a:lnTo>
                      <a:pt x="118197" y="54639"/>
                    </a:lnTo>
                    <a:lnTo>
                      <a:pt x="135568" y="67099"/>
                    </a:lnTo>
                    <a:lnTo>
                      <a:pt x="137709" y="68635"/>
                    </a:lnTo>
                    <a:lnTo>
                      <a:pt x="142457" y="80107"/>
                    </a:lnTo>
                    <a:lnTo>
                      <a:pt x="156892" y="90864"/>
                    </a:lnTo>
                    <a:lnTo>
                      <a:pt x="144762" y="105793"/>
                    </a:lnTo>
                    <a:lnTo>
                      <a:pt x="144377" y="122862"/>
                    </a:lnTo>
                    <a:lnTo>
                      <a:pt x="148494" y="1263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7" name="Freeform: Shape 4186">
                <a:extLst>
                  <a:ext uri="{FF2B5EF4-FFF2-40B4-BE49-F238E27FC236}">
                    <a16:creationId xmlns:a16="http://schemas.microsoft.com/office/drawing/2014/main" id="{093D0FDC-99A8-B349-FE19-D0460BE7894D}"/>
                  </a:ext>
                </a:extLst>
              </p:cNvPr>
              <p:cNvSpPr/>
              <p:nvPr/>
            </p:nvSpPr>
            <p:spPr>
              <a:xfrm>
                <a:off x="1537177" y="3687003"/>
                <a:ext cx="52089" cy="34431"/>
              </a:xfrm>
              <a:custGeom>
                <a:avLst/>
                <a:gdLst>
                  <a:gd name="connsiteX0" fmla="*/ 150168 w 499407"/>
                  <a:gd name="connsiteY0" fmla="*/ 54557 h 330111"/>
                  <a:gd name="connsiteX1" fmla="*/ 177172 w 499407"/>
                  <a:gd name="connsiteY1" fmla="*/ 85622 h 330111"/>
                  <a:gd name="connsiteX2" fmla="*/ 216909 w 499407"/>
                  <a:gd name="connsiteY2" fmla="*/ 79201 h 330111"/>
                  <a:gd name="connsiteX3" fmla="*/ 250335 w 499407"/>
                  <a:gd name="connsiteY3" fmla="*/ 81506 h 330111"/>
                  <a:gd name="connsiteX4" fmla="*/ 268667 w 499407"/>
                  <a:gd name="connsiteY4" fmla="*/ 76100 h 330111"/>
                  <a:gd name="connsiteX5" fmla="*/ 283623 w 499407"/>
                  <a:gd name="connsiteY5" fmla="*/ 94486 h 330111"/>
                  <a:gd name="connsiteX6" fmla="*/ 288947 w 499407"/>
                  <a:gd name="connsiteY6" fmla="*/ 109415 h 330111"/>
                  <a:gd name="connsiteX7" fmla="*/ 296659 w 499407"/>
                  <a:gd name="connsiteY7" fmla="*/ 109799 h 330111"/>
                  <a:gd name="connsiteX8" fmla="*/ 296933 w 499407"/>
                  <a:gd name="connsiteY8" fmla="*/ 120886 h 330111"/>
                  <a:gd name="connsiteX9" fmla="*/ 297125 w 499407"/>
                  <a:gd name="connsiteY9" fmla="*/ 128543 h 330111"/>
                  <a:gd name="connsiteX10" fmla="*/ 296467 w 499407"/>
                  <a:gd name="connsiteY10" fmla="*/ 130162 h 330111"/>
                  <a:gd name="connsiteX11" fmla="*/ 294820 w 499407"/>
                  <a:gd name="connsiteY11" fmla="*/ 134087 h 330111"/>
                  <a:gd name="connsiteX12" fmla="*/ 294985 w 499407"/>
                  <a:gd name="connsiteY12" fmla="*/ 146683 h 330111"/>
                  <a:gd name="connsiteX13" fmla="*/ 295643 w 499407"/>
                  <a:gd name="connsiteY13" fmla="*/ 148274 h 330111"/>
                  <a:gd name="connsiteX14" fmla="*/ 309502 w 499407"/>
                  <a:gd name="connsiteY14" fmla="*/ 150882 h 330111"/>
                  <a:gd name="connsiteX15" fmla="*/ 310627 w 499407"/>
                  <a:gd name="connsiteY15" fmla="*/ 159169 h 330111"/>
                  <a:gd name="connsiteX16" fmla="*/ 310874 w 499407"/>
                  <a:gd name="connsiteY16" fmla="*/ 161008 h 330111"/>
                  <a:gd name="connsiteX17" fmla="*/ 312768 w 499407"/>
                  <a:gd name="connsiteY17" fmla="*/ 175251 h 330111"/>
                  <a:gd name="connsiteX18" fmla="*/ 350941 w 499407"/>
                  <a:gd name="connsiteY18" fmla="*/ 178379 h 330111"/>
                  <a:gd name="connsiteX19" fmla="*/ 357033 w 499407"/>
                  <a:gd name="connsiteY19" fmla="*/ 184444 h 330111"/>
                  <a:gd name="connsiteX20" fmla="*/ 355414 w 499407"/>
                  <a:gd name="connsiteY20" fmla="*/ 192924 h 330111"/>
                  <a:gd name="connsiteX21" fmla="*/ 366748 w 499407"/>
                  <a:gd name="connsiteY21" fmla="*/ 200636 h 330111"/>
                  <a:gd name="connsiteX22" fmla="*/ 371359 w 499407"/>
                  <a:gd name="connsiteY22" fmla="*/ 199511 h 330111"/>
                  <a:gd name="connsiteX23" fmla="*/ 370315 w 499407"/>
                  <a:gd name="connsiteY23" fmla="*/ 189521 h 330111"/>
                  <a:gd name="connsiteX24" fmla="*/ 383543 w 499407"/>
                  <a:gd name="connsiteY24" fmla="*/ 172150 h 330111"/>
                  <a:gd name="connsiteX25" fmla="*/ 395454 w 499407"/>
                  <a:gd name="connsiteY25" fmla="*/ 164329 h 330111"/>
                  <a:gd name="connsiteX26" fmla="*/ 399543 w 499407"/>
                  <a:gd name="connsiteY26" fmla="*/ 160981 h 330111"/>
                  <a:gd name="connsiteX27" fmla="*/ 404070 w 499407"/>
                  <a:gd name="connsiteY27" fmla="*/ 159142 h 330111"/>
                  <a:gd name="connsiteX28" fmla="*/ 410108 w 499407"/>
                  <a:gd name="connsiteY28" fmla="*/ 156672 h 330111"/>
                  <a:gd name="connsiteX29" fmla="*/ 419933 w 499407"/>
                  <a:gd name="connsiteY29" fmla="*/ 146655 h 330111"/>
                  <a:gd name="connsiteX30" fmla="*/ 424021 w 499407"/>
                  <a:gd name="connsiteY30" fmla="*/ 142457 h 330111"/>
                  <a:gd name="connsiteX31" fmla="*/ 429867 w 499407"/>
                  <a:gd name="connsiteY31" fmla="*/ 145173 h 330111"/>
                  <a:gd name="connsiteX32" fmla="*/ 437853 w 499407"/>
                  <a:gd name="connsiteY32" fmla="*/ 137325 h 330111"/>
                  <a:gd name="connsiteX33" fmla="*/ 439472 w 499407"/>
                  <a:gd name="connsiteY33" fmla="*/ 135733 h 330111"/>
                  <a:gd name="connsiteX34" fmla="*/ 444604 w 499407"/>
                  <a:gd name="connsiteY34" fmla="*/ 135129 h 330111"/>
                  <a:gd name="connsiteX35" fmla="*/ 446772 w 499407"/>
                  <a:gd name="connsiteY35" fmla="*/ 137297 h 330111"/>
                  <a:gd name="connsiteX36" fmla="*/ 447047 w 499407"/>
                  <a:gd name="connsiteY36" fmla="*/ 139246 h 330111"/>
                  <a:gd name="connsiteX37" fmla="*/ 437551 w 499407"/>
                  <a:gd name="connsiteY37" fmla="*/ 144927 h 330111"/>
                  <a:gd name="connsiteX38" fmla="*/ 436481 w 499407"/>
                  <a:gd name="connsiteY38" fmla="*/ 146601 h 330111"/>
                  <a:gd name="connsiteX39" fmla="*/ 434725 w 499407"/>
                  <a:gd name="connsiteY39" fmla="*/ 149262 h 330111"/>
                  <a:gd name="connsiteX40" fmla="*/ 422101 w 499407"/>
                  <a:gd name="connsiteY40" fmla="*/ 159087 h 330111"/>
                  <a:gd name="connsiteX41" fmla="*/ 420399 w 499407"/>
                  <a:gd name="connsiteY41" fmla="*/ 160404 h 330111"/>
                  <a:gd name="connsiteX42" fmla="*/ 419137 w 499407"/>
                  <a:gd name="connsiteY42" fmla="*/ 164411 h 330111"/>
                  <a:gd name="connsiteX43" fmla="*/ 425668 w 499407"/>
                  <a:gd name="connsiteY43" fmla="*/ 168418 h 330111"/>
                  <a:gd name="connsiteX44" fmla="*/ 432117 w 499407"/>
                  <a:gd name="connsiteY44" fmla="*/ 168884 h 330111"/>
                  <a:gd name="connsiteX45" fmla="*/ 436947 w 499407"/>
                  <a:gd name="connsiteY45" fmla="*/ 177172 h 330111"/>
                  <a:gd name="connsiteX46" fmla="*/ 449050 w 499407"/>
                  <a:gd name="connsiteY46" fmla="*/ 179806 h 330111"/>
                  <a:gd name="connsiteX47" fmla="*/ 454016 w 499407"/>
                  <a:gd name="connsiteY47" fmla="*/ 178270 h 330111"/>
                  <a:gd name="connsiteX48" fmla="*/ 462799 w 499407"/>
                  <a:gd name="connsiteY48" fmla="*/ 166305 h 330111"/>
                  <a:gd name="connsiteX49" fmla="*/ 469028 w 499407"/>
                  <a:gd name="connsiteY49" fmla="*/ 177858 h 330111"/>
                  <a:gd name="connsiteX50" fmla="*/ 499407 w 499407"/>
                  <a:gd name="connsiteY50" fmla="*/ 193089 h 330111"/>
                  <a:gd name="connsiteX51" fmla="*/ 492163 w 499407"/>
                  <a:gd name="connsiteY51" fmla="*/ 201212 h 330111"/>
                  <a:gd name="connsiteX52" fmla="*/ 483106 w 499407"/>
                  <a:gd name="connsiteY52" fmla="*/ 201926 h 330111"/>
                  <a:gd name="connsiteX53" fmla="*/ 481899 w 499407"/>
                  <a:gd name="connsiteY53" fmla="*/ 206152 h 330111"/>
                  <a:gd name="connsiteX54" fmla="*/ 475257 w 499407"/>
                  <a:gd name="connsiteY54" fmla="*/ 206865 h 330111"/>
                  <a:gd name="connsiteX55" fmla="*/ 465213 w 499407"/>
                  <a:gd name="connsiteY55" fmla="*/ 216416 h 330111"/>
                  <a:gd name="connsiteX56" fmla="*/ 448858 w 499407"/>
                  <a:gd name="connsiteY56" fmla="*/ 212107 h 330111"/>
                  <a:gd name="connsiteX57" fmla="*/ 440241 w 499407"/>
                  <a:gd name="connsiteY57" fmla="*/ 215180 h 330111"/>
                  <a:gd name="connsiteX58" fmla="*/ 431458 w 499407"/>
                  <a:gd name="connsiteY58" fmla="*/ 216717 h 330111"/>
                  <a:gd name="connsiteX59" fmla="*/ 422952 w 499407"/>
                  <a:gd name="connsiteY59" fmla="*/ 207908 h 330111"/>
                  <a:gd name="connsiteX60" fmla="*/ 433599 w 499407"/>
                  <a:gd name="connsiteY60" fmla="*/ 196135 h 330111"/>
                  <a:gd name="connsiteX61" fmla="*/ 425339 w 499407"/>
                  <a:gd name="connsiteY61" fmla="*/ 185131 h 330111"/>
                  <a:gd name="connsiteX62" fmla="*/ 420207 w 499407"/>
                  <a:gd name="connsiteY62" fmla="*/ 190674 h 330111"/>
                  <a:gd name="connsiteX63" fmla="*/ 404098 w 499407"/>
                  <a:gd name="connsiteY63" fmla="*/ 198632 h 330111"/>
                  <a:gd name="connsiteX64" fmla="*/ 394987 w 499407"/>
                  <a:gd name="connsiteY64" fmla="*/ 194818 h 330111"/>
                  <a:gd name="connsiteX65" fmla="*/ 390266 w 499407"/>
                  <a:gd name="connsiteY65" fmla="*/ 203682 h 330111"/>
                  <a:gd name="connsiteX66" fmla="*/ 390102 w 499407"/>
                  <a:gd name="connsiteY66" fmla="*/ 214851 h 330111"/>
                  <a:gd name="connsiteX67" fmla="*/ 380552 w 499407"/>
                  <a:gd name="connsiteY67" fmla="*/ 217349 h 330111"/>
                  <a:gd name="connsiteX68" fmla="*/ 381265 w 499407"/>
                  <a:gd name="connsiteY68" fmla="*/ 220532 h 330111"/>
                  <a:gd name="connsiteX69" fmla="*/ 377176 w 499407"/>
                  <a:gd name="connsiteY69" fmla="*/ 223962 h 330111"/>
                  <a:gd name="connsiteX70" fmla="*/ 376847 w 499407"/>
                  <a:gd name="connsiteY70" fmla="*/ 228490 h 330111"/>
                  <a:gd name="connsiteX71" fmla="*/ 372346 w 499407"/>
                  <a:gd name="connsiteY71" fmla="*/ 230768 h 330111"/>
                  <a:gd name="connsiteX72" fmla="*/ 368257 w 499407"/>
                  <a:gd name="connsiteY72" fmla="*/ 240373 h 330111"/>
                  <a:gd name="connsiteX73" fmla="*/ 345535 w 499407"/>
                  <a:gd name="connsiteY73" fmla="*/ 237629 h 330111"/>
                  <a:gd name="connsiteX74" fmla="*/ 337521 w 499407"/>
                  <a:gd name="connsiteY74" fmla="*/ 242596 h 330111"/>
                  <a:gd name="connsiteX75" fmla="*/ 336918 w 499407"/>
                  <a:gd name="connsiteY75" fmla="*/ 252695 h 330111"/>
                  <a:gd name="connsiteX76" fmla="*/ 342050 w 499407"/>
                  <a:gd name="connsiteY76" fmla="*/ 256153 h 330111"/>
                  <a:gd name="connsiteX77" fmla="*/ 344958 w 499407"/>
                  <a:gd name="connsiteY77" fmla="*/ 261120 h 330111"/>
                  <a:gd name="connsiteX78" fmla="*/ 353603 w 499407"/>
                  <a:gd name="connsiteY78" fmla="*/ 261449 h 330111"/>
                  <a:gd name="connsiteX79" fmla="*/ 357417 w 499407"/>
                  <a:gd name="connsiteY79" fmla="*/ 264057 h 330111"/>
                  <a:gd name="connsiteX80" fmla="*/ 355496 w 499407"/>
                  <a:gd name="connsiteY80" fmla="*/ 278546 h 330111"/>
                  <a:gd name="connsiteX81" fmla="*/ 363977 w 499407"/>
                  <a:gd name="connsiteY81" fmla="*/ 292872 h 330111"/>
                  <a:gd name="connsiteX82" fmla="*/ 360930 w 499407"/>
                  <a:gd name="connsiteY82" fmla="*/ 301543 h 330111"/>
                  <a:gd name="connsiteX83" fmla="*/ 355908 w 499407"/>
                  <a:gd name="connsiteY83" fmla="*/ 306072 h 330111"/>
                  <a:gd name="connsiteX84" fmla="*/ 349322 w 499407"/>
                  <a:gd name="connsiteY84" fmla="*/ 316473 h 330111"/>
                  <a:gd name="connsiteX85" fmla="*/ 346413 w 499407"/>
                  <a:gd name="connsiteY85" fmla="*/ 330112 h 330111"/>
                  <a:gd name="connsiteX86" fmla="*/ 338235 w 499407"/>
                  <a:gd name="connsiteY86" fmla="*/ 327038 h 330111"/>
                  <a:gd name="connsiteX87" fmla="*/ 331401 w 499407"/>
                  <a:gd name="connsiteY87" fmla="*/ 329371 h 330111"/>
                  <a:gd name="connsiteX88" fmla="*/ 322949 w 499407"/>
                  <a:gd name="connsiteY88" fmla="*/ 322400 h 330111"/>
                  <a:gd name="connsiteX89" fmla="*/ 310408 w 499407"/>
                  <a:gd name="connsiteY89" fmla="*/ 323663 h 330111"/>
                  <a:gd name="connsiteX90" fmla="*/ 312521 w 499407"/>
                  <a:gd name="connsiteY90" fmla="*/ 303712 h 330111"/>
                  <a:gd name="connsiteX91" fmla="*/ 311121 w 499407"/>
                  <a:gd name="connsiteY91" fmla="*/ 300089 h 330111"/>
                  <a:gd name="connsiteX92" fmla="*/ 293860 w 499407"/>
                  <a:gd name="connsiteY92" fmla="*/ 291307 h 330111"/>
                  <a:gd name="connsiteX93" fmla="*/ 276433 w 499407"/>
                  <a:gd name="connsiteY93" fmla="*/ 285819 h 330111"/>
                  <a:gd name="connsiteX94" fmla="*/ 248222 w 499407"/>
                  <a:gd name="connsiteY94" fmla="*/ 265456 h 330111"/>
                  <a:gd name="connsiteX95" fmla="*/ 236257 w 499407"/>
                  <a:gd name="connsiteY95" fmla="*/ 260215 h 330111"/>
                  <a:gd name="connsiteX96" fmla="*/ 194680 w 499407"/>
                  <a:gd name="connsiteY96" fmla="*/ 228490 h 330111"/>
                  <a:gd name="connsiteX97" fmla="*/ 189247 w 499407"/>
                  <a:gd name="connsiteY97" fmla="*/ 221493 h 330111"/>
                  <a:gd name="connsiteX98" fmla="*/ 185707 w 499407"/>
                  <a:gd name="connsiteY98" fmla="*/ 208073 h 330111"/>
                  <a:gd name="connsiteX99" fmla="*/ 180081 w 499407"/>
                  <a:gd name="connsiteY99" fmla="*/ 199922 h 330111"/>
                  <a:gd name="connsiteX100" fmla="*/ 175553 w 499407"/>
                  <a:gd name="connsiteY100" fmla="*/ 186887 h 330111"/>
                  <a:gd name="connsiteX101" fmla="*/ 171574 w 499407"/>
                  <a:gd name="connsiteY101" fmla="*/ 181042 h 330111"/>
                  <a:gd name="connsiteX102" fmla="*/ 162710 w 499407"/>
                  <a:gd name="connsiteY102" fmla="*/ 175745 h 330111"/>
                  <a:gd name="connsiteX103" fmla="*/ 153955 w 499407"/>
                  <a:gd name="connsiteY103" fmla="*/ 178434 h 330111"/>
                  <a:gd name="connsiteX104" fmla="*/ 129586 w 499407"/>
                  <a:gd name="connsiteY104" fmla="*/ 174373 h 330111"/>
                  <a:gd name="connsiteX105" fmla="*/ 122862 w 499407"/>
                  <a:gd name="connsiteY105" fmla="*/ 168912 h 330111"/>
                  <a:gd name="connsiteX106" fmla="*/ 121380 w 499407"/>
                  <a:gd name="connsiteY106" fmla="*/ 159115 h 330111"/>
                  <a:gd name="connsiteX107" fmla="*/ 121902 w 499407"/>
                  <a:gd name="connsiteY107" fmla="*/ 153187 h 330111"/>
                  <a:gd name="connsiteX108" fmla="*/ 118225 w 499407"/>
                  <a:gd name="connsiteY108" fmla="*/ 146601 h 330111"/>
                  <a:gd name="connsiteX109" fmla="*/ 116139 w 499407"/>
                  <a:gd name="connsiteY109" fmla="*/ 137105 h 330111"/>
                  <a:gd name="connsiteX110" fmla="*/ 100497 w 499407"/>
                  <a:gd name="connsiteY110" fmla="*/ 133757 h 330111"/>
                  <a:gd name="connsiteX111" fmla="*/ 97121 w 499407"/>
                  <a:gd name="connsiteY111" fmla="*/ 130135 h 330111"/>
                  <a:gd name="connsiteX112" fmla="*/ 93718 w 499407"/>
                  <a:gd name="connsiteY112" fmla="*/ 126512 h 330111"/>
                  <a:gd name="connsiteX113" fmla="*/ 83619 w 499407"/>
                  <a:gd name="connsiteY113" fmla="*/ 120886 h 330111"/>
                  <a:gd name="connsiteX114" fmla="*/ 77746 w 499407"/>
                  <a:gd name="connsiteY114" fmla="*/ 117621 h 330111"/>
                  <a:gd name="connsiteX115" fmla="*/ 66248 w 499407"/>
                  <a:gd name="connsiteY115" fmla="*/ 120640 h 330111"/>
                  <a:gd name="connsiteX116" fmla="*/ 66248 w 499407"/>
                  <a:gd name="connsiteY116" fmla="*/ 120914 h 330111"/>
                  <a:gd name="connsiteX117" fmla="*/ 66879 w 499407"/>
                  <a:gd name="connsiteY117" fmla="*/ 127061 h 330111"/>
                  <a:gd name="connsiteX118" fmla="*/ 58344 w 499407"/>
                  <a:gd name="connsiteY118" fmla="*/ 128186 h 330111"/>
                  <a:gd name="connsiteX119" fmla="*/ 57438 w 499407"/>
                  <a:gd name="connsiteY119" fmla="*/ 130162 h 330111"/>
                  <a:gd name="connsiteX120" fmla="*/ 53871 w 499407"/>
                  <a:gd name="connsiteY120" fmla="*/ 137901 h 330111"/>
                  <a:gd name="connsiteX121" fmla="*/ 42454 w 499407"/>
                  <a:gd name="connsiteY121" fmla="*/ 139767 h 330111"/>
                  <a:gd name="connsiteX122" fmla="*/ 37488 w 499407"/>
                  <a:gd name="connsiteY122" fmla="*/ 143198 h 330111"/>
                  <a:gd name="connsiteX123" fmla="*/ 29776 w 499407"/>
                  <a:gd name="connsiteY123" fmla="*/ 153379 h 330111"/>
                  <a:gd name="connsiteX124" fmla="*/ 29776 w 499407"/>
                  <a:gd name="connsiteY124" fmla="*/ 159142 h 330111"/>
                  <a:gd name="connsiteX125" fmla="*/ 29995 w 499407"/>
                  <a:gd name="connsiteY125" fmla="*/ 160981 h 330111"/>
                  <a:gd name="connsiteX126" fmla="*/ 32273 w 499407"/>
                  <a:gd name="connsiteY126" fmla="*/ 171601 h 330111"/>
                  <a:gd name="connsiteX127" fmla="*/ 30763 w 499407"/>
                  <a:gd name="connsiteY127" fmla="*/ 174400 h 330111"/>
                  <a:gd name="connsiteX128" fmla="*/ 0 w 499407"/>
                  <a:gd name="connsiteY128" fmla="*/ 172863 h 330111"/>
                  <a:gd name="connsiteX129" fmla="*/ 0 w 499407"/>
                  <a:gd name="connsiteY129" fmla="*/ 146628 h 330111"/>
                  <a:gd name="connsiteX130" fmla="*/ 55 w 499407"/>
                  <a:gd name="connsiteY130" fmla="*/ 130107 h 330111"/>
                  <a:gd name="connsiteX131" fmla="*/ 55 w 499407"/>
                  <a:gd name="connsiteY131" fmla="*/ 120859 h 330111"/>
                  <a:gd name="connsiteX132" fmla="*/ 385 w 499407"/>
                  <a:gd name="connsiteY132" fmla="*/ 24836 h 330111"/>
                  <a:gd name="connsiteX133" fmla="*/ 75853 w 499407"/>
                  <a:gd name="connsiteY133" fmla="*/ 0 h 330111"/>
                  <a:gd name="connsiteX134" fmla="*/ 150085 w 499407"/>
                  <a:gd name="connsiteY134" fmla="*/ 54529 h 330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499407" h="330111">
                    <a:moveTo>
                      <a:pt x="150168" y="54557"/>
                    </a:moveTo>
                    <a:lnTo>
                      <a:pt x="177172" y="85622"/>
                    </a:lnTo>
                    <a:lnTo>
                      <a:pt x="216909" y="79201"/>
                    </a:lnTo>
                    <a:lnTo>
                      <a:pt x="250335" y="81506"/>
                    </a:lnTo>
                    <a:lnTo>
                      <a:pt x="268667" y="76100"/>
                    </a:lnTo>
                    <a:lnTo>
                      <a:pt x="283623" y="94486"/>
                    </a:lnTo>
                    <a:lnTo>
                      <a:pt x="288947" y="109415"/>
                    </a:lnTo>
                    <a:lnTo>
                      <a:pt x="296659" y="109799"/>
                    </a:lnTo>
                    <a:lnTo>
                      <a:pt x="296933" y="120886"/>
                    </a:lnTo>
                    <a:lnTo>
                      <a:pt x="297125" y="128543"/>
                    </a:lnTo>
                    <a:lnTo>
                      <a:pt x="296467" y="130162"/>
                    </a:lnTo>
                    <a:lnTo>
                      <a:pt x="294820" y="134087"/>
                    </a:lnTo>
                    <a:lnTo>
                      <a:pt x="294985" y="146683"/>
                    </a:lnTo>
                    <a:lnTo>
                      <a:pt x="295643" y="148274"/>
                    </a:lnTo>
                    <a:lnTo>
                      <a:pt x="309502" y="150882"/>
                    </a:lnTo>
                    <a:lnTo>
                      <a:pt x="310627" y="159169"/>
                    </a:lnTo>
                    <a:lnTo>
                      <a:pt x="310874" y="161008"/>
                    </a:lnTo>
                    <a:lnTo>
                      <a:pt x="312768" y="175251"/>
                    </a:lnTo>
                    <a:lnTo>
                      <a:pt x="350941" y="178379"/>
                    </a:lnTo>
                    <a:lnTo>
                      <a:pt x="357033" y="184444"/>
                    </a:lnTo>
                    <a:lnTo>
                      <a:pt x="355414" y="192924"/>
                    </a:lnTo>
                    <a:lnTo>
                      <a:pt x="366748" y="200636"/>
                    </a:lnTo>
                    <a:lnTo>
                      <a:pt x="371359" y="199511"/>
                    </a:lnTo>
                    <a:lnTo>
                      <a:pt x="370315" y="189521"/>
                    </a:lnTo>
                    <a:lnTo>
                      <a:pt x="383543" y="172150"/>
                    </a:lnTo>
                    <a:lnTo>
                      <a:pt x="395454" y="164329"/>
                    </a:lnTo>
                    <a:lnTo>
                      <a:pt x="399543" y="160981"/>
                    </a:lnTo>
                    <a:lnTo>
                      <a:pt x="404070" y="159142"/>
                    </a:lnTo>
                    <a:lnTo>
                      <a:pt x="410108" y="156672"/>
                    </a:lnTo>
                    <a:lnTo>
                      <a:pt x="419933" y="146655"/>
                    </a:lnTo>
                    <a:lnTo>
                      <a:pt x="424021" y="142457"/>
                    </a:lnTo>
                    <a:lnTo>
                      <a:pt x="429867" y="145173"/>
                    </a:lnTo>
                    <a:lnTo>
                      <a:pt x="437853" y="137325"/>
                    </a:lnTo>
                    <a:lnTo>
                      <a:pt x="439472" y="135733"/>
                    </a:lnTo>
                    <a:lnTo>
                      <a:pt x="444604" y="135129"/>
                    </a:lnTo>
                    <a:lnTo>
                      <a:pt x="446772" y="137297"/>
                    </a:lnTo>
                    <a:lnTo>
                      <a:pt x="447047" y="139246"/>
                    </a:lnTo>
                    <a:lnTo>
                      <a:pt x="437551" y="144927"/>
                    </a:lnTo>
                    <a:lnTo>
                      <a:pt x="436481" y="146601"/>
                    </a:lnTo>
                    <a:lnTo>
                      <a:pt x="434725" y="149262"/>
                    </a:lnTo>
                    <a:lnTo>
                      <a:pt x="422101" y="159087"/>
                    </a:lnTo>
                    <a:lnTo>
                      <a:pt x="420399" y="160404"/>
                    </a:lnTo>
                    <a:lnTo>
                      <a:pt x="419137" y="164411"/>
                    </a:lnTo>
                    <a:lnTo>
                      <a:pt x="425668" y="168418"/>
                    </a:lnTo>
                    <a:lnTo>
                      <a:pt x="432117" y="168884"/>
                    </a:lnTo>
                    <a:lnTo>
                      <a:pt x="436947" y="177172"/>
                    </a:lnTo>
                    <a:lnTo>
                      <a:pt x="449050" y="179806"/>
                    </a:lnTo>
                    <a:lnTo>
                      <a:pt x="454016" y="178270"/>
                    </a:lnTo>
                    <a:lnTo>
                      <a:pt x="462799" y="166305"/>
                    </a:lnTo>
                    <a:lnTo>
                      <a:pt x="469028" y="177858"/>
                    </a:lnTo>
                    <a:lnTo>
                      <a:pt x="499407" y="193089"/>
                    </a:lnTo>
                    <a:lnTo>
                      <a:pt x="492163" y="201212"/>
                    </a:lnTo>
                    <a:lnTo>
                      <a:pt x="483106" y="201926"/>
                    </a:lnTo>
                    <a:lnTo>
                      <a:pt x="481899" y="206152"/>
                    </a:lnTo>
                    <a:lnTo>
                      <a:pt x="475257" y="206865"/>
                    </a:lnTo>
                    <a:lnTo>
                      <a:pt x="465213" y="216416"/>
                    </a:lnTo>
                    <a:lnTo>
                      <a:pt x="448858" y="212107"/>
                    </a:lnTo>
                    <a:lnTo>
                      <a:pt x="440241" y="215180"/>
                    </a:lnTo>
                    <a:lnTo>
                      <a:pt x="431458" y="216717"/>
                    </a:lnTo>
                    <a:lnTo>
                      <a:pt x="422952" y="207908"/>
                    </a:lnTo>
                    <a:lnTo>
                      <a:pt x="433599" y="196135"/>
                    </a:lnTo>
                    <a:lnTo>
                      <a:pt x="425339" y="185131"/>
                    </a:lnTo>
                    <a:lnTo>
                      <a:pt x="420207" y="190674"/>
                    </a:lnTo>
                    <a:lnTo>
                      <a:pt x="404098" y="198632"/>
                    </a:lnTo>
                    <a:lnTo>
                      <a:pt x="394987" y="194818"/>
                    </a:lnTo>
                    <a:lnTo>
                      <a:pt x="390266" y="203682"/>
                    </a:lnTo>
                    <a:lnTo>
                      <a:pt x="390102" y="214851"/>
                    </a:lnTo>
                    <a:lnTo>
                      <a:pt x="380552" y="217349"/>
                    </a:lnTo>
                    <a:lnTo>
                      <a:pt x="381265" y="220532"/>
                    </a:lnTo>
                    <a:lnTo>
                      <a:pt x="377176" y="223962"/>
                    </a:lnTo>
                    <a:lnTo>
                      <a:pt x="376847" y="228490"/>
                    </a:lnTo>
                    <a:lnTo>
                      <a:pt x="372346" y="230768"/>
                    </a:lnTo>
                    <a:lnTo>
                      <a:pt x="368257" y="240373"/>
                    </a:lnTo>
                    <a:lnTo>
                      <a:pt x="345535" y="237629"/>
                    </a:lnTo>
                    <a:lnTo>
                      <a:pt x="337521" y="242596"/>
                    </a:lnTo>
                    <a:lnTo>
                      <a:pt x="336918" y="252695"/>
                    </a:lnTo>
                    <a:lnTo>
                      <a:pt x="342050" y="256153"/>
                    </a:lnTo>
                    <a:lnTo>
                      <a:pt x="344958" y="261120"/>
                    </a:lnTo>
                    <a:lnTo>
                      <a:pt x="353603" y="261449"/>
                    </a:lnTo>
                    <a:lnTo>
                      <a:pt x="357417" y="264057"/>
                    </a:lnTo>
                    <a:lnTo>
                      <a:pt x="355496" y="278546"/>
                    </a:lnTo>
                    <a:lnTo>
                      <a:pt x="363977" y="292872"/>
                    </a:lnTo>
                    <a:lnTo>
                      <a:pt x="360930" y="301543"/>
                    </a:lnTo>
                    <a:lnTo>
                      <a:pt x="355908" y="306072"/>
                    </a:lnTo>
                    <a:lnTo>
                      <a:pt x="349322" y="316473"/>
                    </a:lnTo>
                    <a:lnTo>
                      <a:pt x="346413" y="330112"/>
                    </a:lnTo>
                    <a:lnTo>
                      <a:pt x="338235" y="327038"/>
                    </a:lnTo>
                    <a:lnTo>
                      <a:pt x="331401" y="329371"/>
                    </a:lnTo>
                    <a:lnTo>
                      <a:pt x="322949" y="322400"/>
                    </a:lnTo>
                    <a:lnTo>
                      <a:pt x="310408" y="323663"/>
                    </a:lnTo>
                    <a:lnTo>
                      <a:pt x="312521" y="303712"/>
                    </a:lnTo>
                    <a:lnTo>
                      <a:pt x="311121" y="300089"/>
                    </a:lnTo>
                    <a:lnTo>
                      <a:pt x="293860" y="291307"/>
                    </a:lnTo>
                    <a:lnTo>
                      <a:pt x="276433" y="285819"/>
                    </a:lnTo>
                    <a:lnTo>
                      <a:pt x="248222" y="265456"/>
                    </a:lnTo>
                    <a:lnTo>
                      <a:pt x="236257" y="260215"/>
                    </a:lnTo>
                    <a:lnTo>
                      <a:pt x="194680" y="228490"/>
                    </a:lnTo>
                    <a:lnTo>
                      <a:pt x="189247" y="221493"/>
                    </a:lnTo>
                    <a:lnTo>
                      <a:pt x="185707" y="208073"/>
                    </a:lnTo>
                    <a:lnTo>
                      <a:pt x="180081" y="199922"/>
                    </a:lnTo>
                    <a:lnTo>
                      <a:pt x="175553" y="186887"/>
                    </a:lnTo>
                    <a:lnTo>
                      <a:pt x="171574" y="181042"/>
                    </a:lnTo>
                    <a:lnTo>
                      <a:pt x="162710" y="175745"/>
                    </a:lnTo>
                    <a:lnTo>
                      <a:pt x="153955" y="178434"/>
                    </a:lnTo>
                    <a:lnTo>
                      <a:pt x="129586" y="174373"/>
                    </a:lnTo>
                    <a:lnTo>
                      <a:pt x="122862" y="168912"/>
                    </a:lnTo>
                    <a:lnTo>
                      <a:pt x="121380" y="159115"/>
                    </a:lnTo>
                    <a:lnTo>
                      <a:pt x="121902" y="153187"/>
                    </a:lnTo>
                    <a:lnTo>
                      <a:pt x="118225" y="146601"/>
                    </a:lnTo>
                    <a:lnTo>
                      <a:pt x="116139" y="137105"/>
                    </a:lnTo>
                    <a:lnTo>
                      <a:pt x="100497" y="133757"/>
                    </a:lnTo>
                    <a:lnTo>
                      <a:pt x="97121" y="130135"/>
                    </a:lnTo>
                    <a:lnTo>
                      <a:pt x="93718" y="126512"/>
                    </a:lnTo>
                    <a:lnTo>
                      <a:pt x="83619" y="120886"/>
                    </a:lnTo>
                    <a:lnTo>
                      <a:pt x="77746" y="117621"/>
                    </a:lnTo>
                    <a:lnTo>
                      <a:pt x="66248" y="120640"/>
                    </a:lnTo>
                    <a:lnTo>
                      <a:pt x="66248" y="120914"/>
                    </a:lnTo>
                    <a:cubicBezTo>
                      <a:pt x="66248" y="120914"/>
                      <a:pt x="66879" y="127061"/>
                      <a:pt x="66879" y="127061"/>
                    </a:cubicBezTo>
                    <a:lnTo>
                      <a:pt x="58344" y="128186"/>
                    </a:lnTo>
                    <a:lnTo>
                      <a:pt x="57438" y="130162"/>
                    </a:lnTo>
                    <a:lnTo>
                      <a:pt x="53871" y="137901"/>
                    </a:lnTo>
                    <a:lnTo>
                      <a:pt x="42454" y="139767"/>
                    </a:lnTo>
                    <a:lnTo>
                      <a:pt x="37488" y="143198"/>
                    </a:lnTo>
                    <a:lnTo>
                      <a:pt x="29776" y="153379"/>
                    </a:lnTo>
                    <a:lnTo>
                      <a:pt x="29776" y="159142"/>
                    </a:lnTo>
                    <a:lnTo>
                      <a:pt x="29995" y="160981"/>
                    </a:lnTo>
                    <a:lnTo>
                      <a:pt x="32273" y="171601"/>
                    </a:lnTo>
                    <a:lnTo>
                      <a:pt x="30763" y="174400"/>
                    </a:lnTo>
                    <a:lnTo>
                      <a:pt x="0" y="172863"/>
                    </a:lnTo>
                    <a:lnTo>
                      <a:pt x="0" y="146628"/>
                    </a:lnTo>
                    <a:cubicBezTo>
                      <a:pt x="0" y="146628"/>
                      <a:pt x="55" y="130107"/>
                      <a:pt x="55" y="130107"/>
                    </a:cubicBezTo>
                    <a:lnTo>
                      <a:pt x="55" y="120859"/>
                    </a:lnTo>
                    <a:cubicBezTo>
                      <a:pt x="55" y="120859"/>
                      <a:pt x="385" y="24836"/>
                      <a:pt x="385" y="24836"/>
                    </a:cubicBezTo>
                    <a:lnTo>
                      <a:pt x="75853" y="0"/>
                    </a:lnTo>
                    <a:lnTo>
                      <a:pt x="150085" y="545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8" name="Freeform: Shape 4187">
                <a:extLst>
                  <a:ext uri="{FF2B5EF4-FFF2-40B4-BE49-F238E27FC236}">
                    <a16:creationId xmlns:a16="http://schemas.microsoft.com/office/drawing/2014/main" id="{FC552BC3-E29F-7F11-FF61-487B1141E488}"/>
                  </a:ext>
                </a:extLst>
              </p:cNvPr>
              <p:cNvSpPr/>
              <p:nvPr/>
            </p:nvSpPr>
            <p:spPr>
              <a:xfrm>
                <a:off x="1583166" y="3709655"/>
                <a:ext cx="758" cy="1228"/>
              </a:xfrm>
              <a:custGeom>
                <a:avLst/>
                <a:gdLst>
                  <a:gd name="connsiteX0" fmla="*/ 7272 w 7272"/>
                  <a:gd name="connsiteY0" fmla="*/ 10099 h 11773"/>
                  <a:gd name="connsiteX1" fmla="*/ 4500 w 7272"/>
                  <a:gd name="connsiteY1" fmla="*/ 11773 h 11773"/>
                  <a:gd name="connsiteX2" fmla="*/ 2607 w 7272"/>
                  <a:gd name="connsiteY2" fmla="*/ 9331 h 11773"/>
                  <a:gd name="connsiteX3" fmla="*/ 2799 w 7272"/>
                  <a:gd name="connsiteY3" fmla="*/ 6449 h 11773"/>
                  <a:gd name="connsiteX4" fmla="*/ 576 w 7272"/>
                  <a:gd name="connsiteY4" fmla="*/ 5736 h 11773"/>
                  <a:gd name="connsiteX5" fmla="*/ 0 w 7272"/>
                  <a:gd name="connsiteY5" fmla="*/ 0 h 11773"/>
                  <a:gd name="connsiteX6" fmla="*/ 2662 w 7272"/>
                  <a:gd name="connsiteY6" fmla="*/ 714 h 11773"/>
                  <a:gd name="connsiteX7" fmla="*/ 3842 w 7272"/>
                  <a:gd name="connsiteY7" fmla="*/ 6175 h 11773"/>
                  <a:gd name="connsiteX8" fmla="*/ 7272 w 7272"/>
                  <a:gd name="connsiteY8" fmla="*/ 10127 h 1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72" h="11773">
                    <a:moveTo>
                      <a:pt x="7272" y="10099"/>
                    </a:moveTo>
                    <a:lnTo>
                      <a:pt x="4500" y="11773"/>
                    </a:lnTo>
                    <a:lnTo>
                      <a:pt x="2607" y="9331"/>
                    </a:lnTo>
                    <a:lnTo>
                      <a:pt x="2799" y="6449"/>
                    </a:lnTo>
                    <a:lnTo>
                      <a:pt x="576" y="5736"/>
                    </a:lnTo>
                    <a:lnTo>
                      <a:pt x="0" y="0"/>
                    </a:lnTo>
                    <a:lnTo>
                      <a:pt x="2662" y="714"/>
                    </a:lnTo>
                    <a:lnTo>
                      <a:pt x="3842" y="6175"/>
                    </a:lnTo>
                    <a:lnTo>
                      <a:pt x="7272" y="101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89" name="Freeform: Shape 4188">
                <a:extLst>
                  <a:ext uri="{FF2B5EF4-FFF2-40B4-BE49-F238E27FC236}">
                    <a16:creationId xmlns:a16="http://schemas.microsoft.com/office/drawing/2014/main" id="{60D0D6D4-23A0-7AE5-4071-F4E58B50324E}"/>
                  </a:ext>
                </a:extLst>
              </p:cNvPr>
              <p:cNvSpPr/>
              <p:nvPr/>
            </p:nvSpPr>
            <p:spPr>
              <a:xfrm>
                <a:off x="1585262" y="3710348"/>
                <a:ext cx="478" cy="446"/>
              </a:xfrm>
              <a:custGeom>
                <a:avLst/>
                <a:gdLst>
                  <a:gd name="connsiteX0" fmla="*/ 4583 w 4583"/>
                  <a:gd name="connsiteY0" fmla="*/ 302 h 4280"/>
                  <a:gd name="connsiteX1" fmla="*/ 3046 w 4583"/>
                  <a:gd name="connsiteY1" fmla="*/ 4281 h 4280"/>
                  <a:gd name="connsiteX2" fmla="*/ 0 w 4583"/>
                  <a:gd name="connsiteY2" fmla="*/ 2552 h 4280"/>
                  <a:gd name="connsiteX3" fmla="*/ 3595 w 4583"/>
                  <a:gd name="connsiteY3" fmla="*/ 0 h 4280"/>
                  <a:gd name="connsiteX4" fmla="*/ 4556 w 4583"/>
                  <a:gd name="connsiteY4" fmla="*/ 302 h 4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 h="4280">
                    <a:moveTo>
                      <a:pt x="4583" y="302"/>
                    </a:moveTo>
                    <a:lnTo>
                      <a:pt x="3046" y="4281"/>
                    </a:lnTo>
                    <a:lnTo>
                      <a:pt x="0" y="2552"/>
                    </a:lnTo>
                    <a:lnTo>
                      <a:pt x="3595" y="0"/>
                    </a:lnTo>
                    <a:lnTo>
                      <a:pt x="4556" y="3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0" name="Freeform: Shape 4189">
                <a:extLst>
                  <a:ext uri="{FF2B5EF4-FFF2-40B4-BE49-F238E27FC236}">
                    <a16:creationId xmlns:a16="http://schemas.microsoft.com/office/drawing/2014/main" id="{6C41C9CE-5A3F-9362-6511-302FE2B9CA7E}"/>
                  </a:ext>
                </a:extLst>
              </p:cNvPr>
              <p:cNvSpPr/>
              <p:nvPr/>
            </p:nvSpPr>
            <p:spPr>
              <a:xfrm>
                <a:off x="1544505" y="3700679"/>
                <a:ext cx="447" cy="398"/>
              </a:xfrm>
              <a:custGeom>
                <a:avLst/>
                <a:gdLst>
                  <a:gd name="connsiteX0" fmla="*/ 4281 w 4281"/>
                  <a:gd name="connsiteY0" fmla="*/ 2141 h 3814"/>
                  <a:gd name="connsiteX1" fmla="*/ 3375 w 4281"/>
                  <a:gd name="connsiteY1" fmla="*/ 3815 h 3814"/>
                  <a:gd name="connsiteX2" fmla="*/ 0 w 4281"/>
                  <a:gd name="connsiteY2" fmla="*/ 3156 h 3814"/>
                  <a:gd name="connsiteX3" fmla="*/ 1125 w 4281"/>
                  <a:gd name="connsiteY3" fmla="*/ 0 h 3814"/>
                  <a:gd name="connsiteX4" fmla="*/ 4281 w 4281"/>
                  <a:gd name="connsiteY4" fmla="*/ 2168 h 3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3814">
                    <a:moveTo>
                      <a:pt x="4281" y="2141"/>
                    </a:moveTo>
                    <a:lnTo>
                      <a:pt x="3375" y="3815"/>
                    </a:lnTo>
                    <a:lnTo>
                      <a:pt x="0" y="3156"/>
                    </a:lnTo>
                    <a:lnTo>
                      <a:pt x="1125" y="0"/>
                    </a:lnTo>
                    <a:lnTo>
                      <a:pt x="4281"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1" name="Freeform: Shape 4190">
                <a:extLst>
                  <a:ext uri="{FF2B5EF4-FFF2-40B4-BE49-F238E27FC236}">
                    <a16:creationId xmlns:a16="http://schemas.microsoft.com/office/drawing/2014/main" id="{E8EEC40F-E655-834A-AF65-785ADDCFA641}"/>
                  </a:ext>
                </a:extLst>
              </p:cNvPr>
              <p:cNvSpPr/>
              <p:nvPr/>
            </p:nvSpPr>
            <p:spPr>
              <a:xfrm>
                <a:off x="1177411" y="3803027"/>
                <a:ext cx="509" cy="804"/>
              </a:xfrm>
              <a:custGeom>
                <a:avLst/>
                <a:gdLst>
                  <a:gd name="connsiteX0" fmla="*/ 4007 w 4884"/>
                  <a:gd name="connsiteY0" fmla="*/ 6888 h 7711"/>
                  <a:gd name="connsiteX1" fmla="*/ 2662 w 4884"/>
                  <a:gd name="connsiteY1" fmla="*/ 7711 h 7711"/>
                  <a:gd name="connsiteX2" fmla="*/ 0 w 4884"/>
                  <a:gd name="connsiteY2" fmla="*/ 5296 h 7711"/>
                  <a:gd name="connsiteX3" fmla="*/ 521 w 4884"/>
                  <a:gd name="connsiteY3" fmla="*/ 2991 h 7711"/>
                  <a:gd name="connsiteX4" fmla="*/ 2333 w 4884"/>
                  <a:gd name="connsiteY4" fmla="*/ 274 h 7711"/>
                  <a:gd name="connsiteX5" fmla="*/ 3650 w 4884"/>
                  <a:gd name="connsiteY5" fmla="*/ 0 h 7711"/>
                  <a:gd name="connsiteX6" fmla="*/ 4775 w 4884"/>
                  <a:gd name="connsiteY6" fmla="*/ 1537 h 7711"/>
                  <a:gd name="connsiteX7" fmla="*/ 4885 w 4884"/>
                  <a:gd name="connsiteY7" fmla="*/ 4281 h 7711"/>
                  <a:gd name="connsiteX8" fmla="*/ 4034 w 4884"/>
                  <a:gd name="connsiteY8" fmla="*/ 6888 h 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84" h="7711">
                    <a:moveTo>
                      <a:pt x="4007" y="6888"/>
                    </a:moveTo>
                    <a:lnTo>
                      <a:pt x="2662" y="7711"/>
                    </a:lnTo>
                    <a:lnTo>
                      <a:pt x="0" y="5296"/>
                    </a:lnTo>
                    <a:lnTo>
                      <a:pt x="521" y="2991"/>
                    </a:lnTo>
                    <a:lnTo>
                      <a:pt x="2333" y="274"/>
                    </a:lnTo>
                    <a:lnTo>
                      <a:pt x="3650" y="0"/>
                    </a:lnTo>
                    <a:lnTo>
                      <a:pt x="4775" y="1537"/>
                    </a:lnTo>
                    <a:lnTo>
                      <a:pt x="4885" y="4281"/>
                    </a:lnTo>
                    <a:lnTo>
                      <a:pt x="4034" y="68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2" name="Freeform: Shape 4191">
                <a:extLst>
                  <a:ext uri="{FF2B5EF4-FFF2-40B4-BE49-F238E27FC236}">
                    <a16:creationId xmlns:a16="http://schemas.microsoft.com/office/drawing/2014/main" id="{965C2A44-8E7B-E03D-1D17-A320C9EBDC79}"/>
                  </a:ext>
                </a:extLst>
              </p:cNvPr>
              <p:cNvSpPr/>
              <p:nvPr/>
            </p:nvSpPr>
            <p:spPr>
              <a:xfrm>
                <a:off x="1176615" y="3805681"/>
                <a:ext cx="258" cy="306"/>
              </a:xfrm>
              <a:custGeom>
                <a:avLst/>
                <a:gdLst>
                  <a:gd name="connsiteX0" fmla="*/ 2470 w 2469"/>
                  <a:gd name="connsiteY0" fmla="*/ 0 h 2936"/>
                  <a:gd name="connsiteX1" fmla="*/ 2113 w 2469"/>
                  <a:gd name="connsiteY1" fmla="*/ 2937 h 2936"/>
                  <a:gd name="connsiteX2" fmla="*/ 0 w 2469"/>
                  <a:gd name="connsiteY2" fmla="*/ 2470 h 2936"/>
                  <a:gd name="connsiteX3" fmla="*/ 412 w 2469"/>
                  <a:gd name="connsiteY3" fmla="*/ 906 h 2936"/>
                  <a:gd name="connsiteX4" fmla="*/ 2470 w 2469"/>
                  <a:gd name="connsiteY4" fmla="*/ 0 h 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9" h="2936">
                    <a:moveTo>
                      <a:pt x="2470" y="0"/>
                    </a:moveTo>
                    <a:lnTo>
                      <a:pt x="2113" y="2937"/>
                    </a:lnTo>
                    <a:lnTo>
                      <a:pt x="0" y="2470"/>
                    </a:lnTo>
                    <a:lnTo>
                      <a:pt x="412" y="906"/>
                    </a:lnTo>
                    <a:lnTo>
                      <a:pt x="247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3" name="Freeform: Shape 4192">
                <a:extLst>
                  <a:ext uri="{FF2B5EF4-FFF2-40B4-BE49-F238E27FC236}">
                    <a16:creationId xmlns:a16="http://schemas.microsoft.com/office/drawing/2014/main" id="{C74A8C13-6789-F653-DB12-F5A22AE86E45}"/>
                  </a:ext>
                </a:extLst>
              </p:cNvPr>
              <p:cNvSpPr/>
              <p:nvPr/>
            </p:nvSpPr>
            <p:spPr>
              <a:xfrm>
                <a:off x="1572327" y="3706309"/>
                <a:ext cx="23491" cy="16985"/>
              </a:xfrm>
              <a:custGeom>
                <a:avLst/>
                <a:gdLst>
                  <a:gd name="connsiteX0" fmla="*/ 96627 w 225224"/>
                  <a:gd name="connsiteY0" fmla="*/ 11060 h 162846"/>
                  <a:gd name="connsiteX1" fmla="*/ 85979 w 225224"/>
                  <a:gd name="connsiteY1" fmla="*/ 22832 h 162846"/>
                  <a:gd name="connsiteX2" fmla="*/ 94486 w 225224"/>
                  <a:gd name="connsiteY2" fmla="*/ 31642 h 162846"/>
                  <a:gd name="connsiteX3" fmla="*/ 103268 w 225224"/>
                  <a:gd name="connsiteY3" fmla="*/ 30105 h 162846"/>
                  <a:gd name="connsiteX4" fmla="*/ 91111 w 225224"/>
                  <a:gd name="connsiteY4" fmla="*/ 39600 h 162846"/>
                  <a:gd name="connsiteX5" fmla="*/ 75715 w 225224"/>
                  <a:gd name="connsiteY5" fmla="*/ 30791 h 162846"/>
                  <a:gd name="connsiteX6" fmla="*/ 63558 w 225224"/>
                  <a:gd name="connsiteY6" fmla="*/ 34798 h 162846"/>
                  <a:gd name="connsiteX7" fmla="*/ 59743 w 225224"/>
                  <a:gd name="connsiteY7" fmla="*/ 41549 h 162846"/>
                  <a:gd name="connsiteX8" fmla="*/ 55490 w 225224"/>
                  <a:gd name="connsiteY8" fmla="*/ 41741 h 162846"/>
                  <a:gd name="connsiteX9" fmla="*/ 54117 w 225224"/>
                  <a:gd name="connsiteY9" fmla="*/ 47174 h 162846"/>
                  <a:gd name="connsiteX10" fmla="*/ 55545 w 225224"/>
                  <a:gd name="connsiteY10" fmla="*/ 54145 h 162846"/>
                  <a:gd name="connsiteX11" fmla="*/ 58618 w 225224"/>
                  <a:gd name="connsiteY11" fmla="*/ 56560 h 162846"/>
                  <a:gd name="connsiteX12" fmla="*/ 89848 w 225224"/>
                  <a:gd name="connsiteY12" fmla="*/ 54529 h 162846"/>
                  <a:gd name="connsiteX13" fmla="*/ 100825 w 225224"/>
                  <a:gd name="connsiteY13" fmla="*/ 61856 h 162846"/>
                  <a:gd name="connsiteX14" fmla="*/ 118416 w 225224"/>
                  <a:gd name="connsiteY14" fmla="*/ 54776 h 162846"/>
                  <a:gd name="connsiteX15" fmla="*/ 121627 w 225224"/>
                  <a:gd name="connsiteY15" fmla="*/ 59085 h 162846"/>
                  <a:gd name="connsiteX16" fmla="*/ 126100 w 225224"/>
                  <a:gd name="connsiteY16" fmla="*/ 60814 h 162846"/>
                  <a:gd name="connsiteX17" fmla="*/ 128214 w 225224"/>
                  <a:gd name="connsiteY17" fmla="*/ 65534 h 162846"/>
                  <a:gd name="connsiteX18" fmla="*/ 134416 w 225224"/>
                  <a:gd name="connsiteY18" fmla="*/ 64354 h 162846"/>
                  <a:gd name="connsiteX19" fmla="*/ 140947 w 225224"/>
                  <a:gd name="connsiteY19" fmla="*/ 69294 h 162846"/>
                  <a:gd name="connsiteX20" fmla="*/ 148878 w 225224"/>
                  <a:gd name="connsiteY20" fmla="*/ 63338 h 162846"/>
                  <a:gd name="connsiteX21" fmla="*/ 167868 w 225224"/>
                  <a:gd name="connsiteY21" fmla="*/ 63091 h 162846"/>
                  <a:gd name="connsiteX22" fmla="*/ 182413 w 225224"/>
                  <a:gd name="connsiteY22" fmla="*/ 59359 h 162846"/>
                  <a:gd name="connsiteX23" fmla="*/ 180190 w 225224"/>
                  <a:gd name="connsiteY23" fmla="*/ 67674 h 162846"/>
                  <a:gd name="connsiteX24" fmla="*/ 186750 w 225224"/>
                  <a:gd name="connsiteY24" fmla="*/ 76868 h 162846"/>
                  <a:gd name="connsiteX25" fmla="*/ 184774 w 225224"/>
                  <a:gd name="connsiteY25" fmla="*/ 82521 h 162846"/>
                  <a:gd name="connsiteX26" fmla="*/ 188122 w 225224"/>
                  <a:gd name="connsiteY26" fmla="*/ 92538 h 162846"/>
                  <a:gd name="connsiteX27" fmla="*/ 192952 w 225224"/>
                  <a:gd name="connsiteY27" fmla="*/ 94129 h 162846"/>
                  <a:gd name="connsiteX28" fmla="*/ 196903 w 225224"/>
                  <a:gd name="connsiteY28" fmla="*/ 90370 h 162846"/>
                  <a:gd name="connsiteX29" fmla="*/ 201706 w 225224"/>
                  <a:gd name="connsiteY29" fmla="*/ 90123 h 162846"/>
                  <a:gd name="connsiteX30" fmla="*/ 216580 w 225224"/>
                  <a:gd name="connsiteY30" fmla="*/ 96901 h 162846"/>
                  <a:gd name="connsiteX31" fmla="*/ 216059 w 225224"/>
                  <a:gd name="connsiteY31" fmla="*/ 108125 h 162846"/>
                  <a:gd name="connsiteX32" fmla="*/ 220641 w 225224"/>
                  <a:gd name="connsiteY32" fmla="*/ 122505 h 162846"/>
                  <a:gd name="connsiteX33" fmla="*/ 219846 w 225224"/>
                  <a:gd name="connsiteY33" fmla="*/ 128955 h 162846"/>
                  <a:gd name="connsiteX34" fmla="*/ 225225 w 225224"/>
                  <a:gd name="connsiteY34" fmla="*/ 135980 h 162846"/>
                  <a:gd name="connsiteX35" fmla="*/ 224099 w 225224"/>
                  <a:gd name="connsiteY35" fmla="*/ 139685 h 162846"/>
                  <a:gd name="connsiteX36" fmla="*/ 218665 w 225224"/>
                  <a:gd name="connsiteY36" fmla="*/ 143005 h 162846"/>
                  <a:gd name="connsiteX37" fmla="*/ 213232 w 225224"/>
                  <a:gd name="connsiteY37" fmla="*/ 137517 h 162846"/>
                  <a:gd name="connsiteX38" fmla="*/ 203489 w 225224"/>
                  <a:gd name="connsiteY38" fmla="*/ 136391 h 162846"/>
                  <a:gd name="connsiteX39" fmla="*/ 184582 w 225224"/>
                  <a:gd name="connsiteY39" fmla="*/ 142594 h 162846"/>
                  <a:gd name="connsiteX40" fmla="*/ 182688 w 225224"/>
                  <a:gd name="connsiteY40" fmla="*/ 141359 h 162846"/>
                  <a:gd name="connsiteX41" fmla="*/ 185020 w 225224"/>
                  <a:gd name="connsiteY41" fmla="*/ 138285 h 162846"/>
                  <a:gd name="connsiteX42" fmla="*/ 184334 w 225224"/>
                  <a:gd name="connsiteY42" fmla="*/ 135925 h 162846"/>
                  <a:gd name="connsiteX43" fmla="*/ 172205 w 225224"/>
                  <a:gd name="connsiteY43" fmla="*/ 135212 h 162846"/>
                  <a:gd name="connsiteX44" fmla="*/ 157989 w 225224"/>
                  <a:gd name="connsiteY44" fmla="*/ 143746 h 162846"/>
                  <a:gd name="connsiteX45" fmla="*/ 152638 w 225224"/>
                  <a:gd name="connsiteY45" fmla="*/ 150442 h 162846"/>
                  <a:gd name="connsiteX46" fmla="*/ 143060 w 225224"/>
                  <a:gd name="connsiteY46" fmla="*/ 152802 h 162846"/>
                  <a:gd name="connsiteX47" fmla="*/ 129338 w 225224"/>
                  <a:gd name="connsiteY47" fmla="*/ 162600 h 162846"/>
                  <a:gd name="connsiteX48" fmla="*/ 124234 w 225224"/>
                  <a:gd name="connsiteY48" fmla="*/ 162847 h 162846"/>
                  <a:gd name="connsiteX49" fmla="*/ 120886 w 225224"/>
                  <a:gd name="connsiteY49" fmla="*/ 159279 h 162846"/>
                  <a:gd name="connsiteX50" fmla="*/ 117374 w 225224"/>
                  <a:gd name="connsiteY50" fmla="*/ 148851 h 162846"/>
                  <a:gd name="connsiteX51" fmla="*/ 121024 w 225224"/>
                  <a:gd name="connsiteY51" fmla="*/ 119020 h 162846"/>
                  <a:gd name="connsiteX52" fmla="*/ 113285 w 225224"/>
                  <a:gd name="connsiteY52" fmla="*/ 117291 h 162846"/>
                  <a:gd name="connsiteX53" fmla="*/ 114163 w 225224"/>
                  <a:gd name="connsiteY53" fmla="*/ 104805 h 162846"/>
                  <a:gd name="connsiteX54" fmla="*/ 102966 w 225224"/>
                  <a:gd name="connsiteY54" fmla="*/ 97340 h 162846"/>
                  <a:gd name="connsiteX55" fmla="*/ 95886 w 225224"/>
                  <a:gd name="connsiteY55" fmla="*/ 99206 h 162846"/>
                  <a:gd name="connsiteX56" fmla="*/ 89025 w 225224"/>
                  <a:gd name="connsiteY56" fmla="*/ 109827 h 162846"/>
                  <a:gd name="connsiteX57" fmla="*/ 81451 w 225224"/>
                  <a:gd name="connsiteY57" fmla="*/ 116934 h 162846"/>
                  <a:gd name="connsiteX58" fmla="*/ 82988 w 225224"/>
                  <a:gd name="connsiteY58" fmla="*/ 125744 h 162846"/>
                  <a:gd name="connsiteX59" fmla="*/ 80271 w 225224"/>
                  <a:gd name="connsiteY59" fmla="*/ 130491 h 162846"/>
                  <a:gd name="connsiteX60" fmla="*/ 61554 w 225224"/>
                  <a:gd name="connsiteY60" fmla="*/ 130629 h 162846"/>
                  <a:gd name="connsiteX61" fmla="*/ 57082 w 225224"/>
                  <a:gd name="connsiteY61" fmla="*/ 136474 h 162846"/>
                  <a:gd name="connsiteX62" fmla="*/ 57850 w 225224"/>
                  <a:gd name="connsiteY62" fmla="*/ 143499 h 162846"/>
                  <a:gd name="connsiteX63" fmla="*/ 53596 w 225224"/>
                  <a:gd name="connsiteY63" fmla="*/ 146820 h 162846"/>
                  <a:gd name="connsiteX64" fmla="*/ 44842 w 225224"/>
                  <a:gd name="connsiteY64" fmla="*/ 140865 h 162846"/>
                  <a:gd name="connsiteX65" fmla="*/ 40396 w 225224"/>
                  <a:gd name="connsiteY65" fmla="*/ 140673 h 162846"/>
                  <a:gd name="connsiteX66" fmla="*/ 17042 w 225224"/>
                  <a:gd name="connsiteY66" fmla="*/ 153351 h 162846"/>
                  <a:gd name="connsiteX67" fmla="*/ 11279 w 225224"/>
                  <a:gd name="connsiteY67" fmla="*/ 148823 h 162846"/>
                  <a:gd name="connsiteX68" fmla="*/ 9495 w 225224"/>
                  <a:gd name="connsiteY68" fmla="*/ 144981 h 162846"/>
                  <a:gd name="connsiteX69" fmla="*/ 12404 w 225224"/>
                  <a:gd name="connsiteY69" fmla="*/ 131342 h 162846"/>
                  <a:gd name="connsiteX70" fmla="*/ 18990 w 225224"/>
                  <a:gd name="connsiteY70" fmla="*/ 120941 h 162846"/>
                  <a:gd name="connsiteX71" fmla="*/ 24013 w 225224"/>
                  <a:gd name="connsiteY71" fmla="*/ 116413 h 162846"/>
                  <a:gd name="connsiteX72" fmla="*/ 27059 w 225224"/>
                  <a:gd name="connsiteY72" fmla="*/ 107741 h 162846"/>
                  <a:gd name="connsiteX73" fmla="*/ 18579 w 225224"/>
                  <a:gd name="connsiteY73" fmla="*/ 93416 h 162846"/>
                  <a:gd name="connsiteX74" fmla="*/ 20500 w 225224"/>
                  <a:gd name="connsiteY74" fmla="*/ 78926 h 162846"/>
                  <a:gd name="connsiteX75" fmla="*/ 16686 w 225224"/>
                  <a:gd name="connsiteY75" fmla="*/ 76319 h 162846"/>
                  <a:gd name="connsiteX76" fmla="*/ 8041 w 225224"/>
                  <a:gd name="connsiteY76" fmla="*/ 75989 h 162846"/>
                  <a:gd name="connsiteX77" fmla="*/ 5132 w 225224"/>
                  <a:gd name="connsiteY77" fmla="*/ 71022 h 162846"/>
                  <a:gd name="connsiteX78" fmla="*/ 0 w 225224"/>
                  <a:gd name="connsiteY78" fmla="*/ 67565 h 162846"/>
                  <a:gd name="connsiteX79" fmla="*/ 604 w 225224"/>
                  <a:gd name="connsiteY79" fmla="*/ 57465 h 162846"/>
                  <a:gd name="connsiteX80" fmla="*/ 8617 w 225224"/>
                  <a:gd name="connsiteY80" fmla="*/ 52498 h 162846"/>
                  <a:gd name="connsiteX81" fmla="*/ 31340 w 225224"/>
                  <a:gd name="connsiteY81" fmla="*/ 55243 h 162846"/>
                  <a:gd name="connsiteX82" fmla="*/ 35429 w 225224"/>
                  <a:gd name="connsiteY82" fmla="*/ 45638 h 162846"/>
                  <a:gd name="connsiteX83" fmla="*/ 39930 w 225224"/>
                  <a:gd name="connsiteY83" fmla="*/ 43360 h 162846"/>
                  <a:gd name="connsiteX84" fmla="*/ 40259 w 225224"/>
                  <a:gd name="connsiteY84" fmla="*/ 38832 h 162846"/>
                  <a:gd name="connsiteX85" fmla="*/ 44348 w 225224"/>
                  <a:gd name="connsiteY85" fmla="*/ 35402 h 162846"/>
                  <a:gd name="connsiteX86" fmla="*/ 43634 w 225224"/>
                  <a:gd name="connsiteY86" fmla="*/ 32218 h 162846"/>
                  <a:gd name="connsiteX87" fmla="*/ 53184 w 225224"/>
                  <a:gd name="connsiteY87" fmla="*/ 29721 h 162846"/>
                  <a:gd name="connsiteX88" fmla="*/ 53349 w 225224"/>
                  <a:gd name="connsiteY88" fmla="*/ 18551 h 162846"/>
                  <a:gd name="connsiteX89" fmla="*/ 58069 w 225224"/>
                  <a:gd name="connsiteY89" fmla="*/ 9687 h 162846"/>
                  <a:gd name="connsiteX90" fmla="*/ 67180 w 225224"/>
                  <a:gd name="connsiteY90" fmla="*/ 13502 h 162846"/>
                  <a:gd name="connsiteX91" fmla="*/ 83290 w 225224"/>
                  <a:gd name="connsiteY91" fmla="*/ 5544 h 162846"/>
                  <a:gd name="connsiteX92" fmla="*/ 88421 w 225224"/>
                  <a:gd name="connsiteY92" fmla="*/ 0 h 162846"/>
                  <a:gd name="connsiteX93" fmla="*/ 96682 w 225224"/>
                  <a:gd name="connsiteY93" fmla="*/ 11005 h 16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25224" h="162846">
                    <a:moveTo>
                      <a:pt x="96627" y="11060"/>
                    </a:moveTo>
                    <a:lnTo>
                      <a:pt x="85979" y="22832"/>
                    </a:lnTo>
                    <a:lnTo>
                      <a:pt x="94486" y="31642"/>
                    </a:lnTo>
                    <a:lnTo>
                      <a:pt x="103268" y="30105"/>
                    </a:lnTo>
                    <a:lnTo>
                      <a:pt x="91111" y="39600"/>
                    </a:lnTo>
                    <a:lnTo>
                      <a:pt x="75715" y="30791"/>
                    </a:lnTo>
                    <a:lnTo>
                      <a:pt x="63558" y="34798"/>
                    </a:lnTo>
                    <a:lnTo>
                      <a:pt x="59743" y="41549"/>
                    </a:lnTo>
                    <a:lnTo>
                      <a:pt x="55490" y="41741"/>
                    </a:lnTo>
                    <a:lnTo>
                      <a:pt x="54117" y="47174"/>
                    </a:lnTo>
                    <a:lnTo>
                      <a:pt x="55545" y="54145"/>
                    </a:lnTo>
                    <a:lnTo>
                      <a:pt x="58618" y="56560"/>
                    </a:lnTo>
                    <a:lnTo>
                      <a:pt x="89848" y="54529"/>
                    </a:lnTo>
                    <a:lnTo>
                      <a:pt x="100825" y="61856"/>
                    </a:lnTo>
                    <a:lnTo>
                      <a:pt x="118416" y="54776"/>
                    </a:lnTo>
                    <a:lnTo>
                      <a:pt x="121627" y="59085"/>
                    </a:lnTo>
                    <a:lnTo>
                      <a:pt x="126100" y="60814"/>
                    </a:lnTo>
                    <a:lnTo>
                      <a:pt x="128214" y="65534"/>
                    </a:lnTo>
                    <a:lnTo>
                      <a:pt x="134416" y="64354"/>
                    </a:lnTo>
                    <a:lnTo>
                      <a:pt x="140947" y="69294"/>
                    </a:lnTo>
                    <a:lnTo>
                      <a:pt x="148878" y="63338"/>
                    </a:lnTo>
                    <a:lnTo>
                      <a:pt x="167868" y="63091"/>
                    </a:lnTo>
                    <a:lnTo>
                      <a:pt x="182413" y="59359"/>
                    </a:lnTo>
                    <a:lnTo>
                      <a:pt x="180190" y="67674"/>
                    </a:lnTo>
                    <a:lnTo>
                      <a:pt x="186750" y="76868"/>
                    </a:lnTo>
                    <a:lnTo>
                      <a:pt x="184774" y="82521"/>
                    </a:lnTo>
                    <a:lnTo>
                      <a:pt x="188122" y="92538"/>
                    </a:lnTo>
                    <a:lnTo>
                      <a:pt x="192952" y="94129"/>
                    </a:lnTo>
                    <a:lnTo>
                      <a:pt x="196903" y="90370"/>
                    </a:lnTo>
                    <a:lnTo>
                      <a:pt x="201706" y="90123"/>
                    </a:lnTo>
                    <a:lnTo>
                      <a:pt x="216580" y="96901"/>
                    </a:lnTo>
                    <a:lnTo>
                      <a:pt x="216059" y="108125"/>
                    </a:lnTo>
                    <a:lnTo>
                      <a:pt x="220641" y="122505"/>
                    </a:lnTo>
                    <a:lnTo>
                      <a:pt x="219846" y="128955"/>
                    </a:lnTo>
                    <a:lnTo>
                      <a:pt x="225225" y="135980"/>
                    </a:lnTo>
                    <a:lnTo>
                      <a:pt x="224099" y="139685"/>
                    </a:lnTo>
                    <a:lnTo>
                      <a:pt x="218665" y="143005"/>
                    </a:lnTo>
                    <a:lnTo>
                      <a:pt x="213232" y="137517"/>
                    </a:lnTo>
                    <a:lnTo>
                      <a:pt x="203489" y="136391"/>
                    </a:lnTo>
                    <a:lnTo>
                      <a:pt x="184582" y="142594"/>
                    </a:lnTo>
                    <a:lnTo>
                      <a:pt x="182688" y="141359"/>
                    </a:lnTo>
                    <a:lnTo>
                      <a:pt x="185020" y="138285"/>
                    </a:lnTo>
                    <a:lnTo>
                      <a:pt x="184334" y="135925"/>
                    </a:lnTo>
                    <a:lnTo>
                      <a:pt x="172205" y="135212"/>
                    </a:lnTo>
                    <a:lnTo>
                      <a:pt x="157989" y="143746"/>
                    </a:lnTo>
                    <a:lnTo>
                      <a:pt x="152638" y="150442"/>
                    </a:lnTo>
                    <a:lnTo>
                      <a:pt x="143060" y="152802"/>
                    </a:lnTo>
                    <a:lnTo>
                      <a:pt x="129338" y="162600"/>
                    </a:lnTo>
                    <a:lnTo>
                      <a:pt x="124234" y="162847"/>
                    </a:lnTo>
                    <a:lnTo>
                      <a:pt x="120886" y="159279"/>
                    </a:lnTo>
                    <a:lnTo>
                      <a:pt x="117374" y="148851"/>
                    </a:lnTo>
                    <a:lnTo>
                      <a:pt x="121024" y="119020"/>
                    </a:lnTo>
                    <a:lnTo>
                      <a:pt x="113285" y="117291"/>
                    </a:lnTo>
                    <a:lnTo>
                      <a:pt x="114163" y="104805"/>
                    </a:lnTo>
                    <a:lnTo>
                      <a:pt x="102966" y="97340"/>
                    </a:lnTo>
                    <a:lnTo>
                      <a:pt x="95886" y="99206"/>
                    </a:lnTo>
                    <a:lnTo>
                      <a:pt x="89025" y="109827"/>
                    </a:lnTo>
                    <a:lnTo>
                      <a:pt x="81451" y="116934"/>
                    </a:lnTo>
                    <a:lnTo>
                      <a:pt x="82988" y="125744"/>
                    </a:lnTo>
                    <a:lnTo>
                      <a:pt x="80271" y="130491"/>
                    </a:lnTo>
                    <a:lnTo>
                      <a:pt x="61554" y="130629"/>
                    </a:lnTo>
                    <a:lnTo>
                      <a:pt x="57082" y="136474"/>
                    </a:lnTo>
                    <a:lnTo>
                      <a:pt x="57850" y="143499"/>
                    </a:lnTo>
                    <a:lnTo>
                      <a:pt x="53596" y="146820"/>
                    </a:lnTo>
                    <a:lnTo>
                      <a:pt x="44842" y="140865"/>
                    </a:lnTo>
                    <a:lnTo>
                      <a:pt x="40396" y="140673"/>
                    </a:lnTo>
                    <a:lnTo>
                      <a:pt x="17042" y="153351"/>
                    </a:lnTo>
                    <a:lnTo>
                      <a:pt x="11279" y="148823"/>
                    </a:lnTo>
                    <a:lnTo>
                      <a:pt x="9495" y="144981"/>
                    </a:lnTo>
                    <a:lnTo>
                      <a:pt x="12404" y="131342"/>
                    </a:lnTo>
                    <a:lnTo>
                      <a:pt x="18990" y="120941"/>
                    </a:lnTo>
                    <a:lnTo>
                      <a:pt x="24013" y="116413"/>
                    </a:lnTo>
                    <a:lnTo>
                      <a:pt x="27059" y="107741"/>
                    </a:lnTo>
                    <a:lnTo>
                      <a:pt x="18579" y="93416"/>
                    </a:lnTo>
                    <a:lnTo>
                      <a:pt x="20500" y="78926"/>
                    </a:lnTo>
                    <a:lnTo>
                      <a:pt x="16686" y="76319"/>
                    </a:lnTo>
                    <a:lnTo>
                      <a:pt x="8041" y="75989"/>
                    </a:lnTo>
                    <a:lnTo>
                      <a:pt x="5132" y="71022"/>
                    </a:lnTo>
                    <a:lnTo>
                      <a:pt x="0" y="67565"/>
                    </a:lnTo>
                    <a:lnTo>
                      <a:pt x="604" y="57465"/>
                    </a:lnTo>
                    <a:lnTo>
                      <a:pt x="8617" y="52498"/>
                    </a:lnTo>
                    <a:lnTo>
                      <a:pt x="31340" y="55243"/>
                    </a:lnTo>
                    <a:lnTo>
                      <a:pt x="35429" y="45638"/>
                    </a:lnTo>
                    <a:lnTo>
                      <a:pt x="39930" y="43360"/>
                    </a:lnTo>
                    <a:lnTo>
                      <a:pt x="40259" y="38832"/>
                    </a:lnTo>
                    <a:lnTo>
                      <a:pt x="44348" y="35402"/>
                    </a:lnTo>
                    <a:lnTo>
                      <a:pt x="43634" y="32218"/>
                    </a:lnTo>
                    <a:lnTo>
                      <a:pt x="53184" y="29721"/>
                    </a:lnTo>
                    <a:lnTo>
                      <a:pt x="53349" y="18551"/>
                    </a:lnTo>
                    <a:lnTo>
                      <a:pt x="58069" y="9687"/>
                    </a:lnTo>
                    <a:lnTo>
                      <a:pt x="67180" y="13502"/>
                    </a:lnTo>
                    <a:lnTo>
                      <a:pt x="83290" y="5544"/>
                    </a:lnTo>
                    <a:lnTo>
                      <a:pt x="88421" y="0"/>
                    </a:lnTo>
                    <a:lnTo>
                      <a:pt x="96682" y="110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4" name="Freeform: Shape 4193">
                <a:extLst>
                  <a:ext uri="{FF2B5EF4-FFF2-40B4-BE49-F238E27FC236}">
                    <a16:creationId xmlns:a16="http://schemas.microsoft.com/office/drawing/2014/main" id="{498ECF09-B70F-6B12-6782-D0F7D4D92AC6}"/>
                  </a:ext>
                </a:extLst>
              </p:cNvPr>
              <p:cNvSpPr/>
              <p:nvPr/>
            </p:nvSpPr>
            <p:spPr>
              <a:xfrm>
                <a:off x="1581655" y="3710749"/>
                <a:ext cx="753" cy="412"/>
              </a:xfrm>
              <a:custGeom>
                <a:avLst/>
                <a:gdLst>
                  <a:gd name="connsiteX0" fmla="*/ 7217 w 7217"/>
                  <a:gd name="connsiteY0" fmla="*/ 1043 h 3951"/>
                  <a:gd name="connsiteX1" fmla="*/ 4803 w 7217"/>
                  <a:gd name="connsiteY1" fmla="*/ 3952 h 3951"/>
                  <a:gd name="connsiteX2" fmla="*/ 1290 w 7217"/>
                  <a:gd name="connsiteY2" fmla="*/ 2552 h 3951"/>
                  <a:gd name="connsiteX3" fmla="*/ 0 w 7217"/>
                  <a:gd name="connsiteY3" fmla="*/ 741 h 3951"/>
                  <a:gd name="connsiteX4" fmla="*/ 6559 w 7217"/>
                  <a:gd name="connsiteY4" fmla="*/ 0 h 3951"/>
                  <a:gd name="connsiteX5" fmla="*/ 7217 w 7217"/>
                  <a:gd name="connsiteY5" fmla="*/ 1043 h 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17" h="3951">
                    <a:moveTo>
                      <a:pt x="7217" y="1043"/>
                    </a:moveTo>
                    <a:lnTo>
                      <a:pt x="4803" y="3952"/>
                    </a:lnTo>
                    <a:lnTo>
                      <a:pt x="1290" y="2552"/>
                    </a:lnTo>
                    <a:lnTo>
                      <a:pt x="0" y="741"/>
                    </a:lnTo>
                    <a:lnTo>
                      <a:pt x="6559" y="0"/>
                    </a:lnTo>
                    <a:lnTo>
                      <a:pt x="7217" y="10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5" name="Freeform: Shape 4194">
                <a:extLst>
                  <a:ext uri="{FF2B5EF4-FFF2-40B4-BE49-F238E27FC236}">
                    <a16:creationId xmlns:a16="http://schemas.microsoft.com/office/drawing/2014/main" id="{F92DAF12-D332-3900-649D-5EC8B75AEF74}"/>
                  </a:ext>
                </a:extLst>
              </p:cNvPr>
              <p:cNvSpPr/>
              <p:nvPr/>
            </p:nvSpPr>
            <p:spPr>
              <a:xfrm>
                <a:off x="1526235" y="3699273"/>
                <a:ext cx="43542" cy="29871"/>
              </a:xfrm>
              <a:custGeom>
                <a:avLst/>
                <a:gdLst>
                  <a:gd name="connsiteX0" fmla="*/ 415350 w 417462"/>
                  <a:gd name="connsiteY0" fmla="*/ 206042 h 286395"/>
                  <a:gd name="connsiteX1" fmla="*/ 408297 w 417462"/>
                  <a:gd name="connsiteY1" fmla="*/ 206811 h 286395"/>
                  <a:gd name="connsiteX2" fmla="*/ 390706 w 417462"/>
                  <a:gd name="connsiteY2" fmla="*/ 199950 h 286395"/>
                  <a:gd name="connsiteX3" fmla="*/ 385108 w 417462"/>
                  <a:gd name="connsiteY3" fmla="*/ 210021 h 286395"/>
                  <a:gd name="connsiteX4" fmla="*/ 368175 w 417462"/>
                  <a:gd name="connsiteY4" fmla="*/ 211778 h 286395"/>
                  <a:gd name="connsiteX5" fmla="*/ 362961 w 417462"/>
                  <a:gd name="connsiteY5" fmla="*/ 215400 h 286395"/>
                  <a:gd name="connsiteX6" fmla="*/ 363372 w 417462"/>
                  <a:gd name="connsiteY6" fmla="*/ 221986 h 286395"/>
                  <a:gd name="connsiteX7" fmla="*/ 359037 w 417462"/>
                  <a:gd name="connsiteY7" fmla="*/ 231344 h 286395"/>
                  <a:gd name="connsiteX8" fmla="*/ 358625 w 417462"/>
                  <a:gd name="connsiteY8" fmla="*/ 236119 h 286395"/>
                  <a:gd name="connsiteX9" fmla="*/ 358488 w 417462"/>
                  <a:gd name="connsiteY9" fmla="*/ 240263 h 286395"/>
                  <a:gd name="connsiteX10" fmla="*/ 355935 w 417462"/>
                  <a:gd name="connsiteY10" fmla="*/ 244297 h 286395"/>
                  <a:gd name="connsiteX11" fmla="*/ 343586 w 417462"/>
                  <a:gd name="connsiteY11" fmla="*/ 250994 h 286395"/>
                  <a:gd name="connsiteX12" fmla="*/ 341445 w 417462"/>
                  <a:gd name="connsiteY12" fmla="*/ 254232 h 286395"/>
                  <a:gd name="connsiteX13" fmla="*/ 314826 w 417462"/>
                  <a:gd name="connsiteY13" fmla="*/ 261120 h 286395"/>
                  <a:gd name="connsiteX14" fmla="*/ 317433 w 417462"/>
                  <a:gd name="connsiteY14" fmla="*/ 267020 h 286395"/>
                  <a:gd name="connsiteX15" fmla="*/ 314688 w 417462"/>
                  <a:gd name="connsiteY15" fmla="*/ 269298 h 286395"/>
                  <a:gd name="connsiteX16" fmla="*/ 313728 w 417462"/>
                  <a:gd name="connsiteY16" fmla="*/ 275939 h 286395"/>
                  <a:gd name="connsiteX17" fmla="*/ 301077 w 417462"/>
                  <a:gd name="connsiteY17" fmla="*/ 283706 h 286395"/>
                  <a:gd name="connsiteX18" fmla="*/ 295369 w 417462"/>
                  <a:gd name="connsiteY18" fmla="*/ 282471 h 286395"/>
                  <a:gd name="connsiteX19" fmla="*/ 290758 w 417462"/>
                  <a:gd name="connsiteY19" fmla="*/ 286395 h 286395"/>
                  <a:gd name="connsiteX20" fmla="*/ 289249 w 417462"/>
                  <a:gd name="connsiteY20" fmla="*/ 281757 h 286395"/>
                  <a:gd name="connsiteX21" fmla="*/ 282800 w 417462"/>
                  <a:gd name="connsiteY21" fmla="*/ 276296 h 286395"/>
                  <a:gd name="connsiteX22" fmla="*/ 270066 w 417462"/>
                  <a:gd name="connsiteY22" fmla="*/ 276186 h 286395"/>
                  <a:gd name="connsiteX23" fmla="*/ 262547 w 417462"/>
                  <a:gd name="connsiteY23" fmla="*/ 269984 h 286395"/>
                  <a:gd name="connsiteX24" fmla="*/ 260077 w 417462"/>
                  <a:gd name="connsiteY24" fmla="*/ 270066 h 286395"/>
                  <a:gd name="connsiteX25" fmla="*/ 259336 w 417462"/>
                  <a:gd name="connsiteY25" fmla="*/ 261093 h 286395"/>
                  <a:gd name="connsiteX26" fmla="*/ 256729 w 417462"/>
                  <a:gd name="connsiteY26" fmla="*/ 256921 h 286395"/>
                  <a:gd name="connsiteX27" fmla="*/ 258321 w 417462"/>
                  <a:gd name="connsiteY27" fmla="*/ 250170 h 286395"/>
                  <a:gd name="connsiteX28" fmla="*/ 256400 w 417462"/>
                  <a:gd name="connsiteY28" fmla="*/ 242514 h 286395"/>
                  <a:gd name="connsiteX29" fmla="*/ 257223 w 417462"/>
                  <a:gd name="connsiteY29" fmla="*/ 236092 h 286395"/>
                  <a:gd name="connsiteX30" fmla="*/ 254891 w 417462"/>
                  <a:gd name="connsiteY30" fmla="*/ 232332 h 286395"/>
                  <a:gd name="connsiteX31" fmla="*/ 233265 w 417462"/>
                  <a:gd name="connsiteY31" fmla="*/ 232387 h 286395"/>
                  <a:gd name="connsiteX32" fmla="*/ 223550 w 417462"/>
                  <a:gd name="connsiteY32" fmla="*/ 218583 h 286395"/>
                  <a:gd name="connsiteX33" fmla="*/ 209719 w 417462"/>
                  <a:gd name="connsiteY33" fmla="*/ 213534 h 286395"/>
                  <a:gd name="connsiteX34" fmla="*/ 205850 w 417462"/>
                  <a:gd name="connsiteY34" fmla="*/ 208320 h 286395"/>
                  <a:gd name="connsiteX35" fmla="*/ 203435 w 417462"/>
                  <a:gd name="connsiteY35" fmla="*/ 199950 h 286395"/>
                  <a:gd name="connsiteX36" fmla="*/ 188533 w 417462"/>
                  <a:gd name="connsiteY36" fmla="*/ 194077 h 286395"/>
                  <a:gd name="connsiteX37" fmla="*/ 172808 w 417462"/>
                  <a:gd name="connsiteY37" fmla="*/ 194543 h 286395"/>
                  <a:gd name="connsiteX38" fmla="*/ 169241 w 417462"/>
                  <a:gd name="connsiteY38" fmla="*/ 190372 h 286395"/>
                  <a:gd name="connsiteX39" fmla="*/ 147972 w 417462"/>
                  <a:gd name="connsiteY39" fmla="*/ 184417 h 286395"/>
                  <a:gd name="connsiteX40" fmla="*/ 140838 w 417462"/>
                  <a:gd name="connsiteY40" fmla="*/ 172068 h 286395"/>
                  <a:gd name="connsiteX41" fmla="*/ 136008 w 417462"/>
                  <a:gd name="connsiteY41" fmla="*/ 174510 h 286395"/>
                  <a:gd name="connsiteX42" fmla="*/ 119762 w 417462"/>
                  <a:gd name="connsiteY42" fmla="*/ 172342 h 286395"/>
                  <a:gd name="connsiteX43" fmla="*/ 115947 w 417462"/>
                  <a:gd name="connsiteY43" fmla="*/ 174098 h 286395"/>
                  <a:gd name="connsiteX44" fmla="*/ 113532 w 417462"/>
                  <a:gd name="connsiteY44" fmla="*/ 179148 h 286395"/>
                  <a:gd name="connsiteX45" fmla="*/ 98547 w 417462"/>
                  <a:gd name="connsiteY45" fmla="*/ 177666 h 286395"/>
                  <a:gd name="connsiteX46" fmla="*/ 89217 w 417462"/>
                  <a:gd name="connsiteY46" fmla="*/ 179093 h 286395"/>
                  <a:gd name="connsiteX47" fmla="*/ 79612 w 417462"/>
                  <a:gd name="connsiteY47" fmla="*/ 184060 h 286395"/>
                  <a:gd name="connsiteX48" fmla="*/ 71159 w 417462"/>
                  <a:gd name="connsiteY48" fmla="*/ 191909 h 286395"/>
                  <a:gd name="connsiteX49" fmla="*/ 69513 w 417462"/>
                  <a:gd name="connsiteY49" fmla="*/ 199291 h 286395"/>
                  <a:gd name="connsiteX50" fmla="*/ 66604 w 417462"/>
                  <a:gd name="connsiteY50" fmla="*/ 202200 h 286395"/>
                  <a:gd name="connsiteX51" fmla="*/ 53679 w 417462"/>
                  <a:gd name="connsiteY51" fmla="*/ 207249 h 286395"/>
                  <a:gd name="connsiteX52" fmla="*/ 43415 w 417462"/>
                  <a:gd name="connsiteY52" fmla="*/ 206618 h 286395"/>
                  <a:gd name="connsiteX53" fmla="*/ 40616 w 417462"/>
                  <a:gd name="connsiteY53" fmla="*/ 183594 h 286395"/>
                  <a:gd name="connsiteX54" fmla="*/ 41522 w 417462"/>
                  <a:gd name="connsiteY54" fmla="*/ 160953 h 286395"/>
                  <a:gd name="connsiteX55" fmla="*/ 44567 w 417462"/>
                  <a:gd name="connsiteY55" fmla="*/ 147945 h 286395"/>
                  <a:gd name="connsiteX56" fmla="*/ 31862 w 417462"/>
                  <a:gd name="connsiteY56" fmla="*/ 132769 h 286395"/>
                  <a:gd name="connsiteX57" fmla="*/ 21899 w 417462"/>
                  <a:gd name="connsiteY57" fmla="*/ 132577 h 286395"/>
                  <a:gd name="connsiteX58" fmla="*/ 20281 w 417462"/>
                  <a:gd name="connsiteY58" fmla="*/ 130574 h 286395"/>
                  <a:gd name="connsiteX59" fmla="*/ 24013 w 417462"/>
                  <a:gd name="connsiteY59" fmla="*/ 124536 h 286395"/>
                  <a:gd name="connsiteX60" fmla="*/ 35127 w 417462"/>
                  <a:gd name="connsiteY60" fmla="*/ 124674 h 286395"/>
                  <a:gd name="connsiteX61" fmla="*/ 34798 w 417462"/>
                  <a:gd name="connsiteY61" fmla="*/ 121819 h 286395"/>
                  <a:gd name="connsiteX62" fmla="*/ 29748 w 417462"/>
                  <a:gd name="connsiteY62" fmla="*/ 116303 h 286395"/>
                  <a:gd name="connsiteX63" fmla="*/ 32218 w 417462"/>
                  <a:gd name="connsiteY63" fmla="*/ 108400 h 286395"/>
                  <a:gd name="connsiteX64" fmla="*/ 28349 w 417462"/>
                  <a:gd name="connsiteY64" fmla="*/ 106836 h 286395"/>
                  <a:gd name="connsiteX65" fmla="*/ 13035 w 417462"/>
                  <a:gd name="connsiteY65" fmla="*/ 107988 h 286395"/>
                  <a:gd name="connsiteX66" fmla="*/ 9633 w 417462"/>
                  <a:gd name="connsiteY66" fmla="*/ 103762 h 286395"/>
                  <a:gd name="connsiteX67" fmla="*/ 8150 w 417462"/>
                  <a:gd name="connsiteY67" fmla="*/ 94871 h 286395"/>
                  <a:gd name="connsiteX68" fmla="*/ 14765 w 417462"/>
                  <a:gd name="connsiteY68" fmla="*/ 67455 h 286395"/>
                  <a:gd name="connsiteX69" fmla="*/ 20802 w 417462"/>
                  <a:gd name="connsiteY69" fmla="*/ 76127 h 286395"/>
                  <a:gd name="connsiteX70" fmla="*/ 30489 w 417462"/>
                  <a:gd name="connsiteY70" fmla="*/ 77334 h 286395"/>
                  <a:gd name="connsiteX71" fmla="*/ 34798 w 417462"/>
                  <a:gd name="connsiteY71" fmla="*/ 73712 h 286395"/>
                  <a:gd name="connsiteX72" fmla="*/ 40341 w 417462"/>
                  <a:gd name="connsiteY72" fmla="*/ 81890 h 286395"/>
                  <a:gd name="connsiteX73" fmla="*/ 55462 w 417462"/>
                  <a:gd name="connsiteY73" fmla="*/ 79283 h 286395"/>
                  <a:gd name="connsiteX74" fmla="*/ 55271 w 417462"/>
                  <a:gd name="connsiteY74" fmla="*/ 72011 h 286395"/>
                  <a:gd name="connsiteX75" fmla="*/ 61033 w 417462"/>
                  <a:gd name="connsiteY75" fmla="*/ 74700 h 286395"/>
                  <a:gd name="connsiteX76" fmla="*/ 66604 w 417462"/>
                  <a:gd name="connsiteY76" fmla="*/ 71572 h 286395"/>
                  <a:gd name="connsiteX77" fmla="*/ 66138 w 417462"/>
                  <a:gd name="connsiteY77" fmla="*/ 62872 h 286395"/>
                  <a:gd name="connsiteX78" fmla="*/ 49096 w 417462"/>
                  <a:gd name="connsiteY78" fmla="*/ 48959 h 286395"/>
                  <a:gd name="connsiteX79" fmla="*/ 47174 w 417462"/>
                  <a:gd name="connsiteY79" fmla="*/ 43333 h 286395"/>
                  <a:gd name="connsiteX80" fmla="*/ 46681 w 417462"/>
                  <a:gd name="connsiteY80" fmla="*/ 41494 h 286395"/>
                  <a:gd name="connsiteX81" fmla="*/ 43278 w 417462"/>
                  <a:gd name="connsiteY81" fmla="*/ 29007 h 286395"/>
                  <a:gd name="connsiteX82" fmla="*/ 42619 w 417462"/>
                  <a:gd name="connsiteY82" fmla="*/ 26537 h 286395"/>
                  <a:gd name="connsiteX83" fmla="*/ 35374 w 417462"/>
                  <a:gd name="connsiteY83" fmla="*/ 23190 h 286395"/>
                  <a:gd name="connsiteX84" fmla="*/ 18277 w 417462"/>
                  <a:gd name="connsiteY84" fmla="*/ 27278 h 286395"/>
                  <a:gd name="connsiteX85" fmla="*/ 17289 w 417462"/>
                  <a:gd name="connsiteY85" fmla="*/ 29035 h 286395"/>
                  <a:gd name="connsiteX86" fmla="*/ 11663 w 417462"/>
                  <a:gd name="connsiteY86" fmla="*/ 38640 h 286395"/>
                  <a:gd name="connsiteX87" fmla="*/ 12980 w 417462"/>
                  <a:gd name="connsiteY87" fmla="*/ 41521 h 286395"/>
                  <a:gd name="connsiteX88" fmla="*/ 11032 w 417462"/>
                  <a:gd name="connsiteY88" fmla="*/ 55600 h 286395"/>
                  <a:gd name="connsiteX89" fmla="*/ 4885 w 417462"/>
                  <a:gd name="connsiteY89" fmla="*/ 48190 h 286395"/>
                  <a:gd name="connsiteX90" fmla="*/ 3650 w 417462"/>
                  <a:gd name="connsiteY90" fmla="*/ 41521 h 286395"/>
                  <a:gd name="connsiteX91" fmla="*/ 0 w 417462"/>
                  <a:gd name="connsiteY91" fmla="*/ 37926 h 286395"/>
                  <a:gd name="connsiteX92" fmla="*/ 10181 w 417462"/>
                  <a:gd name="connsiteY92" fmla="*/ 29035 h 286395"/>
                  <a:gd name="connsiteX93" fmla="*/ 29968 w 417462"/>
                  <a:gd name="connsiteY93" fmla="*/ 18085 h 286395"/>
                  <a:gd name="connsiteX94" fmla="*/ 51538 w 417462"/>
                  <a:gd name="connsiteY94" fmla="*/ 15258 h 286395"/>
                  <a:gd name="connsiteX95" fmla="*/ 71352 w 417462"/>
                  <a:gd name="connsiteY95" fmla="*/ 29035 h 286395"/>
                  <a:gd name="connsiteX96" fmla="*/ 78103 w 417462"/>
                  <a:gd name="connsiteY96" fmla="*/ 41521 h 286395"/>
                  <a:gd name="connsiteX97" fmla="*/ 80737 w 417462"/>
                  <a:gd name="connsiteY97" fmla="*/ 46406 h 286395"/>
                  <a:gd name="connsiteX98" fmla="*/ 88531 w 417462"/>
                  <a:gd name="connsiteY98" fmla="*/ 55847 h 286395"/>
                  <a:gd name="connsiteX99" fmla="*/ 93498 w 417462"/>
                  <a:gd name="connsiteY99" fmla="*/ 57713 h 286395"/>
                  <a:gd name="connsiteX100" fmla="*/ 104969 w 417462"/>
                  <a:gd name="connsiteY100" fmla="*/ 55243 h 286395"/>
                  <a:gd name="connsiteX101" fmla="*/ 135733 w 417462"/>
                  <a:gd name="connsiteY101" fmla="*/ 56780 h 286395"/>
                  <a:gd name="connsiteX102" fmla="*/ 137242 w 417462"/>
                  <a:gd name="connsiteY102" fmla="*/ 53980 h 286395"/>
                  <a:gd name="connsiteX103" fmla="*/ 134964 w 417462"/>
                  <a:gd name="connsiteY103" fmla="*/ 43360 h 286395"/>
                  <a:gd name="connsiteX104" fmla="*/ 134745 w 417462"/>
                  <a:gd name="connsiteY104" fmla="*/ 41521 h 286395"/>
                  <a:gd name="connsiteX105" fmla="*/ 134745 w 417462"/>
                  <a:gd name="connsiteY105" fmla="*/ 35758 h 286395"/>
                  <a:gd name="connsiteX106" fmla="*/ 142456 w 417462"/>
                  <a:gd name="connsiteY106" fmla="*/ 25577 h 286395"/>
                  <a:gd name="connsiteX107" fmla="*/ 147424 w 417462"/>
                  <a:gd name="connsiteY107" fmla="*/ 22147 h 286395"/>
                  <a:gd name="connsiteX108" fmla="*/ 158840 w 417462"/>
                  <a:gd name="connsiteY108" fmla="*/ 20280 h 286395"/>
                  <a:gd name="connsiteX109" fmla="*/ 162407 w 417462"/>
                  <a:gd name="connsiteY109" fmla="*/ 12542 h 286395"/>
                  <a:gd name="connsiteX110" fmla="*/ 163313 w 417462"/>
                  <a:gd name="connsiteY110" fmla="*/ 10566 h 286395"/>
                  <a:gd name="connsiteX111" fmla="*/ 171848 w 417462"/>
                  <a:gd name="connsiteY111" fmla="*/ 9441 h 286395"/>
                  <a:gd name="connsiteX112" fmla="*/ 171217 w 417462"/>
                  <a:gd name="connsiteY112" fmla="*/ 3293 h 286395"/>
                  <a:gd name="connsiteX113" fmla="*/ 171217 w 417462"/>
                  <a:gd name="connsiteY113" fmla="*/ 3019 h 286395"/>
                  <a:gd name="connsiteX114" fmla="*/ 182688 w 417462"/>
                  <a:gd name="connsiteY114" fmla="*/ 0 h 286395"/>
                  <a:gd name="connsiteX115" fmla="*/ 188561 w 417462"/>
                  <a:gd name="connsiteY115" fmla="*/ 3266 h 286395"/>
                  <a:gd name="connsiteX116" fmla="*/ 198660 w 417462"/>
                  <a:gd name="connsiteY116" fmla="*/ 8892 h 286395"/>
                  <a:gd name="connsiteX117" fmla="*/ 202063 w 417462"/>
                  <a:gd name="connsiteY117" fmla="*/ 12514 h 286395"/>
                  <a:gd name="connsiteX118" fmla="*/ 205438 w 417462"/>
                  <a:gd name="connsiteY118" fmla="*/ 16136 h 286395"/>
                  <a:gd name="connsiteX119" fmla="*/ 221081 w 417462"/>
                  <a:gd name="connsiteY119" fmla="*/ 19485 h 286395"/>
                  <a:gd name="connsiteX120" fmla="*/ 223166 w 417462"/>
                  <a:gd name="connsiteY120" fmla="*/ 28980 h 286395"/>
                  <a:gd name="connsiteX121" fmla="*/ 226843 w 417462"/>
                  <a:gd name="connsiteY121" fmla="*/ 35566 h 286395"/>
                  <a:gd name="connsiteX122" fmla="*/ 226322 w 417462"/>
                  <a:gd name="connsiteY122" fmla="*/ 41494 h 286395"/>
                  <a:gd name="connsiteX123" fmla="*/ 227804 w 417462"/>
                  <a:gd name="connsiteY123" fmla="*/ 51291 h 286395"/>
                  <a:gd name="connsiteX124" fmla="*/ 234528 w 417462"/>
                  <a:gd name="connsiteY124" fmla="*/ 56752 h 286395"/>
                  <a:gd name="connsiteX125" fmla="*/ 258897 w 417462"/>
                  <a:gd name="connsiteY125" fmla="*/ 60814 h 286395"/>
                  <a:gd name="connsiteX126" fmla="*/ 267651 w 417462"/>
                  <a:gd name="connsiteY126" fmla="*/ 58124 h 286395"/>
                  <a:gd name="connsiteX127" fmla="*/ 276515 w 417462"/>
                  <a:gd name="connsiteY127" fmla="*/ 63421 h 286395"/>
                  <a:gd name="connsiteX128" fmla="*/ 280495 w 417462"/>
                  <a:gd name="connsiteY128" fmla="*/ 69266 h 286395"/>
                  <a:gd name="connsiteX129" fmla="*/ 285023 w 417462"/>
                  <a:gd name="connsiteY129" fmla="*/ 82302 h 286395"/>
                  <a:gd name="connsiteX130" fmla="*/ 290648 w 417462"/>
                  <a:gd name="connsiteY130" fmla="*/ 90452 h 286395"/>
                  <a:gd name="connsiteX131" fmla="*/ 294189 w 417462"/>
                  <a:gd name="connsiteY131" fmla="*/ 103872 h 286395"/>
                  <a:gd name="connsiteX132" fmla="*/ 299622 w 417462"/>
                  <a:gd name="connsiteY132" fmla="*/ 110870 h 286395"/>
                  <a:gd name="connsiteX133" fmla="*/ 341199 w 417462"/>
                  <a:gd name="connsiteY133" fmla="*/ 142594 h 286395"/>
                  <a:gd name="connsiteX134" fmla="*/ 353164 w 417462"/>
                  <a:gd name="connsiteY134" fmla="*/ 147835 h 286395"/>
                  <a:gd name="connsiteX135" fmla="*/ 381375 w 417462"/>
                  <a:gd name="connsiteY135" fmla="*/ 168198 h 286395"/>
                  <a:gd name="connsiteX136" fmla="*/ 398802 w 417462"/>
                  <a:gd name="connsiteY136" fmla="*/ 173687 h 286395"/>
                  <a:gd name="connsiteX137" fmla="*/ 416063 w 417462"/>
                  <a:gd name="connsiteY137" fmla="*/ 182469 h 286395"/>
                  <a:gd name="connsiteX138" fmla="*/ 417463 w 417462"/>
                  <a:gd name="connsiteY138" fmla="*/ 186091 h 286395"/>
                  <a:gd name="connsiteX139" fmla="*/ 415350 w 417462"/>
                  <a:gd name="connsiteY139" fmla="*/ 206042 h 286395"/>
                  <a:gd name="connsiteX140" fmla="*/ 175169 w 417462"/>
                  <a:gd name="connsiteY140" fmla="*/ 16603 h 286395"/>
                  <a:gd name="connsiteX141" fmla="*/ 178544 w 417462"/>
                  <a:gd name="connsiteY141" fmla="*/ 17262 h 286395"/>
                  <a:gd name="connsiteX142" fmla="*/ 179450 w 417462"/>
                  <a:gd name="connsiteY142" fmla="*/ 15588 h 286395"/>
                  <a:gd name="connsiteX143" fmla="*/ 176294 w 417462"/>
                  <a:gd name="connsiteY143" fmla="*/ 13420 h 286395"/>
                  <a:gd name="connsiteX144" fmla="*/ 175169 w 417462"/>
                  <a:gd name="connsiteY144" fmla="*/ 16576 h 286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17462" h="286395">
                    <a:moveTo>
                      <a:pt x="415350" y="206042"/>
                    </a:moveTo>
                    <a:lnTo>
                      <a:pt x="408297" y="206811"/>
                    </a:lnTo>
                    <a:lnTo>
                      <a:pt x="390706" y="199950"/>
                    </a:lnTo>
                    <a:lnTo>
                      <a:pt x="385108" y="210021"/>
                    </a:lnTo>
                    <a:lnTo>
                      <a:pt x="368175" y="211778"/>
                    </a:lnTo>
                    <a:lnTo>
                      <a:pt x="362961" y="215400"/>
                    </a:lnTo>
                    <a:lnTo>
                      <a:pt x="363372" y="221986"/>
                    </a:lnTo>
                    <a:lnTo>
                      <a:pt x="359037" y="231344"/>
                    </a:lnTo>
                    <a:lnTo>
                      <a:pt x="358625" y="236119"/>
                    </a:lnTo>
                    <a:lnTo>
                      <a:pt x="358488" y="240263"/>
                    </a:lnTo>
                    <a:lnTo>
                      <a:pt x="355935" y="244297"/>
                    </a:lnTo>
                    <a:lnTo>
                      <a:pt x="343586" y="250994"/>
                    </a:lnTo>
                    <a:lnTo>
                      <a:pt x="341445" y="254232"/>
                    </a:lnTo>
                    <a:lnTo>
                      <a:pt x="314826" y="261120"/>
                    </a:lnTo>
                    <a:lnTo>
                      <a:pt x="317433" y="267020"/>
                    </a:lnTo>
                    <a:lnTo>
                      <a:pt x="314688" y="269298"/>
                    </a:lnTo>
                    <a:lnTo>
                      <a:pt x="313728" y="275939"/>
                    </a:lnTo>
                    <a:lnTo>
                      <a:pt x="301077" y="283706"/>
                    </a:lnTo>
                    <a:lnTo>
                      <a:pt x="295369" y="282471"/>
                    </a:lnTo>
                    <a:lnTo>
                      <a:pt x="290758" y="286395"/>
                    </a:lnTo>
                    <a:lnTo>
                      <a:pt x="289249" y="281757"/>
                    </a:lnTo>
                    <a:lnTo>
                      <a:pt x="282800" y="276296"/>
                    </a:lnTo>
                    <a:lnTo>
                      <a:pt x="270066" y="276186"/>
                    </a:lnTo>
                    <a:lnTo>
                      <a:pt x="262547" y="269984"/>
                    </a:lnTo>
                    <a:lnTo>
                      <a:pt x="260077" y="270066"/>
                    </a:lnTo>
                    <a:lnTo>
                      <a:pt x="259336" y="261093"/>
                    </a:lnTo>
                    <a:lnTo>
                      <a:pt x="256729" y="256921"/>
                    </a:lnTo>
                    <a:lnTo>
                      <a:pt x="258321" y="250170"/>
                    </a:lnTo>
                    <a:lnTo>
                      <a:pt x="256400" y="242514"/>
                    </a:lnTo>
                    <a:lnTo>
                      <a:pt x="257223" y="236092"/>
                    </a:lnTo>
                    <a:lnTo>
                      <a:pt x="254891" y="232332"/>
                    </a:lnTo>
                    <a:lnTo>
                      <a:pt x="233265" y="232387"/>
                    </a:lnTo>
                    <a:lnTo>
                      <a:pt x="223550" y="218583"/>
                    </a:lnTo>
                    <a:lnTo>
                      <a:pt x="209719" y="213534"/>
                    </a:lnTo>
                    <a:lnTo>
                      <a:pt x="205850" y="208320"/>
                    </a:lnTo>
                    <a:lnTo>
                      <a:pt x="203435" y="199950"/>
                    </a:lnTo>
                    <a:lnTo>
                      <a:pt x="188533" y="194077"/>
                    </a:lnTo>
                    <a:lnTo>
                      <a:pt x="172808" y="194543"/>
                    </a:lnTo>
                    <a:lnTo>
                      <a:pt x="169241" y="190372"/>
                    </a:lnTo>
                    <a:lnTo>
                      <a:pt x="147972" y="184417"/>
                    </a:lnTo>
                    <a:lnTo>
                      <a:pt x="140838" y="172068"/>
                    </a:lnTo>
                    <a:lnTo>
                      <a:pt x="136008" y="174510"/>
                    </a:lnTo>
                    <a:lnTo>
                      <a:pt x="119762" y="172342"/>
                    </a:lnTo>
                    <a:lnTo>
                      <a:pt x="115947" y="174098"/>
                    </a:lnTo>
                    <a:lnTo>
                      <a:pt x="113532" y="179148"/>
                    </a:lnTo>
                    <a:lnTo>
                      <a:pt x="98547" y="177666"/>
                    </a:lnTo>
                    <a:lnTo>
                      <a:pt x="89217" y="179093"/>
                    </a:lnTo>
                    <a:lnTo>
                      <a:pt x="79612" y="184060"/>
                    </a:lnTo>
                    <a:lnTo>
                      <a:pt x="71159" y="191909"/>
                    </a:lnTo>
                    <a:lnTo>
                      <a:pt x="69513" y="199291"/>
                    </a:lnTo>
                    <a:lnTo>
                      <a:pt x="66604" y="202200"/>
                    </a:lnTo>
                    <a:lnTo>
                      <a:pt x="53679" y="207249"/>
                    </a:lnTo>
                    <a:lnTo>
                      <a:pt x="43415" y="206618"/>
                    </a:lnTo>
                    <a:lnTo>
                      <a:pt x="40616" y="183594"/>
                    </a:lnTo>
                    <a:lnTo>
                      <a:pt x="41522" y="160953"/>
                    </a:lnTo>
                    <a:lnTo>
                      <a:pt x="44567" y="147945"/>
                    </a:lnTo>
                    <a:lnTo>
                      <a:pt x="31862" y="132769"/>
                    </a:lnTo>
                    <a:lnTo>
                      <a:pt x="21899" y="132577"/>
                    </a:lnTo>
                    <a:lnTo>
                      <a:pt x="20281" y="130574"/>
                    </a:lnTo>
                    <a:lnTo>
                      <a:pt x="24013" y="124536"/>
                    </a:lnTo>
                    <a:lnTo>
                      <a:pt x="35127" y="124674"/>
                    </a:lnTo>
                    <a:lnTo>
                      <a:pt x="34798" y="121819"/>
                    </a:lnTo>
                    <a:lnTo>
                      <a:pt x="29748" y="116303"/>
                    </a:lnTo>
                    <a:lnTo>
                      <a:pt x="32218" y="108400"/>
                    </a:lnTo>
                    <a:lnTo>
                      <a:pt x="28349" y="106836"/>
                    </a:lnTo>
                    <a:lnTo>
                      <a:pt x="13035" y="107988"/>
                    </a:lnTo>
                    <a:lnTo>
                      <a:pt x="9633" y="103762"/>
                    </a:lnTo>
                    <a:lnTo>
                      <a:pt x="8150" y="94871"/>
                    </a:lnTo>
                    <a:lnTo>
                      <a:pt x="14765" y="67455"/>
                    </a:lnTo>
                    <a:lnTo>
                      <a:pt x="20802" y="76127"/>
                    </a:lnTo>
                    <a:lnTo>
                      <a:pt x="30489" y="77334"/>
                    </a:lnTo>
                    <a:lnTo>
                      <a:pt x="34798" y="73712"/>
                    </a:lnTo>
                    <a:lnTo>
                      <a:pt x="40341" y="81890"/>
                    </a:lnTo>
                    <a:lnTo>
                      <a:pt x="55462" y="79283"/>
                    </a:lnTo>
                    <a:lnTo>
                      <a:pt x="55271" y="72011"/>
                    </a:lnTo>
                    <a:lnTo>
                      <a:pt x="61033" y="74700"/>
                    </a:lnTo>
                    <a:lnTo>
                      <a:pt x="66604" y="71572"/>
                    </a:lnTo>
                    <a:lnTo>
                      <a:pt x="66138" y="62872"/>
                    </a:lnTo>
                    <a:lnTo>
                      <a:pt x="49096" y="48959"/>
                    </a:lnTo>
                    <a:lnTo>
                      <a:pt x="47174" y="43333"/>
                    </a:lnTo>
                    <a:lnTo>
                      <a:pt x="46681" y="41494"/>
                    </a:lnTo>
                    <a:lnTo>
                      <a:pt x="43278" y="29007"/>
                    </a:lnTo>
                    <a:lnTo>
                      <a:pt x="42619" y="26537"/>
                    </a:lnTo>
                    <a:lnTo>
                      <a:pt x="35374" y="23190"/>
                    </a:lnTo>
                    <a:lnTo>
                      <a:pt x="18277" y="27278"/>
                    </a:lnTo>
                    <a:lnTo>
                      <a:pt x="17289" y="29035"/>
                    </a:lnTo>
                    <a:lnTo>
                      <a:pt x="11663" y="38640"/>
                    </a:lnTo>
                    <a:lnTo>
                      <a:pt x="12980" y="41521"/>
                    </a:lnTo>
                    <a:lnTo>
                      <a:pt x="11032" y="55600"/>
                    </a:lnTo>
                    <a:lnTo>
                      <a:pt x="4885" y="48190"/>
                    </a:lnTo>
                    <a:lnTo>
                      <a:pt x="3650" y="41521"/>
                    </a:lnTo>
                    <a:lnTo>
                      <a:pt x="0" y="37926"/>
                    </a:lnTo>
                    <a:lnTo>
                      <a:pt x="10181" y="29035"/>
                    </a:lnTo>
                    <a:lnTo>
                      <a:pt x="29968" y="18085"/>
                    </a:lnTo>
                    <a:lnTo>
                      <a:pt x="51538" y="15258"/>
                    </a:lnTo>
                    <a:lnTo>
                      <a:pt x="71352" y="29035"/>
                    </a:lnTo>
                    <a:lnTo>
                      <a:pt x="78103" y="41521"/>
                    </a:lnTo>
                    <a:lnTo>
                      <a:pt x="80737" y="46406"/>
                    </a:lnTo>
                    <a:lnTo>
                      <a:pt x="88531" y="55847"/>
                    </a:lnTo>
                    <a:lnTo>
                      <a:pt x="93498" y="57713"/>
                    </a:lnTo>
                    <a:lnTo>
                      <a:pt x="104969" y="55243"/>
                    </a:lnTo>
                    <a:lnTo>
                      <a:pt x="135733" y="56780"/>
                    </a:lnTo>
                    <a:lnTo>
                      <a:pt x="137242" y="53980"/>
                    </a:lnTo>
                    <a:lnTo>
                      <a:pt x="134964" y="43360"/>
                    </a:lnTo>
                    <a:lnTo>
                      <a:pt x="134745" y="41521"/>
                    </a:lnTo>
                    <a:lnTo>
                      <a:pt x="134745" y="35758"/>
                    </a:lnTo>
                    <a:lnTo>
                      <a:pt x="142456" y="25577"/>
                    </a:lnTo>
                    <a:lnTo>
                      <a:pt x="147424" y="22147"/>
                    </a:lnTo>
                    <a:lnTo>
                      <a:pt x="158840" y="20280"/>
                    </a:lnTo>
                    <a:lnTo>
                      <a:pt x="162407" y="12542"/>
                    </a:lnTo>
                    <a:lnTo>
                      <a:pt x="163313" y="10566"/>
                    </a:lnTo>
                    <a:lnTo>
                      <a:pt x="171848" y="9441"/>
                    </a:lnTo>
                    <a:lnTo>
                      <a:pt x="171217" y="3293"/>
                    </a:lnTo>
                    <a:lnTo>
                      <a:pt x="171217" y="3019"/>
                    </a:lnTo>
                    <a:cubicBezTo>
                      <a:pt x="171217" y="3019"/>
                      <a:pt x="182688" y="0"/>
                      <a:pt x="182688" y="0"/>
                    </a:cubicBezTo>
                    <a:lnTo>
                      <a:pt x="188561" y="3266"/>
                    </a:lnTo>
                    <a:lnTo>
                      <a:pt x="198660" y="8892"/>
                    </a:lnTo>
                    <a:lnTo>
                      <a:pt x="202063" y="12514"/>
                    </a:lnTo>
                    <a:lnTo>
                      <a:pt x="205438" y="16136"/>
                    </a:lnTo>
                    <a:lnTo>
                      <a:pt x="221081" y="19485"/>
                    </a:lnTo>
                    <a:lnTo>
                      <a:pt x="223166" y="28980"/>
                    </a:lnTo>
                    <a:lnTo>
                      <a:pt x="226843" y="35566"/>
                    </a:lnTo>
                    <a:lnTo>
                      <a:pt x="226322" y="41494"/>
                    </a:lnTo>
                    <a:lnTo>
                      <a:pt x="227804" y="51291"/>
                    </a:lnTo>
                    <a:lnTo>
                      <a:pt x="234528" y="56752"/>
                    </a:lnTo>
                    <a:lnTo>
                      <a:pt x="258897" y="60814"/>
                    </a:lnTo>
                    <a:lnTo>
                      <a:pt x="267651" y="58124"/>
                    </a:lnTo>
                    <a:lnTo>
                      <a:pt x="276515" y="63421"/>
                    </a:lnTo>
                    <a:lnTo>
                      <a:pt x="280495" y="69266"/>
                    </a:lnTo>
                    <a:lnTo>
                      <a:pt x="285023" y="82302"/>
                    </a:lnTo>
                    <a:lnTo>
                      <a:pt x="290648" y="90452"/>
                    </a:lnTo>
                    <a:lnTo>
                      <a:pt x="294189" y="103872"/>
                    </a:lnTo>
                    <a:lnTo>
                      <a:pt x="299622" y="110870"/>
                    </a:lnTo>
                    <a:lnTo>
                      <a:pt x="341199" y="142594"/>
                    </a:lnTo>
                    <a:lnTo>
                      <a:pt x="353164" y="147835"/>
                    </a:lnTo>
                    <a:lnTo>
                      <a:pt x="381375" y="168198"/>
                    </a:lnTo>
                    <a:lnTo>
                      <a:pt x="398802" y="173687"/>
                    </a:lnTo>
                    <a:lnTo>
                      <a:pt x="416063" y="182469"/>
                    </a:lnTo>
                    <a:lnTo>
                      <a:pt x="417463" y="186091"/>
                    </a:lnTo>
                    <a:lnTo>
                      <a:pt x="415350" y="206042"/>
                    </a:lnTo>
                    <a:moveTo>
                      <a:pt x="175169" y="16603"/>
                    </a:moveTo>
                    <a:lnTo>
                      <a:pt x="178544" y="17262"/>
                    </a:lnTo>
                    <a:lnTo>
                      <a:pt x="179450" y="15588"/>
                    </a:lnTo>
                    <a:lnTo>
                      <a:pt x="176294" y="13420"/>
                    </a:lnTo>
                    <a:lnTo>
                      <a:pt x="175169" y="165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6" name="Freeform: Shape 4195">
                <a:extLst>
                  <a:ext uri="{FF2B5EF4-FFF2-40B4-BE49-F238E27FC236}">
                    <a16:creationId xmlns:a16="http://schemas.microsoft.com/office/drawing/2014/main" id="{C76ABB51-9969-3BEF-AC29-EB083A945CD4}"/>
                  </a:ext>
                </a:extLst>
              </p:cNvPr>
              <p:cNvSpPr/>
              <p:nvPr/>
            </p:nvSpPr>
            <p:spPr>
              <a:xfrm>
                <a:off x="1388511" y="3720864"/>
                <a:ext cx="12402" cy="26182"/>
              </a:xfrm>
              <a:custGeom>
                <a:avLst/>
                <a:gdLst>
                  <a:gd name="connsiteX0" fmla="*/ 66439 w 118910"/>
                  <a:gd name="connsiteY0" fmla="*/ 4281 h 251020"/>
                  <a:gd name="connsiteX1" fmla="*/ 67510 w 118910"/>
                  <a:gd name="connsiteY1" fmla="*/ 6257 h 251020"/>
                  <a:gd name="connsiteX2" fmla="*/ 72340 w 118910"/>
                  <a:gd name="connsiteY2" fmla="*/ 2799 h 251020"/>
                  <a:gd name="connsiteX3" fmla="*/ 77389 w 118910"/>
                  <a:gd name="connsiteY3" fmla="*/ 4336 h 251020"/>
                  <a:gd name="connsiteX4" fmla="*/ 78350 w 118910"/>
                  <a:gd name="connsiteY4" fmla="*/ 11718 h 251020"/>
                  <a:gd name="connsiteX5" fmla="*/ 82109 w 118910"/>
                  <a:gd name="connsiteY5" fmla="*/ 16905 h 251020"/>
                  <a:gd name="connsiteX6" fmla="*/ 81670 w 118910"/>
                  <a:gd name="connsiteY6" fmla="*/ 20198 h 251020"/>
                  <a:gd name="connsiteX7" fmla="*/ 84689 w 118910"/>
                  <a:gd name="connsiteY7" fmla="*/ 22064 h 251020"/>
                  <a:gd name="connsiteX8" fmla="*/ 102856 w 118910"/>
                  <a:gd name="connsiteY8" fmla="*/ 9715 h 251020"/>
                  <a:gd name="connsiteX9" fmla="*/ 105189 w 118910"/>
                  <a:gd name="connsiteY9" fmla="*/ 17509 h 251020"/>
                  <a:gd name="connsiteX10" fmla="*/ 96380 w 118910"/>
                  <a:gd name="connsiteY10" fmla="*/ 31175 h 251020"/>
                  <a:gd name="connsiteX11" fmla="*/ 93333 w 118910"/>
                  <a:gd name="connsiteY11" fmla="*/ 32877 h 251020"/>
                  <a:gd name="connsiteX12" fmla="*/ 89437 w 118910"/>
                  <a:gd name="connsiteY12" fmla="*/ 34660 h 251020"/>
                  <a:gd name="connsiteX13" fmla="*/ 87104 w 118910"/>
                  <a:gd name="connsiteY13" fmla="*/ 38859 h 251020"/>
                  <a:gd name="connsiteX14" fmla="*/ 87378 w 118910"/>
                  <a:gd name="connsiteY14" fmla="*/ 48053 h 251020"/>
                  <a:gd name="connsiteX15" fmla="*/ 91907 w 118910"/>
                  <a:gd name="connsiteY15" fmla="*/ 55600 h 251020"/>
                  <a:gd name="connsiteX16" fmla="*/ 102527 w 118910"/>
                  <a:gd name="connsiteY16" fmla="*/ 62488 h 251020"/>
                  <a:gd name="connsiteX17" fmla="*/ 103268 w 118910"/>
                  <a:gd name="connsiteY17" fmla="*/ 72285 h 251020"/>
                  <a:gd name="connsiteX18" fmla="*/ 105628 w 118910"/>
                  <a:gd name="connsiteY18" fmla="*/ 76978 h 251020"/>
                  <a:gd name="connsiteX19" fmla="*/ 93553 w 118910"/>
                  <a:gd name="connsiteY19" fmla="*/ 97066 h 251020"/>
                  <a:gd name="connsiteX20" fmla="*/ 75797 w 118910"/>
                  <a:gd name="connsiteY20" fmla="*/ 110074 h 251020"/>
                  <a:gd name="connsiteX21" fmla="*/ 73629 w 118910"/>
                  <a:gd name="connsiteY21" fmla="*/ 118883 h 251020"/>
                  <a:gd name="connsiteX22" fmla="*/ 77279 w 118910"/>
                  <a:gd name="connsiteY22" fmla="*/ 125936 h 251020"/>
                  <a:gd name="connsiteX23" fmla="*/ 86637 w 118910"/>
                  <a:gd name="connsiteY23" fmla="*/ 133044 h 251020"/>
                  <a:gd name="connsiteX24" fmla="*/ 92785 w 118910"/>
                  <a:gd name="connsiteY24" fmla="*/ 130821 h 251020"/>
                  <a:gd name="connsiteX25" fmla="*/ 95062 w 118910"/>
                  <a:gd name="connsiteY25" fmla="*/ 124838 h 251020"/>
                  <a:gd name="connsiteX26" fmla="*/ 100002 w 118910"/>
                  <a:gd name="connsiteY26" fmla="*/ 124701 h 251020"/>
                  <a:gd name="connsiteX27" fmla="*/ 102801 w 118910"/>
                  <a:gd name="connsiteY27" fmla="*/ 128406 h 251020"/>
                  <a:gd name="connsiteX28" fmla="*/ 100139 w 118910"/>
                  <a:gd name="connsiteY28" fmla="*/ 131424 h 251020"/>
                  <a:gd name="connsiteX29" fmla="*/ 95062 w 118910"/>
                  <a:gd name="connsiteY29" fmla="*/ 131287 h 251020"/>
                  <a:gd name="connsiteX30" fmla="*/ 93526 w 118910"/>
                  <a:gd name="connsiteY30" fmla="*/ 137682 h 251020"/>
                  <a:gd name="connsiteX31" fmla="*/ 97450 w 118910"/>
                  <a:gd name="connsiteY31" fmla="*/ 138011 h 251020"/>
                  <a:gd name="connsiteX32" fmla="*/ 102335 w 118910"/>
                  <a:gd name="connsiteY32" fmla="*/ 133894 h 251020"/>
                  <a:gd name="connsiteX33" fmla="*/ 104503 w 118910"/>
                  <a:gd name="connsiteY33" fmla="*/ 136227 h 251020"/>
                  <a:gd name="connsiteX34" fmla="*/ 107110 w 118910"/>
                  <a:gd name="connsiteY34" fmla="*/ 147863 h 251020"/>
                  <a:gd name="connsiteX35" fmla="*/ 118444 w 118910"/>
                  <a:gd name="connsiteY35" fmla="*/ 150031 h 251020"/>
                  <a:gd name="connsiteX36" fmla="*/ 116468 w 118910"/>
                  <a:gd name="connsiteY36" fmla="*/ 159004 h 251020"/>
                  <a:gd name="connsiteX37" fmla="*/ 116468 w 118910"/>
                  <a:gd name="connsiteY37" fmla="*/ 167622 h 251020"/>
                  <a:gd name="connsiteX38" fmla="*/ 118910 w 118910"/>
                  <a:gd name="connsiteY38" fmla="*/ 172616 h 251020"/>
                  <a:gd name="connsiteX39" fmla="*/ 117538 w 118910"/>
                  <a:gd name="connsiteY39" fmla="*/ 176019 h 251020"/>
                  <a:gd name="connsiteX40" fmla="*/ 99124 w 118910"/>
                  <a:gd name="connsiteY40" fmla="*/ 185844 h 251020"/>
                  <a:gd name="connsiteX41" fmla="*/ 91769 w 118910"/>
                  <a:gd name="connsiteY41" fmla="*/ 192018 h 251020"/>
                  <a:gd name="connsiteX42" fmla="*/ 88504 w 118910"/>
                  <a:gd name="connsiteY42" fmla="*/ 198660 h 251020"/>
                  <a:gd name="connsiteX43" fmla="*/ 81752 w 118910"/>
                  <a:gd name="connsiteY43" fmla="*/ 201075 h 251020"/>
                  <a:gd name="connsiteX44" fmla="*/ 77307 w 118910"/>
                  <a:gd name="connsiteY44" fmla="*/ 207332 h 251020"/>
                  <a:gd name="connsiteX45" fmla="*/ 80737 w 118910"/>
                  <a:gd name="connsiteY45" fmla="*/ 225060 h 251020"/>
                  <a:gd name="connsiteX46" fmla="*/ 79036 w 118910"/>
                  <a:gd name="connsiteY46" fmla="*/ 234198 h 251020"/>
                  <a:gd name="connsiteX47" fmla="*/ 70803 w 118910"/>
                  <a:gd name="connsiteY47" fmla="*/ 245834 h 251020"/>
                  <a:gd name="connsiteX48" fmla="*/ 59249 w 118910"/>
                  <a:gd name="connsiteY48" fmla="*/ 251021 h 251020"/>
                  <a:gd name="connsiteX49" fmla="*/ 44979 w 118910"/>
                  <a:gd name="connsiteY49" fmla="*/ 188670 h 251020"/>
                  <a:gd name="connsiteX50" fmla="*/ 25138 w 118910"/>
                  <a:gd name="connsiteY50" fmla="*/ 173385 h 251020"/>
                  <a:gd name="connsiteX51" fmla="*/ 21982 w 118910"/>
                  <a:gd name="connsiteY51" fmla="*/ 160816 h 251020"/>
                  <a:gd name="connsiteX52" fmla="*/ 16768 w 118910"/>
                  <a:gd name="connsiteY52" fmla="*/ 152940 h 251020"/>
                  <a:gd name="connsiteX53" fmla="*/ 7958 w 118910"/>
                  <a:gd name="connsiteY53" fmla="*/ 147287 h 251020"/>
                  <a:gd name="connsiteX54" fmla="*/ 0 w 118910"/>
                  <a:gd name="connsiteY54" fmla="*/ 127171 h 251020"/>
                  <a:gd name="connsiteX55" fmla="*/ 1454 w 118910"/>
                  <a:gd name="connsiteY55" fmla="*/ 117044 h 251020"/>
                  <a:gd name="connsiteX56" fmla="*/ 21103 w 118910"/>
                  <a:gd name="connsiteY56" fmla="*/ 96325 h 251020"/>
                  <a:gd name="connsiteX57" fmla="*/ 21680 w 118910"/>
                  <a:gd name="connsiteY57" fmla="*/ 87955 h 251020"/>
                  <a:gd name="connsiteX58" fmla="*/ 26318 w 118910"/>
                  <a:gd name="connsiteY58" fmla="*/ 77307 h 251020"/>
                  <a:gd name="connsiteX59" fmla="*/ 23710 w 118910"/>
                  <a:gd name="connsiteY59" fmla="*/ 73053 h 251020"/>
                  <a:gd name="connsiteX60" fmla="*/ 23930 w 118910"/>
                  <a:gd name="connsiteY60" fmla="*/ 62844 h 251020"/>
                  <a:gd name="connsiteX61" fmla="*/ 21570 w 118910"/>
                  <a:gd name="connsiteY61" fmla="*/ 55325 h 251020"/>
                  <a:gd name="connsiteX62" fmla="*/ 24946 w 118910"/>
                  <a:gd name="connsiteY62" fmla="*/ 35511 h 251020"/>
                  <a:gd name="connsiteX63" fmla="*/ 20417 w 118910"/>
                  <a:gd name="connsiteY63" fmla="*/ 30599 h 251020"/>
                  <a:gd name="connsiteX64" fmla="*/ 32053 w 118910"/>
                  <a:gd name="connsiteY64" fmla="*/ 18798 h 251020"/>
                  <a:gd name="connsiteX65" fmla="*/ 32520 w 118910"/>
                  <a:gd name="connsiteY65" fmla="*/ 14353 h 251020"/>
                  <a:gd name="connsiteX66" fmla="*/ 39381 w 118910"/>
                  <a:gd name="connsiteY66" fmla="*/ 12075 h 251020"/>
                  <a:gd name="connsiteX67" fmla="*/ 48876 w 118910"/>
                  <a:gd name="connsiteY67" fmla="*/ 4171 h 251020"/>
                  <a:gd name="connsiteX68" fmla="*/ 67043 w 118910"/>
                  <a:gd name="connsiteY68" fmla="*/ 0 h 251020"/>
                  <a:gd name="connsiteX69" fmla="*/ 68827 w 118910"/>
                  <a:gd name="connsiteY69" fmla="*/ 2634 h 251020"/>
                  <a:gd name="connsiteX70" fmla="*/ 66412 w 118910"/>
                  <a:gd name="connsiteY70" fmla="*/ 4363 h 25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18910" h="251020">
                    <a:moveTo>
                      <a:pt x="66439" y="4281"/>
                    </a:moveTo>
                    <a:lnTo>
                      <a:pt x="67510" y="6257"/>
                    </a:lnTo>
                    <a:lnTo>
                      <a:pt x="72340" y="2799"/>
                    </a:lnTo>
                    <a:lnTo>
                      <a:pt x="77389" y="4336"/>
                    </a:lnTo>
                    <a:lnTo>
                      <a:pt x="78350" y="11718"/>
                    </a:lnTo>
                    <a:lnTo>
                      <a:pt x="82109" y="16905"/>
                    </a:lnTo>
                    <a:lnTo>
                      <a:pt x="81670" y="20198"/>
                    </a:lnTo>
                    <a:lnTo>
                      <a:pt x="84689" y="22064"/>
                    </a:lnTo>
                    <a:lnTo>
                      <a:pt x="102856" y="9715"/>
                    </a:lnTo>
                    <a:lnTo>
                      <a:pt x="105189" y="17509"/>
                    </a:lnTo>
                    <a:lnTo>
                      <a:pt x="96380" y="31175"/>
                    </a:lnTo>
                    <a:lnTo>
                      <a:pt x="93333" y="32877"/>
                    </a:lnTo>
                    <a:lnTo>
                      <a:pt x="89437" y="34660"/>
                    </a:lnTo>
                    <a:lnTo>
                      <a:pt x="87104" y="38859"/>
                    </a:lnTo>
                    <a:lnTo>
                      <a:pt x="87378" y="48053"/>
                    </a:lnTo>
                    <a:lnTo>
                      <a:pt x="91907" y="55600"/>
                    </a:lnTo>
                    <a:lnTo>
                      <a:pt x="102527" y="62488"/>
                    </a:lnTo>
                    <a:lnTo>
                      <a:pt x="103268" y="72285"/>
                    </a:lnTo>
                    <a:lnTo>
                      <a:pt x="105628" y="76978"/>
                    </a:lnTo>
                    <a:lnTo>
                      <a:pt x="93553" y="97066"/>
                    </a:lnTo>
                    <a:lnTo>
                      <a:pt x="75797" y="110074"/>
                    </a:lnTo>
                    <a:lnTo>
                      <a:pt x="73629" y="118883"/>
                    </a:lnTo>
                    <a:lnTo>
                      <a:pt x="77279" y="125936"/>
                    </a:lnTo>
                    <a:lnTo>
                      <a:pt x="86637" y="133044"/>
                    </a:lnTo>
                    <a:lnTo>
                      <a:pt x="92785" y="130821"/>
                    </a:lnTo>
                    <a:lnTo>
                      <a:pt x="95062" y="124838"/>
                    </a:lnTo>
                    <a:lnTo>
                      <a:pt x="100002" y="124701"/>
                    </a:lnTo>
                    <a:lnTo>
                      <a:pt x="102801" y="128406"/>
                    </a:lnTo>
                    <a:lnTo>
                      <a:pt x="100139" y="131424"/>
                    </a:lnTo>
                    <a:lnTo>
                      <a:pt x="95062" y="131287"/>
                    </a:lnTo>
                    <a:lnTo>
                      <a:pt x="93526" y="137682"/>
                    </a:lnTo>
                    <a:lnTo>
                      <a:pt x="97450" y="138011"/>
                    </a:lnTo>
                    <a:lnTo>
                      <a:pt x="102335" y="133894"/>
                    </a:lnTo>
                    <a:lnTo>
                      <a:pt x="104503" y="136227"/>
                    </a:lnTo>
                    <a:lnTo>
                      <a:pt x="107110" y="147863"/>
                    </a:lnTo>
                    <a:lnTo>
                      <a:pt x="118444" y="150031"/>
                    </a:lnTo>
                    <a:lnTo>
                      <a:pt x="116468" y="159004"/>
                    </a:lnTo>
                    <a:lnTo>
                      <a:pt x="116468" y="167622"/>
                    </a:lnTo>
                    <a:cubicBezTo>
                      <a:pt x="116468" y="167622"/>
                      <a:pt x="118910" y="172616"/>
                      <a:pt x="118910" y="172616"/>
                    </a:cubicBezTo>
                    <a:lnTo>
                      <a:pt x="117538" y="176019"/>
                    </a:lnTo>
                    <a:lnTo>
                      <a:pt x="99124" y="185844"/>
                    </a:lnTo>
                    <a:lnTo>
                      <a:pt x="91769" y="192018"/>
                    </a:lnTo>
                    <a:lnTo>
                      <a:pt x="88504" y="198660"/>
                    </a:lnTo>
                    <a:lnTo>
                      <a:pt x="81752" y="201075"/>
                    </a:lnTo>
                    <a:lnTo>
                      <a:pt x="77307" y="207332"/>
                    </a:lnTo>
                    <a:lnTo>
                      <a:pt x="80737" y="225060"/>
                    </a:lnTo>
                    <a:lnTo>
                      <a:pt x="79036" y="234198"/>
                    </a:lnTo>
                    <a:lnTo>
                      <a:pt x="70803" y="245834"/>
                    </a:lnTo>
                    <a:lnTo>
                      <a:pt x="59249" y="251021"/>
                    </a:lnTo>
                    <a:lnTo>
                      <a:pt x="44979" y="188670"/>
                    </a:lnTo>
                    <a:lnTo>
                      <a:pt x="25138" y="173385"/>
                    </a:lnTo>
                    <a:lnTo>
                      <a:pt x="21982" y="160816"/>
                    </a:lnTo>
                    <a:lnTo>
                      <a:pt x="16768" y="152940"/>
                    </a:lnTo>
                    <a:lnTo>
                      <a:pt x="7958" y="147287"/>
                    </a:lnTo>
                    <a:lnTo>
                      <a:pt x="0" y="127171"/>
                    </a:lnTo>
                    <a:lnTo>
                      <a:pt x="1454" y="117044"/>
                    </a:lnTo>
                    <a:lnTo>
                      <a:pt x="21103" y="96325"/>
                    </a:lnTo>
                    <a:lnTo>
                      <a:pt x="21680" y="87955"/>
                    </a:lnTo>
                    <a:lnTo>
                      <a:pt x="26318" y="77307"/>
                    </a:lnTo>
                    <a:lnTo>
                      <a:pt x="23710" y="73053"/>
                    </a:lnTo>
                    <a:lnTo>
                      <a:pt x="23930" y="62844"/>
                    </a:lnTo>
                    <a:lnTo>
                      <a:pt x="21570" y="55325"/>
                    </a:lnTo>
                    <a:lnTo>
                      <a:pt x="24946" y="35511"/>
                    </a:lnTo>
                    <a:lnTo>
                      <a:pt x="20417" y="30599"/>
                    </a:lnTo>
                    <a:lnTo>
                      <a:pt x="32053" y="18798"/>
                    </a:lnTo>
                    <a:lnTo>
                      <a:pt x="32520" y="14353"/>
                    </a:lnTo>
                    <a:lnTo>
                      <a:pt x="39381" y="12075"/>
                    </a:lnTo>
                    <a:lnTo>
                      <a:pt x="48876" y="4171"/>
                    </a:lnTo>
                    <a:lnTo>
                      <a:pt x="67043" y="0"/>
                    </a:lnTo>
                    <a:lnTo>
                      <a:pt x="68827" y="2634"/>
                    </a:lnTo>
                    <a:lnTo>
                      <a:pt x="66412" y="43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7" name="Freeform: Shape 4196">
                <a:extLst>
                  <a:ext uri="{FF2B5EF4-FFF2-40B4-BE49-F238E27FC236}">
                    <a16:creationId xmlns:a16="http://schemas.microsoft.com/office/drawing/2014/main" id="{F16188CB-10C6-CBA6-A394-D47F6D34D97F}"/>
                  </a:ext>
                </a:extLst>
              </p:cNvPr>
              <p:cNvSpPr/>
              <p:nvPr/>
            </p:nvSpPr>
            <p:spPr>
              <a:xfrm>
                <a:off x="1399794" y="3730370"/>
                <a:ext cx="404" cy="412"/>
              </a:xfrm>
              <a:custGeom>
                <a:avLst/>
                <a:gdLst>
                  <a:gd name="connsiteX0" fmla="*/ 3870 w 3869"/>
                  <a:gd name="connsiteY0" fmla="*/ 2415 h 3951"/>
                  <a:gd name="connsiteX1" fmla="*/ 796 w 3869"/>
                  <a:gd name="connsiteY1" fmla="*/ 3952 h 3951"/>
                  <a:gd name="connsiteX2" fmla="*/ 0 w 3869"/>
                  <a:gd name="connsiteY2" fmla="*/ 741 h 3951"/>
                  <a:gd name="connsiteX3" fmla="*/ 2003 w 3869"/>
                  <a:gd name="connsiteY3" fmla="*/ 0 h 3951"/>
                  <a:gd name="connsiteX4" fmla="*/ 3870 w 3869"/>
                  <a:gd name="connsiteY4" fmla="*/ 2442 h 3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3951">
                    <a:moveTo>
                      <a:pt x="3870" y="2415"/>
                    </a:moveTo>
                    <a:lnTo>
                      <a:pt x="796" y="3952"/>
                    </a:lnTo>
                    <a:lnTo>
                      <a:pt x="0" y="741"/>
                    </a:lnTo>
                    <a:lnTo>
                      <a:pt x="2003" y="0"/>
                    </a:lnTo>
                    <a:lnTo>
                      <a:pt x="3870" y="24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8" name="Freeform: Shape 4197">
                <a:extLst>
                  <a:ext uri="{FF2B5EF4-FFF2-40B4-BE49-F238E27FC236}">
                    <a16:creationId xmlns:a16="http://schemas.microsoft.com/office/drawing/2014/main" id="{2B290FAD-0D75-27D3-AB78-AEE33A401D7A}"/>
                  </a:ext>
                </a:extLst>
              </p:cNvPr>
              <p:cNvSpPr/>
              <p:nvPr/>
            </p:nvSpPr>
            <p:spPr>
              <a:xfrm>
                <a:off x="1399038" y="3730899"/>
                <a:ext cx="424" cy="341"/>
              </a:xfrm>
              <a:custGeom>
                <a:avLst/>
                <a:gdLst>
                  <a:gd name="connsiteX0" fmla="*/ 4062 w 4061"/>
                  <a:gd name="connsiteY0" fmla="*/ 1756 h 3265"/>
                  <a:gd name="connsiteX1" fmla="*/ 2497 w 4061"/>
                  <a:gd name="connsiteY1" fmla="*/ 3266 h 3265"/>
                  <a:gd name="connsiteX2" fmla="*/ 0 w 4061"/>
                  <a:gd name="connsiteY2" fmla="*/ 1015 h 3265"/>
                  <a:gd name="connsiteX3" fmla="*/ 796 w 4061"/>
                  <a:gd name="connsiteY3" fmla="*/ 0 h 3265"/>
                  <a:gd name="connsiteX4" fmla="*/ 3760 w 4061"/>
                  <a:gd name="connsiteY4" fmla="*/ 55 h 3265"/>
                  <a:gd name="connsiteX5" fmla="*/ 4062 w 4061"/>
                  <a:gd name="connsiteY5" fmla="*/ 1784 h 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1" h="3265">
                    <a:moveTo>
                      <a:pt x="4062" y="1756"/>
                    </a:moveTo>
                    <a:lnTo>
                      <a:pt x="2497" y="3266"/>
                    </a:lnTo>
                    <a:lnTo>
                      <a:pt x="0" y="1015"/>
                    </a:lnTo>
                    <a:lnTo>
                      <a:pt x="796" y="0"/>
                    </a:lnTo>
                    <a:lnTo>
                      <a:pt x="3760" y="55"/>
                    </a:lnTo>
                    <a:lnTo>
                      <a:pt x="4062"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99" name="Freeform: Shape 4198">
                <a:extLst>
                  <a:ext uri="{FF2B5EF4-FFF2-40B4-BE49-F238E27FC236}">
                    <a16:creationId xmlns:a16="http://schemas.microsoft.com/office/drawing/2014/main" id="{0279F1A8-DE2F-3FD0-57F3-97DD332B1F70}"/>
                  </a:ext>
                </a:extLst>
              </p:cNvPr>
              <p:cNvSpPr/>
              <p:nvPr/>
            </p:nvSpPr>
            <p:spPr>
              <a:xfrm>
                <a:off x="1445448" y="3701913"/>
                <a:ext cx="57415" cy="24556"/>
              </a:xfrm>
              <a:custGeom>
                <a:avLst/>
                <a:gdLst>
                  <a:gd name="connsiteX0" fmla="*/ 265154 w 550478"/>
                  <a:gd name="connsiteY0" fmla="*/ 2579 h 235433"/>
                  <a:gd name="connsiteX1" fmla="*/ 267980 w 550478"/>
                  <a:gd name="connsiteY1" fmla="*/ 11636 h 235433"/>
                  <a:gd name="connsiteX2" fmla="*/ 274841 w 550478"/>
                  <a:gd name="connsiteY2" fmla="*/ 16191 h 235433"/>
                  <a:gd name="connsiteX3" fmla="*/ 276954 w 550478"/>
                  <a:gd name="connsiteY3" fmla="*/ 17454 h 235433"/>
                  <a:gd name="connsiteX4" fmla="*/ 281949 w 550478"/>
                  <a:gd name="connsiteY4" fmla="*/ 16191 h 235433"/>
                  <a:gd name="connsiteX5" fmla="*/ 289140 w 550478"/>
                  <a:gd name="connsiteY5" fmla="*/ 14353 h 235433"/>
                  <a:gd name="connsiteX6" fmla="*/ 291911 w 550478"/>
                  <a:gd name="connsiteY6" fmla="*/ 16191 h 235433"/>
                  <a:gd name="connsiteX7" fmla="*/ 294683 w 550478"/>
                  <a:gd name="connsiteY7" fmla="*/ 18030 h 235433"/>
                  <a:gd name="connsiteX8" fmla="*/ 295863 w 550478"/>
                  <a:gd name="connsiteY8" fmla="*/ 25055 h 235433"/>
                  <a:gd name="connsiteX9" fmla="*/ 302970 w 550478"/>
                  <a:gd name="connsiteY9" fmla="*/ 31998 h 235433"/>
                  <a:gd name="connsiteX10" fmla="*/ 306236 w 550478"/>
                  <a:gd name="connsiteY10" fmla="*/ 32053 h 235433"/>
                  <a:gd name="connsiteX11" fmla="*/ 312191 w 550478"/>
                  <a:gd name="connsiteY11" fmla="*/ 27854 h 235433"/>
                  <a:gd name="connsiteX12" fmla="*/ 319217 w 550478"/>
                  <a:gd name="connsiteY12" fmla="*/ 30544 h 235433"/>
                  <a:gd name="connsiteX13" fmla="*/ 325144 w 550478"/>
                  <a:gd name="connsiteY13" fmla="*/ 36554 h 235433"/>
                  <a:gd name="connsiteX14" fmla="*/ 336588 w 550478"/>
                  <a:gd name="connsiteY14" fmla="*/ 40972 h 235433"/>
                  <a:gd name="connsiteX15" fmla="*/ 342708 w 550478"/>
                  <a:gd name="connsiteY15" fmla="*/ 38118 h 235433"/>
                  <a:gd name="connsiteX16" fmla="*/ 346742 w 550478"/>
                  <a:gd name="connsiteY16" fmla="*/ 42592 h 235433"/>
                  <a:gd name="connsiteX17" fmla="*/ 353328 w 550478"/>
                  <a:gd name="connsiteY17" fmla="*/ 43909 h 235433"/>
                  <a:gd name="connsiteX18" fmla="*/ 364553 w 550478"/>
                  <a:gd name="connsiteY18" fmla="*/ 45583 h 235433"/>
                  <a:gd name="connsiteX19" fmla="*/ 384805 w 550478"/>
                  <a:gd name="connsiteY19" fmla="*/ 39436 h 235433"/>
                  <a:gd name="connsiteX20" fmla="*/ 392792 w 550478"/>
                  <a:gd name="connsiteY20" fmla="*/ 38640 h 235433"/>
                  <a:gd name="connsiteX21" fmla="*/ 398006 w 550478"/>
                  <a:gd name="connsiteY21" fmla="*/ 41988 h 235433"/>
                  <a:gd name="connsiteX22" fmla="*/ 412770 w 550478"/>
                  <a:gd name="connsiteY22" fmla="*/ 45418 h 235433"/>
                  <a:gd name="connsiteX23" fmla="*/ 418560 w 550478"/>
                  <a:gd name="connsiteY23" fmla="*/ 42784 h 235433"/>
                  <a:gd name="connsiteX24" fmla="*/ 428742 w 550478"/>
                  <a:gd name="connsiteY24" fmla="*/ 39490 h 235433"/>
                  <a:gd name="connsiteX25" fmla="*/ 445729 w 550478"/>
                  <a:gd name="connsiteY25" fmla="*/ 29419 h 235433"/>
                  <a:gd name="connsiteX26" fmla="*/ 454429 w 550478"/>
                  <a:gd name="connsiteY26" fmla="*/ 21954 h 235433"/>
                  <a:gd name="connsiteX27" fmla="*/ 462387 w 550478"/>
                  <a:gd name="connsiteY27" fmla="*/ 24781 h 235433"/>
                  <a:gd name="connsiteX28" fmla="*/ 466558 w 550478"/>
                  <a:gd name="connsiteY28" fmla="*/ 22339 h 235433"/>
                  <a:gd name="connsiteX29" fmla="*/ 472980 w 550478"/>
                  <a:gd name="connsiteY29" fmla="*/ 22421 h 235433"/>
                  <a:gd name="connsiteX30" fmla="*/ 481514 w 550478"/>
                  <a:gd name="connsiteY30" fmla="*/ 24781 h 235433"/>
                  <a:gd name="connsiteX31" fmla="*/ 482941 w 550478"/>
                  <a:gd name="connsiteY31" fmla="*/ 25192 h 235433"/>
                  <a:gd name="connsiteX32" fmla="*/ 485906 w 550478"/>
                  <a:gd name="connsiteY32" fmla="*/ 19676 h 235433"/>
                  <a:gd name="connsiteX33" fmla="*/ 491202 w 550478"/>
                  <a:gd name="connsiteY33" fmla="*/ 19402 h 235433"/>
                  <a:gd name="connsiteX34" fmla="*/ 492135 w 550478"/>
                  <a:gd name="connsiteY34" fmla="*/ 22750 h 235433"/>
                  <a:gd name="connsiteX35" fmla="*/ 501987 w 550478"/>
                  <a:gd name="connsiteY35" fmla="*/ 30297 h 235433"/>
                  <a:gd name="connsiteX36" fmla="*/ 504210 w 550478"/>
                  <a:gd name="connsiteY36" fmla="*/ 34825 h 235433"/>
                  <a:gd name="connsiteX37" fmla="*/ 509040 w 550478"/>
                  <a:gd name="connsiteY37" fmla="*/ 34935 h 235433"/>
                  <a:gd name="connsiteX38" fmla="*/ 511125 w 550478"/>
                  <a:gd name="connsiteY38" fmla="*/ 37514 h 235433"/>
                  <a:gd name="connsiteX39" fmla="*/ 510988 w 550478"/>
                  <a:gd name="connsiteY39" fmla="*/ 40094 h 235433"/>
                  <a:gd name="connsiteX40" fmla="*/ 516532 w 550478"/>
                  <a:gd name="connsiteY40" fmla="*/ 44924 h 235433"/>
                  <a:gd name="connsiteX41" fmla="*/ 518974 w 550478"/>
                  <a:gd name="connsiteY41" fmla="*/ 51977 h 235433"/>
                  <a:gd name="connsiteX42" fmla="*/ 514831 w 550478"/>
                  <a:gd name="connsiteY42" fmla="*/ 63009 h 235433"/>
                  <a:gd name="connsiteX43" fmla="*/ 517657 w 550478"/>
                  <a:gd name="connsiteY43" fmla="*/ 73959 h 235433"/>
                  <a:gd name="connsiteX44" fmla="*/ 516394 w 550478"/>
                  <a:gd name="connsiteY44" fmla="*/ 75989 h 235433"/>
                  <a:gd name="connsiteX45" fmla="*/ 524353 w 550478"/>
                  <a:gd name="connsiteY45" fmla="*/ 80188 h 235433"/>
                  <a:gd name="connsiteX46" fmla="*/ 529128 w 550478"/>
                  <a:gd name="connsiteY46" fmla="*/ 80188 h 235433"/>
                  <a:gd name="connsiteX47" fmla="*/ 536455 w 550478"/>
                  <a:gd name="connsiteY47" fmla="*/ 80078 h 235433"/>
                  <a:gd name="connsiteX48" fmla="*/ 544332 w 550478"/>
                  <a:gd name="connsiteY48" fmla="*/ 87406 h 235433"/>
                  <a:gd name="connsiteX49" fmla="*/ 549189 w 550478"/>
                  <a:gd name="connsiteY49" fmla="*/ 91934 h 235433"/>
                  <a:gd name="connsiteX50" fmla="*/ 550479 w 550478"/>
                  <a:gd name="connsiteY50" fmla="*/ 95090 h 235433"/>
                  <a:gd name="connsiteX51" fmla="*/ 545512 w 550478"/>
                  <a:gd name="connsiteY51" fmla="*/ 90589 h 235433"/>
                  <a:gd name="connsiteX52" fmla="*/ 544332 w 550478"/>
                  <a:gd name="connsiteY52" fmla="*/ 90452 h 235433"/>
                  <a:gd name="connsiteX53" fmla="*/ 541368 w 550478"/>
                  <a:gd name="connsiteY53" fmla="*/ 91824 h 235433"/>
                  <a:gd name="connsiteX54" fmla="*/ 538404 w 550478"/>
                  <a:gd name="connsiteY54" fmla="*/ 102691 h 235433"/>
                  <a:gd name="connsiteX55" fmla="*/ 529128 w 550478"/>
                  <a:gd name="connsiteY55" fmla="*/ 105051 h 235433"/>
                  <a:gd name="connsiteX56" fmla="*/ 528058 w 550478"/>
                  <a:gd name="connsiteY56" fmla="*/ 105326 h 235433"/>
                  <a:gd name="connsiteX57" fmla="*/ 529128 w 550478"/>
                  <a:gd name="connsiteY57" fmla="*/ 107329 h 235433"/>
                  <a:gd name="connsiteX58" fmla="*/ 532421 w 550478"/>
                  <a:gd name="connsiteY58" fmla="*/ 113449 h 235433"/>
                  <a:gd name="connsiteX59" fmla="*/ 531763 w 550478"/>
                  <a:gd name="connsiteY59" fmla="*/ 119624 h 235433"/>
                  <a:gd name="connsiteX60" fmla="*/ 535083 w 550478"/>
                  <a:gd name="connsiteY60" fmla="*/ 125607 h 235433"/>
                  <a:gd name="connsiteX61" fmla="*/ 535934 w 550478"/>
                  <a:gd name="connsiteY61" fmla="*/ 141139 h 235433"/>
                  <a:gd name="connsiteX62" fmla="*/ 540050 w 550478"/>
                  <a:gd name="connsiteY62" fmla="*/ 144268 h 235433"/>
                  <a:gd name="connsiteX63" fmla="*/ 533601 w 550478"/>
                  <a:gd name="connsiteY63" fmla="*/ 159718 h 235433"/>
                  <a:gd name="connsiteX64" fmla="*/ 540215 w 550478"/>
                  <a:gd name="connsiteY64" fmla="*/ 163752 h 235433"/>
                  <a:gd name="connsiteX65" fmla="*/ 544002 w 550478"/>
                  <a:gd name="connsiteY65" fmla="*/ 167430 h 235433"/>
                  <a:gd name="connsiteX66" fmla="*/ 544332 w 550478"/>
                  <a:gd name="connsiteY66" fmla="*/ 176623 h 235433"/>
                  <a:gd name="connsiteX67" fmla="*/ 550067 w 550478"/>
                  <a:gd name="connsiteY67" fmla="*/ 182249 h 235433"/>
                  <a:gd name="connsiteX68" fmla="*/ 549930 w 550478"/>
                  <a:gd name="connsiteY68" fmla="*/ 187188 h 235433"/>
                  <a:gd name="connsiteX69" fmla="*/ 544332 w 550478"/>
                  <a:gd name="connsiteY69" fmla="*/ 187847 h 235433"/>
                  <a:gd name="connsiteX70" fmla="*/ 535303 w 550478"/>
                  <a:gd name="connsiteY70" fmla="*/ 194241 h 235433"/>
                  <a:gd name="connsiteX71" fmla="*/ 532915 w 550478"/>
                  <a:gd name="connsiteY71" fmla="*/ 190976 h 235433"/>
                  <a:gd name="connsiteX72" fmla="*/ 533546 w 550478"/>
                  <a:gd name="connsiteY72" fmla="*/ 184719 h 235433"/>
                  <a:gd name="connsiteX73" fmla="*/ 531241 w 550478"/>
                  <a:gd name="connsiteY73" fmla="*/ 182605 h 235433"/>
                  <a:gd name="connsiteX74" fmla="*/ 529128 w 550478"/>
                  <a:gd name="connsiteY74" fmla="*/ 182358 h 235433"/>
                  <a:gd name="connsiteX75" fmla="*/ 527509 w 550478"/>
                  <a:gd name="connsiteY75" fmla="*/ 182167 h 235433"/>
                  <a:gd name="connsiteX76" fmla="*/ 522487 w 550478"/>
                  <a:gd name="connsiteY76" fmla="*/ 185268 h 235433"/>
                  <a:gd name="connsiteX77" fmla="*/ 509643 w 550478"/>
                  <a:gd name="connsiteY77" fmla="*/ 183511 h 235433"/>
                  <a:gd name="connsiteX78" fmla="*/ 502234 w 550478"/>
                  <a:gd name="connsiteY78" fmla="*/ 180273 h 235433"/>
                  <a:gd name="connsiteX79" fmla="*/ 490790 w 550478"/>
                  <a:gd name="connsiteY79" fmla="*/ 179971 h 235433"/>
                  <a:gd name="connsiteX80" fmla="*/ 484588 w 550478"/>
                  <a:gd name="connsiteY80" fmla="*/ 187683 h 235433"/>
                  <a:gd name="connsiteX81" fmla="*/ 481487 w 550478"/>
                  <a:gd name="connsiteY81" fmla="*/ 188670 h 235433"/>
                  <a:gd name="connsiteX82" fmla="*/ 478221 w 550478"/>
                  <a:gd name="connsiteY82" fmla="*/ 189686 h 235433"/>
                  <a:gd name="connsiteX83" fmla="*/ 477425 w 550478"/>
                  <a:gd name="connsiteY83" fmla="*/ 184856 h 235433"/>
                  <a:gd name="connsiteX84" fmla="*/ 474023 w 550478"/>
                  <a:gd name="connsiteY84" fmla="*/ 183319 h 235433"/>
                  <a:gd name="connsiteX85" fmla="*/ 457859 w 550478"/>
                  <a:gd name="connsiteY85" fmla="*/ 189878 h 235433"/>
                  <a:gd name="connsiteX86" fmla="*/ 432254 w 550478"/>
                  <a:gd name="connsiteY86" fmla="*/ 189329 h 235433"/>
                  <a:gd name="connsiteX87" fmla="*/ 415596 w 550478"/>
                  <a:gd name="connsiteY87" fmla="*/ 197315 h 235433"/>
                  <a:gd name="connsiteX88" fmla="*/ 403686 w 550478"/>
                  <a:gd name="connsiteY88" fmla="*/ 202639 h 235433"/>
                  <a:gd name="connsiteX89" fmla="*/ 386645 w 550478"/>
                  <a:gd name="connsiteY89" fmla="*/ 205767 h 235433"/>
                  <a:gd name="connsiteX90" fmla="*/ 372045 w 550478"/>
                  <a:gd name="connsiteY90" fmla="*/ 204450 h 235433"/>
                  <a:gd name="connsiteX91" fmla="*/ 361314 w 550478"/>
                  <a:gd name="connsiteY91" fmla="*/ 197562 h 235433"/>
                  <a:gd name="connsiteX92" fmla="*/ 351545 w 550478"/>
                  <a:gd name="connsiteY92" fmla="*/ 199373 h 235433"/>
                  <a:gd name="connsiteX93" fmla="*/ 337960 w 550478"/>
                  <a:gd name="connsiteY93" fmla="*/ 204587 h 235433"/>
                  <a:gd name="connsiteX94" fmla="*/ 325282 w 550478"/>
                  <a:gd name="connsiteY94" fmla="*/ 206124 h 235433"/>
                  <a:gd name="connsiteX95" fmla="*/ 311286 w 550478"/>
                  <a:gd name="connsiteY95" fmla="*/ 199867 h 235433"/>
                  <a:gd name="connsiteX96" fmla="*/ 310709 w 550478"/>
                  <a:gd name="connsiteY96" fmla="*/ 199867 h 235433"/>
                  <a:gd name="connsiteX97" fmla="*/ 307800 w 550478"/>
                  <a:gd name="connsiteY97" fmla="*/ 210982 h 235433"/>
                  <a:gd name="connsiteX98" fmla="*/ 311066 w 550478"/>
                  <a:gd name="connsiteY98" fmla="*/ 221163 h 235433"/>
                  <a:gd name="connsiteX99" fmla="*/ 303327 w 550478"/>
                  <a:gd name="connsiteY99" fmla="*/ 222754 h 235433"/>
                  <a:gd name="connsiteX100" fmla="*/ 301900 w 550478"/>
                  <a:gd name="connsiteY100" fmla="*/ 229917 h 235433"/>
                  <a:gd name="connsiteX101" fmla="*/ 294656 w 550478"/>
                  <a:gd name="connsiteY101" fmla="*/ 235433 h 235433"/>
                  <a:gd name="connsiteX102" fmla="*/ 288837 w 550478"/>
                  <a:gd name="connsiteY102" fmla="*/ 232881 h 235433"/>
                  <a:gd name="connsiteX103" fmla="*/ 289633 w 550478"/>
                  <a:gd name="connsiteY103" fmla="*/ 228024 h 235433"/>
                  <a:gd name="connsiteX104" fmla="*/ 285956 w 550478"/>
                  <a:gd name="connsiteY104" fmla="*/ 218336 h 235433"/>
                  <a:gd name="connsiteX105" fmla="*/ 297263 w 550478"/>
                  <a:gd name="connsiteY105" fmla="*/ 205493 h 235433"/>
                  <a:gd name="connsiteX106" fmla="*/ 295204 w 550478"/>
                  <a:gd name="connsiteY106" fmla="*/ 198962 h 235433"/>
                  <a:gd name="connsiteX107" fmla="*/ 290182 w 550478"/>
                  <a:gd name="connsiteY107" fmla="*/ 197260 h 235433"/>
                  <a:gd name="connsiteX108" fmla="*/ 282032 w 550478"/>
                  <a:gd name="connsiteY108" fmla="*/ 202666 h 235433"/>
                  <a:gd name="connsiteX109" fmla="*/ 277998 w 550478"/>
                  <a:gd name="connsiteY109" fmla="*/ 209362 h 235433"/>
                  <a:gd name="connsiteX110" fmla="*/ 271521 w 550478"/>
                  <a:gd name="connsiteY110" fmla="*/ 209911 h 235433"/>
                  <a:gd name="connsiteX111" fmla="*/ 258897 w 550478"/>
                  <a:gd name="connsiteY111" fmla="*/ 203325 h 235433"/>
                  <a:gd name="connsiteX112" fmla="*/ 250774 w 550478"/>
                  <a:gd name="connsiteY112" fmla="*/ 201431 h 235433"/>
                  <a:gd name="connsiteX113" fmla="*/ 239138 w 550478"/>
                  <a:gd name="connsiteY113" fmla="*/ 210982 h 235433"/>
                  <a:gd name="connsiteX114" fmla="*/ 233100 w 550478"/>
                  <a:gd name="connsiteY114" fmla="*/ 219599 h 235433"/>
                  <a:gd name="connsiteX115" fmla="*/ 228325 w 550478"/>
                  <a:gd name="connsiteY115" fmla="*/ 219681 h 235433"/>
                  <a:gd name="connsiteX116" fmla="*/ 224401 w 550478"/>
                  <a:gd name="connsiteY116" fmla="*/ 223962 h 235433"/>
                  <a:gd name="connsiteX117" fmla="*/ 201871 w 550478"/>
                  <a:gd name="connsiteY117" fmla="*/ 226953 h 235433"/>
                  <a:gd name="connsiteX118" fmla="*/ 196793 w 550478"/>
                  <a:gd name="connsiteY118" fmla="*/ 229368 h 235433"/>
                  <a:gd name="connsiteX119" fmla="*/ 190564 w 550478"/>
                  <a:gd name="connsiteY119" fmla="*/ 226926 h 235433"/>
                  <a:gd name="connsiteX120" fmla="*/ 183319 w 550478"/>
                  <a:gd name="connsiteY120" fmla="*/ 222645 h 235433"/>
                  <a:gd name="connsiteX121" fmla="*/ 174894 w 550478"/>
                  <a:gd name="connsiteY121" fmla="*/ 211009 h 235433"/>
                  <a:gd name="connsiteX122" fmla="*/ 152363 w 550478"/>
                  <a:gd name="connsiteY122" fmla="*/ 200498 h 235433"/>
                  <a:gd name="connsiteX123" fmla="*/ 134251 w 550478"/>
                  <a:gd name="connsiteY123" fmla="*/ 198413 h 235433"/>
                  <a:gd name="connsiteX124" fmla="*/ 131754 w 550478"/>
                  <a:gd name="connsiteY124" fmla="*/ 202172 h 235433"/>
                  <a:gd name="connsiteX125" fmla="*/ 130985 w 550478"/>
                  <a:gd name="connsiteY125" fmla="*/ 211036 h 235433"/>
                  <a:gd name="connsiteX126" fmla="*/ 127912 w 550478"/>
                  <a:gd name="connsiteY126" fmla="*/ 220916 h 235433"/>
                  <a:gd name="connsiteX127" fmla="*/ 120941 w 550478"/>
                  <a:gd name="connsiteY127" fmla="*/ 219105 h 235433"/>
                  <a:gd name="connsiteX128" fmla="*/ 107879 w 550478"/>
                  <a:gd name="connsiteY128" fmla="*/ 225307 h 235433"/>
                  <a:gd name="connsiteX129" fmla="*/ 93086 w 550478"/>
                  <a:gd name="connsiteY129" fmla="*/ 219269 h 235433"/>
                  <a:gd name="connsiteX130" fmla="*/ 89793 w 550478"/>
                  <a:gd name="connsiteY130" fmla="*/ 216196 h 235433"/>
                  <a:gd name="connsiteX131" fmla="*/ 86089 w 550478"/>
                  <a:gd name="connsiteY131" fmla="*/ 205191 h 235433"/>
                  <a:gd name="connsiteX132" fmla="*/ 79942 w 550478"/>
                  <a:gd name="connsiteY132" fmla="*/ 205630 h 235433"/>
                  <a:gd name="connsiteX133" fmla="*/ 72175 w 550478"/>
                  <a:gd name="connsiteY133" fmla="*/ 200745 h 235433"/>
                  <a:gd name="connsiteX134" fmla="*/ 65562 w 550478"/>
                  <a:gd name="connsiteY134" fmla="*/ 200059 h 235433"/>
                  <a:gd name="connsiteX135" fmla="*/ 61664 w 550478"/>
                  <a:gd name="connsiteY135" fmla="*/ 205191 h 235433"/>
                  <a:gd name="connsiteX136" fmla="*/ 57905 w 550478"/>
                  <a:gd name="connsiteY136" fmla="*/ 206399 h 235433"/>
                  <a:gd name="connsiteX137" fmla="*/ 59002 w 550478"/>
                  <a:gd name="connsiteY137" fmla="*/ 201925 h 235433"/>
                  <a:gd name="connsiteX138" fmla="*/ 57877 w 550478"/>
                  <a:gd name="connsiteY138" fmla="*/ 197535 h 235433"/>
                  <a:gd name="connsiteX139" fmla="*/ 60402 w 550478"/>
                  <a:gd name="connsiteY139" fmla="*/ 193253 h 235433"/>
                  <a:gd name="connsiteX140" fmla="*/ 35155 w 550478"/>
                  <a:gd name="connsiteY140" fmla="*/ 193884 h 235433"/>
                  <a:gd name="connsiteX141" fmla="*/ 35648 w 550478"/>
                  <a:gd name="connsiteY141" fmla="*/ 189823 h 235433"/>
                  <a:gd name="connsiteX142" fmla="*/ 41412 w 550478"/>
                  <a:gd name="connsiteY142" fmla="*/ 189384 h 235433"/>
                  <a:gd name="connsiteX143" fmla="*/ 43662 w 550478"/>
                  <a:gd name="connsiteY143" fmla="*/ 185542 h 235433"/>
                  <a:gd name="connsiteX144" fmla="*/ 38475 w 550478"/>
                  <a:gd name="connsiteY144" fmla="*/ 180163 h 235433"/>
                  <a:gd name="connsiteX145" fmla="*/ 33398 w 550478"/>
                  <a:gd name="connsiteY145" fmla="*/ 179806 h 235433"/>
                  <a:gd name="connsiteX146" fmla="*/ 31998 w 550478"/>
                  <a:gd name="connsiteY146" fmla="*/ 172616 h 235433"/>
                  <a:gd name="connsiteX147" fmla="*/ 29227 w 550478"/>
                  <a:gd name="connsiteY147" fmla="*/ 169680 h 235433"/>
                  <a:gd name="connsiteX148" fmla="*/ 33041 w 550478"/>
                  <a:gd name="connsiteY148" fmla="*/ 166222 h 235433"/>
                  <a:gd name="connsiteX149" fmla="*/ 34331 w 550478"/>
                  <a:gd name="connsiteY149" fmla="*/ 161337 h 235433"/>
                  <a:gd name="connsiteX150" fmla="*/ 32218 w 550478"/>
                  <a:gd name="connsiteY150" fmla="*/ 158071 h 235433"/>
                  <a:gd name="connsiteX151" fmla="*/ 19979 w 550478"/>
                  <a:gd name="connsiteY151" fmla="*/ 150909 h 235433"/>
                  <a:gd name="connsiteX152" fmla="*/ 12816 w 550478"/>
                  <a:gd name="connsiteY152" fmla="*/ 150415 h 235433"/>
                  <a:gd name="connsiteX153" fmla="*/ 7958 w 550478"/>
                  <a:gd name="connsiteY153" fmla="*/ 146792 h 235433"/>
                  <a:gd name="connsiteX154" fmla="*/ 10346 w 550478"/>
                  <a:gd name="connsiteY154" fmla="*/ 133565 h 235433"/>
                  <a:gd name="connsiteX155" fmla="*/ 17372 w 550478"/>
                  <a:gd name="connsiteY155" fmla="*/ 141413 h 235433"/>
                  <a:gd name="connsiteX156" fmla="*/ 24644 w 550478"/>
                  <a:gd name="connsiteY156" fmla="*/ 139904 h 235433"/>
                  <a:gd name="connsiteX157" fmla="*/ 20362 w 550478"/>
                  <a:gd name="connsiteY157" fmla="*/ 131891 h 235433"/>
                  <a:gd name="connsiteX158" fmla="*/ 25247 w 550478"/>
                  <a:gd name="connsiteY158" fmla="*/ 124262 h 235433"/>
                  <a:gd name="connsiteX159" fmla="*/ 19621 w 550478"/>
                  <a:gd name="connsiteY159" fmla="*/ 112489 h 235433"/>
                  <a:gd name="connsiteX160" fmla="*/ 17728 w 550478"/>
                  <a:gd name="connsiteY160" fmla="*/ 107247 h 235433"/>
                  <a:gd name="connsiteX161" fmla="*/ 23134 w 550478"/>
                  <a:gd name="connsiteY161" fmla="*/ 99097 h 235433"/>
                  <a:gd name="connsiteX162" fmla="*/ 15368 w 550478"/>
                  <a:gd name="connsiteY162" fmla="*/ 98328 h 235433"/>
                  <a:gd name="connsiteX163" fmla="*/ 2909 w 550478"/>
                  <a:gd name="connsiteY163" fmla="*/ 101292 h 235433"/>
                  <a:gd name="connsiteX164" fmla="*/ 0 w 550478"/>
                  <a:gd name="connsiteY164" fmla="*/ 99398 h 235433"/>
                  <a:gd name="connsiteX165" fmla="*/ 2470 w 550478"/>
                  <a:gd name="connsiteY165" fmla="*/ 83234 h 235433"/>
                  <a:gd name="connsiteX166" fmla="*/ 32493 w 550478"/>
                  <a:gd name="connsiteY166" fmla="*/ 64271 h 235433"/>
                  <a:gd name="connsiteX167" fmla="*/ 41467 w 550478"/>
                  <a:gd name="connsiteY167" fmla="*/ 69294 h 235433"/>
                  <a:gd name="connsiteX168" fmla="*/ 49891 w 550478"/>
                  <a:gd name="connsiteY168" fmla="*/ 67647 h 235433"/>
                  <a:gd name="connsiteX169" fmla="*/ 48053 w 550478"/>
                  <a:gd name="connsiteY169" fmla="*/ 63064 h 235433"/>
                  <a:gd name="connsiteX170" fmla="*/ 49013 w 550478"/>
                  <a:gd name="connsiteY170" fmla="*/ 61499 h 235433"/>
                  <a:gd name="connsiteX171" fmla="*/ 55297 w 550478"/>
                  <a:gd name="connsiteY171" fmla="*/ 62707 h 235433"/>
                  <a:gd name="connsiteX172" fmla="*/ 54584 w 550478"/>
                  <a:gd name="connsiteY172" fmla="*/ 66933 h 235433"/>
                  <a:gd name="connsiteX173" fmla="*/ 60868 w 550478"/>
                  <a:gd name="connsiteY173" fmla="*/ 65808 h 235433"/>
                  <a:gd name="connsiteX174" fmla="*/ 83701 w 550478"/>
                  <a:gd name="connsiteY174" fmla="*/ 67070 h 235433"/>
                  <a:gd name="connsiteX175" fmla="*/ 86748 w 550478"/>
                  <a:gd name="connsiteY175" fmla="*/ 65314 h 235433"/>
                  <a:gd name="connsiteX176" fmla="*/ 85156 w 550478"/>
                  <a:gd name="connsiteY176" fmla="*/ 63064 h 235433"/>
                  <a:gd name="connsiteX177" fmla="*/ 81341 w 550478"/>
                  <a:gd name="connsiteY177" fmla="*/ 59469 h 235433"/>
                  <a:gd name="connsiteX178" fmla="*/ 86116 w 550478"/>
                  <a:gd name="connsiteY178" fmla="*/ 56286 h 235433"/>
                  <a:gd name="connsiteX179" fmla="*/ 101484 w 550478"/>
                  <a:gd name="connsiteY179" fmla="*/ 54200 h 235433"/>
                  <a:gd name="connsiteX180" fmla="*/ 102198 w 550478"/>
                  <a:gd name="connsiteY180" fmla="*/ 51785 h 235433"/>
                  <a:gd name="connsiteX181" fmla="*/ 95474 w 550478"/>
                  <a:gd name="connsiteY181" fmla="*/ 49864 h 235433"/>
                  <a:gd name="connsiteX182" fmla="*/ 86939 w 550478"/>
                  <a:gd name="connsiteY182" fmla="*/ 43552 h 235433"/>
                  <a:gd name="connsiteX183" fmla="*/ 90397 w 550478"/>
                  <a:gd name="connsiteY183" fmla="*/ 33316 h 235433"/>
                  <a:gd name="connsiteX184" fmla="*/ 110843 w 550478"/>
                  <a:gd name="connsiteY184" fmla="*/ 36773 h 235433"/>
                  <a:gd name="connsiteX185" fmla="*/ 125223 w 550478"/>
                  <a:gd name="connsiteY185" fmla="*/ 35154 h 235433"/>
                  <a:gd name="connsiteX186" fmla="*/ 134278 w 550478"/>
                  <a:gd name="connsiteY186" fmla="*/ 37487 h 235433"/>
                  <a:gd name="connsiteX187" fmla="*/ 143692 w 550478"/>
                  <a:gd name="connsiteY187" fmla="*/ 39518 h 235433"/>
                  <a:gd name="connsiteX188" fmla="*/ 152912 w 550478"/>
                  <a:gd name="connsiteY188" fmla="*/ 37789 h 235433"/>
                  <a:gd name="connsiteX189" fmla="*/ 157413 w 550478"/>
                  <a:gd name="connsiteY189" fmla="*/ 29583 h 235433"/>
                  <a:gd name="connsiteX190" fmla="*/ 175470 w 550478"/>
                  <a:gd name="connsiteY190" fmla="*/ 19621 h 235433"/>
                  <a:gd name="connsiteX191" fmla="*/ 177886 w 550478"/>
                  <a:gd name="connsiteY191" fmla="*/ 18002 h 235433"/>
                  <a:gd name="connsiteX192" fmla="*/ 180657 w 550478"/>
                  <a:gd name="connsiteY192" fmla="*/ 16164 h 235433"/>
                  <a:gd name="connsiteX193" fmla="*/ 188177 w 550478"/>
                  <a:gd name="connsiteY193" fmla="*/ 11169 h 235433"/>
                  <a:gd name="connsiteX194" fmla="*/ 195284 w 550478"/>
                  <a:gd name="connsiteY194" fmla="*/ 9056 h 235433"/>
                  <a:gd name="connsiteX195" fmla="*/ 209829 w 550478"/>
                  <a:gd name="connsiteY195" fmla="*/ 3677 h 235433"/>
                  <a:gd name="connsiteX196" fmla="*/ 212848 w 550478"/>
                  <a:gd name="connsiteY196" fmla="*/ 2552 h 235433"/>
                  <a:gd name="connsiteX197" fmla="*/ 225581 w 550478"/>
                  <a:gd name="connsiteY197" fmla="*/ 3677 h 235433"/>
                  <a:gd name="connsiteX198" fmla="*/ 239193 w 550478"/>
                  <a:gd name="connsiteY198" fmla="*/ 4857 h 235433"/>
                  <a:gd name="connsiteX199" fmla="*/ 253710 w 550478"/>
                  <a:gd name="connsiteY199" fmla="*/ 4857 h 235433"/>
                  <a:gd name="connsiteX200" fmla="*/ 261751 w 550478"/>
                  <a:gd name="connsiteY200" fmla="*/ 0 h 235433"/>
                  <a:gd name="connsiteX201" fmla="*/ 265154 w 550478"/>
                  <a:gd name="connsiteY201" fmla="*/ 2552 h 23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550478" h="235433">
                    <a:moveTo>
                      <a:pt x="265154" y="2579"/>
                    </a:moveTo>
                    <a:lnTo>
                      <a:pt x="267980" y="11636"/>
                    </a:lnTo>
                    <a:lnTo>
                      <a:pt x="274841" y="16191"/>
                    </a:lnTo>
                    <a:lnTo>
                      <a:pt x="276954" y="17454"/>
                    </a:lnTo>
                    <a:lnTo>
                      <a:pt x="281949" y="16191"/>
                    </a:lnTo>
                    <a:lnTo>
                      <a:pt x="289140" y="14353"/>
                    </a:lnTo>
                    <a:lnTo>
                      <a:pt x="291911" y="16191"/>
                    </a:lnTo>
                    <a:lnTo>
                      <a:pt x="294683" y="18030"/>
                    </a:lnTo>
                    <a:lnTo>
                      <a:pt x="295863" y="25055"/>
                    </a:lnTo>
                    <a:lnTo>
                      <a:pt x="302970" y="31998"/>
                    </a:lnTo>
                    <a:lnTo>
                      <a:pt x="306236" y="32053"/>
                    </a:lnTo>
                    <a:lnTo>
                      <a:pt x="312191" y="27854"/>
                    </a:lnTo>
                    <a:lnTo>
                      <a:pt x="319217" y="30544"/>
                    </a:lnTo>
                    <a:lnTo>
                      <a:pt x="325144" y="36554"/>
                    </a:lnTo>
                    <a:lnTo>
                      <a:pt x="336588" y="40972"/>
                    </a:lnTo>
                    <a:lnTo>
                      <a:pt x="342708" y="38118"/>
                    </a:lnTo>
                    <a:lnTo>
                      <a:pt x="346742" y="42592"/>
                    </a:lnTo>
                    <a:lnTo>
                      <a:pt x="353328" y="43909"/>
                    </a:lnTo>
                    <a:lnTo>
                      <a:pt x="364553" y="45583"/>
                    </a:lnTo>
                    <a:lnTo>
                      <a:pt x="384805" y="39436"/>
                    </a:lnTo>
                    <a:lnTo>
                      <a:pt x="392792" y="38640"/>
                    </a:lnTo>
                    <a:lnTo>
                      <a:pt x="398006" y="41988"/>
                    </a:lnTo>
                    <a:lnTo>
                      <a:pt x="412770" y="45418"/>
                    </a:lnTo>
                    <a:lnTo>
                      <a:pt x="418560" y="42784"/>
                    </a:lnTo>
                    <a:lnTo>
                      <a:pt x="428742" y="39490"/>
                    </a:lnTo>
                    <a:lnTo>
                      <a:pt x="445729" y="29419"/>
                    </a:lnTo>
                    <a:lnTo>
                      <a:pt x="454429" y="21954"/>
                    </a:lnTo>
                    <a:lnTo>
                      <a:pt x="462387" y="24781"/>
                    </a:lnTo>
                    <a:lnTo>
                      <a:pt x="466558" y="22339"/>
                    </a:lnTo>
                    <a:lnTo>
                      <a:pt x="472980" y="22421"/>
                    </a:lnTo>
                    <a:lnTo>
                      <a:pt x="481514" y="24781"/>
                    </a:lnTo>
                    <a:lnTo>
                      <a:pt x="482941" y="25192"/>
                    </a:lnTo>
                    <a:lnTo>
                      <a:pt x="485906" y="19676"/>
                    </a:lnTo>
                    <a:lnTo>
                      <a:pt x="491202" y="19402"/>
                    </a:lnTo>
                    <a:lnTo>
                      <a:pt x="492135" y="22750"/>
                    </a:lnTo>
                    <a:lnTo>
                      <a:pt x="501987" y="30297"/>
                    </a:lnTo>
                    <a:lnTo>
                      <a:pt x="504210" y="34825"/>
                    </a:lnTo>
                    <a:lnTo>
                      <a:pt x="509040" y="34935"/>
                    </a:lnTo>
                    <a:lnTo>
                      <a:pt x="511125" y="37514"/>
                    </a:lnTo>
                    <a:lnTo>
                      <a:pt x="510988" y="40094"/>
                    </a:lnTo>
                    <a:lnTo>
                      <a:pt x="516532" y="44924"/>
                    </a:lnTo>
                    <a:lnTo>
                      <a:pt x="518974" y="51977"/>
                    </a:lnTo>
                    <a:lnTo>
                      <a:pt x="514831" y="63009"/>
                    </a:lnTo>
                    <a:lnTo>
                      <a:pt x="517657" y="73959"/>
                    </a:lnTo>
                    <a:lnTo>
                      <a:pt x="516394" y="75989"/>
                    </a:lnTo>
                    <a:lnTo>
                      <a:pt x="524353" y="80188"/>
                    </a:lnTo>
                    <a:lnTo>
                      <a:pt x="529128" y="80188"/>
                    </a:lnTo>
                    <a:cubicBezTo>
                      <a:pt x="529128" y="80188"/>
                      <a:pt x="536455" y="80078"/>
                      <a:pt x="536455" y="80078"/>
                    </a:cubicBezTo>
                    <a:lnTo>
                      <a:pt x="544332" y="87406"/>
                    </a:lnTo>
                    <a:lnTo>
                      <a:pt x="549189" y="91934"/>
                    </a:lnTo>
                    <a:lnTo>
                      <a:pt x="550479" y="95090"/>
                    </a:lnTo>
                    <a:lnTo>
                      <a:pt x="545512" y="90589"/>
                    </a:lnTo>
                    <a:lnTo>
                      <a:pt x="544332" y="90452"/>
                    </a:lnTo>
                    <a:lnTo>
                      <a:pt x="541368" y="91824"/>
                    </a:lnTo>
                    <a:lnTo>
                      <a:pt x="538404" y="102691"/>
                    </a:lnTo>
                    <a:lnTo>
                      <a:pt x="529128" y="105051"/>
                    </a:lnTo>
                    <a:lnTo>
                      <a:pt x="528058" y="105326"/>
                    </a:lnTo>
                    <a:lnTo>
                      <a:pt x="529128" y="107329"/>
                    </a:lnTo>
                    <a:lnTo>
                      <a:pt x="532421" y="113449"/>
                    </a:lnTo>
                    <a:lnTo>
                      <a:pt x="531763" y="119624"/>
                    </a:lnTo>
                    <a:lnTo>
                      <a:pt x="535083" y="125607"/>
                    </a:lnTo>
                    <a:lnTo>
                      <a:pt x="535934" y="141139"/>
                    </a:lnTo>
                    <a:lnTo>
                      <a:pt x="540050" y="144268"/>
                    </a:lnTo>
                    <a:lnTo>
                      <a:pt x="533601" y="159718"/>
                    </a:lnTo>
                    <a:lnTo>
                      <a:pt x="540215" y="163752"/>
                    </a:lnTo>
                    <a:lnTo>
                      <a:pt x="544002" y="167430"/>
                    </a:lnTo>
                    <a:lnTo>
                      <a:pt x="544332" y="176623"/>
                    </a:lnTo>
                    <a:lnTo>
                      <a:pt x="550067" y="182249"/>
                    </a:lnTo>
                    <a:lnTo>
                      <a:pt x="549930" y="187188"/>
                    </a:lnTo>
                    <a:lnTo>
                      <a:pt x="544332" y="187847"/>
                    </a:lnTo>
                    <a:lnTo>
                      <a:pt x="535303" y="194241"/>
                    </a:lnTo>
                    <a:lnTo>
                      <a:pt x="532915" y="190976"/>
                    </a:lnTo>
                    <a:lnTo>
                      <a:pt x="533546" y="184719"/>
                    </a:lnTo>
                    <a:lnTo>
                      <a:pt x="531241" y="182605"/>
                    </a:lnTo>
                    <a:lnTo>
                      <a:pt x="529128" y="182358"/>
                    </a:lnTo>
                    <a:lnTo>
                      <a:pt x="527509" y="182167"/>
                    </a:lnTo>
                    <a:lnTo>
                      <a:pt x="522487" y="185268"/>
                    </a:lnTo>
                    <a:lnTo>
                      <a:pt x="509643" y="183511"/>
                    </a:lnTo>
                    <a:lnTo>
                      <a:pt x="502234" y="180273"/>
                    </a:lnTo>
                    <a:lnTo>
                      <a:pt x="490790" y="179971"/>
                    </a:lnTo>
                    <a:lnTo>
                      <a:pt x="484588" y="187683"/>
                    </a:lnTo>
                    <a:lnTo>
                      <a:pt x="481487" y="188670"/>
                    </a:lnTo>
                    <a:lnTo>
                      <a:pt x="478221" y="189686"/>
                    </a:lnTo>
                    <a:lnTo>
                      <a:pt x="477425" y="184856"/>
                    </a:lnTo>
                    <a:lnTo>
                      <a:pt x="474023" y="183319"/>
                    </a:lnTo>
                    <a:lnTo>
                      <a:pt x="457859" y="189878"/>
                    </a:lnTo>
                    <a:lnTo>
                      <a:pt x="432254" y="189329"/>
                    </a:lnTo>
                    <a:lnTo>
                      <a:pt x="415596" y="197315"/>
                    </a:lnTo>
                    <a:lnTo>
                      <a:pt x="403686" y="202639"/>
                    </a:lnTo>
                    <a:lnTo>
                      <a:pt x="386645" y="205767"/>
                    </a:lnTo>
                    <a:lnTo>
                      <a:pt x="372045" y="204450"/>
                    </a:lnTo>
                    <a:lnTo>
                      <a:pt x="361314" y="197562"/>
                    </a:lnTo>
                    <a:lnTo>
                      <a:pt x="351545" y="199373"/>
                    </a:lnTo>
                    <a:lnTo>
                      <a:pt x="337960" y="204587"/>
                    </a:lnTo>
                    <a:lnTo>
                      <a:pt x="325282" y="206124"/>
                    </a:lnTo>
                    <a:lnTo>
                      <a:pt x="311286" y="199867"/>
                    </a:lnTo>
                    <a:lnTo>
                      <a:pt x="310709" y="199867"/>
                    </a:lnTo>
                    <a:cubicBezTo>
                      <a:pt x="310709" y="199867"/>
                      <a:pt x="307800" y="210982"/>
                      <a:pt x="307800" y="210982"/>
                    </a:cubicBezTo>
                    <a:lnTo>
                      <a:pt x="311066" y="221163"/>
                    </a:lnTo>
                    <a:lnTo>
                      <a:pt x="303327" y="222754"/>
                    </a:lnTo>
                    <a:lnTo>
                      <a:pt x="301900" y="229917"/>
                    </a:lnTo>
                    <a:lnTo>
                      <a:pt x="294656" y="235433"/>
                    </a:lnTo>
                    <a:lnTo>
                      <a:pt x="288837" y="232881"/>
                    </a:lnTo>
                    <a:lnTo>
                      <a:pt x="289633" y="228024"/>
                    </a:lnTo>
                    <a:lnTo>
                      <a:pt x="285956" y="218336"/>
                    </a:lnTo>
                    <a:lnTo>
                      <a:pt x="297263" y="205493"/>
                    </a:lnTo>
                    <a:lnTo>
                      <a:pt x="295204" y="198962"/>
                    </a:lnTo>
                    <a:lnTo>
                      <a:pt x="290182" y="197260"/>
                    </a:lnTo>
                    <a:lnTo>
                      <a:pt x="282032" y="202666"/>
                    </a:lnTo>
                    <a:lnTo>
                      <a:pt x="277998" y="209362"/>
                    </a:lnTo>
                    <a:lnTo>
                      <a:pt x="271521" y="209911"/>
                    </a:lnTo>
                    <a:lnTo>
                      <a:pt x="258897" y="203325"/>
                    </a:lnTo>
                    <a:lnTo>
                      <a:pt x="250774" y="201431"/>
                    </a:lnTo>
                    <a:lnTo>
                      <a:pt x="239138" y="210982"/>
                    </a:lnTo>
                    <a:lnTo>
                      <a:pt x="233100" y="219599"/>
                    </a:lnTo>
                    <a:lnTo>
                      <a:pt x="228325" y="219681"/>
                    </a:lnTo>
                    <a:lnTo>
                      <a:pt x="224401" y="223962"/>
                    </a:lnTo>
                    <a:lnTo>
                      <a:pt x="201871" y="226953"/>
                    </a:lnTo>
                    <a:lnTo>
                      <a:pt x="196793" y="229368"/>
                    </a:lnTo>
                    <a:lnTo>
                      <a:pt x="190564" y="226926"/>
                    </a:lnTo>
                    <a:lnTo>
                      <a:pt x="183319" y="222645"/>
                    </a:lnTo>
                    <a:lnTo>
                      <a:pt x="174894" y="211009"/>
                    </a:lnTo>
                    <a:lnTo>
                      <a:pt x="152363" y="200498"/>
                    </a:lnTo>
                    <a:lnTo>
                      <a:pt x="134251" y="198413"/>
                    </a:lnTo>
                    <a:lnTo>
                      <a:pt x="131754" y="202172"/>
                    </a:lnTo>
                    <a:lnTo>
                      <a:pt x="130985" y="211036"/>
                    </a:lnTo>
                    <a:lnTo>
                      <a:pt x="127912" y="220916"/>
                    </a:lnTo>
                    <a:lnTo>
                      <a:pt x="120941" y="219105"/>
                    </a:lnTo>
                    <a:lnTo>
                      <a:pt x="107879" y="225307"/>
                    </a:lnTo>
                    <a:lnTo>
                      <a:pt x="93086" y="219269"/>
                    </a:lnTo>
                    <a:lnTo>
                      <a:pt x="89793" y="216196"/>
                    </a:lnTo>
                    <a:lnTo>
                      <a:pt x="86089" y="205191"/>
                    </a:lnTo>
                    <a:lnTo>
                      <a:pt x="79942" y="205630"/>
                    </a:lnTo>
                    <a:lnTo>
                      <a:pt x="72175" y="200745"/>
                    </a:lnTo>
                    <a:lnTo>
                      <a:pt x="65562" y="200059"/>
                    </a:lnTo>
                    <a:lnTo>
                      <a:pt x="61664" y="205191"/>
                    </a:lnTo>
                    <a:lnTo>
                      <a:pt x="57905" y="206399"/>
                    </a:lnTo>
                    <a:lnTo>
                      <a:pt x="59002" y="201925"/>
                    </a:lnTo>
                    <a:lnTo>
                      <a:pt x="57877" y="197535"/>
                    </a:lnTo>
                    <a:lnTo>
                      <a:pt x="60402" y="193253"/>
                    </a:lnTo>
                    <a:lnTo>
                      <a:pt x="35155" y="193884"/>
                    </a:lnTo>
                    <a:lnTo>
                      <a:pt x="35648" y="189823"/>
                    </a:lnTo>
                    <a:lnTo>
                      <a:pt x="41412" y="189384"/>
                    </a:lnTo>
                    <a:lnTo>
                      <a:pt x="43662" y="185542"/>
                    </a:lnTo>
                    <a:lnTo>
                      <a:pt x="38475" y="180163"/>
                    </a:lnTo>
                    <a:lnTo>
                      <a:pt x="33398" y="179806"/>
                    </a:lnTo>
                    <a:lnTo>
                      <a:pt x="31998" y="172616"/>
                    </a:lnTo>
                    <a:lnTo>
                      <a:pt x="29227" y="169680"/>
                    </a:lnTo>
                    <a:lnTo>
                      <a:pt x="33041" y="166222"/>
                    </a:lnTo>
                    <a:lnTo>
                      <a:pt x="34331" y="161337"/>
                    </a:lnTo>
                    <a:lnTo>
                      <a:pt x="32218" y="158071"/>
                    </a:lnTo>
                    <a:lnTo>
                      <a:pt x="19979" y="150909"/>
                    </a:lnTo>
                    <a:lnTo>
                      <a:pt x="12816" y="150415"/>
                    </a:lnTo>
                    <a:lnTo>
                      <a:pt x="7958" y="146792"/>
                    </a:lnTo>
                    <a:lnTo>
                      <a:pt x="10346" y="133565"/>
                    </a:lnTo>
                    <a:lnTo>
                      <a:pt x="17372" y="141413"/>
                    </a:lnTo>
                    <a:lnTo>
                      <a:pt x="24644" y="139904"/>
                    </a:lnTo>
                    <a:lnTo>
                      <a:pt x="20362" y="131891"/>
                    </a:lnTo>
                    <a:lnTo>
                      <a:pt x="25247" y="124262"/>
                    </a:lnTo>
                    <a:lnTo>
                      <a:pt x="19621" y="112489"/>
                    </a:lnTo>
                    <a:lnTo>
                      <a:pt x="17728" y="107247"/>
                    </a:lnTo>
                    <a:lnTo>
                      <a:pt x="23134" y="99097"/>
                    </a:lnTo>
                    <a:lnTo>
                      <a:pt x="15368" y="98328"/>
                    </a:lnTo>
                    <a:lnTo>
                      <a:pt x="2909" y="101292"/>
                    </a:lnTo>
                    <a:lnTo>
                      <a:pt x="0" y="99398"/>
                    </a:lnTo>
                    <a:lnTo>
                      <a:pt x="2470" y="83234"/>
                    </a:lnTo>
                    <a:lnTo>
                      <a:pt x="32493" y="64271"/>
                    </a:lnTo>
                    <a:lnTo>
                      <a:pt x="41467" y="69294"/>
                    </a:lnTo>
                    <a:lnTo>
                      <a:pt x="49891" y="67647"/>
                    </a:lnTo>
                    <a:lnTo>
                      <a:pt x="48053" y="63064"/>
                    </a:lnTo>
                    <a:lnTo>
                      <a:pt x="49013" y="61499"/>
                    </a:lnTo>
                    <a:lnTo>
                      <a:pt x="55297" y="62707"/>
                    </a:lnTo>
                    <a:lnTo>
                      <a:pt x="54584" y="66933"/>
                    </a:lnTo>
                    <a:lnTo>
                      <a:pt x="60868" y="65808"/>
                    </a:lnTo>
                    <a:lnTo>
                      <a:pt x="83701" y="67070"/>
                    </a:lnTo>
                    <a:lnTo>
                      <a:pt x="86748" y="65314"/>
                    </a:lnTo>
                    <a:lnTo>
                      <a:pt x="85156" y="63064"/>
                    </a:lnTo>
                    <a:lnTo>
                      <a:pt x="81341" y="59469"/>
                    </a:lnTo>
                    <a:lnTo>
                      <a:pt x="86116" y="56286"/>
                    </a:lnTo>
                    <a:lnTo>
                      <a:pt x="101484" y="54200"/>
                    </a:lnTo>
                    <a:lnTo>
                      <a:pt x="102198" y="51785"/>
                    </a:lnTo>
                    <a:lnTo>
                      <a:pt x="95474" y="49864"/>
                    </a:lnTo>
                    <a:lnTo>
                      <a:pt x="86939" y="43552"/>
                    </a:lnTo>
                    <a:lnTo>
                      <a:pt x="90397" y="33316"/>
                    </a:lnTo>
                    <a:lnTo>
                      <a:pt x="110843" y="36773"/>
                    </a:lnTo>
                    <a:lnTo>
                      <a:pt x="125223" y="35154"/>
                    </a:lnTo>
                    <a:lnTo>
                      <a:pt x="134278" y="37487"/>
                    </a:lnTo>
                    <a:lnTo>
                      <a:pt x="143692" y="39518"/>
                    </a:lnTo>
                    <a:lnTo>
                      <a:pt x="152912" y="37789"/>
                    </a:lnTo>
                    <a:lnTo>
                      <a:pt x="157413" y="29583"/>
                    </a:lnTo>
                    <a:lnTo>
                      <a:pt x="175470" y="19621"/>
                    </a:lnTo>
                    <a:lnTo>
                      <a:pt x="177886" y="18002"/>
                    </a:lnTo>
                    <a:lnTo>
                      <a:pt x="180657" y="16164"/>
                    </a:lnTo>
                    <a:lnTo>
                      <a:pt x="188177" y="11169"/>
                    </a:lnTo>
                    <a:lnTo>
                      <a:pt x="195284" y="9056"/>
                    </a:lnTo>
                    <a:lnTo>
                      <a:pt x="209829" y="3677"/>
                    </a:lnTo>
                    <a:lnTo>
                      <a:pt x="212848" y="2552"/>
                    </a:lnTo>
                    <a:lnTo>
                      <a:pt x="225581" y="3677"/>
                    </a:lnTo>
                    <a:lnTo>
                      <a:pt x="239193" y="4857"/>
                    </a:lnTo>
                    <a:lnTo>
                      <a:pt x="253710" y="4857"/>
                    </a:lnTo>
                    <a:cubicBezTo>
                      <a:pt x="253710" y="4857"/>
                      <a:pt x="261751" y="0"/>
                      <a:pt x="261751" y="0"/>
                    </a:cubicBezTo>
                    <a:lnTo>
                      <a:pt x="265154"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0" name="Freeform: Shape 4199">
                <a:extLst>
                  <a:ext uri="{FF2B5EF4-FFF2-40B4-BE49-F238E27FC236}">
                    <a16:creationId xmlns:a16="http://schemas.microsoft.com/office/drawing/2014/main" id="{C53D82D0-B454-E4C6-EAC7-6366C87600AB}"/>
                  </a:ext>
                </a:extLst>
              </p:cNvPr>
              <p:cNvSpPr/>
              <p:nvPr/>
            </p:nvSpPr>
            <p:spPr>
              <a:xfrm>
                <a:off x="1445254" y="3701855"/>
                <a:ext cx="8962" cy="8241"/>
              </a:xfrm>
              <a:custGeom>
                <a:avLst/>
                <a:gdLst>
                  <a:gd name="connsiteX0" fmla="*/ 42125 w 85924"/>
                  <a:gd name="connsiteY0" fmla="*/ 4254 h 79008"/>
                  <a:gd name="connsiteX1" fmla="*/ 44841 w 85924"/>
                  <a:gd name="connsiteY1" fmla="*/ 5845 h 79008"/>
                  <a:gd name="connsiteX2" fmla="*/ 56807 w 85924"/>
                  <a:gd name="connsiteY2" fmla="*/ 4446 h 79008"/>
                  <a:gd name="connsiteX3" fmla="*/ 58865 w 85924"/>
                  <a:gd name="connsiteY3" fmla="*/ 4309 h 79008"/>
                  <a:gd name="connsiteX4" fmla="*/ 57603 w 85924"/>
                  <a:gd name="connsiteY4" fmla="*/ 10538 h 79008"/>
                  <a:gd name="connsiteX5" fmla="*/ 60621 w 85924"/>
                  <a:gd name="connsiteY5" fmla="*/ 16740 h 79008"/>
                  <a:gd name="connsiteX6" fmla="*/ 61499 w 85924"/>
                  <a:gd name="connsiteY6" fmla="*/ 18579 h 79008"/>
                  <a:gd name="connsiteX7" fmla="*/ 62323 w 85924"/>
                  <a:gd name="connsiteY7" fmla="*/ 20253 h 79008"/>
                  <a:gd name="connsiteX8" fmla="*/ 63146 w 85924"/>
                  <a:gd name="connsiteY8" fmla="*/ 20857 h 79008"/>
                  <a:gd name="connsiteX9" fmla="*/ 85924 w 85924"/>
                  <a:gd name="connsiteY9" fmla="*/ 32795 h 79008"/>
                  <a:gd name="connsiteX10" fmla="*/ 81917 w 85924"/>
                  <a:gd name="connsiteY10" fmla="*/ 43333 h 79008"/>
                  <a:gd name="connsiteX11" fmla="*/ 77114 w 85924"/>
                  <a:gd name="connsiteY11" fmla="*/ 44101 h 79008"/>
                  <a:gd name="connsiteX12" fmla="*/ 64573 w 85924"/>
                  <a:gd name="connsiteY12" fmla="*/ 40122 h 79008"/>
                  <a:gd name="connsiteX13" fmla="*/ 57548 w 85924"/>
                  <a:gd name="connsiteY13" fmla="*/ 42180 h 79008"/>
                  <a:gd name="connsiteX14" fmla="*/ 44650 w 85924"/>
                  <a:gd name="connsiteY14" fmla="*/ 44046 h 79008"/>
                  <a:gd name="connsiteX15" fmla="*/ 36911 w 85924"/>
                  <a:gd name="connsiteY15" fmla="*/ 54557 h 79008"/>
                  <a:gd name="connsiteX16" fmla="*/ 27470 w 85924"/>
                  <a:gd name="connsiteY16" fmla="*/ 60210 h 79008"/>
                  <a:gd name="connsiteX17" fmla="*/ 21296 w 85924"/>
                  <a:gd name="connsiteY17" fmla="*/ 63805 h 79008"/>
                  <a:gd name="connsiteX18" fmla="*/ 20253 w 85924"/>
                  <a:gd name="connsiteY18" fmla="*/ 66988 h 79008"/>
                  <a:gd name="connsiteX19" fmla="*/ 7327 w 85924"/>
                  <a:gd name="connsiteY19" fmla="*/ 79008 h 79008"/>
                  <a:gd name="connsiteX20" fmla="*/ 5681 w 85924"/>
                  <a:gd name="connsiteY20" fmla="*/ 77499 h 79008"/>
                  <a:gd name="connsiteX21" fmla="*/ 6696 w 85924"/>
                  <a:gd name="connsiteY21" fmla="*/ 69376 h 79008"/>
                  <a:gd name="connsiteX22" fmla="*/ 21762 w 85924"/>
                  <a:gd name="connsiteY22" fmla="*/ 59469 h 79008"/>
                  <a:gd name="connsiteX23" fmla="*/ 20610 w 85924"/>
                  <a:gd name="connsiteY23" fmla="*/ 56697 h 79008"/>
                  <a:gd name="connsiteX24" fmla="*/ 3485 w 85924"/>
                  <a:gd name="connsiteY24" fmla="*/ 58509 h 79008"/>
                  <a:gd name="connsiteX25" fmla="*/ 1345 w 85924"/>
                  <a:gd name="connsiteY25" fmla="*/ 57301 h 79008"/>
                  <a:gd name="connsiteX26" fmla="*/ 631 w 85924"/>
                  <a:gd name="connsiteY26" fmla="*/ 54667 h 79008"/>
                  <a:gd name="connsiteX27" fmla="*/ 0 w 85924"/>
                  <a:gd name="connsiteY27" fmla="*/ 53322 h 79008"/>
                  <a:gd name="connsiteX28" fmla="*/ 9220 w 85924"/>
                  <a:gd name="connsiteY28" fmla="*/ 44266 h 79008"/>
                  <a:gd name="connsiteX29" fmla="*/ 9056 w 85924"/>
                  <a:gd name="connsiteY29" fmla="*/ 33508 h 79008"/>
                  <a:gd name="connsiteX30" fmla="*/ 17262 w 85924"/>
                  <a:gd name="connsiteY30" fmla="*/ 28239 h 79008"/>
                  <a:gd name="connsiteX31" fmla="*/ 15999 w 85924"/>
                  <a:gd name="connsiteY31" fmla="*/ 19265 h 79008"/>
                  <a:gd name="connsiteX32" fmla="*/ 14819 w 85924"/>
                  <a:gd name="connsiteY32" fmla="*/ 18497 h 79008"/>
                  <a:gd name="connsiteX33" fmla="*/ 12047 w 85924"/>
                  <a:gd name="connsiteY33" fmla="*/ 16658 h 79008"/>
                  <a:gd name="connsiteX34" fmla="*/ 9523 w 85924"/>
                  <a:gd name="connsiteY34" fmla="*/ 14957 h 79008"/>
                  <a:gd name="connsiteX35" fmla="*/ 9770 w 85924"/>
                  <a:gd name="connsiteY35" fmla="*/ 11526 h 79008"/>
                  <a:gd name="connsiteX36" fmla="*/ 14737 w 85924"/>
                  <a:gd name="connsiteY36" fmla="*/ 9962 h 79008"/>
                  <a:gd name="connsiteX37" fmla="*/ 15505 w 85924"/>
                  <a:gd name="connsiteY37" fmla="*/ 6477 h 79008"/>
                  <a:gd name="connsiteX38" fmla="*/ 24561 w 85924"/>
                  <a:gd name="connsiteY38" fmla="*/ 4171 h 79008"/>
                  <a:gd name="connsiteX39" fmla="*/ 26922 w 85924"/>
                  <a:gd name="connsiteY39" fmla="*/ 3568 h 79008"/>
                  <a:gd name="connsiteX40" fmla="*/ 27882 w 85924"/>
                  <a:gd name="connsiteY40" fmla="*/ 2909 h 79008"/>
                  <a:gd name="connsiteX41" fmla="*/ 30160 w 85924"/>
                  <a:gd name="connsiteY41" fmla="*/ 82 h 79008"/>
                  <a:gd name="connsiteX42" fmla="*/ 36527 w 85924"/>
                  <a:gd name="connsiteY42" fmla="*/ 0 h 79008"/>
                  <a:gd name="connsiteX43" fmla="*/ 39930 w 85924"/>
                  <a:gd name="connsiteY43" fmla="*/ 2909 h 79008"/>
                  <a:gd name="connsiteX44" fmla="*/ 42097 w 85924"/>
                  <a:gd name="connsiteY44" fmla="*/ 4199 h 7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5924" h="79008">
                    <a:moveTo>
                      <a:pt x="42125" y="4254"/>
                    </a:moveTo>
                    <a:lnTo>
                      <a:pt x="44841" y="5845"/>
                    </a:lnTo>
                    <a:lnTo>
                      <a:pt x="56807" y="4446"/>
                    </a:lnTo>
                    <a:lnTo>
                      <a:pt x="58865" y="4309"/>
                    </a:lnTo>
                    <a:lnTo>
                      <a:pt x="57603" y="10538"/>
                    </a:lnTo>
                    <a:lnTo>
                      <a:pt x="60621" y="16740"/>
                    </a:lnTo>
                    <a:lnTo>
                      <a:pt x="61499" y="18579"/>
                    </a:lnTo>
                    <a:lnTo>
                      <a:pt x="62323" y="20253"/>
                    </a:lnTo>
                    <a:lnTo>
                      <a:pt x="63146" y="20857"/>
                    </a:lnTo>
                    <a:lnTo>
                      <a:pt x="85924" y="32795"/>
                    </a:lnTo>
                    <a:lnTo>
                      <a:pt x="81917" y="43333"/>
                    </a:lnTo>
                    <a:lnTo>
                      <a:pt x="77114" y="44101"/>
                    </a:lnTo>
                    <a:lnTo>
                      <a:pt x="64573" y="40122"/>
                    </a:lnTo>
                    <a:lnTo>
                      <a:pt x="57548" y="42180"/>
                    </a:lnTo>
                    <a:lnTo>
                      <a:pt x="44650" y="44046"/>
                    </a:lnTo>
                    <a:lnTo>
                      <a:pt x="36911" y="54557"/>
                    </a:lnTo>
                    <a:lnTo>
                      <a:pt x="27470" y="60210"/>
                    </a:lnTo>
                    <a:lnTo>
                      <a:pt x="21296" y="63805"/>
                    </a:lnTo>
                    <a:lnTo>
                      <a:pt x="20253" y="66988"/>
                    </a:lnTo>
                    <a:lnTo>
                      <a:pt x="7327" y="79008"/>
                    </a:lnTo>
                    <a:lnTo>
                      <a:pt x="5681" y="77499"/>
                    </a:lnTo>
                    <a:lnTo>
                      <a:pt x="6696" y="69376"/>
                    </a:lnTo>
                    <a:lnTo>
                      <a:pt x="21762" y="59469"/>
                    </a:lnTo>
                    <a:lnTo>
                      <a:pt x="20610" y="56697"/>
                    </a:lnTo>
                    <a:lnTo>
                      <a:pt x="3485" y="58509"/>
                    </a:lnTo>
                    <a:lnTo>
                      <a:pt x="1345" y="57301"/>
                    </a:lnTo>
                    <a:lnTo>
                      <a:pt x="631" y="54667"/>
                    </a:lnTo>
                    <a:lnTo>
                      <a:pt x="0" y="53322"/>
                    </a:lnTo>
                    <a:lnTo>
                      <a:pt x="9220" y="44266"/>
                    </a:lnTo>
                    <a:lnTo>
                      <a:pt x="9056" y="33508"/>
                    </a:lnTo>
                    <a:lnTo>
                      <a:pt x="17262" y="28239"/>
                    </a:lnTo>
                    <a:lnTo>
                      <a:pt x="15999" y="19265"/>
                    </a:lnTo>
                    <a:lnTo>
                      <a:pt x="14819" y="18497"/>
                    </a:lnTo>
                    <a:lnTo>
                      <a:pt x="12047" y="16658"/>
                    </a:lnTo>
                    <a:lnTo>
                      <a:pt x="9523" y="14957"/>
                    </a:lnTo>
                    <a:lnTo>
                      <a:pt x="9770" y="11526"/>
                    </a:lnTo>
                    <a:lnTo>
                      <a:pt x="14737" y="9962"/>
                    </a:lnTo>
                    <a:lnTo>
                      <a:pt x="15505" y="6477"/>
                    </a:lnTo>
                    <a:lnTo>
                      <a:pt x="24561" y="4171"/>
                    </a:lnTo>
                    <a:lnTo>
                      <a:pt x="26922" y="3568"/>
                    </a:lnTo>
                    <a:lnTo>
                      <a:pt x="27882" y="2909"/>
                    </a:lnTo>
                    <a:lnTo>
                      <a:pt x="30160" y="82"/>
                    </a:lnTo>
                    <a:lnTo>
                      <a:pt x="36527" y="0"/>
                    </a:lnTo>
                    <a:lnTo>
                      <a:pt x="39930" y="2909"/>
                    </a:lnTo>
                    <a:lnTo>
                      <a:pt x="42097" y="41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1" name="Freeform: Shape 4200">
                <a:extLst>
                  <a:ext uri="{FF2B5EF4-FFF2-40B4-BE49-F238E27FC236}">
                    <a16:creationId xmlns:a16="http://schemas.microsoft.com/office/drawing/2014/main" id="{48C99EAC-BB12-5213-DF2B-F509324CCDAB}"/>
                  </a:ext>
                </a:extLst>
              </p:cNvPr>
              <p:cNvSpPr/>
              <p:nvPr/>
            </p:nvSpPr>
            <p:spPr>
              <a:xfrm>
                <a:off x="1449447" y="3722879"/>
                <a:ext cx="967" cy="584"/>
              </a:xfrm>
              <a:custGeom>
                <a:avLst/>
                <a:gdLst>
                  <a:gd name="connsiteX0" fmla="*/ 9276 w 9276"/>
                  <a:gd name="connsiteY0" fmla="*/ 823 h 5598"/>
                  <a:gd name="connsiteX1" fmla="*/ 8014 w 9276"/>
                  <a:gd name="connsiteY1" fmla="*/ 5241 h 5598"/>
                  <a:gd name="connsiteX2" fmla="*/ 3403 w 9276"/>
                  <a:gd name="connsiteY2" fmla="*/ 4665 h 5598"/>
                  <a:gd name="connsiteX3" fmla="*/ 2333 w 9276"/>
                  <a:gd name="connsiteY3" fmla="*/ 5598 h 5598"/>
                  <a:gd name="connsiteX4" fmla="*/ 0 w 9276"/>
                  <a:gd name="connsiteY4" fmla="*/ 4253 h 5598"/>
                  <a:gd name="connsiteX5" fmla="*/ 878 w 9276"/>
                  <a:gd name="connsiteY5" fmla="*/ 2058 h 5598"/>
                  <a:gd name="connsiteX6" fmla="*/ 6202 w 9276"/>
                  <a:gd name="connsiteY6" fmla="*/ 1345 h 5598"/>
                  <a:gd name="connsiteX7" fmla="*/ 7218 w 9276"/>
                  <a:gd name="connsiteY7" fmla="*/ 0 h 5598"/>
                  <a:gd name="connsiteX8" fmla="*/ 9276 w 9276"/>
                  <a:gd name="connsiteY8" fmla="*/ 796 h 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76" h="5598">
                    <a:moveTo>
                      <a:pt x="9276" y="823"/>
                    </a:moveTo>
                    <a:lnTo>
                      <a:pt x="8014" y="5241"/>
                    </a:lnTo>
                    <a:lnTo>
                      <a:pt x="3403" y="4665"/>
                    </a:lnTo>
                    <a:lnTo>
                      <a:pt x="2333" y="5598"/>
                    </a:lnTo>
                    <a:lnTo>
                      <a:pt x="0" y="4253"/>
                    </a:lnTo>
                    <a:lnTo>
                      <a:pt x="878" y="2058"/>
                    </a:lnTo>
                    <a:lnTo>
                      <a:pt x="6202" y="1345"/>
                    </a:lnTo>
                    <a:lnTo>
                      <a:pt x="7218" y="0"/>
                    </a:lnTo>
                    <a:lnTo>
                      <a:pt x="9276" y="7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2" name="Freeform: Shape 4201">
                <a:extLst>
                  <a:ext uri="{FF2B5EF4-FFF2-40B4-BE49-F238E27FC236}">
                    <a16:creationId xmlns:a16="http://schemas.microsoft.com/office/drawing/2014/main" id="{D397C95F-D2C5-74B3-7A3B-F79223C08F19}"/>
                  </a:ext>
                </a:extLst>
              </p:cNvPr>
              <p:cNvSpPr/>
              <p:nvPr/>
            </p:nvSpPr>
            <p:spPr>
              <a:xfrm>
                <a:off x="1444123" y="3709400"/>
                <a:ext cx="985" cy="601"/>
              </a:xfrm>
              <a:custGeom>
                <a:avLst/>
                <a:gdLst>
                  <a:gd name="connsiteX0" fmla="*/ 5104 w 9440"/>
                  <a:gd name="connsiteY0" fmla="*/ 5434 h 5763"/>
                  <a:gd name="connsiteX1" fmla="*/ 2167 w 9440"/>
                  <a:gd name="connsiteY1" fmla="*/ 5763 h 5763"/>
                  <a:gd name="connsiteX2" fmla="*/ 0 w 9440"/>
                  <a:gd name="connsiteY2" fmla="*/ 4473 h 5763"/>
                  <a:gd name="connsiteX3" fmla="*/ 192 w 9440"/>
                  <a:gd name="connsiteY3" fmla="*/ 3348 h 5763"/>
                  <a:gd name="connsiteX4" fmla="*/ 3704 w 9440"/>
                  <a:gd name="connsiteY4" fmla="*/ 1125 h 5763"/>
                  <a:gd name="connsiteX5" fmla="*/ 8178 w 9440"/>
                  <a:gd name="connsiteY5" fmla="*/ 0 h 5763"/>
                  <a:gd name="connsiteX6" fmla="*/ 9440 w 9440"/>
                  <a:gd name="connsiteY6" fmla="*/ 3952 h 5763"/>
                  <a:gd name="connsiteX7" fmla="*/ 5104 w 9440"/>
                  <a:gd name="connsiteY7" fmla="*/ 5461 h 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40" h="5763">
                    <a:moveTo>
                      <a:pt x="5104" y="5434"/>
                    </a:moveTo>
                    <a:lnTo>
                      <a:pt x="2167" y="5763"/>
                    </a:lnTo>
                    <a:lnTo>
                      <a:pt x="0" y="4473"/>
                    </a:lnTo>
                    <a:lnTo>
                      <a:pt x="192" y="3348"/>
                    </a:lnTo>
                    <a:lnTo>
                      <a:pt x="3704" y="1125"/>
                    </a:lnTo>
                    <a:lnTo>
                      <a:pt x="8178" y="0"/>
                    </a:lnTo>
                    <a:lnTo>
                      <a:pt x="9440" y="3952"/>
                    </a:lnTo>
                    <a:lnTo>
                      <a:pt x="5104" y="54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3" name="Freeform: Shape 4202">
                <a:extLst>
                  <a:ext uri="{FF2B5EF4-FFF2-40B4-BE49-F238E27FC236}">
                    <a16:creationId xmlns:a16="http://schemas.microsoft.com/office/drawing/2014/main" id="{E4254896-F226-1FE5-5BD4-217FB66877DD}"/>
                  </a:ext>
                </a:extLst>
              </p:cNvPr>
              <p:cNvSpPr/>
              <p:nvPr/>
            </p:nvSpPr>
            <p:spPr>
              <a:xfrm>
                <a:off x="1449816" y="3707657"/>
                <a:ext cx="612" cy="412"/>
              </a:xfrm>
              <a:custGeom>
                <a:avLst/>
                <a:gdLst>
                  <a:gd name="connsiteX0" fmla="*/ 5873 w 5872"/>
                  <a:gd name="connsiteY0" fmla="*/ 2168 h 3951"/>
                  <a:gd name="connsiteX1" fmla="*/ 1509 w 5872"/>
                  <a:gd name="connsiteY1" fmla="*/ 3952 h 3951"/>
                  <a:gd name="connsiteX2" fmla="*/ 0 w 5872"/>
                  <a:gd name="connsiteY2" fmla="*/ 3046 h 3951"/>
                  <a:gd name="connsiteX3" fmla="*/ 220 w 5872"/>
                  <a:gd name="connsiteY3" fmla="*/ 1427 h 3951"/>
                  <a:gd name="connsiteX4" fmla="*/ 3403 w 5872"/>
                  <a:gd name="connsiteY4" fmla="*/ 0 h 3951"/>
                  <a:gd name="connsiteX5" fmla="*/ 5873 w 5872"/>
                  <a:gd name="connsiteY5" fmla="*/ 2168 h 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2" h="3951">
                    <a:moveTo>
                      <a:pt x="5873" y="2168"/>
                    </a:moveTo>
                    <a:lnTo>
                      <a:pt x="1509" y="3952"/>
                    </a:lnTo>
                    <a:lnTo>
                      <a:pt x="0" y="3046"/>
                    </a:lnTo>
                    <a:lnTo>
                      <a:pt x="220" y="1427"/>
                    </a:lnTo>
                    <a:lnTo>
                      <a:pt x="3403" y="0"/>
                    </a:lnTo>
                    <a:lnTo>
                      <a:pt x="5873"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4" name="Freeform: Shape 4203">
                <a:extLst>
                  <a:ext uri="{FF2B5EF4-FFF2-40B4-BE49-F238E27FC236}">
                    <a16:creationId xmlns:a16="http://schemas.microsoft.com/office/drawing/2014/main" id="{A82C56AF-2103-EF38-6E2B-210F51C7535F}"/>
                  </a:ext>
                </a:extLst>
              </p:cNvPr>
              <p:cNvSpPr/>
              <p:nvPr/>
            </p:nvSpPr>
            <p:spPr>
              <a:xfrm>
                <a:off x="1450572" y="3722856"/>
                <a:ext cx="730" cy="232"/>
              </a:xfrm>
              <a:custGeom>
                <a:avLst/>
                <a:gdLst>
                  <a:gd name="connsiteX0" fmla="*/ 6971 w 6998"/>
                  <a:gd name="connsiteY0" fmla="*/ 1784 h 2223"/>
                  <a:gd name="connsiteX1" fmla="*/ 2058 w 6998"/>
                  <a:gd name="connsiteY1" fmla="*/ 2223 h 2223"/>
                  <a:gd name="connsiteX2" fmla="*/ 0 w 6998"/>
                  <a:gd name="connsiteY2" fmla="*/ 1180 h 2223"/>
                  <a:gd name="connsiteX3" fmla="*/ 1674 w 6998"/>
                  <a:gd name="connsiteY3" fmla="*/ 0 h 2223"/>
                  <a:gd name="connsiteX4" fmla="*/ 6834 w 6998"/>
                  <a:gd name="connsiteY4" fmla="*/ 494 h 2223"/>
                  <a:gd name="connsiteX5" fmla="*/ 6998 w 6998"/>
                  <a:gd name="connsiteY5" fmla="*/ 1811 h 2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8" h="2223">
                    <a:moveTo>
                      <a:pt x="6971" y="1784"/>
                    </a:moveTo>
                    <a:lnTo>
                      <a:pt x="2058" y="2223"/>
                    </a:lnTo>
                    <a:lnTo>
                      <a:pt x="0" y="1180"/>
                    </a:lnTo>
                    <a:lnTo>
                      <a:pt x="1674" y="0"/>
                    </a:lnTo>
                    <a:lnTo>
                      <a:pt x="6834" y="494"/>
                    </a:lnTo>
                    <a:lnTo>
                      <a:pt x="6998" y="18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5" name="Freeform: Shape 4204">
                <a:extLst>
                  <a:ext uri="{FF2B5EF4-FFF2-40B4-BE49-F238E27FC236}">
                    <a16:creationId xmlns:a16="http://schemas.microsoft.com/office/drawing/2014/main" id="{D9943E91-C90A-5F60-A639-01E63EB89DB5}"/>
                  </a:ext>
                </a:extLst>
              </p:cNvPr>
              <p:cNvSpPr/>
              <p:nvPr/>
            </p:nvSpPr>
            <p:spPr>
              <a:xfrm>
                <a:off x="1445102" y="3710915"/>
                <a:ext cx="401" cy="429"/>
              </a:xfrm>
              <a:custGeom>
                <a:avLst/>
                <a:gdLst>
                  <a:gd name="connsiteX0" fmla="*/ 3842 w 3841"/>
                  <a:gd name="connsiteY0" fmla="*/ 3458 h 4116"/>
                  <a:gd name="connsiteX1" fmla="*/ 2168 w 3841"/>
                  <a:gd name="connsiteY1" fmla="*/ 4116 h 4116"/>
                  <a:gd name="connsiteX2" fmla="*/ 0 w 3841"/>
                  <a:gd name="connsiteY2" fmla="*/ 1262 h 4116"/>
                  <a:gd name="connsiteX3" fmla="*/ 3320 w 3841"/>
                  <a:gd name="connsiteY3" fmla="*/ 0 h 4116"/>
                  <a:gd name="connsiteX4" fmla="*/ 3842 w 3841"/>
                  <a:gd name="connsiteY4" fmla="*/ 3430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1" h="4116">
                    <a:moveTo>
                      <a:pt x="3842" y="3458"/>
                    </a:moveTo>
                    <a:lnTo>
                      <a:pt x="2168" y="4116"/>
                    </a:lnTo>
                    <a:lnTo>
                      <a:pt x="0" y="1262"/>
                    </a:lnTo>
                    <a:lnTo>
                      <a:pt x="3320" y="0"/>
                    </a:lnTo>
                    <a:lnTo>
                      <a:pt x="3842" y="34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6" name="Freeform: Shape 4205">
                <a:extLst>
                  <a:ext uri="{FF2B5EF4-FFF2-40B4-BE49-F238E27FC236}">
                    <a16:creationId xmlns:a16="http://schemas.microsoft.com/office/drawing/2014/main" id="{EF893806-F8FD-1CA9-CD36-138180FB8430}"/>
                  </a:ext>
                </a:extLst>
              </p:cNvPr>
              <p:cNvSpPr/>
              <p:nvPr/>
            </p:nvSpPr>
            <p:spPr>
              <a:xfrm>
                <a:off x="1451061" y="3723606"/>
                <a:ext cx="489" cy="298"/>
              </a:xfrm>
              <a:custGeom>
                <a:avLst/>
                <a:gdLst>
                  <a:gd name="connsiteX0" fmla="*/ 4665 w 4692"/>
                  <a:gd name="connsiteY0" fmla="*/ 1372 h 2854"/>
                  <a:gd name="connsiteX1" fmla="*/ 1152 w 4692"/>
                  <a:gd name="connsiteY1" fmla="*/ 2854 h 2854"/>
                  <a:gd name="connsiteX2" fmla="*/ 0 w 4692"/>
                  <a:gd name="connsiteY2" fmla="*/ 55 h 2854"/>
                  <a:gd name="connsiteX3" fmla="*/ 4281 w 4692"/>
                  <a:gd name="connsiteY3" fmla="*/ 0 h 2854"/>
                  <a:gd name="connsiteX4" fmla="*/ 4693 w 4692"/>
                  <a:gd name="connsiteY4" fmla="*/ 1372 h 2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2" h="2854">
                    <a:moveTo>
                      <a:pt x="4665" y="1372"/>
                    </a:moveTo>
                    <a:lnTo>
                      <a:pt x="1152" y="2854"/>
                    </a:lnTo>
                    <a:lnTo>
                      <a:pt x="0" y="55"/>
                    </a:lnTo>
                    <a:lnTo>
                      <a:pt x="4281" y="0"/>
                    </a:lnTo>
                    <a:lnTo>
                      <a:pt x="4693" y="13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7" name="Freeform: Shape 4206">
                <a:extLst>
                  <a:ext uri="{FF2B5EF4-FFF2-40B4-BE49-F238E27FC236}">
                    <a16:creationId xmlns:a16="http://schemas.microsoft.com/office/drawing/2014/main" id="{EC17E51C-6AAD-F2BD-84AF-75238F8D68B8}"/>
                  </a:ext>
                </a:extLst>
              </p:cNvPr>
              <p:cNvSpPr/>
              <p:nvPr/>
            </p:nvSpPr>
            <p:spPr>
              <a:xfrm>
                <a:off x="1446922" y="3712692"/>
                <a:ext cx="326" cy="452"/>
              </a:xfrm>
              <a:custGeom>
                <a:avLst/>
                <a:gdLst>
                  <a:gd name="connsiteX0" fmla="*/ 2580 w 3128"/>
                  <a:gd name="connsiteY0" fmla="*/ 4336 h 4336"/>
                  <a:gd name="connsiteX1" fmla="*/ 1098 w 3128"/>
                  <a:gd name="connsiteY1" fmla="*/ 4336 h 4336"/>
                  <a:gd name="connsiteX2" fmla="*/ 0 w 3128"/>
                  <a:gd name="connsiteY2" fmla="*/ 1537 h 4336"/>
                  <a:gd name="connsiteX3" fmla="*/ 1757 w 3128"/>
                  <a:gd name="connsiteY3" fmla="*/ 0 h 4336"/>
                  <a:gd name="connsiteX4" fmla="*/ 3129 w 3128"/>
                  <a:gd name="connsiteY4" fmla="*/ 906 h 4336"/>
                  <a:gd name="connsiteX5" fmla="*/ 2580 w 3128"/>
                  <a:gd name="connsiteY5" fmla="*/ 4309 h 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4336">
                    <a:moveTo>
                      <a:pt x="2580" y="4336"/>
                    </a:moveTo>
                    <a:lnTo>
                      <a:pt x="1098" y="4336"/>
                    </a:lnTo>
                    <a:lnTo>
                      <a:pt x="0" y="1537"/>
                    </a:lnTo>
                    <a:lnTo>
                      <a:pt x="1757" y="0"/>
                    </a:lnTo>
                    <a:lnTo>
                      <a:pt x="3129" y="906"/>
                    </a:lnTo>
                    <a:lnTo>
                      <a:pt x="2580" y="43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8" name="Freeform: Shape 4207">
                <a:extLst>
                  <a:ext uri="{FF2B5EF4-FFF2-40B4-BE49-F238E27FC236}">
                    <a16:creationId xmlns:a16="http://schemas.microsoft.com/office/drawing/2014/main" id="{9E451F60-D65B-EBFC-5104-3FB01C29926A}"/>
                  </a:ext>
                </a:extLst>
              </p:cNvPr>
              <p:cNvSpPr/>
              <p:nvPr/>
            </p:nvSpPr>
            <p:spPr>
              <a:xfrm>
                <a:off x="1449913" y="3708204"/>
                <a:ext cx="352" cy="415"/>
              </a:xfrm>
              <a:custGeom>
                <a:avLst/>
                <a:gdLst>
                  <a:gd name="connsiteX0" fmla="*/ 3375 w 3375"/>
                  <a:gd name="connsiteY0" fmla="*/ 1921 h 3979"/>
                  <a:gd name="connsiteX1" fmla="*/ 1921 w 3375"/>
                  <a:gd name="connsiteY1" fmla="*/ 3979 h 3979"/>
                  <a:gd name="connsiteX2" fmla="*/ 0 w 3375"/>
                  <a:gd name="connsiteY2" fmla="*/ 3595 h 3979"/>
                  <a:gd name="connsiteX3" fmla="*/ 329 w 3375"/>
                  <a:gd name="connsiteY3" fmla="*/ 714 h 3979"/>
                  <a:gd name="connsiteX4" fmla="*/ 2442 w 3375"/>
                  <a:gd name="connsiteY4" fmla="*/ 0 h 3979"/>
                  <a:gd name="connsiteX5" fmla="*/ 3375 w 3375"/>
                  <a:gd name="connsiteY5" fmla="*/ 1893 h 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5" h="3979">
                    <a:moveTo>
                      <a:pt x="3375" y="1921"/>
                    </a:moveTo>
                    <a:lnTo>
                      <a:pt x="1921" y="3979"/>
                    </a:lnTo>
                    <a:lnTo>
                      <a:pt x="0" y="3595"/>
                    </a:lnTo>
                    <a:lnTo>
                      <a:pt x="329" y="714"/>
                    </a:lnTo>
                    <a:lnTo>
                      <a:pt x="2442" y="0"/>
                    </a:lnTo>
                    <a:lnTo>
                      <a:pt x="3375" y="18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09" name="Freeform: Shape 4208">
                <a:extLst>
                  <a:ext uri="{FF2B5EF4-FFF2-40B4-BE49-F238E27FC236}">
                    <a16:creationId xmlns:a16="http://schemas.microsoft.com/office/drawing/2014/main" id="{3C5D77FE-DC78-D71B-6433-9A7B3B272AB1}"/>
                  </a:ext>
                </a:extLst>
              </p:cNvPr>
              <p:cNvSpPr/>
              <p:nvPr/>
            </p:nvSpPr>
            <p:spPr>
              <a:xfrm>
                <a:off x="1447180" y="3716093"/>
                <a:ext cx="315" cy="384"/>
              </a:xfrm>
              <a:custGeom>
                <a:avLst/>
                <a:gdLst>
                  <a:gd name="connsiteX0" fmla="*/ 3018 w 3018"/>
                  <a:gd name="connsiteY0" fmla="*/ 3403 h 3677"/>
                  <a:gd name="connsiteX1" fmla="*/ 110 w 3018"/>
                  <a:gd name="connsiteY1" fmla="*/ 3678 h 3677"/>
                  <a:gd name="connsiteX2" fmla="*/ 0 w 3018"/>
                  <a:gd name="connsiteY2" fmla="*/ 686 h 3677"/>
                  <a:gd name="connsiteX3" fmla="*/ 2607 w 3018"/>
                  <a:gd name="connsiteY3" fmla="*/ 0 h 3677"/>
                  <a:gd name="connsiteX4" fmla="*/ 3018 w 3018"/>
                  <a:gd name="connsiteY4" fmla="*/ 3403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 h="3677">
                    <a:moveTo>
                      <a:pt x="3018" y="3403"/>
                    </a:moveTo>
                    <a:lnTo>
                      <a:pt x="110" y="3678"/>
                    </a:lnTo>
                    <a:lnTo>
                      <a:pt x="0" y="686"/>
                    </a:lnTo>
                    <a:lnTo>
                      <a:pt x="2607" y="0"/>
                    </a:lnTo>
                    <a:lnTo>
                      <a:pt x="3018" y="34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0" name="Freeform: Shape 4209">
                <a:extLst>
                  <a:ext uri="{FF2B5EF4-FFF2-40B4-BE49-F238E27FC236}">
                    <a16:creationId xmlns:a16="http://schemas.microsoft.com/office/drawing/2014/main" id="{5E8082A1-E245-CCDA-8156-44F0C1E69157}"/>
                  </a:ext>
                </a:extLst>
              </p:cNvPr>
              <p:cNvSpPr/>
              <p:nvPr/>
            </p:nvSpPr>
            <p:spPr>
              <a:xfrm>
                <a:off x="1175344" y="3811002"/>
                <a:ext cx="3191" cy="2588"/>
              </a:xfrm>
              <a:custGeom>
                <a:avLst/>
                <a:gdLst>
                  <a:gd name="connsiteX0" fmla="*/ 30572 w 30598"/>
                  <a:gd name="connsiteY0" fmla="*/ 247 h 24808"/>
                  <a:gd name="connsiteX1" fmla="*/ 26977 w 30598"/>
                  <a:gd name="connsiteY1" fmla="*/ 5571 h 24808"/>
                  <a:gd name="connsiteX2" fmla="*/ 27608 w 30598"/>
                  <a:gd name="connsiteY2" fmla="*/ 9385 h 24808"/>
                  <a:gd name="connsiteX3" fmla="*/ 26839 w 30598"/>
                  <a:gd name="connsiteY3" fmla="*/ 9934 h 24808"/>
                  <a:gd name="connsiteX4" fmla="*/ 27882 w 30598"/>
                  <a:gd name="connsiteY4" fmla="*/ 14435 h 24808"/>
                  <a:gd name="connsiteX5" fmla="*/ 28239 w 30598"/>
                  <a:gd name="connsiteY5" fmla="*/ 20994 h 24808"/>
                  <a:gd name="connsiteX6" fmla="*/ 23272 w 30598"/>
                  <a:gd name="connsiteY6" fmla="*/ 22860 h 24808"/>
                  <a:gd name="connsiteX7" fmla="*/ 11197 w 30598"/>
                  <a:gd name="connsiteY7" fmla="*/ 22915 h 24808"/>
                  <a:gd name="connsiteX8" fmla="*/ 9605 w 30598"/>
                  <a:gd name="connsiteY8" fmla="*/ 23436 h 24808"/>
                  <a:gd name="connsiteX9" fmla="*/ 7684 w 30598"/>
                  <a:gd name="connsiteY9" fmla="*/ 22586 h 24808"/>
                  <a:gd name="connsiteX10" fmla="*/ 4364 w 30598"/>
                  <a:gd name="connsiteY10" fmla="*/ 22448 h 24808"/>
                  <a:gd name="connsiteX11" fmla="*/ 1235 w 30598"/>
                  <a:gd name="connsiteY11" fmla="*/ 24808 h 24808"/>
                  <a:gd name="connsiteX12" fmla="*/ 0 w 30598"/>
                  <a:gd name="connsiteY12" fmla="*/ 23409 h 24808"/>
                  <a:gd name="connsiteX13" fmla="*/ 741 w 30598"/>
                  <a:gd name="connsiteY13" fmla="*/ 21735 h 24808"/>
                  <a:gd name="connsiteX14" fmla="*/ 3540 w 30598"/>
                  <a:gd name="connsiteY14" fmla="*/ 21735 h 24808"/>
                  <a:gd name="connsiteX15" fmla="*/ 6669 w 30598"/>
                  <a:gd name="connsiteY15" fmla="*/ 20500 h 24808"/>
                  <a:gd name="connsiteX16" fmla="*/ 9907 w 30598"/>
                  <a:gd name="connsiteY16" fmla="*/ 17673 h 24808"/>
                  <a:gd name="connsiteX17" fmla="*/ 12404 w 30598"/>
                  <a:gd name="connsiteY17" fmla="*/ 18195 h 24808"/>
                  <a:gd name="connsiteX18" fmla="*/ 14572 w 30598"/>
                  <a:gd name="connsiteY18" fmla="*/ 16219 h 24808"/>
                  <a:gd name="connsiteX19" fmla="*/ 13447 w 30598"/>
                  <a:gd name="connsiteY19" fmla="*/ 12541 h 24808"/>
                  <a:gd name="connsiteX20" fmla="*/ 14408 w 30598"/>
                  <a:gd name="connsiteY20" fmla="*/ 8919 h 24808"/>
                  <a:gd name="connsiteX21" fmla="*/ 13392 w 30598"/>
                  <a:gd name="connsiteY21" fmla="*/ 6065 h 24808"/>
                  <a:gd name="connsiteX22" fmla="*/ 9001 w 30598"/>
                  <a:gd name="connsiteY22" fmla="*/ 3952 h 24808"/>
                  <a:gd name="connsiteX23" fmla="*/ 10099 w 30598"/>
                  <a:gd name="connsiteY23" fmla="*/ 2881 h 24808"/>
                  <a:gd name="connsiteX24" fmla="*/ 15423 w 30598"/>
                  <a:gd name="connsiteY24" fmla="*/ 2442 h 24808"/>
                  <a:gd name="connsiteX25" fmla="*/ 17454 w 30598"/>
                  <a:gd name="connsiteY25" fmla="*/ 905 h 24808"/>
                  <a:gd name="connsiteX26" fmla="*/ 20171 w 30598"/>
                  <a:gd name="connsiteY26" fmla="*/ 1427 h 24808"/>
                  <a:gd name="connsiteX27" fmla="*/ 27745 w 30598"/>
                  <a:gd name="connsiteY27" fmla="*/ 0 h 24808"/>
                  <a:gd name="connsiteX28" fmla="*/ 30599 w 30598"/>
                  <a:gd name="connsiteY28" fmla="*/ 274 h 2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598" h="24808">
                    <a:moveTo>
                      <a:pt x="30572" y="247"/>
                    </a:moveTo>
                    <a:lnTo>
                      <a:pt x="26977" y="5571"/>
                    </a:lnTo>
                    <a:lnTo>
                      <a:pt x="27608" y="9385"/>
                    </a:lnTo>
                    <a:lnTo>
                      <a:pt x="26839" y="9934"/>
                    </a:lnTo>
                    <a:lnTo>
                      <a:pt x="27882" y="14435"/>
                    </a:lnTo>
                    <a:lnTo>
                      <a:pt x="28239" y="20994"/>
                    </a:lnTo>
                    <a:lnTo>
                      <a:pt x="23272" y="22860"/>
                    </a:lnTo>
                    <a:lnTo>
                      <a:pt x="11197" y="22915"/>
                    </a:lnTo>
                    <a:lnTo>
                      <a:pt x="9605" y="23436"/>
                    </a:lnTo>
                    <a:lnTo>
                      <a:pt x="7684" y="22586"/>
                    </a:lnTo>
                    <a:lnTo>
                      <a:pt x="4364" y="22448"/>
                    </a:lnTo>
                    <a:lnTo>
                      <a:pt x="1235" y="24808"/>
                    </a:lnTo>
                    <a:lnTo>
                      <a:pt x="0" y="23409"/>
                    </a:lnTo>
                    <a:lnTo>
                      <a:pt x="741" y="21735"/>
                    </a:lnTo>
                    <a:lnTo>
                      <a:pt x="3540" y="21735"/>
                    </a:lnTo>
                    <a:lnTo>
                      <a:pt x="6669" y="20500"/>
                    </a:lnTo>
                    <a:lnTo>
                      <a:pt x="9907" y="17673"/>
                    </a:lnTo>
                    <a:lnTo>
                      <a:pt x="12404" y="18195"/>
                    </a:lnTo>
                    <a:lnTo>
                      <a:pt x="14572" y="16219"/>
                    </a:lnTo>
                    <a:lnTo>
                      <a:pt x="13447" y="12541"/>
                    </a:lnTo>
                    <a:lnTo>
                      <a:pt x="14408" y="8919"/>
                    </a:lnTo>
                    <a:lnTo>
                      <a:pt x="13392" y="6065"/>
                    </a:lnTo>
                    <a:lnTo>
                      <a:pt x="9001" y="3952"/>
                    </a:lnTo>
                    <a:lnTo>
                      <a:pt x="10099" y="2881"/>
                    </a:lnTo>
                    <a:lnTo>
                      <a:pt x="15423" y="2442"/>
                    </a:lnTo>
                    <a:lnTo>
                      <a:pt x="17454" y="905"/>
                    </a:lnTo>
                    <a:lnTo>
                      <a:pt x="20171" y="1427"/>
                    </a:lnTo>
                    <a:lnTo>
                      <a:pt x="27745" y="0"/>
                    </a:lnTo>
                    <a:lnTo>
                      <a:pt x="30599" y="2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1" name="Freeform: Shape 4210">
                <a:extLst>
                  <a:ext uri="{FF2B5EF4-FFF2-40B4-BE49-F238E27FC236}">
                    <a16:creationId xmlns:a16="http://schemas.microsoft.com/office/drawing/2014/main" id="{0203F7D4-3A2B-003B-091E-8CEB7BCE7258}"/>
                  </a:ext>
                </a:extLst>
              </p:cNvPr>
              <p:cNvSpPr/>
              <p:nvPr/>
            </p:nvSpPr>
            <p:spPr>
              <a:xfrm>
                <a:off x="1178902" y="3809462"/>
                <a:ext cx="927" cy="512"/>
              </a:xfrm>
              <a:custGeom>
                <a:avLst/>
                <a:gdLst>
                  <a:gd name="connsiteX0" fmla="*/ 4473 w 8891"/>
                  <a:gd name="connsiteY0" fmla="*/ 4281 h 4912"/>
                  <a:gd name="connsiteX1" fmla="*/ 604 w 8891"/>
                  <a:gd name="connsiteY1" fmla="*/ 4912 h 4912"/>
                  <a:gd name="connsiteX2" fmla="*/ 0 w 8891"/>
                  <a:gd name="connsiteY2" fmla="*/ 4336 h 4912"/>
                  <a:gd name="connsiteX3" fmla="*/ 1317 w 8891"/>
                  <a:gd name="connsiteY3" fmla="*/ 2525 h 4912"/>
                  <a:gd name="connsiteX4" fmla="*/ 5434 w 8891"/>
                  <a:gd name="connsiteY4" fmla="*/ 247 h 4912"/>
                  <a:gd name="connsiteX5" fmla="*/ 7904 w 8891"/>
                  <a:gd name="connsiteY5" fmla="*/ 0 h 4912"/>
                  <a:gd name="connsiteX6" fmla="*/ 8891 w 8891"/>
                  <a:gd name="connsiteY6" fmla="*/ 1098 h 4912"/>
                  <a:gd name="connsiteX7" fmla="*/ 4501 w 8891"/>
                  <a:gd name="connsiteY7" fmla="*/ 4226 h 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91" h="4912">
                    <a:moveTo>
                      <a:pt x="4473" y="4281"/>
                    </a:moveTo>
                    <a:lnTo>
                      <a:pt x="604" y="4912"/>
                    </a:lnTo>
                    <a:lnTo>
                      <a:pt x="0" y="4336"/>
                    </a:lnTo>
                    <a:lnTo>
                      <a:pt x="1317" y="2525"/>
                    </a:lnTo>
                    <a:lnTo>
                      <a:pt x="5434" y="247"/>
                    </a:lnTo>
                    <a:lnTo>
                      <a:pt x="7904" y="0"/>
                    </a:lnTo>
                    <a:lnTo>
                      <a:pt x="8891" y="1098"/>
                    </a:lnTo>
                    <a:lnTo>
                      <a:pt x="4501" y="42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2" name="Freeform: Shape 4211">
                <a:extLst>
                  <a:ext uri="{FF2B5EF4-FFF2-40B4-BE49-F238E27FC236}">
                    <a16:creationId xmlns:a16="http://schemas.microsoft.com/office/drawing/2014/main" id="{6715A824-C387-6A75-E23A-C3E496CA2123}"/>
                  </a:ext>
                </a:extLst>
              </p:cNvPr>
              <p:cNvSpPr/>
              <p:nvPr/>
            </p:nvSpPr>
            <p:spPr>
              <a:xfrm>
                <a:off x="1455446" y="3847519"/>
                <a:ext cx="33870" cy="33143"/>
              </a:xfrm>
              <a:custGeom>
                <a:avLst/>
                <a:gdLst>
                  <a:gd name="connsiteX0" fmla="*/ 250719 w 324732"/>
                  <a:gd name="connsiteY0" fmla="*/ 80792 h 317762"/>
                  <a:gd name="connsiteX1" fmla="*/ 289661 w 324732"/>
                  <a:gd name="connsiteY1" fmla="*/ 108153 h 317762"/>
                  <a:gd name="connsiteX2" fmla="*/ 289661 w 324732"/>
                  <a:gd name="connsiteY2" fmla="*/ 108455 h 317762"/>
                  <a:gd name="connsiteX3" fmla="*/ 287520 w 324732"/>
                  <a:gd name="connsiteY3" fmla="*/ 121627 h 317762"/>
                  <a:gd name="connsiteX4" fmla="*/ 279096 w 324732"/>
                  <a:gd name="connsiteY4" fmla="*/ 141853 h 317762"/>
                  <a:gd name="connsiteX5" fmla="*/ 277778 w 324732"/>
                  <a:gd name="connsiteY5" fmla="*/ 149125 h 317762"/>
                  <a:gd name="connsiteX6" fmla="*/ 280358 w 324732"/>
                  <a:gd name="connsiteY6" fmla="*/ 158895 h 317762"/>
                  <a:gd name="connsiteX7" fmla="*/ 297565 w 324732"/>
                  <a:gd name="connsiteY7" fmla="*/ 174098 h 317762"/>
                  <a:gd name="connsiteX8" fmla="*/ 299183 w 324732"/>
                  <a:gd name="connsiteY8" fmla="*/ 177858 h 317762"/>
                  <a:gd name="connsiteX9" fmla="*/ 292076 w 324732"/>
                  <a:gd name="connsiteY9" fmla="*/ 194049 h 317762"/>
                  <a:gd name="connsiteX10" fmla="*/ 291829 w 324732"/>
                  <a:gd name="connsiteY10" fmla="*/ 201047 h 317762"/>
                  <a:gd name="connsiteX11" fmla="*/ 294875 w 324732"/>
                  <a:gd name="connsiteY11" fmla="*/ 204944 h 317762"/>
                  <a:gd name="connsiteX12" fmla="*/ 295369 w 324732"/>
                  <a:gd name="connsiteY12" fmla="*/ 209088 h 317762"/>
                  <a:gd name="connsiteX13" fmla="*/ 291253 w 324732"/>
                  <a:gd name="connsiteY13" fmla="*/ 217046 h 317762"/>
                  <a:gd name="connsiteX14" fmla="*/ 297565 w 324732"/>
                  <a:gd name="connsiteY14" fmla="*/ 231811 h 317762"/>
                  <a:gd name="connsiteX15" fmla="*/ 295698 w 324732"/>
                  <a:gd name="connsiteY15" fmla="*/ 234884 h 317762"/>
                  <a:gd name="connsiteX16" fmla="*/ 298690 w 324732"/>
                  <a:gd name="connsiteY16" fmla="*/ 239522 h 317762"/>
                  <a:gd name="connsiteX17" fmla="*/ 300501 w 324732"/>
                  <a:gd name="connsiteY17" fmla="*/ 238233 h 317762"/>
                  <a:gd name="connsiteX18" fmla="*/ 301626 w 324732"/>
                  <a:gd name="connsiteY18" fmla="*/ 239550 h 317762"/>
                  <a:gd name="connsiteX19" fmla="*/ 302422 w 324732"/>
                  <a:gd name="connsiteY19" fmla="*/ 245450 h 317762"/>
                  <a:gd name="connsiteX20" fmla="*/ 300638 w 324732"/>
                  <a:gd name="connsiteY20" fmla="*/ 249210 h 317762"/>
                  <a:gd name="connsiteX21" fmla="*/ 304316 w 324732"/>
                  <a:gd name="connsiteY21" fmla="*/ 253628 h 317762"/>
                  <a:gd name="connsiteX22" fmla="*/ 306730 w 324732"/>
                  <a:gd name="connsiteY22" fmla="*/ 261449 h 317762"/>
                  <a:gd name="connsiteX23" fmla="*/ 306127 w 324732"/>
                  <a:gd name="connsiteY23" fmla="*/ 265758 h 317762"/>
                  <a:gd name="connsiteX24" fmla="*/ 321824 w 324732"/>
                  <a:gd name="connsiteY24" fmla="*/ 274896 h 317762"/>
                  <a:gd name="connsiteX25" fmla="*/ 324733 w 324732"/>
                  <a:gd name="connsiteY25" fmla="*/ 277860 h 317762"/>
                  <a:gd name="connsiteX26" fmla="*/ 324733 w 324732"/>
                  <a:gd name="connsiteY26" fmla="*/ 281565 h 317762"/>
                  <a:gd name="connsiteX27" fmla="*/ 313070 w 324732"/>
                  <a:gd name="connsiteY27" fmla="*/ 290347 h 317762"/>
                  <a:gd name="connsiteX28" fmla="*/ 299458 w 324732"/>
                  <a:gd name="connsiteY28" fmla="*/ 295671 h 317762"/>
                  <a:gd name="connsiteX29" fmla="*/ 290896 w 324732"/>
                  <a:gd name="connsiteY29" fmla="*/ 300995 h 317762"/>
                  <a:gd name="connsiteX30" fmla="*/ 280385 w 324732"/>
                  <a:gd name="connsiteY30" fmla="*/ 301626 h 317762"/>
                  <a:gd name="connsiteX31" fmla="*/ 268283 w 324732"/>
                  <a:gd name="connsiteY31" fmla="*/ 308349 h 317762"/>
                  <a:gd name="connsiteX32" fmla="*/ 260653 w 324732"/>
                  <a:gd name="connsiteY32" fmla="*/ 304617 h 317762"/>
                  <a:gd name="connsiteX33" fmla="*/ 252475 w 324732"/>
                  <a:gd name="connsiteY33" fmla="*/ 304288 h 317762"/>
                  <a:gd name="connsiteX34" fmla="*/ 249512 w 324732"/>
                  <a:gd name="connsiteY34" fmla="*/ 305879 h 317762"/>
                  <a:gd name="connsiteX35" fmla="*/ 247454 w 324732"/>
                  <a:gd name="connsiteY35" fmla="*/ 311643 h 317762"/>
                  <a:gd name="connsiteX36" fmla="*/ 244106 w 324732"/>
                  <a:gd name="connsiteY36" fmla="*/ 313975 h 317762"/>
                  <a:gd name="connsiteX37" fmla="*/ 236915 w 324732"/>
                  <a:gd name="connsiteY37" fmla="*/ 316308 h 317762"/>
                  <a:gd name="connsiteX38" fmla="*/ 229643 w 324732"/>
                  <a:gd name="connsiteY38" fmla="*/ 315210 h 317762"/>
                  <a:gd name="connsiteX39" fmla="*/ 220121 w 324732"/>
                  <a:gd name="connsiteY39" fmla="*/ 313701 h 317762"/>
                  <a:gd name="connsiteX40" fmla="*/ 214248 w 324732"/>
                  <a:gd name="connsiteY40" fmla="*/ 317762 h 317762"/>
                  <a:gd name="connsiteX41" fmla="*/ 203188 w 324732"/>
                  <a:gd name="connsiteY41" fmla="*/ 317570 h 317762"/>
                  <a:gd name="connsiteX42" fmla="*/ 200115 w 324732"/>
                  <a:gd name="connsiteY42" fmla="*/ 313069 h 317762"/>
                  <a:gd name="connsiteX43" fmla="*/ 190894 w 324732"/>
                  <a:gd name="connsiteY43" fmla="*/ 309035 h 317762"/>
                  <a:gd name="connsiteX44" fmla="*/ 182167 w 324732"/>
                  <a:gd name="connsiteY44" fmla="*/ 313317 h 317762"/>
                  <a:gd name="connsiteX45" fmla="*/ 164933 w 324732"/>
                  <a:gd name="connsiteY45" fmla="*/ 313426 h 317762"/>
                  <a:gd name="connsiteX46" fmla="*/ 163094 w 324732"/>
                  <a:gd name="connsiteY46" fmla="*/ 307883 h 317762"/>
                  <a:gd name="connsiteX47" fmla="*/ 155382 w 324732"/>
                  <a:gd name="connsiteY47" fmla="*/ 298278 h 317762"/>
                  <a:gd name="connsiteX48" fmla="*/ 155575 w 324732"/>
                  <a:gd name="connsiteY48" fmla="*/ 289798 h 317762"/>
                  <a:gd name="connsiteX49" fmla="*/ 151980 w 324732"/>
                  <a:gd name="connsiteY49" fmla="*/ 268118 h 317762"/>
                  <a:gd name="connsiteX50" fmla="*/ 144598 w 324732"/>
                  <a:gd name="connsiteY50" fmla="*/ 257745 h 317762"/>
                  <a:gd name="connsiteX51" fmla="*/ 137928 w 324732"/>
                  <a:gd name="connsiteY51" fmla="*/ 252256 h 317762"/>
                  <a:gd name="connsiteX52" fmla="*/ 134087 w 324732"/>
                  <a:gd name="connsiteY52" fmla="*/ 257086 h 317762"/>
                  <a:gd name="connsiteX53" fmla="*/ 129723 w 324732"/>
                  <a:gd name="connsiteY53" fmla="*/ 254644 h 317762"/>
                  <a:gd name="connsiteX54" fmla="*/ 121408 w 324732"/>
                  <a:gd name="connsiteY54" fmla="*/ 254644 h 317762"/>
                  <a:gd name="connsiteX55" fmla="*/ 105958 w 324732"/>
                  <a:gd name="connsiteY55" fmla="*/ 248496 h 317762"/>
                  <a:gd name="connsiteX56" fmla="*/ 94102 w 324732"/>
                  <a:gd name="connsiteY56" fmla="*/ 243886 h 317762"/>
                  <a:gd name="connsiteX57" fmla="*/ 90425 w 324732"/>
                  <a:gd name="connsiteY57" fmla="*/ 240428 h 317762"/>
                  <a:gd name="connsiteX58" fmla="*/ 85293 w 324732"/>
                  <a:gd name="connsiteY58" fmla="*/ 240345 h 317762"/>
                  <a:gd name="connsiteX59" fmla="*/ 77856 w 324732"/>
                  <a:gd name="connsiteY59" fmla="*/ 238233 h 317762"/>
                  <a:gd name="connsiteX60" fmla="*/ 74563 w 324732"/>
                  <a:gd name="connsiteY60" fmla="*/ 234034 h 317762"/>
                  <a:gd name="connsiteX61" fmla="*/ 67620 w 324732"/>
                  <a:gd name="connsiteY61" fmla="*/ 233101 h 317762"/>
                  <a:gd name="connsiteX62" fmla="*/ 64573 w 324732"/>
                  <a:gd name="connsiteY62" fmla="*/ 227694 h 317762"/>
                  <a:gd name="connsiteX63" fmla="*/ 59634 w 324732"/>
                  <a:gd name="connsiteY63" fmla="*/ 224923 h 317762"/>
                  <a:gd name="connsiteX64" fmla="*/ 49727 w 324732"/>
                  <a:gd name="connsiteY64" fmla="*/ 224319 h 317762"/>
                  <a:gd name="connsiteX65" fmla="*/ 41768 w 324732"/>
                  <a:gd name="connsiteY65" fmla="*/ 212491 h 317762"/>
                  <a:gd name="connsiteX66" fmla="*/ 32548 w 324732"/>
                  <a:gd name="connsiteY66" fmla="*/ 193940 h 317762"/>
                  <a:gd name="connsiteX67" fmla="*/ 28349 w 324732"/>
                  <a:gd name="connsiteY67" fmla="*/ 181590 h 317762"/>
                  <a:gd name="connsiteX68" fmla="*/ 21296 w 324732"/>
                  <a:gd name="connsiteY68" fmla="*/ 172836 h 317762"/>
                  <a:gd name="connsiteX69" fmla="*/ 11252 w 324732"/>
                  <a:gd name="connsiteY69" fmla="*/ 165948 h 317762"/>
                  <a:gd name="connsiteX70" fmla="*/ 5489 w 324732"/>
                  <a:gd name="connsiteY70" fmla="*/ 154641 h 317762"/>
                  <a:gd name="connsiteX71" fmla="*/ 4556 w 324732"/>
                  <a:gd name="connsiteY71" fmla="*/ 146655 h 317762"/>
                  <a:gd name="connsiteX72" fmla="*/ 7959 w 324732"/>
                  <a:gd name="connsiteY72" fmla="*/ 139218 h 317762"/>
                  <a:gd name="connsiteX73" fmla="*/ 0 w 324732"/>
                  <a:gd name="connsiteY73" fmla="*/ 115700 h 317762"/>
                  <a:gd name="connsiteX74" fmla="*/ 2141 w 324732"/>
                  <a:gd name="connsiteY74" fmla="*/ 101621 h 317762"/>
                  <a:gd name="connsiteX75" fmla="*/ 11691 w 324732"/>
                  <a:gd name="connsiteY75" fmla="*/ 101676 h 317762"/>
                  <a:gd name="connsiteX76" fmla="*/ 19512 w 324732"/>
                  <a:gd name="connsiteY76" fmla="*/ 96983 h 317762"/>
                  <a:gd name="connsiteX77" fmla="*/ 30380 w 324732"/>
                  <a:gd name="connsiteY77" fmla="*/ 81231 h 317762"/>
                  <a:gd name="connsiteX78" fmla="*/ 32712 w 324732"/>
                  <a:gd name="connsiteY78" fmla="*/ 75331 h 317762"/>
                  <a:gd name="connsiteX79" fmla="*/ 43305 w 324732"/>
                  <a:gd name="connsiteY79" fmla="*/ 66138 h 317762"/>
                  <a:gd name="connsiteX80" fmla="*/ 42646 w 324732"/>
                  <a:gd name="connsiteY80" fmla="*/ 59249 h 317762"/>
                  <a:gd name="connsiteX81" fmla="*/ 33399 w 324732"/>
                  <a:gd name="connsiteY81" fmla="*/ 56889 h 317762"/>
                  <a:gd name="connsiteX82" fmla="*/ 31532 w 324732"/>
                  <a:gd name="connsiteY82" fmla="*/ 54804 h 317762"/>
                  <a:gd name="connsiteX83" fmla="*/ 32603 w 324732"/>
                  <a:gd name="connsiteY83" fmla="*/ 51785 h 317762"/>
                  <a:gd name="connsiteX84" fmla="*/ 33151 w 324732"/>
                  <a:gd name="connsiteY84" fmla="*/ 50303 h 317762"/>
                  <a:gd name="connsiteX85" fmla="*/ 32109 w 324732"/>
                  <a:gd name="connsiteY85" fmla="*/ 48300 h 317762"/>
                  <a:gd name="connsiteX86" fmla="*/ 35127 w 324732"/>
                  <a:gd name="connsiteY86" fmla="*/ 41686 h 317762"/>
                  <a:gd name="connsiteX87" fmla="*/ 42729 w 324732"/>
                  <a:gd name="connsiteY87" fmla="*/ 39655 h 317762"/>
                  <a:gd name="connsiteX88" fmla="*/ 44897 w 324732"/>
                  <a:gd name="connsiteY88" fmla="*/ 32849 h 317762"/>
                  <a:gd name="connsiteX89" fmla="*/ 43140 w 324732"/>
                  <a:gd name="connsiteY89" fmla="*/ 18908 h 317762"/>
                  <a:gd name="connsiteX90" fmla="*/ 39216 w 324732"/>
                  <a:gd name="connsiteY90" fmla="*/ 12734 h 317762"/>
                  <a:gd name="connsiteX91" fmla="*/ 33014 w 324732"/>
                  <a:gd name="connsiteY91" fmla="*/ 3650 h 317762"/>
                  <a:gd name="connsiteX92" fmla="*/ 33069 w 324732"/>
                  <a:gd name="connsiteY92" fmla="*/ 1811 h 317762"/>
                  <a:gd name="connsiteX93" fmla="*/ 42263 w 324732"/>
                  <a:gd name="connsiteY93" fmla="*/ 0 h 317762"/>
                  <a:gd name="connsiteX94" fmla="*/ 134828 w 324732"/>
                  <a:gd name="connsiteY94" fmla="*/ 110 h 317762"/>
                  <a:gd name="connsiteX95" fmla="*/ 144213 w 324732"/>
                  <a:gd name="connsiteY95" fmla="*/ 3650 h 317762"/>
                  <a:gd name="connsiteX96" fmla="*/ 160212 w 324732"/>
                  <a:gd name="connsiteY96" fmla="*/ 12734 h 317762"/>
                  <a:gd name="connsiteX97" fmla="*/ 242212 w 324732"/>
                  <a:gd name="connsiteY97" fmla="*/ 59359 h 317762"/>
                  <a:gd name="connsiteX98" fmla="*/ 245258 w 324732"/>
                  <a:gd name="connsiteY98" fmla="*/ 66549 h 317762"/>
                  <a:gd name="connsiteX99" fmla="*/ 243447 w 324732"/>
                  <a:gd name="connsiteY99" fmla="*/ 73492 h 317762"/>
                  <a:gd name="connsiteX100" fmla="*/ 250857 w 324732"/>
                  <a:gd name="connsiteY100" fmla="*/ 80847 h 3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24732" h="317762">
                    <a:moveTo>
                      <a:pt x="250719" y="80792"/>
                    </a:moveTo>
                    <a:lnTo>
                      <a:pt x="289661" y="108153"/>
                    </a:lnTo>
                    <a:lnTo>
                      <a:pt x="289661" y="108455"/>
                    </a:lnTo>
                    <a:cubicBezTo>
                      <a:pt x="289661" y="108455"/>
                      <a:pt x="287520" y="121627"/>
                      <a:pt x="287520" y="121627"/>
                    </a:cubicBezTo>
                    <a:lnTo>
                      <a:pt x="279096" y="141853"/>
                    </a:lnTo>
                    <a:lnTo>
                      <a:pt x="277778" y="149125"/>
                    </a:lnTo>
                    <a:lnTo>
                      <a:pt x="280358" y="158895"/>
                    </a:lnTo>
                    <a:lnTo>
                      <a:pt x="297565" y="174098"/>
                    </a:lnTo>
                    <a:lnTo>
                      <a:pt x="299183" y="177858"/>
                    </a:lnTo>
                    <a:lnTo>
                      <a:pt x="292076" y="194049"/>
                    </a:lnTo>
                    <a:lnTo>
                      <a:pt x="291829" y="201047"/>
                    </a:lnTo>
                    <a:lnTo>
                      <a:pt x="294875" y="204944"/>
                    </a:lnTo>
                    <a:lnTo>
                      <a:pt x="295369" y="209088"/>
                    </a:lnTo>
                    <a:lnTo>
                      <a:pt x="291253" y="217046"/>
                    </a:lnTo>
                    <a:lnTo>
                      <a:pt x="297565" y="231811"/>
                    </a:lnTo>
                    <a:lnTo>
                      <a:pt x="295698" y="234884"/>
                    </a:lnTo>
                    <a:lnTo>
                      <a:pt x="298690" y="239522"/>
                    </a:lnTo>
                    <a:lnTo>
                      <a:pt x="300501" y="238233"/>
                    </a:lnTo>
                    <a:lnTo>
                      <a:pt x="301626" y="239550"/>
                    </a:lnTo>
                    <a:lnTo>
                      <a:pt x="302422" y="245450"/>
                    </a:lnTo>
                    <a:lnTo>
                      <a:pt x="300638" y="249210"/>
                    </a:lnTo>
                    <a:lnTo>
                      <a:pt x="304316" y="253628"/>
                    </a:lnTo>
                    <a:lnTo>
                      <a:pt x="306730" y="261449"/>
                    </a:lnTo>
                    <a:lnTo>
                      <a:pt x="306127" y="265758"/>
                    </a:lnTo>
                    <a:lnTo>
                      <a:pt x="321824" y="274896"/>
                    </a:lnTo>
                    <a:lnTo>
                      <a:pt x="324733" y="277860"/>
                    </a:lnTo>
                    <a:lnTo>
                      <a:pt x="324733" y="281565"/>
                    </a:lnTo>
                    <a:lnTo>
                      <a:pt x="313070" y="290347"/>
                    </a:lnTo>
                    <a:lnTo>
                      <a:pt x="299458" y="295671"/>
                    </a:lnTo>
                    <a:lnTo>
                      <a:pt x="290896" y="300995"/>
                    </a:lnTo>
                    <a:lnTo>
                      <a:pt x="280385" y="301626"/>
                    </a:lnTo>
                    <a:lnTo>
                      <a:pt x="268283" y="308349"/>
                    </a:lnTo>
                    <a:lnTo>
                      <a:pt x="260653" y="304617"/>
                    </a:lnTo>
                    <a:lnTo>
                      <a:pt x="252475" y="304288"/>
                    </a:lnTo>
                    <a:lnTo>
                      <a:pt x="249512" y="305879"/>
                    </a:lnTo>
                    <a:lnTo>
                      <a:pt x="247454" y="311643"/>
                    </a:lnTo>
                    <a:lnTo>
                      <a:pt x="244106" y="313975"/>
                    </a:lnTo>
                    <a:lnTo>
                      <a:pt x="236915" y="316308"/>
                    </a:lnTo>
                    <a:lnTo>
                      <a:pt x="229643" y="315210"/>
                    </a:lnTo>
                    <a:lnTo>
                      <a:pt x="220121" y="313701"/>
                    </a:lnTo>
                    <a:lnTo>
                      <a:pt x="214248" y="317762"/>
                    </a:lnTo>
                    <a:lnTo>
                      <a:pt x="203188" y="317570"/>
                    </a:lnTo>
                    <a:lnTo>
                      <a:pt x="200115" y="313069"/>
                    </a:lnTo>
                    <a:lnTo>
                      <a:pt x="190894" y="309035"/>
                    </a:lnTo>
                    <a:lnTo>
                      <a:pt x="182167" y="313317"/>
                    </a:lnTo>
                    <a:lnTo>
                      <a:pt x="164933" y="313426"/>
                    </a:lnTo>
                    <a:lnTo>
                      <a:pt x="163094" y="307883"/>
                    </a:lnTo>
                    <a:lnTo>
                      <a:pt x="155382" y="298278"/>
                    </a:lnTo>
                    <a:lnTo>
                      <a:pt x="155575" y="289798"/>
                    </a:lnTo>
                    <a:lnTo>
                      <a:pt x="151980" y="268118"/>
                    </a:lnTo>
                    <a:lnTo>
                      <a:pt x="144598" y="257745"/>
                    </a:lnTo>
                    <a:lnTo>
                      <a:pt x="137928" y="252256"/>
                    </a:lnTo>
                    <a:lnTo>
                      <a:pt x="134087" y="257086"/>
                    </a:lnTo>
                    <a:lnTo>
                      <a:pt x="129723" y="254644"/>
                    </a:lnTo>
                    <a:lnTo>
                      <a:pt x="121408" y="254644"/>
                    </a:lnTo>
                    <a:cubicBezTo>
                      <a:pt x="121408" y="254644"/>
                      <a:pt x="105958" y="248496"/>
                      <a:pt x="105958" y="248496"/>
                    </a:cubicBezTo>
                    <a:lnTo>
                      <a:pt x="94102" y="243886"/>
                    </a:lnTo>
                    <a:lnTo>
                      <a:pt x="90425" y="240428"/>
                    </a:lnTo>
                    <a:lnTo>
                      <a:pt x="85293" y="240345"/>
                    </a:lnTo>
                    <a:lnTo>
                      <a:pt x="77856" y="238233"/>
                    </a:lnTo>
                    <a:lnTo>
                      <a:pt x="74563" y="234034"/>
                    </a:lnTo>
                    <a:lnTo>
                      <a:pt x="67620" y="233101"/>
                    </a:lnTo>
                    <a:lnTo>
                      <a:pt x="64573" y="227694"/>
                    </a:lnTo>
                    <a:lnTo>
                      <a:pt x="59634" y="224923"/>
                    </a:lnTo>
                    <a:lnTo>
                      <a:pt x="49727" y="224319"/>
                    </a:lnTo>
                    <a:lnTo>
                      <a:pt x="41768" y="212491"/>
                    </a:lnTo>
                    <a:lnTo>
                      <a:pt x="32548" y="193940"/>
                    </a:lnTo>
                    <a:lnTo>
                      <a:pt x="28349" y="181590"/>
                    </a:lnTo>
                    <a:lnTo>
                      <a:pt x="21296" y="172836"/>
                    </a:lnTo>
                    <a:lnTo>
                      <a:pt x="11252" y="165948"/>
                    </a:lnTo>
                    <a:lnTo>
                      <a:pt x="5489" y="154641"/>
                    </a:lnTo>
                    <a:lnTo>
                      <a:pt x="4556" y="146655"/>
                    </a:lnTo>
                    <a:lnTo>
                      <a:pt x="7959" y="139218"/>
                    </a:lnTo>
                    <a:lnTo>
                      <a:pt x="0" y="115700"/>
                    </a:lnTo>
                    <a:lnTo>
                      <a:pt x="2141" y="101621"/>
                    </a:lnTo>
                    <a:lnTo>
                      <a:pt x="11691" y="101676"/>
                    </a:lnTo>
                    <a:lnTo>
                      <a:pt x="19512" y="96983"/>
                    </a:lnTo>
                    <a:lnTo>
                      <a:pt x="30380" y="81231"/>
                    </a:lnTo>
                    <a:lnTo>
                      <a:pt x="32712" y="75331"/>
                    </a:lnTo>
                    <a:lnTo>
                      <a:pt x="43305" y="66138"/>
                    </a:lnTo>
                    <a:lnTo>
                      <a:pt x="42646" y="59249"/>
                    </a:lnTo>
                    <a:lnTo>
                      <a:pt x="33399" y="56889"/>
                    </a:lnTo>
                    <a:lnTo>
                      <a:pt x="31532" y="54804"/>
                    </a:lnTo>
                    <a:lnTo>
                      <a:pt x="32603" y="51785"/>
                    </a:lnTo>
                    <a:lnTo>
                      <a:pt x="33151" y="50303"/>
                    </a:lnTo>
                    <a:lnTo>
                      <a:pt x="32109" y="48300"/>
                    </a:lnTo>
                    <a:lnTo>
                      <a:pt x="35127" y="41686"/>
                    </a:lnTo>
                    <a:lnTo>
                      <a:pt x="42729" y="39655"/>
                    </a:lnTo>
                    <a:lnTo>
                      <a:pt x="44897" y="32849"/>
                    </a:lnTo>
                    <a:lnTo>
                      <a:pt x="43140" y="18908"/>
                    </a:lnTo>
                    <a:lnTo>
                      <a:pt x="39216" y="12734"/>
                    </a:lnTo>
                    <a:lnTo>
                      <a:pt x="33014" y="3650"/>
                    </a:lnTo>
                    <a:lnTo>
                      <a:pt x="33069" y="1811"/>
                    </a:lnTo>
                    <a:lnTo>
                      <a:pt x="42263" y="0"/>
                    </a:lnTo>
                    <a:lnTo>
                      <a:pt x="134828" y="110"/>
                    </a:lnTo>
                    <a:lnTo>
                      <a:pt x="144213" y="3650"/>
                    </a:lnTo>
                    <a:lnTo>
                      <a:pt x="160212" y="12734"/>
                    </a:lnTo>
                    <a:lnTo>
                      <a:pt x="242212" y="59359"/>
                    </a:lnTo>
                    <a:lnTo>
                      <a:pt x="245258" y="66549"/>
                    </a:lnTo>
                    <a:lnTo>
                      <a:pt x="243447" y="73492"/>
                    </a:lnTo>
                    <a:lnTo>
                      <a:pt x="250857" y="808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3" name="Freeform: Shape 4212">
                <a:extLst>
                  <a:ext uri="{FF2B5EF4-FFF2-40B4-BE49-F238E27FC236}">
                    <a16:creationId xmlns:a16="http://schemas.microsoft.com/office/drawing/2014/main" id="{372FF730-CA9A-FE6E-EDCB-93C9FBE8348E}"/>
                  </a:ext>
                </a:extLst>
              </p:cNvPr>
              <p:cNvSpPr/>
              <p:nvPr/>
            </p:nvSpPr>
            <p:spPr>
              <a:xfrm>
                <a:off x="1472798" y="3684381"/>
                <a:ext cx="524" cy="418"/>
              </a:xfrm>
              <a:custGeom>
                <a:avLst/>
                <a:gdLst>
                  <a:gd name="connsiteX0" fmla="*/ 4995 w 5022"/>
                  <a:gd name="connsiteY0" fmla="*/ 1838 h 4006"/>
                  <a:gd name="connsiteX1" fmla="*/ 604 w 5022"/>
                  <a:gd name="connsiteY1" fmla="*/ 4007 h 4006"/>
                  <a:gd name="connsiteX2" fmla="*/ 0 w 5022"/>
                  <a:gd name="connsiteY2" fmla="*/ 1784 h 4006"/>
                  <a:gd name="connsiteX3" fmla="*/ 4665 w 5022"/>
                  <a:gd name="connsiteY3" fmla="*/ 0 h 4006"/>
                  <a:gd name="connsiteX4" fmla="*/ 5022 w 5022"/>
                  <a:gd name="connsiteY4" fmla="*/ 1838 h 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2" h="4006">
                    <a:moveTo>
                      <a:pt x="4995" y="1838"/>
                    </a:moveTo>
                    <a:lnTo>
                      <a:pt x="604" y="4007"/>
                    </a:lnTo>
                    <a:lnTo>
                      <a:pt x="0" y="1784"/>
                    </a:lnTo>
                    <a:lnTo>
                      <a:pt x="4665" y="0"/>
                    </a:lnTo>
                    <a:lnTo>
                      <a:pt x="5022"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4" name="Freeform: Shape 4213">
                <a:extLst>
                  <a:ext uri="{FF2B5EF4-FFF2-40B4-BE49-F238E27FC236}">
                    <a16:creationId xmlns:a16="http://schemas.microsoft.com/office/drawing/2014/main" id="{EEC49DC4-BD17-F961-85A8-5457965F91FC}"/>
                  </a:ext>
                </a:extLst>
              </p:cNvPr>
              <p:cNvSpPr/>
              <p:nvPr/>
            </p:nvSpPr>
            <p:spPr>
              <a:xfrm>
                <a:off x="1472182" y="3685360"/>
                <a:ext cx="298" cy="612"/>
              </a:xfrm>
              <a:custGeom>
                <a:avLst/>
                <a:gdLst>
                  <a:gd name="connsiteX0" fmla="*/ 2854 w 2854"/>
                  <a:gd name="connsiteY0" fmla="*/ 3705 h 5872"/>
                  <a:gd name="connsiteX1" fmla="*/ 1290 w 2854"/>
                  <a:gd name="connsiteY1" fmla="*/ 5873 h 5872"/>
                  <a:gd name="connsiteX2" fmla="*/ 0 w 2854"/>
                  <a:gd name="connsiteY2" fmla="*/ 5489 h 5872"/>
                  <a:gd name="connsiteX3" fmla="*/ 714 w 2854"/>
                  <a:gd name="connsiteY3" fmla="*/ 3156 h 5872"/>
                  <a:gd name="connsiteX4" fmla="*/ 110 w 2854"/>
                  <a:gd name="connsiteY4" fmla="*/ 0 h 5872"/>
                  <a:gd name="connsiteX5" fmla="*/ 2251 w 2854"/>
                  <a:gd name="connsiteY5" fmla="*/ 1098 h 5872"/>
                  <a:gd name="connsiteX6" fmla="*/ 2854 w 2854"/>
                  <a:gd name="connsiteY6" fmla="*/ 3705 h 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4" h="5872">
                    <a:moveTo>
                      <a:pt x="2854" y="3705"/>
                    </a:moveTo>
                    <a:lnTo>
                      <a:pt x="1290" y="5873"/>
                    </a:lnTo>
                    <a:lnTo>
                      <a:pt x="0" y="5489"/>
                    </a:lnTo>
                    <a:lnTo>
                      <a:pt x="714" y="3156"/>
                    </a:lnTo>
                    <a:lnTo>
                      <a:pt x="110" y="0"/>
                    </a:lnTo>
                    <a:lnTo>
                      <a:pt x="2251" y="1098"/>
                    </a:lnTo>
                    <a:lnTo>
                      <a:pt x="2854"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5" name="Freeform: Shape 4214">
                <a:extLst>
                  <a:ext uri="{FF2B5EF4-FFF2-40B4-BE49-F238E27FC236}">
                    <a16:creationId xmlns:a16="http://schemas.microsoft.com/office/drawing/2014/main" id="{27B32A9D-0115-EEBE-4EB9-ABD61D509047}"/>
                  </a:ext>
                </a:extLst>
              </p:cNvPr>
              <p:cNvSpPr/>
              <p:nvPr/>
            </p:nvSpPr>
            <p:spPr>
              <a:xfrm>
                <a:off x="1456159" y="3831513"/>
                <a:ext cx="16682" cy="17334"/>
              </a:xfrm>
              <a:custGeom>
                <a:avLst/>
                <a:gdLst>
                  <a:gd name="connsiteX0" fmla="*/ 127802 w 159937"/>
                  <a:gd name="connsiteY0" fmla="*/ 153489 h 166194"/>
                  <a:gd name="connsiteX1" fmla="*/ 35237 w 159937"/>
                  <a:gd name="connsiteY1" fmla="*/ 153379 h 166194"/>
                  <a:gd name="connsiteX2" fmla="*/ 26043 w 159937"/>
                  <a:gd name="connsiteY2" fmla="*/ 155190 h 166194"/>
                  <a:gd name="connsiteX3" fmla="*/ 23107 w 159937"/>
                  <a:gd name="connsiteY3" fmla="*/ 155931 h 166194"/>
                  <a:gd name="connsiteX4" fmla="*/ 12158 w 159937"/>
                  <a:gd name="connsiteY4" fmla="*/ 166140 h 166194"/>
                  <a:gd name="connsiteX5" fmla="*/ 9687 w 159937"/>
                  <a:gd name="connsiteY5" fmla="*/ 166195 h 166194"/>
                  <a:gd name="connsiteX6" fmla="*/ 9578 w 159937"/>
                  <a:gd name="connsiteY6" fmla="*/ 166112 h 166194"/>
                  <a:gd name="connsiteX7" fmla="*/ 6587 w 159937"/>
                  <a:gd name="connsiteY7" fmla="*/ 163560 h 166194"/>
                  <a:gd name="connsiteX8" fmla="*/ 0 w 159937"/>
                  <a:gd name="connsiteY8" fmla="*/ 164878 h 166194"/>
                  <a:gd name="connsiteX9" fmla="*/ 302 w 159937"/>
                  <a:gd name="connsiteY9" fmla="*/ 157029 h 166194"/>
                  <a:gd name="connsiteX10" fmla="*/ 2333 w 159937"/>
                  <a:gd name="connsiteY10" fmla="*/ 139356 h 166194"/>
                  <a:gd name="connsiteX11" fmla="*/ 3046 w 159937"/>
                  <a:gd name="connsiteY11" fmla="*/ 133098 h 166194"/>
                  <a:gd name="connsiteX12" fmla="*/ 4419 w 159937"/>
                  <a:gd name="connsiteY12" fmla="*/ 121518 h 166194"/>
                  <a:gd name="connsiteX13" fmla="*/ 10264 w 159937"/>
                  <a:gd name="connsiteY13" fmla="*/ 110568 h 166194"/>
                  <a:gd name="connsiteX14" fmla="*/ 10511 w 159937"/>
                  <a:gd name="connsiteY14" fmla="*/ 108976 h 166194"/>
                  <a:gd name="connsiteX15" fmla="*/ 11773 w 159937"/>
                  <a:gd name="connsiteY15" fmla="*/ 99920 h 166194"/>
                  <a:gd name="connsiteX16" fmla="*/ 17317 w 159937"/>
                  <a:gd name="connsiteY16" fmla="*/ 96846 h 166194"/>
                  <a:gd name="connsiteX17" fmla="*/ 19814 w 159937"/>
                  <a:gd name="connsiteY17" fmla="*/ 90425 h 166194"/>
                  <a:gd name="connsiteX18" fmla="*/ 42372 w 159937"/>
                  <a:gd name="connsiteY18" fmla="*/ 72395 h 166194"/>
                  <a:gd name="connsiteX19" fmla="*/ 50166 w 159937"/>
                  <a:gd name="connsiteY19" fmla="*/ 62076 h 166194"/>
                  <a:gd name="connsiteX20" fmla="*/ 46900 w 159937"/>
                  <a:gd name="connsiteY20" fmla="*/ 56780 h 166194"/>
                  <a:gd name="connsiteX21" fmla="*/ 41083 w 159937"/>
                  <a:gd name="connsiteY21" fmla="*/ 53679 h 166194"/>
                  <a:gd name="connsiteX22" fmla="*/ 37652 w 159937"/>
                  <a:gd name="connsiteY22" fmla="*/ 54337 h 166194"/>
                  <a:gd name="connsiteX23" fmla="*/ 33947 w 159937"/>
                  <a:gd name="connsiteY23" fmla="*/ 51319 h 166194"/>
                  <a:gd name="connsiteX24" fmla="*/ 37679 w 159937"/>
                  <a:gd name="connsiteY24" fmla="*/ 39573 h 166194"/>
                  <a:gd name="connsiteX25" fmla="*/ 34962 w 159937"/>
                  <a:gd name="connsiteY25" fmla="*/ 33261 h 166194"/>
                  <a:gd name="connsiteX26" fmla="*/ 39326 w 159937"/>
                  <a:gd name="connsiteY26" fmla="*/ 23080 h 166194"/>
                  <a:gd name="connsiteX27" fmla="*/ 39025 w 159937"/>
                  <a:gd name="connsiteY27" fmla="*/ 21433 h 166194"/>
                  <a:gd name="connsiteX28" fmla="*/ 37213 w 159937"/>
                  <a:gd name="connsiteY28" fmla="*/ 21378 h 166194"/>
                  <a:gd name="connsiteX29" fmla="*/ 40726 w 159937"/>
                  <a:gd name="connsiteY29" fmla="*/ 15835 h 166194"/>
                  <a:gd name="connsiteX30" fmla="*/ 47614 w 159937"/>
                  <a:gd name="connsiteY30" fmla="*/ 12459 h 166194"/>
                  <a:gd name="connsiteX31" fmla="*/ 57521 w 159937"/>
                  <a:gd name="connsiteY31" fmla="*/ 16109 h 166194"/>
                  <a:gd name="connsiteX32" fmla="*/ 66000 w 159937"/>
                  <a:gd name="connsiteY32" fmla="*/ 12514 h 166194"/>
                  <a:gd name="connsiteX33" fmla="*/ 69733 w 159937"/>
                  <a:gd name="connsiteY33" fmla="*/ 18030 h 166194"/>
                  <a:gd name="connsiteX34" fmla="*/ 75688 w 159937"/>
                  <a:gd name="connsiteY34" fmla="*/ 20500 h 166194"/>
                  <a:gd name="connsiteX35" fmla="*/ 77033 w 159937"/>
                  <a:gd name="connsiteY35" fmla="*/ 17317 h 166194"/>
                  <a:gd name="connsiteX36" fmla="*/ 82329 w 159937"/>
                  <a:gd name="connsiteY36" fmla="*/ 14161 h 166194"/>
                  <a:gd name="connsiteX37" fmla="*/ 100359 w 159937"/>
                  <a:gd name="connsiteY37" fmla="*/ 10538 h 166194"/>
                  <a:gd name="connsiteX38" fmla="*/ 106150 w 159937"/>
                  <a:gd name="connsiteY38" fmla="*/ 12926 h 166194"/>
                  <a:gd name="connsiteX39" fmla="*/ 114822 w 159937"/>
                  <a:gd name="connsiteY39" fmla="*/ 13475 h 166194"/>
                  <a:gd name="connsiteX40" fmla="*/ 129531 w 159937"/>
                  <a:gd name="connsiteY40" fmla="*/ 0 h 166194"/>
                  <a:gd name="connsiteX41" fmla="*/ 135870 w 159937"/>
                  <a:gd name="connsiteY41" fmla="*/ 12349 h 166194"/>
                  <a:gd name="connsiteX42" fmla="*/ 142868 w 159937"/>
                  <a:gd name="connsiteY42" fmla="*/ 16356 h 166194"/>
                  <a:gd name="connsiteX43" fmla="*/ 141908 w 159937"/>
                  <a:gd name="connsiteY43" fmla="*/ 25522 h 166194"/>
                  <a:gd name="connsiteX44" fmla="*/ 147424 w 159937"/>
                  <a:gd name="connsiteY44" fmla="*/ 37981 h 166194"/>
                  <a:gd name="connsiteX45" fmla="*/ 151815 w 159937"/>
                  <a:gd name="connsiteY45" fmla="*/ 41055 h 166194"/>
                  <a:gd name="connsiteX46" fmla="*/ 157111 w 159937"/>
                  <a:gd name="connsiteY46" fmla="*/ 51236 h 166194"/>
                  <a:gd name="connsiteX47" fmla="*/ 159938 w 159937"/>
                  <a:gd name="connsiteY47" fmla="*/ 68470 h 166194"/>
                  <a:gd name="connsiteX48" fmla="*/ 158374 w 159937"/>
                  <a:gd name="connsiteY48" fmla="*/ 75962 h 166194"/>
                  <a:gd name="connsiteX49" fmla="*/ 152913 w 159937"/>
                  <a:gd name="connsiteY49" fmla="*/ 82411 h 166194"/>
                  <a:gd name="connsiteX50" fmla="*/ 153379 w 159937"/>
                  <a:gd name="connsiteY50" fmla="*/ 87241 h 166194"/>
                  <a:gd name="connsiteX51" fmla="*/ 145146 w 159937"/>
                  <a:gd name="connsiteY51" fmla="*/ 92373 h 166194"/>
                  <a:gd name="connsiteX52" fmla="*/ 142320 w 159937"/>
                  <a:gd name="connsiteY52" fmla="*/ 98960 h 166194"/>
                  <a:gd name="connsiteX53" fmla="*/ 134471 w 159937"/>
                  <a:gd name="connsiteY53" fmla="*/ 107165 h 166194"/>
                  <a:gd name="connsiteX54" fmla="*/ 133867 w 159937"/>
                  <a:gd name="connsiteY54" fmla="*/ 109059 h 166194"/>
                  <a:gd name="connsiteX55" fmla="*/ 132495 w 159937"/>
                  <a:gd name="connsiteY55" fmla="*/ 113395 h 166194"/>
                  <a:gd name="connsiteX56" fmla="*/ 127610 w 159937"/>
                  <a:gd name="connsiteY56" fmla="*/ 120612 h 166194"/>
                  <a:gd name="connsiteX57" fmla="*/ 129037 w 159937"/>
                  <a:gd name="connsiteY57" fmla="*/ 128598 h 166194"/>
                  <a:gd name="connsiteX58" fmla="*/ 128790 w 159937"/>
                  <a:gd name="connsiteY58" fmla="*/ 133153 h 166194"/>
                  <a:gd name="connsiteX59" fmla="*/ 128461 w 159937"/>
                  <a:gd name="connsiteY59" fmla="*/ 139410 h 166194"/>
                  <a:gd name="connsiteX60" fmla="*/ 127720 w 159937"/>
                  <a:gd name="connsiteY60" fmla="*/ 153516 h 16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9937" h="166194">
                    <a:moveTo>
                      <a:pt x="127802" y="153489"/>
                    </a:moveTo>
                    <a:lnTo>
                      <a:pt x="35237" y="153379"/>
                    </a:lnTo>
                    <a:lnTo>
                      <a:pt x="26043" y="155190"/>
                    </a:lnTo>
                    <a:lnTo>
                      <a:pt x="23107" y="155931"/>
                    </a:lnTo>
                    <a:lnTo>
                      <a:pt x="12158" y="166140"/>
                    </a:lnTo>
                    <a:lnTo>
                      <a:pt x="9687" y="166195"/>
                    </a:lnTo>
                    <a:lnTo>
                      <a:pt x="9578" y="166112"/>
                    </a:lnTo>
                    <a:lnTo>
                      <a:pt x="6587" y="163560"/>
                    </a:lnTo>
                    <a:lnTo>
                      <a:pt x="0" y="164878"/>
                    </a:lnTo>
                    <a:lnTo>
                      <a:pt x="302" y="157029"/>
                    </a:lnTo>
                    <a:lnTo>
                      <a:pt x="2333" y="139356"/>
                    </a:lnTo>
                    <a:lnTo>
                      <a:pt x="3046" y="133098"/>
                    </a:lnTo>
                    <a:lnTo>
                      <a:pt x="4419" y="121518"/>
                    </a:lnTo>
                    <a:lnTo>
                      <a:pt x="10264" y="110568"/>
                    </a:lnTo>
                    <a:lnTo>
                      <a:pt x="10511" y="108976"/>
                    </a:lnTo>
                    <a:lnTo>
                      <a:pt x="11773" y="99920"/>
                    </a:lnTo>
                    <a:lnTo>
                      <a:pt x="17317" y="96846"/>
                    </a:lnTo>
                    <a:lnTo>
                      <a:pt x="19814" y="90425"/>
                    </a:lnTo>
                    <a:lnTo>
                      <a:pt x="42372" y="72395"/>
                    </a:lnTo>
                    <a:lnTo>
                      <a:pt x="50166" y="62076"/>
                    </a:lnTo>
                    <a:lnTo>
                      <a:pt x="46900" y="56780"/>
                    </a:lnTo>
                    <a:lnTo>
                      <a:pt x="41083" y="53679"/>
                    </a:lnTo>
                    <a:lnTo>
                      <a:pt x="37652" y="54337"/>
                    </a:lnTo>
                    <a:lnTo>
                      <a:pt x="33947" y="51319"/>
                    </a:lnTo>
                    <a:lnTo>
                      <a:pt x="37679" y="39573"/>
                    </a:lnTo>
                    <a:lnTo>
                      <a:pt x="34962" y="33261"/>
                    </a:lnTo>
                    <a:lnTo>
                      <a:pt x="39326" y="23080"/>
                    </a:lnTo>
                    <a:lnTo>
                      <a:pt x="39025" y="21433"/>
                    </a:lnTo>
                    <a:lnTo>
                      <a:pt x="37213" y="21378"/>
                    </a:lnTo>
                    <a:lnTo>
                      <a:pt x="40726" y="15835"/>
                    </a:lnTo>
                    <a:lnTo>
                      <a:pt x="47614" y="12459"/>
                    </a:lnTo>
                    <a:lnTo>
                      <a:pt x="57521" y="16109"/>
                    </a:lnTo>
                    <a:lnTo>
                      <a:pt x="66000" y="12514"/>
                    </a:lnTo>
                    <a:lnTo>
                      <a:pt x="69733" y="18030"/>
                    </a:lnTo>
                    <a:lnTo>
                      <a:pt x="75688" y="20500"/>
                    </a:lnTo>
                    <a:lnTo>
                      <a:pt x="77033" y="17317"/>
                    </a:lnTo>
                    <a:lnTo>
                      <a:pt x="82329" y="14161"/>
                    </a:lnTo>
                    <a:lnTo>
                      <a:pt x="100359" y="10538"/>
                    </a:lnTo>
                    <a:lnTo>
                      <a:pt x="106150" y="12926"/>
                    </a:lnTo>
                    <a:lnTo>
                      <a:pt x="114822" y="13475"/>
                    </a:lnTo>
                    <a:lnTo>
                      <a:pt x="129531" y="0"/>
                    </a:lnTo>
                    <a:lnTo>
                      <a:pt x="135870" y="12349"/>
                    </a:lnTo>
                    <a:lnTo>
                      <a:pt x="142868" y="16356"/>
                    </a:lnTo>
                    <a:lnTo>
                      <a:pt x="141908" y="25522"/>
                    </a:lnTo>
                    <a:lnTo>
                      <a:pt x="147424" y="37981"/>
                    </a:lnTo>
                    <a:lnTo>
                      <a:pt x="151815" y="41055"/>
                    </a:lnTo>
                    <a:lnTo>
                      <a:pt x="157111" y="51236"/>
                    </a:lnTo>
                    <a:lnTo>
                      <a:pt x="159938" y="68470"/>
                    </a:lnTo>
                    <a:lnTo>
                      <a:pt x="158374" y="75962"/>
                    </a:lnTo>
                    <a:lnTo>
                      <a:pt x="152913" y="82411"/>
                    </a:lnTo>
                    <a:lnTo>
                      <a:pt x="153379" y="87241"/>
                    </a:lnTo>
                    <a:lnTo>
                      <a:pt x="145146" y="92373"/>
                    </a:lnTo>
                    <a:lnTo>
                      <a:pt x="142320" y="98960"/>
                    </a:lnTo>
                    <a:lnTo>
                      <a:pt x="134471" y="107165"/>
                    </a:lnTo>
                    <a:lnTo>
                      <a:pt x="133867" y="109059"/>
                    </a:lnTo>
                    <a:lnTo>
                      <a:pt x="132495" y="113395"/>
                    </a:lnTo>
                    <a:lnTo>
                      <a:pt x="127610" y="120612"/>
                    </a:lnTo>
                    <a:lnTo>
                      <a:pt x="129037" y="128598"/>
                    </a:lnTo>
                    <a:lnTo>
                      <a:pt x="128790" y="133153"/>
                    </a:lnTo>
                    <a:lnTo>
                      <a:pt x="128461" y="139410"/>
                    </a:lnTo>
                    <a:lnTo>
                      <a:pt x="127720" y="1535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6" name="Freeform: Shape 4215">
                <a:extLst>
                  <a:ext uri="{FF2B5EF4-FFF2-40B4-BE49-F238E27FC236}">
                    <a16:creationId xmlns:a16="http://schemas.microsoft.com/office/drawing/2014/main" id="{CFCA62EB-3A5F-7AC6-EE40-AFBAE4C009E2}"/>
                  </a:ext>
                </a:extLst>
              </p:cNvPr>
              <p:cNvSpPr/>
              <p:nvPr/>
            </p:nvSpPr>
            <p:spPr>
              <a:xfrm>
                <a:off x="1439552" y="3806645"/>
                <a:ext cx="36114" cy="27098"/>
              </a:xfrm>
              <a:custGeom>
                <a:avLst/>
                <a:gdLst>
                  <a:gd name="connsiteX0" fmla="*/ 292323 w 346248"/>
                  <a:gd name="connsiteY0" fmla="*/ 81835 h 259802"/>
                  <a:gd name="connsiteX1" fmla="*/ 292131 w 346248"/>
                  <a:gd name="connsiteY1" fmla="*/ 97039 h 259802"/>
                  <a:gd name="connsiteX2" fmla="*/ 291994 w 346248"/>
                  <a:gd name="connsiteY2" fmla="*/ 109031 h 259802"/>
                  <a:gd name="connsiteX3" fmla="*/ 283678 w 346248"/>
                  <a:gd name="connsiteY3" fmla="*/ 113998 h 259802"/>
                  <a:gd name="connsiteX4" fmla="*/ 282224 w 346248"/>
                  <a:gd name="connsiteY4" fmla="*/ 114849 h 259802"/>
                  <a:gd name="connsiteX5" fmla="*/ 279617 w 346248"/>
                  <a:gd name="connsiteY5" fmla="*/ 113998 h 259802"/>
                  <a:gd name="connsiteX6" fmla="*/ 276241 w 346248"/>
                  <a:gd name="connsiteY6" fmla="*/ 112873 h 259802"/>
                  <a:gd name="connsiteX7" fmla="*/ 268118 w 346248"/>
                  <a:gd name="connsiteY7" fmla="*/ 113998 h 259802"/>
                  <a:gd name="connsiteX8" fmla="*/ 266993 w 346248"/>
                  <a:gd name="connsiteY8" fmla="*/ 114163 h 259802"/>
                  <a:gd name="connsiteX9" fmla="*/ 260269 w 346248"/>
                  <a:gd name="connsiteY9" fmla="*/ 130107 h 259802"/>
                  <a:gd name="connsiteX10" fmla="*/ 268255 w 346248"/>
                  <a:gd name="connsiteY10" fmla="*/ 134416 h 259802"/>
                  <a:gd name="connsiteX11" fmla="*/ 281812 w 346248"/>
                  <a:gd name="connsiteY11" fmla="*/ 137572 h 259802"/>
                  <a:gd name="connsiteX12" fmla="*/ 286971 w 346248"/>
                  <a:gd name="connsiteY12" fmla="*/ 141798 h 259802"/>
                  <a:gd name="connsiteX13" fmla="*/ 290073 w 346248"/>
                  <a:gd name="connsiteY13" fmla="*/ 148824 h 259802"/>
                  <a:gd name="connsiteX14" fmla="*/ 295314 w 346248"/>
                  <a:gd name="connsiteY14" fmla="*/ 155026 h 259802"/>
                  <a:gd name="connsiteX15" fmla="*/ 317159 w 346248"/>
                  <a:gd name="connsiteY15" fmla="*/ 170531 h 259802"/>
                  <a:gd name="connsiteX16" fmla="*/ 318421 w 346248"/>
                  <a:gd name="connsiteY16" fmla="*/ 187216 h 259802"/>
                  <a:gd name="connsiteX17" fmla="*/ 322099 w 346248"/>
                  <a:gd name="connsiteY17" fmla="*/ 195586 h 259802"/>
                  <a:gd name="connsiteX18" fmla="*/ 328411 w 346248"/>
                  <a:gd name="connsiteY18" fmla="*/ 204478 h 259802"/>
                  <a:gd name="connsiteX19" fmla="*/ 334887 w 346248"/>
                  <a:gd name="connsiteY19" fmla="*/ 203435 h 259802"/>
                  <a:gd name="connsiteX20" fmla="*/ 341995 w 346248"/>
                  <a:gd name="connsiteY20" fmla="*/ 205740 h 259802"/>
                  <a:gd name="connsiteX21" fmla="*/ 342626 w 346248"/>
                  <a:gd name="connsiteY21" fmla="*/ 220532 h 259802"/>
                  <a:gd name="connsiteX22" fmla="*/ 346249 w 346248"/>
                  <a:gd name="connsiteY22" fmla="*/ 226460 h 259802"/>
                  <a:gd name="connsiteX23" fmla="*/ 333350 w 346248"/>
                  <a:gd name="connsiteY23" fmla="*/ 226460 h 259802"/>
                  <a:gd name="connsiteX24" fmla="*/ 331155 w 346248"/>
                  <a:gd name="connsiteY24" fmla="*/ 222124 h 259802"/>
                  <a:gd name="connsiteX25" fmla="*/ 331841 w 346248"/>
                  <a:gd name="connsiteY25" fmla="*/ 218199 h 259802"/>
                  <a:gd name="connsiteX26" fmla="*/ 328218 w 346248"/>
                  <a:gd name="connsiteY26" fmla="*/ 217678 h 259802"/>
                  <a:gd name="connsiteX27" fmla="*/ 327395 w 346248"/>
                  <a:gd name="connsiteY27" fmla="*/ 215126 h 259802"/>
                  <a:gd name="connsiteX28" fmla="*/ 304343 w 346248"/>
                  <a:gd name="connsiteY28" fmla="*/ 222892 h 259802"/>
                  <a:gd name="connsiteX29" fmla="*/ 300089 w 346248"/>
                  <a:gd name="connsiteY29" fmla="*/ 226460 h 259802"/>
                  <a:gd name="connsiteX30" fmla="*/ 288783 w 346248"/>
                  <a:gd name="connsiteY30" fmla="*/ 238425 h 259802"/>
                  <a:gd name="connsiteX31" fmla="*/ 274073 w 346248"/>
                  <a:gd name="connsiteY31" fmla="*/ 251899 h 259802"/>
                  <a:gd name="connsiteX32" fmla="*/ 265402 w 346248"/>
                  <a:gd name="connsiteY32" fmla="*/ 251350 h 259802"/>
                  <a:gd name="connsiteX33" fmla="*/ 259611 w 346248"/>
                  <a:gd name="connsiteY33" fmla="*/ 248963 h 259802"/>
                  <a:gd name="connsiteX34" fmla="*/ 241581 w 346248"/>
                  <a:gd name="connsiteY34" fmla="*/ 252585 h 259802"/>
                  <a:gd name="connsiteX35" fmla="*/ 236284 w 346248"/>
                  <a:gd name="connsiteY35" fmla="*/ 255741 h 259802"/>
                  <a:gd name="connsiteX36" fmla="*/ 234940 w 346248"/>
                  <a:gd name="connsiteY36" fmla="*/ 258925 h 259802"/>
                  <a:gd name="connsiteX37" fmla="*/ 228985 w 346248"/>
                  <a:gd name="connsiteY37" fmla="*/ 256455 h 259802"/>
                  <a:gd name="connsiteX38" fmla="*/ 225252 w 346248"/>
                  <a:gd name="connsiteY38" fmla="*/ 250939 h 259802"/>
                  <a:gd name="connsiteX39" fmla="*/ 216773 w 346248"/>
                  <a:gd name="connsiteY39" fmla="*/ 254534 h 259802"/>
                  <a:gd name="connsiteX40" fmla="*/ 206866 w 346248"/>
                  <a:gd name="connsiteY40" fmla="*/ 250884 h 259802"/>
                  <a:gd name="connsiteX41" fmla="*/ 199977 w 346248"/>
                  <a:gd name="connsiteY41" fmla="*/ 254259 h 259802"/>
                  <a:gd name="connsiteX42" fmla="*/ 196465 w 346248"/>
                  <a:gd name="connsiteY42" fmla="*/ 259803 h 259802"/>
                  <a:gd name="connsiteX43" fmla="*/ 194022 w 346248"/>
                  <a:gd name="connsiteY43" fmla="*/ 255357 h 259802"/>
                  <a:gd name="connsiteX44" fmla="*/ 188259 w 346248"/>
                  <a:gd name="connsiteY44" fmla="*/ 255933 h 259802"/>
                  <a:gd name="connsiteX45" fmla="*/ 187326 w 346248"/>
                  <a:gd name="connsiteY45" fmla="*/ 249237 h 259802"/>
                  <a:gd name="connsiteX46" fmla="*/ 178105 w 346248"/>
                  <a:gd name="connsiteY46" fmla="*/ 245944 h 259802"/>
                  <a:gd name="connsiteX47" fmla="*/ 171190 w 346248"/>
                  <a:gd name="connsiteY47" fmla="*/ 238150 h 259802"/>
                  <a:gd name="connsiteX48" fmla="*/ 165756 w 346248"/>
                  <a:gd name="connsiteY48" fmla="*/ 233430 h 259802"/>
                  <a:gd name="connsiteX49" fmla="*/ 165290 w 346248"/>
                  <a:gd name="connsiteY49" fmla="*/ 228271 h 259802"/>
                  <a:gd name="connsiteX50" fmla="*/ 158182 w 346248"/>
                  <a:gd name="connsiteY50" fmla="*/ 225197 h 259802"/>
                  <a:gd name="connsiteX51" fmla="*/ 156123 w 346248"/>
                  <a:gd name="connsiteY51" fmla="*/ 225499 h 259802"/>
                  <a:gd name="connsiteX52" fmla="*/ 154038 w 346248"/>
                  <a:gd name="connsiteY52" fmla="*/ 230000 h 259802"/>
                  <a:gd name="connsiteX53" fmla="*/ 148412 w 346248"/>
                  <a:gd name="connsiteY53" fmla="*/ 234006 h 259802"/>
                  <a:gd name="connsiteX54" fmla="*/ 135075 w 346248"/>
                  <a:gd name="connsiteY54" fmla="*/ 228710 h 259802"/>
                  <a:gd name="connsiteX55" fmla="*/ 124234 w 346248"/>
                  <a:gd name="connsiteY55" fmla="*/ 236257 h 259802"/>
                  <a:gd name="connsiteX56" fmla="*/ 114657 w 346248"/>
                  <a:gd name="connsiteY56" fmla="*/ 231893 h 259802"/>
                  <a:gd name="connsiteX57" fmla="*/ 112956 w 346248"/>
                  <a:gd name="connsiteY57" fmla="*/ 228655 h 259802"/>
                  <a:gd name="connsiteX58" fmla="*/ 107933 w 346248"/>
                  <a:gd name="connsiteY58" fmla="*/ 227722 h 259802"/>
                  <a:gd name="connsiteX59" fmla="*/ 102939 w 346248"/>
                  <a:gd name="connsiteY59" fmla="*/ 219324 h 259802"/>
                  <a:gd name="connsiteX60" fmla="*/ 96188 w 346248"/>
                  <a:gd name="connsiteY60" fmla="*/ 214659 h 259802"/>
                  <a:gd name="connsiteX61" fmla="*/ 91001 w 346248"/>
                  <a:gd name="connsiteY61" fmla="*/ 205877 h 259802"/>
                  <a:gd name="connsiteX62" fmla="*/ 90864 w 346248"/>
                  <a:gd name="connsiteY62" fmla="*/ 198248 h 259802"/>
                  <a:gd name="connsiteX63" fmla="*/ 88312 w 346248"/>
                  <a:gd name="connsiteY63" fmla="*/ 193748 h 259802"/>
                  <a:gd name="connsiteX64" fmla="*/ 78377 w 346248"/>
                  <a:gd name="connsiteY64" fmla="*/ 186530 h 259802"/>
                  <a:gd name="connsiteX65" fmla="*/ 72011 w 346248"/>
                  <a:gd name="connsiteY65" fmla="*/ 185021 h 259802"/>
                  <a:gd name="connsiteX66" fmla="*/ 69184 w 346248"/>
                  <a:gd name="connsiteY66" fmla="*/ 182578 h 259802"/>
                  <a:gd name="connsiteX67" fmla="*/ 68224 w 346248"/>
                  <a:gd name="connsiteY67" fmla="*/ 178791 h 259802"/>
                  <a:gd name="connsiteX68" fmla="*/ 63146 w 346248"/>
                  <a:gd name="connsiteY68" fmla="*/ 172671 h 259802"/>
                  <a:gd name="connsiteX69" fmla="*/ 64244 w 346248"/>
                  <a:gd name="connsiteY69" fmla="*/ 165893 h 259802"/>
                  <a:gd name="connsiteX70" fmla="*/ 56972 w 346248"/>
                  <a:gd name="connsiteY70" fmla="*/ 161173 h 259802"/>
                  <a:gd name="connsiteX71" fmla="*/ 53185 w 346248"/>
                  <a:gd name="connsiteY71" fmla="*/ 155465 h 259802"/>
                  <a:gd name="connsiteX72" fmla="*/ 37433 w 346248"/>
                  <a:gd name="connsiteY72" fmla="*/ 146875 h 259802"/>
                  <a:gd name="connsiteX73" fmla="*/ 36198 w 346248"/>
                  <a:gd name="connsiteY73" fmla="*/ 146189 h 259802"/>
                  <a:gd name="connsiteX74" fmla="*/ 30819 w 346248"/>
                  <a:gd name="connsiteY74" fmla="*/ 141634 h 259802"/>
                  <a:gd name="connsiteX75" fmla="*/ 29858 w 346248"/>
                  <a:gd name="connsiteY75" fmla="*/ 139026 h 259802"/>
                  <a:gd name="connsiteX76" fmla="*/ 32520 w 346248"/>
                  <a:gd name="connsiteY76" fmla="*/ 134169 h 259802"/>
                  <a:gd name="connsiteX77" fmla="*/ 30572 w 346248"/>
                  <a:gd name="connsiteY77" fmla="*/ 130272 h 259802"/>
                  <a:gd name="connsiteX78" fmla="*/ 24205 w 346248"/>
                  <a:gd name="connsiteY78" fmla="*/ 127610 h 259802"/>
                  <a:gd name="connsiteX79" fmla="*/ 18497 w 346248"/>
                  <a:gd name="connsiteY79" fmla="*/ 121133 h 259802"/>
                  <a:gd name="connsiteX80" fmla="*/ 1509 w 346248"/>
                  <a:gd name="connsiteY80" fmla="*/ 116989 h 259802"/>
                  <a:gd name="connsiteX81" fmla="*/ 467 w 346248"/>
                  <a:gd name="connsiteY81" fmla="*/ 113971 h 259802"/>
                  <a:gd name="connsiteX82" fmla="*/ 0 w 346248"/>
                  <a:gd name="connsiteY82" fmla="*/ 112654 h 259802"/>
                  <a:gd name="connsiteX83" fmla="*/ 1455 w 346248"/>
                  <a:gd name="connsiteY83" fmla="*/ 107330 h 259802"/>
                  <a:gd name="connsiteX84" fmla="*/ 11279 w 346248"/>
                  <a:gd name="connsiteY84" fmla="*/ 99755 h 259802"/>
                  <a:gd name="connsiteX85" fmla="*/ 11499 w 346248"/>
                  <a:gd name="connsiteY85" fmla="*/ 96984 h 259802"/>
                  <a:gd name="connsiteX86" fmla="*/ 12432 w 346248"/>
                  <a:gd name="connsiteY86" fmla="*/ 85457 h 259802"/>
                  <a:gd name="connsiteX87" fmla="*/ 16603 w 346248"/>
                  <a:gd name="connsiteY87" fmla="*/ 81506 h 259802"/>
                  <a:gd name="connsiteX88" fmla="*/ 16768 w 346248"/>
                  <a:gd name="connsiteY88" fmla="*/ 74151 h 259802"/>
                  <a:gd name="connsiteX89" fmla="*/ 23574 w 346248"/>
                  <a:gd name="connsiteY89" fmla="*/ 67400 h 259802"/>
                  <a:gd name="connsiteX90" fmla="*/ 25742 w 346248"/>
                  <a:gd name="connsiteY90" fmla="*/ 61665 h 259802"/>
                  <a:gd name="connsiteX91" fmla="*/ 27224 w 346248"/>
                  <a:gd name="connsiteY91" fmla="*/ 58481 h 259802"/>
                  <a:gd name="connsiteX92" fmla="*/ 30270 w 346248"/>
                  <a:gd name="connsiteY92" fmla="*/ 56972 h 259802"/>
                  <a:gd name="connsiteX93" fmla="*/ 37460 w 346248"/>
                  <a:gd name="connsiteY93" fmla="*/ 56066 h 259802"/>
                  <a:gd name="connsiteX94" fmla="*/ 48711 w 346248"/>
                  <a:gd name="connsiteY94" fmla="*/ 54612 h 259802"/>
                  <a:gd name="connsiteX95" fmla="*/ 52526 w 346248"/>
                  <a:gd name="connsiteY95" fmla="*/ 61665 h 259802"/>
                  <a:gd name="connsiteX96" fmla="*/ 59688 w 346248"/>
                  <a:gd name="connsiteY96" fmla="*/ 69458 h 259802"/>
                  <a:gd name="connsiteX97" fmla="*/ 63119 w 346248"/>
                  <a:gd name="connsiteY97" fmla="*/ 77554 h 259802"/>
                  <a:gd name="connsiteX98" fmla="*/ 69733 w 346248"/>
                  <a:gd name="connsiteY98" fmla="*/ 81122 h 259802"/>
                  <a:gd name="connsiteX99" fmla="*/ 75249 w 346248"/>
                  <a:gd name="connsiteY99" fmla="*/ 81808 h 259802"/>
                  <a:gd name="connsiteX100" fmla="*/ 87681 w 346248"/>
                  <a:gd name="connsiteY100" fmla="*/ 78103 h 259802"/>
                  <a:gd name="connsiteX101" fmla="*/ 109854 w 346248"/>
                  <a:gd name="connsiteY101" fmla="*/ 78487 h 259802"/>
                  <a:gd name="connsiteX102" fmla="*/ 113257 w 346248"/>
                  <a:gd name="connsiteY102" fmla="*/ 85457 h 259802"/>
                  <a:gd name="connsiteX103" fmla="*/ 115370 w 346248"/>
                  <a:gd name="connsiteY103" fmla="*/ 86391 h 259802"/>
                  <a:gd name="connsiteX104" fmla="*/ 133977 w 346248"/>
                  <a:gd name="connsiteY104" fmla="*/ 86253 h 259802"/>
                  <a:gd name="connsiteX105" fmla="*/ 135020 w 346248"/>
                  <a:gd name="connsiteY105" fmla="*/ 85457 h 259802"/>
                  <a:gd name="connsiteX106" fmla="*/ 141305 w 346248"/>
                  <a:gd name="connsiteY106" fmla="*/ 77526 h 259802"/>
                  <a:gd name="connsiteX107" fmla="*/ 145119 w 346248"/>
                  <a:gd name="connsiteY107" fmla="*/ 74398 h 259802"/>
                  <a:gd name="connsiteX108" fmla="*/ 157084 w 346248"/>
                  <a:gd name="connsiteY108" fmla="*/ 73932 h 259802"/>
                  <a:gd name="connsiteX109" fmla="*/ 158401 w 346248"/>
                  <a:gd name="connsiteY109" fmla="*/ 64464 h 259802"/>
                  <a:gd name="connsiteX110" fmla="*/ 164082 w 346248"/>
                  <a:gd name="connsiteY110" fmla="*/ 61637 h 259802"/>
                  <a:gd name="connsiteX111" fmla="*/ 170449 w 346248"/>
                  <a:gd name="connsiteY111" fmla="*/ 58454 h 259802"/>
                  <a:gd name="connsiteX112" fmla="*/ 175389 w 346248"/>
                  <a:gd name="connsiteY112" fmla="*/ 61637 h 259802"/>
                  <a:gd name="connsiteX113" fmla="*/ 195422 w 346248"/>
                  <a:gd name="connsiteY113" fmla="*/ 74563 h 259802"/>
                  <a:gd name="connsiteX114" fmla="*/ 210378 w 346248"/>
                  <a:gd name="connsiteY114" fmla="*/ 72999 h 259802"/>
                  <a:gd name="connsiteX115" fmla="*/ 220450 w 346248"/>
                  <a:gd name="connsiteY115" fmla="*/ 61610 h 259802"/>
                  <a:gd name="connsiteX116" fmla="*/ 223990 w 346248"/>
                  <a:gd name="connsiteY116" fmla="*/ 57576 h 259802"/>
                  <a:gd name="connsiteX117" fmla="*/ 229862 w 346248"/>
                  <a:gd name="connsiteY117" fmla="*/ 47861 h 259802"/>
                  <a:gd name="connsiteX118" fmla="*/ 231564 w 346248"/>
                  <a:gd name="connsiteY118" fmla="*/ 46324 h 259802"/>
                  <a:gd name="connsiteX119" fmla="*/ 243282 w 346248"/>
                  <a:gd name="connsiteY119" fmla="*/ 35676 h 259802"/>
                  <a:gd name="connsiteX120" fmla="*/ 241169 w 346248"/>
                  <a:gd name="connsiteY120" fmla="*/ 16521 h 259802"/>
                  <a:gd name="connsiteX121" fmla="*/ 235653 w 346248"/>
                  <a:gd name="connsiteY121" fmla="*/ 9276 h 259802"/>
                  <a:gd name="connsiteX122" fmla="*/ 251378 w 346248"/>
                  <a:gd name="connsiteY122" fmla="*/ 8096 h 259802"/>
                  <a:gd name="connsiteX123" fmla="*/ 252339 w 346248"/>
                  <a:gd name="connsiteY123" fmla="*/ 741 h 259802"/>
                  <a:gd name="connsiteX124" fmla="*/ 254644 w 346248"/>
                  <a:gd name="connsiteY124" fmla="*/ 0 h 259802"/>
                  <a:gd name="connsiteX125" fmla="*/ 267405 w 346248"/>
                  <a:gd name="connsiteY125" fmla="*/ 851 h 259802"/>
                  <a:gd name="connsiteX126" fmla="*/ 263892 w 346248"/>
                  <a:gd name="connsiteY126" fmla="*/ 18634 h 259802"/>
                  <a:gd name="connsiteX127" fmla="*/ 266801 w 346248"/>
                  <a:gd name="connsiteY127" fmla="*/ 44183 h 259802"/>
                  <a:gd name="connsiteX128" fmla="*/ 271192 w 346248"/>
                  <a:gd name="connsiteY128" fmla="*/ 46324 h 259802"/>
                  <a:gd name="connsiteX129" fmla="*/ 274211 w 346248"/>
                  <a:gd name="connsiteY129" fmla="*/ 47778 h 259802"/>
                  <a:gd name="connsiteX130" fmla="*/ 286807 w 346248"/>
                  <a:gd name="connsiteY130" fmla="*/ 61610 h 259802"/>
                  <a:gd name="connsiteX131" fmla="*/ 288042 w 346248"/>
                  <a:gd name="connsiteY131" fmla="*/ 62927 h 259802"/>
                  <a:gd name="connsiteX132" fmla="*/ 288728 w 346248"/>
                  <a:gd name="connsiteY132" fmla="*/ 69102 h 259802"/>
                  <a:gd name="connsiteX133" fmla="*/ 286203 w 346248"/>
                  <a:gd name="connsiteY133" fmla="*/ 79804 h 259802"/>
                  <a:gd name="connsiteX134" fmla="*/ 287274 w 346248"/>
                  <a:gd name="connsiteY134" fmla="*/ 81533 h 259802"/>
                  <a:gd name="connsiteX135" fmla="*/ 292405 w 346248"/>
                  <a:gd name="connsiteY135" fmla="*/ 81753 h 259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46248" h="259802">
                    <a:moveTo>
                      <a:pt x="292323" y="81835"/>
                    </a:moveTo>
                    <a:lnTo>
                      <a:pt x="292131" y="97039"/>
                    </a:lnTo>
                    <a:lnTo>
                      <a:pt x="291994" y="109031"/>
                    </a:lnTo>
                    <a:lnTo>
                      <a:pt x="283678" y="113998"/>
                    </a:lnTo>
                    <a:lnTo>
                      <a:pt x="282224" y="114849"/>
                    </a:lnTo>
                    <a:lnTo>
                      <a:pt x="279617" y="113998"/>
                    </a:lnTo>
                    <a:lnTo>
                      <a:pt x="276241" y="112873"/>
                    </a:lnTo>
                    <a:lnTo>
                      <a:pt x="268118" y="113998"/>
                    </a:lnTo>
                    <a:lnTo>
                      <a:pt x="266993" y="114163"/>
                    </a:lnTo>
                    <a:lnTo>
                      <a:pt x="260269" y="130107"/>
                    </a:lnTo>
                    <a:lnTo>
                      <a:pt x="268255" y="134416"/>
                    </a:lnTo>
                    <a:lnTo>
                      <a:pt x="281812" y="137572"/>
                    </a:lnTo>
                    <a:lnTo>
                      <a:pt x="286971" y="141798"/>
                    </a:lnTo>
                    <a:lnTo>
                      <a:pt x="290073" y="148824"/>
                    </a:lnTo>
                    <a:lnTo>
                      <a:pt x="295314" y="155026"/>
                    </a:lnTo>
                    <a:lnTo>
                      <a:pt x="317159" y="170531"/>
                    </a:lnTo>
                    <a:lnTo>
                      <a:pt x="318421" y="187216"/>
                    </a:lnTo>
                    <a:lnTo>
                      <a:pt x="322099" y="195586"/>
                    </a:lnTo>
                    <a:lnTo>
                      <a:pt x="328411" y="204478"/>
                    </a:lnTo>
                    <a:lnTo>
                      <a:pt x="334887" y="203435"/>
                    </a:lnTo>
                    <a:lnTo>
                      <a:pt x="341995" y="205740"/>
                    </a:lnTo>
                    <a:lnTo>
                      <a:pt x="342626" y="220532"/>
                    </a:lnTo>
                    <a:lnTo>
                      <a:pt x="346249" y="226460"/>
                    </a:lnTo>
                    <a:lnTo>
                      <a:pt x="333350" y="226460"/>
                    </a:lnTo>
                    <a:lnTo>
                      <a:pt x="331155" y="222124"/>
                    </a:lnTo>
                    <a:lnTo>
                      <a:pt x="331841" y="218199"/>
                    </a:lnTo>
                    <a:lnTo>
                      <a:pt x="328218" y="217678"/>
                    </a:lnTo>
                    <a:lnTo>
                      <a:pt x="327395" y="215126"/>
                    </a:lnTo>
                    <a:lnTo>
                      <a:pt x="304343" y="222892"/>
                    </a:lnTo>
                    <a:lnTo>
                      <a:pt x="300089" y="226460"/>
                    </a:lnTo>
                    <a:lnTo>
                      <a:pt x="288783" y="238425"/>
                    </a:lnTo>
                    <a:lnTo>
                      <a:pt x="274073" y="251899"/>
                    </a:lnTo>
                    <a:lnTo>
                      <a:pt x="265402" y="251350"/>
                    </a:lnTo>
                    <a:lnTo>
                      <a:pt x="259611" y="248963"/>
                    </a:lnTo>
                    <a:lnTo>
                      <a:pt x="241581" y="252585"/>
                    </a:lnTo>
                    <a:lnTo>
                      <a:pt x="236284" y="255741"/>
                    </a:lnTo>
                    <a:lnTo>
                      <a:pt x="234940" y="258925"/>
                    </a:lnTo>
                    <a:lnTo>
                      <a:pt x="228985" y="256455"/>
                    </a:lnTo>
                    <a:lnTo>
                      <a:pt x="225252" y="250939"/>
                    </a:lnTo>
                    <a:lnTo>
                      <a:pt x="216773" y="254534"/>
                    </a:lnTo>
                    <a:lnTo>
                      <a:pt x="206866" y="250884"/>
                    </a:lnTo>
                    <a:lnTo>
                      <a:pt x="199977" y="254259"/>
                    </a:lnTo>
                    <a:lnTo>
                      <a:pt x="196465" y="259803"/>
                    </a:lnTo>
                    <a:lnTo>
                      <a:pt x="194022" y="255357"/>
                    </a:lnTo>
                    <a:lnTo>
                      <a:pt x="188259" y="255933"/>
                    </a:lnTo>
                    <a:lnTo>
                      <a:pt x="187326" y="249237"/>
                    </a:lnTo>
                    <a:lnTo>
                      <a:pt x="178105" y="245944"/>
                    </a:lnTo>
                    <a:lnTo>
                      <a:pt x="171190" y="238150"/>
                    </a:lnTo>
                    <a:lnTo>
                      <a:pt x="165756" y="233430"/>
                    </a:lnTo>
                    <a:lnTo>
                      <a:pt x="165290" y="228271"/>
                    </a:lnTo>
                    <a:lnTo>
                      <a:pt x="158182" y="225197"/>
                    </a:lnTo>
                    <a:lnTo>
                      <a:pt x="156123" y="225499"/>
                    </a:lnTo>
                    <a:lnTo>
                      <a:pt x="154038" y="230000"/>
                    </a:lnTo>
                    <a:lnTo>
                      <a:pt x="148412" y="234006"/>
                    </a:lnTo>
                    <a:lnTo>
                      <a:pt x="135075" y="228710"/>
                    </a:lnTo>
                    <a:lnTo>
                      <a:pt x="124234" y="236257"/>
                    </a:lnTo>
                    <a:lnTo>
                      <a:pt x="114657" y="231893"/>
                    </a:lnTo>
                    <a:lnTo>
                      <a:pt x="112956" y="228655"/>
                    </a:lnTo>
                    <a:lnTo>
                      <a:pt x="107933" y="227722"/>
                    </a:lnTo>
                    <a:lnTo>
                      <a:pt x="102939" y="219324"/>
                    </a:lnTo>
                    <a:lnTo>
                      <a:pt x="96188" y="214659"/>
                    </a:lnTo>
                    <a:lnTo>
                      <a:pt x="91001" y="205877"/>
                    </a:lnTo>
                    <a:lnTo>
                      <a:pt x="90864" y="198248"/>
                    </a:lnTo>
                    <a:lnTo>
                      <a:pt x="88312" y="193748"/>
                    </a:lnTo>
                    <a:lnTo>
                      <a:pt x="78377" y="186530"/>
                    </a:lnTo>
                    <a:lnTo>
                      <a:pt x="72011" y="185021"/>
                    </a:lnTo>
                    <a:lnTo>
                      <a:pt x="69184" y="182578"/>
                    </a:lnTo>
                    <a:lnTo>
                      <a:pt x="68224" y="178791"/>
                    </a:lnTo>
                    <a:lnTo>
                      <a:pt x="63146" y="172671"/>
                    </a:lnTo>
                    <a:lnTo>
                      <a:pt x="64244" y="165893"/>
                    </a:lnTo>
                    <a:lnTo>
                      <a:pt x="56972" y="161173"/>
                    </a:lnTo>
                    <a:lnTo>
                      <a:pt x="53185" y="155465"/>
                    </a:lnTo>
                    <a:lnTo>
                      <a:pt x="37433" y="146875"/>
                    </a:lnTo>
                    <a:lnTo>
                      <a:pt x="36198" y="146189"/>
                    </a:lnTo>
                    <a:lnTo>
                      <a:pt x="30819" y="141634"/>
                    </a:lnTo>
                    <a:lnTo>
                      <a:pt x="29858" y="139026"/>
                    </a:lnTo>
                    <a:lnTo>
                      <a:pt x="32520" y="134169"/>
                    </a:lnTo>
                    <a:lnTo>
                      <a:pt x="30572" y="130272"/>
                    </a:lnTo>
                    <a:lnTo>
                      <a:pt x="24205" y="127610"/>
                    </a:lnTo>
                    <a:lnTo>
                      <a:pt x="18497" y="121133"/>
                    </a:lnTo>
                    <a:lnTo>
                      <a:pt x="1509" y="116989"/>
                    </a:lnTo>
                    <a:lnTo>
                      <a:pt x="467" y="113971"/>
                    </a:lnTo>
                    <a:lnTo>
                      <a:pt x="0" y="112654"/>
                    </a:lnTo>
                    <a:lnTo>
                      <a:pt x="1455" y="107330"/>
                    </a:lnTo>
                    <a:lnTo>
                      <a:pt x="11279" y="99755"/>
                    </a:lnTo>
                    <a:lnTo>
                      <a:pt x="11499" y="96984"/>
                    </a:lnTo>
                    <a:lnTo>
                      <a:pt x="12432" y="85457"/>
                    </a:lnTo>
                    <a:lnTo>
                      <a:pt x="16603" y="81506"/>
                    </a:lnTo>
                    <a:lnTo>
                      <a:pt x="16768" y="74151"/>
                    </a:lnTo>
                    <a:lnTo>
                      <a:pt x="23574" y="67400"/>
                    </a:lnTo>
                    <a:lnTo>
                      <a:pt x="25742" y="61665"/>
                    </a:lnTo>
                    <a:lnTo>
                      <a:pt x="27224" y="58481"/>
                    </a:lnTo>
                    <a:lnTo>
                      <a:pt x="30270" y="56972"/>
                    </a:lnTo>
                    <a:lnTo>
                      <a:pt x="37460" y="56066"/>
                    </a:lnTo>
                    <a:lnTo>
                      <a:pt x="48711" y="54612"/>
                    </a:lnTo>
                    <a:lnTo>
                      <a:pt x="52526" y="61665"/>
                    </a:lnTo>
                    <a:lnTo>
                      <a:pt x="59688" y="69458"/>
                    </a:lnTo>
                    <a:lnTo>
                      <a:pt x="63119" y="77554"/>
                    </a:lnTo>
                    <a:lnTo>
                      <a:pt x="69733" y="81122"/>
                    </a:lnTo>
                    <a:lnTo>
                      <a:pt x="75249" y="81808"/>
                    </a:lnTo>
                    <a:lnTo>
                      <a:pt x="87681" y="78103"/>
                    </a:lnTo>
                    <a:lnTo>
                      <a:pt x="109854" y="78487"/>
                    </a:lnTo>
                    <a:lnTo>
                      <a:pt x="113257" y="85457"/>
                    </a:lnTo>
                    <a:lnTo>
                      <a:pt x="115370" y="86391"/>
                    </a:lnTo>
                    <a:lnTo>
                      <a:pt x="133977" y="86253"/>
                    </a:lnTo>
                    <a:lnTo>
                      <a:pt x="135020" y="85457"/>
                    </a:lnTo>
                    <a:lnTo>
                      <a:pt x="141305" y="77526"/>
                    </a:lnTo>
                    <a:lnTo>
                      <a:pt x="145119" y="74398"/>
                    </a:lnTo>
                    <a:lnTo>
                      <a:pt x="157084" y="73932"/>
                    </a:lnTo>
                    <a:lnTo>
                      <a:pt x="158401" y="64464"/>
                    </a:lnTo>
                    <a:lnTo>
                      <a:pt x="164082" y="61637"/>
                    </a:lnTo>
                    <a:lnTo>
                      <a:pt x="170449" y="58454"/>
                    </a:lnTo>
                    <a:lnTo>
                      <a:pt x="175389" y="61637"/>
                    </a:lnTo>
                    <a:lnTo>
                      <a:pt x="195422" y="74563"/>
                    </a:lnTo>
                    <a:lnTo>
                      <a:pt x="210378" y="72999"/>
                    </a:lnTo>
                    <a:lnTo>
                      <a:pt x="220450" y="61610"/>
                    </a:lnTo>
                    <a:lnTo>
                      <a:pt x="223990" y="57576"/>
                    </a:lnTo>
                    <a:lnTo>
                      <a:pt x="229862" y="47861"/>
                    </a:lnTo>
                    <a:lnTo>
                      <a:pt x="231564" y="46324"/>
                    </a:lnTo>
                    <a:lnTo>
                      <a:pt x="243282" y="35676"/>
                    </a:lnTo>
                    <a:lnTo>
                      <a:pt x="241169" y="16521"/>
                    </a:lnTo>
                    <a:lnTo>
                      <a:pt x="235653" y="9276"/>
                    </a:lnTo>
                    <a:lnTo>
                      <a:pt x="251378" y="8096"/>
                    </a:lnTo>
                    <a:lnTo>
                      <a:pt x="252339" y="741"/>
                    </a:lnTo>
                    <a:lnTo>
                      <a:pt x="254644" y="0"/>
                    </a:lnTo>
                    <a:lnTo>
                      <a:pt x="267405" y="851"/>
                    </a:lnTo>
                    <a:lnTo>
                      <a:pt x="263892" y="18634"/>
                    </a:lnTo>
                    <a:lnTo>
                      <a:pt x="266801" y="44183"/>
                    </a:lnTo>
                    <a:lnTo>
                      <a:pt x="271192" y="46324"/>
                    </a:lnTo>
                    <a:lnTo>
                      <a:pt x="274211" y="47778"/>
                    </a:lnTo>
                    <a:lnTo>
                      <a:pt x="286807" y="61610"/>
                    </a:lnTo>
                    <a:lnTo>
                      <a:pt x="288042" y="62927"/>
                    </a:lnTo>
                    <a:lnTo>
                      <a:pt x="288728" y="69102"/>
                    </a:lnTo>
                    <a:lnTo>
                      <a:pt x="286203" y="79804"/>
                    </a:lnTo>
                    <a:lnTo>
                      <a:pt x="287274" y="81533"/>
                    </a:lnTo>
                    <a:lnTo>
                      <a:pt x="292405" y="817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7" name="Freeform: Shape 4216">
                <a:extLst>
                  <a:ext uri="{FF2B5EF4-FFF2-40B4-BE49-F238E27FC236}">
                    <a16:creationId xmlns:a16="http://schemas.microsoft.com/office/drawing/2014/main" id="{1C790167-8705-5FBA-B55D-2CFB46ACF083}"/>
                  </a:ext>
                </a:extLst>
              </p:cNvPr>
              <p:cNvSpPr/>
              <p:nvPr/>
            </p:nvSpPr>
            <p:spPr>
              <a:xfrm>
                <a:off x="1088928" y="3799750"/>
                <a:ext cx="7353" cy="3953"/>
              </a:xfrm>
              <a:custGeom>
                <a:avLst/>
                <a:gdLst>
                  <a:gd name="connsiteX0" fmla="*/ 67867 w 70501"/>
                  <a:gd name="connsiteY0" fmla="*/ 30654 h 37898"/>
                  <a:gd name="connsiteX1" fmla="*/ 66769 w 70501"/>
                  <a:gd name="connsiteY1" fmla="*/ 31532 h 37898"/>
                  <a:gd name="connsiteX2" fmla="*/ 68113 w 70501"/>
                  <a:gd name="connsiteY2" fmla="*/ 34221 h 37898"/>
                  <a:gd name="connsiteX3" fmla="*/ 64656 w 70501"/>
                  <a:gd name="connsiteY3" fmla="*/ 37899 h 37898"/>
                  <a:gd name="connsiteX4" fmla="*/ 49233 w 70501"/>
                  <a:gd name="connsiteY4" fmla="*/ 37762 h 37898"/>
                  <a:gd name="connsiteX5" fmla="*/ 38612 w 70501"/>
                  <a:gd name="connsiteY5" fmla="*/ 35319 h 37898"/>
                  <a:gd name="connsiteX6" fmla="*/ 24561 w 70501"/>
                  <a:gd name="connsiteY6" fmla="*/ 28568 h 37898"/>
                  <a:gd name="connsiteX7" fmla="*/ 9770 w 70501"/>
                  <a:gd name="connsiteY7" fmla="*/ 26729 h 37898"/>
                  <a:gd name="connsiteX8" fmla="*/ 0 w 70501"/>
                  <a:gd name="connsiteY8" fmla="*/ 20527 h 37898"/>
                  <a:gd name="connsiteX9" fmla="*/ 3074 w 70501"/>
                  <a:gd name="connsiteY9" fmla="*/ 14709 h 37898"/>
                  <a:gd name="connsiteX10" fmla="*/ 11032 w 70501"/>
                  <a:gd name="connsiteY10" fmla="*/ 11115 h 37898"/>
                  <a:gd name="connsiteX11" fmla="*/ 13337 w 70501"/>
                  <a:gd name="connsiteY11" fmla="*/ 7684 h 37898"/>
                  <a:gd name="connsiteX12" fmla="*/ 17070 w 70501"/>
                  <a:gd name="connsiteY12" fmla="*/ 5845 h 37898"/>
                  <a:gd name="connsiteX13" fmla="*/ 16685 w 70501"/>
                  <a:gd name="connsiteY13" fmla="*/ 768 h 37898"/>
                  <a:gd name="connsiteX14" fmla="*/ 22695 w 70501"/>
                  <a:gd name="connsiteY14" fmla="*/ 0 h 37898"/>
                  <a:gd name="connsiteX15" fmla="*/ 30572 w 70501"/>
                  <a:gd name="connsiteY15" fmla="*/ 1400 h 37898"/>
                  <a:gd name="connsiteX16" fmla="*/ 33673 w 70501"/>
                  <a:gd name="connsiteY16" fmla="*/ 5735 h 37898"/>
                  <a:gd name="connsiteX17" fmla="*/ 46845 w 70501"/>
                  <a:gd name="connsiteY17" fmla="*/ 13447 h 37898"/>
                  <a:gd name="connsiteX18" fmla="*/ 48821 w 70501"/>
                  <a:gd name="connsiteY18" fmla="*/ 16686 h 37898"/>
                  <a:gd name="connsiteX19" fmla="*/ 57932 w 70501"/>
                  <a:gd name="connsiteY19" fmla="*/ 12953 h 37898"/>
                  <a:gd name="connsiteX20" fmla="*/ 62323 w 70501"/>
                  <a:gd name="connsiteY20" fmla="*/ 15999 h 37898"/>
                  <a:gd name="connsiteX21" fmla="*/ 69101 w 70501"/>
                  <a:gd name="connsiteY21" fmla="*/ 16768 h 37898"/>
                  <a:gd name="connsiteX22" fmla="*/ 70501 w 70501"/>
                  <a:gd name="connsiteY22" fmla="*/ 18798 h 37898"/>
                  <a:gd name="connsiteX23" fmla="*/ 69074 w 70501"/>
                  <a:gd name="connsiteY23" fmla="*/ 26565 h 37898"/>
                  <a:gd name="connsiteX24" fmla="*/ 70419 w 70501"/>
                  <a:gd name="connsiteY24" fmla="*/ 28651 h 37898"/>
                  <a:gd name="connsiteX25" fmla="*/ 67867 w 70501"/>
                  <a:gd name="connsiteY25" fmla="*/ 30626 h 3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501" h="37898">
                    <a:moveTo>
                      <a:pt x="67867" y="30654"/>
                    </a:moveTo>
                    <a:lnTo>
                      <a:pt x="66769" y="31532"/>
                    </a:lnTo>
                    <a:lnTo>
                      <a:pt x="68113" y="34221"/>
                    </a:lnTo>
                    <a:lnTo>
                      <a:pt x="64656" y="37899"/>
                    </a:lnTo>
                    <a:lnTo>
                      <a:pt x="49233" y="37762"/>
                    </a:lnTo>
                    <a:lnTo>
                      <a:pt x="38612" y="35319"/>
                    </a:lnTo>
                    <a:lnTo>
                      <a:pt x="24561" y="28568"/>
                    </a:lnTo>
                    <a:lnTo>
                      <a:pt x="9770" y="26729"/>
                    </a:lnTo>
                    <a:lnTo>
                      <a:pt x="0" y="20527"/>
                    </a:lnTo>
                    <a:lnTo>
                      <a:pt x="3074" y="14709"/>
                    </a:lnTo>
                    <a:lnTo>
                      <a:pt x="11032" y="11115"/>
                    </a:lnTo>
                    <a:lnTo>
                      <a:pt x="13337" y="7684"/>
                    </a:lnTo>
                    <a:lnTo>
                      <a:pt x="17070" y="5845"/>
                    </a:lnTo>
                    <a:lnTo>
                      <a:pt x="16685" y="768"/>
                    </a:lnTo>
                    <a:lnTo>
                      <a:pt x="22695" y="0"/>
                    </a:lnTo>
                    <a:lnTo>
                      <a:pt x="30572" y="1400"/>
                    </a:lnTo>
                    <a:lnTo>
                      <a:pt x="33673" y="5735"/>
                    </a:lnTo>
                    <a:lnTo>
                      <a:pt x="46845" y="13447"/>
                    </a:lnTo>
                    <a:lnTo>
                      <a:pt x="48821" y="16686"/>
                    </a:lnTo>
                    <a:lnTo>
                      <a:pt x="57932" y="12953"/>
                    </a:lnTo>
                    <a:lnTo>
                      <a:pt x="62323" y="15999"/>
                    </a:lnTo>
                    <a:lnTo>
                      <a:pt x="69101" y="16768"/>
                    </a:lnTo>
                    <a:lnTo>
                      <a:pt x="70501" y="18798"/>
                    </a:lnTo>
                    <a:lnTo>
                      <a:pt x="69074" y="26565"/>
                    </a:lnTo>
                    <a:lnTo>
                      <a:pt x="70419" y="28651"/>
                    </a:lnTo>
                    <a:lnTo>
                      <a:pt x="67867" y="306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8" name="Freeform: Shape 4217">
                <a:extLst>
                  <a:ext uri="{FF2B5EF4-FFF2-40B4-BE49-F238E27FC236}">
                    <a16:creationId xmlns:a16="http://schemas.microsoft.com/office/drawing/2014/main" id="{647E9158-4D95-3297-F733-EC73CB299EBA}"/>
                  </a:ext>
                </a:extLst>
              </p:cNvPr>
              <p:cNvSpPr/>
              <p:nvPr/>
            </p:nvSpPr>
            <p:spPr>
              <a:xfrm>
                <a:off x="1171864" y="3788126"/>
                <a:ext cx="209" cy="146"/>
              </a:xfrm>
              <a:custGeom>
                <a:avLst/>
                <a:gdLst>
                  <a:gd name="connsiteX0" fmla="*/ 0 w 2003"/>
                  <a:gd name="connsiteY0" fmla="*/ 302 h 1399"/>
                  <a:gd name="connsiteX1" fmla="*/ 2003 w 2003"/>
                  <a:gd name="connsiteY1" fmla="*/ 0 h 1399"/>
                  <a:gd name="connsiteX2" fmla="*/ 1427 w 2003"/>
                  <a:gd name="connsiteY2" fmla="*/ 1400 h 1399"/>
                  <a:gd name="connsiteX3" fmla="*/ 0 w 2003"/>
                  <a:gd name="connsiteY3" fmla="*/ 988 h 1399"/>
                  <a:gd name="connsiteX4" fmla="*/ 0 w 2003"/>
                  <a:gd name="connsiteY4" fmla="*/ 302 h 1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3" h="1399">
                    <a:moveTo>
                      <a:pt x="0" y="302"/>
                    </a:moveTo>
                    <a:lnTo>
                      <a:pt x="2003" y="0"/>
                    </a:lnTo>
                    <a:lnTo>
                      <a:pt x="1427" y="1400"/>
                    </a:lnTo>
                    <a:lnTo>
                      <a:pt x="0" y="988"/>
                    </a:lnTo>
                    <a:lnTo>
                      <a:pt x="0" y="3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19" name="Freeform: Shape 4218">
                <a:extLst>
                  <a:ext uri="{FF2B5EF4-FFF2-40B4-BE49-F238E27FC236}">
                    <a16:creationId xmlns:a16="http://schemas.microsoft.com/office/drawing/2014/main" id="{CE6A274A-648C-C234-0EF5-E6A9C8D59306}"/>
                  </a:ext>
                </a:extLst>
              </p:cNvPr>
              <p:cNvSpPr/>
              <p:nvPr/>
            </p:nvSpPr>
            <p:spPr>
              <a:xfrm>
                <a:off x="1474667" y="3721044"/>
                <a:ext cx="20657" cy="18511"/>
              </a:xfrm>
              <a:custGeom>
                <a:avLst/>
                <a:gdLst>
                  <a:gd name="connsiteX0" fmla="*/ 198056 w 198055"/>
                  <a:gd name="connsiteY0" fmla="*/ 6394 h 177473"/>
                  <a:gd name="connsiteX1" fmla="*/ 197781 w 198055"/>
                  <a:gd name="connsiteY1" fmla="*/ 8974 h 177473"/>
                  <a:gd name="connsiteX2" fmla="*/ 183731 w 198055"/>
                  <a:gd name="connsiteY2" fmla="*/ 24259 h 177473"/>
                  <a:gd name="connsiteX3" fmla="*/ 171491 w 198055"/>
                  <a:gd name="connsiteY3" fmla="*/ 27662 h 177473"/>
                  <a:gd name="connsiteX4" fmla="*/ 166551 w 198055"/>
                  <a:gd name="connsiteY4" fmla="*/ 36829 h 177473"/>
                  <a:gd name="connsiteX5" fmla="*/ 166003 w 198055"/>
                  <a:gd name="connsiteY5" fmla="*/ 44979 h 177473"/>
                  <a:gd name="connsiteX6" fmla="*/ 169625 w 198055"/>
                  <a:gd name="connsiteY6" fmla="*/ 59057 h 177473"/>
                  <a:gd name="connsiteX7" fmla="*/ 165975 w 198055"/>
                  <a:gd name="connsiteY7" fmla="*/ 68909 h 177473"/>
                  <a:gd name="connsiteX8" fmla="*/ 164849 w 198055"/>
                  <a:gd name="connsiteY8" fmla="*/ 90617 h 177473"/>
                  <a:gd name="connsiteX9" fmla="*/ 158621 w 198055"/>
                  <a:gd name="connsiteY9" fmla="*/ 103268 h 177473"/>
                  <a:gd name="connsiteX10" fmla="*/ 93224 w 198055"/>
                  <a:gd name="connsiteY10" fmla="*/ 140920 h 177473"/>
                  <a:gd name="connsiteX11" fmla="*/ 35813 w 198055"/>
                  <a:gd name="connsiteY11" fmla="*/ 177474 h 177473"/>
                  <a:gd name="connsiteX12" fmla="*/ 24424 w 198055"/>
                  <a:gd name="connsiteY12" fmla="*/ 175992 h 177473"/>
                  <a:gd name="connsiteX13" fmla="*/ 14463 w 198055"/>
                  <a:gd name="connsiteY13" fmla="*/ 170750 h 177473"/>
                  <a:gd name="connsiteX14" fmla="*/ 8727 w 198055"/>
                  <a:gd name="connsiteY14" fmla="*/ 163725 h 177473"/>
                  <a:gd name="connsiteX15" fmla="*/ 5077 w 198055"/>
                  <a:gd name="connsiteY15" fmla="*/ 162901 h 177473"/>
                  <a:gd name="connsiteX16" fmla="*/ 1427 w 198055"/>
                  <a:gd name="connsiteY16" fmla="*/ 164877 h 177473"/>
                  <a:gd name="connsiteX17" fmla="*/ 0 w 198055"/>
                  <a:gd name="connsiteY17" fmla="*/ 156535 h 177473"/>
                  <a:gd name="connsiteX18" fmla="*/ 1345 w 198055"/>
                  <a:gd name="connsiteY18" fmla="*/ 146436 h 177473"/>
                  <a:gd name="connsiteX19" fmla="*/ 27 w 198055"/>
                  <a:gd name="connsiteY19" fmla="*/ 145558 h 177473"/>
                  <a:gd name="connsiteX20" fmla="*/ 11828 w 198055"/>
                  <a:gd name="connsiteY20" fmla="*/ 134498 h 177473"/>
                  <a:gd name="connsiteX21" fmla="*/ 9742 w 198055"/>
                  <a:gd name="connsiteY21" fmla="*/ 131123 h 177473"/>
                  <a:gd name="connsiteX22" fmla="*/ 10977 w 198055"/>
                  <a:gd name="connsiteY22" fmla="*/ 128131 h 177473"/>
                  <a:gd name="connsiteX23" fmla="*/ 13173 w 198055"/>
                  <a:gd name="connsiteY23" fmla="*/ 125332 h 177473"/>
                  <a:gd name="connsiteX24" fmla="*/ 14463 w 198055"/>
                  <a:gd name="connsiteY24" fmla="*/ 124728 h 177473"/>
                  <a:gd name="connsiteX25" fmla="*/ 21351 w 198055"/>
                  <a:gd name="connsiteY25" fmla="*/ 124536 h 177473"/>
                  <a:gd name="connsiteX26" fmla="*/ 20308 w 198055"/>
                  <a:gd name="connsiteY26" fmla="*/ 120832 h 177473"/>
                  <a:gd name="connsiteX27" fmla="*/ 25769 w 198055"/>
                  <a:gd name="connsiteY27" fmla="*/ 116523 h 177473"/>
                  <a:gd name="connsiteX28" fmla="*/ 29034 w 198055"/>
                  <a:gd name="connsiteY28" fmla="*/ 110705 h 177473"/>
                  <a:gd name="connsiteX29" fmla="*/ 26482 w 198055"/>
                  <a:gd name="connsiteY29" fmla="*/ 103240 h 177473"/>
                  <a:gd name="connsiteX30" fmla="*/ 22448 w 198055"/>
                  <a:gd name="connsiteY30" fmla="*/ 99838 h 177473"/>
                  <a:gd name="connsiteX31" fmla="*/ 22037 w 198055"/>
                  <a:gd name="connsiteY31" fmla="*/ 95804 h 177473"/>
                  <a:gd name="connsiteX32" fmla="*/ 14435 w 198055"/>
                  <a:gd name="connsiteY32" fmla="*/ 96105 h 177473"/>
                  <a:gd name="connsiteX33" fmla="*/ 10319 w 198055"/>
                  <a:gd name="connsiteY33" fmla="*/ 96242 h 177473"/>
                  <a:gd name="connsiteX34" fmla="*/ 7409 w 198055"/>
                  <a:gd name="connsiteY34" fmla="*/ 86583 h 177473"/>
                  <a:gd name="connsiteX35" fmla="*/ 9248 w 198055"/>
                  <a:gd name="connsiteY35" fmla="*/ 75935 h 177473"/>
                  <a:gd name="connsiteX36" fmla="*/ 8205 w 198055"/>
                  <a:gd name="connsiteY36" fmla="*/ 68964 h 177473"/>
                  <a:gd name="connsiteX37" fmla="*/ 3814 w 198055"/>
                  <a:gd name="connsiteY37" fmla="*/ 62707 h 177473"/>
                  <a:gd name="connsiteX38" fmla="*/ 6312 w 198055"/>
                  <a:gd name="connsiteY38" fmla="*/ 52636 h 177473"/>
                  <a:gd name="connsiteX39" fmla="*/ 8589 w 198055"/>
                  <a:gd name="connsiteY39" fmla="*/ 49562 h 177473"/>
                  <a:gd name="connsiteX40" fmla="*/ 14408 w 198055"/>
                  <a:gd name="connsiteY40" fmla="*/ 52114 h 177473"/>
                  <a:gd name="connsiteX41" fmla="*/ 21652 w 198055"/>
                  <a:gd name="connsiteY41" fmla="*/ 46598 h 177473"/>
                  <a:gd name="connsiteX42" fmla="*/ 23079 w 198055"/>
                  <a:gd name="connsiteY42" fmla="*/ 39436 h 177473"/>
                  <a:gd name="connsiteX43" fmla="*/ 30818 w 198055"/>
                  <a:gd name="connsiteY43" fmla="*/ 37844 h 177473"/>
                  <a:gd name="connsiteX44" fmla="*/ 27553 w 198055"/>
                  <a:gd name="connsiteY44" fmla="*/ 27662 h 177473"/>
                  <a:gd name="connsiteX45" fmla="*/ 30461 w 198055"/>
                  <a:gd name="connsiteY45" fmla="*/ 16521 h 177473"/>
                  <a:gd name="connsiteX46" fmla="*/ 31038 w 198055"/>
                  <a:gd name="connsiteY46" fmla="*/ 16521 h 177473"/>
                  <a:gd name="connsiteX47" fmla="*/ 45034 w 198055"/>
                  <a:gd name="connsiteY47" fmla="*/ 22805 h 177473"/>
                  <a:gd name="connsiteX48" fmla="*/ 57713 w 198055"/>
                  <a:gd name="connsiteY48" fmla="*/ 21268 h 177473"/>
                  <a:gd name="connsiteX49" fmla="*/ 71297 w 198055"/>
                  <a:gd name="connsiteY49" fmla="*/ 16054 h 177473"/>
                  <a:gd name="connsiteX50" fmla="*/ 81067 w 198055"/>
                  <a:gd name="connsiteY50" fmla="*/ 14243 h 177473"/>
                  <a:gd name="connsiteX51" fmla="*/ 91797 w 198055"/>
                  <a:gd name="connsiteY51" fmla="*/ 21131 h 177473"/>
                  <a:gd name="connsiteX52" fmla="*/ 106396 w 198055"/>
                  <a:gd name="connsiteY52" fmla="*/ 22449 h 177473"/>
                  <a:gd name="connsiteX53" fmla="*/ 123438 w 198055"/>
                  <a:gd name="connsiteY53" fmla="*/ 19320 h 177473"/>
                  <a:gd name="connsiteX54" fmla="*/ 135348 w 198055"/>
                  <a:gd name="connsiteY54" fmla="*/ 13996 h 177473"/>
                  <a:gd name="connsiteX55" fmla="*/ 152006 w 198055"/>
                  <a:gd name="connsiteY55" fmla="*/ 6010 h 177473"/>
                  <a:gd name="connsiteX56" fmla="*/ 177611 w 198055"/>
                  <a:gd name="connsiteY56" fmla="*/ 6559 h 177473"/>
                  <a:gd name="connsiteX57" fmla="*/ 193774 w 198055"/>
                  <a:gd name="connsiteY57" fmla="*/ 0 h 177473"/>
                  <a:gd name="connsiteX58" fmla="*/ 197177 w 198055"/>
                  <a:gd name="connsiteY58" fmla="*/ 1537 h 177473"/>
                  <a:gd name="connsiteX59" fmla="*/ 197973 w 198055"/>
                  <a:gd name="connsiteY59" fmla="*/ 6367 h 177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98055" h="177473">
                    <a:moveTo>
                      <a:pt x="198056" y="6394"/>
                    </a:moveTo>
                    <a:lnTo>
                      <a:pt x="197781" y="8974"/>
                    </a:lnTo>
                    <a:lnTo>
                      <a:pt x="183731" y="24259"/>
                    </a:lnTo>
                    <a:lnTo>
                      <a:pt x="171491" y="27662"/>
                    </a:lnTo>
                    <a:lnTo>
                      <a:pt x="166551" y="36829"/>
                    </a:lnTo>
                    <a:lnTo>
                      <a:pt x="166003" y="44979"/>
                    </a:lnTo>
                    <a:lnTo>
                      <a:pt x="169625" y="59057"/>
                    </a:lnTo>
                    <a:lnTo>
                      <a:pt x="165975" y="68909"/>
                    </a:lnTo>
                    <a:lnTo>
                      <a:pt x="164849" y="90617"/>
                    </a:lnTo>
                    <a:lnTo>
                      <a:pt x="158621" y="103268"/>
                    </a:lnTo>
                    <a:lnTo>
                      <a:pt x="93224" y="140920"/>
                    </a:lnTo>
                    <a:lnTo>
                      <a:pt x="35813" y="177474"/>
                    </a:lnTo>
                    <a:lnTo>
                      <a:pt x="24424" y="175992"/>
                    </a:lnTo>
                    <a:lnTo>
                      <a:pt x="14463" y="170750"/>
                    </a:lnTo>
                    <a:lnTo>
                      <a:pt x="8727" y="163725"/>
                    </a:lnTo>
                    <a:lnTo>
                      <a:pt x="5077" y="162901"/>
                    </a:lnTo>
                    <a:lnTo>
                      <a:pt x="1427" y="164877"/>
                    </a:lnTo>
                    <a:lnTo>
                      <a:pt x="0" y="156535"/>
                    </a:lnTo>
                    <a:lnTo>
                      <a:pt x="1345" y="146436"/>
                    </a:lnTo>
                    <a:lnTo>
                      <a:pt x="27" y="145558"/>
                    </a:lnTo>
                    <a:lnTo>
                      <a:pt x="11828" y="134498"/>
                    </a:lnTo>
                    <a:lnTo>
                      <a:pt x="9742" y="131123"/>
                    </a:lnTo>
                    <a:lnTo>
                      <a:pt x="10977" y="128131"/>
                    </a:lnTo>
                    <a:lnTo>
                      <a:pt x="13173" y="125332"/>
                    </a:lnTo>
                    <a:lnTo>
                      <a:pt x="14463" y="124728"/>
                    </a:lnTo>
                    <a:lnTo>
                      <a:pt x="21351" y="124536"/>
                    </a:lnTo>
                    <a:lnTo>
                      <a:pt x="20308" y="120832"/>
                    </a:lnTo>
                    <a:lnTo>
                      <a:pt x="25769" y="116523"/>
                    </a:lnTo>
                    <a:lnTo>
                      <a:pt x="29034" y="110705"/>
                    </a:lnTo>
                    <a:lnTo>
                      <a:pt x="26482" y="103240"/>
                    </a:lnTo>
                    <a:lnTo>
                      <a:pt x="22448" y="99838"/>
                    </a:lnTo>
                    <a:lnTo>
                      <a:pt x="22037" y="95804"/>
                    </a:lnTo>
                    <a:lnTo>
                      <a:pt x="14435" y="96105"/>
                    </a:lnTo>
                    <a:lnTo>
                      <a:pt x="10319" y="96242"/>
                    </a:lnTo>
                    <a:lnTo>
                      <a:pt x="7409" y="86583"/>
                    </a:lnTo>
                    <a:lnTo>
                      <a:pt x="9248" y="75935"/>
                    </a:lnTo>
                    <a:lnTo>
                      <a:pt x="8205" y="68964"/>
                    </a:lnTo>
                    <a:lnTo>
                      <a:pt x="3814" y="62707"/>
                    </a:lnTo>
                    <a:lnTo>
                      <a:pt x="6312" y="52636"/>
                    </a:lnTo>
                    <a:lnTo>
                      <a:pt x="8589" y="49562"/>
                    </a:lnTo>
                    <a:lnTo>
                      <a:pt x="14408" y="52114"/>
                    </a:lnTo>
                    <a:lnTo>
                      <a:pt x="21652" y="46598"/>
                    </a:lnTo>
                    <a:lnTo>
                      <a:pt x="23079" y="39436"/>
                    </a:lnTo>
                    <a:lnTo>
                      <a:pt x="30818" y="37844"/>
                    </a:lnTo>
                    <a:lnTo>
                      <a:pt x="27553" y="27662"/>
                    </a:lnTo>
                    <a:lnTo>
                      <a:pt x="30461" y="16521"/>
                    </a:lnTo>
                    <a:lnTo>
                      <a:pt x="31038" y="16521"/>
                    </a:lnTo>
                    <a:cubicBezTo>
                      <a:pt x="31038" y="16521"/>
                      <a:pt x="45034" y="22805"/>
                      <a:pt x="45034" y="22805"/>
                    </a:cubicBezTo>
                    <a:lnTo>
                      <a:pt x="57713" y="21268"/>
                    </a:lnTo>
                    <a:lnTo>
                      <a:pt x="71297" y="16054"/>
                    </a:lnTo>
                    <a:lnTo>
                      <a:pt x="81067" y="14243"/>
                    </a:lnTo>
                    <a:lnTo>
                      <a:pt x="91797" y="21131"/>
                    </a:lnTo>
                    <a:lnTo>
                      <a:pt x="106396" y="22449"/>
                    </a:lnTo>
                    <a:lnTo>
                      <a:pt x="123438" y="19320"/>
                    </a:lnTo>
                    <a:lnTo>
                      <a:pt x="135348" y="13996"/>
                    </a:lnTo>
                    <a:lnTo>
                      <a:pt x="152006" y="6010"/>
                    </a:lnTo>
                    <a:lnTo>
                      <a:pt x="177611" y="6559"/>
                    </a:lnTo>
                    <a:lnTo>
                      <a:pt x="193774" y="0"/>
                    </a:lnTo>
                    <a:lnTo>
                      <a:pt x="197177" y="1537"/>
                    </a:lnTo>
                    <a:lnTo>
                      <a:pt x="197973" y="63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0" name="Freeform: Shape 4219">
                <a:extLst>
                  <a:ext uri="{FF2B5EF4-FFF2-40B4-BE49-F238E27FC236}">
                    <a16:creationId xmlns:a16="http://schemas.microsoft.com/office/drawing/2014/main" id="{E2833204-9A7E-81DE-1A7C-A59D442989BA}"/>
                  </a:ext>
                </a:extLst>
              </p:cNvPr>
              <p:cNvSpPr/>
              <p:nvPr/>
            </p:nvSpPr>
            <p:spPr>
              <a:xfrm>
                <a:off x="1459889" y="3926216"/>
                <a:ext cx="4079" cy="5401"/>
              </a:xfrm>
              <a:custGeom>
                <a:avLst/>
                <a:gdLst>
                  <a:gd name="connsiteX0" fmla="*/ 34661 w 39106"/>
                  <a:gd name="connsiteY0" fmla="*/ 6916 h 51785"/>
                  <a:gd name="connsiteX1" fmla="*/ 37981 w 39106"/>
                  <a:gd name="connsiteY1" fmla="*/ 10950 h 51785"/>
                  <a:gd name="connsiteX2" fmla="*/ 39106 w 39106"/>
                  <a:gd name="connsiteY2" fmla="*/ 35923 h 51785"/>
                  <a:gd name="connsiteX3" fmla="*/ 35593 w 39106"/>
                  <a:gd name="connsiteY3" fmla="*/ 36225 h 51785"/>
                  <a:gd name="connsiteX4" fmla="*/ 34002 w 39106"/>
                  <a:gd name="connsiteY4" fmla="*/ 51373 h 51785"/>
                  <a:gd name="connsiteX5" fmla="*/ 21378 w 39106"/>
                  <a:gd name="connsiteY5" fmla="*/ 51785 h 51785"/>
                  <a:gd name="connsiteX6" fmla="*/ 9825 w 39106"/>
                  <a:gd name="connsiteY6" fmla="*/ 47312 h 51785"/>
                  <a:gd name="connsiteX7" fmla="*/ 0 w 39106"/>
                  <a:gd name="connsiteY7" fmla="*/ 33124 h 51785"/>
                  <a:gd name="connsiteX8" fmla="*/ 961 w 39106"/>
                  <a:gd name="connsiteY8" fmla="*/ 22366 h 51785"/>
                  <a:gd name="connsiteX9" fmla="*/ 10236 w 39106"/>
                  <a:gd name="connsiteY9" fmla="*/ 5544 h 51785"/>
                  <a:gd name="connsiteX10" fmla="*/ 15094 w 39106"/>
                  <a:gd name="connsiteY10" fmla="*/ 604 h 51785"/>
                  <a:gd name="connsiteX11" fmla="*/ 18909 w 39106"/>
                  <a:gd name="connsiteY11" fmla="*/ 0 h 51785"/>
                  <a:gd name="connsiteX12" fmla="*/ 30873 w 39106"/>
                  <a:gd name="connsiteY12" fmla="*/ 7959 h 51785"/>
                  <a:gd name="connsiteX13" fmla="*/ 34606 w 39106"/>
                  <a:gd name="connsiteY13" fmla="*/ 6971 h 5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106" h="51785">
                    <a:moveTo>
                      <a:pt x="34661" y="6916"/>
                    </a:moveTo>
                    <a:lnTo>
                      <a:pt x="37981" y="10950"/>
                    </a:lnTo>
                    <a:lnTo>
                      <a:pt x="39106" y="35923"/>
                    </a:lnTo>
                    <a:lnTo>
                      <a:pt x="35593" y="36225"/>
                    </a:lnTo>
                    <a:lnTo>
                      <a:pt x="34002" y="51373"/>
                    </a:lnTo>
                    <a:lnTo>
                      <a:pt x="21378" y="51785"/>
                    </a:lnTo>
                    <a:lnTo>
                      <a:pt x="9825" y="47312"/>
                    </a:lnTo>
                    <a:lnTo>
                      <a:pt x="0" y="33124"/>
                    </a:lnTo>
                    <a:lnTo>
                      <a:pt x="961" y="22366"/>
                    </a:lnTo>
                    <a:lnTo>
                      <a:pt x="10236" y="5544"/>
                    </a:lnTo>
                    <a:lnTo>
                      <a:pt x="15094" y="604"/>
                    </a:lnTo>
                    <a:lnTo>
                      <a:pt x="18909" y="0"/>
                    </a:lnTo>
                    <a:lnTo>
                      <a:pt x="30873" y="7959"/>
                    </a:lnTo>
                    <a:lnTo>
                      <a:pt x="34606" y="69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1" name="Freeform: Shape 4220">
                <a:extLst>
                  <a:ext uri="{FF2B5EF4-FFF2-40B4-BE49-F238E27FC236}">
                    <a16:creationId xmlns:a16="http://schemas.microsoft.com/office/drawing/2014/main" id="{FCDDAFFD-EC7C-0EE0-BCBD-3E48B7EBD98A}"/>
                  </a:ext>
                </a:extLst>
              </p:cNvPr>
              <p:cNvSpPr/>
              <p:nvPr/>
            </p:nvSpPr>
            <p:spPr>
              <a:xfrm>
                <a:off x="1144382" y="3775386"/>
                <a:ext cx="547" cy="518"/>
              </a:xfrm>
              <a:custGeom>
                <a:avLst/>
                <a:gdLst>
                  <a:gd name="connsiteX0" fmla="*/ 5241 w 5241"/>
                  <a:gd name="connsiteY0" fmla="*/ 2964 h 4967"/>
                  <a:gd name="connsiteX1" fmla="*/ 4336 w 5241"/>
                  <a:gd name="connsiteY1" fmla="*/ 4967 h 4967"/>
                  <a:gd name="connsiteX2" fmla="*/ 0 w 5241"/>
                  <a:gd name="connsiteY2" fmla="*/ 933 h 4967"/>
                  <a:gd name="connsiteX3" fmla="*/ 2113 w 5241"/>
                  <a:gd name="connsiteY3" fmla="*/ 0 h 4967"/>
                  <a:gd name="connsiteX4" fmla="*/ 4144 w 5241"/>
                  <a:gd name="connsiteY4" fmla="*/ 522 h 4967"/>
                  <a:gd name="connsiteX5" fmla="*/ 5241 w 5241"/>
                  <a:gd name="connsiteY5" fmla="*/ 2964 h 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41" h="4967">
                    <a:moveTo>
                      <a:pt x="5241" y="2964"/>
                    </a:moveTo>
                    <a:lnTo>
                      <a:pt x="4336" y="4967"/>
                    </a:lnTo>
                    <a:lnTo>
                      <a:pt x="0" y="933"/>
                    </a:lnTo>
                    <a:lnTo>
                      <a:pt x="2113" y="0"/>
                    </a:lnTo>
                    <a:lnTo>
                      <a:pt x="4144" y="522"/>
                    </a:lnTo>
                    <a:lnTo>
                      <a:pt x="5241"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2" name="Freeform: Shape 4221">
                <a:extLst>
                  <a:ext uri="{FF2B5EF4-FFF2-40B4-BE49-F238E27FC236}">
                    <a16:creationId xmlns:a16="http://schemas.microsoft.com/office/drawing/2014/main" id="{2069D4C1-5EF7-2FB0-337A-F93A635061BC}"/>
                  </a:ext>
                </a:extLst>
              </p:cNvPr>
              <p:cNvSpPr/>
              <p:nvPr/>
            </p:nvSpPr>
            <p:spPr>
              <a:xfrm>
                <a:off x="1143767" y="3775786"/>
                <a:ext cx="392" cy="409"/>
              </a:xfrm>
              <a:custGeom>
                <a:avLst/>
                <a:gdLst>
                  <a:gd name="connsiteX0" fmla="*/ 3760 w 3759"/>
                  <a:gd name="connsiteY0" fmla="*/ 2058 h 3924"/>
                  <a:gd name="connsiteX1" fmla="*/ 1948 w 3759"/>
                  <a:gd name="connsiteY1" fmla="*/ 3924 h 3924"/>
                  <a:gd name="connsiteX2" fmla="*/ 0 w 3759"/>
                  <a:gd name="connsiteY2" fmla="*/ 1647 h 3924"/>
                  <a:gd name="connsiteX3" fmla="*/ 2909 w 3759"/>
                  <a:gd name="connsiteY3" fmla="*/ 0 h 3924"/>
                  <a:gd name="connsiteX4" fmla="*/ 3760 w 3759"/>
                  <a:gd name="connsiteY4" fmla="*/ 2031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9" h="3924">
                    <a:moveTo>
                      <a:pt x="3760" y="2058"/>
                    </a:moveTo>
                    <a:lnTo>
                      <a:pt x="1948" y="3924"/>
                    </a:lnTo>
                    <a:lnTo>
                      <a:pt x="0" y="1647"/>
                    </a:lnTo>
                    <a:lnTo>
                      <a:pt x="2909" y="0"/>
                    </a:lnTo>
                    <a:lnTo>
                      <a:pt x="376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3" name="Freeform: Shape 4222">
                <a:extLst>
                  <a:ext uri="{FF2B5EF4-FFF2-40B4-BE49-F238E27FC236}">
                    <a16:creationId xmlns:a16="http://schemas.microsoft.com/office/drawing/2014/main" id="{E0192AA1-23FD-C12D-1DAE-A8D1608B5D10}"/>
                  </a:ext>
                </a:extLst>
              </p:cNvPr>
              <p:cNvSpPr/>
              <p:nvPr/>
            </p:nvSpPr>
            <p:spPr>
              <a:xfrm>
                <a:off x="1143426" y="3775678"/>
                <a:ext cx="343" cy="435"/>
              </a:xfrm>
              <a:custGeom>
                <a:avLst/>
                <a:gdLst>
                  <a:gd name="connsiteX0" fmla="*/ 3293 w 3293"/>
                  <a:gd name="connsiteY0" fmla="*/ 2964 h 4171"/>
                  <a:gd name="connsiteX1" fmla="*/ 2744 w 3293"/>
                  <a:gd name="connsiteY1" fmla="*/ 4171 h 4171"/>
                  <a:gd name="connsiteX2" fmla="*/ 0 w 3293"/>
                  <a:gd name="connsiteY2" fmla="*/ 3650 h 4171"/>
                  <a:gd name="connsiteX3" fmla="*/ 659 w 3293"/>
                  <a:gd name="connsiteY3" fmla="*/ 0 h 4171"/>
                  <a:gd name="connsiteX4" fmla="*/ 3266 w 3293"/>
                  <a:gd name="connsiteY4" fmla="*/ 2964 h 4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 h="4171">
                    <a:moveTo>
                      <a:pt x="3293" y="2964"/>
                    </a:moveTo>
                    <a:lnTo>
                      <a:pt x="2744" y="4171"/>
                    </a:lnTo>
                    <a:lnTo>
                      <a:pt x="0" y="3650"/>
                    </a:lnTo>
                    <a:lnTo>
                      <a:pt x="659" y="0"/>
                    </a:lnTo>
                    <a:lnTo>
                      <a:pt x="3266"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4" name="Freeform: Shape 4223">
                <a:extLst>
                  <a:ext uri="{FF2B5EF4-FFF2-40B4-BE49-F238E27FC236}">
                    <a16:creationId xmlns:a16="http://schemas.microsoft.com/office/drawing/2014/main" id="{F620FCD5-F9FE-CAB6-7D03-052098E868B8}"/>
                  </a:ext>
                </a:extLst>
              </p:cNvPr>
              <p:cNvSpPr/>
              <p:nvPr/>
            </p:nvSpPr>
            <p:spPr>
              <a:xfrm>
                <a:off x="1145897" y="3776087"/>
                <a:ext cx="329" cy="372"/>
              </a:xfrm>
              <a:custGeom>
                <a:avLst/>
                <a:gdLst>
                  <a:gd name="connsiteX0" fmla="*/ 3156 w 3156"/>
                  <a:gd name="connsiteY0" fmla="*/ 2607 h 3567"/>
                  <a:gd name="connsiteX1" fmla="*/ 2004 w 3156"/>
                  <a:gd name="connsiteY1" fmla="*/ 3567 h 3567"/>
                  <a:gd name="connsiteX2" fmla="*/ 0 w 3156"/>
                  <a:gd name="connsiteY2" fmla="*/ 1756 h 3567"/>
                  <a:gd name="connsiteX3" fmla="*/ 906 w 3156"/>
                  <a:gd name="connsiteY3" fmla="*/ 192 h 3567"/>
                  <a:gd name="connsiteX4" fmla="*/ 2964 w 3156"/>
                  <a:gd name="connsiteY4" fmla="*/ 0 h 3567"/>
                  <a:gd name="connsiteX5" fmla="*/ 3156 w 3156"/>
                  <a:gd name="connsiteY5" fmla="*/ 2579 h 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6" h="3567">
                    <a:moveTo>
                      <a:pt x="3156" y="2607"/>
                    </a:moveTo>
                    <a:lnTo>
                      <a:pt x="2004" y="3567"/>
                    </a:lnTo>
                    <a:lnTo>
                      <a:pt x="0" y="1756"/>
                    </a:lnTo>
                    <a:lnTo>
                      <a:pt x="906" y="192"/>
                    </a:lnTo>
                    <a:lnTo>
                      <a:pt x="2964" y="0"/>
                    </a:lnTo>
                    <a:lnTo>
                      <a:pt x="3156" y="25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5" name="Freeform: Shape 4224">
                <a:extLst>
                  <a:ext uri="{FF2B5EF4-FFF2-40B4-BE49-F238E27FC236}">
                    <a16:creationId xmlns:a16="http://schemas.microsoft.com/office/drawing/2014/main" id="{AAB7A6FE-D7ED-DDC0-06D7-B6468042191A}"/>
                  </a:ext>
                </a:extLst>
              </p:cNvPr>
              <p:cNvSpPr/>
              <p:nvPr/>
            </p:nvSpPr>
            <p:spPr>
              <a:xfrm>
                <a:off x="1144986" y="3775789"/>
                <a:ext cx="521" cy="235"/>
              </a:xfrm>
              <a:custGeom>
                <a:avLst/>
                <a:gdLst>
                  <a:gd name="connsiteX0" fmla="*/ 4994 w 4994"/>
                  <a:gd name="connsiteY0" fmla="*/ 1427 h 2250"/>
                  <a:gd name="connsiteX1" fmla="*/ 741 w 4994"/>
                  <a:gd name="connsiteY1" fmla="*/ 2250 h 2250"/>
                  <a:gd name="connsiteX2" fmla="*/ 0 w 4994"/>
                  <a:gd name="connsiteY2" fmla="*/ 412 h 2250"/>
                  <a:gd name="connsiteX3" fmla="*/ 4665 w 4994"/>
                  <a:gd name="connsiteY3" fmla="*/ 0 h 2250"/>
                  <a:gd name="connsiteX4" fmla="*/ 4994 w 4994"/>
                  <a:gd name="connsiteY4" fmla="*/ 1400 h 2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4" h="2250">
                    <a:moveTo>
                      <a:pt x="4994" y="1427"/>
                    </a:moveTo>
                    <a:lnTo>
                      <a:pt x="741" y="2250"/>
                    </a:lnTo>
                    <a:lnTo>
                      <a:pt x="0" y="412"/>
                    </a:lnTo>
                    <a:lnTo>
                      <a:pt x="4665" y="0"/>
                    </a:lnTo>
                    <a:lnTo>
                      <a:pt x="4994" y="14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6" name="Freeform: Shape 4225">
                <a:extLst>
                  <a:ext uri="{FF2B5EF4-FFF2-40B4-BE49-F238E27FC236}">
                    <a16:creationId xmlns:a16="http://schemas.microsoft.com/office/drawing/2014/main" id="{480A6706-1D14-83A3-4354-5677852071EA}"/>
                  </a:ext>
                </a:extLst>
              </p:cNvPr>
              <p:cNvSpPr/>
              <p:nvPr/>
            </p:nvSpPr>
            <p:spPr>
              <a:xfrm>
                <a:off x="1406818" y="3770525"/>
                <a:ext cx="32207" cy="50929"/>
              </a:xfrm>
              <a:custGeom>
                <a:avLst/>
                <a:gdLst>
                  <a:gd name="connsiteX0" fmla="*/ 308706 w 308788"/>
                  <a:gd name="connsiteY0" fmla="*/ 123878 h 488293"/>
                  <a:gd name="connsiteX1" fmla="*/ 308706 w 308788"/>
                  <a:gd name="connsiteY1" fmla="*/ 130821 h 488293"/>
                  <a:gd name="connsiteX2" fmla="*/ 308541 w 308788"/>
                  <a:gd name="connsiteY2" fmla="*/ 239742 h 488293"/>
                  <a:gd name="connsiteX3" fmla="*/ 286971 w 308788"/>
                  <a:gd name="connsiteY3" fmla="*/ 240675 h 488293"/>
                  <a:gd name="connsiteX4" fmla="*/ 283459 w 308788"/>
                  <a:gd name="connsiteY4" fmla="*/ 240812 h 488293"/>
                  <a:gd name="connsiteX5" fmla="*/ 277805 w 308788"/>
                  <a:gd name="connsiteY5" fmla="*/ 245340 h 488293"/>
                  <a:gd name="connsiteX6" fmla="*/ 278848 w 308788"/>
                  <a:gd name="connsiteY6" fmla="*/ 255714 h 488293"/>
                  <a:gd name="connsiteX7" fmla="*/ 270011 w 308788"/>
                  <a:gd name="connsiteY7" fmla="*/ 267212 h 488293"/>
                  <a:gd name="connsiteX8" fmla="*/ 270176 w 308788"/>
                  <a:gd name="connsiteY8" fmla="*/ 271713 h 488293"/>
                  <a:gd name="connsiteX9" fmla="*/ 261696 w 308788"/>
                  <a:gd name="connsiteY9" fmla="*/ 276021 h 488293"/>
                  <a:gd name="connsiteX10" fmla="*/ 263014 w 308788"/>
                  <a:gd name="connsiteY10" fmla="*/ 284309 h 488293"/>
                  <a:gd name="connsiteX11" fmla="*/ 265950 w 308788"/>
                  <a:gd name="connsiteY11" fmla="*/ 286450 h 488293"/>
                  <a:gd name="connsiteX12" fmla="*/ 265950 w 308788"/>
                  <a:gd name="connsiteY12" fmla="*/ 288508 h 488293"/>
                  <a:gd name="connsiteX13" fmla="*/ 256372 w 308788"/>
                  <a:gd name="connsiteY13" fmla="*/ 294820 h 488293"/>
                  <a:gd name="connsiteX14" fmla="*/ 255686 w 308788"/>
                  <a:gd name="connsiteY14" fmla="*/ 295643 h 488293"/>
                  <a:gd name="connsiteX15" fmla="*/ 252695 w 308788"/>
                  <a:gd name="connsiteY15" fmla="*/ 299266 h 488293"/>
                  <a:gd name="connsiteX16" fmla="*/ 255686 w 308788"/>
                  <a:gd name="connsiteY16" fmla="*/ 307224 h 488293"/>
                  <a:gd name="connsiteX17" fmla="*/ 257772 w 308788"/>
                  <a:gd name="connsiteY17" fmla="*/ 312822 h 488293"/>
                  <a:gd name="connsiteX18" fmla="*/ 255686 w 308788"/>
                  <a:gd name="connsiteY18" fmla="*/ 314634 h 488293"/>
                  <a:gd name="connsiteX19" fmla="*/ 248634 w 308788"/>
                  <a:gd name="connsiteY19" fmla="*/ 320754 h 488293"/>
                  <a:gd name="connsiteX20" fmla="*/ 245093 w 308788"/>
                  <a:gd name="connsiteY20" fmla="*/ 328740 h 488293"/>
                  <a:gd name="connsiteX21" fmla="*/ 248715 w 308788"/>
                  <a:gd name="connsiteY21" fmla="*/ 334008 h 488293"/>
                  <a:gd name="connsiteX22" fmla="*/ 255686 w 308788"/>
                  <a:gd name="connsiteY22" fmla="*/ 331319 h 488293"/>
                  <a:gd name="connsiteX23" fmla="*/ 262300 w 308788"/>
                  <a:gd name="connsiteY23" fmla="*/ 334557 h 488293"/>
                  <a:gd name="connsiteX24" fmla="*/ 261559 w 308788"/>
                  <a:gd name="connsiteY24" fmla="*/ 340238 h 488293"/>
                  <a:gd name="connsiteX25" fmla="*/ 263891 w 308788"/>
                  <a:gd name="connsiteY25" fmla="*/ 349624 h 488293"/>
                  <a:gd name="connsiteX26" fmla="*/ 268173 w 308788"/>
                  <a:gd name="connsiteY26" fmla="*/ 353109 h 488293"/>
                  <a:gd name="connsiteX27" fmla="*/ 267349 w 308788"/>
                  <a:gd name="connsiteY27" fmla="*/ 364525 h 488293"/>
                  <a:gd name="connsiteX28" fmla="*/ 278025 w 308788"/>
                  <a:gd name="connsiteY28" fmla="*/ 373307 h 488293"/>
                  <a:gd name="connsiteX29" fmla="*/ 275720 w 308788"/>
                  <a:gd name="connsiteY29" fmla="*/ 385272 h 488293"/>
                  <a:gd name="connsiteX30" fmla="*/ 264825 w 308788"/>
                  <a:gd name="connsiteY30" fmla="*/ 383433 h 488293"/>
                  <a:gd name="connsiteX31" fmla="*/ 246108 w 308788"/>
                  <a:gd name="connsiteY31" fmla="*/ 388071 h 488293"/>
                  <a:gd name="connsiteX32" fmla="*/ 243447 w 308788"/>
                  <a:gd name="connsiteY32" fmla="*/ 392654 h 488293"/>
                  <a:gd name="connsiteX33" fmla="*/ 242486 w 308788"/>
                  <a:gd name="connsiteY33" fmla="*/ 394328 h 488293"/>
                  <a:gd name="connsiteX34" fmla="*/ 241443 w 308788"/>
                  <a:gd name="connsiteY34" fmla="*/ 403577 h 488293"/>
                  <a:gd name="connsiteX35" fmla="*/ 235433 w 308788"/>
                  <a:gd name="connsiteY35" fmla="*/ 407912 h 488293"/>
                  <a:gd name="connsiteX36" fmla="*/ 231536 w 308788"/>
                  <a:gd name="connsiteY36" fmla="*/ 413264 h 488293"/>
                  <a:gd name="connsiteX37" fmla="*/ 227694 w 308788"/>
                  <a:gd name="connsiteY37" fmla="*/ 414197 h 488293"/>
                  <a:gd name="connsiteX38" fmla="*/ 222288 w 308788"/>
                  <a:gd name="connsiteY38" fmla="*/ 419521 h 488293"/>
                  <a:gd name="connsiteX39" fmla="*/ 220943 w 308788"/>
                  <a:gd name="connsiteY39" fmla="*/ 420865 h 488293"/>
                  <a:gd name="connsiteX40" fmla="*/ 217568 w 308788"/>
                  <a:gd name="connsiteY40" fmla="*/ 427534 h 488293"/>
                  <a:gd name="connsiteX41" fmla="*/ 210460 w 308788"/>
                  <a:gd name="connsiteY41" fmla="*/ 431760 h 488293"/>
                  <a:gd name="connsiteX42" fmla="*/ 203434 w 308788"/>
                  <a:gd name="connsiteY42" fmla="*/ 437825 h 488293"/>
                  <a:gd name="connsiteX43" fmla="*/ 202529 w 308788"/>
                  <a:gd name="connsiteY43" fmla="*/ 438594 h 488293"/>
                  <a:gd name="connsiteX44" fmla="*/ 193198 w 308788"/>
                  <a:gd name="connsiteY44" fmla="*/ 438868 h 488293"/>
                  <a:gd name="connsiteX45" fmla="*/ 182468 w 308788"/>
                  <a:gd name="connsiteY45" fmla="*/ 442024 h 488293"/>
                  <a:gd name="connsiteX46" fmla="*/ 165536 w 308788"/>
                  <a:gd name="connsiteY46" fmla="*/ 442381 h 488293"/>
                  <a:gd name="connsiteX47" fmla="*/ 163697 w 308788"/>
                  <a:gd name="connsiteY47" fmla="*/ 443259 h 488293"/>
                  <a:gd name="connsiteX48" fmla="*/ 159663 w 308788"/>
                  <a:gd name="connsiteY48" fmla="*/ 445235 h 488293"/>
                  <a:gd name="connsiteX49" fmla="*/ 158730 w 308788"/>
                  <a:gd name="connsiteY49" fmla="*/ 447677 h 488293"/>
                  <a:gd name="connsiteX50" fmla="*/ 164548 w 308788"/>
                  <a:gd name="connsiteY50" fmla="*/ 452919 h 488293"/>
                  <a:gd name="connsiteX51" fmla="*/ 160541 w 308788"/>
                  <a:gd name="connsiteY51" fmla="*/ 458901 h 488293"/>
                  <a:gd name="connsiteX52" fmla="*/ 159663 w 308788"/>
                  <a:gd name="connsiteY52" fmla="*/ 460219 h 488293"/>
                  <a:gd name="connsiteX53" fmla="*/ 158373 w 308788"/>
                  <a:gd name="connsiteY53" fmla="*/ 462167 h 488293"/>
                  <a:gd name="connsiteX54" fmla="*/ 149207 w 308788"/>
                  <a:gd name="connsiteY54" fmla="*/ 471168 h 488293"/>
                  <a:gd name="connsiteX55" fmla="*/ 123000 w 308788"/>
                  <a:gd name="connsiteY55" fmla="*/ 473529 h 488293"/>
                  <a:gd name="connsiteX56" fmla="*/ 98547 w 308788"/>
                  <a:gd name="connsiteY56" fmla="*/ 486043 h 488293"/>
                  <a:gd name="connsiteX57" fmla="*/ 89903 w 308788"/>
                  <a:gd name="connsiteY57" fmla="*/ 477480 h 488293"/>
                  <a:gd name="connsiteX58" fmla="*/ 84140 w 308788"/>
                  <a:gd name="connsiteY58" fmla="*/ 482667 h 488293"/>
                  <a:gd name="connsiteX59" fmla="*/ 71407 w 308788"/>
                  <a:gd name="connsiteY59" fmla="*/ 488293 h 488293"/>
                  <a:gd name="connsiteX60" fmla="*/ 59002 w 308788"/>
                  <a:gd name="connsiteY60" fmla="*/ 486674 h 488293"/>
                  <a:gd name="connsiteX61" fmla="*/ 61308 w 308788"/>
                  <a:gd name="connsiteY61" fmla="*/ 480170 h 488293"/>
                  <a:gd name="connsiteX62" fmla="*/ 56286 w 308788"/>
                  <a:gd name="connsiteY62" fmla="*/ 472870 h 488293"/>
                  <a:gd name="connsiteX63" fmla="*/ 51922 w 308788"/>
                  <a:gd name="connsiteY63" fmla="*/ 460191 h 488293"/>
                  <a:gd name="connsiteX64" fmla="*/ 51456 w 308788"/>
                  <a:gd name="connsiteY64" fmla="*/ 458874 h 488293"/>
                  <a:gd name="connsiteX65" fmla="*/ 49287 w 308788"/>
                  <a:gd name="connsiteY65" fmla="*/ 454620 h 488293"/>
                  <a:gd name="connsiteX66" fmla="*/ 34770 w 308788"/>
                  <a:gd name="connsiteY66" fmla="*/ 446031 h 488293"/>
                  <a:gd name="connsiteX67" fmla="*/ 32465 w 308788"/>
                  <a:gd name="connsiteY67" fmla="*/ 443204 h 488293"/>
                  <a:gd name="connsiteX68" fmla="*/ 16191 w 308788"/>
                  <a:gd name="connsiteY68" fmla="*/ 423308 h 488293"/>
                  <a:gd name="connsiteX69" fmla="*/ 22421 w 308788"/>
                  <a:gd name="connsiteY69" fmla="*/ 413566 h 488293"/>
                  <a:gd name="connsiteX70" fmla="*/ 57273 w 308788"/>
                  <a:gd name="connsiteY70" fmla="*/ 414636 h 488293"/>
                  <a:gd name="connsiteX71" fmla="*/ 62543 w 308788"/>
                  <a:gd name="connsiteY71" fmla="*/ 412688 h 488293"/>
                  <a:gd name="connsiteX72" fmla="*/ 57823 w 308788"/>
                  <a:gd name="connsiteY72" fmla="*/ 407885 h 488293"/>
                  <a:gd name="connsiteX73" fmla="*/ 53267 w 308788"/>
                  <a:gd name="connsiteY73" fmla="*/ 403220 h 488293"/>
                  <a:gd name="connsiteX74" fmla="*/ 48601 w 308788"/>
                  <a:gd name="connsiteY74" fmla="*/ 395700 h 488293"/>
                  <a:gd name="connsiteX75" fmla="*/ 47970 w 308788"/>
                  <a:gd name="connsiteY75" fmla="*/ 392627 h 488293"/>
                  <a:gd name="connsiteX76" fmla="*/ 45144 w 308788"/>
                  <a:gd name="connsiteY76" fmla="*/ 378905 h 488293"/>
                  <a:gd name="connsiteX77" fmla="*/ 47614 w 308788"/>
                  <a:gd name="connsiteY77" fmla="*/ 367050 h 488293"/>
                  <a:gd name="connsiteX78" fmla="*/ 46928 w 308788"/>
                  <a:gd name="connsiteY78" fmla="*/ 358844 h 488293"/>
                  <a:gd name="connsiteX79" fmla="*/ 45473 w 308788"/>
                  <a:gd name="connsiteY79" fmla="*/ 351874 h 488293"/>
                  <a:gd name="connsiteX80" fmla="*/ 41302 w 308788"/>
                  <a:gd name="connsiteY80" fmla="*/ 347401 h 488293"/>
                  <a:gd name="connsiteX81" fmla="*/ 38996 w 308788"/>
                  <a:gd name="connsiteY81" fmla="*/ 335545 h 488293"/>
                  <a:gd name="connsiteX82" fmla="*/ 31916 w 308788"/>
                  <a:gd name="connsiteY82" fmla="*/ 329947 h 488293"/>
                  <a:gd name="connsiteX83" fmla="*/ 28019 w 308788"/>
                  <a:gd name="connsiteY83" fmla="*/ 321769 h 488293"/>
                  <a:gd name="connsiteX84" fmla="*/ 17234 w 308788"/>
                  <a:gd name="connsiteY84" fmla="*/ 320726 h 488293"/>
                  <a:gd name="connsiteX85" fmla="*/ 3979 w 308788"/>
                  <a:gd name="connsiteY85" fmla="*/ 301626 h 488293"/>
                  <a:gd name="connsiteX86" fmla="*/ 0 w 308788"/>
                  <a:gd name="connsiteY86" fmla="*/ 279095 h 488293"/>
                  <a:gd name="connsiteX87" fmla="*/ 5104 w 308788"/>
                  <a:gd name="connsiteY87" fmla="*/ 276323 h 488293"/>
                  <a:gd name="connsiteX88" fmla="*/ 8727 w 308788"/>
                  <a:gd name="connsiteY88" fmla="*/ 270698 h 488293"/>
                  <a:gd name="connsiteX89" fmla="*/ 10785 w 308788"/>
                  <a:gd name="connsiteY89" fmla="*/ 261586 h 488293"/>
                  <a:gd name="connsiteX90" fmla="*/ 25605 w 308788"/>
                  <a:gd name="connsiteY90" fmla="*/ 240757 h 488293"/>
                  <a:gd name="connsiteX91" fmla="*/ 58838 w 308788"/>
                  <a:gd name="connsiteY91" fmla="*/ 203984 h 488293"/>
                  <a:gd name="connsiteX92" fmla="*/ 61664 w 308788"/>
                  <a:gd name="connsiteY92" fmla="*/ 147506 h 488293"/>
                  <a:gd name="connsiteX93" fmla="*/ 63723 w 308788"/>
                  <a:gd name="connsiteY93" fmla="*/ 130793 h 488293"/>
                  <a:gd name="connsiteX94" fmla="*/ 64847 w 308788"/>
                  <a:gd name="connsiteY94" fmla="*/ 121737 h 488293"/>
                  <a:gd name="connsiteX95" fmla="*/ 65863 w 308788"/>
                  <a:gd name="connsiteY95" fmla="*/ 113532 h 488293"/>
                  <a:gd name="connsiteX96" fmla="*/ 66110 w 308788"/>
                  <a:gd name="connsiteY96" fmla="*/ 111638 h 488293"/>
                  <a:gd name="connsiteX97" fmla="*/ 68004 w 308788"/>
                  <a:gd name="connsiteY97" fmla="*/ 106918 h 488293"/>
                  <a:gd name="connsiteX98" fmla="*/ 72806 w 308788"/>
                  <a:gd name="connsiteY98" fmla="*/ 97231 h 488293"/>
                  <a:gd name="connsiteX99" fmla="*/ 69074 w 308788"/>
                  <a:gd name="connsiteY99" fmla="*/ 92785 h 488293"/>
                  <a:gd name="connsiteX100" fmla="*/ 61554 w 308788"/>
                  <a:gd name="connsiteY100" fmla="*/ 83701 h 488293"/>
                  <a:gd name="connsiteX101" fmla="*/ 61719 w 308788"/>
                  <a:gd name="connsiteY101" fmla="*/ 76950 h 488293"/>
                  <a:gd name="connsiteX102" fmla="*/ 50138 w 308788"/>
                  <a:gd name="connsiteY102" fmla="*/ 60731 h 488293"/>
                  <a:gd name="connsiteX103" fmla="*/ 49946 w 308788"/>
                  <a:gd name="connsiteY103" fmla="*/ 55078 h 488293"/>
                  <a:gd name="connsiteX104" fmla="*/ 49590 w 308788"/>
                  <a:gd name="connsiteY104" fmla="*/ 44952 h 488293"/>
                  <a:gd name="connsiteX105" fmla="*/ 44046 w 308788"/>
                  <a:gd name="connsiteY105" fmla="*/ 13502 h 488293"/>
                  <a:gd name="connsiteX106" fmla="*/ 74535 w 308788"/>
                  <a:gd name="connsiteY106" fmla="*/ 0 h 488293"/>
                  <a:gd name="connsiteX107" fmla="*/ 177995 w 308788"/>
                  <a:gd name="connsiteY107" fmla="*/ 55078 h 488293"/>
                  <a:gd name="connsiteX108" fmla="*/ 203434 w 308788"/>
                  <a:gd name="connsiteY108" fmla="*/ 68525 h 488293"/>
                  <a:gd name="connsiteX109" fmla="*/ 249511 w 308788"/>
                  <a:gd name="connsiteY109" fmla="*/ 92785 h 488293"/>
                  <a:gd name="connsiteX110" fmla="*/ 276515 w 308788"/>
                  <a:gd name="connsiteY110" fmla="*/ 106918 h 488293"/>
                  <a:gd name="connsiteX111" fmla="*/ 289166 w 308788"/>
                  <a:gd name="connsiteY111" fmla="*/ 113559 h 488293"/>
                  <a:gd name="connsiteX112" fmla="*/ 293119 w 308788"/>
                  <a:gd name="connsiteY112" fmla="*/ 115645 h 488293"/>
                  <a:gd name="connsiteX113" fmla="*/ 304782 w 308788"/>
                  <a:gd name="connsiteY113" fmla="*/ 121764 h 488293"/>
                  <a:gd name="connsiteX114" fmla="*/ 306620 w 308788"/>
                  <a:gd name="connsiteY114" fmla="*/ 122697 h 488293"/>
                  <a:gd name="connsiteX115" fmla="*/ 308788 w 308788"/>
                  <a:gd name="connsiteY115" fmla="*/ 123850 h 48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308788" h="488293">
                    <a:moveTo>
                      <a:pt x="308706" y="123878"/>
                    </a:moveTo>
                    <a:lnTo>
                      <a:pt x="308706" y="130821"/>
                    </a:lnTo>
                    <a:lnTo>
                      <a:pt x="308541" y="239742"/>
                    </a:lnTo>
                    <a:lnTo>
                      <a:pt x="286971" y="240675"/>
                    </a:lnTo>
                    <a:lnTo>
                      <a:pt x="283459" y="240812"/>
                    </a:lnTo>
                    <a:lnTo>
                      <a:pt x="277805" y="245340"/>
                    </a:lnTo>
                    <a:lnTo>
                      <a:pt x="278848" y="255714"/>
                    </a:lnTo>
                    <a:lnTo>
                      <a:pt x="270011" y="267212"/>
                    </a:lnTo>
                    <a:lnTo>
                      <a:pt x="270176" y="271713"/>
                    </a:lnTo>
                    <a:lnTo>
                      <a:pt x="261696" y="276021"/>
                    </a:lnTo>
                    <a:lnTo>
                      <a:pt x="263014" y="284309"/>
                    </a:lnTo>
                    <a:lnTo>
                      <a:pt x="265950" y="286450"/>
                    </a:lnTo>
                    <a:lnTo>
                      <a:pt x="265950" y="288508"/>
                    </a:lnTo>
                    <a:cubicBezTo>
                      <a:pt x="265950" y="288508"/>
                      <a:pt x="256372" y="294820"/>
                      <a:pt x="256372" y="294820"/>
                    </a:cubicBezTo>
                    <a:lnTo>
                      <a:pt x="255686" y="295643"/>
                    </a:lnTo>
                    <a:lnTo>
                      <a:pt x="252695" y="299266"/>
                    </a:lnTo>
                    <a:lnTo>
                      <a:pt x="255686" y="307224"/>
                    </a:lnTo>
                    <a:lnTo>
                      <a:pt x="257772" y="312822"/>
                    </a:lnTo>
                    <a:lnTo>
                      <a:pt x="255686" y="314634"/>
                    </a:lnTo>
                    <a:lnTo>
                      <a:pt x="248634" y="320754"/>
                    </a:lnTo>
                    <a:lnTo>
                      <a:pt x="245093" y="328740"/>
                    </a:lnTo>
                    <a:lnTo>
                      <a:pt x="248715" y="334008"/>
                    </a:lnTo>
                    <a:lnTo>
                      <a:pt x="255686" y="331319"/>
                    </a:lnTo>
                    <a:lnTo>
                      <a:pt x="262300" y="334557"/>
                    </a:lnTo>
                    <a:lnTo>
                      <a:pt x="261559" y="340238"/>
                    </a:lnTo>
                    <a:lnTo>
                      <a:pt x="263891" y="349624"/>
                    </a:lnTo>
                    <a:lnTo>
                      <a:pt x="268173" y="353109"/>
                    </a:lnTo>
                    <a:lnTo>
                      <a:pt x="267349" y="364525"/>
                    </a:lnTo>
                    <a:lnTo>
                      <a:pt x="278025" y="373307"/>
                    </a:lnTo>
                    <a:lnTo>
                      <a:pt x="275720" y="385272"/>
                    </a:lnTo>
                    <a:lnTo>
                      <a:pt x="264825" y="383433"/>
                    </a:lnTo>
                    <a:lnTo>
                      <a:pt x="246108" y="388071"/>
                    </a:lnTo>
                    <a:lnTo>
                      <a:pt x="243447" y="392654"/>
                    </a:lnTo>
                    <a:lnTo>
                      <a:pt x="242486" y="394328"/>
                    </a:lnTo>
                    <a:lnTo>
                      <a:pt x="241443" y="403577"/>
                    </a:lnTo>
                    <a:lnTo>
                      <a:pt x="235433" y="407912"/>
                    </a:lnTo>
                    <a:lnTo>
                      <a:pt x="231536" y="413264"/>
                    </a:lnTo>
                    <a:lnTo>
                      <a:pt x="227694" y="414197"/>
                    </a:lnTo>
                    <a:lnTo>
                      <a:pt x="222288" y="419521"/>
                    </a:lnTo>
                    <a:lnTo>
                      <a:pt x="220943" y="420865"/>
                    </a:lnTo>
                    <a:lnTo>
                      <a:pt x="217568" y="427534"/>
                    </a:lnTo>
                    <a:lnTo>
                      <a:pt x="210460" y="431760"/>
                    </a:lnTo>
                    <a:lnTo>
                      <a:pt x="203434" y="437825"/>
                    </a:lnTo>
                    <a:lnTo>
                      <a:pt x="202529" y="438594"/>
                    </a:lnTo>
                    <a:lnTo>
                      <a:pt x="193198" y="438868"/>
                    </a:lnTo>
                    <a:lnTo>
                      <a:pt x="182468" y="442024"/>
                    </a:lnTo>
                    <a:lnTo>
                      <a:pt x="165536" y="442381"/>
                    </a:lnTo>
                    <a:lnTo>
                      <a:pt x="163697" y="443259"/>
                    </a:lnTo>
                    <a:lnTo>
                      <a:pt x="159663" y="445235"/>
                    </a:lnTo>
                    <a:lnTo>
                      <a:pt x="158730" y="447677"/>
                    </a:lnTo>
                    <a:lnTo>
                      <a:pt x="164548" y="452919"/>
                    </a:lnTo>
                    <a:lnTo>
                      <a:pt x="160541" y="458901"/>
                    </a:lnTo>
                    <a:lnTo>
                      <a:pt x="159663" y="460219"/>
                    </a:lnTo>
                    <a:lnTo>
                      <a:pt x="158373" y="462167"/>
                    </a:lnTo>
                    <a:lnTo>
                      <a:pt x="149207" y="471168"/>
                    </a:lnTo>
                    <a:lnTo>
                      <a:pt x="123000" y="473529"/>
                    </a:lnTo>
                    <a:lnTo>
                      <a:pt x="98547" y="486043"/>
                    </a:lnTo>
                    <a:lnTo>
                      <a:pt x="89903" y="477480"/>
                    </a:lnTo>
                    <a:lnTo>
                      <a:pt x="84140" y="482667"/>
                    </a:lnTo>
                    <a:lnTo>
                      <a:pt x="71407" y="488293"/>
                    </a:lnTo>
                    <a:lnTo>
                      <a:pt x="59002" y="486674"/>
                    </a:lnTo>
                    <a:lnTo>
                      <a:pt x="61308" y="480170"/>
                    </a:lnTo>
                    <a:lnTo>
                      <a:pt x="56286" y="472870"/>
                    </a:lnTo>
                    <a:lnTo>
                      <a:pt x="51922" y="460191"/>
                    </a:lnTo>
                    <a:lnTo>
                      <a:pt x="51456" y="458874"/>
                    </a:lnTo>
                    <a:lnTo>
                      <a:pt x="49287" y="454620"/>
                    </a:lnTo>
                    <a:lnTo>
                      <a:pt x="34770" y="446031"/>
                    </a:lnTo>
                    <a:lnTo>
                      <a:pt x="32465" y="443204"/>
                    </a:lnTo>
                    <a:lnTo>
                      <a:pt x="16191" y="423308"/>
                    </a:lnTo>
                    <a:lnTo>
                      <a:pt x="22421" y="413566"/>
                    </a:lnTo>
                    <a:lnTo>
                      <a:pt x="57273" y="414636"/>
                    </a:lnTo>
                    <a:lnTo>
                      <a:pt x="62543" y="412688"/>
                    </a:lnTo>
                    <a:lnTo>
                      <a:pt x="57823" y="407885"/>
                    </a:lnTo>
                    <a:lnTo>
                      <a:pt x="53267" y="403220"/>
                    </a:lnTo>
                    <a:lnTo>
                      <a:pt x="48601" y="395700"/>
                    </a:lnTo>
                    <a:lnTo>
                      <a:pt x="47970" y="392627"/>
                    </a:lnTo>
                    <a:lnTo>
                      <a:pt x="45144" y="378905"/>
                    </a:lnTo>
                    <a:lnTo>
                      <a:pt x="47614" y="367050"/>
                    </a:lnTo>
                    <a:lnTo>
                      <a:pt x="46928" y="358844"/>
                    </a:lnTo>
                    <a:lnTo>
                      <a:pt x="45473" y="351874"/>
                    </a:lnTo>
                    <a:lnTo>
                      <a:pt x="41302" y="347401"/>
                    </a:lnTo>
                    <a:lnTo>
                      <a:pt x="38996" y="335545"/>
                    </a:lnTo>
                    <a:lnTo>
                      <a:pt x="31916" y="329947"/>
                    </a:lnTo>
                    <a:lnTo>
                      <a:pt x="28019" y="321769"/>
                    </a:lnTo>
                    <a:lnTo>
                      <a:pt x="17234" y="320726"/>
                    </a:lnTo>
                    <a:lnTo>
                      <a:pt x="3979" y="301626"/>
                    </a:lnTo>
                    <a:lnTo>
                      <a:pt x="0" y="279095"/>
                    </a:lnTo>
                    <a:lnTo>
                      <a:pt x="5104" y="276323"/>
                    </a:lnTo>
                    <a:lnTo>
                      <a:pt x="8727" y="270698"/>
                    </a:lnTo>
                    <a:lnTo>
                      <a:pt x="10785" y="261586"/>
                    </a:lnTo>
                    <a:lnTo>
                      <a:pt x="25605" y="240757"/>
                    </a:lnTo>
                    <a:lnTo>
                      <a:pt x="58838" y="203984"/>
                    </a:lnTo>
                    <a:lnTo>
                      <a:pt x="61664" y="147506"/>
                    </a:lnTo>
                    <a:lnTo>
                      <a:pt x="63723" y="130793"/>
                    </a:lnTo>
                    <a:lnTo>
                      <a:pt x="64847" y="121737"/>
                    </a:lnTo>
                    <a:lnTo>
                      <a:pt x="65863" y="113532"/>
                    </a:lnTo>
                    <a:lnTo>
                      <a:pt x="66110" y="111638"/>
                    </a:lnTo>
                    <a:lnTo>
                      <a:pt x="68004" y="106918"/>
                    </a:lnTo>
                    <a:lnTo>
                      <a:pt x="72806" y="97231"/>
                    </a:lnTo>
                    <a:lnTo>
                      <a:pt x="69074" y="92785"/>
                    </a:lnTo>
                    <a:lnTo>
                      <a:pt x="61554" y="83701"/>
                    </a:lnTo>
                    <a:lnTo>
                      <a:pt x="61719" y="76950"/>
                    </a:lnTo>
                    <a:lnTo>
                      <a:pt x="50138" y="60731"/>
                    </a:lnTo>
                    <a:lnTo>
                      <a:pt x="49946" y="55078"/>
                    </a:lnTo>
                    <a:lnTo>
                      <a:pt x="49590" y="44952"/>
                    </a:lnTo>
                    <a:lnTo>
                      <a:pt x="44046" y="13502"/>
                    </a:lnTo>
                    <a:lnTo>
                      <a:pt x="74535" y="0"/>
                    </a:lnTo>
                    <a:lnTo>
                      <a:pt x="177995" y="55078"/>
                    </a:lnTo>
                    <a:lnTo>
                      <a:pt x="203434" y="68525"/>
                    </a:lnTo>
                    <a:lnTo>
                      <a:pt x="249511" y="92785"/>
                    </a:lnTo>
                    <a:lnTo>
                      <a:pt x="276515" y="106918"/>
                    </a:lnTo>
                    <a:lnTo>
                      <a:pt x="289166" y="113559"/>
                    </a:lnTo>
                    <a:lnTo>
                      <a:pt x="293119" y="115645"/>
                    </a:lnTo>
                    <a:lnTo>
                      <a:pt x="304782" y="121764"/>
                    </a:lnTo>
                    <a:lnTo>
                      <a:pt x="306620" y="122697"/>
                    </a:lnTo>
                    <a:lnTo>
                      <a:pt x="308788" y="1238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7" name="Freeform: Shape 4226">
                <a:extLst>
                  <a:ext uri="{FF2B5EF4-FFF2-40B4-BE49-F238E27FC236}">
                    <a16:creationId xmlns:a16="http://schemas.microsoft.com/office/drawing/2014/main" id="{83CA4EB2-066C-5952-E5A6-9A1E7338495D}"/>
                  </a:ext>
                </a:extLst>
              </p:cNvPr>
              <p:cNvSpPr/>
              <p:nvPr/>
            </p:nvSpPr>
            <p:spPr>
              <a:xfrm>
                <a:off x="1364957" y="3810071"/>
                <a:ext cx="5882" cy="15600"/>
              </a:xfrm>
              <a:custGeom>
                <a:avLst/>
                <a:gdLst>
                  <a:gd name="connsiteX0" fmla="*/ 30846 w 56395"/>
                  <a:gd name="connsiteY0" fmla="*/ 4253 h 149564"/>
                  <a:gd name="connsiteX1" fmla="*/ 27690 w 56395"/>
                  <a:gd name="connsiteY1" fmla="*/ 21954 h 149564"/>
                  <a:gd name="connsiteX2" fmla="*/ 42838 w 56395"/>
                  <a:gd name="connsiteY2" fmla="*/ 34249 h 149564"/>
                  <a:gd name="connsiteX3" fmla="*/ 46022 w 56395"/>
                  <a:gd name="connsiteY3" fmla="*/ 53130 h 149564"/>
                  <a:gd name="connsiteX4" fmla="*/ 51757 w 56395"/>
                  <a:gd name="connsiteY4" fmla="*/ 64848 h 149564"/>
                  <a:gd name="connsiteX5" fmla="*/ 52635 w 56395"/>
                  <a:gd name="connsiteY5" fmla="*/ 107165 h 149564"/>
                  <a:gd name="connsiteX6" fmla="*/ 51044 w 56395"/>
                  <a:gd name="connsiteY6" fmla="*/ 131946 h 149564"/>
                  <a:gd name="connsiteX7" fmla="*/ 56395 w 56395"/>
                  <a:gd name="connsiteY7" fmla="*/ 143060 h 149564"/>
                  <a:gd name="connsiteX8" fmla="*/ 52087 w 56395"/>
                  <a:gd name="connsiteY8" fmla="*/ 145942 h 149564"/>
                  <a:gd name="connsiteX9" fmla="*/ 39463 w 56395"/>
                  <a:gd name="connsiteY9" fmla="*/ 149564 h 149564"/>
                  <a:gd name="connsiteX10" fmla="*/ 30846 w 56395"/>
                  <a:gd name="connsiteY10" fmla="*/ 142731 h 149564"/>
                  <a:gd name="connsiteX11" fmla="*/ 26373 w 56395"/>
                  <a:gd name="connsiteY11" fmla="*/ 139191 h 149564"/>
                  <a:gd name="connsiteX12" fmla="*/ 20665 w 56395"/>
                  <a:gd name="connsiteY12" fmla="*/ 128708 h 149564"/>
                  <a:gd name="connsiteX13" fmla="*/ 23107 w 56395"/>
                  <a:gd name="connsiteY13" fmla="*/ 114574 h 149564"/>
                  <a:gd name="connsiteX14" fmla="*/ 20116 w 56395"/>
                  <a:gd name="connsiteY14" fmla="*/ 107741 h 149564"/>
                  <a:gd name="connsiteX15" fmla="*/ 22229 w 56395"/>
                  <a:gd name="connsiteY15" fmla="*/ 100386 h 149564"/>
                  <a:gd name="connsiteX16" fmla="*/ 21707 w 56395"/>
                  <a:gd name="connsiteY16" fmla="*/ 90507 h 149564"/>
                  <a:gd name="connsiteX17" fmla="*/ 24918 w 56395"/>
                  <a:gd name="connsiteY17" fmla="*/ 83866 h 149564"/>
                  <a:gd name="connsiteX18" fmla="*/ 16521 w 56395"/>
                  <a:gd name="connsiteY18" fmla="*/ 72587 h 149564"/>
                  <a:gd name="connsiteX19" fmla="*/ 18826 w 56395"/>
                  <a:gd name="connsiteY19" fmla="*/ 67565 h 149564"/>
                  <a:gd name="connsiteX20" fmla="*/ 18030 w 56395"/>
                  <a:gd name="connsiteY20" fmla="*/ 61747 h 149564"/>
                  <a:gd name="connsiteX21" fmla="*/ 20116 w 56395"/>
                  <a:gd name="connsiteY21" fmla="*/ 52910 h 149564"/>
                  <a:gd name="connsiteX22" fmla="*/ 17618 w 56395"/>
                  <a:gd name="connsiteY22" fmla="*/ 49919 h 149564"/>
                  <a:gd name="connsiteX23" fmla="*/ 12075 w 56395"/>
                  <a:gd name="connsiteY23" fmla="*/ 49096 h 149564"/>
                  <a:gd name="connsiteX24" fmla="*/ 14654 w 56395"/>
                  <a:gd name="connsiteY24" fmla="*/ 44814 h 149564"/>
                  <a:gd name="connsiteX25" fmla="*/ 15560 w 56395"/>
                  <a:gd name="connsiteY25" fmla="*/ 32053 h 149564"/>
                  <a:gd name="connsiteX26" fmla="*/ 14408 w 56395"/>
                  <a:gd name="connsiteY26" fmla="*/ 25412 h 149564"/>
                  <a:gd name="connsiteX27" fmla="*/ 11883 w 56395"/>
                  <a:gd name="connsiteY27" fmla="*/ 22887 h 149564"/>
                  <a:gd name="connsiteX28" fmla="*/ 2525 w 56395"/>
                  <a:gd name="connsiteY28" fmla="*/ 13612 h 149564"/>
                  <a:gd name="connsiteX29" fmla="*/ 4912 w 56395"/>
                  <a:gd name="connsiteY29" fmla="*/ 3129 h 149564"/>
                  <a:gd name="connsiteX30" fmla="*/ 0 w 56395"/>
                  <a:gd name="connsiteY30" fmla="*/ 0 h 149564"/>
                  <a:gd name="connsiteX31" fmla="*/ 11883 w 56395"/>
                  <a:gd name="connsiteY31" fmla="*/ 2470 h 149564"/>
                  <a:gd name="connsiteX32" fmla="*/ 17234 w 56395"/>
                  <a:gd name="connsiteY32" fmla="*/ 3595 h 149564"/>
                  <a:gd name="connsiteX33" fmla="*/ 19347 w 56395"/>
                  <a:gd name="connsiteY33" fmla="*/ 5681 h 149564"/>
                  <a:gd name="connsiteX34" fmla="*/ 30846 w 56395"/>
                  <a:gd name="connsiteY34" fmla="*/ 4281 h 14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6395" h="149564">
                    <a:moveTo>
                      <a:pt x="30846" y="4253"/>
                    </a:moveTo>
                    <a:lnTo>
                      <a:pt x="27690" y="21954"/>
                    </a:lnTo>
                    <a:lnTo>
                      <a:pt x="42838" y="34249"/>
                    </a:lnTo>
                    <a:lnTo>
                      <a:pt x="46022" y="53130"/>
                    </a:lnTo>
                    <a:lnTo>
                      <a:pt x="51757" y="64848"/>
                    </a:lnTo>
                    <a:lnTo>
                      <a:pt x="52635" y="107165"/>
                    </a:lnTo>
                    <a:lnTo>
                      <a:pt x="51044" y="131946"/>
                    </a:lnTo>
                    <a:lnTo>
                      <a:pt x="56395" y="143060"/>
                    </a:lnTo>
                    <a:lnTo>
                      <a:pt x="52087" y="145942"/>
                    </a:lnTo>
                    <a:lnTo>
                      <a:pt x="39463" y="149564"/>
                    </a:lnTo>
                    <a:lnTo>
                      <a:pt x="30846" y="142731"/>
                    </a:lnTo>
                    <a:lnTo>
                      <a:pt x="26373" y="139191"/>
                    </a:lnTo>
                    <a:lnTo>
                      <a:pt x="20665" y="128708"/>
                    </a:lnTo>
                    <a:lnTo>
                      <a:pt x="23107" y="114574"/>
                    </a:lnTo>
                    <a:lnTo>
                      <a:pt x="20116" y="107741"/>
                    </a:lnTo>
                    <a:lnTo>
                      <a:pt x="22229" y="100386"/>
                    </a:lnTo>
                    <a:lnTo>
                      <a:pt x="21707" y="90507"/>
                    </a:lnTo>
                    <a:lnTo>
                      <a:pt x="24918" y="83866"/>
                    </a:lnTo>
                    <a:lnTo>
                      <a:pt x="16521" y="72587"/>
                    </a:lnTo>
                    <a:lnTo>
                      <a:pt x="18826" y="67565"/>
                    </a:lnTo>
                    <a:lnTo>
                      <a:pt x="18030" y="61747"/>
                    </a:lnTo>
                    <a:lnTo>
                      <a:pt x="20116" y="52910"/>
                    </a:lnTo>
                    <a:lnTo>
                      <a:pt x="17618" y="49919"/>
                    </a:lnTo>
                    <a:lnTo>
                      <a:pt x="12075" y="49096"/>
                    </a:lnTo>
                    <a:lnTo>
                      <a:pt x="14654" y="44814"/>
                    </a:lnTo>
                    <a:lnTo>
                      <a:pt x="15560" y="32053"/>
                    </a:lnTo>
                    <a:lnTo>
                      <a:pt x="14408" y="25412"/>
                    </a:lnTo>
                    <a:lnTo>
                      <a:pt x="11883" y="22887"/>
                    </a:lnTo>
                    <a:lnTo>
                      <a:pt x="2525" y="13612"/>
                    </a:lnTo>
                    <a:lnTo>
                      <a:pt x="4912" y="3129"/>
                    </a:lnTo>
                    <a:lnTo>
                      <a:pt x="0" y="0"/>
                    </a:lnTo>
                    <a:lnTo>
                      <a:pt x="11883" y="2470"/>
                    </a:lnTo>
                    <a:lnTo>
                      <a:pt x="17234" y="3595"/>
                    </a:lnTo>
                    <a:lnTo>
                      <a:pt x="19347" y="5681"/>
                    </a:lnTo>
                    <a:lnTo>
                      <a:pt x="30846"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8" name="Freeform: Shape 4227">
                <a:extLst>
                  <a:ext uri="{FF2B5EF4-FFF2-40B4-BE49-F238E27FC236}">
                    <a16:creationId xmlns:a16="http://schemas.microsoft.com/office/drawing/2014/main" id="{F09E4458-CD43-5365-3A8B-3B377E4B64A8}"/>
                  </a:ext>
                </a:extLst>
              </p:cNvPr>
              <p:cNvSpPr/>
              <p:nvPr/>
            </p:nvSpPr>
            <p:spPr>
              <a:xfrm>
                <a:off x="1664165" y="3780369"/>
                <a:ext cx="25197" cy="46765"/>
              </a:xfrm>
              <a:custGeom>
                <a:avLst/>
                <a:gdLst>
                  <a:gd name="connsiteX0" fmla="*/ 79118 w 241579"/>
                  <a:gd name="connsiteY0" fmla="*/ 2827 h 448363"/>
                  <a:gd name="connsiteX1" fmla="*/ 80188 w 241579"/>
                  <a:gd name="connsiteY1" fmla="*/ 5104 h 448363"/>
                  <a:gd name="connsiteX2" fmla="*/ 86363 w 241579"/>
                  <a:gd name="connsiteY2" fmla="*/ 2058 h 448363"/>
                  <a:gd name="connsiteX3" fmla="*/ 92675 w 241579"/>
                  <a:gd name="connsiteY3" fmla="*/ 9221 h 448363"/>
                  <a:gd name="connsiteX4" fmla="*/ 89381 w 241579"/>
                  <a:gd name="connsiteY4" fmla="*/ 20857 h 448363"/>
                  <a:gd name="connsiteX5" fmla="*/ 91659 w 241579"/>
                  <a:gd name="connsiteY5" fmla="*/ 27470 h 448363"/>
                  <a:gd name="connsiteX6" fmla="*/ 99069 w 241579"/>
                  <a:gd name="connsiteY6" fmla="*/ 28596 h 448363"/>
                  <a:gd name="connsiteX7" fmla="*/ 105298 w 241579"/>
                  <a:gd name="connsiteY7" fmla="*/ 25769 h 448363"/>
                  <a:gd name="connsiteX8" fmla="*/ 113586 w 241579"/>
                  <a:gd name="connsiteY8" fmla="*/ 28239 h 448363"/>
                  <a:gd name="connsiteX9" fmla="*/ 112544 w 241579"/>
                  <a:gd name="connsiteY9" fmla="*/ 34304 h 448363"/>
                  <a:gd name="connsiteX10" fmla="*/ 115535 w 241579"/>
                  <a:gd name="connsiteY10" fmla="*/ 44073 h 448363"/>
                  <a:gd name="connsiteX11" fmla="*/ 112735 w 241579"/>
                  <a:gd name="connsiteY11" fmla="*/ 55627 h 448363"/>
                  <a:gd name="connsiteX12" fmla="*/ 108674 w 241579"/>
                  <a:gd name="connsiteY12" fmla="*/ 61719 h 448363"/>
                  <a:gd name="connsiteX13" fmla="*/ 110842 w 241579"/>
                  <a:gd name="connsiteY13" fmla="*/ 66741 h 448363"/>
                  <a:gd name="connsiteX14" fmla="*/ 111034 w 241579"/>
                  <a:gd name="connsiteY14" fmla="*/ 72614 h 448363"/>
                  <a:gd name="connsiteX15" fmla="*/ 105929 w 241579"/>
                  <a:gd name="connsiteY15" fmla="*/ 83756 h 448363"/>
                  <a:gd name="connsiteX16" fmla="*/ 105847 w 241579"/>
                  <a:gd name="connsiteY16" fmla="*/ 88778 h 448363"/>
                  <a:gd name="connsiteX17" fmla="*/ 107302 w 241579"/>
                  <a:gd name="connsiteY17" fmla="*/ 90479 h 448363"/>
                  <a:gd name="connsiteX18" fmla="*/ 111089 w 241579"/>
                  <a:gd name="connsiteY18" fmla="*/ 91687 h 448363"/>
                  <a:gd name="connsiteX19" fmla="*/ 129146 w 241579"/>
                  <a:gd name="connsiteY19" fmla="*/ 75221 h 448363"/>
                  <a:gd name="connsiteX20" fmla="*/ 138312 w 241579"/>
                  <a:gd name="connsiteY20" fmla="*/ 70336 h 448363"/>
                  <a:gd name="connsiteX21" fmla="*/ 155437 w 241579"/>
                  <a:gd name="connsiteY21" fmla="*/ 80819 h 448363"/>
                  <a:gd name="connsiteX22" fmla="*/ 165591 w 241579"/>
                  <a:gd name="connsiteY22" fmla="*/ 76319 h 448363"/>
                  <a:gd name="connsiteX23" fmla="*/ 175690 w 241579"/>
                  <a:gd name="connsiteY23" fmla="*/ 63064 h 448363"/>
                  <a:gd name="connsiteX24" fmla="*/ 193446 w 241579"/>
                  <a:gd name="connsiteY24" fmla="*/ 66686 h 448363"/>
                  <a:gd name="connsiteX25" fmla="*/ 207688 w 241579"/>
                  <a:gd name="connsiteY25" fmla="*/ 85869 h 448363"/>
                  <a:gd name="connsiteX26" fmla="*/ 215263 w 241579"/>
                  <a:gd name="connsiteY26" fmla="*/ 91742 h 448363"/>
                  <a:gd name="connsiteX27" fmla="*/ 217567 w 241579"/>
                  <a:gd name="connsiteY27" fmla="*/ 98136 h 448363"/>
                  <a:gd name="connsiteX28" fmla="*/ 216004 w 241579"/>
                  <a:gd name="connsiteY28" fmla="*/ 107494 h 448363"/>
                  <a:gd name="connsiteX29" fmla="*/ 216881 w 241579"/>
                  <a:gd name="connsiteY29" fmla="*/ 121655 h 448363"/>
                  <a:gd name="connsiteX30" fmla="*/ 225060 w 241579"/>
                  <a:gd name="connsiteY30" fmla="*/ 133510 h 448363"/>
                  <a:gd name="connsiteX31" fmla="*/ 233567 w 241579"/>
                  <a:gd name="connsiteY31" fmla="*/ 137270 h 448363"/>
                  <a:gd name="connsiteX32" fmla="*/ 235653 w 241579"/>
                  <a:gd name="connsiteY32" fmla="*/ 143445 h 448363"/>
                  <a:gd name="connsiteX33" fmla="*/ 241580 w 241579"/>
                  <a:gd name="connsiteY33" fmla="*/ 148412 h 448363"/>
                  <a:gd name="connsiteX34" fmla="*/ 238562 w 241579"/>
                  <a:gd name="connsiteY34" fmla="*/ 157111 h 448363"/>
                  <a:gd name="connsiteX35" fmla="*/ 240044 w 241579"/>
                  <a:gd name="connsiteY35" fmla="*/ 159416 h 448363"/>
                  <a:gd name="connsiteX36" fmla="*/ 238314 w 241579"/>
                  <a:gd name="connsiteY36" fmla="*/ 163889 h 448363"/>
                  <a:gd name="connsiteX37" fmla="*/ 240976 w 241579"/>
                  <a:gd name="connsiteY37" fmla="*/ 169460 h 448363"/>
                  <a:gd name="connsiteX38" fmla="*/ 238397 w 241579"/>
                  <a:gd name="connsiteY38" fmla="*/ 182221 h 448363"/>
                  <a:gd name="connsiteX39" fmla="*/ 235653 w 241579"/>
                  <a:gd name="connsiteY39" fmla="*/ 185761 h 448363"/>
                  <a:gd name="connsiteX40" fmla="*/ 229505 w 241579"/>
                  <a:gd name="connsiteY40" fmla="*/ 188067 h 448363"/>
                  <a:gd name="connsiteX41" fmla="*/ 226240 w 241579"/>
                  <a:gd name="connsiteY41" fmla="*/ 191442 h 448363"/>
                  <a:gd name="connsiteX42" fmla="*/ 222947 w 241579"/>
                  <a:gd name="connsiteY42" fmla="*/ 187243 h 448363"/>
                  <a:gd name="connsiteX43" fmla="*/ 218418 w 241579"/>
                  <a:gd name="connsiteY43" fmla="*/ 185624 h 448363"/>
                  <a:gd name="connsiteX44" fmla="*/ 209554 w 241579"/>
                  <a:gd name="connsiteY44" fmla="*/ 187820 h 448363"/>
                  <a:gd name="connsiteX45" fmla="*/ 200965 w 241579"/>
                  <a:gd name="connsiteY45" fmla="*/ 186640 h 448363"/>
                  <a:gd name="connsiteX46" fmla="*/ 193116 w 241579"/>
                  <a:gd name="connsiteY46" fmla="*/ 188396 h 448363"/>
                  <a:gd name="connsiteX47" fmla="*/ 184060 w 241579"/>
                  <a:gd name="connsiteY47" fmla="*/ 185707 h 448363"/>
                  <a:gd name="connsiteX48" fmla="*/ 169982 w 241579"/>
                  <a:gd name="connsiteY48" fmla="*/ 188670 h 448363"/>
                  <a:gd name="connsiteX49" fmla="*/ 165371 w 241579"/>
                  <a:gd name="connsiteY49" fmla="*/ 191662 h 448363"/>
                  <a:gd name="connsiteX50" fmla="*/ 151951 w 241579"/>
                  <a:gd name="connsiteY50" fmla="*/ 210707 h 448363"/>
                  <a:gd name="connsiteX51" fmla="*/ 146765 w 241579"/>
                  <a:gd name="connsiteY51" fmla="*/ 211778 h 448363"/>
                  <a:gd name="connsiteX52" fmla="*/ 146079 w 241579"/>
                  <a:gd name="connsiteY52" fmla="*/ 214110 h 448363"/>
                  <a:gd name="connsiteX53" fmla="*/ 146134 w 241579"/>
                  <a:gd name="connsiteY53" fmla="*/ 220587 h 448363"/>
                  <a:gd name="connsiteX54" fmla="*/ 150223 w 241579"/>
                  <a:gd name="connsiteY54" fmla="*/ 228518 h 448363"/>
                  <a:gd name="connsiteX55" fmla="*/ 150744 w 241579"/>
                  <a:gd name="connsiteY55" fmla="*/ 238178 h 448363"/>
                  <a:gd name="connsiteX56" fmla="*/ 158263 w 241579"/>
                  <a:gd name="connsiteY56" fmla="*/ 245505 h 448363"/>
                  <a:gd name="connsiteX57" fmla="*/ 156480 w 241579"/>
                  <a:gd name="connsiteY57" fmla="*/ 253738 h 448363"/>
                  <a:gd name="connsiteX58" fmla="*/ 162050 w 241579"/>
                  <a:gd name="connsiteY58" fmla="*/ 266389 h 448363"/>
                  <a:gd name="connsiteX59" fmla="*/ 162188 w 241579"/>
                  <a:gd name="connsiteY59" fmla="*/ 269435 h 448363"/>
                  <a:gd name="connsiteX60" fmla="*/ 154312 w 241579"/>
                  <a:gd name="connsiteY60" fmla="*/ 253957 h 448363"/>
                  <a:gd name="connsiteX61" fmla="*/ 150827 w 241579"/>
                  <a:gd name="connsiteY61" fmla="*/ 254945 h 448363"/>
                  <a:gd name="connsiteX62" fmla="*/ 144185 w 241579"/>
                  <a:gd name="connsiteY62" fmla="*/ 252311 h 448363"/>
                  <a:gd name="connsiteX63" fmla="*/ 129750 w 241579"/>
                  <a:gd name="connsiteY63" fmla="*/ 238864 h 448363"/>
                  <a:gd name="connsiteX64" fmla="*/ 118251 w 241579"/>
                  <a:gd name="connsiteY64" fmla="*/ 240538 h 448363"/>
                  <a:gd name="connsiteX65" fmla="*/ 102856 w 241579"/>
                  <a:gd name="connsiteY65" fmla="*/ 239083 h 448363"/>
                  <a:gd name="connsiteX66" fmla="*/ 104036 w 241579"/>
                  <a:gd name="connsiteY66" fmla="*/ 215592 h 448363"/>
                  <a:gd name="connsiteX67" fmla="*/ 93992 w 241579"/>
                  <a:gd name="connsiteY67" fmla="*/ 213040 h 448363"/>
                  <a:gd name="connsiteX68" fmla="*/ 83865 w 241579"/>
                  <a:gd name="connsiteY68" fmla="*/ 214330 h 448363"/>
                  <a:gd name="connsiteX69" fmla="*/ 77938 w 241579"/>
                  <a:gd name="connsiteY69" fmla="*/ 217184 h 448363"/>
                  <a:gd name="connsiteX70" fmla="*/ 76127 w 241579"/>
                  <a:gd name="connsiteY70" fmla="*/ 220010 h 448363"/>
                  <a:gd name="connsiteX71" fmla="*/ 78789 w 241579"/>
                  <a:gd name="connsiteY71" fmla="*/ 227036 h 448363"/>
                  <a:gd name="connsiteX72" fmla="*/ 75523 w 241579"/>
                  <a:gd name="connsiteY72" fmla="*/ 239852 h 448363"/>
                  <a:gd name="connsiteX73" fmla="*/ 76401 w 241579"/>
                  <a:gd name="connsiteY73" fmla="*/ 253793 h 448363"/>
                  <a:gd name="connsiteX74" fmla="*/ 65643 w 241579"/>
                  <a:gd name="connsiteY74" fmla="*/ 274320 h 448363"/>
                  <a:gd name="connsiteX75" fmla="*/ 61911 w 241579"/>
                  <a:gd name="connsiteY75" fmla="*/ 284776 h 448363"/>
                  <a:gd name="connsiteX76" fmla="*/ 61802 w 241579"/>
                  <a:gd name="connsiteY76" fmla="*/ 292460 h 448363"/>
                  <a:gd name="connsiteX77" fmla="*/ 56038 w 241579"/>
                  <a:gd name="connsiteY77" fmla="*/ 300501 h 448363"/>
                  <a:gd name="connsiteX78" fmla="*/ 54831 w 241579"/>
                  <a:gd name="connsiteY78" fmla="*/ 306648 h 448363"/>
                  <a:gd name="connsiteX79" fmla="*/ 52663 w 241579"/>
                  <a:gd name="connsiteY79" fmla="*/ 309118 h 448363"/>
                  <a:gd name="connsiteX80" fmla="*/ 51620 w 241579"/>
                  <a:gd name="connsiteY80" fmla="*/ 324623 h 448363"/>
                  <a:gd name="connsiteX81" fmla="*/ 55187 w 241579"/>
                  <a:gd name="connsiteY81" fmla="*/ 341143 h 448363"/>
                  <a:gd name="connsiteX82" fmla="*/ 59716 w 241579"/>
                  <a:gd name="connsiteY82" fmla="*/ 342379 h 448363"/>
                  <a:gd name="connsiteX83" fmla="*/ 68140 w 241579"/>
                  <a:gd name="connsiteY83" fmla="*/ 339305 h 448363"/>
                  <a:gd name="connsiteX84" fmla="*/ 71708 w 241579"/>
                  <a:gd name="connsiteY84" fmla="*/ 340814 h 448363"/>
                  <a:gd name="connsiteX85" fmla="*/ 76868 w 241579"/>
                  <a:gd name="connsiteY85" fmla="*/ 361808 h 448363"/>
                  <a:gd name="connsiteX86" fmla="*/ 79475 w 241579"/>
                  <a:gd name="connsiteY86" fmla="*/ 365815 h 448363"/>
                  <a:gd name="connsiteX87" fmla="*/ 82548 w 241579"/>
                  <a:gd name="connsiteY87" fmla="*/ 365321 h 448363"/>
                  <a:gd name="connsiteX88" fmla="*/ 84442 w 241579"/>
                  <a:gd name="connsiteY88" fmla="*/ 370041 h 448363"/>
                  <a:gd name="connsiteX89" fmla="*/ 87515 w 241579"/>
                  <a:gd name="connsiteY89" fmla="*/ 385491 h 448363"/>
                  <a:gd name="connsiteX90" fmla="*/ 90067 w 241579"/>
                  <a:gd name="connsiteY90" fmla="*/ 395261 h 448363"/>
                  <a:gd name="connsiteX91" fmla="*/ 91934 w 241579"/>
                  <a:gd name="connsiteY91" fmla="*/ 399295 h 448363"/>
                  <a:gd name="connsiteX92" fmla="*/ 98602 w 241579"/>
                  <a:gd name="connsiteY92" fmla="*/ 407995 h 448363"/>
                  <a:gd name="connsiteX93" fmla="*/ 106725 w 241579"/>
                  <a:gd name="connsiteY93" fmla="*/ 412166 h 448363"/>
                  <a:gd name="connsiteX94" fmla="*/ 115261 w 241579"/>
                  <a:gd name="connsiteY94" fmla="*/ 411041 h 448363"/>
                  <a:gd name="connsiteX95" fmla="*/ 121654 w 241579"/>
                  <a:gd name="connsiteY95" fmla="*/ 412633 h 448363"/>
                  <a:gd name="connsiteX96" fmla="*/ 129393 w 241579"/>
                  <a:gd name="connsiteY96" fmla="*/ 423390 h 448363"/>
                  <a:gd name="connsiteX97" fmla="*/ 138010 w 241579"/>
                  <a:gd name="connsiteY97" fmla="*/ 430498 h 448363"/>
                  <a:gd name="connsiteX98" fmla="*/ 137297 w 241579"/>
                  <a:gd name="connsiteY98" fmla="*/ 434477 h 448363"/>
                  <a:gd name="connsiteX99" fmla="*/ 130354 w 241579"/>
                  <a:gd name="connsiteY99" fmla="*/ 444055 h 448363"/>
                  <a:gd name="connsiteX100" fmla="*/ 126759 w 241579"/>
                  <a:gd name="connsiteY100" fmla="*/ 443863 h 448363"/>
                  <a:gd name="connsiteX101" fmla="*/ 122450 w 241579"/>
                  <a:gd name="connsiteY101" fmla="*/ 440213 h 448363"/>
                  <a:gd name="connsiteX102" fmla="*/ 114465 w 241579"/>
                  <a:gd name="connsiteY102" fmla="*/ 443671 h 448363"/>
                  <a:gd name="connsiteX103" fmla="*/ 110321 w 241579"/>
                  <a:gd name="connsiteY103" fmla="*/ 448363 h 448363"/>
                  <a:gd name="connsiteX104" fmla="*/ 106012 w 241579"/>
                  <a:gd name="connsiteY104" fmla="*/ 442957 h 448363"/>
                  <a:gd name="connsiteX105" fmla="*/ 109360 w 241579"/>
                  <a:gd name="connsiteY105" fmla="*/ 438017 h 448363"/>
                  <a:gd name="connsiteX106" fmla="*/ 108729 w 241579"/>
                  <a:gd name="connsiteY106" fmla="*/ 430580 h 448363"/>
                  <a:gd name="connsiteX107" fmla="*/ 102143 w 241579"/>
                  <a:gd name="connsiteY107" fmla="*/ 429976 h 448363"/>
                  <a:gd name="connsiteX108" fmla="*/ 99426 w 241579"/>
                  <a:gd name="connsiteY108" fmla="*/ 424158 h 448363"/>
                  <a:gd name="connsiteX109" fmla="*/ 87515 w 241579"/>
                  <a:gd name="connsiteY109" fmla="*/ 421360 h 448363"/>
                  <a:gd name="connsiteX110" fmla="*/ 83920 w 241579"/>
                  <a:gd name="connsiteY110" fmla="*/ 416667 h 448363"/>
                  <a:gd name="connsiteX111" fmla="*/ 82082 w 241579"/>
                  <a:gd name="connsiteY111" fmla="*/ 417518 h 448363"/>
                  <a:gd name="connsiteX112" fmla="*/ 80106 w 241579"/>
                  <a:gd name="connsiteY112" fmla="*/ 425147 h 448363"/>
                  <a:gd name="connsiteX113" fmla="*/ 68662 w 241579"/>
                  <a:gd name="connsiteY113" fmla="*/ 412303 h 448363"/>
                  <a:gd name="connsiteX114" fmla="*/ 66494 w 241579"/>
                  <a:gd name="connsiteY114" fmla="*/ 404208 h 448363"/>
                  <a:gd name="connsiteX115" fmla="*/ 61116 w 241579"/>
                  <a:gd name="connsiteY115" fmla="*/ 400393 h 448363"/>
                  <a:gd name="connsiteX116" fmla="*/ 57959 w 241579"/>
                  <a:gd name="connsiteY116" fmla="*/ 400777 h 448363"/>
                  <a:gd name="connsiteX117" fmla="*/ 57328 w 241579"/>
                  <a:gd name="connsiteY117" fmla="*/ 396304 h 448363"/>
                  <a:gd name="connsiteX118" fmla="*/ 53953 w 241579"/>
                  <a:gd name="connsiteY118" fmla="*/ 389004 h 448363"/>
                  <a:gd name="connsiteX119" fmla="*/ 51565 w 241579"/>
                  <a:gd name="connsiteY119" fmla="*/ 387769 h 448363"/>
                  <a:gd name="connsiteX120" fmla="*/ 49781 w 241579"/>
                  <a:gd name="connsiteY120" fmla="*/ 389663 h 448363"/>
                  <a:gd name="connsiteX121" fmla="*/ 48684 w 241579"/>
                  <a:gd name="connsiteY121" fmla="*/ 389498 h 448363"/>
                  <a:gd name="connsiteX122" fmla="*/ 45830 w 241579"/>
                  <a:gd name="connsiteY122" fmla="*/ 380195 h 448363"/>
                  <a:gd name="connsiteX123" fmla="*/ 40533 w 241579"/>
                  <a:gd name="connsiteY123" fmla="*/ 376353 h 448363"/>
                  <a:gd name="connsiteX124" fmla="*/ 37762 w 241579"/>
                  <a:gd name="connsiteY124" fmla="*/ 369629 h 448363"/>
                  <a:gd name="connsiteX125" fmla="*/ 34907 w 241579"/>
                  <a:gd name="connsiteY125" fmla="*/ 368367 h 448363"/>
                  <a:gd name="connsiteX126" fmla="*/ 31477 w 241579"/>
                  <a:gd name="connsiteY126" fmla="*/ 370425 h 448363"/>
                  <a:gd name="connsiteX127" fmla="*/ 29665 w 241579"/>
                  <a:gd name="connsiteY127" fmla="*/ 374707 h 448363"/>
                  <a:gd name="connsiteX128" fmla="*/ 29556 w 241579"/>
                  <a:gd name="connsiteY128" fmla="*/ 381348 h 448363"/>
                  <a:gd name="connsiteX129" fmla="*/ 26921 w 241579"/>
                  <a:gd name="connsiteY129" fmla="*/ 383104 h 448363"/>
                  <a:gd name="connsiteX130" fmla="*/ 24149 w 241579"/>
                  <a:gd name="connsiteY130" fmla="*/ 361863 h 448363"/>
                  <a:gd name="connsiteX131" fmla="*/ 25466 w 241579"/>
                  <a:gd name="connsiteY131" fmla="*/ 344519 h 448363"/>
                  <a:gd name="connsiteX132" fmla="*/ 30461 w 241579"/>
                  <a:gd name="connsiteY132" fmla="*/ 334118 h 448363"/>
                  <a:gd name="connsiteX133" fmla="*/ 32492 w 241579"/>
                  <a:gd name="connsiteY133" fmla="*/ 331676 h 448363"/>
                  <a:gd name="connsiteX134" fmla="*/ 32163 w 241579"/>
                  <a:gd name="connsiteY134" fmla="*/ 329151 h 448363"/>
                  <a:gd name="connsiteX135" fmla="*/ 33261 w 241579"/>
                  <a:gd name="connsiteY135" fmla="*/ 323992 h 448363"/>
                  <a:gd name="connsiteX136" fmla="*/ 38393 w 241579"/>
                  <a:gd name="connsiteY136" fmla="*/ 312356 h 448363"/>
                  <a:gd name="connsiteX137" fmla="*/ 39820 w 241579"/>
                  <a:gd name="connsiteY137" fmla="*/ 307114 h 448363"/>
                  <a:gd name="connsiteX138" fmla="*/ 41631 w 241579"/>
                  <a:gd name="connsiteY138" fmla="*/ 297893 h 448363"/>
                  <a:gd name="connsiteX139" fmla="*/ 53898 w 241579"/>
                  <a:gd name="connsiteY139" fmla="*/ 284721 h 448363"/>
                  <a:gd name="connsiteX140" fmla="*/ 65863 w 241579"/>
                  <a:gd name="connsiteY140" fmla="*/ 264303 h 448363"/>
                  <a:gd name="connsiteX141" fmla="*/ 61335 w 241579"/>
                  <a:gd name="connsiteY141" fmla="*/ 252503 h 448363"/>
                  <a:gd name="connsiteX142" fmla="*/ 59359 w 241579"/>
                  <a:gd name="connsiteY142" fmla="*/ 241581 h 448363"/>
                  <a:gd name="connsiteX143" fmla="*/ 53788 w 241579"/>
                  <a:gd name="connsiteY143" fmla="*/ 234253 h 448363"/>
                  <a:gd name="connsiteX144" fmla="*/ 51071 w 241579"/>
                  <a:gd name="connsiteY144" fmla="*/ 227255 h 448363"/>
                  <a:gd name="connsiteX145" fmla="*/ 52937 w 241579"/>
                  <a:gd name="connsiteY145" fmla="*/ 214933 h 448363"/>
                  <a:gd name="connsiteX146" fmla="*/ 49754 w 241579"/>
                  <a:gd name="connsiteY146" fmla="*/ 201980 h 448363"/>
                  <a:gd name="connsiteX147" fmla="*/ 45473 w 241579"/>
                  <a:gd name="connsiteY147" fmla="*/ 195861 h 448363"/>
                  <a:gd name="connsiteX148" fmla="*/ 35374 w 241579"/>
                  <a:gd name="connsiteY148" fmla="*/ 188012 h 448363"/>
                  <a:gd name="connsiteX149" fmla="*/ 25000 w 241579"/>
                  <a:gd name="connsiteY149" fmla="*/ 171711 h 448363"/>
                  <a:gd name="connsiteX150" fmla="*/ 24232 w 241579"/>
                  <a:gd name="connsiteY150" fmla="*/ 162462 h 448363"/>
                  <a:gd name="connsiteX151" fmla="*/ 33974 w 241579"/>
                  <a:gd name="connsiteY151" fmla="*/ 156151 h 448363"/>
                  <a:gd name="connsiteX152" fmla="*/ 35346 w 241579"/>
                  <a:gd name="connsiteY152" fmla="*/ 137489 h 448363"/>
                  <a:gd name="connsiteX153" fmla="*/ 37762 w 241579"/>
                  <a:gd name="connsiteY153" fmla="*/ 134580 h 448363"/>
                  <a:gd name="connsiteX154" fmla="*/ 42399 w 241579"/>
                  <a:gd name="connsiteY154" fmla="*/ 132906 h 448363"/>
                  <a:gd name="connsiteX155" fmla="*/ 44265 w 241579"/>
                  <a:gd name="connsiteY155" fmla="*/ 126759 h 448363"/>
                  <a:gd name="connsiteX156" fmla="*/ 42317 w 241579"/>
                  <a:gd name="connsiteY156" fmla="*/ 125634 h 448363"/>
                  <a:gd name="connsiteX157" fmla="*/ 37075 w 241579"/>
                  <a:gd name="connsiteY157" fmla="*/ 126924 h 448363"/>
                  <a:gd name="connsiteX158" fmla="*/ 32465 w 241579"/>
                  <a:gd name="connsiteY158" fmla="*/ 116358 h 448363"/>
                  <a:gd name="connsiteX159" fmla="*/ 32300 w 241579"/>
                  <a:gd name="connsiteY159" fmla="*/ 108866 h 448363"/>
                  <a:gd name="connsiteX160" fmla="*/ 11800 w 241579"/>
                  <a:gd name="connsiteY160" fmla="*/ 85814 h 448363"/>
                  <a:gd name="connsiteX161" fmla="*/ 9028 w 241579"/>
                  <a:gd name="connsiteY161" fmla="*/ 80298 h 448363"/>
                  <a:gd name="connsiteX162" fmla="*/ 6861 w 241579"/>
                  <a:gd name="connsiteY162" fmla="*/ 68415 h 448363"/>
                  <a:gd name="connsiteX163" fmla="*/ 2167 w 241579"/>
                  <a:gd name="connsiteY163" fmla="*/ 65891 h 448363"/>
                  <a:gd name="connsiteX164" fmla="*/ 0 w 241579"/>
                  <a:gd name="connsiteY164" fmla="*/ 60731 h 448363"/>
                  <a:gd name="connsiteX165" fmla="*/ 10126 w 241579"/>
                  <a:gd name="connsiteY165" fmla="*/ 57273 h 448363"/>
                  <a:gd name="connsiteX166" fmla="*/ 8891 w 241579"/>
                  <a:gd name="connsiteY166" fmla="*/ 46982 h 448363"/>
                  <a:gd name="connsiteX167" fmla="*/ 12761 w 241579"/>
                  <a:gd name="connsiteY167" fmla="*/ 40945 h 448363"/>
                  <a:gd name="connsiteX168" fmla="*/ 12267 w 241579"/>
                  <a:gd name="connsiteY168" fmla="*/ 31889 h 448363"/>
                  <a:gd name="connsiteX169" fmla="*/ 17563 w 241579"/>
                  <a:gd name="connsiteY169" fmla="*/ 25412 h 448363"/>
                  <a:gd name="connsiteX170" fmla="*/ 19924 w 241579"/>
                  <a:gd name="connsiteY170" fmla="*/ 20637 h 448363"/>
                  <a:gd name="connsiteX171" fmla="*/ 27882 w 241579"/>
                  <a:gd name="connsiteY171" fmla="*/ 23518 h 448363"/>
                  <a:gd name="connsiteX172" fmla="*/ 45967 w 241579"/>
                  <a:gd name="connsiteY172" fmla="*/ 20610 h 448363"/>
                  <a:gd name="connsiteX173" fmla="*/ 47805 w 241579"/>
                  <a:gd name="connsiteY173" fmla="*/ 18579 h 448363"/>
                  <a:gd name="connsiteX174" fmla="*/ 50111 w 241579"/>
                  <a:gd name="connsiteY174" fmla="*/ 11169 h 448363"/>
                  <a:gd name="connsiteX175" fmla="*/ 59716 w 241579"/>
                  <a:gd name="connsiteY175" fmla="*/ 10593 h 448363"/>
                  <a:gd name="connsiteX176" fmla="*/ 62213 w 241579"/>
                  <a:gd name="connsiteY176" fmla="*/ 8946 h 448363"/>
                  <a:gd name="connsiteX177" fmla="*/ 62158 w 241579"/>
                  <a:gd name="connsiteY177" fmla="*/ 2936 h 448363"/>
                  <a:gd name="connsiteX178" fmla="*/ 69815 w 241579"/>
                  <a:gd name="connsiteY178" fmla="*/ 2854 h 448363"/>
                  <a:gd name="connsiteX179" fmla="*/ 74425 w 241579"/>
                  <a:gd name="connsiteY179" fmla="*/ 0 h 448363"/>
                  <a:gd name="connsiteX180" fmla="*/ 79063 w 241579"/>
                  <a:gd name="connsiteY180" fmla="*/ 2744 h 448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241579" h="448363">
                    <a:moveTo>
                      <a:pt x="79118" y="2827"/>
                    </a:moveTo>
                    <a:lnTo>
                      <a:pt x="80188" y="5104"/>
                    </a:lnTo>
                    <a:lnTo>
                      <a:pt x="86363" y="2058"/>
                    </a:lnTo>
                    <a:lnTo>
                      <a:pt x="92675" y="9221"/>
                    </a:lnTo>
                    <a:lnTo>
                      <a:pt x="89381" y="20857"/>
                    </a:lnTo>
                    <a:lnTo>
                      <a:pt x="91659" y="27470"/>
                    </a:lnTo>
                    <a:lnTo>
                      <a:pt x="99069" y="28596"/>
                    </a:lnTo>
                    <a:lnTo>
                      <a:pt x="105298" y="25769"/>
                    </a:lnTo>
                    <a:lnTo>
                      <a:pt x="113586" y="28239"/>
                    </a:lnTo>
                    <a:lnTo>
                      <a:pt x="112544" y="34304"/>
                    </a:lnTo>
                    <a:lnTo>
                      <a:pt x="115535" y="44073"/>
                    </a:lnTo>
                    <a:lnTo>
                      <a:pt x="112735" y="55627"/>
                    </a:lnTo>
                    <a:lnTo>
                      <a:pt x="108674" y="61719"/>
                    </a:lnTo>
                    <a:lnTo>
                      <a:pt x="110842" y="66741"/>
                    </a:lnTo>
                    <a:lnTo>
                      <a:pt x="111034" y="72614"/>
                    </a:lnTo>
                    <a:lnTo>
                      <a:pt x="105929" y="83756"/>
                    </a:lnTo>
                    <a:lnTo>
                      <a:pt x="105847" y="88778"/>
                    </a:lnTo>
                    <a:lnTo>
                      <a:pt x="107302" y="90479"/>
                    </a:lnTo>
                    <a:lnTo>
                      <a:pt x="111089" y="91687"/>
                    </a:lnTo>
                    <a:lnTo>
                      <a:pt x="129146" y="75221"/>
                    </a:lnTo>
                    <a:lnTo>
                      <a:pt x="138312" y="70336"/>
                    </a:lnTo>
                    <a:lnTo>
                      <a:pt x="155437" y="80819"/>
                    </a:lnTo>
                    <a:lnTo>
                      <a:pt x="165591" y="76319"/>
                    </a:lnTo>
                    <a:lnTo>
                      <a:pt x="175690" y="63064"/>
                    </a:lnTo>
                    <a:lnTo>
                      <a:pt x="193446" y="66686"/>
                    </a:lnTo>
                    <a:lnTo>
                      <a:pt x="207688" y="85869"/>
                    </a:lnTo>
                    <a:lnTo>
                      <a:pt x="215263" y="91742"/>
                    </a:lnTo>
                    <a:lnTo>
                      <a:pt x="217567" y="98136"/>
                    </a:lnTo>
                    <a:lnTo>
                      <a:pt x="216004" y="107494"/>
                    </a:lnTo>
                    <a:lnTo>
                      <a:pt x="216881" y="121655"/>
                    </a:lnTo>
                    <a:lnTo>
                      <a:pt x="225060" y="133510"/>
                    </a:lnTo>
                    <a:lnTo>
                      <a:pt x="233567" y="137270"/>
                    </a:lnTo>
                    <a:lnTo>
                      <a:pt x="235653" y="143445"/>
                    </a:lnTo>
                    <a:lnTo>
                      <a:pt x="241580" y="148412"/>
                    </a:lnTo>
                    <a:lnTo>
                      <a:pt x="238562" y="157111"/>
                    </a:lnTo>
                    <a:lnTo>
                      <a:pt x="240044" y="159416"/>
                    </a:lnTo>
                    <a:lnTo>
                      <a:pt x="238314" y="163889"/>
                    </a:lnTo>
                    <a:lnTo>
                      <a:pt x="240976" y="169460"/>
                    </a:lnTo>
                    <a:lnTo>
                      <a:pt x="238397" y="182221"/>
                    </a:lnTo>
                    <a:lnTo>
                      <a:pt x="235653" y="185761"/>
                    </a:lnTo>
                    <a:lnTo>
                      <a:pt x="229505" y="188067"/>
                    </a:lnTo>
                    <a:lnTo>
                      <a:pt x="226240" y="191442"/>
                    </a:lnTo>
                    <a:lnTo>
                      <a:pt x="222947" y="187243"/>
                    </a:lnTo>
                    <a:lnTo>
                      <a:pt x="218418" y="185624"/>
                    </a:lnTo>
                    <a:lnTo>
                      <a:pt x="209554" y="187820"/>
                    </a:lnTo>
                    <a:lnTo>
                      <a:pt x="200965" y="186640"/>
                    </a:lnTo>
                    <a:lnTo>
                      <a:pt x="193116" y="188396"/>
                    </a:lnTo>
                    <a:lnTo>
                      <a:pt x="184060" y="185707"/>
                    </a:lnTo>
                    <a:lnTo>
                      <a:pt x="169982" y="188670"/>
                    </a:lnTo>
                    <a:lnTo>
                      <a:pt x="165371" y="191662"/>
                    </a:lnTo>
                    <a:lnTo>
                      <a:pt x="151951" y="210707"/>
                    </a:lnTo>
                    <a:lnTo>
                      <a:pt x="146765" y="211778"/>
                    </a:lnTo>
                    <a:lnTo>
                      <a:pt x="146079" y="214110"/>
                    </a:lnTo>
                    <a:lnTo>
                      <a:pt x="146134" y="220587"/>
                    </a:lnTo>
                    <a:lnTo>
                      <a:pt x="150223" y="228518"/>
                    </a:lnTo>
                    <a:lnTo>
                      <a:pt x="150744" y="238178"/>
                    </a:lnTo>
                    <a:lnTo>
                      <a:pt x="158263" y="245505"/>
                    </a:lnTo>
                    <a:lnTo>
                      <a:pt x="156480" y="253738"/>
                    </a:lnTo>
                    <a:lnTo>
                      <a:pt x="162050" y="266389"/>
                    </a:lnTo>
                    <a:lnTo>
                      <a:pt x="162188" y="269435"/>
                    </a:lnTo>
                    <a:lnTo>
                      <a:pt x="154312" y="253957"/>
                    </a:lnTo>
                    <a:lnTo>
                      <a:pt x="150827" y="254945"/>
                    </a:lnTo>
                    <a:lnTo>
                      <a:pt x="144185" y="252311"/>
                    </a:lnTo>
                    <a:lnTo>
                      <a:pt x="129750" y="238864"/>
                    </a:lnTo>
                    <a:lnTo>
                      <a:pt x="118251" y="240538"/>
                    </a:lnTo>
                    <a:lnTo>
                      <a:pt x="102856" y="239083"/>
                    </a:lnTo>
                    <a:lnTo>
                      <a:pt x="104036" y="215592"/>
                    </a:lnTo>
                    <a:lnTo>
                      <a:pt x="93992" y="213040"/>
                    </a:lnTo>
                    <a:lnTo>
                      <a:pt x="83865" y="214330"/>
                    </a:lnTo>
                    <a:lnTo>
                      <a:pt x="77938" y="217184"/>
                    </a:lnTo>
                    <a:lnTo>
                      <a:pt x="76127" y="220010"/>
                    </a:lnTo>
                    <a:lnTo>
                      <a:pt x="78789" y="227036"/>
                    </a:lnTo>
                    <a:lnTo>
                      <a:pt x="75523" y="239852"/>
                    </a:lnTo>
                    <a:lnTo>
                      <a:pt x="76401" y="253793"/>
                    </a:lnTo>
                    <a:lnTo>
                      <a:pt x="65643" y="274320"/>
                    </a:lnTo>
                    <a:lnTo>
                      <a:pt x="61911" y="284776"/>
                    </a:lnTo>
                    <a:lnTo>
                      <a:pt x="61802" y="292460"/>
                    </a:lnTo>
                    <a:lnTo>
                      <a:pt x="56038" y="300501"/>
                    </a:lnTo>
                    <a:lnTo>
                      <a:pt x="54831" y="306648"/>
                    </a:lnTo>
                    <a:lnTo>
                      <a:pt x="52663" y="309118"/>
                    </a:lnTo>
                    <a:lnTo>
                      <a:pt x="51620" y="324623"/>
                    </a:lnTo>
                    <a:lnTo>
                      <a:pt x="55187" y="341143"/>
                    </a:lnTo>
                    <a:lnTo>
                      <a:pt x="59716" y="342379"/>
                    </a:lnTo>
                    <a:lnTo>
                      <a:pt x="68140" y="339305"/>
                    </a:lnTo>
                    <a:lnTo>
                      <a:pt x="71708" y="340814"/>
                    </a:lnTo>
                    <a:lnTo>
                      <a:pt x="76868" y="361808"/>
                    </a:lnTo>
                    <a:lnTo>
                      <a:pt x="79475" y="365815"/>
                    </a:lnTo>
                    <a:lnTo>
                      <a:pt x="82548" y="365321"/>
                    </a:lnTo>
                    <a:lnTo>
                      <a:pt x="84442" y="370041"/>
                    </a:lnTo>
                    <a:lnTo>
                      <a:pt x="87515" y="385491"/>
                    </a:lnTo>
                    <a:lnTo>
                      <a:pt x="90067" y="395261"/>
                    </a:lnTo>
                    <a:lnTo>
                      <a:pt x="91934" y="399295"/>
                    </a:lnTo>
                    <a:lnTo>
                      <a:pt x="98602" y="407995"/>
                    </a:lnTo>
                    <a:lnTo>
                      <a:pt x="106725" y="412166"/>
                    </a:lnTo>
                    <a:lnTo>
                      <a:pt x="115261" y="411041"/>
                    </a:lnTo>
                    <a:lnTo>
                      <a:pt x="121654" y="412633"/>
                    </a:lnTo>
                    <a:lnTo>
                      <a:pt x="129393" y="423390"/>
                    </a:lnTo>
                    <a:lnTo>
                      <a:pt x="138010" y="430498"/>
                    </a:lnTo>
                    <a:lnTo>
                      <a:pt x="137297" y="434477"/>
                    </a:lnTo>
                    <a:lnTo>
                      <a:pt x="130354" y="444055"/>
                    </a:lnTo>
                    <a:lnTo>
                      <a:pt x="126759" y="443863"/>
                    </a:lnTo>
                    <a:lnTo>
                      <a:pt x="122450" y="440213"/>
                    </a:lnTo>
                    <a:lnTo>
                      <a:pt x="114465" y="443671"/>
                    </a:lnTo>
                    <a:lnTo>
                      <a:pt x="110321" y="448363"/>
                    </a:lnTo>
                    <a:lnTo>
                      <a:pt x="106012" y="442957"/>
                    </a:lnTo>
                    <a:lnTo>
                      <a:pt x="109360" y="438017"/>
                    </a:lnTo>
                    <a:lnTo>
                      <a:pt x="108729" y="430580"/>
                    </a:lnTo>
                    <a:lnTo>
                      <a:pt x="102143" y="429976"/>
                    </a:lnTo>
                    <a:lnTo>
                      <a:pt x="99426" y="424158"/>
                    </a:lnTo>
                    <a:lnTo>
                      <a:pt x="87515" y="421360"/>
                    </a:lnTo>
                    <a:lnTo>
                      <a:pt x="83920" y="416667"/>
                    </a:lnTo>
                    <a:lnTo>
                      <a:pt x="82082" y="417518"/>
                    </a:lnTo>
                    <a:lnTo>
                      <a:pt x="80106" y="425147"/>
                    </a:lnTo>
                    <a:lnTo>
                      <a:pt x="68662" y="412303"/>
                    </a:lnTo>
                    <a:lnTo>
                      <a:pt x="66494" y="404208"/>
                    </a:lnTo>
                    <a:lnTo>
                      <a:pt x="61116" y="400393"/>
                    </a:lnTo>
                    <a:lnTo>
                      <a:pt x="57959" y="400777"/>
                    </a:lnTo>
                    <a:lnTo>
                      <a:pt x="57328" y="396304"/>
                    </a:lnTo>
                    <a:lnTo>
                      <a:pt x="53953" y="389004"/>
                    </a:lnTo>
                    <a:lnTo>
                      <a:pt x="51565" y="387769"/>
                    </a:lnTo>
                    <a:lnTo>
                      <a:pt x="49781" y="389663"/>
                    </a:lnTo>
                    <a:lnTo>
                      <a:pt x="48684" y="389498"/>
                    </a:lnTo>
                    <a:lnTo>
                      <a:pt x="45830" y="380195"/>
                    </a:lnTo>
                    <a:lnTo>
                      <a:pt x="40533" y="376353"/>
                    </a:lnTo>
                    <a:lnTo>
                      <a:pt x="37762" y="369629"/>
                    </a:lnTo>
                    <a:lnTo>
                      <a:pt x="34907" y="368367"/>
                    </a:lnTo>
                    <a:lnTo>
                      <a:pt x="31477" y="370425"/>
                    </a:lnTo>
                    <a:lnTo>
                      <a:pt x="29665" y="374707"/>
                    </a:lnTo>
                    <a:lnTo>
                      <a:pt x="29556" y="381348"/>
                    </a:lnTo>
                    <a:lnTo>
                      <a:pt x="26921" y="383104"/>
                    </a:lnTo>
                    <a:lnTo>
                      <a:pt x="24149" y="361863"/>
                    </a:lnTo>
                    <a:lnTo>
                      <a:pt x="25466" y="344519"/>
                    </a:lnTo>
                    <a:lnTo>
                      <a:pt x="30461" y="334118"/>
                    </a:lnTo>
                    <a:lnTo>
                      <a:pt x="32492" y="331676"/>
                    </a:lnTo>
                    <a:lnTo>
                      <a:pt x="32163" y="329151"/>
                    </a:lnTo>
                    <a:lnTo>
                      <a:pt x="33261" y="323992"/>
                    </a:lnTo>
                    <a:lnTo>
                      <a:pt x="38393" y="312356"/>
                    </a:lnTo>
                    <a:lnTo>
                      <a:pt x="39820" y="307114"/>
                    </a:lnTo>
                    <a:lnTo>
                      <a:pt x="41631" y="297893"/>
                    </a:lnTo>
                    <a:lnTo>
                      <a:pt x="53898" y="284721"/>
                    </a:lnTo>
                    <a:lnTo>
                      <a:pt x="65863" y="264303"/>
                    </a:lnTo>
                    <a:lnTo>
                      <a:pt x="61335" y="252503"/>
                    </a:lnTo>
                    <a:lnTo>
                      <a:pt x="59359" y="241581"/>
                    </a:lnTo>
                    <a:lnTo>
                      <a:pt x="53788" y="234253"/>
                    </a:lnTo>
                    <a:lnTo>
                      <a:pt x="51071" y="227255"/>
                    </a:lnTo>
                    <a:lnTo>
                      <a:pt x="52937" y="214933"/>
                    </a:lnTo>
                    <a:lnTo>
                      <a:pt x="49754" y="201980"/>
                    </a:lnTo>
                    <a:lnTo>
                      <a:pt x="45473" y="195861"/>
                    </a:lnTo>
                    <a:lnTo>
                      <a:pt x="35374" y="188012"/>
                    </a:lnTo>
                    <a:lnTo>
                      <a:pt x="25000" y="171711"/>
                    </a:lnTo>
                    <a:lnTo>
                      <a:pt x="24232" y="162462"/>
                    </a:lnTo>
                    <a:lnTo>
                      <a:pt x="33974" y="156151"/>
                    </a:lnTo>
                    <a:lnTo>
                      <a:pt x="35346" y="137489"/>
                    </a:lnTo>
                    <a:lnTo>
                      <a:pt x="37762" y="134580"/>
                    </a:lnTo>
                    <a:lnTo>
                      <a:pt x="42399" y="132906"/>
                    </a:lnTo>
                    <a:lnTo>
                      <a:pt x="44265" y="126759"/>
                    </a:lnTo>
                    <a:lnTo>
                      <a:pt x="42317" y="125634"/>
                    </a:lnTo>
                    <a:lnTo>
                      <a:pt x="37075" y="126924"/>
                    </a:lnTo>
                    <a:lnTo>
                      <a:pt x="32465" y="116358"/>
                    </a:lnTo>
                    <a:lnTo>
                      <a:pt x="32300" y="108866"/>
                    </a:lnTo>
                    <a:lnTo>
                      <a:pt x="11800" y="85814"/>
                    </a:lnTo>
                    <a:lnTo>
                      <a:pt x="9028" y="80298"/>
                    </a:lnTo>
                    <a:lnTo>
                      <a:pt x="6861" y="68415"/>
                    </a:lnTo>
                    <a:lnTo>
                      <a:pt x="2167" y="65891"/>
                    </a:lnTo>
                    <a:lnTo>
                      <a:pt x="0" y="60731"/>
                    </a:lnTo>
                    <a:lnTo>
                      <a:pt x="10126" y="57273"/>
                    </a:lnTo>
                    <a:lnTo>
                      <a:pt x="8891" y="46982"/>
                    </a:lnTo>
                    <a:lnTo>
                      <a:pt x="12761" y="40945"/>
                    </a:lnTo>
                    <a:lnTo>
                      <a:pt x="12267" y="31889"/>
                    </a:lnTo>
                    <a:lnTo>
                      <a:pt x="17563" y="25412"/>
                    </a:lnTo>
                    <a:lnTo>
                      <a:pt x="19924" y="20637"/>
                    </a:lnTo>
                    <a:lnTo>
                      <a:pt x="27882" y="23518"/>
                    </a:lnTo>
                    <a:lnTo>
                      <a:pt x="45967" y="20610"/>
                    </a:lnTo>
                    <a:lnTo>
                      <a:pt x="47805" y="18579"/>
                    </a:lnTo>
                    <a:lnTo>
                      <a:pt x="50111" y="11169"/>
                    </a:lnTo>
                    <a:lnTo>
                      <a:pt x="59716" y="10593"/>
                    </a:lnTo>
                    <a:lnTo>
                      <a:pt x="62213" y="8946"/>
                    </a:lnTo>
                    <a:lnTo>
                      <a:pt x="62158" y="2936"/>
                    </a:lnTo>
                    <a:lnTo>
                      <a:pt x="69815" y="2854"/>
                    </a:lnTo>
                    <a:lnTo>
                      <a:pt x="74425" y="0"/>
                    </a:lnTo>
                    <a:lnTo>
                      <a:pt x="79063"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29" name="Freeform: Shape 4228">
                <a:extLst>
                  <a:ext uri="{FF2B5EF4-FFF2-40B4-BE49-F238E27FC236}">
                    <a16:creationId xmlns:a16="http://schemas.microsoft.com/office/drawing/2014/main" id="{18ADB8AD-D7AE-0840-D443-ED1D1C6A04D8}"/>
                  </a:ext>
                </a:extLst>
              </p:cNvPr>
              <p:cNvSpPr/>
              <p:nvPr/>
            </p:nvSpPr>
            <p:spPr>
              <a:xfrm>
                <a:off x="1679063" y="3806946"/>
                <a:ext cx="535" cy="538"/>
              </a:xfrm>
              <a:custGeom>
                <a:avLst/>
                <a:gdLst>
                  <a:gd name="connsiteX0" fmla="*/ 5132 w 5132"/>
                  <a:gd name="connsiteY0" fmla="*/ 4309 h 5159"/>
                  <a:gd name="connsiteX1" fmla="*/ 3650 w 5132"/>
                  <a:gd name="connsiteY1" fmla="*/ 5159 h 5159"/>
                  <a:gd name="connsiteX2" fmla="*/ 1263 w 5132"/>
                  <a:gd name="connsiteY2" fmla="*/ 4583 h 5159"/>
                  <a:gd name="connsiteX3" fmla="*/ 0 w 5132"/>
                  <a:gd name="connsiteY3" fmla="*/ 0 h 5159"/>
                  <a:gd name="connsiteX4" fmla="*/ 2992 w 5132"/>
                  <a:gd name="connsiteY4" fmla="*/ 686 h 5159"/>
                  <a:gd name="connsiteX5" fmla="*/ 5132 w 5132"/>
                  <a:gd name="connsiteY5" fmla="*/ 4281 h 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2" h="5159">
                    <a:moveTo>
                      <a:pt x="5132" y="4309"/>
                    </a:moveTo>
                    <a:lnTo>
                      <a:pt x="3650" y="5159"/>
                    </a:lnTo>
                    <a:lnTo>
                      <a:pt x="1263" y="4583"/>
                    </a:lnTo>
                    <a:lnTo>
                      <a:pt x="0" y="0"/>
                    </a:lnTo>
                    <a:lnTo>
                      <a:pt x="2992" y="686"/>
                    </a:lnTo>
                    <a:lnTo>
                      <a:pt x="5132"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0" name="Freeform: Shape 4229">
                <a:extLst>
                  <a:ext uri="{FF2B5EF4-FFF2-40B4-BE49-F238E27FC236}">
                    <a16:creationId xmlns:a16="http://schemas.microsoft.com/office/drawing/2014/main" id="{2740B49E-E7D1-1396-13D1-B1295A862D94}"/>
                  </a:ext>
                </a:extLst>
              </p:cNvPr>
              <p:cNvSpPr/>
              <p:nvPr/>
            </p:nvSpPr>
            <p:spPr>
              <a:xfrm>
                <a:off x="1671896" y="3814952"/>
                <a:ext cx="455" cy="484"/>
              </a:xfrm>
              <a:custGeom>
                <a:avLst/>
                <a:gdLst>
                  <a:gd name="connsiteX0" fmla="*/ 4363 w 4363"/>
                  <a:gd name="connsiteY0" fmla="*/ 2827 h 4638"/>
                  <a:gd name="connsiteX1" fmla="*/ 1729 w 4363"/>
                  <a:gd name="connsiteY1" fmla="*/ 4638 h 4638"/>
                  <a:gd name="connsiteX2" fmla="*/ 0 w 4363"/>
                  <a:gd name="connsiteY2" fmla="*/ 0 h 4638"/>
                  <a:gd name="connsiteX3" fmla="*/ 3018 w 4363"/>
                  <a:gd name="connsiteY3" fmla="*/ 0 h 4638"/>
                  <a:gd name="connsiteX4" fmla="*/ 4363 w 4363"/>
                  <a:gd name="connsiteY4" fmla="*/ 2854 h 4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4638">
                    <a:moveTo>
                      <a:pt x="4363" y="2827"/>
                    </a:moveTo>
                    <a:lnTo>
                      <a:pt x="1729" y="4638"/>
                    </a:lnTo>
                    <a:lnTo>
                      <a:pt x="0" y="0"/>
                    </a:lnTo>
                    <a:lnTo>
                      <a:pt x="3018" y="0"/>
                    </a:lnTo>
                    <a:lnTo>
                      <a:pt x="4363"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1" name="Freeform: Shape 4230">
                <a:extLst>
                  <a:ext uri="{FF2B5EF4-FFF2-40B4-BE49-F238E27FC236}">
                    <a16:creationId xmlns:a16="http://schemas.microsoft.com/office/drawing/2014/main" id="{4BE18B9F-C286-1AE4-9CA2-6625ABBB2587}"/>
                  </a:ext>
                </a:extLst>
              </p:cNvPr>
              <p:cNvSpPr/>
              <p:nvPr/>
            </p:nvSpPr>
            <p:spPr>
              <a:xfrm>
                <a:off x="1667605" y="3819454"/>
                <a:ext cx="358" cy="567"/>
              </a:xfrm>
              <a:custGeom>
                <a:avLst/>
                <a:gdLst>
                  <a:gd name="connsiteX0" fmla="*/ 3320 w 3430"/>
                  <a:gd name="connsiteY0" fmla="*/ 4062 h 5433"/>
                  <a:gd name="connsiteX1" fmla="*/ 1564 w 3430"/>
                  <a:gd name="connsiteY1" fmla="*/ 5434 h 5433"/>
                  <a:gd name="connsiteX2" fmla="*/ 0 w 3430"/>
                  <a:gd name="connsiteY2" fmla="*/ 1070 h 5433"/>
                  <a:gd name="connsiteX3" fmla="*/ 3430 w 3430"/>
                  <a:gd name="connsiteY3" fmla="*/ 0 h 5433"/>
                  <a:gd name="connsiteX4" fmla="*/ 3293 w 3430"/>
                  <a:gd name="connsiteY4" fmla="*/ 4089 h 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5433">
                    <a:moveTo>
                      <a:pt x="3320" y="4062"/>
                    </a:moveTo>
                    <a:lnTo>
                      <a:pt x="1564" y="5434"/>
                    </a:lnTo>
                    <a:lnTo>
                      <a:pt x="0" y="1070"/>
                    </a:lnTo>
                    <a:lnTo>
                      <a:pt x="3430" y="0"/>
                    </a:lnTo>
                    <a:lnTo>
                      <a:pt x="3293" y="40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2" name="Freeform: Shape 4231">
                <a:extLst>
                  <a:ext uri="{FF2B5EF4-FFF2-40B4-BE49-F238E27FC236}">
                    <a16:creationId xmlns:a16="http://schemas.microsoft.com/office/drawing/2014/main" id="{A30906BC-7369-9253-F40E-0C6A6066AB5D}"/>
                  </a:ext>
                </a:extLst>
              </p:cNvPr>
              <p:cNvSpPr/>
              <p:nvPr/>
            </p:nvSpPr>
            <p:spPr>
              <a:xfrm>
                <a:off x="1670914" y="3823851"/>
                <a:ext cx="300" cy="535"/>
              </a:xfrm>
              <a:custGeom>
                <a:avLst/>
                <a:gdLst>
                  <a:gd name="connsiteX0" fmla="*/ 2882 w 2881"/>
                  <a:gd name="connsiteY0" fmla="*/ 5132 h 5131"/>
                  <a:gd name="connsiteX1" fmla="*/ 1372 w 2881"/>
                  <a:gd name="connsiteY1" fmla="*/ 5132 h 5131"/>
                  <a:gd name="connsiteX2" fmla="*/ 0 w 2881"/>
                  <a:gd name="connsiteY2" fmla="*/ 2991 h 5131"/>
                  <a:gd name="connsiteX3" fmla="*/ 1592 w 2881"/>
                  <a:gd name="connsiteY3" fmla="*/ 0 h 5131"/>
                  <a:gd name="connsiteX4" fmla="*/ 2470 w 2881"/>
                  <a:gd name="connsiteY4" fmla="*/ 0 h 5131"/>
                  <a:gd name="connsiteX5" fmla="*/ 2882 w 2881"/>
                  <a:gd name="connsiteY5" fmla="*/ 5132 h 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 h="5131">
                    <a:moveTo>
                      <a:pt x="2882" y="5132"/>
                    </a:moveTo>
                    <a:lnTo>
                      <a:pt x="1372" y="5132"/>
                    </a:lnTo>
                    <a:lnTo>
                      <a:pt x="0" y="2991"/>
                    </a:lnTo>
                    <a:lnTo>
                      <a:pt x="1592" y="0"/>
                    </a:lnTo>
                    <a:lnTo>
                      <a:pt x="2470" y="0"/>
                    </a:lnTo>
                    <a:lnTo>
                      <a:pt x="2882" y="513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3" name="Freeform: Shape 4232">
                <a:extLst>
                  <a:ext uri="{FF2B5EF4-FFF2-40B4-BE49-F238E27FC236}">
                    <a16:creationId xmlns:a16="http://schemas.microsoft.com/office/drawing/2014/main" id="{30E74076-02FD-2A36-69A6-A545565B54B0}"/>
                  </a:ext>
                </a:extLst>
              </p:cNvPr>
              <p:cNvSpPr/>
              <p:nvPr/>
            </p:nvSpPr>
            <p:spPr>
              <a:xfrm>
                <a:off x="1672013" y="3814253"/>
                <a:ext cx="375" cy="432"/>
              </a:xfrm>
              <a:custGeom>
                <a:avLst/>
                <a:gdLst>
                  <a:gd name="connsiteX0" fmla="*/ 3019 w 3595"/>
                  <a:gd name="connsiteY0" fmla="*/ 0 h 4143"/>
                  <a:gd name="connsiteX1" fmla="*/ 3595 w 3595"/>
                  <a:gd name="connsiteY1" fmla="*/ 4144 h 4143"/>
                  <a:gd name="connsiteX2" fmla="*/ 741 w 3595"/>
                  <a:gd name="connsiteY2" fmla="*/ 2689 h 4143"/>
                  <a:gd name="connsiteX3" fmla="*/ 0 w 3595"/>
                  <a:gd name="connsiteY3" fmla="*/ 714 h 4143"/>
                  <a:gd name="connsiteX4" fmla="*/ 3046 w 3595"/>
                  <a:gd name="connsiteY4" fmla="*/ 27 h 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4143">
                    <a:moveTo>
                      <a:pt x="3019" y="0"/>
                    </a:moveTo>
                    <a:lnTo>
                      <a:pt x="3595" y="4144"/>
                    </a:lnTo>
                    <a:lnTo>
                      <a:pt x="741" y="2689"/>
                    </a:lnTo>
                    <a:lnTo>
                      <a:pt x="0" y="714"/>
                    </a:lnTo>
                    <a:lnTo>
                      <a:pt x="3046"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4" name="Freeform: Shape 4233">
                <a:extLst>
                  <a:ext uri="{FF2B5EF4-FFF2-40B4-BE49-F238E27FC236}">
                    <a16:creationId xmlns:a16="http://schemas.microsoft.com/office/drawing/2014/main" id="{97E97788-68E0-295B-0CDF-61B3393D221B}"/>
                  </a:ext>
                </a:extLst>
              </p:cNvPr>
              <p:cNvSpPr/>
              <p:nvPr/>
            </p:nvSpPr>
            <p:spPr>
              <a:xfrm>
                <a:off x="1679842" y="3808208"/>
                <a:ext cx="335" cy="472"/>
              </a:xfrm>
              <a:custGeom>
                <a:avLst/>
                <a:gdLst>
                  <a:gd name="connsiteX0" fmla="*/ 3211 w 3210"/>
                  <a:gd name="connsiteY0" fmla="*/ 1207 h 4528"/>
                  <a:gd name="connsiteX1" fmla="*/ 2140 w 3210"/>
                  <a:gd name="connsiteY1" fmla="*/ 4528 h 4528"/>
                  <a:gd name="connsiteX2" fmla="*/ 1097 w 3210"/>
                  <a:gd name="connsiteY2" fmla="*/ 3485 h 4528"/>
                  <a:gd name="connsiteX3" fmla="*/ 0 w 3210"/>
                  <a:gd name="connsiteY3" fmla="*/ 0 h 4528"/>
                  <a:gd name="connsiteX4" fmla="*/ 3211 w 3210"/>
                  <a:gd name="connsiteY4" fmla="*/ 1207 h 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 h="4528">
                    <a:moveTo>
                      <a:pt x="3211" y="1207"/>
                    </a:moveTo>
                    <a:lnTo>
                      <a:pt x="2140" y="4528"/>
                    </a:lnTo>
                    <a:lnTo>
                      <a:pt x="1097" y="3485"/>
                    </a:lnTo>
                    <a:lnTo>
                      <a:pt x="0" y="0"/>
                    </a:lnTo>
                    <a:lnTo>
                      <a:pt x="3211" y="12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5" name="Freeform: Shape 4234">
                <a:extLst>
                  <a:ext uri="{FF2B5EF4-FFF2-40B4-BE49-F238E27FC236}">
                    <a16:creationId xmlns:a16="http://schemas.microsoft.com/office/drawing/2014/main" id="{1A7B812D-3760-8196-A3A7-73E8D2C755E8}"/>
                  </a:ext>
                </a:extLst>
              </p:cNvPr>
              <p:cNvSpPr/>
              <p:nvPr/>
            </p:nvSpPr>
            <p:spPr>
              <a:xfrm>
                <a:off x="1669818" y="3824154"/>
                <a:ext cx="372" cy="366"/>
              </a:xfrm>
              <a:custGeom>
                <a:avLst/>
                <a:gdLst>
                  <a:gd name="connsiteX0" fmla="*/ 3540 w 3567"/>
                  <a:gd name="connsiteY0" fmla="*/ 2552 h 3512"/>
                  <a:gd name="connsiteX1" fmla="*/ 1481 w 3567"/>
                  <a:gd name="connsiteY1" fmla="*/ 3513 h 3512"/>
                  <a:gd name="connsiteX2" fmla="*/ 0 w 3567"/>
                  <a:gd name="connsiteY2" fmla="*/ 1455 h 3512"/>
                  <a:gd name="connsiteX3" fmla="*/ 3046 w 3567"/>
                  <a:gd name="connsiteY3" fmla="*/ 0 h 3512"/>
                  <a:gd name="connsiteX4" fmla="*/ 3567 w 3567"/>
                  <a:gd name="connsiteY4" fmla="*/ 2552 h 3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3512">
                    <a:moveTo>
                      <a:pt x="3540" y="2552"/>
                    </a:moveTo>
                    <a:lnTo>
                      <a:pt x="1481" y="3513"/>
                    </a:lnTo>
                    <a:lnTo>
                      <a:pt x="0" y="1455"/>
                    </a:lnTo>
                    <a:lnTo>
                      <a:pt x="3046" y="0"/>
                    </a:lnTo>
                    <a:lnTo>
                      <a:pt x="3567"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6" name="Freeform: Shape 4235">
                <a:extLst>
                  <a:ext uri="{FF2B5EF4-FFF2-40B4-BE49-F238E27FC236}">
                    <a16:creationId xmlns:a16="http://schemas.microsoft.com/office/drawing/2014/main" id="{A3669BE0-72D4-3AC3-1774-4E250A81BBC5}"/>
                  </a:ext>
                </a:extLst>
              </p:cNvPr>
              <p:cNvSpPr/>
              <p:nvPr/>
            </p:nvSpPr>
            <p:spPr>
              <a:xfrm>
                <a:off x="1664729" y="3817471"/>
                <a:ext cx="300" cy="429"/>
              </a:xfrm>
              <a:custGeom>
                <a:avLst/>
                <a:gdLst>
                  <a:gd name="connsiteX0" fmla="*/ 2634 w 2881"/>
                  <a:gd name="connsiteY0" fmla="*/ 3870 h 4116"/>
                  <a:gd name="connsiteX1" fmla="*/ 1536 w 2881"/>
                  <a:gd name="connsiteY1" fmla="*/ 4116 h 4116"/>
                  <a:gd name="connsiteX2" fmla="*/ 0 w 2881"/>
                  <a:gd name="connsiteY2" fmla="*/ 1400 h 4116"/>
                  <a:gd name="connsiteX3" fmla="*/ 2882 w 2881"/>
                  <a:gd name="connsiteY3" fmla="*/ 0 h 4116"/>
                  <a:gd name="connsiteX4" fmla="*/ 2634 w 2881"/>
                  <a:gd name="connsiteY4" fmla="*/ 3870 h 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1" h="4116">
                    <a:moveTo>
                      <a:pt x="2634" y="3870"/>
                    </a:moveTo>
                    <a:lnTo>
                      <a:pt x="1536" y="4116"/>
                    </a:lnTo>
                    <a:lnTo>
                      <a:pt x="0" y="1400"/>
                    </a:lnTo>
                    <a:lnTo>
                      <a:pt x="2882" y="0"/>
                    </a:lnTo>
                    <a:lnTo>
                      <a:pt x="2634" y="38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7" name="Freeform: Shape 4236">
                <a:extLst>
                  <a:ext uri="{FF2B5EF4-FFF2-40B4-BE49-F238E27FC236}">
                    <a16:creationId xmlns:a16="http://schemas.microsoft.com/office/drawing/2014/main" id="{C6BC3534-4B51-0C37-801D-2E7398466774}"/>
                  </a:ext>
                </a:extLst>
              </p:cNvPr>
              <p:cNvSpPr/>
              <p:nvPr/>
            </p:nvSpPr>
            <p:spPr>
              <a:xfrm>
                <a:off x="850684" y="3527691"/>
                <a:ext cx="115879" cy="116860"/>
              </a:xfrm>
              <a:custGeom>
                <a:avLst/>
                <a:gdLst>
                  <a:gd name="connsiteX0" fmla="*/ 352039 w 1111001"/>
                  <a:gd name="connsiteY0" fmla="*/ 31697 h 1120414"/>
                  <a:gd name="connsiteX1" fmla="*/ 354234 w 1111001"/>
                  <a:gd name="connsiteY1" fmla="*/ 38448 h 1120414"/>
                  <a:gd name="connsiteX2" fmla="*/ 372346 w 1111001"/>
                  <a:gd name="connsiteY2" fmla="*/ 19786 h 1120414"/>
                  <a:gd name="connsiteX3" fmla="*/ 379317 w 1111001"/>
                  <a:gd name="connsiteY3" fmla="*/ 18826 h 1120414"/>
                  <a:gd name="connsiteX4" fmla="*/ 391639 w 1111001"/>
                  <a:gd name="connsiteY4" fmla="*/ 40780 h 1120414"/>
                  <a:gd name="connsiteX5" fmla="*/ 426766 w 1111001"/>
                  <a:gd name="connsiteY5" fmla="*/ 34386 h 1120414"/>
                  <a:gd name="connsiteX6" fmla="*/ 449900 w 1111001"/>
                  <a:gd name="connsiteY6" fmla="*/ 40863 h 1120414"/>
                  <a:gd name="connsiteX7" fmla="*/ 452507 w 1111001"/>
                  <a:gd name="connsiteY7" fmla="*/ 45308 h 1120414"/>
                  <a:gd name="connsiteX8" fmla="*/ 455746 w 1111001"/>
                  <a:gd name="connsiteY8" fmla="*/ 62625 h 1120414"/>
                  <a:gd name="connsiteX9" fmla="*/ 477398 w 1111001"/>
                  <a:gd name="connsiteY9" fmla="*/ 76209 h 1120414"/>
                  <a:gd name="connsiteX10" fmla="*/ 508024 w 1111001"/>
                  <a:gd name="connsiteY10" fmla="*/ 78322 h 1120414"/>
                  <a:gd name="connsiteX11" fmla="*/ 538898 w 1111001"/>
                  <a:gd name="connsiteY11" fmla="*/ 70364 h 1120414"/>
                  <a:gd name="connsiteX12" fmla="*/ 589036 w 1111001"/>
                  <a:gd name="connsiteY12" fmla="*/ 93004 h 1120414"/>
                  <a:gd name="connsiteX13" fmla="*/ 641480 w 1111001"/>
                  <a:gd name="connsiteY13" fmla="*/ 99783 h 1120414"/>
                  <a:gd name="connsiteX14" fmla="*/ 672133 w 1111001"/>
                  <a:gd name="connsiteY14" fmla="*/ 113010 h 1120414"/>
                  <a:gd name="connsiteX15" fmla="*/ 705422 w 1111001"/>
                  <a:gd name="connsiteY15" fmla="*/ 103378 h 1120414"/>
                  <a:gd name="connsiteX16" fmla="*/ 722327 w 1111001"/>
                  <a:gd name="connsiteY16" fmla="*/ 104119 h 1120414"/>
                  <a:gd name="connsiteX17" fmla="*/ 788107 w 1111001"/>
                  <a:gd name="connsiteY17" fmla="*/ 145173 h 1120414"/>
                  <a:gd name="connsiteX18" fmla="*/ 788025 w 1111001"/>
                  <a:gd name="connsiteY18" fmla="*/ 287520 h 1120414"/>
                  <a:gd name="connsiteX19" fmla="*/ 787915 w 1111001"/>
                  <a:gd name="connsiteY19" fmla="*/ 495867 h 1120414"/>
                  <a:gd name="connsiteX20" fmla="*/ 787915 w 1111001"/>
                  <a:gd name="connsiteY20" fmla="*/ 518590 h 1120414"/>
                  <a:gd name="connsiteX21" fmla="*/ 787915 w 1111001"/>
                  <a:gd name="connsiteY21" fmla="*/ 521252 h 1120414"/>
                  <a:gd name="connsiteX22" fmla="*/ 787915 w 1111001"/>
                  <a:gd name="connsiteY22" fmla="*/ 524737 h 1120414"/>
                  <a:gd name="connsiteX23" fmla="*/ 787915 w 1111001"/>
                  <a:gd name="connsiteY23" fmla="*/ 540023 h 1120414"/>
                  <a:gd name="connsiteX24" fmla="*/ 787915 w 1111001"/>
                  <a:gd name="connsiteY24" fmla="*/ 542493 h 1120414"/>
                  <a:gd name="connsiteX25" fmla="*/ 788547 w 1111001"/>
                  <a:gd name="connsiteY25" fmla="*/ 796917 h 1120414"/>
                  <a:gd name="connsiteX26" fmla="*/ 799194 w 1111001"/>
                  <a:gd name="connsiteY26" fmla="*/ 803009 h 1120414"/>
                  <a:gd name="connsiteX27" fmla="*/ 805534 w 1111001"/>
                  <a:gd name="connsiteY27" fmla="*/ 800567 h 1120414"/>
                  <a:gd name="connsiteX28" fmla="*/ 817170 w 1111001"/>
                  <a:gd name="connsiteY28" fmla="*/ 805753 h 1120414"/>
                  <a:gd name="connsiteX29" fmla="*/ 827241 w 1111001"/>
                  <a:gd name="connsiteY29" fmla="*/ 798261 h 1120414"/>
                  <a:gd name="connsiteX30" fmla="*/ 843844 w 1111001"/>
                  <a:gd name="connsiteY30" fmla="*/ 797438 h 1120414"/>
                  <a:gd name="connsiteX31" fmla="*/ 842856 w 1111001"/>
                  <a:gd name="connsiteY31" fmla="*/ 813684 h 1120414"/>
                  <a:gd name="connsiteX32" fmla="*/ 854163 w 1111001"/>
                  <a:gd name="connsiteY32" fmla="*/ 822768 h 1120414"/>
                  <a:gd name="connsiteX33" fmla="*/ 859789 w 1111001"/>
                  <a:gd name="connsiteY33" fmla="*/ 833032 h 1120414"/>
                  <a:gd name="connsiteX34" fmla="*/ 885667 w 1111001"/>
                  <a:gd name="connsiteY34" fmla="*/ 859734 h 1120414"/>
                  <a:gd name="connsiteX35" fmla="*/ 892226 w 1111001"/>
                  <a:gd name="connsiteY35" fmla="*/ 879575 h 1120414"/>
                  <a:gd name="connsiteX36" fmla="*/ 918187 w 1111001"/>
                  <a:gd name="connsiteY36" fmla="*/ 864838 h 1120414"/>
                  <a:gd name="connsiteX37" fmla="*/ 921041 w 1111001"/>
                  <a:gd name="connsiteY37" fmla="*/ 859185 h 1120414"/>
                  <a:gd name="connsiteX38" fmla="*/ 922057 w 1111001"/>
                  <a:gd name="connsiteY38" fmla="*/ 850485 h 1120414"/>
                  <a:gd name="connsiteX39" fmla="*/ 925899 w 1111001"/>
                  <a:gd name="connsiteY39" fmla="*/ 847165 h 1120414"/>
                  <a:gd name="connsiteX40" fmla="*/ 927875 w 1111001"/>
                  <a:gd name="connsiteY40" fmla="*/ 840222 h 1120414"/>
                  <a:gd name="connsiteX41" fmla="*/ 940279 w 1111001"/>
                  <a:gd name="connsiteY41" fmla="*/ 834349 h 1120414"/>
                  <a:gd name="connsiteX42" fmla="*/ 949856 w 1111001"/>
                  <a:gd name="connsiteY42" fmla="*/ 830644 h 1120414"/>
                  <a:gd name="connsiteX43" fmla="*/ 960916 w 1111001"/>
                  <a:gd name="connsiteY43" fmla="*/ 840963 h 1120414"/>
                  <a:gd name="connsiteX44" fmla="*/ 965142 w 1111001"/>
                  <a:gd name="connsiteY44" fmla="*/ 858169 h 1120414"/>
                  <a:gd name="connsiteX45" fmla="*/ 975927 w 1111001"/>
                  <a:gd name="connsiteY45" fmla="*/ 865277 h 1120414"/>
                  <a:gd name="connsiteX46" fmla="*/ 986081 w 1111001"/>
                  <a:gd name="connsiteY46" fmla="*/ 882072 h 1120414"/>
                  <a:gd name="connsiteX47" fmla="*/ 998129 w 1111001"/>
                  <a:gd name="connsiteY47" fmla="*/ 891485 h 1120414"/>
                  <a:gd name="connsiteX48" fmla="*/ 1009298 w 1111001"/>
                  <a:gd name="connsiteY48" fmla="*/ 905591 h 1120414"/>
                  <a:gd name="connsiteX49" fmla="*/ 1013277 w 1111001"/>
                  <a:gd name="connsiteY49" fmla="*/ 917007 h 1120414"/>
                  <a:gd name="connsiteX50" fmla="*/ 1042504 w 1111001"/>
                  <a:gd name="connsiteY50" fmla="*/ 970494 h 1120414"/>
                  <a:gd name="connsiteX51" fmla="*/ 1043656 w 1111001"/>
                  <a:gd name="connsiteY51" fmla="*/ 980785 h 1120414"/>
                  <a:gd name="connsiteX52" fmla="*/ 1049365 w 1111001"/>
                  <a:gd name="connsiteY52" fmla="*/ 985175 h 1120414"/>
                  <a:gd name="connsiteX53" fmla="*/ 1050572 w 1111001"/>
                  <a:gd name="connsiteY53" fmla="*/ 992420 h 1120414"/>
                  <a:gd name="connsiteX54" fmla="*/ 1058503 w 1111001"/>
                  <a:gd name="connsiteY54" fmla="*/ 1006416 h 1120414"/>
                  <a:gd name="connsiteX55" fmla="*/ 1094097 w 1111001"/>
                  <a:gd name="connsiteY55" fmla="*/ 1025462 h 1120414"/>
                  <a:gd name="connsiteX56" fmla="*/ 1107461 w 1111001"/>
                  <a:gd name="connsiteY56" fmla="*/ 1035286 h 1120414"/>
                  <a:gd name="connsiteX57" fmla="*/ 1111002 w 1111001"/>
                  <a:gd name="connsiteY57" fmla="*/ 1044452 h 1120414"/>
                  <a:gd name="connsiteX58" fmla="*/ 1107681 w 1111001"/>
                  <a:gd name="connsiteY58" fmla="*/ 1049721 h 1120414"/>
                  <a:gd name="connsiteX59" fmla="*/ 1106885 w 1111001"/>
                  <a:gd name="connsiteY59" fmla="*/ 1053207 h 1120414"/>
                  <a:gd name="connsiteX60" fmla="*/ 1106720 w 1111001"/>
                  <a:gd name="connsiteY60" fmla="*/ 1053920 h 1120414"/>
                  <a:gd name="connsiteX61" fmla="*/ 1107489 w 1111001"/>
                  <a:gd name="connsiteY61" fmla="*/ 1062674 h 1120414"/>
                  <a:gd name="connsiteX62" fmla="*/ 1109492 w 1111001"/>
                  <a:gd name="connsiteY62" fmla="*/ 1070057 h 1120414"/>
                  <a:gd name="connsiteX63" fmla="*/ 1110151 w 1111001"/>
                  <a:gd name="connsiteY63" fmla="*/ 1077796 h 1120414"/>
                  <a:gd name="connsiteX64" fmla="*/ 1107681 w 1111001"/>
                  <a:gd name="connsiteY64" fmla="*/ 1081775 h 1120414"/>
                  <a:gd name="connsiteX65" fmla="*/ 1101534 w 1111001"/>
                  <a:gd name="connsiteY65" fmla="*/ 1094728 h 1120414"/>
                  <a:gd name="connsiteX66" fmla="*/ 1097253 w 1111001"/>
                  <a:gd name="connsiteY66" fmla="*/ 1099667 h 1120414"/>
                  <a:gd name="connsiteX67" fmla="*/ 1093273 w 1111001"/>
                  <a:gd name="connsiteY67" fmla="*/ 1102055 h 1120414"/>
                  <a:gd name="connsiteX68" fmla="*/ 1091051 w 1111001"/>
                  <a:gd name="connsiteY68" fmla="*/ 1104854 h 1120414"/>
                  <a:gd name="connsiteX69" fmla="*/ 1083531 w 1111001"/>
                  <a:gd name="connsiteY69" fmla="*/ 1098241 h 1120414"/>
                  <a:gd name="connsiteX70" fmla="*/ 1080348 w 1111001"/>
                  <a:gd name="connsiteY70" fmla="*/ 1085397 h 1120414"/>
                  <a:gd name="connsiteX71" fmla="*/ 1080650 w 1111001"/>
                  <a:gd name="connsiteY71" fmla="*/ 1081912 h 1120414"/>
                  <a:gd name="connsiteX72" fmla="*/ 1082708 w 1111001"/>
                  <a:gd name="connsiteY72" fmla="*/ 1077960 h 1120414"/>
                  <a:gd name="connsiteX73" fmla="*/ 1082406 w 1111001"/>
                  <a:gd name="connsiteY73" fmla="*/ 1076176 h 1120414"/>
                  <a:gd name="connsiteX74" fmla="*/ 1081061 w 1111001"/>
                  <a:gd name="connsiteY74" fmla="*/ 1076368 h 1120414"/>
                  <a:gd name="connsiteX75" fmla="*/ 1078125 w 1111001"/>
                  <a:gd name="connsiteY75" fmla="*/ 1080183 h 1120414"/>
                  <a:gd name="connsiteX76" fmla="*/ 1076094 w 1111001"/>
                  <a:gd name="connsiteY76" fmla="*/ 1081089 h 1120414"/>
                  <a:gd name="connsiteX77" fmla="*/ 1067697 w 1111001"/>
                  <a:gd name="connsiteY77" fmla="*/ 1075984 h 1120414"/>
                  <a:gd name="connsiteX78" fmla="*/ 1067450 w 1111001"/>
                  <a:gd name="connsiteY78" fmla="*/ 1078125 h 1120414"/>
                  <a:gd name="connsiteX79" fmla="*/ 1070002 w 1111001"/>
                  <a:gd name="connsiteY79" fmla="*/ 1081720 h 1120414"/>
                  <a:gd name="connsiteX80" fmla="*/ 1070990 w 1111001"/>
                  <a:gd name="connsiteY80" fmla="*/ 1084931 h 1120414"/>
                  <a:gd name="connsiteX81" fmla="*/ 1070852 w 1111001"/>
                  <a:gd name="connsiteY81" fmla="*/ 1088828 h 1120414"/>
                  <a:gd name="connsiteX82" fmla="*/ 1069206 w 1111001"/>
                  <a:gd name="connsiteY82" fmla="*/ 1090886 h 1120414"/>
                  <a:gd name="connsiteX83" fmla="*/ 1064678 w 1111001"/>
                  <a:gd name="connsiteY83" fmla="*/ 1089788 h 1120414"/>
                  <a:gd name="connsiteX84" fmla="*/ 1063278 w 1111001"/>
                  <a:gd name="connsiteY84" fmla="*/ 1077000 h 1120414"/>
                  <a:gd name="connsiteX85" fmla="*/ 1061988 w 1111001"/>
                  <a:gd name="connsiteY85" fmla="*/ 1077850 h 1120414"/>
                  <a:gd name="connsiteX86" fmla="*/ 1060040 w 1111001"/>
                  <a:gd name="connsiteY86" fmla="*/ 1083174 h 1120414"/>
                  <a:gd name="connsiteX87" fmla="*/ 1058366 w 1111001"/>
                  <a:gd name="connsiteY87" fmla="*/ 1082077 h 1120414"/>
                  <a:gd name="connsiteX88" fmla="*/ 1057049 w 1111001"/>
                  <a:gd name="connsiteY88" fmla="*/ 1074338 h 1120414"/>
                  <a:gd name="connsiteX89" fmla="*/ 1058119 w 1111001"/>
                  <a:gd name="connsiteY89" fmla="*/ 1066626 h 1120414"/>
                  <a:gd name="connsiteX90" fmla="*/ 1060753 w 1111001"/>
                  <a:gd name="connsiteY90" fmla="*/ 1060259 h 1120414"/>
                  <a:gd name="connsiteX91" fmla="*/ 1060150 w 1111001"/>
                  <a:gd name="connsiteY91" fmla="*/ 1048020 h 1120414"/>
                  <a:gd name="connsiteX92" fmla="*/ 1058778 w 1111001"/>
                  <a:gd name="connsiteY92" fmla="*/ 1048541 h 1120414"/>
                  <a:gd name="connsiteX93" fmla="*/ 1056829 w 1111001"/>
                  <a:gd name="connsiteY93" fmla="*/ 1057103 h 1120414"/>
                  <a:gd name="connsiteX94" fmla="*/ 1052905 w 1111001"/>
                  <a:gd name="connsiteY94" fmla="*/ 1063827 h 1120414"/>
                  <a:gd name="connsiteX95" fmla="*/ 1048871 w 1111001"/>
                  <a:gd name="connsiteY95" fmla="*/ 1062537 h 1120414"/>
                  <a:gd name="connsiteX96" fmla="*/ 1046620 w 1111001"/>
                  <a:gd name="connsiteY96" fmla="*/ 1056802 h 1120414"/>
                  <a:gd name="connsiteX97" fmla="*/ 1047169 w 1111001"/>
                  <a:gd name="connsiteY97" fmla="*/ 1052081 h 1120414"/>
                  <a:gd name="connsiteX98" fmla="*/ 1050353 w 1111001"/>
                  <a:gd name="connsiteY98" fmla="*/ 1045605 h 1120414"/>
                  <a:gd name="connsiteX99" fmla="*/ 1050956 w 1111001"/>
                  <a:gd name="connsiteY99" fmla="*/ 1038909 h 1120414"/>
                  <a:gd name="connsiteX100" fmla="*/ 1052575 w 1111001"/>
                  <a:gd name="connsiteY100" fmla="*/ 1034079 h 1120414"/>
                  <a:gd name="connsiteX101" fmla="*/ 1052575 w 1111001"/>
                  <a:gd name="connsiteY101" fmla="*/ 1031911 h 1120414"/>
                  <a:gd name="connsiteX102" fmla="*/ 1049337 w 1111001"/>
                  <a:gd name="connsiteY102" fmla="*/ 1035424 h 1120414"/>
                  <a:gd name="connsiteX103" fmla="*/ 1046922 w 1111001"/>
                  <a:gd name="connsiteY103" fmla="*/ 1043190 h 1120414"/>
                  <a:gd name="connsiteX104" fmla="*/ 1042339 w 1111001"/>
                  <a:gd name="connsiteY104" fmla="*/ 1046126 h 1120414"/>
                  <a:gd name="connsiteX105" fmla="*/ 1037893 w 1111001"/>
                  <a:gd name="connsiteY105" fmla="*/ 1038909 h 1120414"/>
                  <a:gd name="connsiteX106" fmla="*/ 1033091 w 1111001"/>
                  <a:gd name="connsiteY106" fmla="*/ 1035780 h 1120414"/>
                  <a:gd name="connsiteX107" fmla="*/ 1030292 w 1111001"/>
                  <a:gd name="connsiteY107" fmla="*/ 1027986 h 1120414"/>
                  <a:gd name="connsiteX108" fmla="*/ 1026148 w 1111001"/>
                  <a:gd name="connsiteY108" fmla="*/ 1026230 h 1120414"/>
                  <a:gd name="connsiteX109" fmla="*/ 1022416 w 1111001"/>
                  <a:gd name="connsiteY109" fmla="*/ 1021675 h 1120414"/>
                  <a:gd name="connsiteX110" fmla="*/ 1023733 w 1111001"/>
                  <a:gd name="connsiteY110" fmla="*/ 1017833 h 1120414"/>
                  <a:gd name="connsiteX111" fmla="*/ 1026834 w 1111001"/>
                  <a:gd name="connsiteY111" fmla="*/ 1016378 h 1120414"/>
                  <a:gd name="connsiteX112" fmla="*/ 1032213 w 1111001"/>
                  <a:gd name="connsiteY112" fmla="*/ 1018134 h 1120414"/>
                  <a:gd name="connsiteX113" fmla="*/ 1034216 w 1111001"/>
                  <a:gd name="connsiteY113" fmla="*/ 1023843 h 1120414"/>
                  <a:gd name="connsiteX114" fmla="*/ 1037564 w 1111001"/>
                  <a:gd name="connsiteY114" fmla="*/ 1019205 h 1120414"/>
                  <a:gd name="connsiteX115" fmla="*/ 1041104 w 1111001"/>
                  <a:gd name="connsiteY115" fmla="*/ 1021126 h 1120414"/>
                  <a:gd name="connsiteX116" fmla="*/ 1043300 w 1111001"/>
                  <a:gd name="connsiteY116" fmla="*/ 1013936 h 1120414"/>
                  <a:gd name="connsiteX117" fmla="*/ 1041516 w 1111001"/>
                  <a:gd name="connsiteY117" fmla="*/ 1008996 h 1120414"/>
                  <a:gd name="connsiteX118" fmla="*/ 1027410 w 1111001"/>
                  <a:gd name="connsiteY118" fmla="*/ 1012865 h 1120414"/>
                  <a:gd name="connsiteX119" fmla="*/ 1022004 w 1111001"/>
                  <a:gd name="connsiteY119" fmla="*/ 1013140 h 1120414"/>
                  <a:gd name="connsiteX120" fmla="*/ 1017970 w 1111001"/>
                  <a:gd name="connsiteY120" fmla="*/ 1015308 h 1120414"/>
                  <a:gd name="connsiteX121" fmla="*/ 1007404 w 1111001"/>
                  <a:gd name="connsiteY121" fmla="*/ 1016268 h 1120414"/>
                  <a:gd name="connsiteX122" fmla="*/ 999089 w 1111001"/>
                  <a:gd name="connsiteY122" fmla="*/ 1011905 h 1120414"/>
                  <a:gd name="connsiteX123" fmla="*/ 994534 w 1111001"/>
                  <a:gd name="connsiteY123" fmla="*/ 1033640 h 1120414"/>
                  <a:gd name="connsiteX124" fmla="*/ 992997 w 1111001"/>
                  <a:gd name="connsiteY124" fmla="*/ 1033502 h 1120414"/>
                  <a:gd name="connsiteX125" fmla="*/ 992393 w 1111001"/>
                  <a:gd name="connsiteY125" fmla="*/ 1028261 h 1120414"/>
                  <a:gd name="connsiteX126" fmla="*/ 991789 w 1111001"/>
                  <a:gd name="connsiteY126" fmla="*/ 1027383 h 1120414"/>
                  <a:gd name="connsiteX127" fmla="*/ 989758 w 1111001"/>
                  <a:gd name="connsiteY127" fmla="*/ 1036192 h 1120414"/>
                  <a:gd name="connsiteX128" fmla="*/ 988798 w 1111001"/>
                  <a:gd name="connsiteY128" fmla="*/ 1037345 h 1120414"/>
                  <a:gd name="connsiteX129" fmla="*/ 986932 w 1111001"/>
                  <a:gd name="connsiteY129" fmla="*/ 1034216 h 1120414"/>
                  <a:gd name="connsiteX130" fmla="*/ 985971 w 1111001"/>
                  <a:gd name="connsiteY130" fmla="*/ 1023980 h 1120414"/>
                  <a:gd name="connsiteX131" fmla="*/ 988194 w 1111001"/>
                  <a:gd name="connsiteY131" fmla="*/ 1014540 h 1120414"/>
                  <a:gd name="connsiteX132" fmla="*/ 983529 w 1111001"/>
                  <a:gd name="connsiteY132" fmla="*/ 1003562 h 1120414"/>
                  <a:gd name="connsiteX133" fmla="*/ 983392 w 1111001"/>
                  <a:gd name="connsiteY133" fmla="*/ 995576 h 1120414"/>
                  <a:gd name="connsiteX134" fmla="*/ 991158 w 1111001"/>
                  <a:gd name="connsiteY134" fmla="*/ 991186 h 1120414"/>
                  <a:gd name="connsiteX135" fmla="*/ 996976 w 1111001"/>
                  <a:gd name="connsiteY135" fmla="*/ 999419 h 1120414"/>
                  <a:gd name="connsiteX136" fmla="*/ 997936 w 1111001"/>
                  <a:gd name="connsiteY136" fmla="*/ 993107 h 1120414"/>
                  <a:gd name="connsiteX137" fmla="*/ 994643 w 1111001"/>
                  <a:gd name="connsiteY137" fmla="*/ 985615 h 1120414"/>
                  <a:gd name="connsiteX138" fmla="*/ 995055 w 1111001"/>
                  <a:gd name="connsiteY138" fmla="*/ 983941 h 1120414"/>
                  <a:gd name="connsiteX139" fmla="*/ 997936 w 1111001"/>
                  <a:gd name="connsiteY139" fmla="*/ 982376 h 1120414"/>
                  <a:gd name="connsiteX140" fmla="*/ 1017942 w 1111001"/>
                  <a:gd name="connsiteY140" fmla="*/ 986794 h 1120414"/>
                  <a:gd name="connsiteX141" fmla="*/ 1027136 w 1111001"/>
                  <a:gd name="connsiteY141" fmla="*/ 998156 h 1120414"/>
                  <a:gd name="connsiteX142" fmla="*/ 1032076 w 1111001"/>
                  <a:gd name="connsiteY142" fmla="*/ 1000653 h 1120414"/>
                  <a:gd name="connsiteX143" fmla="*/ 1032844 w 1111001"/>
                  <a:gd name="connsiteY143" fmla="*/ 999116 h 1120414"/>
                  <a:gd name="connsiteX144" fmla="*/ 1023843 w 1111001"/>
                  <a:gd name="connsiteY144" fmla="*/ 984379 h 1120414"/>
                  <a:gd name="connsiteX145" fmla="*/ 1018601 w 1111001"/>
                  <a:gd name="connsiteY145" fmla="*/ 979989 h 1120414"/>
                  <a:gd name="connsiteX146" fmla="*/ 1013112 w 1111001"/>
                  <a:gd name="connsiteY146" fmla="*/ 979769 h 1120414"/>
                  <a:gd name="connsiteX147" fmla="*/ 1008365 w 1111001"/>
                  <a:gd name="connsiteY147" fmla="*/ 976339 h 1120414"/>
                  <a:gd name="connsiteX148" fmla="*/ 1008667 w 1111001"/>
                  <a:gd name="connsiteY148" fmla="*/ 972003 h 1120414"/>
                  <a:gd name="connsiteX149" fmla="*/ 1011466 w 1111001"/>
                  <a:gd name="connsiteY149" fmla="*/ 968079 h 1120414"/>
                  <a:gd name="connsiteX150" fmla="*/ 1008392 w 1111001"/>
                  <a:gd name="connsiteY150" fmla="*/ 957266 h 1120414"/>
                  <a:gd name="connsiteX151" fmla="*/ 1004523 w 1111001"/>
                  <a:gd name="connsiteY151" fmla="*/ 951585 h 1120414"/>
                  <a:gd name="connsiteX152" fmla="*/ 1007843 w 1111001"/>
                  <a:gd name="connsiteY152" fmla="*/ 946838 h 1120414"/>
                  <a:gd name="connsiteX153" fmla="*/ 1006307 w 1111001"/>
                  <a:gd name="connsiteY153" fmla="*/ 942666 h 1120414"/>
                  <a:gd name="connsiteX154" fmla="*/ 1001092 w 1111001"/>
                  <a:gd name="connsiteY154" fmla="*/ 940498 h 1120414"/>
                  <a:gd name="connsiteX155" fmla="*/ 993902 w 1111001"/>
                  <a:gd name="connsiteY155" fmla="*/ 929850 h 1120414"/>
                  <a:gd name="connsiteX156" fmla="*/ 992173 w 1111001"/>
                  <a:gd name="connsiteY156" fmla="*/ 919889 h 1120414"/>
                  <a:gd name="connsiteX157" fmla="*/ 992064 w 1111001"/>
                  <a:gd name="connsiteY157" fmla="*/ 914674 h 1120414"/>
                  <a:gd name="connsiteX158" fmla="*/ 987590 w 1111001"/>
                  <a:gd name="connsiteY158" fmla="*/ 919998 h 1120414"/>
                  <a:gd name="connsiteX159" fmla="*/ 976833 w 1111001"/>
                  <a:gd name="connsiteY159" fmla="*/ 917446 h 1120414"/>
                  <a:gd name="connsiteX160" fmla="*/ 967941 w 1111001"/>
                  <a:gd name="connsiteY160" fmla="*/ 901200 h 1120414"/>
                  <a:gd name="connsiteX161" fmla="*/ 954192 w 1111001"/>
                  <a:gd name="connsiteY161" fmla="*/ 864811 h 1120414"/>
                  <a:gd name="connsiteX162" fmla="*/ 954083 w 1111001"/>
                  <a:gd name="connsiteY162" fmla="*/ 864591 h 1120414"/>
                  <a:gd name="connsiteX163" fmla="*/ 953918 w 1111001"/>
                  <a:gd name="connsiteY163" fmla="*/ 864426 h 1120414"/>
                  <a:gd name="connsiteX164" fmla="*/ 953753 w 1111001"/>
                  <a:gd name="connsiteY164" fmla="*/ 864426 h 1120414"/>
                  <a:gd name="connsiteX165" fmla="*/ 953589 w 1111001"/>
                  <a:gd name="connsiteY165" fmla="*/ 864426 h 1120414"/>
                  <a:gd name="connsiteX166" fmla="*/ 953451 w 1111001"/>
                  <a:gd name="connsiteY166" fmla="*/ 864591 h 1120414"/>
                  <a:gd name="connsiteX167" fmla="*/ 953342 w 1111001"/>
                  <a:gd name="connsiteY167" fmla="*/ 864838 h 1120414"/>
                  <a:gd name="connsiteX168" fmla="*/ 953287 w 1111001"/>
                  <a:gd name="connsiteY168" fmla="*/ 865167 h 1120414"/>
                  <a:gd name="connsiteX169" fmla="*/ 953287 w 1111001"/>
                  <a:gd name="connsiteY169" fmla="*/ 865497 h 1120414"/>
                  <a:gd name="connsiteX170" fmla="*/ 953753 w 1111001"/>
                  <a:gd name="connsiteY170" fmla="*/ 876529 h 1120414"/>
                  <a:gd name="connsiteX171" fmla="*/ 960861 w 1111001"/>
                  <a:gd name="connsiteY171" fmla="*/ 910366 h 1120414"/>
                  <a:gd name="connsiteX172" fmla="*/ 959818 w 1111001"/>
                  <a:gd name="connsiteY172" fmla="*/ 916458 h 1120414"/>
                  <a:gd name="connsiteX173" fmla="*/ 940471 w 1111001"/>
                  <a:gd name="connsiteY173" fmla="*/ 908610 h 1120414"/>
                  <a:gd name="connsiteX174" fmla="*/ 940306 w 1111001"/>
                  <a:gd name="connsiteY174" fmla="*/ 908198 h 1120414"/>
                  <a:gd name="connsiteX175" fmla="*/ 931991 w 1111001"/>
                  <a:gd name="connsiteY175" fmla="*/ 888274 h 1120414"/>
                  <a:gd name="connsiteX176" fmla="*/ 917309 w 1111001"/>
                  <a:gd name="connsiteY176" fmla="*/ 882210 h 1120414"/>
                  <a:gd name="connsiteX177" fmla="*/ 915745 w 1111001"/>
                  <a:gd name="connsiteY177" fmla="*/ 883911 h 1120414"/>
                  <a:gd name="connsiteX178" fmla="*/ 926393 w 1111001"/>
                  <a:gd name="connsiteY178" fmla="*/ 897221 h 1120414"/>
                  <a:gd name="connsiteX179" fmla="*/ 929055 w 1111001"/>
                  <a:gd name="connsiteY179" fmla="*/ 907430 h 1120414"/>
                  <a:gd name="connsiteX180" fmla="*/ 914153 w 1111001"/>
                  <a:gd name="connsiteY180" fmla="*/ 915196 h 1120414"/>
                  <a:gd name="connsiteX181" fmla="*/ 891266 w 1111001"/>
                  <a:gd name="connsiteY181" fmla="*/ 899883 h 1120414"/>
                  <a:gd name="connsiteX182" fmla="*/ 867445 w 1111001"/>
                  <a:gd name="connsiteY182" fmla="*/ 873592 h 1120414"/>
                  <a:gd name="connsiteX183" fmla="*/ 829052 w 1111001"/>
                  <a:gd name="connsiteY183" fmla="*/ 846534 h 1120414"/>
                  <a:gd name="connsiteX184" fmla="*/ 827214 w 1111001"/>
                  <a:gd name="connsiteY184" fmla="*/ 841374 h 1120414"/>
                  <a:gd name="connsiteX185" fmla="*/ 828119 w 1111001"/>
                  <a:gd name="connsiteY185" fmla="*/ 830233 h 1120414"/>
                  <a:gd name="connsiteX186" fmla="*/ 826116 w 1111001"/>
                  <a:gd name="connsiteY186" fmla="*/ 824936 h 1120414"/>
                  <a:gd name="connsiteX187" fmla="*/ 805259 w 1111001"/>
                  <a:gd name="connsiteY187" fmla="*/ 833361 h 1120414"/>
                  <a:gd name="connsiteX188" fmla="*/ 783360 w 1111001"/>
                  <a:gd name="connsiteY188" fmla="*/ 826555 h 1120414"/>
                  <a:gd name="connsiteX189" fmla="*/ 773178 w 1111001"/>
                  <a:gd name="connsiteY189" fmla="*/ 817526 h 1120414"/>
                  <a:gd name="connsiteX190" fmla="*/ 734566 w 1111001"/>
                  <a:gd name="connsiteY190" fmla="*/ 813328 h 1120414"/>
                  <a:gd name="connsiteX191" fmla="*/ 693072 w 1111001"/>
                  <a:gd name="connsiteY191" fmla="*/ 817032 h 1120414"/>
                  <a:gd name="connsiteX192" fmla="*/ 673176 w 1111001"/>
                  <a:gd name="connsiteY192" fmla="*/ 797054 h 1120414"/>
                  <a:gd name="connsiteX193" fmla="*/ 661623 w 1111001"/>
                  <a:gd name="connsiteY193" fmla="*/ 796560 h 1120414"/>
                  <a:gd name="connsiteX194" fmla="*/ 649603 w 1111001"/>
                  <a:gd name="connsiteY194" fmla="*/ 791318 h 1120414"/>
                  <a:gd name="connsiteX195" fmla="*/ 639312 w 1111001"/>
                  <a:gd name="connsiteY195" fmla="*/ 780451 h 1120414"/>
                  <a:gd name="connsiteX196" fmla="*/ 626715 w 1111001"/>
                  <a:gd name="connsiteY196" fmla="*/ 773810 h 1120414"/>
                  <a:gd name="connsiteX197" fmla="*/ 615903 w 1111001"/>
                  <a:gd name="connsiteY197" fmla="*/ 760582 h 1120414"/>
                  <a:gd name="connsiteX198" fmla="*/ 596940 w 1111001"/>
                  <a:gd name="connsiteY198" fmla="*/ 760363 h 1120414"/>
                  <a:gd name="connsiteX199" fmla="*/ 583987 w 1111001"/>
                  <a:gd name="connsiteY199" fmla="*/ 766290 h 1120414"/>
                  <a:gd name="connsiteX200" fmla="*/ 580584 w 1111001"/>
                  <a:gd name="connsiteY200" fmla="*/ 755368 h 1120414"/>
                  <a:gd name="connsiteX201" fmla="*/ 576110 w 1111001"/>
                  <a:gd name="connsiteY201" fmla="*/ 759759 h 1120414"/>
                  <a:gd name="connsiteX202" fmla="*/ 573037 w 1111001"/>
                  <a:gd name="connsiteY202" fmla="*/ 771175 h 1120414"/>
                  <a:gd name="connsiteX203" fmla="*/ 579623 w 1111001"/>
                  <a:gd name="connsiteY203" fmla="*/ 788903 h 1120414"/>
                  <a:gd name="connsiteX204" fmla="*/ 579102 w 1111001"/>
                  <a:gd name="connsiteY204" fmla="*/ 802488 h 1120414"/>
                  <a:gd name="connsiteX205" fmla="*/ 581599 w 1111001"/>
                  <a:gd name="connsiteY205" fmla="*/ 814919 h 1120414"/>
                  <a:gd name="connsiteX206" fmla="*/ 573119 w 1111001"/>
                  <a:gd name="connsiteY206" fmla="*/ 813739 h 1120414"/>
                  <a:gd name="connsiteX207" fmla="*/ 559453 w 1111001"/>
                  <a:gd name="connsiteY207" fmla="*/ 820133 h 1120414"/>
                  <a:gd name="connsiteX208" fmla="*/ 540929 w 1111001"/>
                  <a:gd name="connsiteY208" fmla="*/ 817334 h 1120414"/>
                  <a:gd name="connsiteX209" fmla="*/ 515983 w 1111001"/>
                  <a:gd name="connsiteY209" fmla="*/ 845902 h 1120414"/>
                  <a:gd name="connsiteX210" fmla="*/ 507777 w 1111001"/>
                  <a:gd name="connsiteY210" fmla="*/ 847576 h 1120414"/>
                  <a:gd name="connsiteX211" fmla="*/ 497953 w 1111001"/>
                  <a:gd name="connsiteY211" fmla="*/ 856770 h 1120414"/>
                  <a:gd name="connsiteX212" fmla="*/ 469385 w 1111001"/>
                  <a:gd name="connsiteY212" fmla="*/ 860173 h 1120414"/>
                  <a:gd name="connsiteX213" fmla="*/ 470345 w 1111001"/>
                  <a:gd name="connsiteY213" fmla="*/ 853038 h 1120414"/>
                  <a:gd name="connsiteX214" fmla="*/ 481542 w 1111001"/>
                  <a:gd name="connsiteY214" fmla="*/ 840688 h 1120414"/>
                  <a:gd name="connsiteX215" fmla="*/ 472623 w 1111001"/>
                  <a:gd name="connsiteY215" fmla="*/ 825485 h 1120414"/>
                  <a:gd name="connsiteX216" fmla="*/ 482310 w 1111001"/>
                  <a:gd name="connsiteY216" fmla="*/ 795791 h 1120414"/>
                  <a:gd name="connsiteX217" fmla="*/ 486262 w 1111001"/>
                  <a:gd name="connsiteY217" fmla="*/ 776280 h 1120414"/>
                  <a:gd name="connsiteX218" fmla="*/ 507640 w 1111001"/>
                  <a:gd name="connsiteY218" fmla="*/ 760363 h 1120414"/>
                  <a:gd name="connsiteX219" fmla="*/ 526686 w 1111001"/>
                  <a:gd name="connsiteY219" fmla="*/ 760610 h 1120414"/>
                  <a:gd name="connsiteX220" fmla="*/ 526741 w 1111001"/>
                  <a:gd name="connsiteY220" fmla="*/ 748425 h 1120414"/>
                  <a:gd name="connsiteX221" fmla="*/ 530061 w 1111001"/>
                  <a:gd name="connsiteY221" fmla="*/ 737887 h 1120414"/>
                  <a:gd name="connsiteX222" fmla="*/ 529293 w 1111001"/>
                  <a:gd name="connsiteY222" fmla="*/ 735856 h 1120414"/>
                  <a:gd name="connsiteX223" fmla="*/ 520346 w 1111001"/>
                  <a:gd name="connsiteY223" fmla="*/ 741646 h 1120414"/>
                  <a:gd name="connsiteX224" fmla="*/ 498639 w 1111001"/>
                  <a:gd name="connsiteY224" fmla="*/ 745928 h 1120414"/>
                  <a:gd name="connsiteX225" fmla="*/ 474901 w 1111001"/>
                  <a:gd name="connsiteY225" fmla="*/ 764150 h 1120414"/>
                  <a:gd name="connsiteX226" fmla="*/ 449982 w 1111001"/>
                  <a:gd name="connsiteY226" fmla="*/ 799195 h 1120414"/>
                  <a:gd name="connsiteX227" fmla="*/ 441146 w 1111001"/>
                  <a:gd name="connsiteY227" fmla="*/ 820874 h 1120414"/>
                  <a:gd name="connsiteX228" fmla="*/ 429620 w 1111001"/>
                  <a:gd name="connsiteY228" fmla="*/ 834349 h 1120414"/>
                  <a:gd name="connsiteX229" fmla="*/ 418451 w 1111001"/>
                  <a:gd name="connsiteY229" fmla="*/ 840057 h 1120414"/>
                  <a:gd name="connsiteX230" fmla="*/ 404619 w 1111001"/>
                  <a:gd name="connsiteY230" fmla="*/ 860036 h 1120414"/>
                  <a:gd name="connsiteX231" fmla="*/ 405141 w 1111001"/>
                  <a:gd name="connsiteY231" fmla="*/ 870546 h 1120414"/>
                  <a:gd name="connsiteX232" fmla="*/ 419219 w 1111001"/>
                  <a:gd name="connsiteY232" fmla="*/ 879026 h 1120414"/>
                  <a:gd name="connsiteX233" fmla="*/ 417408 w 1111001"/>
                  <a:gd name="connsiteY233" fmla="*/ 893104 h 1120414"/>
                  <a:gd name="connsiteX234" fmla="*/ 408379 w 1111001"/>
                  <a:gd name="connsiteY234" fmla="*/ 902023 h 1120414"/>
                  <a:gd name="connsiteX235" fmla="*/ 393779 w 1111001"/>
                  <a:gd name="connsiteY235" fmla="*/ 924115 h 1120414"/>
                  <a:gd name="connsiteX236" fmla="*/ 359036 w 1111001"/>
                  <a:gd name="connsiteY236" fmla="*/ 947881 h 1120414"/>
                  <a:gd name="connsiteX237" fmla="*/ 339909 w 1111001"/>
                  <a:gd name="connsiteY237" fmla="*/ 964621 h 1120414"/>
                  <a:gd name="connsiteX238" fmla="*/ 333542 w 1111001"/>
                  <a:gd name="connsiteY238" fmla="*/ 978123 h 1120414"/>
                  <a:gd name="connsiteX239" fmla="*/ 325803 w 1111001"/>
                  <a:gd name="connsiteY239" fmla="*/ 987014 h 1120414"/>
                  <a:gd name="connsiteX240" fmla="*/ 293173 w 1111001"/>
                  <a:gd name="connsiteY240" fmla="*/ 1007487 h 1120414"/>
                  <a:gd name="connsiteX241" fmla="*/ 291335 w 1111001"/>
                  <a:gd name="connsiteY241" fmla="*/ 1013799 h 1120414"/>
                  <a:gd name="connsiteX242" fmla="*/ 287548 w 1111001"/>
                  <a:gd name="connsiteY242" fmla="*/ 1009490 h 1120414"/>
                  <a:gd name="connsiteX243" fmla="*/ 276515 w 1111001"/>
                  <a:gd name="connsiteY243" fmla="*/ 1017174 h 1120414"/>
                  <a:gd name="connsiteX244" fmla="*/ 275281 w 1111001"/>
                  <a:gd name="connsiteY244" fmla="*/ 1020495 h 1120414"/>
                  <a:gd name="connsiteX245" fmla="*/ 277586 w 1111001"/>
                  <a:gd name="connsiteY245" fmla="*/ 1028481 h 1120414"/>
                  <a:gd name="connsiteX246" fmla="*/ 273606 w 1111001"/>
                  <a:gd name="connsiteY246" fmla="*/ 1035726 h 1120414"/>
                  <a:gd name="connsiteX247" fmla="*/ 248304 w 1111001"/>
                  <a:gd name="connsiteY247" fmla="*/ 1048157 h 1120414"/>
                  <a:gd name="connsiteX248" fmla="*/ 242020 w 1111001"/>
                  <a:gd name="connsiteY248" fmla="*/ 1054442 h 1120414"/>
                  <a:gd name="connsiteX249" fmla="*/ 233979 w 1111001"/>
                  <a:gd name="connsiteY249" fmla="*/ 1049831 h 1120414"/>
                  <a:gd name="connsiteX250" fmla="*/ 214467 w 1111001"/>
                  <a:gd name="connsiteY250" fmla="*/ 1063937 h 1120414"/>
                  <a:gd name="connsiteX251" fmla="*/ 193061 w 1111001"/>
                  <a:gd name="connsiteY251" fmla="*/ 1071429 h 1120414"/>
                  <a:gd name="connsiteX252" fmla="*/ 189000 w 1111001"/>
                  <a:gd name="connsiteY252" fmla="*/ 1071100 h 1120414"/>
                  <a:gd name="connsiteX253" fmla="*/ 186393 w 1111001"/>
                  <a:gd name="connsiteY253" fmla="*/ 1064293 h 1120414"/>
                  <a:gd name="connsiteX254" fmla="*/ 183237 w 1111001"/>
                  <a:gd name="connsiteY254" fmla="*/ 1063278 h 1120414"/>
                  <a:gd name="connsiteX255" fmla="*/ 167210 w 1111001"/>
                  <a:gd name="connsiteY255" fmla="*/ 1085864 h 1120414"/>
                  <a:gd name="connsiteX256" fmla="*/ 159608 w 1111001"/>
                  <a:gd name="connsiteY256" fmla="*/ 1087236 h 1120414"/>
                  <a:gd name="connsiteX257" fmla="*/ 152446 w 1111001"/>
                  <a:gd name="connsiteY257" fmla="*/ 1081006 h 1120414"/>
                  <a:gd name="connsiteX258" fmla="*/ 149125 w 1111001"/>
                  <a:gd name="connsiteY258" fmla="*/ 1091490 h 1120414"/>
                  <a:gd name="connsiteX259" fmla="*/ 138093 w 1111001"/>
                  <a:gd name="connsiteY259" fmla="*/ 1091160 h 1120414"/>
                  <a:gd name="connsiteX260" fmla="*/ 134965 w 1111001"/>
                  <a:gd name="connsiteY260" fmla="*/ 1098488 h 1120414"/>
                  <a:gd name="connsiteX261" fmla="*/ 125387 w 1111001"/>
                  <a:gd name="connsiteY261" fmla="*/ 1108559 h 1120414"/>
                  <a:gd name="connsiteX262" fmla="*/ 107631 w 1111001"/>
                  <a:gd name="connsiteY262" fmla="*/ 1112868 h 1120414"/>
                  <a:gd name="connsiteX263" fmla="*/ 94651 w 1111001"/>
                  <a:gd name="connsiteY263" fmla="*/ 1120415 h 1120414"/>
                  <a:gd name="connsiteX264" fmla="*/ 89162 w 1111001"/>
                  <a:gd name="connsiteY264" fmla="*/ 1119619 h 1120414"/>
                  <a:gd name="connsiteX265" fmla="*/ 87049 w 1111001"/>
                  <a:gd name="connsiteY265" fmla="*/ 1115831 h 1120414"/>
                  <a:gd name="connsiteX266" fmla="*/ 88449 w 1111001"/>
                  <a:gd name="connsiteY266" fmla="*/ 1110178 h 1120414"/>
                  <a:gd name="connsiteX267" fmla="*/ 100496 w 1111001"/>
                  <a:gd name="connsiteY267" fmla="*/ 1096594 h 1120414"/>
                  <a:gd name="connsiteX268" fmla="*/ 119542 w 1111001"/>
                  <a:gd name="connsiteY268" fmla="*/ 1091105 h 1120414"/>
                  <a:gd name="connsiteX269" fmla="*/ 130491 w 1111001"/>
                  <a:gd name="connsiteY269" fmla="*/ 1093081 h 1120414"/>
                  <a:gd name="connsiteX270" fmla="*/ 135212 w 1111001"/>
                  <a:gd name="connsiteY270" fmla="*/ 1086138 h 1120414"/>
                  <a:gd name="connsiteX271" fmla="*/ 147671 w 1111001"/>
                  <a:gd name="connsiteY271" fmla="*/ 1077823 h 1120414"/>
                  <a:gd name="connsiteX272" fmla="*/ 163889 w 1111001"/>
                  <a:gd name="connsiteY272" fmla="*/ 1056994 h 1120414"/>
                  <a:gd name="connsiteX273" fmla="*/ 175992 w 1111001"/>
                  <a:gd name="connsiteY273" fmla="*/ 1046950 h 1120414"/>
                  <a:gd name="connsiteX274" fmla="*/ 195202 w 1111001"/>
                  <a:gd name="connsiteY274" fmla="*/ 1043355 h 1120414"/>
                  <a:gd name="connsiteX275" fmla="*/ 204642 w 1111001"/>
                  <a:gd name="connsiteY275" fmla="*/ 1049612 h 1120414"/>
                  <a:gd name="connsiteX276" fmla="*/ 215921 w 1111001"/>
                  <a:gd name="connsiteY276" fmla="*/ 1048569 h 1120414"/>
                  <a:gd name="connsiteX277" fmla="*/ 215647 w 1111001"/>
                  <a:gd name="connsiteY277" fmla="*/ 1037043 h 1120414"/>
                  <a:gd name="connsiteX278" fmla="*/ 221136 w 1111001"/>
                  <a:gd name="connsiteY278" fmla="*/ 1024337 h 1120414"/>
                  <a:gd name="connsiteX279" fmla="*/ 235214 w 1111001"/>
                  <a:gd name="connsiteY279" fmla="*/ 1011191 h 1120414"/>
                  <a:gd name="connsiteX280" fmla="*/ 253848 w 1111001"/>
                  <a:gd name="connsiteY280" fmla="*/ 999364 h 1120414"/>
                  <a:gd name="connsiteX281" fmla="*/ 266499 w 1111001"/>
                  <a:gd name="connsiteY281" fmla="*/ 995851 h 1120414"/>
                  <a:gd name="connsiteX282" fmla="*/ 270011 w 1111001"/>
                  <a:gd name="connsiteY282" fmla="*/ 985313 h 1120414"/>
                  <a:gd name="connsiteX283" fmla="*/ 275802 w 1111001"/>
                  <a:gd name="connsiteY283" fmla="*/ 975955 h 1120414"/>
                  <a:gd name="connsiteX284" fmla="*/ 296823 w 1111001"/>
                  <a:gd name="connsiteY284" fmla="*/ 958034 h 1120414"/>
                  <a:gd name="connsiteX285" fmla="*/ 299787 w 1111001"/>
                  <a:gd name="connsiteY285" fmla="*/ 930564 h 1120414"/>
                  <a:gd name="connsiteX286" fmla="*/ 302970 w 1111001"/>
                  <a:gd name="connsiteY286" fmla="*/ 921892 h 1120414"/>
                  <a:gd name="connsiteX287" fmla="*/ 302970 w 1111001"/>
                  <a:gd name="connsiteY287" fmla="*/ 909076 h 1120414"/>
                  <a:gd name="connsiteX288" fmla="*/ 315237 w 1111001"/>
                  <a:gd name="connsiteY288" fmla="*/ 888274 h 1120414"/>
                  <a:gd name="connsiteX289" fmla="*/ 314359 w 1111001"/>
                  <a:gd name="connsiteY289" fmla="*/ 885365 h 1120414"/>
                  <a:gd name="connsiteX290" fmla="*/ 282059 w 1111001"/>
                  <a:gd name="connsiteY290" fmla="*/ 894367 h 1120414"/>
                  <a:gd name="connsiteX291" fmla="*/ 275884 w 1111001"/>
                  <a:gd name="connsiteY291" fmla="*/ 888439 h 1120414"/>
                  <a:gd name="connsiteX292" fmla="*/ 272591 w 1111001"/>
                  <a:gd name="connsiteY292" fmla="*/ 877819 h 1120414"/>
                  <a:gd name="connsiteX293" fmla="*/ 266169 w 1111001"/>
                  <a:gd name="connsiteY293" fmla="*/ 886271 h 1120414"/>
                  <a:gd name="connsiteX294" fmla="*/ 263837 w 1111001"/>
                  <a:gd name="connsiteY294" fmla="*/ 901996 h 1120414"/>
                  <a:gd name="connsiteX295" fmla="*/ 259830 w 1111001"/>
                  <a:gd name="connsiteY295" fmla="*/ 905975 h 1120414"/>
                  <a:gd name="connsiteX296" fmla="*/ 241635 w 1111001"/>
                  <a:gd name="connsiteY296" fmla="*/ 884926 h 1120414"/>
                  <a:gd name="connsiteX297" fmla="*/ 230192 w 1111001"/>
                  <a:gd name="connsiteY297" fmla="*/ 884679 h 1120414"/>
                  <a:gd name="connsiteX298" fmla="*/ 216662 w 1111001"/>
                  <a:gd name="connsiteY298" fmla="*/ 875513 h 1120414"/>
                  <a:gd name="connsiteX299" fmla="*/ 177803 w 1111001"/>
                  <a:gd name="connsiteY299" fmla="*/ 895519 h 1120414"/>
                  <a:gd name="connsiteX300" fmla="*/ 176678 w 1111001"/>
                  <a:gd name="connsiteY300" fmla="*/ 891842 h 1120414"/>
                  <a:gd name="connsiteX301" fmla="*/ 177583 w 1111001"/>
                  <a:gd name="connsiteY301" fmla="*/ 873949 h 1120414"/>
                  <a:gd name="connsiteX302" fmla="*/ 172232 w 1111001"/>
                  <a:gd name="connsiteY302" fmla="*/ 861463 h 1120414"/>
                  <a:gd name="connsiteX303" fmla="*/ 175223 w 1111001"/>
                  <a:gd name="connsiteY303" fmla="*/ 842582 h 1120414"/>
                  <a:gd name="connsiteX304" fmla="*/ 161200 w 1111001"/>
                  <a:gd name="connsiteY304" fmla="*/ 807757 h 1120414"/>
                  <a:gd name="connsiteX305" fmla="*/ 159142 w 1111001"/>
                  <a:gd name="connsiteY305" fmla="*/ 796258 h 1120414"/>
                  <a:gd name="connsiteX306" fmla="*/ 156288 w 1111001"/>
                  <a:gd name="connsiteY306" fmla="*/ 800265 h 1120414"/>
                  <a:gd name="connsiteX307" fmla="*/ 154147 w 1111001"/>
                  <a:gd name="connsiteY307" fmla="*/ 813300 h 1120414"/>
                  <a:gd name="connsiteX308" fmla="*/ 149619 w 1111001"/>
                  <a:gd name="connsiteY308" fmla="*/ 819475 h 1120414"/>
                  <a:gd name="connsiteX309" fmla="*/ 131370 w 1111001"/>
                  <a:gd name="connsiteY309" fmla="*/ 827076 h 1120414"/>
                  <a:gd name="connsiteX310" fmla="*/ 110321 w 1111001"/>
                  <a:gd name="connsiteY310" fmla="*/ 825540 h 1120414"/>
                  <a:gd name="connsiteX311" fmla="*/ 97368 w 1111001"/>
                  <a:gd name="connsiteY311" fmla="*/ 807565 h 1120414"/>
                  <a:gd name="connsiteX312" fmla="*/ 77170 w 1111001"/>
                  <a:gd name="connsiteY312" fmla="*/ 786543 h 1120414"/>
                  <a:gd name="connsiteX313" fmla="*/ 81039 w 1111001"/>
                  <a:gd name="connsiteY313" fmla="*/ 770352 h 1120414"/>
                  <a:gd name="connsiteX314" fmla="*/ 79310 w 1111001"/>
                  <a:gd name="connsiteY314" fmla="*/ 754627 h 1120414"/>
                  <a:gd name="connsiteX315" fmla="*/ 74151 w 1111001"/>
                  <a:gd name="connsiteY315" fmla="*/ 749468 h 1120414"/>
                  <a:gd name="connsiteX316" fmla="*/ 64491 w 1111001"/>
                  <a:gd name="connsiteY316" fmla="*/ 747272 h 1120414"/>
                  <a:gd name="connsiteX317" fmla="*/ 52197 w 1111001"/>
                  <a:gd name="connsiteY317" fmla="*/ 721970 h 1120414"/>
                  <a:gd name="connsiteX318" fmla="*/ 54365 w 1111001"/>
                  <a:gd name="connsiteY318" fmla="*/ 709922 h 1120414"/>
                  <a:gd name="connsiteX319" fmla="*/ 60704 w 1111001"/>
                  <a:gd name="connsiteY319" fmla="*/ 701388 h 1120414"/>
                  <a:gd name="connsiteX320" fmla="*/ 64628 w 1111001"/>
                  <a:gd name="connsiteY320" fmla="*/ 685855 h 1120414"/>
                  <a:gd name="connsiteX321" fmla="*/ 81478 w 1111001"/>
                  <a:gd name="connsiteY321" fmla="*/ 658412 h 1120414"/>
                  <a:gd name="connsiteX322" fmla="*/ 91632 w 1111001"/>
                  <a:gd name="connsiteY322" fmla="*/ 631902 h 1120414"/>
                  <a:gd name="connsiteX323" fmla="*/ 99014 w 1111001"/>
                  <a:gd name="connsiteY323" fmla="*/ 621529 h 1120414"/>
                  <a:gd name="connsiteX324" fmla="*/ 112571 w 1111001"/>
                  <a:gd name="connsiteY324" fmla="*/ 617988 h 1120414"/>
                  <a:gd name="connsiteX325" fmla="*/ 136392 w 1111001"/>
                  <a:gd name="connsiteY325" fmla="*/ 627648 h 1120414"/>
                  <a:gd name="connsiteX326" fmla="*/ 144131 w 1111001"/>
                  <a:gd name="connsiteY326" fmla="*/ 622736 h 1120414"/>
                  <a:gd name="connsiteX327" fmla="*/ 163149 w 1111001"/>
                  <a:gd name="connsiteY327" fmla="*/ 600727 h 1120414"/>
                  <a:gd name="connsiteX328" fmla="*/ 186667 w 1111001"/>
                  <a:gd name="connsiteY328" fmla="*/ 601413 h 1120414"/>
                  <a:gd name="connsiteX329" fmla="*/ 198715 w 1111001"/>
                  <a:gd name="connsiteY329" fmla="*/ 593098 h 1120414"/>
                  <a:gd name="connsiteX330" fmla="*/ 203435 w 1111001"/>
                  <a:gd name="connsiteY330" fmla="*/ 583959 h 1120414"/>
                  <a:gd name="connsiteX331" fmla="*/ 204258 w 1111001"/>
                  <a:gd name="connsiteY331" fmla="*/ 573394 h 1120414"/>
                  <a:gd name="connsiteX332" fmla="*/ 199456 w 1111001"/>
                  <a:gd name="connsiteY332" fmla="*/ 553086 h 1120414"/>
                  <a:gd name="connsiteX333" fmla="*/ 194488 w 1111001"/>
                  <a:gd name="connsiteY333" fmla="*/ 542493 h 1120414"/>
                  <a:gd name="connsiteX334" fmla="*/ 192073 w 1111001"/>
                  <a:gd name="connsiteY334" fmla="*/ 535193 h 1120414"/>
                  <a:gd name="connsiteX335" fmla="*/ 201898 w 1111001"/>
                  <a:gd name="connsiteY335" fmla="*/ 525478 h 1120414"/>
                  <a:gd name="connsiteX336" fmla="*/ 203490 w 1111001"/>
                  <a:gd name="connsiteY336" fmla="*/ 520374 h 1120414"/>
                  <a:gd name="connsiteX337" fmla="*/ 201651 w 1111001"/>
                  <a:gd name="connsiteY337" fmla="*/ 513486 h 1120414"/>
                  <a:gd name="connsiteX338" fmla="*/ 194351 w 1111001"/>
                  <a:gd name="connsiteY338" fmla="*/ 508162 h 1120414"/>
                  <a:gd name="connsiteX339" fmla="*/ 159142 w 1111001"/>
                  <a:gd name="connsiteY339" fmla="*/ 527893 h 1120414"/>
                  <a:gd name="connsiteX340" fmla="*/ 148384 w 1111001"/>
                  <a:gd name="connsiteY340" fmla="*/ 540956 h 1120414"/>
                  <a:gd name="connsiteX341" fmla="*/ 136995 w 1111001"/>
                  <a:gd name="connsiteY341" fmla="*/ 527180 h 1120414"/>
                  <a:gd name="connsiteX342" fmla="*/ 136392 w 1111001"/>
                  <a:gd name="connsiteY342" fmla="*/ 534452 h 1120414"/>
                  <a:gd name="connsiteX343" fmla="*/ 134471 w 1111001"/>
                  <a:gd name="connsiteY343" fmla="*/ 536071 h 1120414"/>
                  <a:gd name="connsiteX344" fmla="*/ 117182 w 1111001"/>
                  <a:gd name="connsiteY344" fmla="*/ 528826 h 1120414"/>
                  <a:gd name="connsiteX345" fmla="*/ 80024 w 1111001"/>
                  <a:gd name="connsiteY345" fmla="*/ 535769 h 1120414"/>
                  <a:gd name="connsiteX346" fmla="*/ 49946 w 1111001"/>
                  <a:gd name="connsiteY346" fmla="*/ 527646 h 1120414"/>
                  <a:gd name="connsiteX347" fmla="*/ 43360 w 1111001"/>
                  <a:gd name="connsiteY347" fmla="*/ 520319 h 1120414"/>
                  <a:gd name="connsiteX348" fmla="*/ 34578 w 1111001"/>
                  <a:gd name="connsiteY348" fmla="*/ 497843 h 1120414"/>
                  <a:gd name="connsiteX349" fmla="*/ 36499 w 1111001"/>
                  <a:gd name="connsiteY349" fmla="*/ 483902 h 1120414"/>
                  <a:gd name="connsiteX350" fmla="*/ 35594 w 1111001"/>
                  <a:gd name="connsiteY350" fmla="*/ 478770 h 1120414"/>
                  <a:gd name="connsiteX351" fmla="*/ 11828 w 1111001"/>
                  <a:gd name="connsiteY351" fmla="*/ 468644 h 1120414"/>
                  <a:gd name="connsiteX352" fmla="*/ 0 w 1111001"/>
                  <a:gd name="connsiteY352" fmla="*/ 452782 h 1120414"/>
                  <a:gd name="connsiteX353" fmla="*/ 37569 w 1111001"/>
                  <a:gd name="connsiteY353" fmla="*/ 418999 h 1120414"/>
                  <a:gd name="connsiteX354" fmla="*/ 57548 w 1111001"/>
                  <a:gd name="connsiteY354" fmla="*/ 416804 h 1120414"/>
                  <a:gd name="connsiteX355" fmla="*/ 65698 w 1111001"/>
                  <a:gd name="connsiteY355" fmla="*/ 401381 h 1120414"/>
                  <a:gd name="connsiteX356" fmla="*/ 96517 w 1111001"/>
                  <a:gd name="connsiteY356" fmla="*/ 387358 h 1120414"/>
                  <a:gd name="connsiteX357" fmla="*/ 114657 w 1111001"/>
                  <a:gd name="connsiteY357" fmla="*/ 390047 h 1120414"/>
                  <a:gd name="connsiteX358" fmla="*/ 117127 w 1111001"/>
                  <a:gd name="connsiteY358" fmla="*/ 412358 h 1120414"/>
                  <a:gd name="connsiteX359" fmla="*/ 127335 w 1111001"/>
                  <a:gd name="connsiteY359" fmla="*/ 422567 h 1120414"/>
                  <a:gd name="connsiteX360" fmla="*/ 170284 w 1111001"/>
                  <a:gd name="connsiteY360" fmla="*/ 423335 h 1120414"/>
                  <a:gd name="connsiteX361" fmla="*/ 187106 w 1111001"/>
                  <a:gd name="connsiteY361" fmla="*/ 408489 h 1120414"/>
                  <a:gd name="connsiteX362" fmla="*/ 187353 w 1111001"/>
                  <a:gd name="connsiteY362" fmla="*/ 404372 h 1120414"/>
                  <a:gd name="connsiteX363" fmla="*/ 180300 w 1111001"/>
                  <a:gd name="connsiteY363" fmla="*/ 396798 h 1120414"/>
                  <a:gd name="connsiteX364" fmla="*/ 181727 w 1111001"/>
                  <a:gd name="connsiteY364" fmla="*/ 386452 h 1120414"/>
                  <a:gd name="connsiteX365" fmla="*/ 174071 w 1111001"/>
                  <a:gd name="connsiteY365" fmla="*/ 356539 h 1120414"/>
                  <a:gd name="connsiteX366" fmla="*/ 143938 w 1111001"/>
                  <a:gd name="connsiteY366" fmla="*/ 352340 h 1120414"/>
                  <a:gd name="connsiteX367" fmla="*/ 126210 w 1111001"/>
                  <a:gd name="connsiteY367" fmla="*/ 345480 h 1120414"/>
                  <a:gd name="connsiteX368" fmla="*/ 105957 w 1111001"/>
                  <a:gd name="connsiteY368" fmla="*/ 307828 h 1120414"/>
                  <a:gd name="connsiteX369" fmla="*/ 45061 w 1111001"/>
                  <a:gd name="connsiteY369" fmla="*/ 254973 h 1120414"/>
                  <a:gd name="connsiteX370" fmla="*/ 42317 w 1111001"/>
                  <a:gd name="connsiteY370" fmla="*/ 240016 h 1120414"/>
                  <a:gd name="connsiteX371" fmla="*/ 49068 w 1111001"/>
                  <a:gd name="connsiteY371" fmla="*/ 214577 h 1120414"/>
                  <a:gd name="connsiteX372" fmla="*/ 115425 w 1111001"/>
                  <a:gd name="connsiteY372" fmla="*/ 192293 h 1120414"/>
                  <a:gd name="connsiteX373" fmla="*/ 132165 w 1111001"/>
                  <a:gd name="connsiteY373" fmla="*/ 171464 h 1120414"/>
                  <a:gd name="connsiteX374" fmla="*/ 145118 w 1111001"/>
                  <a:gd name="connsiteY374" fmla="*/ 130656 h 1120414"/>
                  <a:gd name="connsiteX375" fmla="*/ 167731 w 1111001"/>
                  <a:gd name="connsiteY375" fmla="*/ 97478 h 1120414"/>
                  <a:gd name="connsiteX376" fmla="*/ 199840 w 1111001"/>
                  <a:gd name="connsiteY376" fmla="*/ 85265 h 1120414"/>
                  <a:gd name="connsiteX377" fmla="*/ 242788 w 1111001"/>
                  <a:gd name="connsiteY377" fmla="*/ 44238 h 1120414"/>
                  <a:gd name="connsiteX378" fmla="*/ 289880 w 1111001"/>
                  <a:gd name="connsiteY378" fmla="*/ 36252 h 1120414"/>
                  <a:gd name="connsiteX379" fmla="*/ 329700 w 1111001"/>
                  <a:gd name="connsiteY379" fmla="*/ 0 h 1120414"/>
                  <a:gd name="connsiteX380" fmla="*/ 354454 w 1111001"/>
                  <a:gd name="connsiteY380" fmla="*/ 14270 h 1120414"/>
                  <a:gd name="connsiteX381" fmla="*/ 355085 w 1111001"/>
                  <a:gd name="connsiteY381" fmla="*/ 20363 h 1120414"/>
                  <a:gd name="connsiteX382" fmla="*/ 352066 w 1111001"/>
                  <a:gd name="connsiteY382" fmla="*/ 31614 h 112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Lst>
                <a:rect l="l" t="t" r="r" b="b"/>
                <a:pathLst>
                  <a:path w="1111001" h="1120414">
                    <a:moveTo>
                      <a:pt x="352039" y="31697"/>
                    </a:moveTo>
                    <a:lnTo>
                      <a:pt x="354234" y="38448"/>
                    </a:lnTo>
                    <a:lnTo>
                      <a:pt x="372346" y="19786"/>
                    </a:lnTo>
                    <a:lnTo>
                      <a:pt x="379317" y="18826"/>
                    </a:lnTo>
                    <a:lnTo>
                      <a:pt x="391639" y="40780"/>
                    </a:lnTo>
                    <a:lnTo>
                      <a:pt x="426766" y="34386"/>
                    </a:lnTo>
                    <a:lnTo>
                      <a:pt x="449900" y="40863"/>
                    </a:lnTo>
                    <a:lnTo>
                      <a:pt x="452507" y="45308"/>
                    </a:lnTo>
                    <a:lnTo>
                      <a:pt x="455746" y="62625"/>
                    </a:lnTo>
                    <a:lnTo>
                      <a:pt x="477398" y="76209"/>
                    </a:lnTo>
                    <a:lnTo>
                      <a:pt x="508024" y="78322"/>
                    </a:lnTo>
                    <a:lnTo>
                      <a:pt x="538898" y="70364"/>
                    </a:lnTo>
                    <a:lnTo>
                      <a:pt x="589036" y="93004"/>
                    </a:lnTo>
                    <a:lnTo>
                      <a:pt x="641480" y="99783"/>
                    </a:lnTo>
                    <a:lnTo>
                      <a:pt x="672133" y="113010"/>
                    </a:lnTo>
                    <a:lnTo>
                      <a:pt x="705422" y="103378"/>
                    </a:lnTo>
                    <a:lnTo>
                      <a:pt x="722327" y="104119"/>
                    </a:lnTo>
                    <a:lnTo>
                      <a:pt x="788107" y="145173"/>
                    </a:lnTo>
                    <a:lnTo>
                      <a:pt x="788025" y="287520"/>
                    </a:lnTo>
                    <a:lnTo>
                      <a:pt x="787915" y="495867"/>
                    </a:lnTo>
                    <a:lnTo>
                      <a:pt x="787915" y="518590"/>
                    </a:lnTo>
                    <a:cubicBezTo>
                      <a:pt x="787915" y="518590"/>
                      <a:pt x="787915" y="521252"/>
                      <a:pt x="787915" y="521252"/>
                    </a:cubicBezTo>
                    <a:lnTo>
                      <a:pt x="787915" y="524737"/>
                    </a:lnTo>
                    <a:cubicBezTo>
                      <a:pt x="787915" y="524737"/>
                      <a:pt x="787915" y="540023"/>
                      <a:pt x="787915" y="540023"/>
                    </a:cubicBezTo>
                    <a:lnTo>
                      <a:pt x="787915" y="542493"/>
                    </a:lnTo>
                    <a:cubicBezTo>
                      <a:pt x="787915" y="542493"/>
                      <a:pt x="788547" y="796917"/>
                      <a:pt x="788547" y="796917"/>
                    </a:cubicBezTo>
                    <a:lnTo>
                      <a:pt x="799194" y="803009"/>
                    </a:lnTo>
                    <a:lnTo>
                      <a:pt x="805534" y="800567"/>
                    </a:lnTo>
                    <a:lnTo>
                      <a:pt x="817170" y="805753"/>
                    </a:lnTo>
                    <a:lnTo>
                      <a:pt x="827241" y="798261"/>
                    </a:lnTo>
                    <a:lnTo>
                      <a:pt x="843844" y="797438"/>
                    </a:lnTo>
                    <a:lnTo>
                      <a:pt x="842856" y="813684"/>
                    </a:lnTo>
                    <a:lnTo>
                      <a:pt x="854163" y="822768"/>
                    </a:lnTo>
                    <a:lnTo>
                      <a:pt x="859789" y="833032"/>
                    </a:lnTo>
                    <a:lnTo>
                      <a:pt x="885667" y="859734"/>
                    </a:lnTo>
                    <a:lnTo>
                      <a:pt x="892226" y="879575"/>
                    </a:lnTo>
                    <a:lnTo>
                      <a:pt x="918187" y="864838"/>
                    </a:lnTo>
                    <a:lnTo>
                      <a:pt x="921041" y="859185"/>
                    </a:lnTo>
                    <a:lnTo>
                      <a:pt x="922057" y="850485"/>
                    </a:lnTo>
                    <a:lnTo>
                      <a:pt x="925899" y="847165"/>
                    </a:lnTo>
                    <a:lnTo>
                      <a:pt x="927875" y="840222"/>
                    </a:lnTo>
                    <a:lnTo>
                      <a:pt x="940279" y="834349"/>
                    </a:lnTo>
                    <a:lnTo>
                      <a:pt x="949856" y="830644"/>
                    </a:lnTo>
                    <a:lnTo>
                      <a:pt x="960916" y="840963"/>
                    </a:lnTo>
                    <a:lnTo>
                      <a:pt x="965142" y="858169"/>
                    </a:lnTo>
                    <a:lnTo>
                      <a:pt x="975927" y="865277"/>
                    </a:lnTo>
                    <a:lnTo>
                      <a:pt x="986081" y="882072"/>
                    </a:lnTo>
                    <a:lnTo>
                      <a:pt x="998129" y="891485"/>
                    </a:lnTo>
                    <a:lnTo>
                      <a:pt x="1009298" y="905591"/>
                    </a:lnTo>
                    <a:lnTo>
                      <a:pt x="1013277" y="917007"/>
                    </a:lnTo>
                    <a:lnTo>
                      <a:pt x="1042504" y="970494"/>
                    </a:lnTo>
                    <a:lnTo>
                      <a:pt x="1043656" y="980785"/>
                    </a:lnTo>
                    <a:lnTo>
                      <a:pt x="1049365" y="985175"/>
                    </a:lnTo>
                    <a:lnTo>
                      <a:pt x="1050572" y="992420"/>
                    </a:lnTo>
                    <a:lnTo>
                      <a:pt x="1058503" y="1006416"/>
                    </a:lnTo>
                    <a:lnTo>
                      <a:pt x="1094097" y="1025462"/>
                    </a:lnTo>
                    <a:lnTo>
                      <a:pt x="1107461" y="1035286"/>
                    </a:lnTo>
                    <a:lnTo>
                      <a:pt x="1111002" y="1044452"/>
                    </a:lnTo>
                    <a:lnTo>
                      <a:pt x="1107681" y="1049721"/>
                    </a:lnTo>
                    <a:lnTo>
                      <a:pt x="1106885" y="1053207"/>
                    </a:lnTo>
                    <a:lnTo>
                      <a:pt x="1106720" y="1053920"/>
                    </a:lnTo>
                    <a:lnTo>
                      <a:pt x="1107489" y="1062674"/>
                    </a:lnTo>
                    <a:lnTo>
                      <a:pt x="1109492" y="1070057"/>
                    </a:lnTo>
                    <a:lnTo>
                      <a:pt x="1110151" y="1077796"/>
                    </a:lnTo>
                    <a:lnTo>
                      <a:pt x="1107681" y="1081775"/>
                    </a:lnTo>
                    <a:lnTo>
                      <a:pt x="1101534" y="1094728"/>
                    </a:lnTo>
                    <a:lnTo>
                      <a:pt x="1097253" y="1099667"/>
                    </a:lnTo>
                    <a:lnTo>
                      <a:pt x="1093273" y="1102055"/>
                    </a:lnTo>
                    <a:lnTo>
                      <a:pt x="1091051" y="1104854"/>
                    </a:lnTo>
                    <a:lnTo>
                      <a:pt x="1083531" y="1098241"/>
                    </a:lnTo>
                    <a:lnTo>
                      <a:pt x="1080348" y="1085397"/>
                    </a:lnTo>
                    <a:lnTo>
                      <a:pt x="1080650" y="1081912"/>
                    </a:lnTo>
                    <a:lnTo>
                      <a:pt x="1082708" y="1077960"/>
                    </a:lnTo>
                    <a:lnTo>
                      <a:pt x="1082406" y="1076176"/>
                    </a:lnTo>
                    <a:lnTo>
                      <a:pt x="1081061" y="1076368"/>
                    </a:lnTo>
                    <a:lnTo>
                      <a:pt x="1078125" y="1080183"/>
                    </a:lnTo>
                    <a:lnTo>
                      <a:pt x="1076094" y="1081089"/>
                    </a:lnTo>
                    <a:lnTo>
                      <a:pt x="1067697" y="1075984"/>
                    </a:lnTo>
                    <a:lnTo>
                      <a:pt x="1067450" y="1078125"/>
                    </a:lnTo>
                    <a:lnTo>
                      <a:pt x="1070002" y="1081720"/>
                    </a:lnTo>
                    <a:lnTo>
                      <a:pt x="1070990" y="1084931"/>
                    </a:lnTo>
                    <a:lnTo>
                      <a:pt x="1070852" y="1088828"/>
                    </a:lnTo>
                    <a:lnTo>
                      <a:pt x="1069206" y="1090886"/>
                    </a:lnTo>
                    <a:lnTo>
                      <a:pt x="1064678" y="1089788"/>
                    </a:lnTo>
                    <a:lnTo>
                      <a:pt x="1063278" y="1077000"/>
                    </a:lnTo>
                    <a:lnTo>
                      <a:pt x="1061988" y="1077850"/>
                    </a:lnTo>
                    <a:lnTo>
                      <a:pt x="1060040" y="1083174"/>
                    </a:lnTo>
                    <a:lnTo>
                      <a:pt x="1058366" y="1082077"/>
                    </a:lnTo>
                    <a:lnTo>
                      <a:pt x="1057049" y="1074338"/>
                    </a:lnTo>
                    <a:lnTo>
                      <a:pt x="1058119" y="1066626"/>
                    </a:lnTo>
                    <a:lnTo>
                      <a:pt x="1060753" y="1060259"/>
                    </a:lnTo>
                    <a:lnTo>
                      <a:pt x="1060150" y="1048020"/>
                    </a:lnTo>
                    <a:lnTo>
                      <a:pt x="1058778" y="1048541"/>
                    </a:lnTo>
                    <a:lnTo>
                      <a:pt x="1056829" y="1057103"/>
                    </a:lnTo>
                    <a:lnTo>
                      <a:pt x="1052905" y="1063827"/>
                    </a:lnTo>
                    <a:lnTo>
                      <a:pt x="1048871" y="1062537"/>
                    </a:lnTo>
                    <a:lnTo>
                      <a:pt x="1046620" y="1056802"/>
                    </a:lnTo>
                    <a:lnTo>
                      <a:pt x="1047169" y="1052081"/>
                    </a:lnTo>
                    <a:lnTo>
                      <a:pt x="1050353" y="1045605"/>
                    </a:lnTo>
                    <a:lnTo>
                      <a:pt x="1050956" y="1038909"/>
                    </a:lnTo>
                    <a:lnTo>
                      <a:pt x="1052575" y="1034079"/>
                    </a:lnTo>
                    <a:lnTo>
                      <a:pt x="1052575" y="1031911"/>
                    </a:lnTo>
                    <a:cubicBezTo>
                      <a:pt x="1052575" y="1031911"/>
                      <a:pt x="1049337" y="1035424"/>
                      <a:pt x="1049337" y="1035424"/>
                    </a:cubicBezTo>
                    <a:lnTo>
                      <a:pt x="1046922" y="1043190"/>
                    </a:lnTo>
                    <a:lnTo>
                      <a:pt x="1042339" y="1046126"/>
                    </a:lnTo>
                    <a:lnTo>
                      <a:pt x="1037893" y="1038909"/>
                    </a:lnTo>
                    <a:lnTo>
                      <a:pt x="1033091" y="1035780"/>
                    </a:lnTo>
                    <a:lnTo>
                      <a:pt x="1030292" y="1027986"/>
                    </a:lnTo>
                    <a:lnTo>
                      <a:pt x="1026148" y="1026230"/>
                    </a:lnTo>
                    <a:lnTo>
                      <a:pt x="1022416" y="1021675"/>
                    </a:lnTo>
                    <a:lnTo>
                      <a:pt x="1023733" y="1017833"/>
                    </a:lnTo>
                    <a:lnTo>
                      <a:pt x="1026834" y="1016378"/>
                    </a:lnTo>
                    <a:lnTo>
                      <a:pt x="1032213" y="1018134"/>
                    </a:lnTo>
                    <a:lnTo>
                      <a:pt x="1034216" y="1023843"/>
                    </a:lnTo>
                    <a:lnTo>
                      <a:pt x="1037564" y="1019205"/>
                    </a:lnTo>
                    <a:lnTo>
                      <a:pt x="1041104" y="1021126"/>
                    </a:lnTo>
                    <a:lnTo>
                      <a:pt x="1043300" y="1013936"/>
                    </a:lnTo>
                    <a:lnTo>
                      <a:pt x="1041516" y="1008996"/>
                    </a:lnTo>
                    <a:lnTo>
                      <a:pt x="1027410" y="1012865"/>
                    </a:lnTo>
                    <a:lnTo>
                      <a:pt x="1022004" y="1013140"/>
                    </a:lnTo>
                    <a:lnTo>
                      <a:pt x="1017970" y="1015308"/>
                    </a:lnTo>
                    <a:lnTo>
                      <a:pt x="1007404" y="1016268"/>
                    </a:lnTo>
                    <a:lnTo>
                      <a:pt x="999089" y="1011905"/>
                    </a:lnTo>
                    <a:lnTo>
                      <a:pt x="994534" y="1033640"/>
                    </a:lnTo>
                    <a:lnTo>
                      <a:pt x="992997" y="1033502"/>
                    </a:lnTo>
                    <a:lnTo>
                      <a:pt x="992393" y="1028261"/>
                    </a:lnTo>
                    <a:lnTo>
                      <a:pt x="991789" y="1027383"/>
                    </a:lnTo>
                    <a:lnTo>
                      <a:pt x="989758" y="1036192"/>
                    </a:lnTo>
                    <a:lnTo>
                      <a:pt x="988798" y="1037345"/>
                    </a:lnTo>
                    <a:lnTo>
                      <a:pt x="986932" y="1034216"/>
                    </a:lnTo>
                    <a:lnTo>
                      <a:pt x="985971" y="1023980"/>
                    </a:lnTo>
                    <a:lnTo>
                      <a:pt x="988194" y="1014540"/>
                    </a:lnTo>
                    <a:lnTo>
                      <a:pt x="983529" y="1003562"/>
                    </a:lnTo>
                    <a:lnTo>
                      <a:pt x="983392" y="995576"/>
                    </a:lnTo>
                    <a:lnTo>
                      <a:pt x="991158" y="991186"/>
                    </a:lnTo>
                    <a:lnTo>
                      <a:pt x="996976" y="999419"/>
                    </a:lnTo>
                    <a:lnTo>
                      <a:pt x="997936" y="993107"/>
                    </a:lnTo>
                    <a:lnTo>
                      <a:pt x="994643" y="985615"/>
                    </a:lnTo>
                    <a:lnTo>
                      <a:pt x="995055" y="983941"/>
                    </a:lnTo>
                    <a:lnTo>
                      <a:pt x="997936" y="982376"/>
                    </a:lnTo>
                    <a:lnTo>
                      <a:pt x="1017942" y="986794"/>
                    </a:lnTo>
                    <a:lnTo>
                      <a:pt x="1027136" y="998156"/>
                    </a:lnTo>
                    <a:lnTo>
                      <a:pt x="1032076" y="1000653"/>
                    </a:lnTo>
                    <a:lnTo>
                      <a:pt x="1032844" y="999116"/>
                    </a:lnTo>
                    <a:lnTo>
                      <a:pt x="1023843" y="984379"/>
                    </a:lnTo>
                    <a:lnTo>
                      <a:pt x="1018601" y="979989"/>
                    </a:lnTo>
                    <a:lnTo>
                      <a:pt x="1013112" y="979769"/>
                    </a:lnTo>
                    <a:lnTo>
                      <a:pt x="1008365" y="976339"/>
                    </a:lnTo>
                    <a:lnTo>
                      <a:pt x="1008667" y="972003"/>
                    </a:lnTo>
                    <a:lnTo>
                      <a:pt x="1011466" y="968079"/>
                    </a:lnTo>
                    <a:lnTo>
                      <a:pt x="1008392" y="957266"/>
                    </a:lnTo>
                    <a:lnTo>
                      <a:pt x="1004523" y="951585"/>
                    </a:lnTo>
                    <a:lnTo>
                      <a:pt x="1007843" y="946838"/>
                    </a:lnTo>
                    <a:lnTo>
                      <a:pt x="1006307" y="942666"/>
                    </a:lnTo>
                    <a:lnTo>
                      <a:pt x="1001092" y="940498"/>
                    </a:lnTo>
                    <a:lnTo>
                      <a:pt x="993902" y="929850"/>
                    </a:lnTo>
                    <a:lnTo>
                      <a:pt x="992173" y="919889"/>
                    </a:lnTo>
                    <a:lnTo>
                      <a:pt x="992064" y="914674"/>
                    </a:lnTo>
                    <a:lnTo>
                      <a:pt x="987590" y="919998"/>
                    </a:lnTo>
                    <a:lnTo>
                      <a:pt x="976833" y="917446"/>
                    </a:lnTo>
                    <a:lnTo>
                      <a:pt x="967941" y="901200"/>
                    </a:lnTo>
                    <a:lnTo>
                      <a:pt x="954192" y="864811"/>
                    </a:lnTo>
                    <a:lnTo>
                      <a:pt x="954083" y="864591"/>
                    </a:lnTo>
                    <a:lnTo>
                      <a:pt x="953918" y="864426"/>
                    </a:lnTo>
                    <a:lnTo>
                      <a:pt x="953753" y="864426"/>
                    </a:lnTo>
                    <a:cubicBezTo>
                      <a:pt x="953753" y="864426"/>
                      <a:pt x="953589" y="864426"/>
                      <a:pt x="953589" y="864426"/>
                    </a:cubicBezTo>
                    <a:lnTo>
                      <a:pt x="953451" y="864591"/>
                    </a:lnTo>
                    <a:lnTo>
                      <a:pt x="953342" y="864838"/>
                    </a:lnTo>
                    <a:lnTo>
                      <a:pt x="953287" y="865167"/>
                    </a:lnTo>
                    <a:lnTo>
                      <a:pt x="953287" y="865497"/>
                    </a:lnTo>
                    <a:cubicBezTo>
                      <a:pt x="953287" y="865497"/>
                      <a:pt x="953753" y="876529"/>
                      <a:pt x="953753" y="876529"/>
                    </a:cubicBezTo>
                    <a:lnTo>
                      <a:pt x="960861" y="910366"/>
                    </a:lnTo>
                    <a:lnTo>
                      <a:pt x="959818" y="916458"/>
                    </a:lnTo>
                    <a:lnTo>
                      <a:pt x="940471" y="908610"/>
                    </a:lnTo>
                    <a:lnTo>
                      <a:pt x="940306" y="908198"/>
                    </a:lnTo>
                    <a:lnTo>
                      <a:pt x="931991" y="888274"/>
                    </a:lnTo>
                    <a:lnTo>
                      <a:pt x="917309" y="882210"/>
                    </a:lnTo>
                    <a:lnTo>
                      <a:pt x="915745" y="883911"/>
                    </a:lnTo>
                    <a:lnTo>
                      <a:pt x="926393" y="897221"/>
                    </a:lnTo>
                    <a:lnTo>
                      <a:pt x="929055" y="907430"/>
                    </a:lnTo>
                    <a:lnTo>
                      <a:pt x="914153" y="915196"/>
                    </a:lnTo>
                    <a:lnTo>
                      <a:pt x="891266" y="899883"/>
                    </a:lnTo>
                    <a:lnTo>
                      <a:pt x="867445" y="873592"/>
                    </a:lnTo>
                    <a:lnTo>
                      <a:pt x="829052" y="846534"/>
                    </a:lnTo>
                    <a:lnTo>
                      <a:pt x="827214" y="841374"/>
                    </a:lnTo>
                    <a:lnTo>
                      <a:pt x="828119" y="830233"/>
                    </a:lnTo>
                    <a:lnTo>
                      <a:pt x="826116" y="824936"/>
                    </a:lnTo>
                    <a:lnTo>
                      <a:pt x="805259" y="833361"/>
                    </a:lnTo>
                    <a:lnTo>
                      <a:pt x="783360" y="826555"/>
                    </a:lnTo>
                    <a:lnTo>
                      <a:pt x="773178" y="817526"/>
                    </a:lnTo>
                    <a:lnTo>
                      <a:pt x="734566" y="813328"/>
                    </a:lnTo>
                    <a:lnTo>
                      <a:pt x="693072" y="817032"/>
                    </a:lnTo>
                    <a:lnTo>
                      <a:pt x="673176" y="797054"/>
                    </a:lnTo>
                    <a:lnTo>
                      <a:pt x="661623" y="796560"/>
                    </a:lnTo>
                    <a:lnTo>
                      <a:pt x="649603" y="791318"/>
                    </a:lnTo>
                    <a:lnTo>
                      <a:pt x="639312" y="780451"/>
                    </a:lnTo>
                    <a:lnTo>
                      <a:pt x="626715" y="773810"/>
                    </a:lnTo>
                    <a:lnTo>
                      <a:pt x="615903" y="760582"/>
                    </a:lnTo>
                    <a:lnTo>
                      <a:pt x="596940" y="760363"/>
                    </a:lnTo>
                    <a:lnTo>
                      <a:pt x="583987" y="766290"/>
                    </a:lnTo>
                    <a:lnTo>
                      <a:pt x="580584" y="755368"/>
                    </a:lnTo>
                    <a:lnTo>
                      <a:pt x="576110" y="759759"/>
                    </a:lnTo>
                    <a:lnTo>
                      <a:pt x="573037" y="771175"/>
                    </a:lnTo>
                    <a:lnTo>
                      <a:pt x="579623" y="788903"/>
                    </a:lnTo>
                    <a:lnTo>
                      <a:pt x="579102" y="802488"/>
                    </a:lnTo>
                    <a:lnTo>
                      <a:pt x="581599" y="814919"/>
                    </a:lnTo>
                    <a:lnTo>
                      <a:pt x="573119" y="813739"/>
                    </a:lnTo>
                    <a:lnTo>
                      <a:pt x="559453" y="820133"/>
                    </a:lnTo>
                    <a:lnTo>
                      <a:pt x="540929" y="817334"/>
                    </a:lnTo>
                    <a:lnTo>
                      <a:pt x="515983" y="845902"/>
                    </a:lnTo>
                    <a:lnTo>
                      <a:pt x="507777" y="847576"/>
                    </a:lnTo>
                    <a:lnTo>
                      <a:pt x="497953" y="856770"/>
                    </a:lnTo>
                    <a:lnTo>
                      <a:pt x="469385" y="860173"/>
                    </a:lnTo>
                    <a:lnTo>
                      <a:pt x="470345" y="853038"/>
                    </a:lnTo>
                    <a:lnTo>
                      <a:pt x="481542" y="840688"/>
                    </a:lnTo>
                    <a:lnTo>
                      <a:pt x="472623" y="825485"/>
                    </a:lnTo>
                    <a:lnTo>
                      <a:pt x="482310" y="795791"/>
                    </a:lnTo>
                    <a:lnTo>
                      <a:pt x="486262" y="776280"/>
                    </a:lnTo>
                    <a:lnTo>
                      <a:pt x="507640" y="760363"/>
                    </a:lnTo>
                    <a:lnTo>
                      <a:pt x="526686" y="760610"/>
                    </a:lnTo>
                    <a:lnTo>
                      <a:pt x="526741" y="748425"/>
                    </a:lnTo>
                    <a:lnTo>
                      <a:pt x="530061" y="737887"/>
                    </a:lnTo>
                    <a:lnTo>
                      <a:pt x="529293" y="735856"/>
                    </a:lnTo>
                    <a:lnTo>
                      <a:pt x="520346" y="741646"/>
                    </a:lnTo>
                    <a:lnTo>
                      <a:pt x="498639" y="745928"/>
                    </a:lnTo>
                    <a:lnTo>
                      <a:pt x="474901" y="764150"/>
                    </a:lnTo>
                    <a:lnTo>
                      <a:pt x="449982" y="799195"/>
                    </a:lnTo>
                    <a:lnTo>
                      <a:pt x="441146" y="820874"/>
                    </a:lnTo>
                    <a:lnTo>
                      <a:pt x="429620" y="834349"/>
                    </a:lnTo>
                    <a:lnTo>
                      <a:pt x="418451" y="840057"/>
                    </a:lnTo>
                    <a:lnTo>
                      <a:pt x="404619" y="860036"/>
                    </a:lnTo>
                    <a:lnTo>
                      <a:pt x="405141" y="870546"/>
                    </a:lnTo>
                    <a:lnTo>
                      <a:pt x="419219" y="879026"/>
                    </a:lnTo>
                    <a:lnTo>
                      <a:pt x="417408" y="893104"/>
                    </a:lnTo>
                    <a:lnTo>
                      <a:pt x="408379" y="902023"/>
                    </a:lnTo>
                    <a:lnTo>
                      <a:pt x="393779" y="924115"/>
                    </a:lnTo>
                    <a:lnTo>
                      <a:pt x="359036" y="947881"/>
                    </a:lnTo>
                    <a:lnTo>
                      <a:pt x="339909" y="964621"/>
                    </a:lnTo>
                    <a:lnTo>
                      <a:pt x="333542" y="978123"/>
                    </a:lnTo>
                    <a:lnTo>
                      <a:pt x="325803" y="987014"/>
                    </a:lnTo>
                    <a:lnTo>
                      <a:pt x="293173" y="1007487"/>
                    </a:lnTo>
                    <a:lnTo>
                      <a:pt x="291335" y="1013799"/>
                    </a:lnTo>
                    <a:lnTo>
                      <a:pt x="287548" y="1009490"/>
                    </a:lnTo>
                    <a:lnTo>
                      <a:pt x="276515" y="1017174"/>
                    </a:lnTo>
                    <a:lnTo>
                      <a:pt x="275281" y="1020495"/>
                    </a:lnTo>
                    <a:lnTo>
                      <a:pt x="277586" y="1028481"/>
                    </a:lnTo>
                    <a:lnTo>
                      <a:pt x="273606" y="1035726"/>
                    </a:lnTo>
                    <a:lnTo>
                      <a:pt x="248304" y="1048157"/>
                    </a:lnTo>
                    <a:lnTo>
                      <a:pt x="242020" y="1054442"/>
                    </a:lnTo>
                    <a:lnTo>
                      <a:pt x="233979" y="1049831"/>
                    </a:lnTo>
                    <a:lnTo>
                      <a:pt x="214467" y="1063937"/>
                    </a:lnTo>
                    <a:lnTo>
                      <a:pt x="193061" y="1071429"/>
                    </a:lnTo>
                    <a:lnTo>
                      <a:pt x="189000" y="1071100"/>
                    </a:lnTo>
                    <a:lnTo>
                      <a:pt x="186393" y="1064293"/>
                    </a:lnTo>
                    <a:lnTo>
                      <a:pt x="183237" y="1063278"/>
                    </a:lnTo>
                    <a:lnTo>
                      <a:pt x="167210" y="1085864"/>
                    </a:lnTo>
                    <a:lnTo>
                      <a:pt x="159608" y="1087236"/>
                    </a:lnTo>
                    <a:lnTo>
                      <a:pt x="152446" y="1081006"/>
                    </a:lnTo>
                    <a:lnTo>
                      <a:pt x="149125" y="1091490"/>
                    </a:lnTo>
                    <a:lnTo>
                      <a:pt x="138093" y="1091160"/>
                    </a:lnTo>
                    <a:lnTo>
                      <a:pt x="134965" y="1098488"/>
                    </a:lnTo>
                    <a:lnTo>
                      <a:pt x="125387" y="1108559"/>
                    </a:lnTo>
                    <a:lnTo>
                      <a:pt x="107631" y="1112868"/>
                    </a:lnTo>
                    <a:lnTo>
                      <a:pt x="94651" y="1120415"/>
                    </a:lnTo>
                    <a:lnTo>
                      <a:pt x="89162" y="1119619"/>
                    </a:lnTo>
                    <a:lnTo>
                      <a:pt x="87049" y="1115831"/>
                    </a:lnTo>
                    <a:lnTo>
                      <a:pt x="88449" y="1110178"/>
                    </a:lnTo>
                    <a:lnTo>
                      <a:pt x="100496" y="1096594"/>
                    </a:lnTo>
                    <a:lnTo>
                      <a:pt x="119542" y="1091105"/>
                    </a:lnTo>
                    <a:lnTo>
                      <a:pt x="130491" y="1093081"/>
                    </a:lnTo>
                    <a:lnTo>
                      <a:pt x="135212" y="1086138"/>
                    </a:lnTo>
                    <a:lnTo>
                      <a:pt x="147671" y="1077823"/>
                    </a:lnTo>
                    <a:lnTo>
                      <a:pt x="163889" y="1056994"/>
                    </a:lnTo>
                    <a:lnTo>
                      <a:pt x="175992" y="1046950"/>
                    </a:lnTo>
                    <a:lnTo>
                      <a:pt x="195202" y="1043355"/>
                    </a:lnTo>
                    <a:lnTo>
                      <a:pt x="204642" y="1049612"/>
                    </a:lnTo>
                    <a:lnTo>
                      <a:pt x="215921" y="1048569"/>
                    </a:lnTo>
                    <a:lnTo>
                      <a:pt x="215647" y="1037043"/>
                    </a:lnTo>
                    <a:lnTo>
                      <a:pt x="221136" y="1024337"/>
                    </a:lnTo>
                    <a:lnTo>
                      <a:pt x="235214" y="1011191"/>
                    </a:lnTo>
                    <a:lnTo>
                      <a:pt x="253848" y="999364"/>
                    </a:lnTo>
                    <a:lnTo>
                      <a:pt x="266499" y="995851"/>
                    </a:lnTo>
                    <a:lnTo>
                      <a:pt x="270011" y="985313"/>
                    </a:lnTo>
                    <a:lnTo>
                      <a:pt x="275802" y="975955"/>
                    </a:lnTo>
                    <a:lnTo>
                      <a:pt x="296823" y="958034"/>
                    </a:lnTo>
                    <a:lnTo>
                      <a:pt x="299787" y="930564"/>
                    </a:lnTo>
                    <a:lnTo>
                      <a:pt x="302970" y="921892"/>
                    </a:lnTo>
                    <a:lnTo>
                      <a:pt x="302970" y="909076"/>
                    </a:lnTo>
                    <a:cubicBezTo>
                      <a:pt x="302970" y="909076"/>
                      <a:pt x="315237" y="888274"/>
                      <a:pt x="315237" y="888274"/>
                    </a:cubicBezTo>
                    <a:lnTo>
                      <a:pt x="314359" y="885365"/>
                    </a:lnTo>
                    <a:lnTo>
                      <a:pt x="282059" y="894367"/>
                    </a:lnTo>
                    <a:lnTo>
                      <a:pt x="275884" y="888439"/>
                    </a:lnTo>
                    <a:lnTo>
                      <a:pt x="272591" y="877819"/>
                    </a:lnTo>
                    <a:lnTo>
                      <a:pt x="266169" y="886271"/>
                    </a:lnTo>
                    <a:lnTo>
                      <a:pt x="263837" y="901996"/>
                    </a:lnTo>
                    <a:lnTo>
                      <a:pt x="259830" y="905975"/>
                    </a:lnTo>
                    <a:lnTo>
                      <a:pt x="241635" y="884926"/>
                    </a:lnTo>
                    <a:lnTo>
                      <a:pt x="230192" y="884679"/>
                    </a:lnTo>
                    <a:lnTo>
                      <a:pt x="216662" y="875513"/>
                    </a:lnTo>
                    <a:lnTo>
                      <a:pt x="177803" y="895519"/>
                    </a:lnTo>
                    <a:lnTo>
                      <a:pt x="176678" y="891842"/>
                    </a:lnTo>
                    <a:lnTo>
                      <a:pt x="177583" y="873949"/>
                    </a:lnTo>
                    <a:lnTo>
                      <a:pt x="172232" y="861463"/>
                    </a:lnTo>
                    <a:lnTo>
                      <a:pt x="175223" y="842582"/>
                    </a:lnTo>
                    <a:lnTo>
                      <a:pt x="161200" y="807757"/>
                    </a:lnTo>
                    <a:lnTo>
                      <a:pt x="159142" y="796258"/>
                    </a:lnTo>
                    <a:lnTo>
                      <a:pt x="156288" y="800265"/>
                    </a:lnTo>
                    <a:lnTo>
                      <a:pt x="154147" y="813300"/>
                    </a:lnTo>
                    <a:lnTo>
                      <a:pt x="149619" y="819475"/>
                    </a:lnTo>
                    <a:lnTo>
                      <a:pt x="131370" y="827076"/>
                    </a:lnTo>
                    <a:lnTo>
                      <a:pt x="110321" y="825540"/>
                    </a:lnTo>
                    <a:lnTo>
                      <a:pt x="97368" y="807565"/>
                    </a:lnTo>
                    <a:lnTo>
                      <a:pt x="77170" y="786543"/>
                    </a:lnTo>
                    <a:lnTo>
                      <a:pt x="81039" y="770352"/>
                    </a:lnTo>
                    <a:lnTo>
                      <a:pt x="79310" y="754627"/>
                    </a:lnTo>
                    <a:lnTo>
                      <a:pt x="74151" y="749468"/>
                    </a:lnTo>
                    <a:lnTo>
                      <a:pt x="64491" y="747272"/>
                    </a:lnTo>
                    <a:lnTo>
                      <a:pt x="52197" y="721970"/>
                    </a:lnTo>
                    <a:lnTo>
                      <a:pt x="54365" y="709922"/>
                    </a:lnTo>
                    <a:lnTo>
                      <a:pt x="60704" y="701388"/>
                    </a:lnTo>
                    <a:lnTo>
                      <a:pt x="64628" y="685855"/>
                    </a:lnTo>
                    <a:lnTo>
                      <a:pt x="81478" y="658412"/>
                    </a:lnTo>
                    <a:lnTo>
                      <a:pt x="91632" y="631902"/>
                    </a:lnTo>
                    <a:lnTo>
                      <a:pt x="99014" y="621529"/>
                    </a:lnTo>
                    <a:lnTo>
                      <a:pt x="112571" y="617988"/>
                    </a:lnTo>
                    <a:lnTo>
                      <a:pt x="136392" y="627648"/>
                    </a:lnTo>
                    <a:lnTo>
                      <a:pt x="144131" y="622736"/>
                    </a:lnTo>
                    <a:lnTo>
                      <a:pt x="163149" y="600727"/>
                    </a:lnTo>
                    <a:lnTo>
                      <a:pt x="186667" y="601413"/>
                    </a:lnTo>
                    <a:lnTo>
                      <a:pt x="198715" y="593098"/>
                    </a:lnTo>
                    <a:lnTo>
                      <a:pt x="203435" y="583959"/>
                    </a:lnTo>
                    <a:lnTo>
                      <a:pt x="204258" y="573394"/>
                    </a:lnTo>
                    <a:lnTo>
                      <a:pt x="199456" y="553086"/>
                    </a:lnTo>
                    <a:lnTo>
                      <a:pt x="194488" y="542493"/>
                    </a:lnTo>
                    <a:lnTo>
                      <a:pt x="192073" y="535193"/>
                    </a:lnTo>
                    <a:lnTo>
                      <a:pt x="201898" y="525478"/>
                    </a:lnTo>
                    <a:lnTo>
                      <a:pt x="203490" y="520374"/>
                    </a:lnTo>
                    <a:lnTo>
                      <a:pt x="201651" y="513486"/>
                    </a:lnTo>
                    <a:lnTo>
                      <a:pt x="194351" y="508162"/>
                    </a:lnTo>
                    <a:lnTo>
                      <a:pt x="159142" y="527893"/>
                    </a:lnTo>
                    <a:lnTo>
                      <a:pt x="148384" y="540956"/>
                    </a:lnTo>
                    <a:lnTo>
                      <a:pt x="136995" y="527180"/>
                    </a:lnTo>
                    <a:lnTo>
                      <a:pt x="136392" y="534452"/>
                    </a:lnTo>
                    <a:lnTo>
                      <a:pt x="134471" y="536071"/>
                    </a:lnTo>
                    <a:lnTo>
                      <a:pt x="117182" y="528826"/>
                    </a:lnTo>
                    <a:lnTo>
                      <a:pt x="80024" y="535769"/>
                    </a:lnTo>
                    <a:lnTo>
                      <a:pt x="49946" y="527646"/>
                    </a:lnTo>
                    <a:lnTo>
                      <a:pt x="43360" y="520319"/>
                    </a:lnTo>
                    <a:lnTo>
                      <a:pt x="34578" y="497843"/>
                    </a:lnTo>
                    <a:lnTo>
                      <a:pt x="36499" y="483902"/>
                    </a:lnTo>
                    <a:lnTo>
                      <a:pt x="35594" y="478770"/>
                    </a:lnTo>
                    <a:lnTo>
                      <a:pt x="11828" y="468644"/>
                    </a:lnTo>
                    <a:lnTo>
                      <a:pt x="0" y="452782"/>
                    </a:lnTo>
                    <a:lnTo>
                      <a:pt x="37569" y="418999"/>
                    </a:lnTo>
                    <a:lnTo>
                      <a:pt x="57548" y="416804"/>
                    </a:lnTo>
                    <a:lnTo>
                      <a:pt x="65698" y="401381"/>
                    </a:lnTo>
                    <a:lnTo>
                      <a:pt x="96517" y="387358"/>
                    </a:lnTo>
                    <a:lnTo>
                      <a:pt x="114657" y="390047"/>
                    </a:lnTo>
                    <a:lnTo>
                      <a:pt x="117127" y="412358"/>
                    </a:lnTo>
                    <a:lnTo>
                      <a:pt x="127335" y="422567"/>
                    </a:lnTo>
                    <a:lnTo>
                      <a:pt x="170284" y="423335"/>
                    </a:lnTo>
                    <a:lnTo>
                      <a:pt x="187106" y="408489"/>
                    </a:lnTo>
                    <a:lnTo>
                      <a:pt x="187353" y="404372"/>
                    </a:lnTo>
                    <a:lnTo>
                      <a:pt x="180300" y="396798"/>
                    </a:lnTo>
                    <a:lnTo>
                      <a:pt x="181727" y="386452"/>
                    </a:lnTo>
                    <a:lnTo>
                      <a:pt x="174071" y="356539"/>
                    </a:lnTo>
                    <a:lnTo>
                      <a:pt x="143938" y="352340"/>
                    </a:lnTo>
                    <a:lnTo>
                      <a:pt x="126210" y="345480"/>
                    </a:lnTo>
                    <a:lnTo>
                      <a:pt x="105957" y="307828"/>
                    </a:lnTo>
                    <a:lnTo>
                      <a:pt x="45061" y="254973"/>
                    </a:lnTo>
                    <a:lnTo>
                      <a:pt x="42317" y="240016"/>
                    </a:lnTo>
                    <a:lnTo>
                      <a:pt x="49068" y="214577"/>
                    </a:lnTo>
                    <a:lnTo>
                      <a:pt x="115425" y="192293"/>
                    </a:lnTo>
                    <a:lnTo>
                      <a:pt x="132165" y="171464"/>
                    </a:lnTo>
                    <a:lnTo>
                      <a:pt x="145118" y="130656"/>
                    </a:lnTo>
                    <a:lnTo>
                      <a:pt x="167731" y="97478"/>
                    </a:lnTo>
                    <a:lnTo>
                      <a:pt x="199840" y="85265"/>
                    </a:lnTo>
                    <a:lnTo>
                      <a:pt x="242788" y="44238"/>
                    </a:lnTo>
                    <a:lnTo>
                      <a:pt x="289880" y="36252"/>
                    </a:lnTo>
                    <a:lnTo>
                      <a:pt x="329700" y="0"/>
                    </a:lnTo>
                    <a:lnTo>
                      <a:pt x="354454" y="14270"/>
                    </a:lnTo>
                    <a:lnTo>
                      <a:pt x="355085" y="20363"/>
                    </a:lnTo>
                    <a:lnTo>
                      <a:pt x="352066" y="316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8" name="Freeform: Shape 4237">
                <a:extLst>
                  <a:ext uri="{FF2B5EF4-FFF2-40B4-BE49-F238E27FC236}">
                    <a16:creationId xmlns:a16="http://schemas.microsoft.com/office/drawing/2014/main" id="{613DD015-CC96-2489-9D15-704A285B6514}"/>
                  </a:ext>
                </a:extLst>
              </p:cNvPr>
              <p:cNvSpPr/>
              <p:nvPr/>
            </p:nvSpPr>
            <p:spPr>
              <a:xfrm>
                <a:off x="890751" y="3621338"/>
                <a:ext cx="8458" cy="11140"/>
              </a:xfrm>
              <a:custGeom>
                <a:avLst/>
                <a:gdLst>
                  <a:gd name="connsiteX0" fmla="*/ 69458 w 81093"/>
                  <a:gd name="connsiteY0" fmla="*/ 467 h 106808"/>
                  <a:gd name="connsiteX1" fmla="*/ 66412 w 81093"/>
                  <a:gd name="connsiteY1" fmla="*/ 12981 h 106808"/>
                  <a:gd name="connsiteX2" fmla="*/ 71269 w 81093"/>
                  <a:gd name="connsiteY2" fmla="*/ 11115 h 106808"/>
                  <a:gd name="connsiteX3" fmla="*/ 74069 w 81093"/>
                  <a:gd name="connsiteY3" fmla="*/ 14819 h 106808"/>
                  <a:gd name="connsiteX4" fmla="*/ 76785 w 81093"/>
                  <a:gd name="connsiteY4" fmla="*/ 13447 h 106808"/>
                  <a:gd name="connsiteX5" fmla="*/ 75852 w 81093"/>
                  <a:gd name="connsiteY5" fmla="*/ 19594 h 106808"/>
                  <a:gd name="connsiteX6" fmla="*/ 79173 w 81093"/>
                  <a:gd name="connsiteY6" fmla="*/ 17509 h 106808"/>
                  <a:gd name="connsiteX7" fmla="*/ 80518 w 81093"/>
                  <a:gd name="connsiteY7" fmla="*/ 15341 h 106808"/>
                  <a:gd name="connsiteX8" fmla="*/ 81094 w 81093"/>
                  <a:gd name="connsiteY8" fmla="*/ 19622 h 106808"/>
                  <a:gd name="connsiteX9" fmla="*/ 77636 w 81093"/>
                  <a:gd name="connsiteY9" fmla="*/ 24918 h 106808"/>
                  <a:gd name="connsiteX10" fmla="*/ 73767 w 81093"/>
                  <a:gd name="connsiteY10" fmla="*/ 23327 h 106808"/>
                  <a:gd name="connsiteX11" fmla="*/ 72998 w 81093"/>
                  <a:gd name="connsiteY11" fmla="*/ 19622 h 106808"/>
                  <a:gd name="connsiteX12" fmla="*/ 70336 w 81093"/>
                  <a:gd name="connsiteY12" fmla="*/ 26400 h 106808"/>
                  <a:gd name="connsiteX13" fmla="*/ 62488 w 81093"/>
                  <a:gd name="connsiteY13" fmla="*/ 26647 h 106808"/>
                  <a:gd name="connsiteX14" fmla="*/ 58481 w 81093"/>
                  <a:gd name="connsiteY14" fmla="*/ 31724 h 106808"/>
                  <a:gd name="connsiteX15" fmla="*/ 53404 w 81093"/>
                  <a:gd name="connsiteY15" fmla="*/ 46982 h 106808"/>
                  <a:gd name="connsiteX16" fmla="*/ 54612 w 81093"/>
                  <a:gd name="connsiteY16" fmla="*/ 48657 h 106808"/>
                  <a:gd name="connsiteX17" fmla="*/ 56313 w 81093"/>
                  <a:gd name="connsiteY17" fmla="*/ 43442 h 106808"/>
                  <a:gd name="connsiteX18" fmla="*/ 66412 w 81093"/>
                  <a:gd name="connsiteY18" fmla="*/ 37130 h 106808"/>
                  <a:gd name="connsiteX19" fmla="*/ 68031 w 81093"/>
                  <a:gd name="connsiteY19" fmla="*/ 39655 h 106808"/>
                  <a:gd name="connsiteX20" fmla="*/ 67949 w 81093"/>
                  <a:gd name="connsiteY20" fmla="*/ 46159 h 106808"/>
                  <a:gd name="connsiteX21" fmla="*/ 66577 w 81093"/>
                  <a:gd name="connsiteY21" fmla="*/ 46982 h 106808"/>
                  <a:gd name="connsiteX22" fmla="*/ 67702 w 81093"/>
                  <a:gd name="connsiteY22" fmla="*/ 54859 h 106808"/>
                  <a:gd name="connsiteX23" fmla="*/ 74233 w 81093"/>
                  <a:gd name="connsiteY23" fmla="*/ 55298 h 106808"/>
                  <a:gd name="connsiteX24" fmla="*/ 74563 w 81093"/>
                  <a:gd name="connsiteY24" fmla="*/ 57027 h 106808"/>
                  <a:gd name="connsiteX25" fmla="*/ 69650 w 81093"/>
                  <a:gd name="connsiteY25" fmla="*/ 65232 h 106808"/>
                  <a:gd name="connsiteX26" fmla="*/ 59524 w 81093"/>
                  <a:gd name="connsiteY26" fmla="*/ 62872 h 106808"/>
                  <a:gd name="connsiteX27" fmla="*/ 59112 w 81093"/>
                  <a:gd name="connsiteY27" fmla="*/ 64601 h 106808"/>
                  <a:gd name="connsiteX28" fmla="*/ 61829 w 81093"/>
                  <a:gd name="connsiteY28" fmla="*/ 69019 h 106808"/>
                  <a:gd name="connsiteX29" fmla="*/ 56752 w 81093"/>
                  <a:gd name="connsiteY29" fmla="*/ 73959 h 106808"/>
                  <a:gd name="connsiteX30" fmla="*/ 55215 w 81093"/>
                  <a:gd name="connsiteY30" fmla="*/ 73959 h 106808"/>
                  <a:gd name="connsiteX31" fmla="*/ 52361 w 81093"/>
                  <a:gd name="connsiteY31" fmla="*/ 70748 h 106808"/>
                  <a:gd name="connsiteX32" fmla="*/ 50523 w 81093"/>
                  <a:gd name="connsiteY32" fmla="*/ 71763 h 106808"/>
                  <a:gd name="connsiteX33" fmla="*/ 51867 w 81093"/>
                  <a:gd name="connsiteY33" fmla="*/ 73959 h 106808"/>
                  <a:gd name="connsiteX34" fmla="*/ 49480 w 81093"/>
                  <a:gd name="connsiteY34" fmla="*/ 78268 h 106808"/>
                  <a:gd name="connsiteX35" fmla="*/ 51758 w 81093"/>
                  <a:gd name="connsiteY35" fmla="*/ 80628 h 106808"/>
                  <a:gd name="connsiteX36" fmla="*/ 51675 w 81093"/>
                  <a:gd name="connsiteY36" fmla="*/ 82411 h 106808"/>
                  <a:gd name="connsiteX37" fmla="*/ 42454 w 81093"/>
                  <a:gd name="connsiteY37" fmla="*/ 88751 h 106808"/>
                  <a:gd name="connsiteX38" fmla="*/ 40122 w 81093"/>
                  <a:gd name="connsiteY38" fmla="*/ 85101 h 106808"/>
                  <a:gd name="connsiteX39" fmla="*/ 40533 w 81093"/>
                  <a:gd name="connsiteY39" fmla="*/ 79420 h 106808"/>
                  <a:gd name="connsiteX40" fmla="*/ 33920 w 81093"/>
                  <a:gd name="connsiteY40" fmla="*/ 84936 h 106808"/>
                  <a:gd name="connsiteX41" fmla="*/ 34057 w 81093"/>
                  <a:gd name="connsiteY41" fmla="*/ 90535 h 106808"/>
                  <a:gd name="connsiteX42" fmla="*/ 31532 w 81093"/>
                  <a:gd name="connsiteY42" fmla="*/ 92565 h 106808"/>
                  <a:gd name="connsiteX43" fmla="*/ 23409 w 81093"/>
                  <a:gd name="connsiteY43" fmla="*/ 101841 h 106808"/>
                  <a:gd name="connsiteX44" fmla="*/ 21488 w 81093"/>
                  <a:gd name="connsiteY44" fmla="*/ 102582 h 106808"/>
                  <a:gd name="connsiteX45" fmla="*/ 21570 w 81093"/>
                  <a:gd name="connsiteY45" fmla="*/ 106808 h 106808"/>
                  <a:gd name="connsiteX46" fmla="*/ 18634 w 81093"/>
                  <a:gd name="connsiteY46" fmla="*/ 104695 h 106808"/>
                  <a:gd name="connsiteX47" fmla="*/ 17948 w 81093"/>
                  <a:gd name="connsiteY47" fmla="*/ 102006 h 106808"/>
                  <a:gd name="connsiteX48" fmla="*/ 19457 w 81093"/>
                  <a:gd name="connsiteY48" fmla="*/ 97834 h 106808"/>
                  <a:gd name="connsiteX49" fmla="*/ 25906 w 81093"/>
                  <a:gd name="connsiteY49" fmla="*/ 91605 h 106808"/>
                  <a:gd name="connsiteX50" fmla="*/ 26235 w 81093"/>
                  <a:gd name="connsiteY50" fmla="*/ 88861 h 106808"/>
                  <a:gd name="connsiteX51" fmla="*/ 22915 w 81093"/>
                  <a:gd name="connsiteY51" fmla="*/ 90535 h 106808"/>
                  <a:gd name="connsiteX52" fmla="*/ 22915 w 81093"/>
                  <a:gd name="connsiteY52" fmla="*/ 85595 h 106808"/>
                  <a:gd name="connsiteX53" fmla="*/ 16768 w 81093"/>
                  <a:gd name="connsiteY53" fmla="*/ 92675 h 106808"/>
                  <a:gd name="connsiteX54" fmla="*/ 13365 w 81093"/>
                  <a:gd name="connsiteY54" fmla="*/ 93526 h 106808"/>
                  <a:gd name="connsiteX55" fmla="*/ 7025 w 81093"/>
                  <a:gd name="connsiteY55" fmla="*/ 89217 h 106808"/>
                  <a:gd name="connsiteX56" fmla="*/ 5543 w 81093"/>
                  <a:gd name="connsiteY56" fmla="*/ 78268 h 106808"/>
                  <a:gd name="connsiteX57" fmla="*/ 0 w 81093"/>
                  <a:gd name="connsiteY57" fmla="*/ 71846 h 106808"/>
                  <a:gd name="connsiteX58" fmla="*/ 1701 w 81093"/>
                  <a:gd name="connsiteY58" fmla="*/ 63942 h 106808"/>
                  <a:gd name="connsiteX59" fmla="*/ 12212 w 81093"/>
                  <a:gd name="connsiteY59" fmla="*/ 53980 h 106808"/>
                  <a:gd name="connsiteX60" fmla="*/ 20857 w 81093"/>
                  <a:gd name="connsiteY60" fmla="*/ 53541 h 106808"/>
                  <a:gd name="connsiteX61" fmla="*/ 23464 w 81093"/>
                  <a:gd name="connsiteY61" fmla="*/ 60155 h 106808"/>
                  <a:gd name="connsiteX62" fmla="*/ 26208 w 81093"/>
                  <a:gd name="connsiteY62" fmla="*/ 60100 h 106808"/>
                  <a:gd name="connsiteX63" fmla="*/ 26126 w 81093"/>
                  <a:gd name="connsiteY63" fmla="*/ 54200 h 106808"/>
                  <a:gd name="connsiteX64" fmla="*/ 27251 w 81093"/>
                  <a:gd name="connsiteY64" fmla="*/ 51565 h 106808"/>
                  <a:gd name="connsiteX65" fmla="*/ 24781 w 81093"/>
                  <a:gd name="connsiteY65" fmla="*/ 50138 h 106808"/>
                  <a:gd name="connsiteX66" fmla="*/ 24067 w 81093"/>
                  <a:gd name="connsiteY66" fmla="*/ 44924 h 106808"/>
                  <a:gd name="connsiteX67" fmla="*/ 27388 w 81093"/>
                  <a:gd name="connsiteY67" fmla="*/ 41000 h 106808"/>
                  <a:gd name="connsiteX68" fmla="*/ 31505 w 81093"/>
                  <a:gd name="connsiteY68" fmla="*/ 40835 h 106808"/>
                  <a:gd name="connsiteX69" fmla="*/ 34084 w 81093"/>
                  <a:gd name="connsiteY69" fmla="*/ 43964 h 106808"/>
                  <a:gd name="connsiteX70" fmla="*/ 35045 w 81093"/>
                  <a:gd name="connsiteY70" fmla="*/ 48903 h 106808"/>
                  <a:gd name="connsiteX71" fmla="*/ 36554 w 81093"/>
                  <a:gd name="connsiteY71" fmla="*/ 46955 h 106808"/>
                  <a:gd name="connsiteX72" fmla="*/ 39106 w 81093"/>
                  <a:gd name="connsiteY72" fmla="*/ 46516 h 106808"/>
                  <a:gd name="connsiteX73" fmla="*/ 38557 w 81093"/>
                  <a:gd name="connsiteY73" fmla="*/ 38448 h 106808"/>
                  <a:gd name="connsiteX74" fmla="*/ 44128 w 81093"/>
                  <a:gd name="connsiteY74" fmla="*/ 40478 h 106808"/>
                  <a:gd name="connsiteX75" fmla="*/ 43689 w 81093"/>
                  <a:gd name="connsiteY75" fmla="*/ 35539 h 106808"/>
                  <a:gd name="connsiteX76" fmla="*/ 45940 w 81093"/>
                  <a:gd name="connsiteY76" fmla="*/ 35154 h 106808"/>
                  <a:gd name="connsiteX77" fmla="*/ 46077 w 81093"/>
                  <a:gd name="connsiteY77" fmla="*/ 33234 h 106808"/>
                  <a:gd name="connsiteX78" fmla="*/ 41549 w 81093"/>
                  <a:gd name="connsiteY78" fmla="*/ 30270 h 106808"/>
                  <a:gd name="connsiteX79" fmla="*/ 41549 w 81093"/>
                  <a:gd name="connsiteY79" fmla="*/ 28404 h 106808"/>
                  <a:gd name="connsiteX80" fmla="*/ 48739 w 81093"/>
                  <a:gd name="connsiteY80" fmla="*/ 22668 h 106808"/>
                  <a:gd name="connsiteX81" fmla="*/ 48108 w 81093"/>
                  <a:gd name="connsiteY81" fmla="*/ 19594 h 106808"/>
                  <a:gd name="connsiteX82" fmla="*/ 55874 w 81093"/>
                  <a:gd name="connsiteY82" fmla="*/ 15231 h 106808"/>
                  <a:gd name="connsiteX83" fmla="*/ 63942 w 81093"/>
                  <a:gd name="connsiteY83" fmla="*/ 0 h 106808"/>
                  <a:gd name="connsiteX84" fmla="*/ 69595 w 81093"/>
                  <a:gd name="connsiteY84" fmla="*/ 494 h 10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81093" h="106808">
                    <a:moveTo>
                      <a:pt x="69458" y="467"/>
                    </a:moveTo>
                    <a:lnTo>
                      <a:pt x="66412" y="12981"/>
                    </a:lnTo>
                    <a:lnTo>
                      <a:pt x="71269" y="11115"/>
                    </a:lnTo>
                    <a:lnTo>
                      <a:pt x="74069" y="14819"/>
                    </a:lnTo>
                    <a:lnTo>
                      <a:pt x="76785" y="13447"/>
                    </a:lnTo>
                    <a:lnTo>
                      <a:pt x="75852" y="19594"/>
                    </a:lnTo>
                    <a:lnTo>
                      <a:pt x="79173" y="17509"/>
                    </a:lnTo>
                    <a:lnTo>
                      <a:pt x="80518" y="15341"/>
                    </a:lnTo>
                    <a:lnTo>
                      <a:pt x="81094" y="19622"/>
                    </a:lnTo>
                    <a:lnTo>
                      <a:pt x="77636" y="24918"/>
                    </a:lnTo>
                    <a:lnTo>
                      <a:pt x="73767" y="23327"/>
                    </a:lnTo>
                    <a:lnTo>
                      <a:pt x="72998" y="19622"/>
                    </a:lnTo>
                    <a:lnTo>
                      <a:pt x="70336" y="26400"/>
                    </a:lnTo>
                    <a:lnTo>
                      <a:pt x="62488" y="26647"/>
                    </a:lnTo>
                    <a:lnTo>
                      <a:pt x="58481" y="31724"/>
                    </a:lnTo>
                    <a:lnTo>
                      <a:pt x="53404" y="46982"/>
                    </a:lnTo>
                    <a:lnTo>
                      <a:pt x="54612" y="48657"/>
                    </a:lnTo>
                    <a:lnTo>
                      <a:pt x="56313" y="43442"/>
                    </a:lnTo>
                    <a:lnTo>
                      <a:pt x="66412" y="37130"/>
                    </a:lnTo>
                    <a:lnTo>
                      <a:pt x="68031" y="39655"/>
                    </a:lnTo>
                    <a:lnTo>
                      <a:pt x="67949" y="46159"/>
                    </a:lnTo>
                    <a:lnTo>
                      <a:pt x="66577" y="46982"/>
                    </a:lnTo>
                    <a:lnTo>
                      <a:pt x="67702" y="54859"/>
                    </a:lnTo>
                    <a:lnTo>
                      <a:pt x="74233" y="55298"/>
                    </a:lnTo>
                    <a:lnTo>
                      <a:pt x="74563" y="57027"/>
                    </a:lnTo>
                    <a:lnTo>
                      <a:pt x="69650" y="65232"/>
                    </a:lnTo>
                    <a:lnTo>
                      <a:pt x="59524" y="62872"/>
                    </a:lnTo>
                    <a:lnTo>
                      <a:pt x="59112" y="64601"/>
                    </a:lnTo>
                    <a:lnTo>
                      <a:pt x="61829" y="69019"/>
                    </a:lnTo>
                    <a:lnTo>
                      <a:pt x="56752" y="73959"/>
                    </a:lnTo>
                    <a:lnTo>
                      <a:pt x="55215" y="73959"/>
                    </a:lnTo>
                    <a:lnTo>
                      <a:pt x="52361" y="70748"/>
                    </a:lnTo>
                    <a:lnTo>
                      <a:pt x="50523" y="71763"/>
                    </a:lnTo>
                    <a:lnTo>
                      <a:pt x="51867" y="73959"/>
                    </a:lnTo>
                    <a:lnTo>
                      <a:pt x="49480" y="78268"/>
                    </a:lnTo>
                    <a:lnTo>
                      <a:pt x="51758" y="80628"/>
                    </a:lnTo>
                    <a:lnTo>
                      <a:pt x="51675" y="82411"/>
                    </a:lnTo>
                    <a:lnTo>
                      <a:pt x="42454" y="88751"/>
                    </a:lnTo>
                    <a:lnTo>
                      <a:pt x="40122" y="85101"/>
                    </a:lnTo>
                    <a:lnTo>
                      <a:pt x="40533" y="79420"/>
                    </a:lnTo>
                    <a:lnTo>
                      <a:pt x="33920" y="84936"/>
                    </a:lnTo>
                    <a:lnTo>
                      <a:pt x="34057" y="90535"/>
                    </a:lnTo>
                    <a:lnTo>
                      <a:pt x="31532" y="92565"/>
                    </a:lnTo>
                    <a:lnTo>
                      <a:pt x="23409" y="101841"/>
                    </a:lnTo>
                    <a:lnTo>
                      <a:pt x="21488" y="102582"/>
                    </a:lnTo>
                    <a:lnTo>
                      <a:pt x="21570" y="106808"/>
                    </a:lnTo>
                    <a:lnTo>
                      <a:pt x="18634" y="104695"/>
                    </a:lnTo>
                    <a:lnTo>
                      <a:pt x="17948" y="102006"/>
                    </a:lnTo>
                    <a:lnTo>
                      <a:pt x="19457" y="97834"/>
                    </a:lnTo>
                    <a:lnTo>
                      <a:pt x="25906" y="91605"/>
                    </a:lnTo>
                    <a:lnTo>
                      <a:pt x="26235" y="88861"/>
                    </a:lnTo>
                    <a:lnTo>
                      <a:pt x="22915" y="90535"/>
                    </a:lnTo>
                    <a:lnTo>
                      <a:pt x="22915" y="85595"/>
                    </a:lnTo>
                    <a:cubicBezTo>
                      <a:pt x="22915" y="85595"/>
                      <a:pt x="16768" y="92675"/>
                      <a:pt x="16768" y="92675"/>
                    </a:cubicBezTo>
                    <a:lnTo>
                      <a:pt x="13365" y="93526"/>
                    </a:lnTo>
                    <a:lnTo>
                      <a:pt x="7025" y="89217"/>
                    </a:lnTo>
                    <a:lnTo>
                      <a:pt x="5543" y="78268"/>
                    </a:lnTo>
                    <a:lnTo>
                      <a:pt x="0" y="71846"/>
                    </a:lnTo>
                    <a:lnTo>
                      <a:pt x="1701" y="63942"/>
                    </a:lnTo>
                    <a:lnTo>
                      <a:pt x="12212" y="53980"/>
                    </a:lnTo>
                    <a:lnTo>
                      <a:pt x="20857" y="53541"/>
                    </a:lnTo>
                    <a:lnTo>
                      <a:pt x="23464" y="60155"/>
                    </a:lnTo>
                    <a:lnTo>
                      <a:pt x="26208" y="60100"/>
                    </a:lnTo>
                    <a:lnTo>
                      <a:pt x="26126" y="54200"/>
                    </a:lnTo>
                    <a:lnTo>
                      <a:pt x="27251" y="51565"/>
                    </a:lnTo>
                    <a:lnTo>
                      <a:pt x="24781" y="50138"/>
                    </a:lnTo>
                    <a:lnTo>
                      <a:pt x="24067" y="44924"/>
                    </a:lnTo>
                    <a:lnTo>
                      <a:pt x="27388" y="41000"/>
                    </a:lnTo>
                    <a:lnTo>
                      <a:pt x="31505" y="40835"/>
                    </a:lnTo>
                    <a:lnTo>
                      <a:pt x="34084" y="43964"/>
                    </a:lnTo>
                    <a:lnTo>
                      <a:pt x="35045" y="48903"/>
                    </a:lnTo>
                    <a:lnTo>
                      <a:pt x="36554" y="46955"/>
                    </a:lnTo>
                    <a:lnTo>
                      <a:pt x="39106" y="46516"/>
                    </a:lnTo>
                    <a:lnTo>
                      <a:pt x="38557" y="38448"/>
                    </a:lnTo>
                    <a:lnTo>
                      <a:pt x="44128" y="40478"/>
                    </a:lnTo>
                    <a:lnTo>
                      <a:pt x="43689" y="35539"/>
                    </a:lnTo>
                    <a:lnTo>
                      <a:pt x="45940" y="35154"/>
                    </a:lnTo>
                    <a:lnTo>
                      <a:pt x="46077" y="33234"/>
                    </a:lnTo>
                    <a:lnTo>
                      <a:pt x="41549" y="30270"/>
                    </a:lnTo>
                    <a:lnTo>
                      <a:pt x="41549" y="28404"/>
                    </a:lnTo>
                    <a:cubicBezTo>
                      <a:pt x="41549" y="28404"/>
                      <a:pt x="48739" y="22668"/>
                      <a:pt x="48739" y="22668"/>
                    </a:cubicBezTo>
                    <a:lnTo>
                      <a:pt x="48108" y="19594"/>
                    </a:lnTo>
                    <a:lnTo>
                      <a:pt x="55874" y="15231"/>
                    </a:lnTo>
                    <a:lnTo>
                      <a:pt x="63942" y="0"/>
                    </a:lnTo>
                    <a:lnTo>
                      <a:pt x="69595" y="4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39" name="Freeform: Shape 4238">
                <a:extLst>
                  <a:ext uri="{FF2B5EF4-FFF2-40B4-BE49-F238E27FC236}">
                    <a16:creationId xmlns:a16="http://schemas.microsoft.com/office/drawing/2014/main" id="{E02DAA62-D41B-9DF8-0231-849DA47D0277}"/>
                  </a:ext>
                </a:extLst>
              </p:cNvPr>
              <p:cNvSpPr/>
              <p:nvPr/>
            </p:nvSpPr>
            <p:spPr>
              <a:xfrm>
                <a:off x="946498" y="3623193"/>
                <a:ext cx="5805" cy="11475"/>
              </a:xfrm>
              <a:custGeom>
                <a:avLst/>
                <a:gdLst>
                  <a:gd name="connsiteX0" fmla="*/ 14270 w 55654"/>
                  <a:gd name="connsiteY0" fmla="*/ 0 h 110018"/>
                  <a:gd name="connsiteX1" fmla="*/ 16795 w 55654"/>
                  <a:gd name="connsiteY1" fmla="*/ 2799 h 110018"/>
                  <a:gd name="connsiteX2" fmla="*/ 21680 w 55654"/>
                  <a:gd name="connsiteY2" fmla="*/ 2195 h 110018"/>
                  <a:gd name="connsiteX3" fmla="*/ 23217 w 55654"/>
                  <a:gd name="connsiteY3" fmla="*/ 2003 h 110018"/>
                  <a:gd name="connsiteX4" fmla="*/ 28596 w 55654"/>
                  <a:gd name="connsiteY4" fmla="*/ 6394 h 110018"/>
                  <a:gd name="connsiteX5" fmla="*/ 29419 w 55654"/>
                  <a:gd name="connsiteY5" fmla="*/ 12651 h 110018"/>
                  <a:gd name="connsiteX6" fmla="*/ 32438 w 55654"/>
                  <a:gd name="connsiteY6" fmla="*/ 11499 h 110018"/>
                  <a:gd name="connsiteX7" fmla="*/ 34990 w 55654"/>
                  <a:gd name="connsiteY7" fmla="*/ 10017 h 110018"/>
                  <a:gd name="connsiteX8" fmla="*/ 46763 w 55654"/>
                  <a:gd name="connsiteY8" fmla="*/ 18469 h 110018"/>
                  <a:gd name="connsiteX9" fmla="*/ 45994 w 55654"/>
                  <a:gd name="connsiteY9" fmla="*/ 27388 h 110018"/>
                  <a:gd name="connsiteX10" fmla="*/ 49370 w 55654"/>
                  <a:gd name="connsiteY10" fmla="*/ 39161 h 110018"/>
                  <a:gd name="connsiteX11" fmla="*/ 49507 w 55654"/>
                  <a:gd name="connsiteY11" fmla="*/ 56862 h 110018"/>
                  <a:gd name="connsiteX12" fmla="*/ 55462 w 55654"/>
                  <a:gd name="connsiteY12" fmla="*/ 84387 h 110018"/>
                  <a:gd name="connsiteX13" fmla="*/ 55654 w 55654"/>
                  <a:gd name="connsiteY13" fmla="*/ 106067 h 110018"/>
                  <a:gd name="connsiteX14" fmla="*/ 55654 w 55654"/>
                  <a:gd name="connsiteY14" fmla="*/ 110019 h 110018"/>
                  <a:gd name="connsiteX15" fmla="*/ 51318 w 55654"/>
                  <a:gd name="connsiteY15" fmla="*/ 109552 h 110018"/>
                  <a:gd name="connsiteX16" fmla="*/ 49836 w 55654"/>
                  <a:gd name="connsiteY16" fmla="*/ 106067 h 110018"/>
                  <a:gd name="connsiteX17" fmla="*/ 43662 w 55654"/>
                  <a:gd name="connsiteY17" fmla="*/ 91412 h 110018"/>
                  <a:gd name="connsiteX18" fmla="*/ 32794 w 55654"/>
                  <a:gd name="connsiteY18" fmla="*/ 81478 h 110018"/>
                  <a:gd name="connsiteX19" fmla="*/ 35676 w 55654"/>
                  <a:gd name="connsiteY19" fmla="*/ 70885 h 110018"/>
                  <a:gd name="connsiteX20" fmla="*/ 32465 w 55654"/>
                  <a:gd name="connsiteY20" fmla="*/ 65342 h 110018"/>
                  <a:gd name="connsiteX21" fmla="*/ 25824 w 55654"/>
                  <a:gd name="connsiteY21" fmla="*/ 70501 h 110018"/>
                  <a:gd name="connsiteX22" fmla="*/ 21707 w 55654"/>
                  <a:gd name="connsiteY22" fmla="*/ 70501 h 110018"/>
                  <a:gd name="connsiteX23" fmla="*/ 21707 w 55654"/>
                  <a:gd name="connsiteY23" fmla="*/ 68744 h 110018"/>
                  <a:gd name="connsiteX24" fmla="*/ 22640 w 55654"/>
                  <a:gd name="connsiteY24" fmla="*/ 64244 h 110018"/>
                  <a:gd name="connsiteX25" fmla="*/ 21954 w 55654"/>
                  <a:gd name="connsiteY25" fmla="*/ 50495 h 110018"/>
                  <a:gd name="connsiteX26" fmla="*/ 21707 w 55654"/>
                  <a:gd name="connsiteY26" fmla="*/ 50193 h 110018"/>
                  <a:gd name="connsiteX27" fmla="*/ 10758 w 55654"/>
                  <a:gd name="connsiteY27" fmla="*/ 37377 h 110018"/>
                  <a:gd name="connsiteX28" fmla="*/ 0 w 55654"/>
                  <a:gd name="connsiteY28" fmla="*/ 17317 h 110018"/>
                  <a:gd name="connsiteX29" fmla="*/ 4803 w 55654"/>
                  <a:gd name="connsiteY29" fmla="*/ 6092 h 110018"/>
                  <a:gd name="connsiteX30" fmla="*/ 11142 w 55654"/>
                  <a:gd name="connsiteY30" fmla="*/ 4830 h 110018"/>
                  <a:gd name="connsiteX31" fmla="*/ 14270 w 55654"/>
                  <a:gd name="connsiteY31" fmla="*/ 0 h 1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5654" h="110018">
                    <a:moveTo>
                      <a:pt x="14270" y="0"/>
                    </a:moveTo>
                    <a:lnTo>
                      <a:pt x="16795" y="2799"/>
                    </a:lnTo>
                    <a:lnTo>
                      <a:pt x="21680" y="2195"/>
                    </a:lnTo>
                    <a:lnTo>
                      <a:pt x="23217" y="2003"/>
                    </a:lnTo>
                    <a:lnTo>
                      <a:pt x="28596" y="6394"/>
                    </a:lnTo>
                    <a:lnTo>
                      <a:pt x="29419" y="12651"/>
                    </a:lnTo>
                    <a:lnTo>
                      <a:pt x="32438" y="11499"/>
                    </a:lnTo>
                    <a:lnTo>
                      <a:pt x="34990" y="10017"/>
                    </a:lnTo>
                    <a:lnTo>
                      <a:pt x="46763" y="18469"/>
                    </a:lnTo>
                    <a:lnTo>
                      <a:pt x="45994" y="27388"/>
                    </a:lnTo>
                    <a:lnTo>
                      <a:pt x="49370" y="39161"/>
                    </a:lnTo>
                    <a:lnTo>
                      <a:pt x="49507" y="56862"/>
                    </a:lnTo>
                    <a:lnTo>
                      <a:pt x="55462" y="84387"/>
                    </a:lnTo>
                    <a:lnTo>
                      <a:pt x="55654" y="106067"/>
                    </a:lnTo>
                    <a:lnTo>
                      <a:pt x="55654" y="110019"/>
                    </a:lnTo>
                    <a:cubicBezTo>
                      <a:pt x="55654" y="110019"/>
                      <a:pt x="51318" y="109552"/>
                      <a:pt x="51318" y="109552"/>
                    </a:cubicBezTo>
                    <a:lnTo>
                      <a:pt x="49836" y="106067"/>
                    </a:lnTo>
                    <a:lnTo>
                      <a:pt x="43662" y="91412"/>
                    </a:lnTo>
                    <a:lnTo>
                      <a:pt x="32794" y="81478"/>
                    </a:lnTo>
                    <a:lnTo>
                      <a:pt x="35676" y="70885"/>
                    </a:lnTo>
                    <a:lnTo>
                      <a:pt x="32465" y="65342"/>
                    </a:lnTo>
                    <a:lnTo>
                      <a:pt x="25824" y="70501"/>
                    </a:lnTo>
                    <a:lnTo>
                      <a:pt x="21707" y="70501"/>
                    </a:lnTo>
                    <a:cubicBezTo>
                      <a:pt x="21707" y="70501"/>
                      <a:pt x="21707" y="68744"/>
                      <a:pt x="21707" y="68744"/>
                    </a:cubicBezTo>
                    <a:lnTo>
                      <a:pt x="22640" y="64244"/>
                    </a:lnTo>
                    <a:lnTo>
                      <a:pt x="21954" y="50495"/>
                    </a:lnTo>
                    <a:lnTo>
                      <a:pt x="21707" y="50193"/>
                    </a:lnTo>
                    <a:lnTo>
                      <a:pt x="10758" y="37377"/>
                    </a:lnTo>
                    <a:lnTo>
                      <a:pt x="0" y="17317"/>
                    </a:lnTo>
                    <a:lnTo>
                      <a:pt x="4803" y="6092"/>
                    </a:lnTo>
                    <a:lnTo>
                      <a:pt x="11142" y="4830"/>
                    </a:lnTo>
                    <a:lnTo>
                      <a:pt x="1427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0" name="Freeform: Shape 4239">
                <a:extLst>
                  <a:ext uri="{FF2B5EF4-FFF2-40B4-BE49-F238E27FC236}">
                    <a16:creationId xmlns:a16="http://schemas.microsoft.com/office/drawing/2014/main" id="{7AE4FE5B-BB73-7B13-BA05-ACF4C75617FB}"/>
                  </a:ext>
                </a:extLst>
              </p:cNvPr>
              <p:cNvSpPr/>
              <p:nvPr/>
            </p:nvSpPr>
            <p:spPr>
              <a:xfrm>
                <a:off x="955039" y="3634213"/>
                <a:ext cx="5510" cy="8965"/>
              </a:xfrm>
              <a:custGeom>
                <a:avLst/>
                <a:gdLst>
                  <a:gd name="connsiteX0" fmla="*/ 21790 w 52827"/>
                  <a:gd name="connsiteY0" fmla="*/ 12459 h 85951"/>
                  <a:gd name="connsiteX1" fmla="*/ 36060 w 52827"/>
                  <a:gd name="connsiteY1" fmla="*/ 27031 h 85951"/>
                  <a:gd name="connsiteX2" fmla="*/ 44183 w 52827"/>
                  <a:gd name="connsiteY2" fmla="*/ 42537 h 85951"/>
                  <a:gd name="connsiteX3" fmla="*/ 43662 w 52827"/>
                  <a:gd name="connsiteY3" fmla="*/ 47531 h 85951"/>
                  <a:gd name="connsiteX4" fmla="*/ 49233 w 52827"/>
                  <a:gd name="connsiteY4" fmla="*/ 57850 h 85951"/>
                  <a:gd name="connsiteX5" fmla="*/ 51565 w 52827"/>
                  <a:gd name="connsiteY5" fmla="*/ 58728 h 85951"/>
                  <a:gd name="connsiteX6" fmla="*/ 52828 w 52827"/>
                  <a:gd name="connsiteY6" fmla="*/ 79118 h 85951"/>
                  <a:gd name="connsiteX7" fmla="*/ 50001 w 52827"/>
                  <a:gd name="connsiteY7" fmla="*/ 85485 h 85951"/>
                  <a:gd name="connsiteX8" fmla="*/ 42207 w 52827"/>
                  <a:gd name="connsiteY8" fmla="*/ 83564 h 85951"/>
                  <a:gd name="connsiteX9" fmla="*/ 39902 w 52827"/>
                  <a:gd name="connsiteY9" fmla="*/ 81231 h 85951"/>
                  <a:gd name="connsiteX10" fmla="*/ 40972 w 52827"/>
                  <a:gd name="connsiteY10" fmla="*/ 75852 h 85951"/>
                  <a:gd name="connsiteX11" fmla="*/ 36389 w 52827"/>
                  <a:gd name="connsiteY11" fmla="*/ 73959 h 85951"/>
                  <a:gd name="connsiteX12" fmla="*/ 34194 w 52827"/>
                  <a:gd name="connsiteY12" fmla="*/ 62844 h 85951"/>
                  <a:gd name="connsiteX13" fmla="*/ 28925 w 52827"/>
                  <a:gd name="connsiteY13" fmla="*/ 69760 h 85951"/>
                  <a:gd name="connsiteX14" fmla="*/ 22915 w 52827"/>
                  <a:gd name="connsiteY14" fmla="*/ 62103 h 85951"/>
                  <a:gd name="connsiteX15" fmla="*/ 22064 w 52827"/>
                  <a:gd name="connsiteY15" fmla="*/ 62899 h 85951"/>
                  <a:gd name="connsiteX16" fmla="*/ 22284 w 52827"/>
                  <a:gd name="connsiteY16" fmla="*/ 68415 h 85951"/>
                  <a:gd name="connsiteX17" fmla="*/ 25220 w 52827"/>
                  <a:gd name="connsiteY17" fmla="*/ 74124 h 85951"/>
                  <a:gd name="connsiteX18" fmla="*/ 29391 w 52827"/>
                  <a:gd name="connsiteY18" fmla="*/ 73492 h 85951"/>
                  <a:gd name="connsiteX19" fmla="*/ 32300 w 52827"/>
                  <a:gd name="connsiteY19" fmla="*/ 76977 h 85951"/>
                  <a:gd name="connsiteX20" fmla="*/ 30791 w 52827"/>
                  <a:gd name="connsiteY20" fmla="*/ 85210 h 85951"/>
                  <a:gd name="connsiteX21" fmla="*/ 29282 w 52827"/>
                  <a:gd name="connsiteY21" fmla="*/ 85951 h 85951"/>
                  <a:gd name="connsiteX22" fmla="*/ 18003 w 52827"/>
                  <a:gd name="connsiteY22" fmla="*/ 69678 h 85951"/>
                  <a:gd name="connsiteX23" fmla="*/ 15862 w 52827"/>
                  <a:gd name="connsiteY23" fmla="*/ 66165 h 85951"/>
                  <a:gd name="connsiteX24" fmla="*/ 15478 w 52827"/>
                  <a:gd name="connsiteY24" fmla="*/ 59579 h 85951"/>
                  <a:gd name="connsiteX25" fmla="*/ 10401 w 52827"/>
                  <a:gd name="connsiteY25" fmla="*/ 59414 h 85951"/>
                  <a:gd name="connsiteX26" fmla="*/ 9687 w 52827"/>
                  <a:gd name="connsiteY26" fmla="*/ 54831 h 85951"/>
                  <a:gd name="connsiteX27" fmla="*/ 13282 w 52827"/>
                  <a:gd name="connsiteY27" fmla="*/ 52745 h 85951"/>
                  <a:gd name="connsiteX28" fmla="*/ 12185 w 52827"/>
                  <a:gd name="connsiteY28" fmla="*/ 49617 h 85951"/>
                  <a:gd name="connsiteX29" fmla="*/ 13529 w 52827"/>
                  <a:gd name="connsiteY29" fmla="*/ 46186 h 85951"/>
                  <a:gd name="connsiteX30" fmla="*/ 15697 w 52827"/>
                  <a:gd name="connsiteY30" fmla="*/ 47257 h 85951"/>
                  <a:gd name="connsiteX31" fmla="*/ 16329 w 52827"/>
                  <a:gd name="connsiteY31" fmla="*/ 50961 h 85951"/>
                  <a:gd name="connsiteX32" fmla="*/ 20610 w 52827"/>
                  <a:gd name="connsiteY32" fmla="*/ 48437 h 85951"/>
                  <a:gd name="connsiteX33" fmla="*/ 20719 w 52827"/>
                  <a:gd name="connsiteY33" fmla="*/ 46735 h 85951"/>
                  <a:gd name="connsiteX34" fmla="*/ 15313 w 52827"/>
                  <a:gd name="connsiteY34" fmla="*/ 42125 h 85951"/>
                  <a:gd name="connsiteX35" fmla="*/ 10209 w 52827"/>
                  <a:gd name="connsiteY35" fmla="*/ 47229 h 85951"/>
                  <a:gd name="connsiteX36" fmla="*/ 9084 w 52827"/>
                  <a:gd name="connsiteY36" fmla="*/ 51291 h 85951"/>
                  <a:gd name="connsiteX37" fmla="*/ 5324 w 52827"/>
                  <a:gd name="connsiteY37" fmla="*/ 56587 h 85951"/>
                  <a:gd name="connsiteX38" fmla="*/ 2936 w 52827"/>
                  <a:gd name="connsiteY38" fmla="*/ 54968 h 85951"/>
                  <a:gd name="connsiteX39" fmla="*/ 4693 w 52827"/>
                  <a:gd name="connsiteY39" fmla="*/ 50550 h 85951"/>
                  <a:gd name="connsiteX40" fmla="*/ 1317 w 52827"/>
                  <a:gd name="connsiteY40" fmla="*/ 45253 h 85951"/>
                  <a:gd name="connsiteX41" fmla="*/ 1784 w 52827"/>
                  <a:gd name="connsiteY41" fmla="*/ 42811 h 85951"/>
                  <a:gd name="connsiteX42" fmla="*/ 4391 w 52827"/>
                  <a:gd name="connsiteY42" fmla="*/ 42701 h 85951"/>
                  <a:gd name="connsiteX43" fmla="*/ 5543 w 52827"/>
                  <a:gd name="connsiteY43" fmla="*/ 47586 h 85951"/>
                  <a:gd name="connsiteX44" fmla="*/ 11663 w 52827"/>
                  <a:gd name="connsiteY44" fmla="*/ 40314 h 85951"/>
                  <a:gd name="connsiteX45" fmla="*/ 9056 w 52827"/>
                  <a:gd name="connsiteY45" fmla="*/ 33453 h 85951"/>
                  <a:gd name="connsiteX46" fmla="*/ 4967 w 52827"/>
                  <a:gd name="connsiteY46" fmla="*/ 37322 h 85951"/>
                  <a:gd name="connsiteX47" fmla="*/ 2881 w 52827"/>
                  <a:gd name="connsiteY47" fmla="*/ 29885 h 85951"/>
                  <a:gd name="connsiteX48" fmla="*/ 4940 w 52827"/>
                  <a:gd name="connsiteY48" fmla="*/ 28157 h 85951"/>
                  <a:gd name="connsiteX49" fmla="*/ 9715 w 52827"/>
                  <a:gd name="connsiteY49" fmla="*/ 29776 h 85951"/>
                  <a:gd name="connsiteX50" fmla="*/ 12212 w 52827"/>
                  <a:gd name="connsiteY50" fmla="*/ 28239 h 85951"/>
                  <a:gd name="connsiteX51" fmla="*/ 11691 w 52827"/>
                  <a:gd name="connsiteY51" fmla="*/ 25742 h 85951"/>
                  <a:gd name="connsiteX52" fmla="*/ 7547 w 52827"/>
                  <a:gd name="connsiteY52" fmla="*/ 20225 h 85951"/>
                  <a:gd name="connsiteX53" fmla="*/ 2497 w 52827"/>
                  <a:gd name="connsiteY53" fmla="*/ 24726 h 85951"/>
                  <a:gd name="connsiteX54" fmla="*/ 0 w 52827"/>
                  <a:gd name="connsiteY54" fmla="*/ 21954 h 85951"/>
                  <a:gd name="connsiteX55" fmla="*/ 5351 w 52827"/>
                  <a:gd name="connsiteY55" fmla="*/ 10154 h 85951"/>
                  <a:gd name="connsiteX56" fmla="*/ 4062 w 52827"/>
                  <a:gd name="connsiteY56" fmla="*/ 7300 h 85951"/>
                  <a:gd name="connsiteX57" fmla="*/ 3403 w 52827"/>
                  <a:gd name="connsiteY57" fmla="*/ 2470 h 85951"/>
                  <a:gd name="connsiteX58" fmla="*/ 4720 w 52827"/>
                  <a:gd name="connsiteY58" fmla="*/ 0 h 85951"/>
                  <a:gd name="connsiteX59" fmla="*/ 16877 w 52827"/>
                  <a:gd name="connsiteY59" fmla="*/ 1921 h 85951"/>
                  <a:gd name="connsiteX60" fmla="*/ 17948 w 52827"/>
                  <a:gd name="connsiteY60" fmla="*/ 3320 h 85951"/>
                  <a:gd name="connsiteX61" fmla="*/ 21762 w 52827"/>
                  <a:gd name="connsiteY61" fmla="*/ 12459 h 8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2827" h="85951">
                    <a:moveTo>
                      <a:pt x="21790" y="12459"/>
                    </a:moveTo>
                    <a:lnTo>
                      <a:pt x="36060" y="27031"/>
                    </a:lnTo>
                    <a:lnTo>
                      <a:pt x="44183" y="42537"/>
                    </a:lnTo>
                    <a:lnTo>
                      <a:pt x="43662" y="47531"/>
                    </a:lnTo>
                    <a:lnTo>
                      <a:pt x="49233" y="57850"/>
                    </a:lnTo>
                    <a:lnTo>
                      <a:pt x="51565" y="58728"/>
                    </a:lnTo>
                    <a:lnTo>
                      <a:pt x="52828" y="79118"/>
                    </a:lnTo>
                    <a:lnTo>
                      <a:pt x="50001" y="85485"/>
                    </a:lnTo>
                    <a:lnTo>
                      <a:pt x="42207" y="83564"/>
                    </a:lnTo>
                    <a:lnTo>
                      <a:pt x="39902" y="81231"/>
                    </a:lnTo>
                    <a:lnTo>
                      <a:pt x="40972" y="75852"/>
                    </a:lnTo>
                    <a:lnTo>
                      <a:pt x="36389" y="73959"/>
                    </a:lnTo>
                    <a:lnTo>
                      <a:pt x="34194" y="62844"/>
                    </a:lnTo>
                    <a:lnTo>
                      <a:pt x="28925" y="69760"/>
                    </a:lnTo>
                    <a:lnTo>
                      <a:pt x="22915" y="62103"/>
                    </a:lnTo>
                    <a:lnTo>
                      <a:pt x="22064" y="62899"/>
                    </a:lnTo>
                    <a:lnTo>
                      <a:pt x="22284" y="68415"/>
                    </a:lnTo>
                    <a:lnTo>
                      <a:pt x="25220" y="74124"/>
                    </a:lnTo>
                    <a:lnTo>
                      <a:pt x="29391" y="73492"/>
                    </a:lnTo>
                    <a:lnTo>
                      <a:pt x="32300" y="76977"/>
                    </a:lnTo>
                    <a:lnTo>
                      <a:pt x="30791" y="85210"/>
                    </a:lnTo>
                    <a:lnTo>
                      <a:pt x="29282" y="85951"/>
                    </a:lnTo>
                    <a:lnTo>
                      <a:pt x="18003" y="69678"/>
                    </a:lnTo>
                    <a:lnTo>
                      <a:pt x="15862" y="66165"/>
                    </a:lnTo>
                    <a:lnTo>
                      <a:pt x="15478" y="59579"/>
                    </a:lnTo>
                    <a:lnTo>
                      <a:pt x="10401" y="59414"/>
                    </a:lnTo>
                    <a:lnTo>
                      <a:pt x="9687" y="54831"/>
                    </a:lnTo>
                    <a:lnTo>
                      <a:pt x="13282" y="52745"/>
                    </a:lnTo>
                    <a:lnTo>
                      <a:pt x="12185" y="49617"/>
                    </a:lnTo>
                    <a:lnTo>
                      <a:pt x="13529" y="46186"/>
                    </a:lnTo>
                    <a:lnTo>
                      <a:pt x="15697" y="47257"/>
                    </a:lnTo>
                    <a:lnTo>
                      <a:pt x="16329" y="50961"/>
                    </a:lnTo>
                    <a:lnTo>
                      <a:pt x="20610" y="48437"/>
                    </a:lnTo>
                    <a:lnTo>
                      <a:pt x="20719" y="46735"/>
                    </a:lnTo>
                    <a:lnTo>
                      <a:pt x="15313" y="42125"/>
                    </a:lnTo>
                    <a:lnTo>
                      <a:pt x="10209" y="47229"/>
                    </a:lnTo>
                    <a:lnTo>
                      <a:pt x="9084" y="51291"/>
                    </a:lnTo>
                    <a:lnTo>
                      <a:pt x="5324" y="56587"/>
                    </a:lnTo>
                    <a:lnTo>
                      <a:pt x="2936" y="54968"/>
                    </a:lnTo>
                    <a:lnTo>
                      <a:pt x="4693" y="50550"/>
                    </a:lnTo>
                    <a:lnTo>
                      <a:pt x="1317" y="45253"/>
                    </a:lnTo>
                    <a:lnTo>
                      <a:pt x="1784" y="42811"/>
                    </a:lnTo>
                    <a:lnTo>
                      <a:pt x="4391" y="42701"/>
                    </a:lnTo>
                    <a:lnTo>
                      <a:pt x="5543" y="47586"/>
                    </a:lnTo>
                    <a:lnTo>
                      <a:pt x="11663" y="40314"/>
                    </a:lnTo>
                    <a:lnTo>
                      <a:pt x="9056" y="33453"/>
                    </a:lnTo>
                    <a:lnTo>
                      <a:pt x="4967" y="37322"/>
                    </a:lnTo>
                    <a:lnTo>
                      <a:pt x="2881" y="29885"/>
                    </a:lnTo>
                    <a:lnTo>
                      <a:pt x="4940" y="28157"/>
                    </a:lnTo>
                    <a:lnTo>
                      <a:pt x="9715" y="29776"/>
                    </a:lnTo>
                    <a:lnTo>
                      <a:pt x="12212" y="28239"/>
                    </a:lnTo>
                    <a:lnTo>
                      <a:pt x="11691" y="25742"/>
                    </a:lnTo>
                    <a:lnTo>
                      <a:pt x="7547" y="20225"/>
                    </a:lnTo>
                    <a:lnTo>
                      <a:pt x="2497" y="24726"/>
                    </a:lnTo>
                    <a:lnTo>
                      <a:pt x="0" y="21954"/>
                    </a:lnTo>
                    <a:lnTo>
                      <a:pt x="5351" y="10154"/>
                    </a:lnTo>
                    <a:lnTo>
                      <a:pt x="4062" y="7300"/>
                    </a:lnTo>
                    <a:lnTo>
                      <a:pt x="3403" y="2470"/>
                    </a:lnTo>
                    <a:lnTo>
                      <a:pt x="4720" y="0"/>
                    </a:lnTo>
                    <a:lnTo>
                      <a:pt x="16877" y="1921"/>
                    </a:lnTo>
                    <a:lnTo>
                      <a:pt x="17948" y="3320"/>
                    </a:lnTo>
                    <a:lnTo>
                      <a:pt x="21762" y="124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1" name="Freeform: Shape 4240">
                <a:extLst>
                  <a:ext uri="{FF2B5EF4-FFF2-40B4-BE49-F238E27FC236}">
                    <a16:creationId xmlns:a16="http://schemas.microsoft.com/office/drawing/2014/main" id="{C40E6AA7-305E-6077-AE61-EB0F51ECAA89}"/>
                  </a:ext>
                </a:extLst>
              </p:cNvPr>
              <p:cNvSpPr/>
              <p:nvPr/>
            </p:nvSpPr>
            <p:spPr>
              <a:xfrm>
                <a:off x="838256" y="3588361"/>
                <a:ext cx="9540" cy="5719"/>
              </a:xfrm>
              <a:custGeom>
                <a:avLst/>
                <a:gdLst>
                  <a:gd name="connsiteX0" fmla="*/ 10867 w 91467"/>
                  <a:gd name="connsiteY0" fmla="*/ 10922 h 54831"/>
                  <a:gd name="connsiteX1" fmla="*/ 27333 w 91467"/>
                  <a:gd name="connsiteY1" fmla="*/ 13310 h 54831"/>
                  <a:gd name="connsiteX2" fmla="*/ 41796 w 91467"/>
                  <a:gd name="connsiteY2" fmla="*/ 5653 h 54831"/>
                  <a:gd name="connsiteX3" fmla="*/ 51895 w 91467"/>
                  <a:gd name="connsiteY3" fmla="*/ 14435 h 54831"/>
                  <a:gd name="connsiteX4" fmla="*/ 53020 w 91467"/>
                  <a:gd name="connsiteY4" fmla="*/ 19567 h 54831"/>
                  <a:gd name="connsiteX5" fmla="*/ 58454 w 91467"/>
                  <a:gd name="connsiteY5" fmla="*/ 22201 h 54831"/>
                  <a:gd name="connsiteX6" fmla="*/ 64299 w 91467"/>
                  <a:gd name="connsiteY6" fmla="*/ 23079 h 54831"/>
                  <a:gd name="connsiteX7" fmla="*/ 67592 w 91467"/>
                  <a:gd name="connsiteY7" fmla="*/ 26812 h 54831"/>
                  <a:gd name="connsiteX8" fmla="*/ 76264 w 91467"/>
                  <a:gd name="connsiteY8" fmla="*/ 28760 h 54831"/>
                  <a:gd name="connsiteX9" fmla="*/ 83152 w 91467"/>
                  <a:gd name="connsiteY9" fmla="*/ 28678 h 54831"/>
                  <a:gd name="connsiteX10" fmla="*/ 91056 w 91467"/>
                  <a:gd name="connsiteY10" fmla="*/ 31175 h 54831"/>
                  <a:gd name="connsiteX11" fmla="*/ 91467 w 91467"/>
                  <a:gd name="connsiteY11" fmla="*/ 35923 h 54831"/>
                  <a:gd name="connsiteX12" fmla="*/ 87516 w 91467"/>
                  <a:gd name="connsiteY12" fmla="*/ 41357 h 54831"/>
                  <a:gd name="connsiteX13" fmla="*/ 80984 w 91467"/>
                  <a:gd name="connsiteY13" fmla="*/ 39463 h 54831"/>
                  <a:gd name="connsiteX14" fmla="*/ 73629 w 91467"/>
                  <a:gd name="connsiteY14" fmla="*/ 39875 h 54831"/>
                  <a:gd name="connsiteX15" fmla="*/ 70117 w 91467"/>
                  <a:gd name="connsiteY15" fmla="*/ 44567 h 54831"/>
                  <a:gd name="connsiteX16" fmla="*/ 68086 w 91467"/>
                  <a:gd name="connsiteY16" fmla="*/ 45775 h 54831"/>
                  <a:gd name="connsiteX17" fmla="*/ 66549 w 91467"/>
                  <a:gd name="connsiteY17" fmla="*/ 49123 h 54831"/>
                  <a:gd name="connsiteX18" fmla="*/ 66906 w 91467"/>
                  <a:gd name="connsiteY18" fmla="*/ 52443 h 54831"/>
                  <a:gd name="connsiteX19" fmla="*/ 64464 w 91467"/>
                  <a:gd name="connsiteY19" fmla="*/ 54831 h 54831"/>
                  <a:gd name="connsiteX20" fmla="*/ 61253 w 91467"/>
                  <a:gd name="connsiteY20" fmla="*/ 53459 h 54831"/>
                  <a:gd name="connsiteX21" fmla="*/ 60731 w 91467"/>
                  <a:gd name="connsiteY21" fmla="*/ 49589 h 54831"/>
                  <a:gd name="connsiteX22" fmla="*/ 56340 w 91467"/>
                  <a:gd name="connsiteY22" fmla="*/ 41796 h 54831"/>
                  <a:gd name="connsiteX23" fmla="*/ 52800 w 91467"/>
                  <a:gd name="connsiteY23" fmla="*/ 39984 h 54831"/>
                  <a:gd name="connsiteX24" fmla="*/ 45665 w 91467"/>
                  <a:gd name="connsiteY24" fmla="*/ 38612 h 54831"/>
                  <a:gd name="connsiteX25" fmla="*/ 43387 w 91467"/>
                  <a:gd name="connsiteY25" fmla="*/ 32383 h 54831"/>
                  <a:gd name="connsiteX26" fmla="*/ 40835 w 91467"/>
                  <a:gd name="connsiteY26" fmla="*/ 29803 h 54831"/>
                  <a:gd name="connsiteX27" fmla="*/ 35950 w 91467"/>
                  <a:gd name="connsiteY27" fmla="*/ 26922 h 54831"/>
                  <a:gd name="connsiteX28" fmla="*/ 27416 w 91467"/>
                  <a:gd name="connsiteY28" fmla="*/ 23628 h 54831"/>
                  <a:gd name="connsiteX29" fmla="*/ 22284 w 91467"/>
                  <a:gd name="connsiteY29" fmla="*/ 23327 h 54831"/>
                  <a:gd name="connsiteX30" fmla="*/ 16548 w 91467"/>
                  <a:gd name="connsiteY30" fmla="*/ 26016 h 54831"/>
                  <a:gd name="connsiteX31" fmla="*/ 13063 w 91467"/>
                  <a:gd name="connsiteY31" fmla="*/ 29913 h 54831"/>
                  <a:gd name="connsiteX32" fmla="*/ 8507 w 91467"/>
                  <a:gd name="connsiteY32" fmla="*/ 29968 h 54831"/>
                  <a:gd name="connsiteX33" fmla="*/ 3156 w 91467"/>
                  <a:gd name="connsiteY33" fmla="*/ 26922 h 54831"/>
                  <a:gd name="connsiteX34" fmla="*/ 0 w 91467"/>
                  <a:gd name="connsiteY34" fmla="*/ 19347 h 54831"/>
                  <a:gd name="connsiteX35" fmla="*/ 329 w 91467"/>
                  <a:gd name="connsiteY35" fmla="*/ 14380 h 54831"/>
                  <a:gd name="connsiteX36" fmla="*/ 4034 w 91467"/>
                  <a:gd name="connsiteY36" fmla="*/ 0 h 54831"/>
                  <a:gd name="connsiteX37" fmla="*/ 10840 w 91467"/>
                  <a:gd name="connsiteY37" fmla="*/ 10867 h 54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1467" h="54831">
                    <a:moveTo>
                      <a:pt x="10867" y="10922"/>
                    </a:moveTo>
                    <a:lnTo>
                      <a:pt x="27333" y="13310"/>
                    </a:lnTo>
                    <a:lnTo>
                      <a:pt x="41796" y="5653"/>
                    </a:lnTo>
                    <a:lnTo>
                      <a:pt x="51895" y="14435"/>
                    </a:lnTo>
                    <a:lnTo>
                      <a:pt x="53020" y="19567"/>
                    </a:lnTo>
                    <a:lnTo>
                      <a:pt x="58454" y="22201"/>
                    </a:lnTo>
                    <a:lnTo>
                      <a:pt x="64299" y="23079"/>
                    </a:lnTo>
                    <a:lnTo>
                      <a:pt x="67592" y="26812"/>
                    </a:lnTo>
                    <a:lnTo>
                      <a:pt x="76264" y="28760"/>
                    </a:lnTo>
                    <a:lnTo>
                      <a:pt x="83152" y="28678"/>
                    </a:lnTo>
                    <a:lnTo>
                      <a:pt x="91056" y="31175"/>
                    </a:lnTo>
                    <a:lnTo>
                      <a:pt x="91467" y="35923"/>
                    </a:lnTo>
                    <a:lnTo>
                      <a:pt x="87516" y="41357"/>
                    </a:lnTo>
                    <a:lnTo>
                      <a:pt x="80984" y="39463"/>
                    </a:lnTo>
                    <a:lnTo>
                      <a:pt x="73629" y="39875"/>
                    </a:lnTo>
                    <a:lnTo>
                      <a:pt x="70117" y="44567"/>
                    </a:lnTo>
                    <a:lnTo>
                      <a:pt x="68086" y="45775"/>
                    </a:lnTo>
                    <a:lnTo>
                      <a:pt x="66549" y="49123"/>
                    </a:lnTo>
                    <a:lnTo>
                      <a:pt x="66906" y="52443"/>
                    </a:lnTo>
                    <a:lnTo>
                      <a:pt x="64464" y="54831"/>
                    </a:lnTo>
                    <a:lnTo>
                      <a:pt x="61253" y="53459"/>
                    </a:lnTo>
                    <a:lnTo>
                      <a:pt x="60731" y="49589"/>
                    </a:lnTo>
                    <a:lnTo>
                      <a:pt x="56340" y="41796"/>
                    </a:lnTo>
                    <a:lnTo>
                      <a:pt x="52800" y="39984"/>
                    </a:lnTo>
                    <a:lnTo>
                      <a:pt x="45665" y="38612"/>
                    </a:lnTo>
                    <a:lnTo>
                      <a:pt x="43387" y="32383"/>
                    </a:lnTo>
                    <a:lnTo>
                      <a:pt x="40835" y="29803"/>
                    </a:lnTo>
                    <a:lnTo>
                      <a:pt x="35950" y="26922"/>
                    </a:lnTo>
                    <a:lnTo>
                      <a:pt x="27416" y="23628"/>
                    </a:lnTo>
                    <a:lnTo>
                      <a:pt x="22284" y="23327"/>
                    </a:lnTo>
                    <a:lnTo>
                      <a:pt x="16548" y="26016"/>
                    </a:lnTo>
                    <a:lnTo>
                      <a:pt x="13063" y="29913"/>
                    </a:lnTo>
                    <a:lnTo>
                      <a:pt x="8507" y="29968"/>
                    </a:lnTo>
                    <a:lnTo>
                      <a:pt x="3156" y="26922"/>
                    </a:lnTo>
                    <a:lnTo>
                      <a:pt x="0" y="19347"/>
                    </a:lnTo>
                    <a:lnTo>
                      <a:pt x="329" y="14380"/>
                    </a:lnTo>
                    <a:lnTo>
                      <a:pt x="4034" y="0"/>
                    </a:lnTo>
                    <a:lnTo>
                      <a:pt x="10840" y="108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2" name="Freeform: Shape 4241">
                <a:extLst>
                  <a:ext uri="{FF2B5EF4-FFF2-40B4-BE49-F238E27FC236}">
                    <a16:creationId xmlns:a16="http://schemas.microsoft.com/office/drawing/2014/main" id="{562112A2-855C-F83B-D0A9-2C445E209F04}"/>
                  </a:ext>
                </a:extLst>
              </p:cNvPr>
              <p:cNvSpPr/>
              <p:nvPr/>
            </p:nvSpPr>
            <p:spPr>
              <a:xfrm>
                <a:off x="951381" y="3622583"/>
                <a:ext cx="3240" cy="7728"/>
              </a:xfrm>
              <a:custGeom>
                <a:avLst/>
                <a:gdLst>
                  <a:gd name="connsiteX0" fmla="*/ 24205 w 31065"/>
                  <a:gd name="connsiteY0" fmla="*/ 19128 h 74096"/>
                  <a:gd name="connsiteX1" fmla="*/ 30160 w 31065"/>
                  <a:gd name="connsiteY1" fmla="*/ 32520 h 74096"/>
                  <a:gd name="connsiteX2" fmla="*/ 29227 w 31065"/>
                  <a:gd name="connsiteY2" fmla="*/ 34551 h 74096"/>
                  <a:gd name="connsiteX3" fmla="*/ 22092 w 31065"/>
                  <a:gd name="connsiteY3" fmla="*/ 22229 h 74096"/>
                  <a:gd name="connsiteX4" fmla="*/ 20253 w 31065"/>
                  <a:gd name="connsiteY4" fmla="*/ 21625 h 74096"/>
                  <a:gd name="connsiteX5" fmla="*/ 19924 w 31065"/>
                  <a:gd name="connsiteY5" fmla="*/ 24287 h 74096"/>
                  <a:gd name="connsiteX6" fmla="*/ 29007 w 31065"/>
                  <a:gd name="connsiteY6" fmla="*/ 42784 h 74096"/>
                  <a:gd name="connsiteX7" fmla="*/ 31065 w 31065"/>
                  <a:gd name="connsiteY7" fmla="*/ 53404 h 74096"/>
                  <a:gd name="connsiteX8" fmla="*/ 13914 w 31065"/>
                  <a:gd name="connsiteY8" fmla="*/ 73382 h 74096"/>
                  <a:gd name="connsiteX9" fmla="*/ 11444 w 31065"/>
                  <a:gd name="connsiteY9" fmla="*/ 74096 h 74096"/>
                  <a:gd name="connsiteX10" fmla="*/ 10044 w 31065"/>
                  <a:gd name="connsiteY10" fmla="*/ 71599 h 74096"/>
                  <a:gd name="connsiteX11" fmla="*/ 10648 w 31065"/>
                  <a:gd name="connsiteY11" fmla="*/ 62378 h 74096"/>
                  <a:gd name="connsiteX12" fmla="*/ 13337 w 31065"/>
                  <a:gd name="connsiteY12" fmla="*/ 53377 h 74096"/>
                  <a:gd name="connsiteX13" fmla="*/ 8315 w 31065"/>
                  <a:gd name="connsiteY13" fmla="*/ 42674 h 74096"/>
                  <a:gd name="connsiteX14" fmla="*/ 7382 w 31065"/>
                  <a:gd name="connsiteY14" fmla="*/ 34331 h 74096"/>
                  <a:gd name="connsiteX15" fmla="*/ 4720 w 31065"/>
                  <a:gd name="connsiteY15" fmla="*/ 17124 h 74096"/>
                  <a:gd name="connsiteX16" fmla="*/ 576 w 31065"/>
                  <a:gd name="connsiteY16" fmla="*/ 6806 h 74096"/>
                  <a:gd name="connsiteX17" fmla="*/ 0 w 31065"/>
                  <a:gd name="connsiteY17" fmla="*/ 1811 h 74096"/>
                  <a:gd name="connsiteX18" fmla="*/ 714 w 31065"/>
                  <a:gd name="connsiteY18" fmla="*/ 0 h 74096"/>
                  <a:gd name="connsiteX19" fmla="*/ 5928 w 31065"/>
                  <a:gd name="connsiteY19" fmla="*/ 6778 h 74096"/>
                  <a:gd name="connsiteX20" fmla="*/ 8452 w 31065"/>
                  <a:gd name="connsiteY20" fmla="*/ 12185 h 74096"/>
                  <a:gd name="connsiteX21" fmla="*/ 20692 w 31065"/>
                  <a:gd name="connsiteY21" fmla="*/ 14133 h 74096"/>
                  <a:gd name="connsiteX22" fmla="*/ 24205 w 31065"/>
                  <a:gd name="connsiteY22" fmla="*/ 19073 h 7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65" h="74096">
                    <a:moveTo>
                      <a:pt x="24205" y="19128"/>
                    </a:moveTo>
                    <a:lnTo>
                      <a:pt x="30160" y="32520"/>
                    </a:lnTo>
                    <a:lnTo>
                      <a:pt x="29227" y="34551"/>
                    </a:lnTo>
                    <a:lnTo>
                      <a:pt x="22092" y="22229"/>
                    </a:lnTo>
                    <a:lnTo>
                      <a:pt x="20253" y="21625"/>
                    </a:lnTo>
                    <a:lnTo>
                      <a:pt x="19924" y="24287"/>
                    </a:lnTo>
                    <a:lnTo>
                      <a:pt x="29007" y="42784"/>
                    </a:lnTo>
                    <a:lnTo>
                      <a:pt x="31065" y="53404"/>
                    </a:lnTo>
                    <a:lnTo>
                      <a:pt x="13914" y="73382"/>
                    </a:lnTo>
                    <a:lnTo>
                      <a:pt x="11444" y="74096"/>
                    </a:lnTo>
                    <a:lnTo>
                      <a:pt x="10044" y="71599"/>
                    </a:lnTo>
                    <a:lnTo>
                      <a:pt x="10648" y="62378"/>
                    </a:lnTo>
                    <a:lnTo>
                      <a:pt x="13337" y="53377"/>
                    </a:lnTo>
                    <a:lnTo>
                      <a:pt x="8315" y="42674"/>
                    </a:lnTo>
                    <a:lnTo>
                      <a:pt x="7382" y="34331"/>
                    </a:lnTo>
                    <a:lnTo>
                      <a:pt x="4720" y="17124"/>
                    </a:lnTo>
                    <a:lnTo>
                      <a:pt x="576" y="6806"/>
                    </a:lnTo>
                    <a:lnTo>
                      <a:pt x="0" y="1811"/>
                    </a:lnTo>
                    <a:lnTo>
                      <a:pt x="714" y="0"/>
                    </a:lnTo>
                    <a:lnTo>
                      <a:pt x="5928" y="6778"/>
                    </a:lnTo>
                    <a:lnTo>
                      <a:pt x="8452" y="12185"/>
                    </a:lnTo>
                    <a:lnTo>
                      <a:pt x="20692" y="14133"/>
                    </a:lnTo>
                    <a:lnTo>
                      <a:pt x="24205" y="190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3" name="Freeform: Shape 4242">
                <a:extLst>
                  <a:ext uri="{FF2B5EF4-FFF2-40B4-BE49-F238E27FC236}">
                    <a16:creationId xmlns:a16="http://schemas.microsoft.com/office/drawing/2014/main" id="{DBDC931C-1E6C-CFDC-2140-320E0D3BF895}"/>
                  </a:ext>
                </a:extLst>
              </p:cNvPr>
              <p:cNvSpPr/>
              <p:nvPr/>
            </p:nvSpPr>
            <p:spPr>
              <a:xfrm>
                <a:off x="850696" y="3646818"/>
                <a:ext cx="5032" cy="3913"/>
              </a:xfrm>
              <a:custGeom>
                <a:avLst/>
                <a:gdLst>
                  <a:gd name="connsiteX0" fmla="*/ 33398 w 48244"/>
                  <a:gd name="connsiteY0" fmla="*/ 0 h 37514"/>
                  <a:gd name="connsiteX1" fmla="*/ 34660 w 48244"/>
                  <a:gd name="connsiteY1" fmla="*/ 5955 h 37514"/>
                  <a:gd name="connsiteX2" fmla="*/ 40945 w 48244"/>
                  <a:gd name="connsiteY2" fmla="*/ 2360 h 37514"/>
                  <a:gd name="connsiteX3" fmla="*/ 44814 w 48244"/>
                  <a:gd name="connsiteY3" fmla="*/ 3979 h 37514"/>
                  <a:gd name="connsiteX4" fmla="*/ 38777 w 48244"/>
                  <a:gd name="connsiteY4" fmla="*/ 12267 h 37514"/>
                  <a:gd name="connsiteX5" fmla="*/ 39243 w 48244"/>
                  <a:gd name="connsiteY5" fmla="*/ 13831 h 37514"/>
                  <a:gd name="connsiteX6" fmla="*/ 48245 w 48244"/>
                  <a:gd name="connsiteY6" fmla="*/ 9824 h 37514"/>
                  <a:gd name="connsiteX7" fmla="*/ 47394 w 48244"/>
                  <a:gd name="connsiteY7" fmla="*/ 13145 h 37514"/>
                  <a:gd name="connsiteX8" fmla="*/ 40561 w 48244"/>
                  <a:gd name="connsiteY8" fmla="*/ 17426 h 37514"/>
                  <a:gd name="connsiteX9" fmla="*/ 37789 w 48244"/>
                  <a:gd name="connsiteY9" fmla="*/ 18359 h 37514"/>
                  <a:gd name="connsiteX10" fmla="*/ 33453 w 48244"/>
                  <a:gd name="connsiteY10" fmla="*/ 24095 h 37514"/>
                  <a:gd name="connsiteX11" fmla="*/ 8178 w 48244"/>
                  <a:gd name="connsiteY11" fmla="*/ 36471 h 37514"/>
                  <a:gd name="connsiteX12" fmla="*/ 3019 w 48244"/>
                  <a:gd name="connsiteY12" fmla="*/ 37514 h 37514"/>
                  <a:gd name="connsiteX13" fmla="*/ 0 w 48244"/>
                  <a:gd name="connsiteY13" fmla="*/ 35237 h 37514"/>
                  <a:gd name="connsiteX14" fmla="*/ 2497 w 48244"/>
                  <a:gd name="connsiteY14" fmla="*/ 31559 h 37514"/>
                  <a:gd name="connsiteX15" fmla="*/ 17289 w 48244"/>
                  <a:gd name="connsiteY15" fmla="*/ 25961 h 37514"/>
                  <a:gd name="connsiteX16" fmla="*/ 21598 w 48244"/>
                  <a:gd name="connsiteY16" fmla="*/ 17426 h 37514"/>
                  <a:gd name="connsiteX17" fmla="*/ 27717 w 48244"/>
                  <a:gd name="connsiteY17" fmla="*/ 15505 h 37514"/>
                  <a:gd name="connsiteX18" fmla="*/ 27717 w 48244"/>
                  <a:gd name="connsiteY18" fmla="*/ 13749 h 37514"/>
                  <a:gd name="connsiteX19" fmla="*/ 20253 w 48244"/>
                  <a:gd name="connsiteY19" fmla="*/ 10346 h 37514"/>
                  <a:gd name="connsiteX20" fmla="*/ 19375 w 48244"/>
                  <a:gd name="connsiteY20" fmla="*/ 8260 h 37514"/>
                  <a:gd name="connsiteX21" fmla="*/ 20857 w 48244"/>
                  <a:gd name="connsiteY21" fmla="*/ 4830 h 37514"/>
                  <a:gd name="connsiteX22" fmla="*/ 33480 w 48244"/>
                  <a:gd name="connsiteY22" fmla="*/ 0 h 37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244" h="37514">
                    <a:moveTo>
                      <a:pt x="33398" y="0"/>
                    </a:moveTo>
                    <a:lnTo>
                      <a:pt x="34660" y="5955"/>
                    </a:lnTo>
                    <a:lnTo>
                      <a:pt x="40945" y="2360"/>
                    </a:lnTo>
                    <a:lnTo>
                      <a:pt x="44814" y="3979"/>
                    </a:lnTo>
                    <a:lnTo>
                      <a:pt x="38777" y="12267"/>
                    </a:lnTo>
                    <a:lnTo>
                      <a:pt x="39243" y="13831"/>
                    </a:lnTo>
                    <a:lnTo>
                      <a:pt x="48245" y="9824"/>
                    </a:lnTo>
                    <a:lnTo>
                      <a:pt x="47394" y="13145"/>
                    </a:lnTo>
                    <a:lnTo>
                      <a:pt x="40561" y="17426"/>
                    </a:lnTo>
                    <a:lnTo>
                      <a:pt x="37789" y="18359"/>
                    </a:lnTo>
                    <a:lnTo>
                      <a:pt x="33453" y="24095"/>
                    </a:lnTo>
                    <a:lnTo>
                      <a:pt x="8178" y="36471"/>
                    </a:lnTo>
                    <a:lnTo>
                      <a:pt x="3019" y="37514"/>
                    </a:lnTo>
                    <a:lnTo>
                      <a:pt x="0" y="35237"/>
                    </a:lnTo>
                    <a:lnTo>
                      <a:pt x="2497" y="31559"/>
                    </a:lnTo>
                    <a:lnTo>
                      <a:pt x="17289" y="25961"/>
                    </a:lnTo>
                    <a:lnTo>
                      <a:pt x="21598" y="17426"/>
                    </a:lnTo>
                    <a:lnTo>
                      <a:pt x="27717" y="15505"/>
                    </a:lnTo>
                    <a:lnTo>
                      <a:pt x="27717" y="13749"/>
                    </a:lnTo>
                    <a:cubicBezTo>
                      <a:pt x="27717" y="13749"/>
                      <a:pt x="20253" y="10346"/>
                      <a:pt x="20253" y="10346"/>
                    </a:cubicBezTo>
                    <a:lnTo>
                      <a:pt x="19375" y="8260"/>
                    </a:lnTo>
                    <a:lnTo>
                      <a:pt x="20857" y="4830"/>
                    </a:lnTo>
                    <a:lnTo>
                      <a:pt x="3348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4" name="Freeform: Shape 4243">
                <a:extLst>
                  <a:ext uri="{FF2B5EF4-FFF2-40B4-BE49-F238E27FC236}">
                    <a16:creationId xmlns:a16="http://schemas.microsoft.com/office/drawing/2014/main" id="{5926140B-3EF6-C9B3-458B-159C76BFA769}"/>
                  </a:ext>
                </a:extLst>
              </p:cNvPr>
              <p:cNvSpPr/>
              <p:nvPr/>
            </p:nvSpPr>
            <p:spPr>
              <a:xfrm>
                <a:off x="851944" y="3610533"/>
                <a:ext cx="5407" cy="3933"/>
              </a:xfrm>
              <a:custGeom>
                <a:avLst/>
                <a:gdLst>
                  <a:gd name="connsiteX0" fmla="*/ 36005 w 51839"/>
                  <a:gd name="connsiteY0" fmla="*/ 27 h 37706"/>
                  <a:gd name="connsiteX1" fmla="*/ 38804 w 51839"/>
                  <a:gd name="connsiteY1" fmla="*/ 4446 h 37706"/>
                  <a:gd name="connsiteX2" fmla="*/ 45912 w 51839"/>
                  <a:gd name="connsiteY2" fmla="*/ 4089 h 37706"/>
                  <a:gd name="connsiteX3" fmla="*/ 49919 w 51839"/>
                  <a:gd name="connsiteY3" fmla="*/ 7300 h 37706"/>
                  <a:gd name="connsiteX4" fmla="*/ 50001 w 51839"/>
                  <a:gd name="connsiteY4" fmla="*/ 19951 h 37706"/>
                  <a:gd name="connsiteX5" fmla="*/ 51840 w 51839"/>
                  <a:gd name="connsiteY5" fmla="*/ 28157 h 37706"/>
                  <a:gd name="connsiteX6" fmla="*/ 40259 w 51839"/>
                  <a:gd name="connsiteY6" fmla="*/ 30407 h 37706"/>
                  <a:gd name="connsiteX7" fmla="*/ 36033 w 51839"/>
                  <a:gd name="connsiteY7" fmla="*/ 37707 h 37706"/>
                  <a:gd name="connsiteX8" fmla="*/ 33810 w 51839"/>
                  <a:gd name="connsiteY8" fmla="*/ 32987 h 37706"/>
                  <a:gd name="connsiteX9" fmla="*/ 22448 w 51839"/>
                  <a:gd name="connsiteY9" fmla="*/ 32053 h 37706"/>
                  <a:gd name="connsiteX10" fmla="*/ 7711 w 51839"/>
                  <a:gd name="connsiteY10" fmla="*/ 23601 h 37706"/>
                  <a:gd name="connsiteX11" fmla="*/ 1701 w 51839"/>
                  <a:gd name="connsiteY11" fmla="*/ 18716 h 37706"/>
                  <a:gd name="connsiteX12" fmla="*/ 0 w 51839"/>
                  <a:gd name="connsiteY12" fmla="*/ 13310 h 37706"/>
                  <a:gd name="connsiteX13" fmla="*/ 2223 w 51839"/>
                  <a:gd name="connsiteY13" fmla="*/ 10044 h 37706"/>
                  <a:gd name="connsiteX14" fmla="*/ 15149 w 51839"/>
                  <a:gd name="connsiteY14" fmla="*/ 10895 h 37706"/>
                  <a:gd name="connsiteX15" fmla="*/ 16246 w 51839"/>
                  <a:gd name="connsiteY15" fmla="*/ 7300 h 37706"/>
                  <a:gd name="connsiteX16" fmla="*/ 25961 w 51839"/>
                  <a:gd name="connsiteY16" fmla="*/ 1317 h 37706"/>
                  <a:gd name="connsiteX17" fmla="*/ 35978 w 51839"/>
                  <a:gd name="connsiteY17" fmla="*/ 0 h 37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839" h="37706">
                    <a:moveTo>
                      <a:pt x="36005" y="27"/>
                    </a:moveTo>
                    <a:lnTo>
                      <a:pt x="38804" y="4446"/>
                    </a:lnTo>
                    <a:lnTo>
                      <a:pt x="45912" y="4089"/>
                    </a:lnTo>
                    <a:lnTo>
                      <a:pt x="49919" y="7300"/>
                    </a:lnTo>
                    <a:lnTo>
                      <a:pt x="50001" y="19951"/>
                    </a:lnTo>
                    <a:lnTo>
                      <a:pt x="51840" y="28157"/>
                    </a:lnTo>
                    <a:lnTo>
                      <a:pt x="40259" y="30407"/>
                    </a:lnTo>
                    <a:lnTo>
                      <a:pt x="36033" y="37707"/>
                    </a:lnTo>
                    <a:lnTo>
                      <a:pt x="33810" y="32987"/>
                    </a:lnTo>
                    <a:lnTo>
                      <a:pt x="22448" y="32053"/>
                    </a:lnTo>
                    <a:lnTo>
                      <a:pt x="7711" y="23601"/>
                    </a:lnTo>
                    <a:lnTo>
                      <a:pt x="1701" y="18716"/>
                    </a:lnTo>
                    <a:lnTo>
                      <a:pt x="0" y="13310"/>
                    </a:lnTo>
                    <a:lnTo>
                      <a:pt x="2223" y="10044"/>
                    </a:lnTo>
                    <a:lnTo>
                      <a:pt x="15149" y="10895"/>
                    </a:lnTo>
                    <a:lnTo>
                      <a:pt x="16246" y="7300"/>
                    </a:lnTo>
                    <a:lnTo>
                      <a:pt x="25961" y="1317"/>
                    </a:lnTo>
                    <a:lnTo>
                      <a:pt x="3597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5" name="Freeform: Shape 4244">
                <a:extLst>
                  <a:ext uri="{FF2B5EF4-FFF2-40B4-BE49-F238E27FC236}">
                    <a16:creationId xmlns:a16="http://schemas.microsoft.com/office/drawing/2014/main" id="{B717985A-7E2B-AA54-2FCC-46883E85234C}"/>
                  </a:ext>
                </a:extLst>
              </p:cNvPr>
              <p:cNvSpPr/>
              <p:nvPr/>
            </p:nvSpPr>
            <p:spPr>
              <a:xfrm>
                <a:off x="847284" y="3649228"/>
                <a:ext cx="3320" cy="3232"/>
              </a:xfrm>
              <a:custGeom>
                <a:avLst/>
                <a:gdLst>
                  <a:gd name="connsiteX0" fmla="*/ 11965 w 31833"/>
                  <a:gd name="connsiteY0" fmla="*/ 24863 h 30983"/>
                  <a:gd name="connsiteX1" fmla="*/ 686 w 31833"/>
                  <a:gd name="connsiteY1" fmla="*/ 30983 h 30983"/>
                  <a:gd name="connsiteX2" fmla="*/ 0 w 31833"/>
                  <a:gd name="connsiteY2" fmla="*/ 30132 h 30983"/>
                  <a:gd name="connsiteX3" fmla="*/ 3156 w 31833"/>
                  <a:gd name="connsiteY3" fmla="*/ 23436 h 30983"/>
                  <a:gd name="connsiteX4" fmla="*/ 2827 w 31833"/>
                  <a:gd name="connsiteY4" fmla="*/ 20143 h 30983"/>
                  <a:gd name="connsiteX5" fmla="*/ 7931 w 31833"/>
                  <a:gd name="connsiteY5" fmla="*/ 14188 h 30983"/>
                  <a:gd name="connsiteX6" fmla="*/ 15450 w 31833"/>
                  <a:gd name="connsiteY6" fmla="*/ 13584 h 30983"/>
                  <a:gd name="connsiteX7" fmla="*/ 15149 w 31833"/>
                  <a:gd name="connsiteY7" fmla="*/ 5324 h 30983"/>
                  <a:gd name="connsiteX8" fmla="*/ 22064 w 31833"/>
                  <a:gd name="connsiteY8" fmla="*/ 0 h 30983"/>
                  <a:gd name="connsiteX9" fmla="*/ 31834 w 31833"/>
                  <a:gd name="connsiteY9" fmla="*/ 1921 h 30983"/>
                  <a:gd name="connsiteX10" fmla="*/ 29968 w 31833"/>
                  <a:gd name="connsiteY10" fmla="*/ 8343 h 30983"/>
                  <a:gd name="connsiteX11" fmla="*/ 17426 w 31833"/>
                  <a:gd name="connsiteY11" fmla="*/ 16274 h 30983"/>
                  <a:gd name="connsiteX12" fmla="*/ 15533 w 31833"/>
                  <a:gd name="connsiteY12" fmla="*/ 20143 h 30983"/>
                  <a:gd name="connsiteX13" fmla="*/ 11993 w 31833"/>
                  <a:gd name="connsiteY13" fmla="*/ 24863 h 3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833" h="30983">
                    <a:moveTo>
                      <a:pt x="11965" y="24863"/>
                    </a:moveTo>
                    <a:lnTo>
                      <a:pt x="686" y="30983"/>
                    </a:lnTo>
                    <a:lnTo>
                      <a:pt x="0" y="30132"/>
                    </a:lnTo>
                    <a:lnTo>
                      <a:pt x="3156" y="23436"/>
                    </a:lnTo>
                    <a:lnTo>
                      <a:pt x="2827" y="20143"/>
                    </a:lnTo>
                    <a:lnTo>
                      <a:pt x="7931" y="14188"/>
                    </a:lnTo>
                    <a:lnTo>
                      <a:pt x="15450" y="13584"/>
                    </a:lnTo>
                    <a:lnTo>
                      <a:pt x="15149" y="5324"/>
                    </a:lnTo>
                    <a:lnTo>
                      <a:pt x="22064" y="0"/>
                    </a:lnTo>
                    <a:lnTo>
                      <a:pt x="31834" y="1921"/>
                    </a:lnTo>
                    <a:lnTo>
                      <a:pt x="29968" y="8343"/>
                    </a:lnTo>
                    <a:lnTo>
                      <a:pt x="17426" y="16274"/>
                    </a:lnTo>
                    <a:lnTo>
                      <a:pt x="15533" y="20143"/>
                    </a:lnTo>
                    <a:lnTo>
                      <a:pt x="11993" y="248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6" name="Freeform: Shape 4245">
                <a:extLst>
                  <a:ext uri="{FF2B5EF4-FFF2-40B4-BE49-F238E27FC236}">
                    <a16:creationId xmlns:a16="http://schemas.microsoft.com/office/drawing/2014/main" id="{613C4989-F499-B03F-560B-D7DF0A337328}"/>
                  </a:ext>
                </a:extLst>
              </p:cNvPr>
              <p:cNvSpPr/>
              <p:nvPr/>
            </p:nvSpPr>
            <p:spPr>
              <a:xfrm>
                <a:off x="911675" y="3610819"/>
                <a:ext cx="2891" cy="3598"/>
              </a:xfrm>
              <a:custGeom>
                <a:avLst/>
                <a:gdLst>
                  <a:gd name="connsiteX0" fmla="*/ 12569 w 27717"/>
                  <a:gd name="connsiteY0" fmla="*/ 29007 h 34495"/>
                  <a:gd name="connsiteX1" fmla="*/ 1235 w 27717"/>
                  <a:gd name="connsiteY1" fmla="*/ 34496 h 34495"/>
                  <a:gd name="connsiteX2" fmla="*/ 0 w 27717"/>
                  <a:gd name="connsiteY2" fmla="*/ 31395 h 34495"/>
                  <a:gd name="connsiteX3" fmla="*/ 14215 w 27717"/>
                  <a:gd name="connsiteY3" fmla="*/ 14270 h 34495"/>
                  <a:gd name="connsiteX4" fmla="*/ 20966 w 27717"/>
                  <a:gd name="connsiteY4" fmla="*/ 0 h 34495"/>
                  <a:gd name="connsiteX5" fmla="*/ 23162 w 27717"/>
                  <a:gd name="connsiteY5" fmla="*/ 0 h 34495"/>
                  <a:gd name="connsiteX6" fmla="*/ 27717 w 27717"/>
                  <a:gd name="connsiteY6" fmla="*/ 4748 h 34495"/>
                  <a:gd name="connsiteX7" fmla="*/ 17015 w 27717"/>
                  <a:gd name="connsiteY7" fmla="*/ 17125 h 34495"/>
                  <a:gd name="connsiteX8" fmla="*/ 12871 w 27717"/>
                  <a:gd name="connsiteY8" fmla="*/ 24561 h 34495"/>
                  <a:gd name="connsiteX9" fmla="*/ 12569 w 27717"/>
                  <a:gd name="connsiteY9" fmla="*/ 29035 h 3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717" h="34495">
                    <a:moveTo>
                      <a:pt x="12569" y="29007"/>
                    </a:moveTo>
                    <a:lnTo>
                      <a:pt x="1235" y="34496"/>
                    </a:lnTo>
                    <a:lnTo>
                      <a:pt x="0" y="31395"/>
                    </a:lnTo>
                    <a:lnTo>
                      <a:pt x="14215" y="14270"/>
                    </a:lnTo>
                    <a:lnTo>
                      <a:pt x="20966" y="0"/>
                    </a:lnTo>
                    <a:lnTo>
                      <a:pt x="23162" y="0"/>
                    </a:lnTo>
                    <a:lnTo>
                      <a:pt x="27717" y="4748"/>
                    </a:lnTo>
                    <a:lnTo>
                      <a:pt x="17015" y="17125"/>
                    </a:lnTo>
                    <a:lnTo>
                      <a:pt x="12871" y="24561"/>
                    </a:lnTo>
                    <a:lnTo>
                      <a:pt x="12569" y="290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7" name="Freeform: Shape 4246">
                <a:extLst>
                  <a:ext uri="{FF2B5EF4-FFF2-40B4-BE49-F238E27FC236}">
                    <a16:creationId xmlns:a16="http://schemas.microsoft.com/office/drawing/2014/main" id="{4B1D57D3-307D-A2D5-DE2E-28E48A3CF7E5}"/>
                  </a:ext>
                </a:extLst>
              </p:cNvPr>
              <p:cNvSpPr/>
              <p:nvPr/>
            </p:nvSpPr>
            <p:spPr>
              <a:xfrm>
                <a:off x="828538" y="3655025"/>
                <a:ext cx="3111" cy="1958"/>
              </a:xfrm>
              <a:custGeom>
                <a:avLst/>
                <a:gdLst>
                  <a:gd name="connsiteX0" fmla="*/ 18689 w 29830"/>
                  <a:gd name="connsiteY0" fmla="*/ 14380 h 18770"/>
                  <a:gd name="connsiteX1" fmla="*/ 8535 w 29830"/>
                  <a:gd name="connsiteY1" fmla="*/ 18771 h 18770"/>
                  <a:gd name="connsiteX2" fmla="*/ 494 w 29830"/>
                  <a:gd name="connsiteY2" fmla="*/ 17783 h 18770"/>
                  <a:gd name="connsiteX3" fmla="*/ 0 w 29830"/>
                  <a:gd name="connsiteY3" fmla="*/ 16823 h 18770"/>
                  <a:gd name="connsiteX4" fmla="*/ 2497 w 29830"/>
                  <a:gd name="connsiteY4" fmla="*/ 14380 h 18770"/>
                  <a:gd name="connsiteX5" fmla="*/ 6367 w 29830"/>
                  <a:gd name="connsiteY5" fmla="*/ 15204 h 18770"/>
                  <a:gd name="connsiteX6" fmla="*/ 7794 w 29830"/>
                  <a:gd name="connsiteY6" fmla="*/ 14380 h 18770"/>
                  <a:gd name="connsiteX7" fmla="*/ 12294 w 29830"/>
                  <a:gd name="connsiteY7" fmla="*/ 14380 h 18770"/>
                  <a:gd name="connsiteX8" fmla="*/ 20939 w 29830"/>
                  <a:gd name="connsiteY8" fmla="*/ 8782 h 18770"/>
                  <a:gd name="connsiteX9" fmla="*/ 21131 w 29830"/>
                  <a:gd name="connsiteY9" fmla="*/ 1317 h 18770"/>
                  <a:gd name="connsiteX10" fmla="*/ 25138 w 29830"/>
                  <a:gd name="connsiteY10" fmla="*/ 0 h 18770"/>
                  <a:gd name="connsiteX11" fmla="*/ 29337 w 29830"/>
                  <a:gd name="connsiteY11" fmla="*/ 2497 h 18770"/>
                  <a:gd name="connsiteX12" fmla="*/ 29831 w 29830"/>
                  <a:gd name="connsiteY12" fmla="*/ 5324 h 18770"/>
                  <a:gd name="connsiteX13" fmla="*/ 23299 w 29830"/>
                  <a:gd name="connsiteY13" fmla="*/ 14408 h 18770"/>
                  <a:gd name="connsiteX14" fmla="*/ 18661 w 29830"/>
                  <a:gd name="connsiteY14" fmla="*/ 14408 h 1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830" h="18770">
                    <a:moveTo>
                      <a:pt x="18689" y="14380"/>
                    </a:moveTo>
                    <a:lnTo>
                      <a:pt x="8535" y="18771"/>
                    </a:lnTo>
                    <a:lnTo>
                      <a:pt x="494" y="17783"/>
                    </a:lnTo>
                    <a:lnTo>
                      <a:pt x="0" y="16823"/>
                    </a:lnTo>
                    <a:lnTo>
                      <a:pt x="2497" y="14380"/>
                    </a:lnTo>
                    <a:lnTo>
                      <a:pt x="6367" y="15204"/>
                    </a:lnTo>
                    <a:lnTo>
                      <a:pt x="7794" y="14380"/>
                    </a:lnTo>
                    <a:lnTo>
                      <a:pt x="12294" y="14380"/>
                    </a:lnTo>
                    <a:lnTo>
                      <a:pt x="20939" y="8782"/>
                    </a:lnTo>
                    <a:lnTo>
                      <a:pt x="21131" y="1317"/>
                    </a:lnTo>
                    <a:lnTo>
                      <a:pt x="25138" y="0"/>
                    </a:lnTo>
                    <a:lnTo>
                      <a:pt x="29337" y="2497"/>
                    </a:lnTo>
                    <a:lnTo>
                      <a:pt x="29831" y="5324"/>
                    </a:lnTo>
                    <a:lnTo>
                      <a:pt x="23299" y="14408"/>
                    </a:lnTo>
                    <a:lnTo>
                      <a:pt x="18661" y="144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8" name="Freeform: Shape 4247">
                <a:extLst>
                  <a:ext uri="{FF2B5EF4-FFF2-40B4-BE49-F238E27FC236}">
                    <a16:creationId xmlns:a16="http://schemas.microsoft.com/office/drawing/2014/main" id="{C9C6F584-815A-F893-BF9F-60D9EDE5DC4B}"/>
                  </a:ext>
                </a:extLst>
              </p:cNvPr>
              <p:cNvSpPr/>
              <p:nvPr/>
            </p:nvSpPr>
            <p:spPr>
              <a:xfrm>
                <a:off x="822513" y="3657174"/>
                <a:ext cx="2107" cy="1912"/>
              </a:xfrm>
              <a:custGeom>
                <a:avLst/>
                <a:gdLst>
                  <a:gd name="connsiteX0" fmla="*/ 3458 w 20198"/>
                  <a:gd name="connsiteY0" fmla="*/ 14956 h 18332"/>
                  <a:gd name="connsiteX1" fmla="*/ 878 w 20198"/>
                  <a:gd name="connsiteY1" fmla="*/ 18332 h 18332"/>
                  <a:gd name="connsiteX2" fmla="*/ 0 w 20198"/>
                  <a:gd name="connsiteY2" fmla="*/ 15450 h 18332"/>
                  <a:gd name="connsiteX3" fmla="*/ 2333 w 20198"/>
                  <a:gd name="connsiteY3" fmla="*/ 8096 h 18332"/>
                  <a:gd name="connsiteX4" fmla="*/ 5242 w 20198"/>
                  <a:gd name="connsiteY4" fmla="*/ 6449 h 18332"/>
                  <a:gd name="connsiteX5" fmla="*/ 6147 w 20198"/>
                  <a:gd name="connsiteY5" fmla="*/ 1098 h 18332"/>
                  <a:gd name="connsiteX6" fmla="*/ 11553 w 20198"/>
                  <a:gd name="connsiteY6" fmla="*/ 0 h 18332"/>
                  <a:gd name="connsiteX7" fmla="*/ 11032 w 20198"/>
                  <a:gd name="connsiteY7" fmla="*/ 6367 h 18332"/>
                  <a:gd name="connsiteX8" fmla="*/ 20198 w 20198"/>
                  <a:gd name="connsiteY8" fmla="*/ 7355 h 18332"/>
                  <a:gd name="connsiteX9" fmla="*/ 19100 w 20198"/>
                  <a:gd name="connsiteY9" fmla="*/ 10840 h 18332"/>
                  <a:gd name="connsiteX10" fmla="*/ 3458 w 20198"/>
                  <a:gd name="connsiteY10" fmla="*/ 14929 h 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98" h="18332">
                    <a:moveTo>
                      <a:pt x="3458" y="14956"/>
                    </a:moveTo>
                    <a:lnTo>
                      <a:pt x="878" y="18332"/>
                    </a:lnTo>
                    <a:lnTo>
                      <a:pt x="0" y="15450"/>
                    </a:lnTo>
                    <a:lnTo>
                      <a:pt x="2333" y="8096"/>
                    </a:lnTo>
                    <a:lnTo>
                      <a:pt x="5242" y="6449"/>
                    </a:lnTo>
                    <a:lnTo>
                      <a:pt x="6147" y="1098"/>
                    </a:lnTo>
                    <a:lnTo>
                      <a:pt x="11553" y="0"/>
                    </a:lnTo>
                    <a:lnTo>
                      <a:pt x="11032" y="6367"/>
                    </a:lnTo>
                    <a:lnTo>
                      <a:pt x="20198" y="7355"/>
                    </a:lnTo>
                    <a:lnTo>
                      <a:pt x="19100" y="10840"/>
                    </a:lnTo>
                    <a:lnTo>
                      <a:pt x="3458" y="149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49" name="Freeform: Shape 4248">
                <a:extLst>
                  <a:ext uri="{FF2B5EF4-FFF2-40B4-BE49-F238E27FC236}">
                    <a16:creationId xmlns:a16="http://schemas.microsoft.com/office/drawing/2014/main" id="{9CE53EAA-71D4-5453-5D51-F2A42578D705}"/>
                  </a:ext>
                </a:extLst>
              </p:cNvPr>
              <p:cNvSpPr/>
              <p:nvPr/>
            </p:nvSpPr>
            <p:spPr>
              <a:xfrm>
                <a:off x="834521" y="3609253"/>
                <a:ext cx="2064" cy="1760"/>
              </a:xfrm>
              <a:custGeom>
                <a:avLst/>
                <a:gdLst>
                  <a:gd name="connsiteX0" fmla="*/ 8288 w 19786"/>
                  <a:gd name="connsiteY0" fmla="*/ 9056 h 16877"/>
                  <a:gd name="connsiteX1" fmla="*/ 16027 w 19786"/>
                  <a:gd name="connsiteY1" fmla="*/ 13200 h 16877"/>
                  <a:gd name="connsiteX2" fmla="*/ 19622 w 19786"/>
                  <a:gd name="connsiteY2" fmla="*/ 12980 h 16877"/>
                  <a:gd name="connsiteX3" fmla="*/ 19786 w 19786"/>
                  <a:gd name="connsiteY3" fmla="*/ 15862 h 16877"/>
                  <a:gd name="connsiteX4" fmla="*/ 13392 w 19786"/>
                  <a:gd name="connsiteY4" fmla="*/ 16877 h 16877"/>
                  <a:gd name="connsiteX5" fmla="*/ 9385 w 19786"/>
                  <a:gd name="connsiteY5" fmla="*/ 14078 h 16877"/>
                  <a:gd name="connsiteX6" fmla="*/ 3430 w 19786"/>
                  <a:gd name="connsiteY6" fmla="*/ 7327 h 16877"/>
                  <a:gd name="connsiteX7" fmla="*/ 0 w 19786"/>
                  <a:gd name="connsiteY7" fmla="*/ 6120 h 16877"/>
                  <a:gd name="connsiteX8" fmla="*/ 659 w 19786"/>
                  <a:gd name="connsiteY8" fmla="*/ 2552 h 16877"/>
                  <a:gd name="connsiteX9" fmla="*/ 3183 w 19786"/>
                  <a:gd name="connsiteY9" fmla="*/ 0 h 16877"/>
                  <a:gd name="connsiteX10" fmla="*/ 5324 w 19786"/>
                  <a:gd name="connsiteY10" fmla="*/ 6175 h 16877"/>
                  <a:gd name="connsiteX11" fmla="*/ 8233 w 19786"/>
                  <a:gd name="connsiteY11" fmla="*/ 9056 h 1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86" h="16877">
                    <a:moveTo>
                      <a:pt x="8288" y="9056"/>
                    </a:moveTo>
                    <a:lnTo>
                      <a:pt x="16027" y="13200"/>
                    </a:lnTo>
                    <a:lnTo>
                      <a:pt x="19622" y="12980"/>
                    </a:lnTo>
                    <a:lnTo>
                      <a:pt x="19786" y="15862"/>
                    </a:lnTo>
                    <a:lnTo>
                      <a:pt x="13392" y="16877"/>
                    </a:lnTo>
                    <a:lnTo>
                      <a:pt x="9385" y="14078"/>
                    </a:lnTo>
                    <a:lnTo>
                      <a:pt x="3430" y="7327"/>
                    </a:lnTo>
                    <a:lnTo>
                      <a:pt x="0" y="6120"/>
                    </a:lnTo>
                    <a:lnTo>
                      <a:pt x="659" y="2552"/>
                    </a:lnTo>
                    <a:lnTo>
                      <a:pt x="3183" y="0"/>
                    </a:lnTo>
                    <a:lnTo>
                      <a:pt x="5324" y="6175"/>
                    </a:lnTo>
                    <a:lnTo>
                      <a:pt x="8233" y="905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0" name="Freeform: Shape 4249">
                <a:extLst>
                  <a:ext uri="{FF2B5EF4-FFF2-40B4-BE49-F238E27FC236}">
                    <a16:creationId xmlns:a16="http://schemas.microsoft.com/office/drawing/2014/main" id="{E5A2D433-B9E5-927B-E10F-FBA11CDF154B}"/>
                  </a:ext>
                </a:extLst>
              </p:cNvPr>
              <p:cNvSpPr/>
              <p:nvPr/>
            </p:nvSpPr>
            <p:spPr>
              <a:xfrm>
                <a:off x="866593" y="3565130"/>
                <a:ext cx="1732" cy="2484"/>
              </a:xfrm>
              <a:custGeom>
                <a:avLst/>
                <a:gdLst>
                  <a:gd name="connsiteX0" fmla="*/ 16603 w 16603"/>
                  <a:gd name="connsiteY0" fmla="*/ 12349 h 23820"/>
                  <a:gd name="connsiteX1" fmla="*/ 16301 w 16603"/>
                  <a:gd name="connsiteY1" fmla="*/ 23820 h 23820"/>
                  <a:gd name="connsiteX2" fmla="*/ 14023 w 16603"/>
                  <a:gd name="connsiteY2" fmla="*/ 20966 h 23820"/>
                  <a:gd name="connsiteX3" fmla="*/ 3540 w 16603"/>
                  <a:gd name="connsiteY3" fmla="*/ 14078 h 23820"/>
                  <a:gd name="connsiteX4" fmla="*/ 0 w 16603"/>
                  <a:gd name="connsiteY4" fmla="*/ 4857 h 23820"/>
                  <a:gd name="connsiteX5" fmla="*/ 2744 w 16603"/>
                  <a:gd name="connsiteY5" fmla="*/ 165 h 23820"/>
                  <a:gd name="connsiteX6" fmla="*/ 7821 w 16603"/>
                  <a:gd name="connsiteY6" fmla="*/ 0 h 23820"/>
                  <a:gd name="connsiteX7" fmla="*/ 14023 w 16603"/>
                  <a:gd name="connsiteY7" fmla="*/ 9468 h 23820"/>
                  <a:gd name="connsiteX8" fmla="*/ 16603 w 16603"/>
                  <a:gd name="connsiteY8" fmla="*/ 12377 h 2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03" h="23820">
                    <a:moveTo>
                      <a:pt x="16603" y="12349"/>
                    </a:moveTo>
                    <a:lnTo>
                      <a:pt x="16301" y="23820"/>
                    </a:lnTo>
                    <a:lnTo>
                      <a:pt x="14023" y="20966"/>
                    </a:lnTo>
                    <a:lnTo>
                      <a:pt x="3540" y="14078"/>
                    </a:lnTo>
                    <a:lnTo>
                      <a:pt x="0" y="4857"/>
                    </a:lnTo>
                    <a:lnTo>
                      <a:pt x="2744" y="165"/>
                    </a:lnTo>
                    <a:lnTo>
                      <a:pt x="7821" y="0"/>
                    </a:lnTo>
                    <a:lnTo>
                      <a:pt x="14023" y="9468"/>
                    </a:lnTo>
                    <a:lnTo>
                      <a:pt x="16603" y="123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1" name="Freeform: Shape 4250">
                <a:extLst>
                  <a:ext uri="{FF2B5EF4-FFF2-40B4-BE49-F238E27FC236}">
                    <a16:creationId xmlns:a16="http://schemas.microsoft.com/office/drawing/2014/main" id="{18D20CF4-32BB-482D-DE44-7FA5433352D3}"/>
                  </a:ext>
                </a:extLst>
              </p:cNvPr>
              <p:cNvSpPr/>
              <p:nvPr/>
            </p:nvSpPr>
            <p:spPr>
              <a:xfrm>
                <a:off x="915299" y="3609803"/>
                <a:ext cx="1886" cy="1686"/>
              </a:xfrm>
              <a:custGeom>
                <a:avLst/>
                <a:gdLst>
                  <a:gd name="connsiteX0" fmla="*/ 17563 w 18084"/>
                  <a:gd name="connsiteY0" fmla="*/ 0 h 16163"/>
                  <a:gd name="connsiteX1" fmla="*/ 18085 w 18084"/>
                  <a:gd name="connsiteY1" fmla="*/ 7437 h 16163"/>
                  <a:gd name="connsiteX2" fmla="*/ 15478 w 18084"/>
                  <a:gd name="connsiteY2" fmla="*/ 9825 h 16163"/>
                  <a:gd name="connsiteX3" fmla="*/ 10346 w 18084"/>
                  <a:gd name="connsiteY3" fmla="*/ 10977 h 16163"/>
                  <a:gd name="connsiteX4" fmla="*/ 3760 w 18084"/>
                  <a:gd name="connsiteY4" fmla="*/ 16164 h 16163"/>
                  <a:gd name="connsiteX5" fmla="*/ 2250 w 18084"/>
                  <a:gd name="connsiteY5" fmla="*/ 14819 h 16163"/>
                  <a:gd name="connsiteX6" fmla="*/ 3568 w 18084"/>
                  <a:gd name="connsiteY6" fmla="*/ 9825 h 16163"/>
                  <a:gd name="connsiteX7" fmla="*/ 0 w 18084"/>
                  <a:gd name="connsiteY7" fmla="*/ 9825 h 16163"/>
                  <a:gd name="connsiteX8" fmla="*/ 1894 w 18084"/>
                  <a:gd name="connsiteY8" fmla="*/ 4254 h 16163"/>
                  <a:gd name="connsiteX9" fmla="*/ 4857 w 18084"/>
                  <a:gd name="connsiteY9" fmla="*/ 1839 h 16163"/>
                  <a:gd name="connsiteX10" fmla="*/ 11718 w 18084"/>
                  <a:gd name="connsiteY10" fmla="*/ 5708 h 16163"/>
                  <a:gd name="connsiteX11" fmla="*/ 13337 w 18084"/>
                  <a:gd name="connsiteY11" fmla="*/ 220 h 16163"/>
                  <a:gd name="connsiteX12" fmla="*/ 17591 w 18084"/>
                  <a:gd name="connsiteY12" fmla="*/ 0 h 1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84" h="16163">
                    <a:moveTo>
                      <a:pt x="17563" y="0"/>
                    </a:moveTo>
                    <a:lnTo>
                      <a:pt x="18085" y="7437"/>
                    </a:lnTo>
                    <a:lnTo>
                      <a:pt x="15478" y="9825"/>
                    </a:lnTo>
                    <a:lnTo>
                      <a:pt x="10346" y="10977"/>
                    </a:lnTo>
                    <a:lnTo>
                      <a:pt x="3760" y="16164"/>
                    </a:lnTo>
                    <a:lnTo>
                      <a:pt x="2250" y="14819"/>
                    </a:lnTo>
                    <a:lnTo>
                      <a:pt x="3568" y="9825"/>
                    </a:lnTo>
                    <a:lnTo>
                      <a:pt x="0" y="9825"/>
                    </a:lnTo>
                    <a:lnTo>
                      <a:pt x="1894" y="4254"/>
                    </a:lnTo>
                    <a:lnTo>
                      <a:pt x="4857" y="1839"/>
                    </a:lnTo>
                    <a:lnTo>
                      <a:pt x="11718" y="5708"/>
                    </a:lnTo>
                    <a:lnTo>
                      <a:pt x="13337" y="220"/>
                    </a:lnTo>
                    <a:lnTo>
                      <a:pt x="17591"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2" name="Freeform: Shape 4251">
                <a:extLst>
                  <a:ext uri="{FF2B5EF4-FFF2-40B4-BE49-F238E27FC236}">
                    <a16:creationId xmlns:a16="http://schemas.microsoft.com/office/drawing/2014/main" id="{E83D830C-E30A-49B0-509B-AEC6BD78642E}"/>
                  </a:ext>
                </a:extLst>
              </p:cNvPr>
              <p:cNvSpPr/>
              <p:nvPr/>
            </p:nvSpPr>
            <p:spPr>
              <a:xfrm>
                <a:off x="818652" y="3657455"/>
                <a:ext cx="1463" cy="1365"/>
              </a:xfrm>
              <a:custGeom>
                <a:avLst/>
                <a:gdLst>
                  <a:gd name="connsiteX0" fmla="*/ 10730 w 14023"/>
                  <a:gd name="connsiteY0" fmla="*/ 11636 h 13090"/>
                  <a:gd name="connsiteX1" fmla="*/ 8864 w 14023"/>
                  <a:gd name="connsiteY1" fmla="*/ 13090 h 13090"/>
                  <a:gd name="connsiteX2" fmla="*/ 3211 w 14023"/>
                  <a:gd name="connsiteY2" fmla="*/ 11691 h 13090"/>
                  <a:gd name="connsiteX3" fmla="*/ 3513 w 14023"/>
                  <a:gd name="connsiteY3" fmla="*/ 10236 h 13090"/>
                  <a:gd name="connsiteX4" fmla="*/ 7904 w 14023"/>
                  <a:gd name="connsiteY4" fmla="*/ 9687 h 13090"/>
                  <a:gd name="connsiteX5" fmla="*/ 7904 w 14023"/>
                  <a:gd name="connsiteY5" fmla="*/ 6943 h 13090"/>
                  <a:gd name="connsiteX6" fmla="*/ 5050 w 14023"/>
                  <a:gd name="connsiteY6" fmla="*/ 6504 h 13090"/>
                  <a:gd name="connsiteX7" fmla="*/ 0 w 14023"/>
                  <a:gd name="connsiteY7" fmla="*/ 2333 h 13090"/>
                  <a:gd name="connsiteX8" fmla="*/ 2936 w 14023"/>
                  <a:gd name="connsiteY8" fmla="*/ 0 h 13090"/>
                  <a:gd name="connsiteX9" fmla="*/ 8123 w 14023"/>
                  <a:gd name="connsiteY9" fmla="*/ 796 h 13090"/>
                  <a:gd name="connsiteX10" fmla="*/ 9084 w 14023"/>
                  <a:gd name="connsiteY10" fmla="*/ 3129 h 13090"/>
                  <a:gd name="connsiteX11" fmla="*/ 14023 w 14023"/>
                  <a:gd name="connsiteY11" fmla="*/ 4912 h 13090"/>
                  <a:gd name="connsiteX12" fmla="*/ 10758 w 14023"/>
                  <a:gd name="connsiteY12" fmla="*/ 11608 h 1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23" h="13090">
                    <a:moveTo>
                      <a:pt x="10730" y="11636"/>
                    </a:moveTo>
                    <a:lnTo>
                      <a:pt x="8864" y="13090"/>
                    </a:lnTo>
                    <a:lnTo>
                      <a:pt x="3211" y="11691"/>
                    </a:lnTo>
                    <a:lnTo>
                      <a:pt x="3513" y="10236"/>
                    </a:lnTo>
                    <a:lnTo>
                      <a:pt x="7904" y="9687"/>
                    </a:lnTo>
                    <a:lnTo>
                      <a:pt x="7904" y="6943"/>
                    </a:lnTo>
                    <a:cubicBezTo>
                      <a:pt x="7904" y="6943"/>
                      <a:pt x="5050" y="6504"/>
                      <a:pt x="5050" y="6504"/>
                    </a:cubicBezTo>
                    <a:lnTo>
                      <a:pt x="0" y="2333"/>
                    </a:lnTo>
                    <a:lnTo>
                      <a:pt x="2936" y="0"/>
                    </a:lnTo>
                    <a:lnTo>
                      <a:pt x="8123" y="796"/>
                    </a:lnTo>
                    <a:lnTo>
                      <a:pt x="9084" y="3129"/>
                    </a:lnTo>
                    <a:lnTo>
                      <a:pt x="14023" y="4912"/>
                    </a:lnTo>
                    <a:lnTo>
                      <a:pt x="10758" y="116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3" name="Freeform: Shape 4252">
                <a:extLst>
                  <a:ext uri="{FF2B5EF4-FFF2-40B4-BE49-F238E27FC236}">
                    <a16:creationId xmlns:a16="http://schemas.microsoft.com/office/drawing/2014/main" id="{00402C80-8B26-50F7-0556-21A3F63A0EE3}"/>
                  </a:ext>
                </a:extLst>
              </p:cNvPr>
              <p:cNvSpPr/>
              <p:nvPr/>
            </p:nvSpPr>
            <p:spPr>
              <a:xfrm>
                <a:off x="871971" y="3639465"/>
                <a:ext cx="1586" cy="1262"/>
              </a:xfrm>
              <a:custGeom>
                <a:avLst/>
                <a:gdLst>
                  <a:gd name="connsiteX0" fmla="*/ 15176 w 15203"/>
                  <a:gd name="connsiteY0" fmla="*/ 3897 h 12102"/>
                  <a:gd name="connsiteX1" fmla="*/ 14709 w 15203"/>
                  <a:gd name="connsiteY1" fmla="*/ 6586 h 12102"/>
                  <a:gd name="connsiteX2" fmla="*/ 8809 w 15203"/>
                  <a:gd name="connsiteY2" fmla="*/ 3979 h 12102"/>
                  <a:gd name="connsiteX3" fmla="*/ 8535 w 15203"/>
                  <a:gd name="connsiteY3" fmla="*/ 7355 h 12102"/>
                  <a:gd name="connsiteX4" fmla="*/ 10401 w 15203"/>
                  <a:gd name="connsiteY4" fmla="*/ 9138 h 12102"/>
                  <a:gd name="connsiteX5" fmla="*/ 7629 w 15203"/>
                  <a:gd name="connsiteY5" fmla="*/ 12102 h 12102"/>
                  <a:gd name="connsiteX6" fmla="*/ 3019 w 15203"/>
                  <a:gd name="connsiteY6" fmla="*/ 10264 h 12102"/>
                  <a:gd name="connsiteX7" fmla="*/ 1317 w 15203"/>
                  <a:gd name="connsiteY7" fmla="*/ 11279 h 12102"/>
                  <a:gd name="connsiteX8" fmla="*/ 0 w 15203"/>
                  <a:gd name="connsiteY8" fmla="*/ 9166 h 12102"/>
                  <a:gd name="connsiteX9" fmla="*/ 631 w 15203"/>
                  <a:gd name="connsiteY9" fmla="*/ 3156 h 12102"/>
                  <a:gd name="connsiteX10" fmla="*/ 3375 w 15203"/>
                  <a:gd name="connsiteY10" fmla="*/ 0 h 12102"/>
                  <a:gd name="connsiteX11" fmla="*/ 15203 w 15203"/>
                  <a:gd name="connsiteY11" fmla="*/ 3952 h 12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3" h="12102">
                    <a:moveTo>
                      <a:pt x="15176" y="3897"/>
                    </a:moveTo>
                    <a:lnTo>
                      <a:pt x="14709" y="6586"/>
                    </a:lnTo>
                    <a:lnTo>
                      <a:pt x="8809" y="3979"/>
                    </a:lnTo>
                    <a:lnTo>
                      <a:pt x="8535" y="7355"/>
                    </a:lnTo>
                    <a:lnTo>
                      <a:pt x="10401" y="9138"/>
                    </a:lnTo>
                    <a:lnTo>
                      <a:pt x="7629" y="12102"/>
                    </a:lnTo>
                    <a:lnTo>
                      <a:pt x="3019" y="10264"/>
                    </a:lnTo>
                    <a:lnTo>
                      <a:pt x="1317" y="11279"/>
                    </a:lnTo>
                    <a:lnTo>
                      <a:pt x="0" y="9166"/>
                    </a:lnTo>
                    <a:lnTo>
                      <a:pt x="631" y="3156"/>
                    </a:lnTo>
                    <a:lnTo>
                      <a:pt x="3375" y="0"/>
                    </a:lnTo>
                    <a:lnTo>
                      <a:pt x="15203" y="39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4" name="Freeform: Shape 4253">
                <a:extLst>
                  <a:ext uri="{FF2B5EF4-FFF2-40B4-BE49-F238E27FC236}">
                    <a16:creationId xmlns:a16="http://schemas.microsoft.com/office/drawing/2014/main" id="{D252EF77-7204-9ED9-4B6C-5378B5CC16CE}"/>
                  </a:ext>
                </a:extLst>
              </p:cNvPr>
              <p:cNvSpPr/>
              <p:nvPr/>
            </p:nvSpPr>
            <p:spPr>
              <a:xfrm>
                <a:off x="911723" y="3609634"/>
                <a:ext cx="904" cy="2230"/>
              </a:xfrm>
              <a:custGeom>
                <a:avLst/>
                <a:gdLst>
                  <a:gd name="connsiteX0" fmla="*/ 7492 w 8671"/>
                  <a:gd name="connsiteY0" fmla="*/ 11444 h 21378"/>
                  <a:gd name="connsiteX1" fmla="*/ 3211 w 8671"/>
                  <a:gd name="connsiteY1" fmla="*/ 21378 h 21378"/>
                  <a:gd name="connsiteX2" fmla="*/ 0 w 8671"/>
                  <a:gd name="connsiteY2" fmla="*/ 18277 h 21378"/>
                  <a:gd name="connsiteX3" fmla="*/ 1866 w 8671"/>
                  <a:gd name="connsiteY3" fmla="*/ 11471 h 21378"/>
                  <a:gd name="connsiteX4" fmla="*/ 2470 w 8671"/>
                  <a:gd name="connsiteY4" fmla="*/ 5845 h 21378"/>
                  <a:gd name="connsiteX5" fmla="*/ 7904 w 8671"/>
                  <a:gd name="connsiteY5" fmla="*/ 0 h 21378"/>
                  <a:gd name="connsiteX6" fmla="*/ 8672 w 8671"/>
                  <a:gd name="connsiteY6" fmla="*/ 1180 h 21378"/>
                  <a:gd name="connsiteX7" fmla="*/ 7492 w 8671"/>
                  <a:gd name="connsiteY7" fmla="*/ 11499 h 21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71" h="21378">
                    <a:moveTo>
                      <a:pt x="7492" y="11444"/>
                    </a:moveTo>
                    <a:lnTo>
                      <a:pt x="3211" y="21378"/>
                    </a:lnTo>
                    <a:lnTo>
                      <a:pt x="0" y="18277"/>
                    </a:lnTo>
                    <a:lnTo>
                      <a:pt x="1866" y="11471"/>
                    </a:lnTo>
                    <a:lnTo>
                      <a:pt x="2470" y="5845"/>
                    </a:lnTo>
                    <a:lnTo>
                      <a:pt x="7904" y="0"/>
                    </a:lnTo>
                    <a:lnTo>
                      <a:pt x="8672" y="1180"/>
                    </a:lnTo>
                    <a:lnTo>
                      <a:pt x="7492" y="114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5" name="Freeform: Shape 4254">
                <a:extLst>
                  <a:ext uri="{FF2B5EF4-FFF2-40B4-BE49-F238E27FC236}">
                    <a16:creationId xmlns:a16="http://schemas.microsoft.com/office/drawing/2014/main" id="{476399B1-29EE-D71B-3DC4-1EE8C14F3C13}"/>
                  </a:ext>
                </a:extLst>
              </p:cNvPr>
              <p:cNvSpPr/>
              <p:nvPr/>
            </p:nvSpPr>
            <p:spPr>
              <a:xfrm>
                <a:off x="874201" y="3640029"/>
                <a:ext cx="1033" cy="1506"/>
              </a:xfrm>
              <a:custGeom>
                <a:avLst/>
                <a:gdLst>
                  <a:gd name="connsiteX0" fmla="*/ 8315 w 9906"/>
                  <a:gd name="connsiteY0" fmla="*/ 2580 h 14435"/>
                  <a:gd name="connsiteX1" fmla="*/ 7602 w 9906"/>
                  <a:gd name="connsiteY1" fmla="*/ 4830 h 14435"/>
                  <a:gd name="connsiteX2" fmla="*/ 9907 w 9906"/>
                  <a:gd name="connsiteY2" fmla="*/ 4418 h 14435"/>
                  <a:gd name="connsiteX3" fmla="*/ 9907 w 9906"/>
                  <a:gd name="connsiteY3" fmla="*/ 7081 h 14435"/>
                  <a:gd name="connsiteX4" fmla="*/ 7382 w 9906"/>
                  <a:gd name="connsiteY4" fmla="*/ 9276 h 14435"/>
                  <a:gd name="connsiteX5" fmla="*/ 5653 w 9906"/>
                  <a:gd name="connsiteY5" fmla="*/ 6696 h 14435"/>
                  <a:gd name="connsiteX6" fmla="*/ 4309 w 9906"/>
                  <a:gd name="connsiteY6" fmla="*/ 11279 h 14435"/>
                  <a:gd name="connsiteX7" fmla="*/ 741 w 9906"/>
                  <a:gd name="connsiteY7" fmla="*/ 14435 h 14435"/>
                  <a:gd name="connsiteX8" fmla="*/ 0 w 9906"/>
                  <a:gd name="connsiteY8" fmla="*/ 13612 h 14435"/>
                  <a:gd name="connsiteX9" fmla="*/ 1070 w 9906"/>
                  <a:gd name="connsiteY9" fmla="*/ 8453 h 14435"/>
                  <a:gd name="connsiteX10" fmla="*/ 5296 w 9906"/>
                  <a:gd name="connsiteY10" fmla="*/ 4309 h 14435"/>
                  <a:gd name="connsiteX11" fmla="*/ 6751 w 9906"/>
                  <a:gd name="connsiteY11" fmla="*/ 0 h 14435"/>
                  <a:gd name="connsiteX12" fmla="*/ 8315 w 9906"/>
                  <a:gd name="connsiteY12" fmla="*/ 2552 h 1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06" h="14435">
                    <a:moveTo>
                      <a:pt x="8315" y="2580"/>
                    </a:moveTo>
                    <a:lnTo>
                      <a:pt x="7602" y="4830"/>
                    </a:lnTo>
                    <a:lnTo>
                      <a:pt x="9907" y="4418"/>
                    </a:lnTo>
                    <a:lnTo>
                      <a:pt x="9907" y="7081"/>
                    </a:lnTo>
                    <a:cubicBezTo>
                      <a:pt x="9907" y="7081"/>
                      <a:pt x="7382" y="9276"/>
                      <a:pt x="7382" y="9276"/>
                    </a:cubicBezTo>
                    <a:lnTo>
                      <a:pt x="5653" y="6696"/>
                    </a:lnTo>
                    <a:lnTo>
                      <a:pt x="4309" y="11279"/>
                    </a:lnTo>
                    <a:lnTo>
                      <a:pt x="741" y="14435"/>
                    </a:lnTo>
                    <a:lnTo>
                      <a:pt x="0" y="13612"/>
                    </a:lnTo>
                    <a:lnTo>
                      <a:pt x="1070" y="8453"/>
                    </a:lnTo>
                    <a:lnTo>
                      <a:pt x="5296" y="4309"/>
                    </a:lnTo>
                    <a:lnTo>
                      <a:pt x="6751" y="0"/>
                    </a:lnTo>
                    <a:lnTo>
                      <a:pt x="8315"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6" name="Freeform: Shape 4255">
                <a:extLst>
                  <a:ext uri="{FF2B5EF4-FFF2-40B4-BE49-F238E27FC236}">
                    <a16:creationId xmlns:a16="http://schemas.microsoft.com/office/drawing/2014/main" id="{70217372-B8FB-56F2-D8C8-12563A5A2FB0}"/>
                  </a:ext>
                </a:extLst>
              </p:cNvPr>
              <p:cNvSpPr/>
              <p:nvPr/>
            </p:nvSpPr>
            <p:spPr>
              <a:xfrm>
                <a:off x="821197" y="3657415"/>
                <a:ext cx="1073" cy="1234"/>
              </a:xfrm>
              <a:custGeom>
                <a:avLst/>
                <a:gdLst>
                  <a:gd name="connsiteX0" fmla="*/ 7245 w 10291"/>
                  <a:gd name="connsiteY0" fmla="*/ 10566 h 11828"/>
                  <a:gd name="connsiteX1" fmla="*/ 3705 w 10291"/>
                  <a:gd name="connsiteY1" fmla="*/ 11828 h 11828"/>
                  <a:gd name="connsiteX2" fmla="*/ 0 w 10291"/>
                  <a:gd name="connsiteY2" fmla="*/ 8617 h 11828"/>
                  <a:gd name="connsiteX3" fmla="*/ 412 w 10291"/>
                  <a:gd name="connsiteY3" fmla="*/ 7602 h 11828"/>
                  <a:gd name="connsiteX4" fmla="*/ 5571 w 10291"/>
                  <a:gd name="connsiteY4" fmla="*/ 5544 h 11828"/>
                  <a:gd name="connsiteX5" fmla="*/ 5928 w 10291"/>
                  <a:gd name="connsiteY5" fmla="*/ 412 h 11828"/>
                  <a:gd name="connsiteX6" fmla="*/ 8946 w 10291"/>
                  <a:gd name="connsiteY6" fmla="*/ 0 h 11828"/>
                  <a:gd name="connsiteX7" fmla="*/ 10291 w 10291"/>
                  <a:gd name="connsiteY7" fmla="*/ 1619 h 11828"/>
                  <a:gd name="connsiteX8" fmla="*/ 7739 w 10291"/>
                  <a:gd name="connsiteY8" fmla="*/ 5736 h 11828"/>
                  <a:gd name="connsiteX9" fmla="*/ 8370 w 10291"/>
                  <a:gd name="connsiteY9" fmla="*/ 7547 h 11828"/>
                  <a:gd name="connsiteX10" fmla="*/ 7245 w 10291"/>
                  <a:gd name="connsiteY10" fmla="*/ 10593 h 1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1" h="11828">
                    <a:moveTo>
                      <a:pt x="7245" y="10566"/>
                    </a:moveTo>
                    <a:lnTo>
                      <a:pt x="3705" y="11828"/>
                    </a:lnTo>
                    <a:lnTo>
                      <a:pt x="0" y="8617"/>
                    </a:lnTo>
                    <a:lnTo>
                      <a:pt x="412" y="7602"/>
                    </a:lnTo>
                    <a:lnTo>
                      <a:pt x="5571" y="5544"/>
                    </a:lnTo>
                    <a:lnTo>
                      <a:pt x="5928" y="412"/>
                    </a:lnTo>
                    <a:lnTo>
                      <a:pt x="8946" y="0"/>
                    </a:lnTo>
                    <a:lnTo>
                      <a:pt x="10291" y="1619"/>
                    </a:lnTo>
                    <a:lnTo>
                      <a:pt x="7739" y="5736"/>
                    </a:lnTo>
                    <a:lnTo>
                      <a:pt x="8370" y="7547"/>
                    </a:lnTo>
                    <a:lnTo>
                      <a:pt x="7245" y="105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7" name="Freeform: Shape 4256">
                <a:extLst>
                  <a:ext uri="{FF2B5EF4-FFF2-40B4-BE49-F238E27FC236}">
                    <a16:creationId xmlns:a16="http://schemas.microsoft.com/office/drawing/2014/main" id="{550749B8-E254-456F-F476-56B6F5C8D104}"/>
                  </a:ext>
                </a:extLst>
              </p:cNvPr>
              <p:cNvSpPr/>
              <p:nvPr/>
            </p:nvSpPr>
            <p:spPr>
              <a:xfrm>
                <a:off x="871236" y="3620376"/>
                <a:ext cx="1045" cy="1297"/>
              </a:xfrm>
              <a:custGeom>
                <a:avLst/>
                <a:gdLst>
                  <a:gd name="connsiteX0" fmla="*/ 6037 w 10016"/>
                  <a:gd name="connsiteY0" fmla="*/ 10785 h 12431"/>
                  <a:gd name="connsiteX1" fmla="*/ 3760 w 10016"/>
                  <a:gd name="connsiteY1" fmla="*/ 12432 h 12431"/>
                  <a:gd name="connsiteX2" fmla="*/ 274 w 10016"/>
                  <a:gd name="connsiteY2" fmla="*/ 12185 h 12431"/>
                  <a:gd name="connsiteX3" fmla="*/ 0 w 10016"/>
                  <a:gd name="connsiteY3" fmla="*/ 7492 h 12431"/>
                  <a:gd name="connsiteX4" fmla="*/ 1043 w 10016"/>
                  <a:gd name="connsiteY4" fmla="*/ 4171 h 12431"/>
                  <a:gd name="connsiteX5" fmla="*/ 8782 w 10016"/>
                  <a:gd name="connsiteY5" fmla="*/ 0 h 12431"/>
                  <a:gd name="connsiteX6" fmla="*/ 10017 w 10016"/>
                  <a:gd name="connsiteY6" fmla="*/ 1592 h 12431"/>
                  <a:gd name="connsiteX7" fmla="*/ 6065 w 10016"/>
                  <a:gd name="connsiteY7" fmla="*/ 10785 h 1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6" h="12431">
                    <a:moveTo>
                      <a:pt x="6037" y="10785"/>
                    </a:moveTo>
                    <a:lnTo>
                      <a:pt x="3760" y="12432"/>
                    </a:lnTo>
                    <a:lnTo>
                      <a:pt x="274" y="12185"/>
                    </a:lnTo>
                    <a:lnTo>
                      <a:pt x="0" y="7492"/>
                    </a:lnTo>
                    <a:lnTo>
                      <a:pt x="1043" y="4171"/>
                    </a:lnTo>
                    <a:lnTo>
                      <a:pt x="8782" y="0"/>
                    </a:lnTo>
                    <a:lnTo>
                      <a:pt x="10017" y="1592"/>
                    </a:lnTo>
                    <a:lnTo>
                      <a:pt x="6065" y="107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8" name="Freeform: Shape 4257">
                <a:extLst>
                  <a:ext uri="{FF2B5EF4-FFF2-40B4-BE49-F238E27FC236}">
                    <a16:creationId xmlns:a16="http://schemas.microsoft.com/office/drawing/2014/main" id="{AFDBEB63-2F36-49D8-489A-5A24DE9CEC65}"/>
                  </a:ext>
                </a:extLst>
              </p:cNvPr>
              <p:cNvSpPr/>
              <p:nvPr/>
            </p:nvSpPr>
            <p:spPr>
              <a:xfrm>
                <a:off x="831859" y="3656316"/>
                <a:ext cx="1826" cy="541"/>
              </a:xfrm>
              <a:custGeom>
                <a:avLst/>
                <a:gdLst>
                  <a:gd name="connsiteX0" fmla="*/ 11581 w 17508"/>
                  <a:gd name="connsiteY0" fmla="*/ 137 h 5186"/>
                  <a:gd name="connsiteX1" fmla="*/ 12185 w 17508"/>
                  <a:gd name="connsiteY1" fmla="*/ 1976 h 5186"/>
                  <a:gd name="connsiteX2" fmla="*/ 16411 w 17508"/>
                  <a:gd name="connsiteY2" fmla="*/ 1976 h 5186"/>
                  <a:gd name="connsiteX3" fmla="*/ 17509 w 17508"/>
                  <a:gd name="connsiteY3" fmla="*/ 4309 h 5186"/>
                  <a:gd name="connsiteX4" fmla="*/ 16027 w 17508"/>
                  <a:gd name="connsiteY4" fmla="*/ 5187 h 5186"/>
                  <a:gd name="connsiteX5" fmla="*/ 1454 w 17508"/>
                  <a:gd name="connsiteY5" fmla="*/ 5022 h 5186"/>
                  <a:gd name="connsiteX6" fmla="*/ 0 w 17508"/>
                  <a:gd name="connsiteY6" fmla="*/ 2937 h 5186"/>
                  <a:gd name="connsiteX7" fmla="*/ 8699 w 17508"/>
                  <a:gd name="connsiteY7" fmla="*/ 0 h 5186"/>
                  <a:gd name="connsiteX8" fmla="*/ 11553 w 17508"/>
                  <a:gd name="connsiteY8" fmla="*/ 137 h 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08" h="5186">
                    <a:moveTo>
                      <a:pt x="11581" y="137"/>
                    </a:moveTo>
                    <a:lnTo>
                      <a:pt x="12185" y="1976"/>
                    </a:lnTo>
                    <a:lnTo>
                      <a:pt x="16411" y="1976"/>
                    </a:lnTo>
                    <a:lnTo>
                      <a:pt x="17509" y="4309"/>
                    </a:lnTo>
                    <a:lnTo>
                      <a:pt x="16027" y="5187"/>
                    </a:lnTo>
                    <a:lnTo>
                      <a:pt x="1454" y="5022"/>
                    </a:lnTo>
                    <a:lnTo>
                      <a:pt x="0" y="2937"/>
                    </a:lnTo>
                    <a:lnTo>
                      <a:pt x="8699" y="0"/>
                    </a:lnTo>
                    <a:lnTo>
                      <a:pt x="11553" y="1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59" name="Freeform: Shape 4258">
                <a:extLst>
                  <a:ext uri="{FF2B5EF4-FFF2-40B4-BE49-F238E27FC236}">
                    <a16:creationId xmlns:a16="http://schemas.microsoft.com/office/drawing/2014/main" id="{5099711E-366B-8A89-7AC8-F233C76F91B2}"/>
                  </a:ext>
                </a:extLst>
              </p:cNvPr>
              <p:cNvSpPr/>
              <p:nvPr/>
            </p:nvSpPr>
            <p:spPr>
              <a:xfrm>
                <a:off x="865886" y="3644305"/>
                <a:ext cx="1357" cy="753"/>
              </a:xfrm>
              <a:custGeom>
                <a:avLst/>
                <a:gdLst>
                  <a:gd name="connsiteX0" fmla="*/ 12596 w 13007"/>
                  <a:gd name="connsiteY0" fmla="*/ 3458 h 7217"/>
                  <a:gd name="connsiteX1" fmla="*/ 13008 w 13007"/>
                  <a:gd name="connsiteY1" fmla="*/ 5324 h 7217"/>
                  <a:gd name="connsiteX2" fmla="*/ 9989 w 13007"/>
                  <a:gd name="connsiteY2" fmla="*/ 7218 h 7217"/>
                  <a:gd name="connsiteX3" fmla="*/ 9358 w 13007"/>
                  <a:gd name="connsiteY3" fmla="*/ 4583 h 7217"/>
                  <a:gd name="connsiteX4" fmla="*/ 5983 w 13007"/>
                  <a:gd name="connsiteY4" fmla="*/ 5708 h 7217"/>
                  <a:gd name="connsiteX5" fmla="*/ 2607 w 13007"/>
                  <a:gd name="connsiteY5" fmla="*/ 4116 h 7217"/>
                  <a:gd name="connsiteX6" fmla="*/ 2470 w 13007"/>
                  <a:gd name="connsiteY6" fmla="*/ 5681 h 7217"/>
                  <a:gd name="connsiteX7" fmla="*/ 0 w 13007"/>
                  <a:gd name="connsiteY7" fmla="*/ 3430 h 7217"/>
                  <a:gd name="connsiteX8" fmla="*/ 494 w 13007"/>
                  <a:gd name="connsiteY8" fmla="*/ 0 h 7217"/>
                  <a:gd name="connsiteX9" fmla="*/ 12624 w 13007"/>
                  <a:gd name="connsiteY9" fmla="*/ 3430 h 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07" h="7217">
                    <a:moveTo>
                      <a:pt x="12596" y="3458"/>
                    </a:moveTo>
                    <a:lnTo>
                      <a:pt x="13008" y="5324"/>
                    </a:lnTo>
                    <a:lnTo>
                      <a:pt x="9989" y="7218"/>
                    </a:lnTo>
                    <a:lnTo>
                      <a:pt x="9358" y="4583"/>
                    </a:lnTo>
                    <a:lnTo>
                      <a:pt x="5983" y="5708"/>
                    </a:lnTo>
                    <a:lnTo>
                      <a:pt x="2607" y="4116"/>
                    </a:lnTo>
                    <a:lnTo>
                      <a:pt x="2470" y="5681"/>
                    </a:lnTo>
                    <a:lnTo>
                      <a:pt x="0" y="3430"/>
                    </a:lnTo>
                    <a:lnTo>
                      <a:pt x="494" y="0"/>
                    </a:lnTo>
                    <a:lnTo>
                      <a:pt x="12624" y="34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0" name="Freeform: Shape 4259">
                <a:extLst>
                  <a:ext uri="{FF2B5EF4-FFF2-40B4-BE49-F238E27FC236}">
                    <a16:creationId xmlns:a16="http://schemas.microsoft.com/office/drawing/2014/main" id="{5DC3967A-2CFC-19D1-C8DB-52093C398E3C}"/>
                  </a:ext>
                </a:extLst>
              </p:cNvPr>
              <p:cNvSpPr/>
              <p:nvPr/>
            </p:nvSpPr>
            <p:spPr>
              <a:xfrm>
                <a:off x="868665" y="3640607"/>
                <a:ext cx="1259" cy="796"/>
              </a:xfrm>
              <a:custGeom>
                <a:avLst/>
                <a:gdLst>
                  <a:gd name="connsiteX0" fmla="*/ 3019 w 12074"/>
                  <a:gd name="connsiteY0" fmla="*/ 0 h 7629"/>
                  <a:gd name="connsiteX1" fmla="*/ 7849 w 12074"/>
                  <a:gd name="connsiteY1" fmla="*/ 2909 h 7629"/>
                  <a:gd name="connsiteX2" fmla="*/ 8590 w 12074"/>
                  <a:gd name="connsiteY2" fmla="*/ 1701 h 7629"/>
                  <a:gd name="connsiteX3" fmla="*/ 12075 w 12074"/>
                  <a:gd name="connsiteY3" fmla="*/ 5022 h 7629"/>
                  <a:gd name="connsiteX4" fmla="*/ 10017 w 12074"/>
                  <a:gd name="connsiteY4" fmla="*/ 7629 h 7629"/>
                  <a:gd name="connsiteX5" fmla="*/ 8013 w 12074"/>
                  <a:gd name="connsiteY5" fmla="*/ 5379 h 7629"/>
                  <a:gd name="connsiteX6" fmla="*/ 5543 w 12074"/>
                  <a:gd name="connsiteY6" fmla="*/ 6669 h 7629"/>
                  <a:gd name="connsiteX7" fmla="*/ 2223 w 12074"/>
                  <a:gd name="connsiteY7" fmla="*/ 3320 h 7629"/>
                  <a:gd name="connsiteX8" fmla="*/ 0 w 12074"/>
                  <a:gd name="connsiteY8" fmla="*/ 3732 h 7629"/>
                  <a:gd name="connsiteX9" fmla="*/ 823 w 12074"/>
                  <a:gd name="connsiteY9" fmla="*/ 905 h 7629"/>
                  <a:gd name="connsiteX10" fmla="*/ 3019 w 12074"/>
                  <a:gd name="connsiteY10" fmla="*/ 27 h 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74" h="7629">
                    <a:moveTo>
                      <a:pt x="3019" y="0"/>
                    </a:moveTo>
                    <a:lnTo>
                      <a:pt x="7849" y="2909"/>
                    </a:lnTo>
                    <a:lnTo>
                      <a:pt x="8590" y="1701"/>
                    </a:lnTo>
                    <a:lnTo>
                      <a:pt x="12075" y="5022"/>
                    </a:lnTo>
                    <a:lnTo>
                      <a:pt x="10017" y="7629"/>
                    </a:lnTo>
                    <a:lnTo>
                      <a:pt x="8013" y="5379"/>
                    </a:lnTo>
                    <a:lnTo>
                      <a:pt x="5543" y="6669"/>
                    </a:lnTo>
                    <a:lnTo>
                      <a:pt x="2223" y="3320"/>
                    </a:lnTo>
                    <a:lnTo>
                      <a:pt x="0" y="3732"/>
                    </a:lnTo>
                    <a:lnTo>
                      <a:pt x="823" y="905"/>
                    </a:lnTo>
                    <a:lnTo>
                      <a:pt x="3019"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1" name="Freeform: Shape 4260">
                <a:extLst>
                  <a:ext uri="{FF2B5EF4-FFF2-40B4-BE49-F238E27FC236}">
                    <a16:creationId xmlns:a16="http://schemas.microsoft.com/office/drawing/2014/main" id="{BAA8BEE9-79B0-A902-DB88-CAEBC90E77B6}"/>
                  </a:ext>
                </a:extLst>
              </p:cNvPr>
              <p:cNvSpPr/>
              <p:nvPr/>
            </p:nvSpPr>
            <p:spPr>
              <a:xfrm>
                <a:off x="891845" y="3632733"/>
                <a:ext cx="1331" cy="718"/>
              </a:xfrm>
              <a:custGeom>
                <a:avLst/>
                <a:gdLst>
                  <a:gd name="connsiteX0" fmla="*/ 8123 w 12760"/>
                  <a:gd name="connsiteY0" fmla="*/ 27 h 6888"/>
                  <a:gd name="connsiteX1" fmla="*/ 10401 w 12760"/>
                  <a:gd name="connsiteY1" fmla="*/ 3677 h 6888"/>
                  <a:gd name="connsiteX2" fmla="*/ 12761 w 12760"/>
                  <a:gd name="connsiteY2" fmla="*/ 3375 h 6888"/>
                  <a:gd name="connsiteX3" fmla="*/ 12459 w 12760"/>
                  <a:gd name="connsiteY3" fmla="*/ 6202 h 6888"/>
                  <a:gd name="connsiteX4" fmla="*/ 8480 w 12760"/>
                  <a:gd name="connsiteY4" fmla="*/ 6422 h 6888"/>
                  <a:gd name="connsiteX5" fmla="*/ 7849 w 12760"/>
                  <a:gd name="connsiteY5" fmla="*/ 4748 h 6888"/>
                  <a:gd name="connsiteX6" fmla="*/ 4007 w 12760"/>
                  <a:gd name="connsiteY6" fmla="*/ 6888 h 6888"/>
                  <a:gd name="connsiteX7" fmla="*/ 686 w 12760"/>
                  <a:gd name="connsiteY7" fmla="*/ 6010 h 6888"/>
                  <a:gd name="connsiteX8" fmla="*/ 0 w 12760"/>
                  <a:gd name="connsiteY8" fmla="*/ 4309 h 6888"/>
                  <a:gd name="connsiteX9" fmla="*/ 4226 w 12760"/>
                  <a:gd name="connsiteY9" fmla="*/ 247 h 6888"/>
                  <a:gd name="connsiteX10" fmla="*/ 8123 w 12760"/>
                  <a:gd name="connsiteY10" fmla="*/ 0 h 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60" h="6888">
                    <a:moveTo>
                      <a:pt x="8123" y="27"/>
                    </a:moveTo>
                    <a:lnTo>
                      <a:pt x="10401" y="3677"/>
                    </a:lnTo>
                    <a:lnTo>
                      <a:pt x="12761" y="3375"/>
                    </a:lnTo>
                    <a:lnTo>
                      <a:pt x="12459" y="6202"/>
                    </a:lnTo>
                    <a:lnTo>
                      <a:pt x="8480" y="6422"/>
                    </a:lnTo>
                    <a:lnTo>
                      <a:pt x="7849" y="4748"/>
                    </a:lnTo>
                    <a:lnTo>
                      <a:pt x="4007" y="6888"/>
                    </a:lnTo>
                    <a:lnTo>
                      <a:pt x="686" y="6010"/>
                    </a:lnTo>
                    <a:lnTo>
                      <a:pt x="0" y="4309"/>
                    </a:lnTo>
                    <a:lnTo>
                      <a:pt x="4226" y="247"/>
                    </a:lnTo>
                    <a:lnTo>
                      <a:pt x="8123"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2" name="Freeform: Shape 4261">
                <a:extLst>
                  <a:ext uri="{FF2B5EF4-FFF2-40B4-BE49-F238E27FC236}">
                    <a16:creationId xmlns:a16="http://schemas.microsoft.com/office/drawing/2014/main" id="{4466E5E5-8BB3-54A6-344F-FB5CD6B4BF5E}"/>
                  </a:ext>
                </a:extLst>
              </p:cNvPr>
              <p:cNvSpPr/>
              <p:nvPr/>
            </p:nvSpPr>
            <p:spPr>
              <a:xfrm>
                <a:off x="890531" y="3632867"/>
                <a:ext cx="862" cy="1076"/>
              </a:xfrm>
              <a:custGeom>
                <a:avLst/>
                <a:gdLst>
                  <a:gd name="connsiteX0" fmla="*/ 5928 w 8260"/>
                  <a:gd name="connsiteY0" fmla="*/ 6010 h 10318"/>
                  <a:gd name="connsiteX1" fmla="*/ 1976 w 8260"/>
                  <a:gd name="connsiteY1" fmla="*/ 10319 h 10318"/>
                  <a:gd name="connsiteX2" fmla="*/ 0 w 8260"/>
                  <a:gd name="connsiteY2" fmla="*/ 8919 h 10318"/>
                  <a:gd name="connsiteX3" fmla="*/ 3211 w 8260"/>
                  <a:gd name="connsiteY3" fmla="*/ 3705 h 10318"/>
                  <a:gd name="connsiteX4" fmla="*/ 7931 w 8260"/>
                  <a:gd name="connsiteY4" fmla="*/ 0 h 10318"/>
                  <a:gd name="connsiteX5" fmla="*/ 8260 w 8260"/>
                  <a:gd name="connsiteY5" fmla="*/ 4967 h 10318"/>
                  <a:gd name="connsiteX6" fmla="*/ 5928 w 8260"/>
                  <a:gd name="connsiteY6" fmla="*/ 5983 h 1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0" h="10318">
                    <a:moveTo>
                      <a:pt x="5928" y="6010"/>
                    </a:moveTo>
                    <a:lnTo>
                      <a:pt x="1976" y="10319"/>
                    </a:lnTo>
                    <a:lnTo>
                      <a:pt x="0" y="8919"/>
                    </a:lnTo>
                    <a:lnTo>
                      <a:pt x="3211" y="3705"/>
                    </a:lnTo>
                    <a:lnTo>
                      <a:pt x="7931" y="0"/>
                    </a:lnTo>
                    <a:lnTo>
                      <a:pt x="8260" y="4967"/>
                    </a:lnTo>
                    <a:lnTo>
                      <a:pt x="5928" y="59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3" name="Freeform: Shape 4262">
                <a:extLst>
                  <a:ext uri="{FF2B5EF4-FFF2-40B4-BE49-F238E27FC236}">
                    <a16:creationId xmlns:a16="http://schemas.microsoft.com/office/drawing/2014/main" id="{AC7099F9-C150-6157-3150-42A769225892}"/>
                  </a:ext>
                </a:extLst>
              </p:cNvPr>
              <p:cNvSpPr/>
              <p:nvPr/>
            </p:nvSpPr>
            <p:spPr>
              <a:xfrm>
                <a:off x="855951" y="3645722"/>
                <a:ext cx="1033" cy="827"/>
              </a:xfrm>
              <a:custGeom>
                <a:avLst/>
                <a:gdLst>
                  <a:gd name="connsiteX0" fmla="*/ 9879 w 9906"/>
                  <a:gd name="connsiteY0" fmla="*/ 6367 h 7931"/>
                  <a:gd name="connsiteX1" fmla="*/ 878 w 9906"/>
                  <a:gd name="connsiteY1" fmla="*/ 7931 h 7931"/>
                  <a:gd name="connsiteX2" fmla="*/ 0 w 9906"/>
                  <a:gd name="connsiteY2" fmla="*/ 1948 h 7931"/>
                  <a:gd name="connsiteX3" fmla="*/ 3321 w 9906"/>
                  <a:gd name="connsiteY3" fmla="*/ 0 h 7931"/>
                  <a:gd name="connsiteX4" fmla="*/ 9056 w 9906"/>
                  <a:gd name="connsiteY4" fmla="*/ 3293 h 7931"/>
                  <a:gd name="connsiteX5" fmla="*/ 9907 w 9906"/>
                  <a:gd name="connsiteY5" fmla="*/ 6367 h 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 h="7931">
                    <a:moveTo>
                      <a:pt x="9879" y="6367"/>
                    </a:moveTo>
                    <a:lnTo>
                      <a:pt x="878" y="7931"/>
                    </a:lnTo>
                    <a:lnTo>
                      <a:pt x="0" y="1948"/>
                    </a:lnTo>
                    <a:lnTo>
                      <a:pt x="3321" y="0"/>
                    </a:lnTo>
                    <a:lnTo>
                      <a:pt x="9056" y="3293"/>
                    </a:lnTo>
                    <a:lnTo>
                      <a:pt x="9907" y="63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4" name="Freeform: Shape 4263">
                <a:extLst>
                  <a:ext uri="{FF2B5EF4-FFF2-40B4-BE49-F238E27FC236}">
                    <a16:creationId xmlns:a16="http://schemas.microsoft.com/office/drawing/2014/main" id="{9E5BE9AF-3479-27FB-73C3-0E8637174EA6}"/>
                  </a:ext>
                </a:extLst>
              </p:cNvPr>
              <p:cNvSpPr/>
              <p:nvPr/>
            </p:nvSpPr>
            <p:spPr>
              <a:xfrm>
                <a:off x="835823" y="3655111"/>
                <a:ext cx="1007" cy="718"/>
              </a:xfrm>
              <a:custGeom>
                <a:avLst/>
                <a:gdLst>
                  <a:gd name="connsiteX0" fmla="*/ 6504 w 9659"/>
                  <a:gd name="connsiteY0" fmla="*/ 5489 h 6888"/>
                  <a:gd name="connsiteX1" fmla="*/ 2854 w 9659"/>
                  <a:gd name="connsiteY1" fmla="*/ 6888 h 6888"/>
                  <a:gd name="connsiteX2" fmla="*/ 0 w 9659"/>
                  <a:gd name="connsiteY2" fmla="*/ 5873 h 6888"/>
                  <a:gd name="connsiteX3" fmla="*/ 2607 w 9659"/>
                  <a:gd name="connsiteY3" fmla="*/ 1592 h 6888"/>
                  <a:gd name="connsiteX4" fmla="*/ 5736 w 9659"/>
                  <a:gd name="connsiteY4" fmla="*/ 0 h 6888"/>
                  <a:gd name="connsiteX5" fmla="*/ 8946 w 9659"/>
                  <a:gd name="connsiteY5" fmla="*/ 1180 h 6888"/>
                  <a:gd name="connsiteX6" fmla="*/ 9660 w 9659"/>
                  <a:gd name="connsiteY6" fmla="*/ 2964 h 6888"/>
                  <a:gd name="connsiteX7" fmla="*/ 6449 w 9659"/>
                  <a:gd name="connsiteY7" fmla="*/ 5489 h 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59" h="6888">
                    <a:moveTo>
                      <a:pt x="6504" y="5489"/>
                    </a:moveTo>
                    <a:lnTo>
                      <a:pt x="2854" y="6888"/>
                    </a:lnTo>
                    <a:lnTo>
                      <a:pt x="0" y="5873"/>
                    </a:lnTo>
                    <a:lnTo>
                      <a:pt x="2607" y="1592"/>
                    </a:lnTo>
                    <a:lnTo>
                      <a:pt x="5736" y="0"/>
                    </a:lnTo>
                    <a:lnTo>
                      <a:pt x="8946" y="1180"/>
                    </a:lnTo>
                    <a:lnTo>
                      <a:pt x="9660" y="2964"/>
                    </a:lnTo>
                    <a:lnTo>
                      <a:pt x="6449" y="54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5" name="Freeform: Shape 4264">
                <a:extLst>
                  <a:ext uri="{FF2B5EF4-FFF2-40B4-BE49-F238E27FC236}">
                    <a16:creationId xmlns:a16="http://schemas.microsoft.com/office/drawing/2014/main" id="{EB82FA5E-9183-AE22-B7D4-7DFF91815372}"/>
                  </a:ext>
                </a:extLst>
              </p:cNvPr>
              <p:cNvSpPr/>
              <p:nvPr/>
            </p:nvSpPr>
            <p:spPr>
              <a:xfrm>
                <a:off x="841307" y="3653562"/>
                <a:ext cx="864" cy="779"/>
              </a:xfrm>
              <a:custGeom>
                <a:avLst/>
                <a:gdLst>
                  <a:gd name="connsiteX0" fmla="*/ 8260 w 8287"/>
                  <a:gd name="connsiteY0" fmla="*/ 1070 h 7464"/>
                  <a:gd name="connsiteX1" fmla="*/ 6833 w 8287"/>
                  <a:gd name="connsiteY1" fmla="*/ 4693 h 7464"/>
                  <a:gd name="connsiteX2" fmla="*/ 4775 w 8287"/>
                  <a:gd name="connsiteY2" fmla="*/ 4583 h 7464"/>
                  <a:gd name="connsiteX3" fmla="*/ 1482 w 8287"/>
                  <a:gd name="connsiteY3" fmla="*/ 7464 h 7464"/>
                  <a:gd name="connsiteX4" fmla="*/ 0 w 8287"/>
                  <a:gd name="connsiteY4" fmla="*/ 6696 h 7464"/>
                  <a:gd name="connsiteX5" fmla="*/ 741 w 8287"/>
                  <a:gd name="connsiteY5" fmla="*/ 3074 h 7464"/>
                  <a:gd name="connsiteX6" fmla="*/ 4995 w 8287"/>
                  <a:gd name="connsiteY6" fmla="*/ 0 h 7464"/>
                  <a:gd name="connsiteX7" fmla="*/ 8288 w 8287"/>
                  <a:gd name="connsiteY7" fmla="*/ 1070 h 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87" h="7464">
                    <a:moveTo>
                      <a:pt x="8260" y="1070"/>
                    </a:moveTo>
                    <a:lnTo>
                      <a:pt x="6833" y="4693"/>
                    </a:lnTo>
                    <a:lnTo>
                      <a:pt x="4775" y="4583"/>
                    </a:lnTo>
                    <a:lnTo>
                      <a:pt x="1482" y="7464"/>
                    </a:lnTo>
                    <a:lnTo>
                      <a:pt x="0" y="6696"/>
                    </a:lnTo>
                    <a:lnTo>
                      <a:pt x="741" y="3074"/>
                    </a:lnTo>
                    <a:lnTo>
                      <a:pt x="4995" y="0"/>
                    </a:lnTo>
                    <a:lnTo>
                      <a:pt x="8288" y="10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6" name="Freeform: Shape 4265">
                <a:extLst>
                  <a:ext uri="{FF2B5EF4-FFF2-40B4-BE49-F238E27FC236}">
                    <a16:creationId xmlns:a16="http://schemas.microsoft.com/office/drawing/2014/main" id="{33021291-6C57-FD97-7328-771D2FF41AAB}"/>
                  </a:ext>
                </a:extLst>
              </p:cNvPr>
              <p:cNvSpPr/>
              <p:nvPr/>
            </p:nvSpPr>
            <p:spPr>
              <a:xfrm>
                <a:off x="988151" y="3673023"/>
                <a:ext cx="561" cy="1079"/>
              </a:xfrm>
              <a:custGeom>
                <a:avLst/>
                <a:gdLst>
                  <a:gd name="connsiteX0" fmla="*/ 5379 w 5378"/>
                  <a:gd name="connsiteY0" fmla="*/ 5763 h 10346"/>
                  <a:gd name="connsiteX1" fmla="*/ 2497 w 5378"/>
                  <a:gd name="connsiteY1" fmla="*/ 10346 h 10346"/>
                  <a:gd name="connsiteX2" fmla="*/ 0 w 5378"/>
                  <a:gd name="connsiteY2" fmla="*/ 0 h 10346"/>
                  <a:gd name="connsiteX3" fmla="*/ 5324 w 5378"/>
                  <a:gd name="connsiteY3" fmla="*/ 0 h 10346"/>
                  <a:gd name="connsiteX4" fmla="*/ 5379 w 5378"/>
                  <a:gd name="connsiteY4" fmla="*/ 5735 h 10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8" h="10346">
                    <a:moveTo>
                      <a:pt x="5379" y="5763"/>
                    </a:moveTo>
                    <a:lnTo>
                      <a:pt x="2497" y="10346"/>
                    </a:lnTo>
                    <a:lnTo>
                      <a:pt x="0" y="0"/>
                    </a:lnTo>
                    <a:lnTo>
                      <a:pt x="5324" y="0"/>
                    </a:lnTo>
                    <a:lnTo>
                      <a:pt x="5379" y="57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7" name="Freeform: Shape 4266">
                <a:extLst>
                  <a:ext uri="{FF2B5EF4-FFF2-40B4-BE49-F238E27FC236}">
                    <a16:creationId xmlns:a16="http://schemas.microsoft.com/office/drawing/2014/main" id="{30F40ECE-A87B-17E5-3C24-02A5DAA3FEB1}"/>
                  </a:ext>
                </a:extLst>
              </p:cNvPr>
              <p:cNvSpPr/>
              <p:nvPr/>
            </p:nvSpPr>
            <p:spPr>
              <a:xfrm>
                <a:off x="824789" y="3657452"/>
                <a:ext cx="859" cy="756"/>
              </a:xfrm>
              <a:custGeom>
                <a:avLst/>
                <a:gdLst>
                  <a:gd name="connsiteX0" fmla="*/ 8233 w 8232"/>
                  <a:gd name="connsiteY0" fmla="*/ 1784 h 7244"/>
                  <a:gd name="connsiteX1" fmla="*/ 5873 w 8232"/>
                  <a:gd name="connsiteY1" fmla="*/ 4638 h 7244"/>
                  <a:gd name="connsiteX2" fmla="*/ 1976 w 8232"/>
                  <a:gd name="connsiteY2" fmla="*/ 7245 h 7244"/>
                  <a:gd name="connsiteX3" fmla="*/ 0 w 8232"/>
                  <a:gd name="connsiteY3" fmla="*/ 4391 h 7244"/>
                  <a:gd name="connsiteX4" fmla="*/ 631 w 8232"/>
                  <a:gd name="connsiteY4" fmla="*/ 1921 h 7244"/>
                  <a:gd name="connsiteX5" fmla="*/ 3540 w 8232"/>
                  <a:gd name="connsiteY5" fmla="*/ 3897 h 7244"/>
                  <a:gd name="connsiteX6" fmla="*/ 5571 w 8232"/>
                  <a:gd name="connsiteY6" fmla="*/ 0 h 7244"/>
                  <a:gd name="connsiteX7" fmla="*/ 8205 w 8232"/>
                  <a:gd name="connsiteY7" fmla="*/ 1784 h 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32" h="7244">
                    <a:moveTo>
                      <a:pt x="8233" y="1784"/>
                    </a:moveTo>
                    <a:lnTo>
                      <a:pt x="5873" y="4638"/>
                    </a:lnTo>
                    <a:lnTo>
                      <a:pt x="1976" y="7245"/>
                    </a:lnTo>
                    <a:lnTo>
                      <a:pt x="0" y="4391"/>
                    </a:lnTo>
                    <a:lnTo>
                      <a:pt x="631" y="1921"/>
                    </a:lnTo>
                    <a:lnTo>
                      <a:pt x="3540" y="3897"/>
                    </a:lnTo>
                    <a:lnTo>
                      <a:pt x="5571" y="0"/>
                    </a:lnTo>
                    <a:lnTo>
                      <a:pt x="8205" y="17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8" name="Freeform: Shape 4267">
                <a:extLst>
                  <a:ext uri="{FF2B5EF4-FFF2-40B4-BE49-F238E27FC236}">
                    <a16:creationId xmlns:a16="http://schemas.microsoft.com/office/drawing/2014/main" id="{7A6D73F8-3DFE-A19D-5928-82DFEA5D48E9}"/>
                  </a:ext>
                </a:extLst>
              </p:cNvPr>
              <p:cNvSpPr/>
              <p:nvPr/>
            </p:nvSpPr>
            <p:spPr>
              <a:xfrm>
                <a:off x="962029" y="3641563"/>
                <a:ext cx="833" cy="779"/>
              </a:xfrm>
              <a:custGeom>
                <a:avLst/>
                <a:gdLst>
                  <a:gd name="connsiteX0" fmla="*/ 7986 w 7985"/>
                  <a:gd name="connsiteY0" fmla="*/ 5626 h 7464"/>
                  <a:gd name="connsiteX1" fmla="*/ 5406 w 7985"/>
                  <a:gd name="connsiteY1" fmla="*/ 7465 h 7464"/>
                  <a:gd name="connsiteX2" fmla="*/ 2936 w 7985"/>
                  <a:gd name="connsiteY2" fmla="*/ 6010 h 7464"/>
                  <a:gd name="connsiteX3" fmla="*/ 796 w 7985"/>
                  <a:gd name="connsiteY3" fmla="*/ 4912 h 7464"/>
                  <a:gd name="connsiteX4" fmla="*/ 0 w 7985"/>
                  <a:gd name="connsiteY4" fmla="*/ 3321 h 7464"/>
                  <a:gd name="connsiteX5" fmla="*/ 576 w 7985"/>
                  <a:gd name="connsiteY5" fmla="*/ 2031 h 7464"/>
                  <a:gd name="connsiteX6" fmla="*/ 2964 w 7985"/>
                  <a:gd name="connsiteY6" fmla="*/ 1455 h 7464"/>
                  <a:gd name="connsiteX7" fmla="*/ 6669 w 7985"/>
                  <a:gd name="connsiteY7" fmla="*/ 0 h 7464"/>
                  <a:gd name="connsiteX8" fmla="*/ 7986 w 7985"/>
                  <a:gd name="connsiteY8" fmla="*/ 5598 h 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5" h="7464">
                    <a:moveTo>
                      <a:pt x="7986" y="5626"/>
                    </a:moveTo>
                    <a:lnTo>
                      <a:pt x="5406" y="7465"/>
                    </a:lnTo>
                    <a:lnTo>
                      <a:pt x="2936" y="6010"/>
                    </a:lnTo>
                    <a:lnTo>
                      <a:pt x="796" y="4912"/>
                    </a:lnTo>
                    <a:lnTo>
                      <a:pt x="0" y="3321"/>
                    </a:lnTo>
                    <a:lnTo>
                      <a:pt x="576" y="2031"/>
                    </a:lnTo>
                    <a:lnTo>
                      <a:pt x="2964" y="1455"/>
                    </a:lnTo>
                    <a:lnTo>
                      <a:pt x="6669" y="0"/>
                    </a:lnTo>
                    <a:lnTo>
                      <a:pt x="7986" y="55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69" name="Freeform: Shape 4268">
                <a:extLst>
                  <a:ext uri="{FF2B5EF4-FFF2-40B4-BE49-F238E27FC236}">
                    <a16:creationId xmlns:a16="http://schemas.microsoft.com/office/drawing/2014/main" id="{E100DFE8-991C-54AC-0276-F89C22636C5E}"/>
                  </a:ext>
                </a:extLst>
              </p:cNvPr>
              <p:cNvSpPr/>
              <p:nvPr/>
            </p:nvSpPr>
            <p:spPr>
              <a:xfrm>
                <a:off x="857230" y="3645401"/>
                <a:ext cx="664" cy="836"/>
              </a:xfrm>
              <a:custGeom>
                <a:avLst/>
                <a:gdLst>
                  <a:gd name="connsiteX0" fmla="*/ 6284 w 6366"/>
                  <a:gd name="connsiteY0" fmla="*/ 5653 h 8013"/>
                  <a:gd name="connsiteX1" fmla="*/ 2141 w 6366"/>
                  <a:gd name="connsiteY1" fmla="*/ 8013 h 8013"/>
                  <a:gd name="connsiteX2" fmla="*/ 1070 w 6366"/>
                  <a:gd name="connsiteY2" fmla="*/ 7272 h 8013"/>
                  <a:gd name="connsiteX3" fmla="*/ 0 w 6366"/>
                  <a:gd name="connsiteY3" fmla="*/ 1674 h 8013"/>
                  <a:gd name="connsiteX4" fmla="*/ 2031 w 6366"/>
                  <a:gd name="connsiteY4" fmla="*/ 0 h 8013"/>
                  <a:gd name="connsiteX5" fmla="*/ 6367 w 6366"/>
                  <a:gd name="connsiteY5" fmla="*/ 4034 h 8013"/>
                  <a:gd name="connsiteX6" fmla="*/ 6284 w 6366"/>
                  <a:gd name="connsiteY6" fmla="*/ 5681 h 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66" h="8013">
                    <a:moveTo>
                      <a:pt x="6284" y="5653"/>
                    </a:moveTo>
                    <a:lnTo>
                      <a:pt x="2141" y="8013"/>
                    </a:lnTo>
                    <a:lnTo>
                      <a:pt x="1070" y="7272"/>
                    </a:lnTo>
                    <a:lnTo>
                      <a:pt x="0" y="1674"/>
                    </a:lnTo>
                    <a:lnTo>
                      <a:pt x="2031" y="0"/>
                    </a:lnTo>
                    <a:lnTo>
                      <a:pt x="6367" y="4034"/>
                    </a:lnTo>
                    <a:lnTo>
                      <a:pt x="6284" y="56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0" name="Freeform: Shape 4269">
                <a:extLst>
                  <a:ext uri="{FF2B5EF4-FFF2-40B4-BE49-F238E27FC236}">
                    <a16:creationId xmlns:a16="http://schemas.microsoft.com/office/drawing/2014/main" id="{6394B648-CF2A-1552-2DD1-A221977F81CE}"/>
                  </a:ext>
                </a:extLst>
              </p:cNvPr>
              <p:cNvSpPr/>
              <p:nvPr/>
            </p:nvSpPr>
            <p:spPr>
              <a:xfrm>
                <a:off x="987555" y="3673103"/>
                <a:ext cx="529" cy="919"/>
              </a:xfrm>
              <a:custGeom>
                <a:avLst/>
                <a:gdLst>
                  <a:gd name="connsiteX0" fmla="*/ 5077 w 5076"/>
                  <a:gd name="connsiteY0" fmla="*/ 2909 h 8809"/>
                  <a:gd name="connsiteX1" fmla="*/ 3787 w 5076"/>
                  <a:gd name="connsiteY1" fmla="*/ 8809 h 8809"/>
                  <a:gd name="connsiteX2" fmla="*/ 1180 w 5076"/>
                  <a:gd name="connsiteY2" fmla="*/ 7135 h 8809"/>
                  <a:gd name="connsiteX3" fmla="*/ 0 w 5076"/>
                  <a:gd name="connsiteY3" fmla="*/ 4418 h 8809"/>
                  <a:gd name="connsiteX4" fmla="*/ 412 w 5076"/>
                  <a:gd name="connsiteY4" fmla="*/ 0 h 8809"/>
                  <a:gd name="connsiteX5" fmla="*/ 5077 w 5076"/>
                  <a:gd name="connsiteY5" fmla="*/ 2909 h 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6" h="8809">
                    <a:moveTo>
                      <a:pt x="5077" y="2909"/>
                    </a:moveTo>
                    <a:lnTo>
                      <a:pt x="3787" y="8809"/>
                    </a:lnTo>
                    <a:lnTo>
                      <a:pt x="1180" y="7135"/>
                    </a:lnTo>
                    <a:lnTo>
                      <a:pt x="0" y="4418"/>
                    </a:lnTo>
                    <a:lnTo>
                      <a:pt x="412" y="0"/>
                    </a:lnTo>
                    <a:lnTo>
                      <a:pt x="5077" y="29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1" name="Freeform: Shape 4270">
                <a:extLst>
                  <a:ext uri="{FF2B5EF4-FFF2-40B4-BE49-F238E27FC236}">
                    <a16:creationId xmlns:a16="http://schemas.microsoft.com/office/drawing/2014/main" id="{C837959E-4D9B-B388-48ED-7E6185266A7E}"/>
                  </a:ext>
                </a:extLst>
              </p:cNvPr>
              <p:cNvSpPr/>
              <p:nvPr/>
            </p:nvSpPr>
            <p:spPr>
              <a:xfrm>
                <a:off x="1114317" y="3766429"/>
                <a:ext cx="767" cy="421"/>
              </a:xfrm>
              <a:custGeom>
                <a:avLst/>
                <a:gdLst>
                  <a:gd name="connsiteX0" fmla="*/ 1537 w 7354"/>
                  <a:gd name="connsiteY0" fmla="*/ 0 h 4034"/>
                  <a:gd name="connsiteX1" fmla="*/ 2470 w 7354"/>
                  <a:gd name="connsiteY1" fmla="*/ 1509 h 4034"/>
                  <a:gd name="connsiteX2" fmla="*/ 4062 w 7354"/>
                  <a:gd name="connsiteY2" fmla="*/ 110 h 4034"/>
                  <a:gd name="connsiteX3" fmla="*/ 7355 w 7354"/>
                  <a:gd name="connsiteY3" fmla="*/ 439 h 4034"/>
                  <a:gd name="connsiteX4" fmla="*/ 7355 w 7354"/>
                  <a:gd name="connsiteY4" fmla="*/ 1592 h 4034"/>
                  <a:gd name="connsiteX5" fmla="*/ 604 w 7354"/>
                  <a:gd name="connsiteY5" fmla="*/ 4034 h 4034"/>
                  <a:gd name="connsiteX6" fmla="*/ 0 w 7354"/>
                  <a:gd name="connsiteY6" fmla="*/ 2662 h 4034"/>
                  <a:gd name="connsiteX7" fmla="*/ 1564 w 7354"/>
                  <a:gd name="connsiteY7" fmla="*/ 0 h 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4" h="4034">
                    <a:moveTo>
                      <a:pt x="1537" y="0"/>
                    </a:moveTo>
                    <a:lnTo>
                      <a:pt x="2470" y="1509"/>
                    </a:lnTo>
                    <a:lnTo>
                      <a:pt x="4062" y="110"/>
                    </a:lnTo>
                    <a:lnTo>
                      <a:pt x="7355" y="439"/>
                    </a:lnTo>
                    <a:lnTo>
                      <a:pt x="7355" y="1592"/>
                    </a:lnTo>
                    <a:cubicBezTo>
                      <a:pt x="7355" y="1592"/>
                      <a:pt x="604" y="4034"/>
                      <a:pt x="604" y="4034"/>
                    </a:cubicBezTo>
                    <a:lnTo>
                      <a:pt x="0" y="2662"/>
                    </a:lnTo>
                    <a:lnTo>
                      <a:pt x="156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2" name="Freeform: Shape 4271">
                <a:extLst>
                  <a:ext uri="{FF2B5EF4-FFF2-40B4-BE49-F238E27FC236}">
                    <a16:creationId xmlns:a16="http://schemas.microsoft.com/office/drawing/2014/main" id="{0CA96797-8E60-2F2F-015E-10020903D260}"/>
                  </a:ext>
                </a:extLst>
              </p:cNvPr>
              <p:cNvSpPr/>
              <p:nvPr/>
            </p:nvSpPr>
            <p:spPr>
              <a:xfrm>
                <a:off x="867105" y="3641678"/>
                <a:ext cx="618" cy="824"/>
              </a:xfrm>
              <a:custGeom>
                <a:avLst/>
                <a:gdLst>
                  <a:gd name="connsiteX0" fmla="*/ 5928 w 5927"/>
                  <a:gd name="connsiteY0" fmla="*/ 4912 h 7903"/>
                  <a:gd name="connsiteX1" fmla="*/ 3458 w 5927"/>
                  <a:gd name="connsiteY1" fmla="*/ 7904 h 7903"/>
                  <a:gd name="connsiteX2" fmla="*/ 494 w 5927"/>
                  <a:gd name="connsiteY2" fmla="*/ 5461 h 7903"/>
                  <a:gd name="connsiteX3" fmla="*/ 0 w 5927"/>
                  <a:gd name="connsiteY3" fmla="*/ 2799 h 7903"/>
                  <a:gd name="connsiteX4" fmla="*/ 3238 w 5927"/>
                  <a:gd name="connsiteY4" fmla="*/ 0 h 7903"/>
                  <a:gd name="connsiteX5" fmla="*/ 5873 w 5927"/>
                  <a:gd name="connsiteY5" fmla="*/ 1427 h 7903"/>
                  <a:gd name="connsiteX6" fmla="*/ 5873 w 5927"/>
                  <a:gd name="connsiteY6" fmla="*/ 4912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7" h="7903">
                    <a:moveTo>
                      <a:pt x="5928" y="4912"/>
                    </a:moveTo>
                    <a:lnTo>
                      <a:pt x="3458" y="7904"/>
                    </a:lnTo>
                    <a:lnTo>
                      <a:pt x="494" y="5461"/>
                    </a:lnTo>
                    <a:lnTo>
                      <a:pt x="0" y="2799"/>
                    </a:lnTo>
                    <a:lnTo>
                      <a:pt x="3238" y="0"/>
                    </a:lnTo>
                    <a:lnTo>
                      <a:pt x="5873" y="1427"/>
                    </a:lnTo>
                    <a:lnTo>
                      <a:pt x="5873" y="49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3" name="Freeform: Shape 4272">
                <a:extLst>
                  <a:ext uri="{FF2B5EF4-FFF2-40B4-BE49-F238E27FC236}">
                    <a16:creationId xmlns:a16="http://schemas.microsoft.com/office/drawing/2014/main" id="{D6C8D94C-C9D4-B6E6-8923-70587D2A5AE1}"/>
                  </a:ext>
                </a:extLst>
              </p:cNvPr>
              <p:cNvSpPr/>
              <p:nvPr/>
            </p:nvSpPr>
            <p:spPr>
              <a:xfrm>
                <a:off x="1115195" y="3766049"/>
                <a:ext cx="756" cy="415"/>
              </a:xfrm>
              <a:custGeom>
                <a:avLst/>
                <a:gdLst>
                  <a:gd name="connsiteX0" fmla="*/ 7245 w 7244"/>
                  <a:gd name="connsiteY0" fmla="*/ 2882 h 3979"/>
                  <a:gd name="connsiteX1" fmla="*/ 6038 w 7244"/>
                  <a:gd name="connsiteY1" fmla="*/ 3979 h 3979"/>
                  <a:gd name="connsiteX2" fmla="*/ 522 w 7244"/>
                  <a:gd name="connsiteY2" fmla="*/ 3458 h 3979"/>
                  <a:gd name="connsiteX3" fmla="*/ 0 w 7244"/>
                  <a:gd name="connsiteY3" fmla="*/ 2827 h 3979"/>
                  <a:gd name="connsiteX4" fmla="*/ 3266 w 7244"/>
                  <a:gd name="connsiteY4" fmla="*/ 0 h 3979"/>
                  <a:gd name="connsiteX5" fmla="*/ 7218 w 7244"/>
                  <a:gd name="connsiteY5" fmla="*/ 2854 h 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44" h="3979">
                    <a:moveTo>
                      <a:pt x="7245" y="2882"/>
                    </a:moveTo>
                    <a:lnTo>
                      <a:pt x="6038" y="3979"/>
                    </a:lnTo>
                    <a:lnTo>
                      <a:pt x="522" y="3458"/>
                    </a:lnTo>
                    <a:lnTo>
                      <a:pt x="0" y="2827"/>
                    </a:lnTo>
                    <a:lnTo>
                      <a:pt x="3266" y="0"/>
                    </a:lnTo>
                    <a:lnTo>
                      <a:pt x="7218"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4" name="Freeform: Shape 4273">
                <a:extLst>
                  <a:ext uri="{FF2B5EF4-FFF2-40B4-BE49-F238E27FC236}">
                    <a16:creationId xmlns:a16="http://schemas.microsoft.com/office/drawing/2014/main" id="{18AE50CF-6318-7985-056C-8BE8F6FB2540}"/>
                  </a:ext>
                </a:extLst>
              </p:cNvPr>
              <p:cNvSpPr/>
              <p:nvPr/>
            </p:nvSpPr>
            <p:spPr>
              <a:xfrm>
                <a:off x="887651" y="3636637"/>
                <a:ext cx="535" cy="839"/>
              </a:xfrm>
              <a:custGeom>
                <a:avLst/>
                <a:gdLst>
                  <a:gd name="connsiteX0" fmla="*/ 5132 w 5131"/>
                  <a:gd name="connsiteY0" fmla="*/ 384 h 8040"/>
                  <a:gd name="connsiteX1" fmla="*/ 4473 w 5131"/>
                  <a:gd name="connsiteY1" fmla="*/ 8041 h 8040"/>
                  <a:gd name="connsiteX2" fmla="*/ 0 w 5131"/>
                  <a:gd name="connsiteY2" fmla="*/ 6477 h 8040"/>
                  <a:gd name="connsiteX3" fmla="*/ 549 w 5131"/>
                  <a:gd name="connsiteY3" fmla="*/ 4226 h 8040"/>
                  <a:gd name="connsiteX4" fmla="*/ 3815 w 5131"/>
                  <a:gd name="connsiteY4" fmla="*/ 0 h 8040"/>
                  <a:gd name="connsiteX5" fmla="*/ 5132 w 5131"/>
                  <a:gd name="connsiteY5" fmla="*/ 384 h 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1" h="8040">
                    <a:moveTo>
                      <a:pt x="5132" y="384"/>
                    </a:moveTo>
                    <a:lnTo>
                      <a:pt x="4473" y="8041"/>
                    </a:lnTo>
                    <a:lnTo>
                      <a:pt x="0" y="6477"/>
                    </a:lnTo>
                    <a:lnTo>
                      <a:pt x="549" y="4226"/>
                    </a:lnTo>
                    <a:lnTo>
                      <a:pt x="3815" y="0"/>
                    </a:lnTo>
                    <a:lnTo>
                      <a:pt x="5132"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5" name="Freeform: Shape 4274">
                <a:extLst>
                  <a:ext uri="{FF2B5EF4-FFF2-40B4-BE49-F238E27FC236}">
                    <a16:creationId xmlns:a16="http://schemas.microsoft.com/office/drawing/2014/main" id="{F8D47DDE-D938-1A70-1914-F4B6C92C50E5}"/>
                  </a:ext>
                </a:extLst>
              </p:cNvPr>
              <p:cNvSpPr/>
              <p:nvPr/>
            </p:nvSpPr>
            <p:spPr>
              <a:xfrm>
                <a:off x="866413" y="3589357"/>
                <a:ext cx="850" cy="624"/>
              </a:xfrm>
              <a:custGeom>
                <a:avLst/>
                <a:gdLst>
                  <a:gd name="connsiteX0" fmla="*/ 8151 w 8150"/>
                  <a:gd name="connsiteY0" fmla="*/ 5104 h 5982"/>
                  <a:gd name="connsiteX1" fmla="*/ 1262 w 8150"/>
                  <a:gd name="connsiteY1" fmla="*/ 5983 h 5982"/>
                  <a:gd name="connsiteX2" fmla="*/ 0 w 8150"/>
                  <a:gd name="connsiteY2" fmla="*/ 4885 h 5982"/>
                  <a:gd name="connsiteX3" fmla="*/ 961 w 8150"/>
                  <a:gd name="connsiteY3" fmla="*/ 1592 h 5982"/>
                  <a:gd name="connsiteX4" fmla="*/ 4748 w 8150"/>
                  <a:gd name="connsiteY4" fmla="*/ 0 h 5982"/>
                  <a:gd name="connsiteX5" fmla="*/ 7931 w 8150"/>
                  <a:gd name="connsiteY5" fmla="*/ 1537 h 5982"/>
                  <a:gd name="connsiteX6" fmla="*/ 8151 w 8150"/>
                  <a:gd name="connsiteY6" fmla="*/ 5104 h 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0" h="5982">
                    <a:moveTo>
                      <a:pt x="8151" y="5104"/>
                    </a:moveTo>
                    <a:lnTo>
                      <a:pt x="1262" y="5983"/>
                    </a:lnTo>
                    <a:lnTo>
                      <a:pt x="0" y="4885"/>
                    </a:lnTo>
                    <a:lnTo>
                      <a:pt x="961" y="1592"/>
                    </a:lnTo>
                    <a:lnTo>
                      <a:pt x="4748" y="0"/>
                    </a:lnTo>
                    <a:lnTo>
                      <a:pt x="7931" y="1537"/>
                    </a:lnTo>
                    <a:lnTo>
                      <a:pt x="8151" y="51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6" name="Freeform: Shape 4275">
                <a:extLst>
                  <a:ext uri="{FF2B5EF4-FFF2-40B4-BE49-F238E27FC236}">
                    <a16:creationId xmlns:a16="http://schemas.microsoft.com/office/drawing/2014/main" id="{5ED93CFE-9766-B417-D77F-FACA7FB611AA}"/>
                  </a:ext>
                </a:extLst>
              </p:cNvPr>
              <p:cNvSpPr/>
              <p:nvPr/>
            </p:nvSpPr>
            <p:spPr>
              <a:xfrm>
                <a:off x="844361" y="3652543"/>
                <a:ext cx="601" cy="635"/>
              </a:xfrm>
              <a:custGeom>
                <a:avLst/>
                <a:gdLst>
                  <a:gd name="connsiteX0" fmla="*/ 5653 w 5763"/>
                  <a:gd name="connsiteY0" fmla="*/ 4062 h 6092"/>
                  <a:gd name="connsiteX1" fmla="*/ 3622 w 5763"/>
                  <a:gd name="connsiteY1" fmla="*/ 6092 h 6092"/>
                  <a:gd name="connsiteX2" fmla="*/ 0 w 5763"/>
                  <a:gd name="connsiteY2" fmla="*/ 2415 h 6092"/>
                  <a:gd name="connsiteX3" fmla="*/ 2223 w 5763"/>
                  <a:gd name="connsiteY3" fmla="*/ 0 h 6092"/>
                  <a:gd name="connsiteX4" fmla="*/ 5763 w 5763"/>
                  <a:gd name="connsiteY4" fmla="*/ 1372 h 6092"/>
                  <a:gd name="connsiteX5" fmla="*/ 5681 w 5763"/>
                  <a:gd name="connsiteY5" fmla="*/ 4062 h 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3" h="6092">
                    <a:moveTo>
                      <a:pt x="5653" y="4062"/>
                    </a:moveTo>
                    <a:lnTo>
                      <a:pt x="3622" y="6092"/>
                    </a:lnTo>
                    <a:lnTo>
                      <a:pt x="0" y="2415"/>
                    </a:lnTo>
                    <a:lnTo>
                      <a:pt x="2223" y="0"/>
                    </a:lnTo>
                    <a:lnTo>
                      <a:pt x="5763" y="1372"/>
                    </a:lnTo>
                    <a:lnTo>
                      <a:pt x="5681" y="40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7" name="Freeform: Shape 4276">
                <a:extLst>
                  <a:ext uri="{FF2B5EF4-FFF2-40B4-BE49-F238E27FC236}">
                    <a16:creationId xmlns:a16="http://schemas.microsoft.com/office/drawing/2014/main" id="{1D6B4523-068C-92B4-FA18-FE8688D97E1E}"/>
                  </a:ext>
                </a:extLst>
              </p:cNvPr>
              <p:cNvSpPr/>
              <p:nvPr/>
            </p:nvSpPr>
            <p:spPr>
              <a:xfrm>
                <a:off x="842604" y="3629367"/>
                <a:ext cx="801" cy="495"/>
              </a:xfrm>
              <a:custGeom>
                <a:avLst/>
                <a:gdLst>
                  <a:gd name="connsiteX0" fmla="*/ 7684 w 7684"/>
                  <a:gd name="connsiteY0" fmla="*/ 2552 h 4747"/>
                  <a:gd name="connsiteX1" fmla="*/ 4309 w 7684"/>
                  <a:gd name="connsiteY1" fmla="*/ 4748 h 4747"/>
                  <a:gd name="connsiteX2" fmla="*/ 0 w 7684"/>
                  <a:gd name="connsiteY2" fmla="*/ 3183 h 4747"/>
                  <a:gd name="connsiteX3" fmla="*/ 604 w 7684"/>
                  <a:gd name="connsiteY3" fmla="*/ 933 h 4747"/>
                  <a:gd name="connsiteX4" fmla="*/ 7190 w 7684"/>
                  <a:gd name="connsiteY4" fmla="*/ 0 h 4747"/>
                  <a:gd name="connsiteX5" fmla="*/ 7684 w 7684"/>
                  <a:gd name="connsiteY5" fmla="*/ 2552 h 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84" h="4747">
                    <a:moveTo>
                      <a:pt x="7684" y="2552"/>
                    </a:moveTo>
                    <a:lnTo>
                      <a:pt x="4309" y="4748"/>
                    </a:lnTo>
                    <a:lnTo>
                      <a:pt x="0" y="3183"/>
                    </a:lnTo>
                    <a:lnTo>
                      <a:pt x="604" y="933"/>
                    </a:lnTo>
                    <a:lnTo>
                      <a:pt x="7190" y="0"/>
                    </a:lnTo>
                    <a:lnTo>
                      <a:pt x="7684"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8" name="Freeform: Shape 4277">
                <a:extLst>
                  <a:ext uri="{FF2B5EF4-FFF2-40B4-BE49-F238E27FC236}">
                    <a16:creationId xmlns:a16="http://schemas.microsoft.com/office/drawing/2014/main" id="{8C675984-DF1F-6D35-49B5-DD3FBED2525E}"/>
                  </a:ext>
                </a:extLst>
              </p:cNvPr>
              <p:cNvSpPr/>
              <p:nvPr/>
            </p:nvSpPr>
            <p:spPr>
              <a:xfrm>
                <a:off x="912926" y="3608414"/>
                <a:ext cx="578" cy="753"/>
              </a:xfrm>
              <a:custGeom>
                <a:avLst/>
                <a:gdLst>
                  <a:gd name="connsiteX0" fmla="*/ 5543 w 5543"/>
                  <a:gd name="connsiteY0" fmla="*/ 4528 h 7217"/>
                  <a:gd name="connsiteX1" fmla="*/ 3101 w 5543"/>
                  <a:gd name="connsiteY1" fmla="*/ 7218 h 7217"/>
                  <a:gd name="connsiteX2" fmla="*/ 0 w 5543"/>
                  <a:gd name="connsiteY2" fmla="*/ 5077 h 7217"/>
                  <a:gd name="connsiteX3" fmla="*/ 467 w 5543"/>
                  <a:gd name="connsiteY3" fmla="*/ 768 h 7217"/>
                  <a:gd name="connsiteX4" fmla="*/ 3238 w 5543"/>
                  <a:gd name="connsiteY4" fmla="*/ 0 h 7217"/>
                  <a:gd name="connsiteX5" fmla="*/ 5516 w 5543"/>
                  <a:gd name="connsiteY5" fmla="*/ 4555 h 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3" h="7217">
                    <a:moveTo>
                      <a:pt x="5543" y="4528"/>
                    </a:moveTo>
                    <a:lnTo>
                      <a:pt x="3101" y="7218"/>
                    </a:lnTo>
                    <a:lnTo>
                      <a:pt x="0" y="5077"/>
                    </a:lnTo>
                    <a:lnTo>
                      <a:pt x="467" y="768"/>
                    </a:lnTo>
                    <a:lnTo>
                      <a:pt x="3238" y="0"/>
                    </a:lnTo>
                    <a:lnTo>
                      <a:pt x="5516" y="45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79" name="Freeform: Shape 4278">
                <a:extLst>
                  <a:ext uri="{FF2B5EF4-FFF2-40B4-BE49-F238E27FC236}">
                    <a16:creationId xmlns:a16="http://schemas.microsoft.com/office/drawing/2014/main" id="{016EDD3D-D3EC-B661-602C-A0D8F9ACBF2A}"/>
                  </a:ext>
                </a:extLst>
              </p:cNvPr>
              <p:cNvSpPr/>
              <p:nvPr/>
            </p:nvSpPr>
            <p:spPr>
              <a:xfrm>
                <a:off x="1110770" y="3766218"/>
                <a:ext cx="498" cy="472"/>
              </a:xfrm>
              <a:custGeom>
                <a:avLst/>
                <a:gdLst>
                  <a:gd name="connsiteX0" fmla="*/ 4309 w 4775"/>
                  <a:gd name="connsiteY0" fmla="*/ 1537 h 4528"/>
                  <a:gd name="connsiteX1" fmla="*/ 1015 w 4775"/>
                  <a:gd name="connsiteY1" fmla="*/ 4528 h 4528"/>
                  <a:gd name="connsiteX2" fmla="*/ 0 w 4775"/>
                  <a:gd name="connsiteY2" fmla="*/ 3924 h 4528"/>
                  <a:gd name="connsiteX3" fmla="*/ 2360 w 4775"/>
                  <a:gd name="connsiteY3" fmla="*/ 961 h 4528"/>
                  <a:gd name="connsiteX4" fmla="*/ 4775 w 4775"/>
                  <a:gd name="connsiteY4" fmla="*/ 0 h 4528"/>
                  <a:gd name="connsiteX5" fmla="*/ 4309 w 4775"/>
                  <a:gd name="connsiteY5" fmla="*/ 1537 h 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 h="4528">
                    <a:moveTo>
                      <a:pt x="4309" y="1537"/>
                    </a:moveTo>
                    <a:lnTo>
                      <a:pt x="1015" y="4528"/>
                    </a:lnTo>
                    <a:lnTo>
                      <a:pt x="0" y="3924"/>
                    </a:lnTo>
                    <a:lnTo>
                      <a:pt x="2360" y="961"/>
                    </a:lnTo>
                    <a:lnTo>
                      <a:pt x="4775" y="0"/>
                    </a:lnTo>
                    <a:lnTo>
                      <a:pt x="4309" y="15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0" name="Freeform: Shape 4279">
                <a:extLst>
                  <a:ext uri="{FF2B5EF4-FFF2-40B4-BE49-F238E27FC236}">
                    <a16:creationId xmlns:a16="http://schemas.microsoft.com/office/drawing/2014/main" id="{A2DBD558-097D-17B7-2D2A-0F4A2F49B231}"/>
                  </a:ext>
                </a:extLst>
              </p:cNvPr>
              <p:cNvSpPr/>
              <p:nvPr/>
            </p:nvSpPr>
            <p:spPr>
              <a:xfrm>
                <a:off x="824912" y="3656527"/>
                <a:ext cx="521" cy="650"/>
              </a:xfrm>
              <a:custGeom>
                <a:avLst/>
                <a:gdLst>
                  <a:gd name="connsiteX0" fmla="*/ 4995 w 4994"/>
                  <a:gd name="connsiteY0" fmla="*/ 2168 h 6229"/>
                  <a:gd name="connsiteX1" fmla="*/ 4007 w 4994"/>
                  <a:gd name="connsiteY1" fmla="*/ 6230 h 6229"/>
                  <a:gd name="connsiteX2" fmla="*/ 0 w 4994"/>
                  <a:gd name="connsiteY2" fmla="*/ 4254 h 6229"/>
                  <a:gd name="connsiteX3" fmla="*/ 1070 w 4994"/>
                  <a:gd name="connsiteY3" fmla="*/ 0 h 6229"/>
                  <a:gd name="connsiteX4" fmla="*/ 2854 w 4994"/>
                  <a:gd name="connsiteY4" fmla="*/ 0 h 6229"/>
                  <a:gd name="connsiteX5" fmla="*/ 4995 w 4994"/>
                  <a:gd name="connsiteY5" fmla="*/ 2168 h 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4" h="6229">
                    <a:moveTo>
                      <a:pt x="4995" y="2168"/>
                    </a:moveTo>
                    <a:lnTo>
                      <a:pt x="4007" y="6230"/>
                    </a:lnTo>
                    <a:lnTo>
                      <a:pt x="0" y="4254"/>
                    </a:lnTo>
                    <a:lnTo>
                      <a:pt x="1070" y="0"/>
                    </a:lnTo>
                    <a:lnTo>
                      <a:pt x="2854" y="0"/>
                    </a:lnTo>
                    <a:lnTo>
                      <a:pt x="4995" y="216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1" name="Freeform: Shape 4280">
                <a:extLst>
                  <a:ext uri="{FF2B5EF4-FFF2-40B4-BE49-F238E27FC236}">
                    <a16:creationId xmlns:a16="http://schemas.microsoft.com/office/drawing/2014/main" id="{2C72CEA0-DD1D-856C-3273-B393FAB49416}"/>
                  </a:ext>
                </a:extLst>
              </p:cNvPr>
              <p:cNvSpPr/>
              <p:nvPr/>
            </p:nvSpPr>
            <p:spPr>
              <a:xfrm>
                <a:off x="916277" y="3615960"/>
                <a:ext cx="475" cy="850"/>
              </a:xfrm>
              <a:custGeom>
                <a:avLst/>
                <a:gdLst>
                  <a:gd name="connsiteX0" fmla="*/ 4556 w 4555"/>
                  <a:gd name="connsiteY0" fmla="*/ 2964 h 8150"/>
                  <a:gd name="connsiteX1" fmla="*/ 1482 w 4555"/>
                  <a:gd name="connsiteY1" fmla="*/ 8150 h 8150"/>
                  <a:gd name="connsiteX2" fmla="*/ 0 w 4555"/>
                  <a:gd name="connsiteY2" fmla="*/ 6970 h 8150"/>
                  <a:gd name="connsiteX3" fmla="*/ 3897 w 4555"/>
                  <a:gd name="connsiteY3" fmla="*/ 0 h 8150"/>
                  <a:gd name="connsiteX4" fmla="*/ 4556 w 4555"/>
                  <a:gd name="connsiteY4" fmla="*/ 2991 h 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8150">
                    <a:moveTo>
                      <a:pt x="4556" y="2964"/>
                    </a:moveTo>
                    <a:lnTo>
                      <a:pt x="1482" y="8150"/>
                    </a:lnTo>
                    <a:lnTo>
                      <a:pt x="0" y="6970"/>
                    </a:lnTo>
                    <a:lnTo>
                      <a:pt x="3897" y="0"/>
                    </a:lnTo>
                    <a:lnTo>
                      <a:pt x="4556" y="29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2" name="Freeform: Shape 4281">
                <a:extLst>
                  <a:ext uri="{FF2B5EF4-FFF2-40B4-BE49-F238E27FC236}">
                    <a16:creationId xmlns:a16="http://schemas.microsoft.com/office/drawing/2014/main" id="{627967AF-785D-7F09-43BC-6EAEF5DE31F4}"/>
                  </a:ext>
                </a:extLst>
              </p:cNvPr>
              <p:cNvSpPr/>
              <p:nvPr/>
            </p:nvSpPr>
            <p:spPr>
              <a:xfrm>
                <a:off x="864432" y="3642817"/>
                <a:ext cx="644" cy="538"/>
              </a:xfrm>
              <a:custGeom>
                <a:avLst/>
                <a:gdLst>
                  <a:gd name="connsiteX0" fmla="*/ 6175 w 6174"/>
                  <a:gd name="connsiteY0" fmla="*/ 2964 h 5159"/>
                  <a:gd name="connsiteX1" fmla="*/ 5159 w 6174"/>
                  <a:gd name="connsiteY1" fmla="*/ 5159 h 5159"/>
                  <a:gd name="connsiteX2" fmla="*/ 0 w 6174"/>
                  <a:gd name="connsiteY2" fmla="*/ 2964 h 5159"/>
                  <a:gd name="connsiteX3" fmla="*/ 247 w 6174"/>
                  <a:gd name="connsiteY3" fmla="*/ 1180 h 5159"/>
                  <a:gd name="connsiteX4" fmla="*/ 3650 w 6174"/>
                  <a:gd name="connsiteY4" fmla="*/ 0 h 5159"/>
                  <a:gd name="connsiteX5" fmla="*/ 6175 w 6174"/>
                  <a:gd name="connsiteY5" fmla="*/ 2964 h 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74" h="5159">
                    <a:moveTo>
                      <a:pt x="6175" y="2964"/>
                    </a:moveTo>
                    <a:lnTo>
                      <a:pt x="5159" y="5159"/>
                    </a:lnTo>
                    <a:lnTo>
                      <a:pt x="0" y="2964"/>
                    </a:lnTo>
                    <a:lnTo>
                      <a:pt x="247" y="1180"/>
                    </a:lnTo>
                    <a:lnTo>
                      <a:pt x="3650" y="0"/>
                    </a:lnTo>
                    <a:lnTo>
                      <a:pt x="6175" y="29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3" name="Freeform: Shape 4282">
                <a:extLst>
                  <a:ext uri="{FF2B5EF4-FFF2-40B4-BE49-F238E27FC236}">
                    <a16:creationId xmlns:a16="http://schemas.microsoft.com/office/drawing/2014/main" id="{DBF8C955-B79C-7515-DB62-A267F4A6C805}"/>
                  </a:ext>
                </a:extLst>
              </p:cNvPr>
              <p:cNvSpPr/>
              <p:nvPr/>
            </p:nvSpPr>
            <p:spPr>
              <a:xfrm>
                <a:off x="894332" y="3616549"/>
                <a:ext cx="627" cy="587"/>
              </a:xfrm>
              <a:custGeom>
                <a:avLst/>
                <a:gdLst>
                  <a:gd name="connsiteX0" fmla="*/ 6010 w 6010"/>
                  <a:gd name="connsiteY0" fmla="*/ 4501 h 5625"/>
                  <a:gd name="connsiteX1" fmla="*/ 1317 w 6010"/>
                  <a:gd name="connsiteY1" fmla="*/ 5626 h 5625"/>
                  <a:gd name="connsiteX2" fmla="*/ 0 w 6010"/>
                  <a:gd name="connsiteY2" fmla="*/ 4610 h 5625"/>
                  <a:gd name="connsiteX3" fmla="*/ 604 w 6010"/>
                  <a:gd name="connsiteY3" fmla="*/ 1345 h 5625"/>
                  <a:gd name="connsiteX4" fmla="*/ 5159 w 6010"/>
                  <a:gd name="connsiteY4" fmla="*/ 0 h 5625"/>
                  <a:gd name="connsiteX5" fmla="*/ 6010 w 6010"/>
                  <a:gd name="connsiteY5" fmla="*/ 4501 h 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0" h="5625">
                    <a:moveTo>
                      <a:pt x="6010" y="4501"/>
                    </a:moveTo>
                    <a:lnTo>
                      <a:pt x="1317" y="5626"/>
                    </a:lnTo>
                    <a:lnTo>
                      <a:pt x="0" y="4610"/>
                    </a:lnTo>
                    <a:lnTo>
                      <a:pt x="604" y="1345"/>
                    </a:lnTo>
                    <a:lnTo>
                      <a:pt x="5159" y="0"/>
                    </a:lnTo>
                    <a:lnTo>
                      <a:pt x="6010" y="45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4" name="Freeform: Shape 4283">
                <a:extLst>
                  <a:ext uri="{FF2B5EF4-FFF2-40B4-BE49-F238E27FC236}">
                    <a16:creationId xmlns:a16="http://schemas.microsoft.com/office/drawing/2014/main" id="{FE2EED62-D077-CB51-E34C-14B81BA7FBDD}"/>
                  </a:ext>
                </a:extLst>
              </p:cNvPr>
              <p:cNvSpPr/>
              <p:nvPr/>
            </p:nvSpPr>
            <p:spPr>
              <a:xfrm>
                <a:off x="873689" y="3641763"/>
                <a:ext cx="441" cy="610"/>
              </a:xfrm>
              <a:custGeom>
                <a:avLst/>
                <a:gdLst>
                  <a:gd name="connsiteX0" fmla="*/ 4226 w 4226"/>
                  <a:gd name="connsiteY0" fmla="*/ 3485 h 5845"/>
                  <a:gd name="connsiteX1" fmla="*/ 2195 w 4226"/>
                  <a:gd name="connsiteY1" fmla="*/ 5845 h 5845"/>
                  <a:gd name="connsiteX2" fmla="*/ 0 w 4226"/>
                  <a:gd name="connsiteY2" fmla="*/ 2223 h 5845"/>
                  <a:gd name="connsiteX3" fmla="*/ 1729 w 4226"/>
                  <a:gd name="connsiteY3" fmla="*/ 0 h 5845"/>
                  <a:gd name="connsiteX4" fmla="*/ 4226 w 4226"/>
                  <a:gd name="connsiteY4" fmla="*/ 3485 h 5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 h="5845">
                    <a:moveTo>
                      <a:pt x="4226" y="3485"/>
                    </a:moveTo>
                    <a:lnTo>
                      <a:pt x="2195" y="5845"/>
                    </a:lnTo>
                    <a:lnTo>
                      <a:pt x="0" y="2223"/>
                    </a:lnTo>
                    <a:lnTo>
                      <a:pt x="1729" y="0"/>
                    </a:lnTo>
                    <a:lnTo>
                      <a:pt x="4226" y="34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5" name="Freeform: Shape 4284">
                <a:extLst>
                  <a:ext uri="{FF2B5EF4-FFF2-40B4-BE49-F238E27FC236}">
                    <a16:creationId xmlns:a16="http://schemas.microsoft.com/office/drawing/2014/main" id="{9B03FF53-787C-248A-5895-80A750891AF6}"/>
                  </a:ext>
                </a:extLst>
              </p:cNvPr>
              <p:cNvSpPr/>
              <p:nvPr/>
            </p:nvSpPr>
            <p:spPr>
              <a:xfrm>
                <a:off x="884259" y="3634828"/>
                <a:ext cx="449" cy="607"/>
              </a:xfrm>
              <a:custGeom>
                <a:avLst/>
                <a:gdLst>
                  <a:gd name="connsiteX0" fmla="*/ 3156 w 4308"/>
                  <a:gd name="connsiteY0" fmla="*/ 3815 h 5817"/>
                  <a:gd name="connsiteX1" fmla="*/ 1564 w 4308"/>
                  <a:gd name="connsiteY1" fmla="*/ 5818 h 5817"/>
                  <a:gd name="connsiteX2" fmla="*/ 0 w 4308"/>
                  <a:gd name="connsiteY2" fmla="*/ 2497 h 5817"/>
                  <a:gd name="connsiteX3" fmla="*/ 1811 w 4308"/>
                  <a:gd name="connsiteY3" fmla="*/ 0 h 5817"/>
                  <a:gd name="connsiteX4" fmla="*/ 3156 w 4308"/>
                  <a:gd name="connsiteY4" fmla="*/ 1262 h 5817"/>
                  <a:gd name="connsiteX5" fmla="*/ 4309 w 4308"/>
                  <a:gd name="connsiteY5" fmla="*/ 2333 h 5817"/>
                  <a:gd name="connsiteX6" fmla="*/ 3156 w 4308"/>
                  <a:gd name="connsiteY6" fmla="*/ 3815 h 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8" h="5817">
                    <a:moveTo>
                      <a:pt x="3156" y="3815"/>
                    </a:moveTo>
                    <a:lnTo>
                      <a:pt x="1564" y="5818"/>
                    </a:lnTo>
                    <a:lnTo>
                      <a:pt x="0" y="2497"/>
                    </a:lnTo>
                    <a:lnTo>
                      <a:pt x="1811" y="0"/>
                    </a:lnTo>
                    <a:lnTo>
                      <a:pt x="3156" y="1262"/>
                    </a:lnTo>
                    <a:lnTo>
                      <a:pt x="4309" y="2333"/>
                    </a:lnTo>
                    <a:lnTo>
                      <a:pt x="3156" y="38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6" name="Freeform: Shape 4285">
                <a:extLst>
                  <a:ext uri="{FF2B5EF4-FFF2-40B4-BE49-F238E27FC236}">
                    <a16:creationId xmlns:a16="http://schemas.microsoft.com/office/drawing/2014/main" id="{9F7A1272-D5F8-E201-A228-81BDC5717FA4}"/>
                  </a:ext>
                </a:extLst>
              </p:cNvPr>
              <p:cNvSpPr/>
              <p:nvPr/>
            </p:nvSpPr>
            <p:spPr>
              <a:xfrm>
                <a:off x="873156" y="3620224"/>
                <a:ext cx="329" cy="893"/>
              </a:xfrm>
              <a:custGeom>
                <a:avLst/>
                <a:gdLst>
                  <a:gd name="connsiteX0" fmla="*/ 3156 w 3155"/>
                  <a:gd name="connsiteY0" fmla="*/ 2936 h 8562"/>
                  <a:gd name="connsiteX1" fmla="*/ 1647 w 3155"/>
                  <a:gd name="connsiteY1" fmla="*/ 8562 h 8562"/>
                  <a:gd name="connsiteX2" fmla="*/ 0 w 3155"/>
                  <a:gd name="connsiteY2" fmla="*/ 4583 h 8562"/>
                  <a:gd name="connsiteX3" fmla="*/ 1647 w 3155"/>
                  <a:gd name="connsiteY3" fmla="*/ 0 h 8562"/>
                  <a:gd name="connsiteX4" fmla="*/ 3128 w 3155"/>
                  <a:gd name="connsiteY4" fmla="*/ 2936 h 8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5" h="8562">
                    <a:moveTo>
                      <a:pt x="3156" y="2936"/>
                    </a:moveTo>
                    <a:lnTo>
                      <a:pt x="1647" y="8562"/>
                    </a:lnTo>
                    <a:lnTo>
                      <a:pt x="0" y="4583"/>
                    </a:lnTo>
                    <a:lnTo>
                      <a:pt x="1647" y="0"/>
                    </a:lnTo>
                    <a:lnTo>
                      <a:pt x="3128" y="29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7" name="Freeform: Shape 4286">
                <a:extLst>
                  <a:ext uri="{FF2B5EF4-FFF2-40B4-BE49-F238E27FC236}">
                    <a16:creationId xmlns:a16="http://schemas.microsoft.com/office/drawing/2014/main" id="{C09DEF56-54B1-EA9F-D8E8-A66E10FF4A66}"/>
                  </a:ext>
                </a:extLst>
              </p:cNvPr>
              <p:cNvSpPr/>
              <p:nvPr/>
            </p:nvSpPr>
            <p:spPr>
              <a:xfrm>
                <a:off x="820152" y="3658248"/>
                <a:ext cx="449" cy="538"/>
              </a:xfrm>
              <a:custGeom>
                <a:avLst/>
                <a:gdLst>
                  <a:gd name="connsiteX0" fmla="*/ 4309 w 4308"/>
                  <a:gd name="connsiteY0" fmla="*/ 3019 h 5159"/>
                  <a:gd name="connsiteX1" fmla="*/ 2360 w 4308"/>
                  <a:gd name="connsiteY1" fmla="*/ 5159 h 5159"/>
                  <a:gd name="connsiteX2" fmla="*/ 0 w 4308"/>
                  <a:gd name="connsiteY2" fmla="*/ 2772 h 5159"/>
                  <a:gd name="connsiteX3" fmla="*/ 3348 w 4308"/>
                  <a:gd name="connsiteY3" fmla="*/ 0 h 5159"/>
                  <a:gd name="connsiteX4" fmla="*/ 4309 w 4308"/>
                  <a:gd name="connsiteY4" fmla="*/ 3019 h 5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5159">
                    <a:moveTo>
                      <a:pt x="4309" y="3019"/>
                    </a:moveTo>
                    <a:lnTo>
                      <a:pt x="2360" y="5159"/>
                    </a:lnTo>
                    <a:lnTo>
                      <a:pt x="0" y="2772"/>
                    </a:lnTo>
                    <a:lnTo>
                      <a:pt x="3348" y="0"/>
                    </a:lnTo>
                    <a:lnTo>
                      <a:pt x="4309"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8" name="Freeform: Shape 4287">
                <a:extLst>
                  <a:ext uri="{FF2B5EF4-FFF2-40B4-BE49-F238E27FC236}">
                    <a16:creationId xmlns:a16="http://schemas.microsoft.com/office/drawing/2014/main" id="{0CCBB10B-4E22-10B6-347F-6FCE64CFAC36}"/>
                  </a:ext>
                </a:extLst>
              </p:cNvPr>
              <p:cNvSpPr/>
              <p:nvPr/>
            </p:nvSpPr>
            <p:spPr>
              <a:xfrm>
                <a:off x="984707" y="3682323"/>
                <a:ext cx="326" cy="653"/>
              </a:xfrm>
              <a:custGeom>
                <a:avLst/>
                <a:gdLst>
                  <a:gd name="connsiteX0" fmla="*/ 3129 w 3128"/>
                  <a:gd name="connsiteY0" fmla="*/ 1701 h 6257"/>
                  <a:gd name="connsiteX1" fmla="*/ 2195 w 3128"/>
                  <a:gd name="connsiteY1" fmla="*/ 6257 h 6257"/>
                  <a:gd name="connsiteX2" fmla="*/ 0 w 3128"/>
                  <a:gd name="connsiteY2" fmla="*/ 2251 h 6257"/>
                  <a:gd name="connsiteX3" fmla="*/ 988 w 3128"/>
                  <a:gd name="connsiteY3" fmla="*/ 0 h 6257"/>
                  <a:gd name="connsiteX4" fmla="*/ 3129 w 3128"/>
                  <a:gd name="connsiteY4" fmla="*/ 1701 h 6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8" h="6257">
                    <a:moveTo>
                      <a:pt x="3129" y="1701"/>
                    </a:moveTo>
                    <a:lnTo>
                      <a:pt x="2195" y="6257"/>
                    </a:lnTo>
                    <a:lnTo>
                      <a:pt x="0" y="2251"/>
                    </a:lnTo>
                    <a:lnTo>
                      <a:pt x="988" y="0"/>
                    </a:lnTo>
                    <a:lnTo>
                      <a:pt x="3129"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89" name="Freeform: Shape 4288">
                <a:extLst>
                  <a:ext uri="{FF2B5EF4-FFF2-40B4-BE49-F238E27FC236}">
                    <a16:creationId xmlns:a16="http://schemas.microsoft.com/office/drawing/2014/main" id="{FD8FFDA0-DC32-60CB-69F6-322B24FB5642}"/>
                  </a:ext>
                </a:extLst>
              </p:cNvPr>
              <p:cNvSpPr/>
              <p:nvPr/>
            </p:nvSpPr>
            <p:spPr>
              <a:xfrm>
                <a:off x="839813" y="3654346"/>
                <a:ext cx="472" cy="507"/>
              </a:xfrm>
              <a:custGeom>
                <a:avLst/>
                <a:gdLst>
                  <a:gd name="connsiteX0" fmla="*/ 4528 w 4528"/>
                  <a:gd name="connsiteY0" fmla="*/ 2196 h 4857"/>
                  <a:gd name="connsiteX1" fmla="*/ 2882 w 4528"/>
                  <a:gd name="connsiteY1" fmla="*/ 4857 h 4857"/>
                  <a:gd name="connsiteX2" fmla="*/ 0 w 4528"/>
                  <a:gd name="connsiteY2" fmla="*/ 3595 h 4857"/>
                  <a:gd name="connsiteX3" fmla="*/ 2223 w 4528"/>
                  <a:gd name="connsiteY3" fmla="*/ 0 h 4857"/>
                  <a:gd name="connsiteX4" fmla="*/ 4528 w 4528"/>
                  <a:gd name="connsiteY4" fmla="*/ 2196 h 4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8" h="4857">
                    <a:moveTo>
                      <a:pt x="4528" y="2196"/>
                    </a:moveTo>
                    <a:lnTo>
                      <a:pt x="2882" y="4857"/>
                    </a:lnTo>
                    <a:lnTo>
                      <a:pt x="0" y="3595"/>
                    </a:lnTo>
                    <a:lnTo>
                      <a:pt x="2223" y="0"/>
                    </a:lnTo>
                    <a:lnTo>
                      <a:pt x="4528" y="21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0" name="Freeform: Shape 4289">
                <a:extLst>
                  <a:ext uri="{FF2B5EF4-FFF2-40B4-BE49-F238E27FC236}">
                    <a16:creationId xmlns:a16="http://schemas.microsoft.com/office/drawing/2014/main" id="{70ACAD25-D6BE-2505-887C-29341A96C25B}"/>
                  </a:ext>
                </a:extLst>
              </p:cNvPr>
              <p:cNvSpPr/>
              <p:nvPr/>
            </p:nvSpPr>
            <p:spPr>
              <a:xfrm>
                <a:off x="834191" y="3608535"/>
                <a:ext cx="452" cy="658"/>
              </a:xfrm>
              <a:custGeom>
                <a:avLst/>
                <a:gdLst>
                  <a:gd name="connsiteX0" fmla="*/ 4309 w 4335"/>
                  <a:gd name="connsiteY0" fmla="*/ 2772 h 6311"/>
                  <a:gd name="connsiteX1" fmla="*/ 2607 w 4335"/>
                  <a:gd name="connsiteY1" fmla="*/ 6312 h 6311"/>
                  <a:gd name="connsiteX2" fmla="*/ 0 w 4335"/>
                  <a:gd name="connsiteY2" fmla="*/ 4116 h 6311"/>
                  <a:gd name="connsiteX3" fmla="*/ 1729 w 4335"/>
                  <a:gd name="connsiteY3" fmla="*/ 0 h 6311"/>
                  <a:gd name="connsiteX4" fmla="*/ 4336 w 4335"/>
                  <a:gd name="connsiteY4" fmla="*/ 2772 h 6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5" h="6311">
                    <a:moveTo>
                      <a:pt x="4309" y="2772"/>
                    </a:moveTo>
                    <a:lnTo>
                      <a:pt x="2607" y="6312"/>
                    </a:lnTo>
                    <a:lnTo>
                      <a:pt x="0" y="4116"/>
                    </a:lnTo>
                    <a:lnTo>
                      <a:pt x="1729" y="0"/>
                    </a:lnTo>
                    <a:lnTo>
                      <a:pt x="4336"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1" name="Freeform: Shape 4290">
                <a:extLst>
                  <a:ext uri="{FF2B5EF4-FFF2-40B4-BE49-F238E27FC236}">
                    <a16:creationId xmlns:a16="http://schemas.microsoft.com/office/drawing/2014/main" id="{CD5B694C-0EA7-A8BA-FCC0-EF0A9D06FDD1}"/>
                  </a:ext>
                </a:extLst>
              </p:cNvPr>
              <p:cNvSpPr/>
              <p:nvPr/>
            </p:nvSpPr>
            <p:spPr>
              <a:xfrm>
                <a:off x="899407" y="3623281"/>
                <a:ext cx="375" cy="733"/>
              </a:xfrm>
              <a:custGeom>
                <a:avLst/>
                <a:gdLst>
                  <a:gd name="connsiteX0" fmla="*/ 3568 w 3595"/>
                  <a:gd name="connsiteY0" fmla="*/ 4171 h 7025"/>
                  <a:gd name="connsiteX1" fmla="*/ 933 w 3595"/>
                  <a:gd name="connsiteY1" fmla="*/ 7025 h 7025"/>
                  <a:gd name="connsiteX2" fmla="*/ 0 w 3595"/>
                  <a:gd name="connsiteY2" fmla="*/ 3622 h 7025"/>
                  <a:gd name="connsiteX3" fmla="*/ 3129 w 3595"/>
                  <a:gd name="connsiteY3" fmla="*/ 0 h 7025"/>
                  <a:gd name="connsiteX4" fmla="*/ 3595 w 3595"/>
                  <a:gd name="connsiteY4" fmla="*/ 4199 h 7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7025">
                    <a:moveTo>
                      <a:pt x="3568" y="4171"/>
                    </a:moveTo>
                    <a:lnTo>
                      <a:pt x="933" y="7025"/>
                    </a:lnTo>
                    <a:lnTo>
                      <a:pt x="0" y="3622"/>
                    </a:lnTo>
                    <a:lnTo>
                      <a:pt x="3129" y="0"/>
                    </a:lnTo>
                    <a:lnTo>
                      <a:pt x="3595" y="41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2" name="Freeform: Shape 4291">
                <a:extLst>
                  <a:ext uri="{FF2B5EF4-FFF2-40B4-BE49-F238E27FC236}">
                    <a16:creationId xmlns:a16="http://schemas.microsoft.com/office/drawing/2014/main" id="{0A004FAE-4FF7-5E8F-0400-272E85454198}"/>
                  </a:ext>
                </a:extLst>
              </p:cNvPr>
              <p:cNvSpPr/>
              <p:nvPr/>
            </p:nvSpPr>
            <p:spPr>
              <a:xfrm>
                <a:off x="906276" y="3614068"/>
                <a:ext cx="432" cy="644"/>
              </a:xfrm>
              <a:custGeom>
                <a:avLst/>
                <a:gdLst>
                  <a:gd name="connsiteX0" fmla="*/ 4144 w 4143"/>
                  <a:gd name="connsiteY0" fmla="*/ 3211 h 6174"/>
                  <a:gd name="connsiteX1" fmla="*/ 4089 w 4143"/>
                  <a:gd name="connsiteY1" fmla="*/ 6175 h 6174"/>
                  <a:gd name="connsiteX2" fmla="*/ 1509 w 4143"/>
                  <a:gd name="connsiteY2" fmla="*/ 5598 h 6174"/>
                  <a:gd name="connsiteX3" fmla="*/ 0 w 4143"/>
                  <a:gd name="connsiteY3" fmla="*/ 0 h 6174"/>
                  <a:gd name="connsiteX4" fmla="*/ 1262 w 4143"/>
                  <a:gd name="connsiteY4" fmla="*/ 0 h 6174"/>
                  <a:gd name="connsiteX5" fmla="*/ 4144 w 4143"/>
                  <a:gd name="connsiteY5" fmla="*/ 3211 h 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3" h="6174">
                    <a:moveTo>
                      <a:pt x="4144" y="3211"/>
                    </a:moveTo>
                    <a:lnTo>
                      <a:pt x="4089" y="6175"/>
                    </a:lnTo>
                    <a:lnTo>
                      <a:pt x="1509" y="5598"/>
                    </a:lnTo>
                    <a:lnTo>
                      <a:pt x="0" y="0"/>
                    </a:lnTo>
                    <a:lnTo>
                      <a:pt x="1262" y="0"/>
                    </a:lnTo>
                    <a:lnTo>
                      <a:pt x="4144"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3" name="Freeform: Shape 4292">
                <a:extLst>
                  <a:ext uri="{FF2B5EF4-FFF2-40B4-BE49-F238E27FC236}">
                    <a16:creationId xmlns:a16="http://schemas.microsoft.com/office/drawing/2014/main" id="{10A9421F-895C-81C3-2044-DBF60A4E9D5F}"/>
                  </a:ext>
                </a:extLst>
              </p:cNvPr>
              <p:cNvSpPr/>
              <p:nvPr/>
            </p:nvSpPr>
            <p:spPr>
              <a:xfrm>
                <a:off x="876508" y="3641918"/>
                <a:ext cx="544" cy="444"/>
              </a:xfrm>
              <a:custGeom>
                <a:avLst/>
                <a:gdLst>
                  <a:gd name="connsiteX0" fmla="*/ 4967 w 5214"/>
                  <a:gd name="connsiteY0" fmla="*/ 2717 h 4253"/>
                  <a:gd name="connsiteX1" fmla="*/ 1564 w 5214"/>
                  <a:gd name="connsiteY1" fmla="*/ 4254 h 4253"/>
                  <a:gd name="connsiteX2" fmla="*/ 0 w 5214"/>
                  <a:gd name="connsiteY2" fmla="*/ 1866 h 4253"/>
                  <a:gd name="connsiteX3" fmla="*/ 5214 w 5214"/>
                  <a:gd name="connsiteY3" fmla="*/ 0 h 4253"/>
                  <a:gd name="connsiteX4" fmla="*/ 4940 w 5214"/>
                  <a:gd name="connsiteY4" fmla="*/ 2744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4" h="4253">
                    <a:moveTo>
                      <a:pt x="4967" y="2717"/>
                    </a:moveTo>
                    <a:lnTo>
                      <a:pt x="1564" y="4254"/>
                    </a:lnTo>
                    <a:lnTo>
                      <a:pt x="0" y="1866"/>
                    </a:lnTo>
                    <a:lnTo>
                      <a:pt x="5214" y="0"/>
                    </a:lnTo>
                    <a:lnTo>
                      <a:pt x="4940"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4" name="Freeform: Shape 4293">
                <a:extLst>
                  <a:ext uri="{FF2B5EF4-FFF2-40B4-BE49-F238E27FC236}">
                    <a16:creationId xmlns:a16="http://schemas.microsoft.com/office/drawing/2014/main" id="{9E164DA0-FE71-271A-2E0D-37E5CFE397D4}"/>
                  </a:ext>
                </a:extLst>
              </p:cNvPr>
              <p:cNvSpPr/>
              <p:nvPr/>
            </p:nvSpPr>
            <p:spPr>
              <a:xfrm>
                <a:off x="844845" y="3632810"/>
                <a:ext cx="544" cy="461"/>
              </a:xfrm>
              <a:custGeom>
                <a:avLst/>
                <a:gdLst>
                  <a:gd name="connsiteX0" fmla="*/ 5214 w 5214"/>
                  <a:gd name="connsiteY0" fmla="*/ 384 h 4418"/>
                  <a:gd name="connsiteX1" fmla="*/ 3403 w 5214"/>
                  <a:gd name="connsiteY1" fmla="*/ 4418 h 4418"/>
                  <a:gd name="connsiteX2" fmla="*/ 357 w 5214"/>
                  <a:gd name="connsiteY2" fmla="*/ 3211 h 4418"/>
                  <a:gd name="connsiteX3" fmla="*/ 0 w 5214"/>
                  <a:gd name="connsiteY3" fmla="*/ 1070 h 4418"/>
                  <a:gd name="connsiteX4" fmla="*/ 467 w 5214"/>
                  <a:gd name="connsiteY4" fmla="*/ 0 h 4418"/>
                  <a:gd name="connsiteX5" fmla="*/ 5214 w 5214"/>
                  <a:gd name="connsiteY5" fmla="*/ 412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4" h="4418">
                    <a:moveTo>
                      <a:pt x="5214" y="384"/>
                    </a:moveTo>
                    <a:lnTo>
                      <a:pt x="3403" y="4418"/>
                    </a:lnTo>
                    <a:lnTo>
                      <a:pt x="357" y="3211"/>
                    </a:lnTo>
                    <a:lnTo>
                      <a:pt x="0" y="1070"/>
                    </a:lnTo>
                    <a:lnTo>
                      <a:pt x="467" y="0"/>
                    </a:lnTo>
                    <a:lnTo>
                      <a:pt x="5214" y="4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5" name="Freeform: Shape 4294">
                <a:extLst>
                  <a:ext uri="{FF2B5EF4-FFF2-40B4-BE49-F238E27FC236}">
                    <a16:creationId xmlns:a16="http://schemas.microsoft.com/office/drawing/2014/main" id="{A9678D51-A991-8E42-8CD7-DA5D17D28403}"/>
                  </a:ext>
                </a:extLst>
              </p:cNvPr>
              <p:cNvSpPr/>
              <p:nvPr/>
            </p:nvSpPr>
            <p:spPr>
              <a:xfrm>
                <a:off x="954450" y="3636488"/>
                <a:ext cx="412" cy="595"/>
              </a:xfrm>
              <a:custGeom>
                <a:avLst/>
                <a:gdLst>
                  <a:gd name="connsiteX0" fmla="*/ 3952 w 3951"/>
                  <a:gd name="connsiteY0" fmla="*/ 3348 h 5708"/>
                  <a:gd name="connsiteX1" fmla="*/ 1454 w 3951"/>
                  <a:gd name="connsiteY1" fmla="*/ 5708 h 5708"/>
                  <a:gd name="connsiteX2" fmla="*/ 0 w 3951"/>
                  <a:gd name="connsiteY2" fmla="*/ 2196 h 5708"/>
                  <a:gd name="connsiteX3" fmla="*/ 3430 w 3951"/>
                  <a:gd name="connsiteY3" fmla="*/ 0 h 5708"/>
                  <a:gd name="connsiteX4" fmla="*/ 3952 w 3951"/>
                  <a:gd name="connsiteY4" fmla="*/ 3348 h 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5708">
                    <a:moveTo>
                      <a:pt x="3952" y="3348"/>
                    </a:moveTo>
                    <a:lnTo>
                      <a:pt x="1454" y="5708"/>
                    </a:lnTo>
                    <a:lnTo>
                      <a:pt x="0" y="2196"/>
                    </a:lnTo>
                    <a:lnTo>
                      <a:pt x="3430" y="0"/>
                    </a:lnTo>
                    <a:lnTo>
                      <a:pt x="3952"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6" name="Freeform: Shape 4295">
                <a:extLst>
                  <a:ext uri="{FF2B5EF4-FFF2-40B4-BE49-F238E27FC236}">
                    <a16:creationId xmlns:a16="http://schemas.microsoft.com/office/drawing/2014/main" id="{3B6ACE95-0D8C-D4EB-30EA-BC813F1EB7D5}"/>
                  </a:ext>
                </a:extLst>
              </p:cNvPr>
              <p:cNvSpPr/>
              <p:nvPr/>
            </p:nvSpPr>
            <p:spPr>
              <a:xfrm>
                <a:off x="843397" y="3652346"/>
                <a:ext cx="532" cy="426"/>
              </a:xfrm>
              <a:custGeom>
                <a:avLst/>
                <a:gdLst>
                  <a:gd name="connsiteX0" fmla="*/ 5104 w 5104"/>
                  <a:gd name="connsiteY0" fmla="*/ 878 h 4088"/>
                  <a:gd name="connsiteX1" fmla="*/ 4391 w 5104"/>
                  <a:gd name="connsiteY1" fmla="*/ 4089 h 4088"/>
                  <a:gd name="connsiteX2" fmla="*/ 0 w 5104"/>
                  <a:gd name="connsiteY2" fmla="*/ 1674 h 4088"/>
                  <a:gd name="connsiteX3" fmla="*/ 1509 w 5104"/>
                  <a:gd name="connsiteY3" fmla="*/ 0 h 4088"/>
                  <a:gd name="connsiteX4" fmla="*/ 5104 w 5104"/>
                  <a:gd name="connsiteY4" fmla="*/ 851 h 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4" h="4088">
                    <a:moveTo>
                      <a:pt x="5104" y="878"/>
                    </a:moveTo>
                    <a:lnTo>
                      <a:pt x="4391" y="4089"/>
                    </a:lnTo>
                    <a:lnTo>
                      <a:pt x="0" y="1674"/>
                    </a:lnTo>
                    <a:lnTo>
                      <a:pt x="1509" y="0"/>
                    </a:lnTo>
                    <a:lnTo>
                      <a:pt x="5104" y="8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7" name="Freeform: Shape 4296">
                <a:extLst>
                  <a:ext uri="{FF2B5EF4-FFF2-40B4-BE49-F238E27FC236}">
                    <a16:creationId xmlns:a16="http://schemas.microsoft.com/office/drawing/2014/main" id="{576B97BF-8F39-90FD-295C-572C40A32CC5}"/>
                  </a:ext>
                </a:extLst>
              </p:cNvPr>
              <p:cNvSpPr/>
              <p:nvPr/>
            </p:nvSpPr>
            <p:spPr>
              <a:xfrm>
                <a:off x="858745" y="3646160"/>
                <a:ext cx="627" cy="369"/>
              </a:xfrm>
              <a:custGeom>
                <a:avLst/>
                <a:gdLst>
                  <a:gd name="connsiteX0" fmla="*/ 6010 w 6009"/>
                  <a:gd name="connsiteY0" fmla="*/ 2991 h 3540"/>
                  <a:gd name="connsiteX1" fmla="*/ 3513 w 6009"/>
                  <a:gd name="connsiteY1" fmla="*/ 3540 h 3540"/>
                  <a:gd name="connsiteX2" fmla="*/ 0 w 6009"/>
                  <a:gd name="connsiteY2" fmla="*/ 1564 h 3540"/>
                  <a:gd name="connsiteX3" fmla="*/ 823 w 6009"/>
                  <a:gd name="connsiteY3" fmla="*/ 302 h 3540"/>
                  <a:gd name="connsiteX4" fmla="*/ 5736 w 6009"/>
                  <a:gd name="connsiteY4" fmla="*/ 0 h 3540"/>
                  <a:gd name="connsiteX5" fmla="*/ 6010 w 6009"/>
                  <a:gd name="connsiteY5" fmla="*/ 3019 h 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9" h="3540">
                    <a:moveTo>
                      <a:pt x="6010" y="2991"/>
                    </a:moveTo>
                    <a:lnTo>
                      <a:pt x="3513" y="3540"/>
                    </a:lnTo>
                    <a:lnTo>
                      <a:pt x="0" y="1564"/>
                    </a:lnTo>
                    <a:lnTo>
                      <a:pt x="823" y="302"/>
                    </a:lnTo>
                    <a:lnTo>
                      <a:pt x="5736" y="0"/>
                    </a:lnTo>
                    <a:lnTo>
                      <a:pt x="6010"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8" name="Freeform: Shape 4297">
                <a:extLst>
                  <a:ext uri="{FF2B5EF4-FFF2-40B4-BE49-F238E27FC236}">
                    <a16:creationId xmlns:a16="http://schemas.microsoft.com/office/drawing/2014/main" id="{CE5C4102-CB69-3AF9-B8AC-2D5D31160458}"/>
                  </a:ext>
                </a:extLst>
              </p:cNvPr>
              <p:cNvSpPr/>
              <p:nvPr/>
            </p:nvSpPr>
            <p:spPr>
              <a:xfrm>
                <a:off x="816654" y="3657861"/>
                <a:ext cx="444" cy="489"/>
              </a:xfrm>
              <a:custGeom>
                <a:avLst/>
                <a:gdLst>
                  <a:gd name="connsiteX0" fmla="*/ 3979 w 4253"/>
                  <a:gd name="connsiteY0" fmla="*/ 4171 h 4692"/>
                  <a:gd name="connsiteX1" fmla="*/ 1976 w 4253"/>
                  <a:gd name="connsiteY1" fmla="*/ 4693 h 4692"/>
                  <a:gd name="connsiteX2" fmla="*/ 0 w 4253"/>
                  <a:gd name="connsiteY2" fmla="*/ 2799 h 4692"/>
                  <a:gd name="connsiteX3" fmla="*/ 2525 w 4253"/>
                  <a:gd name="connsiteY3" fmla="*/ 0 h 4692"/>
                  <a:gd name="connsiteX4" fmla="*/ 4254 w 4253"/>
                  <a:gd name="connsiteY4" fmla="*/ 1674 h 4692"/>
                  <a:gd name="connsiteX5" fmla="*/ 3952 w 4253"/>
                  <a:gd name="connsiteY5" fmla="*/ 4199 h 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3" h="4692">
                    <a:moveTo>
                      <a:pt x="3979" y="4171"/>
                    </a:moveTo>
                    <a:lnTo>
                      <a:pt x="1976" y="4693"/>
                    </a:lnTo>
                    <a:lnTo>
                      <a:pt x="0" y="2799"/>
                    </a:lnTo>
                    <a:lnTo>
                      <a:pt x="2525" y="0"/>
                    </a:lnTo>
                    <a:lnTo>
                      <a:pt x="4254" y="1674"/>
                    </a:lnTo>
                    <a:lnTo>
                      <a:pt x="3952" y="41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299" name="Freeform: Shape 4298">
                <a:extLst>
                  <a:ext uri="{FF2B5EF4-FFF2-40B4-BE49-F238E27FC236}">
                    <a16:creationId xmlns:a16="http://schemas.microsoft.com/office/drawing/2014/main" id="{EA082B9E-CA5F-BB7C-8AFF-DBC497D15902}"/>
                  </a:ext>
                </a:extLst>
              </p:cNvPr>
              <p:cNvSpPr/>
              <p:nvPr/>
            </p:nvSpPr>
            <p:spPr>
              <a:xfrm>
                <a:off x="904390" y="3605443"/>
                <a:ext cx="375" cy="738"/>
              </a:xfrm>
              <a:custGeom>
                <a:avLst/>
                <a:gdLst>
                  <a:gd name="connsiteX0" fmla="*/ 3595 w 3595"/>
                  <a:gd name="connsiteY0" fmla="*/ 5324 h 7080"/>
                  <a:gd name="connsiteX1" fmla="*/ 1701 w 3595"/>
                  <a:gd name="connsiteY1" fmla="*/ 7080 h 7080"/>
                  <a:gd name="connsiteX2" fmla="*/ 0 w 3595"/>
                  <a:gd name="connsiteY2" fmla="*/ 3266 h 7080"/>
                  <a:gd name="connsiteX3" fmla="*/ 3293 w 3595"/>
                  <a:gd name="connsiteY3" fmla="*/ 0 h 7080"/>
                  <a:gd name="connsiteX4" fmla="*/ 3595 w 3595"/>
                  <a:gd name="connsiteY4" fmla="*/ 5351 h 7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7080">
                    <a:moveTo>
                      <a:pt x="3595" y="5324"/>
                    </a:moveTo>
                    <a:lnTo>
                      <a:pt x="1701" y="7080"/>
                    </a:lnTo>
                    <a:lnTo>
                      <a:pt x="0" y="3266"/>
                    </a:lnTo>
                    <a:lnTo>
                      <a:pt x="3293" y="0"/>
                    </a:lnTo>
                    <a:lnTo>
                      <a:pt x="3595" y="53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0" name="Freeform: Shape 4299">
                <a:extLst>
                  <a:ext uri="{FF2B5EF4-FFF2-40B4-BE49-F238E27FC236}">
                    <a16:creationId xmlns:a16="http://schemas.microsoft.com/office/drawing/2014/main" id="{C9C1EC05-846C-8F5F-5223-27E567C930A9}"/>
                  </a:ext>
                </a:extLst>
              </p:cNvPr>
              <p:cNvSpPr/>
              <p:nvPr/>
            </p:nvSpPr>
            <p:spPr>
              <a:xfrm>
                <a:off x="876305" y="3641311"/>
                <a:ext cx="369" cy="633"/>
              </a:xfrm>
              <a:custGeom>
                <a:avLst/>
                <a:gdLst>
                  <a:gd name="connsiteX0" fmla="*/ 3540 w 3540"/>
                  <a:gd name="connsiteY0" fmla="*/ 4419 h 6065"/>
                  <a:gd name="connsiteX1" fmla="*/ 631 w 3540"/>
                  <a:gd name="connsiteY1" fmla="*/ 6065 h 6065"/>
                  <a:gd name="connsiteX2" fmla="*/ 0 w 3540"/>
                  <a:gd name="connsiteY2" fmla="*/ 2552 h 6065"/>
                  <a:gd name="connsiteX3" fmla="*/ 2113 w 3540"/>
                  <a:gd name="connsiteY3" fmla="*/ 0 h 6065"/>
                  <a:gd name="connsiteX4" fmla="*/ 3540 w 3540"/>
                  <a:gd name="connsiteY4" fmla="*/ 4419 h 6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 h="6065">
                    <a:moveTo>
                      <a:pt x="3540" y="4419"/>
                    </a:moveTo>
                    <a:lnTo>
                      <a:pt x="631" y="6065"/>
                    </a:lnTo>
                    <a:lnTo>
                      <a:pt x="0" y="2552"/>
                    </a:lnTo>
                    <a:lnTo>
                      <a:pt x="2113" y="0"/>
                    </a:lnTo>
                    <a:lnTo>
                      <a:pt x="3540" y="44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1" name="Freeform: Shape 4300">
                <a:extLst>
                  <a:ext uri="{FF2B5EF4-FFF2-40B4-BE49-F238E27FC236}">
                    <a16:creationId xmlns:a16="http://schemas.microsoft.com/office/drawing/2014/main" id="{88CC1F04-193C-C076-4C96-3A78B321AF86}"/>
                  </a:ext>
                </a:extLst>
              </p:cNvPr>
              <p:cNvSpPr/>
              <p:nvPr/>
            </p:nvSpPr>
            <p:spPr>
              <a:xfrm>
                <a:off x="884437" y="3635538"/>
                <a:ext cx="381" cy="627"/>
              </a:xfrm>
              <a:custGeom>
                <a:avLst/>
                <a:gdLst>
                  <a:gd name="connsiteX0" fmla="*/ 3650 w 3649"/>
                  <a:gd name="connsiteY0" fmla="*/ 2991 h 6009"/>
                  <a:gd name="connsiteX1" fmla="*/ 3019 w 3649"/>
                  <a:gd name="connsiteY1" fmla="*/ 6010 h 6009"/>
                  <a:gd name="connsiteX2" fmla="*/ 0 w 3649"/>
                  <a:gd name="connsiteY2" fmla="*/ 4610 h 6009"/>
                  <a:gd name="connsiteX3" fmla="*/ 1153 w 3649"/>
                  <a:gd name="connsiteY3" fmla="*/ 0 h 6009"/>
                  <a:gd name="connsiteX4" fmla="*/ 3650 w 3649"/>
                  <a:gd name="connsiteY4" fmla="*/ 3019 h 6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9" h="6009">
                    <a:moveTo>
                      <a:pt x="3650" y="2991"/>
                    </a:moveTo>
                    <a:lnTo>
                      <a:pt x="3019" y="6010"/>
                    </a:lnTo>
                    <a:lnTo>
                      <a:pt x="0" y="4610"/>
                    </a:lnTo>
                    <a:lnTo>
                      <a:pt x="1153" y="0"/>
                    </a:lnTo>
                    <a:lnTo>
                      <a:pt x="3650"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2" name="Freeform: Shape 4301">
                <a:extLst>
                  <a:ext uri="{FF2B5EF4-FFF2-40B4-BE49-F238E27FC236}">
                    <a16:creationId xmlns:a16="http://schemas.microsoft.com/office/drawing/2014/main" id="{B56546F9-C67E-C050-936F-F41FED7D872B}"/>
                  </a:ext>
                </a:extLst>
              </p:cNvPr>
              <p:cNvSpPr/>
              <p:nvPr/>
            </p:nvSpPr>
            <p:spPr>
              <a:xfrm>
                <a:off x="881022" y="3634004"/>
                <a:ext cx="432" cy="552"/>
              </a:xfrm>
              <a:custGeom>
                <a:avLst/>
                <a:gdLst>
                  <a:gd name="connsiteX0" fmla="*/ 4144 w 4143"/>
                  <a:gd name="connsiteY0" fmla="*/ 4830 h 5296"/>
                  <a:gd name="connsiteX1" fmla="*/ 768 w 4143"/>
                  <a:gd name="connsiteY1" fmla="*/ 5296 h 5296"/>
                  <a:gd name="connsiteX2" fmla="*/ 0 w 4143"/>
                  <a:gd name="connsiteY2" fmla="*/ 2360 h 5296"/>
                  <a:gd name="connsiteX3" fmla="*/ 2058 w 4143"/>
                  <a:gd name="connsiteY3" fmla="*/ 0 h 5296"/>
                  <a:gd name="connsiteX4" fmla="*/ 4144 w 4143"/>
                  <a:gd name="connsiteY4" fmla="*/ 4830 h 5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 h="5296">
                    <a:moveTo>
                      <a:pt x="4144" y="4830"/>
                    </a:moveTo>
                    <a:lnTo>
                      <a:pt x="768" y="5296"/>
                    </a:lnTo>
                    <a:lnTo>
                      <a:pt x="0" y="2360"/>
                    </a:lnTo>
                    <a:lnTo>
                      <a:pt x="2058" y="0"/>
                    </a:lnTo>
                    <a:lnTo>
                      <a:pt x="4144" y="48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3" name="Freeform: Shape 4302">
                <a:extLst>
                  <a:ext uri="{FF2B5EF4-FFF2-40B4-BE49-F238E27FC236}">
                    <a16:creationId xmlns:a16="http://schemas.microsoft.com/office/drawing/2014/main" id="{FE532019-E4EF-2727-CE5E-521AF77EE790}"/>
                  </a:ext>
                </a:extLst>
              </p:cNvPr>
              <p:cNvSpPr/>
              <p:nvPr/>
            </p:nvSpPr>
            <p:spPr>
              <a:xfrm>
                <a:off x="898022" y="3619100"/>
                <a:ext cx="401" cy="638"/>
              </a:xfrm>
              <a:custGeom>
                <a:avLst/>
                <a:gdLst>
                  <a:gd name="connsiteX0" fmla="*/ 3842 w 3842"/>
                  <a:gd name="connsiteY0" fmla="*/ 5159 h 6119"/>
                  <a:gd name="connsiteX1" fmla="*/ 1674 w 3842"/>
                  <a:gd name="connsiteY1" fmla="*/ 6120 h 6119"/>
                  <a:gd name="connsiteX2" fmla="*/ 0 w 3842"/>
                  <a:gd name="connsiteY2" fmla="*/ 0 h 6119"/>
                  <a:gd name="connsiteX3" fmla="*/ 3183 w 3842"/>
                  <a:gd name="connsiteY3" fmla="*/ 1070 h 6119"/>
                  <a:gd name="connsiteX4" fmla="*/ 3842 w 3842"/>
                  <a:gd name="connsiteY4" fmla="*/ 5159 h 6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2" h="6119">
                    <a:moveTo>
                      <a:pt x="3842" y="5159"/>
                    </a:moveTo>
                    <a:lnTo>
                      <a:pt x="1674" y="6120"/>
                    </a:lnTo>
                    <a:lnTo>
                      <a:pt x="0" y="0"/>
                    </a:lnTo>
                    <a:lnTo>
                      <a:pt x="3183" y="1070"/>
                    </a:lnTo>
                    <a:lnTo>
                      <a:pt x="3842" y="51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4" name="Freeform: Shape 4303">
                <a:extLst>
                  <a:ext uri="{FF2B5EF4-FFF2-40B4-BE49-F238E27FC236}">
                    <a16:creationId xmlns:a16="http://schemas.microsoft.com/office/drawing/2014/main" id="{776EA0CA-150A-657A-FF1D-775AA3C7DB10}"/>
                  </a:ext>
                </a:extLst>
              </p:cNvPr>
              <p:cNvSpPr/>
              <p:nvPr/>
            </p:nvSpPr>
            <p:spPr>
              <a:xfrm>
                <a:off x="816248" y="3660002"/>
                <a:ext cx="452" cy="464"/>
              </a:xfrm>
              <a:custGeom>
                <a:avLst/>
                <a:gdLst>
                  <a:gd name="connsiteX0" fmla="*/ 3128 w 4335"/>
                  <a:gd name="connsiteY0" fmla="*/ 0 h 4445"/>
                  <a:gd name="connsiteX1" fmla="*/ 4336 w 4335"/>
                  <a:gd name="connsiteY1" fmla="*/ 4446 h 4445"/>
                  <a:gd name="connsiteX2" fmla="*/ 631 w 4335"/>
                  <a:gd name="connsiteY2" fmla="*/ 3320 h 4445"/>
                  <a:gd name="connsiteX3" fmla="*/ 0 w 4335"/>
                  <a:gd name="connsiteY3" fmla="*/ 1317 h 4445"/>
                  <a:gd name="connsiteX4" fmla="*/ 3128 w 4335"/>
                  <a:gd name="connsiteY4" fmla="*/ 0 h 4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5" h="4445">
                    <a:moveTo>
                      <a:pt x="3128" y="0"/>
                    </a:moveTo>
                    <a:lnTo>
                      <a:pt x="4336" y="4446"/>
                    </a:lnTo>
                    <a:lnTo>
                      <a:pt x="631" y="3320"/>
                    </a:lnTo>
                    <a:lnTo>
                      <a:pt x="0" y="1317"/>
                    </a:lnTo>
                    <a:lnTo>
                      <a:pt x="312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5" name="Freeform: Shape 4304">
                <a:extLst>
                  <a:ext uri="{FF2B5EF4-FFF2-40B4-BE49-F238E27FC236}">
                    <a16:creationId xmlns:a16="http://schemas.microsoft.com/office/drawing/2014/main" id="{06334F6E-E837-64C6-68E2-B59DBC9235C4}"/>
                  </a:ext>
                </a:extLst>
              </p:cNvPr>
              <p:cNvSpPr/>
              <p:nvPr/>
            </p:nvSpPr>
            <p:spPr>
              <a:xfrm>
                <a:off x="871565" y="3635973"/>
                <a:ext cx="424" cy="549"/>
              </a:xfrm>
              <a:custGeom>
                <a:avLst/>
                <a:gdLst>
                  <a:gd name="connsiteX0" fmla="*/ 4062 w 4061"/>
                  <a:gd name="connsiteY0" fmla="*/ 2333 h 5268"/>
                  <a:gd name="connsiteX1" fmla="*/ 3513 w 4061"/>
                  <a:gd name="connsiteY1" fmla="*/ 5269 h 5268"/>
                  <a:gd name="connsiteX2" fmla="*/ 0 w 4061"/>
                  <a:gd name="connsiteY2" fmla="*/ 3952 h 5268"/>
                  <a:gd name="connsiteX3" fmla="*/ 1345 w 4061"/>
                  <a:gd name="connsiteY3" fmla="*/ 0 h 5268"/>
                  <a:gd name="connsiteX4" fmla="*/ 4062 w 4061"/>
                  <a:gd name="connsiteY4" fmla="*/ 2333 h 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5268">
                    <a:moveTo>
                      <a:pt x="4062" y="2333"/>
                    </a:moveTo>
                    <a:lnTo>
                      <a:pt x="3513" y="5269"/>
                    </a:lnTo>
                    <a:lnTo>
                      <a:pt x="0" y="3952"/>
                    </a:lnTo>
                    <a:lnTo>
                      <a:pt x="1345" y="0"/>
                    </a:lnTo>
                    <a:lnTo>
                      <a:pt x="4062" y="23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6" name="Freeform: Shape 4305">
                <a:extLst>
                  <a:ext uri="{FF2B5EF4-FFF2-40B4-BE49-F238E27FC236}">
                    <a16:creationId xmlns:a16="http://schemas.microsoft.com/office/drawing/2014/main" id="{9082B0EA-DEEE-CA91-50AE-74631D5428A8}"/>
                  </a:ext>
                </a:extLst>
              </p:cNvPr>
              <p:cNvSpPr/>
              <p:nvPr/>
            </p:nvSpPr>
            <p:spPr>
              <a:xfrm>
                <a:off x="873566" y="3639059"/>
                <a:ext cx="492" cy="464"/>
              </a:xfrm>
              <a:custGeom>
                <a:avLst/>
                <a:gdLst>
                  <a:gd name="connsiteX0" fmla="*/ 4720 w 4720"/>
                  <a:gd name="connsiteY0" fmla="*/ 714 h 4445"/>
                  <a:gd name="connsiteX1" fmla="*/ 4007 w 4720"/>
                  <a:gd name="connsiteY1" fmla="*/ 4446 h 4445"/>
                  <a:gd name="connsiteX2" fmla="*/ 0 w 4720"/>
                  <a:gd name="connsiteY2" fmla="*/ 2415 h 4445"/>
                  <a:gd name="connsiteX3" fmla="*/ 1839 w 4720"/>
                  <a:gd name="connsiteY3" fmla="*/ 0 h 4445"/>
                  <a:gd name="connsiteX4" fmla="*/ 4720 w 4720"/>
                  <a:gd name="connsiteY4" fmla="*/ 714 h 4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0" h="4445">
                    <a:moveTo>
                      <a:pt x="4720" y="714"/>
                    </a:moveTo>
                    <a:lnTo>
                      <a:pt x="4007" y="4446"/>
                    </a:lnTo>
                    <a:lnTo>
                      <a:pt x="0" y="2415"/>
                    </a:lnTo>
                    <a:lnTo>
                      <a:pt x="1839" y="0"/>
                    </a:lnTo>
                    <a:lnTo>
                      <a:pt x="4720" y="71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7" name="Freeform: Shape 4306">
                <a:extLst>
                  <a:ext uri="{FF2B5EF4-FFF2-40B4-BE49-F238E27FC236}">
                    <a16:creationId xmlns:a16="http://schemas.microsoft.com/office/drawing/2014/main" id="{39115D15-224F-D6C4-9F93-E9B202214DDC}"/>
                  </a:ext>
                </a:extLst>
              </p:cNvPr>
              <p:cNvSpPr/>
              <p:nvPr/>
            </p:nvSpPr>
            <p:spPr>
              <a:xfrm>
                <a:off x="836693" y="3610647"/>
                <a:ext cx="341" cy="770"/>
              </a:xfrm>
              <a:custGeom>
                <a:avLst/>
                <a:gdLst>
                  <a:gd name="connsiteX0" fmla="*/ 3266 w 3265"/>
                  <a:gd name="connsiteY0" fmla="*/ 6202 h 7382"/>
                  <a:gd name="connsiteX1" fmla="*/ 1098 w 3265"/>
                  <a:gd name="connsiteY1" fmla="*/ 7382 h 7382"/>
                  <a:gd name="connsiteX2" fmla="*/ 0 w 3265"/>
                  <a:gd name="connsiteY2" fmla="*/ 3815 h 7382"/>
                  <a:gd name="connsiteX3" fmla="*/ 2827 w 3265"/>
                  <a:gd name="connsiteY3" fmla="*/ 0 h 7382"/>
                  <a:gd name="connsiteX4" fmla="*/ 3266 w 3265"/>
                  <a:gd name="connsiteY4" fmla="*/ 6202 h 7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7382">
                    <a:moveTo>
                      <a:pt x="3266" y="6202"/>
                    </a:moveTo>
                    <a:lnTo>
                      <a:pt x="1098" y="7382"/>
                    </a:lnTo>
                    <a:lnTo>
                      <a:pt x="0" y="3815"/>
                    </a:lnTo>
                    <a:lnTo>
                      <a:pt x="2827" y="0"/>
                    </a:lnTo>
                    <a:lnTo>
                      <a:pt x="3266" y="620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8" name="Freeform: Shape 4307">
                <a:extLst>
                  <a:ext uri="{FF2B5EF4-FFF2-40B4-BE49-F238E27FC236}">
                    <a16:creationId xmlns:a16="http://schemas.microsoft.com/office/drawing/2014/main" id="{B30976DA-2944-C593-8D79-7242055E4ACB}"/>
                  </a:ext>
                </a:extLst>
              </p:cNvPr>
              <p:cNvSpPr/>
              <p:nvPr/>
            </p:nvSpPr>
            <p:spPr>
              <a:xfrm>
                <a:off x="875609" y="3640925"/>
                <a:ext cx="392" cy="581"/>
              </a:xfrm>
              <a:custGeom>
                <a:avLst/>
                <a:gdLst>
                  <a:gd name="connsiteX0" fmla="*/ 2744 w 3759"/>
                  <a:gd name="connsiteY0" fmla="*/ 27 h 5571"/>
                  <a:gd name="connsiteX1" fmla="*/ 3760 w 3759"/>
                  <a:gd name="connsiteY1" fmla="*/ 5571 h 5571"/>
                  <a:gd name="connsiteX2" fmla="*/ 988 w 3759"/>
                  <a:gd name="connsiteY2" fmla="*/ 5104 h 5571"/>
                  <a:gd name="connsiteX3" fmla="*/ 0 w 3759"/>
                  <a:gd name="connsiteY3" fmla="*/ 2525 h 5571"/>
                  <a:gd name="connsiteX4" fmla="*/ 2744 w 3759"/>
                  <a:gd name="connsiteY4" fmla="*/ 0 h 5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9" h="5571">
                    <a:moveTo>
                      <a:pt x="2744" y="27"/>
                    </a:moveTo>
                    <a:lnTo>
                      <a:pt x="3760" y="5571"/>
                    </a:lnTo>
                    <a:lnTo>
                      <a:pt x="988" y="5104"/>
                    </a:lnTo>
                    <a:lnTo>
                      <a:pt x="0" y="2525"/>
                    </a:lnTo>
                    <a:lnTo>
                      <a:pt x="2744"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09" name="Freeform: Shape 4308">
                <a:extLst>
                  <a:ext uri="{FF2B5EF4-FFF2-40B4-BE49-F238E27FC236}">
                    <a16:creationId xmlns:a16="http://schemas.microsoft.com/office/drawing/2014/main" id="{C80FF08D-39B6-0ABE-374D-A3002EF20C68}"/>
                  </a:ext>
                </a:extLst>
              </p:cNvPr>
              <p:cNvSpPr/>
              <p:nvPr/>
            </p:nvSpPr>
            <p:spPr>
              <a:xfrm>
                <a:off x="864681" y="3639142"/>
                <a:ext cx="449" cy="507"/>
              </a:xfrm>
              <a:custGeom>
                <a:avLst/>
                <a:gdLst>
                  <a:gd name="connsiteX0" fmla="*/ 4309 w 4308"/>
                  <a:gd name="connsiteY0" fmla="*/ 384 h 4857"/>
                  <a:gd name="connsiteX1" fmla="*/ 2772 w 4308"/>
                  <a:gd name="connsiteY1" fmla="*/ 4857 h 4857"/>
                  <a:gd name="connsiteX2" fmla="*/ 0 w 4308"/>
                  <a:gd name="connsiteY2" fmla="*/ 1921 h 4857"/>
                  <a:gd name="connsiteX3" fmla="*/ 412 w 4308"/>
                  <a:gd name="connsiteY3" fmla="*/ 0 h 4857"/>
                  <a:gd name="connsiteX4" fmla="*/ 4309 w 4308"/>
                  <a:gd name="connsiteY4" fmla="*/ 384 h 4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 h="4857">
                    <a:moveTo>
                      <a:pt x="4309" y="384"/>
                    </a:moveTo>
                    <a:lnTo>
                      <a:pt x="2772" y="4857"/>
                    </a:lnTo>
                    <a:lnTo>
                      <a:pt x="0" y="1921"/>
                    </a:lnTo>
                    <a:lnTo>
                      <a:pt x="412" y="0"/>
                    </a:lnTo>
                    <a:lnTo>
                      <a:pt x="4309"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0" name="Freeform: Shape 4309">
                <a:extLst>
                  <a:ext uri="{FF2B5EF4-FFF2-40B4-BE49-F238E27FC236}">
                    <a16:creationId xmlns:a16="http://schemas.microsoft.com/office/drawing/2014/main" id="{B9D7308F-A286-257F-F6AA-4F209CF372DE}"/>
                  </a:ext>
                </a:extLst>
              </p:cNvPr>
              <p:cNvSpPr/>
              <p:nvPr/>
            </p:nvSpPr>
            <p:spPr>
              <a:xfrm>
                <a:off x="870137" y="3640335"/>
                <a:ext cx="464" cy="489"/>
              </a:xfrm>
              <a:custGeom>
                <a:avLst/>
                <a:gdLst>
                  <a:gd name="connsiteX0" fmla="*/ 4418 w 4445"/>
                  <a:gd name="connsiteY0" fmla="*/ 0 h 4692"/>
                  <a:gd name="connsiteX1" fmla="*/ 3211 w 4445"/>
                  <a:gd name="connsiteY1" fmla="*/ 4693 h 4692"/>
                  <a:gd name="connsiteX2" fmla="*/ 0 w 4445"/>
                  <a:gd name="connsiteY2" fmla="*/ 1592 h 4692"/>
                  <a:gd name="connsiteX3" fmla="*/ 906 w 4445"/>
                  <a:gd name="connsiteY3" fmla="*/ 0 h 4692"/>
                  <a:gd name="connsiteX4" fmla="*/ 4446 w 4445"/>
                  <a:gd name="connsiteY4" fmla="*/ 0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 h="4692">
                    <a:moveTo>
                      <a:pt x="4418" y="0"/>
                    </a:moveTo>
                    <a:lnTo>
                      <a:pt x="3211" y="4693"/>
                    </a:lnTo>
                    <a:lnTo>
                      <a:pt x="0" y="1592"/>
                    </a:lnTo>
                    <a:lnTo>
                      <a:pt x="906" y="0"/>
                    </a:lnTo>
                    <a:lnTo>
                      <a:pt x="444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1" name="Freeform: Shape 4310">
                <a:extLst>
                  <a:ext uri="{FF2B5EF4-FFF2-40B4-BE49-F238E27FC236}">
                    <a16:creationId xmlns:a16="http://schemas.microsoft.com/office/drawing/2014/main" id="{67CB56F4-1454-55A1-C8A6-227C7139B1E2}"/>
                  </a:ext>
                </a:extLst>
              </p:cNvPr>
              <p:cNvSpPr/>
              <p:nvPr/>
            </p:nvSpPr>
            <p:spPr>
              <a:xfrm>
                <a:off x="815781" y="3660443"/>
                <a:ext cx="349" cy="590"/>
              </a:xfrm>
              <a:custGeom>
                <a:avLst/>
                <a:gdLst>
                  <a:gd name="connsiteX0" fmla="*/ 3348 w 3348"/>
                  <a:gd name="connsiteY0" fmla="*/ 2991 h 5653"/>
                  <a:gd name="connsiteX1" fmla="*/ 878 w 3348"/>
                  <a:gd name="connsiteY1" fmla="*/ 5653 h 5653"/>
                  <a:gd name="connsiteX2" fmla="*/ 0 w 3348"/>
                  <a:gd name="connsiteY2" fmla="*/ 3650 h 5653"/>
                  <a:gd name="connsiteX3" fmla="*/ 823 w 3348"/>
                  <a:gd name="connsiteY3" fmla="*/ 466 h 5653"/>
                  <a:gd name="connsiteX4" fmla="*/ 2278 w 3348"/>
                  <a:gd name="connsiteY4" fmla="*/ 0 h 5653"/>
                  <a:gd name="connsiteX5" fmla="*/ 3348 w 3348"/>
                  <a:gd name="connsiteY5" fmla="*/ 3019 h 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8" h="5653">
                    <a:moveTo>
                      <a:pt x="3348" y="2991"/>
                    </a:moveTo>
                    <a:lnTo>
                      <a:pt x="878" y="5653"/>
                    </a:lnTo>
                    <a:lnTo>
                      <a:pt x="0" y="3650"/>
                    </a:lnTo>
                    <a:lnTo>
                      <a:pt x="823" y="466"/>
                    </a:lnTo>
                    <a:lnTo>
                      <a:pt x="2278" y="0"/>
                    </a:lnTo>
                    <a:lnTo>
                      <a:pt x="3348" y="301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2" name="Freeform: Shape 4311">
                <a:extLst>
                  <a:ext uri="{FF2B5EF4-FFF2-40B4-BE49-F238E27FC236}">
                    <a16:creationId xmlns:a16="http://schemas.microsoft.com/office/drawing/2014/main" id="{5121563E-4F35-DD7F-6295-6CA7C661F876}"/>
                  </a:ext>
                </a:extLst>
              </p:cNvPr>
              <p:cNvSpPr/>
              <p:nvPr/>
            </p:nvSpPr>
            <p:spPr>
              <a:xfrm>
                <a:off x="984410" y="3680651"/>
                <a:ext cx="392" cy="484"/>
              </a:xfrm>
              <a:custGeom>
                <a:avLst/>
                <a:gdLst>
                  <a:gd name="connsiteX0" fmla="*/ 3760 w 3759"/>
                  <a:gd name="connsiteY0" fmla="*/ 3815 h 4637"/>
                  <a:gd name="connsiteX1" fmla="*/ 55 w 3759"/>
                  <a:gd name="connsiteY1" fmla="*/ 4638 h 4637"/>
                  <a:gd name="connsiteX2" fmla="*/ 0 w 3759"/>
                  <a:gd name="connsiteY2" fmla="*/ 1674 h 4637"/>
                  <a:gd name="connsiteX3" fmla="*/ 1537 w 3759"/>
                  <a:gd name="connsiteY3" fmla="*/ 0 h 4637"/>
                  <a:gd name="connsiteX4" fmla="*/ 3760 w 3759"/>
                  <a:gd name="connsiteY4" fmla="*/ 3787 h 4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9" h="4637">
                    <a:moveTo>
                      <a:pt x="3760" y="3815"/>
                    </a:moveTo>
                    <a:lnTo>
                      <a:pt x="55" y="4638"/>
                    </a:lnTo>
                    <a:lnTo>
                      <a:pt x="0" y="1674"/>
                    </a:lnTo>
                    <a:lnTo>
                      <a:pt x="1537" y="0"/>
                    </a:lnTo>
                    <a:lnTo>
                      <a:pt x="3760" y="37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3" name="Freeform: Shape 4312">
                <a:extLst>
                  <a:ext uri="{FF2B5EF4-FFF2-40B4-BE49-F238E27FC236}">
                    <a16:creationId xmlns:a16="http://schemas.microsoft.com/office/drawing/2014/main" id="{13364E2B-F812-6654-E46D-831010FA3337}"/>
                  </a:ext>
                </a:extLst>
              </p:cNvPr>
              <p:cNvSpPr/>
              <p:nvPr/>
            </p:nvSpPr>
            <p:spPr>
              <a:xfrm>
                <a:off x="1113933" y="3766326"/>
                <a:ext cx="352" cy="401"/>
              </a:xfrm>
              <a:custGeom>
                <a:avLst/>
                <a:gdLst>
                  <a:gd name="connsiteX0" fmla="*/ 1976 w 3375"/>
                  <a:gd name="connsiteY0" fmla="*/ 3705 h 3842"/>
                  <a:gd name="connsiteX1" fmla="*/ 0 w 3375"/>
                  <a:gd name="connsiteY1" fmla="*/ 3842 h 3842"/>
                  <a:gd name="connsiteX2" fmla="*/ 714 w 3375"/>
                  <a:gd name="connsiteY2" fmla="*/ 0 h 3842"/>
                  <a:gd name="connsiteX3" fmla="*/ 3375 w 3375"/>
                  <a:gd name="connsiteY3" fmla="*/ 1592 h 3842"/>
                  <a:gd name="connsiteX4" fmla="*/ 1976 w 3375"/>
                  <a:gd name="connsiteY4" fmla="*/ 3705 h 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3842">
                    <a:moveTo>
                      <a:pt x="1976" y="3705"/>
                    </a:moveTo>
                    <a:lnTo>
                      <a:pt x="0" y="3842"/>
                    </a:lnTo>
                    <a:lnTo>
                      <a:pt x="714" y="0"/>
                    </a:lnTo>
                    <a:lnTo>
                      <a:pt x="3375" y="1592"/>
                    </a:lnTo>
                    <a:lnTo>
                      <a:pt x="1976" y="37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4" name="Freeform: Shape 4313">
                <a:extLst>
                  <a:ext uri="{FF2B5EF4-FFF2-40B4-BE49-F238E27FC236}">
                    <a16:creationId xmlns:a16="http://schemas.microsoft.com/office/drawing/2014/main" id="{9232327E-4453-6A15-71F0-CE17B3BFCD2A}"/>
                  </a:ext>
                </a:extLst>
              </p:cNvPr>
              <p:cNvSpPr/>
              <p:nvPr/>
            </p:nvSpPr>
            <p:spPr>
              <a:xfrm>
                <a:off x="843855" y="3652752"/>
                <a:ext cx="455" cy="452"/>
              </a:xfrm>
              <a:custGeom>
                <a:avLst/>
                <a:gdLst>
                  <a:gd name="connsiteX0" fmla="*/ 4336 w 4363"/>
                  <a:gd name="connsiteY0" fmla="*/ 2223 h 4335"/>
                  <a:gd name="connsiteX1" fmla="*/ 1372 w 4363"/>
                  <a:gd name="connsiteY1" fmla="*/ 4336 h 4335"/>
                  <a:gd name="connsiteX2" fmla="*/ 0 w 4363"/>
                  <a:gd name="connsiteY2" fmla="*/ 466 h 4335"/>
                  <a:gd name="connsiteX3" fmla="*/ 4171 w 4363"/>
                  <a:gd name="connsiteY3" fmla="*/ 0 h 4335"/>
                  <a:gd name="connsiteX4" fmla="*/ 4363 w 4363"/>
                  <a:gd name="connsiteY4" fmla="*/ 2195 h 4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 h="4335">
                    <a:moveTo>
                      <a:pt x="4336" y="2223"/>
                    </a:moveTo>
                    <a:lnTo>
                      <a:pt x="1372" y="4336"/>
                    </a:lnTo>
                    <a:lnTo>
                      <a:pt x="0" y="466"/>
                    </a:lnTo>
                    <a:lnTo>
                      <a:pt x="4171" y="0"/>
                    </a:lnTo>
                    <a:lnTo>
                      <a:pt x="4363" y="21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5" name="Freeform: Shape 4314">
                <a:extLst>
                  <a:ext uri="{FF2B5EF4-FFF2-40B4-BE49-F238E27FC236}">
                    <a16:creationId xmlns:a16="http://schemas.microsoft.com/office/drawing/2014/main" id="{B2AAE2FD-1CC8-1CB2-2286-CB74F130F645}"/>
                  </a:ext>
                </a:extLst>
              </p:cNvPr>
              <p:cNvSpPr/>
              <p:nvPr/>
            </p:nvSpPr>
            <p:spPr>
              <a:xfrm>
                <a:off x="869312" y="3640201"/>
                <a:ext cx="561" cy="384"/>
              </a:xfrm>
              <a:custGeom>
                <a:avLst/>
                <a:gdLst>
                  <a:gd name="connsiteX0" fmla="*/ 5379 w 5378"/>
                  <a:gd name="connsiteY0" fmla="*/ 2168 h 3677"/>
                  <a:gd name="connsiteX1" fmla="*/ 2141 w 5378"/>
                  <a:gd name="connsiteY1" fmla="*/ 3678 h 3677"/>
                  <a:gd name="connsiteX2" fmla="*/ 0 w 5378"/>
                  <a:gd name="connsiteY2" fmla="*/ 2168 h 3677"/>
                  <a:gd name="connsiteX3" fmla="*/ 1262 w 5378"/>
                  <a:gd name="connsiteY3" fmla="*/ 494 h 3677"/>
                  <a:gd name="connsiteX4" fmla="*/ 4501 w 5378"/>
                  <a:gd name="connsiteY4" fmla="*/ 0 h 3677"/>
                  <a:gd name="connsiteX5" fmla="*/ 5379 w 5378"/>
                  <a:gd name="connsiteY5" fmla="*/ 2141 h 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78" h="3677">
                    <a:moveTo>
                      <a:pt x="5379" y="2168"/>
                    </a:moveTo>
                    <a:lnTo>
                      <a:pt x="2141" y="3678"/>
                    </a:lnTo>
                    <a:lnTo>
                      <a:pt x="0" y="2168"/>
                    </a:lnTo>
                    <a:lnTo>
                      <a:pt x="1262" y="494"/>
                    </a:lnTo>
                    <a:lnTo>
                      <a:pt x="4501" y="0"/>
                    </a:lnTo>
                    <a:lnTo>
                      <a:pt x="5379"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6" name="Freeform: Shape 4315">
                <a:extLst>
                  <a:ext uri="{FF2B5EF4-FFF2-40B4-BE49-F238E27FC236}">
                    <a16:creationId xmlns:a16="http://schemas.microsoft.com/office/drawing/2014/main" id="{B9B088F3-BE03-4C8F-9418-2E6D1E97DA17}"/>
                  </a:ext>
                </a:extLst>
              </p:cNvPr>
              <p:cNvSpPr/>
              <p:nvPr/>
            </p:nvSpPr>
            <p:spPr>
              <a:xfrm>
                <a:off x="825776" y="3657008"/>
                <a:ext cx="361" cy="544"/>
              </a:xfrm>
              <a:custGeom>
                <a:avLst/>
                <a:gdLst>
                  <a:gd name="connsiteX0" fmla="*/ 3074 w 3457"/>
                  <a:gd name="connsiteY0" fmla="*/ 0 h 5214"/>
                  <a:gd name="connsiteX1" fmla="*/ 3458 w 3457"/>
                  <a:gd name="connsiteY1" fmla="*/ 5214 h 5214"/>
                  <a:gd name="connsiteX2" fmla="*/ 521 w 3457"/>
                  <a:gd name="connsiteY2" fmla="*/ 3595 h 5214"/>
                  <a:gd name="connsiteX3" fmla="*/ 0 w 3457"/>
                  <a:gd name="connsiteY3" fmla="*/ 1290 h 5214"/>
                  <a:gd name="connsiteX4" fmla="*/ 3101 w 3457"/>
                  <a:gd name="connsiteY4" fmla="*/ 0 h 5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5214">
                    <a:moveTo>
                      <a:pt x="3074" y="0"/>
                    </a:moveTo>
                    <a:lnTo>
                      <a:pt x="3458" y="5214"/>
                    </a:lnTo>
                    <a:lnTo>
                      <a:pt x="521" y="3595"/>
                    </a:lnTo>
                    <a:lnTo>
                      <a:pt x="0" y="1290"/>
                    </a:lnTo>
                    <a:lnTo>
                      <a:pt x="3101"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7" name="Freeform: Shape 4316">
                <a:extLst>
                  <a:ext uri="{FF2B5EF4-FFF2-40B4-BE49-F238E27FC236}">
                    <a16:creationId xmlns:a16="http://schemas.microsoft.com/office/drawing/2014/main" id="{B07E978D-1330-66A3-8777-538A19698195}"/>
                  </a:ext>
                </a:extLst>
              </p:cNvPr>
              <p:cNvSpPr/>
              <p:nvPr/>
            </p:nvSpPr>
            <p:spPr>
              <a:xfrm>
                <a:off x="953265" y="3636554"/>
                <a:ext cx="366" cy="581"/>
              </a:xfrm>
              <a:custGeom>
                <a:avLst/>
                <a:gdLst>
                  <a:gd name="connsiteX0" fmla="*/ 3513 w 3512"/>
                  <a:gd name="connsiteY0" fmla="*/ 2772 h 5571"/>
                  <a:gd name="connsiteX1" fmla="*/ 2250 w 3512"/>
                  <a:gd name="connsiteY1" fmla="*/ 5571 h 5571"/>
                  <a:gd name="connsiteX2" fmla="*/ 0 w 3512"/>
                  <a:gd name="connsiteY2" fmla="*/ 4281 h 5571"/>
                  <a:gd name="connsiteX3" fmla="*/ 55 w 3512"/>
                  <a:gd name="connsiteY3" fmla="*/ 1839 h 5571"/>
                  <a:gd name="connsiteX4" fmla="*/ 2497 w 3512"/>
                  <a:gd name="connsiteY4" fmla="*/ 0 h 5571"/>
                  <a:gd name="connsiteX5" fmla="*/ 3513 w 3512"/>
                  <a:gd name="connsiteY5" fmla="*/ 2772 h 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 h="5571">
                    <a:moveTo>
                      <a:pt x="3513" y="2772"/>
                    </a:moveTo>
                    <a:lnTo>
                      <a:pt x="2250" y="5571"/>
                    </a:lnTo>
                    <a:lnTo>
                      <a:pt x="0" y="4281"/>
                    </a:lnTo>
                    <a:lnTo>
                      <a:pt x="55" y="1839"/>
                    </a:lnTo>
                    <a:lnTo>
                      <a:pt x="2497" y="0"/>
                    </a:lnTo>
                    <a:lnTo>
                      <a:pt x="3513"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8" name="Freeform: Shape 4317">
                <a:extLst>
                  <a:ext uri="{FF2B5EF4-FFF2-40B4-BE49-F238E27FC236}">
                    <a16:creationId xmlns:a16="http://schemas.microsoft.com/office/drawing/2014/main" id="{281409B8-6440-8B34-4666-973BFC855F92}"/>
                  </a:ext>
                </a:extLst>
              </p:cNvPr>
              <p:cNvSpPr/>
              <p:nvPr/>
            </p:nvSpPr>
            <p:spPr>
              <a:xfrm>
                <a:off x="844585" y="3651802"/>
                <a:ext cx="389" cy="498"/>
              </a:xfrm>
              <a:custGeom>
                <a:avLst/>
                <a:gdLst>
                  <a:gd name="connsiteX0" fmla="*/ 3732 w 3732"/>
                  <a:gd name="connsiteY0" fmla="*/ 2251 h 4775"/>
                  <a:gd name="connsiteX1" fmla="*/ 2388 w 3732"/>
                  <a:gd name="connsiteY1" fmla="*/ 4775 h 4775"/>
                  <a:gd name="connsiteX2" fmla="*/ 0 w 3732"/>
                  <a:gd name="connsiteY2" fmla="*/ 3485 h 4775"/>
                  <a:gd name="connsiteX3" fmla="*/ 659 w 3732"/>
                  <a:gd name="connsiteY3" fmla="*/ 741 h 4775"/>
                  <a:gd name="connsiteX4" fmla="*/ 3129 w 3732"/>
                  <a:gd name="connsiteY4" fmla="*/ 0 h 4775"/>
                  <a:gd name="connsiteX5" fmla="*/ 3732 w 3732"/>
                  <a:gd name="connsiteY5" fmla="*/ 2251 h 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2" h="4775">
                    <a:moveTo>
                      <a:pt x="3732" y="2251"/>
                    </a:moveTo>
                    <a:lnTo>
                      <a:pt x="2388" y="4775"/>
                    </a:lnTo>
                    <a:lnTo>
                      <a:pt x="0" y="3485"/>
                    </a:lnTo>
                    <a:lnTo>
                      <a:pt x="659" y="741"/>
                    </a:lnTo>
                    <a:lnTo>
                      <a:pt x="3129" y="0"/>
                    </a:lnTo>
                    <a:lnTo>
                      <a:pt x="3732" y="22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19" name="Freeform: Shape 4318">
                <a:extLst>
                  <a:ext uri="{FF2B5EF4-FFF2-40B4-BE49-F238E27FC236}">
                    <a16:creationId xmlns:a16="http://schemas.microsoft.com/office/drawing/2014/main" id="{5E88F7A9-0EC4-F553-9F71-FA24CD39FE07}"/>
                  </a:ext>
                </a:extLst>
              </p:cNvPr>
              <p:cNvSpPr/>
              <p:nvPr/>
            </p:nvSpPr>
            <p:spPr>
              <a:xfrm>
                <a:off x="858129" y="3646240"/>
                <a:ext cx="326" cy="604"/>
              </a:xfrm>
              <a:custGeom>
                <a:avLst/>
                <a:gdLst>
                  <a:gd name="connsiteX0" fmla="*/ 3128 w 3128"/>
                  <a:gd name="connsiteY0" fmla="*/ 796 h 5790"/>
                  <a:gd name="connsiteX1" fmla="*/ 2525 w 3128"/>
                  <a:gd name="connsiteY1" fmla="*/ 5790 h 5790"/>
                  <a:gd name="connsiteX2" fmla="*/ 961 w 3128"/>
                  <a:gd name="connsiteY2" fmla="*/ 4994 h 5790"/>
                  <a:gd name="connsiteX3" fmla="*/ 0 w 3128"/>
                  <a:gd name="connsiteY3" fmla="*/ 1838 h 5790"/>
                  <a:gd name="connsiteX4" fmla="*/ 1207 w 3128"/>
                  <a:gd name="connsiteY4" fmla="*/ 0 h 5790"/>
                  <a:gd name="connsiteX5" fmla="*/ 3101 w 3128"/>
                  <a:gd name="connsiteY5" fmla="*/ 823 h 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5790">
                    <a:moveTo>
                      <a:pt x="3128" y="796"/>
                    </a:moveTo>
                    <a:lnTo>
                      <a:pt x="2525" y="5790"/>
                    </a:lnTo>
                    <a:lnTo>
                      <a:pt x="961" y="4994"/>
                    </a:lnTo>
                    <a:lnTo>
                      <a:pt x="0" y="1838"/>
                    </a:lnTo>
                    <a:lnTo>
                      <a:pt x="1207" y="0"/>
                    </a:lnTo>
                    <a:lnTo>
                      <a:pt x="3101" y="8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0" name="Freeform: Shape 4319">
                <a:extLst>
                  <a:ext uri="{FF2B5EF4-FFF2-40B4-BE49-F238E27FC236}">
                    <a16:creationId xmlns:a16="http://schemas.microsoft.com/office/drawing/2014/main" id="{D5F75015-5A75-92BF-56C8-B2202CB17BBA}"/>
                  </a:ext>
                </a:extLst>
              </p:cNvPr>
              <p:cNvSpPr/>
              <p:nvPr/>
            </p:nvSpPr>
            <p:spPr>
              <a:xfrm>
                <a:off x="820716" y="3658159"/>
                <a:ext cx="335" cy="561"/>
              </a:xfrm>
              <a:custGeom>
                <a:avLst/>
                <a:gdLst>
                  <a:gd name="connsiteX0" fmla="*/ 3211 w 3210"/>
                  <a:gd name="connsiteY0" fmla="*/ 4007 h 5378"/>
                  <a:gd name="connsiteX1" fmla="*/ 1098 w 3210"/>
                  <a:gd name="connsiteY1" fmla="*/ 5379 h 5378"/>
                  <a:gd name="connsiteX2" fmla="*/ 0 w 3210"/>
                  <a:gd name="connsiteY2" fmla="*/ 2964 h 5378"/>
                  <a:gd name="connsiteX3" fmla="*/ 878 w 3210"/>
                  <a:gd name="connsiteY3" fmla="*/ 0 h 5378"/>
                  <a:gd name="connsiteX4" fmla="*/ 3211 w 3210"/>
                  <a:gd name="connsiteY4" fmla="*/ 1647 h 5378"/>
                  <a:gd name="connsiteX5" fmla="*/ 3211 w 3210"/>
                  <a:gd name="connsiteY5" fmla="*/ 4007 h 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0" h="5378">
                    <a:moveTo>
                      <a:pt x="3211" y="4007"/>
                    </a:moveTo>
                    <a:lnTo>
                      <a:pt x="1098" y="5379"/>
                    </a:lnTo>
                    <a:lnTo>
                      <a:pt x="0" y="2964"/>
                    </a:lnTo>
                    <a:lnTo>
                      <a:pt x="878" y="0"/>
                    </a:lnTo>
                    <a:lnTo>
                      <a:pt x="3211" y="1647"/>
                    </a:lnTo>
                    <a:lnTo>
                      <a:pt x="3211" y="40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1" name="Freeform: Shape 4320">
                <a:extLst>
                  <a:ext uri="{FF2B5EF4-FFF2-40B4-BE49-F238E27FC236}">
                    <a16:creationId xmlns:a16="http://schemas.microsoft.com/office/drawing/2014/main" id="{9B971E72-A4C2-E7D3-5FFD-CC9F7585873C}"/>
                  </a:ext>
                </a:extLst>
              </p:cNvPr>
              <p:cNvSpPr/>
              <p:nvPr/>
            </p:nvSpPr>
            <p:spPr>
              <a:xfrm>
                <a:off x="878094" y="3636626"/>
                <a:ext cx="375" cy="555"/>
              </a:xfrm>
              <a:custGeom>
                <a:avLst/>
                <a:gdLst>
                  <a:gd name="connsiteX0" fmla="*/ 3595 w 3595"/>
                  <a:gd name="connsiteY0" fmla="*/ 384 h 5324"/>
                  <a:gd name="connsiteX1" fmla="*/ 3046 w 3595"/>
                  <a:gd name="connsiteY1" fmla="*/ 5324 h 5324"/>
                  <a:gd name="connsiteX2" fmla="*/ 0 w 3595"/>
                  <a:gd name="connsiteY2" fmla="*/ 4089 h 5324"/>
                  <a:gd name="connsiteX3" fmla="*/ 1454 w 3595"/>
                  <a:gd name="connsiteY3" fmla="*/ 0 h 5324"/>
                  <a:gd name="connsiteX4" fmla="*/ 3568 w 3595"/>
                  <a:gd name="connsiteY4" fmla="*/ 384 h 5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 h="5324">
                    <a:moveTo>
                      <a:pt x="3595" y="384"/>
                    </a:moveTo>
                    <a:lnTo>
                      <a:pt x="3046" y="5324"/>
                    </a:lnTo>
                    <a:lnTo>
                      <a:pt x="0" y="4089"/>
                    </a:lnTo>
                    <a:lnTo>
                      <a:pt x="1454" y="0"/>
                    </a:lnTo>
                    <a:lnTo>
                      <a:pt x="3568" y="38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2" name="Freeform: Shape 4321">
                <a:extLst>
                  <a:ext uri="{FF2B5EF4-FFF2-40B4-BE49-F238E27FC236}">
                    <a16:creationId xmlns:a16="http://schemas.microsoft.com/office/drawing/2014/main" id="{A0EAAA8A-5D87-25C9-B2EE-2AA698638F12}"/>
                  </a:ext>
                </a:extLst>
              </p:cNvPr>
              <p:cNvSpPr/>
              <p:nvPr/>
            </p:nvSpPr>
            <p:spPr>
              <a:xfrm>
                <a:off x="827840" y="3656733"/>
                <a:ext cx="481" cy="389"/>
              </a:xfrm>
              <a:custGeom>
                <a:avLst/>
                <a:gdLst>
                  <a:gd name="connsiteX0" fmla="*/ 4610 w 4610"/>
                  <a:gd name="connsiteY0" fmla="*/ 55 h 3732"/>
                  <a:gd name="connsiteX1" fmla="*/ 3183 w 4610"/>
                  <a:gd name="connsiteY1" fmla="*/ 3733 h 3732"/>
                  <a:gd name="connsiteX2" fmla="*/ 0 w 4610"/>
                  <a:gd name="connsiteY2" fmla="*/ 2086 h 3732"/>
                  <a:gd name="connsiteX3" fmla="*/ 494 w 4610"/>
                  <a:gd name="connsiteY3" fmla="*/ 0 h 3732"/>
                  <a:gd name="connsiteX4" fmla="*/ 4610 w 4610"/>
                  <a:gd name="connsiteY4" fmla="*/ 55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3732">
                    <a:moveTo>
                      <a:pt x="4610" y="55"/>
                    </a:moveTo>
                    <a:lnTo>
                      <a:pt x="3183" y="3733"/>
                    </a:lnTo>
                    <a:lnTo>
                      <a:pt x="0" y="2086"/>
                    </a:lnTo>
                    <a:lnTo>
                      <a:pt x="494" y="0"/>
                    </a:lnTo>
                    <a:lnTo>
                      <a:pt x="4610" y="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3" name="Freeform: Shape 4322">
                <a:extLst>
                  <a:ext uri="{FF2B5EF4-FFF2-40B4-BE49-F238E27FC236}">
                    <a16:creationId xmlns:a16="http://schemas.microsoft.com/office/drawing/2014/main" id="{4CD1ED56-956A-39A8-0BC2-9B1F64C11755}"/>
                  </a:ext>
                </a:extLst>
              </p:cNvPr>
              <p:cNvSpPr/>
              <p:nvPr/>
            </p:nvSpPr>
            <p:spPr>
              <a:xfrm>
                <a:off x="911360" y="3608331"/>
                <a:ext cx="418" cy="564"/>
              </a:xfrm>
              <a:custGeom>
                <a:avLst/>
                <a:gdLst>
                  <a:gd name="connsiteX0" fmla="*/ 3952 w 4006"/>
                  <a:gd name="connsiteY0" fmla="*/ 4391 h 5406"/>
                  <a:gd name="connsiteX1" fmla="*/ 1427 w 4006"/>
                  <a:gd name="connsiteY1" fmla="*/ 5406 h 5406"/>
                  <a:gd name="connsiteX2" fmla="*/ 0 w 4006"/>
                  <a:gd name="connsiteY2" fmla="*/ 2744 h 5406"/>
                  <a:gd name="connsiteX3" fmla="*/ 961 w 4006"/>
                  <a:gd name="connsiteY3" fmla="*/ 0 h 5406"/>
                  <a:gd name="connsiteX4" fmla="*/ 4007 w 4006"/>
                  <a:gd name="connsiteY4" fmla="*/ 1784 h 5406"/>
                  <a:gd name="connsiteX5" fmla="*/ 3924 w 4006"/>
                  <a:gd name="connsiteY5" fmla="*/ 4391 h 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6" h="5406">
                    <a:moveTo>
                      <a:pt x="3952" y="4391"/>
                    </a:moveTo>
                    <a:lnTo>
                      <a:pt x="1427" y="5406"/>
                    </a:lnTo>
                    <a:lnTo>
                      <a:pt x="0" y="2744"/>
                    </a:lnTo>
                    <a:lnTo>
                      <a:pt x="961" y="0"/>
                    </a:lnTo>
                    <a:lnTo>
                      <a:pt x="4007" y="1784"/>
                    </a:lnTo>
                    <a:lnTo>
                      <a:pt x="3924" y="43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4" name="Freeform: Shape 4323">
                <a:extLst>
                  <a:ext uri="{FF2B5EF4-FFF2-40B4-BE49-F238E27FC236}">
                    <a16:creationId xmlns:a16="http://schemas.microsoft.com/office/drawing/2014/main" id="{481F046E-DA3C-4EB8-8311-48635BEAC5D2}"/>
                  </a:ext>
                </a:extLst>
              </p:cNvPr>
              <p:cNvSpPr/>
              <p:nvPr/>
            </p:nvSpPr>
            <p:spPr>
              <a:xfrm>
                <a:off x="882883" y="3632890"/>
                <a:ext cx="507" cy="409"/>
              </a:xfrm>
              <a:custGeom>
                <a:avLst/>
                <a:gdLst>
                  <a:gd name="connsiteX0" fmla="*/ 4830 w 4857"/>
                  <a:gd name="connsiteY0" fmla="*/ 110 h 3924"/>
                  <a:gd name="connsiteX1" fmla="*/ 4610 w 4857"/>
                  <a:gd name="connsiteY1" fmla="*/ 3924 h 3924"/>
                  <a:gd name="connsiteX2" fmla="*/ 0 w 4857"/>
                  <a:gd name="connsiteY2" fmla="*/ 1866 h 3924"/>
                  <a:gd name="connsiteX3" fmla="*/ 1070 w 4857"/>
                  <a:gd name="connsiteY3" fmla="*/ 0 h 3924"/>
                  <a:gd name="connsiteX4" fmla="*/ 4857 w 4857"/>
                  <a:gd name="connsiteY4" fmla="*/ 137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 h="3924">
                    <a:moveTo>
                      <a:pt x="4830" y="110"/>
                    </a:moveTo>
                    <a:lnTo>
                      <a:pt x="4610" y="3924"/>
                    </a:lnTo>
                    <a:lnTo>
                      <a:pt x="0" y="1866"/>
                    </a:lnTo>
                    <a:lnTo>
                      <a:pt x="1070" y="0"/>
                    </a:lnTo>
                    <a:lnTo>
                      <a:pt x="4857" y="1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5" name="Freeform: Shape 4324">
                <a:extLst>
                  <a:ext uri="{FF2B5EF4-FFF2-40B4-BE49-F238E27FC236}">
                    <a16:creationId xmlns:a16="http://schemas.microsoft.com/office/drawing/2014/main" id="{89671A8A-54E9-9339-10C9-163640DD9AD7}"/>
                  </a:ext>
                </a:extLst>
              </p:cNvPr>
              <p:cNvSpPr/>
              <p:nvPr/>
            </p:nvSpPr>
            <p:spPr>
              <a:xfrm>
                <a:off x="875750" y="3642459"/>
                <a:ext cx="395" cy="484"/>
              </a:xfrm>
              <a:custGeom>
                <a:avLst/>
                <a:gdLst>
                  <a:gd name="connsiteX0" fmla="*/ 3787 w 3787"/>
                  <a:gd name="connsiteY0" fmla="*/ 2223 h 4638"/>
                  <a:gd name="connsiteX1" fmla="*/ 3376 w 3787"/>
                  <a:gd name="connsiteY1" fmla="*/ 4638 h 4638"/>
                  <a:gd name="connsiteX2" fmla="*/ 0 w 3787"/>
                  <a:gd name="connsiteY2" fmla="*/ 4556 h 4638"/>
                  <a:gd name="connsiteX3" fmla="*/ 521 w 3787"/>
                  <a:gd name="connsiteY3" fmla="*/ 0 h 4638"/>
                  <a:gd name="connsiteX4" fmla="*/ 3787 w 3787"/>
                  <a:gd name="connsiteY4" fmla="*/ 2223 h 4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 h="4638">
                    <a:moveTo>
                      <a:pt x="3787" y="2223"/>
                    </a:moveTo>
                    <a:lnTo>
                      <a:pt x="3376" y="4638"/>
                    </a:lnTo>
                    <a:lnTo>
                      <a:pt x="0" y="4556"/>
                    </a:lnTo>
                    <a:lnTo>
                      <a:pt x="521" y="0"/>
                    </a:lnTo>
                    <a:lnTo>
                      <a:pt x="3787" y="22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6" name="Freeform: Shape 4325">
                <a:extLst>
                  <a:ext uri="{FF2B5EF4-FFF2-40B4-BE49-F238E27FC236}">
                    <a16:creationId xmlns:a16="http://schemas.microsoft.com/office/drawing/2014/main" id="{9A312406-FC26-A886-F8F1-B97A597A02C0}"/>
                  </a:ext>
                </a:extLst>
              </p:cNvPr>
              <p:cNvSpPr/>
              <p:nvPr/>
            </p:nvSpPr>
            <p:spPr>
              <a:xfrm>
                <a:off x="954676" y="3626928"/>
                <a:ext cx="363" cy="561"/>
              </a:xfrm>
              <a:custGeom>
                <a:avLst/>
                <a:gdLst>
                  <a:gd name="connsiteX0" fmla="*/ 3485 w 3485"/>
                  <a:gd name="connsiteY0" fmla="*/ 4775 h 5378"/>
                  <a:gd name="connsiteX1" fmla="*/ 1235 w 3485"/>
                  <a:gd name="connsiteY1" fmla="*/ 5379 h 5378"/>
                  <a:gd name="connsiteX2" fmla="*/ 0 w 3485"/>
                  <a:gd name="connsiteY2" fmla="*/ 247 h 5378"/>
                  <a:gd name="connsiteX3" fmla="*/ 2854 w 3485"/>
                  <a:gd name="connsiteY3" fmla="*/ 0 h 5378"/>
                  <a:gd name="connsiteX4" fmla="*/ 3485 w 3485"/>
                  <a:gd name="connsiteY4" fmla="*/ 4775 h 5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5378">
                    <a:moveTo>
                      <a:pt x="3485" y="4775"/>
                    </a:moveTo>
                    <a:lnTo>
                      <a:pt x="1235" y="5379"/>
                    </a:lnTo>
                    <a:lnTo>
                      <a:pt x="0" y="247"/>
                    </a:lnTo>
                    <a:lnTo>
                      <a:pt x="2854" y="0"/>
                    </a:lnTo>
                    <a:lnTo>
                      <a:pt x="3485" y="47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7" name="Freeform: Shape 4326">
                <a:extLst>
                  <a:ext uri="{FF2B5EF4-FFF2-40B4-BE49-F238E27FC236}">
                    <a16:creationId xmlns:a16="http://schemas.microsoft.com/office/drawing/2014/main" id="{574DDF6E-A67E-4643-3ABA-BA0F4440B3DA}"/>
                  </a:ext>
                </a:extLst>
              </p:cNvPr>
              <p:cNvSpPr/>
              <p:nvPr/>
            </p:nvSpPr>
            <p:spPr>
              <a:xfrm>
                <a:off x="922177" y="3613149"/>
                <a:ext cx="363" cy="670"/>
              </a:xfrm>
              <a:custGeom>
                <a:avLst/>
                <a:gdLst>
                  <a:gd name="connsiteX0" fmla="*/ 3458 w 3485"/>
                  <a:gd name="connsiteY0" fmla="*/ 4281 h 6421"/>
                  <a:gd name="connsiteX1" fmla="*/ 1866 w 3485"/>
                  <a:gd name="connsiteY1" fmla="*/ 6422 h 6421"/>
                  <a:gd name="connsiteX2" fmla="*/ 521 w 3485"/>
                  <a:gd name="connsiteY2" fmla="*/ 5351 h 6421"/>
                  <a:gd name="connsiteX3" fmla="*/ 0 w 3485"/>
                  <a:gd name="connsiteY3" fmla="*/ 1619 h 6421"/>
                  <a:gd name="connsiteX4" fmla="*/ 1345 w 3485"/>
                  <a:gd name="connsiteY4" fmla="*/ 0 h 6421"/>
                  <a:gd name="connsiteX5" fmla="*/ 3485 w 3485"/>
                  <a:gd name="connsiteY5" fmla="*/ 1619 h 6421"/>
                  <a:gd name="connsiteX6" fmla="*/ 3485 w 3485"/>
                  <a:gd name="connsiteY6" fmla="*/ 4281 h 6421"/>
                  <a:gd name="connsiteX7" fmla="*/ 3485 w 3485"/>
                  <a:gd name="connsiteY7" fmla="*/ 4281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5" h="6421">
                    <a:moveTo>
                      <a:pt x="3458" y="4281"/>
                    </a:moveTo>
                    <a:lnTo>
                      <a:pt x="1866" y="6422"/>
                    </a:lnTo>
                    <a:lnTo>
                      <a:pt x="521" y="5351"/>
                    </a:lnTo>
                    <a:lnTo>
                      <a:pt x="0" y="1619"/>
                    </a:lnTo>
                    <a:lnTo>
                      <a:pt x="1345" y="0"/>
                    </a:lnTo>
                    <a:lnTo>
                      <a:pt x="3485" y="1619"/>
                    </a:lnTo>
                    <a:lnTo>
                      <a:pt x="3485" y="4281"/>
                    </a:lnTo>
                    <a:lnTo>
                      <a:pt x="3485"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8" name="Freeform: Shape 4327">
                <a:extLst>
                  <a:ext uri="{FF2B5EF4-FFF2-40B4-BE49-F238E27FC236}">
                    <a16:creationId xmlns:a16="http://schemas.microsoft.com/office/drawing/2014/main" id="{32C29DAB-03F7-6C6A-7456-BF193BC9576D}"/>
                  </a:ext>
                </a:extLst>
              </p:cNvPr>
              <p:cNvSpPr/>
              <p:nvPr/>
            </p:nvSpPr>
            <p:spPr>
              <a:xfrm>
                <a:off x="899158" y="3609748"/>
                <a:ext cx="369" cy="592"/>
              </a:xfrm>
              <a:custGeom>
                <a:avLst/>
                <a:gdLst>
                  <a:gd name="connsiteX0" fmla="*/ 3513 w 3540"/>
                  <a:gd name="connsiteY0" fmla="*/ 1674 h 5680"/>
                  <a:gd name="connsiteX1" fmla="*/ 3046 w 3540"/>
                  <a:gd name="connsiteY1" fmla="*/ 5681 h 5680"/>
                  <a:gd name="connsiteX2" fmla="*/ 659 w 3540"/>
                  <a:gd name="connsiteY2" fmla="*/ 5351 h 5680"/>
                  <a:gd name="connsiteX3" fmla="*/ 0 w 3540"/>
                  <a:gd name="connsiteY3" fmla="*/ 1921 h 5680"/>
                  <a:gd name="connsiteX4" fmla="*/ 1756 w 3540"/>
                  <a:gd name="connsiteY4" fmla="*/ 0 h 5680"/>
                  <a:gd name="connsiteX5" fmla="*/ 3540 w 3540"/>
                  <a:gd name="connsiteY5" fmla="*/ 1701 h 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0" h="5680">
                    <a:moveTo>
                      <a:pt x="3513" y="1674"/>
                    </a:moveTo>
                    <a:lnTo>
                      <a:pt x="3046" y="5681"/>
                    </a:lnTo>
                    <a:lnTo>
                      <a:pt x="659" y="5351"/>
                    </a:lnTo>
                    <a:lnTo>
                      <a:pt x="0" y="1921"/>
                    </a:lnTo>
                    <a:lnTo>
                      <a:pt x="1756" y="0"/>
                    </a:lnTo>
                    <a:lnTo>
                      <a:pt x="3540"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29" name="Freeform: Shape 4328">
                <a:extLst>
                  <a:ext uri="{FF2B5EF4-FFF2-40B4-BE49-F238E27FC236}">
                    <a16:creationId xmlns:a16="http://schemas.microsoft.com/office/drawing/2014/main" id="{4FCBD4F2-BA62-3F3F-2E88-C7DF2F4A92FA}"/>
                  </a:ext>
                </a:extLst>
              </p:cNvPr>
              <p:cNvSpPr/>
              <p:nvPr/>
            </p:nvSpPr>
            <p:spPr>
              <a:xfrm>
                <a:off x="906254" y="3614858"/>
                <a:ext cx="309" cy="678"/>
              </a:xfrm>
              <a:custGeom>
                <a:avLst/>
                <a:gdLst>
                  <a:gd name="connsiteX0" fmla="*/ 2772 w 2963"/>
                  <a:gd name="connsiteY0" fmla="*/ 1482 h 6503"/>
                  <a:gd name="connsiteX1" fmla="*/ 2964 w 2963"/>
                  <a:gd name="connsiteY1" fmla="*/ 6504 h 6503"/>
                  <a:gd name="connsiteX2" fmla="*/ 878 w 2963"/>
                  <a:gd name="connsiteY2" fmla="*/ 6202 h 6503"/>
                  <a:gd name="connsiteX3" fmla="*/ 0 w 2963"/>
                  <a:gd name="connsiteY3" fmla="*/ 1976 h 6503"/>
                  <a:gd name="connsiteX4" fmla="*/ 796 w 2963"/>
                  <a:gd name="connsiteY4" fmla="*/ 0 h 6503"/>
                  <a:gd name="connsiteX5" fmla="*/ 2772 w 2963"/>
                  <a:gd name="connsiteY5" fmla="*/ 1482 h 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3" h="6503">
                    <a:moveTo>
                      <a:pt x="2772" y="1482"/>
                    </a:moveTo>
                    <a:lnTo>
                      <a:pt x="2964" y="6504"/>
                    </a:lnTo>
                    <a:lnTo>
                      <a:pt x="878" y="6202"/>
                    </a:lnTo>
                    <a:lnTo>
                      <a:pt x="0" y="1976"/>
                    </a:lnTo>
                    <a:lnTo>
                      <a:pt x="796" y="0"/>
                    </a:lnTo>
                    <a:lnTo>
                      <a:pt x="2772"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0" name="Freeform: Shape 4329">
                <a:extLst>
                  <a:ext uri="{FF2B5EF4-FFF2-40B4-BE49-F238E27FC236}">
                    <a16:creationId xmlns:a16="http://schemas.microsoft.com/office/drawing/2014/main" id="{41631407-0A2D-78D1-F174-7E6A0823398D}"/>
                  </a:ext>
                </a:extLst>
              </p:cNvPr>
              <p:cNvSpPr/>
              <p:nvPr/>
            </p:nvSpPr>
            <p:spPr>
              <a:xfrm>
                <a:off x="843308" y="3653101"/>
                <a:ext cx="458" cy="363"/>
              </a:xfrm>
              <a:custGeom>
                <a:avLst/>
                <a:gdLst>
                  <a:gd name="connsiteX0" fmla="*/ 4391 w 4390"/>
                  <a:gd name="connsiteY0" fmla="*/ 905 h 3485"/>
                  <a:gd name="connsiteX1" fmla="*/ 3540 w 4390"/>
                  <a:gd name="connsiteY1" fmla="*/ 3485 h 3485"/>
                  <a:gd name="connsiteX2" fmla="*/ 0 w 4390"/>
                  <a:gd name="connsiteY2" fmla="*/ 3403 h 3485"/>
                  <a:gd name="connsiteX3" fmla="*/ 467 w 4390"/>
                  <a:gd name="connsiteY3" fmla="*/ 0 h 3485"/>
                  <a:gd name="connsiteX4" fmla="*/ 4391 w 4390"/>
                  <a:gd name="connsiteY4" fmla="*/ 905 h 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0" h="3485">
                    <a:moveTo>
                      <a:pt x="4391" y="905"/>
                    </a:moveTo>
                    <a:lnTo>
                      <a:pt x="3540" y="3485"/>
                    </a:lnTo>
                    <a:lnTo>
                      <a:pt x="0" y="3403"/>
                    </a:lnTo>
                    <a:lnTo>
                      <a:pt x="467" y="0"/>
                    </a:lnTo>
                    <a:lnTo>
                      <a:pt x="4391" y="9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1" name="Freeform: Shape 4330">
                <a:extLst>
                  <a:ext uri="{FF2B5EF4-FFF2-40B4-BE49-F238E27FC236}">
                    <a16:creationId xmlns:a16="http://schemas.microsoft.com/office/drawing/2014/main" id="{0A9A19A0-C4DD-B945-8290-8886BD5FEEE8}"/>
                  </a:ext>
                </a:extLst>
              </p:cNvPr>
              <p:cNvSpPr/>
              <p:nvPr/>
            </p:nvSpPr>
            <p:spPr>
              <a:xfrm>
                <a:off x="855525" y="3646747"/>
                <a:ext cx="366" cy="455"/>
              </a:xfrm>
              <a:custGeom>
                <a:avLst/>
                <a:gdLst>
                  <a:gd name="connsiteX0" fmla="*/ 3513 w 3512"/>
                  <a:gd name="connsiteY0" fmla="*/ 4062 h 4363"/>
                  <a:gd name="connsiteX1" fmla="*/ 768 w 3512"/>
                  <a:gd name="connsiteY1" fmla="*/ 4363 h 4363"/>
                  <a:gd name="connsiteX2" fmla="*/ 0 w 3512"/>
                  <a:gd name="connsiteY2" fmla="*/ 2442 h 4363"/>
                  <a:gd name="connsiteX3" fmla="*/ 192 w 3512"/>
                  <a:gd name="connsiteY3" fmla="*/ 0 h 4363"/>
                  <a:gd name="connsiteX4" fmla="*/ 2964 w 3512"/>
                  <a:gd name="connsiteY4" fmla="*/ 604 h 4363"/>
                  <a:gd name="connsiteX5" fmla="*/ 3513 w 3512"/>
                  <a:gd name="connsiteY5" fmla="*/ 4062 h 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 h="4363">
                    <a:moveTo>
                      <a:pt x="3513" y="4062"/>
                    </a:moveTo>
                    <a:lnTo>
                      <a:pt x="768" y="4363"/>
                    </a:lnTo>
                    <a:lnTo>
                      <a:pt x="0" y="2442"/>
                    </a:lnTo>
                    <a:lnTo>
                      <a:pt x="192" y="0"/>
                    </a:lnTo>
                    <a:lnTo>
                      <a:pt x="2964" y="604"/>
                    </a:lnTo>
                    <a:lnTo>
                      <a:pt x="3513" y="40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2" name="Freeform: Shape 4331">
                <a:extLst>
                  <a:ext uri="{FF2B5EF4-FFF2-40B4-BE49-F238E27FC236}">
                    <a16:creationId xmlns:a16="http://schemas.microsoft.com/office/drawing/2014/main" id="{5562D843-A653-4DA8-4B53-446E462B09E8}"/>
                  </a:ext>
                </a:extLst>
              </p:cNvPr>
              <p:cNvSpPr/>
              <p:nvPr/>
            </p:nvSpPr>
            <p:spPr>
              <a:xfrm>
                <a:off x="868044" y="3620960"/>
                <a:ext cx="584" cy="318"/>
              </a:xfrm>
              <a:custGeom>
                <a:avLst/>
                <a:gdLst>
                  <a:gd name="connsiteX0" fmla="*/ 5187 w 5598"/>
                  <a:gd name="connsiteY0" fmla="*/ 2882 h 3046"/>
                  <a:gd name="connsiteX1" fmla="*/ 1372 w 5598"/>
                  <a:gd name="connsiteY1" fmla="*/ 3046 h 3046"/>
                  <a:gd name="connsiteX2" fmla="*/ 0 w 5598"/>
                  <a:gd name="connsiteY2" fmla="*/ 1509 h 3046"/>
                  <a:gd name="connsiteX3" fmla="*/ 412 w 5598"/>
                  <a:gd name="connsiteY3" fmla="*/ 439 h 3046"/>
                  <a:gd name="connsiteX4" fmla="*/ 5598 w 5598"/>
                  <a:gd name="connsiteY4" fmla="*/ 0 h 3046"/>
                  <a:gd name="connsiteX5" fmla="*/ 5187 w 5598"/>
                  <a:gd name="connsiteY5" fmla="*/ 2882 h 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8" h="3046">
                    <a:moveTo>
                      <a:pt x="5187" y="2882"/>
                    </a:moveTo>
                    <a:lnTo>
                      <a:pt x="1372" y="3046"/>
                    </a:lnTo>
                    <a:lnTo>
                      <a:pt x="0" y="1509"/>
                    </a:lnTo>
                    <a:lnTo>
                      <a:pt x="412" y="439"/>
                    </a:lnTo>
                    <a:lnTo>
                      <a:pt x="5598" y="0"/>
                    </a:lnTo>
                    <a:lnTo>
                      <a:pt x="5187" y="28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3" name="Freeform: Shape 4332">
                <a:extLst>
                  <a:ext uri="{FF2B5EF4-FFF2-40B4-BE49-F238E27FC236}">
                    <a16:creationId xmlns:a16="http://schemas.microsoft.com/office/drawing/2014/main" id="{395DAAF8-608F-421D-1074-D5BA3F3B10B4}"/>
                  </a:ext>
                </a:extLst>
              </p:cNvPr>
              <p:cNvSpPr/>
              <p:nvPr/>
            </p:nvSpPr>
            <p:spPr>
              <a:xfrm>
                <a:off x="987799" y="3671529"/>
                <a:ext cx="180" cy="132"/>
              </a:xfrm>
              <a:custGeom>
                <a:avLst/>
                <a:gdLst>
                  <a:gd name="connsiteX0" fmla="*/ 1701 w 1728"/>
                  <a:gd name="connsiteY0" fmla="*/ 1070 h 1262"/>
                  <a:gd name="connsiteX1" fmla="*/ 878 w 1728"/>
                  <a:gd name="connsiteY1" fmla="*/ 1262 h 1262"/>
                  <a:gd name="connsiteX2" fmla="*/ 0 w 1728"/>
                  <a:gd name="connsiteY2" fmla="*/ 0 h 1262"/>
                  <a:gd name="connsiteX3" fmla="*/ 1647 w 1728"/>
                  <a:gd name="connsiteY3" fmla="*/ 0 h 1262"/>
                  <a:gd name="connsiteX4" fmla="*/ 1729 w 1728"/>
                  <a:gd name="connsiteY4" fmla="*/ 1070 h 1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8" h="1262">
                    <a:moveTo>
                      <a:pt x="1701" y="1070"/>
                    </a:moveTo>
                    <a:lnTo>
                      <a:pt x="878" y="1262"/>
                    </a:lnTo>
                    <a:lnTo>
                      <a:pt x="0" y="0"/>
                    </a:lnTo>
                    <a:lnTo>
                      <a:pt x="1647" y="0"/>
                    </a:lnTo>
                    <a:lnTo>
                      <a:pt x="1729" y="10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4" name="Freeform: Shape 4333">
                <a:extLst>
                  <a:ext uri="{FF2B5EF4-FFF2-40B4-BE49-F238E27FC236}">
                    <a16:creationId xmlns:a16="http://schemas.microsoft.com/office/drawing/2014/main" id="{466EEF2C-4712-64B4-847E-B63B3265ACC6}"/>
                  </a:ext>
                </a:extLst>
              </p:cNvPr>
              <p:cNvSpPr/>
              <p:nvPr/>
            </p:nvSpPr>
            <p:spPr>
              <a:xfrm>
                <a:off x="1442912" y="3892965"/>
                <a:ext cx="23806" cy="22086"/>
              </a:xfrm>
              <a:custGeom>
                <a:avLst/>
                <a:gdLst>
                  <a:gd name="connsiteX0" fmla="*/ 177666 w 228243"/>
                  <a:gd name="connsiteY0" fmla="*/ 211750 h 211750"/>
                  <a:gd name="connsiteX1" fmla="*/ 174235 w 228243"/>
                  <a:gd name="connsiteY1" fmla="*/ 209363 h 211750"/>
                  <a:gd name="connsiteX2" fmla="*/ 165042 w 228243"/>
                  <a:gd name="connsiteY2" fmla="*/ 207935 h 211750"/>
                  <a:gd name="connsiteX3" fmla="*/ 148000 w 228243"/>
                  <a:gd name="connsiteY3" fmla="*/ 209280 h 211750"/>
                  <a:gd name="connsiteX4" fmla="*/ 130408 w 228243"/>
                  <a:gd name="connsiteY4" fmla="*/ 202749 h 211750"/>
                  <a:gd name="connsiteX5" fmla="*/ 120282 w 228243"/>
                  <a:gd name="connsiteY5" fmla="*/ 204697 h 211750"/>
                  <a:gd name="connsiteX6" fmla="*/ 112187 w 228243"/>
                  <a:gd name="connsiteY6" fmla="*/ 198852 h 211750"/>
                  <a:gd name="connsiteX7" fmla="*/ 108784 w 228243"/>
                  <a:gd name="connsiteY7" fmla="*/ 191250 h 211750"/>
                  <a:gd name="connsiteX8" fmla="*/ 80792 w 228243"/>
                  <a:gd name="connsiteY8" fmla="*/ 183758 h 211750"/>
                  <a:gd name="connsiteX9" fmla="*/ 71708 w 228243"/>
                  <a:gd name="connsiteY9" fmla="*/ 169049 h 211750"/>
                  <a:gd name="connsiteX10" fmla="*/ 71105 w 228243"/>
                  <a:gd name="connsiteY10" fmla="*/ 152171 h 211750"/>
                  <a:gd name="connsiteX11" fmla="*/ 60210 w 228243"/>
                  <a:gd name="connsiteY11" fmla="*/ 150250 h 211750"/>
                  <a:gd name="connsiteX12" fmla="*/ 56587 w 228243"/>
                  <a:gd name="connsiteY12" fmla="*/ 139081 h 211750"/>
                  <a:gd name="connsiteX13" fmla="*/ 43249 w 228243"/>
                  <a:gd name="connsiteY13" fmla="*/ 133702 h 211750"/>
                  <a:gd name="connsiteX14" fmla="*/ 26811 w 228243"/>
                  <a:gd name="connsiteY14" fmla="*/ 120886 h 211750"/>
                  <a:gd name="connsiteX15" fmla="*/ 19923 w 228243"/>
                  <a:gd name="connsiteY15" fmla="*/ 102801 h 211750"/>
                  <a:gd name="connsiteX16" fmla="*/ 1290 w 228243"/>
                  <a:gd name="connsiteY16" fmla="*/ 74672 h 211750"/>
                  <a:gd name="connsiteX17" fmla="*/ 0 w 228243"/>
                  <a:gd name="connsiteY17" fmla="*/ 67016 h 211750"/>
                  <a:gd name="connsiteX18" fmla="*/ 12980 w 228243"/>
                  <a:gd name="connsiteY18" fmla="*/ 68113 h 211750"/>
                  <a:gd name="connsiteX19" fmla="*/ 19896 w 228243"/>
                  <a:gd name="connsiteY19" fmla="*/ 72641 h 211750"/>
                  <a:gd name="connsiteX20" fmla="*/ 28183 w 228243"/>
                  <a:gd name="connsiteY20" fmla="*/ 70556 h 211750"/>
                  <a:gd name="connsiteX21" fmla="*/ 40807 w 228243"/>
                  <a:gd name="connsiteY21" fmla="*/ 74947 h 211750"/>
                  <a:gd name="connsiteX22" fmla="*/ 51181 w 228243"/>
                  <a:gd name="connsiteY22" fmla="*/ 71846 h 211750"/>
                  <a:gd name="connsiteX23" fmla="*/ 67948 w 228243"/>
                  <a:gd name="connsiteY23" fmla="*/ 53843 h 211750"/>
                  <a:gd name="connsiteX24" fmla="*/ 75907 w 228243"/>
                  <a:gd name="connsiteY24" fmla="*/ 41356 h 211750"/>
                  <a:gd name="connsiteX25" fmla="*/ 102884 w 228243"/>
                  <a:gd name="connsiteY25" fmla="*/ 27333 h 211750"/>
                  <a:gd name="connsiteX26" fmla="*/ 105601 w 228243"/>
                  <a:gd name="connsiteY26" fmla="*/ 13584 h 211750"/>
                  <a:gd name="connsiteX27" fmla="*/ 108536 w 228243"/>
                  <a:gd name="connsiteY27" fmla="*/ 9687 h 211750"/>
                  <a:gd name="connsiteX28" fmla="*/ 125661 w 228243"/>
                  <a:gd name="connsiteY28" fmla="*/ 1427 h 211750"/>
                  <a:gd name="connsiteX29" fmla="*/ 151430 w 228243"/>
                  <a:gd name="connsiteY29" fmla="*/ 0 h 211750"/>
                  <a:gd name="connsiteX30" fmla="*/ 153159 w 228243"/>
                  <a:gd name="connsiteY30" fmla="*/ 11334 h 211750"/>
                  <a:gd name="connsiteX31" fmla="*/ 175250 w 228243"/>
                  <a:gd name="connsiteY31" fmla="*/ 12239 h 211750"/>
                  <a:gd name="connsiteX32" fmla="*/ 190564 w 228243"/>
                  <a:gd name="connsiteY32" fmla="*/ 18991 h 211750"/>
                  <a:gd name="connsiteX33" fmla="*/ 197040 w 228243"/>
                  <a:gd name="connsiteY33" fmla="*/ 24479 h 211750"/>
                  <a:gd name="connsiteX34" fmla="*/ 213287 w 228243"/>
                  <a:gd name="connsiteY34" fmla="*/ 27553 h 211750"/>
                  <a:gd name="connsiteX35" fmla="*/ 220120 w 228243"/>
                  <a:gd name="connsiteY35" fmla="*/ 32685 h 211750"/>
                  <a:gd name="connsiteX36" fmla="*/ 225691 w 228243"/>
                  <a:gd name="connsiteY36" fmla="*/ 34551 h 211750"/>
                  <a:gd name="connsiteX37" fmla="*/ 223523 w 228243"/>
                  <a:gd name="connsiteY37" fmla="*/ 40616 h 211750"/>
                  <a:gd name="connsiteX38" fmla="*/ 227804 w 228243"/>
                  <a:gd name="connsiteY38" fmla="*/ 52910 h 211750"/>
                  <a:gd name="connsiteX39" fmla="*/ 226350 w 228243"/>
                  <a:gd name="connsiteY39" fmla="*/ 69595 h 211750"/>
                  <a:gd name="connsiteX40" fmla="*/ 228243 w 228243"/>
                  <a:gd name="connsiteY40" fmla="*/ 84936 h 211750"/>
                  <a:gd name="connsiteX41" fmla="*/ 224675 w 228243"/>
                  <a:gd name="connsiteY41" fmla="*/ 89903 h 211750"/>
                  <a:gd name="connsiteX42" fmla="*/ 224895 w 228243"/>
                  <a:gd name="connsiteY42" fmla="*/ 95804 h 211750"/>
                  <a:gd name="connsiteX43" fmla="*/ 220175 w 228243"/>
                  <a:gd name="connsiteY43" fmla="*/ 98877 h 211750"/>
                  <a:gd name="connsiteX44" fmla="*/ 219324 w 228243"/>
                  <a:gd name="connsiteY44" fmla="*/ 101758 h 211750"/>
                  <a:gd name="connsiteX45" fmla="*/ 223083 w 228243"/>
                  <a:gd name="connsiteY45" fmla="*/ 107439 h 211750"/>
                  <a:gd name="connsiteX46" fmla="*/ 221766 w 228243"/>
                  <a:gd name="connsiteY46" fmla="*/ 119926 h 211750"/>
                  <a:gd name="connsiteX47" fmla="*/ 223166 w 228243"/>
                  <a:gd name="connsiteY47" fmla="*/ 124042 h 211750"/>
                  <a:gd name="connsiteX48" fmla="*/ 226596 w 228243"/>
                  <a:gd name="connsiteY48" fmla="*/ 126814 h 211750"/>
                  <a:gd name="connsiteX49" fmla="*/ 227968 w 228243"/>
                  <a:gd name="connsiteY49" fmla="*/ 132275 h 211750"/>
                  <a:gd name="connsiteX50" fmla="*/ 221575 w 228243"/>
                  <a:gd name="connsiteY50" fmla="*/ 146847 h 211750"/>
                  <a:gd name="connsiteX51" fmla="*/ 212628 w 228243"/>
                  <a:gd name="connsiteY51" fmla="*/ 155547 h 211750"/>
                  <a:gd name="connsiteX52" fmla="*/ 212792 w 228243"/>
                  <a:gd name="connsiteY52" fmla="*/ 164027 h 211750"/>
                  <a:gd name="connsiteX53" fmla="*/ 209637 w 228243"/>
                  <a:gd name="connsiteY53" fmla="*/ 170915 h 211750"/>
                  <a:gd name="connsiteX54" fmla="*/ 209911 w 228243"/>
                  <a:gd name="connsiteY54" fmla="*/ 177062 h 211750"/>
                  <a:gd name="connsiteX55" fmla="*/ 177693 w 228243"/>
                  <a:gd name="connsiteY55" fmla="*/ 211750 h 21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8243" h="211750">
                    <a:moveTo>
                      <a:pt x="177666" y="211750"/>
                    </a:moveTo>
                    <a:lnTo>
                      <a:pt x="174235" y="209363"/>
                    </a:lnTo>
                    <a:lnTo>
                      <a:pt x="165042" y="207935"/>
                    </a:lnTo>
                    <a:lnTo>
                      <a:pt x="148000" y="209280"/>
                    </a:lnTo>
                    <a:lnTo>
                      <a:pt x="130408" y="202749"/>
                    </a:lnTo>
                    <a:lnTo>
                      <a:pt x="120282" y="204697"/>
                    </a:lnTo>
                    <a:lnTo>
                      <a:pt x="112187" y="198852"/>
                    </a:lnTo>
                    <a:lnTo>
                      <a:pt x="108784" y="191250"/>
                    </a:lnTo>
                    <a:lnTo>
                      <a:pt x="80792" y="183758"/>
                    </a:lnTo>
                    <a:lnTo>
                      <a:pt x="71708" y="169049"/>
                    </a:lnTo>
                    <a:lnTo>
                      <a:pt x="71105" y="152171"/>
                    </a:lnTo>
                    <a:lnTo>
                      <a:pt x="60210" y="150250"/>
                    </a:lnTo>
                    <a:lnTo>
                      <a:pt x="56587" y="139081"/>
                    </a:lnTo>
                    <a:lnTo>
                      <a:pt x="43249" y="133702"/>
                    </a:lnTo>
                    <a:lnTo>
                      <a:pt x="26811" y="120886"/>
                    </a:lnTo>
                    <a:lnTo>
                      <a:pt x="19923" y="102801"/>
                    </a:lnTo>
                    <a:lnTo>
                      <a:pt x="1290" y="74672"/>
                    </a:lnTo>
                    <a:lnTo>
                      <a:pt x="0" y="67016"/>
                    </a:lnTo>
                    <a:lnTo>
                      <a:pt x="12980" y="68113"/>
                    </a:lnTo>
                    <a:lnTo>
                      <a:pt x="19896" y="72641"/>
                    </a:lnTo>
                    <a:lnTo>
                      <a:pt x="28183" y="70556"/>
                    </a:lnTo>
                    <a:lnTo>
                      <a:pt x="40807" y="74947"/>
                    </a:lnTo>
                    <a:lnTo>
                      <a:pt x="51181" y="71846"/>
                    </a:lnTo>
                    <a:lnTo>
                      <a:pt x="67948" y="53843"/>
                    </a:lnTo>
                    <a:lnTo>
                      <a:pt x="75907" y="41356"/>
                    </a:lnTo>
                    <a:lnTo>
                      <a:pt x="102884" y="27333"/>
                    </a:lnTo>
                    <a:lnTo>
                      <a:pt x="105601" y="13584"/>
                    </a:lnTo>
                    <a:lnTo>
                      <a:pt x="108536" y="9687"/>
                    </a:lnTo>
                    <a:lnTo>
                      <a:pt x="125661" y="1427"/>
                    </a:lnTo>
                    <a:lnTo>
                      <a:pt x="151430" y="0"/>
                    </a:lnTo>
                    <a:lnTo>
                      <a:pt x="153159" y="11334"/>
                    </a:lnTo>
                    <a:lnTo>
                      <a:pt x="175250" y="12239"/>
                    </a:lnTo>
                    <a:lnTo>
                      <a:pt x="190564" y="18991"/>
                    </a:lnTo>
                    <a:lnTo>
                      <a:pt x="197040" y="24479"/>
                    </a:lnTo>
                    <a:lnTo>
                      <a:pt x="213287" y="27553"/>
                    </a:lnTo>
                    <a:lnTo>
                      <a:pt x="220120" y="32685"/>
                    </a:lnTo>
                    <a:lnTo>
                      <a:pt x="225691" y="34551"/>
                    </a:lnTo>
                    <a:lnTo>
                      <a:pt x="223523" y="40616"/>
                    </a:lnTo>
                    <a:lnTo>
                      <a:pt x="227804" y="52910"/>
                    </a:lnTo>
                    <a:lnTo>
                      <a:pt x="226350" y="69595"/>
                    </a:lnTo>
                    <a:lnTo>
                      <a:pt x="228243" y="84936"/>
                    </a:lnTo>
                    <a:lnTo>
                      <a:pt x="224675" y="89903"/>
                    </a:lnTo>
                    <a:lnTo>
                      <a:pt x="224895" y="95804"/>
                    </a:lnTo>
                    <a:lnTo>
                      <a:pt x="220175" y="98877"/>
                    </a:lnTo>
                    <a:lnTo>
                      <a:pt x="219324" y="101758"/>
                    </a:lnTo>
                    <a:lnTo>
                      <a:pt x="223083" y="107439"/>
                    </a:lnTo>
                    <a:lnTo>
                      <a:pt x="221766" y="119926"/>
                    </a:lnTo>
                    <a:lnTo>
                      <a:pt x="223166" y="124042"/>
                    </a:lnTo>
                    <a:lnTo>
                      <a:pt x="226596" y="126814"/>
                    </a:lnTo>
                    <a:lnTo>
                      <a:pt x="227968" y="132275"/>
                    </a:lnTo>
                    <a:lnTo>
                      <a:pt x="221575" y="146847"/>
                    </a:lnTo>
                    <a:lnTo>
                      <a:pt x="212628" y="155547"/>
                    </a:lnTo>
                    <a:lnTo>
                      <a:pt x="212792" y="164027"/>
                    </a:lnTo>
                    <a:lnTo>
                      <a:pt x="209637" y="170915"/>
                    </a:lnTo>
                    <a:lnTo>
                      <a:pt x="209911" y="177062"/>
                    </a:lnTo>
                    <a:lnTo>
                      <a:pt x="177693" y="2117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5" name="Freeform: Shape 4334">
                <a:extLst>
                  <a:ext uri="{FF2B5EF4-FFF2-40B4-BE49-F238E27FC236}">
                    <a16:creationId xmlns:a16="http://schemas.microsoft.com/office/drawing/2014/main" id="{2ABF47F0-A63E-1CE1-C73C-3956BADD3A97}"/>
                  </a:ext>
                </a:extLst>
              </p:cNvPr>
              <p:cNvSpPr/>
              <p:nvPr/>
            </p:nvSpPr>
            <p:spPr>
              <a:xfrm>
                <a:off x="1140389" y="3806871"/>
                <a:ext cx="41412" cy="35384"/>
              </a:xfrm>
              <a:custGeom>
                <a:avLst/>
                <a:gdLst>
                  <a:gd name="connsiteX0" fmla="*/ 106205 w 397045"/>
                  <a:gd name="connsiteY0" fmla="*/ 14792 h 339250"/>
                  <a:gd name="connsiteX1" fmla="*/ 109415 w 397045"/>
                  <a:gd name="connsiteY1" fmla="*/ 19265 h 339250"/>
                  <a:gd name="connsiteX2" fmla="*/ 129778 w 397045"/>
                  <a:gd name="connsiteY2" fmla="*/ 21213 h 339250"/>
                  <a:gd name="connsiteX3" fmla="*/ 143390 w 397045"/>
                  <a:gd name="connsiteY3" fmla="*/ 28623 h 339250"/>
                  <a:gd name="connsiteX4" fmla="*/ 149125 w 397045"/>
                  <a:gd name="connsiteY4" fmla="*/ 36664 h 339250"/>
                  <a:gd name="connsiteX5" fmla="*/ 148851 w 397045"/>
                  <a:gd name="connsiteY5" fmla="*/ 42427 h 339250"/>
                  <a:gd name="connsiteX6" fmla="*/ 150470 w 397045"/>
                  <a:gd name="connsiteY6" fmla="*/ 45885 h 339250"/>
                  <a:gd name="connsiteX7" fmla="*/ 157523 w 397045"/>
                  <a:gd name="connsiteY7" fmla="*/ 50083 h 339250"/>
                  <a:gd name="connsiteX8" fmla="*/ 208347 w 397045"/>
                  <a:gd name="connsiteY8" fmla="*/ 46077 h 339250"/>
                  <a:gd name="connsiteX9" fmla="*/ 222755 w 397045"/>
                  <a:gd name="connsiteY9" fmla="*/ 56532 h 339250"/>
                  <a:gd name="connsiteX10" fmla="*/ 244490 w 397045"/>
                  <a:gd name="connsiteY10" fmla="*/ 62241 h 339250"/>
                  <a:gd name="connsiteX11" fmla="*/ 251707 w 397045"/>
                  <a:gd name="connsiteY11" fmla="*/ 61006 h 339250"/>
                  <a:gd name="connsiteX12" fmla="*/ 268612 w 397045"/>
                  <a:gd name="connsiteY12" fmla="*/ 51456 h 339250"/>
                  <a:gd name="connsiteX13" fmla="*/ 277778 w 397045"/>
                  <a:gd name="connsiteY13" fmla="*/ 49644 h 339250"/>
                  <a:gd name="connsiteX14" fmla="*/ 275939 w 397045"/>
                  <a:gd name="connsiteY14" fmla="*/ 47915 h 339250"/>
                  <a:gd name="connsiteX15" fmla="*/ 269243 w 397045"/>
                  <a:gd name="connsiteY15" fmla="*/ 48053 h 339250"/>
                  <a:gd name="connsiteX16" fmla="*/ 269847 w 397045"/>
                  <a:gd name="connsiteY16" fmla="*/ 45418 h 339250"/>
                  <a:gd name="connsiteX17" fmla="*/ 290100 w 397045"/>
                  <a:gd name="connsiteY17" fmla="*/ 45336 h 339250"/>
                  <a:gd name="connsiteX18" fmla="*/ 312795 w 397045"/>
                  <a:gd name="connsiteY18" fmla="*/ 42262 h 339250"/>
                  <a:gd name="connsiteX19" fmla="*/ 331264 w 397045"/>
                  <a:gd name="connsiteY19" fmla="*/ 43717 h 339250"/>
                  <a:gd name="connsiteX20" fmla="*/ 331182 w 397045"/>
                  <a:gd name="connsiteY20" fmla="*/ 45034 h 339250"/>
                  <a:gd name="connsiteX21" fmla="*/ 324733 w 397045"/>
                  <a:gd name="connsiteY21" fmla="*/ 47696 h 339250"/>
                  <a:gd name="connsiteX22" fmla="*/ 314606 w 397045"/>
                  <a:gd name="connsiteY22" fmla="*/ 47833 h 339250"/>
                  <a:gd name="connsiteX23" fmla="*/ 311203 w 397045"/>
                  <a:gd name="connsiteY23" fmla="*/ 49452 h 339250"/>
                  <a:gd name="connsiteX24" fmla="*/ 314551 w 397045"/>
                  <a:gd name="connsiteY24" fmla="*/ 57191 h 339250"/>
                  <a:gd name="connsiteX25" fmla="*/ 319299 w 397045"/>
                  <a:gd name="connsiteY25" fmla="*/ 61225 h 339250"/>
                  <a:gd name="connsiteX26" fmla="*/ 323169 w 397045"/>
                  <a:gd name="connsiteY26" fmla="*/ 68251 h 339250"/>
                  <a:gd name="connsiteX27" fmla="*/ 325529 w 397045"/>
                  <a:gd name="connsiteY27" fmla="*/ 68196 h 339250"/>
                  <a:gd name="connsiteX28" fmla="*/ 327614 w 397045"/>
                  <a:gd name="connsiteY28" fmla="*/ 64820 h 339250"/>
                  <a:gd name="connsiteX29" fmla="*/ 338537 w 397045"/>
                  <a:gd name="connsiteY29" fmla="*/ 69870 h 339250"/>
                  <a:gd name="connsiteX30" fmla="*/ 348087 w 397045"/>
                  <a:gd name="connsiteY30" fmla="*/ 70117 h 339250"/>
                  <a:gd name="connsiteX31" fmla="*/ 368477 w 397045"/>
                  <a:gd name="connsiteY31" fmla="*/ 83948 h 339250"/>
                  <a:gd name="connsiteX32" fmla="*/ 372127 w 397045"/>
                  <a:gd name="connsiteY32" fmla="*/ 90727 h 339250"/>
                  <a:gd name="connsiteX33" fmla="*/ 369986 w 397045"/>
                  <a:gd name="connsiteY33" fmla="*/ 96983 h 339250"/>
                  <a:gd name="connsiteX34" fmla="*/ 373856 w 397045"/>
                  <a:gd name="connsiteY34" fmla="*/ 106698 h 339250"/>
                  <a:gd name="connsiteX35" fmla="*/ 378055 w 397045"/>
                  <a:gd name="connsiteY35" fmla="*/ 107796 h 339250"/>
                  <a:gd name="connsiteX36" fmla="*/ 385876 w 397045"/>
                  <a:gd name="connsiteY36" fmla="*/ 106095 h 339250"/>
                  <a:gd name="connsiteX37" fmla="*/ 392709 w 397045"/>
                  <a:gd name="connsiteY37" fmla="*/ 108372 h 339250"/>
                  <a:gd name="connsiteX38" fmla="*/ 397045 w 397045"/>
                  <a:gd name="connsiteY38" fmla="*/ 114108 h 339250"/>
                  <a:gd name="connsiteX39" fmla="*/ 396935 w 397045"/>
                  <a:gd name="connsiteY39" fmla="*/ 116797 h 339250"/>
                  <a:gd name="connsiteX40" fmla="*/ 393670 w 397045"/>
                  <a:gd name="connsiteY40" fmla="*/ 118746 h 339250"/>
                  <a:gd name="connsiteX41" fmla="*/ 391612 w 397045"/>
                  <a:gd name="connsiteY41" fmla="*/ 122862 h 339250"/>
                  <a:gd name="connsiteX42" fmla="*/ 382089 w 397045"/>
                  <a:gd name="connsiteY42" fmla="*/ 128653 h 339250"/>
                  <a:gd name="connsiteX43" fmla="*/ 377231 w 397045"/>
                  <a:gd name="connsiteY43" fmla="*/ 129778 h 339250"/>
                  <a:gd name="connsiteX44" fmla="*/ 372182 w 397045"/>
                  <a:gd name="connsiteY44" fmla="*/ 137846 h 339250"/>
                  <a:gd name="connsiteX45" fmla="*/ 374926 w 397045"/>
                  <a:gd name="connsiteY45" fmla="*/ 148082 h 339250"/>
                  <a:gd name="connsiteX46" fmla="*/ 376655 w 397045"/>
                  <a:gd name="connsiteY46" fmla="*/ 149345 h 339250"/>
                  <a:gd name="connsiteX47" fmla="*/ 382143 w 397045"/>
                  <a:gd name="connsiteY47" fmla="*/ 148741 h 339250"/>
                  <a:gd name="connsiteX48" fmla="*/ 383817 w 397045"/>
                  <a:gd name="connsiteY48" fmla="*/ 150525 h 339250"/>
                  <a:gd name="connsiteX49" fmla="*/ 383104 w 397045"/>
                  <a:gd name="connsiteY49" fmla="*/ 152610 h 339250"/>
                  <a:gd name="connsiteX50" fmla="*/ 371852 w 397045"/>
                  <a:gd name="connsiteY50" fmla="*/ 160020 h 339250"/>
                  <a:gd name="connsiteX51" fmla="*/ 367050 w 397045"/>
                  <a:gd name="connsiteY51" fmla="*/ 159362 h 339250"/>
                  <a:gd name="connsiteX52" fmla="*/ 358954 w 397045"/>
                  <a:gd name="connsiteY52" fmla="*/ 162682 h 339250"/>
                  <a:gd name="connsiteX53" fmla="*/ 357308 w 397045"/>
                  <a:gd name="connsiteY53" fmla="*/ 166304 h 339250"/>
                  <a:gd name="connsiteX54" fmla="*/ 359448 w 397045"/>
                  <a:gd name="connsiteY54" fmla="*/ 176897 h 339250"/>
                  <a:gd name="connsiteX55" fmla="*/ 352286 w 397045"/>
                  <a:gd name="connsiteY55" fmla="*/ 184499 h 339250"/>
                  <a:gd name="connsiteX56" fmla="*/ 371084 w 397045"/>
                  <a:gd name="connsiteY56" fmla="*/ 207222 h 339250"/>
                  <a:gd name="connsiteX57" fmla="*/ 374048 w 397045"/>
                  <a:gd name="connsiteY57" fmla="*/ 215345 h 339250"/>
                  <a:gd name="connsiteX58" fmla="*/ 363757 w 397045"/>
                  <a:gd name="connsiteY58" fmla="*/ 225746 h 339250"/>
                  <a:gd name="connsiteX59" fmla="*/ 354618 w 397045"/>
                  <a:gd name="connsiteY59" fmla="*/ 227640 h 339250"/>
                  <a:gd name="connsiteX60" fmla="*/ 345919 w 397045"/>
                  <a:gd name="connsiteY60" fmla="*/ 234363 h 339250"/>
                  <a:gd name="connsiteX61" fmla="*/ 336753 w 397045"/>
                  <a:gd name="connsiteY61" fmla="*/ 238013 h 339250"/>
                  <a:gd name="connsiteX62" fmla="*/ 319601 w 397045"/>
                  <a:gd name="connsiteY62" fmla="*/ 238891 h 339250"/>
                  <a:gd name="connsiteX63" fmla="*/ 313179 w 397045"/>
                  <a:gd name="connsiteY63" fmla="*/ 242294 h 339250"/>
                  <a:gd name="connsiteX64" fmla="*/ 311258 w 397045"/>
                  <a:gd name="connsiteY64" fmla="*/ 250143 h 339250"/>
                  <a:gd name="connsiteX65" fmla="*/ 306758 w 397045"/>
                  <a:gd name="connsiteY65" fmla="*/ 252311 h 339250"/>
                  <a:gd name="connsiteX66" fmla="*/ 295012 w 397045"/>
                  <a:gd name="connsiteY66" fmla="*/ 244901 h 339250"/>
                  <a:gd name="connsiteX67" fmla="*/ 275939 w 397045"/>
                  <a:gd name="connsiteY67" fmla="*/ 245011 h 339250"/>
                  <a:gd name="connsiteX68" fmla="*/ 269518 w 397045"/>
                  <a:gd name="connsiteY68" fmla="*/ 239440 h 339250"/>
                  <a:gd name="connsiteX69" fmla="*/ 253985 w 397045"/>
                  <a:gd name="connsiteY69" fmla="*/ 236668 h 339250"/>
                  <a:gd name="connsiteX70" fmla="*/ 257031 w 397045"/>
                  <a:gd name="connsiteY70" fmla="*/ 243611 h 339250"/>
                  <a:gd name="connsiteX71" fmla="*/ 268584 w 397045"/>
                  <a:gd name="connsiteY71" fmla="*/ 255302 h 339250"/>
                  <a:gd name="connsiteX72" fmla="*/ 268996 w 397045"/>
                  <a:gd name="connsiteY72" fmla="*/ 266773 h 339250"/>
                  <a:gd name="connsiteX73" fmla="*/ 274210 w 397045"/>
                  <a:gd name="connsiteY73" fmla="*/ 277888 h 339250"/>
                  <a:gd name="connsiteX74" fmla="*/ 274842 w 397045"/>
                  <a:gd name="connsiteY74" fmla="*/ 286038 h 339250"/>
                  <a:gd name="connsiteX75" fmla="*/ 291774 w 397045"/>
                  <a:gd name="connsiteY75" fmla="*/ 289523 h 339250"/>
                  <a:gd name="connsiteX76" fmla="*/ 292926 w 397045"/>
                  <a:gd name="connsiteY76" fmla="*/ 291692 h 339250"/>
                  <a:gd name="connsiteX77" fmla="*/ 291774 w 397045"/>
                  <a:gd name="connsiteY77" fmla="*/ 295918 h 339250"/>
                  <a:gd name="connsiteX78" fmla="*/ 275473 w 397045"/>
                  <a:gd name="connsiteY78" fmla="*/ 302779 h 339250"/>
                  <a:gd name="connsiteX79" fmla="*/ 272015 w 397045"/>
                  <a:gd name="connsiteY79" fmla="*/ 311670 h 339250"/>
                  <a:gd name="connsiteX80" fmla="*/ 266718 w 397045"/>
                  <a:gd name="connsiteY80" fmla="*/ 317213 h 339250"/>
                  <a:gd name="connsiteX81" fmla="*/ 261614 w 397045"/>
                  <a:gd name="connsiteY81" fmla="*/ 317351 h 339250"/>
                  <a:gd name="connsiteX82" fmla="*/ 254232 w 397045"/>
                  <a:gd name="connsiteY82" fmla="*/ 322592 h 339250"/>
                  <a:gd name="connsiteX83" fmla="*/ 243200 w 397045"/>
                  <a:gd name="connsiteY83" fmla="*/ 327093 h 339250"/>
                  <a:gd name="connsiteX84" fmla="*/ 231070 w 397045"/>
                  <a:gd name="connsiteY84" fmla="*/ 339250 h 339250"/>
                  <a:gd name="connsiteX85" fmla="*/ 229478 w 397045"/>
                  <a:gd name="connsiteY85" fmla="*/ 338207 h 339250"/>
                  <a:gd name="connsiteX86" fmla="*/ 229314 w 397045"/>
                  <a:gd name="connsiteY86" fmla="*/ 333268 h 339250"/>
                  <a:gd name="connsiteX87" fmla="*/ 226816 w 397045"/>
                  <a:gd name="connsiteY87" fmla="*/ 331401 h 339250"/>
                  <a:gd name="connsiteX88" fmla="*/ 222398 w 397045"/>
                  <a:gd name="connsiteY88" fmla="*/ 331868 h 339250"/>
                  <a:gd name="connsiteX89" fmla="*/ 212628 w 397045"/>
                  <a:gd name="connsiteY89" fmla="*/ 337357 h 339250"/>
                  <a:gd name="connsiteX90" fmla="*/ 207853 w 397045"/>
                  <a:gd name="connsiteY90" fmla="*/ 337357 h 339250"/>
                  <a:gd name="connsiteX91" fmla="*/ 190537 w 397045"/>
                  <a:gd name="connsiteY91" fmla="*/ 324184 h 339250"/>
                  <a:gd name="connsiteX92" fmla="*/ 181014 w 397045"/>
                  <a:gd name="connsiteY92" fmla="*/ 295122 h 339250"/>
                  <a:gd name="connsiteX93" fmla="*/ 180932 w 397045"/>
                  <a:gd name="connsiteY93" fmla="*/ 290347 h 339250"/>
                  <a:gd name="connsiteX94" fmla="*/ 168171 w 397045"/>
                  <a:gd name="connsiteY94" fmla="*/ 277696 h 339250"/>
                  <a:gd name="connsiteX95" fmla="*/ 161996 w 397045"/>
                  <a:gd name="connsiteY95" fmla="*/ 276378 h 339250"/>
                  <a:gd name="connsiteX96" fmla="*/ 177364 w 397045"/>
                  <a:gd name="connsiteY96" fmla="*/ 260160 h 339250"/>
                  <a:gd name="connsiteX97" fmla="*/ 172561 w 397045"/>
                  <a:gd name="connsiteY97" fmla="*/ 251350 h 339250"/>
                  <a:gd name="connsiteX98" fmla="*/ 168226 w 397045"/>
                  <a:gd name="connsiteY98" fmla="*/ 248441 h 339250"/>
                  <a:gd name="connsiteX99" fmla="*/ 163341 w 397045"/>
                  <a:gd name="connsiteY99" fmla="*/ 233512 h 339250"/>
                  <a:gd name="connsiteX100" fmla="*/ 161228 w 397045"/>
                  <a:gd name="connsiteY100" fmla="*/ 226432 h 339250"/>
                  <a:gd name="connsiteX101" fmla="*/ 163066 w 397045"/>
                  <a:gd name="connsiteY101" fmla="*/ 210460 h 339250"/>
                  <a:gd name="connsiteX102" fmla="*/ 162106 w 397045"/>
                  <a:gd name="connsiteY102" fmla="*/ 204725 h 339250"/>
                  <a:gd name="connsiteX103" fmla="*/ 167896 w 397045"/>
                  <a:gd name="connsiteY103" fmla="*/ 198193 h 339250"/>
                  <a:gd name="connsiteX104" fmla="*/ 168418 w 397045"/>
                  <a:gd name="connsiteY104" fmla="*/ 190811 h 339250"/>
                  <a:gd name="connsiteX105" fmla="*/ 173632 w 397045"/>
                  <a:gd name="connsiteY105" fmla="*/ 183621 h 339250"/>
                  <a:gd name="connsiteX106" fmla="*/ 172095 w 397045"/>
                  <a:gd name="connsiteY106" fmla="*/ 177638 h 339250"/>
                  <a:gd name="connsiteX107" fmla="*/ 163094 w 397045"/>
                  <a:gd name="connsiteY107" fmla="*/ 174675 h 339250"/>
                  <a:gd name="connsiteX108" fmla="*/ 148247 w 397045"/>
                  <a:gd name="connsiteY108" fmla="*/ 178187 h 339250"/>
                  <a:gd name="connsiteX109" fmla="*/ 137599 w 397045"/>
                  <a:gd name="connsiteY109" fmla="*/ 179203 h 339250"/>
                  <a:gd name="connsiteX110" fmla="*/ 126677 w 397045"/>
                  <a:gd name="connsiteY110" fmla="*/ 177419 h 339250"/>
                  <a:gd name="connsiteX111" fmla="*/ 121161 w 397045"/>
                  <a:gd name="connsiteY111" fmla="*/ 180493 h 339250"/>
                  <a:gd name="connsiteX112" fmla="*/ 115370 w 397045"/>
                  <a:gd name="connsiteY112" fmla="*/ 179614 h 339250"/>
                  <a:gd name="connsiteX113" fmla="*/ 95913 w 397045"/>
                  <a:gd name="connsiteY113" fmla="*/ 154394 h 339250"/>
                  <a:gd name="connsiteX114" fmla="*/ 89025 w 397045"/>
                  <a:gd name="connsiteY114" fmla="*/ 155355 h 339250"/>
                  <a:gd name="connsiteX115" fmla="*/ 76703 w 397045"/>
                  <a:gd name="connsiteY115" fmla="*/ 151431 h 339250"/>
                  <a:gd name="connsiteX116" fmla="*/ 68580 w 397045"/>
                  <a:gd name="connsiteY116" fmla="*/ 154257 h 339250"/>
                  <a:gd name="connsiteX117" fmla="*/ 38777 w 397045"/>
                  <a:gd name="connsiteY117" fmla="*/ 152720 h 339250"/>
                  <a:gd name="connsiteX118" fmla="*/ 33892 w 397045"/>
                  <a:gd name="connsiteY118" fmla="*/ 143170 h 339250"/>
                  <a:gd name="connsiteX119" fmla="*/ 27635 w 397045"/>
                  <a:gd name="connsiteY119" fmla="*/ 141880 h 339250"/>
                  <a:gd name="connsiteX120" fmla="*/ 26016 w 397045"/>
                  <a:gd name="connsiteY120" fmla="*/ 140042 h 339250"/>
                  <a:gd name="connsiteX121" fmla="*/ 25769 w 397045"/>
                  <a:gd name="connsiteY121" fmla="*/ 126155 h 339250"/>
                  <a:gd name="connsiteX122" fmla="*/ 29007 w 397045"/>
                  <a:gd name="connsiteY122" fmla="*/ 122451 h 339250"/>
                  <a:gd name="connsiteX123" fmla="*/ 29062 w 397045"/>
                  <a:gd name="connsiteY123" fmla="*/ 119130 h 339250"/>
                  <a:gd name="connsiteX124" fmla="*/ 27580 w 397045"/>
                  <a:gd name="connsiteY124" fmla="*/ 113092 h 339250"/>
                  <a:gd name="connsiteX125" fmla="*/ 20445 w 397045"/>
                  <a:gd name="connsiteY125" fmla="*/ 104969 h 339250"/>
                  <a:gd name="connsiteX126" fmla="*/ 17015 w 397045"/>
                  <a:gd name="connsiteY126" fmla="*/ 91989 h 339250"/>
                  <a:gd name="connsiteX127" fmla="*/ 11883 w 397045"/>
                  <a:gd name="connsiteY127" fmla="*/ 91028 h 339250"/>
                  <a:gd name="connsiteX128" fmla="*/ 9852 w 397045"/>
                  <a:gd name="connsiteY128" fmla="*/ 86390 h 339250"/>
                  <a:gd name="connsiteX129" fmla="*/ 4171 w 397045"/>
                  <a:gd name="connsiteY129" fmla="*/ 89190 h 339250"/>
                  <a:gd name="connsiteX130" fmla="*/ 0 w 397045"/>
                  <a:gd name="connsiteY130" fmla="*/ 88833 h 339250"/>
                  <a:gd name="connsiteX131" fmla="*/ 7959 w 397045"/>
                  <a:gd name="connsiteY131" fmla="*/ 76703 h 339250"/>
                  <a:gd name="connsiteX132" fmla="*/ 10868 w 397045"/>
                  <a:gd name="connsiteY132" fmla="*/ 68415 h 339250"/>
                  <a:gd name="connsiteX133" fmla="*/ 13694 w 397045"/>
                  <a:gd name="connsiteY133" fmla="*/ 51511 h 339250"/>
                  <a:gd name="connsiteX134" fmla="*/ 25220 w 397045"/>
                  <a:gd name="connsiteY134" fmla="*/ 32630 h 339250"/>
                  <a:gd name="connsiteX135" fmla="*/ 33069 w 397045"/>
                  <a:gd name="connsiteY135" fmla="*/ 29282 h 339250"/>
                  <a:gd name="connsiteX136" fmla="*/ 40945 w 397045"/>
                  <a:gd name="connsiteY136" fmla="*/ 15505 h 339250"/>
                  <a:gd name="connsiteX137" fmla="*/ 59606 w 397045"/>
                  <a:gd name="connsiteY137" fmla="*/ 9358 h 339250"/>
                  <a:gd name="connsiteX138" fmla="*/ 41714 w 397045"/>
                  <a:gd name="connsiteY138" fmla="*/ 19759 h 339250"/>
                  <a:gd name="connsiteX139" fmla="*/ 43250 w 397045"/>
                  <a:gd name="connsiteY139" fmla="*/ 26565 h 339250"/>
                  <a:gd name="connsiteX140" fmla="*/ 49178 w 397045"/>
                  <a:gd name="connsiteY140" fmla="*/ 33947 h 339250"/>
                  <a:gd name="connsiteX141" fmla="*/ 50934 w 397045"/>
                  <a:gd name="connsiteY141" fmla="*/ 46241 h 339250"/>
                  <a:gd name="connsiteX142" fmla="*/ 49480 w 397045"/>
                  <a:gd name="connsiteY142" fmla="*/ 51675 h 339250"/>
                  <a:gd name="connsiteX143" fmla="*/ 40588 w 397045"/>
                  <a:gd name="connsiteY143" fmla="*/ 62268 h 339250"/>
                  <a:gd name="connsiteX144" fmla="*/ 37405 w 397045"/>
                  <a:gd name="connsiteY144" fmla="*/ 71160 h 339250"/>
                  <a:gd name="connsiteX145" fmla="*/ 50166 w 397045"/>
                  <a:gd name="connsiteY145" fmla="*/ 91879 h 339250"/>
                  <a:gd name="connsiteX146" fmla="*/ 59442 w 397045"/>
                  <a:gd name="connsiteY146" fmla="*/ 90946 h 339250"/>
                  <a:gd name="connsiteX147" fmla="*/ 64683 w 397045"/>
                  <a:gd name="connsiteY147" fmla="*/ 86885 h 339250"/>
                  <a:gd name="connsiteX148" fmla="*/ 67428 w 397045"/>
                  <a:gd name="connsiteY148" fmla="*/ 75413 h 339250"/>
                  <a:gd name="connsiteX149" fmla="*/ 65973 w 397045"/>
                  <a:gd name="connsiteY149" fmla="*/ 68168 h 339250"/>
                  <a:gd name="connsiteX150" fmla="*/ 54529 w 397045"/>
                  <a:gd name="connsiteY150" fmla="*/ 48904 h 339250"/>
                  <a:gd name="connsiteX151" fmla="*/ 54365 w 397045"/>
                  <a:gd name="connsiteY151" fmla="*/ 40616 h 339250"/>
                  <a:gd name="connsiteX152" fmla="*/ 57603 w 397045"/>
                  <a:gd name="connsiteY152" fmla="*/ 36115 h 339250"/>
                  <a:gd name="connsiteX153" fmla="*/ 72834 w 397045"/>
                  <a:gd name="connsiteY153" fmla="*/ 29556 h 339250"/>
                  <a:gd name="connsiteX154" fmla="*/ 91028 w 397045"/>
                  <a:gd name="connsiteY154" fmla="*/ 23985 h 339250"/>
                  <a:gd name="connsiteX155" fmla="*/ 97752 w 397045"/>
                  <a:gd name="connsiteY155" fmla="*/ 20225 h 339250"/>
                  <a:gd name="connsiteX156" fmla="*/ 104668 w 397045"/>
                  <a:gd name="connsiteY156" fmla="*/ 20006 h 339250"/>
                  <a:gd name="connsiteX157" fmla="*/ 103405 w 397045"/>
                  <a:gd name="connsiteY157" fmla="*/ 15341 h 339250"/>
                  <a:gd name="connsiteX158" fmla="*/ 94157 w 397045"/>
                  <a:gd name="connsiteY158" fmla="*/ 15505 h 339250"/>
                  <a:gd name="connsiteX159" fmla="*/ 92044 w 397045"/>
                  <a:gd name="connsiteY159" fmla="*/ 13694 h 339250"/>
                  <a:gd name="connsiteX160" fmla="*/ 91687 w 397045"/>
                  <a:gd name="connsiteY160" fmla="*/ 4940 h 339250"/>
                  <a:gd name="connsiteX161" fmla="*/ 93553 w 397045"/>
                  <a:gd name="connsiteY161" fmla="*/ 2031 h 339250"/>
                  <a:gd name="connsiteX162" fmla="*/ 97779 w 397045"/>
                  <a:gd name="connsiteY162" fmla="*/ 0 h 339250"/>
                  <a:gd name="connsiteX163" fmla="*/ 102225 w 397045"/>
                  <a:gd name="connsiteY163" fmla="*/ 2909 h 339250"/>
                  <a:gd name="connsiteX164" fmla="*/ 106287 w 397045"/>
                  <a:gd name="connsiteY164" fmla="*/ 14709 h 33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397045" h="339250">
                    <a:moveTo>
                      <a:pt x="106205" y="14792"/>
                    </a:moveTo>
                    <a:lnTo>
                      <a:pt x="109415" y="19265"/>
                    </a:lnTo>
                    <a:lnTo>
                      <a:pt x="129778" y="21213"/>
                    </a:lnTo>
                    <a:lnTo>
                      <a:pt x="143390" y="28623"/>
                    </a:lnTo>
                    <a:lnTo>
                      <a:pt x="149125" y="36664"/>
                    </a:lnTo>
                    <a:lnTo>
                      <a:pt x="148851" y="42427"/>
                    </a:lnTo>
                    <a:lnTo>
                      <a:pt x="150470" y="45885"/>
                    </a:lnTo>
                    <a:lnTo>
                      <a:pt x="157523" y="50083"/>
                    </a:lnTo>
                    <a:lnTo>
                      <a:pt x="208347" y="46077"/>
                    </a:lnTo>
                    <a:lnTo>
                      <a:pt x="222755" y="56532"/>
                    </a:lnTo>
                    <a:lnTo>
                      <a:pt x="244490" y="62241"/>
                    </a:lnTo>
                    <a:lnTo>
                      <a:pt x="251707" y="61006"/>
                    </a:lnTo>
                    <a:lnTo>
                      <a:pt x="268612" y="51456"/>
                    </a:lnTo>
                    <a:lnTo>
                      <a:pt x="277778" y="49644"/>
                    </a:lnTo>
                    <a:lnTo>
                      <a:pt x="275939" y="47915"/>
                    </a:lnTo>
                    <a:lnTo>
                      <a:pt x="269243" y="48053"/>
                    </a:lnTo>
                    <a:lnTo>
                      <a:pt x="269847" y="45418"/>
                    </a:lnTo>
                    <a:lnTo>
                      <a:pt x="290100" y="45336"/>
                    </a:lnTo>
                    <a:lnTo>
                      <a:pt x="312795" y="42262"/>
                    </a:lnTo>
                    <a:lnTo>
                      <a:pt x="331264" y="43717"/>
                    </a:lnTo>
                    <a:lnTo>
                      <a:pt x="331182" y="45034"/>
                    </a:lnTo>
                    <a:lnTo>
                      <a:pt x="324733" y="47696"/>
                    </a:lnTo>
                    <a:lnTo>
                      <a:pt x="314606" y="47833"/>
                    </a:lnTo>
                    <a:lnTo>
                      <a:pt x="311203" y="49452"/>
                    </a:lnTo>
                    <a:lnTo>
                      <a:pt x="314551" y="57191"/>
                    </a:lnTo>
                    <a:lnTo>
                      <a:pt x="319299" y="61225"/>
                    </a:lnTo>
                    <a:lnTo>
                      <a:pt x="323169" y="68251"/>
                    </a:lnTo>
                    <a:lnTo>
                      <a:pt x="325529" y="68196"/>
                    </a:lnTo>
                    <a:lnTo>
                      <a:pt x="327614" y="64820"/>
                    </a:lnTo>
                    <a:lnTo>
                      <a:pt x="338537" y="69870"/>
                    </a:lnTo>
                    <a:lnTo>
                      <a:pt x="348087" y="70117"/>
                    </a:lnTo>
                    <a:lnTo>
                      <a:pt x="368477" y="83948"/>
                    </a:lnTo>
                    <a:lnTo>
                      <a:pt x="372127" y="90727"/>
                    </a:lnTo>
                    <a:lnTo>
                      <a:pt x="369986" y="96983"/>
                    </a:lnTo>
                    <a:lnTo>
                      <a:pt x="373856" y="106698"/>
                    </a:lnTo>
                    <a:lnTo>
                      <a:pt x="378055" y="107796"/>
                    </a:lnTo>
                    <a:lnTo>
                      <a:pt x="385876" y="106095"/>
                    </a:lnTo>
                    <a:lnTo>
                      <a:pt x="392709" y="108372"/>
                    </a:lnTo>
                    <a:lnTo>
                      <a:pt x="397045" y="114108"/>
                    </a:lnTo>
                    <a:lnTo>
                      <a:pt x="396935" y="116797"/>
                    </a:lnTo>
                    <a:lnTo>
                      <a:pt x="393670" y="118746"/>
                    </a:lnTo>
                    <a:lnTo>
                      <a:pt x="391612" y="122862"/>
                    </a:lnTo>
                    <a:lnTo>
                      <a:pt x="382089" y="128653"/>
                    </a:lnTo>
                    <a:lnTo>
                      <a:pt x="377231" y="129778"/>
                    </a:lnTo>
                    <a:lnTo>
                      <a:pt x="372182" y="137846"/>
                    </a:lnTo>
                    <a:lnTo>
                      <a:pt x="374926" y="148082"/>
                    </a:lnTo>
                    <a:lnTo>
                      <a:pt x="376655" y="149345"/>
                    </a:lnTo>
                    <a:lnTo>
                      <a:pt x="382143" y="148741"/>
                    </a:lnTo>
                    <a:lnTo>
                      <a:pt x="383817" y="150525"/>
                    </a:lnTo>
                    <a:lnTo>
                      <a:pt x="383104" y="152610"/>
                    </a:lnTo>
                    <a:lnTo>
                      <a:pt x="371852" y="160020"/>
                    </a:lnTo>
                    <a:lnTo>
                      <a:pt x="367050" y="159362"/>
                    </a:lnTo>
                    <a:lnTo>
                      <a:pt x="358954" y="162682"/>
                    </a:lnTo>
                    <a:lnTo>
                      <a:pt x="357308" y="166304"/>
                    </a:lnTo>
                    <a:lnTo>
                      <a:pt x="359448" y="176897"/>
                    </a:lnTo>
                    <a:lnTo>
                      <a:pt x="352286" y="184499"/>
                    </a:lnTo>
                    <a:lnTo>
                      <a:pt x="371084" y="207222"/>
                    </a:lnTo>
                    <a:lnTo>
                      <a:pt x="374048" y="215345"/>
                    </a:lnTo>
                    <a:lnTo>
                      <a:pt x="363757" y="225746"/>
                    </a:lnTo>
                    <a:lnTo>
                      <a:pt x="354618" y="227640"/>
                    </a:lnTo>
                    <a:lnTo>
                      <a:pt x="345919" y="234363"/>
                    </a:lnTo>
                    <a:lnTo>
                      <a:pt x="336753" y="238013"/>
                    </a:lnTo>
                    <a:lnTo>
                      <a:pt x="319601" y="238891"/>
                    </a:lnTo>
                    <a:lnTo>
                      <a:pt x="313179" y="242294"/>
                    </a:lnTo>
                    <a:lnTo>
                      <a:pt x="311258" y="250143"/>
                    </a:lnTo>
                    <a:lnTo>
                      <a:pt x="306758" y="252311"/>
                    </a:lnTo>
                    <a:lnTo>
                      <a:pt x="295012" y="244901"/>
                    </a:lnTo>
                    <a:lnTo>
                      <a:pt x="275939" y="245011"/>
                    </a:lnTo>
                    <a:lnTo>
                      <a:pt x="269518" y="239440"/>
                    </a:lnTo>
                    <a:lnTo>
                      <a:pt x="253985" y="236668"/>
                    </a:lnTo>
                    <a:lnTo>
                      <a:pt x="257031" y="243611"/>
                    </a:lnTo>
                    <a:lnTo>
                      <a:pt x="268584" y="255302"/>
                    </a:lnTo>
                    <a:lnTo>
                      <a:pt x="268996" y="266773"/>
                    </a:lnTo>
                    <a:lnTo>
                      <a:pt x="274210" y="277888"/>
                    </a:lnTo>
                    <a:lnTo>
                      <a:pt x="274842" y="286038"/>
                    </a:lnTo>
                    <a:lnTo>
                      <a:pt x="291774" y="289523"/>
                    </a:lnTo>
                    <a:lnTo>
                      <a:pt x="292926" y="291692"/>
                    </a:lnTo>
                    <a:lnTo>
                      <a:pt x="291774" y="295918"/>
                    </a:lnTo>
                    <a:lnTo>
                      <a:pt x="275473" y="302779"/>
                    </a:lnTo>
                    <a:lnTo>
                      <a:pt x="272015" y="311670"/>
                    </a:lnTo>
                    <a:lnTo>
                      <a:pt x="266718" y="317213"/>
                    </a:lnTo>
                    <a:lnTo>
                      <a:pt x="261614" y="317351"/>
                    </a:lnTo>
                    <a:lnTo>
                      <a:pt x="254232" y="322592"/>
                    </a:lnTo>
                    <a:lnTo>
                      <a:pt x="243200" y="327093"/>
                    </a:lnTo>
                    <a:lnTo>
                      <a:pt x="231070" y="339250"/>
                    </a:lnTo>
                    <a:lnTo>
                      <a:pt x="229478" y="338207"/>
                    </a:lnTo>
                    <a:lnTo>
                      <a:pt x="229314" y="333268"/>
                    </a:lnTo>
                    <a:lnTo>
                      <a:pt x="226816" y="331401"/>
                    </a:lnTo>
                    <a:lnTo>
                      <a:pt x="222398" y="331868"/>
                    </a:lnTo>
                    <a:lnTo>
                      <a:pt x="212628" y="337357"/>
                    </a:lnTo>
                    <a:lnTo>
                      <a:pt x="207853" y="337357"/>
                    </a:lnTo>
                    <a:lnTo>
                      <a:pt x="190537" y="324184"/>
                    </a:lnTo>
                    <a:lnTo>
                      <a:pt x="181014" y="295122"/>
                    </a:lnTo>
                    <a:lnTo>
                      <a:pt x="180932" y="290347"/>
                    </a:lnTo>
                    <a:lnTo>
                      <a:pt x="168171" y="277696"/>
                    </a:lnTo>
                    <a:lnTo>
                      <a:pt x="161996" y="276378"/>
                    </a:lnTo>
                    <a:lnTo>
                      <a:pt x="177364" y="260160"/>
                    </a:lnTo>
                    <a:lnTo>
                      <a:pt x="172561" y="251350"/>
                    </a:lnTo>
                    <a:lnTo>
                      <a:pt x="168226" y="248441"/>
                    </a:lnTo>
                    <a:lnTo>
                      <a:pt x="163341" y="233512"/>
                    </a:lnTo>
                    <a:lnTo>
                      <a:pt x="161228" y="226432"/>
                    </a:lnTo>
                    <a:lnTo>
                      <a:pt x="163066" y="210460"/>
                    </a:lnTo>
                    <a:lnTo>
                      <a:pt x="162106" y="204725"/>
                    </a:lnTo>
                    <a:lnTo>
                      <a:pt x="167896" y="198193"/>
                    </a:lnTo>
                    <a:lnTo>
                      <a:pt x="168418" y="190811"/>
                    </a:lnTo>
                    <a:lnTo>
                      <a:pt x="173632" y="183621"/>
                    </a:lnTo>
                    <a:lnTo>
                      <a:pt x="172095" y="177638"/>
                    </a:lnTo>
                    <a:lnTo>
                      <a:pt x="163094" y="174675"/>
                    </a:lnTo>
                    <a:lnTo>
                      <a:pt x="148247" y="178187"/>
                    </a:lnTo>
                    <a:lnTo>
                      <a:pt x="137599" y="179203"/>
                    </a:lnTo>
                    <a:lnTo>
                      <a:pt x="126677" y="177419"/>
                    </a:lnTo>
                    <a:lnTo>
                      <a:pt x="121161" y="180493"/>
                    </a:lnTo>
                    <a:lnTo>
                      <a:pt x="115370" y="179614"/>
                    </a:lnTo>
                    <a:lnTo>
                      <a:pt x="95913" y="154394"/>
                    </a:lnTo>
                    <a:lnTo>
                      <a:pt x="89025" y="155355"/>
                    </a:lnTo>
                    <a:lnTo>
                      <a:pt x="76703" y="151431"/>
                    </a:lnTo>
                    <a:lnTo>
                      <a:pt x="68580" y="154257"/>
                    </a:lnTo>
                    <a:lnTo>
                      <a:pt x="38777" y="152720"/>
                    </a:lnTo>
                    <a:lnTo>
                      <a:pt x="33892" y="143170"/>
                    </a:lnTo>
                    <a:lnTo>
                      <a:pt x="27635" y="141880"/>
                    </a:lnTo>
                    <a:lnTo>
                      <a:pt x="26016" y="140042"/>
                    </a:lnTo>
                    <a:lnTo>
                      <a:pt x="25769" y="126155"/>
                    </a:lnTo>
                    <a:lnTo>
                      <a:pt x="29007" y="122451"/>
                    </a:lnTo>
                    <a:lnTo>
                      <a:pt x="29062" y="119130"/>
                    </a:lnTo>
                    <a:lnTo>
                      <a:pt x="27580" y="113092"/>
                    </a:lnTo>
                    <a:lnTo>
                      <a:pt x="20445" y="104969"/>
                    </a:lnTo>
                    <a:lnTo>
                      <a:pt x="17015" y="91989"/>
                    </a:lnTo>
                    <a:lnTo>
                      <a:pt x="11883" y="91028"/>
                    </a:lnTo>
                    <a:lnTo>
                      <a:pt x="9852" y="86390"/>
                    </a:lnTo>
                    <a:lnTo>
                      <a:pt x="4171" y="89190"/>
                    </a:lnTo>
                    <a:lnTo>
                      <a:pt x="0" y="88833"/>
                    </a:lnTo>
                    <a:lnTo>
                      <a:pt x="7959" y="76703"/>
                    </a:lnTo>
                    <a:lnTo>
                      <a:pt x="10868" y="68415"/>
                    </a:lnTo>
                    <a:lnTo>
                      <a:pt x="13694" y="51511"/>
                    </a:lnTo>
                    <a:lnTo>
                      <a:pt x="25220" y="32630"/>
                    </a:lnTo>
                    <a:lnTo>
                      <a:pt x="33069" y="29282"/>
                    </a:lnTo>
                    <a:lnTo>
                      <a:pt x="40945" y="15505"/>
                    </a:lnTo>
                    <a:lnTo>
                      <a:pt x="59606" y="9358"/>
                    </a:lnTo>
                    <a:lnTo>
                      <a:pt x="41714" y="19759"/>
                    </a:lnTo>
                    <a:lnTo>
                      <a:pt x="43250" y="26565"/>
                    </a:lnTo>
                    <a:lnTo>
                      <a:pt x="49178" y="33947"/>
                    </a:lnTo>
                    <a:lnTo>
                      <a:pt x="50934" y="46241"/>
                    </a:lnTo>
                    <a:lnTo>
                      <a:pt x="49480" y="51675"/>
                    </a:lnTo>
                    <a:lnTo>
                      <a:pt x="40588" y="62268"/>
                    </a:lnTo>
                    <a:lnTo>
                      <a:pt x="37405" y="71160"/>
                    </a:lnTo>
                    <a:lnTo>
                      <a:pt x="50166" y="91879"/>
                    </a:lnTo>
                    <a:lnTo>
                      <a:pt x="59442" y="90946"/>
                    </a:lnTo>
                    <a:lnTo>
                      <a:pt x="64683" y="86885"/>
                    </a:lnTo>
                    <a:lnTo>
                      <a:pt x="67428" y="75413"/>
                    </a:lnTo>
                    <a:lnTo>
                      <a:pt x="65973" y="68168"/>
                    </a:lnTo>
                    <a:lnTo>
                      <a:pt x="54529" y="48904"/>
                    </a:lnTo>
                    <a:lnTo>
                      <a:pt x="54365" y="40616"/>
                    </a:lnTo>
                    <a:lnTo>
                      <a:pt x="57603" y="36115"/>
                    </a:lnTo>
                    <a:lnTo>
                      <a:pt x="72834" y="29556"/>
                    </a:lnTo>
                    <a:lnTo>
                      <a:pt x="91028" y="23985"/>
                    </a:lnTo>
                    <a:lnTo>
                      <a:pt x="97752" y="20225"/>
                    </a:lnTo>
                    <a:lnTo>
                      <a:pt x="104668" y="20006"/>
                    </a:lnTo>
                    <a:lnTo>
                      <a:pt x="103405" y="15341"/>
                    </a:lnTo>
                    <a:lnTo>
                      <a:pt x="94157" y="15505"/>
                    </a:lnTo>
                    <a:lnTo>
                      <a:pt x="92044" y="13694"/>
                    </a:lnTo>
                    <a:lnTo>
                      <a:pt x="91687" y="4940"/>
                    </a:lnTo>
                    <a:lnTo>
                      <a:pt x="93553" y="2031"/>
                    </a:lnTo>
                    <a:lnTo>
                      <a:pt x="97779" y="0"/>
                    </a:lnTo>
                    <a:lnTo>
                      <a:pt x="102225" y="2909"/>
                    </a:lnTo>
                    <a:lnTo>
                      <a:pt x="106287" y="1470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6" name="Freeform: Shape 4335">
                <a:extLst>
                  <a:ext uri="{FF2B5EF4-FFF2-40B4-BE49-F238E27FC236}">
                    <a16:creationId xmlns:a16="http://schemas.microsoft.com/office/drawing/2014/main" id="{CADE4A4D-46C7-895A-072F-7CE4FA4760B5}"/>
                  </a:ext>
                </a:extLst>
              </p:cNvPr>
              <p:cNvSpPr/>
              <p:nvPr/>
            </p:nvSpPr>
            <p:spPr>
              <a:xfrm>
                <a:off x="1168678" y="3809966"/>
                <a:ext cx="1065" cy="930"/>
              </a:xfrm>
              <a:custGeom>
                <a:avLst/>
                <a:gdLst>
                  <a:gd name="connsiteX0" fmla="*/ 6586 w 10208"/>
                  <a:gd name="connsiteY0" fmla="*/ 8562 h 8918"/>
                  <a:gd name="connsiteX1" fmla="*/ 3348 w 10208"/>
                  <a:gd name="connsiteY1" fmla="*/ 8919 h 8918"/>
                  <a:gd name="connsiteX2" fmla="*/ 659 w 10208"/>
                  <a:gd name="connsiteY2" fmla="*/ 8096 h 8918"/>
                  <a:gd name="connsiteX3" fmla="*/ 0 w 10208"/>
                  <a:gd name="connsiteY3" fmla="*/ 6888 h 8918"/>
                  <a:gd name="connsiteX4" fmla="*/ 2607 w 10208"/>
                  <a:gd name="connsiteY4" fmla="*/ 5763 h 8918"/>
                  <a:gd name="connsiteX5" fmla="*/ 4446 w 10208"/>
                  <a:gd name="connsiteY5" fmla="*/ 1921 h 8918"/>
                  <a:gd name="connsiteX6" fmla="*/ 7163 w 10208"/>
                  <a:gd name="connsiteY6" fmla="*/ 0 h 8918"/>
                  <a:gd name="connsiteX7" fmla="*/ 10209 w 10208"/>
                  <a:gd name="connsiteY7" fmla="*/ 5214 h 8918"/>
                  <a:gd name="connsiteX8" fmla="*/ 7190 w 10208"/>
                  <a:gd name="connsiteY8" fmla="*/ 7053 h 8918"/>
                  <a:gd name="connsiteX9" fmla="*/ 6586 w 10208"/>
                  <a:gd name="connsiteY9" fmla="*/ 8590 h 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08" h="8918">
                    <a:moveTo>
                      <a:pt x="6586" y="8562"/>
                    </a:moveTo>
                    <a:lnTo>
                      <a:pt x="3348" y="8919"/>
                    </a:lnTo>
                    <a:lnTo>
                      <a:pt x="659" y="8096"/>
                    </a:lnTo>
                    <a:lnTo>
                      <a:pt x="0" y="6888"/>
                    </a:lnTo>
                    <a:lnTo>
                      <a:pt x="2607" y="5763"/>
                    </a:lnTo>
                    <a:lnTo>
                      <a:pt x="4446" y="1921"/>
                    </a:lnTo>
                    <a:lnTo>
                      <a:pt x="7163" y="0"/>
                    </a:lnTo>
                    <a:lnTo>
                      <a:pt x="10209" y="5214"/>
                    </a:lnTo>
                    <a:lnTo>
                      <a:pt x="7190" y="7053"/>
                    </a:lnTo>
                    <a:lnTo>
                      <a:pt x="6586" y="85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7" name="Freeform: Shape 4336">
                <a:extLst>
                  <a:ext uri="{FF2B5EF4-FFF2-40B4-BE49-F238E27FC236}">
                    <a16:creationId xmlns:a16="http://schemas.microsoft.com/office/drawing/2014/main" id="{21DD89B9-132F-6904-04EF-1708348BB333}"/>
                  </a:ext>
                </a:extLst>
              </p:cNvPr>
              <p:cNvSpPr/>
              <p:nvPr/>
            </p:nvSpPr>
            <p:spPr>
              <a:xfrm>
                <a:off x="1167813" y="3810237"/>
                <a:ext cx="730" cy="467"/>
              </a:xfrm>
              <a:custGeom>
                <a:avLst/>
                <a:gdLst>
                  <a:gd name="connsiteX0" fmla="*/ 6998 w 6997"/>
                  <a:gd name="connsiteY0" fmla="*/ 3129 h 4473"/>
                  <a:gd name="connsiteX1" fmla="*/ 5873 w 6997"/>
                  <a:gd name="connsiteY1" fmla="*/ 4473 h 4473"/>
                  <a:gd name="connsiteX2" fmla="*/ 0 w 6997"/>
                  <a:gd name="connsiteY2" fmla="*/ 3293 h 4473"/>
                  <a:gd name="connsiteX3" fmla="*/ 741 w 6997"/>
                  <a:gd name="connsiteY3" fmla="*/ 1235 h 4473"/>
                  <a:gd name="connsiteX4" fmla="*/ 5681 w 6997"/>
                  <a:gd name="connsiteY4" fmla="*/ 0 h 4473"/>
                  <a:gd name="connsiteX5" fmla="*/ 6998 w 6997"/>
                  <a:gd name="connsiteY5" fmla="*/ 3129 h 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7" h="4473">
                    <a:moveTo>
                      <a:pt x="6998" y="3129"/>
                    </a:moveTo>
                    <a:lnTo>
                      <a:pt x="5873" y="4473"/>
                    </a:lnTo>
                    <a:lnTo>
                      <a:pt x="0" y="3293"/>
                    </a:lnTo>
                    <a:lnTo>
                      <a:pt x="741" y="1235"/>
                    </a:lnTo>
                    <a:lnTo>
                      <a:pt x="5681" y="0"/>
                    </a:lnTo>
                    <a:lnTo>
                      <a:pt x="6998" y="312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8" name="Freeform: Shape 4337">
                <a:extLst>
                  <a:ext uri="{FF2B5EF4-FFF2-40B4-BE49-F238E27FC236}">
                    <a16:creationId xmlns:a16="http://schemas.microsoft.com/office/drawing/2014/main" id="{935C9CA8-E94A-0CFB-266C-B394333D2E82}"/>
                  </a:ext>
                </a:extLst>
              </p:cNvPr>
              <p:cNvSpPr/>
              <p:nvPr/>
            </p:nvSpPr>
            <p:spPr>
              <a:xfrm>
                <a:off x="1164791" y="3810538"/>
                <a:ext cx="592" cy="321"/>
              </a:xfrm>
              <a:custGeom>
                <a:avLst/>
                <a:gdLst>
                  <a:gd name="connsiteX0" fmla="*/ 5653 w 5680"/>
                  <a:gd name="connsiteY0" fmla="*/ 2662 h 3073"/>
                  <a:gd name="connsiteX1" fmla="*/ 2497 w 5680"/>
                  <a:gd name="connsiteY1" fmla="*/ 3074 h 3073"/>
                  <a:gd name="connsiteX2" fmla="*/ 0 w 5680"/>
                  <a:gd name="connsiteY2" fmla="*/ 1482 h 3073"/>
                  <a:gd name="connsiteX3" fmla="*/ 2580 w 5680"/>
                  <a:gd name="connsiteY3" fmla="*/ 0 h 3073"/>
                  <a:gd name="connsiteX4" fmla="*/ 5214 w 5680"/>
                  <a:gd name="connsiteY4" fmla="*/ 960 h 3073"/>
                  <a:gd name="connsiteX5" fmla="*/ 5681 w 5680"/>
                  <a:gd name="connsiteY5" fmla="*/ 2662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80" h="3073">
                    <a:moveTo>
                      <a:pt x="5653" y="2662"/>
                    </a:moveTo>
                    <a:lnTo>
                      <a:pt x="2497" y="3074"/>
                    </a:lnTo>
                    <a:lnTo>
                      <a:pt x="0" y="1482"/>
                    </a:lnTo>
                    <a:lnTo>
                      <a:pt x="2580" y="0"/>
                    </a:lnTo>
                    <a:lnTo>
                      <a:pt x="5214" y="960"/>
                    </a:lnTo>
                    <a:lnTo>
                      <a:pt x="5681"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39" name="Freeform: Shape 4338">
                <a:extLst>
                  <a:ext uri="{FF2B5EF4-FFF2-40B4-BE49-F238E27FC236}">
                    <a16:creationId xmlns:a16="http://schemas.microsoft.com/office/drawing/2014/main" id="{92AED32D-7802-0BA8-972E-843DC4C9C8CE}"/>
                  </a:ext>
                </a:extLst>
              </p:cNvPr>
              <p:cNvSpPr/>
              <p:nvPr/>
            </p:nvSpPr>
            <p:spPr>
              <a:xfrm>
                <a:off x="1170063" y="3795539"/>
                <a:ext cx="306" cy="509"/>
              </a:xfrm>
              <a:custGeom>
                <a:avLst/>
                <a:gdLst>
                  <a:gd name="connsiteX0" fmla="*/ 2936 w 2936"/>
                  <a:gd name="connsiteY0" fmla="*/ 3046 h 4884"/>
                  <a:gd name="connsiteX1" fmla="*/ 2086 w 2936"/>
                  <a:gd name="connsiteY1" fmla="*/ 4885 h 4884"/>
                  <a:gd name="connsiteX2" fmla="*/ 0 w 2936"/>
                  <a:gd name="connsiteY2" fmla="*/ 1400 h 4884"/>
                  <a:gd name="connsiteX3" fmla="*/ 2086 w 2936"/>
                  <a:gd name="connsiteY3" fmla="*/ 0 h 4884"/>
                  <a:gd name="connsiteX4" fmla="*/ 2936 w 2936"/>
                  <a:gd name="connsiteY4" fmla="*/ 3046 h 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6" h="4884">
                    <a:moveTo>
                      <a:pt x="2936" y="3046"/>
                    </a:moveTo>
                    <a:lnTo>
                      <a:pt x="2086" y="4885"/>
                    </a:lnTo>
                    <a:lnTo>
                      <a:pt x="0" y="1400"/>
                    </a:lnTo>
                    <a:lnTo>
                      <a:pt x="2086" y="0"/>
                    </a:lnTo>
                    <a:lnTo>
                      <a:pt x="2936" y="30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0" name="Freeform: Shape 4339">
                <a:extLst>
                  <a:ext uri="{FF2B5EF4-FFF2-40B4-BE49-F238E27FC236}">
                    <a16:creationId xmlns:a16="http://schemas.microsoft.com/office/drawing/2014/main" id="{D622189C-3905-4599-3B0D-DEDAB0387A41}"/>
                  </a:ext>
                </a:extLst>
              </p:cNvPr>
              <p:cNvSpPr/>
              <p:nvPr/>
            </p:nvSpPr>
            <p:spPr>
              <a:xfrm>
                <a:off x="1162289" y="3807807"/>
                <a:ext cx="386" cy="386"/>
              </a:xfrm>
              <a:custGeom>
                <a:avLst/>
                <a:gdLst>
                  <a:gd name="connsiteX0" fmla="*/ 3705 w 3704"/>
                  <a:gd name="connsiteY0" fmla="*/ 2415 h 3704"/>
                  <a:gd name="connsiteX1" fmla="*/ 1674 w 3704"/>
                  <a:gd name="connsiteY1" fmla="*/ 3705 h 3704"/>
                  <a:gd name="connsiteX2" fmla="*/ 0 w 3704"/>
                  <a:gd name="connsiteY2" fmla="*/ 2031 h 3704"/>
                  <a:gd name="connsiteX3" fmla="*/ 3183 w 3704"/>
                  <a:gd name="connsiteY3" fmla="*/ 0 h 3704"/>
                  <a:gd name="connsiteX4" fmla="*/ 3705 w 3704"/>
                  <a:gd name="connsiteY4" fmla="*/ 2415 h 3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 h="3704">
                    <a:moveTo>
                      <a:pt x="3705" y="2415"/>
                    </a:moveTo>
                    <a:lnTo>
                      <a:pt x="1674" y="3705"/>
                    </a:lnTo>
                    <a:lnTo>
                      <a:pt x="0" y="2031"/>
                    </a:lnTo>
                    <a:lnTo>
                      <a:pt x="3183" y="0"/>
                    </a:lnTo>
                    <a:lnTo>
                      <a:pt x="3705" y="24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1" name="Freeform: Shape 4340">
                <a:extLst>
                  <a:ext uri="{FF2B5EF4-FFF2-40B4-BE49-F238E27FC236}">
                    <a16:creationId xmlns:a16="http://schemas.microsoft.com/office/drawing/2014/main" id="{88278110-8932-C3F7-CBD8-5DF385D2D08B}"/>
                  </a:ext>
                </a:extLst>
              </p:cNvPr>
              <p:cNvSpPr/>
              <p:nvPr/>
            </p:nvSpPr>
            <p:spPr>
              <a:xfrm>
                <a:off x="1168998" y="3811036"/>
                <a:ext cx="386" cy="343"/>
              </a:xfrm>
              <a:custGeom>
                <a:avLst/>
                <a:gdLst>
                  <a:gd name="connsiteX0" fmla="*/ 3705 w 3704"/>
                  <a:gd name="connsiteY0" fmla="*/ 823 h 3293"/>
                  <a:gd name="connsiteX1" fmla="*/ 3650 w 3704"/>
                  <a:gd name="connsiteY1" fmla="*/ 3293 h 3293"/>
                  <a:gd name="connsiteX2" fmla="*/ 0 w 3704"/>
                  <a:gd name="connsiteY2" fmla="*/ 1427 h 3293"/>
                  <a:gd name="connsiteX3" fmla="*/ 302 w 3704"/>
                  <a:gd name="connsiteY3" fmla="*/ 0 h 3293"/>
                  <a:gd name="connsiteX4" fmla="*/ 3705 w 3704"/>
                  <a:gd name="connsiteY4" fmla="*/ 823 h 3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 h="3293">
                    <a:moveTo>
                      <a:pt x="3705" y="823"/>
                    </a:moveTo>
                    <a:lnTo>
                      <a:pt x="3650" y="3293"/>
                    </a:lnTo>
                    <a:lnTo>
                      <a:pt x="0" y="1427"/>
                    </a:lnTo>
                    <a:lnTo>
                      <a:pt x="302" y="0"/>
                    </a:lnTo>
                    <a:lnTo>
                      <a:pt x="3705" y="82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2" name="Freeform: Shape 4341">
                <a:extLst>
                  <a:ext uri="{FF2B5EF4-FFF2-40B4-BE49-F238E27FC236}">
                    <a16:creationId xmlns:a16="http://schemas.microsoft.com/office/drawing/2014/main" id="{C0F73424-AC7F-9403-4D41-1FF483D66BD0}"/>
                  </a:ext>
                </a:extLst>
              </p:cNvPr>
              <p:cNvSpPr/>
              <p:nvPr/>
            </p:nvSpPr>
            <p:spPr>
              <a:xfrm>
                <a:off x="1160251" y="3807584"/>
                <a:ext cx="386" cy="321"/>
              </a:xfrm>
              <a:custGeom>
                <a:avLst/>
                <a:gdLst>
                  <a:gd name="connsiteX0" fmla="*/ 3458 w 3704"/>
                  <a:gd name="connsiteY0" fmla="*/ 2689 h 3073"/>
                  <a:gd name="connsiteX1" fmla="*/ 439 w 3704"/>
                  <a:gd name="connsiteY1" fmla="*/ 3074 h 3073"/>
                  <a:gd name="connsiteX2" fmla="*/ 0 w 3704"/>
                  <a:gd name="connsiteY2" fmla="*/ 2113 h 3073"/>
                  <a:gd name="connsiteX3" fmla="*/ 1345 w 3704"/>
                  <a:gd name="connsiteY3" fmla="*/ 0 h 3073"/>
                  <a:gd name="connsiteX4" fmla="*/ 3705 w 3704"/>
                  <a:gd name="connsiteY4" fmla="*/ 1564 h 3073"/>
                  <a:gd name="connsiteX5" fmla="*/ 3430 w 3704"/>
                  <a:gd name="connsiteY5" fmla="*/ 2717 h 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4" h="3073">
                    <a:moveTo>
                      <a:pt x="3458" y="2689"/>
                    </a:moveTo>
                    <a:lnTo>
                      <a:pt x="439" y="3074"/>
                    </a:lnTo>
                    <a:lnTo>
                      <a:pt x="0" y="2113"/>
                    </a:lnTo>
                    <a:lnTo>
                      <a:pt x="1345" y="0"/>
                    </a:lnTo>
                    <a:lnTo>
                      <a:pt x="3705" y="1564"/>
                    </a:lnTo>
                    <a:lnTo>
                      <a:pt x="3430" y="27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3" name="Freeform: Shape 4342">
                <a:extLst>
                  <a:ext uri="{FF2B5EF4-FFF2-40B4-BE49-F238E27FC236}">
                    <a16:creationId xmlns:a16="http://schemas.microsoft.com/office/drawing/2014/main" id="{5FF4F92B-7ED4-E9A9-EA3E-7506523A4EF2}"/>
                  </a:ext>
                </a:extLst>
              </p:cNvPr>
              <p:cNvSpPr/>
              <p:nvPr/>
            </p:nvSpPr>
            <p:spPr>
              <a:xfrm>
                <a:off x="1167041" y="3807650"/>
                <a:ext cx="315" cy="352"/>
              </a:xfrm>
              <a:custGeom>
                <a:avLst/>
                <a:gdLst>
                  <a:gd name="connsiteX0" fmla="*/ 2882 w 3018"/>
                  <a:gd name="connsiteY0" fmla="*/ 878 h 3375"/>
                  <a:gd name="connsiteX1" fmla="*/ 3019 w 3018"/>
                  <a:gd name="connsiteY1" fmla="*/ 3376 h 3375"/>
                  <a:gd name="connsiteX2" fmla="*/ 165 w 3018"/>
                  <a:gd name="connsiteY2" fmla="*/ 2854 h 3375"/>
                  <a:gd name="connsiteX3" fmla="*/ 0 w 3018"/>
                  <a:gd name="connsiteY3" fmla="*/ 1894 h 3375"/>
                  <a:gd name="connsiteX4" fmla="*/ 1070 w 3018"/>
                  <a:gd name="connsiteY4" fmla="*/ 0 h 3375"/>
                  <a:gd name="connsiteX5" fmla="*/ 2882 w 3018"/>
                  <a:gd name="connsiteY5" fmla="*/ 878 h 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 h="3375">
                    <a:moveTo>
                      <a:pt x="2882" y="878"/>
                    </a:moveTo>
                    <a:lnTo>
                      <a:pt x="3019" y="3376"/>
                    </a:lnTo>
                    <a:lnTo>
                      <a:pt x="165" y="2854"/>
                    </a:lnTo>
                    <a:lnTo>
                      <a:pt x="0" y="1894"/>
                    </a:lnTo>
                    <a:lnTo>
                      <a:pt x="1070" y="0"/>
                    </a:lnTo>
                    <a:lnTo>
                      <a:pt x="2882" y="8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4" name="Freeform: Shape 4343">
                <a:extLst>
                  <a:ext uri="{FF2B5EF4-FFF2-40B4-BE49-F238E27FC236}">
                    <a16:creationId xmlns:a16="http://schemas.microsoft.com/office/drawing/2014/main" id="{AF4A5B64-50F1-78C2-5101-90545AA745F9}"/>
                  </a:ext>
                </a:extLst>
              </p:cNvPr>
              <p:cNvSpPr/>
              <p:nvPr/>
            </p:nvSpPr>
            <p:spPr>
              <a:xfrm>
                <a:off x="1167178" y="3786712"/>
                <a:ext cx="369" cy="200"/>
              </a:xfrm>
              <a:custGeom>
                <a:avLst/>
                <a:gdLst>
                  <a:gd name="connsiteX0" fmla="*/ 3540 w 3539"/>
                  <a:gd name="connsiteY0" fmla="*/ 659 h 1920"/>
                  <a:gd name="connsiteX1" fmla="*/ 3128 w 3539"/>
                  <a:gd name="connsiteY1" fmla="*/ 1921 h 1920"/>
                  <a:gd name="connsiteX2" fmla="*/ 0 w 3539"/>
                  <a:gd name="connsiteY2" fmla="*/ 1921 h 1920"/>
                  <a:gd name="connsiteX3" fmla="*/ 1015 w 3539"/>
                  <a:gd name="connsiteY3" fmla="*/ 0 h 1920"/>
                  <a:gd name="connsiteX4" fmla="*/ 3540 w 3539"/>
                  <a:gd name="connsiteY4" fmla="*/ 659 h 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9" h="1920">
                    <a:moveTo>
                      <a:pt x="3540" y="659"/>
                    </a:moveTo>
                    <a:lnTo>
                      <a:pt x="3128" y="1921"/>
                    </a:lnTo>
                    <a:lnTo>
                      <a:pt x="0" y="1921"/>
                    </a:lnTo>
                    <a:cubicBezTo>
                      <a:pt x="0" y="1921"/>
                      <a:pt x="1015" y="0"/>
                      <a:pt x="1015" y="0"/>
                    </a:cubicBezTo>
                    <a:lnTo>
                      <a:pt x="3540" y="65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5" name="Freeform: Shape 4344">
                <a:extLst>
                  <a:ext uri="{FF2B5EF4-FFF2-40B4-BE49-F238E27FC236}">
                    <a16:creationId xmlns:a16="http://schemas.microsoft.com/office/drawing/2014/main" id="{C9AC5F33-18B1-C90F-1C61-DE6A1554A2BC}"/>
                  </a:ext>
                </a:extLst>
              </p:cNvPr>
              <p:cNvSpPr/>
              <p:nvPr/>
            </p:nvSpPr>
            <p:spPr>
              <a:xfrm>
                <a:off x="1166869" y="3786867"/>
                <a:ext cx="318" cy="212"/>
              </a:xfrm>
              <a:custGeom>
                <a:avLst/>
                <a:gdLst>
                  <a:gd name="connsiteX0" fmla="*/ 3046 w 3046"/>
                  <a:gd name="connsiteY0" fmla="*/ 1235 h 2030"/>
                  <a:gd name="connsiteX1" fmla="*/ 1400 w 3046"/>
                  <a:gd name="connsiteY1" fmla="*/ 2031 h 2030"/>
                  <a:gd name="connsiteX2" fmla="*/ 0 w 3046"/>
                  <a:gd name="connsiteY2" fmla="*/ 1811 h 2030"/>
                  <a:gd name="connsiteX3" fmla="*/ 2854 w 3046"/>
                  <a:gd name="connsiteY3" fmla="*/ 0 h 2030"/>
                  <a:gd name="connsiteX4" fmla="*/ 3046 w 3046"/>
                  <a:gd name="connsiteY4" fmla="*/ 1208 h 2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6" h="2030">
                    <a:moveTo>
                      <a:pt x="3046" y="1235"/>
                    </a:moveTo>
                    <a:lnTo>
                      <a:pt x="1400" y="2031"/>
                    </a:lnTo>
                    <a:lnTo>
                      <a:pt x="0" y="1811"/>
                    </a:lnTo>
                    <a:lnTo>
                      <a:pt x="2854" y="0"/>
                    </a:lnTo>
                    <a:lnTo>
                      <a:pt x="3046" y="12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6" name="Freeform: Shape 4345">
                <a:extLst>
                  <a:ext uri="{FF2B5EF4-FFF2-40B4-BE49-F238E27FC236}">
                    <a16:creationId xmlns:a16="http://schemas.microsoft.com/office/drawing/2014/main" id="{88C5B0FA-F2EC-EFE2-E9C3-285E6BF0B98A}"/>
                  </a:ext>
                </a:extLst>
              </p:cNvPr>
              <p:cNvSpPr/>
              <p:nvPr/>
            </p:nvSpPr>
            <p:spPr>
              <a:xfrm>
                <a:off x="1166259" y="3788993"/>
                <a:ext cx="730" cy="363"/>
              </a:xfrm>
              <a:custGeom>
                <a:avLst/>
                <a:gdLst>
                  <a:gd name="connsiteX0" fmla="*/ 6998 w 6998"/>
                  <a:gd name="connsiteY0" fmla="*/ 2278 h 3485"/>
                  <a:gd name="connsiteX1" fmla="*/ 0 w 6998"/>
                  <a:gd name="connsiteY1" fmla="*/ 3485 h 3485"/>
                  <a:gd name="connsiteX2" fmla="*/ 878 w 6998"/>
                  <a:gd name="connsiteY2" fmla="*/ 412 h 3485"/>
                  <a:gd name="connsiteX3" fmla="*/ 5022 w 6998"/>
                  <a:gd name="connsiteY3" fmla="*/ 0 h 3485"/>
                  <a:gd name="connsiteX4" fmla="*/ 6998 w 6998"/>
                  <a:gd name="connsiteY4" fmla="*/ 2278 h 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8" h="3485">
                    <a:moveTo>
                      <a:pt x="6998" y="2278"/>
                    </a:moveTo>
                    <a:lnTo>
                      <a:pt x="0" y="3485"/>
                    </a:lnTo>
                    <a:lnTo>
                      <a:pt x="878" y="412"/>
                    </a:lnTo>
                    <a:lnTo>
                      <a:pt x="5022" y="0"/>
                    </a:lnTo>
                    <a:lnTo>
                      <a:pt x="6998" y="22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7" name="Freeform: Shape 4346">
                <a:extLst>
                  <a:ext uri="{FF2B5EF4-FFF2-40B4-BE49-F238E27FC236}">
                    <a16:creationId xmlns:a16="http://schemas.microsoft.com/office/drawing/2014/main" id="{15AA6136-4777-7AF3-1993-4968651BEAB9}"/>
                  </a:ext>
                </a:extLst>
              </p:cNvPr>
              <p:cNvSpPr/>
              <p:nvPr/>
            </p:nvSpPr>
            <p:spPr>
              <a:xfrm>
                <a:off x="1166004" y="3787130"/>
                <a:ext cx="441" cy="226"/>
              </a:xfrm>
              <a:custGeom>
                <a:avLst/>
                <a:gdLst>
                  <a:gd name="connsiteX0" fmla="*/ 4199 w 4226"/>
                  <a:gd name="connsiteY0" fmla="*/ 27 h 2168"/>
                  <a:gd name="connsiteX1" fmla="*/ 3897 w 4226"/>
                  <a:gd name="connsiteY1" fmla="*/ 2168 h 2168"/>
                  <a:gd name="connsiteX2" fmla="*/ 659 w 4226"/>
                  <a:gd name="connsiteY2" fmla="*/ 1948 h 2168"/>
                  <a:gd name="connsiteX3" fmla="*/ 0 w 4226"/>
                  <a:gd name="connsiteY3" fmla="*/ 137 h 2168"/>
                  <a:gd name="connsiteX4" fmla="*/ 4226 w 4226"/>
                  <a:gd name="connsiteY4" fmla="*/ 0 h 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 h="2168">
                    <a:moveTo>
                      <a:pt x="4199" y="27"/>
                    </a:moveTo>
                    <a:lnTo>
                      <a:pt x="3897" y="2168"/>
                    </a:lnTo>
                    <a:lnTo>
                      <a:pt x="659" y="1948"/>
                    </a:lnTo>
                    <a:lnTo>
                      <a:pt x="0" y="137"/>
                    </a:lnTo>
                    <a:lnTo>
                      <a:pt x="422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8" name="Freeform: Shape 4347">
                <a:extLst>
                  <a:ext uri="{FF2B5EF4-FFF2-40B4-BE49-F238E27FC236}">
                    <a16:creationId xmlns:a16="http://schemas.microsoft.com/office/drawing/2014/main" id="{56CB6225-517B-60C9-A203-1CC7DDADFA0E}"/>
                  </a:ext>
                </a:extLst>
              </p:cNvPr>
              <p:cNvSpPr/>
              <p:nvPr/>
            </p:nvSpPr>
            <p:spPr>
              <a:xfrm>
                <a:off x="1166720" y="3787090"/>
                <a:ext cx="177" cy="220"/>
              </a:xfrm>
              <a:custGeom>
                <a:avLst/>
                <a:gdLst>
                  <a:gd name="connsiteX0" fmla="*/ 1701 w 1701"/>
                  <a:gd name="connsiteY0" fmla="*/ 1345 h 2113"/>
                  <a:gd name="connsiteX1" fmla="*/ 933 w 1701"/>
                  <a:gd name="connsiteY1" fmla="*/ 2113 h 2113"/>
                  <a:gd name="connsiteX2" fmla="*/ 0 w 1701"/>
                  <a:gd name="connsiteY2" fmla="*/ 1125 h 2113"/>
                  <a:gd name="connsiteX3" fmla="*/ 906 w 1701"/>
                  <a:gd name="connsiteY3" fmla="*/ 0 h 2113"/>
                  <a:gd name="connsiteX4" fmla="*/ 1701 w 1701"/>
                  <a:gd name="connsiteY4" fmla="*/ 1345 h 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 h="2113">
                    <a:moveTo>
                      <a:pt x="1701" y="1345"/>
                    </a:moveTo>
                    <a:lnTo>
                      <a:pt x="933" y="2113"/>
                    </a:lnTo>
                    <a:lnTo>
                      <a:pt x="0" y="1125"/>
                    </a:lnTo>
                    <a:lnTo>
                      <a:pt x="906" y="0"/>
                    </a:lnTo>
                    <a:lnTo>
                      <a:pt x="1701" y="13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49" name="Freeform: Shape 4348">
                <a:extLst>
                  <a:ext uri="{FF2B5EF4-FFF2-40B4-BE49-F238E27FC236}">
                    <a16:creationId xmlns:a16="http://schemas.microsoft.com/office/drawing/2014/main" id="{320C6787-B68E-4A75-91F7-5DBD994651B8}"/>
                  </a:ext>
                </a:extLst>
              </p:cNvPr>
              <p:cNvSpPr/>
              <p:nvPr/>
            </p:nvSpPr>
            <p:spPr>
              <a:xfrm>
                <a:off x="1523418" y="3462856"/>
                <a:ext cx="53440" cy="71361"/>
              </a:xfrm>
              <a:custGeom>
                <a:avLst/>
                <a:gdLst>
                  <a:gd name="connsiteX0" fmla="*/ 491257 w 512360"/>
                  <a:gd name="connsiteY0" fmla="*/ 91495 h 684180"/>
                  <a:gd name="connsiteX1" fmla="*/ 448940 w 512360"/>
                  <a:gd name="connsiteY1" fmla="*/ 115453 h 684180"/>
                  <a:gd name="connsiteX2" fmla="*/ 312356 w 512360"/>
                  <a:gd name="connsiteY2" fmla="*/ 190592 h 684180"/>
                  <a:gd name="connsiteX3" fmla="*/ 266170 w 512360"/>
                  <a:gd name="connsiteY3" fmla="*/ 237739 h 684180"/>
                  <a:gd name="connsiteX4" fmla="*/ 257964 w 512360"/>
                  <a:gd name="connsiteY4" fmla="*/ 263617 h 684180"/>
                  <a:gd name="connsiteX5" fmla="*/ 251460 w 512360"/>
                  <a:gd name="connsiteY5" fmla="*/ 269655 h 684180"/>
                  <a:gd name="connsiteX6" fmla="*/ 245752 w 512360"/>
                  <a:gd name="connsiteY6" fmla="*/ 275006 h 684180"/>
                  <a:gd name="connsiteX7" fmla="*/ 241334 w 512360"/>
                  <a:gd name="connsiteY7" fmla="*/ 284913 h 684180"/>
                  <a:gd name="connsiteX8" fmla="*/ 225472 w 512360"/>
                  <a:gd name="connsiteY8" fmla="*/ 280193 h 684180"/>
                  <a:gd name="connsiteX9" fmla="*/ 219736 w 512360"/>
                  <a:gd name="connsiteY9" fmla="*/ 300144 h 684180"/>
                  <a:gd name="connsiteX10" fmla="*/ 209830 w 512360"/>
                  <a:gd name="connsiteY10" fmla="*/ 303931 h 684180"/>
                  <a:gd name="connsiteX11" fmla="*/ 207387 w 512360"/>
                  <a:gd name="connsiteY11" fmla="*/ 318887 h 684180"/>
                  <a:gd name="connsiteX12" fmla="*/ 198578 w 512360"/>
                  <a:gd name="connsiteY12" fmla="*/ 339881 h 684180"/>
                  <a:gd name="connsiteX13" fmla="*/ 194296 w 512360"/>
                  <a:gd name="connsiteY13" fmla="*/ 348032 h 684180"/>
                  <a:gd name="connsiteX14" fmla="*/ 183155 w 512360"/>
                  <a:gd name="connsiteY14" fmla="*/ 346934 h 684180"/>
                  <a:gd name="connsiteX15" fmla="*/ 183594 w 512360"/>
                  <a:gd name="connsiteY15" fmla="*/ 373938 h 684180"/>
                  <a:gd name="connsiteX16" fmla="*/ 177419 w 512360"/>
                  <a:gd name="connsiteY16" fmla="*/ 378356 h 684180"/>
                  <a:gd name="connsiteX17" fmla="*/ 174565 w 512360"/>
                  <a:gd name="connsiteY17" fmla="*/ 391310 h 684180"/>
                  <a:gd name="connsiteX18" fmla="*/ 167787 w 512360"/>
                  <a:gd name="connsiteY18" fmla="*/ 400695 h 684180"/>
                  <a:gd name="connsiteX19" fmla="*/ 162710 w 512360"/>
                  <a:gd name="connsiteY19" fmla="*/ 415432 h 684180"/>
                  <a:gd name="connsiteX20" fmla="*/ 147397 w 512360"/>
                  <a:gd name="connsiteY20" fmla="*/ 433105 h 684180"/>
                  <a:gd name="connsiteX21" fmla="*/ 137270 w 512360"/>
                  <a:gd name="connsiteY21" fmla="*/ 466476 h 684180"/>
                  <a:gd name="connsiteX22" fmla="*/ 127473 w 512360"/>
                  <a:gd name="connsiteY22" fmla="*/ 484725 h 684180"/>
                  <a:gd name="connsiteX23" fmla="*/ 116743 w 512360"/>
                  <a:gd name="connsiteY23" fmla="*/ 520868 h 684180"/>
                  <a:gd name="connsiteX24" fmla="*/ 115453 w 512360"/>
                  <a:gd name="connsiteY24" fmla="*/ 559041 h 684180"/>
                  <a:gd name="connsiteX25" fmla="*/ 124839 w 512360"/>
                  <a:gd name="connsiteY25" fmla="*/ 595128 h 684180"/>
                  <a:gd name="connsiteX26" fmla="*/ 139905 w 512360"/>
                  <a:gd name="connsiteY26" fmla="*/ 629460 h 684180"/>
                  <a:gd name="connsiteX27" fmla="*/ 171903 w 512360"/>
                  <a:gd name="connsiteY27" fmla="*/ 665739 h 684180"/>
                  <a:gd name="connsiteX28" fmla="*/ 173468 w 512360"/>
                  <a:gd name="connsiteY28" fmla="*/ 673423 h 684180"/>
                  <a:gd name="connsiteX29" fmla="*/ 171190 w 512360"/>
                  <a:gd name="connsiteY29" fmla="*/ 679543 h 684180"/>
                  <a:gd name="connsiteX30" fmla="*/ 147891 w 512360"/>
                  <a:gd name="connsiteY30" fmla="*/ 684181 h 684180"/>
                  <a:gd name="connsiteX31" fmla="*/ 141771 w 512360"/>
                  <a:gd name="connsiteY31" fmla="*/ 673368 h 684180"/>
                  <a:gd name="connsiteX32" fmla="*/ 130876 w 512360"/>
                  <a:gd name="connsiteY32" fmla="*/ 681107 h 684180"/>
                  <a:gd name="connsiteX33" fmla="*/ 115920 w 512360"/>
                  <a:gd name="connsiteY33" fmla="*/ 675207 h 684180"/>
                  <a:gd name="connsiteX34" fmla="*/ 106068 w 512360"/>
                  <a:gd name="connsiteY34" fmla="*/ 681931 h 684180"/>
                  <a:gd name="connsiteX35" fmla="*/ 95173 w 512360"/>
                  <a:gd name="connsiteY35" fmla="*/ 674000 h 684180"/>
                  <a:gd name="connsiteX36" fmla="*/ 90480 w 512360"/>
                  <a:gd name="connsiteY36" fmla="*/ 675317 h 684180"/>
                  <a:gd name="connsiteX37" fmla="*/ 85924 w 512360"/>
                  <a:gd name="connsiteY37" fmla="*/ 668840 h 684180"/>
                  <a:gd name="connsiteX38" fmla="*/ 74700 w 512360"/>
                  <a:gd name="connsiteY38" fmla="*/ 667550 h 684180"/>
                  <a:gd name="connsiteX39" fmla="*/ 67099 w 512360"/>
                  <a:gd name="connsiteY39" fmla="*/ 660662 h 684180"/>
                  <a:gd name="connsiteX40" fmla="*/ 65095 w 512360"/>
                  <a:gd name="connsiteY40" fmla="*/ 648834 h 684180"/>
                  <a:gd name="connsiteX41" fmla="*/ 65699 w 512360"/>
                  <a:gd name="connsiteY41" fmla="*/ 633796 h 684180"/>
                  <a:gd name="connsiteX42" fmla="*/ 53102 w 512360"/>
                  <a:gd name="connsiteY42" fmla="*/ 608658 h 684180"/>
                  <a:gd name="connsiteX43" fmla="*/ 46379 w 512360"/>
                  <a:gd name="connsiteY43" fmla="*/ 613515 h 684180"/>
                  <a:gd name="connsiteX44" fmla="*/ 47449 w 512360"/>
                  <a:gd name="connsiteY44" fmla="*/ 632122 h 684180"/>
                  <a:gd name="connsiteX45" fmla="*/ 42894 w 512360"/>
                  <a:gd name="connsiteY45" fmla="*/ 642468 h 684180"/>
                  <a:gd name="connsiteX46" fmla="*/ 29145 w 512360"/>
                  <a:gd name="connsiteY46" fmla="*/ 623614 h 684180"/>
                  <a:gd name="connsiteX47" fmla="*/ 35127 w 512360"/>
                  <a:gd name="connsiteY47" fmla="*/ 608630 h 684180"/>
                  <a:gd name="connsiteX48" fmla="*/ 31368 w 512360"/>
                  <a:gd name="connsiteY48" fmla="*/ 595019 h 684180"/>
                  <a:gd name="connsiteX49" fmla="*/ 12349 w 512360"/>
                  <a:gd name="connsiteY49" fmla="*/ 601221 h 684180"/>
                  <a:gd name="connsiteX50" fmla="*/ 5270 w 512360"/>
                  <a:gd name="connsiteY50" fmla="*/ 595238 h 684180"/>
                  <a:gd name="connsiteX51" fmla="*/ 1318 w 512360"/>
                  <a:gd name="connsiteY51" fmla="*/ 584590 h 684180"/>
                  <a:gd name="connsiteX52" fmla="*/ 0 w 512360"/>
                  <a:gd name="connsiteY52" fmla="*/ 566917 h 684180"/>
                  <a:gd name="connsiteX53" fmla="*/ 3760 w 512360"/>
                  <a:gd name="connsiteY53" fmla="*/ 549820 h 684180"/>
                  <a:gd name="connsiteX54" fmla="*/ 10676 w 512360"/>
                  <a:gd name="connsiteY54" fmla="*/ 542081 h 684180"/>
                  <a:gd name="connsiteX55" fmla="*/ 24287 w 512360"/>
                  <a:gd name="connsiteY55" fmla="*/ 538816 h 684180"/>
                  <a:gd name="connsiteX56" fmla="*/ 34469 w 512360"/>
                  <a:gd name="connsiteY56" fmla="*/ 512635 h 684180"/>
                  <a:gd name="connsiteX57" fmla="*/ 35374 w 512360"/>
                  <a:gd name="connsiteY57" fmla="*/ 498913 h 684180"/>
                  <a:gd name="connsiteX58" fmla="*/ 31587 w 512360"/>
                  <a:gd name="connsiteY58" fmla="*/ 483573 h 684180"/>
                  <a:gd name="connsiteX59" fmla="*/ 32410 w 512360"/>
                  <a:gd name="connsiteY59" fmla="*/ 475751 h 684180"/>
                  <a:gd name="connsiteX60" fmla="*/ 45528 w 512360"/>
                  <a:gd name="connsiteY60" fmla="*/ 464966 h 684180"/>
                  <a:gd name="connsiteX61" fmla="*/ 55106 w 512360"/>
                  <a:gd name="connsiteY61" fmla="*/ 436508 h 684180"/>
                  <a:gd name="connsiteX62" fmla="*/ 78542 w 512360"/>
                  <a:gd name="connsiteY62" fmla="*/ 424461 h 684180"/>
                  <a:gd name="connsiteX63" fmla="*/ 79091 w 512360"/>
                  <a:gd name="connsiteY63" fmla="*/ 413072 h 684180"/>
                  <a:gd name="connsiteX64" fmla="*/ 84086 w 512360"/>
                  <a:gd name="connsiteY64" fmla="*/ 396085 h 684180"/>
                  <a:gd name="connsiteX65" fmla="*/ 74892 w 512360"/>
                  <a:gd name="connsiteY65" fmla="*/ 387138 h 684180"/>
                  <a:gd name="connsiteX66" fmla="*/ 72587 w 512360"/>
                  <a:gd name="connsiteY66" fmla="*/ 375969 h 684180"/>
                  <a:gd name="connsiteX67" fmla="*/ 101402 w 512360"/>
                  <a:gd name="connsiteY67" fmla="*/ 339854 h 684180"/>
                  <a:gd name="connsiteX68" fmla="*/ 113066 w 512360"/>
                  <a:gd name="connsiteY68" fmla="*/ 335326 h 684180"/>
                  <a:gd name="connsiteX69" fmla="*/ 115014 w 512360"/>
                  <a:gd name="connsiteY69" fmla="*/ 316829 h 684180"/>
                  <a:gd name="connsiteX70" fmla="*/ 123576 w 512360"/>
                  <a:gd name="connsiteY70" fmla="*/ 301434 h 684180"/>
                  <a:gd name="connsiteX71" fmla="*/ 123329 w 512360"/>
                  <a:gd name="connsiteY71" fmla="*/ 285627 h 684180"/>
                  <a:gd name="connsiteX72" fmla="*/ 141991 w 512360"/>
                  <a:gd name="connsiteY72" fmla="*/ 275034 h 684180"/>
                  <a:gd name="connsiteX73" fmla="*/ 143747 w 512360"/>
                  <a:gd name="connsiteY73" fmla="*/ 274018 h 684180"/>
                  <a:gd name="connsiteX74" fmla="*/ 142622 w 512360"/>
                  <a:gd name="connsiteY74" fmla="*/ 269710 h 684180"/>
                  <a:gd name="connsiteX75" fmla="*/ 140536 w 512360"/>
                  <a:gd name="connsiteY75" fmla="*/ 261806 h 684180"/>
                  <a:gd name="connsiteX76" fmla="*/ 141853 w 512360"/>
                  <a:gd name="connsiteY76" fmla="*/ 246877 h 684180"/>
                  <a:gd name="connsiteX77" fmla="*/ 131891 w 512360"/>
                  <a:gd name="connsiteY77" fmla="*/ 240455 h 684180"/>
                  <a:gd name="connsiteX78" fmla="*/ 130135 w 512360"/>
                  <a:gd name="connsiteY78" fmla="*/ 233512 h 684180"/>
                  <a:gd name="connsiteX79" fmla="*/ 131013 w 512360"/>
                  <a:gd name="connsiteY79" fmla="*/ 227557 h 684180"/>
                  <a:gd name="connsiteX80" fmla="*/ 139301 w 512360"/>
                  <a:gd name="connsiteY80" fmla="*/ 224786 h 684180"/>
                  <a:gd name="connsiteX81" fmla="*/ 148220 w 512360"/>
                  <a:gd name="connsiteY81" fmla="*/ 230905 h 684180"/>
                  <a:gd name="connsiteX82" fmla="*/ 155026 w 512360"/>
                  <a:gd name="connsiteY82" fmla="*/ 220697 h 684180"/>
                  <a:gd name="connsiteX83" fmla="*/ 160075 w 512360"/>
                  <a:gd name="connsiteY83" fmla="*/ 204752 h 684180"/>
                  <a:gd name="connsiteX84" fmla="*/ 178984 w 512360"/>
                  <a:gd name="connsiteY84" fmla="*/ 202804 h 684180"/>
                  <a:gd name="connsiteX85" fmla="*/ 182990 w 512360"/>
                  <a:gd name="connsiteY85" fmla="*/ 185899 h 684180"/>
                  <a:gd name="connsiteX86" fmla="*/ 196217 w 512360"/>
                  <a:gd name="connsiteY86" fmla="*/ 165371 h 684180"/>
                  <a:gd name="connsiteX87" fmla="*/ 219736 w 512360"/>
                  <a:gd name="connsiteY87" fmla="*/ 142457 h 684180"/>
                  <a:gd name="connsiteX88" fmla="*/ 252256 w 512360"/>
                  <a:gd name="connsiteY88" fmla="*/ 127610 h 684180"/>
                  <a:gd name="connsiteX89" fmla="*/ 256043 w 512360"/>
                  <a:gd name="connsiteY89" fmla="*/ 109552 h 684180"/>
                  <a:gd name="connsiteX90" fmla="*/ 264002 w 512360"/>
                  <a:gd name="connsiteY90" fmla="*/ 111858 h 684180"/>
                  <a:gd name="connsiteX91" fmla="*/ 269710 w 512360"/>
                  <a:gd name="connsiteY91" fmla="*/ 122999 h 684180"/>
                  <a:gd name="connsiteX92" fmla="*/ 279644 w 512360"/>
                  <a:gd name="connsiteY92" fmla="*/ 115123 h 684180"/>
                  <a:gd name="connsiteX93" fmla="*/ 281812 w 512360"/>
                  <a:gd name="connsiteY93" fmla="*/ 99316 h 684180"/>
                  <a:gd name="connsiteX94" fmla="*/ 287054 w 512360"/>
                  <a:gd name="connsiteY94" fmla="*/ 92154 h 684180"/>
                  <a:gd name="connsiteX95" fmla="*/ 302888 w 512360"/>
                  <a:gd name="connsiteY95" fmla="*/ 90287 h 684180"/>
                  <a:gd name="connsiteX96" fmla="*/ 325309 w 512360"/>
                  <a:gd name="connsiteY96" fmla="*/ 100222 h 684180"/>
                  <a:gd name="connsiteX97" fmla="*/ 371661 w 512360"/>
                  <a:gd name="connsiteY97" fmla="*/ 85814 h 684180"/>
                  <a:gd name="connsiteX98" fmla="*/ 409477 w 512360"/>
                  <a:gd name="connsiteY98" fmla="*/ 57850 h 684180"/>
                  <a:gd name="connsiteX99" fmla="*/ 420701 w 512360"/>
                  <a:gd name="connsiteY99" fmla="*/ 56752 h 684180"/>
                  <a:gd name="connsiteX100" fmla="*/ 427233 w 512360"/>
                  <a:gd name="connsiteY100" fmla="*/ 34331 h 684180"/>
                  <a:gd name="connsiteX101" fmla="*/ 448967 w 512360"/>
                  <a:gd name="connsiteY101" fmla="*/ 18250 h 684180"/>
                  <a:gd name="connsiteX102" fmla="*/ 473391 w 512360"/>
                  <a:gd name="connsiteY102" fmla="*/ 0 h 684180"/>
                  <a:gd name="connsiteX103" fmla="*/ 491284 w 512360"/>
                  <a:gd name="connsiteY103" fmla="*/ 5845 h 684180"/>
                  <a:gd name="connsiteX104" fmla="*/ 502509 w 512360"/>
                  <a:gd name="connsiteY104" fmla="*/ 9495 h 684180"/>
                  <a:gd name="connsiteX105" fmla="*/ 512361 w 512360"/>
                  <a:gd name="connsiteY105" fmla="*/ 35292 h 684180"/>
                  <a:gd name="connsiteX106" fmla="*/ 506488 w 512360"/>
                  <a:gd name="connsiteY106" fmla="*/ 63585 h 684180"/>
                  <a:gd name="connsiteX107" fmla="*/ 491284 w 512360"/>
                  <a:gd name="connsiteY107" fmla="*/ 91550 h 68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12360" h="684180">
                    <a:moveTo>
                      <a:pt x="491257" y="91495"/>
                    </a:moveTo>
                    <a:lnTo>
                      <a:pt x="448940" y="115453"/>
                    </a:lnTo>
                    <a:lnTo>
                      <a:pt x="312356" y="190592"/>
                    </a:lnTo>
                    <a:lnTo>
                      <a:pt x="266170" y="237739"/>
                    </a:lnTo>
                    <a:lnTo>
                      <a:pt x="257964" y="263617"/>
                    </a:lnTo>
                    <a:lnTo>
                      <a:pt x="251460" y="269655"/>
                    </a:lnTo>
                    <a:lnTo>
                      <a:pt x="245752" y="275006"/>
                    </a:lnTo>
                    <a:lnTo>
                      <a:pt x="241334" y="284913"/>
                    </a:lnTo>
                    <a:lnTo>
                      <a:pt x="225472" y="280193"/>
                    </a:lnTo>
                    <a:lnTo>
                      <a:pt x="219736" y="300144"/>
                    </a:lnTo>
                    <a:lnTo>
                      <a:pt x="209830" y="303931"/>
                    </a:lnTo>
                    <a:lnTo>
                      <a:pt x="207387" y="318887"/>
                    </a:lnTo>
                    <a:lnTo>
                      <a:pt x="198578" y="339881"/>
                    </a:lnTo>
                    <a:lnTo>
                      <a:pt x="194296" y="348032"/>
                    </a:lnTo>
                    <a:lnTo>
                      <a:pt x="183155" y="346934"/>
                    </a:lnTo>
                    <a:lnTo>
                      <a:pt x="183594" y="373938"/>
                    </a:lnTo>
                    <a:lnTo>
                      <a:pt x="177419" y="378356"/>
                    </a:lnTo>
                    <a:lnTo>
                      <a:pt x="174565" y="391310"/>
                    </a:lnTo>
                    <a:lnTo>
                      <a:pt x="167787" y="400695"/>
                    </a:lnTo>
                    <a:lnTo>
                      <a:pt x="162710" y="415432"/>
                    </a:lnTo>
                    <a:lnTo>
                      <a:pt x="147397" y="433105"/>
                    </a:lnTo>
                    <a:lnTo>
                      <a:pt x="137270" y="466476"/>
                    </a:lnTo>
                    <a:lnTo>
                      <a:pt x="127473" y="484725"/>
                    </a:lnTo>
                    <a:lnTo>
                      <a:pt x="116743" y="520868"/>
                    </a:lnTo>
                    <a:lnTo>
                      <a:pt x="115453" y="559041"/>
                    </a:lnTo>
                    <a:lnTo>
                      <a:pt x="124839" y="595128"/>
                    </a:lnTo>
                    <a:lnTo>
                      <a:pt x="139905" y="629460"/>
                    </a:lnTo>
                    <a:lnTo>
                      <a:pt x="171903" y="665739"/>
                    </a:lnTo>
                    <a:lnTo>
                      <a:pt x="173468" y="673423"/>
                    </a:lnTo>
                    <a:lnTo>
                      <a:pt x="171190" y="679543"/>
                    </a:lnTo>
                    <a:lnTo>
                      <a:pt x="147891" y="684181"/>
                    </a:lnTo>
                    <a:lnTo>
                      <a:pt x="141771" y="673368"/>
                    </a:lnTo>
                    <a:lnTo>
                      <a:pt x="130876" y="681107"/>
                    </a:lnTo>
                    <a:lnTo>
                      <a:pt x="115920" y="675207"/>
                    </a:lnTo>
                    <a:lnTo>
                      <a:pt x="106068" y="681931"/>
                    </a:lnTo>
                    <a:lnTo>
                      <a:pt x="95173" y="674000"/>
                    </a:lnTo>
                    <a:lnTo>
                      <a:pt x="90480" y="675317"/>
                    </a:lnTo>
                    <a:lnTo>
                      <a:pt x="85924" y="668840"/>
                    </a:lnTo>
                    <a:lnTo>
                      <a:pt x="74700" y="667550"/>
                    </a:lnTo>
                    <a:lnTo>
                      <a:pt x="67099" y="660662"/>
                    </a:lnTo>
                    <a:lnTo>
                      <a:pt x="65095" y="648834"/>
                    </a:lnTo>
                    <a:lnTo>
                      <a:pt x="65699" y="633796"/>
                    </a:lnTo>
                    <a:lnTo>
                      <a:pt x="53102" y="608658"/>
                    </a:lnTo>
                    <a:lnTo>
                      <a:pt x="46379" y="613515"/>
                    </a:lnTo>
                    <a:lnTo>
                      <a:pt x="47449" y="632122"/>
                    </a:lnTo>
                    <a:lnTo>
                      <a:pt x="42894" y="642468"/>
                    </a:lnTo>
                    <a:lnTo>
                      <a:pt x="29145" y="623614"/>
                    </a:lnTo>
                    <a:lnTo>
                      <a:pt x="35127" y="608630"/>
                    </a:lnTo>
                    <a:lnTo>
                      <a:pt x="31368" y="595019"/>
                    </a:lnTo>
                    <a:lnTo>
                      <a:pt x="12349" y="601221"/>
                    </a:lnTo>
                    <a:lnTo>
                      <a:pt x="5270" y="595238"/>
                    </a:lnTo>
                    <a:lnTo>
                      <a:pt x="1318" y="584590"/>
                    </a:lnTo>
                    <a:lnTo>
                      <a:pt x="0" y="566917"/>
                    </a:lnTo>
                    <a:lnTo>
                      <a:pt x="3760" y="549820"/>
                    </a:lnTo>
                    <a:lnTo>
                      <a:pt x="10676" y="542081"/>
                    </a:lnTo>
                    <a:lnTo>
                      <a:pt x="24287" y="538816"/>
                    </a:lnTo>
                    <a:lnTo>
                      <a:pt x="34469" y="512635"/>
                    </a:lnTo>
                    <a:lnTo>
                      <a:pt x="35374" y="498913"/>
                    </a:lnTo>
                    <a:lnTo>
                      <a:pt x="31587" y="483573"/>
                    </a:lnTo>
                    <a:lnTo>
                      <a:pt x="32410" y="475751"/>
                    </a:lnTo>
                    <a:lnTo>
                      <a:pt x="45528" y="464966"/>
                    </a:lnTo>
                    <a:lnTo>
                      <a:pt x="55106" y="436508"/>
                    </a:lnTo>
                    <a:lnTo>
                      <a:pt x="78542" y="424461"/>
                    </a:lnTo>
                    <a:lnTo>
                      <a:pt x="79091" y="413072"/>
                    </a:lnTo>
                    <a:lnTo>
                      <a:pt x="84086" y="396085"/>
                    </a:lnTo>
                    <a:lnTo>
                      <a:pt x="74892" y="387138"/>
                    </a:lnTo>
                    <a:lnTo>
                      <a:pt x="72587" y="375969"/>
                    </a:lnTo>
                    <a:lnTo>
                      <a:pt x="101402" y="339854"/>
                    </a:lnTo>
                    <a:lnTo>
                      <a:pt x="113066" y="335326"/>
                    </a:lnTo>
                    <a:lnTo>
                      <a:pt x="115014" y="316829"/>
                    </a:lnTo>
                    <a:lnTo>
                      <a:pt x="123576" y="301434"/>
                    </a:lnTo>
                    <a:lnTo>
                      <a:pt x="123329" y="285627"/>
                    </a:lnTo>
                    <a:lnTo>
                      <a:pt x="141991" y="275034"/>
                    </a:lnTo>
                    <a:lnTo>
                      <a:pt x="143747" y="274018"/>
                    </a:lnTo>
                    <a:lnTo>
                      <a:pt x="142622" y="269710"/>
                    </a:lnTo>
                    <a:lnTo>
                      <a:pt x="140536" y="261806"/>
                    </a:lnTo>
                    <a:lnTo>
                      <a:pt x="141853" y="246877"/>
                    </a:lnTo>
                    <a:lnTo>
                      <a:pt x="131891" y="240455"/>
                    </a:lnTo>
                    <a:lnTo>
                      <a:pt x="130135" y="233512"/>
                    </a:lnTo>
                    <a:lnTo>
                      <a:pt x="131013" y="227557"/>
                    </a:lnTo>
                    <a:lnTo>
                      <a:pt x="139301" y="224786"/>
                    </a:lnTo>
                    <a:lnTo>
                      <a:pt x="148220" y="230905"/>
                    </a:lnTo>
                    <a:lnTo>
                      <a:pt x="155026" y="220697"/>
                    </a:lnTo>
                    <a:lnTo>
                      <a:pt x="160075" y="204752"/>
                    </a:lnTo>
                    <a:lnTo>
                      <a:pt x="178984" y="202804"/>
                    </a:lnTo>
                    <a:lnTo>
                      <a:pt x="182990" y="185899"/>
                    </a:lnTo>
                    <a:lnTo>
                      <a:pt x="196217" y="165371"/>
                    </a:lnTo>
                    <a:lnTo>
                      <a:pt x="219736" y="142457"/>
                    </a:lnTo>
                    <a:lnTo>
                      <a:pt x="252256" y="127610"/>
                    </a:lnTo>
                    <a:lnTo>
                      <a:pt x="256043" y="109552"/>
                    </a:lnTo>
                    <a:lnTo>
                      <a:pt x="264002" y="111858"/>
                    </a:lnTo>
                    <a:lnTo>
                      <a:pt x="269710" y="122999"/>
                    </a:lnTo>
                    <a:lnTo>
                      <a:pt x="279644" y="115123"/>
                    </a:lnTo>
                    <a:lnTo>
                      <a:pt x="281812" y="99316"/>
                    </a:lnTo>
                    <a:lnTo>
                      <a:pt x="287054" y="92154"/>
                    </a:lnTo>
                    <a:lnTo>
                      <a:pt x="302888" y="90287"/>
                    </a:lnTo>
                    <a:lnTo>
                      <a:pt x="325309" y="100222"/>
                    </a:lnTo>
                    <a:lnTo>
                      <a:pt x="371661" y="85814"/>
                    </a:lnTo>
                    <a:lnTo>
                      <a:pt x="409477" y="57850"/>
                    </a:lnTo>
                    <a:lnTo>
                      <a:pt x="420701" y="56752"/>
                    </a:lnTo>
                    <a:lnTo>
                      <a:pt x="427233" y="34331"/>
                    </a:lnTo>
                    <a:lnTo>
                      <a:pt x="448967" y="18250"/>
                    </a:lnTo>
                    <a:lnTo>
                      <a:pt x="473391" y="0"/>
                    </a:lnTo>
                    <a:lnTo>
                      <a:pt x="491284" y="5845"/>
                    </a:lnTo>
                    <a:lnTo>
                      <a:pt x="502509" y="9495"/>
                    </a:lnTo>
                    <a:lnTo>
                      <a:pt x="512361" y="35292"/>
                    </a:lnTo>
                    <a:lnTo>
                      <a:pt x="506488" y="63585"/>
                    </a:lnTo>
                    <a:lnTo>
                      <a:pt x="491284" y="915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0" name="Freeform: Shape 4349">
                <a:extLst>
                  <a:ext uri="{FF2B5EF4-FFF2-40B4-BE49-F238E27FC236}">
                    <a16:creationId xmlns:a16="http://schemas.microsoft.com/office/drawing/2014/main" id="{12D8735C-1FFA-10CE-F8C2-DE5EF017D64E}"/>
                  </a:ext>
                </a:extLst>
              </p:cNvPr>
              <p:cNvSpPr/>
              <p:nvPr/>
            </p:nvSpPr>
            <p:spPr>
              <a:xfrm>
                <a:off x="1647672" y="3392752"/>
                <a:ext cx="24705" cy="43842"/>
              </a:xfrm>
              <a:custGeom>
                <a:avLst/>
                <a:gdLst>
                  <a:gd name="connsiteX0" fmla="*/ 72010 w 236860"/>
                  <a:gd name="connsiteY0" fmla="*/ 215373 h 420344"/>
                  <a:gd name="connsiteX1" fmla="*/ 72120 w 236860"/>
                  <a:gd name="connsiteY1" fmla="*/ 221108 h 420344"/>
                  <a:gd name="connsiteX2" fmla="*/ 76758 w 236860"/>
                  <a:gd name="connsiteY2" fmla="*/ 226926 h 420344"/>
                  <a:gd name="connsiteX3" fmla="*/ 87927 w 236860"/>
                  <a:gd name="connsiteY3" fmla="*/ 210076 h 420344"/>
                  <a:gd name="connsiteX4" fmla="*/ 96819 w 236860"/>
                  <a:gd name="connsiteY4" fmla="*/ 219022 h 420344"/>
                  <a:gd name="connsiteX5" fmla="*/ 115453 w 236860"/>
                  <a:gd name="connsiteY5" fmla="*/ 203846 h 420344"/>
                  <a:gd name="connsiteX6" fmla="*/ 153269 w 236860"/>
                  <a:gd name="connsiteY6" fmla="*/ 198495 h 420344"/>
                  <a:gd name="connsiteX7" fmla="*/ 170860 w 236860"/>
                  <a:gd name="connsiteY7" fmla="*/ 204917 h 420344"/>
                  <a:gd name="connsiteX8" fmla="*/ 176651 w 236860"/>
                  <a:gd name="connsiteY8" fmla="*/ 215290 h 420344"/>
                  <a:gd name="connsiteX9" fmla="*/ 172095 w 236860"/>
                  <a:gd name="connsiteY9" fmla="*/ 246959 h 420344"/>
                  <a:gd name="connsiteX10" fmla="*/ 167951 w 236860"/>
                  <a:gd name="connsiteY10" fmla="*/ 252091 h 420344"/>
                  <a:gd name="connsiteX11" fmla="*/ 167841 w 236860"/>
                  <a:gd name="connsiteY11" fmla="*/ 257744 h 420344"/>
                  <a:gd name="connsiteX12" fmla="*/ 170778 w 236860"/>
                  <a:gd name="connsiteY12" fmla="*/ 265236 h 420344"/>
                  <a:gd name="connsiteX13" fmla="*/ 180547 w 236860"/>
                  <a:gd name="connsiteY13" fmla="*/ 253683 h 420344"/>
                  <a:gd name="connsiteX14" fmla="*/ 184884 w 236860"/>
                  <a:gd name="connsiteY14" fmla="*/ 226212 h 420344"/>
                  <a:gd name="connsiteX15" fmla="*/ 185706 w 236860"/>
                  <a:gd name="connsiteY15" fmla="*/ 240840 h 420344"/>
                  <a:gd name="connsiteX16" fmla="*/ 189028 w 236860"/>
                  <a:gd name="connsiteY16" fmla="*/ 244050 h 420344"/>
                  <a:gd name="connsiteX17" fmla="*/ 191497 w 236860"/>
                  <a:gd name="connsiteY17" fmla="*/ 236668 h 420344"/>
                  <a:gd name="connsiteX18" fmla="*/ 192759 w 236860"/>
                  <a:gd name="connsiteY18" fmla="*/ 218391 h 420344"/>
                  <a:gd name="connsiteX19" fmla="*/ 210268 w 236860"/>
                  <a:gd name="connsiteY19" fmla="*/ 217760 h 420344"/>
                  <a:gd name="connsiteX20" fmla="*/ 236861 w 236860"/>
                  <a:gd name="connsiteY20" fmla="*/ 257031 h 420344"/>
                  <a:gd name="connsiteX21" fmla="*/ 231482 w 236860"/>
                  <a:gd name="connsiteY21" fmla="*/ 298936 h 420344"/>
                  <a:gd name="connsiteX22" fmla="*/ 229424 w 236860"/>
                  <a:gd name="connsiteY22" fmla="*/ 339799 h 420344"/>
                  <a:gd name="connsiteX23" fmla="*/ 219434 w 236860"/>
                  <a:gd name="connsiteY23" fmla="*/ 344190 h 420344"/>
                  <a:gd name="connsiteX24" fmla="*/ 219297 w 236860"/>
                  <a:gd name="connsiteY24" fmla="*/ 349706 h 420344"/>
                  <a:gd name="connsiteX25" fmla="*/ 232085 w 236860"/>
                  <a:gd name="connsiteY25" fmla="*/ 373389 h 420344"/>
                  <a:gd name="connsiteX26" fmla="*/ 234775 w 236860"/>
                  <a:gd name="connsiteY26" fmla="*/ 393148 h 420344"/>
                  <a:gd name="connsiteX27" fmla="*/ 220175 w 236860"/>
                  <a:gd name="connsiteY27" fmla="*/ 414444 h 420344"/>
                  <a:gd name="connsiteX28" fmla="*/ 173165 w 236860"/>
                  <a:gd name="connsiteY28" fmla="*/ 420344 h 420344"/>
                  <a:gd name="connsiteX29" fmla="*/ 151485 w 236860"/>
                  <a:gd name="connsiteY29" fmla="*/ 403165 h 420344"/>
                  <a:gd name="connsiteX30" fmla="*/ 142539 w 236860"/>
                  <a:gd name="connsiteY30" fmla="*/ 387660 h 420344"/>
                  <a:gd name="connsiteX31" fmla="*/ 111555 w 236860"/>
                  <a:gd name="connsiteY31" fmla="*/ 386836 h 420344"/>
                  <a:gd name="connsiteX32" fmla="*/ 104832 w 236860"/>
                  <a:gd name="connsiteY32" fmla="*/ 373197 h 420344"/>
                  <a:gd name="connsiteX33" fmla="*/ 91961 w 236860"/>
                  <a:gd name="connsiteY33" fmla="*/ 382116 h 420344"/>
                  <a:gd name="connsiteX34" fmla="*/ 84277 w 236860"/>
                  <a:gd name="connsiteY34" fmla="*/ 376710 h 420344"/>
                  <a:gd name="connsiteX35" fmla="*/ 71379 w 236860"/>
                  <a:gd name="connsiteY35" fmla="*/ 347812 h 420344"/>
                  <a:gd name="connsiteX36" fmla="*/ 68498 w 236860"/>
                  <a:gd name="connsiteY36" fmla="*/ 313042 h 420344"/>
                  <a:gd name="connsiteX37" fmla="*/ 55737 w 236860"/>
                  <a:gd name="connsiteY37" fmla="*/ 316308 h 420344"/>
                  <a:gd name="connsiteX38" fmla="*/ 52334 w 236860"/>
                  <a:gd name="connsiteY38" fmla="*/ 291993 h 420344"/>
                  <a:gd name="connsiteX39" fmla="*/ 43360 w 236860"/>
                  <a:gd name="connsiteY39" fmla="*/ 311917 h 420344"/>
                  <a:gd name="connsiteX40" fmla="*/ 40478 w 236860"/>
                  <a:gd name="connsiteY40" fmla="*/ 310709 h 420344"/>
                  <a:gd name="connsiteX41" fmla="*/ 40204 w 236860"/>
                  <a:gd name="connsiteY41" fmla="*/ 305523 h 420344"/>
                  <a:gd name="connsiteX42" fmla="*/ 43278 w 236860"/>
                  <a:gd name="connsiteY42" fmla="*/ 292295 h 420344"/>
                  <a:gd name="connsiteX43" fmla="*/ 73740 w 236860"/>
                  <a:gd name="connsiteY43" fmla="*/ 255604 h 420344"/>
                  <a:gd name="connsiteX44" fmla="*/ 67757 w 236860"/>
                  <a:gd name="connsiteY44" fmla="*/ 228298 h 420344"/>
                  <a:gd name="connsiteX45" fmla="*/ 10757 w 236860"/>
                  <a:gd name="connsiteY45" fmla="*/ 201651 h 420344"/>
                  <a:gd name="connsiteX46" fmla="*/ 7464 w 236860"/>
                  <a:gd name="connsiteY46" fmla="*/ 179559 h 420344"/>
                  <a:gd name="connsiteX47" fmla="*/ 521 w 236860"/>
                  <a:gd name="connsiteY47" fmla="*/ 178654 h 420344"/>
                  <a:gd name="connsiteX48" fmla="*/ 0 w 236860"/>
                  <a:gd name="connsiteY48" fmla="*/ 175251 h 420344"/>
                  <a:gd name="connsiteX49" fmla="*/ 439 w 236860"/>
                  <a:gd name="connsiteY49" fmla="*/ 172424 h 420344"/>
                  <a:gd name="connsiteX50" fmla="*/ 6614 w 236860"/>
                  <a:gd name="connsiteY50" fmla="*/ 165948 h 420344"/>
                  <a:gd name="connsiteX51" fmla="*/ 5873 w 236860"/>
                  <a:gd name="connsiteY51" fmla="*/ 151705 h 420344"/>
                  <a:gd name="connsiteX52" fmla="*/ 24836 w 236860"/>
                  <a:gd name="connsiteY52" fmla="*/ 136803 h 420344"/>
                  <a:gd name="connsiteX53" fmla="*/ 30901 w 236860"/>
                  <a:gd name="connsiteY53" fmla="*/ 106753 h 420344"/>
                  <a:gd name="connsiteX54" fmla="*/ 30681 w 236860"/>
                  <a:gd name="connsiteY54" fmla="*/ 101018 h 420344"/>
                  <a:gd name="connsiteX55" fmla="*/ 23985 w 236860"/>
                  <a:gd name="connsiteY55" fmla="*/ 92483 h 420344"/>
                  <a:gd name="connsiteX56" fmla="*/ 23903 w 236860"/>
                  <a:gd name="connsiteY56" fmla="*/ 86144 h 420344"/>
                  <a:gd name="connsiteX57" fmla="*/ 36170 w 236860"/>
                  <a:gd name="connsiteY57" fmla="*/ 59606 h 420344"/>
                  <a:gd name="connsiteX58" fmla="*/ 85211 w 236860"/>
                  <a:gd name="connsiteY58" fmla="*/ 26510 h 420344"/>
                  <a:gd name="connsiteX59" fmla="*/ 96654 w 236860"/>
                  <a:gd name="connsiteY59" fmla="*/ 137 h 420344"/>
                  <a:gd name="connsiteX60" fmla="*/ 113477 w 236860"/>
                  <a:gd name="connsiteY60" fmla="*/ 0 h 420344"/>
                  <a:gd name="connsiteX61" fmla="*/ 142127 w 236860"/>
                  <a:gd name="connsiteY61" fmla="*/ 63970 h 420344"/>
                  <a:gd name="connsiteX62" fmla="*/ 170778 w 236860"/>
                  <a:gd name="connsiteY62" fmla="*/ 86006 h 420344"/>
                  <a:gd name="connsiteX63" fmla="*/ 173824 w 236860"/>
                  <a:gd name="connsiteY63" fmla="*/ 101594 h 420344"/>
                  <a:gd name="connsiteX64" fmla="*/ 173549 w 236860"/>
                  <a:gd name="connsiteY64" fmla="*/ 107357 h 420344"/>
                  <a:gd name="connsiteX65" fmla="*/ 152885 w 236860"/>
                  <a:gd name="connsiteY65" fmla="*/ 123740 h 420344"/>
                  <a:gd name="connsiteX66" fmla="*/ 151952 w 236860"/>
                  <a:gd name="connsiteY66" fmla="*/ 144652 h 420344"/>
                  <a:gd name="connsiteX67" fmla="*/ 158072 w 236860"/>
                  <a:gd name="connsiteY67" fmla="*/ 175772 h 420344"/>
                  <a:gd name="connsiteX68" fmla="*/ 155135 w 236860"/>
                  <a:gd name="connsiteY68" fmla="*/ 184938 h 420344"/>
                  <a:gd name="connsiteX69" fmla="*/ 76648 w 236860"/>
                  <a:gd name="connsiteY69" fmla="*/ 202145 h 420344"/>
                  <a:gd name="connsiteX70" fmla="*/ 71955 w 236860"/>
                  <a:gd name="connsiteY70" fmla="*/ 215345 h 420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36860" h="420344">
                    <a:moveTo>
                      <a:pt x="72010" y="215373"/>
                    </a:moveTo>
                    <a:lnTo>
                      <a:pt x="72120" y="221108"/>
                    </a:lnTo>
                    <a:lnTo>
                      <a:pt x="76758" y="226926"/>
                    </a:lnTo>
                    <a:lnTo>
                      <a:pt x="87927" y="210076"/>
                    </a:lnTo>
                    <a:lnTo>
                      <a:pt x="96819" y="219022"/>
                    </a:lnTo>
                    <a:lnTo>
                      <a:pt x="115453" y="203846"/>
                    </a:lnTo>
                    <a:lnTo>
                      <a:pt x="153269" y="198495"/>
                    </a:lnTo>
                    <a:lnTo>
                      <a:pt x="170860" y="204917"/>
                    </a:lnTo>
                    <a:lnTo>
                      <a:pt x="176651" y="215290"/>
                    </a:lnTo>
                    <a:lnTo>
                      <a:pt x="172095" y="246959"/>
                    </a:lnTo>
                    <a:lnTo>
                      <a:pt x="167951" y="252091"/>
                    </a:lnTo>
                    <a:lnTo>
                      <a:pt x="167841" y="257744"/>
                    </a:lnTo>
                    <a:lnTo>
                      <a:pt x="170778" y="265236"/>
                    </a:lnTo>
                    <a:lnTo>
                      <a:pt x="180547" y="253683"/>
                    </a:lnTo>
                    <a:lnTo>
                      <a:pt x="184884" y="226212"/>
                    </a:lnTo>
                    <a:lnTo>
                      <a:pt x="185706" y="240840"/>
                    </a:lnTo>
                    <a:lnTo>
                      <a:pt x="189028" y="244050"/>
                    </a:lnTo>
                    <a:lnTo>
                      <a:pt x="191497" y="236668"/>
                    </a:lnTo>
                    <a:lnTo>
                      <a:pt x="192759" y="218391"/>
                    </a:lnTo>
                    <a:lnTo>
                      <a:pt x="210268" y="217760"/>
                    </a:lnTo>
                    <a:lnTo>
                      <a:pt x="236861" y="257031"/>
                    </a:lnTo>
                    <a:lnTo>
                      <a:pt x="231482" y="298936"/>
                    </a:lnTo>
                    <a:lnTo>
                      <a:pt x="229424" y="339799"/>
                    </a:lnTo>
                    <a:lnTo>
                      <a:pt x="219434" y="344190"/>
                    </a:lnTo>
                    <a:lnTo>
                      <a:pt x="219297" y="349706"/>
                    </a:lnTo>
                    <a:lnTo>
                      <a:pt x="232085" y="373389"/>
                    </a:lnTo>
                    <a:lnTo>
                      <a:pt x="234775" y="393148"/>
                    </a:lnTo>
                    <a:lnTo>
                      <a:pt x="220175" y="414444"/>
                    </a:lnTo>
                    <a:lnTo>
                      <a:pt x="173165" y="420344"/>
                    </a:lnTo>
                    <a:lnTo>
                      <a:pt x="151485" y="403165"/>
                    </a:lnTo>
                    <a:lnTo>
                      <a:pt x="142539" y="387660"/>
                    </a:lnTo>
                    <a:lnTo>
                      <a:pt x="111555" y="386836"/>
                    </a:lnTo>
                    <a:lnTo>
                      <a:pt x="104832" y="373197"/>
                    </a:lnTo>
                    <a:lnTo>
                      <a:pt x="91961" y="382116"/>
                    </a:lnTo>
                    <a:lnTo>
                      <a:pt x="84277" y="376710"/>
                    </a:lnTo>
                    <a:lnTo>
                      <a:pt x="71379" y="347812"/>
                    </a:lnTo>
                    <a:lnTo>
                      <a:pt x="68498" y="313042"/>
                    </a:lnTo>
                    <a:lnTo>
                      <a:pt x="55737" y="316308"/>
                    </a:lnTo>
                    <a:lnTo>
                      <a:pt x="52334" y="291993"/>
                    </a:lnTo>
                    <a:lnTo>
                      <a:pt x="43360" y="311917"/>
                    </a:lnTo>
                    <a:lnTo>
                      <a:pt x="40478" y="310709"/>
                    </a:lnTo>
                    <a:lnTo>
                      <a:pt x="40204" y="305523"/>
                    </a:lnTo>
                    <a:lnTo>
                      <a:pt x="43278" y="292295"/>
                    </a:lnTo>
                    <a:lnTo>
                      <a:pt x="73740" y="255604"/>
                    </a:lnTo>
                    <a:lnTo>
                      <a:pt x="67757" y="228298"/>
                    </a:lnTo>
                    <a:lnTo>
                      <a:pt x="10757" y="201651"/>
                    </a:lnTo>
                    <a:lnTo>
                      <a:pt x="7464" y="179559"/>
                    </a:lnTo>
                    <a:lnTo>
                      <a:pt x="521" y="178654"/>
                    </a:lnTo>
                    <a:lnTo>
                      <a:pt x="0" y="175251"/>
                    </a:lnTo>
                    <a:lnTo>
                      <a:pt x="439" y="172424"/>
                    </a:lnTo>
                    <a:lnTo>
                      <a:pt x="6614" y="165948"/>
                    </a:lnTo>
                    <a:lnTo>
                      <a:pt x="5873" y="151705"/>
                    </a:lnTo>
                    <a:lnTo>
                      <a:pt x="24836" y="136803"/>
                    </a:lnTo>
                    <a:lnTo>
                      <a:pt x="30901" y="106753"/>
                    </a:lnTo>
                    <a:lnTo>
                      <a:pt x="30681" y="101018"/>
                    </a:lnTo>
                    <a:lnTo>
                      <a:pt x="23985" y="92483"/>
                    </a:lnTo>
                    <a:lnTo>
                      <a:pt x="23903" y="86144"/>
                    </a:lnTo>
                    <a:lnTo>
                      <a:pt x="36170" y="59606"/>
                    </a:lnTo>
                    <a:lnTo>
                      <a:pt x="85211" y="26510"/>
                    </a:lnTo>
                    <a:lnTo>
                      <a:pt x="96654" y="137"/>
                    </a:lnTo>
                    <a:lnTo>
                      <a:pt x="113477" y="0"/>
                    </a:lnTo>
                    <a:lnTo>
                      <a:pt x="142127" y="63970"/>
                    </a:lnTo>
                    <a:lnTo>
                      <a:pt x="170778" y="86006"/>
                    </a:lnTo>
                    <a:lnTo>
                      <a:pt x="173824" y="101594"/>
                    </a:lnTo>
                    <a:lnTo>
                      <a:pt x="173549" y="107357"/>
                    </a:lnTo>
                    <a:lnTo>
                      <a:pt x="152885" y="123740"/>
                    </a:lnTo>
                    <a:lnTo>
                      <a:pt x="151952" y="144652"/>
                    </a:lnTo>
                    <a:lnTo>
                      <a:pt x="158072" y="175772"/>
                    </a:lnTo>
                    <a:lnTo>
                      <a:pt x="155135" y="184938"/>
                    </a:lnTo>
                    <a:lnTo>
                      <a:pt x="76648" y="202145"/>
                    </a:lnTo>
                    <a:lnTo>
                      <a:pt x="71955" y="2153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1" name="Freeform: Shape 4350">
                <a:extLst>
                  <a:ext uri="{FF2B5EF4-FFF2-40B4-BE49-F238E27FC236}">
                    <a16:creationId xmlns:a16="http://schemas.microsoft.com/office/drawing/2014/main" id="{F980A17E-FC63-039A-88F6-08B9F468EC39}"/>
                  </a:ext>
                </a:extLst>
              </p:cNvPr>
              <p:cNvSpPr/>
              <p:nvPr/>
            </p:nvSpPr>
            <p:spPr>
              <a:xfrm>
                <a:off x="1670837" y="3426465"/>
                <a:ext cx="17789" cy="22922"/>
              </a:xfrm>
              <a:custGeom>
                <a:avLst/>
                <a:gdLst>
                  <a:gd name="connsiteX0" fmla="*/ 103103 w 170558"/>
                  <a:gd name="connsiteY0" fmla="*/ 25138 h 219763"/>
                  <a:gd name="connsiteX1" fmla="*/ 98493 w 170558"/>
                  <a:gd name="connsiteY1" fmla="*/ 33755 h 219763"/>
                  <a:gd name="connsiteX2" fmla="*/ 92895 w 170558"/>
                  <a:gd name="connsiteY2" fmla="*/ 74178 h 219763"/>
                  <a:gd name="connsiteX3" fmla="*/ 88394 w 170558"/>
                  <a:gd name="connsiteY3" fmla="*/ 86967 h 219763"/>
                  <a:gd name="connsiteX4" fmla="*/ 88751 w 170558"/>
                  <a:gd name="connsiteY4" fmla="*/ 92044 h 219763"/>
                  <a:gd name="connsiteX5" fmla="*/ 91248 w 170558"/>
                  <a:gd name="connsiteY5" fmla="*/ 89986 h 219763"/>
                  <a:gd name="connsiteX6" fmla="*/ 100798 w 170558"/>
                  <a:gd name="connsiteY6" fmla="*/ 60320 h 219763"/>
                  <a:gd name="connsiteX7" fmla="*/ 112132 w 170558"/>
                  <a:gd name="connsiteY7" fmla="*/ 50742 h 219763"/>
                  <a:gd name="connsiteX8" fmla="*/ 112791 w 170558"/>
                  <a:gd name="connsiteY8" fmla="*/ 44430 h 219763"/>
                  <a:gd name="connsiteX9" fmla="*/ 110733 w 170558"/>
                  <a:gd name="connsiteY9" fmla="*/ 40259 h 219763"/>
                  <a:gd name="connsiteX10" fmla="*/ 112215 w 170558"/>
                  <a:gd name="connsiteY10" fmla="*/ 28815 h 219763"/>
                  <a:gd name="connsiteX11" fmla="*/ 115563 w 170558"/>
                  <a:gd name="connsiteY11" fmla="*/ 45199 h 219763"/>
                  <a:gd name="connsiteX12" fmla="*/ 118966 w 170558"/>
                  <a:gd name="connsiteY12" fmla="*/ 39683 h 219763"/>
                  <a:gd name="connsiteX13" fmla="*/ 121271 w 170558"/>
                  <a:gd name="connsiteY13" fmla="*/ 47037 h 219763"/>
                  <a:gd name="connsiteX14" fmla="*/ 130766 w 170558"/>
                  <a:gd name="connsiteY14" fmla="*/ 46077 h 219763"/>
                  <a:gd name="connsiteX15" fmla="*/ 133098 w 170558"/>
                  <a:gd name="connsiteY15" fmla="*/ 62927 h 219763"/>
                  <a:gd name="connsiteX16" fmla="*/ 139548 w 170558"/>
                  <a:gd name="connsiteY16" fmla="*/ 62323 h 219763"/>
                  <a:gd name="connsiteX17" fmla="*/ 149811 w 170558"/>
                  <a:gd name="connsiteY17" fmla="*/ 95721 h 219763"/>
                  <a:gd name="connsiteX18" fmla="*/ 155711 w 170558"/>
                  <a:gd name="connsiteY18" fmla="*/ 87955 h 219763"/>
                  <a:gd name="connsiteX19" fmla="*/ 165729 w 170558"/>
                  <a:gd name="connsiteY19" fmla="*/ 96215 h 219763"/>
                  <a:gd name="connsiteX20" fmla="*/ 168802 w 170558"/>
                  <a:gd name="connsiteY20" fmla="*/ 107329 h 219763"/>
                  <a:gd name="connsiteX21" fmla="*/ 170559 w 170558"/>
                  <a:gd name="connsiteY21" fmla="*/ 129668 h 219763"/>
                  <a:gd name="connsiteX22" fmla="*/ 168363 w 170558"/>
                  <a:gd name="connsiteY22" fmla="*/ 142731 h 219763"/>
                  <a:gd name="connsiteX23" fmla="*/ 155382 w 170558"/>
                  <a:gd name="connsiteY23" fmla="*/ 166853 h 219763"/>
                  <a:gd name="connsiteX24" fmla="*/ 102500 w 170558"/>
                  <a:gd name="connsiteY24" fmla="*/ 180986 h 219763"/>
                  <a:gd name="connsiteX25" fmla="*/ 97780 w 170558"/>
                  <a:gd name="connsiteY25" fmla="*/ 192238 h 219763"/>
                  <a:gd name="connsiteX26" fmla="*/ 92730 w 170558"/>
                  <a:gd name="connsiteY26" fmla="*/ 181343 h 219763"/>
                  <a:gd name="connsiteX27" fmla="*/ 56094 w 170558"/>
                  <a:gd name="connsiteY27" fmla="*/ 184828 h 219763"/>
                  <a:gd name="connsiteX28" fmla="*/ 16247 w 170558"/>
                  <a:gd name="connsiteY28" fmla="*/ 217678 h 219763"/>
                  <a:gd name="connsiteX29" fmla="*/ 3348 w 170558"/>
                  <a:gd name="connsiteY29" fmla="*/ 219763 h 219763"/>
                  <a:gd name="connsiteX30" fmla="*/ 137 w 170558"/>
                  <a:gd name="connsiteY30" fmla="*/ 212738 h 219763"/>
                  <a:gd name="connsiteX31" fmla="*/ 0 w 170558"/>
                  <a:gd name="connsiteY31" fmla="*/ 203984 h 219763"/>
                  <a:gd name="connsiteX32" fmla="*/ 4693 w 170558"/>
                  <a:gd name="connsiteY32" fmla="*/ 187106 h 219763"/>
                  <a:gd name="connsiteX33" fmla="*/ 16658 w 170558"/>
                  <a:gd name="connsiteY33" fmla="*/ 163450 h 219763"/>
                  <a:gd name="connsiteX34" fmla="*/ 26674 w 170558"/>
                  <a:gd name="connsiteY34" fmla="*/ 111830 h 219763"/>
                  <a:gd name="connsiteX35" fmla="*/ 34551 w 170558"/>
                  <a:gd name="connsiteY35" fmla="*/ 96929 h 219763"/>
                  <a:gd name="connsiteX36" fmla="*/ 40122 w 170558"/>
                  <a:gd name="connsiteY36" fmla="*/ 98850 h 219763"/>
                  <a:gd name="connsiteX37" fmla="*/ 40616 w 170558"/>
                  <a:gd name="connsiteY37" fmla="*/ 77856 h 219763"/>
                  <a:gd name="connsiteX38" fmla="*/ 53102 w 170558"/>
                  <a:gd name="connsiteY38" fmla="*/ 33755 h 219763"/>
                  <a:gd name="connsiteX39" fmla="*/ 61610 w 170558"/>
                  <a:gd name="connsiteY39" fmla="*/ 29254 h 219763"/>
                  <a:gd name="connsiteX40" fmla="*/ 61966 w 170558"/>
                  <a:gd name="connsiteY40" fmla="*/ 15395 h 219763"/>
                  <a:gd name="connsiteX41" fmla="*/ 67318 w 170558"/>
                  <a:gd name="connsiteY41" fmla="*/ 11169 h 219763"/>
                  <a:gd name="connsiteX42" fmla="*/ 72999 w 170558"/>
                  <a:gd name="connsiteY42" fmla="*/ 28760 h 219763"/>
                  <a:gd name="connsiteX43" fmla="*/ 79393 w 170558"/>
                  <a:gd name="connsiteY43" fmla="*/ 31422 h 219763"/>
                  <a:gd name="connsiteX44" fmla="*/ 79475 w 170558"/>
                  <a:gd name="connsiteY44" fmla="*/ 8809 h 219763"/>
                  <a:gd name="connsiteX45" fmla="*/ 84552 w 170558"/>
                  <a:gd name="connsiteY45" fmla="*/ 0 h 219763"/>
                  <a:gd name="connsiteX46" fmla="*/ 97450 w 170558"/>
                  <a:gd name="connsiteY46" fmla="*/ 7382 h 219763"/>
                  <a:gd name="connsiteX47" fmla="*/ 103213 w 170558"/>
                  <a:gd name="connsiteY47" fmla="*/ 19786 h 219763"/>
                  <a:gd name="connsiteX48" fmla="*/ 103213 w 170558"/>
                  <a:gd name="connsiteY48" fmla="*/ 25110 h 219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0558" h="219763">
                    <a:moveTo>
                      <a:pt x="103103" y="25138"/>
                    </a:moveTo>
                    <a:lnTo>
                      <a:pt x="98493" y="33755"/>
                    </a:lnTo>
                    <a:lnTo>
                      <a:pt x="92895" y="74178"/>
                    </a:lnTo>
                    <a:lnTo>
                      <a:pt x="88394" y="86967"/>
                    </a:lnTo>
                    <a:lnTo>
                      <a:pt x="88751" y="92044"/>
                    </a:lnTo>
                    <a:lnTo>
                      <a:pt x="91248" y="89986"/>
                    </a:lnTo>
                    <a:lnTo>
                      <a:pt x="100798" y="60320"/>
                    </a:lnTo>
                    <a:lnTo>
                      <a:pt x="112132" y="50742"/>
                    </a:lnTo>
                    <a:lnTo>
                      <a:pt x="112791" y="44430"/>
                    </a:lnTo>
                    <a:lnTo>
                      <a:pt x="110733" y="40259"/>
                    </a:lnTo>
                    <a:lnTo>
                      <a:pt x="112215" y="28815"/>
                    </a:lnTo>
                    <a:lnTo>
                      <a:pt x="115563" y="45199"/>
                    </a:lnTo>
                    <a:lnTo>
                      <a:pt x="118966" y="39683"/>
                    </a:lnTo>
                    <a:lnTo>
                      <a:pt x="121271" y="47037"/>
                    </a:lnTo>
                    <a:lnTo>
                      <a:pt x="130766" y="46077"/>
                    </a:lnTo>
                    <a:lnTo>
                      <a:pt x="133098" y="62927"/>
                    </a:lnTo>
                    <a:lnTo>
                      <a:pt x="139548" y="62323"/>
                    </a:lnTo>
                    <a:lnTo>
                      <a:pt x="149811" y="95721"/>
                    </a:lnTo>
                    <a:lnTo>
                      <a:pt x="155711" y="87955"/>
                    </a:lnTo>
                    <a:lnTo>
                      <a:pt x="165729" y="96215"/>
                    </a:lnTo>
                    <a:lnTo>
                      <a:pt x="168802" y="107329"/>
                    </a:lnTo>
                    <a:lnTo>
                      <a:pt x="170559" y="129668"/>
                    </a:lnTo>
                    <a:lnTo>
                      <a:pt x="168363" y="142731"/>
                    </a:lnTo>
                    <a:lnTo>
                      <a:pt x="155382" y="166853"/>
                    </a:lnTo>
                    <a:lnTo>
                      <a:pt x="102500" y="180986"/>
                    </a:lnTo>
                    <a:lnTo>
                      <a:pt x="97780" y="192238"/>
                    </a:lnTo>
                    <a:lnTo>
                      <a:pt x="92730" y="181343"/>
                    </a:lnTo>
                    <a:lnTo>
                      <a:pt x="56094" y="184828"/>
                    </a:lnTo>
                    <a:lnTo>
                      <a:pt x="16247" y="217678"/>
                    </a:lnTo>
                    <a:lnTo>
                      <a:pt x="3348" y="219763"/>
                    </a:lnTo>
                    <a:lnTo>
                      <a:pt x="137" y="212738"/>
                    </a:lnTo>
                    <a:lnTo>
                      <a:pt x="0" y="203984"/>
                    </a:lnTo>
                    <a:lnTo>
                      <a:pt x="4693" y="187106"/>
                    </a:lnTo>
                    <a:lnTo>
                      <a:pt x="16658" y="163450"/>
                    </a:lnTo>
                    <a:lnTo>
                      <a:pt x="26674" y="111830"/>
                    </a:lnTo>
                    <a:lnTo>
                      <a:pt x="34551" y="96929"/>
                    </a:lnTo>
                    <a:lnTo>
                      <a:pt x="40122" y="98850"/>
                    </a:lnTo>
                    <a:lnTo>
                      <a:pt x="40616" y="77856"/>
                    </a:lnTo>
                    <a:lnTo>
                      <a:pt x="53102" y="33755"/>
                    </a:lnTo>
                    <a:lnTo>
                      <a:pt x="61610" y="29254"/>
                    </a:lnTo>
                    <a:lnTo>
                      <a:pt x="61966" y="15395"/>
                    </a:lnTo>
                    <a:lnTo>
                      <a:pt x="67318" y="11169"/>
                    </a:lnTo>
                    <a:lnTo>
                      <a:pt x="72999" y="28760"/>
                    </a:lnTo>
                    <a:lnTo>
                      <a:pt x="79393" y="31422"/>
                    </a:lnTo>
                    <a:lnTo>
                      <a:pt x="79475" y="8809"/>
                    </a:lnTo>
                    <a:lnTo>
                      <a:pt x="84552" y="0"/>
                    </a:lnTo>
                    <a:lnTo>
                      <a:pt x="97450" y="7382"/>
                    </a:lnTo>
                    <a:lnTo>
                      <a:pt x="103213" y="19786"/>
                    </a:lnTo>
                    <a:lnTo>
                      <a:pt x="103213" y="251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2" name="Freeform: Shape 4351">
                <a:extLst>
                  <a:ext uri="{FF2B5EF4-FFF2-40B4-BE49-F238E27FC236}">
                    <a16:creationId xmlns:a16="http://schemas.microsoft.com/office/drawing/2014/main" id="{7EFD415B-478C-6167-E769-E651314E6DAD}"/>
                  </a:ext>
                </a:extLst>
              </p:cNvPr>
              <p:cNvSpPr/>
              <p:nvPr/>
            </p:nvSpPr>
            <p:spPr>
              <a:xfrm>
                <a:off x="1509038" y="3398949"/>
                <a:ext cx="14423" cy="16161"/>
              </a:xfrm>
              <a:custGeom>
                <a:avLst/>
                <a:gdLst>
                  <a:gd name="connsiteX0" fmla="*/ 65973 w 138285"/>
                  <a:gd name="connsiteY0" fmla="*/ 29035 h 154943"/>
                  <a:gd name="connsiteX1" fmla="*/ 96078 w 138285"/>
                  <a:gd name="connsiteY1" fmla="*/ 0 h 154943"/>
                  <a:gd name="connsiteX2" fmla="*/ 106863 w 138285"/>
                  <a:gd name="connsiteY2" fmla="*/ 7849 h 154943"/>
                  <a:gd name="connsiteX3" fmla="*/ 117977 w 138285"/>
                  <a:gd name="connsiteY3" fmla="*/ 247 h 154943"/>
                  <a:gd name="connsiteX4" fmla="*/ 119295 w 138285"/>
                  <a:gd name="connsiteY4" fmla="*/ 12212 h 154943"/>
                  <a:gd name="connsiteX5" fmla="*/ 113587 w 138285"/>
                  <a:gd name="connsiteY5" fmla="*/ 25165 h 154943"/>
                  <a:gd name="connsiteX6" fmla="*/ 113807 w 138285"/>
                  <a:gd name="connsiteY6" fmla="*/ 31559 h 154943"/>
                  <a:gd name="connsiteX7" fmla="*/ 131205 w 138285"/>
                  <a:gd name="connsiteY7" fmla="*/ 27004 h 154943"/>
                  <a:gd name="connsiteX8" fmla="*/ 138286 w 138285"/>
                  <a:gd name="connsiteY8" fmla="*/ 38859 h 154943"/>
                  <a:gd name="connsiteX9" fmla="*/ 138286 w 138285"/>
                  <a:gd name="connsiteY9" fmla="*/ 45199 h 154943"/>
                  <a:gd name="connsiteX10" fmla="*/ 119240 w 138285"/>
                  <a:gd name="connsiteY10" fmla="*/ 72175 h 154943"/>
                  <a:gd name="connsiteX11" fmla="*/ 88339 w 138285"/>
                  <a:gd name="connsiteY11" fmla="*/ 82055 h 154943"/>
                  <a:gd name="connsiteX12" fmla="*/ 86007 w 138285"/>
                  <a:gd name="connsiteY12" fmla="*/ 98932 h 154943"/>
                  <a:gd name="connsiteX13" fmla="*/ 82027 w 138285"/>
                  <a:gd name="connsiteY13" fmla="*/ 104475 h 154943"/>
                  <a:gd name="connsiteX14" fmla="*/ 59222 w 138285"/>
                  <a:gd name="connsiteY14" fmla="*/ 101594 h 154943"/>
                  <a:gd name="connsiteX15" fmla="*/ 54913 w 138285"/>
                  <a:gd name="connsiteY15" fmla="*/ 110870 h 154943"/>
                  <a:gd name="connsiteX16" fmla="*/ 55051 w 138285"/>
                  <a:gd name="connsiteY16" fmla="*/ 116935 h 154943"/>
                  <a:gd name="connsiteX17" fmla="*/ 60787 w 138285"/>
                  <a:gd name="connsiteY17" fmla="*/ 120777 h 154943"/>
                  <a:gd name="connsiteX18" fmla="*/ 61583 w 138285"/>
                  <a:gd name="connsiteY18" fmla="*/ 135541 h 154943"/>
                  <a:gd name="connsiteX19" fmla="*/ 49974 w 138285"/>
                  <a:gd name="connsiteY19" fmla="*/ 136584 h 154943"/>
                  <a:gd name="connsiteX20" fmla="*/ 45089 w 138285"/>
                  <a:gd name="connsiteY20" fmla="*/ 150113 h 154943"/>
                  <a:gd name="connsiteX21" fmla="*/ 27773 w 138285"/>
                  <a:gd name="connsiteY21" fmla="*/ 154943 h 154943"/>
                  <a:gd name="connsiteX22" fmla="*/ 27032 w 138285"/>
                  <a:gd name="connsiteY22" fmla="*/ 148576 h 154943"/>
                  <a:gd name="connsiteX23" fmla="*/ 29831 w 138285"/>
                  <a:gd name="connsiteY23" fmla="*/ 136282 h 154943"/>
                  <a:gd name="connsiteX24" fmla="*/ 29501 w 138285"/>
                  <a:gd name="connsiteY24" fmla="*/ 130711 h 154943"/>
                  <a:gd name="connsiteX25" fmla="*/ 9605 w 138285"/>
                  <a:gd name="connsiteY25" fmla="*/ 136419 h 154943"/>
                  <a:gd name="connsiteX26" fmla="*/ 357 w 138285"/>
                  <a:gd name="connsiteY26" fmla="*/ 118526 h 154943"/>
                  <a:gd name="connsiteX27" fmla="*/ 0 w 138285"/>
                  <a:gd name="connsiteY27" fmla="*/ 115315 h 154943"/>
                  <a:gd name="connsiteX28" fmla="*/ 467 w 138285"/>
                  <a:gd name="connsiteY28" fmla="*/ 112489 h 154943"/>
                  <a:gd name="connsiteX29" fmla="*/ 10786 w 138285"/>
                  <a:gd name="connsiteY29" fmla="*/ 102609 h 154943"/>
                  <a:gd name="connsiteX30" fmla="*/ 16823 w 138285"/>
                  <a:gd name="connsiteY30" fmla="*/ 111912 h 154943"/>
                  <a:gd name="connsiteX31" fmla="*/ 33344 w 138285"/>
                  <a:gd name="connsiteY31" fmla="*/ 113587 h 154943"/>
                  <a:gd name="connsiteX32" fmla="*/ 34469 w 138285"/>
                  <a:gd name="connsiteY32" fmla="*/ 109250 h 154943"/>
                  <a:gd name="connsiteX33" fmla="*/ 32328 w 138285"/>
                  <a:gd name="connsiteY33" fmla="*/ 99097 h 154943"/>
                  <a:gd name="connsiteX34" fmla="*/ 34112 w 138285"/>
                  <a:gd name="connsiteY34" fmla="*/ 93910 h 154943"/>
                  <a:gd name="connsiteX35" fmla="*/ 31724 w 138285"/>
                  <a:gd name="connsiteY35" fmla="*/ 84305 h 154943"/>
                  <a:gd name="connsiteX36" fmla="*/ 32767 w 138285"/>
                  <a:gd name="connsiteY36" fmla="*/ 75221 h 154943"/>
                  <a:gd name="connsiteX37" fmla="*/ 67044 w 138285"/>
                  <a:gd name="connsiteY37" fmla="*/ 75880 h 154943"/>
                  <a:gd name="connsiteX38" fmla="*/ 75386 w 138285"/>
                  <a:gd name="connsiteY38" fmla="*/ 52883 h 154943"/>
                  <a:gd name="connsiteX39" fmla="*/ 75222 w 138285"/>
                  <a:gd name="connsiteY39" fmla="*/ 46681 h 154943"/>
                  <a:gd name="connsiteX40" fmla="*/ 66385 w 138285"/>
                  <a:gd name="connsiteY40" fmla="*/ 38283 h 154943"/>
                  <a:gd name="connsiteX41" fmla="*/ 66000 w 138285"/>
                  <a:gd name="connsiteY41" fmla="*/ 29062 h 154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8285" h="154943">
                    <a:moveTo>
                      <a:pt x="65973" y="29035"/>
                    </a:moveTo>
                    <a:lnTo>
                      <a:pt x="96078" y="0"/>
                    </a:lnTo>
                    <a:lnTo>
                      <a:pt x="106863" y="7849"/>
                    </a:lnTo>
                    <a:lnTo>
                      <a:pt x="117977" y="247"/>
                    </a:lnTo>
                    <a:lnTo>
                      <a:pt x="119295" y="12212"/>
                    </a:lnTo>
                    <a:lnTo>
                      <a:pt x="113587" y="25165"/>
                    </a:lnTo>
                    <a:lnTo>
                      <a:pt x="113807" y="31559"/>
                    </a:lnTo>
                    <a:lnTo>
                      <a:pt x="131205" y="27004"/>
                    </a:lnTo>
                    <a:lnTo>
                      <a:pt x="138286" y="38859"/>
                    </a:lnTo>
                    <a:lnTo>
                      <a:pt x="138286" y="45199"/>
                    </a:lnTo>
                    <a:cubicBezTo>
                      <a:pt x="138286" y="45199"/>
                      <a:pt x="119240" y="72175"/>
                      <a:pt x="119240" y="72175"/>
                    </a:cubicBezTo>
                    <a:lnTo>
                      <a:pt x="88339" y="82055"/>
                    </a:lnTo>
                    <a:lnTo>
                      <a:pt x="86007" y="98932"/>
                    </a:lnTo>
                    <a:lnTo>
                      <a:pt x="82027" y="104475"/>
                    </a:lnTo>
                    <a:lnTo>
                      <a:pt x="59222" y="101594"/>
                    </a:lnTo>
                    <a:lnTo>
                      <a:pt x="54913" y="110870"/>
                    </a:lnTo>
                    <a:lnTo>
                      <a:pt x="55051" y="116935"/>
                    </a:lnTo>
                    <a:lnTo>
                      <a:pt x="60787" y="120777"/>
                    </a:lnTo>
                    <a:lnTo>
                      <a:pt x="61583" y="135541"/>
                    </a:lnTo>
                    <a:lnTo>
                      <a:pt x="49974" y="136584"/>
                    </a:lnTo>
                    <a:lnTo>
                      <a:pt x="45089" y="150113"/>
                    </a:lnTo>
                    <a:lnTo>
                      <a:pt x="27773" y="154943"/>
                    </a:lnTo>
                    <a:lnTo>
                      <a:pt x="27032" y="148576"/>
                    </a:lnTo>
                    <a:lnTo>
                      <a:pt x="29831" y="136282"/>
                    </a:lnTo>
                    <a:lnTo>
                      <a:pt x="29501" y="130711"/>
                    </a:lnTo>
                    <a:lnTo>
                      <a:pt x="9605" y="136419"/>
                    </a:lnTo>
                    <a:lnTo>
                      <a:pt x="357" y="118526"/>
                    </a:lnTo>
                    <a:lnTo>
                      <a:pt x="0" y="115315"/>
                    </a:lnTo>
                    <a:lnTo>
                      <a:pt x="467" y="112489"/>
                    </a:lnTo>
                    <a:lnTo>
                      <a:pt x="10786" y="102609"/>
                    </a:lnTo>
                    <a:lnTo>
                      <a:pt x="16823" y="111912"/>
                    </a:lnTo>
                    <a:lnTo>
                      <a:pt x="33344" y="113587"/>
                    </a:lnTo>
                    <a:lnTo>
                      <a:pt x="34469" y="109250"/>
                    </a:lnTo>
                    <a:lnTo>
                      <a:pt x="32328" y="99097"/>
                    </a:lnTo>
                    <a:lnTo>
                      <a:pt x="34112" y="93910"/>
                    </a:lnTo>
                    <a:lnTo>
                      <a:pt x="31724" y="84305"/>
                    </a:lnTo>
                    <a:lnTo>
                      <a:pt x="32767" y="75221"/>
                    </a:lnTo>
                    <a:lnTo>
                      <a:pt x="67044" y="75880"/>
                    </a:lnTo>
                    <a:lnTo>
                      <a:pt x="75386" y="52883"/>
                    </a:lnTo>
                    <a:lnTo>
                      <a:pt x="75222" y="46681"/>
                    </a:lnTo>
                    <a:lnTo>
                      <a:pt x="66385" y="38283"/>
                    </a:lnTo>
                    <a:lnTo>
                      <a:pt x="66000" y="290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3" name="Freeform: Shape 4352">
                <a:extLst>
                  <a:ext uri="{FF2B5EF4-FFF2-40B4-BE49-F238E27FC236}">
                    <a16:creationId xmlns:a16="http://schemas.microsoft.com/office/drawing/2014/main" id="{051720EB-5BA5-AB86-3F3D-3BC2F29AD14E}"/>
                  </a:ext>
                </a:extLst>
              </p:cNvPr>
              <p:cNvSpPr/>
              <p:nvPr/>
            </p:nvSpPr>
            <p:spPr>
              <a:xfrm>
                <a:off x="1531298" y="3395105"/>
                <a:ext cx="14910" cy="10187"/>
              </a:xfrm>
              <a:custGeom>
                <a:avLst/>
                <a:gdLst>
                  <a:gd name="connsiteX0" fmla="*/ 123357 w 142950"/>
                  <a:gd name="connsiteY0" fmla="*/ 35154 h 97669"/>
                  <a:gd name="connsiteX1" fmla="*/ 122533 w 142950"/>
                  <a:gd name="connsiteY1" fmla="*/ 48656 h 97669"/>
                  <a:gd name="connsiteX2" fmla="*/ 139987 w 142950"/>
                  <a:gd name="connsiteY2" fmla="*/ 48574 h 97669"/>
                  <a:gd name="connsiteX3" fmla="*/ 142951 w 142950"/>
                  <a:gd name="connsiteY3" fmla="*/ 56752 h 97669"/>
                  <a:gd name="connsiteX4" fmla="*/ 142786 w 142950"/>
                  <a:gd name="connsiteY4" fmla="*/ 63064 h 97669"/>
                  <a:gd name="connsiteX5" fmla="*/ 127775 w 142950"/>
                  <a:gd name="connsiteY5" fmla="*/ 75304 h 97669"/>
                  <a:gd name="connsiteX6" fmla="*/ 109635 w 142950"/>
                  <a:gd name="connsiteY6" fmla="*/ 58975 h 97669"/>
                  <a:gd name="connsiteX7" fmla="*/ 105464 w 142950"/>
                  <a:gd name="connsiteY7" fmla="*/ 75221 h 97669"/>
                  <a:gd name="connsiteX8" fmla="*/ 90096 w 142950"/>
                  <a:gd name="connsiteY8" fmla="*/ 85595 h 97669"/>
                  <a:gd name="connsiteX9" fmla="*/ 56999 w 142950"/>
                  <a:gd name="connsiteY9" fmla="*/ 97670 h 97669"/>
                  <a:gd name="connsiteX10" fmla="*/ 46297 w 142950"/>
                  <a:gd name="connsiteY10" fmla="*/ 93114 h 97669"/>
                  <a:gd name="connsiteX11" fmla="*/ 48382 w 142950"/>
                  <a:gd name="connsiteY11" fmla="*/ 75331 h 97669"/>
                  <a:gd name="connsiteX12" fmla="*/ 46983 w 142950"/>
                  <a:gd name="connsiteY12" fmla="*/ 70885 h 97669"/>
                  <a:gd name="connsiteX13" fmla="*/ 24535 w 142950"/>
                  <a:gd name="connsiteY13" fmla="*/ 77801 h 97669"/>
                  <a:gd name="connsiteX14" fmla="*/ 7273 w 142950"/>
                  <a:gd name="connsiteY14" fmla="*/ 66577 h 97669"/>
                  <a:gd name="connsiteX15" fmla="*/ 823 w 142950"/>
                  <a:gd name="connsiteY15" fmla="*/ 63421 h 97669"/>
                  <a:gd name="connsiteX16" fmla="*/ 0 w 142950"/>
                  <a:gd name="connsiteY16" fmla="*/ 59057 h 97669"/>
                  <a:gd name="connsiteX17" fmla="*/ 1674 w 142950"/>
                  <a:gd name="connsiteY17" fmla="*/ 53541 h 97669"/>
                  <a:gd name="connsiteX18" fmla="*/ 7273 w 142950"/>
                  <a:gd name="connsiteY18" fmla="*/ 50385 h 97669"/>
                  <a:gd name="connsiteX19" fmla="*/ 31313 w 142950"/>
                  <a:gd name="connsiteY19" fmla="*/ 48492 h 97669"/>
                  <a:gd name="connsiteX20" fmla="*/ 57274 w 142950"/>
                  <a:gd name="connsiteY20" fmla="*/ 70281 h 97669"/>
                  <a:gd name="connsiteX21" fmla="*/ 62433 w 142950"/>
                  <a:gd name="connsiteY21" fmla="*/ 68031 h 97669"/>
                  <a:gd name="connsiteX22" fmla="*/ 62433 w 142950"/>
                  <a:gd name="connsiteY22" fmla="*/ 61472 h 97669"/>
                  <a:gd name="connsiteX23" fmla="*/ 37350 w 142950"/>
                  <a:gd name="connsiteY23" fmla="*/ 35978 h 97669"/>
                  <a:gd name="connsiteX24" fmla="*/ 14737 w 142950"/>
                  <a:gd name="connsiteY24" fmla="*/ 24369 h 97669"/>
                  <a:gd name="connsiteX25" fmla="*/ 14627 w 142950"/>
                  <a:gd name="connsiteY25" fmla="*/ 17756 h 97669"/>
                  <a:gd name="connsiteX26" fmla="*/ 20418 w 142950"/>
                  <a:gd name="connsiteY26" fmla="*/ 5571 h 97669"/>
                  <a:gd name="connsiteX27" fmla="*/ 41960 w 142950"/>
                  <a:gd name="connsiteY27" fmla="*/ 23875 h 97669"/>
                  <a:gd name="connsiteX28" fmla="*/ 62735 w 142950"/>
                  <a:gd name="connsiteY28" fmla="*/ 22476 h 97669"/>
                  <a:gd name="connsiteX29" fmla="*/ 90041 w 142950"/>
                  <a:gd name="connsiteY29" fmla="*/ 52416 h 97669"/>
                  <a:gd name="connsiteX30" fmla="*/ 94212 w 142950"/>
                  <a:gd name="connsiteY30" fmla="*/ 52416 h 97669"/>
                  <a:gd name="connsiteX31" fmla="*/ 95255 w 142950"/>
                  <a:gd name="connsiteY31" fmla="*/ 45665 h 97669"/>
                  <a:gd name="connsiteX32" fmla="*/ 90041 w 142950"/>
                  <a:gd name="connsiteY32" fmla="*/ 37652 h 97669"/>
                  <a:gd name="connsiteX33" fmla="*/ 73987 w 142950"/>
                  <a:gd name="connsiteY33" fmla="*/ 17262 h 97669"/>
                  <a:gd name="connsiteX34" fmla="*/ 74041 w 142950"/>
                  <a:gd name="connsiteY34" fmla="*/ 10538 h 97669"/>
                  <a:gd name="connsiteX35" fmla="*/ 78130 w 142950"/>
                  <a:gd name="connsiteY35" fmla="*/ 8151 h 97669"/>
                  <a:gd name="connsiteX36" fmla="*/ 119268 w 142950"/>
                  <a:gd name="connsiteY36" fmla="*/ 37268 h 97669"/>
                  <a:gd name="connsiteX37" fmla="*/ 119432 w 142950"/>
                  <a:gd name="connsiteY37" fmla="*/ 30462 h 97669"/>
                  <a:gd name="connsiteX38" fmla="*/ 116469 w 142950"/>
                  <a:gd name="connsiteY38" fmla="*/ 23162 h 97669"/>
                  <a:gd name="connsiteX39" fmla="*/ 116660 w 142950"/>
                  <a:gd name="connsiteY39" fmla="*/ 16603 h 97669"/>
                  <a:gd name="connsiteX40" fmla="*/ 129422 w 142950"/>
                  <a:gd name="connsiteY40" fmla="*/ 13639 h 97669"/>
                  <a:gd name="connsiteX41" fmla="*/ 128598 w 142950"/>
                  <a:gd name="connsiteY41" fmla="*/ 1564 h 97669"/>
                  <a:gd name="connsiteX42" fmla="*/ 129778 w 142950"/>
                  <a:gd name="connsiteY42" fmla="*/ 0 h 97669"/>
                  <a:gd name="connsiteX43" fmla="*/ 138066 w 142950"/>
                  <a:gd name="connsiteY43" fmla="*/ 10785 h 97669"/>
                  <a:gd name="connsiteX44" fmla="*/ 133620 w 142950"/>
                  <a:gd name="connsiteY44" fmla="*/ 34578 h 97669"/>
                  <a:gd name="connsiteX45" fmla="*/ 123329 w 142950"/>
                  <a:gd name="connsiteY45" fmla="*/ 35100 h 97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950" h="97669">
                    <a:moveTo>
                      <a:pt x="123357" y="35154"/>
                    </a:moveTo>
                    <a:lnTo>
                      <a:pt x="122533" y="48656"/>
                    </a:lnTo>
                    <a:lnTo>
                      <a:pt x="139987" y="48574"/>
                    </a:lnTo>
                    <a:lnTo>
                      <a:pt x="142951" y="56752"/>
                    </a:lnTo>
                    <a:lnTo>
                      <a:pt x="142786" y="63064"/>
                    </a:lnTo>
                    <a:lnTo>
                      <a:pt x="127775" y="75304"/>
                    </a:lnTo>
                    <a:lnTo>
                      <a:pt x="109635" y="58975"/>
                    </a:lnTo>
                    <a:lnTo>
                      <a:pt x="105464" y="75221"/>
                    </a:lnTo>
                    <a:lnTo>
                      <a:pt x="90096" y="85595"/>
                    </a:lnTo>
                    <a:lnTo>
                      <a:pt x="56999" y="97670"/>
                    </a:lnTo>
                    <a:lnTo>
                      <a:pt x="46297" y="93114"/>
                    </a:lnTo>
                    <a:lnTo>
                      <a:pt x="48382" y="75331"/>
                    </a:lnTo>
                    <a:lnTo>
                      <a:pt x="46983" y="70885"/>
                    </a:lnTo>
                    <a:lnTo>
                      <a:pt x="24535" y="77801"/>
                    </a:lnTo>
                    <a:lnTo>
                      <a:pt x="7273" y="66577"/>
                    </a:lnTo>
                    <a:lnTo>
                      <a:pt x="823" y="63421"/>
                    </a:lnTo>
                    <a:lnTo>
                      <a:pt x="0" y="59057"/>
                    </a:lnTo>
                    <a:lnTo>
                      <a:pt x="1674" y="53541"/>
                    </a:lnTo>
                    <a:lnTo>
                      <a:pt x="7273" y="50385"/>
                    </a:lnTo>
                    <a:lnTo>
                      <a:pt x="31313" y="48492"/>
                    </a:lnTo>
                    <a:lnTo>
                      <a:pt x="57274" y="70281"/>
                    </a:lnTo>
                    <a:lnTo>
                      <a:pt x="62433" y="68031"/>
                    </a:lnTo>
                    <a:lnTo>
                      <a:pt x="62433" y="61472"/>
                    </a:lnTo>
                    <a:cubicBezTo>
                      <a:pt x="62433" y="61472"/>
                      <a:pt x="37350" y="35978"/>
                      <a:pt x="37350" y="35978"/>
                    </a:cubicBezTo>
                    <a:lnTo>
                      <a:pt x="14737" y="24369"/>
                    </a:lnTo>
                    <a:lnTo>
                      <a:pt x="14627" y="17756"/>
                    </a:lnTo>
                    <a:lnTo>
                      <a:pt x="20418" y="5571"/>
                    </a:lnTo>
                    <a:lnTo>
                      <a:pt x="41960" y="23875"/>
                    </a:lnTo>
                    <a:lnTo>
                      <a:pt x="62735" y="22476"/>
                    </a:lnTo>
                    <a:lnTo>
                      <a:pt x="90041" y="52416"/>
                    </a:lnTo>
                    <a:lnTo>
                      <a:pt x="94212" y="52416"/>
                    </a:lnTo>
                    <a:cubicBezTo>
                      <a:pt x="94212" y="52416"/>
                      <a:pt x="95255" y="45665"/>
                      <a:pt x="95255" y="45665"/>
                    </a:cubicBezTo>
                    <a:lnTo>
                      <a:pt x="90041" y="37652"/>
                    </a:lnTo>
                    <a:lnTo>
                      <a:pt x="73987" y="17262"/>
                    </a:lnTo>
                    <a:lnTo>
                      <a:pt x="74041" y="10538"/>
                    </a:lnTo>
                    <a:lnTo>
                      <a:pt x="78130" y="8151"/>
                    </a:lnTo>
                    <a:lnTo>
                      <a:pt x="119268" y="37268"/>
                    </a:lnTo>
                    <a:lnTo>
                      <a:pt x="119432" y="30462"/>
                    </a:lnTo>
                    <a:lnTo>
                      <a:pt x="116469" y="23162"/>
                    </a:lnTo>
                    <a:lnTo>
                      <a:pt x="116660" y="16603"/>
                    </a:lnTo>
                    <a:lnTo>
                      <a:pt x="129422" y="13639"/>
                    </a:lnTo>
                    <a:lnTo>
                      <a:pt x="128598" y="1564"/>
                    </a:lnTo>
                    <a:lnTo>
                      <a:pt x="129778" y="0"/>
                    </a:lnTo>
                    <a:lnTo>
                      <a:pt x="138066" y="10785"/>
                    </a:lnTo>
                    <a:lnTo>
                      <a:pt x="133620" y="34578"/>
                    </a:lnTo>
                    <a:lnTo>
                      <a:pt x="123329" y="351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4" name="Freeform: Shape 4353">
                <a:extLst>
                  <a:ext uri="{FF2B5EF4-FFF2-40B4-BE49-F238E27FC236}">
                    <a16:creationId xmlns:a16="http://schemas.microsoft.com/office/drawing/2014/main" id="{745FC505-EA57-6F24-A9DC-5E7D8F617AB7}"/>
                  </a:ext>
                </a:extLst>
              </p:cNvPr>
              <p:cNvSpPr/>
              <p:nvPr/>
            </p:nvSpPr>
            <p:spPr>
              <a:xfrm>
                <a:off x="1513308" y="3543869"/>
                <a:ext cx="6323" cy="6975"/>
              </a:xfrm>
              <a:custGeom>
                <a:avLst/>
                <a:gdLst>
                  <a:gd name="connsiteX0" fmla="*/ 6778 w 60621"/>
                  <a:gd name="connsiteY0" fmla="*/ 11663 h 66878"/>
                  <a:gd name="connsiteX1" fmla="*/ 17453 w 60621"/>
                  <a:gd name="connsiteY1" fmla="*/ 1647 h 66878"/>
                  <a:gd name="connsiteX2" fmla="*/ 30379 w 60621"/>
                  <a:gd name="connsiteY2" fmla="*/ 0 h 66878"/>
                  <a:gd name="connsiteX3" fmla="*/ 51153 w 60621"/>
                  <a:gd name="connsiteY3" fmla="*/ 15341 h 66878"/>
                  <a:gd name="connsiteX4" fmla="*/ 57987 w 60621"/>
                  <a:gd name="connsiteY4" fmla="*/ 23162 h 66878"/>
                  <a:gd name="connsiteX5" fmla="*/ 60621 w 60621"/>
                  <a:gd name="connsiteY5" fmla="*/ 30270 h 66878"/>
                  <a:gd name="connsiteX6" fmla="*/ 59990 w 60621"/>
                  <a:gd name="connsiteY6" fmla="*/ 35401 h 66878"/>
                  <a:gd name="connsiteX7" fmla="*/ 57740 w 60621"/>
                  <a:gd name="connsiteY7" fmla="*/ 39216 h 66878"/>
                  <a:gd name="connsiteX8" fmla="*/ 57438 w 60621"/>
                  <a:gd name="connsiteY8" fmla="*/ 33014 h 66878"/>
                  <a:gd name="connsiteX9" fmla="*/ 55187 w 60621"/>
                  <a:gd name="connsiteY9" fmla="*/ 32300 h 66878"/>
                  <a:gd name="connsiteX10" fmla="*/ 37569 w 60621"/>
                  <a:gd name="connsiteY10" fmla="*/ 56999 h 66878"/>
                  <a:gd name="connsiteX11" fmla="*/ 17398 w 60621"/>
                  <a:gd name="connsiteY11" fmla="*/ 63970 h 66878"/>
                  <a:gd name="connsiteX12" fmla="*/ 17398 w 60621"/>
                  <a:gd name="connsiteY12" fmla="*/ 66879 h 66878"/>
                  <a:gd name="connsiteX13" fmla="*/ 10181 w 60621"/>
                  <a:gd name="connsiteY13" fmla="*/ 63860 h 66878"/>
                  <a:gd name="connsiteX14" fmla="*/ 219 w 60621"/>
                  <a:gd name="connsiteY14" fmla="*/ 51620 h 66878"/>
                  <a:gd name="connsiteX15" fmla="*/ 0 w 60621"/>
                  <a:gd name="connsiteY15" fmla="*/ 36225 h 66878"/>
                  <a:gd name="connsiteX16" fmla="*/ 2332 w 60621"/>
                  <a:gd name="connsiteY16" fmla="*/ 20884 h 66878"/>
                  <a:gd name="connsiteX17" fmla="*/ 6696 w 60621"/>
                  <a:gd name="connsiteY17" fmla="*/ 11663 h 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621" h="66878">
                    <a:moveTo>
                      <a:pt x="6778" y="11663"/>
                    </a:moveTo>
                    <a:lnTo>
                      <a:pt x="17453" y="1647"/>
                    </a:lnTo>
                    <a:lnTo>
                      <a:pt x="30379" y="0"/>
                    </a:lnTo>
                    <a:lnTo>
                      <a:pt x="51153" y="15341"/>
                    </a:lnTo>
                    <a:lnTo>
                      <a:pt x="57987" y="23162"/>
                    </a:lnTo>
                    <a:lnTo>
                      <a:pt x="60621" y="30270"/>
                    </a:lnTo>
                    <a:lnTo>
                      <a:pt x="59990" y="35401"/>
                    </a:lnTo>
                    <a:lnTo>
                      <a:pt x="57740" y="39216"/>
                    </a:lnTo>
                    <a:lnTo>
                      <a:pt x="57438" y="33014"/>
                    </a:lnTo>
                    <a:lnTo>
                      <a:pt x="55187" y="32300"/>
                    </a:lnTo>
                    <a:lnTo>
                      <a:pt x="37569" y="56999"/>
                    </a:lnTo>
                    <a:lnTo>
                      <a:pt x="17398" y="63970"/>
                    </a:lnTo>
                    <a:lnTo>
                      <a:pt x="17398" y="66879"/>
                    </a:lnTo>
                    <a:lnTo>
                      <a:pt x="10181" y="63860"/>
                    </a:lnTo>
                    <a:lnTo>
                      <a:pt x="219" y="51620"/>
                    </a:lnTo>
                    <a:lnTo>
                      <a:pt x="0" y="36225"/>
                    </a:lnTo>
                    <a:lnTo>
                      <a:pt x="2332" y="20884"/>
                    </a:lnTo>
                    <a:lnTo>
                      <a:pt x="6696" y="1166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5" name="Freeform: Shape 4354">
                <a:extLst>
                  <a:ext uri="{FF2B5EF4-FFF2-40B4-BE49-F238E27FC236}">
                    <a16:creationId xmlns:a16="http://schemas.microsoft.com/office/drawing/2014/main" id="{BE17F6A3-403B-E288-AA52-70C461A11634}"/>
                  </a:ext>
                </a:extLst>
              </p:cNvPr>
              <p:cNvSpPr/>
              <p:nvPr/>
            </p:nvSpPr>
            <p:spPr>
              <a:xfrm>
                <a:off x="1557391" y="3393871"/>
                <a:ext cx="8581" cy="10751"/>
              </a:xfrm>
              <a:custGeom>
                <a:avLst/>
                <a:gdLst>
                  <a:gd name="connsiteX0" fmla="*/ 79612 w 82273"/>
                  <a:gd name="connsiteY0" fmla="*/ 44101 h 103075"/>
                  <a:gd name="connsiteX1" fmla="*/ 81313 w 82273"/>
                  <a:gd name="connsiteY1" fmla="*/ 56587 h 103075"/>
                  <a:gd name="connsiteX2" fmla="*/ 70364 w 82273"/>
                  <a:gd name="connsiteY2" fmla="*/ 77225 h 103075"/>
                  <a:gd name="connsiteX3" fmla="*/ 53788 w 82273"/>
                  <a:gd name="connsiteY3" fmla="*/ 90864 h 103075"/>
                  <a:gd name="connsiteX4" fmla="*/ 45610 w 82273"/>
                  <a:gd name="connsiteY4" fmla="*/ 91522 h 103075"/>
                  <a:gd name="connsiteX5" fmla="*/ 31532 w 82273"/>
                  <a:gd name="connsiteY5" fmla="*/ 97532 h 103075"/>
                  <a:gd name="connsiteX6" fmla="*/ 25028 w 82273"/>
                  <a:gd name="connsiteY6" fmla="*/ 97807 h 103075"/>
                  <a:gd name="connsiteX7" fmla="*/ 16905 w 82273"/>
                  <a:gd name="connsiteY7" fmla="*/ 103076 h 103075"/>
                  <a:gd name="connsiteX8" fmla="*/ 13173 w 82273"/>
                  <a:gd name="connsiteY8" fmla="*/ 102582 h 103075"/>
                  <a:gd name="connsiteX9" fmla="*/ 13173 w 82273"/>
                  <a:gd name="connsiteY9" fmla="*/ 98603 h 103075"/>
                  <a:gd name="connsiteX10" fmla="*/ 5434 w 82273"/>
                  <a:gd name="connsiteY10" fmla="*/ 84963 h 103075"/>
                  <a:gd name="connsiteX11" fmla="*/ 1125 w 82273"/>
                  <a:gd name="connsiteY11" fmla="*/ 81286 h 103075"/>
                  <a:gd name="connsiteX12" fmla="*/ 0 w 82273"/>
                  <a:gd name="connsiteY12" fmla="*/ 75715 h 103075"/>
                  <a:gd name="connsiteX13" fmla="*/ 1838 w 82273"/>
                  <a:gd name="connsiteY13" fmla="*/ 68278 h 103075"/>
                  <a:gd name="connsiteX14" fmla="*/ 15094 w 82273"/>
                  <a:gd name="connsiteY14" fmla="*/ 53596 h 103075"/>
                  <a:gd name="connsiteX15" fmla="*/ 17289 w 82273"/>
                  <a:gd name="connsiteY15" fmla="*/ 48547 h 103075"/>
                  <a:gd name="connsiteX16" fmla="*/ 23327 w 82273"/>
                  <a:gd name="connsiteY16" fmla="*/ 44430 h 103075"/>
                  <a:gd name="connsiteX17" fmla="*/ 40561 w 82273"/>
                  <a:gd name="connsiteY17" fmla="*/ 44732 h 103075"/>
                  <a:gd name="connsiteX18" fmla="*/ 45473 w 82273"/>
                  <a:gd name="connsiteY18" fmla="*/ 40890 h 103075"/>
                  <a:gd name="connsiteX19" fmla="*/ 47064 w 82273"/>
                  <a:gd name="connsiteY19" fmla="*/ 34962 h 103075"/>
                  <a:gd name="connsiteX20" fmla="*/ 45144 w 82273"/>
                  <a:gd name="connsiteY20" fmla="*/ 23628 h 103075"/>
                  <a:gd name="connsiteX21" fmla="*/ 48163 w 82273"/>
                  <a:gd name="connsiteY21" fmla="*/ 9084 h 103075"/>
                  <a:gd name="connsiteX22" fmla="*/ 52004 w 82273"/>
                  <a:gd name="connsiteY22" fmla="*/ 4062 h 103075"/>
                  <a:gd name="connsiteX23" fmla="*/ 58508 w 82273"/>
                  <a:gd name="connsiteY23" fmla="*/ 0 h 103075"/>
                  <a:gd name="connsiteX24" fmla="*/ 71187 w 82273"/>
                  <a:gd name="connsiteY24" fmla="*/ 3677 h 103075"/>
                  <a:gd name="connsiteX25" fmla="*/ 77938 w 82273"/>
                  <a:gd name="connsiteY25" fmla="*/ 12706 h 103075"/>
                  <a:gd name="connsiteX26" fmla="*/ 80682 w 82273"/>
                  <a:gd name="connsiteY26" fmla="*/ 26373 h 103075"/>
                  <a:gd name="connsiteX27" fmla="*/ 82274 w 82273"/>
                  <a:gd name="connsiteY27" fmla="*/ 28980 h 103075"/>
                  <a:gd name="connsiteX28" fmla="*/ 79667 w 82273"/>
                  <a:gd name="connsiteY28" fmla="*/ 44073 h 10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2273" h="103075">
                    <a:moveTo>
                      <a:pt x="79612" y="44101"/>
                    </a:moveTo>
                    <a:lnTo>
                      <a:pt x="81313" y="56587"/>
                    </a:lnTo>
                    <a:lnTo>
                      <a:pt x="70364" y="77225"/>
                    </a:lnTo>
                    <a:lnTo>
                      <a:pt x="53788" y="90864"/>
                    </a:lnTo>
                    <a:lnTo>
                      <a:pt x="45610" y="91522"/>
                    </a:lnTo>
                    <a:lnTo>
                      <a:pt x="31532" y="97532"/>
                    </a:lnTo>
                    <a:lnTo>
                      <a:pt x="25028" y="97807"/>
                    </a:lnTo>
                    <a:lnTo>
                      <a:pt x="16905" y="103076"/>
                    </a:lnTo>
                    <a:lnTo>
                      <a:pt x="13173" y="102582"/>
                    </a:lnTo>
                    <a:lnTo>
                      <a:pt x="13173" y="98603"/>
                    </a:lnTo>
                    <a:cubicBezTo>
                      <a:pt x="13173" y="98603"/>
                      <a:pt x="5434" y="84963"/>
                      <a:pt x="5434" y="84963"/>
                    </a:cubicBezTo>
                    <a:lnTo>
                      <a:pt x="1125" y="81286"/>
                    </a:lnTo>
                    <a:lnTo>
                      <a:pt x="0" y="75715"/>
                    </a:lnTo>
                    <a:lnTo>
                      <a:pt x="1838" y="68278"/>
                    </a:lnTo>
                    <a:lnTo>
                      <a:pt x="15094" y="53596"/>
                    </a:lnTo>
                    <a:lnTo>
                      <a:pt x="17289" y="48547"/>
                    </a:lnTo>
                    <a:lnTo>
                      <a:pt x="23327" y="44430"/>
                    </a:lnTo>
                    <a:lnTo>
                      <a:pt x="40561" y="44732"/>
                    </a:lnTo>
                    <a:lnTo>
                      <a:pt x="45473" y="40890"/>
                    </a:lnTo>
                    <a:lnTo>
                      <a:pt x="47064" y="34962"/>
                    </a:lnTo>
                    <a:lnTo>
                      <a:pt x="45144" y="23628"/>
                    </a:lnTo>
                    <a:lnTo>
                      <a:pt x="48163" y="9084"/>
                    </a:lnTo>
                    <a:lnTo>
                      <a:pt x="52004" y="4062"/>
                    </a:lnTo>
                    <a:lnTo>
                      <a:pt x="58508" y="0"/>
                    </a:lnTo>
                    <a:lnTo>
                      <a:pt x="71187" y="3677"/>
                    </a:lnTo>
                    <a:lnTo>
                      <a:pt x="77938" y="12706"/>
                    </a:lnTo>
                    <a:lnTo>
                      <a:pt x="80682" y="26373"/>
                    </a:lnTo>
                    <a:lnTo>
                      <a:pt x="82274" y="28980"/>
                    </a:lnTo>
                    <a:lnTo>
                      <a:pt x="79667" y="4407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6" name="Freeform: Shape 4355">
                <a:extLst>
                  <a:ext uri="{FF2B5EF4-FFF2-40B4-BE49-F238E27FC236}">
                    <a16:creationId xmlns:a16="http://schemas.microsoft.com/office/drawing/2014/main" id="{5315D76F-7AC1-F3EE-F251-2E368585B75F}"/>
                  </a:ext>
                </a:extLst>
              </p:cNvPr>
              <p:cNvSpPr/>
              <p:nvPr/>
            </p:nvSpPr>
            <p:spPr>
              <a:xfrm>
                <a:off x="1545054" y="3535408"/>
                <a:ext cx="6017" cy="6807"/>
              </a:xfrm>
              <a:custGeom>
                <a:avLst/>
                <a:gdLst>
                  <a:gd name="connsiteX0" fmla="*/ 3320 w 57685"/>
                  <a:gd name="connsiteY0" fmla="*/ 10950 h 65259"/>
                  <a:gd name="connsiteX1" fmla="*/ 7849 w 57685"/>
                  <a:gd name="connsiteY1" fmla="*/ 2113 h 65259"/>
                  <a:gd name="connsiteX2" fmla="*/ 13584 w 57685"/>
                  <a:gd name="connsiteY2" fmla="*/ 0 h 65259"/>
                  <a:gd name="connsiteX3" fmla="*/ 30983 w 57685"/>
                  <a:gd name="connsiteY3" fmla="*/ 21021 h 65259"/>
                  <a:gd name="connsiteX4" fmla="*/ 54557 w 57685"/>
                  <a:gd name="connsiteY4" fmla="*/ 44787 h 65259"/>
                  <a:gd name="connsiteX5" fmla="*/ 57685 w 57685"/>
                  <a:gd name="connsiteY5" fmla="*/ 55462 h 65259"/>
                  <a:gd name="connsiteX6" fmla="*/ 55627 w 57685"/>
                  <a:gd name="connsiteY6" fmla="*/ 62762 h 65259"/>
                  <a:gd name="connsiteX7" fmla="*/ 48546 w 57685"/>
                  <a:gd name="connsiteY7" fmla="*/ 65259 h 65259"/>
                  <a:gd name="connsiteX8" fmla="*/ 30983 w 57685"/>
                  <a:gd name="connsiteY8" fmla="*/ 63201 h 65259"/>
                  <a:gd name="connsiteX9" fmla="*/ 30983 w 57685"/>
                  <a:gd name="connsiteY9" fmla="*/ 52992 h 65259"/>
                  <a:gd name="connsiteX10" fmla="*/ 24891 w 57685"/>
                  <a:gd name="connsiteY10" fmla="*/ 48272 h 65259"/>
                  <a:gd name="connsiteX11" fmla="*/ 14600 w 57685"/>
                  <a:gd name="connsiteY11" fmla="*/ 49754 h 65259"/>
                  <a:gd name="connsiteX12" fmla="*/ 3183 w 57685"/>
                  <a:gd name="connsiteY12" fmla="*/ 35401 h 65259"/>
                  <a:gd name="connsiteX13" fmla="*/ 0 w 57685"/>
                  <a:gd name="connsiteY13" fmla="*/ 21817 h 65259"/>
                  <a:gd name="connsiteX14" fmla="*/ 5406 w 57685"/>
                  <a:gd name="connsiteY14" fmla="*/ 20061 h 65259"/>
                  <a:gd name="connsiteX15" fmla="*/ 5708 w 57685"/>
                  <a:gd name="connsiteY15" fmla="*/ 17344 h 65259"/>
                  <a:gd name="connsiteX16" fmla="*/ 3320 w 57685"/>
                  <a:gd name="connsiteY16" fmla="*/ 10950 h 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685" h="65259">
                    <a:moveTo>
                      <a:pt x="3320" y="10950"/>
                    </a:moveTo>
                    <a:lnTo>
                      <a:pt x="7849" y="2113"/>
                    </a:lnTo>
                    <a:lnTo>
                      <a:pt x="13584" y="0"/>
                    </a:lnTo>
                    <a:lnTo>
                      <a:pt x="30983" y="21021"/>
                    </a:lnTo>
                    <a:lnTo>
                      <a:pt x="54557" y="44787"/>
                    </a:lnTo>
                    <a:lnTo>
                      <a:pt x="57685" y="55462"/>
                    </a:lnTo>
                    <a:lnTo>
                      <a:pt x="55627" y="62762"/>
                    </a:lnTo>
                    <a:lnTo>
                      <a:pt x="48546" y="65259"/>
                    </a:lnTo>
                    <a:lnTo>
                      <a:pt x="30983" y="63201"/>
                    </a:lnTo>
                    <a:lnTo>
                      <a:pt x="30983" y="52992"/>
                    </a:lnTo>
                    <a:lnTo>
                      <a:pt x="24891" y="48272"/>
                    </a:lnTo>
                    <a:lnTo>
                      <a:pt x="14600" y="49754"/>
                    </a:lnTo>
                    <a:lnTo>
                      <a:pt x="3183" y="35401"/>
                    </a:lnTo>
                    <a:lnTo>
                      <a:pt x="0" y="21817"/>
                    </a:lnTo>
                    <a:lnTo>
                      <a:pt x="5406" y="20061"/>
                    </a:lnTo>
                    <a:lnTo>
                      <a:pt x="5708" y="17344"/>
                    </a:lnTo>
                    <a:lnTo>
                      <a:pt x="3320" y="1095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7" name="Freeform: Shape 4356">
                <a:extLst>
                  <a:ext uri="{FF2B5EF4-FFF2-40B4-BE49-F238E27FC236}">
                    <a16:creationId xmlns:a16="http://schemas.microsoft.com/office/drawing/2014/main" id="{4972F979-A55E-3153-ADB7-3EC1857CB1CE}"/>
                  </a:ext>
                </a:extLst>
              </p:cNvPr>
              <p:cNvSpPr/>
              <p:nvPr/>
            </p:nvSpPr>
            <p:spPr>
              <a:xfrm>
                <a:off x="1547599" y="3400383"/>
                <a:ext cx="8610" cy="9569"/>
              </a:xfrm>
              <a:custGeom>
                <a:avLst/>
                <a:gdLst>
                  <a:gd name="connsiteX0" fmla="*/ 27 w 82548"/>
                  <a:gd name="connsiteY0" fmla="*/ 54529 h 91741"/>
                  <a:gd name="connsiteX1" fmla="*/ 3183 w 82548"/>
                  <a:gd name="connsiteY1" fmla="*/ 30215 h 91741"/>
                  <a:gd name="connsiteX2" fmla="*/ 14408 w 82548"/>
                  <a:gd name="connsiteY2" fmla="*/ 9248 h 91741"/>
                  <a:gd name="connsiteX3" fmla="*/ 31092 w 82548"/>
                  <a:gd name="connsiteY3" fmla="*/ 14984 h 91741"/>
                  <a:gd name="connsiteX4" fmla="*/ 76318 w 82548"/>
                  <a:gd name="connsiteY4" fmla="*/ 0 h 91741"/>
                  <a:gd name="connsiteX5" fmla="*/ 80682 w 82548"/>
                  <a:gd name="connsiteY5" fmla="*/ 6394 h 91741"/>
                  <a:gd name="connsiteX6" fmla="*/ 82548 w 82548"/>
                  <a:gd name="connsiteY6" fmla="*/ 21159 h 91741"/>
                  <a:gd name="connsiteX7" fmla="*/ 76758 w 82548"/>
                  <a:gd name="connsiteY7" fmla="*/ 49946 h 91741"/>
                  <a:gd name="connsiteX8" fmla="*/ 67043 w 82548"/>
                  <a:gd name="connsiteY8" fmla="*/ 56066 h 91741"/>
                  <a:gd name="connsiteX9" fmla="*/ 63997 w 82548"/>
                  <a:gd name="connsiteY9" fmla="*/ 71160 h 91741"/>
                  <a:gd name="connsiteX10" fmla="*/ 51757 w 82548"/>
                  <a:gd name="connsiteY10" fmla="*/ 91742 h 91741"/>
                  <a:gd name="connsiteX11" fmla="*/ 27552 w 82548"/>
                  <a:gd name="connsiteY11" fmla="*/ 74508 h 91741"/>
                  <a:gd name="connsiteX12" fmla="*/ 14380 w 82548"/>
                  <a:gd name="connsiteY12" fmla="*/ 82494 h 91741"/>
                  <a:gd name="connsiteX13" fmla="*/ 7245 w 82548"/>
                  <a:gd name="connsiteY13" fmla="*/ 83070 h 91741"/>
                  <a:gd name="connsiteX14" fmla="*/ 1564 w 82548"/>
                  <a:gd name="connsiteY14" fmla="*/ 70474 h 91741"/>
                  <a:gd name="connsiteX15" fmla="*/ 0 w 82548"/>
                  <a:gd name="connsiteY15" fmla="*/ 54474 h 9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548" h="91741">
                    <a:moveTo>
                      <a:pt x="27" y="54529"/>
                    </a:moveTo>
                    <a:lnTo>
                      <a:pt x="3183" y="30215"/>
                    </a:lnTo>
                    <a:lnTo>
                      <a:pt x="14408" y="9248"/>
                    </a:lnTo>
                    <a:lnTo>
                      <a:pt x="31092" y="14984"/>
                    </a:lnTo>
                    <a:lnTo>
                      <a:pt x="76318" y="0"/>
                    </a:lnTo>
                    <a:lnTo>
                      <a:pt x="80682" y="6394"/>
                    </a:lnTo>
                    <a:lnTo>
                      <a:pt x="82548" y="21159"/>
                    </a:lnTo>
                    <a:lnTo>
                      <a:pt x="76758" y="49946"/>
                    </a:lnTo>
                    <a:lnTo>
                      <a:pt x="67043" y="56066"/>
                    </a:lnTo>
                    <a:lnTo>
                      <a:pt x="63997" y="71160"/>
                    </a:lnTo>
                    <a:lnTo>
                      <a:pt x="51757" y="91742"/>
                    </a:lnTo>
                    <a:lnTo>
                      <a:pt x="27552" y="74508"/>
                    </a:lnTo>
                    <a:lnTo>
                      <a:pt x="14380" y="82494"/>
                    </a:lnTo>
                    <a:lnTo>
                      <a:pt x="7245" y="83070"/>
                    </a:lnTo>
                    <a:lnTo>
                      <a:pt x="1564" y="70474"/>
                    </a:lnTo>
                    <a:lnTo>
                      <a:pt x="0" y="544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8" name="Freeform: Shape 4357">
                <a:extLst>
                  <a:ext uri="{FF2B5EF4-FFF2-40B4-BE49-F238E27FC236}">
                    <a16:creationId xmlns:a16="http://schemas.microsoft.com/office/drawing/2014/main" id="{501013F7-FA3A-1CB2-449A-67BABF370AE4}"/>
                  </a:ext>
                </a:extLst>
              </p:cNvPr>
              <p:cNvSpPr/>
              <p:nvPr/>
            </p:nvSpPr>
            <p:spPr>
              <a:xfrm>
                <a:off x="1504478" y="3400707"/>
                <a:ext cx="9864" cy="7173"/>
              </a:xfrm>
              <a:custGeom>
                <a:avLst/>
                <a:gdLst>
                  <a:gd name="connsiteX0" fmla="*/ 0 w 94568"/>
                  <a:gd name="connsiteY0" fmla="*/ 46653 h 68772"/>
                  <a:gd name="connsiteX1" fmla="*/ 466 w 94568"/>
                  <a:gd name="connsiteY1" fmla="*/ 43223 h 68772"/>
                  <a:gd name="connsiteX2" fmla="*/ 66000 w 94568"/>
                  <a:gd name="connsiteY2" fmla="*/ 0 h 68772"/>
                  <a:gd name="connsiteX3" fmla="*/ 91742 w 94568"/>
                  <a:gd name="connsiteY3" fmla="*/ 9770 h 68772"/>
                  <a:gd name="connsiteX4" fmla="*/ 94568 w 94568"/>
                  <a:gd name="connsiteY4" fmla="*/ 21159 h 68772"/>
                  <a:gd name="connsiteX5" fmla="*/ 94322 w 94568"/>
                  <a:gd name="connsiteY5" fmla="*/ 27196 h 68772"/>
                  <a:gd name="connsiteX6" fmla="*/ 82988 w 94568"/>
                  <a:gd name="connsiteY6" fmla="*/ 33535 h 68772"/>
                  <a:gd name="connsiteX7" fmla="*/ 67400 w 94568"/>
                  <a:gd name="connsiteY7" fmla="*/ 16795 h 68772"/>
                  <a:gd name="connsiteX8" fmla="*/ 59222 w 94568"/>
                  <a:gd name="connsiteY8" fmla="*/ 29364 h 68772"/>
                  <a:gd name="connsiteX9" fmla="*/ 56121 w 94568"/>
                  <a:gd name="connsiteY9" fmla="*/ 44787 h 68772"/>
                  <a:gd name="connsiteX10" fmla="*/ 26071 w 94568"/>
                  <a:gd name="connsiteY10" fmla="*/ 68772 h 68772"/>
                  <a:gd name="connsiteX11" fmla="*/ 19210 w 94568"/>
                  <a:gd name="connsiteY11" fmla="*/ 56258 h 68772"/>
                  <a:gd name="connsiteX12" fmla="*/ 5242 w 94568"/>
                  <a:gd name="connsiteY12" fmla="*/ 58371 h 68772"/>
                  <a:gd name="connsiteX13" fmla="*/ 27 w 94568"/>
                  <a:gd name="connsiteY13" fmla="*/ 46681 h 6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568" h="68772">
                    <a:moveTo>
                      <a:pt x="0" y="46653"/>
                    </a:moveTo>
                    <a:lnTo>
                      <a:pt x="466" y="43223"/>
                    </a:lnTo>
                    <a:lnTo>
                      <a:pt x="66000" y="0"/>
                    </a:lnTo>
                    <a:lnTo>
                      <a:pt x="91742" y="9770"/>
                    </a:lnTo>
                    <a:lnTo>
                      <a:pt x="94568" y="21159"/>
                    </a:lnTo>
                    <a:lnTo>
                      <a:pt x="94322" y="27196"/>
                    </a:lnTo>
                    <a:lnTo>
                      <a:pt x="82988" y="33535"/>
                    </a:lnTo>
                    <a:lnTo>
                      <a:pt x="67400" y="16795"/>
                    </a:lnTo>
                    <a:lnTo>
                      <a:pt x="59222" y="29364"/>
                    </a:lnTo>
                    <a:lnTo>
                      <a:pt x="56121" y="44787"/>
                    </a:lnTo>
                    <a:lnTo>
                      <a:pt x="26071" y="68772"/>
                    </a:lnTo>
                    <a:lnTo>
                      <a:pt x="19210" y="56258"/>
                    </a:lnTo>
                    <a:lnTo>
                      <a:pt x="5242" y="58371"/>
                    </a:lnTo>
                    <a:lnTo>
                      <a:pt x="27" y="466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59" name="Freeform: Shape 4358">
                <a:extLst>
                  <a:ext uri="{FF2B5EF4-FFF2-40B4-BE49-F238E27FC236}">
                    <a16:creationId xmlns:a16="http://schemas.microsoft.com/office/drawing/2014/main" id="{931B2260-2747-71E9-0330-7B579DF53A28}"/>
                  </a:ext>
                </a:extLst>
              </p:cNvPr>
              <p:cNvSpPr/>
              <p:nvPr/>
            </p:nvSpPr>
            <p:spPr>
              <a:xfrm>
                <a:off x="1645368" y="3415078"/>
                <a:ext cx="7683" cy="6767"/>
              </a:xfrm>
              <a:custGeom>
                <a:avLst/>
                <a:gdLst>
                  <a:gd name="connsiteX0" fmla="*/ 54502 w 73657"/>
                  <a:gd name="connsiteY0" fmla="*/ 59167 h 64875"/>
                  <a:gd name="connsiteX1" fmla="*/ 33371 w 73657"/>
                  <a:gd name="connsiteY1" fmla="*/ 64875 h 64875"/>
                  <a:gd name="connsiteX2" fmla="*/ 29639 w 73657"/>
                  <a:gd name="connsiteY2" fmla="*/ 63174 h 64875"/>
                  <a:gd name="connsiteX3" fmla="*/ 25221 w 73657"/>
                  <a:gd name="connsiteY3" fmla="*/ 61143 h 64875"/>
                  <a:gd name="connsiteX4" fmla="*/ 25824 w 73657"/>
                  <a:gd name="connsiteY4" fmla="*/ 53541 h 64875"/>
                  <a:gd name="connsiteX5" fmla="*/ 29666 w 73657"/>
                  <a:gd name="connsiteY5" fmla="*/ 53541 h 64875"/>
                  <a:gd name="connsiteX6" fmla="*/ 31313 w 73657"/>
                  <a:gd name="connsiteY6" fmla="*/ 53514 h 64875"/>
                  <a:gd name="connsiteX7" fmla="*/ 31422 w 73657"/>
                  <a:gd name="connsiteY7" fmla="*/ 47614 h 64875"/>
                  <a:gd name="connsiteX8" fmla="*/ 29666 w 73657"/>
                  <a:gd name="connsiteY8" fmla="*/ 45555 h 64875"/>
                  <a:gd name="connsiteX9" fmla="*/ 26757 w 73657"/>
                  <a:gd name="connsiteY9" fmla="*/ 42152 h 64875"/>
                  <a:gd name="connsiteX10" fmla="*/ 8453 w 73657"/>
                  <a:gd name="connsiteY10" fmla="*/ 39573 h 64875"/>
                  <a:gd name="connsiteX11" fmla="*/ 1867 w 73657"/>
                  <a:gd name="connsiteY11" fmla="*/ 38640 h 64875"/>
                  <a:gd name="connsiteX12" fmla="*/ 604 w 73657"/>
                  <a:gd name="connsiteY12" fmla="*/ 30791 h 64875"/>
                  <a:gd name="connsiteX13" fmla="*/ 3266 w 73657"/>
                  <a:gd name="connsiteY13" fmla="*/ 27141 h 64875"/>
                  <a:gd name="connsiteX14" fmla="*/ 0 w 73657"/>
                  <a:gd name="connsiteY14" fmla="*/ 7025 h 64875"/>
                  <a:gd name="connsiteX15" fmla="*/ 1098 w 73657"/>
                  <a:gd name="connsiteY15" fmla="*/ 0 h 64875"/>
                  <a:gd name="connsiteX16" fmla="*/ 8453 w 73657"/>
                  <a:gd name="connsiteY16" fmla="*/ 933 h 64875"/>
                  <a:gd name="connsiteX17" fmla="*/ 29666 w 73657"/>
                  <a:gd name="connsiteY17" fmla="*/ 3595 h 64875"/>
                  <a:gd name="connsiteX18" fmla="*/ 33399 w 73657"/>
                  <a:gd name="connsiteY18" fmla="*/ 4062 h 64875"/>
                  <a:gd name="connsiteX19" fmla="*/ 61637 w 73657"/>
                  <a:gd name="connsiteY19" fmla="*/ 11718 h 64875"/>
                  <a:gd name="connsiteX20" fmla="*/ 73657 w 73657"/>
                  <a:gd name="connsiteY20" fmla="*/ 25467 h 64875"/>
                  <a:gd name="connsiteX21" fmla="*/ 73657 w 73657"/>
                  <a:gd name="connsiteY21" fmla="*/ 31340 h 64875"/>
                  <a:gd name="connsiteX22" fmla="*/ 54530 w 73657"/>
                  <a:gd name="connsiteY22" fmla="*/ 59140 h 6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3657" h="64875">
                    <a:moveTo>
                      <a:pt x="54502" y="59167"/>
                    </a:moveTo>
                    <a:lnTo>
                      <a:pt x="33371" y="64875"/>
                    </a:lnTo>
                    <a:lnTo>
                      <a:pt x="29639" y="63174"/>
                    </a:lnTo>
                    <a:lnTo>
                      <a:pt x="25221" y="61143"/>
                    </a:lnTo>
                    <a:lnTo>
                      <a:pt x="25824" y="53541"/>
                    </a:lnTo>
                    <a:lnTo>
                      <a:pt x="29666" y="53541"/>
                    </a:lnTo>
                    <a:cubicBezTo>
                      <a:pt x="29666" y="53541"/>
                      <a:pt x="31313" y="53514"/>
                      <a:pt x="31313" y="53514"/>
                    </a:cubicBezTo>
                    <a:lnTo>
                      <a:pt x="31422" y="47614"/>
                    </a:lnTo>
                    <a:lnTo>
                      <a:pt x="29666" y="45555"/>
                    </a:lnTo>
                    <a:lnTo>
                      <a:pt x="26757" y="42152"/>
                    </a:lnTo>
                    <a:lnTo>
                      <a:pt x="8453" y="39573"/>
                    </a:lnTo>
                    <a:lnTo>
                      <a:pt x="1867" y="38640"/>
                    </a:lnTo>
                    <a:lnTo>
                      <a:pt x="604" y="30791"/>
                    </a:lnTo>
                    <a:lnTo>
                      <a:pt x="3266" y="27141"/>
                    </a:lnTo>
                    <a:lnTo>
                      <a:pt x="0" y="7025"/>
                    </a:lnTo>
                    <a:lnTo>
                      <a:pt x="1098" y="0"/>
                    </a:lnTo>
                    <a:lnTo>
                      <a:pt x="8453" y="933"/>
                    </a:lnTo>
                    <a:lnTo>
                      <a:pt x="29666" y="3595"/>
                    </a:lnTo>
                    <a:lnTo>
                      <a:pt x="33399" y="4062"/>
                    </a:lnTo>
                    <a:lnTo>
                      <a:pt x="61637" y="11718"/>
                    </a:lnTo>
                    <a:lnTo>
                      <a:pt x="73657" y="25467"/>
                    </a:lnTo>
                    <a:lnTo>
                      <a:pt x="73657" y="31340"/>
                    </a:lnTo>
                    <a:cubicBezTo>
                      <a:pt x="73657" y="31340"/>
                      <a:pt x="54530" y="59140"/>
                      <a:pt x="54530" y="59140"/>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0" name="Freeform: Shape 4359">
                <a:extLst>
                  <a:ext uri="{FF2B5EF4-FFF2-40B4-BE49-F238E27FC236}">
                    <a16:creationId xmlns:a16="http://schemas.microsoft.com/office/drawing/2014/main" id="{2FE7D0A1-9377-6B85-C4DF-B49B9AD9917A}"/>
                  </a:ext>
                </a:extLst>
              </p:cNvPr>
              <p:cNvSpPr/>
              <p:nvPr/>
            </p:nvSpPr>
            <p:spPr>
              <a:xfrm>
                <a:off x="1707681" y="3493349"/>
                <a:ext cx="5727" cy="5278"/>
              </a:xfrm>
              <a:custGeom>
                <a:avLst/>
                <a:gdLst>
                  <a:gd name="connsiteX0" fmla="*/ 46873 w 54913"/>
                  <a:gd name="connsiteY0" fmla="*/ 37871 h 50604"/>
                  <a:gd name="connsiteX1" fmla="*/ 35841 w 54913"/>
                  <a:gd name="connsiteY1" fmla="*/ 50605 h 50604"/>
                  <a:gd name="connsiteX2" fmla="*/ 18689 w 54913"/>
                  <a:gd name="connsiteY2" fmla="*/ 45116 h 50604"/>
                  <a:gd name="connsiteX3" fmla="*/ 412 w 54913"/>
                  <a:gd name="connsiteY3" fmla="*/ 27717 h 50604"/>
                  <a:gd name="connsiteX4" fmla="*/ 0 w 54913"/>
                  <a:gd name="connsiteY4" fmla="*/ 25796 h 50604"/>
                  <a:gd name="connsiteX5" fmla="*/ 1619 w 54913"/>
                  <a:gd name="connsiteY5" fmla="*/ 21049 h 50604"/>
                  <a:gd name="connsiteX6" fmla="*/ 10319 w 54913"/>
                  <a:gd name="connsiteY6" fmla="*/ 20472 h 50604"/>
                  <a:gd name="connsiteX7" fmla="*/ 12240 w 54913"/>
                  <a:gd name="connsiteY7" fmla="*/ 18853 h 50604"/>
                  <a:gd name="connsiteX8" fmla="*/ 12459 w 54913"/>
                  <a:gd name="connsiteY8" fmla="*/ 3842 h 50604"/>
                  <a:gd name="connsiteX9" fmla="*/ 14902 w 54913"/>
                  <a:gd name="connsiteY9" fmla="*/ 0 h 50604"/>
                  <a:gd name="connsiteX10" fmla="*/ 46928 w 54913"/>
                  <a:gd name="connsiteY10" fmla="*/ 5324 h 50604"/>
                  <a:gd name="connsiteX11" fmla="*/ 53047 w 54913"/>
                  <a:gd name="connsiteY11" fmla="*/ 10730 h 50604"/>
                  <a:gd name="connsiteX12" fmla="*/ 54913 w 54913"/>
                  <a:gd name="connsiteY12" fmla="*/ 19567 h 50604"/>
                  <a:gd name="connsiteX13" fmla="*/ 46873 w 54913"/>
                  <a:gd name="connsiteY13" fmla="*/ 37899 h 5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913" h="50604">
                    <a:moveTo>
                      <a:pt x="46873" y="37871"/>
                    </a:moveTo>
                    <a:lnTo>
                      <a:pt x="35841" y="50605"/>
                    </a:lnTo>
                    <a:lnTo>
                      <a:pt x="18689" y="45116"/>
                    </a:lnTo>
                    <a:lnTo>
                      <a:pt x="412" y="27717"/>
                    </a:lnTo>
                    <a:lnTo>
                      <a:pt x="0" y="25796"/>
                    </a:lnTo>
                    <a:lnTo>
                      <a:pt x="1619" y="21049"/>
                    </a:lnTo>
                    <a:lnTo>
                      <a:pt x="10319" y="20472"/>
                    </a:lnTo>
                    <a:lnTo>
                      <a:pt x="12240" y="18853"/>
                    </a:lnTo>
                    <a:lnTo>
                      <a:pt x="12459" y="3842"/>
                    </a:lnTo>
                    <a:lnTo>
                      <a:pt x="14902" y="0"/>
                    </a:lnTo>
                    <a:lnTo>
                      <a:pt x="46928" y="5324"/>
                    </a:lnTo>
                    <a:lnTo>
                      <a:pt x="53047" y="10730"/>
                    </a:lnTo>
                    <a:lnTo>
                      <a:pt x="54913" y="19567"/>
                    </a:lnTo>
                    <a:lnTo>
                      <a:pt x="46873" y="378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1" name="Freeform: Shape 4360">
                <a:extLst>
                  <a:ext uri="{FF2B5EF4-FFF2-40B4-BE49-F238E27FC236}">
                    <a16:creationId xmlns:a16="http://schemas.microsoft.com/office/drawing/2014/main" id="{39EF437B-1C9A-06A0-B6CA-82D53E8CBCC2}"/>
                  </a:ext>
                </a:extLst>
              </p:cNvPr>
              <p:cNvSpPr/>
              <p:nvPr/>
            </p:nvSpPr>
            <p:spPr>
              <a:xfrm>
                <a:off x="1579926" y="3505365"/>
                <a:ext cx="5063" cy="4938"/>
              </a:xfrm>
              <a:custGeom>
                <a:avLst/>
                <a:gdLst>
                  <a:gd name="connsiteX0" fmla="*/ 20061 w 48546"/>
                  <a:gd name="connsiteY0" fmla="*/ 41494 h 47339"/>
                  <a:gd name="connsiteX1" fmla="*/ 1976 w 48546"/>
                  <a:gd name="connsiteY1" fmla="*/ 47339 h 47339"/>
                  <a:gd name="connsiteX2" fmla="*/ 0 w 48546"/>
                  <a:gd name="connsiteY2" fmla="*/ 41713 h 47339"/>
                  <a:gd name="connsiteX3" fmla="*/ 2634 w 48546"/>
                  <a:gd name="connsiteY3" fmla="*/ 8343 h 47339"/>
                  <a:gd name="connsiteX4" fmla="*/ 20088 w 48546"/>
                  <a:gd name="connsiteY4" fmla="*/ 0 h 47339"/>
                  <a:gd name="connsiteX5" fmla="*/ 38558 w 48546"/>
                  <a:gd name="connsiteY5" fmla="*/ 4116 h 47339"/>
                  <a:gd name="connsiteX6" fmla="*/ 48546 w 48546"/>
                  <a:gd name="connsiteY6" fmla="*/ 26235 h 47339"/>
                  <a:gd name="connsiteX7" fmla="*/ 48327 w 48546"/>
                  <a:gd name="connsiteY7" fmla="*/ 29584 h 47339"/>
                  <a:gd name="connsiteX8" fmla="*/ 20088 w 48546"/>
                  <a:gd name="connsiteY8" fmla="*/ 41494 h 4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46" h="47339">
                    <a:moveTo>
                      <a:pt x="20061" y="41494"/>
                    </a:moveTo>
                    <a:lnTo>
                      <a:pt x="1976" y="47339"/>
                    </a:lnTo>
                    <a:lnTo>
                      <a:pt x="0" y="41713"/>
                    </a:lnTo>
                    <a:lnTo>
                      <a:pt x="2634" y="8343"/>
                    </a:lnTo>
                    <a:lnTo>
                      <a:pt x="20088" y="0"/>
                    </a:lnTo>
                    <a:lnTo>
                      <a:pt x="38558" y="4116"/>
                    </a:lnTo>
                    <a:lnTo>
                      <a:pt x="48546" y="26235"/>
                    </a:lnTo>
                    <a:lnTo>
                      <a:pt x="48327" y="29584"/>
                    </a:lnTo>
                    <a:lnTo>
                      <a:pt x="20088" y="414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2" name="Freeform: Shape 4361">
                <a:extLst>
                  <a:ext uri="{FF2B5EF4-FFF2-40B4-BE49-F238E27FC236}">
                    <a16:creationId xmlns:a16="http://schemas.microsoft.com/office/drawing/2014/main" id="{DBFAA299-92EC-7FD6-83A9-93B39A8146E2}"/>
                  </a:ext>
                </a:extLst>
              </p:cNvPr>
              <p:cNvSpPr/>
              <p:nvPr/>
            </p:nvSpPr>
            <p:spPr>
              <a:xfrm>
                <a:off x="1540581" y="3407857"/>
                <a:ext cx="6205" cy="6809"/>
              </a:xfrm>
              <a:custGeom>
                <a:avLst/>
                <a:gdLst>
                  <a:gd name="connsiteX0" fmla="*/ 29172 w 59496"/>
                  <a:gd name="connsiteY0" fmla="*/ 54200 h 65286"/>
                  <a:gd name="connsiteX1" fmla="*/ 24534 w 59496"/>
                  <a:gd name="connsiteY1" fmla="*/ 65287 h 65286"/>
                  <a:gd name="connsiteX2" fmla="*/ 7492 w 59496"/>
                  <a:gd name="connsiteY2" fmla="*/ 53349 h 65286"/>
                  <a:gd name="connsiteX3" fmla="*/ 4281 w 59496"/>
                  <a:gd name="connsiteY3" fmla="*/ 20637 h 65286"/>
                  <a:gd name="connsiteX4" fmla="*/ 0 w 59496"/>
                  <a:gd name="connsiteY4" fmla="*/ 5516 h 65286"/>
                  <a:gd name="connsiteX5" fmla="*/ 1070 w 59496"/>
                  <a:gd name="connsiteY5" fmla="*/ 1894 h 65286"/>
                  <a:gd name="connsiteX6" fmla="*/ 35346 w 59496"/>
                  <a:gd name="connsiteY6" fmla="*/ 0 h 65286"/>
                  <a:gd name="connsiteX7" fmla="*/ 53953 w 59496"/>
                  <a:gd name="connsiteY7" fmla="*/ 9056 h 65286"/>
                  <a:gd name="connsiteX8" fmla="*/ 59496 w 59496"/>
                  <a:gd name="connsiteY8" fmla="*/ 19539 h 65286"/>
                  <a:gd name="connsiteX9" fmla="*/ 59359 w 59496"/>
                  <a:gd name="connsiteY9" fmla="*/ 25687 h 65286"/>
                  <a:gd name="connsiteX10" fmla="*/ 33754 w 59496"/>
                  <a:gd name="connsiteY10" fmla="*/ 33426 h 65286"/>
                  <a:gd name="connsiteX11" fmla="*/ 33288 w 59496"/>
                  <a:gd name="connsiteY11" fmla="*/ 41960 h 65286"/>
                  <a:gd name="connsiteX12" fmla="*/ 37487 w 59496"/>
                  <a:gd name="connsiteY12" fmla="*/ 44512 h 65286"/>
                  <a:gd name="connsiteX13" fmla="*/ 37981 w 59496"/>
                  <a:gd name="connsiteY13" fmla="*/ 51840 h 65286"/>
                  <a:gd name="connsiteX14" fmla="*/ 29172 w 59496"/>
                  <a:gd name="connsiteY14" fmla="*/ 54200 h 6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496" h="65286">
                    <a:moveTo>
                      <a:pt x="29172" y="54200"/>
                    </a:moveTo>
                    <a:lnTo>
                      <a:pt x="24534" y="65287"/>
                    </a:lnTo>
                    <a:lnTo>
                      <a:pt x="7492" y="53349"/>
                    </a:lnTo>
                    <a:lnTo>
                      <a:pt x="4281" y="20637"/>
                    </a:lnTo>
                    <a:lnTo>
                      <a:pt x="0" y="5516"/>
                    </a:lnTo>
                    <a:lnTo>
                      <a:pt x="1070" y="1894"/>
                    </a:lnTo>
                    <a:lnTo>
                      <a:pt x="35346" y="0"/>
                    </a:lnTo>
                    <a:lnTo>
                      <a:pt x="53953" y="9056"/>
                    </a:lnTo>
                    <a:lnTo>
                      <a:pt x="59496" y="19539"/>
                    </a:lnTo>
                    <a:lnTo>
                      <a:pt x="59359" y="25687"/>
                    </a:lnTo>
                    <a:lnTo>
                      <a:pt x="33754" y="33426"/>
                    </a:lnTo>
                    <a:lnTo>
                      <a:pt x="33288" y="41960"/>
                    </a:lnTo>
                    <a:lnTo>
                      <a:pt x="37487" y="44512"/>
                    </a:lnTo>
                    <a:lnTo>
                      <a:pt x="37981" y="51840"/>
                    </a:lnTo>
                    <a:lnTo>
                      <a:pt x="29172" y="542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3" name="Freeform: Shape 4362">
                <a:extLst>
                  <a:ext uri="{FF2B5EF4-FFF2-40B4-BE49-F238E27FC236}">
                    <a16:creationId xmlns:a16="http://schemas.microsoft.com/office/drawing/2014/main" id="{398874B1-BB9E-C22F-BC48-35994EAA28CF}"/>
                  </a:ext>
                </a:extLst>
              </p:cNvPr>
              <p:cNvSpPr/>
              <p:nvPr/>
            </p:nvSpPr>
            <p:spPr>
              <a:xfrm>
                <a:off x="1525797" y="3409222"/>
                <a:ext cx="4969" cy="4683"/>
              </a:xfrm>
              <a:custGeom>
                <a:avLst/>
                <a:gdLst>
                  <a:gd name="connsiteX0" fmla="*/ 16768 w 47641"/>
                  <a:gd name="connsiteY0" fmla="*/ 4062 h 44896"/>
                  <a:gd name="connsiteX1" fmla="*/ 21927 w 47641"/>
                  <a:gd name="connsiteY1" fmla="*/ 412 h 44896"/>
                  <a:gd name="connsiteX2" fmla="*/ 24781 w 47641"/>
                  <a:gd name="connsiteY2" fmla="*/ 3074 h 44896"/>
                  <a:gd name="connsiteX3" fmla="*/ 29200 w 47641"/>
                  <a:gd name="connsiteY3" fmla="*/ 0 h 44896"/>
                  <a:gd name="connsiteX4" fmla="*/ 33645 w 47641"/>
                  <a:gd name="connsiteY4" fmla="*/ 4062 h 44896"/>
                  <a:gd name="connsiteX5" fmla="*/ 34276 w 47641"/>
                  <a:gd name="connsiteY5" fmla="*/ 11993 h 44896"/>
                  <a:gd name="connsiteX6" fmla="*/ 47339 w 47641"/>
                  <a:gd name="connsiteY6" fmla="*/ 25385 h 44896"/>
                  <a:gd name="connsiteX7" fmla="*/ 47641 w 47641"/>
                  <a:gd name="connsiteY7" fmla="*/ 30764 h 44896"/>
                  <a:gd name="connsiteX8" fmla="*/ 43881 w 47641"/>
                  <a:gd name="connsiteY8" fmla="*/ 35950 h 44896"/>
                  <a:gd name="connsiteX9" fmla="*/ 40973 w 47641"/>
                  <a:gd name="connsiteY9" fmla="*/ 31669 h 44896"/>
                  <a:gd name="connsiteX10" fmla="*/ 37240 w 47641"/>
                  <a:gd name="connsiteY10" fmla="*/ 35539 h 44896"/>
                  <a:gd name="connsiteX11" fmla="*/ 36966 w 47641"/>
                  <a:gd name="connsiteY11" fmla="*/ 43085 h 44896"/>
                  <a:gd name="connsiteX12" fmla="*/ 32465 w 47641"/>
                  <a:gd name="connsiteY12" fmla="*/ 44897 h 44896"/>
                  <a:gd name="connsiteX13" fmla="*/ 29419 w 47641"/>
                  <a:gd name="connsiteY13" fmla="*/ 41933 h 44896"/>
                  <a:gd name="connsiteX14" fmla="*/ 21296 w 47641"/>
                  <a:gd name="connsiteY14" fmla="*/ 42564 h 44896"/>
                  <a:gd name="connsiteX15" fmla="*/ 11801 w 47641"/>
                  <a:gd name="connsiteY15" fmla="*/ 41192 h 44896"/>
                  <a:gd name="connsiteX16" fmla="*/ 3046 w 47641"/>
                  <a:gd name="connsiteY16" fmla="*/ 35374 h 44896"/>
                  <a:gd name="connsiteX17" fmla="*/ 0 w 47641"/>
                  <a:gd name="connsiteY17" fmla="*/ 27059 h 44896"/>
                  <a:gd name="connsiteX18" fmla="*/ 1290 w 47641"/>
                  <a:gd name="connsiteY18" fmla="*/ 22393 h 44896"/>
                  <a:gd name="connsiteX19" fmla="*/ 10374 w 47641"/>
                  <a:gd name="connsiteY19" fmla="*/ 22613 h 44896"/>
                  <a:gd name="connsiteX20" fmla="*/ 12761 w 47641"/>
                  <a:gd name="connsiteY20" fmla="*/ 16987 h 44896"/>
                  <a:gd name="connsiteX21" fmla="*/ 17564 w 47641"/>
                  <a:gd name="connsiteY21" fmla="*/ 15258 h 44896"/>
                  <a:gd name="connsiteX22" fmla="*/ 16823 w 47641"/>
                  <a:gd name="connsiteY22" fmla="*/ 4089 h 4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641" h="44896">
                    <a:moveTo>
                      <a:pt x="16768" y="4062"/>
                    </a:moveTo>
                    <a:lnTo>
                      <a:pt x="21927" y="412"/>
                    </a:lnTo>
                    <a:lnTo>
                      <a:pt x="24781" y="3074"/>
                    </a:lnTo>
                    <a:lnTo>
                      <a:pt x="29200" y="0"/>
                    </a:lnTo>
                    <a:lnTo>
                      <a:pt x="33645" y="4062"/>
                    </a:lnTo>
                    <a:lnTo>
                      <a:pt x="34276" y="11993"/>
                    </a:lnTo>
                    <a:lnTo>
                      <a:pt x="47339" y="25385"/>
                    </a:lnTo>
                    <a:lnTo>
                      <a:pt x="47641" y="30764"/>
                    </a:lnTo>
                    <a:lnTo>
                      <a:pt x="43881" y="35950"/>
                    </a:lnTo>
                    <a:lnTo>
                      <a:pt x="40973" y="31669"/>
                    </a:lnTo>
                    <a:lnTo>
                      <a:pt x="37240" y="35539"/>
                    </a:lnTo>
                    <a:lnTo>
                      <a:pt x="36966" y="43085"/>
                    </a:lnTo>
                    <a:lnTo>
                      <a:pt x="32465" y="44897"/>
                    </a:lnTo>
                    <a:lnTo>
                      <a:pt x="29419" y="41933"/>
                    </a:lnTo>
                    <a:lnTo>
                      <a:pt x="21296" y="42564"/>
                    </a:lnTo>
                    <a:lnTo>
                      <a:pt x="11801" y="41192"/>
                    </a:lnTo>
                    <a:lnTo>
                      <a:pt x="3046" y="35374"/>
                    </a:lnTo>
                    <a:lnTo>
                      <a:pt x="0" y="27059"/>
                    </a:lnTo>
                    <a:lnTo>
                      <a:pt x="1290" y="22393"/>
                    </a:lnTo>
                    <a:lnTo>
                      <a:pt x="10374" y="22613"/>
                    </a:lnTo>
                    <a:lnTo>
                      <a:pt x="12761" y="16987"/>
                    </a:lnTo>
                    <a:lnTo>
                      <a:pt x="17564" y="15258"/>
                    </a:lnTo>
                    <a:lnTo>
                      <a:pt x="16823" y="40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4" name="Freeform: Shape 4363">
                <a:extLst>
                  <a:ext uri="{FF2B5EF4-FFF2-40B4-BE49-F238E27FC236}">
                    <a16:creationId xmlns:a16="http://schemas.microsoft.com/office/drawing/2014/main" id="{CBC59585-C8E7-5FE0-41CA-637EB7079C68}"/>
                  </a:ext>
                </a:extLst>
              </p:cNvPr>
              <p:cNvSpPr/>
              <p:nvPr/>
            </p:nvSpPr>
            <p:spPr>
              <a:xfrm>
                <a:off x="1537166" y="3409170"/>
                <a:ext cx="3612" cy="6254"/>
              </a:xfrm>
              <a:custGeom>
                <a:avLst/>
                <a:gdLst>
                  <a:gd name="connsiteX0" fmla="*/ 2031 w 34633"/>
                  <a:gd name="connsiteY0" fmla="*/ 165 h 59962"/>
                  <a:gd name="connsiteX1" fmla="*/ 5928 w 34633"/>
                  <a:gd name="connsiteY1" fmla="*/ 0 h 59962"/>
                  <a:gd name="connsiteX2" fmla="*/ 18085 w 34633"/>
                  <a:gd name="connsiteY2" fmla="*/ 14353 h 59962"/>
                  <a:gd name="connsiteX3" fmla="*/ 23985 w 34633"/>
                  <a:gd name="connsiteY3" fmla="*/ 7355 h 59962"/>
                  <a:gd name="connsiteX4" fmla="*/ 33920 w 34633"/>
                  <a:gd name="connsiteY4" fmla="*/ 12651 h 59962"/>
                  <a:gd name="connsiteX5" fmla="*/ 34633 w 34633"/>
                  <a:gd name="connsiteY5" fmla="*/ 16630 h 59962"/>
                  <a:gd name="connsiteX6" fmla="*/ 33151 w 34633"/>
                  <a:gd name="connsiteY6" fmla="*/ 30187 h 59962"/>
                  <a:gd name="connsiteX7" fmla="*/ 33892 w 34633"/>
                  <a:gd name="connsiteY7" fmla="*/ 36966 h 59962"/>
                  <a:gd name="connsiteX8" fmla="*/ 30627 w 34633"/>
                  <a:gd name="connsiteY8" fmla="*/ 56697 h 59962"/>
                  <a:gd name="connsiteX9" fmla="*/ 22229 w 34633"/>
                  <a:gd name="connsiteY9" fmla="*/ 59963 h 59962"/>
                  <a:gd name="connsiteX10" fmla="*/ 522 w 34633"/>
                  <a:gd name="connsiteY10" fmla="*/ 54365 h 59962"/>
                  <a:gd name="connsiteX11" fmla="*/ 0 w 34633"/>
                  <a:gd name="connsiteY11" fmla="*/ 51264 h 59962"/>
                  <a:gd name="connsiteX12" fmla="*/ 3046 w 34633"/>
                  <a:gd name="connsiteY12" fmla="*/ 36417 h 59962"/>
                  <a:gd name="connsiteX13" fmla="*/ 741 w 34633"/>
                  <a:gd name="connsiteY13" fmla="*/ 20582 h 59962"/>
                  <a:gd name="connsiteX14" fmla="*/ 2305 w 34633"/>
                  <a:gd name="connsiteY14" fmla="*/ 9084 h 59962"/>
                  <a:gd name="connsiteX15" fmla="*/ 2031 w 34633"/>
                  <a:gd name="connsiteY15" fmla="*/ 165 h 5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633" h="59962">
                    <a:moveTo>
                      <a:pt x="2031" y="165"/>
                    </a:moveTo>
                    <a:lnTo>
                      <a:pt x="5928" y="0"/>
                    </a:lnTo>
                    <a:lnTo>
                      <a:pt x="18085" y="14353"/>
                    </a:lnTo>
                    <a:lnTo>
                      <a:pt x="23985" y="7355"/>
                    </a:lnTo>
                    <a:lnTo>
                      <a:pt x="33920" y="12651"/>
                    </a:lnTo>
                    <a:lnTo>
                      <a:pt x="34633" y="16630"/>
                    </a:lnTo>
                    <a:lnTo>
                      <a:pt x="33151" y="30187"/>
                    </a:lnTo>
                    <a:lnTo>
                      <a:pt x="33892" y="36966"/>
                    </a:lnTo>
                    <a:lnTo>
                      <a:pt x="30627" y="56697"/>
                    </a:lnTo>
                    <a:lnTo>
                      <a:pt x="22229" y="59963"/>
                    </a:lnTo>
                    <a:lnTo>
                      <a:pt x="522" y="54365"/>
                    </a:lnTo>
                    <a:lnTo>
                      <a:pt x="0" y="51264"/>
                    </a:lnTo>
                    <a:lnTo>
                      <a:pt x="3046" y="36417"/>
                    </a:lnTo>
                    <a:lnTo>
                      <a:pt x="741" y="20582"/>
                    </a:lnTo>
                    <a:lnTo>
                      <a:pt x="2305" y="9084"/>
                    </a:lnTo>
                    <a:lnTo>
                      <a:pt x="2031" y="16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5" name="Freeform: Shape 4364">
                <a:extLst>
                  <a:ext uri="{FF2B5EF4-FFF2-40B4-BE49-F238E27FC236}">
                    <a16:creationId xmlns:a16="http://schemas.microsoft.com/office/drawing/2014/main" id="{8EB0A470-5C0F-42C1-D499-532089C3A9B6}"/>
                  </a:ext>
                </a:extLst>
              </p:cNvPr>
              <p:cNvSpPr/>
              <p:nvPr/>
            </p:nvSpPr>
            <p:spPr>
              <a:xfrm>
                <a:off x="1658526" y="3459493"/>
                <a:ext cx="3174" cy="5066"/>
              </a:xfrm>
              <a:custGeom>
                <a:avLst/>
                <a:gdLst>
                  <a:gd name="connsiteX0" fmla="*/ 21708 w 30434"/>
                  <a:gd name="connsiteY0" fmla="*/ 26620 h 48574"/>
                  <a:gd name="connsiteX1" fmla="*/ 21433 w 30434"/>
                  <a:gd name="connsiteY1" fmla="*/ 32932 h 48574"/>
                  <a:gd name="connsiteX2" fmla="*/ 16109 w 30434"/>
                  <a:gd name="connsiteY2" fmla="*/ 32053 h 48574"/>
                  <a:gd name="connsiteX3" fmla="*/ 13200 w 30434"/>
                  <a:gd name="connsiteY3" fmla="*/ 36417 h 48574"/>
                  <a:gd name="connsiteX4" fmla="*/ 12377 w 30434"/>
                  <a:gd name="connsiteY4" fmla="*/ 44320 h 48574"/>
                  <a:gd name="connsiteX5" fmla="*/ 8617 w 30434"/>
                  <a:gd name="connsiteY5" fmla="*/ 48574 h 48574"/>
                  <a:gd name="connsiteX6" fmla="*/ 7053 w 30434"/>
                  <a:gd name="connsiteY6" fmla="*/ 30572 h 48574"/>
                  <a:gd name="connsiteX7" fmla="*/ 1839 w 30434"/>
                  <a:gd name="connsiteY7" fmla="*/ 32685 h 48574"/>
                  <a:gd name="connsiteX8" fmla="*/ 0 w 30434"/>
                  <a:gd name="connsiteY8" fmla="*/ 27800 h 48574"/>
                  <a:gd name="connsiteX9" fmla="*/ 3349 w 30434"/>
                  <a:gd name="connsiteY9" fmla="*/ 21488 h 48574"/>
                  <a:gd name="connsiteX10" fmla="*/ 11334 w 30434"/>
                  <a:gd name="connsiteY10" fmla="*/ 18853 h 48574"/>
                  <a:gd name="connsiteX11" fmla="*/ 18771 w 30434"/>
                  <a:gd name="connsiteY11" fmla="*/ 13337 h 48574"/>
                  <a:gd name="connsiteX12" fmla="*/ 23464 w 30434"/>
                  <a:gd name="connsiteY12" fmla="*/ 7876 h 48574"/>
                  <a:gd name="connsiteX13" fmla="*/ 23876 w 30434"/>
                  <a:gd name="connsiteY13" fmla="*/ 1592 h 48574"/>
                  <a:gd name="connsiteX14" fmla="*/ 26702 w 30434"/>
                  <a:gd name="connsiteY14" fmla="*/ 0 h 48574"/>
                  <a:gd name="connsiteX15" fmla="*/ 30435 w 30434"/>
                  <a:gd name="connsiteY15" fmla="*/ 12487 h 48574"/>
                  <a:gd name="connsiteX16" fmla="*/ 26784 w 30434"/>
                  <a:gd name="connsiteY16" fmla="*/ 21762 h 48574"/>
                  <a:gd name="connsiteX17" fmla="*/ 21708 w 30434"/>
                  <a:gd name="connsiteY17" fmla="*/ 26592 h 48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34" h="48574">
                    <a:moveTo>
                      <a:pt x="21708" y="26620"/>
                    </a:moveTo>
                    <a:lnTo>
                      <a:pt x="21433" y="32932"/>
                    </a:lnTo>
                    <a:lnTo>
                      <a:pt x="16109" y="32053"/>
                    </a:lnTo>
                    <a:lnTo>
                      <a:pt x="13200" y="36417"/>
                    </a:lnTo>
                    <a:lnTo>
                      <a:pt x="12377" y="44320"/>
                    </a:lnTo>
                    <a:lnTo>
                      <a:pt x="8617" y="48574"/>
                    </a:lnTo>
                    <a:lnTo>
                      <a:pt x="7053" y="30572"/>
                    </a:lnTo>
                    <a:lnTo>
                      <a:pt x="1839" y="32685"/>
                    </a:lnTo>
                    <a:lnTo>
                      <a:pt x="0" y="27800"/>
                    </a:lnTo>
                    <a:lnTo>
                      <a:pt x="3349" y="21488"/>
                    </a:lnTo>
                    <a:lnTo>
                      <a:pt x="11334" y="18853"/>
                    </a:lnTo>
                    <a:lnTo>
                      <a:pt x="18771" y="13337"/>
                    </a:lnTo>
                    <a:lnTo>
                      <a:pt x="23464" y="7876"/>
                    </a:lnTo>
                    <a:lnTo>
                      <a:pt x="23876" y="1592"/>
                    </a:lnTo>
                    <a:lnTo>
                      <a:pt x="26702" y="0"/>
                    </a:lnTo>
                    <a:lnTo>
                      <a:pt x="30435" y="12487"/>
                    </a:lnTo>
                    <a:lnTo>
                      <a:pt x="26784" y="21762"/>
                    </a:lnTo>
                    <a:lnTo>
                      <a:pt x="21708" y="265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6" name="Freeform: Shape 4365">
                <a:extLst>
                  <a:ext uri="{FF2B5EF4-FFF2-40B4-BE49-F238E27FC236}">
                    <a16:creationId xmlns:a16="http://schemas.microsoft.com/office/drawing/2014/main" id="{50DF741A-B682-A37D-5153-A970C39AC7E4}"/>
                  </a:ext>
                </a:extLst>
              </p:cNvPr>
              <p:cNvSpPr/>
              <p:nvPr/>
            </p:nvSpPr>
            <p:spPr>
              <a:xfrm>
                <a:off x="1606580" y="3509452"/>
                <a:ext cx="2734" cy="4007"/>
              </a:xfrm>
              <a:custGeom>
                <a:avLst/>
                <a:gdLst>
                  <a:gd name="connsiteX0" fmla="*/ 1208 w 26208"/>
                  <a:gd name="connsiteY0" fmla="*/ 21104 h 38420"/>
                  <a:gd name="connsiteX1" fmla="*/ 11087 w 26208"/>
                  <a:gd name="connsiteY1" fmla="*/ 7327 h 38420"/>
                  <a:gd name="connsiteX2" fmla="*/ 16795 w 26208"/>
                  <a:gd name="connsiteY2" fmla="*/ 0 h 38420"/>
                  <a:gd name="connsiteX3" fmla="*/ 21982 w 26208"/>
                  <a:gd name="connsiteY3" fmla="*/ 7904 h 38420"/>
                  <a:gd name="connsiteX4" fmla="*/ 25412 w 26208"/>
                  <a:gd name="connsiteY4" fmla="*/ 16740 h 38420"/>
                  <a:gd name="connsiteX5" fmla="*/ 26208 w 26208"/>
                  <a:gd name="connsiteY5" fmla="*/ 33892 h 38420"/>
                  <a:gd name="connsiteX6" fmla="*/ 22640 w 26208"/>
                  <a:gd name="connsiteY6" fmla="*/ 38420 h 38420"/>
                  <a:gd name="connsiteX7" fmla="*/ 11060 w 26208"/>
                  <a:gd name="connsiteY7" fmla="*/ 36087 h 38420"/>
                  <a:gd name="connsiteX8" fmla="*/ 1619 w 26208"/>
                  <a:gd name="connsiteY8" fmla="*/ 30077 h 38420"/>
                  <a:gd name="connsiteX9" fmla="*/ 0 w 26208"/>
                  <a:gd name="connsiteY9" fmla="*/ 25549 h 38420"/>
                  <a:gd name="connsiteX10" fmla="*/ 1181 w 26208"/>
                  <a:gd name="connsiteY10" fmla="*/ 21131 h 3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208" h="38420">
                    <a:moveTo>
                      <a:pt x="1208" y="21104"/>
                    </a:moveTo>
                    <a:lnTo>
                      <a:pt x="11087" y="7327"/>
                    </a:lnTo>
                    <a:lnTo>
                      <a:pt x="16795" y="0"/>
                    </a:lnTo>
                    <a:lnTo>
                      <a:pt x="21982" y="7904"/>
                    </a:lnTo>
                    <a:lnTo>
                      <a:pt x="25412" y="16740"/>
                    </a:lnTo>
                    <a:lnTo>
                      <a:pt x="26208" y="33892"/>
                    </a:lnTo>
                    <a:lnTo>
                      <a:pt x="22640" y="38420"/>
                    </a:lnTo>
                    <a:lnTo>
                      <a:pt x="11060" y="36087"/>
                    </a:lnTo>
                    <a:lnTo>
                      <a:pt x="1619" y="30077"/>
                    </a:lnTo>
                    <a:lnTo>
                      <a:pt x="0" y="25549"/>
                    </a:lnTo>
                    <a:lnTo>
                      <a:pt x="1181" y="211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7" name="Freeform: Shape 4366">
                <a:extLst>
                  <a:ext uri="{FF2B5EF4-FFF2-40B4-BE49-F238E27FC236}">
                    <a16:creationId xmlns:a16="http://schemas.microsoft.com/office/drawing/2014/main" id="{A905BC13-6CD7-2374-820A-6EC597BAFAA0}"/>
                  </a:ext>
                </a:extLst>
              </p:cNvPr>
              <p:cNvSpPr/>
              <p:nvPr/>
            </p:nvSpPr>
            <p:spPr>
              <a:xfrm>
                <a:off x="1615677" y="3481785"/>
                <a:ext cx="2238" cy="5573"/>
              </a:xfrm>
              <a:custGeom>
                <a:avLst/>
                <a:gdLst>
                  <a:gd name="connsiteX0" fmla="*/ 16438 w 21460"/>
                  <a:gd name="connsiteY0" fmla="*/ 6504 h 53431"/>
                  <a:gd name="connsiteX1" fmla="*/ 21461 w 21460"/>
                  <a:gd name="connsiteY1" fmla="*/ 19320 h 53431"/>
                  <a:gd name="connsiteX2" fmla="*/ 21186 w 21460"/>
                  <a:gd name="connsiteY2" fmla="*/ 23820 h 53431"/>
                  <a:gd name="connsiteX3" fmla="*/ 18799 w 21460"/>
                  <a:gd name="connsiteY3" fmla="*/ 21186 h 53431"/>
                  <a:gd name="connsiteX4" fmla="*/ 15725 w 21460"/>
                  <a:gd name="connsiteY4" fmla="*/ 24342 h 53431"/>
                  <a:gd name="connsiteX5" fmla="*/ 16658 w 21460"/>
                  <a:gd name="connsiteY5" fmla="*/ 36362 h 53431"/>
                  <a:gd name="connsiteX6" fmla="*/ 15999 w 21460"/>
                  <a:gd name="connsiteY6" fmla="*/ 38036 h 53431"/>
                  <a:gd name="connsiteX7" fmla="*/ 16383 w 21460"/>
                  <a:gd name="connsiteY7" fmla="*/ 53432 h 53431"/>
                  <a:gd name="connsiteX8" fmla="*/ 12652 w 21460"/>
                  <a:gd name="connsiteY8" fmla="*/ 47723 h 53431"/>
                  <a:gd name="connsiteX9" fmla="*/ 15341 w 21460"/>
                  <a:gd name="connsiteY9" fmla="*/ 37130 h 53431"/>
                  <a:gd name="connsiteX10" fmla="*/ 14627 w 21460"/>
                  <a:gd name="connsiteY10" fmla="*/ 30901 h 53431"/>
                  <a:gd name="connsiteX11" fmla="*/ 12569 w 21460"/>
                  <a:gd name="connsiteY11" fmla="*/ 34221 h 53431"/>
                  <a:gd name="connsiteX12" fmla="*/ 12871 w 21460"/>
                  <a:gd name="connsiteY12" fmla="*/ 43003 h 53431"/>
                  <a:gd name="connsiteX13" fmla="*/ 10236 w 21460"/>
                  <a:gd name="connsiteY13" fmla="*/ 37569 h 53431"/>
                  <a:gd name="connsiteX14" fmla="*/ 10840 w 21460"/>
                  <a:gd name="connsiteY14" fmla="*/ 34331 h 53431"/>
                  <a:gd name="connsiteX15" fmla="*/ 8700 w 21460"/>
                  <a:gd name="connsiteY15" fmla="*/ 25961 h 53431"/>
                  <a:gd name="connsiteX16" fmla="*/ 5571 w 21460"/>
                  <a:gd name="connsiteY16" fmla="*/ 30160 h 53431"/>
                  <a:gd name="connsiteX17" fmla="*/ 0 w 21460"/>
                  <a:gd name="connsiteY17" fmla="*/ 22888 h 53431"/>
                  <a:gd name="connsiteX18" fmla="*/ 1016 w 21460"/>
                  <a:gd name="connsiteY18" fmla="*/ 16850 h 53431"/>
                  <a:gd name="connsiteX19" fmla="*/ 4610 w 21460"/>
                  <a:gd name="connsiteY19" fmla="*/ 8507 h 53431"/>
                  <a:gd name="connsiteX20" fmla="*/ 4610 w 21460"/>
                  <a:gd name="connsiteY20" fmla="*/ 17426 h 53431"/>
                  <a:gd name="connsiteX21" fmla="*/ 10977 w 21460"/>
                  <a:gd name="connsiteY21" fmla="*/ 18826 h 53431"/>
                  <a:gd name="connsiteX22" fmla="*/ 12020 w 21460"/>
                  <a:gd name="connsiteY22" fmla="*/ 1756 h 53431"/>
                  <a:gd name="connsiteX23" fmla="*/ 16631 w 21460"/>
                  <a:gd name="connsiteY23" fmla="*/ 0 h 53431"/>
                  <a:gd name="connsiteX24" fmla="*/ 16521 w 21460"/>
                  <a:gd name="connsiteY24" fmla="*/ 6504 h 5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460" h="53431">
                    <a:moveTo>
                      <a:pt x="16438" y="6504"/>
                    </a:moveTo>
                    <a:lnTo>
                      <a:pt x="21461" y="19320"/>
                    </a:lnTo>
                    <a:lnTo>
                      <a:pt x="21186" y="23820"/>
                    </a:lnTo>
                    <a:lnTo>
                      <a:pt x="18799" y="21186"/>
                    </a:lnTo>
                    <a:lnTo>
                      <a:pt x="15725" y="24342"/>
                    </a:lnTo>
                    <a:lnTo>
                      <a:pt x="16658" y="36362"/>
                    </a:lnTo>
                    <a:lnTo>
                      <a:pt x="15999" y="38036"/>
                    </a:lnTo>
                    <a:lnTo>
                      <a:pt x="16383" y="53432"/>
                    </a:lnTo>
                    <a:lnTo>
                      <a:pt x="12652" y="47723"/>
                    </a:lnTo>
                    <a:lnTo>
                      <a:pt x="15341" y="37130"/>
                    </a:lnTo>
                    <a:lnTo>
                      <a:pt x="14627" y="30901"/>
                    </a:lnTo>
                    <a:lnTo>
                      <a:pt x="12569" y="34221"/>
                    </a:lnTo>
                    <a:lnTo>
                      <a:pt x="12871" y="43003"/>
                    </a:lnTo>
                    <a:lnTo>
                      <a:pt x="10236" y="37569"/>
                    </a:lnTo>
                    <a:lnTo>
                      <a:pt x="10840" y="34331"/>
                    </a:lnTo>
                    <a:lnTo>
                      <a:pt x="8700" y="25961"/>
                    </a:lnTo>
                    <a:lnTo>
                      <a:pt x="5571" y="30160"/>
                    </a:lnTo>
                    <a:lnTo>
                      <a:pt x="0" y="22888"/>
                    </a:lnTo>
                    <a:lnTo>
                      <a:pt x="1016" y="16850"/>
                    </a:lnTo>
                    <a:lnTo>
                      <a:pt x="4610" y="8507"/>
                    </a:lnTo>
                    <a:lnTo>
                      <a:pt x="4610" y="17426"/>
                    </a:lnTo>
                    <a:cubicBezTo>
                      <a:pt x="4610" y="17426"/>
                      <a:pt x="10977" y="18826"/>
                      <a:pt x="10977" y="18826"/>
                    </a:cubicBezTo>
                    <a:lnTo>
                      <a:pt x="12020" y="1756"/>
                    </a:lnTo>
                    <a:lnTo>
                      <a:pt x="16631" y="0"/>
                    </a:lnTo>
                    <a:lnTo>
                      <a:pt x="16521" y="65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8" name="Freeform: Shape 4367">
                <a:extLst>
                  <a:ext uri="{FF2B5EF4-FFF2-40B4-BE49-F238E27FC236}">
                    <a16:creationId xmlns:a16="http://schemas.microsoft.com/office/drawing/2014/main" id="{7C4E6D54-A43C-80BD-B299-70EB32CB4659}"/>
                  </a:ext>
                </a:extLst>
              </p:cNvPr>
              <p:cNvSpPr/>
              <p:nvPr/>
            </p:nvSpPr>
            <p:spPr>
              <a:xfrm>
                <a:off x="1549749" y="3395420"/>
                <a:ext cx="4557" cy="4411"/>
              </a:xfrm>
              <a:custGeom>
                <a:avLst/>
                <a:gdLst>
                  <a:gd name="connsiteX0" fmla="*/ 29528 w 43689"/>
                  <a:gd name="connsiteY0" fmla="*/ 39353 h 42289"/>
                  <a:gd name="connsiteX1" fmla="*/ 20033 w 43689"/>
                  <a:gd name="connsiteY1" fmla="*/ 42290 h 42289"/>
                  <a:gd name="connsiteX2" fmla="*/ 9413 w 43689"/>
                  <a:gd name="connsiteY2" fmla="*/ 39381 h 42289"/>
                  <a:gd name="connsiteX3" fmla="*/ 5653 w 43689"/>
                  <a:gd name="connsiteY3" fmla="*/ 33535 h 42289"/>
                  <a:gd name="connsiteX4" fmla="*/ 521 w 43689"/>
                  <a:gd name="connsiteY4" fmla="*/ 30791 h 42289"/>
                  <a:gd name="connsiteX5" fmla="*/ 0 w 43689"/>
                  <a:gd name="connsiteY5" fmla="*/ 27553 h 42289"/>
                  <a:gd name="connsiteX6" fmla="*/ 466 w 43689"/>
                  <a:gd name="connsiteY6" fmla="*/ 24068 h 42289"/>
                  <a:gd name="connsiteX7" fmla="*/ 11361 w 43689"/>
                  <a:gd name="connsiteY7" fmla="*/ 12487 h 42289"/>
                  <a:gd name="connsiteX8" fmla="*/ 30846 w 43689"/>
                  <a:gd name="connsiteY8" fmla="*/ 0 h 42289"/>
                  <a:gd name="connsiteX9" fmla="*/ 42563 w 43689"/>
                  <a:gd name="connsiteY9" fmla="*/ 1674 h 42289"/>
                  <a:gd name="connsiteX10" fmla="*/ 43689 w 43689"/>
                  <a:gd name="connsiteY10" fmla="*/ 18085 h 42289"/>
                  <a:gd name="connsiteX11" fmla="*/ 32657 w 43689"/>
                  <a:gd name="connsiteY11" fmla="*/ 36252 h 42289"/>
                  <a:gd name="connsiteX12" fmla="*/ 29528 w 43689"/>
                  <a:gd name="connsiteY12" fmla="*/ 39381 h 4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689" h="42289">
                    <a:moveTo>
                      <a:pt x="29528" y="39353"/>
                    </a:moveTo>
                    <a:lnTo>
                      <a:pt x="20033" y="42290"/>
                    </a:lnTo>
                    <a:lnTo>
                      <a:pt x="9413" y="39381"/>
                    </a:lnTo>
                    <a:lnTo>
                      <a:pt x="5653" y="33535"/>
                    </a:lnTo>
                    <a:lnTo>
                      <a:pt x="521" y="30791"/>
                    </a:lnTo>
                    <a:lnTo>
                      <a:pt x="0" y="27553"/>
                    </a:lnTo>
                    <a:lnTo>
                      <a:pt x="466" y="24068"/>
                    </a:lnTo>
                    <a:lnTo>
                      <a:pt x="11361" y="12487"/>
                    </a:lnTo>
                    <a:lnTo>
                      <a:pt x="30846" y="0"/>
                    </a:lnTo>
                    <a:lnTo>
                      <a:pt x="42563" y="1674"/>
                    </a:lnTo>
                    <a:lnTo>
                      <a:pt x="43689" y="18085"/>
                    </a:lnTo>
                    <a:lnTo>
                      <a:pt x="32657" y="36252"/>
                    </a:lnTo>
                    <a:lnTo>
                      <a:pt x="29528" y="393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69" name="Freeform: Shape 4368">
                <a:extLst>
                  <a:ext uri="{FF2B5EF4-FFF2-40B4-BE49-F238E27FC236}">
                    <a16:creationId xmlns:a16="http://schemas.microsoft.com/office/drawing/2014/main" id="{C33FBB19-7272-AE43-DA86-DE27ED47F03C}"/>
                  </a:ext>
                </a:extLst>
              </p:cNvPr>
              <p:cNvSpPr/>
              <p:nvPr/>
            </p:nvSpPr>
            <p:spPr>
              <a:xfrm>
                <a:off x="1641718" y="3393496"/>
                <a:ext cx="4857" cy="3460"/>
              </a:xfrm>
              <a:custGeom>
                <a:avLst/>
                <a:gdLst>
                  <a:gd name="connsiteX0" fmla="*/ 0 w 46570"/>
                  <a:gd name="connsiteY0" fmla="*/ 19704 h 33178"/>
                  <a:gd name="connsiteX1" fmla="*/ 2360 w 46570"/>
                  <a:gd name="connsiteY1" fmla="*/ 8151 h 33178"/>
                  <a:gd name="connsiteX2" fmla="*/ 3979 w 46570"/>
                  <a:gd name="connsiteY2" fmla="*/ 5763 h 33178"/>
                  <a:gd name="connsiteX3" fmla="*/ 29666 w 46570"/>
                  <a:gd name="connsiteY3" fmla="*/ 0 h 33178"/>
                  <a:gd name="connsiteX4" fmla="*/ 44760 w 46570"/>
                  <a:gd name="connsiteY4" fmla="*/ 6284 h 33178"/>
                  <a:gd name="connsiteX5" fmla="*/ 46571 w 46570"/>
                  <a:gd name="connsiteY5" fmla="*/ 16740 h 33178"/>
                  <a:gd name="connsiteX6" fmla="*/ 35457 w 46570"/>
                  <a:gd name="connsiteY6" fmla="*/ 33179 h 33178"/>
                  <a:gd name="connsiteX7" fmla="*/ 4007 w 46570"/>
                  <a:gd name="connsiteY7" fmla="*/ 26949 h 33178"/>
                  <a:gd name="connsiteX8" fmla="*/ 27 w 46570"/>
                  <a:gd name="connsiteY8" fmla="*/ 19677 h 3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570" h="33178">
                    <a:moveTo>
                      <a:pt x="0" y="19704"/>
                    </a:moveTo>
                    <a:lnTo>
                      <a:pt x="2360" y="8151"/>
                    </a:lnTo>
                    <a:lnTo>
                      <a:pt x="3979" y="5763"/>
                    </a:lnTo>
                    <a:lnTo>
                      <a:pt x="29666" y="0"/>
                    </a:lnTo>
                    <a:lnTo>
                      <a:pt x="44760" y="6284"/>
                    </a:lnTo>
                    <a:lnTo>
                      <a:pt x="46571" y="16740"/>
                    </a:lnTo>
                    <a:lnTo>
                      <a:pt x="35457" y="33179"/>
                    </a:lnTo>
                    <a:lnTo>
                      <a:pt x="4007" y="26949"/>
                    </a:lnTo>
                    <a:lnTo>
                      <a:pt x="27" y="196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0" name="Freeform: Shape 4369">
                <a:extLst>
                  <a:ext uri="{FF2B5EF4-FFF2-40B4-BE49-F238E27FC236}">
                    <a16:creationId xmlns:a16="http://schemas.microsoft.com/office/drawing/2014/main" id="{5FF1F715-32B4-8FFA-CED0-5CC0B98CE4B5}"/>
                  </a:ext>
                </a:extLst>
              </p:cNvPr>
              <p:cNvSpPr/>
              <p:nvPr/>
            </p:nvSpPr>
            <p:spPr>
              <a:xfrm>
                <a:off x="1530665" y="3405607"/>
                <a:ext cx="3546" cy="4302"/>
              </a:xfrm>
              <a:custGeom>
                <a:avLst/>
                <a:gdLst>
                  <a:gd name="connsiteX0" fmla="*/ 0 w 34002"/>
                  <a:gd name="connsiteY0" fmla="*/ 5543 h 41246"/>
                  <a:gd name="connsiteX1" fmla="*/ 9358 w 34002"/>
                  <a:gd name="connsiteY1" fmla="*/ 0 h 41246"/>
                  <a:gd name="connsiteX2" fmla="*/ 13393 w 34002"/>
                  <a:gd name="connsiteY2" fmla="*/ 9687 h 41246"/>
                  <a:gd name="connsiteX3" fmla="*/ 13393 w 34002"/>
                  <a:gd name="connsiteY3" fmla="*/ 960 h 41246"/>
                  <a:gd name="connsiteX4" fmla="*/ 19347 w 34002"/>
                  <a:gd name="connsiteY4" fmla="*/ 21625 h 41246"/>
                  <a:gd name="connsiteX5" fmla="*/ 28239 w 34002"/>
                  <a:gd name="connsiteY5" fmla="*/ 9825 h 41246"/>
                  <a:gd name="connsiteX6" fmla="*/ 33947 w 34002"/>
                  <a:gd name="connsiteY6" fmla="*/ 16823 h 41246"/>
                  <a:gd name="connsiteX7" fmla="*/ 34002 w 34002"/>
                  <a:gd name="connsiteY7" fmla="*/ 22970 h 41246"/>
                  <a:gd name="connsiteX8" fmla="*/ 25687 w 34002"/>
                  <a:gd name="connsiteY8" fmla="*/ 41247 h 41246"/>
                  <a:gd name="connsiteX9" fmla="*/ 18799 w 34002"/>
                  <a:gd name="connsiteY9" fmla="*/ 37158 h 41246"/>
                  <a:gd name="connsiteX10" fmla="*/ 16933 w 34002"/>
                  <a:gd name="connsiteY10" fmla="*/ 25714 h 41246"/>
                  <a:gd name="connsiteX11" fmla="*/ 13420 w 34002"/>
                  <a:gd name="connsiteY11" fmla="*/ 30818 h 41246"/>
                  <a:gd name="connsiteX12" fmla="*/ 1372 w 34002"/>
                  <a:gd name="connsiteY12" fmla="*/ 23903 h 41246"/>
                  <a:gd name="connsiteX13" fmla="*/ 27 w 34002"/>
                  <a:gd name="connsiteY13" fmla="*/ 5598 h 4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002" h="41246">
                    <a:moveTo>
                      <a:pt x="0" y="5543"/>
                    </a:moveTo>
                    <a:lnTo>
                      <a:pt x="9358" y="0"/>
                    </a:lnTo>
                    <a:lnTo>
                      <a:pt x="13393" y="9687"/>
                    </a:lnTo>
                    <a:lnTo>
                      <a:pt x="13393" y="960"/>
                    </a:lnTo>
                    <a:lnTo>
                      <a:pt x="19347" y="21625"/>
                    </a:lnTo>
                    <a:lnTo>
                      <a:pt x="28239" y="9825"/>
                    </a:lnTo>
                    <a:lnTo>
                      <a:pt x="33947" y="16823"/>
                    </a:lnTo>
                    <a:lnTo>
                      <a:pt x="34002" y="22970"/>
                    </a:lnTo>
                    <a:lnTo>
                      <a:pt x="25687" y="41247"/>
                    </a:lnTo>
                    <a:lnTo>
                      <a:pt x="18799" y="37158"/>
                    </a:lnTo>
                    <a:lnTo>
                      <a:pt x="16933" y="25714"/>
                    </a:lnTo>
                    <a:lnTo>
                      <a:pt x="13420" y="30818"/>
                    </a:lnTo>
                    <a:lnTo>
                      <a:pt x="1372" y="23903"/>
                    </a:lnTo>
                    <a:lnTo>
                      <a:pt x="27" y="55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1" name="Freeform: Shape 4370">
                <a:extLst>
                  <a:ext uri="{FF2B5EF4-FFF2-40B4-BE49-F238E27FC236}">
                    <a16:creationId xmlns:a16="http://schemas.microsoft.com/office/drawing/2014/main" id="{D839CF0C-6672-577D-2AD0-47EEBAE86409}"/>
                  </a:ext>
                </a:extLst>
              </p:cNvPr>
              <p:cNvSpPr/>
              <p:nvPr/>
            </p:nvSpPr>
            <p:spPr>
              <a:xfrm>
                <a:off x="1592606" y="3509172"/>
                <a:ext cx="1932" cy="2805"/>
              </a:xfrm>
              <a:custGeom>
                <a:avLst/>
                <a:gdLst>
                  <a:gd name="connsiteX0" fmla="*/ 17234 w 18524"/>
                  <a:gd name="connsiteY0" fmla="*/ 13228 h 26894"/>
                  <a:gd name="connsiteX1" fmla="*/ 18030 w 18524"/>
                  <a:gd name="connsiteY1" fmla="*/ 16768 h 26894"/>
                  <a:gd name="connsiteX2" fmla="*/ 14984 w 18524"/>
                  <a:gd name="connsiteY2" fmla="*/ 26894 h 26894"/>
                  <a:gd name="connsiteX3" fmla="*/ 3018 w 18524"/>
                  <a:gd name="connsiteY3" fmla="*/ 17509 h 26894"/>
                  <a:gd name="connsiteX4" fmla="*/ 0 w 18524"/>
                  <a:gd name="connsiteY4" fmla="*/ 12789 h 26894"/>
                  <a:gd name="connsiteX5" fmla="*/ 2360 w 18524"/>
                  <a:gd name="connsiteY5" fmla="*/ 5077 h 26894"/>
                  <a:gd name="connsiteX6" fmla="*/ 7602 w 18524"/>
                  <a:gd name="connsiteY6" fmla="*/ 0 h 26894"/>
                  <a:gd name="connsiteX7" fmla="*/ 13667 w 18524"/>
                  <a:gd name="connsiteY7" fmla="*/ 384 h 26894"/>
                  <a:gd name="connsiteX8" fmla="*/ 18057 w 18524"/>
                  <a:gd name="connsiteY8" fmla="*/ 2113 h 26894"/>
                  <a:gd name="connsiteX9" fmla="*/ 18524 w 18524"/>
                  <a:gd name="connsiteY9" fmla="*/ 6037 h 26894"/>
                  <a:gd name="connsiteX10" fmla="*/ 17207 w 18524"/>
                  <a:gd name="connsiteY10" fmla="*/ 13255 h 26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24" h="26894">
                    <a:moveTo>
                      <a:pt x="17234" y="13228"/>
                    </a:moveTo>
                    <a:lnTo>
                      <a:pt x="18030" y="16768"/>
                    </a:lnTo>
                    <a:lnTo>
                      <a:pt x="14984" y="26894"/>
                    </a:lnTo>
                    <a:lnTo>
                      <a:pt x="3018" y="17509"/>
                    </a:lnTo>
                    <a:lnTo>
                      <a:pt x="0" y="12789"/>
                    </a:lnTo>
                    <a:lnTo>
                      <a:pt x="2360" y="5077"/>
                    </a:lnTo>
                    <a:lnTo>
                      <a:pt x="7602" y="0"/>
                    </a:lnTo>
                    <a:lnTo>
                      <a:pt x="13667" y="384"/>
                    </a:lnTo>
                    <a:lnTo>
                      <a:pt x="18057" y="2113"/>
                    </a:lnTo>
                    <a:lnTo>
                      <a:pt x="18524" y="6037"/>
                    </a:lnTo>
                    <a:lnTo>
                      <a:pt x="17207" y="132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2" name="Freeform: Shape 4371">
                <a:extLst>
                  <a:ext uri="{FF2B5EF4-FFF2-40B4-BE49-F238E27FC236}">
                    <a16:creationId xmlns:a16="http://schemas.microsoft.com/office/drawing/2014/main" id="{2B6DDF38-1CED-DF40-8A48-1A90533BA4EE}"/>
                  </a:ext>
                </a:extLst>
              </p:cNvPr>
              <p:cNvSpPr/>
              <p:nvPr/>
            </p:nvSpPr>
            <p:spPr>
              <a:xfrm>
                <a:off x="1692699" y="3445645"/>
                <a:ext cx="3263" cy="2296"/>
              </a:xfrm>
              <a:custGeom>
                <a:avLst/>
                <a:gdLst>
                  <a:gd name="connsiteX0" fmla="*/ 0 w 31284"/>
                  <a:gd name="connsiteY0" fmla="*/ 8672 h 22009"/>
                  <a:gd name="connsiteX1" fmla="*/ 4007 w 31284"/>
                  <a:gd name="connsiteY1" fmla="*/ 1592 h 22009"/>
                  <a:gd name="connsiteX2" fmla="*/ 18030 w 31284"/>
                  <a:gd name="connsiteY2" fmla="*/ 4775 h 22009"/>
                  <a:gd name="connsiteX3" fmla="*/ 23546 w 31284"/>
                  <a:gd name="connsiteY3" fmla="*/ 0 h 22009"/>
                  <a:gd name="connsiteX4" fmla="*/ 28294 w 31284"/>
                  <a:gd name="connsiteY4" fmla="*/ 1454 h 22009"/>
                  <a:gd name="connsiteX5" fmla="*/ 31285 w 31284"/>
                  <a:gd name="connsiteY5" fmla="*/ 7986 h 22009"/>
                  <a:gd name="connsiteX6" fmla="*/ 30434 w 31284"/>
                  <a:gd name="connsiteY6" fmla="*/ 14380 h 22009"/>
                  <a:gd name="connsiteX7" fmla="*/ 24836 w 31284"/>
                  <a:gd name="connsiteY7" fmla="*/ 22009 h 22009"/>
                  <a:gd name="connsiteX8" fmla="*/ 24205 w 31284"/>
                  <a:gd name="connsiteY8" fmla="*/ 15670 h 22009"/>
                  <a:gd name="connsiteX9" fmla="*/ 18990 w 31284"/>
                  <a:gd name="connsiteY9" fmla="*/ 16658 h 22009"/>
                  <a:gd name="connsiteX10" fmla="*/ 933 w 31284"/>
                  <a:gd name="connsiteY10" fmla="*/ 12816 h 22009"/>
                  <a:gd name="connsiteX11" fmla="*/ 82 w 31284"/>
                  <a:gd name="connsiteY11" fmla="*/ 8672 h 2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84" h="22009">
                    <a:moveTo>
                      <a:pt x="0" y="8672"/>
                    </a:moveTo>
                    <a:lnTo>
                      <a:pt x="4007" y="1592"/>
                    </a:lnTo>
                    <a:lnTo>
                      <a:pt x="18030" y="4775"/>
                    </a:lnTo>
                    <a:lnTo>
                      <a:pt x="23546" y="0"/>
                    </a:lnTo>
                    <a:lnTo>
                      <a:pt x="28294" y="1454"/>
                    </a:lnTo>
                    <a:lnTo>
                      <a:pt x="31285" y="7986"/>
                    </a:lnTo>
                    <a:lnTo>
                      <a:pt x="30434" y="14380"/>
                    </a:lnTo>
                    <a:lnTo>
                      <a:pt x="24836" y="22009"/>
                    </a:lnTo>
                    <a:lnTo>
                      <a:pt x="24205" y="15670"/>
                    </a:lnTo>
                    <a:lnTo>
                      <a:pt x="18990" y="16658"/>
                    </a:lnTo>
                    <a:lnTo>
                      <a:pt x="933" y="12816"/>
                    </a:lnTo>
                    <a:lnTo>
                      <a:pt x="82" y="86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3" name="Freeform: Shape 4372">
                <a:extLst>
                  <a:ext uri="{FF2B5EF4-FFF2-40B4-BE49-F238E27FC236}">
                    <a16:creationId xmlns:a16="http://schemas.microsoft.com/office/drawing/2014/main" id="{AD3C6599-EBFF-D8A6-ABC7-C77DEE7C5849}"/>
                  </a:ext>
                </a:extLst>
              </p:cNvPr>
              <p:cNvSpPr/>
              <p:nvPr/>
            </p:nvSpPr>
            <p:spPr>
              <a:xfrm>
                <a:off x="1520476" y="3414409"/>
                <a:ext cx="2493" cy="3383"/>
              </a:xfrm>
              <a:custGeom>
                <a:avLst/>
                <a:gdLst>
                  <a:gd name="connsiteX0" fmla="*/ 21296 w 23902"/>
                  <a:gd name="connsiteY0" fmla="*/ 20253 h 32437"/>
                  <a:gd name="connsiteX1" fmla="*/ 23903 w 23902"/>
                  <a:gd name="connsiteY1" fmla="*/ 27553 h 32437"/>
                  <a:gd name="connsiteX2" fmla="*/ 23134 w 23902"/>
                  <a:gd name="connsiteY2" fmla="*/ 32438 h 32437"/>
                  <a:gd name="connsiteX3" fmla="*/ 521 w 23902"/>
                  <a:gd name="connsiteY3" fmla="*/ 28074 h 32437"/>
                  <a:gd name="connsiteX4" fmla="*/ 0 w 23902"/>
                  <a:gd name="connsiteY4" fmla="*/ 24671 h 32437"/>
                  <a:gd name="connsiteX5" fmla="*/ 4857 w 23902"/>
                  <a:gd name="connsiteY5" fmla="*/ 9358 h 32437"/>
                  <a:gd name="connsiteX6" fmla="*/ 11279 w 23902"/>
                  <a:gd name="connsiteY6" fmla="*/ 5104 h 32437"/>
                  <a:gd name="connsiteX7" fmla="*/ 13117 w 23902"/>
                  <a:gd name="connsiteY7" fmla="*/ 0 h 32437"/>
                  <a:gd name="connsiteX8" fmla="*/ 22009 w 23902"/>
                  <a:gd name="connsiteY8" fmla="*/ 9358 h 32437"/>
                  <a:gd name="connsiteX9" fmla="*/ 21296 w 23902"/>
                  <a:gd name="connsiteY9" fmla="*/ 20225 h 3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02" h="32437">
                    <a:moveTo>
                      <a:pt x="21296" y="20253"/>
                    </a:moveTo>
                    <a:lnTo>
                      <a:pt x="23903" y="27553"/>
                    </a:lnTo>
                    <a:lnTo>
                      <a:pt x="23134" y="32438"/>
                    </a:lnTo>
                    <a:lnTo>
                      <a:pt x="521" y="28074"/>
                    </a:lnTo>
                    <a:lnTo>
                      <a:pt x="0" y="24671"/>
                    </a:lnTo>
                    <a:lnTo>
                      <a:pt x="4857" y="9358"/>
                    </a:lnTo>
                    <a:lnTo>
                      <a:pt x="11279" y="5104"/>
                    </a:lnTo>
                    <a:lnTo>
                      <a:pt x="13117" y="0"/>
                    </a:lnTo>
                    <a:lnTo>
                      <a:pt x="22009" y="9358"/>
                    </a:lnTo>
                    <a:lnTo>
                      <a:pt x="21296" y="202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4" name="Freeform: Shape 4373">
                <a:extLst>
                  <a:ext uri="{FF2B5EF4-FFF2-40B4-BE49-F238E27FC236}">
                    <a16:creationId xmlns:a16="http://schemas.microsoft.com/office/drawing/2014/main" id="{228C0537-0AB0-4B39-63D4-BAE1B27B9D05}"/>
                  </a:ext>
                </a:extLst>
              </p:cNvPr>
              <p:cNvSpPr/>
              <p:nvPr/>
            </p:nvSpPr>
            <p:spPr>
              <a:xfrm>
                <a:off x="1546343" y="3414706"/>
                <a:ext cx="2774" cy="2994"/>
              </a:xfrm>
              <a:custGeom>
                <a:avLst/>
                <a:gdLst>
                  <a:gd name="connsiteX0" fmla="*/ 0 w 26592"/>
                  <a:gd name="connsiteY0" fmla="*/ 13337 h 28705"/>
                  <a:gd name="connsiteX1" fmla="*/ 1647 w 26592"/>
                  <a:gd name="connsiteY1" fmla="*/ 6641 h 28705"/>
                  <a:gd name="connsiteX2" fmla="*/ 14325 w 26592"/>
                  <a:gd name="connsiteY2" fmla="*/ 0 h 28705"/>
                  <a:gd name="connsiteX3" fmla="*/ 23409 w 26592"/>
                  <a:gd name="connsiteY3" fmla="*/ 2936 h 28705"/>
                  <a:gd name="connsiteX4" fmla="*/ 26181 w 26592"/>
                  <a:gd name="connsiteY4" fmla="*/ 6641 h 28705"/>
                  <a:gd name="connsiteX5" fmla="*/ 26592 w 26592"/>
                  <a:gd name="connsiteY5" fmla="*/ 18085 h 28705"/>
                  <a:gd name="connsiteX6" fmla="*/ 11553 w 26592"/>
                  <a:gd name="connsiteY6" fmla="*/ 28705 h 28705"/>
                  <a:gd name="connsiteX7" fmla="*/ 466 w 26592"/>
                  <a:gd name="connsiteY7" fmla="*/ 15999 h 28705"/>
                  <a:gd name="connsiteX8" fmla="*/ 27 w 26592"/>
                  <a:gd name="connsiteY8" fmla="*/ 13337 h 28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92" h="28705">
                    <a:moveTo>
                      <a:pt x="0" y="13337"/>
                    </a:moveTo>
                    <a:lnTo>
                      <a:pt x="1647" y="6641"/>
                    </a:lnTo>
                    <a:lnTo>
                      <a:pt x="14325" y="0"/>
                    </a:lnTo>
                    <a:lnTo>
                      <a:pt x="23409" y="2936"/>
                    </a:lnTo>
                    <a:lnTo>
                      <a:pt x="26181" y="6641"/>
                    </a:lnTo>
                    <a:lnTo>
                      <a:pt x="26592" y="18085"/>
                    </a:lnTo>
                    <a:lnTo>
                      <a:pt x="11553" y="28705"/>
                    </a:lnTo>
                    <a:lnTo>
                      <a:pt x="466" y="15999"/>
                    </a:lnTo>
                    <a:lnTo>
                      <a:pt x="27" y="133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5" name="Freeform: Shape 4374">
                <a:extLst>
                  <a:ext uri="{FF2B5EF4-FFF2-40B4-BE49-F238E27FC236}">
                    <a16:creationId xmlns:a16="http://schemas.microsoft.com/office/drawing/2014/main" id="{D94EC17E-A67F-12B4-7F5A-2B28A828FD8B}"/>
                  </a:ext>
                </a:extLst>
              </p:cNvPr>
              <p:cNvSpPr/>
              <p:nvPr/>
            </p:nvSpPr>
            <p:spPr>
              <a:xfrm>
                <a:off x="1517771" y="3412233"/>
                <a:ext cx="2112" cy="3171"/>
              </a:xfrm>
              <a:custGeom>
                <a:avLst/>
                <a:gdLst>
                  <a:gd name="connsiteX0" fmla="*/ 12075 w 20253"/>
                  <a:gd name="connsiteY0" fmla="*/ 30407 h 30406"/>
                  <a:gd name="connsiteX1" fmla="*/ 7822 w 20253"/>
                  <a:gd name="connsiteY1" fmla="*/ 30407 h 30406"/>
                  <a:gd name="connsiteX2" fmla="*/ 357 w 20253"/>
                  <a:gd name="connsiteY2" fmla="*/ 15478 h 30406"/>
                  <a:gd name="connsiteX3" fmla="*/ 0 w 20253"/>
                  <a:gd name="connsiteY3" fmla="*/ 12267 h 30406"/>
                  <a:gd name="connsiteX4" fmla="*/ 467 w 20253"/>
                  <a:gd name="connsiteY4" fmla="*/ 9495 h 30406"/>
                  <a:gd name="connsiteX5" fmla="*/ 10977 w 20253"/>
                  <a:gd name="connsiteY5" fmla="*/ 0 h 30406"/>
                  <a:gd name="connsiteX6" fmla="*/ 20253 w 20253"/>
                  <a:gd name="connsiteY6" fmla="*/ 6147 h 30406"/>
                  <a:gd name="connsiteX7" fmla="*/ 18881 w 20253"/>
                  <a:gd name="connsiteY7" fmla="*/ 15478 h 30406"/>
                  <a:gd name="connsiteX8" fmla="*/ 13502 w 20253"/>
                  <a:gd name="connsiteY8" fmla="*/ 18250 h 30406"/>
                  <a:gd name="connsiteX9" fmla="*/ 12048 w 20253"/>
                  <a:gd name="connsiteY9" fmla="*/ 30379 h 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53" h="30406">
                    <a:moveTo>
                      <a:pt x="12075" y="30407"/>
                    </a:moveTo>
                    <a:lnTo>
                      <a:pt x="7822" y="30407"/>
                    </a:lnTo>
                    <a:lnTo>
                      <a:pt x="357" y="15478"/>
                    </a:lnTo>
                    <a:lnTo>
                      <a:pt x="0" y="12267"/>
                    </a:lnTo>
                    <a:lnTo>
                      <a:pt x="467" y="9495"/>
                    </a:lnTo>
                    <a:lnTo>
                      <a:pt x="10977" y="0"/>
                    </a:lnTo>
                    <a:lnTo>
                      <a:pt x="20253" y="6147"/>
                    </a:lnTo>
                    <a:lnTo>
                      <a:pt x="18881" y="15478"/>
                    </a:lnTo>
                    <a:lnTo>
                      <a:pt x="13502" y="18250"/>
                    </a:lnTo>
                    <a:lnTo>
                      <a:pt x="12048" y="303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6" name="Freeform: Shape 4375">
                <a:extLst>
                  <a:ext uri="{FF2B5EF4-FFF2-40B4-BE49-F238E27FC236}">
                    <a16:creationId xmlns:a16="http://schemas.microsoft.com/office/drawing/2014/main" id="{13B9762A-F98A-EB8D-4358-33EBD02B609A}"/>
                  </a:ext>
                </a:extLst>
              </p:cNvPr>
              <p:cNvSpPr/>
              <p:nvPr/>
            </p:nvSpPr>
            <p:spPr>
              <a:xfrm>
                <a:off x="1540535" y="3393336"/>
                <a:ext cx="2479" cy="2227"/>
              </a:xfrm>
              <a:custGeom>
                <a:avLst/>
                <a:gdLst>
                  <a:gd name="connsiteX0" fmla="*/ 0 w 23766"/>
                  <a:gd name="connsiteY0" fmla="*/ 12706 h 21350"/>
                  <a:gd name="connsiteX1" fmla="*/ 1345 w 23766"/>
                  <a:gd name="connsiteY1" fmla="*/ 7519 h 21350"/>
                  <a:gd name="connsiteX2" fmla="*/ 18140 w 23766"/>
                  <a:gd name="connsiteY2" fmla="*/ 0 h 21350"/>
                  <a:gd name="connsiteX3" fmla="*/ 23574 w 23766"/>
                  <a:gd name="connsiteY3" fmla="*/ 2882 h 21350"/>
                  <a:gd name="connsiteX4" fmla="*/ 23766 w 23766"/>
                  <a:gd name="connsiteY4" fmla="*/ 9523 h 21350"/>
                  <a:gd name="connsiteX5" fmla="*/ 19979 w 23766"/>
                  <a:gd name="connsiteY5" fmla="*/ 21351 h 21350"/>
                  <a:gd name="connsiteX6" fmla="*/ 1345 w 23766"/>
                  <a:gd name="connsiteY6" fmla="*/ 18304 h 21350"/>
                  <a:gd name="connsiteX7" fmla="*/ 0 w 23766"/>
                  <a:gd name="connsiteY7" fmla="*/ 12706 h 2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66" h="21350">
                    <a:moveTo>
                      <a:pt x="0" y="12706"/>
                    </a:moveTo>
                    <a:lnTo>
                      <a:pt x="1345" y="7519"/>
                    </a:lnTo>
                    <a:lnTo>
                      <a:pt x="18140" y="0"/>
                    </a:lnTo>
                    <a:lnTo>
                      <a:pt x="23574" y="2882"/>
                    </a:lnTo>
                    <a:lnTo>
                      <a:pt x="23766" y="9523"/>
                    </a:lnTo>
                    <a:lnTo>
                      <a:pt x="19979" y="21351"/>
                    </a:lnTo>
                    <a:lnTo>
                      <a:pt x="1345" y="18304"/>
                    </a:lnTo>
                    <a:lnTo>
                      <a:pt x="0" y="1270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7" name="Freeform: Shape 4376">
                <a:extLst>
                  <a:ext uri="{FF2B5EF4-FFF2-40B4-BE49-F238E27FC236}">
                    <a16:creationId xmlns:a16="http://schemas.microsoft.com/office/drawing/2014/main" id="{7AC141DC-E245-76A6-D42A-8460CF7E5475}"/>
                  </a:ext>
                </a:extLst>
              </p:cNvPr>
              <p:cNvSpPr/>
              <p:nvPr/>
            </p:nvSpPr>
            <p:spPr>
              <a:xfrm>
                <a:off x="1520095" y="3393914"/>
                <a:ext cx="1689" cy="3166"/>
              </a:xfrm>
              <a:custGeom>
                <a:avLst/>
                <a:gdLst>
                  <a:gd name="connsiteX0" fmla="*/ 2470 w 16191"/>
                  <a:gd name="connsiteY0" fmla="*/ 26867 h 30351"/>
                  <a:gd name="connsiteX1" fmla="*/ 631 w 16191"/>
                  <a:gd name="connsiteY1" fmla="*/ 30352 h 30351"/>
                  <a:gd name="connsiteX2" fmla="*/ 0 w 16191"/>
                  <a:gd name="connsiteY2" fmla="*/ 18469 h 30351"/>
                  <a:gd name="connsiteX3" fmla="*/ 1180 w 16191"/>
                  <a:gd name="connsiteY3" fmla="*/ 2936 h 30351"/>
                  <a:gd name="connsiteX4" fmla="*/ 9358 w 16191"/>
                  <a:gd name="connsiteY4" fmla="*/ 0 h 30351"/>
                  <a:gd name="connsiteX5" fmla="*/ 16191 w 16191"/>
                  <a:gd name="connsiteY5" fmla="*/ 7574 h 30351"/>
                  <a:gd name="connsiteX6" fmla="*/ 16027 w 16191"/>
                  <a:gd name="connsiteY6" fmla="*/ 15889 h 30351"/>
                  <a:gd name="connsiteX7" fmla="*/ 12020 w 16191"/>
                  <a:gd name="connsiteY7" fmla="*/ 17975 h 30351"/>
                  <a:gd name="connsiteX8" fmla="*/ 11663 w 16191"/>
                  <a:gd name="connsiteY8" fmla="*/ 23930 h 30351"/>
                  <a:gd name="connsiteX9" fmla="*/ 2442 w 16191"/>
                  <a:gd name="connsiteY9" fmla="*/ 26894 h 3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1" h="30351">
                    <a:moveTo>
                      <a:pt x="2470" y="26867"/>
                    </a:moveTo>
                    <a:lnTo>
                      <a:pt x="631" y="30352"/>
                    </a:lnTo>
                    <a:lnTo>
                      <a:pt x="0" y="18469"/>
                    </a:lnTo>
                    <a:lnTo>
                      <a:pt x="1180" y="2936"/>
                    </a:lnTo>
                    <a:lnTo>
                      <a:pt x="9358" y="0"/>
                    </a:lnTo>
                    <a:lnTo>
                      <a:pt x="16191" y="7574"/>
                    </a:lnTo>
                    <a:lnTo>
                      <a:pt x="16027" y="15889"/>
                    </a:lnTo>
                    <a:lnTo>
                      <a:pt x="12020" y="17975"/>
                    </a:lnTo>
                    <a:lnTo>
                      <a:pt x="11663" y="23930"/>
                    </a:lnTo>
                    <a:lnTo>
                      <a:pt x="2442" y="268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8" name="Freeform: Shape 4377">
                <a:extLst>
                  <a:ext uri="{FF2B5EF4-FFF2-40B4-BE49-F238E27FC236}">
                    <a16:creationId xmlns:a16="http://schemas.microsoft.com/office/drawing/2014/main" id="{0DE542FA-1096-39AB-573F-0CCCAD421431}"/>
                  </a:ext>
                </a:extLst>
              </p:cNvPr>
              <p:cNvSpPr/>
              <p:nvPr/>
            </p:nvSpPr>
            <p:spPr>
              <a:xfrm>
                <a:off x="1690979" y="3443244"/>
                <a:ext cx="1772" cy="2215"/>
              </a:xfrm>
              <a:custGeom>
                <a:avLst/>
                <a:gdLst>
                  <a:gd name="connsiteX0" fmla="*/ 16932 w 16987"/>
                  <a:gd name="connsiteY0" fmla="*/ 10373 h 21240"/>
                  <a:gd name="connsiteX1" fmla="*/ 6312 w 16987"/>
                  <a:gd name="connsiteY1" fmla="*/ 21241 h 21240"/>
                  <a:gd name="connsiteX2" fmla="*/ 0 w 16987"/>
                  <a:gd name="connsiteY2" fmla="*/ 19375 h 21240"/>
                  <a:gd name="connsiteX3" fmla="*/ 0 w 16987"/>
                  <a:gd name="connsiteY3" fmla="*/ 13996 h 21240"/>
                  <a:gd name="connsiteX4" fmla="*/ 8507 w 16987"/>
                  <a:gd name="connsiteY4" fmla="*/ 10373 h 21240"/>
                  <a:gd name="connsiteX5" fmla="*/ 13090 w 16987"/>
                  <a:gd name="connsiteY5" fmla="*/ 0 h 21240"/>
                  <a:gd name="connsiteX6" fmla="*/ 16987 w 16987"/>
                  <a:gd name="connsiteY6" fmla="*/ 5269 h 21240"/>
                  <a:gd name="connsiteX7" fmla="*/ 16932 w 16987"/>
                  <a:gd name="connsiteY7" fmla="*/ 10346 h 2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87" h="21240">
                    <a:moveTo>
                      <a:pt x="16932" y="10373"/>
                    </a:moveTo>
                    <a:lnTo>
                      <a:pt x="6312" y="21241"/>
                    </a:lnTo>
                    <a:lnTo>
                      <a:pt x="0" y="19375"/>
                    </a:lnTo>
                    <a:lnTo>
                      <a:pt x="0" y="13996"/>
                    </a:lnTo>
                    <a:lnTo>
                      <a:pt x="8507" y="10373"/>
                    </a:lnTo>
                    <a:lnTo>
                      <a:pt x="13090" y="0"/>
                    </a:lnTo>
                    <a:lnTo>
                      <a:pt x="16987" y="5269"/>
                    </a:lnTo>
                    <a:lnTo>
                      <a:pt x="16932" y="103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79" name="Freeform: Shape 4378">
                <a:extLst>
                  <a:ext uri="{FF2B5EF4-FFF2-40B4-BE49-F238E27FC236}">
                    <a16:creationId xmlns:a16="http://schemas.microsoft.com/office/drawing/2014/main" id="{3F629018-4524-4A9E-0CCA-B1316718DEA4}"/>
                  </a:ext>
                </a:extLst>
              </p:cNvPr>
              <p:cNvSpPr/>
              <p:nvPr/>
            </p:nvSpPr>
            <p:spPr>
              <a:xfrm>
                <a:off x="1659579" y="3466446"/>
                <a:ext cx="1368" cy="2321"/>
              </a:xfrm>
              <a:custGeom>
                <a:avLst/>
                <a:gdLst>
                  <a:gd name="connsiteX0" fmla="*/ 27 w 13117"/>
                  <a:gd name="connsiteY0" fmla="*/ 11416 h 22256"/>
                  <a:gd name="connsiteX1" fmla="*/ 1674 w 13117"/>
                  <a:gd name="connsiteY1" fmla="*/ 906 h 22256"/>
                  <a:gd name="connsiteX2" fmla="*/ 4445 w 13117"/>
                  <a:gd name="connsiteY2" fmla="*/ 0 h 22256"/>
                  <a:gd name="connsiteX3" fmla="*/ 5049 w 13117"/>
                  <a:gd name="connsiteY3" fmla="*/ 10456 h 22256"/>
                  <a:gd name="connsiteX4" fmla="*/ 8260 w 13117"/>
                  <a:gd name="connsiteY4" fmla="*/ 3787 h 22256"/>
                  <a:gd name="connsiteX5" fmla="*/ 12322 w 13117"/>
                  <a:gd name="connsiteY5" fmla="*/ 4171 h 22256"/>
                  <a:gd name="connsiteX6" fmla="*/ 13118 w 13117"/>
                  <a:gd name="connsiteY6" fmla="*/ 12596 h 22256"/>
                  <a:gd name="connsiteX7" fmla="*/ 10044 w 13117"/>
                  <a:gd name="connsiteY7" fmla="*/ 21406 h 22256"/>
                  <a:gd name="connsiteX8" fmla="*/ 8479 w 13117"/>
                  <a:gd name="connsiteY8" fmla="*/ 14792 h 22256"/>
                  <a:gd name="connsiteX9" fmla="*/ 5708 w 13117"/>
                  <a:gd name="connsiteY9" fmla="*/ 15615 h 22256"/>
                  <a:gd name="connsiteX10" fmla="*/ 6311 w 13117"/>
                  <a:gd name="connsiteY10" fmla="*/ 20033 h 22256"/>
                  <a:gd name="connsiteX11" fmla="*/ 3952 w 13117"/>
                  <a:gd name="connsiteY11" fmla="*/ 22256 h 22256"/>
                  <a:gd name="connsiteX12" fmla="*/ 3869 w 13117"/>
                  <a:gd name="connsiteY12" fmla="*/ 13612 h 22256"/>
                  <a:gd name="connsiteX13" fmla="*/ 796 w 13117"/>
                  <a:gd name="connsiteY13" fmla="*/ 17042 h 22256"/>
                  <a:gd name="connsiteX14" fmla="*/ 0 w 13117"/>
                  <a:gd name="connsiteY14" fmla="*/ 11389 h 22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17" h="22256">
                    <a:moveTo>
                      <a:pt x="27" y="11416"/>
                    </a:moveTo>
                    <a:lnTo>
                      <a:pt x="1674" y="906"/>
                    </a:lnTo>
                    <a:lnTo>
                      <a:pt x="4445" y="0"/>
                    </a:lnTo>
                    <a:lnTo>
                      <a:pt x="5049" y="10456"/>
                    </a:lnTo>
                    <a:lnTo>
                      <a:pt x="8260" y="3787"/>
                    </a:lnTo>
                    <a:lnTo>
                      <a:pt x="12322" y="4171"/>
                    </a:lnTo>
                    <a:lnTo>
                      <a:pt x="13118" y="12596"/>
                    </a:lnTo>
                    <a:lnTo>
                      <a:pt x="10044" y="21406"/>
                    </a:lnTo>
                    <a:lnTo>
                      <a:pt x="8479" y="14792"/>
                    </a:lnTo>
                    <a:lnTo>
                      <a:pt x="5708" y="15615"/>
                    </a:lnTo>
                    <a:lnTo>
                      <a:pt x="6311" y="20033"/>
                    </a:lnTo>
                    <a:lnTo>
                      <a:pt x="3952" y="22256"/>
                    </a:lnTo>
                    <a:lnTo>
                      <a:pt x="3869" y="13612"/>
                    </a:lnTo>
                    <a:lnTo>
                      <a:pt x="796" y="17042"/>
                    </a:lnTo>
                    <a:lnTo>
                      <a:pt x="0" y="1138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0" name="Freeform: Shape 4379">
                <a:extLst>
                  <a:ext uri="{FF2B5EF4-FFF2-40B4-BE49-F238E27FC236}">
                    <a16:creationId xmlns:a16="http://schemas.microsoft.com/office/drawing/2014/main" id="{114AD4CB-ED66-3A47-4865-7B8FF51039C4}"/>
                  </a:ext>
                </a:extLst>
              </p:cNvPr>
              <p:cNvSpPr/>
              <p:nvPr/>
            </p:nvSpPr>
            <p:spPr>
              <a:xfrm>
                <a:off x="1626562" y="3492997"/>
                <a:ext cx="1311" cy="2075"/>
              </a:xfrm>
              <a:custGeom>
                <a:avLst/>
                <a:gdLst>
                  <a:gd name="connsiteX0" fmla="*/ 10319 w 12569"/>
                  <a:gd name="connsiteY0" fmla="*/ 576 h 19896"/>
                  <a:gd name="connsiteX1" fmla="*/ 12569 w 12569"/>
                  <a:gd name="connsiteY1" fmla="*/ 7025 h 19896"/>
                  <a:gd name="connsiteX2" fmla="*/ 9111 w 12569"/>
                  <a:gd name="connsiteY2" fmla="*/ 14545 h 19896"/>
                  <a:gd name="connsiteX3" fmla="*/ 9056 w 12569"/>
                  <a:gd name="connsiteY3" fmla="*/ 19896 h 19896"/>
                  <a:gd name="connsiteX4" fmla="*/ 4610 w 12569"/>
                  <a:gd name="connsiteY4" fmla="*/ 18771 h 19896"/>
                  <a:gd name="connsiteX5" fmla="*/ 4501 w 12569"/>
                  <a:gd name="connsiteY5" fmla="*/ 11773 h 19896"/>
                  <a:gd name="connsiteX6" fmla="*/ 961 w 12569"/>
                  <a:gd name="connsiteY6" fmla="*/ 11279 h 19896"/>
                  <a:gd name="connsiteX7" fmla="*/ 0 w 12569"/>
                  <a:gd name="connsiteY7" fmla="*/ 6449 h 19896"/>
                  <a:gd name="connsiteX8" fmla="*/ 4281 w 12569"/>
                  <a:gd name="connsiteY8" fmla="*/ 0 h 19896"/>
                  <a:gd name="connsiteX9" fmla="*/ 10346 w 12569"/>
                  <a:gd name="connsiteY9" fmla="*/ 604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69" h="19896">
                    <a:moveTo>
                      <a:pt x="10319" y="576"/>
                    </a:moveTo>
                    <a:lnTo>
                      <a:pt x="12569" y="7025"/>
                    </a:lnTo>
                    <a:lnTo>
                      <a:pt x="9111" y="14545"/>
                    </a:lnTo>
                    <a:lnTo>
                      <a:pt x="9056" y="19896"/>
                    </a:lnTo>
                    <a:lnTo>
                      <a:pt x="4610" y="18771"/>
                    </a:lnTo>
                    <a:lnTo>
                      <a:pt x="4501" y="11773"/>
                    </a:lnTo>
                    <a:lnTo>
                      <a:pt x="961" y="11279"/>
                    </a:lnTo>
                    <a:lnTo>
                      <a:pt x="0" y="6449"/>
                    </a:lnTo>
                    <a:lnTo>
                      <a:pt x="4281" y="0"/>
                    </a:lnTo>
                    <a:lnTo>
                      <a:pt x="10346" y="6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1" name="Freeform: Shape 4380">
                <a:extLst>
                  <a:ext uri="{FF2B5EF4-FFF2-40B4-BE49-F238E27FC236}">
                    <a16:creationId xmlns:a16="http://schemas.microsoft.com/office/drawing/2014/main" id="{2418FA6D-2DA2-D7D1-2E0A-0A420DA18323}"/>
                  </a:ext>
                </a:extLst>
              </p:cNvPr>
              <p:cNvSpPr/>
              <p:nvPr/>
            </p:nvSpPr>
            <p:spPr>
              <a:xfrm>
                <a:off x="1541454" y="3404843"/>
                <a:ext cx="2044" cy="1978"/>
              </a:xfrm>
              <a:custGeom>
                <a:avLst/>
                <a:gdLst>
                  <a:gd name="connsiteX0" fmla="*/ 19320 w 19594"/>
                  <a:gd name="connsiteY0" fmla="*/ 6998 h 18963"/>
                  <a:gd name="connsiteX1" fmla="*/ 15368 w 19594"/>
                  <a:gd name="connsiteY1" fmla="*/ 17124 h 18963"/>
                  <a:gd name="connsiteX2" fmla="*/ 6943 w 19594"/>
                  <a:gd name="connsiteY2" fmla="*/ 16795 h 18963"/>
                  <a:gd name="connsiteX3" fmla="*/ 5763 w 19594"/>
                  <a:gd name="connsiteY3" fmla="*/ 18963 h 18963"/>
                  <a:gd name="connsiteX4" fmla="*/ 467 w 19594"/>
                  <a:gd name="connsiteY4" fmla="*/ 14380 h 18963"/>
                  <a:gd name="connsiteX5" fmla="*/ 0 w 19594"/>
                  <a:gd name="connsiteY5" fmla="*/ 10730 h 18963"/>
                  <a:gd name="connsiteX6" fmla="*/ 2113 w 19594"/>
                  <a:gd name="connsiteY6" fmla="*/ 2305 h 18963"/>
                  <a:gd name="connsiteX7" fmla="*/ 19595 w 19594"/>
                  <a:gd name="connsiteY7" fmla="*/ 0 h 18963"/>
                  <a:gd name="connsiteX8" fmla="*/ 19292 w 19594"/>
                  <a:gd name="connsiteY8" fmla="*/ 6971 h 1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94" h="18963">
                    <a:moveTo>
                      <a:pt x="19320" y="6998"/>
                    </a:moveTo>
                    <a:lnTo>
                      <a:pt x="15368" y="17124"/>
                    </a:lnTo>
                    <a:lnTo>
                      <a:pt x="6943" y="16795"/>
                    </a:lnTo>
                    <a:lnTo>
                      <a:pt x="5763" y="18963"/>
                    </a:lnTo>
                    <a:lnTo>
                      <a:pt x="467" y="14380"/>
                    </a:lnTo>
                    <a:lnTo>
                      <a:pt x="0" y="10730"/>
                    </a:lnTo>
                    <a:lnTo>
                      <a:pt x="2113" y="2305"/>
                    </a:lnTo>
                    <a:lnTo>
                      <a:pt x="19595" y="0"/>
                    </a:lnTo>
                    <a:lnTo>
                      <a:pt x="19292" y="69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2" name="Freeform: Shape 4381">
                <a:extLst>
                  <a:ext uri="{FF2B5EF4-FFF2-40B4-BE49-F238E27FC236}">
                    <a16:creationId xmlns:a16="http://schemas.microsoft.com/office/drawing/2014/main" id="{429A627C-25A0-D46A-6ABE-83968EEFD627}"/>
                  </a:ext>
                </a:extLst>
              </p:cNvPr>
              <p:cNvSpPr/>
              <p:nvPr/>
            </p:nvSpPr>
            <p:spPr>
              <a:xfrm>
                <a:off x="1661362" y="3471249"/>
                <a:ext cx="913" cy="2962"/>
              </a:xfrm>
              <a:custGeom>
                <a:avLst/>
                <a:gdLst>
                  <a:gd name="connsiteX0" fmla="*/ 6120 w 8754"/>
                  <a:gd name="connsiteY0" fmla="*/ 11389 h 28403"/>
                  <a:gd name="connsiteX1" fmla="*/ 8754 w 8754"/>
                  <a:gd name="connsiteY1" fmla="*/ 20280 h 28403"/>
                  <a:gd name="connsiteX2" fmla="*/ 7738 w 8754"/>
                  <a:gd name="connsiteY2" fmla="*/ 25248 h 28403"/>
                  <a:gd name="connsiteX3" fmla="*/ 5269 w 8754"/>
                  <a:gd name="connsiteY3" fmla="*/ 16768 h 28403"/>
                  <a:gd name="connsiteX4" fmla="*/ 3128 w 8754"/>
                  <a:gd name="connsiteY4" fmla="*/ 19539 h 28403"/>
                  <a:gd name="connsiteX5" fmla="*/ 3348 w 8754"/>
                  <a:gd name="connsiteY5" fmla="*/ 28019 h 28403"/>
                  <a:gd name="connsiteX6" fmla="*/ 1455 w 8754"/>
                  <a:gd name="connsiteY6" fmla="*/ 28403 h 28403"/>
                  <a:gd name="connsiteX7" fmla="*/ 1811 w 8754"/>
                  <a:gd name="connsiteY7" fmla="*/ 18442 h 28403"/>
                  <a:gd name="connsiteX8" fmla="*/ 0 w 8754"/>
                  <a:gd name="connsiteY8" fmla="*/ 12404 h 28403"/>
                  <a:gd name="connsiteX9" fmla="*/ 274 w 8754"/>
                  <a:gd name="connsiteY9" fmla="*/ 10017 h 28403"/>
                  <a:gd name="connsiteX10" fmla="*/ 4363 w 8754"/>
                  <a:gd name="connsiteY10" fmla="*/ 11636 h 28403"/>
                  <a:gd name="connsiteX11" fmla="*/ 5131 w 8754"/>
                  <a:gd name="connsiteY11" fmla="*/ 0 h 28403"/>
                  <a:gd name="connsiteX12" fmla="*/ 7602 w 8754"/>
                  <a:gd name="connsiteY12" fmla="*/ 110 h 28403"/>
                  <a:gd name="connsiteX13" fmla="*/ 7986 w 8754"/>
                  <a:gd name="connsiteY13" fmla="*/ 5983 h 28403"/>
                  <a:gd name="connsiteX14" fmla="*/ 6147 w 8754"/>
                  <a:gd name="connsiteY14" fmla="*/ 11416 h 28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54" h="28403">
                    <a:moveTo>
                      <a:pt x="6120" y="11389"/>
                    </a:moveTo>
                    <a:lnTo>
                      <a:pt x="8754" y="20280"/>
                    </a:lnTo>
                    <a:lnTo>
                      <a:pt x="7738" y="25248"/>
                    </a:lnTo>
                    <a:lnTo>
                      <a:pt x="5269" y="16768"/>
                    </a:lnTo>
                    <a:lnTo>
                      <a:pt x="3128" y="19539"/>
                    </a:lnTo>
                    <a:lnTo>
                      <a:pt x="3348" y="28019"/>
                    </a:lnTo>
                    <a:lnTo>
                      <a:pt x="1455" y="28403"/>
                    </a:lnTo>
                    <a:lnTo>
                      <a:pt x="1811" y="18442"/>
                    </a:lnTo>
                    <a:lnTo>
                      <a:pt x="0" y="12404"/>
                    </a:lnTo>
                    <a:lnTo>
                      <a:pt x="274" y="10017"/>
                    </a:lnTo>
                    <a:lnTo>
                      <a:pt x="4363" y="11636"/>
                    </a:lnTo>
                    <a:lnTo>
                      <a:pt x="5131" y="0"/>
                    </a:lnTo>
                    <a:lnTo>
                      <a:pt x="7602" y="110"/>
                    </a:lnTo>
                    <a:lnTo>
                      <a:pt x="7986" y="5983"/>
                    </a:lnTo>
                    <a:lnTo>
                      <a:pt x="6147" y="114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3" name="Freeform: Shape 4382">
                <a:extLst>
                  <a:ext uri="{FF2B5EF4-FFF2-40B4-BE49-F238E27FC236}">
                    <a16:creationId xmlns:a16="http://schemas.microsoft.com/office/drawing/2014/main" id="{321EEE44-B44F-0C6F-89AF-88538352F679}"/>
                  </a:ext>
                </a:extLst>
              </p:cNvPr>
              <p:cNvSpPr/>
              <p:nvPr/>
            </p:nvSpPr>
            <p:spPr>
              <a:xfrm>
                <a:off x="1639051" y="3458531"/>
                <a:ext cx="1548" cy="1869"/>
              </a:xfrm>
              <a:custGeom>
                <a:avLst/>
                <a:gdLst>
                  <a:gd name="connsiteX0" fmla="*/ 13886 w 14846"/>
                  <a:gd name="connsiteY0" fmla="*/ 14298 h 17920"/>
                  <a:gd name="connsiteX1" fmla="*/ 10812 w 14846"/>
                  <a:gd name="connsiteY1" fmla="*/ 17920 h 17920"/>
                  <a:gd name="connsiteX2" fmla="*/ 6229 w 14846"/>
                  <a:gd name="connsiteY2" fmla="*/ 17673 h 17920"/>
                  <a:gd name="connsiteX3" fmla="*/ 1152 w 14846"/>
                  <a:gd name="connsiteY3" fmla="*/ 13282 h 17920"/>
                  <a:gd name="connsiteX4" fmla="*/ 0 w 14846"/>
                  <a:gd name="connsiteY4" fmla="*/ 12294 h 17920"/>
                  <a:gd name="connsiteX5" fmla="*/ 1152 w 14846"/>
                  <a:gd name="connsiteY5" fmla="*/ 7547 h 17920"/>
                  <a:gd name="connsiteX6" fmla="*/ 1976 w 14846"/>
                  <a:gd name="connsiteY6" fmla="*/ 4116 h 17920"/>
                  <a:gd name="connsiteX7" fmla="*/ 6065 w 14846"/>
                  <a:gd name="connsiteY7" fmla="*/ 357 h 17920"/>
                  <a:gd name="connsiteX8" fmla="*/ 11718 w 14846"/>
                  <a:gd name="connsiteY8" fmla="*/ 0 h 17920"/>
                  <a:gd name="connsiteX9" fmla="*/ 12020 w 14846"/>
                  <a:gd name="connsiteY9" fmla="*/ 4556 h 17920"/>
                  <a:gd name="connsiteX10" fmla="*/ 14846 w 14846"/>
                  <a:gd name="connsiteY10" fmla="*/ 8288 h 17920"/>
                  <a:gd name="connsiteX11" fmla="*/ 13886 w 14846"/>
                  <a:gd name="connsiteY11" fmla="*/ 14270 h 1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46" h="17920">
                    <a:moveTo>
                      <a:pt x="13886" y="14298"/>
                    </a:moveTo>
                    <a:lnTo>
                      <a:pt x="10812" y="17920"/>
                    </a:lnTo>
                    <a:lnTo>
                      <a:pt x="6229" y="17673"/>
                    </a:lnTo>
                    <a:lnTo>
                      <a:pt x="1152" y="13282"/>
                    </a:lnTo>
                    <a:lnTo>
                      <a:pt x="0" y="12294"/>
                    </a:lnTo>
                    <a:lnTo>
                      <a:pt x="1152" y="7547"/>
                    </a:lnTo>
                    <a:lnTo>
                      <a:pt x="1976" y="4116"/>
                    </a:lnTo>
                    <a:lnTo>
                      <a:pt x="6065" y="357"/>
                    </a:lnTo>
                    <a:lnTo>
                      <a:pt x="11718" y="0"/>
                    </a:lnTo>
                    <a:lnTo>
                      <a:pt x="12020" y="4556"/>
                    </a:lnTo>
                    <a:lnTo>
                      <a:pt x="14846" y="8288"/>
                    </a:lnTo>
                    <a:lnTo>
                      <a:pt x="13886" y="142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4" name="Freeform: Shape 4383">
                <a:extLst>
                  <a:ext uri="{FF2B5EF4-FFF2-40B4-BE49-F238E27FC236}">
                    <a16:creationId xmlns:a16="http://schemas.microsoft.com/office/drawing/2014/main" id="{48DFA8E2-D4DA-871C-57EE-3BF47FB088C6}"/>
                  </a:ext>
                </a:extLst>
              </p:cNvPr>
              <p:cNvSpPr/>
              <p:nvPr/>
            </p:nvSpPr>
            <p:spPr>
              <a:xfrm>
                <a:off x="1474315" y="3578515"/>
                <a:ext cx="1053" cy="1357"/>
              </a:xfrm>
              <a:custGeom>
                <a:avLst/>
                <a:gdLst>
                  <a:gd name="connsiteX0" fmla="*/ 7793 w 10098"/>
                  <a:gd name="connsiteY0" fmla="*/ 6998 h 13007"/>
                  <a:gd name="connsiteX1" fmla="*/ 10099 w 10098"/>
                  <a:gd name="connsiteY1" fmla="*/ 9715 h 13007"/>
                  <a:gd name="connsiteX2" fmla="*/ 8589 w 10098"/>
                  <a:gd name="connsiteY2" fmla="*/ 13008 h 13007"/>
                  <a:gd name="connsiteX3" fmla="*/ 1455 w 10098"/>
                  <a:gd name="connsiteY3" fmla="*/ 7657 h 13007"/>
                  <a:gd name="connsiteX4" fmla="*/ 0 w 10098"/>
                  <a:gd name="connsiteY4" fmla="*/ 3787 h 13007"/>
                  <a:gd name="connsiteX5" fmla="*/ 8589 w 10098"/>
                  <a:gd name="connsiteY5" fmla="*/ 0 h 13007"/>
                  <a:gd name="connsiteX6" fmla="*/ 10071 w 10098"/>
                  <a:gd name="connsiteY6" fmla="*/ 4226 h 13007"/>
                  <a:gd name="connsiteX7" fmla="*/ 7793 w 10098"/>
                  <a:gd name="connsiteY7" fmla="*/ 699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98" h="13007">
                    <a:moveTo>
                      <a:pt x="7793" y="6998"/>
                    </a:moveTo>
                    <a:lnTo>
                      <a:pt x="10099" y="9715"/>
                    </a:lnTo>
                    <a:lnTo>
                      <a:pt x="8589" y="13008"/>
                    </a:lnTo>
                    <a:lnTo>
                      <a:pt x="1455" y="7657"/>
                    </a:lnTo>
                    <a:lnTo>
                      <a:pt x="0" y="3787"/>
                    </a:lnTo>
                    <a:lnTo>
                      <a:pt x="8589" y="0"/>
                    </a:lnTo>
                    <a:lnTo>
                      <a:pt x="10071" y="4226"/>
                    </a:lnTo>
                    <a:lnTo>
                      <a:pt x="7793" y="69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5" name="Freeform: Shape 4384">
                <a:extLst>
                  <a:ext uri="{FF2B5EF4-FFF2-40B4-BE49-F238E27FC236}">
                    <a16:creationId xmlns:a16="http://schemas.microsoft.com/office/drawing/2014/main" id="{2752C0BC-7186-896B-BE56-1F4D9E77FE6A}"/>
                  </a:ext>
                </a:extLst>
              </p:cNvPr>
              <p:cNvSpPr/>
              <p:nvPr/>
            </p:nvSpPr>
            <p:spPr>
              <a:xfrm>
                <a:off x="1694712" y="3457678"/>
                <a:ext cx="1262" cy="2078"/>
              </a:xfrm>
              <a:custGeom>
                <a:avLst/>
                <a:gdLst>
                  <a:gd name="connsiteX0" fmla="*/ 0 w 12102"/>
                  <a:gd name="connsiteY0" fmla="*/ 8425 h 19923"/>
                  <a:gd name="connsiteX1" fmla="*/ 1838 w 12102"/>
                  <a:gd name="connsiteY1" fmla="*/ 2442 h 19923"/>
                  <a:gd name="connsiteX2" fmla="*/ 7025 w 12102"/>
                  <a:gd name="connsiteY2" fmla="*/ 6257 h 19923"/>
                  <a:gd name="connsiteX3" fmla="*/ 9138 w 12102"/>
                  <a:gd name="connsiteY3" fmla="*/ 0 h 19923"/>
                  <a:gd name="connsiteX4" fmla="*/ 12102 w 12102"/>
                  <a:gd name="connsiteY4" fmla="*/ 7245 h 19923"/>
                  <a:gd name="connsiteX5" fmla="*/ 11279 w 12102"/>
                  <a:gd name="connsiteY5" fmla="*/ 12788 h 19923"/>
                  <a:gd name="connsiteX6" fmla="*/ 1097 w 12102"/>
                  <a:gd name="connsiteY6" fmla="*/ 19924 h 19923"/>
                  <a:gd name="connsiteX7" fmla="*/ 0 w 12102"/>
                  <a:gd name="connsiteY7" fmla="*/ 8425 h 19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02" h="19923">
                    <a:moveTo>
                      <a:pt x="0" y="8425"/>
                    </a:moveTo>
                    <a:lnTo>
                      <a:pt x="1838" y="2442"/>
                    </a:lnTo>
                    <a:lnTo>
                      <a:pt x="7025" y="6257"/>
                    </a:lnTo>
                    <a:lnTo>
                      <a:pt x="9138" y="0"/>
                    </a:lnTo>
                    <a:lnTo>
                      <a:pt x="12102" y="7245"/>
                    </a:lnTo>
                    <a:lnTo>
                      <a:pt x="11279" y="12788"/>
                    </a:lnTo>
                    <a:lnTo>
                      <a:pt x="1097" y="19924"/>
                    </a:lnTo>
                    <a:lnTo>
                      <a:pt x="0" y="84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6" name="Freeform: Shape 4385">
                <a:extLst>
                  <a:ext uri="{FF2B5EF4-FFF2-40B4-BE49-F238E27FC236}">
                    <a16:creationId xmlns:a16="http://schemas.microsoft.com/office/drawing/2014/main" id="{95B71FA4-484B-ECBB-63C8-3882665F52B0}"/>
                  </a:ext>
                </a:extLst>
              </p:cNvPr>
              <p:cNvSpPr/>
              <p:nvPr/>
            </p:nvSpPr>
            <p:spPr>
              <a:xfrm>
                <a:off x="1645685" y="3420700"/>
                <a:ext cx="1826" cy="1603"/>
              </a:xfrm>
              <a:custGeom>
                <a:avLst/>
                <a:gdLst>
                  <a:gd name="connsiteX0" fmla="*/ 17481 w 17508"/>
                  <a:gd name="connsiteY0" fmla="*/ 10758 h 15368"/>
                  <a:gd name="connsiteX1" fmla="*/ 11032 w 17508"/>
                  <a:gd name="connsiteY1" fmla="*/ 15368 h 15368"/>
                  <a:gd name="connsiteX2" fmla="*/ 466 w 17508"/>
                  <a:gd name="connsiteY2" fmla="*/ 7492 h 15368"/>
                  <a:gd name="connsiteX3" fmla="*/ 0 w 17508"/>
                  <a:gd name="connsiteY3" fmla="*/ 4857 h 15368"/>
                  <a:gd name="connsiteX4" fmla="*/ 1152 w 17508"/>
                  <a:gd name="connsiteY4" fmla="*/ 0 h 15368"/>
                  <a:gd name="connsiteX5" fmla="*/ 13996 w 17508"/>
                  <a:gd name="connsiteY5" fmla="*/ 1509 h 15368"/>
                  <a:gd name="connsiteX6" fmla="*/ 17508 w 17508"/>
                  <a:gd name="connsiteY6" fmla="*/ 4885 h 15368"/>
                  <a:gd name="connsiteX7" fmla="*/ 17508 w 17508"/>
                  <a:gd name="connsiteY7" fmla="*/ 10785 h 1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08" h="15368">
                    <a:moveTo>
                      <a:pt x="17481" y="10758"/>
                    </a:moveTo>
                    <a:lnTo>
                      <a:pt x="11032" y="15368"/>
                    </a:lnTo>
                    <a:lnTo>
                      <a:pt x="466" y="7492"/>
                    </a:lnTo>
                    <a:lnTo>
                      <a:pt x="0" y="4857"/>
                    </a:lnTo>
                    <a:lnTo>
                      <a:pt x="1152" y="0"/>
                    </a:lnTo>
                    <a:lnTo>
                      <a:pt x="13996" y="1509"/>
                    </a:lnTo>
                    <a:lnTo>
                      <a:pt x="17508" y="4885"/>
                    </a:lnTo>
                    <a:lnTo>
                      <a:pt x="17508" y="107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7" name="Freeform: Shape 4386">
                <a:extLst>
                  <a:ext uri="{FF2B5EF4-FFF2-40B4-BE49-F238E27FC236}">
                    <a16:creationId xmlns:a16="http://schemas.microsoft.com/office/drawing/2014/main" id="{7BC6BC4C-FBCF-2F4F-1B56-E30F2B6AB331}"/>
                  </a:ext>
                </a:extLst>
              </p:cNvPr>
              <p:cNvSpPr/>
              <p:nvPr/>
            </p:nvSpPr>
            <p:spPr>
              <a:xfrm>
                <a:off x="1528602" y="3404508"/>
                <a:ext cx="942" cy="3363"/>
              </a:xfrm>
              <a:custGeom>
                <a:avLst/>
                <a:gdLst>
                  <a:gd name="connsiteX0" fmla="*/ 0 w 9028"/>
                  <a:gd name="connsiteY0" fmla="*/ 2827 h 32245"/>
                  <a:gd name="connsiteX1" fmla="*/ 576 w 9028"/>
                  <a:gd name="connsiteY1" fmla="*/ 0 h 32245"/>
                  <a:gd name="connsiteX2" fmla="*/ 5489 w 9028"/>
                  <a:gd name="connsiteY2" fmla="*/ 2909 h 32245"/>
                  <a:gd name="connsiteX3" fmla="*/ 6888 w 9028"/>
                  <a:gd name="connsiteY3" fmla="*/ 16850 h 32245"/>
                  <a:gd name="connsiteX4" fmla="*/ 9029 w 9028"/>
                  <a:gd name="connsiteY4" fmla="*/ 23134 h 32245"/>
                  <a:gd name="connsiteX5" fmla="*/ 7712 w 9028"/>
                  <a:gd name="connsiteY5" fmla="*/ 32245 h 32245"/>
                  <a:gd name="connsiteX6" fmla="*/ 3293 w 9028"/>
                  <a:gd name="connsiteY6" fmla="*/ 29172 h 32245"/>
                  <a:gd name="connsiteX7" fmla="*/ 192 w 9028"/>
                  <a:gd name="connsiteY7" fmla="*/ 23299 h 32245"/>
                  <a:gd name="connsiteX8" fmla="*/ 1070 w 9028"/>
                  <a:gd name="connsiteY8" fmla="*/ 8590 h 32245"/>
                  <a:gd name="connsiteX9" fmla="*/ 27 w 9028"/>
                  <a:gd name="connsiteY9" fmla="*/ 2854 h 3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8" h="32245">
                    <a:moveTo>
                      <a:pt x="0" y="2827"/>
                    </a:moveTo>
                    <a:lnTo>
                      <a:pt x="576" y="0"/>
                    </a:lnTo>
                    <a:lnTo>
                      <a:pt x="5489" y="2909"/>
                    </a:lnTo>
                    <a:lnTo>
                      <a:pt x="6888" y="16850"/>
                    </a:lnTo>
                    <a:lnTo>
                      <a:pt x="9029" y="23134"/>
                    </a:lnTo>
                    <a:lnTo>
                      <a:pt x="7712" y="32245"/>
                    </a:lnTo>
                    <a:lnTo>
                      <a:pt x="3293" y="29172"/>
                    </a:lnTo>
                    <a:lnTo>
                      <a:pt x="192" y="23299"/>
                    </a:lnTo>
                    <a:lnTo>
                      <a:pt x="1070" y="8590"/>
                    </a:lnTo>
                    <a:lnTo>
                      <a:pt x="27"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8" name="Freeform: Shape 4387">
                <a:extLst>
                  <a:ext uri="{FF2B5EF4-FFF2-40B4-BE49-F238E27FC236}">
                    <a16:creationId xmlns:a16="http://schemas.microsoft.com/office/drawing/2014/main" id="{B26D95EF-5B74-5199-5EFC-91F8DDF54F8E}"/>
                  </a:ext>
                </a:extLst>
              </p:cNvPr>
              <p:cNvSpPr/>
              <p:nvPr/>
            </p:nvSpPr>
            <p:spPr>
              <a:xfrm>
                <a:off x="1534424" y="3410287"/>
                <a:ext cx="1288" cy="2198"/>
              </a:xfrm>
              <a:custGeom>
                <a:avLst/>
                <a:gdLst>
                  <a:gd name="connsiteX0" fmla="*/ 11746 w 12349"/>
                  <a:gd name="connsiteY0" fmla="*/ 12953 h 21076"/>
                  <a:gd name="connsiteX1" fmla="*/ 1290 w 12349"/>
                  <a:gd name="connsiteY1" fmla="*/ 21076 h 21076"/>
                  <a:gd name="connsiteX2" fmla="*/ 0 w 12349"/>
                  <a:gd name="connsiteY2" fmla="*/ 17426 h 21076"/>
                  <a:gd name="connsiteX3" fmla="*/ 988 w 12349"/>
                  <a:gd name="connsiteY3" fmla="*/ 5790 h 21076"/>
                  <a:gd name="connsiteX4" fmla="*/ 8013 w 12349"/>
                  <a:gd name="connsiteY4" fmla="*/ 0 h 21076"/>
                  <a:gd name="connsiteX5" fmla="*/ 12349 w 12349"/>
                  <a:gd name="connsiteY5" fmla="*/ 3732 h 21076"/>
                  <a:gd name="connsiteX6" fmla="*/ 11746 w 12349"/>
                  <a:gd name="connsiteY6" fmla="*/ 12953 h 2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49" h="21076">
                    <a:moveTo>
                      <a:pt x="11746" y="12953"/>
                    </a:moveTo>
                    <a:lnTo>
                      <a:pt x="1290" y="21076"/>
                    </a:lnTo>
                    <a:lnTo>
                      <a:pt x="0" y="17426"/>
                    </a:lnTo>
                    <a:lnTo>
                      <a:pt x="988" y="5790"/>
                    </a:lnTo>
                    <a:lnTo>
                      <a:pt x="8013" y="0"/>
                    </a:lnTo>
                    <a:lnTo>
                      <a:pt x="12349" y="3732"/>
                    </a:lnTo>
                    <a:lnTo>
                      <a:pt x="11746" y="129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89" name="Freeform: Shape 4388">
                <a:extLst>
                  <a:ext uri="{FF2B5EF4-FFF2-40B4-BE49-F238E27FC236}">
                    <a16:creationId xmlns:a16="http://schemas.microsoft.com/office/drawing/2014/main" id="{0A1FE2BB-3665-0184-DE0E-6EA10231B1EC}"/>
                  </a:ext>
                </a:extLst>
              </p:cNvPr>
              <p:cNvSpPr/>
              <p:nvPr/>
            </p:nvSpPr>
            <p:spPr>
              <a:xfrm>
                <a:off x="1618310" y="3497974"/>
                <a:ext cx="1088" cy="1199"/>
              </a:xfrm>
              <a:custGeom>
                <a:avLst/>
                <a:gdLst>
                  <a:gd name="connsiteX0" fmla="*/ 0 w 10428"/>
                  <a:gd name="connsiteY0" fmla="*/ 6751 h 11498"/>
                  <a:gd name="connsiteX1" fmla="*/ 1757 w 10428"/>
                  <a:gd name="connsiteY1" fmla="*/ 3156 h 11498"/>
                  <a:gd name="connsiteX2" fmla="*/ 5818 w 10428"/>
                  <a:gd name="connsiteY2" fmla="*/ 0 h 11498"/>
                  <a:gd name="connsiteX3" fmla="*/ 10428 w 10428"/>
                  <a:gd name="connsiteY3" fmla="*/ 3074 h 11498"/>
                  <a:gd name="connsiteX4" fmla="*/ 8260 w 10428"/>
                  <a:gd name="connsiteY4" fmla="*/ 11499 h 11498"/>
                  <a:gd name="connsiteX5" fmla="*/ 1812 w 10428"/>
                  <a:gd name="connsiteY5" fmla="*/ 9633 h 11498"/>
                  <a:gd name="connsiteX6" fmla="*/ 0 w 10428"/>
                  <a:gd name="connsiteY6" fmla="*/ 6779 h 1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8" h="11498">
                    <a:moveTo>
                      <a:pt x="0" y="6751"/>
                    </a:moveTo>
                    <a:lnTo>
                      <a:pt x="1757" y="3156"/>
                    </a:lnTo>
                    <a:lnTo>
                      <a:pt x="5818" y="0"/>
                    </a:lnTo>
                    <a:lnTo>
                      <a:pt x="10428" y="3074"/>
                    </a:lnTo>
                    <a:lnTo>
                      <a:pt x="8260" y="11499"/>
                    </a:lnTo>
                    <a:lnTo>
                      <a:pt x="1812" y="9633"/>
                    </a:lnTo>
                    <a:lnTo>
                      <a:pt x="0" y="677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0" name="Freeform: Shape 4389">
                <a:extLst>
                  <a:ext uri="{FF2B5EF4-FFF2-40B4-BE49-F238E27FC236}">
                    <a16:creationId xmlns:a16="http://schemas.microsoft.com/office/drawing/2014/main" id="{802EEF83-5A40-9A82-8D61-69563CE2267E}"/>
                  </a:ext>
                </a:extLst>
              </p:cNvPr>
              <p:cNvSpPr/>
              <p:nvPr/>
            </p:nvSpPr>
            <p:spPr>
              <a:xfrm>
                <a:off x="1531401" y="3410985"/>
                <a:ext cx="979" cy="2098"/>
              </a:xfrm>
              <a:custGeom>
                <a:avLst/>
                <a:gdLst>
                  <a:gd name="connsiteX0" fmla="*/ 6339 w 9385"/>
                  <a:gd name="connsiteY0" fmla="*/ 16603 h 20115"/>
                  <a:gd name="connsiteX1" fmla="*/ 2031 w 9385"/>
                  <a:gd name="connsiteY1" fmla="*/ 20116 h 20115"/>
                  <a:gd name="connsiteX2" fmla="*/ 0 w 9385"/>
                  <a:gd name="connsiteY2" fmla="*/ 4720 h 20115"/>
                  <a:gd name="connsiteX3" fmla="*/ 6367 w 9385"/>
                  <a:gd name="connsiteY3" fmla="*/ 0 h 20115"/>
                  <a:gd name="connsiteX4" fmla="*/ 9385 w 9385"/>
                  <a:gd name="connsiteY4" fmla="*/ 5406 h 20115"/>
                  <a:gd name="connsiteX5" fmla="*/ 8370 w 9385"/>
                  <a:gd name="connsiteY5" fmla="*/ 14078 h 20115"/>
                  <a:gd name="connsiteX6" fmla="*/ 6394 w 9385"/>
                  <a:gd name="connsiteY6" fmla="*/ 16575 h 2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5" h="20115">
                    <a:moveTo>
                      <a:pt x="6339" y="16603"/>
                    </a:moveTo>
                    <a:lnTo>
                      <a:pt x="2031" y="20116"/>
                    </a:lnTo>
                    <a:lnTo>
                      <a:pt x="0" y="4720"/>
                    </a:lnTo>
                    <a:lnTo>
                      <a:pt x="6367" y="0"/>
                    </a:lnTo>
                    <a:lnTo>
                      <a:pt x="9385" y="5406"/>
                    </a:lnTo>
                    <a:lnTo>
                      <a:pt x="8370" y="14078"/>
                    </a:lnTo>
                    <a:lnTo>
                      <a:pt x="6394" y="165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1" name="Freeform: Shape 4390">
                <a:extLst>
                  <a:ext uri="{FF2B5EF4-FFF2-40B4-BE49-F238E27FC236}">
                    <a16:creationId xmlns:a16="http://schemas.microsoft.com/office/drawing/2014/main" id="{917CA366-8D9A-9208-61BB-33C2B321162F}"/>
                  </a:ext>
                </a:extLst>
              </p:cNvPr>
              <p:cNvSpPr/>
              <p:nvPr/>
            </p:nvSpPr>
            <p:spPr>
              <a:xfrm>
                <a:off x="1597175" y="3504749"/>
                <a:ext cx="1102" cy="1088"/>
              </a:xfrm>
              <a:custGeom>
                <a:avLst/>
                <a:gdLst>
                  <a:gd name="connsiteX0" fmla="*/ 8727 w 10565"/>
                  <a:gd name="connsiteY0" fmla="*/ 10154 h 10428"/>
                  <a:gd name="connsiteX1" fmla="*/ 82 w 10565"/>
                  <a:gd name="connsiteY1" fmla="*/ 10428 h 10428"/>
                  <a:gd name="connsiteX2" fmla="*/ 0 w 10565"/>
                  <a:gd name="connsiteY2" fmla="*/ 7876 h 10428"/>
                  <a:gd name="connsiteX3" fmla="*/ 549 w 10565"/>
                  <a:gd name="connsiteY3" fmla="*/ 1619 h 10428"/>
                  <a:gd name="connsiteX4" fmla="*/ 10154 w 10565"/>
                  <a:gd name="connsiteY4" fmla="*/ 0 h 10428"/>
                  <a:gd name="connsiteX5" fmla="*/ 10565 w 10565"/>
                  <a:gd name="connsiteY5" fmla="*/ 3183 h 10428"/>
                  <a:gd name="connsiteX6" fmla="*/ 8727 w 10565"/>
                  <a:gd name="connsiteY6" fmla="*/ 10126 h 1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5" h="10428">
                    <a:moveTo>
                      <a:pt x="8727" y="10154"/>
                    </a:moveTo>
                    <a:lnTo>
                      <a:pt x="82" y="10428"/>
                    </a:lnTo>
                    <a:lnTo>
                      <a:pt x="0" y="7876"/>
                    </a:lnTo>
                    <a:lnTo>
                      <a:pt x="549" y="1619"/>
                    </a:lnTo>
                    <a:lnTo>
                      <a:pt x="10154" y="0"/>
                    </a:lnTo>
                    <a:lnTo>
                      <a:pt x="10565" y="3183"/>
                    </a:lnTo>
                    <a:lnTo>
                      <a:pt x="8727" y="101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2" name="Freeform: Shape 4391">
                <a:extLst>
                  <a:ext uri="{FF2B5EF4-FFF2-40B4-BE49-F238E27FC236}">
                    <a16:creationId xmlns:a16="http://schemas.microsoft.com/office/drawing/2014/main" id="{ADE0DBDC-40F8-D933-B60F-7EA6A3162CD7}"/>
                  </a:ext>
                </a:extLst>
              </p:cNvPr>
              <p:cNvSpPr/>
              <p:nvPr/>
            </p:nvSpPr>
            <p:spPr>
              <a:xfrm>
                <a:off x="1549697" y="3391476"/>
                <a:ext cx="1466" cy="1506"/>
              </a:xfrm>
              <a:custGeom>
                <a:avLst/>
                <a:gdLst>
                  <a:gd name="connsiteX0" fmla="*/ 0 w 14051"/>
                  <a:gd name="connsiteY0" fmla="*/ 3238 h 14435"/>
                  <a:gd name="connsiteX1" fmla="*/ 549 w 14051"/>
                  <a:gd name="connsiteY1" fmla="*/ 0 h 14435"/>
                  <a:gd name="connsiteX2" fmla="*/ 5434 w 14051"/>
                  <a:gd name="connsiteY2" fmla="*/ 412 h 14435"/>
                  <a:gd name="connsiteX3" fmla="*/ 14051 w 14051"/>
                  <a:gd name="connsiteY3" fmla="*/ 4199 h 14435"/>
                  <a:gd name="connsiteX4" fmla="*/ 14051 w 14051"/>
                  <a:gd name="connsiteY4" fmla="*/ 11663 h 14435"/>
                  <a:gd name="connsiteX5" fmla="*/ 10676 w 14051"/>
                  <a:gd name="connsiteY5" fmla="*/ 14435 h 14435"/>
                  <a:gd name="connsiteX6" fmla="*/ 823 w 14051"/>
                  <a:gd name="connsiteY6" fmla="*/ 8315 h 14435"/>
                  <a:gd name="connsiteX7" fmla="*/ 27 w 14051"/>
                  <a:gd name="connsiteY7" fmla="*/ 3266 h 1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51" h="14435">
                    <a:moveTo>
                      <a:pt x="0" y="3238"/>
                    </a:moveTo>
                    <a:lnTo>
                      <a:pt x="549" y="0"/>
                    </a:lnTo>
                    <a:lnTo>
                      <a:pt x="5434" y="412"/>
                    </a:lnTo>
                    <a:lnTo>
                      <a:pt x="14051" y="4199"/>
                    </a:lnTo>
                    <a:lnTo>
                      <a:pt x="14051" y="11663"/>
                    </a:lnTo>
                    <a:cubicBezTo>
                      <a:pt x="14051" y="11663"/>
                      <a:pt x="10676" y="14435"/>
                      <a:pt x="10676" y="14435"/>
                    </a:cubicBezTo>
                    <a:lnTo>
                      <a:pt x="823" y="8315"/>
                    </a:lnTo>
                    <a:lnTo>
                      <a:pt x="27" y="326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3" name="Freeform: Shape 4392">
                <a:extLst>
                  <a:ext uri="{FF2B5EF4-FFF2-40B4-BE49-F238E27FC236}">
                    <a16:creationId xmlns:a16="http://schemas.microsoft.com/office/drawing/2014/main" id="{8F48A044-F5AD-EFE3-5078-A0D9D70DD934}"/>
                  </a:ext>
                </a:extLst>
              </p:cNvPr>
              <p:cNvSpPr/>
              <p:nvPr/>
            </p:nvSpPr>
            <p:spPr>
              <a:xfrm>
                <a:off x="1599052" y="3508282"/>
                <a:ext cx="1405" cy="816"/>
              </a:xfrm>
              <a:custGeom>
                <a:avLst/>
                <a:gdLst>
                  <a:gd name="connsiteX0" fmla="*/ 0 w 13474"/>
                  <a:gd name="connsiteY0" fmla="*/ 2003 h 7821"/>
                  <a:gd name="connsiteX1" fmla="*/ 1290 w 13474"/>
                  <a:gd name="connsiteY1" fmla="*/ 0 h 7821"/>
                  <a:gd name="connsiteX2" fmla="*/ 13474 w 13474"/>
                  <a:gd name="connsiteY2" fmla="*/ 3183 h 7821"/>
                  <a:gd name="connsiteX3" fmla="*/ 12678 w 13474"/>
                  <a:gd name="connsiteY3" fmla="*/ 7821 h 7821"/>
                  <a:gd name="connsiteX4" fmla="*/ 1290 w 13474"/>
                  <a:gd name="connsiteY4" fmla="*/ 5571 h 7821"/>
                  <a:gd name="connsiteX5" fmla="*/ 0 w 13474"/>
                  <a:gd name="connsiteY5" fmla="*/ 2003 h 7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74" h="7821">
                    <a:moveTo>
                      <a:pt x="0" y="2003"/>
                    </a:moveTo>
                    <a:lnTo>
                      <a:pt x="1290" y="0"/>
                    </a:lnTo>
                    <a:lnTo>
                      <a:pt x="13474" y="3183"/>
                    </a:lnTo>
                    <a:lnTo>
                      <a:pt x="12678" y="7821"/>
                    </a:lnTo>
                    <a:lnTo>
                      <a:pt x="1290" y="5571"/>
                    </a:lnTo>
                    <a:lnTo>
                      <a:pt x="0" y="200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4" name="Freeform: Shape 4393">
                <a:extLst>
                  <a:ext uri="{FF2B5EF4-FFF2-40B4-BE49-F238E27FC236}">
                    <a16:creationId xmlns:a16="http://schemas.microsoft.com/office/drawing/2014/main" id="{9DFB1D0B-4887-04F8-217A-FE54AC487345}"/>
                  </a:ext>
                </a:extLst>
              </p:cNvPr>
              <p:cNvSpPr/>
              <p:nvPr/>
            </p:nvSpPr>
            <p:spPr>
              <a:xfrm>
                <a:off x="1662370" y="3471587"/>
                <a:ext cx="816" cy="1672"/>
              </a:xfrm>
              <a:custGeom>
                <a:avLst/>
                <a:gdLst>
                  <a:gd name="connsiteX0" fmla="*/ 0 w 7820"/>
                  <a:gd name="connsiteY0" fmla="*/ 7218 h 16026"/>
                  <a:gd name="connsiteX1" fmla="*/ 2222 w 7820"/>
                  <a:gd name="connsiteY1" fmla="*/ 0 h 16026"/>
                  <a:gd name="connsiteX2" fmla="*/ 2607 w 7820"/>
                  <a:gd name="connsiteY2" fmla="*/ 5050 h 16026"/>
                  <a:gd name="connsiteX3" fmla="*/ 6723 w 7820"/>
                  <a:gd name="connsiteY3" fmla="*/ 1015 h 16026"/>
                  <a:gd name="connsiteX4" fmla="*/ 7821 w 7820"/>
                  <a:gd name="connsiteY4" fmla="*/ 9303 h 16026"/>
                  <a:gd name="connsiteX5" fmla="*/ 5955 w 7820"/>
                  <a:gd name="connsiteY5" fmla="*/ 9440 h 16026"/>
                  <a:gd name="connsiteX6" fmla="*/ 4912 w 7820"/>
                  <a:gd name="connsiteY6" fmla="*/ 16027 h 16026"/>
                  <a:gd name="connsiteX7" fmla="*/ 604 w 7820"/>
                  <a:gd name="connsiteY7" fmla="*/ 11801 h 16026"/>
                  <a:gd name="connsiteX8" fmla="*/ 0 w 7820"/>
                  <a:gd name="connsiteY8" fmla="*/ 7245 h 1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20" h="16026">
                    <a:moveTo>
                      <a:pt x="0" y="7218"/>
                    </a:moveTo>
                    <a:lnTo>
                      <a:pt x="2222" y="0"/>
                    </a:lnTo>
                    <a:lnTo>
                      <a:pt x="2607" y="5050"/>
                    </a:lnTo>
                    <a:lnTo>
                      <a:pt x="6723" y="1015"/>
                    </a:lnTo>
                    <a:lnTo>
                      <a:pt x="7821" y="9303"/>
                    </a:lnTo>
                    <a:lnTo>
                      <a:pt x="5955" y="9440"/>
                    </a:lnTo>
                    <a:lnTo>
                      <a:pt x="4912" y="16027"/>
                    </a:lnTo>
                    <a:lnTo>
                      <a:pt x="604" y="11801"/>
                    </a:lnTo>
                    <a:lnTo>
                      <a:pt x="0" y="72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5" name="Freeform: Shape 4394">
                <a:extLst>
                  <a:ext uri="{FF2B5EF4-FFF2-40B4-BE49-F238E27FC236}">
                    <a16:creationId xmlns:a16="http://schemas.microsoft.com/office/drawing/2014/main" id="{F0D276CB-1AC3-8EC9-D074-379A259970D3}"/>
                  </a:ext>
                </a:extLst>
              </p:cNvPr>
              <p:cNvSpPr/>
              <p:nvPr/>
            </p:nvSpPr>
            <p:spPr>
              <a:xfrm>
                <a:off x="1620591" y="3498046"/>
                <a:ext cx="1113" cy="1053"/>
              </a:xfrm>
              <a:custGeom>
                <a:avLst/>
                <a:gdLst>
                  <a:gd name="connsiteX0" fmla="*/ 0 w 10675"/>
                  <a:gd name="connsiteY0" fmla="*/ 4528 h 10098"/>
                  <a:gd name="connsiteX1" fmla="*/ 2058 w 10675"/>
                  <a:gd name="connsiteY1" fmla="*/ 0 h 10098"/>
                  <a:gd name="connsiteX2" fmla="*/ 8782 w 10675"/>
                  <a:gd name="connsiteY2" fmla="*/ 906 h 10098"/>
                  <a:gd name="connsiteX3" fmla="*/ 10675 w 10675"/>
                  <a:gd name="connsiteY3" fmla="*/ 7300 h 10098"/>
                  <a:gd name="connsiteX4" fmla="*/ 8150 w 10675"/>
                  <a:gd name="connsiteY4" fmla="*/ 10099 h 10098"/>
                  <a:gd name="connsiteX5" fmla="*/ 2305 w 10675"/>
                  <a:gd name="connsiteY5" fmla="*/ 10099 h 10098"/>
                  <a:gd name="connsiteX6" fmla="*/ 0 w 10675"/>
                  <a:gd name="connsiteY6" fmla="*/ 4556 h 10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5" h="10098">
                    <a:moveTo>
                      <a:pt x="0" y="4528"/>
                    </a:moveTo>
                    <a:lnTo>
                      <a:pt x="2058" y="0"/>
                    </a:lnTo>
                    <a:lnTo>
                      <a:pt x="8782" y="906"/>
                    </a:lnTo>
                    <a:lnTo>
                      <a:pt x="10675" y="7300"/>
                    </a:lnTo>
                    <a:lnTo>
                      <a:pt x="8150" y="10099"/>
                    </a:lnTo>
                    <a:lnTo>
                      <a:pt x="2305" y="10099"/>
                    </a:lnTo>
                    <a:cubicBezTo>
                      <a:pt x="2305" y="10099"/>
                      <a:pt x="0" y="4556"/>
                      <a:pt x="0" y="4556"/>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6" name="Freeform: Shape 4395">
                <a:extLst>
                  <a:ext uri="{FF2B5EF4-FFF2-40B4-BE49-F238E27FC236}">
                    <a16:creationId xmlns:a16="http://schemas.microsoft.com/office/drawing/2014/main" id="{9A0D7912-54C0-A9C9-DA6A-6EFA1E394D55}"/>
                  </a:ext>
                </a:extLst>
              </p:cNvPr>
              <p:cNvSpPr/>
              <p:nvPr/>
            </p:nvSpPr>
            <p:spPr>
              <a:xfrm>
                <a:off x="1655014" y="3465613"/>
                <a:ext cx="607" cy="2069"/>
              </a:xfrm>
              <a:custGeom>
                <a:avLst/>
                <a:gdLst>
                  <a:gd name="connsiteX0" fmla="*/ 0 w 5818"/>
                  <a:gd name="connsiteY0" fmla="*/ 17481 h 19841"/>
                  <a:gd name="connsiteX1" fmla="*/ 1482 w 5818"/>
                  <a:gd name="connsiteY1" fmla="*/ 10017 h 19841"/>
                  <a:gd name="connsiteX2" fmla="*/ 2031 w 5818"/>
                  <a:gd name="connsiteY2" fmla="*/ 0 h 19841"/>
                  <a:gd name="connsiteX3" fmla="*/ 4638 w 5818"/>
                  <a:gd name="connsiteY3" fmla="*/ 274 h 19841"/>
                  <a:gd name="connsiteX4" fmla="*/ 5818 w 5818"/>
                  <a:gd name="connsiteY4" fmla="*/ 8837 h 19841"/>
                  <a:gd name="connsiteX5" fmla="*/ 3897 w 5818"/>
                  <a:gd name="connsiteY5" fmla="*/ 19841 h 19841"/>
                  <a:gd name="connsiteX6" fmla="*/ 27 w 5818"/>
                  <a:gd name="connsiteY6" fmla="*/ 17481 h 1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8" h="19841">
                    <a:moveTo>
                      <a:pt x="0" y="17481"/>
                    </a:moveTo>
                    <a:lnTo>
                      <a:pt x="1482" y="10017"/>
                    </a:lnTo>
                    <a:lnTo>
                      <a:pt x="2031" y="0"/>
                    </a:lnTo>
                    <a:lnTo>
                      <a:pt x="4638" y="274"/>
                    </a:lnTo>
                    <a:lnTo>
                      <a:pt x="5818" y="8837"/>
                    </a:lnTo>
                    <a:lnTo>
                      <a:pt x="3897" y="19841"/>
                    </a:lnTo>
                    <a:lnTo>
                      <a:pt x="27" y="174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7" name="Freeform: Shape 4396">
                <a:extLst>
                  <a:ext uri="{FF2B5EF4-FFF2-40B4-BE49-F238E27FC236}">
                    <a16:creationId xmlns:a16="http://schemas.microsoft.com/office/drawing/2014/main" id="{6DE33A40-54CB-AE0D-98F9-7C7BD06A5532}"/>
                  </a:ext>
                </a:extLst>
              </p:cNvPr>
              <p:cNvSpPr/>
              <p:nvPr/>
            </p:nvSpPr>
            <p:spPr>
              <a:xfrm>
                <a:off x="1495502" y="3566232"/>
                <a:ext cx="764" cy="939"/>
              </a:xfrm>
              <a:custGeom>
                <a:avLst/>
                <a:gdLst>
                  <a:gd name="connsiteX0" fmla="*/ 0 w 7327"/>
                  <a:gd name="connsiteY0" fmla="*/ 2552 h 9001"/>
                  <a:gd name="connsiteX1" fmla="*/ 2607 w 7327"/>
                  <a:gd name="connsiteY1" fmla="*/ 0 h 9001"/>
                  <a:gd name="connsiteX2" fmla="*/ 6559 w 7327"/>
                  <a:gd name="connsiteY2" fmla="*/ 3485 h 9001"/>
                  <a:gd name="connsiteX3" fmla="*/ 7327 w 7327"/>
                  <a:gd name="connsiteY3" fmla="*/ 9001 h 9001"/>
                  <a:gd name="connsiteX4" fmla="*/ 2031 w 7327"/>
                  <a:gd name="connsiteY4" fmla="*/ 6477 h 9001"/>
                  <a:gd name="connsiteX5" fmla="*/ 0 w 7327"/>
                  <a:gd name="connsiteY5" fmla="*/ 2552 h 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27" h="9001">
                    <a:moveTo>
                      <a:pt x="0" y="2552"/>
                    </a:moveTo>
                    <a:lnTo>
                      <a:pt x="2607" y="0"/>
                    </a:lnTo>
                    <a:lnTo>
                      <a:pt x="6559" y="3485"/>
                    </a:lnTo>
                    <a:lnTo>
                      <a:pt x="7327" y="9001"/>
                    </a:lnTo>
                    <a:lnTo>
                      <a:pt x="2031" y="6477"/>
                    </a:lnTo>
                    <a:lnTo>
                      <a:pt x="0" y="255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8" name="Freeform: Shape 4397">
                <a:extLst>
                  <a:ext uri="{FF2B5EF4-FFF2-40B4-BE49-F238E27FC236}">
                    <a16:creationId xmlns:a16="http://schemas.microsoft.com/office/drawing/2014/main" id="{D12D5AF8-5E1D-57BF-8BC9-C52FBFBE5382}"/>
                  </a:ext>
                </a:extLst>
              </p:cNvPr>
              <p:cNvSpPr/>
              <p:nvPr/>
            </p:nvSpPr>
            <p:spPr>
              <a:xfrm>
                <a:off x="1569367" y="3530316"/>
                <a:ext cx="555" cy="1540"/>
              </a:xfrm>
              <a:custGeom>
                <a:avLst/>
                <a:gdLst>
                  <a:gd name="connsiteX0" fmla="*/ 0 w 5324"/>
                  <a:gd name="connsiteY0" fmla="*/ 12926 h 14764"/>
                  <a:gd name="connsiteX1" fmla="*/ 3650 w 5324"/>
                  <a:gd name="connsiteY1" fmla="*/ 0 h 14764"/>
                  <a:gd name="connsiteX2" fmla="*/ 5324 w 5324"/>
                  <a:gd name="connsiteY2" fmla="*/ 1921 h 14764"/>
                  <a:gd name="connsiteX3" fmla="*/ 1564 w 5324"/>
                  <a:gd name="connsiteY3" fmla="*/ 14764 h 14764"/>
                  <a:gd name="connsiteX4" fmla="*/ 0 w 5324"/>
                  <a:gd name="connsiteY4" fmla="*/ 12926 h 1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 h="14764">
                    <a:moveTo>
                      <a:pt x="0" y="12926"/>
                    </a:moveTo>
                    <a:lnTo>
                      <a:pt x="3650" y="0"/>
                    </a:lnTo>
                    <a:lnTo>
                      <a:pt x="5324" y="1921"/>
                    </a:lnTo>
                    <a:lnTo>
                      <a:pt x="1564" y="14764"/>
                    </a:lnTo>
                    <a:lnTo>
                      <a:pt x="0" y="129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399" name="Freeform: Shape 4398">
                <a:extLst>
                  <a:ext uri="{FF2B5EF4-FFF2-40B4-BE49-F238E27FC236}">
                    <a16:creationId xmlns:a16="http://schemas.microsoft.com/office/drawing/2014/main" id="{5859AF03-8571-00E5-3381-7FA6665B537B}"/>
                  </a:ext>
                </a:extLst>
              </p:cNvPr>
              <p:cNvSpPr/>
              <p:nvPr/>
            </p:nvSpPr>
            <p:spPr>
              <a:xfrm>
                <a:off x="1658887" y="3465856"/>
                <a:ext cx="604" cy="1772"/>
              </a:xfrm>
              <a:custGeom>
                <a:avLst/>
                <a:gdLst>
                  <a:gd name="connsiteX0" fmla="*/ 5050 w 5790"/>
                  <a:gd name="connsiteY0" fmla="*/ 14380 h 16987"/>
                  <a:gd name="connsiteX1" fmla="*/ 768 w 5790"/>
                  <a:gd name="connsiteY1" fmla="*/ 16987 h 16987"/>
                  <a:gd name="connsiteX2" fmla="*/ 0 w 5790"/>
                  <a:gd name="connsiteY2" fmla="*/ 11142 h 16987"/>
                  <a:gd name="connsiteX3" fmla="*/ 1647 w 5790"/>
                  <a:gd name="connsiteY3" fmla="*/ 0 h 16987"/>
                  <a:gd name="connsiteX4" fmla="*/ 5791 w 5790"/>
                  <a:gd name="connsiteY4" fmla="*/ 7821 h 16987"/>
                  <a:gd name="connsiteX5" fmla="*/ 5077 w 5790"/>
                  <a:gd name="connsiteY5" fmla="*/ 14353 h 1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0" h="16987">
                    <a:moveTo>
                      <a:pt x="5050" y="14380"/>
                    </a:moveTo>
                    <a:lnTo>
                      <a:pt x="768" y="16987"/>
                    </a:lnTo>
                    <a:lnTo>
                      <a:pt x="0" y="11142"/>
                    </a:lnTo>
                    <a:lnTo>
                      <a:pt x="1647" y="0"/>
                    </a:lnTo>
                    <a:lnTo>
                      <a:pt x="5791" y="7821"/>
                    </a:lnTo>
                    <a:lnTo>
                      <a:pt x="5077" y="1435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0" name="Freeform: Shape 4399">
                <a:extLst>
                  <a:ext uri="{FF2B5EF4-FFF2-40B4-BE49-F238E27FC236}">
                    <a16:creationId xmlns:a16="http://schemas.microsoft.com/office/drawing/2014/main" id="{8764FDE9-50E6-67C7-D911-020443DEC11E}"/>
                  </a:ext>
                </a:extLst>
              </p:cNvPr>
              <p:cNvSpPr/>
              <p:nvPr/>
            </p:nvSpPr>
            <p:spPr>
              <a:xfrm>
                <a:off x="1657000" y="3466706"/>
                <a:ext cx="681" cy="1551"/>
              </a:xfrm>
              <a:custGeom>
                <a:avLst/>
                <a:gdLst>
                  <a:gd name="connsiteX0" fmla="*/ 0 w 6531"/>
                  <a:gd name="connsiteY0" fmla="*/ 9248 h 14874"/>
                  <a:gd name="connsiteX1" fmla="*/ 3649 w 6531"/>
                  <a:gd name="connsiteY1" fmla="*/ 0 h 14874"/>
                  <a:gd name="connsiteX2" fmla="*/ 6531 w 6531"/>
                  <a:gd name="connsiteY2" fmla="*/ 5379 h 14874"/>
                  <a:gd name="connsiteX3" fmla="*/ 5763 w 6531"/>
                  <a:gd name="connsiteY3" fmla="*/ 10264 h 14874"/>
                  <a:gd name="connsiteX4" fmla="*/ 2058 w 6531"/>
                  <a:gd name="connsiteY4" fmla="*/ 9687 h 14874"/>
                  <a:gd name="connsiteX5" fmla="*/ 2058 w 6531"/>
                  <a:gd name="connsiteY5" fmla="*/ 14874 h 14874"/>
                  <a:gd name="connsiteX6" fmla="*/ 27 w 6531"/>
                  <a:gd name="connsiteY6" fmla="*/ 9248 h 14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14874">
                    <a:moveTo>
                      <a:pt x="0" y="9248"/>
                    </a:moveTo>
                    <a:lnTo>
                      <a:pt x="3649" y="0"/>
                    </a:lnTo>
                    <a:lnTo>
                      <a:pt x="6531" y="5379"/>
                    </a:lnTo>
                    <a:lnTo>
                      <a:pt x="5763" y="10264"/>
                    </a:lnTo>
                    <a:lnTo>
                      <a:pt x="2058" y="9687"/>
                    </a:lnTo>
                    <a:lnTo>
                      <a:pt x="2058" y="14874"/>
                    </a:lnTo>
                    <a:lnTo>
                      <a:pt x="27" y="92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1" name="Freeform: Shape 4400">
                <a:extLst>
                  <a:ext uri="{FF2B5EF4-FFF2-40B4-BE49-F238E27FC236}">
                    <a16:creationId xmlns:a16="http://schemas.microsoft.com/office/drawing/2014/main" id="{A7897E12-16CE-5308-16EE-ED0A8C9DDC76}"/>
                  </a:ext>
                </a:extLst>
              </p:cNvPr>
              <p:cNvSpPr/>
              <p:nvPr/>
            </p:nvSpPr>
            <p:spPr>
              <a:xfrm>
                <a:off x="1516789" y="3414609"/>
                <a:ext cx="907" cy="1523"/>
              </a:xfrm>
              <a:custGeom>
                <a:avLst/>
                <a:gdLst>
                  <a:gd name="connsiteX0" fmla="*/ 8617 w 8699"/>
                  <a:gd name="connsiteY0" fmla="*/ 12240 h 14599"/>
                  <a:gd name="connsiteX1" fmla="*/ 1976 w 8699"/>
                  <a:gd name="connsiteY1" fmla="*/ 14600 h 14599"/>
                  <a:gd name="connsiteX2" fmla="*/ 0 w 8699"/>
                  <a:gd name="connsiteY2" fmla="*/ 6998 h 14599"/>
                  <a:gd name="connsiteX3" fmla="*/ 2031 w 8699"/>
                  <a:gd name="connsiteY3" fmla="*/ 0 h 14599"/>
                  <a:gd name="connsiteX4" fmla="*/ 8699 w 8699"/>
                  <a:gd name="connsiteY4" fmla="*/ 5626 h 14599"/>
                  <a:gd name="connsiteX5" fmla="*/ 8617 w 8699"/>
                  <a:gd name="connsiteY5" fmla="*/ 12267 h 1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99" h="14599">
                    <a:moveTo>
                      <a:pt x="8617" y="12240"/>
                    </a:moveTo>
                    <a:lnTo>
                      <a:pt x="1976" y="14600"/>
                    </a:lnTo>
                    <a:lnTo>
                      <a:pt x="0" y="6998"/>
                    </a:lnTo>
                    <a:lnTo>
                      <a:pt x="2031" y="0"/>
                    </a:lnTo>
                    <a:lnTo>
                      <a:pt x="8699" y="5626"/>
                    </a:lnTo>
                    <a:lnTo>
                      <a:pt x="8617" y="122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2" name="Freeform: Shape 4401">
                <a:extLst>
                  <a:ext uri="{FF2B5EF4-FFF2-40B4-BE49-F238E27FC236}">
                    <a16:creationId xmlns:a16="http://schemas.microsoft.com/office/drawing/2014/main" id="{59DBCBDB-29C2-1F31-33E9-968BA6CEEBFF}"/>
                  </a:ext>
                </a:extLst>
              </p:cNvPr>
              <p:cNvSpPr/>
              <p:nvPr/>
            </p:nvSpPr>
            <p:spPr>
              <a:xfrm>
                <a:off x="1545238" y="3416595"/>
                <a:ext cx="804" cy="1646"/>
              </a:xfrm>
              <a:custGeom>
                <a:avLst/>
                <a:gdLst>
                  <a:gd name="connsiteX0" fmla="*/ 0 w 7710"/>
                  <a:gd name="connsiteY0" fmla="*/ 4501 h 15779"/>
                  <a:gd name="connsiteX1" fmla="*/ 1043 w 7710"/>
                  <a:gd name="connsiteY1" fmla="*/ 0 h 15779"/>
                  <a:gd name="connsiteX2" fmla="*/ 7711 w 7710"/>
                  <a:gd name="connsiteY2" fmla="*/ 9660 h 15779"/>
                  <a:gd name="connsiteX3" fmla="*/ 7382 w 7710"/>
                  <a:gd name="connsiteY3" fmla="*/ 15780 h 15779"/>
                  <a:gd name="connsiteX4" fmla="*/ 2332 w 7710"/>
                  <a:gd name="connsiteY4" fmla="*/ 13475 h 15779"/>
                  <a:gd name="connsiteX5" fmla="*/ 0 w 7710"/>
                  <a:gd name="connsiteY5" fmla="*/ 4501 h 1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0" h="15779">
                    <a:moveTo>
                      <a:pt x="0" y="4501"/>
                    </a:moveTo>
                    <a:lnTo>
                      <a:pt x="1043" y="0"/>
                    </a:lnTo>
                    <a:lnTo>
                      <a:pt x="7711" y="9660"/>
                    </a:lnTo>
                    <a:lnTo>
                      <a:pt x="7382" y="15780"/>
                    </a:lnTo>
                    <a:lnTo>
                      <a:pt x="2332" y="13475"/>
                    </a:lnTo>
                    <a:lnTo>
                      <a:pt x="0" y="45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3" name="Freeform: Shape 4402">
                <a:extLst>
                  <a:ext uri="{FF2B5EF4-FFF2-40B4-BE49-F238E27FC236}">
                    <a16:creationId xmlns:a16="http://schemas.microsoft.com/office/drawing/2014/main" id="{8E5E5F41-41FD-1966-9442-E5271E308189}"/>
                  </a:ext>
                </a:extLst>
              </p:cNvPr>
              <p:cNvSpPr/>
              <p:nvPr/>
            </p:nvSpPr>
            <p:spPr>
              <a:xfrm>
                <a:off x="1530780" y="3548311"/>
                <a:ext cx="1045" cy="607"/>
              </a:xfrm>
              <a:custGeom>
                <a:avLst/>
                <a:gdLst>
                  <a:gd name="connsiteX0" fmla="*/ 0 w 10016"/>
                  <a:gd name="connsiteY0" fmla="*/ 4418 h 5818"/>
                  <a:gd name="connsiteX1" fmla="*/ 521 w 10016"/>
                  <a:gd name="connsiteY1" fmla="*/ 2662 h 5818"/>
                  <a:gd name="connsiteX2" fmla="*/ 9907 w 10016"/>
                  <a:gd name="connsiteY2" fmla="*/ 0 h 5818"/>
                  <a:gd name="connsiteX3" fmla="*/ 10016 w 10016"/>
                  <a:gd name="connsiteY3" fmla="*/ 3156 h 5818"/>
                  <a:gd name="connsiteX4" fmla="*/ 631 w 10016"/>
                  <a:gd name="connsiteY4" fmla="*/ 5818 h 5818"/>
                  <a:gd name="connsiteX5" fmla="*/ 27 w 10016"/>
                  <a:gd name="connsiteY5" fmla="*/ 4391 h 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6" h="5818">
                    <a:moveTo>
                      <a:pt x="0" y="4418"/>
                    </a:moveTo>
                    <a:lnTo>
                      <a:pt x="521" y="2662"/>
                    </a:lnTo>
                    <a:lnTo>
                      <a:pt x="9907" y="0"/>
                    </a:lnTo>
                    <a:lnTo>
                      <a:pt x="10016" y="3156"/>
                    </a:lnTo>
                    <a:lnTo>
                      <a:pt x="631" y="5818"/>
                    </a:lnTo>
                    <a:lnTo>
                      <a:pt x="27" y="439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4" name="Freeform: Shape 4403">
                <a:extLst>
                  <a:ext uri="{FF2B5EF4-FFF2-40B4-BE49-F238E27FC236}">
                    <a16:creationId xmlns:a16="http://schemas.microsoft.com/office/drawing/2014/main" id="{D3D4B7DD-88DC-BB84-D722-522345F4897F}"/>
                  </a:ext>
                </a:extLst>
              </p:cNvPr>
              <p:cNvSpPr/>
              <p:nvPr/>
            </p:nvSpPr>
            <p:spPr>
              <a:xfrm>
                <a:off x="1624561" y="3493898"/>
                <a:ext cx="796" cy="1059"/>
              </a:xfrm>
              <a:custGeom>
                <a:avLst/>
                <a:gdLst>
                  <a:gd name="connsiteX0" fmla="*/ 0 w 7629"/>
                  <a:gd name="connsiteY0" fmla="*/ 5544 h 10153"/>
                  <a:gd name="connsiteX1" fmla="*/ 494 w 7629"/>
                  <a:gd name="connsiteY1" fmla="*/ 3129 h 10153"/>
                  <a:gd name="connsiteX2" fmla="*/ 7629 w 7629"/>
                  <a:gd name="connsiteY2" fmla="*/ 0 h 10153"/>
                  <a:gd name="connsiteX3" fmla="*/ 7300 w 7629"/>
                  <a:gd name="connsiteY3" fmla="*/ 10154 h 10153"/>
                  <a:gd name="connsiteX4" fmla="*/ 2168 w 7629"/>
                  <a:gd name="connsiteY4" fmla="*/ 8946 h 10153"/>
                  <a:gd name="connsiteX5" fmla="*/ 0 w 7629"/>
                  <a:gd name="connsiteY5" fmla="*/ 5571 h 10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9" h="10153">
                    <a:moveTo>
                      <a:pt x="0" y="5544"/>
                    </a:moveTo>
                    <a:lnTo>
                      <a:pt x="494" y="3129"/>
                    </a:lnTo>
                    <a:lnTo>
                      <a:pt x="7629" y="0"/>
                    </a:lnTo>
                    <a:lnTo>
                      <a:pt x="7300" y="10154"/>
                    </a:lnTo>
                    <a:lnTo>
                      <a:pt x="2168" y="8946"/>
                    </a:lnTo>
                    <a:lnTo>
                      <a:pt x="0" y="55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5" name="Freeform: Shape 4404">
                <a:extLst>
                  <a:ext uri="{FF2B5EF4-FFF2-40B4-BE49-F238E27FC236}">
                    <a16:creationId xmlns:a16="http://schemas.microsoft.com/office/drawing/2014/main" id="{9DABD0E3-1A4A-DD21-932E-7C4A76528A51}"/>
                  </a:ext>
                </a:extLst>
              </p:cNvPr>
              <p:cNvSpPr/>
              <p:nvPr/>
            </p:nvSpPr>
            <p:spPr>
              <a:xfrm>
                <a:off x="1672139" y="3421155"/>
                <a:ext cx="544" cy="2258"/>
              </a:xfrm>
              <a:custGeom>
                <a:avLst/>
                <a:gdLst>
                  <a:gd name="connsiteX0" fmla="*/ 0 w 5214"/>
                  <a:gd name="connsiteY0" fmla="*/ 18716 h 21652"/>
                  <a:gd name="connsiteX1" fmla="*/ 3403 w 5214"/>
                  <a:gd name="connsiteY1" fmla="*/ 0 h 21652"/>
                  <a:gd name="connsiteX2" fmla="*/ 5215 w 5214"/>
                  <a:gd name="connsiteY2" fmla="*/ 3375 h 21652"/>
                  <a:gd name="connsiteX3" fmla="*/ 1126 w 5214"/>
                  <a:gd name="connsiteY3" fmla="*/ 21652 h 21652"/>
                  <a:gd name="connsiteX4" fmla="*/ 0 w 5214"/>
                  <a:gd name="connsiteY4" fmla="*/ 18716 h 21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4" h="21652">
                    <a:moveTo>
                      <a:pt x="0" y="18716"/>
                    </a:moveTo>
                    <a:lnTo>
                      <a:pt x="3403" y="0"/>
                    </a:lnTo>
                    <a:lnTo>
                      <a:pt x="5215" y="3375"/>
                    </a:lnTo>
                    <a:lnTo>
                      <a:pt x="1126" y="21652"/>
                    </a:lnTo>
                    <a:lnTo>
                      <a:pt x="0" y="187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6" name="Freeform: Shape 4405">
                <a:extLst>
                  <a:ext uri="{FF2B5EF4-FFF2-40B4-BE49-F238E27FC236}">
                    <a16:creationId xmlns:a16="http://schemas.microsoft.com/office/drawing/2014/main" id="{1F47014C-0E4F-FB2D-90A6-2C0316A71943}"/>
                  </a:ext>
                </a:extLst>
              </p:cNvPr>
              <p:cNvSpPr/>
              <p:nvPr/>
            </p:nvSpPr>
            <p:spPr>
              <a:xfrm>
                <a:off x="1664165" y="3465779"/>
                <a:ext cx="358" cy="2476"/>
              </a:xfrm>
              <a:custGeom>
                <a:avLst/>
                <a:gdLst>
                  <a:gd name="connsiteX0" fmla="*/ 2277 w 3430"/>
                  <a:gd name="connsiteY0" fmla="*/ 10044 h 23738"/>
                  <a:gd name="connsiteX1" fmla="*/ 2881 w 3430"/>
                  <a:gd name="connsiteY1" fmla="*/ 21845 h 23738"/>
                  <a:gd name="connsiteX2" fmla="*/ 1784 w 3430"/>
                  <a:gd name="connsiteY2" fmla="*/ 23738 h 23738"/>
                  <a:gd name="connsiteX3" fmla="*/ 164 w 3430"/>
                  <a:gd name="connsiteY3" fmla="*/ 12761 h 23738"/>
                  <a:gd name="connsiteX4" fmla="*/ 0 w 3430"/>
                  <a:gd name="connsiteY4" fmla="*/ 3156 h 23738"/>
                  <a:gd name="connsiteX5" fmla="*/ 3430 w 3430"/>
                  <a:gd name="connsiteY5" fmla="*/ 0 h 23738"/>
                  <a:gd name="connsiteX6" fmla="*/ 2277 w 3430"/>
                  <a:gd name="connsiteY6" fmla="*/ 10072 h 2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0" h="23738">
                    <a:moveTo>
                      <a:pt x="2277" y="10044"/>
                    </a:moveTo>
                    <a:lnTo>
                      <a:pt x="2881" y="21845"/>
                    </a:lnTo>
                    <a:lnTo>
                      <a:pt x="1784" y="23738"/>
                    </a:lnTo>
                    <a:lnTo>
                      <a:pt x="164" y="12761"/>
                    </a:lnTo>
                    <a:lnTo>
                      <a:pt x="0" y="3156"/>
                    </a:lnTo>
                    <a:lnTo>
                      <a:pt x="3430" y="0"/>
                    </a:lnTo>
                    <a:lnTo>
                      <a:pt x="2277" y="100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7" name="Freeform: Shape 4406">
                <a:extLst>
                  <a:ext uri="{FF2B5EF4-FFF2-40B4-BE49-F238E27FC236}">
                    <a16:creationId xmlns:a16="http://schemas.microsoft.com/office/drawing/2014/main" id="{AA4DFC21-62FA-3E6A-4EF8-586608DEE0B0}"/>
                  </a:ext>
                </a:extLst>
              </p:cNvPr>
              <p:cNvSpPr/>
              <p:nvPr/>
            </p:nvSpPr>
            <p:spPr>
              <a:xfrm>
                <a:off x="1689914" y="3458517"/>
                <a:ext cx="581" cy="1571"/>
              </a:xfrm>
              <a:custGeom>
                <a:avLst/>
                <a:gdLst>
                  <a:gd name="connsiteX0" fmla="*/ 4693 w 5571"/>
                  <a:gd name="connsiteY0" fmla="*/ 12240 h 15066"/>
                  <a:gd name="connsiteX1" fmla="*/ 2086 w 5571"/>
                  <a:gd name="connsiteY1" fmla="*/ 15066 h 15066"/>
                  <a:gd name="connsiteX2" fmla="*/ 0 w 5571"/>
                  <a:gd name="connsiteY2" fmla="*/ 6861 h 15066"/>
                  <a:gd name="connsiteX3" fmla="*/ 356 w 5571"/>
                  <a:gd name="connsiteY3" fmla="*/ 2635 h 15066"/>
                  <a:gd name="connsiteX4" fmla="*/ 5571 w 5571"/>
                  <a:gd name="connsiteY4" fmla="*/ 0 h 15066"/>
                  <a:gd name="connsiteX5" fmla="*/ 4720 w 5571"/>
                  <a:gd name="connsiteY5" fmla="*/ 12240 h 1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1" h="15066">
                    <a:moveTo>
                      <a:pt x="4693" y="12240"/>
                    </a:moveTo>
                    <a:lnTo>
                      <a:pt x="2086" y="15066"/>
                    </a:lnTo>
                    <a:lnTo>
                      <a:pt x="0" y="6861"/>
                    </a:lnTo>
                    <a:lnTo>
                      <a:pt x="356" y="2635"/>
                    </a:lnTo>
                    <a:lnTo>
                      <a:pt x="5571" y="0"/>
                    </a:lnTo>
                    <a:lnTo>
                      <a:pt x="4720" y="122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8" name="Freeform: Shape 4407">
                <a:extLst>
                  <a:ext uri="{FF2B5EF4-FFF2-40B4-BE49-F238E27FC236}">
                    <a16:creationId xmlns:a16="http://schemas.microsoft.com/office/drawing/2014/main" id="{88536F97-3EE1-25AB-EE71-68C58CF4A1E8}"/>
                  </a:ext>
                </a:extLst>
              </p:cNvPr>
              <p:cNvSpPr/>
              <p:nvPr/>
            </p:nvSpPr>
            <p:spPr>
              <a:xfrm>
                <a:off x="1608684" y="3492647"/>
                <a:ext cx="675" cy="1119"/>
              </a:xfrm>
              <a:custGeom>
                <a:avLst/>
                <a:gdLst>
                  <a:gd name="connsiteX0" fmla="*/ 27 w 6476"/>
                  <a:gd name="connsiteY0" fmla="*/ 7410 h 10730"/>
                  <a:gd name="connsiteX1" fmla="*/ 2662 w 6476"/>
                  <a:gd name="connsiteY1" fmla="*/ 0 h 10730"/>
                  <a:gd name="connsiteX2" fmla="*/ 6476 w 6476"/>
                  <a:gd name="connsiteY2" fmla="*/ 1564 h 10730"/>
                  <a:gd name="connsiteX3" fmla="*/ 5873 w 6476"/>
                  <a:gd name="connsiteY3" fmla="*/ 10730 h 10730"/>
                  <a:gd name="connsiteX4" fmla="*/ 466 w 6476"/>
                  <a:gd name="connsiteY4" fmla="*/ 9715 h 10730"/>
                  <a:gd name="connsiteX5" fmla="*/ 0 w 6476"/>
                  <a:gd name="connsiteY5" fmla="*/ 7437 h 10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6" h="10730">
                    <a:moveTo>
                      <a:pt x="27" y="7410"/>
                    </a:moveTo>
                    <a:lnTo>
                      <a:pt x="2662" y="0"/>
                    </a:lnTo>
                    <a:lnTo>
                      <a:pt x="6476" y="1564"/>
                    </a:lnTo>
                    <a:lnTo>
                      <a:pt x="5873" y="10730"/>
                    </a:lnTo>
                    <a:lnTo>
                      <a:pt x="466" y="9715"/>
                    </a:lnTo>
                    <a:lnTo>
                      <a:pt x="0"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09" name="Freeform: Shape 4408">
                <a:extLst>
                  <a:ext uri="{FF2B5EF4-FFF2-40B4-BE49-F238E27FC236}">
                    <a16:creationId xmlns:a16="http://schemas.microsoft.com/office/drawing/2014/main" id="{55A051D7-A90B-0D53-F7DF-98B50BFB8C21}"/>
                  </a:ext>
                </a:extLst>
              </p:cNvPr>
              <p:cNvSpPr/>
              <p:nvPr/>
            </p:nvSpPr>
            <p:spPr>
              <a:xfrm>
                <a:off x="1668098" y="3438275"/>
                <a:ext cx="504" cy="1986"/>
              </a:xfrm>
              <a:custGeom>
                <a:avLst/>
                <a:gdLst>
                  <a:gd name="connsiteX0" fmla="*/ 2305 w 4829"/>
                  <a:gd name="connsiteY0" fmla="*/ 11800 h 19045"/>
                  <a:gd name="connsiteX1" fmla="*/ 2031 w 4829"/>
                  <a:gd name="connsiteY1" fmla="*/ 19045 h 19045"/>
                  <a:gd name="connsiteX2" fmla="*/ 0 w 4829"/>
                  <a:gd name="connsiteY2" fmla="*/ 11169 h 19045"/>
                  <a:gd name="connsiteX3" fmla="*/ 2772 w 4829"/>
                  <a:gd name="connsiteY3" fmla="*/ 0 h 19045"/>
                  <a:gd name="connsiteX4" fmla="*/ 4830 w 4829"/>
                  <a:gd name="connsiteY4" fmla="*/ 3732 h 19045"/>
                  <a:gd name="connsiteX5" fmla="*/ 2305 w 4829"/>
                  <a:gd name="connsiteY5" fmla="*/ 11800 h 1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9" h="19045">
                    <a:moveTo>
                      <a:pt x="2305" y="11800"/>
                    </a:moveTo>
                    <a:lnTo>
                      <a:pt x="2031" y="19045"/>
                    </a:lnTo>
                    <a:lnTo>
                      <a:pt x="0" y="11169"/>
                    </a:lnTo>
                    <a:lnTo>
                      <a:pt x="2772" y="0"/>
                    </a:lnTo>
                    <a:lnTo>
                      <a:pt x="4830" y="3732"/>
                    </a:lnTo>
                    <a:lnTo>
                      <a:pt x="2305" y="118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0" name="Freeform: Shape 4409">
                <a:extLst>
                  <a:ext uri="{FF2B5EF4-FFF2-40B4-BE49-F238E27FC236}">
                    <a16:creationId xmlns:a16="http://schemas.microsoft.com/office/drawing/2014/main" id="{012C5085-802E-B317-D86F-31D72A420012}"/>
                  </a:ext>
                </a:extLst>
              </p:cNvPr>
              <p:cNvSpPr/>
              <p:nvPr/>
            </p:nvSpPr>
            <p:spPr>
              <a:xfrm>
                <a:off x="1514293" y="3685884"/>
                <a:ext cx="444" cy="635"/>
              </a:xfrm>
              <a:custGeom>
                <a:avLst/>
                <a:gdLst>
                  <a:gd name="connsiteX0" fmla="*/ 27 w 4253"/>
                  <a:gd name="connsiteY0" fmla="*/ 714 h 6092"/>
                  <a:gd name="connsiteX1" fmla="*/ 714 w 4253"/>
                  <a:gd name="connsiteY1" fmla="*/ 0 h 6092"/>
                  <a:gd name="connsiteX2" fmla="*/ 4254 w 4253"/>
                  <a:gd name="connsiteY2" fmla="*/ 3842 h 6092"/>
                  <a:gd name="connsiteX3" fmla="*/ 2827 w 4253"/>
                  <a:gd name="connsiteY3" fmla="*/ 6092 h 6092"/>
                  <a:gd name="connsiteX4" fmla="*/ 1729 w 4253"/>
                  <a:gd name="connsiteY4" fmla="*/ 5296 h 6092"/>
                  <a:gd name="connsiteX5" fmla="*/ 0 w 4253"/>
                  <a:gd name="connsiteY5" fmla="*/ 741 h 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3" h="6092">
                    <a:moveTo>
                      <a:pt x="27" y="714"/>
                    </a:moveTo>
                    <a:lnTo>
                      <a:pt x="714" y="0"/>
                    </a:lnTo>
                    <a:lnTo>
                      <a:pt x="4254" y="3842"/>
                    </a:lnTo>
                    <a:lnTo>
                      <a:pt x="2827" y="6092"/>
                    </a:lnTo>
                    <a:lnTo>
                      <a:pt x="1729" y="5296"/>
                    </a:lnTo>
                    <a:lnTo>
                      <a:pt x="0" y="7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1" name="Freeform: Shape 4410">
                <a:extLst>
                  <a:ext uri="{FF2B5EF4-FFF2-40B4-BE49-F238E27FC236}">
                    <a16:creationId xmlns:a16="http://schemas.microsoft.com/office/drawing/2014/main" id="{D61E5C07-0ADC-DA14-838B-9115869C9A48}"/>
                  </a:ext>
                </a:extLst>
              </p:cNvPr>
              <p:cNvSpPr/>
              <p:nvPr/>
            </p:nvSpPr>
            <p:spPr>
              <a:xfrm>
                <a:off x="1692382" y="3456179"/>
                <a:ext cx="730" cy="1171"/>
              </a:xfrm>
              <a:custGeom>
                <a:avLst/>
                <a:gdLst>
                  <a:gd name="connsiteX0" fmla="*/ 6778 w 6998"/>
                  <a:gd name="connsiteY0" fmla="*/ 5516 h 11224"/>
                  <a:gd name="connsiteX1" fmla="*/ 4281 w 6998"/>
                  <a:gd name="connsiteY1" fmla="*/ 11224 h 11224"/>
                  <a:gd name="connsiteX2" fmla="*/ 796 w 6998"/>
                  <a:gd name="connsiteY2" fmla="*/ 10620 h 11224"/>
                  <a:gd name="connsiteX3" fmla="*/ 0 w 6998"/>
                  <a:gd name="connsiteY3" fmla="*/ 6916 h 11224"/>
                  <a:gd name="connsiteX4" fmla="*/ 3705 w 6998"/>
                  <a:gd name="connsiteY4" fmla="*/ 357 h 11224"/>
                  <a:gd name="connsiteX5" fmla="*/ 6998 w 6998"/>
                  <a:gd name="connsiteY5" fmla="*/ 0 h 11224"/>
                  <a:gd name="connsiteX6" fmla="*/ 6778 w 6998"/>
                  <a:gd name="connsiteY6" fmla="*/ 5543 h 1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8" h="11224">
                    <a:moveTo>
                      <a:pt x="6778" y="5516"/>
                    </a:moveTo>
                    <a:lnTo>
                      <a:pt x="4281" y="11224"/>
                    </a:lnTo>
                    <a:lnTo>
                      <a:pt x="796" y="10620"/>
                    </a:lnTo>
                    <a:lnTo>
                      <a:pt x="0" y="6916"/>
                    </a:lnTo>
                    <a:lnTo>
                      <a:pt x="3705" y="357"/>
                    </a:lnTo>
                    <a:lnTo>
                      <a:pt x="6998" y="0"/>
                    </a:lnTo>
                    <a:lnTo>
                      <a:pt x="6778" y="55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2" name="Freeform: Shape 4411">
                <a:extLst>
                  <a:ext uri="{FF2B5EF4-FFF2-40B4-BE49-F238E27FC236}">
                    <a16:creationId xmlns:a16="http://schemas.microsoft.com/office/drawing/2014/main" id="{63635144-6B04-AB9D-EC7D-B24227F1B64E}"/>
                  </a:ext>
                </a:extLst>
              </p:cNvPr>
              <p:cNvSpPr/>
              <p:nvPr/>
            </p:nvSpPr>
            <p:spPr>
              <a:xfrm>
                <a:off x="1546909" y="3546047"/>
                <a:ext cx="384" cy="1291"/>
              </a:xfrm>
              <a:custGeom>
                <a:avLst/>
                <a:gdLst>
                  <a:gd name="connsiteX0" fmla="*/ 0 w 3677"/>
                  <a:gd name="connsiteY0" fmla="*/ 0 h 12376"/>
                  <a:gd name="connsiteX1" fmla="*/ 3430 w 3677"/>
                  <a:gd name="connsiteY1" fmla="*/ 1290 h 12376"/>
                  <a:gd name="connsiteX2" fmla="*/ 3678 w 3677"/>
                  <a:gd name="connsiteY2" fmla="*/ 12377 h 12376"/>
                  <a:gd name="connsiteX3" fmla="*/ 1948 w 3677"/>
                  <a:gd name="connsiteY3" fmla="*/ 9578 h 12376"/>
                  <a:gd name="connsiteX4" fmla="*/ 0 w 3677"/>
                  <a:gd name="connsiteY4" fmla="*/ 0 h 12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7" h="12376">
                    <a:moveTo>
                      <a:pt x="0" y="0"/>
                    </a:moveTo>
                    <a:lnTo>
                      <a:pt x="3430" y="1290"/>
                    </a:lnTo>
                    <a:lnTo>
                      <a:pt x="3678" y="12377"/>
                    </a:lnTo>
                    <a:lnTo>
                      <a:pt x="1948" y="9578"/>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3" name="Freeform: Shape 4412">
                <a:extLst>
                  <a:ext uri="{FF2B5EF4-FFF2-40B4-BE49-F238E27FC236}">
                    <a16:creationId xmlns:a16="http://schemas.microsoft.com/office/drawing/2014/main" id="{0C1BFC37-90F0-4FAF-589B-642D94F0641E}"/>
                  </a:ext>
                </a:extLst>
              </p:cNvPr>
              <p:cNvSpPr/>
              <p:nvPr/>
            </p:nvSpPr>
            <p:spPr>
              <a:xfrm>
                <a:off x="1660172" y="3463552"/>
                <a:ext cx="827" cy="933"/>
              </a:xfrm>
              <a:custGeom>
                <a:avLst/>
                <a:gdLst>
                  <a:gd name="connsiteX0" fmla="*/ 0 w 7931"/>
                  <a:gd name="connsiteY0" fmla="*/ 5736 h 8946"/>
                  <a:gd name="connsiteX1" fmla="*/ 3156 w 7931"/>
                  <a:gd name="connsiteY1" fmla="*/ 0 h 8946"/>
                  <a:gd name="connsiteX2" fmla="*/ 7602 w 7931"/>
                  <a:gd name="connsiteY2" fmla="*/ 1839 h 8946"/>
                  <a:gd name="connsiteX3" fmla="*/ 7931 w 7931"/>
                  <a:gd name="connsiteY3" fmla="*/ 6888 h 8946"/>
                  <a:gd name="connsiteX4" fmla="*/ 659 w 7931"/>
                  <a:gd name="connsiteY4" fmla="*/ 8946 h 8946"/>
                  <a:gd name="connsiteX5" fmla="*/ 0 w 7931"/>
                  <a:gd name="connsiteY5" fmla="*/ 5736 h 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1" h="8946">
                    <a:moveTo>
                      <a:pt x="0" y="5736"/>
                    </a:moveTo>
                    <a:lnTo>
                      <a:pt x="3156" y="0"/>
                    </a:lnTo>
                    <a:lnTo>
                      <a:pt x="7602" y="1839"/>
                    </a:lnTo>
                    <a:lnTo>
                      <a:pt x="7931" y="6888"/>
                    </a:lnTo>
                    <a:lnTo>
                      <a:pt x="659" y="8946"/>
                    </a:lnTo>
                    <a:lnTo>
                      <a:pt x="0" y="57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4" name="Freeform: Shape 4413">
                <a:extLst>
                  <a:ext uri="{FF2B5EF4-FFF2-40B4-BE49-F238E27FC236}">
                    <a16:creationId xmlns:a16="http://schemas.microsoft.com/office/drawing/2014/main" id="{1C36D3E7-84B0-271C-B3CB-228D8E6811A0}"/>
                  </a:ext>
                </a:extLst>
              </p:cNvPr>
              <p:cNvSpPr/>
              <p:nvPr/>
            </p:nvSpPr>
            <p:spPr>
              <a:xfrm>
                <a:off x="1625469" y="3493131"/>
                <a:ext cx="561" cy="1148"/>
              </a:xfrm>
              <a:custGeom>
                <a:avLst/>
                <a:gdLst>
                  <a:gd name="connsiteX0" fmla="*/ 27 w 5379"/>
                  <a:gd name="connsiteY0" fmla="*/ 8260 h 11004"/>
                  <a:gd name="connsiteX1" fmla="*/ 851 w 5379"/>
                  <a:gd name="connsiteY1" fmla="*/ 2744 h 11004"/>
                  <a:gd name="connsiteX2" fmla="*/ 3540 w 5379"/>
                  <a:gd name="connsiteY2" fmla="*/ 0 h 11004"/>
                  <a:gd name="connsiteX3" fmla="*/ 5379 w 5379"/>
                  <a:gd name="connsiteY3" fmla="*/ 11005 h 11004"/>
                  <a:gd name="connsiteX4" fmla="*/ 604 w 5379"/>
                  <a:gd name="connsiteY4" fmla="*/ 10895 h 11004"/>
                  <a:gd name="connsiteX5" fmla="*/ 0 w 5379"/>
                  <a:gd name="connsiteY5" fmla="*/ 8233 h 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79" h="11004">
                    <a:moveTo>
                      <a:pt x="27" y="8260"/>
                    </a:moveTo>
                    <a:lnTo>
                      <a:pt x="851" y="2744"/>
                    </a:lnTo>
                    <a:lnTo>
                      <a:pt x="3540" y="0"/>
                    </a:lnTo>
                    <a:lnTo>
                      <a:pt x="5379" y="11005"/>
                    </a:lnTo>
                    <a:lnTo>
                      <a:pt x="604" y="10895"/>
                    </a:lnTo>
                    <a:lnTo>
                      <a:pt x="0" y="82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5" name="Freeform: Shape 4414">
                <a:extLst>
                  <a:ext uri="{FF2B5EF4-FFF2-40B4-BE49-F238E27FC236}">
                    <a16:creationId xmlns:a16="http://schemas.microsoft.com/office/drawing/2014/main" id="{2B09BC99-C783-D8D3-08BA-B6137AF58ACB}"/>
                  </a:ext>
                </a:extLst>
              </p:cNvPr>
              <p:cNvSpPr/>
              <p:nvPr/>
            </p:nvSpPr>
            <p:spPr>
              <a:xfrm>
                <a:off x="1627387" y="3490492"/>
                <a:ext cx="681" cy="925"/>
              </a:xfrm>
              <a:custGeom>
                <a:avLst/>
                <a:gdLst>
                  <a:gd name="connsiteX0" fmla="*/ 0 w 6531"/>
                  <a:gd name="connsiteY0" fmla="*/ 2580 h 8864"/>
                  <a:gd name="connsiteX1" fmla="*/ 6065 w 6531"/>
                  <a:gd name="connsiteY1" fmla="*/ 0 h 8864"/>
                  <a:gd name="connsiteX2" fmla="*/ 6531 w 6531"/>
                  <a:gd name="connsiteY2" fmla="*/ 4693 h 8864"/>
                  <a:gd name="connsiteX3" fmla="*/ 3732 w 6531"/>
                  <a:gd name="connsiteY3" fmla="*/ 8864 h 8864"/>
                  <a:gd name="connsiteX4" fmla="*/ 1400 w 6531"/>
                  <a:gd name="connsiteY4" fmla="*/ 7657 h 8864"/>
                  <a:gd name="connsiteX5" fmla="*/ 466 w 6531"/>
                  <a:gd name="connsiteY5" fmla="*/ 4693 h 8864"/>
                  <a:gd name="connsiteX6" fmla="*/ 0 w 6531"/>
                  <a:gd name="connsiteY6" fmla="*/ 2580 h 8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8864">
                    <a:moveTo>
                      <a:pt x="0" y="2580"/>
                    </a:moveTo>
                    <a:lnTo>
                      <a:pt x="6065" y="0"/>
                    </a:lnTo>
                    <a:lnTo>
                      <a:pt x="6531" y="4693"/>
                    </a:lnTo>
                    <a:lnTo>
                      <a:pt x="3732" y="8864"/>
                    </a:lnTo>
                    <a:lnTo>
                      <a:pt x="1400" y="7657"/>
                    </a:lnTo>
                    <a:lnTo>
                      <a:pt x="466" y="4693"/>
                    </a:lnTo>
                    <a:lnTo>
                      <a:pt x="0" y="25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6" name="Freeform: Shape 4415">
                <a:extLst>
                  <a:ext uri="{FF2B5EF4-FFF2-40B4-BE49-F238E27FC236}">
                    <a16:creationId xmlns:a16="http://schemas.microsoft.com/office/drawing/2014/main" id="{B3064196-4D66-06B7-8CB4-A7A8B1236573}"/>
                  </a:ext>
                </a:extLst>
              </p:cNvPr>
              <p:cNvSpPr/>
              <p:nvPr/>
            </p:nvSpPr>
            <p:spPr>
              <a:xfrm>
                <a:off x="1658145" y="3466397"/>
                <a:ext cx="570" cy="1262"/>
              </a:xfrm>
              <a:custGeom>
                <a:avLst/>
                <a:gdLst>
                  <a:gd name="connsiteX0" fmla="*/ 27 w 5461"/>
                  <a:gd name="connsiteY0" fmla="*/ 2360 h 12102"/>
                  <a:gd name="connsiteX1" fmla="*/ 3458 w 5461"/>
                  <a:gd name="connsiteY1" fmla="*/ 0 h 12102"/>
                  <a:gd name="connsiteX2" fmla="*/ 5461 w 5461"/>
                  <a:gd name="connsiteY2" fmla="*/ 12102 h 12102"/>
                  <a:gd name="connsiteX3" fmla="*/ 1455 w 5461"/>
                  <a:gd name="connsiteY3" fmla="*/ 12102 h 12102"/>
                  <a:gd name="connsiteX4" fmla="*/ 0 w 5461"/>
                  <a:gd name="connsiteY4" fmla="*/ 2388 h 1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1" h="12102">
                    <a:moveTo>
                      <a:pt x="27" y="2360"/>
                    </a:moveTo>
                    <a:lnTo>
                      <a:pt x="3458" y="0"/>
                    </a:lnTo>
                    <a:lnTo>
                      <a:pt x="5461" y="12102"/>
                    </a:lnTo>
                    <a:lnTo>
                      <a:pt x="1455" y="12102"/>
                    </a:lnTo>
                    <a:cubicBezTo>
                      <a:pt x="1455" y="12102"/>
                      <a:pt x="0" y="2388"/>
                      <a:pt x="0" y="2388"/>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7" name="Freeform: Shape 4416">
                <a:extLst>
                  <a:ext uri="{FF2B5EF4-FFF2-40B4-BE49-F238E27FC236}">
                    <a16:creationId xmlns:a16="http://schemas.microsoft.com/office/drawing/2014/main" id="{E3E185EA-0D09-3936-EF68-FFF2CA64346D}"/>
                  </a:ext>
                </a:extLst>
              </p:cNvPr>
              <p:cNvSpPr/>
              <p:nvPr/>
            </p:nvSpPr>
            <p:spPr>
              <a:xfrm>
                <a:off x="1623663" y="3499151"/>
                <a:ext cx="604" cy="990"/>
              </a:xfrm>
              <a:custGeom>
                <a:avLst/>
                <a:gdLst>
                  <a:gd name="connsiteX0" fmla="*/ 0 w 5790"/>
                  <a:gd name="connsiteY0" fmla="*/ 6504 h 9495"/>
                  <a:gd name="connsiteX1" fmla="*/ 4748 w 5790"/>
                  <a:gd name="connsiteY1" fmla="*/ 0 h 9495"/>
                  <a:gd name="connsiteX2" fmla="*/ 5790 w 5790"/>
                  <a:gd name="connsiteY2" fmla="*/ 8645 h 9495"/>
                  <a:gd name="connsiteX3" fmla="*/ 823 w 5790"/>
                  <a:gd name="connsiteY3" fmla="*/ 9495 h 9495"/>
                  <a:gd name="connsiteX4" fmla="*/ 0 w 5790"/>
                  <a:gd name="connsiteY4" fmla="*/ 6477 h 9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 h="9495">
                    <a:moveTo>
                      <a:pt x="0" y="6504"/>
                    </a:moveTo>
                    <a:lnTo>
                      <a:pt x="4748" y="0"/>
                    </a:lnTo>
                    <a:lnTo>
                      <a:pt x="5790" y="8645"/>
                    </a:lnTo>
                    <a:lnTo>
                      <a:pt x="823" y="9495"/>
                    </a:lnTo>
                    <a:lnTo>
                      <a:pt x="0" y="64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8" name="Freeform: Shape 4417">
                <a:extLst>
                  <a:ext uri="{FF2B5EF4-FFF2-40B4-BE49-F238E27FC236}">
                    <a16:creationId xmlns:a16="http://schemas.microsoft.com/office/drawing/2014/main" id="{65B9153F-35A9-8538-9385-68D703C2FE04}"/>
                  </a:ext>
                </a:extLst>
              </p:cNvPr>
              <p:cNvSpPr/>
              <p:nvPr/>
            </p:nvSpPr>
            <p:spPr>
              <a:xfrm>
                <a:off x="1712489" y="3469869"/>
                <a:ext cx="518" cy="1320"/>
              </a:xfrm>
              <a:custGeom>
                <a:avLst/>
                <a:gdLst>
                  <a:gd name="connsiteX0" fmla="*/ 0 w 4967"/>
                  <a:gd name="connsiteY0" fmla="*/ 0 h 12651"/>
                  <a:gd name="connsiteX1" fmla="*/ 2086 w 4967"/>
                  <a:gd name="connsiteY1" fmla="*/ 0 h 12651"/>
                  <a:gd name="connsiteX2" fmla="*/ 4967 w 4967"/>
                  <a:gd name="connsiteY2" fmla="*/ 6751 h 12651"/>
                  <a:gd name="connsiteX3" fmla="*/ 4967 w 4967"/>
                  <a:gd name="connsiteY3" fmla="*/ 12651 h 12651"/>
                  <a:gd name="connsiteX4" fmla="*/ 1867 w 4967"/>
                  <a:gd name="connsiteY4" fmla="*/ 12404 h 12651"/>
                  <a:gd name="connsiteX5" fmla="*/ 27 w 4967"/>
                  <a:gd name="connsiteY5" fmla="*/ 27 h 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 h="12651">
                    <a:moveTo>
                      <a:pt x="0" y="0"/>
                    </a:moveTo>
                    <a:lnTo>
                      <a:pt x="2086" y="0"/>
                    </a:lnTo>
                    <a:lnTo>
                      <a:pt x="4967" y="6751"/>
                    </a:lnTo>
                    <a:lnTo>
                      <a:pt x="4967" y="12651"/>
                    </a:lnTo>
                    <a:cubicBezTo>
                      <a:pt x="4967" y="12651"/>
                      <a:pt x="1867" y="12404"/>
                      <a:pt x="1867" y="12404"/>
                    </a:cubicBezTo>
                    <a:lnTo>
                      <a:pt x="27"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19" name="Freeform: Shape 4418">
                <a:extLst>
                  <a:ext uri="{FF2B5EF4-FFF2-40B4-BE49-F238E27FC236}">
                    <a16:creationId xmlns:a16="http://schemas.microsoft.com/office/drawing/2014/main" id="{A383E557-A3B7-4184-D784-5C2174EAD5D2}"/>
                  </a:ext>
                </a:extLst>
              </p:cNvPr>
              <p:cNvSpPr/>
              <p:nvPr/>
            </p:nvSpPr>
            <p:spPr>
              <a:xfrm>
                <a:off x="1616112" y="3476284"/>
                <a:ext cx="613" cy="1068"/>
              </a:xfrm>
              <a:custGeom>
                <a:avLst/>
                <a:gdLst>
                  <a:gd name="connsiteX0" fmla="*/ 0 w 5873"/>
                  <a:gd name="connsiteY0" fmla="*/ 4501 h 10236"/>
                  <a:gd name="connsiteX1" fmla="*/ 604 w 5873"/>
                  <a:gd name="connsiteY1" fmla="*/ 0 h 10236"/>
                  <a:gd name="connsiteX2" fmla="*/ 5873 w 5873"/>
                  <a:gd name="connsiteY2" fmla="*/ 961 h 10236"/>
                  <a:gd name="connsiteX3" fmla="*/ 5873 w 5873"/>
                  <a:gd name="connsiteY3" fmla="*/ 10236 h 10236"/>
                  <a:gd name="connsiteX4" fmla="*/ 27 w 5873"/>
                  <a:gd name="connsiteY4" fmla="*/ 4501 h 10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3" h="10236">
                    <a:moveTo>
                      <a:pt x="0" y="4501"/>
                    </a:moveTo>
                    <a:lnTo>
                      <a:pt x="604" y="0"/>
                    </a:lnTo>
                    <a:lnTo>
                      <a:pt x="5873" y="961"/>
                    </a:lnTo>
                    <a:lnTo>
                      <a:pt x="5873" y="10236"/>
                    </a:lnTo>
                    <a:lnTo>
                      <a:pt x="27" y="45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0" name="Freeform: Shape 4419">
                <a:extLst>
                  <a:ext uri="{FF2B5EF4-FFF2-40B4-BE49-F238E27FC236}">
                    <a16:creationId xmlns:a16="http://schemas.microsoft.com/office/drawing/2014/main" id="{EFB4D4C2-3333-53E3-6642-7BC7329E0EFF}"/>
                  </a:ext>
                </a:extLst>
              </p:cNvPr>
              <p:cNvSpPr/>
              <p:nvPr/>
            </p:nvSpPr>
            <p:spPr>
              <a:xfrm>
                <a:off x="1619627" y="3476169"/>
                <a:ext cx="833" cy="781"/>
              </a:xfrm>
              <a:custGeom>
                <a:avLst/>
                <a:gdLst>
                  <a:gd name="connsiteX0" fmla="*/ 0 w 7985"/>
                  <a:gd name="connsiteY0" fmla="*/ 2031 h 7491"/>
                  <a:gd name="connsiteX1" fmla="*/ 604 w 7985"/>
                  <a:gd name="connsiteY1" fmla="*/ 0 h 7491"/>
                  <a:gd name="connsiteX2" fmla="*/ 7986 w 7985"/>
                  <a:gd name="connsiteY2" fmla="*/ 1537 h 7491"/>
                  <a:gd name="connsiteX3" fmla="*/ 7712 w 7985"/>
                  <a:gd name="connsiteY3" fmla="*/ 7492 h 7491"/>
                  <a:gd name="connsiteX4" fmla="*/ 1784 w 7985"/>
                  <a:gd name="connsiteY4" fmla="*/ 7300 h 7491"/>
                  <a:gd name="connsiteX5" fmla="*/ 0 w 7985"/>
                  <a:gd name="connsiteY5" fmla="*/ 2031 h 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5" h="7491">
                    <a:moveTo>
                      <a:pt x="0" y="2031"/>
                    </a:moveTo>
                    <a:lnTo>
                      <a:pt x="604" y="0"/>
                    </a:lnTo>
                    <a:lnTo>
                      <a:pt x="7986" y="1537"/>
                    </a:lnTo>
                    <a:lnTo>
                      <a:pt x="7712" y="7492"/>
                    </a:lnTo>
                    <a:lnTo>
                      <a:pt x="1784" y="7300"/>
                    </a:lnTo>
                    <a:lnTo>
                      <a:pt x="0" y="20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1" name="Freeform: Shape 4420">
                <a:extLst>
                  <a:ext uri="{FF2B5EF4-FFF2-40B4-BE49-F238E27FC236}">
                    <a16:creationId xmlns:a16="http://schemas.microsoft.com/office/drawing/2014/main" id="{4D1A025E-51AD-A94E-63A5-DBF99DDC52E1}"/>
                  </a:ext>
                </a:extLst>
              </p:cNvPr>
              <p:cNvSpPr/>
              <p:nvPr/>
            </p:nvSpPr>
            <p:spPr>
              <a:xfrm>
                <a:off x="1571665" y="3549634"/>
                <a:ext cx="518" cy="836"/>
              </a:xfrm>
              <a:custGeom>
                <a:avLst/>
                <a:gdLst>
                  <a:gd name="connsiteX0" fmla="*/ 0 w 4967"/>
                  <a:gd name="connsiteY0" fmla="*/ 2442 h 8013"/>
                  <a:gd name="connsiteX1" fmla="*/ 1317 w 4967"/>
                  <a:gd name="connsiteY1" fmla="*/ 0 h 8013"/>
                  <a:gd name="connsiteX2" fmla="*/ 4967 w 4967"/>
                  <a:gd name="connsiteY2" fmla="*/ 3156 h 8013"/>
                  <a:gd name="connsiteX3" fmla="*/ 2992 w 4967"/>
                  <a:gd name="connsiteY3" fmla="*/ 8013 h 8013"/>
                  <a:gd name="connsiteX4" fmla="*/ 0 w 4967"/>
                  <a:gd name="connsiteY4" fmla="*/ 2442 h 8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 h="8013">
                    <a:moveTo>
                      <a:pt x="0" y="2442"/>
                    </a:moveTo>
                    <a:lnTo>
                      <a:pt x="1317" y="0"/>
                    </a:lnTo>
                    <a:lnTo>
                      <a:pt x="4967" y="3156"/>
                    </a:lnTo>
                    <a:lnTo>
                      <a:pt x="2992" y="8013"/>
                    </a:lnTo>
                    <a:lnTo>
                      <a:pt x="0" y="24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2" name="Freeform: Shape 4421">
                <a:extLst>
                  <a:ext uri="{FF2B5EF4-FFF2-40B4-BE49-F238E27FC236}">
                    <a16:creationId xmlns:a16="http://schemas.microsoft.com/office/drawing/2014/main" id="{72079F60-DA67-5F69-925B-A78A6455CAA6}"/>
                  </a:ext>
                </a:extLst>
              </p:cNvPr>
              <p:cNvSpPr/>
              <p:nvPr/>
            </p:nvSpPr>
            <p:spPr>
              <a:xfrm>
                <a:off x="1617649" y="3454931"/>
                <a:ext cx="487" cy="1443"/>
              </a:xfrm>
              <a:custGeom>
                <a:avLst/>
                <a:gdLst>
                  <a:gd name="connsiteX0" fmla="*/ 0 w 4665"/>
                  <a:gd name="connsiteY0" fmla="*/ 5598 h 13831"/>
                  <a:gd name="connsiteX1" fmla="*/ 1619 w 4665"/>
                  <a:gd name="connsiteY1" fmla="*/ 0 h 13831"/>
                  <a:gd name="connsiteX2" fmla="*/ 4665 w 4665"/>
                  <a:gd name="connsiteY2" fmla="*/ 5434 h 13831"/>
                  <a:gd name="connsiteX3" fmla="*/ 3649 w 4665"/>
                  <a:gd name="connsiteY3" fmla="*/ 13831 h 13831"/>
                  <a:gd name="connsiteX4" fmla="*/ 27 w 4665"/>
                  <a:gd name="connsiteY4" fmla="*/ 5598 h 1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5" h="13831">
                    <a:moveTo>
                      <a:pt x="0" y="5598"/>
                    </a:moveTo>
                    <a:lnTo>
                      <a:pt x="1619" y="0"/>
                    </a:lnTo>
                    <a:lnTo>
                      <a:pt x="4665" y="5434"/>
                    </a:lnTo>
                    <a:lnTo>
                      <a:pt x="3649" y="13831"/>
                    </a:lnTo>
                    <a:lnTo>
                      <a:pt x="27" y="559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3" name="Freeform: Shape 4422">
                <a:extLst>
                  <a:ext uri="{FF2B5EF4-FFF2-40B4-BE49-F238E27FC236}">
                    <a16:creationId xmlns:a16="http://schemas.microsoft.com/office/drawing/2014/main" id="{75600A45-0699-3CF8-B5C8-3970673B2975}"/>
                  </a:ext>
                </a:extLst>
              </p:cNvPr>
              <p:cNvSpPr/>
              <p:nvPr/>
            </p:nvSpPr>
            <p:spPr>
              <a:xfrm>
                <a:off x="1450537" y="3612571"/>
                <a:ext cx="475" cy="635"/>
              </a:xfrm>
              <a:custGeom>
                <a:avLst/>
                <a:gdLst>
                  <a:gd name="connsiteX0" fmla="*/ 0 w 4555"/>
                  <a:gd name="connsiteY0" fmla="*/ 4803 h 6092"/>
                  <a:gd name="connsiteX1" fmla="*/ 2305 w 4555"/>
                  <a:gd name="connsiteY1" fmla="*/ 0 h 6092"/>
                  <a:gd name="connsiteX2" fmla="*/ 4555 w 4555"/>
                  <a:gd name="connsiteY2" fmla="*/ 4254 h 6092"/>
                  <a:gd name="connsiteX3" fmla="*/ 2662 w 4555"/>
                  <a:gd name="connsiteY3" fmla="*/ 6092 h 6092"/>
                  <a:gd name="connsiteX4" fmla="*/ 0 w 4555"/>
                  <a:gd name="connsiteY4" fmla="*/ 4830 h 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6092">
                    <a:moveTo>
                      <a:pt x="0" y="4803"/>
                    </a:moveTo>
                    <a:lnTo>
                      <a:pt x="2305" y="0"/>
                    </a:lnTo>
                    <a:lnTo>
                      <a:pt x="4555" y="4254"/>
                    </a:lnTo>
                    <a:lnTo>
                      <a:pt x="2662" y="6092"/>
                    </a:lnTo>
                    <a:lnTo>
                      <a:pt x="0" y="483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4" name="Freeform: Shape 4423">
                <a:extLst>
                  <a:ext uri="{FF2B5EF4-FFF2-40B4-BE49-F238E27FC236}">
                    <a16:creationId xmlns:a16="http://schemas.microsoft.com/office/drawing/2014/main" id="{9A6AEAC0-6C12-BB4C-3229-0819ADD45BE7}"/>
                  </a:ext>
                </a:extLst>
              </p:cNvPr>
              <p:cNvSpPr/>
              <p:nvPr/>
            </p:nvSpPr>
            <p:spPr>
              <a:xfrm>
                <a:off x="1529257" y="3531352"/>
                <a:ext cx="670" cy="670"/>
              </a:xfrm>
              <a:custGeom>
                <a:avLst/>
                <a:gdLst>
                  <a:gd name="connsiteX0" fmla="*/ 6202 w 6421"/>
                  <a:gd name="connsiteY0" fmla="*/ 6285 h 6421"/>
                  <a:gd name="connsiteX1" fmla="*/ 1317 w 6421"/>
                  <a:gd name="connsiteY1" fmla="*/ 6422 h 6421"/>
                  <a:gd name="connsiteX2" fmla="*/ 0 w 6421"/>
                  <a:gd name="connsiteY2" fmla="*/ 2854 h 6421"/>
                  <a:gd name="connsiteX3" fmla="*/ 4418 w 6421"/>
                  <a:gd name="connsiteY3" fmla="*/ 0 h 6421"/>
                  <a:gd name="connsiteX4" fmla="*/ 6422 w 6421"/>
                  <a:gd name="connsiteY4" fmla="*/ 823 h 6421"/>
                  <a:gd name="connsiteX5" fmla="*/ 6175 w 6421"/>
                  <a:gd name="connsiteY5" fmla="*/ 6285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1" h="6421">
                    <a:moveTo>
                      <a:pt x="6202" y="6285"/>
                    </a:moveTo>
                    <a:lnTo>
                      <a:pt x="1317" y="6422"/>
                    </a:lnTo>
                    <a:lnTo>
                      <a:pt x="0" y="2854"/>
                    </a:lnTo>
                    <a:lnTo>
                      <a:pt x="4418" y="0"/>
                    </a:lnTo>
                    <a:lnTo>
                      <a:pt x="6422" y="823"/>
                    </a:lnTo>
                    <a:lnTo>
                      <a:pt x="6175" y="628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5" name="Freeform: Shape 4424">
                <a:extLst>
                  <a:ext uri="{FF2B5EF4-FFF2-40B4-BE49-F238E27FC236}">
                    <a16:creationId xmlns:a16="http://schemas.microsoft.com/office/drawing/2014/main" id="{C9BDC6BC-72EC-B8F3-B0F1-C573457A7B9E}"/>
                  </a:ext>
                </a:extLst>
              </p:cNvPr>
              <p:cNvSpPr/>
              <p:nvPr/>
            </p:nvSpPr>
            <p:spPr>
              <a:xfrm>
                <a:off x="1647326" y="3453416"/>
                <a:ext cx="532" cy="1288"/>
              </a:xfrm>
              <a:custGeom>
                <a:avLst/>
                <a:gdLst>
                  <a:gd name="connsiteX0" fmla="*/ 0 w 5104"/>
                  <a:gd name="connsiteY0" fmla="*/ 5242 h 12349"/>
                  <a:gd name="connsiteX1" fmla="*/ 1701 w 5104"/>
                  <a:gd name="connsiteY1" fmla="*/ 0 h 12349"/>
                  <a:gd name="connsiteX2" fmla="*/ 5104 w 5104"/>
                  <a:gd name="connsiteY2" fmla="*/ 3897 h 12349"/>
                  <a:gd name="connsiteX3" fmla="*/ 3211 w 5104"/>
                  <a:gd name="connsiteY3" fmla="*/ 12349 h 12349"/>
                  <a:gd name="connsiteX4" fmla="*/ 27 w 5104"/>
                  <a:gd name="connsiteY4" fmla="*/ 5242 h 12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4" h="12349">
                    <a:moveTo>
                      <a:pt x="0" y="5242"/>
                    </a:moveTo>
                    <a:lnTo>
                      <a:pt x="1701" y="0"/>
                    </a:lnTo>
                    <a:lnTo>
                      <a:pt x="5104" y="3897"/>
                    </a:lnTo>
                    <a:lnTo>
                      <a:pt x="3211" y="12349"/>
                    </a:lnTo>
                    <a:lnTo>
                      <a:pt x="27" y="52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6" name="Freeform: Shape 4425">
                <a:extLst>
                  <a:ext uri="{FF2B5EF4-FFF2-40B4-BE49-F238E27FC236}">
                    <a16:creationId xmlns:a16="http://schemas.microsoft.com/office/drawing/2014/main" id="{57714C0F-C368-A4AD-01E6-5C8E5EBA6EF3}"/>
                  </a:ext>
                </a:extLst>
              </p:cNvPr>
              <p:cNvSpPr/>
              <p:nvPr/>
            </p:nvSpPr>
            <p:spPr>
              <a:xfrm>
                <a:off x="1535534" y="3548589"/>
                <a:ext cx="464" cy="870"/>
              </a:xfrm>
              <a:custGeom>
                <a:avLst/>
                <a:gdLst>
                  <a:gd name="connsiteX0" fmla="*/ 0 w 4446"/>
                  <a:gd name="connsiteY0" fmla="*/ 3348 h 8342"/>
                  <a:gd name="connsiteX1" fmla="*/ 1290 w 4446"/>
                  <a:gd name="connsiteY1" fmla="*/ 0 h 8342"/>
                  <a:gd name="connsiteX2" fmla="*/ 4446 w 4446"/>
                  <a:gd name="connsiteY2" fmla="*/ 2689 h 8342"/>
                  <a:gd name="connsiteX3" fmla="*/ 3760 w 4446"/>
                  <a:gd name="connsiteY3" fmla="*/ 8343 h 8342"/>
                  <a:gd name="connsiteX4" fmla="*/ 0 w 4446"/>
                  <a:gd name="connsiteY4" fmla="*/ 3348 h 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6" h="8342">
                    <a:moveTo>
                      <a:pt x="0" y="3348"/>
                    </a:moveTo>
                    <a:lnTo>
                      <a:pt x="1290" y="0"/>
                    </a:lnTo>
                    <a:lnTo>
                      <a:pt x="4446" y="2689"/>
                    </a:lnTo>
                    <a:lnTo>
                      <a:pt x="3760" y="8343"/>
                    </a:lnTo>
                    <a:lnTo>
                      <a:pt x="0" y="334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7" name="Freeform: Shape 4426">
                <a:extLst>
                  <a:ext uri="{FF2B5EF4-FFF2-40B4-BE49-F238E27FC236}">
                    <a16:creationId xmlns:a16="http://schemas.microsoft.com/office/drawing/2014/main" id="{BEC05919-F3C5-3518-B765-EED4B57CA85F}"/>
                  </a:ext>
                </a:extLst>
              </p:cNvPr>
              <p:cNvSpPr/>
              <p:nvPr/>
            </p:nvSpPr>
            <p:spPr>
              <a:xfrm>
                <a:off x="1448013" y="3612299"/>
                <a:ext cx="429" cy="675"/>
              </a:xfrm>
              <a:custGeom>
                <a:avLst/>
                <a:gdLst>
                  <a:gd name="connsiteX0" fmla="*/ 0 w 4116"/>
                  <a:gd name="connsiteY0" fmla="*/ 2086 h 6476"/>
                  <a:gd name="connsiteX1" fmla="*/ 1592 w 4116"/>
                  <a:gd name="connsiteY1" fmla="*/ 0 h 6476"/>
                  <a:gd name="connsiteX2" fmla="*/ 4116 w 4116"/>
                  <a:gd name="connsiteY2" fmla="*/ 4693 h 6476"/>
                  <a:gd name="connsiteX3" fmla="*/ 1043 w 4116"/>
                  <a:gd name="connsiteY3" fmla="*/ 6477 h 6476"/>
                  <a:gd name="connsiteX4" fmla="*/ 0 w 4116"/>
                  <a:gd name="connsiteY4" fmla="*/ 2113 h 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6476">
                    <a:moveTo>
                      <a:pt x="0" y="2086"/>
                    </a:moveTo>
                    <a:lnTo>
                      <a:pt x="1592" y="0"/>
                    </a:lnTo>
                    <a:lnTo>
                      <a:pt x="4116" y="4693"/>
                    </a:lnTo>
                    <a:lnTo>
                      <a:pt x="1043" y="6477"/>
                    </a:lnTo>
                    <a:lnTo>
                      <a:pt x="0"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8" name="Freeform: Shape 4427">
                <a:extLst>
                  <a:ext uri="{FF2B5EF4-FFF2-40B4-BE49-F238E27FC236}">
                    <a16:creationId xmlns:a16="http://schemas.microsoft.com/office/drawing/2014/main" id="{99363BA8-F21C-2D5F-1848-83CFC0BBA018}"/>
                  </a:ext>
                </a:extLst>
              </p:cNvPr>
              <p:cNvSpPr/>
              <p:nvPr/>
            </p:nvSpPr>
            <p:spPr>
              <a:xfrm>
                <a:off x="1534429" y="3408303"/>
                <a:ext cx="635" cy="1345"/>
              </a:xfrm>
              <a:custGeom>
                <a:avLst/>
                <a:gdLst>
                  <a:gd name="connsiteX0" fmla="*/ 0 w 6092"/>
                  <a:gd name="connsiteY0" fmla="*/ 7355 h 12898"/>
                  <a:gd name="connsiteX1" fmla="*/ 4884 w 6092"/>
                  <a:gd name="connsiteY1" fmla="*/ 0 h 12898"/>
                  <a:gd name="connsiteX2" fmla="*/ 6092 w 6092"/>
                  <a:gd name="connsiteY2" fmla="*/ 11444 h 12898"/>
                  <a:gd name="connsiteX3" fmla="*/ 494 w 6092"/>
                  <a:gd name="connsiteY3" fmla="*/ 12898 h 12898"/>
                  <a:gd name="connsiteX4" fmla="*/ 0 w 6092"/>
                  <a:gd name="connsiteY4" fmla="*/ 7327 h 1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 h="12898">
                    <a:moveTo>
                      <a:pt x="0" y="7355"/>
                    </a:moveTo>
                    <a:lnTo>
                      <a:pt x="4884" y="0"/>
                    </a:lnTo>
                    <a:lnTo>
                      <a:pt x="6092" y="11444"/>
                    </a:lnTo>
                    <a:lnTo>
                      <a:pt x="494" y="12898"/>
                    </a:lnTo>
                    <a:lnTo>
                      <a:pt x="0" y="73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29" name="Freeform: Shape 4428">
                <a:extLst>
                  <a:ext uri="{FF2B5EF4-FFF2-40B4-BE49-F238E27FC236}">
                    <a16:creationId xmlns:a16="http://schemas.microsoft.com/office/drawing/2014/main" id="{7AB006A7-4E7D-ADF1-2D96-0D78D44C74B2}"/>
                  </a:ext>
                </a:extLst>
              </p:cNvPr>
              <p:cNvSpPr/>
              <p:nvPr/>
            </p:nvSpPr>
            <p:spPr>
              <a:xfrm>
                <a:off x="1475589" y="3578197"/>
                <a:ext cx="501" cy="673"/>
              </a:xfrm>
              <a:custGeom>
                <a:avLst/>
                <a:gdLst>
                  <a:gd name="connsiteX0" fmla="*/ 0 w 4802"/>
                  <a:gd name="connsiteY0" fmla="*/ 3815 h 6449"/>
                  <a:gd name="connsiteX1" fmla="*/ 2854 w 4802"/>
                  <a:gd name="connsiteY1" fmla="*/ 0 h 6449"/>
                  <a:gd name="connsiteX2" fmla="*/ 4803 w 4802"/>
                  <a:gd name="connsiteY2" fmla="*/ 5516 h 6449"/>
                  <a:gd name="connsiteX3" fmla="*/ 1509 w 4802"/>
                  <a:gd name="connsiteY3" fmla="*/ 6449 h 6449"/>
                  <a:gd name="connsiteX4" fmla="*/ 0 w 4802"/>
                  <a:gd name="connsiteY4" fmla="*/ 3815 h 6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2" h="6449">
                    <a:moveTo>
                      <a:pt x="0" y="3815"/>
                    </a:moveTo>
                    <a:lnTo>
                      <a:pt x="2854" y="0"/>
                    </a:lnTo>
                    <a:lnTo>
                      <a:pt x="4803" y="5516"/>
                    </a:lnTo>
                    <a:lnTo>
                      <a:pt x="1509" y="6449"/>
                    </a:lnTo>
                    <a:lnTo>
                      <a:pt x="0" y="38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0" name="Freeform: Shape 4429">
                <a:extLst>
                  <a:ext uri="{FF2B5EF4-FFF2-40B4-BE49-F238E27FC236}">
                    <a16:creationId xmlns:a16="http://schemas.microsoft.com/office/drawing/2014/main" id="{813837B1-04B6-28E2-2C87-D4B84AC49DCD}"/>
                  </a:ext>
                </a:extLst>
              </p:cNvPr>
              <p:cNvSpPr/>
              <p:nvPr/>
            </p:nvSpPr>
            <p:spPr>
              <a:xfrm>
                <a:off x="1532787" y="3548077"/>
                <a:ext cx="509" cy="744"/>
              </a:xfrm>
              <a:custGeom>
                <a:avLst/>
                <a:gdLst>
                  <a:gd name="connsiteX0" fmla="*/ 0 w 4884"/>
                  <a:gd name="connsiteY0" fmla="*/ 4555 h 7135"/>
                  <a:gd name="connsiteX1" fmla="*/ 1893 w 4884"/>
                  <a:gd name="connsiteY1" fmla="*/ 0 h 7135"/>
                  <a:gd name="connsiteX2" fmla="*/ 4884 w 4884"/>
                  <a:gd name="connsiteY2" fmla="*/ 2388 h 7135"/>
                  <a:gd name="connsiteX3" fmla="*/ 3787 w 4884"/>
                  <a:gd name="connsiteY3" fmla="*/ 7135 h 7135"/>
                  <a:gd name="connsiteX4" fmla="*/ 0 w 4884"/>
                  <a:gd name="connsiteY4" fmla="*/ 4555 h 7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4" h="7135">
                    <a:moveTo>
                      <a:pt x="0" y="4555"/>
                    </a:moveTo>
                    <a:lnTo>
                      <a:pt x="1893" y="0"/>
                    </a:lnTo>
                    <a:lnTo>
                      <a:pt x="4884" y="2388"/>
                    </a:lnTo>
                    <a:lnTo>
                      <a:pt x="3787" y="7135"/>
                    </a:lnTo>
                    <a:lnTo>
                      <a:pt x="0" y="455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1" name="Freeform: Shape 4430">
                <a:extLst>
                  <a:ext uri="{FF2B5EF4-FFF2-40B4-BE49-F238E27FC236}">
                    <a16:creationId xmlns:a16="http://schemas.microsoft.com/office/drawing/2014/main" id="{BED8A057-371B-FCF9-81F3-D9AC31109DA2}"/>
                  </a:ext>
                </a:extLst>
              </p:cNvPr>
              <p:cNvSpPr/>
              <p:nvPr/>
            </p:nvSpPr>
            <p:spPr>
              <a:xfrm>
                <a:off x="1711708" y="3491471"/>
                <a:ext cx="389" cy="1308"/>
              </a:xfrm>
              <a:custGeom>
                <a:avLst/>
                <a:gdLst>
                  <a:gd name="connsiteX0" fmla="*/ 0 w 3732"/>
                  <a:gd name="connsiteY0" fmla="*/ 3732 h 12541"/>
                  <a:gd name="connsiteX1" fmla="*/ 3046 w 3732"/>
                  <a:gd name="connsiteY1" fmla="*/ 0 h 12541"/>
                  <a:gd name="connsiteX2" fmla="*/ 3733 w 3732"/>
                  <a:gd name="connsiteY2" fmla="*/ 8425 h 12541"/>
                  <a:gd name="connsiteX3" fmla="*/ 1757 w 3732"/>
                  <a:gd name="connsiteY3" fmla="*/ 12541 h 12541"/>
                  <a:gd name="connsiteX4" fmla="*/ 0 w 3732"/>
                  <a:gd name="connsiteY4" fmla="*/ 3732 h 12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12541">
                    <a:moveTo>
                      <a:pt x="0" y="3732"/>
                    </a:moveTo>
                    <a:lnTo>
                      <a:pt x="3046" y="0"/>
                    </a:lnTo>
                    <a:lnTo>
                      <a:pt x="3733" y="8425"/>
                    </a:lnTo>
                    <a:lnTo>
                      <a:pt x="1757" y="12541"/>
                    </a:lnTo>
                    <a:lnTo>
                      <a:pt x="0" y="373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2" name="Freeform: Shape 4431">
                <a:extLst>
                  <a:ext uri="{FF2B5EF4-FFF2-40B4-BE49-F238E27FC236}">
                    <a16:creationId xmlns:a16="http://schemas.microsoft.com/office/drawing/2014/main" id="{A4103313-E603-2A87-A0D9-9E40386A72C6}"/>
                  </a:ext>
                </a:extLst>
              </p:cNvPr>
              <p:cNvSpPr/>
              <p:nvPr/>
            </p:nvSpPr>
            <p:spPr>
              <a:xfrm>
                <a:off x="1606990" y="3507658"/>
                <a:ext cx="481" cy="950"/>
              </a:xfrm>
              <a:custGeom>
                <a:avLst/>
                <a:gdLst>
                  <a:gd name="connsiteX0" fmla="*/ 0 w 4610"/>
                  <a:gd name="connsiteY0" fmla="*/ 4391 h 9111"/>
                  <a:gd name="connsiteX1" fmla="*/ 4198 w 4610"/>
                  <a:gd name="connsiteY1" fmla="*/ 0 h 9111"/>
                  <a:gd name="connsiteX2" fmla="*/ 4610 w 4610"/>
                  <a:gd name="connsiteY2" fmla="*/ 6614 h 9111"/>
                  <a:gd name="connsiteX3" fmla="*/ 1317 w 4610"/>
                  <a:gd name="connsiteY3" fmla="*/ 9111 h 9111"/>
                  <a:gd name="connsiteX4" fmla="*/ 27 w 4610"/>
                  <a:gd name="connsiteY4" fmla="*/ 4418 h 9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9111">
                    <a:moveTo>
                      <a:pt x="0" y="4391"/>
                    </a:moveTo>
                    <a:lnTo>
                      <a:pt x="4198" y="0"/>
                    </a:lnTo>
                    <a:lnTo>
                      <a:pt x="4610" y="6614"/>
                    </a:lnTo>
                    <a:lnTo>
                      <a:pt x="1317" y="9111"/>
                    </a:lnTo>
                    <a:lnTo>
                      <a:pt x="27" y="44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3" name="Freeform: Shape 4432">
                <a:extLst>
                  <a:ext uri="{FF2B5EF4-FFF2-40B4-BE49-F238E27FC236}">
                    <a16:creationId xmlns:a16="http://schemas.microsoft.com/office/drawing/2014/main" id="{9D5D66E1-776C-D475-EB6A-A828717EFEB4}"/>
                  </a:ext>
                </a:extLst>
              </p:cNvPr>
              <p:cNvSpPr/>
              <p:nvPr/>
            </p:nvSpPr>
            <p:spPr>
              <a:xfrm>
                <a:off x="1650093" y="3425958"/>
                <a:ext cx="738" cy="973"/>
              </a:xfrm>
              <a:custGeom>
                <a:avLst/>
                <a:gdLst>
                  <a:gd name="connsiteX0" fmla="*/ 7026 w 7080"/>
                  <a:gd name="connsiteY0" fmla="*/ 7327 h 9330"/>
                  <a:gd name="connsiteX1" fmla="*/ 1674 w 7080"/>
                  <a:gd name="connsiteY1" fmla="*/ 9331 h 9330"/>
                  <a:gd name="connsiteX2" fmla="*/ 0 w 7080"/>
                  <a:gd name="connsiteY2" fmla="*/ 2827 h 9330"/>
                  <a:gd name="connsiteX3" fmla="*/ 549 w 7080"/>
                  <a:gd name="connsiteY3" fmla="*/ 110 h 9330"/>
                  <a:gd name="connsiteX4" fmla="*/ 7081 w 7080"/>
                  <a:gd name="connsiteY4" fmla="*/ 0 h 9330"/>
                  <a:gd name="connsiteX5" fmla="*/ 7026 w 7080"/>
                  <a:gd name="connsiteY5" fmla="*/ 7300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80" h="9330">
                    <a:moveTo>
                      <a:pt x="7026" y="7327"/>
                    </a:moveTo>
                    <a:lnTo>
                      <a:pt x="1674" y="9331"/>
                    </a:lnTo>
                    <a:lnTo>
                      <a:pt x="0" y="2827"/>
                    </a:lnTo>
                    <a:lnTo>
                      <a:pt x="549" y="110"/>
                    </a:lnTo>
                    <a:lnTo>
                      <a:pt x="7081" y="0"/>
                    </a:lnTo>
                    <a:lnTo>
                      <a:pt x="7026" y="73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4" name="Freeform: Shape 4433">
                <a:extLst>
                  <a:ext uri="{FF2B5EF4-FFF2-40B4-BE49-F238E27FC236}">
                    <a16:creationId xmlns:a16="http://schemas.microsoft.com/office/drawing/2014/main" id="{04DDA7E0-7547-7250-C07D-D9A7EF6B0515}"/>
                  </a:ext>
                </a:extLst>
              </p:cNvPr>
              <p:cNvSpPr/>
              <p:nvPr/>
            </p:nvSpPr>
            <p:spPr>
              <a:xfrm>
                <a:off x="1519408" y="3416077"/>
                <a:ext cx="469" cy="1580"/>
              </a:xfrm>
              <a:custGeom>
                <a:avLst/>
                <a:gdLst>
                  <a:gd name="connsiteX0" fmla="*/ 0 w 4500"/>
                  <a:gd name="connsiteY0" fmla="*/ 7437 h 15148"/>
                  <a:gd name="connsiteX1" fmla="*/ 1701 w 4500"/>
                  <a:gd name="connsiteY1" fmla="*/ 0 h 15148"/>
                  <a:gd name="connsiteX2" fmla="*/ 4500 w 4500"/>
                  <a:gd name="connsiteY2" fmla="*/ 1070 h 15148"/>
                  <a:gd name="connsiteX3" fmla="*/ 3649 w 4500"/>
                  <a:gd name="connsiteY3" fmla="*/ 15149 h 15148"/>
                  <a:gd name="connsiteX4" fmla="*/ 27 w 4500"/>
                  <a:gd name="connsiteY4" fmla="*/ 7437 h 15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0" h="15148">
                    <a:moveTo>
                      <a:pt x="0" y="7437"/>
                    </a:moveTo>
                    <a:lnTo>
                      <a:pt x="1701" y="0"/>
                    </a:lnTo>
                    <a:lnTo>
                      <a:pt x="4500" y="1070"/>
                    </a:lnTo>
                    <a:lnTo>
                      <a:pt x="3649" y="15149"/>
                    </a:lnTo>
                    <a:lnTo>
                      <a:pt x="27"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5" name="Freeform: Shape 4434">
                <a:extLst>
                  <a:ext uri="{FF2B5EF4-FFF2-40B4-BE49-F238E27FC236}">
                    <a16:creationId xmlns:a16="http://schemas.microsoft.com/office/drawing/2014/main" id="{FE854A02-17E4-3201-AE88-0EAEF6F548EC}"/>
                  </a:ext>
                </a:extLst>
              </p:cNvPr>
              <p:cNvSpPr/>
              <p:nvPr/>
            </p:nvSpPr>
            <p:spPr>
              <a:xfrm>
                <a:off x="1617789" y="3475743"/>
                <a:ext cx="475" cy="1108"/>
              </a:xfrm>
              <a:custGeom>
                <a:avLst/>
                <a:gdLst>
                  <a:gd name="connsiteX0" fmla="*/ 0 w 4555"/>
                  <a:gd name="connsiteY0" fmla="*/ 6614 h 10620"/>
                  <a:gd name="connsiteX1" fmla="*/ 3622 w 4555"/>
                  <a:gd name="connsiteY1" fmla="*/ 0 h 10620"/>
                  <a:gd name="connsiteX2" fmla="*/ 4555 w 4555"/>
                  <a:gd name="connsiteY2" fmla="*/ 9605 h 10620"/>
                  <a:gd name="connsiteX3" fmla="*/ 604 w 4555"/>
                  <a:gd name="connsiteY3" fmla="*/ 10620 h 10620"/>
                  <a:gd name="connsiteX4" fmla="*/ 0 w 4555"/>
                  <a:gd name="connsiteY4" fmla="*/ 6586 h 1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10620">
                    <a:moveTo>
                      <a:pt x="0" y="6614"/>
                    </a:moveTo>
                    <a:lnTo>
                      <a:pt x="3622" y="0"/>
                    </a:lnTo>
                    <a:lnTo>
                      <a:pt x="4555" y="9605"/>
                    </a:lnTo>
                    <a:lnTo>
                      <a:pt x="604" y="10620"/>
                    </a:lnTo>
                    <a:lnTo>
                      <a:pt x="0" y="65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6" name="Freeform: Shape 4435">
                <a:extLst>
                  <a:ext uri="{FF2B5EF4-FFF2-40B4-BE49-F238E27FC236}">
                    <a16:creationId xmlns:a16="http://schemas.microsoft.com/office/drawing/2014/main" id="{E53E1B86-76B4-B0E5-D04A-5E5F60AFB0F8}"/>
                  </a:ext>
                </a:extLst>
              </p:cNvPr>
              <p:cNvSpPr/>
              <p:nvPr/>
            </p:nvSpPr>
            <p:spPr>
              <a:xfrm>
                <a:off x="1627862" y="3492954"/>
                <a:ext cx="455" cy="1030"/>
              </a:xfrm>
              <a:custGeom>
                <a:avLst/>
                <a:gdLst>
                  <a:gd name="connsiteX0" fmla="*/ 110 w 4363"/>
                  <a:gd name="connsiteY0" fmla="*/ 7437 h 9879"/>
                  <a:gd name="connsiteX1" fmla="*/ 2305 w 4363"/>
                  <a:gd name="connsiteY1" fmla="*/ 0 h 9879"/>
                  <a:gd name="connsiteX2" fmla="*/ 3650 w 4363"/>
                  <a:gd name="connsiteY2" fmla="*/ 0 h 9879"/>
                  <a:gd name="connsiteX3" fmla="*/ 4364 w 4363"/>
                  <a:gd name="connsiteY3" fmla="*/ 2305 h 9879"/>
                  <a:gd name="connsiteX4" fmla="*/ 3375 w 4363"/>
                  <a:gd name="connsiteY4" fmla="*/ 9879 h 9879"/>
                  <a:gd name="connsiteX5" fmla="*/ 0 w 4363"/>
                  <a:gd name="connsiteY5" fmla="*/ 7876 h 9879"/>
                  <a:gd name="connsiteX6" fmla="*/ 110 w 4363"/>
                  <a:gd name="connsiteY6" fmla="*/ 7437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3" h="9879">
                    <a:moveTo>
                      <a:pt x="110" y="7437"/>
                    </a:moveTo>
                    <a:lnTo>
                      <a:pt x="2305" y="0"/>
                    </a:lnTo>
                    <a:lnTo>
                      <a:pt x="3650" y="0"/>
                    </a:lnTo>
                    <a:lnTo>
                      <a:pt x="4364" y="2305"/>
                    </a:lnTo>
                    <a:lnTo>
                      <a:pt x="3375" y="9879"/>
                    </a:lnTo>
                    <a:lnTo>
                      <a:pt x="0" y="7876"/>
                    </a:lnTo>
                    <a:lnTo>
                      <a:pt x="110" y="743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7" name="Freeform: Shape 4436">
                <a:extLst>
                  <a:ext uri="{FF2B5EF4-FFF2-40B4-BE49-F238E27FC236}">
                    <a16:creationId xmlns:a16="http://schemas.microsoft.com/office/drawing/2014/main" id="{A1B64261-3326-FBA4-11EC-B068558CAF25}"/>
                  </a:ext>
                </a:extLst>
              </p:cNvPr>
              <p:cNvSpPr/>
              <p:nvPr/>
            </p:nvSpPr>
            <p:spPr>
              <a:xfrm>
                <a:off x="1547087" y="3494373"/>
                <a:ext cx="386" cy="1214"/>
              </a:xfrm>
              <a:custGeom>
                <a:avLst/>
                <a:gdLst>
                  <a:gd name="connsiteX0" fmla="*/ 0 w 3704"/>
                  <a:gd name="connsiteY0" fmla="*/ 4693 h 11635"/>
                  <a:gd name="connsiteX1" fmla="*/ 2936 w 3704"/>
                  <a:gd name="connsiteY1" fmla="*/ 0 h 11635"/>
                  <a:gd name="connsiteX2" fmla="*/ 3704 w 3704"/>
                  <a:gd name="connsiteY2" fmla="*/ 9962 h 11635"/>
                  <a:gd name="connsiteX3" fmla="*/ 1180 w 3704"/>
                  <a:gd name="connsiteY3" fmla="*/ 11636 h 11635"/>
                  <a:gd name="connsiteX4" fmla="*/ 0 w 3704"/>
                  <a:gd name="connsiteY4" fmla="*/ 4720 h 11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 h="11635">
                    <a:moveTo>
                      <a:pt x="0" y="4693"/>
                    </a:moveTo>
                    <a:lnTo>
                      <a:pt x="2936" y="0"/>
                    </a:lnTo>
                    <a:lnTo>
                      <a:pt x="3704" y="9962"/>
                    </a:lnTo>
                    <a:lnTo>
                      <a:pt x="1180" y="11636"/>
                    </a:lnTo>
                    <a:lnTo>
                      <a:pt x="0" y="472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8" name="Freeform: Shape 4437">
                <a:extLst>
                  <a:ext uri="{FF2B5EF4-FFF2-40B4-BE49-F238E27FC236}">
                    <a16:creationId xmlns:a16="http://schemas.microsoft.com/office/drawing/2014/main" id="{D7A0F192-397D-AA3A-BB97-3D1B71BC15DB}"/>
                  </a:ext>
                </a:extLst>
              </p:cNvPr>
              <p:cNvSpPr/>
              <p:nvPr/>
            </p:nvSpPr>
            <p:spPr>
              <a:xfrm>
                <a:off x="1648353" y="3425649"/>
                <a:ext cx="515" cy="1294"/>
              </a:xfrm>
              <a:custGeom>
                <a:avLst/>
                <a:gdLst>
                  <a:gd name="connsiteX0" fmla="*/ 27 w 4939"/>
                  <a:gd name="connsiteY0" fmla="*/ 6257 h 12404"/>
                  <a:gd name="connsiteX1" fmla="*/ 714 w 4939"/>
                  <a:gd name="connsiteY1" fmla="*/ 1564 h 12404"/>
                  <a:gd name="connsiteX2" fmla="*/ 4171 w 4939"/>
                  <a:gd name="connsiteY2" fmla="*/ 0 h 12404"/>
                  <a:gd name="connsiteX3" fmla="*/ 4939 w 4939"/>
                  <a:gd name="connsiteY3" fmla="*/ 6120 h 12404"/>
                  <a:gd name="connsiteX4" fmla="*/ 3101 w 4939"/>
                  <a:gd name="connsiteY4" fmla="*/ 12404 h 12404"/>
                  <a:gd name="connsiteX5" fmla="*/ 0 w 4939"/>
                  <a:gd name="connsiteY5" fmla="*/ 6257 h 1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9" h="12404">
                    <a:moveTo>
                      <a:pt x="27" y="6257"/>
                    </a:moveTo>
                    <a:lnTo>
                      <a:pt x="714" y="1564"/>
                    </a:lnTo>
                    <a:lnTo>
                      <a:pt x="4171" y="0"/>
                    </a:lnTo>
                    <a:lnTo>
                      <a:pt x="4939" y="6120"/>
                    </a:lnTo>
                    <a:lnTo>
                      <a:pt x="3101" y="12404"/>
                    </a:lnTo>
                    <a:lnTo>
                      <a:pt x="0" y="625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39" name="Freeform: Shape 4438">
                <a:extLst>
                  <a:ext uri="{FF2B5EF4-FFF2-40B4-BE49-F238E27FC236}">
                    <a16:creationId xmlns:a16="http://schemas.microsoft.com/office/drawing/2014/main" id="{57570577-4E4F-0A2E-1B64-845BAB452826}"/>
                  </a:ext>
                </a:extLst>
              </p:cNvPr>
              <p:cNvSpPr/>
              <p:nvPr/>
            </p:nvSpPr>
            <p:spPr>
              <a:xfrm>
                <a:off x="1525802" y="3409588"/>
                <a:ext cx="570" cy="1274"/>
              </a:xfrm>
              <a:custGeom>
                <a:avLst/>
                <a:gdLst>
                  <a:gd name="connsiteX0" fmla="*/ 0 w 5461"/>
                  <a:gd name="connsiteY0" fmla="*/ 6092 h 12212"/>
                  <a:gd name="connsiteX1" fmla="*/ 796 w 5461"/>
                  <a:gd name="connsiteY1" fmla="*/ 0 h 12212"/>
                  <a:gd name="connsiteX2" fmla="*/ 5461 w 5461"/>
                  <a:gd name="connsiteY2" fmla="*/ 1921 h 12212"/>
                  <a:gd name="connsiteX3" fmla="*/ 4720 w 5461"/>
                  <a:gd name="connsiteY3" fmla="*/ 12212 h 12212"/>
                  <a:gd name="connsiteX4" fmla="*/ 0 w 5461"/>
                  <a:gd name="connsiteY4" fmla="*/ 6092 h 12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1" h="12212">
                    <a:moveTo>
                      <a:pt x="0" y="6092"/>
                    </a:moveTo>
                    <a:lnTo>
                      <a:pt x="796" y="0"/>
                    </a:lnTo>
                    <a:lnTo>
                      <a:pt x="5461" y="1921"/>
                    </a:lnTo>
                    <a:lnTo>
                      <a:pt x="4720" y="12212"/>
                    </a:lnTo>
                    <a:lnTo>
                      <a:pt x="0" y="609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0" name="Freeform: Shape 4439">
                <a:extLst>
                  <a:ext uri="{FF2B5EF4-FFF2-40B4-BE49-F238E27FC236}">
                    <a16:creationId xmlns:a16="http://schemas.microsoft.com/office/drawing/2014/main" id="{EEC83B0F-01D0-1C8A-0DF3-31CBC50DF24B}"/>
                  </a:ext>
                </a:extLst>
              </p:cNvPr>
              <p:cNvSpPr/>
              <p:nvPr/>
            </p:nvSpPr>
            <p:spPr>
              <a:xfrm>
                <a:off x="1696392" y="3462473"/>
                <a:ext cx="458" cy="1168"/>
              </a:xfrm>
              <a:custGeom>
                <a:avLst/>
                <a:gdLst>
                  <a:gd name="connsiteX0" fmla="*/ 0 w 4391"/>
                  <a:gd name="connsiteY0" fmla="*/ 11197 h 11196"/>
                  <a:gd name="connsiteX1" fmla="*/ 933 w 4391"/>
                  <a:gd name="connsiteY1" fmla="*/ 1015 h 11196"/>
                  <a:gd name="connsiteX2" fmla="*/ 3458 w 4391"/>
                  <a:gd name="connsiteY2" fmla="*/ 0 h 11196"/>
                  <a:gd name="connsiteX3" fmla="*/ 4391 w 4391"/>
                  <a:gd name="connsiteY3" fmla="*/ 7711 h 11196"/>
                  <a:gd name="connsiteX4" fmla="*/ 0 w 4391"/>
                  <a:gd name="connsiteY4" fmla="*/ 11197 h 11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 h="11196">
                    <a:moveTo>
                      <a:pt x="0" y="11197"/>
                    </a:moveTo>
                    <a:lnTo>
                      <a:pt x="933" y="1015"/>
                    </a:lnTo>
                    <a:lnTo>
                      <a:pt x="3458" y="0"/>
                    </a:lnTo>
                    <a:lnTo>
                      <a:pt x="4391" y="7711"/>
                    </a:lnTo>
                    <a:lnTo>
                      <a:pt x="0" y="111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1" name="Freeform: Shape 4440">
                <a:extLst>
                  <a:ext uri="{FF2B5EF4-FFF2-40B4-BE49-F238E27FC236}">
                    <a16:creationId xmlns:a16="http://schemas.microsoft.com/office/drawing/2014/main" id="{F76F5015-3C40-BD6B-4B2D-D99F61540D66}"/>
                  </a:ext>
                </a:extLst>
              </p:cNvPr>
              <p:cNvSpPr/>
              <p:nvPr/>
            </p:nvSpPr>
            <p:spPr>
              <a:xfrm>
                <a:off x="1652655" y="3444921"/>
                <a:ext cx="429" cy="1371"/>
              </a:xfrm>
              <a:custGeom>
                <a:avLst/>
                <a:gdLst>
                  <a:gd name="connsiteX0" fmla="*/ 4116 w 4116"/>
                  <a:gd name="connsiteY0" fmla="*/ 13145 h 13145"/>
                  <a:gd name="connsiteX1" fmla="*/ 1400 w 4116"/>
                  <a:gd name="connsiteY1" fmla="*/ 13145 h 13145"/>
                  <a:gd name="connsiteX2" fmla="*/ 0 w 4116"/>
                  <a:gd name="connsiteY2" fmla="*/ 7986 h 13145"/>
                  <a:gd name="connsiteX3" fmla="*/ 4116 w 4116"/>
                  <a:gd name="connsiteY3" fmla="*/ 0 h 13145"/>
                  <a:gd name="connsiteX4" fmla="*/ 4116 w 4116"/>
                  <a:gd name="connsiteY4" fmla="*/ 13145 h 1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13145">
                    <a:moveTo>
                      <a:pt x="4116" y="13145"/>
                    </a:moveTo>
                    <a:lnTo>
                      <a:pt x="1400" y="13145"/>
                    </a:lnTo>
                    <a:cubicBezTo>
                      <a:pt x="1400" y="13145"/>
                      <a:pt x="0" y="7986"/>
                      <a:pt x="0" y="7986"/>
                    </a:cubicBezTo>
                    <a:lnTo>
                      <a:pt x="4116" y="0"/>
                    </a:lnTo>
                    <a:lnTo>
                      <a:pt x="4116" y="131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2" name="Freeform: Shape 4441">
                <a:extLst>
                  <a:ext uri="{FF2B5EF4-FFF2-40B4-BE49-F238E27FC236}">
                    <a16:creationId xmlns:a16="http://schemas.microsoft.com/office/drawing/2014/main" id="{C46EB2C7-009F-6B14-E726-70021DB3AC21}"/>
                  </a:ext>
                </a:extLst>
              </p:cNvPr>
              <p:cNvSpPr/>
              <p:nvPr/>
            </p:nvSpPr>
            <p:spPr>
              <a:xfrm>
                <a:off x="1628517" y="3489542"/>
                <a:ext cx="409" cy="1116"/>
              </a:xfrm>
              <a:custGeom>
                <a:avLst/>
                <a:gdLst>
                  <a:gd name="connsiteX0" fmla="*/ 3073 w 3924"/>
                  <a:gd name="connsiteY0" fmla="*/ 10483 h 10702"/>
                  <a:gd name="connsiteX1" fmla="*/ 1262 w 3924"/>
                  <a:gd name="connsiteY1" fmla="*/ 10703 h 10702"/>
                  <a:gd name="connsiteX2" fmla="*/ 0 w 3924"/>
                  <a:gd name="connsiteY2" fmla="*/ 4912 h 10702"/>
                  <a:gd name="connsiteX3" fmla="*/ 2305 w 3924"/>
                  <a:gd name="connsiteY3" fmla="*/ 0 h 10702"/>
                  <a:gd name="connsiteX4" fmla="*/ 3924 w 3924"/>
                  <a:gd name="connsiteY4" fmla="*/ 3101 h 10702"/>
                  <a:gd name="connsiteX5" fmla="*/ 3073 w 3924"/>
                  <a:gd name="connsiteY5" fmla="*/ 10483 h 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4" h="10702">
                    <a:moveTo>
                      <a:pt x="3073" y="10483"/>
                    </a:moveTo>
                    <a:lnTo>
                      <a:pt x="1262" y="10703"/>
                    </a:lnTo>
                    <a:lnTo>
                      <a:pt x="0" y="4912"/>
                    </a:lnTo>
                    <a:lnTo>
                      <a:pt x="2305" y="0"/>
                    </a:lnTo>
                    <a:lnTo>
                      <a:pt x="3924" y="3101"/>
                    </a:lnTo>
                    <a:lnTo>
                      <a:pt x="3073" y="104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3" name="Freeform: Shape 4442">
                <a:extLst>
                  <a:ext uri="{FF2B5EF4-FFF2-40B4-BE49-F238E27FC236}">
                    <a16:creationId xmlns:a16="http://schemas.microsoft.com/office/drawing/2014/main" id="{75311F6C-5263-0722-2DC6-C29004367A3F}"/>
                  </a:ext>
                </a:extLst>
              </p:cNvPr>
              <p:cNvSpPr/>
              <p:nvPr/>
            </p:nvSpPr>
            <p:spPr>
              <a:xfrm>
                <a:off x="1665490" y="3464923"/>
                <a:ext cx="415" cy="1248"/>
              </a:xfrm>
              <a:custGeom>
                <a:avLst/>
                <a:gdLst>
                  <a:gd name="connsiteX0" fmla="*/ 0 w 3979"/>
                  <a:gd name="connsiteY0" fmla="*/ 7684 h 11965"/>
                  <a:gd name="connsiteX1" fmla="*/ 0 w 3979"/>
                  <a:gd name="connsiteY1" fmla="*/ 0 h 11965"/>
                  <a:gd name="connsiteX2" fmla="*/ 3979 w 3979"/>
                  <a:gd name="connsiteY2" fmla="*/ 2662 h 11965"/>
                  <a:gd name="connsiteX3" fmla="*/ 2689 w 3979"/>
                  <a:gd name="connsiteY3" fmla="*/ 11965 h 11965"/>
                  <a:gd name="connsiteX4" fmla="*/ 0 w 3979"/>
                  <a:gd name="connsiteY4" fmla="*/ 7712 h 11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11965">
                    <a:moveTo>
                      <a:pt x="0" y="7684"/>
                    </a:moveTo>
                    <a:lnTo>
                      <a:pt x="0" y="0"/>
                    </a:lnTo>
                    <a:lnTo>
                      <a:pt x="3979" y="2662"/>
                    </a:lnTo>
                    <a:lnTo>
                      <a:pt x="2689" y="11965"/>
                    </a:lnTo>
                    <a:lnTo>
                      <a:pt x="0" y="771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4" name="Freeform: Shape 4443">
                <a:extLst>
                  <a:ext uri="{FF2B5EF4-FFF2-40B4-BE49-F238E27FC236}">
                    <a16:creationId xmlns:a16="http://schemas.microsoft.com/office/drawing/2014/main" id="{C262A56E-B08A-31BD-CD64-E38CF06CA633}"/>
                  </a:ext>
                </a:extLst>
              </p:cNvPr>
              <p:cNvSpPr/>
              <p:nvPr/>
            </p:nvSpPr>
            <p:spPr>
              <a:xfrm>
                <a:off x="1549614" y="3412871"/>
                <a:ext cx="518" cy="1334"/>
              </a:xfrm>
              <a:custGeom>
                <a:avLst/>
                <a:gdLst>
                  <a:gd name="connsiteX0" fmla="*/ 0 w 4967"/>
                  <a:gd name="connsiteY0" fmla="*/ 5269 h 12788"/>
                  <a:gd name="connsiteX1" fmla="*/ 549 w 4967"/>
                  <a:gd name="connsiteY1" fmla="*/ 1537 h 12788"/>
                  <a:gd name="connsiteX2" fmla="*/ 4226 w 4967"/>
                  <a:gd name="connsiteY2" fmla="*/ 0 h 12788"/>
                  <a:gd name="connsiteX3" fmla="*/ 4967 w 4967"/>
                  <a:gd name="connsiteY3" fmla="*/ 12788 h 12788"/>
                  <a:gd name="connsiteX4" fmla="*/ 494 w 4967"/>
                  <a:gd name="connsiteY4" fmla="*/ 8233 h 12788"/>
                  <a:gd name="connsiteX5" fmla="*/ 0 w 4967"/>
                  <a:gd name="connsiteY5" fmla="*/ 5296 h 1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 h="12788">
                    <a:moveTo>
                      <a:pt x="0" y="5269"/>
                    </a:moveTo>
                    <a:lnTo>
                      <a:pt x="549" y="1537"/>
                    </a:lnTo>
                    <a:lnTo>
                      <a:pt x="4226" y="0"/>
                    </a:lnTo>
                    <a:lnTo>
                      <a:pt x="4967" y="12788"/>
                    </a:lnTo>
                    <a:lnTo>
                      <a:pt x="494" y="8233"/>
                    </a:lnTo>
                    <a:lnTo>
                      <a:pt x="0" y="529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5" name="Freeform: Shape 4444">
                <a:extLst>
                  <a:ext uri="{FF2B5EF4-FFF2-40B4-BE49-F238E27FC236}">
                    <a16:creationId xmlns:a16="http://schemas.microsoft.com/office/drawing/2014/main" id="{F6E72C1A-A68C-2BC2-7419-224B80075A2C}"/>
                  </a:ext>
                </a:extLst>
              </p:cNvPr>
              <p:cNvSpPr/>
              <p:nvPr/>
            </p:nvSpPr>
            <p:spPr>
              <a:xfrm>
                <a:off x="1650984" y="3423368"/>
                <a:ext cx="421" cy="1523"/>
              </a:xfrm>
              <a:custGeom>
                <a:avLst/>
                <a:gdLst>
                  <a:gd name="connsiteX0" fmla="*/ 0 w 4034"/>
                  <a:gd name="connsiteY0" fmla="*/ 4720 h 14599"/>
                  <a:gd name="connsiteX1" fmla="*/ 3759 w 4034"/>
                  <a:gd name="connsiteY1" fmla="*/ 0 h 14599"/>
                  <a:gd name="connsiteX2" fmla="*/ 4034 w 4034"/>
                  <a:gd name="connsiteY2" fmla="*/ 11526 h 14599"/>
                  <a:gd name="connsiteX3" fmla="*/ 1152 w 4034"/>
                  <a:gd name="connsiteY3" fmla="*/ 14600 h 14599"/>
                  <a:gd name="connsiteX4" fmla="*/ 0 w 4034"/>
                  <a:gd name="connsiteY4" fmla="*/ 4693 h 14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 h="14599">
                    <a:moveTo>
                      <a:pt x="0" y="4720"/>
                    </a:moveTo>
                    <a:lnTo>
                      <a:pt x="3759" y="0"/>
                    </a:lnTo>
                    <a:lnTo>
                      <a:pt x="4034" y="11526"/>
                    </a:lnTo>
                    <a:lnTo>
                      <a:pt x="1152" y="14600"/>
                    </a:lnTo>
                    <a:lnTo>
                      <a:pt x="0" y="469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6" name="Freeform: Shape 4445">
                <a:extLst>
                  <a:ext uri="{FF2B5EF4-FFF2-40B4-BE49-F238E27FC236}">
                    <a16:creationId xmlns:a16="http://schemas.microsoft.com/office/drawing/2014/main" id="{DE780E6E-C301-A7C8-2FCA-1F13737AA620}"/>
                  </a:ext>
                </a:extLst>
              </p:cNvPr>
              <p:cNvSpPr/>
              <p:nvPr/>
            </p:nvSpPr>
            <p:spPr>
              <a:xfrm>
                <a:off x="1627596" y="3497548"/>
                <a:ext cx="592" cy="721"/>
              </a:xfrm>
              <a:custGeom>
                <a:avLst/>
                <a:gdLst>
                  <a:gd name="connsiteX0" fmla="*/ 5516 w 5680"/>
                  <a:gd name="connsiteY0" fmla="*/ 5214 h 6915"/>
                  <a:gd name="connsiteX1" fmla="*/ 604 w 5680"/>
                  <a:gd name="connsiteY1" fmla="*/ 6916 h 6915"/>
                  <a:gd name="connsiteX2" fmla="*/ 0 w 5680"/>
                  <a:gd name="connsiteY2" fmla="*/ 4748 h 6915"/>
                  <a:gd name="connsiteX3" fmla="*/ 356 w 5680"/>
                  <a:gd name="connsiteY3" fmla="*/ 0 h 6915"/>
                  <a:gd name="connsiteX4" fmla="*/ 5680 w 5680"/>
                  <a:gd name="connsiteY4" fmla="*/ 1811 h 6915"/>
                  <a:gd name="connsiteX5" fmla="*/ 5544 w 5680"/>
                  <a:gd name="connsiteY5" fmla="*/ 5242 h 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80" h="6915">
                    <a:moveTo>
                      <a:pt x="5516" y="5214"/>
                    </a:moveTo>
                    <a:lnTo>
                      <a:pt x="604" y="6916"/>
                    </a:lnTo>
                    <a:lnTo>
                      <a:pt x="0" y="4748"/>
                    </a:lnTo>
                    <a:lnTo>
                      <a:pt x="356" y="0"/>
                    </a:lnTo>
                    <a:lnTo>
                      <a:pt x="5680" y="1811"/>
                    </a:lnTo>
                    <a:lnTo>
                      <a:pt x="5544" y="52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7" name="Freeform: Shape 4446">
                <a:extLst>
                  <a:ext uri="{FF2B5EF4-FFF2-40B4-BE49-F238E27FC236}">
                    <a16:creationId xmlns:a16="http://schemas.microsoft.com/office/drawing/2014/main" id="{A4BBECFD-0D58-71B4-EA49-B59B565975DC}"/>
                  </a:ext>
                </a:extLst>
              </p:cNvPr>
              <p:cNvSpPr/>
              <p:nvPr/>
            </p:nvSpPr>
            <p:spPr>
              <a:xfrm>
                <a:off x="1539919" y="3534280"/>
                <a:ext cx="452" cy="770"/>
              </a:xfrm>
              <a:custGeom>
                <a:avLst/>
                <a:gdLst>
                  <a:gd name="connsiteX0" fmla="*/ 27 w 4336"/>
                  <a:gd name="connsiteY0" fmla="*/ 3074 h 7382"/>
                  <a:gd name="connsiteX1" fmla="*/ 4336 w 4336"/>
                  <a:gd name="connsiteY1" fmla="*/ 0 h 7382"/>
                  <a:gd name="connsiteX2" fmla="*/ 4034 w 4336"/>
                  <a:gd name="connsiteY2" fmla="*/ 7382 h 7382"/>
                  <a:gd name="connsiteX3" fmla="*/ 1262 w 4336"/>
                  <a:gd name="connsiteY3" fmla="*/ 7135 h 7382"/>
                  <a:gd name="connsiteX4" fmla="*/ 0 w 4336"/>
                  <a:gd name="connsiteY4" fmla="*/ 3074 h 7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 h="7382">
                    <a:moveTo>
                      <a:pt x="27" y="3074"/>
                    </a:moveTo>
                    <a:lnTo>
                      <a:pt x="4336" y="0"/>
                    </a:lnTo>
                    <a:lnTo>
                      <a:pt x="4034" y="7382"/>
                    </a:lnTo>
                    <a:lnTo>
                      <a:pt x="1262" y="7135"/>
                    </a:lnTo>
                    <a:lnTo>
                      <a:pt x="0"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8" name="Freeform: Shape 4447">
                <a:extLst>
                  <a:ext uri="{FF2B5EF4-FFF2-40B4-BE49-F238E27FC236}">
                    <a16:creationId xmlns:a16="http://schemas.microsoft.com/office/drawing/2014/main" id="{0A782FC3-EAD3-0F3F-575B-C1318F4A7A55}"/>
                  </a:ext>
                </a:extLst>
              </p:cNvPr>
              <p:cNvSpPr/>
              <p:nvPr/>
            </p:nvSpPr>
            <p:spPr>
              <a:xfrm>
                <a:off x="1664703" y="3465235"/>
                <a:ext cx="361" cy="1380"/>
              </a:xfrm>
              <a:custGeom>
                <a:avLst/>
                <a:gdLst>
                  <a:gd name="connsiteX0" fmla="*/ 3430 w 3457"/>
                  <a:gd name="connsiteY0" fmla="*/ 11416 h 13227"/>
                  <a:gd name="connsiteX1" fmla="*/ 1509 w 3457"/>
                  <a:gd name="connsiteY1" fmla="*/ 13227 h 13227"/>
                  <a:gd name="connsiteX2" fmla="*/ 0 w 3457"/>
                  <a:gd name="connsiteY2" fmla="*/ 6504 h 13227"/>
                  <a:gd name="connsiteX3" fmla="*/ 2086 w 3457"/>
                  <a:gd name="connsiteY3" fmla="*/ 0 h 13227"/>
                  <a:gd name="connsiteX4" fmla="*/ 3458 w 3457"/>
                  <a:gd name="connsiteY4" fmla="*/ 2388 h 13227"/>
                  <a:gd name="connsiteX5" fmla="*/ 3458 w 3457"/>
                  <a:gd name="connsiteY5" fmla="*/ 11416 h 13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7" h="13227">
                    <a:moveTo>
                      <a:pt x="3430" y="11416"/>
                    </a:moveTo>
                    <a:lnTo>
                      <a:pt x="1509" y="13227"/>
                    </a:lnTo>
                    <a:lnTo>
                      <a:pt x="0" y="6504"/>
                    </a:lnTo>
                    <a:lnTo>
                      <a:pt x="2086" y="0"/>
                    </a:lnTo>
                    <a:lnTo>
                      <a:pt x="3458" y="2388"/>
                    </a:lnTo>
                    <a:lnTo>
                      <a:pt x="3458" y="114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49" name="Freeform: Shape 4448">
                <a:extLst>
                  <a:ext uri="{FF2B5EF4-FFF2-40B4-BE49-F238E27FC236}">
                    <a16:creationId xmlns:a16="http://schemas.microsoft.com/office/drawing/2014/main" id="{C99855B6-66F6-2827-FDFF-35783A78DC99}"/>
                  </a:ext>
                </a:extLst>
              </p:cNvPr>
              <p:cNvSpPr/>
              <p:nvPr/>
            </p:nvSpPr>
            <p:spPr>
              <a:xfrm>
                <a:off x="1544688" y="3536785"/>
                <a:ext cx="323" cy="1042"/>
              </a:xfrm>
              <a:custGeom>
                <a:avLst/>
                <a:gdLst>
                  <a:gd name="connsiteX0" fmla="*/ 0 w 3101"/>
                  <a:gd name="connsiteY0" fmla="*/ 4281 h 9989"/>
                  <a:gd name="connsiteX1" fmla="*/ 2937 w 3101"/>
                  <a:gd name="connsiteY1" fmla="*/ 0 h 9989"/>
                  <a:gd name="connsiteX2" fmla="*/ 3101 w 3101"/>
                  <a:gd name="connsiteY2" fmla="*/ 8644 h 9989"/>
                  <a:gd name="connsiteX3" fmla="*/ 604 w 3101"/>
                  <a:gd name="connsiteY3" fmla="*/ 9989 h 9989"/>
                  <a:gd name="connsiteX4" fmla="*/ 0 w 3101"/>
                  <a:gd name="connsiteY4" fmla="*/ 4281 h 9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1" h="9989">
                    <a:moveTo>
                      <a:pt x="0" y="4281"/>
                    </a:moveTo>
                    <a:lnTo>
                      <a:pt x="2937" y="0"/>
                    </a:lnTo>
                    <a:lnTo>
                      <a:pt x="3101" y="8644"/>
                    </a:lnTo>
                    <a:lnTo>
                      <a:pt x="604" y="9989"/>
                    </a:lnTo>
                    <a:lnTo>
                      <a:pt x="0" y="428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0" name="Freeform: Shape 4449">
                <a:extLst>
                  <a:ext uri="{FF2B5EF4-FFF2-40B4-BE49-F238E27FC236}">
                    <a16:creationId xmlns:a16="http://schemas.microsoft.com/office/drawing/2014/main" id="{BC6C3C76-DDDC-F3E9-7A57-0D14B32967FB}"/>
                  </a:ext>
                </a:extLst>
              </p:cNvPr>
              <p:cNvSpPr/>
              <p:nvPr/>
            </p:nvSpPr>
            <p:spPr>
              <a:xfrm>
                <a:off x="1588591" y="3513651"/>
                <a:ext cx="469" cy="819"/>
              </a:xfrm>
              <a:custGeom>
                <a:avLst/>
                <a:gdLst>
                  <a:gd name="connsiteX0" fmla="*/ 27 w 4500"/>
                  <a:gd name="connsiteY0" fmla="*/ 7492 h 7848"/>
                  <a:gd name="connsiteX1" fmla="*/ 1180 w 4500"/>
                  <a:gd name="connsiteY1" fmla="*/ 439 h 7848"/>
                  <a:gd name="connsiteX2" fmla="*/ 3073 w 4500"/>
                  <a:gd name="connsiteY2" fmla="*/ 0 h 7848"/>
                  <a:gd name="connsiteX3" fmla="*/ 4500 w 4500"/>
                  <a:gd name="connsiteY3" fmla="*/ 3458 h 7848"/>
                  <a:gd name="connsiteX4" fmla="*/ 2744 w 4500"/>
                  <a:gd name="connsiteY4" fmla="*/ 7849 h 7848"/>
                  <a:gd name="connsiteX5" fmla="*/ 0 w 4500"/>
                  <a:gd name="connsiteY5" fmla="*/ 7464 h 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 h="7848">
                    <a:moveTo>
                      <a:pt x="27" y="7492"/>
                    </a:moveTo>
                    <a:lnTo>
                      <a:pt x="1180" y="439"/>
                    </a:lnTo>
                    <a:lnTo>
                      <a:pt x="3073" y="0"/>
                    </a:lnTo>
                    <a:lnTo>
                      <a:pt x="4500" y="3458"/>
                    </a:lnTo>
                    <a:lnTo>
                      <a:pt x="2744" y="7849"/>
                    </a:lnTo>
                    <a:lnTo>
                      <a:pt x="0" y="74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1" name="Freeform: Shape 4450">
                <a:extLst>
                  <a:ext uri="{FF2B5EF4-FFF2-40B4-BE49-F238E27FC236}">
                    <a16:creationId xmlns:a16="http://schemas.microsoft.com/office/drawing/2014/main" id="{C5A86D7E-1963-73EB-BB42-5563DC38E14F}"/>
                  </a:ext>
                </a:extLst>
              </p:cNvPr>
              <p:cNvSpPr/>
              <p:nvPr/>
            </p:nvSpPr>
            <p:spPr>
              <a:xfrm>
                <a:off x="1672025" y="3425391"/>
                <a:ext cx="466" cy="1340"/>
              </a:xfrm>
              <a:custGeom>
                <a:avLst/>
                <a:gdLst>
                  <a:gd name="connsiteX0" fmla="*/ 0 w 4472"/>
                  <a:gd name="connsiteY0" fmla="*/ 12843 h 12843"/>
                  <a:gd name="connsiteX1" fmla="*/ 1180 w 4472"/>
                  <a:gd name="connsiteY1" fmla="*/ 3403 h 12843"/>
                  <a:gd name="connsiteX2" fmla="*/ 4226 w 4472"/>
                  <a:gd name="connsiteY2" fmla="*/ 0 h 12843"/>
                  <a:gd name="connsiteX3" fmla="*/ 4473 w 4472"/>
                  <a:gd name="connsiteY3" fmla="*/ 11471 h 12843"/>
                  <a:gd name="connsiteX4" fmla="*/ 27 w 4472"/>
                  <a:gd name="connsiteY4" fmla="*/ 12843 h 12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2" h="12843">
                    <a:moveTo>
                      <a:pt x="0" y="12843"/>
                    </a:moveTo>
                    <a:lnTo>
                      <a:pt x="1180" y="3403"/>
                    </a:lnTo>
                    <a:lnTo>
                      <a:pt x="4226" y="0"/>
                    </a:lnTo>
                    <a:lnTo>
                      <a:pt x="4473" y="11471"/>
                    </a:lnTo>
                    <a:lnTo>
                      <a:pt x="27" y="128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2" name="Freeform: Shape 4451">
                <a:extLst>
                  <a:ext uri="{FF2B5EF4-FFF2-40B4-BE49-F238E27FC236}">
                    <a16:creationId xmlns:a16="http://schemas.microsoft.com/office/drawing/2014/main" id="{12FC6BDC-E239-6BB5-65BC-8E0A33B43E07}"/>
                  </a:ext>
                </a:extLst>
              </p:cNvPr>
              <p:cNvSpPr/>
              <p:nvPr/>
            </p:nvSpPr>
            <p:spPr>
              <a:xfrm>
                <a:off x="1512404" y="3686785"/>
                <a:ext cx="243" cy="664"/>
              </a:xfrm>
              <a:custGeom>
                <a:avLst/>
                <a:gdLst>
                  <a:gd name="connsiteX0" fmla="*/ 0 w 2332"/>
                  <a:gd name="connsiteY0" fmla="*/ 0 h 6366"/>
                  <a:gd name="connsiteX1" fmla="*/ 2278 w 2332"/>
                  <a:gd name="connsiteY1" fmla="*/ 823 h 6366"/>
                  <a:gd name="connsiteX2" fmla="*/ 2333 w 2332"/>
                  <a:gd name="connsiteY2" fmla="*/ 4857 h 6366"/>
                  <a:gd name="connsiteX3" fmla="*/ 851 w 2332"/>
                  <a:gd name="connsiteY3" fmla="*/ 6367 h 6366"/>
                  <a:gd name="connsiteX4" fmla="*/ 0 w 2332"/>
                  <a:gd name="connsiteY4" fmla="*/ 0 h 6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 h="6366">
                    <a:moveTo>
                      <a:pt x="0" y="0"/>
                    </a:moveTo>
                    <a:lnTo>
                      <a:pt x="2278" y="823"/>
                    </a:lnTo>
                    <a:lnTo>
                      <a:pt x="2333" y="4857"/>
                    </a:lnTo>
                    <a:lnTo>
                      <a:pt x="851" y="6367"/>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3" name="Freeform: Shape 4452">
                <a:extLst>
                  <a:ext uri="{FF2B5EF4-FFF2-40B4-BE49-F238E27FC236}">
                    <a16:creationId xmlns:a16="http://schemas.microsoft.com/office/drawing/2014/main" id="{622AFB62-7474-E251-D851-31EEF8CFD0E0}"/>
                  </a:ext>
                </a:extLst>
              </p:cNvPr>
              <p:cNvSpPr/>
              <p:nvPr/>
            </p:nvSpPr>
            <p:spPr>
              <a:xfrm>
                <a:off x="1545269" y="3404754"/>
                <a:ext cx="472" cy="1477"/>
              </a:xfrm>
              <a:custGeom>
                <a:avLst/>
                <a:gdLst>
                  <a:gd name="connsiteX0" fmla="*/ 0 w 4528"/>
                  <a:gd name="connsiteY0" fmla="*/ 9770 h 14160"/>
                  <a:gd name="connsiteX1" fmla="*/ 412 w 4528"/>
                  <a:gd name="connsiteY1" fmla="*/ 6614 h 14160"/>
                  <a:gd name="connsiteX2" fmla="*/ 4226 w 4528"/>
                  <a:gd name="connsiteY2" fmla="*/ 0 h 14160"/>
                  <a:gd name="connsiteX3" fmla="*/ 4528 w 4528"/>
                  <a:gd name="connsiteY3" fmla="*/ 14161 h 14160"/>
                  <a:gd name="connsiteX4" fmla="*/ 549 w 4528"/>
                  <a:gd name="connsiteY4" fmla="*/ 13255 h 14160"/>
                  <a:gd name="connsiteX5" fmla="*/ 0 w 4528"/>
                  <a:gd name="connsiteY5" fmla="*/ 9742 h 1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8" h="14160">
                    <a:moveTo>
                      <a:pt x="0" y="9770"/>
                    </a:moveTo>
                    <a:lnTo>
                      <a:pt x="412" y="6614"/>
                    </a:lnTo>
                    <a:lnTo>
                      <a:pt x="4226" y="0"/>
                    </a:lnTo>
                    <a:lnTo>
                      <a:pt x="4528" y="14161"/>
                    </a:lnTo>
                    <a:lnTo>
                      <a:pt x="549" y="13255"/>
                    </a:lnTo>
                    <a:lnTo>
                      <a:pt x="0" y="974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4" name="Freeform: Shape 4453">
                <a:extLst>
                  <a:ext uri="{FF2B5EF4-FFF2-40B4-BE49-F238E27FC236}">
                    <a16:creationId xmlns:a16="http://schemas.microsoft.com/office/drawing/2014/main" id="{379B02E7-9AB2-BF20-81D6-530A243C452A}"/>
                  </a:ext>
                </a:extLst>
              </p:cNvPr>
              <p:cNvSpPr/>
              <p:nvPr/>
            </p:nvSpPr>
            <p:spPr>
              <a:xfrm>
                <a:off x="1637479" y="3461262"/>
                <a:ext cx="621" cy="810"/>
              </a:xfrm>
              <a:custGeom>
                <a:avLst/>
                <a:gdLst>
                  <a:gd name="connsiteX0" fmla="*/ 27 w 5954"/>
                  <a:gd name="connsiteY0" fmla="*/ 0 h 7766"/>
                  <a:gd name="connsiteX1" fmla="*/ 5955 w 5954"/>
                  <a:gd name="connsiteY1" fmla="*/ 1262 h 7766"/>
                  <a:gd name="connsiteX2" fmla="*/ 5955 w 5954"/>
                  <a:gd name="connsiteY2" fmla="*/ 6641 h 7766"/>
                  <a:gd name="connsiteX3" fmla="*/ 576 w 5954"/>
                  <a:gd name="connsiteY3" fmla="*/ 7766 h 7766"/>
                  <a:gd name="connsiteX4" fmla="*/ 0 w 5954"/>
                  <a:gd name="connsiteY4" fmla="*/ 0 h 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4" h="7766">
                    <a:moveTo>
                      <a:pt x="27" y="0"/>
                    </a:moveTo>
                    <a:lnTo>
                      <a:pt x="5955" y="1262"/>
                    </a:lnTo>
                    <a:lnTo>
                      <a:pt x="5955" y="6641"/>
                    </a:lnTo>
                    <a:lnTo>
                      <a:pt x="576" y="7766"/>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5" name="Freeform: Shape 4454">
                <a:extLst>
                  <a:ext uri="{FF2B5EF4-FFF2-40B4-BE49-F238E27FC236}">
                    <a16:creationId xmlns:a16="http://schemas.microsoft.com/office/drawing/2014/main" id="{11731BA7-D863-0374-2D2C-22BC0D14320D}"/>
                  </a:ext>
                </a:extLst>
              </p:cNvPr>
              <p:cNvSpPr/>
              <p:nvPr/>
            </p:nvSpPr>
            <p:spPr>
              <a:xfrm>
                <a:off x="1530720" y="3410009"/>
                <a:ext cx="561" cy="1179"/>
              </a:xfrm>
              <a:custGeom>
                <a:avLst/>
                <a:gdLst>
                  <a:gd name="connsiteX0" fmla="*/ 0 w 5379"/>
                  <a:gd name="connsiteY0" fmla="*/ 4610 h 11306"/>
                  <a:gd name="connsiteX1" fmla="*/ 4611 w 5379"/>
                  <a:gd name="connsiteY1" fmla="*/ 0 h 11306"/>
                  <a:gd name="connsiteX2" fmla="*/ 5379 w 5379"/>
                  <a:gd name="connsiteY2" fmla="*/ 10181 h 11306"/>
                  <a:gd name="connsiteX3" fmla="*/ 659 w 5379"/>
                  <a:gd name="connsiteY3" fmla="*/ 11306 h 11306"/>
                  <a:gd name="connsiteX4" fmla="*/ 0 w 5379"/>
                  <a:gd name="connsiteY4" fmla="*/ 4610 h 11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9" h="11306">
                    <a:moveTo>
                      <a:pt x="0" y="4610"/>
                    </a:moveTo>
                    <a:lnTo>
                      <a:pt x="4611" y="0"/>
                    </a:lnTo>
                    <a:lnTo>
                      <a:pt x="5379" y="10181"/>
                    </a:lnTo>
                    <a:lnTo>
                      <a:pt x="659" y="11306"/>
                    </a:lnTo>
                    <a:lnTo>
                      <a:pt x="0" y="461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6" name="Freeform: Shape 4455">
                <a:extLst>
                  <a:ext uri="{FF2B5EF4-FFF2-40B4-BE49-F238E27FC236}">
                    <a16:creationId xmlns:a16="http://schemas.microsoft.com/office/drawing/2014/main" id="{063079FF-923E-47B8-56ED-6A176BDCE4FD}"/>
                  </a:ext>
                </a:extLst>
              </p:cNvPr>
              <p:cNvSpPr/>
              <p:nvPr/>
            </p:nvSpPr>
            <p:spPr>
              <a:xfrm>
                <a:off x="1630824" y="3497837"/>
                <a:ext cx="406" cy="985"/>
              </a:xfrm>
              <a:custGeom>
                <a:avLst/>
                <a:gdLst>
                  <a:gd name="connsiteX0" fmla="*/ 27 w 3896"/>
                  <a:gd name="connsiteY0" fmla="*/ 9029 h 9440"/>
                  <a:gd name="connsiteX1" fmla="*/ 850 w 3896"/>
                  <a:gd name="connsiteY1" fmla="*/ 1674 h 9440"/>
                  <a:gd name="connsiteX2" fmla="*/ 2991 w 3896"/>
                  <a:gd name="connsiteY2" fmla="*/ 0 h 9440"/>
                  <a:gd name="connsiteX3" fmla="*/ 3897 w 3896"/>
                  <a:gd name="connsiteY3" fmla="*/ 9440 h 9440"/>
                  <a:gd name="connsiteX4" fmla="*/ 0 w 3896"/>
                  <a:gd name="connsiteY4" fmla="*/ 9001 h 9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6" h="9440">
                    <a:moveTo>
                      <a:pt x="27" y="9029"/>
                    </a:moveTo>
                    <a:lnTo>
                      <a:pt x="850" y="1674"/>
                    </a:lnTo>
                    <a:lnTo>
                      <a:pt x="2991" y="0"/>
                    </a:lnTo>
                    <a:lnTo>
                      <a:pt x="3897" y="9440"/>
                    </a:lnTo>
                    <a:lnTo>
                      <a:pt x="0" y="90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7" name="Freeform: Shape 4456">
                <a:extLst>
                  <a:ext uri="{FF2B5EF4-FFF2-40B4-BE49-F238E27FC236}">
                    <a16:creationId xmlns:a16="http://schemas.microsoft.com/office/drawing/2014/main" id="{9BBFCD85-1E7D-ADA1-D2F7-BE54BEFAC2E8}"/>
                  </a:ext>
                </a:extLst>
              </p:cNvPr>
              <p:cNvSpPr/>
              <p:nvPr/>
            </p:nvSpPr>
            <p:spPr>
              <a:xfrm>
                <a:off x="1596471" y="3505582"/>
                <a:ext cx="286" cy="1320"/>
              </a:xfrm>
              <a:custGeom>
                <a:avLst/>
                <a:gdLst>
                  <a:gd name="connsiteX0" fmla="*/ 0 w 2744"/>
                  <a:gd name="connsiteY0" fmla="*/ 2772 h 12651"/>
                  <a:gd name="connsiteX1" fmla="*/ 2744 w 2744"/>
                  <a:gd name="connsiteY1" fmla="*/ 0 h 12651"/>
                  <a:gd name="connsiteX2" fmla="*/ 2525 w 2744"/>
                  <a:gd name="connsiteY2" fmla="*/ 12651 h 12651"/>
                  <a:gd name="connsiteX3" fmla="*/ 356 w 2744"/>
                  <a:gd name="connsiteY3" fmla="*/ 10044 h 12651"/>
                  <a:gd name="connsiteX4" fmla="*/ 0 w 2744"/>
                  <a:gd name="connsiteY4" fmla="*/ 2772 h 12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4" h="12651">
                    <a:moveTo>
                      <a:pt x="0" y="2772"/>
                    </a:moveTo>
                    <a:lnTo>
                      <a:pt x="2744" y="0"/>
                    </a:lnTo>
                    <a:lnTo>
                      <a:pt x="2525" y="12651"/>
                    </a:lnTo>
                    <a:lnTo>
                      <a:pt x="356" y="10044"/>
                    </a:lnTo>
                    <a:lnTo>
                      <a:pt x="0" y="27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8" name="Freeform: Shape 4457">
                <a:extLst>
                  <a:ext uri="{FF2B5EF4-FFF2-40B4-BE49-F238E27FC236}">
                    <a16:creationId xmlns:a16="http://schemas.microsoft.com/office/drawing/2014/main" id="{D7CC64D8-2DF0-AD70-E166-D7502D52267D}"/>
                  </a:ext>
                </a:extLst>
              </p:cNvPr>
              <p:cNvSpPr/>
              <p:nvPr/>
            </p:nvSpPr>
            <p:spPr>
              <a:xfrm>
                <a:off x="1547977" y="3393462"/>
                <a:ext cx="613" cy="1131"/>
              </a:xfrm>
              <a:custGeom>
                <a:avLst/>
                <a:gdLst>
                  <a:gd name="connsiteX0" fmla="*/ 27 w 5873"/>
                  <a:gd name="connsiteY0" fmla="*/ 3924 h 10839"/>
                  <a:gd name="connsiteX1" fmla="*/ 686 w 5873"/>
                  <a:gd name="connsiteY1" fmla="*/ 0 h 10839"/>
                  <a:gd name="connsiteX2" fmla="*/ 5873 w 5873"/>
                  <a:gd name="connsiteY2" fmla="*/ 2525 h 10839"/>
                  <a:gd name="connsiteX3" fmla="*/ 5598 w 5873"/>
                  <a:gd name="connsiteY3" fmla="*/ 10840 h 10839"/>
                  <a:gd name="connsiteX4" fmla="*/ 604 w 5873"/>
                  <a:gd name="connsiteY4" fmla="*/ 8370 h 10839"/>
                  <a:gd name="connsiteX5" fmla="*/ 0 w 5873"/>
                  <a:gd name="connsiteY5" fmla="*/ 3897 h 10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3" h="10839">
                    <a:moveTo>
                      <a:pt x="27" y="3924"/>
                    </a:moveTo>
                    <a:lnTo>
                      <a:pt x="686" y="0"/>
                    </a:lnTo>
                    <a:lnTo>
                      <a:pt x="5873" y="2525"/>
                    </a:lnTo>
                    <a:lnTo>
                      <a:pt x="5598" y="10840"/>
                    </a:lnTo>
                    <a:lnTo>
                      <a:pt x="604" y="8370"/>
                    </a:lnTo>
                    <a:lnTo>
                      <a:pt x="0" y="389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59" name="Freeform: Shape 4458">
                <a:extLst>
                  <a:ext uri="{FF2B5EF4-FFF2-40B4-BE49-F238E27FC236}">
                    <a16:creationId xmlns:a16="http://schemas.microsoft.com/office/drawing/2014/main" id="{4E6DAF31-7A41-9946-256E-DB791F787420}"/>
                  </a:ext>
                </a:extLst>
              </p:cNvPr>
              <p:cNvSpPr/>
              <p:nvPr/>
            </p:nvSpPr>
            <p:spPr>
              <a:xfrm>
                <a:off x="1511439" y="3693869"/>
                <a:ext cx="518" cy="286"/>
              </a:xfrm>
              <a:custGeom>
                <a:avLst/>
                <a:gdLst>
                  <a:gd name="connsiteX0" fmla="*/ 0 w 4967"/>
                  <a:gd name="connsiteY0" fmla="*/ 2141 h 2744"/>
                  <a:gd name="connsiteX1" fmla="*/ 906 w 4967"/>
                  <a:gd name="connsiteY1" fmla="*/ 0 h 2744"/>
                  <a:gd name="connsiteX2" fmla="*/ 4967 w 4967"/>
                  <a:gd name="connsiteY2" fmla="*/ 604 h 2744"/>
                  <a:gd name="connsiteX3" fmla="*/ 4748 w 4967"/>
                  <a:gd name="connsiteY3" fmla="*/ 2744 h 2744"/>
                  <a:gd name="connsiteX4" fmla="*/ 0 w 4967"/>
                  <a:gd name="connsiteY4" fmla="*/ 2141 h 2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 h="2744">
                    <a:moveTo>
                      <a:pt x="0" y="2141"/>
                    </a:moveTo>
                    <a:lnTo>
                      <a:pt x="906" y="0"/>
                    </a:lnTo>
                    <a:lnTo>
                      <a:pt x="4967" y="604"/>
                    </a:lnTo>
                    <a:lnTo>
                      <a:pt x="4748" y="2744"/>
                    </a:lnTo>
                    <a:lnTo>
                      <a:pt x="0"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0" name="Freeform: Shape 4459">
                <a:extLst>
                  <a:ext uri="{FF2B5EF4-FFF2-40B4-BE49-F238E27FC236}">
                    <a16:creationId xmlns:a16="http://schemas.microsoft.com/office/drawing/2014/main" id="{3CB279E6-B257-DDB8-D7DA-01693D0BFAF4}"/>
                  </a:ext>
                </a:extLst>
              </p:cNvPr>
              <p:cNvSpPr/>
              <p:nvPr/>
            </p:nvSpPr>
            <p:spPr>
              <a:xfrm>
                <a:off x="1598703" y="3504678"/>
                <a:ext cx="512" cy="701"/>
              </a:xfrm>
              <a:custGeom>
                <a:avLst/>
                <a:gdLst>
                  <a:gd name="connsiteX0" fmla="*/ 0 w 4912"/>
                  <a:gd name="connsiteY0" fmla="*/ 3183 h 6723"/>
                  <a:gd name="connsiteX1" fmla="*/ 1757 w 4912"/>
                  <a:gd name="connsiteY1" fmla="*/ 0 h 6723"/>
                  <a:gd name="connsiteX2" fmla="*/ 4336 w 4912"/>
                  <a:gd name="connsiteY2" fmla="*/ 576 h 6723"/>
                  <a:gd name="connsiteX3" fmla="*/ 4912 w 4912"/>
                  <a:gd name="connsiteY3" fmla="*/ 6037 h 6723"/>
                  <a:gd name="connsiteX4" fmla="*/ 823 w 4912"/>
                  <a:gd name="connsiteY4" fmla="*/ 6724 h 6723"/>
                  <a:gd name="connsiteX5" fmla="*/ 27 w 4912"/>
                  <a:gd name="connsiteY5" fmla="*/ 3211 h 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12" h="6723">
                    <a:moveTo>
                      <a:pt x="0" y="3183"/>
                    </a:moveTo>
                    <a:lnTo>
                      <a:pt x="1757" y="0"/>
                    </a:lnTo>
                    <a:lnTo>
                      <a:pt x="4336" y="576"/>
                    </a:lnTo>
                    <a:lnTo>
                      <a:pt x="4912" y="6037"/>
                    </a:lnTo>
                    <a:lnTo>
                      <a:pt x="823" y="6724"/>
                    </a:lnTo>
                    <a:lnTo>
                      <a:pt x="27" y="321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1" name="Freeform: Shape 4460">
                <a:extLst>
                  <a:ext uri="{FF2B5EF4-FFF2-40B4-BE49-F238E27FC236}">
                    <a16:creationId xmlns:a16="http://schemas.microsoft.com/office/drawing/2014/main" id="{6EB21292-C19A-F00F-FF24-76EC39E48CAD}"/>
                  </a:ext>
                </a:extLst>
              </p:cNvPr>
              <p:cNvSpPr/>
              <p:nvPr/>
            </p:nvSpPr>
            <p:spPr>
              <a:xfrm>
                <a:off x="1626511" y="3495304"/>
                <a:ext cx="404" cy="930"/>
              </a:xfrm>
              <a:custGeom>
                <a:avLst/>
                <a:gdLst>
                  <a:gd name="connsiteX0" fmla="*/ 3814 w 3869"/>
                  <a:gd name="connsiteY0" fmla="*/ 7766 h 8918"/>
                  <a:gd name="connsiteX1" fmla="*/ 1070 w 3869"/>
                  <a:gd name="connsiteY1" fmla="*/ 8919 h 8918"/>
                  <a:gd name="connsiteX2" fmla="*/ 0 w 3869"/>
                  <a:gd name="connsiteY2" fmla="*/ 0 h 8918"/>
                  <a:gd name="connsiteX3" fmla="*/ 3869 w 3869"/>
                  <a:gd name="connsiteY3" fmla="*/ 988 h 8918"/>
                  <a:gd name="connsiteX4" fmla="*/ 3814 w 3869"/>
                  <a:gd name="connsiteY4" fmla="*/ 7739 h 8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8918">
                    <a:moveTo>
                      <a:pt x="3814" y="7766"/>
                    </a:moveTo>
                    <a:lnTo>
                      <a:pt x="1070" y="8919"/>
                    </a:lnTo>
                    <a:lnTo>
                      <a:pt x="0" y="0"/>
                    </a:lnTo>
                    <a:lnTo>
                      <a:pt x="3869" y="988"/>
                    </a:lnTo>
                    <a:lnTo>
                      <a:pt x="3814" y="77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2" name="Freeform: Shape 4461">
                <a:extLst>
                  <a:ext uri="{FF2B5EF4-FFF2-40B4-BE49-F238E27FC236}">
                    <a16:creationId xmlns:a16="http://schemas.microsoft.com/office/drawing/2014/main" id="{55A02542-8B93-4631-DDAB-17FF5DC5290C}"/>
                  </a:ext>
                </a:extLst>
              </p:cNvPr>
              <p:cNvSpPr/>
              <p:nvPr/>
            </p:nvSpPr>
            <p:spPr>
              <a:xfrm>
                <a:off x="1618553" y="3475952"/>
                <a:ext cx="756" cy="550"/>
              </a:xfrm>
              <a:custGeom>
                <a:avLst/>
                <a:gdLst>
                  <a:gd name="connsiteX0" fmla="*/ 0 w 7244"/>
                  <a:gd name="connsiteY0" fmla="*/ 0 h 5269"/>
                  <a:gd name="connsiteX1" fmla="*/ 7053 w 7244"/>
                  <a:gd name="connsiteY1" fmla="*/ 549 h 5269"/>
                  <a:gd name="connsiteX2" fmla="*/ 7245 w 7244"/>
                  <a:gd name="connsiteY2" fmla="*/ 5159 h 5269"/>
                  <a:gd name="connsiteX3" fmla="*/ 741 w 7244"/>
                  <a:gd name="connsiteY3" fmla="*/ 5269 h 5269"/>
                  <a:gd name="connsiteX4" fmla="*/ 0 w 7244"/>
                  <a:gd name="connsiteY4" fmla="*/ 0 h 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4" h="5269">
                    <a:moveTo>
                      <a:pt x="0" y="0"/>
                    </a:moveTo>
                    <a:lnTo>
                      <a:pt x="7053" y="549"/>
                    </a:lnTo>
                    <a:lnTo>
                      <a:pt x="7245" y="5159"/>
                    </a:lnTo>
                    <a:lnTo>
                      <a:pt x="741" y="5269"/>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3" name="Freeform: Shape 4462">
                <a:extLst>
                  <a:ext uri="{FF2B5EF4-FFF2-40B4-BE49-F238E27FC236}">
                    <a16:creationId xmlns:a16="http://schemas.microsoft.com/office/drawing/2014/main" id="{22357F8B-074D-4D13-E5CE-31913A7DC417}"/>
                  </a:ext>
                </a:extLst>
              </p:cNvPr>
              <p:cNvSpPr/>
              <p:nvPr/>
            </p:nvSpPr>
            <p:spPr>
              <a:xfrm>
                <a:off x="1691231" y="3457054"/>
                <a:ext cx="366" cy="1254"/>
              </a:xfrm>
              <a:custGeom>
                <a:avLst/>
                <a:gdLst>
                  <a:gd name="connsiteX0" fmla="*/ 0 w 3512"/>
                  <a:gd name="connsiteY0" fmla="*/ 5598 h 12020"/>
                  <a:gd name="connsiteX1" fmla="*/ 1126 w 3512"/>
                  <a:gd name="connsiteY1" fmla="*/ 0 h 12020"/>
                  <a:gd name="connsiteX2" fmla="*/ 3266 w 3512"/>
                  <a:gd name="connsiteY2" fmla="*/ 796 h 12020"/>
                  <a:gd name="connsiteX3" fmla="*/ 3513 w 3512"/>
                  <a:gd name="connsiteY3" fmla="*/ 10620 h 12020"/>
                  <a:gd name="connsiteX4" fmla="*/ 988 w 3512"/>
                  <a:gd name="connsiteY4" fmla="*/ 12020 h 12020"/>
                  <a:gd name="connsiteX5" fmla="*/ 0 w 3512"/>
                  <a:gd name="connsiteY5" fmla="*/ 5626 h 1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 h="12020">
                    <a:moveTo>
                      <a:pt x="0" y="5598"/>
                    </a:moveTo>
                    <a:lnTo>
                      <a:pt x="1126" y="0"/>
                    </a:lnTo>
                    <a:lnTo>
                      <a:pt x="3266" y="796"/>
                    </a:lnTo>
                    <a:lnTo>
                      <a:pt x="3513" y="10620"/>
                    </a:lnTo>
                    <a:lnTo>
                      <a:pt x="988" y="12020"/>
                    </a:lnTo>
                    <a:lnTo>
                      <a:pt x="0" y="562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4" name="Freeform: Shape 4463">
                <a:extLst>
                  <a:ext uri="{FF2B5EF4-FFF2-40B4-BE49-F238E27FC236}">
                    <a16:creationId xmlns:a16="http://schemas.microsoft.com/office/drawing/2014/main" id="{9EBE9E6E-0F9A-A185-C9AD-A74870B48973}"/>
                  </a:ext>
                </a:extLst>
              </p:cNvPr>
              <p:cNvSpPr/>
              <p:nvPr/>
            </p:nvSpPr>
            <p:spPr>
              <a:xfrm>
                <a:off x="1515552" y="3412448"/>
                <a:ext cx="455" cy="1285"/>
              </a:xfrm>
              <a:custGeom>
                <a:avLst/>
                <a:gdLst>
                  <a:gd name="connsiteX0" fmla="*/ 0 w 4363"/>
                  <a:gd name="connsiteY0" fmla="*/ 5928 h 12321"/>
                  <a:gd name="connsiteX1" fmla="*/ 1071 w 4363"/>
                  <a:gd name="connsiteY1" fmla="*/ 0 h 12321"/>
                  <a:gd name="connsiteX2" fmla="*/ 3403 w 4363"/>
                  <a:gd name="connsiteY2" fmla="*/ 192 h 12321"/>
                  <a:gd name="connsiteX3" fmla="*/ 4364 w 4363"/>
                  <a:gd name="connsiteY3" fmla="*/ 5489 h 12321"/>
                  <a:gd name="connsiteX4" fmla="*/ 3403 w 4363"/>
                  <a:gd name="connsiteY4" fmla="*/ 12322 h 12321"/>
                  <a:gd name="connsiteX5" fmla="*/ 988 w 4363"/>
                  <a:gd name="connsiteY5" fmla="*/ 12130 h 12321"/>
                  <a:gd name="connsiteX6" fmla="*/ 0 w 4363"/>
                  <a:gd name="connsiteY6" fmla="*/ 5900 h 12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3" h="12321">
                    <a:moveTo>
                      <a:pt x="0" y="5928"/>
                    </a:moveTo>
                    <a:lnTo>
                      <a:pt x="1071" y="0"/>
                    </a:lnTo>
                    <a:lnTo>
                      <a:pt x="3403" y="192"/>
                    </a:lnTo>
                    <a:lnTo>
                      <a:pt x="4364" y="5489"/>
                    </a:lnTo>
                    <a:lnTo>
                      <a:pt x="3403" y="12322"/>
                    </a:lnTo>
                    <a:lnTo>
                      <a:pt x="988" y="12130"/>
                    </a:lnTo>
                    <a:lnTo>
                      <a:pt x="0" y="590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5" name="Freeform: Shape 4464">
                <a:extLst>
                  <a:ext uri="{FF2B5EF4-FFF2-40B4-BE49-F238E27FC236}">
                    <a16:creationId xmlns:a16="http://schemas.microsoft.com/office/drawing/2014/main" id="{B249C1F9-17F3-DA3B-5C8F-A399DC13E58D}"/>
                  </a:ext>
                </a:extLst>
              </p:cNvPr>
              <p:cNvSpPr/>
              <p:nvPr/>
            </p:nvSpPr>
            <p:spPr>
              <a:xfrm>
                <a:off x="1627959" y="3489287"/>
                <a:ext cx="444" cy="850"/>
              </a:xfrm>
              <a:custGeom>
                <a:avLst/>
                <a:gdLst>
                  <a:gd name="connsiteX0" fmla="*/ 4034 w 4253"/>
                  <a:gd name="connsiteY0" fmla="*/ 6147 h 8150"/>
                  <a:gd name="connsiteX1" fmla="*/ 521 w 4253"/>
                  <a:gd name="connsiteY1" fmla="*/ 8150 h 8150"/>
                  <a:gd name="connsiteX2" fmla="*/ 0 w 4253"/>
                  <a:gd name="connsiteY2" fmla="*/ 5077 h 8150"/>
                  <a:gd name="connsiteX3" fmla="*/ 768 w 4253"/>
                  <a:gd name="connsiteY3" fmla="*/ 274 h 8150"/>
                  <a:gd name="connsiteX4" fmla="*/ 4253 w 4253"/>
                  <a:gd name="connsiteY4" fmla="*/ 0 h 8150"/>
                  <a:gd name="connsiteX5" fmla="*/ 4007 w 4253"/>
                  <a:gd name="connsiteY5" fmla="*/ 6147 h 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3" h="8150">
                    <a:moveTo>
                      <a:pt x="4034" y="6147"/>
                    </a:moveTo>
                    <a:lnTo>
                      <a:pt x="521" y="8150"/>
                    </a:lnTo>
                    <a:lnTo>
                      <a:pt x="0" y="5077"/>
                    </a:lnTo>
                    <a:lnTo>
                      <a:pt x="768" y="274"/>
                    </a:lnTo>
                    <a:lnTo>
                      <a:pt x="4253" y="0"/>
                    </a:lnTo>
                    <a:lnTo>
                      <a:pt x="4007" y="614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6" name="Freeform: Shape 4465">
                <a:extLst>
                  <a:ext uri="{FF2B5EF4-FFF2-40B4-BE49-F238E27FC236}">
                    <a16:creationId xmlns:a16="http://schemas.microsoft.com/office/drawing/2014/main" id="{7E28B3F3-5D33-75BE-9E4D-8499B1749374}"/>
                  </a:ext>
                </a:extLst>
              </p:cNvPr>
              <p:cNvSpPr/>
              <p:nvPr/>
            </p:nvSpPr>
            <p:spPr>
              <a:xfrm>
                <a:off x="1545790" y="3545174"/>
                <a:ext cx="406" cy="690"/>
              </a:xfrm>
              <a:custGeom>
                <a:avLst/>
                <a:gdLst>
                  <a:gd name="connsiteX0" fmla="*/ 0 w 3896"/>
                  <a:gd name="connsiteY0" fmla="*/ 2936 h 6613"/>
                  <a:gd name="connsiteX1" fmla="*/ 411 w 3896"/>
                  <a:gd name="connsiteY1" fmla="*/ 0 h 6613"/>
                  <a:gd name="connsiteX2" fmla="*/ 2964 w 3896"/>
                  <a:gd name="connsiteY2" fmla="*/ 192 h 6613"/>
                  <a:gd name="connsiteX3" fmla="*/ 3897 w 3896"/>
                  <a:gd name="connsiteY3" fmla="*/ 3156 h 6613"/>
                  <a:gd name="connsiteX4" fmla="*/ 3238 w 3896"/>
                  <a:gd name="connsiteY4" fmla="*/ 6614 h 6613"/>
                  <a:gd name="connsiteX5" fmla="*/ 1070 w 3896"/>
                  <a:gd name="connsiteY5" fmla="*/ 6312 h 6613"/>
                  <a:gd name="connsiteX6" fmla="*/ 27 w 3896"/>
                  <a:gd name="connsiteY6" fmla="*/ 2936 h 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6" h="6613">
                    <a:moveTo>
                      <a:pt x="0" y="2936"/>
                    </a:moveTo>
                    <a:lnTo>
                      <a:pt x="411" y="0"/>
                    </a:lnTo>
                    <a:lnTo>
                      <a:pt x="2964" y="192"/>
                    </a:lnTo>
                    <a:lnTo>
                      <a:pt x="3897" y="3156"/>
                    </a:lnTo>
                    <a:lnTo>
                      <a:pt x="3238" y="6614"/>
                    </a:lnTo>
                    <a:lnTo>
                      <a:pt x="1070" y="6312"/>
                    </a:lnTo>
                    <a:lnTo>
                      <a:pt x="27" y="293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7" name="Freeform: Shape 4466">
                <a:extLst>
                  <a:ext uri="{FF2B5EF4-FFF2-40B4-BE49-F238E27FC236}">
                    <a16:creationId xmlns:a16="http://schemas.microsoft.com/office/drawing/2014/main" id="{8251EB29-2996-53B2-F500-2D08F48644B7}"/>
                  </a:ext>
                </a:extLst>
              </p:cNvPr>
              <p:cNvSpPr/>
              <p:nvPr/>
            </p:nvSpPr>
            <p:spPr>
              <a:xfrm>
                <a:off x="1706029" y="3495976"/>
                <a:ext cx="555" cy="653"/>
              </a:xfrm>
              <a:custGeom>
                <a:avLst/>
                <a:gdLst>
                  <a:gd name="connsiteX0" fmla="*/ 0 w 5323"/>
                  <a:gd name="connsiteY0" fmla="*/ 0 h 6256"/>
                  <a:gd name="connsiteX1" fmla="*/ 5324 w 5323"/>
                  <a:gd name="connsiteY1" fmla="*/ 466 h 6256"/>
                  <a:gd name="connsiteX2" fmla="*/ 5269 w 5323"/>
                  <a:gd name="connsiteY2" fmla="*/ 6257 h 6256"/>
                  <a:gd name="connsiteX3" fmla="*/ 878 w 5323"/>
                  <a:gd name="connsiteY3" fmla="*/ 4967 h 6256"/>
                  <a:gd name="connsiteX4" fmla="*/ 27 w 5323"/>
                  <a:gd name="connsiteY4" fmla="*/ 0 h 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3" h="6256">
                    <a:moveTo>
                      <a:pt x="0" y="0"/>
                    </a:moveTo>
                    <a:lnTo>
                      <a:pt x="5324" y="466"/>
                    </a:lnTo>
                    <a:lnTo>
                      <a:pt x="5269" y="6257"/>
                    </a:lnTo>
                    <a:lnTo>
                      <a:pt x="878" y="4967"/>
                    </a:lnTo>
                    <a:lnTo>
                      <a:pt x="27"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8" name="Freeform: Shape 4467">
                <a:extLst>
                  <a:ext uri="{FF2B5EF4-FFF2-40B4-BE49-F238E27FC236}">
                    <a16:creationId xmlns:a16="http://schemas.microsoft.com/office/drawing/2014/main" id="{E9F20024-C49D-1DCB-FD1C-7D08EE8FFC82}"/>
                  </a:ext>
                </a:extLst>
              </p:cNvPr>
              <p:cNvSpPr/>
              <p:nvPr/>
            </p:nvSpPr>
            <p:spPr>
              <a:xfrm>
                <a:off x="1549053" y="3417291"/>
                <a:ext cx="478" cy="1088"/>
              </a:xfrm>
              <a:custGeom>
                <a:avLst/>
                <a:gdLst>
                  <a:gd name="connsiteX0" fmla="*/ 4309 w 4583"/>
                  <a:gd name="connsiteY0" fmla="*/ 9742 h 10428"/>
                  <a:gd name="connsiteX1" fmla="*/ 330 w 4583"/>
                  <a:gd name="connsiteY1" fmla="*/ 10428 h 10428"/>
                  <a:gd name="connsiteX2" fmla="*/ 0 w 4583"/>
                  <a:gd name="connsiteY2" fmla="*/ 6312 h 10428"/>
                  <a:gd name="connsiteX3" fmla="*/ 768 w 4583"/>
                  <a:gd name="connsiteY3" fmla="*/ 0 h 10428"/>
                  <a:gd name="connsiteX4" fmla="*/ 4583 w 4583"/>
                  <a:gd name="connsiteY4" fmla="*/ 1043 h 10428"/>
                  <a:gd name="connsiteX5" fmla="*/ 4281 w 4583"/>
                  <a:gd name="connsiteY5" fmla="*/ 9770 h 1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3" h="10428">
                    <a:moveTo>
                      <a:pt x="4309" y="9742"/>
                    </a:moveTo>
                    <a:lnTo>
                      <a:pt x="330" y="10428"/>
                    </a:lnTo>
                    <a:lnTo>
                      <a:pt x="0" y="6312"/>
                    </a:lnTo>
                    <a:lnTo>
                      <a:pt x="768" y="0"/>
                    </a:lnTo>
                    <a:lnTo>
                      <a:pt x="4583" y="1043"/>
                    </a:lnTo>
                    <a:lnTo>
                      <a:pt x="4281" y="97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69" name="Freeform: Shape 4468">
                <a:extLst>
                  <a:ext uri="{FF2B5EF4-FFF2-40B4-BE49-F238E27FC236}">
                    <a16:creationId xmlns:a16="http://schemas.microsoft.com/office/drawing/2014/main" id="{C5F91749-95A3-94A0-87CF-028ABA4102AF}"/>
                  </a:ext>
                </a:extLst>
              </p:cNvPr>
              <p:cNvSpPr/>
              <p:nvPr/>
            </p:nvSpPr>
            <p:spPr>
              <a:xfrm>
                <a:off x="1626814" y="3490197"/>
                <a:ext cx="363" cy="956"/>
              </a:xfrm>
              <a:custGeom>
                <a:avLst/>
                <a:gdLst>
                  <a:gd name="connsiteX0" fmla="*/ 3211 w 3484"/>
                  <a:gd name="connsiteY0" fmla="*/ 7135 h 9165"/>
                  <a:gd name="connsiteX1" fmla="*/ 2936 w 3484"/>
                  <a:gd name="connsiteY1" fmla="*/ 9166 h 9165"/>
                  <a:gd name="connsiteX2" fmla="*/ 274 w 3484"/>
                  <a:gd name="connsiteY2" fmla="*/ 8150 h 9165"/>
                  <a:gd name="connsiteX3" fmla="*/ 0 w 3484"/>
                  <a:gd name="connsiteY3" fmla="*/ 7135 h 9165"/>
                  <a:gd name="connsiteX4" fmla="*/ 549 w 3484"/>
                  <a:gd name="connsiteY4" fmla="*/ 0 h 9165"/>
                  <a:gd name="connsiteX5" fmla="*/ 3485 w 3484"/>
                  <a:gd name="connsiteY5" fmla="*/ 0 h 9165"/>
                  <a:gd name="connsiteX6" fmla="*/ 3211 w 3484"/>
                  <a:gd name="connsiteY6" fmla="*/ 7135 h 9165"/>
                  <a:gd name="connsiteX7" fmla="*/ 3211 w 3484"/>
                  <a:gd name="connsiteY7" fmla="*/ 7135 h 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4" h="9165">
                    <a:moveTo>
                      <a:pt x="3211" y="7135"/>
                    </a:moveTo>
                    <a:lnTo>
                      <a:pt x="2936" y="9166"/>
                    </a:lnTo>
                    <a:lnTo>
                      <a:pt x="274" y="8150"/>
                    </a:lnTo>
                    <a:lnTo>
                      <a:pt x="0" y="7135"/>
                    </a:lnTo>
                    <a:lnTo>
                      <a:pt x="549" y="0"/>
                    </a:lnTo>
                    <a:lnTo>
                      <a:pt x="3485" y="0"/>
                    </a:lnTo>
                    <a:lnTo>
                      <a:pt x="3211" y="7135"/>
                    </a:lnTo>
                    <a:lnTo>
                      <a:pt x="3211" y="71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0" name="Freeform: Shape 4469">
                <a:extLst>
                  <a:ext uri="{FF2B5EF4-FFF2-40B4-BE49-F238E27FC236}">
                    <a16:creationId xmlns:a16="http://schemas.microsoft.com/office/drawing/2014/main" id="{652B2E95-789B-CBD9-455C-6102BFA26709}"/>
                  </a:ext>
                </a:extLst>
              </p:cNvPr>
              <p:cNvSpPr/>
              <p:nvPr/>
            </p:nvSpPr>
            <p:spPr>
              <a:xfrm>
                <a:off x="1611549" y="3504626"/>
                <a:ext cx="384" cy="833"/>
              </a:xfrm>
              <a:custGeom>
                <a:avLst/>
                <a:gdLst>
                  <a:gd name="connsiteX0" fmla="*/ 0 w 3677"/>
                  <a:gd name="connsiteY0" fmla="*/ 4199 h 7986"/>
                  <a:gd name="connsiteX1" fmla="*/ 494 w 3677"/>
                  <a:gd name="connsiteY1" fmla="*/ 0 h 7986"/>
                  <a:gd name="connsiteX2" fmla="*/ 3513 w 3677"/>
                  <a:gd name="connsiteY2" fmla="*/ 521 h 7986"/>
                  <a:gd name="connsiteX3" fmla="*/ 3678 w 3677"/>
                  <a:gd name="connsiteY3" fmla="*/ 7986 h 7986"/>
                  <a:gd name="connsiteX4" fmla="*/ 823 w 3677"/>
                  <a:gd name="connsiteY4" fmla="*/ 7711 h 7986"/>
                  <a:gd name="connsiteX5" fmla="*/ 27 w 3677"/>
                  <a:gd name="connsiteY5" fmla="*/ 4199 h 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7" h="7986">
                    <a:moveTo>
                      <a:pt x="0" y="4199"/>
                    </a:moveTo>
                    <a:lnTo>
                      <a:pt x="494" y="0"/>
                    </a:lnTo>
                    <a:lnTo>
                      <a:pt x="3513" y="521"/>
                    </a:lnTo>
                    <a:lnTo>
                      <a:pt x="3678" y="7986"/>
                    </a:lnTo>
                    <a:lnTo>
                      <a:pt x="823" y="7711"/>
                    </a:lnTo>
                    <a:lnTo>
                      <a:pt x="27" y="41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1" name="Freeform: Shape 4470">
                <a:extLst>
                  <a:ext uri="{FF2B5EF4-FFF2-40B4-BE49-F238E27FC236}">
                    <a16:creationId xmlns:a16="http://schemas.microsoft.com/office/drawing/2014/main" id="{314BF453-53FF-A241-0F71-719ED8990FFF}"/>
                  </a:ext>
                </a:extLst>
              </p:cNvPr>
              <p:cNvSpPr/>
              <p:nvPr/>
            </p:nvSpPr>
            <p:spPr>
              <a:xfrm>
                <a:off x="1628188" y="3497579"/>
                <a:ext cx="203" cy="667"/>
              </a:xfrm>
              <a:custGeom>
                <a:avLst/>
                <a:gdLst>
                  <a:gd name="connsiteX0" fmla="*/ 0 w 1949"/>
                  <a:gd name="connsiteY0" fmla="*/ 3403 h 6394"/>
                  <a:gd name="connsiteX1" fmla="*/ 631 w 1949"/>
                  <a:gd name="connsiteY1" fmla="*/ 0 h 6394"/>
                  <a:gd name="connsiteX2" fmla="*/ 1949 w 1949"/>
                  <a:gd name="connsiteY2" fmla="*/ 3183 h 6394"/>
                  <a:gd name="connsiteX3" fmla="*/ 1345 w 1949"/>
                  <a:gd name="connsiteY3" fmla="*/ 6394 h 6394"/>
                  <a:gd name="connsiteX4" fmla="*/ 0 w 1949"/>
                  <a:gd name="connsiteY4" fmla="*/ 3376 h 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9" h="6394">
                    <a:moveTo>
                      <a:pt x="0" y="3403"/>
                    </a:moveTo>
                    <a:lnTo>
                      <a:pt x="631" y="0"/>
                    </a:lnTo>
                    <a:lnTo>
                      <a:pt x="1949" y="3183"/>
                    </a:lnTo>
                    <a:lnTo>
                      <a:pt x="1345" y="6394"/>
                    </a:lnTo>
                    <a:lnTo>
                      <a:pt x="0" y="337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2" name="Freeform: Shape 4471">
                <a:extLst>
                  <a:ext uri="{FF2B5EF4-FFF2-40B4-BE49-F238E27FC236}">
                    <a16:creationId xmlns:a16="http://schemas.microsoft.com/office/drawing/2014/main" id="{D6970C3F-7917-0902-7031-921BC23735A5}"/>
                  </a:ext>
                </a:extLst>
              </p:cNvPr>
              <p:cNvSpPr/>
              <p:nvPr/>
            </p:nvSpPr>
            <p:spPr>
              <a:xfrm>
                <a:off x="1454038" y="3847700"/>
                <a:ext cx="6077" cy="5410"/>
              </a:xfrm>
              <a:custGeom>
                <a:avLst/>
                <a:gdLst>
                  <a:gd name="connsiteX0" fmla="*/ 48437 w 58261"/>
                  <a:gd name="connsiteY0" fmla="*/ 39902 h 51867"/>
                  <a:gd name="connsiteX1" fmla="*/ 44732 w 58261"/>
                  <a:gd name="connsiteY1" fmla="*/ 37432 h 51867"/>
                  <a:gd name="connsiteX2" fmla="*/ 36938 w 58261"/>
                  <a:gd name="connsiteY2" fmla="*/ 40286 h 51867"/>
                  <a:gd name="connsiteX3" fmla="*/ 31697 w 58261"/>
                  <a:gd name="connsiteY3" fmla="*/ 37926 h 51867"/>
                  <a:gd name="connsiteX4" fmla="*/ 29666 w 58261"/>
                  <a:gd name="connsiteY4" fmla="*/ 48629 h 51867"/>
                  <a:gd name="connsiteX5" fmla="*/ 26922 w 58261"/>
                  <a:gd name="connsiteY5" fmla="*/ 50001 h 51867"/>
                  <a:gd name="connsiteX6" fmla="*/ 24232 w 58261"/>
                  <a:gd name="connsiteY6" fmla="*/ 51346 h 51867"/>
                  <a:gd name="connsiteX7" fmla="*/ 14160 w 58261"/>
                  <a:gd name="connsiteY7" fmla="*/ 51867 h 51867"/>
                  <a:gd name="connsiteX8" fmla="*/ 13365 w 58261"/>
                  <a:gd name="connsiteY8" fmla="*/ 50028 h 51867"/>
                  <a:gd name="connsiteX9" fmla="*/ 12102 w 58261"/>
                  <a:gd name="connsiteY9" fmla="*/ 47120 h 51867"/>
                  <a:gd name="connsiteX10" fmla="*/ 7355 w 58261"/>
                  <a:gd name="connsiteY10" fmla="*/ 45391 h 51867"/>
                  <a:gd name="connsiteX11" fmla="*/ 5050 w 58261"/>
                  <a:gd name="connsiteY11" fmla="*/ 46049 h 51867"/>
                  <a:gd name="connsiteX12" fmla="*/ 4254 w 58261"/>
                  <a:gd name="connsiteY12" fmla="*/ 49644 h 51867"/>
                  <a:gd name="connsiteX13" fmla="*/ 906 w 58261"/>
                  <a:gd name="connsiteY13" fmla="*/ 46735 h 51867"/>
                  <a:gd name="connsiteX14" fmla="*/ 0 w 58261"/>
                  <a:gd name="connsiteY14" fmla="*/ 40039 h 51867"/>
                  <a:gd name="connsiteX15" fmla="*/ 6943 w 58261"/>
                  <a:gd name="connsiteY15" fmla="*/ 32987 h 51867"/>
                  <a:gd name="connsiteX16" fmla="*/ 8590 w 58261"/>
                  <a:gd name="connsiteY16" fmla="*/ 20692 h 51867"/>
                  <a:gd name="connsiteX17" fmla="*/ 13393 w 58261"/>
                  <a:gd name="connsiteY17" fmla="*/ 14188 h 51867"/>
                  <a:gd name="connsiteX18" fmla="*/ 18359 w 58261"/>
                  <a:gd name="connsiteY18" fmla="*/ 10922 h 51867"/>
                  <a:gd name="connsiteX19" fmla="*/ 20390 w 58261"/>
                  <a:gd name="connsiteY19" fmla="*/ 9687 h 51867"/>
                  <a:gd name="connsiteX20" fmla="*/ 26977 w 58261"/>
                  <a:gd name="connsiteY20" fmla="*/ 8370 h 51867"/>
                  <a:gd name="connsiteX21" fmla="*/ 29968 w 58261"/>
                  <a:gd name="connsiteY21" fmla="*/ 10922 h 51867"/>
                  <a:gd name="connsiteX22" fmla="*/ 30077 w 58261"/>
                  <a:gd name="connsiteY22" fmla="*/ 11005 h 51867"/>
                  <a:gd name="connsiteX23" fmla="*/ 32548 w 58261"/>
                  <a:gd name="connsiteY23" fmla="*/ 10950 h 51867"/>
                  <a:gd name="connsiteX24" fmla="*/ 43497 w 58261"/>
                  <a:gd name="connsiteY24" fmla="*/ 741 h 51867"/>
                  <a:gd name="connsiteX25" fmla="*/ 46433 w 58261"/>
                  <a:gd name="connsiteY25" fmla="*/ 0 h 51867"/>
                  <a:gd name="connsiteX26" fmla="*/ 46378 w 58261"/>
                  <a:gd name="connsiteY26" fmla="*/ 1839 h 51867"/>
                  <a:gd name="connsiteX27" fmla="*/ 52581 w 58261"/>
                  <a:gd name="connsiteY27" fmla="*/ 10922 h 51867"/>
                  <a:gd name="connsiteX28" fmla="*/ 56505 w 58261"/>
                  <a:gd name="connsiteY28" fmla="*/ 17097 h 51867"/>
                  <a:gd name="connsiteX29" fmla="*/ 58261 w 58261"/>
                  <a:gd name="connsiteY29" fmla="*/ 31038 h 51867"/>
                  <a:gd name="connsiteX30" fmla="*/ 56093 w 58261"/>
                  <a:gd name="connsiteY30" fmla="*/ 37844 h 51867"/>
                  <a:gd name="connsiteX31" fmla="*/ 48492 w 58261"/>
                  <a:gd name="connsiteY31" fmla="*/ 39875 h 51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261" h="51867">
                    <a:moveTo>
                      <a:pt x="48437" y="39902"/>
                    </a:moveTo>
                    <a:lnTo>
                      <a:pt x="44732" y="37432"/>
                    </a:lnTo>
                    <a:lnTo>
                      <a:pt x="36938" y="40286"/>
                    </a:lnTo>
                    <a:lnTo>
                      <a:pt x="31697" y="37926"/>
                    </a:lnTo>
                    <a:lnTo>
                      <a:pt x="29666" y="48629"/>
                    </a:lnTo>
                    <a:lnTo>
                      <a:pt x="26922" y="50001"/>
                    </a:lnTo>
                    <a:lnTo>
                      <a:pt x="24232" y="51346"/>
                    </a:lnTo>
                    <a:lnTo>
                      <a:pt x="14160" y="51867"/>
                    </a:lnTo>
                    <a:lnTo>
                      <a:pt x="13365" y="50028"/>
                    </a:lnTo>
                    <a:lnTo>
                      <a:pt x="12102" y="47120"/>
                    </a:lnTo>
                    <a:lnTo>
                      <a:pt x="7355" y="45391"/>
                    </a:lnTo>
                    <a:lnTo>
                      <a:pt x="5050" y="46049"/>
                    </a:lnTo>
                    <a:lnTo>
                      <a:pt x="4254" y="49644"/>
                    </a:lnTo>
                    <a:lnTo>
                      <a:pt x="906" y="46735"/>
                    </a:lnTo>
                    <a:lnTo>
                      <a:pt x="0" y="40039"/>
                    </a:lnTo>
                    <a:lnTo>
                      <a:pt x="6943" y="32987"/>
                    </a:lnTo>
                    <a:lnTo>
                      <a:pt x="8590" y="20692"/>
                    </a:lnTo>
                    <a:lnTo>
                      <a:pt x="13393" y="14188"/>
                    </a:lnTo>
                    <a:lnTo>
                      <a:pt x="18359" y="10922"/>
                    </a:lnTo>
                    <a:lnTo>
                      <a:pt x="20390" y="9687"/>
                    </a:lnTo>
                    <a:lnTo>
                      <a:pt x="26977" y="8370"/>
                    </a:lnTo>
                    <a:lnTo>
                      <a:pt x="29968" y="10922"/>
                    </a:lnTo>
                    <a:lnTo>
                      <a:pt x="30077" y="11005"/>
                    </a:lnTo>
                    <a:lnTo>
                      <a:pt x="32548" y="10950"/>
                    </a:lnTo>
                    <a:lnTo>
                      <a:pt x="43497" y="741"/>
                    </a:lnTo>
                    <a:lnTo>
                      <a:pt x="46433" y="0"/>
                    </a:lnTo>
                    <a:lnTo>
                      <a:pt x="46378" y="1839"/>
                    </a:lnTo>
                    <a:lnTo>
                      <a:pt x="52581" y="10922"/>
                    </a:lnTo>
                    <a:lnTo>
                      <a:pt x="56505" y="17097"/>
                    </a:lnTo>
                    <a:lnTo>
                      <a:pt x="58261" y="31038"/>
                    </a:lnTo>
                    <a:lnTo>
                      <a:pt x="56093" y="37844"/>
                    </a:lnTo>
                    <a:lnTo>
                      <a:pt x="48492" y="3987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3" name="Freeform: Shape 4472">
                <a:extLst>
                  <a:ext uri="{FF2B5EF4-FFF2-40B4-BE49-F238E27FC236}">
                    <a16:creationId xmlns:a16="http://schemas.microsoft.com/office/drawing/2014/main" id="{239A0B8A-E497-DAA4-88FC-24D390759041}"/>
                  </a:ext>
                </a:extLst>
              </p:cNvPr>
              <p:cNvSpPr/>
              <p:nvPr/>
            </p:nvSpPr>
            <p:spPr>
              <a:xfrm>
                <a:off x="1471679" y="3740213"/>
                <a:ext cx="64454" cy="53236"/>
              </a:xfrm>
              <a:custGeom>
                <a:avLst/>
                <a:gdLst>
                  <a:gd name="connsiteX0" fmla="*/ 296027 w 617960"/>
                  <a:gd name="connsiteY0" fmla="*/ 100469 h 510411"/>
                  <a:gd name="connsiteX1" fmla="*/ 323745 w 617960"/>
                  <a:gd name="connsiteY1" fmla="*/ 103268 h 510411"/>
                  <a:gd name="connsiteX2" fmla="*/ 344711 w 617960"/>
                  <a:gd name="connsiteY2" fmla="*/ 105354 h 510411"/>
                  <a:gd name="connsiteX3" fmla="*/ 350172 w 617960"/>
                  <a:gd name="connsiteY3" fmla="*/ 104174 h 510411"/>
                  <a:gd name="connsiteX4" fmla="*/ 368971 w 617960"/>
                  <a:gd name="connsiteY4" fmla="*/ 106643 h 510411"/>
                  <a:gd name="connsiteX5" fmla="*/ 377560 w 617960"/>
                  <a:gd name="connsiteY5" fmla="*/ 108565 h 510411"/>
                  <a:gd name="connsiteX6" fmla="*/ 384476 w 617960"/>
                  <a:gd name="connsiteY6" fmla="*/ 123301 h 510411"/>
                  <a:gd name="connsiteX7" fmla="*/ 405470 w 617960"/>
                  <a:gd name="connsiteY7" fmla="*/ 123301 h 510411"/>
                  <a:gd name="connsiteX8" fmla="*/ 410985 w 617960"/>
                  <a:gd name="connsiteY8" fmla="*/ 133977 h 510411"/>
                  <a:gd name="connsiteX9" fmla="*/ 411590 w 617960"/>
                  <a:gd name="connsiteY9" fmla="*/ 138175 h 510411"/>
                  <a:gd name="connsiteX10" fmla="*/ 417846 w 617960"/>
                  <a:gd name="connsiteY10" fmla="*/ 146106 h 510411"/>
                  <a:gd name="connsiteX11" fmla="*/ 416447 w 617960"/>
                  <a:gd name="connsiteY11" fmla="*/ 149866 h 510411"/>
                  <a:gd name="connsiteX12" fmla="*/ 418862 w 617960"/>
                  <a:gd name="connsiteY12" fmla="*/ 153681 h 510411"/>
                  <a:gd name="connsiteX13" fmla="*/ 429812 w 617960"/>
                  <a:gd name="connsiteY13" fmla="*/ 157440 h 510411"/>
                  <a:gd name="connsiteX14" fmla="*/ 429509 w 617960"/>
                  <a:gd name="connsiteY14" fmla="*/ 162188 h 510411"/>
                  <a:gd name="connsiteX15" fmla="*/ 432473 w 617960"/>
                  <a:gd name="connsiteY15" fmla="*/ 166908 h 510411"/>
                  <a:gd name="connsiteX16" fmla="*/ 435273 w 617960"/>
                  <a:gd name="connsiteY16" fmla="*/ 169433 h 510411"/>
                  <a:gd name="connsiteX17" fmla="*/ 438785 w 617960"/>
                  <a:gd name="connsiteY17" fmla="*/ 169131 h 510411"/>
                  <a:gd name="connsiteX18" fmla="*/ 442820 w 617960"/>
                  <a:gd name="connsiteY18" fmla="*/ 175498 h 510411"/>
                  <a:gd name="connsiteX19" fmla="*/ 453549 w 617960"/>
                  <a:gd name="connsiteY19" fmla="*/ 182908 h 510411"/>
                  <a:gd name="connsiteX20" fmla="*/ 451876 w 617960"/>
                  <a:gd name="connsiteY20" fmla="*/ 186475 h 510411"/>
                  <a:gd name="connsiteX21" fmla="*/ 457803 w 617960"/>
                  <a:gd name="connsiteY21" fmla="*/ 195284 h 510411"/>
                  <a:gd name="connsiteX22" fmla="*/ 458270 w 617960"/>
                  <a:gd name="connsiteY22" fmla="*/ 198962 h 510411"/>
                  <a:gd name="connsiteX23" fmla="*/ 455965 w 617960"/>
                  <a:gd name="connsiteY23" fmla="*/ 204450 h 510411"/>
                  <a:gd name="connsiteX24" fmla="*/ 452754 w 617960"/>
                  <a:gd name="connsiteY24" fmla="*/ 201651 h 510411"/>
                  <a:gd name="connsiteX25" fmla="*/ 451738 w 617960"/>
                  <a:gd name="connsiteY25" fmla="*/ 205658 h 510411"/>
                  <a:gd name="connsiteX26" fmla="*/ 454812 w 617960"/>
                  <a:gd name="connsiteY26" fmla="*/ 208594 h 510411"/>
                  <a:gd name="connsiteX27" fmla="*/ 459285 w 617960"/>
                  <a:gd name="connsiteY27" fmla="*/ 220779 h 510411"/>
                  <a:gd name="connsiteX28" fmla="*/ 466146 w 617960"/>
                  <a:gd name="connsiteY28" fmla="*/ 227283 h 510411"/>
                  <a:gd name="connsiteX29" fmla="*/ 468342 w 617960"/>
                  <a:gd name="connsiteY29" fmla="*/ 236147 h 510411"/>
                  <a:gd name="connsiteX30" fmla="*/ 475504 w 617960"/>
                  <a:gd name="connsiteY30" fmla="*/ 248140 h 510411"/>
                  <a:gd name="connsiteX31" fmla="*/ 480471 w 617960"/>
                  <a:gd name="connsiteY31" fmla="*/ 255192 h 510411"/>
                  <a:gd name="connsiteX32" fmla="*/ 484039 w 617960"/>
                  <a:gd name="connsiteY32" fmla="*/ 256564 h 510411"/>
                  <a:gd name="connsiteX33" fmla="*/ 489911 w 617960"/>
                  <a:gd name="connsiteY33" fmla="*/ 255686 h 510411"/>
                  <a:gd name="connsiteX34" fmla="*/ 490076 w 617960"/>
                  <a:gd name="connsiteY34" fmla="*/ 255823 h 510411"/>
                  <a:gd name="connsiteX35" fmla="*/ 490323 w 617960"/>
                  <a:gd name="connsiteY35" fmla="*/ 255823 h 510411"/>
                  <a:gd name="connsiteX36" fmla="*/ 491421 w 617960"/>
                  <a:gd name="connsiteY36" fmla="*/ 254945 h 510411"/>
                  <a:gd name="connsiteX37" fmla="*/ 491503 w 617960"/>
                  <a:gd name="connsiteY37" fmla="*/ 254561 h 510411"/>
                  <a:gd name="connsiteX38" fmla="*/ 491393 w 617960"/>
                  <a:gd name="connsiteY38" fmla="*/ 254342 h 510411"/>
                  <a:gd name="connsiteX39" fmla="*/ 491641 w 617960"/>
                  <a:gd name="connsiteY39" fmla="*/ 253957 h 510411"/>
                  <a:gd name="connsiteX40" fmla="*/ 491915 w 617960"/>
                  <a:gd name="connsiteY40" fmla="*/ 253711 h 510411"/>
                  <a:gd name="connsiteX41" fmla="*/ 492409 w 617960"/>
                  <a:gd name="connsiteY41" fmla="*/ 253546 h 510411"/>
                  <a:gd name="connsiteX42" fmla="*/ 492958 w 617960"/>
                  <a:gd name="connsiteY42" fmla="*/ 252915 h 510411"/>
                  <a:gd name="connsiteX43" fmla="*/ 493068 w 617960"/>
                  <a:gd name="connsiteY43" fmla="*/ 252475 h 510411"/>
                  <a:gd name="connsiteX44" fmla="*/ 492930 w 617960"/>
                  <a:gd name="connsiteY44" fmla="*/ 252174 h 510411"/>
                  <a:gd name="connsiteX45" fmla="*/ 492985 w 617960"/>
                  <a:gd name="connsiteY45" fmla="*/ 252036 h 510411"/>
                  <a:gd name="connsiteX46" fmla="*/ 493233 w 617960"/>
                  <a:gd name="connsiteY46" fmla="*/ 252036 h 510411"/>
                  <a:gd name="connsiteX47" fmla="*/ 493369 w 617960"/>
                  <a:gd name="connsiteY47" fmla="*/ 252338 h 510411"/>
                  <a:gd name="connsiteX48" fmla="*/ 493699 w 617960"/>
                  <a:gd name="connsiteY48" fmla="*/ 252338 h 510411"/>
                  <a:gd name="connsiteX49" fmla="*/ 493864 w 617960"/>
                  <a:gd name="connsiteY49" fmla="*/ 252448 h 510411"/>
                  <a:gd name="connsiteX50" fmla="*/ 493974 w 617960"/>
                  <a:gd name="connsiteY50" fmla="*/ 252091 h 510411"/>
                  <a:gd name="connsiteX51" fmla="*/ 494248 w 617960"/>
                  <a:gd name="connsiteY51" fmla="*/ 252091 h 510411"/>
                  <a:gd name="connsiteX52" fmla="*/ 494577 w 617960"/>
                  <a:gd name="connsiteY52" fmla="*/ 252585 h 510411"/>
                  <a:gd name="connsiteX53" fmla="*/ 494577 w 617960"/>
                  <a:gd name="connsiteY53" fmla="*/ 252942 h 510411"/>
                  <a:gd name="connsiteX54" fmla="*/ 494495 w 617960"/>
                  <a:gd name="connsiteY54" fmla="*/ 253244 h 510411"/>
                  <a:gd name="connsiteX55" fmla="*/ 494577 w 617960"/>
                  <a:gd name="connsiteY55" fmla="*/ 253408 h 510411"/>
                  <a:gd name="connsiteX56" fmla="*/ 494632 w 617960"/>
                  <a:gd name="connsiteY56" fmla="*/ 253491 h 510411"/>
                  <a:gd name="connsiteX57" fmla="*/ 494686 w 617960"/>
                  <a:gd name="connsiteY57" fmla="*/ 253656 h 510411"/>
                  <a:gd name="connsiteX58" fmla="*/ 494686 w 617960"/>
                  <a:gd name="connsiteY58" fmla="*/ 253848 h 510411"/>
                  <a:gd name="connsiteX59" fmla="*/ 494686 w 617960"/>
                  <a:gd name="connsiteY59" fmla="*/ 254012 h 510411"/>
                  <a:gd name="connsiteX60" fmla="*/ 494605 w 617960"/>
                  <a:gd name="connsiteY60" fmla="*/ 254177 h 510411"/>
                  <a:gd name="connsiteX61" fmla="*/ 494358 w 617960"/>
                  <a:gd name="connsiteY61" fmla="*/ 254561 h 510411"/>
                  <a:gd name="connsiteX62" fmla="*/ 494358 w 617960"/>
                  <a:gd name="connsiteY62" fmla="*/ 255000 h 510411"/>
                  <a:gd name="connsiteX63" fmla="*/ 494083 w 617960"/>
                  <a:gd name="connsiteY63" fmla="*/ 255083 h 510411"/>
                  <a:gd name="connsiteX64" fmla="*/ 494028 w 617960"/>
                  <a:gd name="connsiteY64" fmla="*/ 254918 h 510411"/>
                  <a:gd name="connsiteX65" fmla="*/ 493891 w 617960"/>
                  <a:gd name="connsiteY65" fmla="*/ 254918 h 510411"/>
                  <a:gd name="connsiteX66" fmla="*/ 493726 w 617960"/>
                  <a:gd name="connsiteY66" fmla="*/ 254973 h 510411"/>
                  <a:gd name="connsiteX67" fmla="*/ 493644 w 617960"/>
                  <a:gd name="connsiteY67" fmla="*/ 255028 h 510411"/>
                  <a:gd name="connsiteX68" fmla="*/ 493479 w 617960"/>
                  <a:gd name="connsiteY68" fmla="*/ 255302 h 510411"/>
                  <a:gd name="connsiteX69" fmla="*/ 493397 w 617960"/>
                  <a:gd name="connsiteY69" fmla="*/ 255576 h 510411"/>
                  <a:gd name="connsiteX70" fmla="*/ 493479 w 617960"/>
                  <a:gd name="connsiteY70" fmla="*/ 255906 h 510411"/>
                  <a:gd name="connsiteX71" fmla="*/ 493288 w 617960"/>
                  <a:gd name="connsiteY71" fmla="*/ 256290 h 510411"/>
                  <a:gd name="connsiteX72" fmla="*/ 492985 w 617960"/>
                  <a:gd name="connsiteY72" fmla="*/ 256427 h 510411"/>
                  <a:gd name="connsiteX73" fmla="*/ 492821 w 617960"/>
                  <a:gd name="connsiteY73" fmla="*/ 256784 h 510411"/>
                  <a:gd name="connsiteX74" fmla="*/ 492766 w 617960"/>
                  <a:gd name="connsiteY74" fmla="*/ 256866 h 510411"/>
                  <a:gd name="connsiteX75" fmla="*/ 492601 w 617960"/>
                  <a:gd name="connsiteY75" fmla="*/ 256921 h 510411"/>
                  <a:gd name="connsiteX76" fmla="*/ 492409 w 617960"/>
                  <a:gd name="connsiteY76" fmla="*/ 257113 h 510411"/>
                  <a:gd name="connsiteX77" fmla="*/ 492327 w 617960"/>
                  <a:gd name="connsiteY77" fmla="*/ 257388 h 510411"/>
                  <a:gd name="connsiteX78" fmla="*/ 492162 w 617960"/>
                  <a:gd name="connsiteY78" fmla="*/ 257305 h 510411"/>
                  <a:gd name="connsiteX79" fmla="*/ 492052 w 617960"/>
                  <a:gd name="connsiteY79" fmla="*/ 257305 h 510411"/>
                  <a:gd name="connsiteX80" fmla="*/ 491833 w 617960"/>
                  <a:gd name="connsiteY80" fmla="*/ 257415 h 510411"/>
                  <a:gd name="connsiteX81" fmla="*/ 491668 w 617960"/>
                  <a:gd name="connsiteY81" fmla="*/ 257662 h 510411"/>
                  <a:gd name="connsiteX82" fmla="*/ 491174 w 617960"/>
                  <a:gd name="connsiteY82" fmla="*/ 257991 h 510411"/>
                  <a:gd name="connsiteX83" fmla="*/ 490762 w 617960"/>
                  <a:gd name="connsiteY83" fmla="*/ 258431 h 510411"/>
                  <a:gd name="connsiteX84" fmla="*/ 490652 w 617960"/>
                  <a:gd name="connsiteY84" fmla="*/ 258623 h 510411"/>
                  <a:gd name="connsiteX85" fmla="*/ 490543 w 617960"/>
                  <a:gd name="connsiteY85" fmla="*/ 258979 h 510411"/>
                  <a:gd name="connsiteX86" fmla="*/ 490323 w 617960"/>
                  <a:gd name="connsiteY86" fmla="*/ 259885 h 510411"/>
                  <a:gd name="connsiteX87" fmla="*/ 490323 w 617960"/>
                  <a:gd name="connsiteY87" fmla="*/ 259995 h 510411"/>
                  <a:gd name="connsiteX88" fmla="*/ 490323 w 617960"/>
                  <a:gd name="connsiteY88" fmla="*/ 260187 h 510411"/>
                  <a:gd name="connsiteX89" fmla="*/ 490241 w 617960"/>
                  <a:gd name="connsiteY89" fmla="*/ 260324 h 510411"/>
                  <a:gd name="connsiteX90" fmla="*/ 490159 w 617960"/>
                  <a:gd name="connsiteY90" fmla="*/ 260955 h 510411"/>
                  <a:gd name="connsiteX91" fmla="*/ 490076 w 617960"/>
                  <a:gd name="connsiteY91" fmla="*/ 261120 h 510411"/>
                  <a:gd name="connsiteX92" fmla="*/ 489966 w 617960"/>
                  <a:gd name="connsiteY92" fmla="*/ 261120 h 510411"/>
                  <a:gd name="connsiteX93" fmla="*/ 489911 w 617960"/>
                  <a:gd name="connsiteY93" fmla="*/ 260873 h 510411"/>
                  <a:gd name="connsiteX94" fmla="*/ 489802 w 617960"/>
                  <a:gd name="connsiteY94" fmla="*/ 260873 h 510411"/>
                  <a:gd name="connsiteX95" fmla="*/ 489720 w 617960"/>
                  <a:gd name="connsiteY95" fmla="*/ 261010 h 510411"/>
                  <a:gd name="connsiteX96" fmla="*/ 489720 w 617960"/>
                  <a:gd name="connsiteY96" fmla="*/ 261175 h 510411"/>
                  <a:gd name="connsiteX97" fmla="*/ 489720 w 617960"/>
                  <a:gd name="connsiteY97" fmla="*/ 262575 h 510411"/>
                  <a:gd name="connsiteX98" fmla="*/ 489884 w 617960"/>
                  <a:gd name="connsiteY98" fmla="*/ 262959 h 510411"/>
                  <a:gd name="connsiteX99" fmla="*/ 490076 w 617960"/>
                  <a:gd name="connsiteY99" fmla="*/ 263041 h 510411"/>
                  <a:gd name="connsiteX100" fmla="*/ 490461 w 617960"/>
                  <a:gd name="connsiteY100" fmla="*/ 262959 h 510411"/>
                  <a:gd name="connsiteX101" fmla="*/ 491696 w 617960"/>
                  <a:gd name="connsiteY101" fmla="*/ 263096 h 510411"/>
                  <a:gd name="connsiteX102" fmla="*/ 492162 w 617960"/>
                  <a:gd name="connsiteY102" fmla="*/ 262684 h 510411"/>
                  <a:gd name="connsiteX103" fmla="*/ 492464 w 617960"/>
                  <a:gd name="connsiteY103" fmla="*/ 262190 h 510411"/>
                  <a:gd name="connsiteX104" fmla="*/ 492821 w 617960"/>
                  <a:gd name="connsiteY104" fmla="*/ 261971 h 510411"/>
                  <a:gd name="connsiteX105" fmla="*/ 493233 w 617960"/>
                  <a:gd name="connsiteY105" fmla="*/ 261861 h 510411"/>
                  <a:gd name="connsiteX106" fmla="*/ 493726 w 617960"/>
                  <a:gd name="connsiteY106" fmla="*/ 262053 h 510411"/>
                  <a:gd name="connsiteX107" fmla="*/ 494275 w 617960"/>
                  <a:gd name="connsiteY107" fmla="*/ 261943 h 510411"/>
                  <a:gd name="connsiteX108" fmla="*/ 494577 w 617960"/>
                  <a:gd name="connsiteY108" fmla="*/ 262218 h 510411"/>
                  <a:gd name="connsiteX109" fmla="*/ 495071 w 617960"/>
                  <a:gd name="connsiteY109" fmla="*/ 262218 h 510411"/>
                  <a:gd name="connsiteX110" fmla="*/ 495291 w 617960"/>
                  <a:gd name="connsiteY110" fmla="*/ 262437 h 510411"/>
                  <a:gd name="connsiteX111" fmla="*/ 495620 w 617960"/>
                  <a:gd name="connsiteY111" fmla="*/ 262437 h 510411"/>
                  <a:gd name="connsiteX112" fmla="*/ 495785 w 617960"/>
                  <a:gd name="connsiteY112" fmla="*/ 262712 h 510411"/>
                  <a:gd name="connsiteX113" fmla="*/ 497129 w 617960"/>
                  <a:gd name="connsiteY113" fmla="*/ 264441 h 510411"/>
                  <a:gd name="connsiteX114" fmla="*/ 497349 w 617960"/>
                  <a:gd name="connsiteY114" fmla="*/ 264495 h 510411"/>
                  <a:gd name="connsiteX115" fmla="*/ 497953 w 617960"/>
                  <a:gd name="connsiteY115" fmla="*/ 264495 h 510411"/>
                  <a:gd name="connsiteX116" fmla="*/ 498419 w 617960"/>
                  <a:gd name="connsiteY116" fmla="*/ 264331 h 510411"/>
                  <a:gd name="connsiteX117" fmla="*/ 500175 w 617960"/>
                  <a:gd name="connsiteY117" fmla="*/ 270423 h 510411"/>
                  <a:gd name="connsiteX118" fmla="*/ 527536 w 617960"/>
                  <a:gd name="connsiteY118" fmla="*/ 305331 h 510411"/>
                  <a:gd name="connsiteX119" fmla="*/ 599052 w 617960"/>
                  <a:gd name="connsiteY119" fmla="*/ 315622 h 510411"/>
                  <a:gd name="connsiteX120" fmla="*/ 604843 w 617960"/>
                  <a:gd name="connsiteY120" fmla="*/ 313563 h 510411"/>
                  <a:gd name="connsiteX121" fmla="*/ 617961 w 617960"/>
                  <a:gd name="connsiteY121" fmla="*/ 336588 h 510411"/>
                  <a:gd name="connsiteX122" fmla="*/ 615079 w 617960"/>
                  <a:gd name="connsiteY122" fmla="*/ 345919 h 510411"/>
                  <a:gd name="connsiteX123" fmla="*/ 603471 w 617960"/>
                  <a:gd name="connsiteY123" fmla="*/ 383626 h 510411"/>
                  <a:gd name="connsiteX124" fmla="*/ 599080 w 617960"/>
                  <a:gd name="connsiteY124" fmla="*/ 397759 h 510411"/>
                  <a:gd name="connsiteX125" fmla="*/ 581050 w 617960"/>
                  <a:gd name="connsiteY125" fmla="*/ 404400 h 510411"/>
                  <a:gd name="connsiteX126" fmla="*/ 558711 w 617960"/>
                  <a:gd name="connsiteY126" fmla="*/ 412605 h 510411"/>
                  <a:gd name="connsiteX127" fmla="*/ 534013 w 617960"/>
                  <a:gd name="connsiteY127" fmla="*/ 421661 h 510411"/>
                  <a:gd name="connsiteX128" fmla="*/ 510439 w 617960"/>
                  <a:gd name="connsiteY128" fmla="*/ 430279 h 510411"/>
                  <a:gd name="connsiteX129" fmla="*/ 474626 w 617960"/>
                  <a:gd name="connsiteY129" fmla="*/ 436837 h 510411"/>
                  <a:gd name="connsiteX130" fmla="*/ 424625 w 617960"/>
                  <a:gd name="connsiteY130" fmla="*/ 442765 h 510411"/>
                  <a:gd name="connsiteX131" fmla="*/ 398142 w 617960"/>
                  <a:gd name="connsiteY131" fmla="*/ 456486 h 510411"/>
                  <a:gd name="connsiteX132" fmla="*/ 387275 w 617960"/>
                  <a:gd name="connsiteY132" fmla="*/ 470400 h 510411"/>
                  <a:gd name="connsiteX133" fmla="*/ 381649 w 617960"/>
                  <a:gd name="connsiteY133" fmla="*/ 477618 h 510411"/>
                  <a:gd name="connsiteX134" fmla="*/ 377011 w 617960"/>
                  <a:gd name="connsiteY134" fmla="*/ 488266 h 510411"/>
                  <a:gd name="connsiteX135" fmla="*/ 369053 w 617960"/>
                  <a:gd name="connsiteY135" fmla="*/ 493534 h 510411"/>
                  <a:gd name="connsiteX136" fmla="*/ 363290 w 617960"/>
                  <a:gd name="connsiteY136" fmla="*/ 493151 h 510411"/>
                  <a:gd name="connsiteX137" fmla="*/ 355496 w 617960"/>
                  <a:gd name="connsiteY137" fmla="*/ 483737 h 510411"/>
                  <a:gd name="connsiteX138" fmla="*/ 339140 w 617960"/>
                  <a:gd name="connsiteY138" fmla="*/ 484588 h 510411"/>
                  <a:gd name="connsiteX139" fmla="*/ 323827 w 617960"/>
                  <a:gd name="connsiteY139" fmla="*/ 482365 h 510411"/>
                  <a:gd name="connsiteX140" fmla="*/ 314798 w 617960"/>
                  <a:gd name="connsiteY140" fmla="*/ 481021 h 510411"/>
                  <a:gd name="connsiteX141" fmla="*/ 306867 w 617960"/>
                  <a:gd name="connsiteY141" fmla="*/ 478825 h 510411"/>
                  <a:gd name="connsiteX142" fmla="*/ 292844 w 617960"/>
                  <a:gd name="connsiteY142" fmla="*/ 478935 h 510411"/>
                  <a:gd name="connsiteX143" fmla="*/ 286669 w 617960"/>
                  <a:gd name="connsiteY143" fmla="*/ 478990 h 510411"/>
                  <a:gd name="connsiteX144" fmla="*/ 277640 w 617960"/>
                  <a:gd name="connsiteY144" fmla="*/ 480526 h 510411"/>
                  <a:gd name="connsiteX145" fmla="*/ 274649 w 617960"/>
                  <a:gd name="connsiteY145" fmla="*/ 481048 h 510411"/>
                  <a:gd name="connsiteX146" fmla="*/ 273825 w 617960"/>
                  <a:gd name="connsiteY146" fmla="*/ 481899 h 510411"/>
                  <a:gd name="connsiteX147" fmla="*/ 270340 w 617960"/>
                  <a:gd name="connsiteY147" fmla="*/ 481679 h 510411"/>
                  <a:gd name="connsiteX148" fmla="*/ 269270 w 617960"/>
                  <a:gd name="connsiteY148" fmla="*/ 481048 h 510411"/>
                  <a:gd name="connsiteX149" fmla="*/ 257524 w 617960"/>
                  <a:gd name="connsiteY149" fmla="*/ 475230 h 510411"/>
                  <a:gd name="connsiteX150" fmla="*/ 253353 w 617960"/>
                  <a:gd name="connsiteY150" fmla="*/ 477261 h 510411"/>
                  <a:gd name="connsiteX151" fmla="*/ 253490 w 617960"/>
                  <a:gd name="connsiteY151" fmla="*/ 481048 h 510411"/>
                  <a:gd name="connsiteX152" fmla="*/ 254753 w 617960"/>
                  <a:gd name="connsiteY152" fmla="*/ 482887 h 510411"/>
                  <a:gd name="connsiteX153" fmla="*/ 250417 w 617960"/>
                  <a:gd name="connsiteY153" fmla="*/ 487497 h 510411"/>
                  <a:gd name="connsiteX154" fmla="*/ 252420 w 617960"/>
                  <a:gd name="connsiteY154" fmla="*/ 490790 h 510411"/>
                  <a:gd name="connsiteX155" fmla="*/ 250636 w 617960"/>
                  <a:gd name="connsiteY155" fmla="*/ 495373 h 510411"/>
                  <a:gd name="connsiteX156" fmla="*/ 252887 w 617960"/>
                  <a:gd name="connsiteY156" fmla="*/ 498447 h 510411"/>
                  <a:gd name="connsiteX157" fmla="*/ 252283 w 617960"/>
                  <a:gd name="connsiteY157" fmla="*/ 502316 h 510411"/>
                  <a:gd name="connsiteX158" fmla="*/ 250307 w 617960"/>
                  <a:gd name="connsiteY158" fmla="*/ 502838 h 510411"/>
                  <a:gd name="connsiteX159" fmla="*/ 248770 w 617960"/>
                  <a:gd name="connsiteY159" fmla="*/ 506323 h 510411"/>
                  <a:gd name="connsiteX160" fmla="*/ 244846 w 617960"/>
                  <a:gd name="connsiteY160" fmla="*/ 507778 h 510411"/>
                  <a:gd name="connsiteX161" fmla="*/ 243638 w 617960"/>
                  <a:gd name="connsiteY161" fmla="*/ 510412 h 510411"/>
                  <a:gd name="connsiteX162" fmla="*/ 238754 w 617960"/>
                  <a:gd name="connsiteY162" fmla="*/ 510412 h 510411"/>
                  <a:gd name="connsiteX163" fmla="*/ 237052 w 617960"/>
                  <a:gd name="connsiteY163" fmla="*/ 501274 h 510411"/>
                  <a:gd name="connsiteX164" fmla="*/ 232497 w 617960"/>
                  <a:gd name="connsiteY164" fmla="*/ 495566 h 510411"/>
                  <a:gd name="connsiteX165" fmla="*/ 231701 w 617960"/>
                  <a:gd name="connsiteY165" fmla="*/ 491806 h 510411"/>
                  <a:gd name="connsiteX166" fmla="*/ 230027 w 617960"/>
                  <a:gd name="connsiteY166" fmla="*/ 490434 h 510411"/>
                  <a:gd name="connsiteX167" fmla="*/ 227172 w 617960"/>
                  <a:gd name="connsiteY167" fmla="*/ 488046 h 510411"/>
                  <a:gd name="connsiteX168" fmla="*/ 225389 w 617960"/>
                  <a:gd name="connsiteY168" fmla="*/ 481021 h 510411"/>
                  <a:gd name="connsiteX169" fmla="*/ 224428 w 617960"/>
                  <a:gd name="connsiteY169" fmla="*/ 477810 h 510411"/>
                  <a:gd name="connsiteX170" fmla="*/ 204834 w 617960"/>
                  <a:gd name="connsiteY170" fmla="*/ 459258 h 510411"/>
                  <a:gd name="connsiteX171" fmla="*/ 198824 w 617960"/>
                  <a:gd name="connsiteY171" fmla="*/ 445345 h 510411"/>
                  <a:gd name="connsiteX172" fmla="*/ 193665 w 617960"/>
                  <a:gd name="connsiteY172" fmla="*/ 440323 h 510411"/>
                  <a:gd name="connsiteX173" fmla="*/ 191140 w 617960"/>
                  <a:gd name="connsiteY173" fmla="*/ 428275 h 510411"/>
                  <a:gd name="connsiteX174" fmla="*/ 188094 w 617960"/>
                  <a:gd name="connsiteY174" fmla="*/ 421661 h 510411"/>
                  <a:gd name="connsiteX175" fmla="*/ 182825 w 617960"/>
                  <a:gd name="connsiteY175" fmla="*/ 412605 h 510411"/>
                  <a:gd name="connsiteX176" fmla="*/ 179532 w 617960"/>
                  <a:gd name="connsiteY176" fmla="*/ 406952 h 510411"/>
                  <a:gd name="connsiteX177" fmla="*/ 176760 w 617960"/>
                  <a:gd name="connsiteY177" fmla="*/ 404400 h 510411"/>
                  <a:gd name="connsiteX178" fmla="*/ 169982 w 617960"/>
                  <a:gd name="connsiteY178" fmla="*/ 398170 h 510411"/>
                  <a:gd name="connsiteX179" fmla="*/ 149591 w 617960"/>
                  <a:gd name="connsiteY179" fmla="*/ 386507 h 510411"/>
                  <a:gd name="connsiteX180" fmla="*/ 147588 w 617960"/>
                  <a:gd name="connsiteY180" fmla="*/ 383598 h 510411"/>
                  <a:gd name="connsiteX181" fmla="*/ 132659 w 617960"/>
                  <a:gd name="connsiteY181" fmla="*/ 360189 h 510411"/>
                  <a:gd name="connsiteX182" fmla="*/ 132385 w 617960"/>
                  <a:gd name="connsiteY182" fmla="*/ 351709 h 510411"/>
                  <a:gd name="connsiteX183" fmla="*/ 130217 w 617960"/>
                  <a:gd name="connsiteY183" fmla="*/ 345891 h 510411"/>
                  <a:gd name="connsiteX184" fmla="*/ 127060 w 617960"/>
                  <a:gd name="connsiteY184" fmla="*/ 337439 h 510411"/>
                  <a:gd name="connsiteX185" fmla="*/ 130107 w 617960"/>
                  <a:gd name="connsiteY185" fmla="*/ 325858 h 510411"/>
                  <a:gd name="connsiteX186" fmla="*/ 129641 w 617960"/>
                  <a:gd name="connsiteY186" fmla="*/ 317927 h 510411"/>
                  <a:gd name="connsiteX187" fmla="*/ 111830 w 617960"/>
                  <a:gd name="connsiteY187" fmla="*/ 280138 h 510411"/>
                  <a:gd name="connsiteX188" fmla="*/ 92345 w 617960"/>
                  <a:gd name="connsiteY188" fmla="*/ 265127 h 510411"/>
                  <a:gd name="connsiteX189" fmla="*/ 82603 w 617960"/>
                  <a:gd name="connsiteY189" fmla="*/ 260324 h 510411"/>
                  <a:gd name="connsiteX190" fmla="*/ 75522 w 617960"/>
                  <a:gd name="connsiteY190" fmla="*/ 247069 h 510411"/>
                  <a:gd name="connsiteX191" fmla="*/ 76813 w 617960"/>
                  <a:gd name="connsiteY191" fmla="*/ 240648 h 510411"/>
                  <a:gd name="connsiteX192" fmla="*/ 75193 w 617960"/>
                  <a:gd name="connsiteY192" fmla="*/ 233210 h 510411"/>
                  <a:gd name="connsiteX193" fmla="*/ 71488 w 617960"/>
                  <a:gd name="connsiteY193" fmla="*/ 228628 h 510411"/>
                  <a:gd name="connsiteX194" fmla="*/ 67016 w 617960"/>
                  <a:gd name="connsiteY194" fmla="*/ 226514 h 510411"/>
                  <a:gd name="connsiteX195" fmla="*/ 68470 w 617960"/>
                  <a:gd name="connsiteY195" fmla="*/ 222453 h 510411"/>
                  <a:gd name="connsiteX196" fmla="*/ 61170 w 617960"/>
                  <a:gd name="connsiteY196" fmla="*/ 214330 h 510411"/>
                  <a:gd name="connsiteX197" fmla="*/ 59386 w 617960"/>
                  <a:gd name="connsiteY197" fmla="*/ 206975 h 510411"/>
                  <a:gd name="connsiteX198" fmla="*/ 54227 w 617960"/>
                  <a:gd name="connsiteY198" fmla="*/ 201871 h 510411"/>
                  <a:gd name="connsiteX199" fmla="*/ 45418 w 617960"/>
                  <a:gd name="connsiteY199" fmla="*/ 185295 h 510411"/>
                  <a:gd name="connsiteX200" fmla="*/ 16740 w 617960"/>
                  <a:gd name="connsiteY200" fmla="*/ 141633 h 510411"/>
                  <a:gd name="connsiteX201" fmla="*/ 10648 w 617960"/>
                  <a:gd name="connsiteY201" fmla="*/ 137983 h 510411"/>
                  <a:gd name="connsiteX202" fmla="*/ 0 w 617960"/>
                  <a:gd name="connsiteY202" fmla="*/ 137462 h 510411"/>
                  <a:gd name="connsiteX203" fmla="*/ 4281 w 617960"/>
                  <a:gd name="connsiteY203" fmla="*/ 123329 h 510411"/>
                  <a:gd name="connsiteX204" fmla="*/ 9138 w 617960"/>
                  <a:gd name="connsiteY204" fmla="*/ 95721 h 510411"/>
                  <a:gd name="connsiteX205" fmla="*/ 40478 w 617960"/>
                  <a:gd name="connsiteY205" fmla="*/ 101265 h 510411"/>
                  <a:gd name="connsiteX206" fmla="*/ 45885 w 617960"/>
                  <a:gd name="connsiteY206" fmla="*/ 98136 h 510411"/>
                  <a:gd name="connsiteX207" fmla="*/ 54392 w 617960"/>
                  <a:gd name="connsiteY207" fmla="*/ 90809 h 510411"/>
                  <a:gd name="connsiteX208" fmla="*/ 62048 w 617960"/>
                  <a:gd name="connsiteY208" fmla="*/ 78844 h 510411"/>
                  <a:gd name="connsiteX209" fmla="*/ 83234 w 617960"/>
                  <a:gd name="connsiteY209" fmla="*/ 73877 h 510411"/>
                  <a:gd name="connsiteX210" fmla="*/ 89107 w 617960"/>
                  <a:gd name="connsiteY210" fmla="*/ 62762 h 510411"/>
                  <a:gd name="connsiteX211" fmla="*/ 97752 w 617960"/>
                  <a:gd name="connsiteY211" fmla="*/ 57164 h 510411"/>
                  <a:gd name="connsiteX212" fmla="*/ 83838 w 617960"/>
                  <a:gd name="connsiteY212" fmla="*/ 39655 h 510411"/>
                  <a:gd name="connsiteX213" fmla="*/ 70089 w 617960"/>
                  <a:gd name="connsiteY213" fmla="*/ 22668 h 510411"/>
                  <a:gd name="connsiteX214" fmla="*/ 126677 w 617960"/>
                  <a:gd name="connsiteY214" fmla="*/ 5681 h 510411"/>
                  <a:gd name="connsiteX215" fmla="*/ 133949 w 617960"/>
                  <a:gd name="connsiteY215" fmla="*/ 0 h 510411"/>
                  <a:gd name="connsiteX216" fmla="*/ 169817 w 617960"/>
                  <a:gd name="connsiteY216" fmla="*/ 7437 h 510411"/>
                  <a:gd name="connsiteX217" fmla="*/ 223221 w 617960"/>
                  <a:gd name="connsiteY217" fmla="*/ 39683 h 510411"/>
                  <a:gd name="connsiteX218" fmla="*/ 229999 w 617960"/>
                  <a:gd name="connsiteY218" fmla="*/ 45418 h 510411"/>
                  <a:gd name="connsiteX219" fmla="*/ 277613 w 617960"/>
                  <a:gd name="connsiteY219" fmla="*/ 85348 h 510411"/>
                  <a:gd name="connsiteX220" fmla="*/ 292816 w 617960"/>
                  <a:gd name="connsiteY220" fmla="*/ 97972 h 510411"/>
                  <a:gd name="connsiteX221" fmla="*/ 296027 w 617960"/>
                  <a:gd name="connsiteY221" fmla="*/ 100661 h 51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617960" h="510411">
                    <a:moveTo>
                      <a:pt x="296027" y="100469"/>
                    </a:moveTo>
                    <a:lnTo>
                      <a:pt x="323745" y="103268"/>
                    </a:lnTo>
                    <a:lnTo>
                      <a:pt x="344711" y="105354"/>
                    </a:lnTo>
                    <a:lnTo>
                      <a:pt x="350172" y="104174"/>
                    </a:lnTo>
                    <a:lnTo>
                      <a:pt x="368971" y="106643"/>
                    </a:lnTo>
                    <a:lnTo>
                      <a:pt x="377560" y="108565"/>
                    </a:lnTo>
                    <a:lnTo>
                      <a:pt x="384476" y="123301"/>
                    </a:lnTo>
                    <a:lnTo>
                      <a:pt x="405470" y="123301"/>
                    </a:lnTo>
                    <a:lnTo>
                      <a:pt x="410985" y="133977"/>
                    </a:lnTo>
                    <a:lnTo>
                      <a:pt x="411590" y="138175"/>
                    </a:lnTo>
                    <a:lnTo>
                      <a:pt x="417846" y="146106"/>
                    </a:lnTo>
                    <a:lnTo>
                      <a:pt x="416447" y="149866"/>
                    </a:lnTo>
                    <a:lnTo>
                      <a:pt x="418862" y="153681"/>
                    </a:lnTo>
                    <a:lnTo>
                      <a:pt x="429812" y="157440"/>
                    </a:lnTo>
                    <a:lnTo>
                      <a:pt x="429509" y="162188"/>
                    </a:lnTo>
                    <a:lnTo>
                      <a:pt x="432473" y="166908"/>
                    </a:lnTo>
                    <a:lnTo>
                      <a:pt x="435273" y="169433"/>
                    </a:lnTo>
                    <a:lnTo>
                      <a:pt x="438785" y="169131"/>
                    </a:lnTo>
                    <a:lnTo>
                      <a:pt x="442820" y="175498"/>
                    </a:lnTo>
                    <a:lnTo>
                      <a:pt x="453549" y="182908"/>
                    </a:lnTo>
                    <a:lnTo>
                      <a:pt x="451876" y="186475"/>
                    </a:lnTo>
                    <a:lnTo>
                      <a:pt x="457803" y="195284"/>
                    </a:lnTo>
                    <a:lnTo>
                      <a:pt x="458270" y="198962"/>
                    </a:lnTo>
                    <a:lnTo>
                      <a:pt x="455965" y="204450"/>
                    </a:lnTo>
                    <a:lnTo>
                      <a:pt x="452754" y="201651"/>
                    </a:lnTo>
                    <a:lnTo>
                      <a:pt x="451738" y="205658"/>
                    </a:lnTo>
                    <a:lnTo>
                      <a:pt x="454812" y="208594"/>
                    </a:lnTo>
                    <a:lnTo>
                      <a:pt x="459285" y="220779"/>
                    </a:lnTo>
                    <a:lnTo>
                      <a:pt x="466146" y="227283"/>
                    </a:lnTo>
                    <a:lnTo>
                      <a:pt x="468342" y="236147"/>
                    </a:lnTo>
                    <a:lnTo>
                      <a:pt x="475504" y="248140"/>
                    </a:lnTo>
                    <a:lnTo>
                      <a:pt x="480471" y="255192"/>
                    </a:lnTo>
                    <a:lnTo>
                      <a:pt x="484039" y="256564"/>
                    </a:lnTo>
                    <a:lnTo>
                      <a:pt x="489911" y="255686"/>
                    </a:lnTo>
                    <a:lnTo>
                      <a:pt x="490076" y="255823"/>
                    </a:lnTo>
                    <a:lnTo>
                      <a:pt x="490323" y="255823"/>
                    </a:lnTo>
                    <a:cubicBezTo>
                      <a:pt x="490323" y="255823"/>
                      <a:pt x="491421" y="254945"/>
                      <a:pt x="491421" y="254945"/>
                    </a:cubicBezTo>
                    <a:lnTo>
                      <a:pt x="491503" y="254561"/>
                    </a:lnTo>
                    <a:lnTo>
                      <a:pt x="491393" y="254342"/>
                    </a:lnTo>
                    <a:lnTo>
                      <a:pt x="491641" y="253957"/>
                    </a:lnTo>
                    <a:lnTo>
                      <a:pt x="491915" y="253711"/>
                    </a:lnTo>
                    <a:lnTo>
                      <a:pt x="492409" y="253546"/>
                    </a:lnTo>
                    <a:lnTo>
                      <a:pt x="492958" y="252915"/>
                    </a:lnTo>
                    <a:lnTo>
                      <a:pt x="493068" y="252475"/>
                    </a:lnTo>
                    <a:lnTo>
                      <a:pt x="492930" y="252174"/>
                    </a:lnTo>
                    <a:lnTo>
                      <a:pt x="492985" y="252036"/>
                    </a:lnTo>
                    <a:lnTo>
                      <a:pt x="493233" y="252036"/>
                    </a:lnTo>
                    <a:cubicBezTo>
                      <a:pt x="493233" y="252036"/>
                      <a:pt x="493369" y="252338"/>
                      <a:pt x="493369" y="252338"/>
                    </a:cubicBezTo>
                    <a:lnTo>
                      <a:pt x="493699" y="252338"/>
                    </a:lnTo>
                    <a:lnTo>
                      <a:pt x="493864" y="252448"/>
                    </a:lnTo>
                    <a:lnTo>
                      <a:pt x="493974" y="252091"/>
                    </a:lnTo>
                    <a:lnTo>
                      <a:pt x="494248" y="252091"/>
                    </a:lnTo>
                    <a:lnTo>
                      <a:pt x="494577" y="252585"/>
                    </a:lnTo>
                    <a:lnTo>
                      <a:pt x="494577" y="252942"/>
                    </a:lnTo>
                    <a:lnTo>
                      <a:pt x="494495" y="253244"/>
                    </a:lnTo>
                    <a:lnTo>
                      <a:pt x="494577" y="253408"/>
                    </a:lnTo>
                    <a:lnTo>
                      <a:pt x="494632" y="253491"/>
                    </a:lnTo>
                    <a:lnTo>
                      <a:pt x="494686" y="253656"/>
                    </a:lnTo>
                    <a:lnTo>
                      <a:pt x="494686" y="253848"/>
                    </a:lnTo>
                    <a:cubicBezTo>
                      <a:pt x="494686" y="253848"/>
                      <a:pt x="494686" y="254012"/>
                      <a:pt x="494686" y="254012"/>
                    </a:cubicBezTo>
                    <a:lnTo>
                      <a:pt x="494605" y="254177"/>
                    </a:lnTo>
                    <a:lnTo>
                      <a:pt x="494358" y="254561"/>
                    </a:lnTo>
                    <a:lnTo>
                      <a:pt x="494358" y="255000"/>
                    </a:lnTo>
                    <a:cubicBezTo>
                      <a:pt x="494358" y="255000"/>
                      <a:pt x="494083" y="255083"/>
                      <a:pt x="494083" y="255083"/>
                    </a:cubicBezTo>
                    <a:lnTo>
                      <a:pt x="494028" y="254918"/>
                    </a:lnTo>
                    <a:lnTo>
                      <a:pt x="493891" y="254918"/>
                    </a:lnTo>
                    <a:cubicBezTo>
                      <a:pt x="493891" y="254918"/>
                      <a:pt x="493726" y="254973"/>
                      <a:pt x="493726" y="254973"/>
                    </a:cubicBezTo>
                    <a:lnTo>
                      <a:pt x="493644" y="255028"/>
                    </a:lnTo>
                    <a:lnTo>
                      <a:pt x="493479" y="255302"/>
                    </a:lnTo>
                    <a:lnTo>
                      <a:pt x="493397" y="255576"/>
                    </a:lnTo>
                    <a:lnTo>
                      <a:pt x="493479" y="255906"/>
                    </a:lnTo>
                    <a:lnTo>
                      <a:pt x="493288" y="256290"/>
                    </a:lnTo>
                    <a:lnTo>
                      <a:pt x="492985" y="256427"/>
                    </a:lnTo>
                    <a:lnTo>
                      <a:pt x="492821" y="256784"/>
                    </a:lnTo>
                    <a:lnTo>
                      <a:pt x="492766" y="256866"/>
                    </a:lnTo>
                    <a:lnTo>
                      <a:pt x="492601" y="256921"/>
                    </a:lnTo>
                    <a:lnTo>
                      <a:pt x="492409" y="257113"/>
                    </a:lnTo>
                    <a:lnTo>
                      <a:pt x="492327" y="257388"/>
                    </a:lnTo>
                    <a:lnTo>
                      <a:pt x="492162" y="257305"/>
                    </a:lnTo>
                    <a:lnTo>
                      <a:pt x="492052" y="257305"/>
                    </a:lnTo>
                    <a:lnTo>
                      <a:pt x="491833" y="257415"/>
                    </a:lnTo>
                    <a:lnTo>
                      <a:pt x="491668" y="257662"/>
                    </a:lnTo>
                    <a:lnTo>
                      <a:pt x="491174" y="257991"/>
                    </a:lnTo>
                    <a:lnTo>
                      <a:pt x="490762" y="258431"/>
                    </a:lnTo>
                    <a:lnTo>
                      <a:pt x="490652" y="258623"/>
                    </a:lnTo>
                    <a:lnTo>
                      <a:pt x="490543" y="258979"/>
                    </a:lnTo>
                    <a:lnTo>
                      <a:pt x="490323" y="259885"/>
                    </a:lnTo>
                    <a:lnTo>
                      <a:pt x="490323" y="259995"/>
                    </a:lnTo>
                    <a:cubicBezTo>
                      <a:pt x="490323" y="259995"/>
                      <a:pt x="490323" y="260187"/>
                      <a:pt x="490323" y="260187"/>
                    </a:cubicBezTo>
                    <a:lnTo>
                      <a:pt x="490241" y="260324"/>
                    </a:lnTo>
                    <a:lnTo>
                      <a:pt x="490159" y="260955"/>
                    </a:lnTo>
                    <a:lnTo>
                      <a:pt x="490076" y="261120"/>
                    </a:lnTo>
                    <a:lnTo>
                      <a:pt x="489966" y="261120"/>
                    </a:lnTo>
                    <a:cubicBezTo>
                      <a:pt x="489966" y="261120"/>
                      <a:pt x="489911" y="260873"/>
                      <a:pt x="489911" y="260873"/>
                    </a:cubicBezTo>
                    <a:lnTo>
                      <a:pt x="489802" y="260873"/>
                    </a:lnTo>
                    <a:cubicBezTo>
                      <a:pt x="489802" y="260873"/>
                      <a:pt x="489720" y="261010"/>
                      <a:pt x="489720" y="261010"/>
                    </a:cubicBezTo>
                    <a:lnTo>
                      <a:pt x="489720" y="261175"/>
                    </a:lnTo>
                    <a:cubicBezTo>
                      <a:pt x="489720" y="261175"/>
                      <a:pt x="489720" y="262575"/>
                      <a:pt x="489720" y="262575"/>
                    </a:cubicBezTo>
                    <a:lnTo>
                      <a:pt x="489884" y="262959"/>
                    </a:lnTo>
                    <a:lnTo>
                      <a:pt x="490076" y="263041"/>
                    </a:lnTo>
                    <a:lnTo>
                      <a:pt x="490461" y="262959"/>
                    </a:lnTo>
                    <a:lnTo>
                      <a:pt x="491696" y="263096"/>
                    </a:lnTo>
                    <a:lnTo>
                      <a:pt x="492162" y="262684"/>
                    </a:lnTo>
                    <a:lnTo>
                      <a:pt x="492464" y="262190"/>
                    </a:lnTo>
                    <a:lnTo>
                      <a:pt x="492821" y="261971"/>
                    </a:lnTo>
                    <a:lnTo>
                      <a:pt x="493233" y="261861"/>
                    </a:lnTo>
                    <a:lnTo>
                      <a:pt x="493726" y="262053"/>
                    </a:lnTo>
                    <a:lnTo>
                      <a:pt x="494275" y="261943"/>
                    </a:lnTo>
                    <a:lnTo>
                      <a:pt x="494577" y="262218"/>
                    </a:lnTo>
                    <a:lnTo>
                      <a:pt x="495071" y="262218"/>
                    </a:lnTo>
                    <a:cubicBezTo>
                      <a:pt x="495071" y="262218"/>
                      <a:pt x="495291" y="262437"/>
                      <a:pt x="495291" y="262437"/>
                    </a:cubicBezTo>
                    <a:lnTo>
                      <a:pt x="495620" y="262437"/>
                    </a:lnTo>
                    <a:cubicBezTo>
                      <a:pt x="495620" y="262437"/>
                      <a:pt x="495785" y="262712"/>
                      <a:pt x="495785" y="262712"/>
                    </a:cubicBezTo>
                    <a:lnTo>
                      <a:pt x="497129" y="264441"/>
                    </a:lnTo>
                    <a:lnTo>
                      <a:pt x="497349" y="264495"/>
                    </a:lnTo>
                    <a:lnTo>
                      <a:pt x="497953" y="264495"/>
                    </a:lnTo>
                    <a:cubicBezTo>
                      <a:pt x="497953" y="264495"/>
                      <a:pt x="498419" y="264331"/>
                      <a:pt x="498419" y="264331"/>
                    </a:cubicBezTo>
                    <a:lnTo>
                      <a:pt x="500175" y="270423"/>
                    </a:lnTo>
                    <a:lnTo>
                      <a:pt x="527536" y="305331"/>
                    </a:lnTo>
                    <a:lnTo>
                      <a:pt x="599052" y="315622"/>
                    </a:lnTo>
                    <a:lnTo>
                      <a:pt x="604843" y="313563"/>
                    </a:lnTo>
                    <a:lnTo>
                      <a:pt x="617961" y="336588"/>
                    </a:lnTo>
                    <a:lnTo>
                      <a:pt x="615079" y="345919"/>
                    </a:lnTo>
                    <a:lnTo>
                      <a:pt x="603471" y="383626"/>
                    </a:lnTo>
                    <a:lnTo>
                      <a:pt x="599080" y="397759"/>
                    </a:lnTo>
                    <a:lnTo>
                      <a:pt x="581050" y="404400"/>
                    </a:lnTo>
                    <a:lnTo>
                      <a:pt x="558711" y="412605"/>
                    </a:lnTo>
                    <a:lnTo>
                      <a:pt x="534013" y="421661"/>
                    </a:lnTo>
                    <a:lnTo>
                      <a:pt x="510439" y="430279"/>
                    </a:lnTo>
                    <a:lnTo>
                      <a:pt x="474626" y="436837"/>
                    </a:lnTo>
                    <a:lnTo>
                      <a:pt x="424625" y="442765"/>
                    </a:lnTo>
                    <a:lnTo>
                      <a:pt x="398142" y="456486"/>
                    </a:lnTo>
                    <a:lnTo>
                      <a:pt x="387275" y="470400"/>
                    </a:lnTo>
                    <a:lnTo>
                      <a:pt x="381649" y="477618"/>
                    </a:lnTo>
                    <a:lnTo>
                      <a:pt x="377011" y="488266"/>
                    </a:lnTo>
                    <a:lnTo>
                      <a:pt x="369053" y="493534"/>
                    </a:lnTo>
                    <a:lnTo>
                      <a:pt x="363290" y="493151"/>
                    </a:lnTo>
                    <a:lnTo>
                      <a:pt x="355496" y="483737"/>
                    </a:lnTo>
                    <a:lnTo>
                      <a:pt x="339140" y="484588"/>
                    </a:lnTo>
                    <a:lnTo>
                      <a:pt x="323827" y="482365"/>
                    </a:lnTo>
                    <a:lnTo>
                      <a:pt x="314798" y="481021"/>
                    </a:lnTo>
                    <a:lnTo>
                      <a:pt x="306867" y="478825"/>
                    </a:lnTo>
                    <a:lnTo>
                      <a:pt x="292844" y="478935"/>
                    </a:lnTo>
                    <a:lnTo>
                      <a:pt x="286669" y="478990"/>
                    </a:lnTo>
                    <a:lnTo>
                      <a:pt x="277640" y="480526"/>
                    </a:lnTo>
                    <a:lnTo>
                      <a:pt x="274649" y="481048"/>
                    </a:lnTo>
                    <a:lnTo>
                      <a:pt x="273825" y="481899"/>
                    </a:lnTo>
                    <a:lnTo>
                      <a:pt x="270340" y="481679"/>
                    </a:lnTo>
                    <a:lnTo>
                      <a:pt x="269270" y="481048"/>
                    </a:lnTo>
                    <a:lnTo>
                      <a:pt x="257524" y="475230"/>
                    </a:lnTo>
                    <a:lnTo>
                      <a:pt x="253353" y="477261"/>
                    </a:lnTo>
                    <a:lnTo>
                      <a:pt x="253490" y="481048"/>
                    </a:lnTo>
                    <a:lnTo>
                      <a:pt x="254753" y="482887"/>
                    </a:lnTo>
                    <a:lnTo>
                      <a:pt x="250417" y="487497"/>
                    </a:lnTo>
                    <a:lnTo>
                      <a:pt x="252420" y="490790"/>
                    </a:lnTo>
                    <a:lnTo>
                      <a:pt x="250636" y="495373"/>
                    </a:lnTo>
                    <a:lnTo>
                      <a:pt x="252887" y="498447"/>
                    </a:lnTo>
                    <a:lnTo>
                      <a:pt x="252283" y="502316"/>
                    </a:lnTo>
                    <a:lnTo>
                      <a:pt x="250307" y="502838"/>
                    </a:lnTo>
                    <a:lnTo>
                      <a:pt x="248770" y="506323"/>
                    </a:lnTo>
                    <a:lnTo>
                      <a:pt x="244846" y="507778"/>
                    </a:lnTo>
                    <a:lnTo>
                      <a:pt x="243638" y="510412"/>
                    </a:lnTo>
                    <a:lnTo>
                      <a:pt x="238754" y="510412"/>
                    </a:lnTo>
                    <a:cubicBezTo>
                      <a:pt x="238754" y="510412"/>
                      <a:pt x="237052" y="501274"/>
                      <a:pt x="237052" y="501274"/>
                    </a:cubicBezTo>
                    <a:lnTo>
                      <a:pt x="232497" y="495566"/>
                    </a:lnTo>
                    <a:lnTo>
                      <a:pt x="231701" y="491806"/>
                    </a:lnTo>
                    <a:lnTo>
                      <a:pt x="230027" y="490434"/>
                    </a:lnTo>
                    <a:lnTo>
                      <a:pt x="227172" y="488046"/>
                    </a:lnTo>
                    <a:lnTo>
                      <a:pt x="225389" y="481021"/>
                    </a:lnTo>
                    <a:lnTo>
                      <a:pt x="224428" y="477810"/>
                    </a:lnTo>
                    <a:lnTo>
                      <a:pt x="204834" y="459258"/>
                    </a:lnTo>
                    <a:lnTo>
                      <a:pt x="198824" y="445345"/>
                    </a:lnTo>
                    <a:lnTo>
                      <a:pt x="193665" y="440323"/>
                    </a:lnTo>
                    <a:lnTo>
                      <a:pt x="191140" y="428275"/>
                    </a:lnTo>
                    <a:lnTo>
                      <a:pt x="188094" y="421661"/>
                    </a:lnTo>
                    <a:lnTo>
                      <a:pt x="182825" y="412605"/>
                    </a:lnTo>
                    <a:lnTo>
                      <a:pt x="179532" y="406952"/>
                    </a:lnTo>
                    <a:lnTo>
                      <a:pt x="176760" y="404400"/>
                    </a:lnTo>
                    <a:lnTo>
                      <a:pt x="169982" y="398170"/>
                    </a:lnTo>
                    <a:lnTo>
                      <a:pt x="149591" y="386507"/>
                    </a:lnTo>
                    <a:lnTo>
                      <a:pt x="147588" y="383598"/>
                    </a:lnTo>
                    <a:lnTo>
                      <a:pt x="132659" y="360189"/>
                    </a:lnTo>
                    <a:lnTo>
                      <a:pt x="132385" y="351709"/>
                    </a:lnTo>
                    <a:lnTo>
                      <a:pt x="130217" y="345891"/>
                    </a:lnTo>
                    <a:lnTo>
                      <a:pt x="127060" y="337439"/>
                    </a:lnTo>
                    <a:lnTo>
                      <a:pt x="130107" y="325858"/>
                    </a:lnTo>
                    <a:lnTo>
                      <a:pt x="129641" y="317927"/>
                    </a:lnTo>
                    <a:lnTo>
                      <a:pt x="111830" y="280138"/>
                    </a:lnTo>
                    <a:lnTo>
                      <a:pt x="92345" y="265127"/>
                    </a:lnTo>
                    <a:lnTo>
                      <a:pt x="82603" y="260324"/>
                    </a:lnTo>
                    <a:lnTo>
                      <a:pt x="75522" y="247069"/>
                    </a:lnTo>
                    <a:lnTo>
                      <a:pt x="76813" y="240648"/>
                    </a:lnTo>
                    <a:lnTo>
                      <a:pt x="75193" y="233210"/>
                    </a:lnTo>
                    <a:lnTo>
                      <a:pt x="71488" y="228628"/>
                    </a:lnTo>
                    <a:lnTo>
                      <a:pt x="67016" y="226514"/>
                    </a:lnTo>
                    <a:lnTo>
                      <a:pt x="68470" y="222453"/>
                    </a:lnTo>
                    <a:lnTo>
                      <a:pt x="61170" y="214330"/>
                    </a:lnTo>
                    <a:lnTo>
                      <a:pt x="59386" y="206975"/>
                    </a:lnTo>
                    <a:lnTo>
                      <a:pt x="54227" y="201871"/>
                    </a:lnTo>
                    <a:lnTo>
                      <a:pt x="45418" y="185295"/>
                    </a:lnTo>
                    <a:lnTo>
                      <a:pt x="16740" y="141633"/>
                    </a:lnTo>
                    <a:lnTo>
                      <a:pt x="10648" y="137983"/>
                    </a:lnTo>
                    <a:lnTo>
                      <a:pt x="0" y="137462"/>
                    </a:lnTo>
                    <a:lnTo>
                      <a:pt x="4281" y="123329"/>
                    </a:lnTo>
                    <a:lnTo>
                      <a:pt x="9138" y="95721"/>
                    </a:lnTo>
                    <a:lnTo>
                      <a:pt x="40478" y="101265"/>
                    </a:lnTo>
                    <a:lnTo>
                      <a:pt x="45885" y="98136"/>
                    </a:lnTo>
                    <a:lnTo>
                      <a:pt x="54392" y="90809"/>
                    </a:lnTo>
                    <a:lnTo>
                      <a:pt x="62048" y="78844"/>
                    </a:lnTo>
                    <a:lnTo>
                      <a:pt x="83234" y="73877"/>
                    </a:lnTo>
                    <a:lnTo>
                      <a:pt x="89107" y="62762"/>
                    </a:lnTo>
                    <a:lnTo>
                      <a:pt x="97752" y="57164"/>
                    </a:lnTo>
                    <a:lnTo>
                      <a:pt x="83838" y="39655"/>
                    </a:lnTo>
                    <a:lnTo>
                      <a:pt x="70089" y="22668"/>
                    </a:lnTo>
                    <a:lnTo>
                      <a:pt x="126677" y="5681"/>
                    </a:lnTo>
                    <a:lnTo>
                      <a:pt x="133949" y="0"/>
                    </a:lnTo>
                    <a:lnTo>
                      <a:pt x="169817" y="7437"/>
                    </a:lnTo>
                    <a:lnTo>
                      <a:pt x="223221" y="39683"/>
                    </a:lnTo>
                    <a:lnTo>
                      <a:pt x="229999" y="45418"/>
                    </a:lnTo>
                    <a:lnTo>
                      <a:pt x="277613" y="85348"/>
                    </a:lnTo>
                    <a:lnTo>
                      <a:pt x="292816" y="97972"/>
                    </a:lnTo>
                    <a:lnTo>
                      <a:pt x="296027" y="1006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4" name="Freeform: Shape 4473">
                <a:extLst>
                  <a:ext uri="{FF2B5EF4-FFF2-40B4-BE49-F238E27FC236}">
                    <a16:creationId xmlns:a16="http://schemas.microsoft.com/office/drawing/2014/main" id="{C29F8F8E-BC2B-C6B9-6643-554A2BA409BA}"/>
                  </a:ext>
                </a:extLst>
              </p:cNvPr>
              <p:cNvSpPr/>
              <p:nvPr/>
            </p:nvSpPr>
            <p:spPr>
              <a:xfrm>
                <a:off x="1493553" y="3791730"/>
                <a:ext cx="1225" cy="1065"/>
              </a:xfrm>
              <a:custGeom>
                <a:avLst/>
                <a:gdLst>
                  <a:gd name="connsiteX0" fmla="*/ 3595 w 11745"/>
                  <a:gd name="connsiteY0" fmla="*/ 5516 h 10209"/>
                  <a:gd name="connsiteX1" fmla="*/ 5681 w 11745"/>
                  <a:gd name="connsiteY1" fmla="*/ 5873 h 10209"/>
                  <a:gd name="connsiteX2" fmla="*/ 6230 w 11745"/>
                  <a:gd name="connsiteY2" fmla="*/ 4418 h 10209"/>
                  <a:gd name="connsiteX3" fmla="*/ 8919 w 11745"/>
                  <a:gd name="connsiteY3" fmla="*/ 3678 h 10209"/>
                  <a:gd name="connsiteX4" fmla="*/ 9879 w 11745"/>
                  <a:gd name="connsiteY4" fmla="*/ 5544 h 10209"/>
                  <a:gd name="connsiteX5" fmla="*/ 11746 w 11745"/>
                  <a:gd name="connsiteY5" fmla="*/ 6779 h 10209"/>
                  <a:gd name="connsiteX6" fmla="*/ 11746 w 11745"/>
                  <a:gd name="connsiteY6" fmla="*/ 10209 h 10209"/>
                  <a:gd name="connsiteX7" fmla="*/ 9468 w 11745"/>
                  <a:gd name="connsiteY7" fmla="*/ 9001 h 10209"/>
                  <a:gd name="connsiteX8" fmla="*/ 9358 w 11745"/>
                  <a:gd name="connsiteY8" fmla="*/ 7465 h 10209"/>
                  <a:gd name="connsiteX9" fmla="*/ 5049 w 11745"/>
                  <a:gd name="connsiteY9" fmla="*/ 7767 h 10209"/>
                  <a:gd name="connsiteX10" fmla="*/ 0 w 11745"/>
                  <a:gd name="connsiteY10" fmla="*/ 3815 h 10209"/>
                  <a:gd name="connsiteX11" fmla="*/ 2003 w 11745"/>
                  <a:gd name="connsiteY11" fmla="*/ 659 h 10209"/>
                  <a:gd name="connsiteX12" fmla="*/ 3869 w 11745"/>
                  <a:gd name="connsiteY12" fmla="*/ 0 h 10209"/>
                  <a:gd name="connsiteX13" fmla="*/ 5159 w 11745"/>
                  <a:gd name="connsiteY13" fmla="*/ 2058 h 10209"/>
                  <a:gd name="connsiteX14" fmla="*/ 3568 w 11745"/>
                  <a:gd name="connsiteY14" fmla="*/ 5516 h 1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45" h="10209">
                    <a:moveTo>
                      <a:pt x="3595" y="5516"/>
                    </a:moveTo>
                    <a:lnTo>
                      <a:pt x="5681" y="5873"/>
                    </a:lnTo>
                    <a:lnTo>
                      <a:pt x="6230" y="4418"/>
                    </a:lnTo>
                    <a:lnTo>
                      <a:pt x="8919" y="3678"/>
                    </a:lnTo>
                    <a:lnTo>
                      <a:pt x="9879" y="5544"/>
                    </a:lnTo>
                    <a:lnTo>
                      <a:pt x="11746" y="6779"/>
                    </a:lnTo>
                    <a:lnTo>
                      <a:pt x="11746" y="10209"/>
                    </a:lnTo>
                    <a:lnTo>
                      <a:pt x="9468" y="9001"/>
                    </a:lnTo>
                    <a:lnTo>
                      <a:pt x="9358" y="7465"/>
                    </a:lnTo>
                    <a:lnTo>
                      <a:pt x="5049" y="7767"/>
                    </a:lnTo>
                    <a:lnTo>
                      <a:pt x="0" y="3815"/>
                    </a:lnTo>
                    <a:lnTo>
                      <a:pt x="2003" y="659"/>
                    </a:lnTo>
                    <a:lnTo>
                      <a:pt x="3869" y="0"/>
                    </a:lnTo>
                    <a:lnTo>
                      <a:pt x="5159" y="2058"/>
                    </a:lnTo>
                    <a:lnTo>
                      <a:pt x="3568" y="551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5" name="Freeform: Shape 4474">
                <a:extLst>
                  <a:ext uri="{FF2B5EF4-FFF2-40B4-BE49-F238E27FC236}">
                    <a16:creationId xmlns:a16="http://schemas.microsoft.com/office/drawing/2014/main" id="{F5028626-AF40-F3A1-61F9-65E00823F644}"/>
                  </a:ext>
                </a:extLst>
              </p:cNvPr>
              <p:cNvSpPr/>
              <p:nvPr/>
            </p:nvSpPr>
            <p:spPr>
              <a:xfrm>
                <a:off x="1493063" y="3791552"/>
                <a:ext cx="426" cy="369"/>
              </a:xfrm>
              <a:custGeom>
                <a:avLst/>
                <a:gdLst>
                  <a:gd name="connsiteX0" fmla="*/ 4089 w 4088"/>
                  <a:gd name="connsiteY0" fmla="*/ 2141 h 3540"/>
                  <a:gd name="connsiteX1" fmla="*/ 1619 w 4088"/>
                  <a:gd name="connsiteY1" fmla="*/ 3540 h 3540"/>
                  <a:gd name="connsiteX2" fmla="*/ 0 w 4088"/>
                  <a:gd name="connsiteY2" fmla="*/ 2003 h 3540"/>
                  <a:gd name="connsiteX3" fmla="*/ 1646 w 4088"/>
                  <a:gd name="connsiteY3" fmla="*/ 0 h 3540"/>
                  <a:gd name="connsiteX4" fmla="*/ 4089 w 4088"/>
                  <a:gd name="connsiteY4" fmla="*/ 2141 h 3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3540">
                    <a:moveTo>
                      <a:pt x="4089" y="2141"/>
                    </a:moveTo>
                    <a:lnTo>
                      <a:pt x="1619" y="3540"/>
                    </a:lnTo>
                    <a:lnTo>
                      <a:pt x="0" y="2003"/>
                    </a:lnTo>
                    <a:lnTo>
                      <a:pt x="1646" y="0"/>
                    </a:lnTo>
                    <a:lnTo>
                      <a:pt x="4089"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6" name="Freeform: Shape 4475">
                <a:extLst>
                  <a:ext uri="{FF2B5EF4-FFF2-40B4-BE49-F238E27FC236}">
                    <a16:creationId xmlns:a16="http://schemas.microsoft.com/office/drawing/2014/main" id="{0C6FBF9E-A66D-91EF-EFB1-4E92688BE505}"/>
                  </a:ext>
                </a:extLst>
              </p:cNvPr>
              <p:cNvSpPr/>
              <p:nvPr/>
            </p:nvSpPr>
            <p:spPr>
              <a:xfrm>
                <a:off x="1477194" y="3762823"/>
                <a:ext cx="341" cy="461"/>
              </a:xfrm>
              <a:custGeom>
                <a:avLst/>
                <a:gdLst>
                  <a:gd name="connsiteX0" fmla="*/ 3266 w 3266"/>
                  <a:gd name="connsiteY0" fmla="*/ 906 h 4418"/>
                  <a:gd name="connsiteX1" fmla="*/ 2663 w 3266"/>
                  <a:gd name="connsiteY1" fmla="*/ 4418 h 4418"/>
                  <a:gd name="connsiteX2" fmla="*/ 0 w 3266"/>
                  <a:gd name="connsiteY2" fmla="*/ 1729 h 4418"/>
                  <a:gd name="connsiteX3" fmla="*/ 1290 w 3266"/>
                  <a:gd name="connsiteY3" fmla="*/ 0 h 4418"/>
                  <a:gd name="connsiteX4" fmla="*/ 3266 w 3266"/>
                  <a:gd name="connsiteY4" fmla="*/ 878 h 4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 h="4418">
                    <a:moveTo>
                      <a:pt x="3266" y="906"/>
                    </a:moveTo>
                    <a:lnTo>
                      <a:pt x="2663" y="4418"/>
                    </a:lnTo>
                    <a:lnTo>
                      <a:pt x="0" y="1729"/>
                    </a:lnTo>
                    <a:lnTo>
                      <a:pt x="1290" y="0"/>
                    </a:lnTo>
                    <a:lnTo>
                      <a:pt x="3266" y="87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7" name="Freeform: Shape 4476">
                <a:extLst>
                  <a:ext uri="{FF2B5EF4-FFF2-40B4-BE49-F238E27FC236}">
                    <a16:creationId xmlns:a16="http://schemas.microsoft.com/office/drawing/2014/main" id="{156C19FD-8497-82E3-5478-D16AB04C9E90}"/>
                  </a:ext>
                </a:extLst>
              </p:cNvPr>
              <p:cNvSpPr/>
              <p:nvPr/>
            </p:nvSpPr>
            <p:spPr>
              <a:xfrm>
                <a:off x="1471710" y="3755009"/>
                <a:ext cx="346" cy="392"/>
              </a:xfrm>
              <a:custGeom>
                <a:avLst/>
                <a:gdLst>
                  <a:gd name="connsiteX0" fmla="*/ 3266 w 3320"/>
                  <a:gd name="connsiteY0" fmla="*/ 2634 h 3759"/>
                  <a:gd name="connsiteX1" fmla="*/ 878 w 3320"/>
                  <a:gd name="connsiteY1" fmla="*/ 3760 h 3759"/>
                  <a:gd name="connsiteX2" fmla="*/ 0 w 3320"/>
                  <a:gd name="connsiteY2" fmla="*/ 2140 h 3759"/>
                  <a:gd name="connsiteX3" fmla="*/ 1207 w 3320"/>
                  <a:gd name="connsiteY3" fmla="*/ 0 h 3759"/>
                  <a:gd name="connsiteX4" fmla="*/ 3320 w 3320"/>
                  <a:gd name="connsiteY4" fmla="*/ 1070 h 3759"/>
                  <a:gd name="connsiteX5" fmla="*/ 3266 w 3320"/>
                  <a:gd name="connsiteY5" fmla="*/ 2634 h 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0" h="3759">
                    <a:moveTo>
                      <a:pt x="3266" y="2634"/>
                    </a:moveTo>
                    <a:lnTo>
                      <a:pt x="878" y="3760"/>
                    </a:lnTo>
                    <a:lnTo>
                      <a:pt x="0" y="2140"/>
                    </a:lnTo>
                    <a:lnTo>
                      <a:pt x="1207" y="0"/>
                    </a:lnTo>
                    <a:lnTo>
                      <a:pt x="3320" y="1070"/>
                    </a:lnTo>
                    <a:lnTo>
                      <a:pt x="3266" y="26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8" name="Freeform: Shape 4477">
                <a:extLst>
                  <a:ext uri="{FF2B5EF4-FFF2-40B4-BE49-F238E27FC236}">
                    <a16:creationId xmlns:a16="http://schemas.microsoft.com/office/drawing/2014/main" id="{1D14B499-6DAA-2D1D-A60E-0BDE4B6586DE}"/>
                  </a:ext>
                </a:extLst>
              </p:cNvPr>
              <p:cNvSpPr/>
              <p:nvPr/>
            </p:nvSpPr>
            <p:spPr>
              <a:xfrm>
                <a:off x="1471203" y="3754954"/>
                <a:ext cx="389" cy="341"/>
              </a:xfrm>
              <a:custGeom>
                <a:avLst/>
                <a:gdLst>
                  <a:gd name="connsiteX0" fmla="*/ 3733 w 3732"/>
                  <a:gd name="connsiteY0" fmla="*/ 3074 h 3265"/>
                  <a:gd name="connsiteX1" fmla="*/ 1317 w 3732"/>
                  <a:gd name="connsiteY1" fmla="*/ 3266 h 3265"/>
                  <a:gd name="connsiteX2" fmla="*/ 0 w 3732"/>
                  <a:gd name="connsiteY2" fmla="*/ 1372 h 3265"/>
                  <a:gd name="connsiteX3" fmla="*/ 3430 w 3732"/>
                  <a:gd name="connsiteY3" fmla="*/ 0 h 3265"/>
                  <a:gd name="connsiteX4" fmla="*/ 3733 w 3732"/>
                  <a:gd name="connsiteY4" fmla="*/ 3074 h 3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3265">
                    <a:moveTo>
                      <a:pt x="3733" y="3074"/>
                    </a:moveTo>
                    <a:lnTo>
                      <a:pt x="1317" y="3266"/>
                    </a:lnTo>
                    <a:lnTo>
                      <a:pt x="0" y="1372"/>
                    </a:lnTo>
                    <a:lnTo>
                      <a:pt x="3430" y="0"/>
                    </a:lnTo>
                    <a:lnTo>
                      <a:pt x="3733" y="307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79" name="Freeform: Shape 4478">
                <a:extLst>
                  <a:ext uri="{FF2B5EF4-FFF2-40B4-BE49-F238E27FC236}">
                    <a16:creationId xmlns:a16="http://schemas.microsoft.com/office/drawing/2014/main" id="{0F5D1307-7D28-24FC-838C-0FE6FEC19BF2}"/>
                  </a:ext>
                </a:extLst>
              </p:cNvPr>
              <p:cNvSpPr/>
              <p:nvPr/>
            </p:nvSpPr>
            <p:spPr>
              <a:xfrm>
                <a:off x="1432367" y="3774782"/>
                <a:ext cx="51347" cy="43069"/>
              </a:xfrm>
              <a:custGeom>
                <a:avLst/>
                <a:gdLst>
                  <a:gd name="connsiteX0" fmla="*/ 333816 w 492299"/>
                  <a:gd name="connsiteY0" fmla="*/ 4418 h 412934"/>
                  <a:gd name="connsiteX1" fmla="*/ 346248 w 492299"/>
                  <a:gd name="connsiteY1" fmla="*/ 12980 h 412934"/>
                  <a:gd name="connsiteX2" fmla="*/ 357582 w 492299"/>
                  <a:gd name="connsiteY2" fmla="*/ 11389 h 412934"/>
                  <a:gd name="connsiteX3" fmla="*/ 360409 w 492299"/>
                  <a:gd name="connsiteY3" fmla="*/ 4391 h 412934"/>
                  <a:gd name="connsiteX4" fmla="*/ 422759 w 492299"/>
                  <a:gd name="connsiteY4" fmla="*/ 4308 h 412934"/>
                  <a:gd name="connsiteX5" fmla="*/ 442655 w 492299"/>
                  <a:gd name="connsiteY5" fmla="*/ 4308 h 412934"/>
                  <a:gd name="connsiteX6" fmla="*/ 443588 w 492299"/>
                  <a:gd name="connsiteY6" fmla="*/ 14298 h 412934"/>
                  <a:gd name="connsiteX7" fmla="*/ 443890 w 492299"/>
                  <a:gd name="connsiteY7" fmla="*/ 17152 h 412934"/>
                  <a:gd name="connsiteX8" fmla="*/ 450010 w 492299"/>
                  <a:gd name="connsiteY8" fmla="*/ 28211 h 412934"/>
                  <a:gd name="connsiteX9" fmla="*/ 449351 w 492299"/>
                  <a:gd name="connsiteY9" fmla="*/ 34633 h 412934"/>
                  <a:gd name="connsiteX10" fmla="*/ 453029 w 492299"/>
                  <a:gd name="connsiteY10" fmla="*/ 50742 h 412934"/>
                  <a:gd name="connsiteX11" fmla="*/ 452919 w 492299"/>
                  <a:gd name="connsiteY11" fmla="*/ 52032 h 412934"/>
                  <a:gd name="connsiteX12" fmla="*/ 451766 w 492299"/>
                  <a:gd name="connsiteY12" fmla="*/ 66165 h 412934"/>
                  <a:gd name="connsiteX13" fmla="*/ 452782 w 492299"/>
                  <a:gd name="connsiteY13" fmla="*/ 72806 h 412934"/>
                  <a:gd name="connsiteX14" fmla="*/ 454044 w 492299"/>
                  <a:gd name="connsiteY14" fmla="*/ 81012 h 412934"/>
                  <a:gd name="connsiteX15" fmla="*/ 455444 w 492299"/>
                  <a:gd name="connsiteY15" fmla="*/ 90068 h 412934"/>
                  <a:gd name="connsiteX16" fmla="*/ 455992 w 492299"/>
                  <a:gd name="connsiteY16" fmla="*/ 93498 h 412934"/>
                  <a:gd name="connsiteX17" fmla="*/ 459780 w 492299"/>
                  <a:gd name="connsiteY17" fmla="*/ 105024 h 412934"/>
                  <a:gd name="connsiteX18" fmla="*/ 462002 w 492299"/>
                  <a:gd name="connsiteY18" fmla="*/ 107110 h 412934"/>
                  <a:gd name="connsiteX19" fmla="*/ 466942 w 492299"/>
                  <a:gd name="connsiteY19" fmla="*/ 107549 h 412934"/>
                  <a:gd name="connsiteX20" fmla="*/ 473693 w 492299"/>
                  <a:gd name="connsiteY20" fmla="*/ 112406 h 412934"/>
                  <a:gd name="connsiteX21" fmla="*/ 478194 w 492299"/>
                  <a:gd name="connsiteY21" fmla="*/ 116688 h 412934"/>
                  <a:gd name="connsiteX22" fmla="*/ 479181 w 492299"/>
                  <a:gd name="connsiteY22" fmla="*/ 121188 h 412934"/>
                  <a:gd name="connsiteX23" fmla="*/ 486152 w 492299"/>
                  <a:gd name="connsiteY23" fmla="*/ 122643 h 412934"/>
                  <a:gd name="connsiteX24" fmla="*/ 492299 w 492299"/>
                  <a:gd name="connsiteY24" fmla="*/ 129558 h 412934"/>
                  <a:gd name="connsiteX25" fmla="*/ 482749 w 492299"/>
                  <a:gd name="connsiteY25" fmla="*/ 143143 h 412934"/>
                  <a:gd name="connsiteX26" fmla="*/ 469796 w 492299"/>
                  <a:gd name="connsiteY26" fmla="*/ 145859 h 412934"/>
                  <a:gd name="connsiteX27" fmla="*/ 467930 w 492299"/>
                  <a:gd name="connsiteY27" fmla="*/ 148631 h 412934"/>
                  <a:gd name="connsiteX28" fmla="*/ 463210 w 492299"/>
                  <a:gd name="connsiteY28" fmla="*/ 149427 h 412934"/>
                  <a:gd name="connsiteX29" fmla="*/ 457804 w 492299"/>
                  <a:gd name="connsiteY29" fmla="*/ 158428 h 412934"/>
                  <a:gd name="connsiteX30" fmla="*/ 446772 w 492299"/>
                  <a:gd name="connsiteY30" fmla="*/ 158648 h 412934"/>
                  <a:gd name="connsiteX31" fmla="*/ 445839 w 492299"/>
                  <a:gd name="connsiteY31" fmla="*/ 167045 h 412934"/>
                  <a:gd name="connsiteX32" fmla="*/ 443287 w 492299"/>
                  <a:gd name="connsiteY32" fmla="*/ 172205 h 412934"/>
                  <a:gd name="connsiteX33" fmla="*/ 444466 w 492299"/>
                  <a:gd name="connsiteY33" fmla="*/ 182413 h 412934"/>
                  <a:gd name="connsiteX34" fmla="*/ 440926 w 492299"/>
                  <a:gd name="connsiteY34" fmla="*/ 191634 h 412934"/>
                  <a:gd name="connsiteX35" fmla="*/ 433297 w 492299"/>
                  <a:gd name="connsiteY35" fmla="*/ 213177 h 412934"/>
                  <a:gd name="connsiteX36" fmla="*/ 429976 w 492299"/>
                  <a:gd name="connsiteY36" fmla="*/ 217431 h 412934"/>
                  <a:gd name="connsiteX37" fmla="*/ 431321 w 492299"/>
                  <a:gd name="connsiteY37" fmla="*/ 232387 h 412934"/>
                  <a:gd name="connsiteX38" fmla="*/ 432172 w 492299"/>
                  <a:gd name="connsiteY38" fmla="*/ 241663 h 412934"/>
                  <a:gd name="connsiteX39" fmla="*/ 433214 w 492299"/>
                  <a:gd name="connsiteY39" fmla="*/ 244325 h 412934"/>
                  <a:gd name="connsiteX40" fmla="*/ 430498 w 492299"/>
                  <a:gd name="connsiteY40" fmla="*/ 258595 h 412934"/>
                  <a:gd name="connsiteX41" fmla="*/ 423829 w 492299"/>
                  <a:gd name="connsiteY41" fmla="*/ 275335 h 412934"/>
                  <a:gd name="connsiteX42" fmla="*/ 421332 w 492299"/>
                  <a:gd name="connsiteY42" fmla="*/ 289825 h 412934"/>
                  <a:gd name="connsiteX43" fmla="*/ 419823 w 492299"/>
                  <a:gd name="connsiteY43" fmla="*/ 291472 h 412934"/>
                  <a:gd name="connsiteX44" fmla="*/ 414855 w 492299"/>
                  <a:gd name="connsiteY44" fmla="*/ 291417 h 412934"/>
                  <a:gd name="connsiteX45" fmla="*/ 406622 w 492299"/>
                  <a:gd name="connsiteY45" fmla="*/ 294545 h 412934"/>
                  <a:gd name="connsiteX46" fmla="*/ 395645 w 492299"/>
                  <a:gd name="connsiteY46" fmla="*/ 313426 h 412934"/>
                  <a:gd name="connsiteX47" fmla="*/ 390129 w 492299"/>
                  <a:gd name="connsiteY47" fmla="*/ 319299 h 412934"/>
                  <a:gd name="connsiteX48" fmla="*/ 384943 w 492299"/>
                  <a:gd name="connsiteY48" fmla="*/ 347264 h 412934"/>
                  <a:gd name="connsiteX49" fmla="*/ 381210 w 492299"/>
                  <a:gd name="connsiteY49" fmla="*/ 349761 h 412934"/>
                  <a:gd name="connsiteX50" fmla="*/ 374734 w 492299"/>
                  <a:gd name="connsiteY50" fmla="*/ 346632 h 412934"/>
                  <a:gd name="connsiteX51" fmla="*/ 369794 w 492299"/>
                  <a:gd name="connsiteY51" fmla="*/ 351984 h 412934"/>
                  <a:gd name="connsiteX52" fmla="*/ 367489 w 492299"/>
                  <a:gd name="connsiteY52" fmla="*/ 354509 h 412934"/>
                  <a:gd name="connsiteX53" fmla="*/ 367818 w 492299"/>
                  <a:gd name="connsiteY53" fmla="*/ 367269 h 412934"/>
                  <a:gd name="connsiteX54" fmla="*/ 364772 w 492299"/>
                  <a:gd name="connsiteY54" fmla="*/ 371990 h 412934"/>
                  <a:gd name="connsiteX55" fmla="*/ 361204 w 492299"/>
                  <a:gd name="connsiteY55" fmla="*/ 387385 h 412934"/>
                  <a:gd name="connsiteX56" fmla="*/ 356073 w 492299"/>
                  <a:gd name="connsiteY56" fmla="*/ 387165 h 412934"/>
                  <a:gd name="connsiteX57" fmla="*/ 355002 w 492299"/>
                  <a:gd name="connsiteY57" fmla="*/ 385436 h 412934"/>
                  <a:gd name="connsiteX58" fmla="*/ 357527 w 492299"/>
                  <a:gd name="connsiteY58" fmla="*/ 374734 h 412934"/>
                  <a:gd name="connsiteX59" fmla="*/ 356841 w 492299"/>
                  <a:gd name="connsiteY59" fmla="*/ 368559 h 412934"/>
                  <a:gd name="connsiteX60" fmla="*/ 355606 w 492299"/>
                  <a:gd name="connsiteY60" fmla="*/ 367242 h 412934"/>
                  <a:gd name="connsiteX61" fmla="*/ 343010 w 492299"/>
                  <a:gd name="connsiteY61" fmla="*/ 353411 h 412934"/>
                  <a:gd name="connsiteX62" fmla="*/ 339991 w 492299"/>
                  <a:gd name="connsiteY62" fmla="*/ 351956 h 412934"/>
                  <a:gd name="connsiteX63" fmla="*/ 335600 w 492299"/>
                  <a:gd name="connsiteY63" fmla="*/ 349816 h 412934"/>
                  <a:gd name="connsiteX64" fmla="*/ 332691 w 492299"/>
                  <a:gd name="connsiteY64" fmla="*/ 324266 h 412934"/>
                  <a:gd name="connsiteX65" fmla="*/ 336204 w 492299"/>
                  <a:gd name="connsiteY65" fmla="*/ 306483 h 412934"/>
                  <a:gd name="connsiteX66" fmla="*/ 323443 w 492299"/>
                  <a:gd name="connsiteY66" fmla="*/ 305632 h 412934"/>
                  <a:gd name="connsiteX67" fmla="*/ 321138 w 492299"/>
                  <a:gd name="connsiteY67" fmla="*/ 306373 h 412934"/>
                  <a:gd name="connsiteX68" fmla="*/ 320177 w 492299"/>
                  <a:gd name="connsiteY68" fmla="*/ 313728 h 412934"/>
                  <a:gd name="connsiteX69" fmla="*/ 304452 w 492299"/>
                  <a:gd name="connsiteY69" fmla="*/ 314908 h 412934"/>
                  <a:gd name="connsiteX70" fmla="*/ 309968 w 492299"/>
                  <a:gd name="connsiteY70" fmla="*/ 322153 h 412934"/>
                  <a:gd name="connsiteX71" fmla="*/ 312081 w 492299"/>
                  <a:gd name="connsiteY71" fmla="*/ 341308 h 412934"/>
                  <a:gd name="connsiteX72" fmla="*/ 300363 w 492299"/>
                  <a:gd name="connsiteY72" fmla="*/ 351956 h 412934"/>
                  <a:gd name="connsiteX73" fmla="*/ 298662 w 492299"/>
                  <a:gd name="connsiteY73" fmla="*/ 353493 h 412934"/>
                  <a:gd name="connsiteX74" fmla="*/ 292789 w 492299"/>
                  <a:gd name="connsiteY74" fmla="*/ 363208 h 412934"/>
                  <a:gd name="connsiteX75" fmla="*/ 289249 w 492299"/>
                  <a:gd name="connsiteY75" fmla="*/ 367242 h 412934"/>
                  <a:gd name="connsiteX76" fmla="*/ 279177 w 492299"/>
                  <a:gd name="connsiteY76" fmla="*/ 378631 h 412934"/>
                  <a:gd name="connsiteX77" fmla="*/ 264221 w 492299"/>
                  <a:gd name="connsiteY77" fmla="*/ 380195 h 412934"/>
                  <a:gd name="connsiteX78" fmla="*/ 244188 w 492299"/>
                  <a:gd name="connsiteY78" fmla="*/ 367269 h 412934"/>
                  <a:gd name="connsiteX79" fmla="*/ 239248 w 492299"/>
                  <a:gd name="connsiteY79" fmla="*/ 364086 h 412934"/>
                  <a:gd name="connsiteX80" fmla="*/ 232881 w 492299"/>
                  <a:gd name="connsiteY80" fmla="*/ 367269 h 412934"/>
                  <a:gd name="connsiteX81" fmla="*/ 227201 w 492299"/>
                  <a:gd name="connsiteY81" fmla="*/ 370096 h 412934"/>
                  <a:gd name="connsiteX82" fmla="*/ 225883 w 492299"/>
                  <a:gd name="connsiteY82" fmla="*/ 379564 h 412934"/>
                  <a:gd name="connsiteX83" fmla="*/ 213918 w 492299"/>
                  <a:gd name="connsiteY83" fmla="*/ 380030 h 412934"/>
                  <a:gd name="connsiteX84" fmla="*/ 210104 w 492299"/>
                  <a:gd name="connsiteY84" fmla="*/ 383159 h 412934"/>
                  <a:gd name="connsiteX85" fmla="*/ 210104 w 492299"/>
                  <a:gd name="connsiteY85" fmla="*/ 380387 h 412934"/>
                  <a:gd name="connsiteX86" fmla="*/ 210049 w 492299"/>
                  <a:gd name="connsiteY86" fmla="*/ 368916 h 412934"/>
                  <a:gd name="connsiteX87" fmla="*/ 175937 w 492299"/>
                  <a:gd name="connsiteY87" fmla="*/ 368148 h 412934"/>
                  <a:gd name="connsiteX88" fmla="*/ 175937 w 492299"/>
                  <a:gd name="connsiteY88" fmla="*/ 378411 h 412934"/>
                  <a:gd name="connsiteX89" fmla="*/ 178653 w 492299"/>
                  <a:gd name="connsiteY89" fmla="*/ 384092 h 412934"/>
                  <a:gd name="connsiteX90" fmla="*/ 156480 w 492299"/>
                  <a:gd name="connsiteY90" fmla="*/ 383708 h 412934"/>
                  <a:gd name="connsiteX91" fmla="*/ 144048 w 492299"/>
                  <a:gd name="connsiteY91" fmla="*/ 387413 h 412934"/>
                  <a:gd name="connsiteX92" fmla="*/ 138532 w 492299"/>
                  <a:gd name="connsiteY92" fmla="*/ 386727 h 412934"/>
                  <a:gd name="connsiteX93" fmla="*/ 131919 w 492299"/>
                  <a:gd name="connsiteY93" fmla="*/ 383159 h 412934"/>
                  <a:gd name="connsiteX94" fmla="*/ 128488 w 492299"/>
                  <a:gd name="connsiteY94" fmla="*/ 375063 h 412934"/>
                  <a:gd name="connsiteX95" fmla="*/ 121325 w 492299"/>
                  <a:gd name="connsiteY95" fmla="*/ 367269 h 412934"/>
                  <a:gd name="connsiteX96" fmla="*/ 117511 w 492299"/>
                  <a:gd name="connsiteY96" fmla="*/ 360217 h 412934"/>
                  <a:gd name="connsiteX97" fmla="*/ 106259 w 492299"/>
                  <a:gd name="connsiteY97" fmla="*/ 361671 h 412934"/>
                  <a:gd name="connsiteX98" fmla="*/ 99069 w 492299"/>
                  <a:gd name="connsiteY98" fmla="*/ 362577 h 412934"/>
                  <a:gd name="connsiteX99" fmla="*/ 96023 w 492299"/>
                  <a:gd name="connsiteY99" fmla="*/ 364086 h 412934"/>
                  <a:gd name="connsiteX100" fmla="*/ 94541 w 492299"/>
                  <a:gd name="connsiteY100" fmla="*/ 367269 h 412934"/>
                  <a:gd name="connsiteX101" fmla="*/ 92373 w 492299"/>
                  <a:gd name="connsiteY101" fmla="*/ 373005 h 412934"/>
                  <a:gd name="connsiteX102" fmla="*/ 85567 w 492299"/>
                  <a:gd name="connsiteY102" fmla="*/ 379756 h 412934"/>
                  <a:gd name="connsiteX103" fmla="*/ 85402 w 492299"/>
                  <a:gd name="connsiteY103" fmla="*/ 387111 h 412934"/>
                  <a:gd name="connsiteX104" fmla="*/ 81231 w 492299"/>
                  <a:gd name="connsiteY104" fmla="*/ 391062 h 412934"/>
                  <a:gd name="connsiteX105" fmla="*/ 80298 w 492299"/>
                  <a:gd name="connsiteY105" fmla="*/ 402588 h 412934"/>
                  <a:gd name="connsiteX106" fmla="*/ 80078 w 492299"/>
                  <a:gd name="connsiteY106" fmla="*/ 405360 h 412934"/>
                  <a:gd name="connsiteX107" fmla="*/ 70254 w 492299"/>
                  <a:gd name="connsiteY107" fmla="*/ 412934 h 412934"/>
                  <a:gd name="connsiteX108" fmla="*/ 68607 w 492299"/>
                  <a:gd name="connsiteY108" fmla="*/ 411453 h 412934"/>
                  <a:gd name="connsiteX109" fmla="*/ 50852 w 492299"/>
                  <a:gd name="connsiteY109" fmla="*/ 410135 h 412934"/>
                  <a:gd name="connsiteX110" fmla="*/ 49617 w 492299"/>
                  <a:gd name="connsiteY110" fmla="*/ 408159 h 412934"/>
                  <a:gd name="connsiteX111" fmla="*/ 50550 w 492299"/>
                  <a:gd name="connsiteY111" fmla="*/ 403769 h 412934"/>
                  <a:gd name="connsiteX112" fmla="*/ 48135 w 492299"/>
                  <a:gd name="connsiteY112" fmla="*/ 402616 h 412934"/>
                  <a:gd name="connsiteX113" fmla="*/ 48025 w 492299"/>
                  <a:gd name="connsiteY113" fmla="*/ 400064 h 412934"/>
                  <a:gd name="connsiteX114" fmla="*/ 48739 w 492299"/>
                  <a:gd name="connsiteY114" fmla="*/ 397511 h 412934"/>
                  <a:gd name="connsiteX115" fmla="*/ 52965 w 492299"/>
                  <a:gd name="connsiteY115" fmla="*/ 394383 h 412934"/>
                  <a:gd name="connsiteX116" fmla="*/ 53075 w 492299"/>
                  <a:gd name="connsiteY116" fmla="*/ 391117 h 412934"/>
                  <a:gd name="connsiteX117" fmla="*/ 54666 w 492299"/>
                  <a:gd name="connsiteY117" fmla="*/ 381293 h 412934"/>
                  <a:gd name="connsiteX118" fmla="*/ 53514 w 492299"/>
                  <a:gd name="connsiteY118" fmla="*/ 374679 h 412934"/>
                  <a:gd name="connsiteX119" fmla="*/ 48959 w 492299"/>
                  <a:gd name="connsiteY119" fmla="*/ 367297 h 412934"/>
                  <a:gd name="connsiteX120" fmla="*/ 43991 w 492299"/>
                  <a:gd name="connsiteY120" fmla="*/ 359256 h 412934"/>
                  <a:gd name="connsiteX121" fmla="*/ 41960 w 492299"/>
                  <a:gd name="connsiteY121" fmla="*/ 357472 h 412934"/>
                  <a:gd name="connsiteX122" fmla="*/ 35731 w 492299"/>
                  <a:gd name="connsiteY122" fmla="*/ 352011 h 412934"/>
                  <a:gd name="connsiteX123" fmla="*/ 34551 w 492299"/>
                  <a:gd name="connsiteY123" fmla="*/ 350968 h 412934"/>
                  <a:gd name="connsiteX124" fmla="*/ 30626 w 492299"/>
                  <a:gd name="connsiteY124" fmla="*/ 344601 h 412934"/>
                  <a:gd name="connsiteX125" fmla="*/ 32932 w 492299"/>
                  <a:gd name="connsiteY125" fmla="*/ 332636 h 412934"/>
                  <a:gd name="connsiteX126" fmla="*/ 22256 w 492299"/>
                  <a:gd name="connsiteY126" fmla="*/ 323855 h 412934"/>
                  <a:gd name="connsiteX127" fmla="*/ 23079 w 492299"/>
                  <a:gd name="connsiteY127" fmla="*/ 312438 h 412934"/>
                  <a:gd name="connsiteX128" fmla="*/ 18798 w 492299"/>
                  <a:gd name="connsiteY128" fmla="*/ 308953 h 412934"/>
                  <a:gd name="connsiteX129" fmla="*/ 16466 w 492299"/>
                  <a:gd name="connsiteY129" fmla="*/ 299568 h 412934"/>
                  <a:gd name="connsiteX130" fmla="*/ 17207 w 492299"/>
                  <a:gd name="connsiteY130" fmla="*/ 293887 h 412934"/>
                  <a:gd name="connsiteX131" fmla="*/ 10593 w 492299"/>
                  <a:gd name="connsiteY131" fmla="*/ 290649 h 412934"/>
                  <a:gd name="connsiteX132" fmla="*/ 3623 w 492299"/>
                  <a:gd name="connsiteY132" fmla="*/ 293338 h 412934"/>
                  <a:gd name="connsiteX133" fmla="*/ 0 w 492299"/>
                  <a:gd name="connsiteY133" fmla="*/ 288069 h 412934"/>
                  <a:gd name="connsiteX134" fmla="*/ 3540 w 492299"/>
                  <a:gd name="connsiteY134" fmla="*/ 280083 h 412934"/>
                  <a:gd name="connsiteX135" fmla="*/ 10593 w 492299"/>
                  <a:gd name="connsiteY135" fmla="*/ 273963 h 412934"/>
                  <a:gd name="connsiteX136" fmla="*/ 12678 w 492299"/>
                  <a:gd name="connsiteY136" fmla="*/ 272152 h 412934"/>
                  <a:gd name="connsiteX137" fmla="*/ 10593 w 492299"/>
                  <a:gd name="connsiteY137" fmla="*/ 266554 h 412934"/>
                  <a:gd name="connsiteX138" fmla="*/ 7602 w 492299"/>
                  <a:gd name="connsiteY138" fmla="*/ 258595 h 412934"/>
                  <a:gd name="connsiteX139" fmla="*/ 10593 w 492299"/>
                  <a:gd name="connsiteY139" fmla="*/ 254973 h 412934"/>
                  <a:gd name="connsiteX140" fmla="*/ 11279 w 492299"/>
                  <a:gd name="connsiteY140" fmla="*/ 254149 h 412934"/>
                  <a:gd name="connsiteX141" fmla="*/ 20884 w 492299"/>
                  <a:gd name="connsiteY141" fmla="*/ 247838 h 412934"/>
                  <a:gd name="connsiteX142" fmla="*/ 20884 w 492299"/>
                  <a:gd name="connsiteY142" fmla="*/ 245779 h 412934"/>
                  <a:gd name="connsiteX143" fmla="*/ 17920 w 492299"/>
                  <a:gd name="connsiteY143" fmla="*/ 243639 h 412934"/>
                  <a:gd name="connsiteX144" fmla="*/ 16603 w 492299"/>
                  <a:gd name="connsiteY144" fmla="*/ 235351 h 412934"/>
                  <a:gd name="connsiteX145" fmla="*/ 25083 w 492299"/>
                  <a:gd name="connsiteY145" fmla="*/ 231043 h 412934"/>
                  <a:gd name="connsiteX146" fmla="*/ 24918 w 492299"/>
                  <a:gd name="connsiteY146" fmla="*/ 226542 h 412934"/>
                  <a:gd name="connsiteX147" fmla="*/ 33755 w 492299"/>
                  <a:gd name="connsiteY147" fmla="*/ 215043 h 412934"/>
                  <a:gd name="connsiteX148" fmla="*/ 32712 w 492299"/>
                  <a:gd name="connsiteY148" fmla="*/ 204670 h 412934"/>
                  <a:gd name="connsiteX149" fmla="*/ 38365 w 492299"/>
                  <a:gd name="connsiteY149" fmla="*/ 200142 h 412934"/>
                  <a:gd name="connsiteX150" fmla="*/ 41878 w 492299"/>
                  <a:gd name="connsiteY150" fmla="*/ 200004 h 412934"/>
                  <a:gd name="connsiteX151" fmla="*/ 63448 w 492299"/>
                  <a:gd name="connsiteY151" fmla="*/ 199071 h 412934"/>
                  <a:gd name="connsiteX152" fmla="*/ 63613 w 492299"/>
                  <a:gd name="connsiteY152" fmla="*/ 90150 h 412934"/>
                  <a:gd name="connsiteX153" fmla="*/ 63613 w 492299"/>
                  <a:gd name="connsiteY153" fmla="*/ 81094 h 412934"/>
                  <a:gd name="connsiteX154" fmla="*/ 63613 w 492299"/>
                  <a:gd name="connsiteY154" fmla="*/ 72889 h 412934"/>
                  <a:gd name="connsiteX155" fmla="*/ 63613 w 492299"/>
                  <a:gd name="connsiteY155" fmla="*/ 67620 h 412934"/>
                  <a:gd name="connsiteX156" fmla="*/ 93004 w 492299"/>
                  <a:gd name="connsiteY156" fmla="*/ 67620 h 412934"/>
                  <a:gd name="connsiteX157" fmla="*/ 93004 w 492299"/>
                  <a:gd name="connsiteY157" fmla="*/ 4528 h 412934"/>
                  <a:gd name="connsiteX158" fmla="*/ 275006 w 492299"/>
                  <a:gd name="connsiteY158" fmla="*/ 4528 h 412934"/>
                  <a:gd name="connsiteX159" fmla="*/ 281949 w 492299"/>
                  <a:gd name="connsiteY159" fmla="*/ 0 h 412934"/>
                  <a:gd name="connsiteX160" fmla="*/ 284364 w 492299"/>
                  <a:gd name="connsiteY160" fmla="*/ 4418 h 412934"/>
                  <a:gd name="connsiteX161" fmla="*/ 333679 w 492299"/>
                  <a:gd name="connsiteY161" fmla="*/ 4501 h 4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492299" h="412934">
                    <a:moveTo>
                      <a:pt x="333816" y="4418"/>
                    </a:moveTo>
                    <a:lnTo>
                      <a:pt x="346248" y="12980"/>
                    </a:lnTo>
                    <a:lnTo>
                      <a:pt x="357582" y="11389"/>
                    </a:lnTo>
                    <a:lnTo>
                      <a:pt x="360409" y="4391"/>
                    </a:lnTo>
                    <a:lnTo>
                      <a:pt x="422759" y="4308"/>
                    </a:lnTo>
                    <a:lnTo>
                      <a:pt x="442655" y="4308"/>
                    </a:lnTo>
                    <a:cubicBezTo>
                      <a:pt x="442655" y="4308"/>
                      <a:pt x="443588" y="14298"/>
                      <a:pt x="443588" y="14298"/>
                    </a:cubicBezTo>
                    <a:lnTo>
                      <a:pt x="443890" y="17152"/>
                    </a:lnTo>
                    <a:lnTo>
                      <a:pt x="450010" y="28211"/>
                    </a:lnTo>
                    <a:lnTo>
                      <a:pt x="449351" y="34633"/>
                    </a:lnTo>
                    <a:lnTo>
                      <a:pt x="453029" y="50742"/>
                    </a:lnTo>
                    <a:lnTo>
                      <a:pt x="452919" y="52032"/>
                    </a:lnTo>
                    <a:lnTo>
                      <a:pt x="451766" y="66165"/>
                    </a:lnTo>
                    <a:lnTo>
                      <a:pt x="452782" y="72806"/>
                    </a:lnTo>
                    <a:lnTo>
                      <a:pt x="454044" y="81012"/>
                    </a:lnTo>
                    <a:lnTo>
                      <a:pt x="455444" y="90068"/>
                    </a:lnTo>
                    <a:lnTo>
                      <a:pt x="455992" y="93498"/>
                    </a:lnTo>
                    <a:lnTo>
                      <a:pt x="459780" y="105024"/>
                    </a:lnTo>
                    <a:lnTo>
                      <a:pt x="462002" y="107110"/>
                    </a:lnTo>
                    <a:lnTo>
                      <a:pt x="466942" y="107549"/>
                    </a:lnTo>
                    <a:lnTo>
                      <a:pt x="473693" y="112406"/>
                    </a:lnTo>
                    <a:lnTo>
                      <a:pt x="478194" y="116688"/>
                    </a:lnTo>
                    <a:lnTo>
                      <a:pt x="479181" y="121188"/>
                    </a:lnTo>
                    <a:lnTo>
                      <a:pt x="486152" y="122643"/>
                    </a:lnTo>
                    <a:lnTo>
                      <a:pt x="492299" y="129558"/>
                    </a:lnTo>
                    <a:lnTo>
                      <a:pt x="482749" y="143143"/>
                    </a:lnTo>
                    <a:lnTo>
                      <a:pt x="469796" y="145859"/>
                    </a:lnTo>
                    <a:lnTo>
                      <a:pt x="467930" y="148631"/>
                    </a:lnTo>
                    <a:lnTo>
                      <a:pt x="463210" y="149427"/>
                    </a:lnTo>
                    <a:lnTo>
                      <a:pt x="457804" y="158428"/>
                    </a:lnTo>
                    <a:lnTo>
                      <a:pt x="446772" y="158648"/>
                    </a:lnTo>
                    <a:lnTo>
                      <a:pt x="445839" y="167045"/>
                    </a:lnTo>
                    <a:lnTo>
                      <a:pt x="443287" y="172205"/>
                    </a:lnTo>
                    <a:lnTo>
                      <a:pt x="444466" y="182413"/>
                    </a:lnTo>
                    <a:lnTo>
                      <a:pt x="440926" y="191634"/>
                    </a:lnTo>
                    <a:lnTo>
                      <a:pt x="433297" y="213177"/>
                    </a:lnTo>
                    <a:lnTo>
                      <a:pt x="429976" y="217431"/>
                    </a:lnTo>
                    <a:lnTo>
                      <a:pt x="431321" y="232387"/>
                    </a:lnTo>
                    <a:lnTo>
                      <a:pt x="432172" y="241663"/>
                    </a:lnTo>
                    <a:lnTo>
                      <a:pt x="433214" y="244325"/>
                    </a:lnTo>
                    <a:lnTo>
                      <a:pt x="430498" y="258595"/>
                    </a:lnTo>
                    <a:lnTo>
                      <a:pt x="423829" y="275335"/>
                    </a:lnTo>
                    <a:lnTo>
                      <a:pt x="421332" y="289825"/>
                    </a:lnTo>
                    <a:lnTo>
                      <a:pt x="419823" y="291472"/>
                    </a:lnTo>
                    <a:lnTo>
                      <a:pt x="414855" y="291417"/>
                    </a:lnTo>
                    <a:lnTo>
                      <a:pt x="406622" y="294545"/>
                    </a:lnTo>
                    <a:lnTo>
                      <a:pt x="395645" y="313426"/>
                    </a:lnTo>
                    <a:lnTo>
                      <a:pt x="390129" y="319299"/>
                    </a:lnTo>
                    <a:lnTo>
                      <a:pt x="384943" y="347264"/>
                    </a:lnTo>
                    <a:lnTo>
                      <a:pt x="381210" y="349761"/>
                    </a:lnTo>
                    <a:lnTo>
                      <a:pt x="374734" y="346632"/>
                    </a:lnTo>
                    <a:lnTo>
                      <a:pt x="369794" y="351984"/>
                    </a:lnTo>
                    <a:lnTo>
                      <a:pt x="367489" y="354509"/>
                    </a:lnTo>
                    <a:lnTo>
                      <a:pt x="367818" y="367269"/>
                    </a:lnTo>
                    <a:lnTo>
                      <a:pt x="364772" y="371990"/>
                    </a:lnTo>
                    <a:lnTo>
                      <a:pt x="361204" y="387385"/>
                    </a:lnTo>
                    <a:lnTo>
                      <a:pt x="356073" y="387165"/>
                    </a:lnTo>
                    <a:lnTo>
                      <a:pt x="355002" y="385436"/>
                    </a:lnTo>
                    <a:lnTo>
                      <a:pt x="357527" y="374734"/>
                    </a:lnTo>
                    <a:lnTo>
                      <a:pt x="356841" y="368559"/>
                    </a:lnTo>
                    <a:lnTo>
                      <a:pt x="355606" y="367242"/>
                    </a:lnTo>
                    <a:lnTo>
                      <a:pt x="343010" y="353411"/>
                    </a:lnTo>
                    <a:lnTo>
                      <a:pt x="339991" y="351956"/>
                    </a:lnTo>
                    <a:lnTo>
                      <a:pt x="335600" y="349816"/>
                    </a:lnTo>
                    <a:lnTo>
                      <a:pt x="332691" y="324266"/>
                    </a:lnTo>
                    <a:lnTo>
                      <a:pt x="336204" y="306483"/>
                    </a:lnTo>
                    <a:lnTo>
                      <a:pt x="323443" y="305632"/>
                    </a:lnTo>
                    <a:lnTo>
                      <a:pt x="321138" y="306373"/>
                    </a:lnTo>
                    <a:lnTo>
                      <a:pt x="320177" y="313728"/>
                    </a:lnTo>
                    <a:lnTo>
                      <a:pt x="304452" y="314908"/>
                    </a:lnTo>
                    <a:lnTo>
                      <a:pt x="309968" y="322153"/>
                    </a:lnTo>
                    <a:lnTo>
                      <a:pt x="312081" y="341308"/>
                    </a:lnTo>
                    <a:lnTo>
                      <a:pt x="300363" y="351956"/>
                    </a:lnTo>
                    <a:lnTo>
                      <a:pt x="298662" y="353493"/>
                    </a:lnTo>
                    <a:lnTo>
                      <a:pt x="292789" y="363208"/>
                    </a:lnTo>
                    <a:lnTo>
                      <a:pt x="289249" y="367242"/>
                    </a:lnTo>
                    <a:lnTo>
                      <a:pt x="279177" y="378631"/>
                    </a:lnTo>
                    <a:lnTo>
                      <a:pt x="264221" y="380195"/>
                    </a:lnTo>
                    <a:lnTo>
                      <a:pt x="244188" y="367269"/>
                    </a:lnTo>
                    <a:lnTo>
                      <a:pt x="239248" y="364086"/>
                    </a:lnTo>
                    <a:lnTo>
                      <a:pt x="232881" y="367269"/>
                    </a:lnTo>
                    <a:lnTo>
                      <a:pt x="227201" y="370096"/>
                    </a:lnTo>
                    <a:lnTo>
                      <a:pt x="225883" y="379564"/>
                    </a:lnTo>
                    <a:lnTo>
                      <a:pt x="213918" y="380030"/>
                    </a:lnTo>
                    <a:lnTo>
                      <a:pt x="210104" y="383159"/>
                    </a:lnTo>
                    <a:lnTo>
                      <a:pt x="210104" y="380387"/>
                    </a:lnTo>
                    <a:cubicBezTo>
                      <a:pt x="210104" y="380387"/>
                      <a:pt x="210049" y="368916"/>
                      <a:pt x="210049" y="368916"/>
                    </a:cubicBezTo>
                    <a:lnTo>
                      <a:pt x="175937" y="368148"/>
                    </a:lnTo>
                    <a:lnTo>
                      <a:pt x="175937" y="378411"/>
                    </a:lnTo>
                    <a:cubicBezTo>
                      <a:pt x="175937" y="378411"/>
                      <a:pt x="178653" y="384092"/>
                      <a:pt x="178653" y="384092"/>
                    </a:cubicBezTo>
                    <a:lnTo>
                      <a:pt x="156480" y="383708"/>
                    </a:lnTo>
                    <a:lnTo>
                      <a:pt x="144048" y="387413"/>
                    </a:lnTo>
                    <a:lnTo>
                      <a:pt x="138532" y="386727"/>
                    </a:lnTo>
                    <a:lnTo>
                      <a:pt x="131919" y="383159"/>
                    </a:lnTo>
                    <a:lnTo>
                      <a:pt x="128488" y="375063"/>
                    </a:lnTo>
                    <a:lnTo>
                      <a:pt x="121325" y="367269"/>
                    </a:lnTo>
                    <a:lnTo>
                      <a:pt x="117511" y="360217"/>
                    </a:lnTo>
                    <a:lnTo>
                      <a:pt x="106259" y="361671"/>
                    </a:lnTo>
                    <a:lnTo>
                      <a:pt x="99069" y="362577"/>
                    </a:lnTo>
                    <a:lnTo>
                      <a:pt x="96023" y="364086"/>
                    </a:lnTo>
                    <a:lnTo>
                      <a:pt x="94541" y="367269"/>
                    </a:lnTo>
                    <a:lnTo>
                      <a:pt x="92373" y="373005"/>
                    </a:lnTo>
                    <a:lnTo>
                      <a:pt x="85567" y="379756"/>
                    </a:lnTo>
                    <a:lnTo>
                      <a:pt x="85402" y="387111"/>
                    </a:lnTo>
                    <a:lnTo>
                      <a:pt x="81231" y="391062"/>
                    </a:lnTo>
                    <a:lnTo>
                      <a:pt x="80298" y="402588"/>
                    </a:lnTo>
                    <a:lnTo>
                      <a:pt x="80078" y="405360"/>
                    </a:lnTo>
                    <a:lnTo>
                      <a:pt x="70254" y="412934"/>
                    </a:lnTo>
                    <a:lnTo>
                      <a:pt x="68607" y="411453"/>
                    </a:lnTo>
                    <a:lnTo>
                      <a:pt x="50852" y="410135"/>
                    </a:lnTo>
                    <a:lnTo>
                      <a:pt x="49617" y="408159"/>
                    </a:lnTo>
                    <a:lnTo>
                      <a:pt x="50550" y="403769"/>
                    </a:lnTo>
                    <a:lnTo>
                      <a:pt x="48135" y="402616"/>
                    </a:lnTo>
                    <a:lnTo>
                      <a:pt x="48025" y="400064"/>
                    </a:lnTo>
                    <a:lnTo>
                      <a:pt x="48739" y="397511"/>
                    </a:lnTo>
                    <a:lnTo>
                      <a:pt x="52965" y="394383"/>
                    </a:lnTo>
                    <a:lnTo>
                      <a:pt x="53075" y="391117"/>
                    </a:lnTo>
                    <a:lnTo>
                      <a:pt x="54666" y="381293"/>
                    </a:lnTo>
                    <a:lnTo>
                      <a:pt x="53514" y="374679"/>
                    </a:lnTo>
                    <a:lnTo>
                      <a:pt x="48959" y="367297"/>
                    </a:lnTo>
                    <a:lnTo>
                      <a:pt x="43991" y="359256"/>
                    </a:lnTo>
                    <a:lnTo>
                      <a:pt x="41960" y="357472"/>
                    </a:lnTo>
                    <a:lnTo>
                      <a:pt x="35731" y="352011"/>
                    </a:lnTo>
                    <a:lnTo>
                      <a:pt x="34551" y="350968"/>
                    </a:lnTo>
                    <a:lnTo>
                      <a:pt x="30626" y="344601"/>
                    </a:lnTo>
                    <a:lnTo>
                      <a:pt x="32932" y="332636"/>
                    </a:lnTo>
                    <a:lnTo>
                      <a:pt x="22256" y="323855"/>
                    </a:lnTo>
                    <a:lnTo>
                      <a:pt x="23079" y="312438"/>
                    </a:lnTo>
                    <a:lnTo>
                      <a:pt x="18798" y="308953"/>
                    </a:lnTo>
                    <a:lnTo>
                      <a:pt x="16466" y="299568"/>
                    </a:lnTo>
                    <a:lnTo>
                      <a:pt x="17207" y="293887"/>
                    </a:lnTo>
                    <a:lnTo>
                      <a:pt x="10593" y="290649"/>
                    </a:lnTo>
                    <a:lnTo>
                      <a:pt x="3623" y="293338"/>
                    </a:lnTo>
                    <a:lnTo>
                      <a:pt x="0" y="288069"/>
                    </a:lnTo>
                    <a:lnTo>
                      <a:pt x="3540" y="280083"/>
                    </a:lnTo>
                    <a:lnTo>
                      <a:pt x="10593" y="273963"/>
                    </a:lnTo>
                    <a:lnTo>
                      <a:pt x="12678" y="272152"/>
                    </a:lnTo>
                    <a:lnTo>
                      <a:pt x="10593" y="266554"/>
                    </a:lnTo>
                    <a:lnTo>
                      <a:pt x="7602" y="258595"/>
                    </a:lnTo>
                    <a:lnTo>
                      <a:pt x="10593" y="254973"/>
                    </a:lnTo>
                    <a:lnTo>
                      <a:pt x="11279" y="254149"/>
                    </a:lnTo>
                    <a:lnTo>
                      <a:pt x="20884" y="247838"/>
                    </a:lnTo>
                    <a:lnTo>
                      <a:pt x="20884" y="245779"/>
                    </a:lnTo>
                    <a:cubicBezTo>
                      <a:pt x="20884" y="245779"/>
                      <a:pt x="17920" y="243639"/>
                      <a:pt x="17920" y="243639"/>
                    </a:cubicBezTo>
                    <a:lnTo>
                      <a:pt x="16603" y="235351"/>
                    </a:lnTo>
                    <a:lnTo>
                      <a:pt x="25083" y="231043"/>
                    </a:lnTo>
                    <a:lnTo>
                      <a:pt x="24918" y="226542"/>
                    </a:lnTo>
                    <a:lnTo>
                      <a:pt x="33755" y="215043"/>
                    </a:lnTo>
                    <a:lnTo>
                      <a:pt x="32712" y="204670"/>
                    </a:lnTo>
                    <a:lnTo>
                      <a:pt x="38365" y="200142"/>
                    </a:lnTo>
                    <a:lnTo>
                      <a:pt x="41878" y="200004"/>
                    </a:lnTo>
                    <a:lnTo>
                      <a:pt x="63448" y="199071"/>
                    </a:lnTo>
                    <a:lnTo>
                      <a:pt x="63613" y="90150"/>
                    </a:lnTo>
                    <a:lnTo>
                      <a:pt x="63613" y="81094"/>
                    </a:lnTo>
                    <a:cubicBezTo>
                      <a:pt x="63613" y="81094"/>
                      <a:pt x="63613" y="72889"/>
                      <a:pt x="63613" y="72889"/>
                    </a:cubicBezTo>
                    <a:lnTo>
                      <a:pt x="63613" y="67620"/>
                    </a:lnTo>
                    <a:lnTo>
                      <a:pt x="93004" y="67620"/>
                    </a:lnTo>
                    <a:lnTo>
                      <a:pt x="93004" y="4528"/>
                    </a:lnTo>
                    <a:lnTo>
                      <a:pt x="275006" y="4528"/>
                    </a:lnTo>
                    <a:cubicBezTo>
                      <a:pt x="275006" y="4528"/>
                      <a:pt x="281949" y="0"/>
                      <a:pt x="281949" y="0"/>
                    </a:cubicBezTo>
                    <a:lnTo>
                      <a:pt x="284364" y="4418"/>
                    </a:lnTo>
                    <a:lnTo>
                      <a:pt x="333679" y="45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0" name="Freeform: Shape 4479">
                <a:extLst>
                  <a:ext uri="{FF2B5EF4-FFF2-40B4-BE49-F238E27FC236}">
                    <a16:creationId xmlns:a16="http://schemas.microsoft.com/office/drawing/2014/main" id="{FF520A2D-2A11-C360-EE70-E55CB7E8D67C}"/>
                  </a:ext>
                </a:extLst>
              </p:cNvPr>
              <p:cNvSpPr/>
              <p:nvPr/>
            </p:nvSpPr>
            <p:spPr>
              <a:xfrm>
                <a:off x="1479373" y="3777859"/>
                <a:ext cx="501" cy="572"/>
              </a:xfrm>
              <a:custGeom>
                <a:avLst/>
                <a:gdLst>
                  <a:gd name="connsiteX0" fmla="*/ 1729 w 4802"/>
                  <a:gd name="connsiteY0" fmla="*/ 27 h 5488"/>
                  <a:gd name="connsiteX1" fmla="*/ 4803 w 4802"/>
                  <a:gd name="connsiteY1" fmla="*/ 4391 h 5488"/>
                  <a:gd name="connsiteX2" fmla="*/ 3760 w 4802"/>
                  <a:gd name="connsiteY2" fmla="*/ 5489 h 5488"/>
                  <a:gd name="connsiteX3" fmla="*/ 2168 w 4802"/>
                  <a:gd name="connsiteY3" fmla="*/ 2744 h 5488"/>
                  <a:gd name="connsiteX4" fmla="*/ 988 w 4802"/>
                  <a:gd name="connsiteY4" fmla="*/ 2991 h 5488"/>
                  <a:gd name="connsiteX5" fmla="*/ 0 w 4802"/>
                  <a:gd name="connsiteY5" fmla="*/ 1235 h 5488"/>
                  <a:gd name="connsiteX6" fmla="*/ 1756 w 4802"/>
                  <a:gd name="connsiteY6" fmla="*/ 0 h 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2" h="5488">
                    <a:moveTo>
                      <a:pt x="1729" y="27"/>
                    </a:moveTo>
                    <a:lnTo>
                      <a:pt x="4803" y="4391"/>
                    </a:lnTo>
                    <a:lnTo>
                      <a:pt x="3760" y="5489"/>
                    </a:lnTo>
                    <a:lnTo>
                      <a:pt x="2168" y="2744"/>
                    </a:lnTo>
                    <a:lnTo>
                      <a:pt x="988" y="2991"/>
                    </a:lnTo>
                    <a:lnTo>
                      <a:pt x="0" y="1235"/>
                    </a:lnTo>
                    <a:lnTo>
                      <a:pt x="175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1" name="Freeform: Shape 4480">
                <a:extLst>
                  <a:ext uri="{FF2B5EF4-FFF2-40B4-BE49-F238E27FC236}">
                    <a16:creationId xmlns:a16="http://schemas.microsoft.com/office/drawing/2014/main" id="{FD6B875F-FE6D-B3FC-FC38-91C1C0CE0858}"/>
                  </a:ext>
                </a:extLst>
              </p:cNvPr>
              <p:cNvSpPr/>
              <p:nvPr/>
            </p:nvSpPr>
            <p:spPr>
              <a:xfrm>
                <a:off x="1683311" y="3839948"/>
                <a:ext cx="1133" cy="644"/>
              </a:xfrm>
              <a:custGeom>
                <a:avLst/>
                <a:gdLst>
                  <a:gd name="connsiteX0" fmla="*/ 8891 w 10867"/>
                  <a:gd name="connsiteY0" fmla="*/ 1290 h 6174"/>
                  <a:gd name="connsiteX1" fmla="*/ 10867 w 10867"/>
                  <a:gd name="connsiteY1" fmla="*/ 1784 h 6174"/>
                  <a:gd name="connsiteX2" fmla="*/ 10867 w 10867"/>
                  <a:gd name="connsiteY2" fmla="*/ 2854 h 6174"/>
                  <a:gd name="connsiteX3" fmla="*/ 9330 w 10867"/>
                  <a:gd name="connsiteY3" fmla="*/ 4830 h 6174"/>
                  <a:gd name="connsiteX4" fmla="*/ 6806 w 10867"/>
                  <a:gd name="connsiteY4" fmla="*/ 5132 h 6174"/>
                  <a:gd name="connsiteX5" fmla="*/ 6257 w 10867"/>
                  <a:gd name="connsiteY5" fmla="*/ 6092 h 6174"/>
                  <a:gd name="connsiteX6" fmla="*/ 5077 w 10867"/>
                  <a:gd name="connsiteY6" fmla="*/ 6175 h 6174"/>
                  <a:gd name="connsiteX7" fmla="*/ 3485 w 10867"/>
                  <a:gd name="connsiteY7" fmla="*/ 4857 h 6174"/>
                  <a:gd name="connsiteX8" fmla="*/ 2086 w 10867"/>
                  <a:gd name="connsiteY8" fmla="*/ 5461 h 6174"/>
                  <a:gd name="connsiteX9" fmla="*/ 741 w 10867"/>
                  <a:gd name="connsiteY9" fmla="*/ 5214 h 6174"/>
                  <a:gd name="connsiteX10" fmla="*/ 0 w 10867"/>
                  <a:gd name="connsiteY10" fmla="*/ 4089 h 6174"/>
                  <a:gd name="connsiteX11" fmla="*/ 961 w 10867"/>
                  <a:gd name="connsiteY11" fmla="*/ 2689 h 6174"/>
                  <a:gd name="connsiteX12" fmla="*/ 1317 w 10867"/>
                  <a:gd name="connsiteY12" fmla="*/ 1262 h 6174"/>
                  <a:gd name="connsiteX13" fmla="*/ 2634 w 10867"/>
                  <a:gd name="connsiteY13" fmla="*/ 521 h 6174"/>
                  <a:gd name="connsiteX14" fmla="*/ 3348 w 10867"/>
                  <a:gd name="connsiteY14" fmla="*/ 988 h 6174"/>
                  <a:gd name="connsiteX15" fmla="*/ 5324 w 10867"/>
                  <a:gd name="connsiteY15" fmla="*/ 0 h 6174"/>
                  <a:gd name="connsiteX16" fmla="*/ 6285 w 10867"/>
                  <a:gd name="connsiteY16" fmla="*/ 384 h 6174"/>
                  <a:gd name="connsiteX17" fmla="*/ 7739 w 10867"/>
                  <a:gd name="connsiteY17" fmla="*/ 1866 h 6174"/>
                  <a:gd name="connsiteX18" fmla="*/ 8837 w 10867"/>
                  <a:gd name="connsiteY18" fmla="*/ 1317 h 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67" h="6174">
                    <a:moveTo>
                      <a:pt x="8891" y="1290"/>
                    </a:moveTo>
                    <a:lnTo>
                      <a:pt x="10867" y="1784"/>
                    </a:lnTo>
                    <a:lnTo>
                      <a:pt x="10867" y="2854"/>
                    </a:lnTo>
                    <a:cubicBezTo>
                      <a:pt x="10867" y="2854"/>
                      <a:pt x="9330" y="4830"/>
                      <a:pt x="9330" y="4830"/>
                    </a:cubicBezTo>
                    <a:lnTo>
                      <a:pt x="6806" y="5132"/>
                    </a:lnTo>
                    <a:lnTo>
                      <a:pt x="6257" y="6092"/>
                    </a:lnTo>
                    <a:lnTo>
                      <a:pt x="5077" y="6175"/>
                    </a:lnTo>
                    <a:lnTo>
                      <a:pt x="3485" y="4857"/>
                    </a:lnTo>
                    <a:lnTo>
                      <a:pt x="2086" y="5461"/>
                    </a:lnTo>
                    <a:lnTo>
                      <a:pt x="741" y="5214"/>
                    </a:lnTo>
                    <a:lnTo>
                      <a:pt x="0" y="4089"/>
                    </a:lnTo>
                    <a:lnTo>
                      <a:pt x="961" y="2689"/>
                    </a:lnTo>
                    <a:lnTo>
                      <a:pt x="1317" y="1262"/>
                    </a:lnTo>
                    <a:lnTo>
                      <a:pt x="2634" y="521"/>
                    </a:lnTo>
                    <a:lnTo>
                      <a:pt x="3348" y="988"/>
                    </a:lnTo>
                    <a:lnTo>
                      <a:pt x="5324" y="0"/>
                    </a:lnTo>
                    <a:lnTo>
                      <a:pt x="6285" y="384"/>
                    </a:lnTo>
                    <a:lnTo>
                      <a:pt x="7739" y="1866"/>
                    </a:lnTo>
                    <a:lnTo>
                      <a:pt x="8837" y="131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2" name="Freeform: Shape 4481">
                <a:extLst>
                  <a:ext uri="{FF2B5EF4-FFF2-40B4-BE49-F238E27FC236}">
                    <a16:creationId xmlns:a16="http://schemas.microsoft.com/office/drawing/2014/main" id="{70421A34-99EA-10AA-9D93-28D859DB3A37}"/>
                  </a:ext>
                </a:extLst>
              </p:cNvPr>
              <p:cNvSpPr/>
              <p:nvPr/>
            </p:nvSpPr>
            <p:spPr>
              <a:xfrm>
                <a:off x="1398369" y="3415244"/>
                <a:ext cx="41438" cy="52947"/>
              </a:xfrm>
              <a:custGeom>
                <a:avLst/>
                <a:gdLst>
                  <a:gd name="connsiteX0" fmla="*/ 169268 w 397292"/>
                  <a:gd name="connsiteY0" fmla="*/ 4116 h 507640"/>
                  <a:gd name="connsiteX1" fmla="*/ 178023 w 397292"/>
                  <a:gd name="connsiteY1" fmla="*/ 29035 h 507640"/>
                  <a:gd name="connsiteX2" fmla="*/ 186475 w 397292"/>
                  <a:gd name="connsiteY2" fmla="*/ 18771 h 507640"/>
                  <a:gd name="connsiteX3" fmla="*/ 201130 w 397292"/>
                  <a:gd name="connsiteY3" fmla="*/ 29885 h 507640"/>
                  <a:gd name="connsiteX4" fmla="*/ 211393 w 397292"/>
                  <a:gd name="connsiteY4" fmla="*/ 50632 h 507640"/>
                  <a:gd name="connsiteX5" fmla="*/ 212189 w 397292"/>
                  <a:gd name="connsiteY5" fmla="*/ 59963 h 507640"/>
                  <a:gd name="connsiteX6" fmla="*/ 206892 w 397292"/>
                  <a:gd name="connsiteY6" fmla="*/ 77609 h 507640"/>
                  <a:gd name="connsiteX7" fmla="*/ 207798 w 397292"/>
                  <a:gd name="connsiteY7" fmla="*/ 105107 h 507640"/>
                  <a:gd name="connsiteX8" fmla="*/ 212189 w 397292"/>
                  <a:gd name="connsiteY8" fmla="*/ 98465 h 507640"/>
                  <a:gd name="connsiteX9" fmla="*/ 216470 w 397292"/>
                  <a:gd name="connsiteY9" fmla="*/ 77334 h 507640"/>
                  <a:gd name="connsiteX10" fmla="*/ 223358 w 397292"/>
                  <a:gd name="connsiteY10" fmla="*/ 74233 h 507640"/>
                  <a:gd name="connsiteX11" fmla="*/ 234885 w 397292"/>
                  <a:gd name="connsiteY11" fmla="*/ 89986 h 507640"/>
                  <a:gd name="connsiteX12" fmla="*/ 237821 w 397292"/>
                  <a:gd name="connsiteY12" fmla="*/ 106753 h 507640"/>
                  <a:gd name="connsiteX13" fmla="*/ 236421 w 397292"/>
                  <a:gd name="connsiteY13" fmla="*/ 131040 h 507640"/>
                  <a:gd name="connsiteX14" fmla="*/ 241882 w 397292"/>
                  <a:gd name="connsiteY14" fmla="*/ 144872 h 507640"/>
                  <a:gd name="connsiteX15" fmla="*/ 262135 w 397292"/>
                  <a:gd name="connsiteY15" fmla="*/ 146738 h 507640"/>
                  <a:gd name="connsiteX16" fmla="*/ 272975 w 397292"/>
                  <a:gd name="connsiteY16" fmla="*/ 169872 h 507640"/>
                  <a:gd name="connsiteX17" fmla="*/ 277531 w 397292"/>
                  <a:gd name="connsiteY17" fmla="*/ 153598 h 507640"/>
                  <a:gd name="connsiteX18" fmla="*/ 289743 w 397292"/>
                  <a:gd name="connsiteY18" fmla="*/ 157550 h 507640"/>
                  <a:gd name="connsiteX19" fmla="*/ 290155 w 397292"/>
                  <a:gd name="connsiteY19" fmla="*/ 164136 h 507640"/>
                  <a:gd name="connsiteX20" fmla="*/ 286148 w 397292"/>
                  <a:gd name="connsiteY20" fmla="*/ 170641 h 507640"/>
                  <a:gd name="connsiteX21" fmla="*/ 286230 w 397292"/>
                  <a:gd name="connsiteY21" fmla="*/ 176019 h 507640"/>
                  <a:gd name="connsiteX22" fmla="*/ 317131 w 397292"/>
                  <a:gd name="connsiteY22" fmla="*/ 203298 h 507640"/>
                  <a:gd name="connsiteX23" fmla="*/ 317131 w 397292"/>
                  <a:gd name="connsiteY23" fmla="*/ 209911 h 507640"/>
                  <a:gd name="connsiteX24" fmla="*/ 313481 w 397292"/>
                  <a:gd name="connsiteY24" fmla="*/ 218968 h 507640"/>
                  <a:gd name="connsiteX25" fmla="*/ 314167 w 397292"/>
                  <a:gd name="connsiteY25" fmla="*/ 229533 h 507640"/>
                  <a:gd name="connsiteX26" fmla="*/ 317131 w 397292"/>
                  <a:gd name="connsiteY26" fmla="*/ 230686 h 507640"/>
                  <a:gd name="connsiteX27" fmla="*/ 332060 w 397292"/>
                  <a:gd name="connsiteY27" fmla="*/ 240373 h 507640"/>
                  <a:gd name="connsiteX28" fmla="*/ 336945 w 397292"/>
                  <a:gd name="connsiteY28" fmla="*/ 262712 h 507640"/>
                  <a:gd name="connsiteX29" fmla="*/ 333350 w 397292"/>
                  <a:gd name="connsiteY29" fmla="*/ 287355 h 507640"/>
                  <a:gd name="connsiteX30" fmla="*/ 356402 w 397292"/>
                  <a:gd name="connsiteY30" fmla="*/ 283760 h 507640"/>
                  <a:gd name="connsiteX31" fmla="*/ 363619 w 397292"/>
                  <a:gd name="connsiteY31" fmla="*/ 290978 h 507640"/>
                  <a:gd name="connsiteX32" fmla="*/ 365403 w 397292"/>
                  <a:gd name="connsiteY32" fmla="*/ 295533 h 507640"/>
                  <a:gd name="connsiteX33" fmla="*/ 366007 w 397292"/>
                  <a:gd name="connsiteY33" fmla="*/ 312136 h 507640"/>
                  <a:gd name="connsiteX34" fmla="*/ 376682 w 397292"/>
                  <a:gd name="connsiteY34" fmla="*/ 333350 h 507640"/>
                  <a:gd name="connsiteX35" fmla="*/ 395014 w 397292"/>
                  <a:gd name="connsiteY35" fmla="*/ 342763 h 507640"/>
                  <a:gd name="connsiteX36" fmla="*/ 397292 w 397292"/>
                  <a:gd name="connsiteY36" fmla="*/ 363866 h 507640"/>
                  <a:gd name="connsiteX37" fmla="*/ 393121 w 397292"/>
                  <a:gd name="connsiteY37" fmla="*/ 377259 h 507640"/>
                  <a:gd name="connsiteX38" fmla="*/ 382994 w 397292"/>
                  <a:gd name="connsiteY38" fmla="*/ 382418 h 507640"/>
                  <a:gd name="connsiteX39" fmla="*/ 350995 w 397292"/>
                  <a:gd name="connsiteY39" fmla="*/ 420646 h 507640"/>
                  <a:gd name="connsiteX40" fmla="*/ 348801 w 397292"/>
                  <a:gd name="connsiteY40" fmla="*/ 417819 h 507640"/>
                  <a:gd name="connsiteX41" fmla="*/ 352368 w 397292"/>
                  <a:gd name="connsiteY41" fmla="*/ 390568 h 507640"/>
                  <a:gd name="connsiteX42" fmla="*/ 347456 w 397292"/>
                  <a:gd name="connsiteY42" fmla="*/ 375585 h 507640"/>
                  <a:gd name="connsiteX43" fmla="*/ 317104 w 397292"/>
                  <a:gd name="connsiteY43" fmla="*/ 389855 h 507640"/>
                  <a:gd name="connsiteX44" fmla="*/ 298168 w 397292"/>
                  <a:gd name="connsiteY44" fmla="*/ 391200 h 507640"/>
                  <a:gd name="connsiteX45" fmla="*/ 299183 w 397292"/>
                  <a:gd name="connsiteY45" fmla="*/ 379948 h 507640"/>
                  <a:gd name="connsiteX46" fmla="*/ 305056 w 397292"/>
                  <a:gd name="connsiteY46" fmla="*/ 371798 h 507640"/>
                  <a:gd name="connsiteX47" fmla="*/ 315347 w 397292"/>
                  <a:gd name="connsiteY47" fmla="*/ 332993 h 507640"/>
                  <a:gd name="connsiteX48" fmla="*/ 301159 w 397292"/>
                  <a:gd name="connsiteY48" fmla="*/ 306483 h 507640"/>
                  <a:gd name="connsiteX49" fmla="*/ 301242 w 397292"/>
                  <a:gd name="connsiteY49" fmla="*/ 301598 h 507640"/>
                  <a:gd name="connsiteX50" fmla="*/ 309694 w 397292"/>
                  <a:gd name="connsiteY50" fmla="*/ 291911 h 507640"/>
                  <a:gd name="connsiteX51" fmla="*/ 309557 w 397292"/>
                  <a:gd name="connsiteY51" fmla="*/ 286807 h 507640"/>
                  <a:gd name="connsiteX52" fmla="*/ 293557 w 397292"/>
                  <a:gd name="connsiteY52" fmla="*/ 285572 h 507640"/>
                  <a:gd name="connsiteX53" fmla="*/ 287986 w 397292"/>
                  <a:gd name="connsiteY53" fmla="*/ 257470 h 507640"/>
                  <a:gd name="connsiteX54" fmla="*/ 282388 w 397292"/>
                  <a:gd name="connsiteY54" fmla="*/ 251954 h 507640"/>
                  <a:gd name="connsiteX55" fmla="*/ 282388 w 397292"/>
                  <a:gd name="connsiteY55" fmla="*/ 246740 h 507640"/>
                  <a:gd name="connsiteX56" fmla="*/ 299403 w 397292"/>
                  <a:gd name="connsiteY56" fmla="*/ 232003 h 507640"/>
                  <a:gd name="connsiteX57" fmla="*/ 299211 w 397292"/>
                  <a:gd name="connsiteY57" fmla="*/ 224593 h 507640"/>
                  <a:gd name="connsiteX58" fmla="*/ 293119 w 397292"/>
                  <a:gd name="connsiteY58" fmla="*/ 219022 h 507640"/>
                  <a:gd name="connsiteX59" fmla="*/ 268612 w 397292"/>
                  <a:gd name="connsiteY59" fmla="*/ 232305 h 507640"/>
                  <a:gd name="connsiteX60" fmla="*/ 263233 w 397292"/>
                  <a:gd name="connsiteY60" fmla="*/ 248771 h 507640"/>
                  <a:gd name="connsiteX61" fmla="*/ 244297 w 397292"/>
                  <a:gd name="connsiteY61" fmla="*/ 252201 h 507640"/>
                  <a:gd name="connsiteX62" fmla="*/ 242212 w 397292"/>
                  <a:gd name="connsiteY62" fmla="*/ 271384 h 507640"/>
                  <a:gd name="connsiteX63" fmla="*/ 244984 w 397292"/>
                  <a:gd name="connsiteY63" fmla="*/ 291911 h 507640"/>
                  <a:gd name="connsiteX64" fmla="*/ 243831 w 397292"/>
                  <a:gd name="connsiteY64" fmla="*/ 304096 h 507640"/>
                  <a:gd name="connsiteX65" fmla="*/ 227173 w 397292"/>
                  <a:gd name="connsiteY65" fmla="*/ 321659 h 507640"/>
                  <a:gd name="connsiteX66" fmla="*/ 225471 w 397292"/>
                  <a:gd name="connsiteY66" fmla="*/ 330441 h 507640"/>
                  <a:gd name="connsiteX67" fmla="*/ 226130 w 397292"/>
                  <a:gd name="connsiteY67" fmla="*/ 356018 h 507640"/>
                  <a:gd name="connsiteX68" fmla="*/ 220971 w 397292"/>
                  <a:gd name="connsiteY68" fmla="*/ 381622 h 507640"/>
                  <a:gd name="connsiteX69" fmla="*/ 204285 w 397292"/>
                  <a:gd name="connsiteY69" fmla="*/ 395316 h 507640"/>
                  <a:gd name="connsiteX70" fmla="*/ 191168 w 397292"/>
                  <a:gd name="connsiteY70" fmla="*/ 448116 h 507640"/>
                  <a:gd name="connsiteX71" fmla="*/ 187188 w 397292"/>
                  <a:gd name="connsiteY71" fmla="*/ 472541 h 507640"/>
                  <a:gd name="connsiteX72" fmla="*/ 188259 w 397292"/>
                  <a:gd name="connsiteY72" fmla="*/ 487223 h 507640"/>
                  <a:gd name="connsiteX73" fmla="*/ 186805 w 397292"/>
                  <a:gd name="connsiteY73" fmla="*/ 498008 h 507640"/>
                  <a:gd name="connsiteX74" fmla="*/ 176294 w 397292"/>
                  <a:gd name="connsiteY74" fmla="*/ 507640 h 507640"/>
                  <a:gd name="connsiteX75" fmla="*/ 165426 w 397292"/>
                  <a:gd name="connsiteY75" fmla="*/ 506790 h 507640"/>
                  <a:gd name="connsiteX76" fmla="*/ 160734 w 397292"/>
                  <a:gd name="connsiteY76" fmla="*/ 486317 h 507640"/>
                  <a:gd name="connsiteX77" fmla="*/ 142539 w 397292"/>
                  <a:gd name="connsiteY77" fmla="*/ 472650 h 507640"/>
                  <a:gd name="connsiteX78" fmla="*/ 142265 w 397292"/>
                  <a:gd name="connsiteY78" fmla="*/ 468589 h 507640"/>
                  <a:gd name="connsiteX79" fmla="*/ 144624 w 397292"/>
                  <a:gd name="connsiteY79" fmla="*/ 459642 h 507640"/>
                  <a:gd name="connsiteX80" fmla="*/ 144295 w 397292"/>
                  <a:gd name="connsiteY80" fmla="*/ 455499 h 507640"/>
                  <a:gd name="connsiteX81" fmla="*/ 130354 w 397292"/>
                  <a:gd name="connsiteY81" fmla="*/ 453660 h 507640"/>
                  <a:gd name="connsiteX82" fmla="*/ 122807 w 397292"/>
                  <a:gd name="connsiteY82" fmla="*/ 437194 h 507640"/>
                  <a:gd name="connsiteX83" fmla="*/ 106122 w 397292"/>
                  <a:gd name="connsiteY83" fmla="*/ 428604 h 507640"/>
                  <a:gd name="connsiteX84" fmla="*/ 95776 w 397292"/>
                  <a:gd name="connsiteY84" fmla="*/ 403275 h 507640"/>
                  <a:gd name="connsiteX85" fmla="*/ 94267 w 397292"/>
                  <a:gd name="connsiteY85" fmla="*/ 382857 h 507640"/>
                  <a:gd name="connsiteX86" fmla="*/ 105024 w 397292"/>
                  <a:gd name="connsiteY86" fmla="*/ 373334 h 507640"/>
                  <a:gd name="connsiteX87" fmla="*/ 119733 w 397292"/>
                  <a:gd name="connsiteY87" fmla="*/ 377808 h 507640"/>
                  <a:gd name="connsiteX88" fmla="*/ 121215 w 397292"/>
                  <a:gd name="connsiteY88" fmla="*/ 374158 h 507640"/>
                  <a:gd name="connsiteX89" fmla="*/ 118608 w 397292"/>
                  <a:gd name="connsiteY89" fmla="*/ 366007 h 507640"/>
                  <a:gd name="connsiteX90" fmla="*/ 119597 w 397292"/>
                  <a:gd name="connsiteY90" fmla="*/ 361314 h 507640"/>
                  <a:gd name="connsiteX91" fmla="*/ 148000 w 397292"/>
                  <a:gd name="connsiteY91" fmla="*/ 344848 h 507640"/>
                  <a:gd name="connsiteX92" fmla="*/ 148000 w 397292"/>
                  <a:gd name="connsiteY92" fmla="*/ 339854 h 507640"/>
                  <a:gd name="connsiteX93" fmla="*/ 138587 w 397292"/>
                  <a:gd name="connsiteY93" fmla="*/ 337329 h 507640"/>
                  <a:gd name="connsiteX94" fmla="*/ 91220 w 397292"/>
                  <a:gd name="connsiteY94" fmla="*/ 353027 h 507640"/>
                  <a:gd name="connsiteX95" fmla="*/ 85320 w 397292"/>
                  <a:gd name="connsiteY95" fmla="*/ 339964 h 507640"/>
                  <a:gd name="connsiteX96" fmla="*/ 82960 w 397292"/>
                  <a:gd name="connsiteY96" fmla="*/ 319244 h 507640"/>
                  <a:gd name="connsiteX97" fmla="*/ 87872 w 397292"/>
                  <a:gd name="connsiteY97" fmla="*/ 306950 h 507640"/>
                  <a:gd name="connsiteX98" fmla="*/ 99426 w 397292"/>
                  <a:gd name="connsiteY98" fmla="*/ 310215 h 507640"/>
                  <a:gd name="connsiteX99" fmla="*/ 118087 w 397292"/>
                  <a:gd name="connsiteY99" fmla="*/ 301132 h 507640"/>
                  <a:gd name="connsiteX100" fmla="*/ 149454 w 397292"/>
                  <a:gd name="connsiteY100" fmla="*/ 269078 h 507640"/>
                  <a:gd name="connsiteX101" fmla="*/ 171546 w 397292"/>
                  <a:gd name="connsiteY101" fmla="*/ 266032 h 507640"/>
                  <a:gd name="connsiteX102" fmla="*/ 172177 w 397292"/>
                  <a:gd name="connsiteY102" fmla="*/ 261669 h 507640"/>
                  <a:gd name="connsiteX103" fmla="*/ 167292 w 397292"/>
                  <a:gd name="connsiteY103" fmla="*/ 250966 h 507640"/>
                  <a:gd name="connsiteX104" fmla="*/ 172561 w 397292"/>
                  <a:gd name="connsiteY104" fmla="*/ 226926 h 507640"/>
                  <a:gd name="connsiteX105" fmla="*/ 172232 w 397292"/>
                  <a:gd name="connsiteY105" fmla="*/ 222261 h 507640"/>
                  <a:gd name="connsiteX106" fmla="*/ 168171 w 397292"/>
                  <a:gd name="connsiteY106" fmla="*/ 221328 h 507640"/>
                  <a:gd name="connsiteX107" fmla="*/ 161666 w 397292"/>
                  <a:gd name="connsiteY107" fmla="*/ 237766 h 507640"/>
                  <a:gd name="connsiteX108" fmla="*/ 145750 w 397292"/>
                  <a:gd name="connsiteY108" fmla="*/ 251899 h 507640"/>
                  <a:gd name="connsiteX109" fmla="*/ 133346 w 397292"/>
                  <a:gd name="connsiteY109" fmla="*/ 243858 h 507640"/>
                  <a:gd name="connsiteX110" fmla="*/ 132605 w 397292"/>
                  <a:gd name="connsiteY110" fmla="*/ 234390 h 507640"/>
                  <a:gd name="connsiteX111" fmla="*/ 136364 w 397292"/>
                  <a:gd name="connsiteY111" fmla="*/ 223084 h 507640"/>
                  <a:gd name="connsiteX112" fmla="*/ 135294 w 397292"/>
                  <a:gd name="connsiteY112" fmla="*/ 217101 h 507640"/>
                  <a:gd name="connsiteX113" fmla="*/ 124811 w 397292"/>
                  <a:gd name="connsiteY113" fmla="*/ 230768 h 507640"/>
                  <a:gd name="connsiteX114" fmla="*/ 115617 w 397292"/>
                  <a:gd name="connsiteY114" fmla="*/ 229972 h 507640"/>
                  <a:gd name="connsiteX115" fmla="*/ 114904 w 397292"/>
                  <a:gd name="connsiteY115" fmla="*/ 240346 h 507640"/>
                  <a:gd name="connsiteX116" fmla="*/ 110705 w 397292"/>
                  <a:gd name="connsiteY116" fmla="*/ 247206 h 507640"/>
                  <a:gd name="connsiteX117" fmla="*/ 113010 w 397292"/>
                  <a:gd name="connsiteY117" fmla="*/ 261943 h 507640"/>
                  <a:gd name="connsiteX118" fmla="*/ 105793 w 397292"/>
                  <a:gd name="connsiteY118" fmla="*/ 264029 h 507640"/>
                  <a:gd name="connsiteX119" fmla="*/ 101895 w 397292"/>
                  <a:gd name="connsiteY119" fmla="*/ 278190 h 507640"/>
                  <a:gd name="connsiteX120" fmla="*/ 87680 w 397292"/>
                  <a:gd name="connsiteY120" fmla="*/ 290456 h 507640"/>
                  <a:gd name="connsiteX121" fmla="*/ 65534 w 397292"/>
                  <a:gd name="connsiteY121" fmla="*/ 288536 h 507640"/>
                  <a:gd name="connsiteX122" fmla="*/ 59881 w 397292"/>
                  <a:gd name="connsiteY122" fmla="*/ 269984 h 507640"/>
                  <a:gd name="connsiteX123" fmla="*/ 49781 w 397292"/>
                  <a:gd name="connsiteY123" fmla="*/ 255137 h 507640"/>
                  <a:gd name="connsiteX124" fmla="*/ 46297 w 397292"/>
                  <a:gd name="connsiteY124" fmla="*/ 239660 h 507640"/>
                  <a:gd name="connsiteX125" fmla="*/ 30709 w 397292"/>
                  <a:gd name="connsiteY125" fmla="*/ 218556 h 507640"/>
                  <a:gd name="connsiteX126" fmla="*/ 27910 w 397292"/>
                  <a:gd name="connsiteY126" fmla="*/ 209198 h 507640"/>
                  <a:gd name="connsiteX127" fmla="*/ 27306 w 397292"/>
                  <a:gd name="connsiteY127" fmla="*/ 194927 h 507640"/>
                  <a:gd name="connsiteX128" fmla="*/ 24205 w 397292"/>
                  <a:gd name="connsiteY128" fmla="*/ 188286 h 507640"/>
                  <a:gd name="connsiteX129" fmla="*/ 24369 w 397292"/>
                  <a:gd name="connsiteY129" fmla="*/ 183017 h 507640"/>
                  <a:gd name="connsiteX130" fmla="*/ 32629 w 397292"/>
                  <a:gd name="connsiteY130" fmla="*/ 179258 h 507640"/>
                  <a:gd name="connsiteX131" fmla="*/ 32959 w 397292"/>
                  <a:gd name="connsiteY131" fmla="*/ 174483 h 507640"/>
                  <a:gd name="connsiteX132" fmla="*/ 30077 w 397292"/>
                  <a:gd name="connsiteY132" fmla="*/ 160294 h 507640"/>
                  <a:gd name="connsiteX133" fmla="*/ 32191 w 397292"/>
                  <a:gd name="connsiteY133" fmla="*/ 144432 h 507640"/>
                  <a:gd name="connsiteX134" fmla="*/ 31669 w 397292"/>
                  <a:gd name="connsiteY134" fmla="*/ 140014 h 507640"/>
                  <a:gd name="connsiteX135" fmla="*/ 13584 w 397292"/>
                  <a:gd name="connsiteY135" fmla="*/ 152254 h 507640"/>
                  <a:gd name="connsiteX136" fmla="*/ 3842 w 397292"/>
                  <a:gd name="connsiteY136" fmla="*/ 120475 h 507640"/>
                  <a:gd name="connsiteX137" fmla="*/ 3129 w 397292"/>
                  <a:gd name="connsiteY137" fmla="*/ 97779 h 507640"/>
                  <a:gd name="connsiteX138" fmla="*/ 0 w 397292"/>
                  <a:gd name="connsiteY138" fmla="*/ 84360 h 507640"/>
                  <a:gd name="connsiteX139" fmla="*/ 2662 w 397292"/>
                  <a:gd name="connsiteY139" fmla="*/ 71928 h 507640"/>
                  <a:gd name="connsiteX140" fmla="*/ 878 w 397292"/>
                  <a:gd name="connsiteY140" fmla="*/ 61527 h 507640"/>
                  <a:gd name="connsiteX141" fmla="*/ 1317 w 397292"/>
                  <a:gd name="connsiteY141" fmla="*/ 50083 h 507640"/>
                  <a:gd name="connsiteX142" fmla="*/ 14380 w 397292"/>
                  <a:gd name="connsiteY142" fmla="*/ 69568 h 507640"/>
                  <a:gd name="connsiteX143" fmla="*/ 15423 w 397292"/>
                  <a:gd name="connsiteY143" fmla="*/ 64958 h 507640"/>
                  <a:gd name="connsiteX144" fmla="*/ 14051 w 397292"/>
                  <a:gd name="connsiteY144" fmla="*/ 51016 h 507640"/>
                  <a:gd name="connsiteX145" fmla="*/ 17426 w 397292"/>
                  <a:gd name="connsiteY145" fmla="*/ 38475 h 507640"/>
                  <a:gd name="connsiteX146" fmla="*/ 20966 w 397292"/>
                  <a:gd name="connsiteY146" fmla="*/ 45336 h 507640"/>
                  <a:gd name="connsiteX147" fmla="*/ 24863 w 397292"/>
                  <a:gd name="connsiteY147" fmla="*/ 35566 h 507640"/>
                  <a:gd name="connsiteX148" fmla="*/ 30407 w 397292"/>
                  <a:gd name="connsiteY148" fmla="*/ 37762 h 507640"/>
                  <a:gd name="connsiteX149" fmla="*/ 38832 w 397292"/>
                  <a:gd name="connsiteY149" fmla="*/ 61225 h 507640"/>
                  <a:gd name="connsiteX150" fmla="*/ 44019 w 397292"/>
                  <a:gd name="connsiteY150" fmla="*/ 63887 h 507640"/>
                  <a:gd name="connsiteX151" fmla="*/ 45692 w 397292"/>
                  <a:gd name="connsiteY151" fmla="*/ 59990 h 507640"/>
                  <a:gd name="connsiteX152" fmla="*/ 42811 w 397292"/>
                  <a:gd name="connsiteY152" fmla="*/ 49397 h 507640"/>
                  <a:gd name="connsiteX153" fmla="*/ 43689 w 397292"/>
                  <a:gd name="connsiteY153" fmla="*/ 42070 h 507640"/>
                  <a:gd name="connsiteX154" fmla="*/ 55133 w 397292"/>
                  <a:gd name="connsiteY154" fmla="*/ 49013 h 507640"/>
                  <a:gd name="connsiteX155" fmla="*/ 88806 w 397292"/>
                  <a:gd name="connsiteY155" fmla="*/ 32520 h 507640"/>
                  <a:gd name="connsiteX156" fmla="*/ 92400 w 397292"/>
                  <a:gd name="connsiteY156" fmla="*/ 46434 h 507640"/>
                  <a:gd name="connsiteX157" fmla="*/ 86912 w 397292"/>
                  <a:gd name="connsiteY157" fmla="*/ 60018 h 507640"/>
                  <a:gd name="connsiteX158" fmla="*/ 68635 w 397292"/>
                  <a:gd name="connsiteY158" fmla="*/ 61061 h 507640"/>
                  <a:gd name="connsiteX159" fmla="*/ 61143 w 397292"/>
                  <a:gd name="connsiteY159" fmla="*/ 72093 h 507640"/>
                  <a:gd name="connsiteX160" fmla="*/ 61253 w 397292"/>
                  <a:gd name="connsiteY160" fmla="*/ 77856 h 507640"/>
                  <a:gd name="connsiteX161" fmla="*/ 76209 w 397292"/>
                  <a:gd name="connsiteY161" fmla="*/ 79749 h 507640"/>
                  <a:gd name="connsiteX162" fmla="*/ 76593 w 397292"/>
                  <a:gd name="connsiteY162" fmla="*/ 95227 h 507640"/>
                  <a:gd name="connsiteX163" fmla="*/ 84387 w 397292"/>
                  <a:gd name="connsiteY163" fmla="*/ 98109 h 507640"/>
                  <a:gd name="connsiteX164" fmla="*/ 96517 w 397292"/>
                  <a:gd name="connsiteY164" fmla="*/ 125963 h 507640"/>
                  <a:gd name="connsiteX165" fmla="*/ 98438 w 397292"/>
                  <a:gd name="connsiteY165" fmla="*/ 116660 h 507640"/>
                  <a:gd name="connsiteX166" fmla="*/ 93800 w 397292"/>
                  <a:gd name="connsiteY166" fmla="*/ 94870 h 507640"/>
                  <a:gd name="connsiteX167" fmla="*/ 94596 w 397292"/>
                  <a:gd name="connsiteY167" fmla="*/ 80682 h 507640"/>
                  <a:gd name="connsiteX168" fmla="*/ 109552 w 397292"/>
                  <a:gd name="connsiteY168" fmla="*/ 46928 h 507640"/>
                  <a:gd name="connsiteX169" fmla="*/ 117593 w 397292"/>
                  <a:gd name="connsiteY169" fmla="*/ 47202 h 507640"/>
                  <a:gd name="connsiteX170" fmla="*/ 130025 w 397292"/>
                  <a:gd name="connsiteY170" fmla="*/ 73273 h 507640"/>
                  <a:gd name="connsiteX171" fmla="*/ 138642 w 397292"/>
                  <a:gd name="connsiteY171" fmla="*/ 116029 h 507640"/>
                  <a:gd name="connsiteX172" fmla="*/ 144460 w 397292"/>
                  <a:gd name="connsiteY172" fmla="*/ 131589 h 507640"/>
                  <a:gd name="connsiteX173" fmla="*/ 144707 w 397292"/>
                  <a:gd name="connsiteY173" fmla="*/ 150113 h 507640"/>
                  <a:gd name="connsiteX174" fmla="*/ 150250 w 397292"/>
                  <a:gd name="connsiteY174" fmla="*/ 149043 h 507640"/>
                  <a:gd name="connsiteX175" fmla="*/ 163121 w 397292"/>
                  <a:gd name="connsiteY175" fmla="*/ 178105 h 507640"/>
                  <a:gd name="connsiteX176" fmla="*/ 163121 w 397292"/>
                  <a:gd name="connsiteY176" fmla="*/ 162188 h 507640"/>
                  <a:gd name="connsiteX177" fmla="*/ 153324 w 397292"/>
                  <a:gd name="connsiteY177" fmla="*/ 122752 h 507640"/>
                  <a:gd name="connsiteX178" fmla="*/ 144707 w 397292"/>
                  <a:gd name="connsiteY178" fmla="*/ 50577 h 507640"/>
                  <a:gd name="connsiteX179" fmla="*/ 145585 w 397292"/>
                  <a:gd name="connsiteY179" fmla="*/ 34523 h 507640"/>
                  <a:gd name="connsiteX180" fmla="*/ 153571 w 397292"/>
                  <a:gd name="connsiteY180" fmla="*/ 30325 h 507640"/>
                  <a:gd name="connsiteX181" fmla="*/ 153708 w 397292"/>
                  <a:gd name="connsiteY181" fmla="*/ 16740 h 507640"/>
                  <a:gd name="connsiteX182" fmla="*/ 156150 w 397292"/>
                  <a:gd name="connsiteY182" fmla="*/ 6724 h 507640"/>
                  <a:gd name="connsiteX183" fmla="*/ 163670 w 397292"/>
                  <a:gd name="connsiteY183" fmla="*/ 0 h 507640"/>
                  <a:gd name="connsiteX184" fmla="*/ 169213 w 397292"/>
                  <a:gd name="connsiteY184" fmla="*/ 4446 h 50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397292" h="507640">
                    <a:moveTo>
                      <a:pt x="169268" y="4116"/>
                    </a:moveTo>
                    <a:lnTo>
                      <a:pt x="178023" y="29035"/>
                    </a:lnTo>
                    <a:lnTo>
                      <a:pt x="186475" y="18771"/>
                    </a:lnTo>
                    <a:lnTo>
                      <a:pt x="201130" y="29885"/>
                    </a:lnTo>
                    <a:lnTo>
                      <a:pt x="211393" y="50632"/>
                    </a:lnTo>
                    <a:lnTo>
                      <a:pt x="212189" y="59963"/>
                    </a:lnTo>
                    <a:lnTo>
                      <a:pt x="206892" y="77609"/>
                    </a:lnTo>
                    <a:lnTo>
                      <a:pt x="207798" y="105107"/>
                    </a:lnTo>
                    <a:lnTo>
                      <a:pt x="212189" y="98465"/>
                    </a:lnTo>
                    <a:lnTo>
                      <a:pt x="216470" y="77334"/>
                    </a:lnTo>
                    <a:lnTo>
                      <a:pt x="223358" y="74233"/>
                    </a:lnTo>
                    <a:lnTo>
                      <a:pt x="234885" y="89986"/>
                    </a:lnTo>
                    <a:lnTo>
                      <a:pt x="237821" y="106753"/>
                    </a:lnTo>
                    <a:lnTo>
                      <a:pt x="236421" y="131040"/>
                    </a:lnTo>
                    <a:lnTo>
                      <a:pt x="241882" y="144872"/>
                    </a:lnTo>
                    <a:lnTo>
                      <a:pt x="262135" y="146738"/>
                    </a:lnTo>
                    <a:lnTo>
                      <a:pt x="272975" y="169872"/>
                    </a:lnTo>
                    <a:lnTo>
                      <a:pt x="277531" y="153598"/>
                    </a:lnTo>
                    <a:lnTo>
                      <a:pt x="289743" y="157550"/>
                    </a:lnTo>
                    <a:lnTo>
                      <a:pt x="290155" y="164136"/>
                    </a:lnTo>
                    <a:lnTo>
                      <a:pt x="286148" y="170641"/>
                    </a:lnTo>
                    <a:lnTo>
                      <a:pt x="286230" y="176019"/>
                    </a:lnTo>
                    <a:lnTo>
                      <a:pt x="317131" y="203298"/>
                    </a:lnTo>
                    <a:lnTo>
                      <a:pt x="317131" y="209911"/>
                    </a:lnTo>
                    <a:lnTo>
                      <a:pt x="313481" y="218968"/>
                    </a:lnTo>
                    <a:lnTo>
                      <a:pt x="314167" y="229533"/>
                    </a:lnTo>
                    <a:lnTo>
                      <a:pt x="317131" y="230686"/>
                    </a:lnTo>
                    <a:lnTo>
                      <a:pt x="332060" y="240373"/>
                    </a:lnTo>
                    <a:lnTo>
                      <a:pt x="336945" y="262712"/>
                    </a:lnTo>
                    <a:lnTo>
                      <a:pt x="333350" y="287355"/>
                    </a:lnTo>
                    <a:lnTo>
                      <a:pt x="356402" y="283760"/>
                    </a:lnTo>
                    <a:lnTo>
                      <a:pt x="363619" y="290978"/>
                    </a:lnTo>
                    <a:lnTo>
                      <a:pt x="365403" y="295533"/>
                    </a:lnTo>
                    <a:lnTo>
                      <a:pt x="366007" y="312136"/>
                    </a:lnTo>
                    <a:lnTo>
                      <a:pt x="376682" y="333350"/>
                    </a:lnTo>
                    <a:lnTo>
                      <a:pt x="395014" y="342763"/>
                    </a:lnTo>
                    <a:lnTo>
                      <a:pt x="397292" y="363866"/>
                    </a:lnTo>
                    <a:lnTo>
                      <a:pt x="393121" y="377259"/>
                    </a:lnTo>
                    <a:lnTo>
                      <a:pt x="382994" y="382418"/>
                    </a:lnTo>
                    <a:lnTo>
                      <a:pt x="350995" y="420646"/>
                    </a:lnTo>
                    <a:lnTo>
                      <a:pt x="348801" y="417819"/>
                    </a:lnTo>
                    <a:lnTo>
                      <a:pt x="352368" y="390568"/>
                    </a:lnTo>
                    <a:lnTo>
                      <a:pt x="347456" y="375585"/>
                    </a:lnTo>
                    <a:lnTo>
                      <a:pt x="317104" y="389855"/>
                    </a:lnTo>
                    <a:lnTo>
                      <a:pt x="298168" y="391200"/>
                    </a:lnTo>
                    <a:lnTo>
                      <a:pt x="299183" y="379948"/>
                    </a:lnTo>
                    <a:lnTo>
                      <a:pt x="305056" y="371798"/>
                    </a:lnTo>
                    <a:lnTo>
                      <a:pt x="315347" y="332993"/>
                    </a:lnTo>
                    <a:lnTo>
                      <a:pt x="301159" y="306483"/>
                    </a:lnTo>
                    <a:lnTo>
                      <a:pt x="301242" y="301598"/>
                    </a:lnTo>
                    <a:lnTo>
                      <a:pt x="309694" y="291911"/>
                    </a:lnTo>
                    <a:lnTo>
                      <a:pt x="309557" y="286807"/>
                    </a:lnTo>
                    <a:lnTo>
                      <a:pt x="293557" y="285572"/>
                    </a:lnTo>
                    <a:lnTo>
                      <a:pt x="287986" y="257470"/>
                    </a:lnTo>
                    <a:lnTo>
                      <a:pt x="282388" y="251954"/>
                    </a:lnTo>
                    <a:lnTo>
                      <a:pt x="282388" y="246740"/>
                    </a:lnTo>
                    <a:lnTo>
                      <a:pt x="299403" y="232003"/>
                    </a:lnTo>
                    <a:lnTo>
                      <a:pt x="299211" y="224593"/>
                    </a:lnTo>
                    <a:lnTo>
                      <a:pt x="293119" y="219022"/>
                    </a:lnTo>
                    <a:lnTo>
                      <a:pt x="268612" y="232305"/>
                    </a:lnTo>
                    <a:lnTo>
                      <a:pt x="263233" y="248771"/>
                    </a:lnTo>
                    <a:lnTo>
                      <a:pt x="244297" y="252201"/>
                    </a:lnTo>
                    <a:lnTo>
                      <a:pt x="242212" y="271384"/>
                    </a:lnTo>
                    <a:lnTo>
                      <a:pt x="244984" y="291911"/>
                    </a:lnTo>
                    <a:lnTo>
                      <a:pt x="243831" y="304096"/>
                    </a:lnTo>
                    <a:lnTo>
                      <a:pt x="227173" y="321659"/>
                    </a:lnTo>
                    <a:lnTo>
                      <a:pt x="225471" y="330441"/>
                    </a:lnTo>
                    <a:lnTo>
                      <a:pt x="226130" y="356018"/>
                    </a:lnTo>
                    <a:lnTo>
                      <a:pt x="220971" y="381622"/>
                    </a:lnTo>
                    <a:lnTo>
                      <a:pt x="204285" y="395316"/>
                    </a:lnTo>
                    <a:lnTo>
                      <a:pt x="191168" y="448116"/>
                    </a:lnTo>
                    <a:lnTo>
                      <a:pt x="187188" y="472541"/>
                    </a:lnTo>
                    <a:lnTo>
                      <a:pt x="188259" y="487223"/>
                    </a:lnTo>
                    <a:lnTo>
                      <a:pt x="186805" y="498008"/>
                    </a:lnTo>
                    <a:lnTo>
                      <a:pt x="176294" y="507640"/>
                    </a:lnTo>
                    <a:lnTo>
                      <a:pt x="165426" y="506790"/>
                    </a:lnTo>
                    <a:lnTo>
                      <a:pt x="160734" y="486317"/>
                    </a:lnTo>
                    <a:lnTo>
                      <a:pt x="142539" y="472650"/>
                    </a:lnTo>
                    <a:lnTo>
                      <a:pt x="142265" y="468589"/>
                    </a:lnTo>
                    <a:lnTo>
                      <a:pt x="144624" y="459642"/>
                    </a:lnTo>
                    <a:lnTo>
                      <a:pt x="144295" y="455499"/>
                    </a:lnTo>
                    <a:lnTo>
                      <a:pt x="130354" y="453660"/>
                    </a:lnTo>
                    <a:lnTo>
                      <a:pt x="122807" y="437194"/>
                    </a:lnTo>
                    <a:lnTo>
                      <a:pt x="106122" y="428604"/>
                    </a:lnTo>
                    <a:lnTo>
                      <a:pt x="95776" y="403275"/>
                    </a:lnTo>
                    <a:lnTo>
                      <a:pt x="94267" y="382857"/>
                    </a:lnTo>
                    <a:lnTo>
                      <a:pt x="105024" y="373334"/>
                    </a:lnTo>
                    <a:lnTo>
                      <a:pt x="119733" y="377808"/>
                    </a:lnTo>
                    <a:lnTo>
                      <a:pt x="121215" y="374158"/>
                    </a:lnTo>
                    <a:lnTo>
                      <a:pt x="118608" y="366007"/>
                    </a:lnTo>
                    <a:lnTo>
                      <a:pt x="119597" y="361314"/>
                    </a:lnTo>
                    <a:lnTo>
                      <a:pt x="148000" y="344848"/>
                    </a:lnTo>
                    <a:lnTo>
                      <a:pt x="148000" y="339854"/>
                    </a:lnTo>
                    <a:cubicBezTo>
                      <a:pt x="148000" y="339854"/>
                      <a:pt x="138587" y="337329"/>
                      <a:pt x="138587" y="337329"/>
                    </a:cubicBezTo>
                    <a:lnTo>
                      <a:pt x="91220" y="353027"/>
                    </a:lnTo>
                    <a:lnTo>
                      <a:pt x="85320" y="339964"/>
                    </a:lnTo>
                    <a:lnTo>
                      <a:pt x="82960" y="319244"/>
                    </a:lnTo>
                    <a:lnTo>
                      <a:pt x="87872" y="306950"/>
                    </a:lnTo>
                    <a:lnTo>
                      <a:pt x="99426" y="310215"/>
                    </a:lnTo>
                    <a:lnTo>
                      <a:pt x="118087" y="301132"/>
                    </a:lnTo>
                    <a:lnTo>
                      <a:pt x="149454" y="269078"/>
                    </a:lnTo>
                    <a:lnTo>
                      <a:pt x="171546" y="266032"/>
                    </a:lnTo>
                    <a:lnTo>
                      <a:pt x="172177" y="261669"/>
                    </a:lnTo>
                    <a:lnTo>
                      <a:pt x="167292" y="250966"/>
                    </a:lnTo>
                    <a:lnTo>
                      <a:pt x="172561" y="226926"/>
                    </a:lnTo>
                    <a:lnTo>
                      <a:pt x="172232" y="222261"/>
                    </a:lnTo>
                    <a:lnTo>
                      <a:pt x="168171" y="221328"/>
                    </a:lnTo>
                    <a:lnTo>
                      <a:pt x="161666" y="237766"/>
                    </a:lnTo>
                    <a:lnTo>
                      <a:pt x="145750" y="251899"/>
                    </a:lnTo>
                    <a:lnTo>
                      <a:pt x="133346" y="243858"/>
                    </a:lnTo>
                    <a:lnTo>
                      <a:pt x="132605" y="234390"/>
                    </a:lnTo>
                    <a:lnTo>
                      <a:pt x="136364" y="223084"/>
                    </a:lnTo>
                    <a:lnTo>
                      <a:pt x="135294" y="217101"/>
                    </a:lnTo>
                    <a:lnTo>
                      <a:pt x="124811" y="230768"/>
                    </a:lnTo>
                    <a:lnTo>
                      <a:pt x="115617" y="229972"/>
                    </a:lnTo>
                    <a:lnTo>
                      <a:pt x="114904" y="240346"/>
                    </a:lnTo>
                    <a:lnTo>
                      <a:pt x="110705" y="247206"/>
                    </a:lnTo>
                    <a:lnTo>
                      <a:pt x="113010" y="261943"/>
                    </a:lnTo>
                    <a:lnTo>
                      <a:pt x="105793" y="264029"/>
                    </a:lnTo>
                    <a:lnTo>
                      <a:pt x="101895" y="278190"/>
                    </a:lnTo>
                    <a:lnTo>
                      <a:pt x="87680" y="290456"/>
                    </a:lnTo>
                    <a:lnTo>
                      <a:pt x="65534" y="288536"/>
                    </a:lnTo>
                    <a:lnTo>
                      <a:pt x="59881" y="269984"/>
                    </a:lnTo>
                    <a:lnTo>
                      <a:pt x="49781" y="255137"/>
                    </a:lnTo>
                    <a:lnTo>
                      <a:pt x="46297" y="239660"/>
                    </a:lnTo>
                    <a:lnTo>
                      <a:pt x="30709" y="218556"/>
                    </a:lnTo>
                    <a:lnTo>
                      <a:pt x="27910" y="209198"/>
                    </a:lnTo>
                    <a:lnTo>
                      <a:pt x="27306" y="194927"/>
                    </a:lnTo>
                    <a:lnTo>
                      <a:pt x="24205" y="188286"/>
                    </a:lnTo>
                    <a:lnTo>
                      <a:pt x="24369" y="183017"/>
                    </a:lnTo>
                    <a:lnTo>
                      <a:pt x="32629" y="179258"/>
                    </a:lnTo>
                    <a:lnTo>
                      <a:pt x="32959" y="174483"/>
                    </a:lnTo>
                    <a:lnTo>
                      <a:pt x="30077" y="160294"/>
                    </a:lnTo>
                    <a:lnTo>
                      <a:pt x="32191" y="144432"/>
                    </a:lnTo>
                    <a:lnTo>
                      <a:pt x="31669" y="140014"/>
                    </a:lnTo>
                    <a:lnTo>
                      <a:pt x="13584" y="152254"/>
                    </a:lnTo>
                    <a:lnTo>
                      <a:pt x="3842" y="120475"/>
                    </a:lnTo>
                    <a:lnTo>
                      <a:pt x="3129" y="97779"/>
                    </a:lnTo>
                    <a:lnTo>
                      <a:pt x="0" y="84360"/>
                    </a:lnTo>
                    <a:lnTo>
                      <a:pt x="2662" y="71928"/>
                    </a:lnTo>
                    <a:lnTo>
                      <a:pt x="878" y="61527"/>
                    </a:lnTo>
                    <a:lnTo>
                      <a:pt x="1317" y="50083"/>
                    </a:lnTo>
                    <a:lnTo>
                      <a:pt x="14380" y="69568"/>
                    </a:lnTo>
                    <a:lnTo>
                      <a:pt x="15423" y="64958"/>
                    </a:lnTo>
                    <a:lnTo>
                      <a:pt x="14051" y="51016"/>
                    </a:lnTo>
                    <a:lnTo>
                      <a:pt x="17426" y="38475"/>
                    </a:lnTo>
                    <a:lnTo>
                      <a:pt x="20966" y="45336"/>
                    </a:lnTo>
                    <a:lnTo>
                      <a:pt x="24863" y="35566"/>
                    </a:lnTo>
                    <a:lnTo>
                      <a:pt x="30407" y="37762"/>
                    </a:lnTo>
                    <a:lnTo>
                      <a:pt x="38832" y="61225"/>
                    </a:lnTo>
                    <a:lnTo>
                      <a:pt x="44019" y="63887"/>
                    </a:lnTo>
                    <a:lnTo>
                      <a:pt x="45692" y="59990"/>
                    </a:lnTo>
                    <a:lnTo>
                      <a:pt x="42811" y="49397"/>
                    </a:lnTo>
                    <a:lnTo>
                      <a:pt x="43689" y="42070"/>
                    </a:lnTo>
                    <a:lnTo>
                      <a:pt x="55133" y="49013"/>
                    </a:lnTo>
                    <a:lnTo>
                      <a:pt x="88806" y="32520"/>
                    </a:lnTo>
                    <a:lnTo>
                      <a:pt x="92400" y="46434"/>
                    </a:lnTo>
                    <a:lnTo>
                      <a:pt x="86912" y="60018"/>
                    </a:lnTo>
                    <a:lnTo>
                      <a:pt x="68635" y="61061"/>
                    </a:lnTo>
                    <a:lnTo>
                      <a:pt x="61143" y="72093"/>
                    </a:lnTo>
                    <a:lnTo>
                      <a:pt x="61253" y="77856"/>
                    </a:lnTo>
                    <a:lnTo>
                      <a:pt x="76209" y="79749"/>
                    </a:lnTo>
                    <a:lnTo>
                      <a:pt x="76593" y="95227"/>
                    </a:lnTo>
                    <a:lnTo>
                      <a:pt x="84387" y="98109"/>
                    </a:lnTo>
                    <a:lnTo>
                      <a:pt x="96517" y="125963"/>
                    </a:lnTo>
                    <a:lnTo>
                      <a:pt x="98438" y="116660"/>
                    </a:lnTo>
                    <a:lnTo>
                      <a:pt x="93800" y="94870"/>
                    </a:lnTo>
                    <a:lnTo>
                      <a:pt x="94596" y="80682"/>
                    </a:lnTo>
                    <a:lnTo>
                      <a:pt x="109552" y="46928"/>
                    </a:lnTo>
                    <a:lnTo>
                      <a:pt x="117593" y="47202"/>
                    </a:lnTo>
                    <a:lnTo>
                      <a:pt x="130025" y="73273"/>
                    </a:lnTo>
                    <a:lnTo>
                      <a:pt x="138642" y="116029"/>
                    </a:lnTo>
                    <a:lnTo>
                      <a:pt x="144460" y="131589"/>
                    </a:lnTo>
                    <a:lnTo>
                      <a:pt x="144707" y="150113"/>
                    </a:lnTo>
                    <a:lnTo>
                      <a:pt x="150250" y="149043"/>
                    </a:lnTo>
                    <a:lnTo>
                      <a:pt x="163121" y="178105"/>
                    </a:lnTo>
                    <a:lnTo>
                      <a:pt x="163121" y="162188"/>
                    </a:lnTo>
                    <a:cubicBezTo>
                      <a:pt x="163121" y="162188"/>
                      <a:pt x="153324" y="122752"/>
                      <a:pt x="153324" y="122752"/>
                    </a:cubicBezTo>
                    <a:lnTo>
                      <a:pt x="144707" y="50577"/>
                    </a:lnTo>
                    <a:lnTo>
                      <a:pt x="145585" y="34523"/>
                    </a:lnTo>
                    <a:lnTo>
                      <a:pt x="153571" y="30325"/>
                    </a:lnTo>
                    <a:lnTo>
                      <a:pt x="153708" y="16740"/>
                    </a:lnTo>
                    <a:lnTo>
                      <a:pt x="156150" y="6724"/>
                    </a:lnTo>
                    <a:lnTo>
                      <a:pt x="163670" y="0"/>
                    </a:lnTo>
                    <a:lnTo>
                      <a:pt x="169213" y="44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3" name="Freeform: Shape 4482">
                <a:extLst>
                  <a:ext uri="{FF2B5EF4-FFF2-40B4-BE49-F238E27FC236}">
                    <a16:creationId xmlns:a16="http://schemas.microsoft.com/office/drawing/2014/main" id="{4AEE4D1E-7169-BFE8-B703-57704E7C0F20}"/>
                  </a:ext>
                </a:extLst>
              </p:cNvPr>
              <p:cNvSpPr/>
              <p:nvPr/>
            </p:nvSpPr>
            <p:spPr>
              <a:xfrm>
                <a:off x="1420832" y="3406798"/>
                <a:ext cx="27753" cy="22432"/>
              </a:xfrm>
              <a:custGeom>
                <a:avLst/>
                <a:gdLst>
                  <a:gd name="connsiteX0" fmla="*/ 67510 w 266087"/>
                  <a:gd name="connsiteY0" fmla="*/ 22448 h 215070"/>
                  <a:gd name="connsiteX1" fmla="*/ 83921 w 266087"/>
                  <a:gd name="connsiteY1" fmla="*/ 54804 h 215070"/>
                  <a:gd name="connsiteX2" fmla="*/ 109168 w 266087"/>
                  <a:gd name="connsiteY2" fmla="*/ 48355 h 215070"/>
                  <a:gd name="connsiteX3" fmla="*/ 109607 w 266087"/>
                  <a:gd name="connsiteY3" fmla="*/ 65644 h 215070"/>
                  <a:gd name="connsiteX4" fmla="*/ 125140 w 266087"/>
                  <a:gd name="connsiteY4" fmla="*/ 87351 h 215070"/>
                  <a:gd name="connsiteX5" fmla="*/ 127335 w 266087"/>
                  <a:gd name="connsiteY5" fmla="*/ 81890 h 215070"/>
                  <a:gd name="connsiteX6" fmla="*/ 128982 w 266087"/>
                  <a:gd name="connsiteY6" fmla="*/ 47449 h 215070"/>
                  <a:gd name="connsiteX7" fmla="*/ 127006 w 266087"/>
                  <a:gd name="connsiteY7" fmla="*/ 23821 h 215070"/>
                  <a:gd name="connsiteX8" fmla="*/ 132193 w 266087"/>
                  <a:gd name="connsiteY8" fmla="*/ 19924 h 215070"/>
                  <a:gd name="connsiteX9" fmla="*/ 136391 w 266087"/>
                  <a:gd name="connsiteY9" fmla="*/ 29062 h 215070"/>
                  <a:gd name="connsiteX10" fmla="*/ 141359 w 266087"/>
                  <a:gd name="connsiteY10" fmla="*/ 6230 h 215070"/>
                  <a:gd name="connsiteX11" fmla="*/ 150415 w 266087"/>
                  <a:gd name="connsiteY11" fmla="*/ 16658 h 215070"/>
                  <a:gd name="connsiteX12" fmla="*/ 151266 w 266087"/>
                  <a:gd name="connsiteY12" fmla="*/ 43772 h 215070"/>
                  <a:gd name="connsiteX13" fmla="*/ 146299 w 266087"/>
                  <a:gd name="connsiteY13" fmla="*/ 59496 h 215070"/>
                  <a:gd name="connsiteX14" fmla="*/ 148192 w 266087"/>
                  <a:gd name="connsiteY14" fmla="*/ 67674 h 215070"/>
                  <a:gd name="connsiteX15" fmla="*/ 157139 w 266087"/>
                  <a:gd name="connsiteY15" fmla="*/ 59579 h 215070"/>
                  <a:gd name="connsiteX16" fmla="*/ 162764 w 266087"/>
                  <a:gd name="connsiteY16" fmla="*/ 66522 h 215070"/>
                  <a:gd name="connsiteX17" fmla="*/ 170558 w 266087"/>
                  <a:gd name="connsiteY17" fmla="*/ 41247 h 215070"/>
                  <a:gd name="connsiteX18" fmla="*/ 179423 w 266087"/>
                  <a:gd name="connsiteY18" fmla="*/ 45226 h 215070"/>
                  <a:gd name="connsiteX19" fmla="*/ 179587 w 266087"/>
                  <a:gd name="connsiteY19" fmla="*/ 21735 h 215070"/>
                  <a:gd name="connsiteX20" fmla="*/ 181041 w 266087"/>
                  <a:gd name="connsiteY20" fmla="*/ 17426 h 215070"/>
                  <a:gd name="connsiteX21" fmla="*/ 187847 w 266087"/>
                  <a:gd name="connsiteY21" fmla="*/ 31148 h 215070"/>
                  <a:gd name="connsiteX22" fmla="*/ 188890 w 266087"/>
                  <a:gd name="connsiteY22" fmla="*/ 44403 h 215070"/>
                  <a:gd name="connsiteX23" fmla="*/ 198001 w 266087"/>
                  <a:gd name="connsiteY23" fmla="*/ 34990 h 215070"/>
                  <a:gd name="connsiteX24" fmla="*/ 202886 w 266087"/>
                  <a:gd name="connsiteY24" fmla="*/ 47531 h 215070"/>
                  <a:gd name="connsiteX25" fmla="*/ 229506 w 266087"/>
                  <a:gd name="connsiteY25" fmla="*/ 62625 h 215070"/>
                  <a:gd name="connsiteX26" fmla="*/ 256263 w 266087"/>
                  <a:gd name="connsiteY26" fmla="*/ 64134 h 215070"/>
                  <a:gd name="connsiteX27" fmla="*/ 266087 w 266087"/>
                  <a:gd name="connsiteY27" fmla="*/ 83482 h 215070"/>
                  <a:gd name="connsiteX28" fmla="*/ 262273 w 266087"/>
                  <a:gd name="connsiteY28" fmla="*/ 111583 h 215070"/>
                  <a:gd name="connsiteX29" fmla="*/ 228161 w 266087"/>
                  <a:gd name="connsiteY29" fmla="*/ 151705 h 215070"/>
                  <a:gd name="connsiteX30" fmla="*/ 226707 w 266087"/>
                  <a:gd name="connsiteY30" fmla="*/ 156864 h 215070"/>
                  <a:gd name="connsiteX31" fmla="*/ 227996 w 266087"/>
                  <a:gd name="connsiteY31" fmla="*/ 171464 h 215070"/>
                  <a:gd name="connsiteX32" fmla="*/ 226295 w 266087"/>
                  <a:gd name="connsiteY32" fmla="*/ 177446 h 215070"/>
                  <a:gd name="connsiteX33" fmla="*/ 208155 w 266087"/>
                  <a:gd name="connsiteY33" fmla="*/ 198550 h 215070"/>
                  <a:gd name="connsiteX34" fmla="*/ 194845 w 266087"/>
                  <a:gd name="connsiteY34" fmla="*/ 194598 h 215070"/>
                  <a:gd name="connsiteX35" fmla="*/ 175525 w 266087"/>
                  <a:gd name="connsiteY35" fmla="*/ 215071 h 215070"/>
                  <a:gd name="connsiteX36" fmla="*/ 143142 w 266087"/>
                  <a:gd name="connsiteY36" fmla="*/ 207277 h 215070"/>
                  <a:gd name="connsiteX37" fmla="*/ 133153 w 266087"/>
                  <a:gd name="connsiteY37" fmla="*/ 190399 h 215070"/>
                  <a:gd name="connsiteX38" fmla="*/ 101814 w 266087"/>
                  <a:gd name="connsiteY38" fmla="*/ 194790 h 215070"/>
                  <a:gd name="connsiteX39" fmla="*/ 84195 w 266087"/>
                  <a:gd name="connsiteY39" fmla="*/ 196245 h 215070"/>
                  <a:gd name="connsiteX40" fmla="*/ 58701 w 266087"/>
                  <a:gd name="connsiteY40" fmla="*/ 177803 h 215070"/>
                  <a:gd name="connsiteX41" fmla="*/ 50962 w 266087"/>
                  <a:gd name="connsiteY41" fmla="*/ 162902 h 215070"/>
                  <a:gd name="connsiteX42" fmla="*/ 51044 w 266087"/>
                  <a:gd name="connsiteY42" fmla="*/ 157276 h 215070"/>
                  <a:gd name="connsiteX43" fmla="*/ 56176 w 266087"/>
                  <a:gd name="connsiteY43" fmla="*/ 152034 h 215070"/>
                  <a:gd name="connsiteX44" fmla="*/ 78597 w 266087"/>
                  <a:gd name="connsiteY44" fmla="*/ 161502 h 215070"/>
                  <a:gd name="connsiteX45" fmla="*/ 78542 w 266087"/>
                  <a:gd name="connsiteY45" fmla="*/ 147232 h 215070"/>
                  <a:gd name="connsiteX46" fmla="*/ 101814 w 266087"/>
                  <a:gd name="connsiteY46" fmla="*/ 136474 h 215070"/>
                  <a:gd name="connsiteX47" fmla="*/ 103268 w 266087"/>
                  <a:gd name="connsiteY47" fmla="*/ 128982 h 215070"/>
                  <a:gd name="connsiteX48" fmla="*/ 101814 w 266087"/>
                  <a:gd name="connsiteY48" fmla="*/ 126073 h 215070"/>
                  <a:gd name="connsiteX49" fmla="*/ 21817 w 266087"/>
                  <a:gd name="connsiteY49" fmla="*/ 136858 h 215070"/>
                  <a:gd name="connsiteX50" fmla="*/ 7053 w 266087"/>
                  <a:gd name="connsiteY50" fmla="*/ 112297 h 215070"/>
                  <a:gd name="connsiteX51" fmla="*/ 7135 w 266087"/>
                  <a:gd name="connsiteY51" fmla="*/ 106424 h 215070"/>
                  <a:gd name="connsiteX52" fmla="*/ 16411 w 266087"/>
                  <a:gd name="connsiteY52" fmla="*/ 97368 h 215070"/>
                  <a:gd name="connsiteX53" fmla="*/ 17207 w 266087"/>
                  <a:gd name="connsiteY53" fmla="*/ 89217 h 215070"/>
                  <a:gd name="connsiteX54" fmla="*/ 2772 w 266087"/>
                  <a:gd name="connsiteY54" fmla="*/ 81039 h 215070"/>
                  <a:gd name="connsiteX55" fmla="*/ 0 w 266087"/>
                  <a:gd name="connsiteY55" fmla="*/ 67921 h 215070"/>
                  <a:gd name="connsiteX56" fmla="*/ 521 w 266087"/>
                  <a:gd name="connsiteY56" fmla="*/ 64765 h 215070"/>
                  <a:gd name="connsiteX57" fmla="*/ 21323 w 266087"/>
                  <a:gd name="connsiteY57" fmla="*/ 57191 h 215070"/>
                  <a:gd name="connsiteX58" fmla="*/ 36060 w 266087"/>
                  <a:gd name="connsiteY58" fmla="*/ 73026 h 215070"/>
                  <a:gd name="connsiteX59" fmla="*/ 37295 w 266087"/>
                  <a:gd name="connsiteY59" fmla="*/ 63284 h 215070"/>
                  <a:gd name="connsiteX60" fmla="*/ 31587 w 266087"/>
                  <a:gd name="connsiteY60" fmla="*/ 51510 h 215070"/>
                  <a:gd name="connsiteX61" fmla="*/ 30270 w 266087"/>
                  <a:gd name="connsiteY61" fmla="*/ 37954 h 215070"/>
                  <a:gd name="connsiteX62" fmla="*/ 47751 w 266087"/>
                  <a:gd name="connsiteY62" fmla="*/ 50083 h 215070"/>
                  <a:gd name="connsiteX63" fmla="*/ 50660 w 266087"/>
                  <a:gd name="connsiteY63" fmla="*/ 27306 h 215070"/>
                  <a:gd name="connsiteX64" fmla="*/ 44952 w 266087"/>
                  <a:gd name="connsiteY64" fmla="*/ 16274 h 215070"/>
                  <a:gd name="connsiteX65" fmla="*/ 45034 w 266087"/>
                  <a:gd name="connsiteY65" fmla="*/ 10099 h 215070"/>
                  <a:gd name="connsiteX66" fmla="*/ 56203 w 266087"/>
                  <a:gd name="connsiteY66" fmla="*/ 0 h 215070"/>
                  <a:gd name="connsiteX67" fmla="*/ 59606 w 266087"/>
                  <a:gd name="connsiteY67" fmla="*/ 18936 h 215070"/>
                  <a:gd name="connsiteX68" fmla="*/ 67565 w 266087"/>
                  <a:gd name="connsiteY68" fmla="*/ 22394 h 21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66087" h="215070">
                    <a:moveTo>
                      <a:pt x="67510" y="22448"/>
                    </a:moveTo>
                    <a:lnTo>
                      <a:pt x="83921" y="54804"/>
                    </a:lnTo>
                    <a:lnTo>
                      <a:pt x="109168" y="48355"/>
                    </a:lnTo>
                    <a:lnTo>
                      <a:pt x="109607" y="65644"/>
                    </a:lnTo>
                    <a:lnTo>
                      <a:pt x="125140" y="87351"/>
                    </a:lnTo>
                    <a:lnTo>
                      <a:pt x="127335" y="81890"/>
                    </a:lnTo>
                    <a:lnTo>
                      <a:pt x="128982" y="47449"/>
                    </a:lnTo>
                    <a:lnTo>
                      <a:pt x="127006" y="23821"/>
                    </a:lnTo>
                    <a:lnTo>
                      <a:pt x="132193" y="19924"/>
                    </a:lnTo>
                    <a:lnTo>
                      <a:pt x="136391" y="29062"/>
                    </a:lnTo>
                    <a:lnTo>
                      <a:pt x="141359" y="6230"/>
                    </a:lnTo>
                    <a:lnTo>
                      <a:pt x="150415" y="16658"/>
                    </a:lnTo>
                    <a:lnTo>
                      <a:pt x="151266" y="43772"/>
                    </a:lnTo>
                    <a:lnTo>
                      <a:pt x="146299" y="59496"/>
                    </a:lnTo>
                    <a:lnTo>
                      <a:pt x="148192" y="67674"/>
                    </a:lnTo>
                    <a:lnTo>
                      <a:pt x="157139" y="59579"/>
                    </a:lnTo>
                    <a:lnTo>
                      <a:pt x="162764" y="66522"/>
                    </a:lnTo>
                    <a:lnTo>
                      <a:pt x="170558" y="41247"/>
                    </a:lnTo>
                    <a:lnTo>
                      <a:pt x="179423" y="45226"/>
                    </a:lnTo>
                    <a:lnTo>
                      <a:pt x="179587" y="21735"/>
                    </a:lnTo>
                    <a:lnTo>
                      <a:pt x="181041" y="17426"/>
                    </a:lnTo>
                    <a:lnTo>
                      <a:pt x="187847" y="31148"/>
                    </a:lnTo>
                    <a:lnTo>
                      <a:pt x="188890" y="44403"/>
                    </a:lnTo>
                    <a:lnTo>
                      <a:pt x="198001" y="34990"/>
                    </a:lnTo>
                    <a:lnTo>
                      <a:pt x="202886" y="47531"/>
                    </a:lnTo>
                    <a:lnTo>
                      <a:pt x="229506" y="62625"/>
                    </a:lnTo>
                    <a:lnTo>
                      <a:pt x="256263" y="64134"/>
                    </a:lnTo>
                    <a:lnTo>
                      <a:pt x="266087" y="83482"/>
                    </a:lnTo>
                    <a:lnTo>
                      <a:pt x="262273" y="111583"/>
                    </a:lnTo>
                    <a:lnTo>
                      <a:pt x="228161" y="151705"/>
                    </a:lnTo>
                    <a:lnTo>
                      <a:pt x="226707" y="156864"/>
                    </a:lnTo>
                    <a:lnTo>
                      <a:pt x="227996" y="171464"/>
                    </a:lnTo>
                    <a:lnTo>
                      <a:pt x="226295" y="177446"/>
                    </a:lnTo>
                    <a:lnTo>
                      <a:pt x="208155" y="198550"/>
                    </a:lnTo>
                    <a:lnTo>
                      <a:pt x="194845" y="194598"/>
                    </a:lnTo>
                    <a:lnTo>
                      <a:pt x="175525" y="215071"/>
                    </a:lnTo>
                    <a:lnTo>
                      <a:pt x="143142" y="207277"/>
                    </a:lnTo>
                    <a:lnTo>
                      <a:pt x="133153" y="190399"/>
                    </a:lnTo>
                    <a:lnTo>
                      <a:pt x="101814" y="194790"/>
                    </a:lnTo>
                    <a:lnTo>
                      <a:pt x="84195" y="196245"/>
                    </a:lnTo>
                    <a:lnTo>
                      <a:pt x="58701" y="177803"/>
                    </a:lnTo>
                    <a:lnTo>
                      <a:pt x="50962" y="162902"/>
                    </a:lnTo>
                    <a:lnTo>
                      <a:pt x="51044" y="157276"/>
                    </a:lnTo>
                    <a:lnTo>
                      <a:pt x="56176" y="152034"/>
                    </a:lnTo>
                    <a:lnTo>
                      <a:pt x="78597" y="161502"/>
                    </a:lnTo>
                    <a:lnTo>
                      <a:pt x="78542" y="147232"/>
                    </a:lnTo>
                    <a:lnTo>
                      <a:pt x="101814" y="136474"/>
                    </a:lnTo>
                    <a:lnTo>
                      <a:pt x="103268" y="128982"/>
                    </a:lnTo>
                    <a:lnTo>
                      <a:pt x="101814" y="126073"/>
                    </a:lnTo>
                    <a:lnTo>
                      <a:pt x="21817" y="136858"/>
                    </a:lnTo>
                    <a:lnTo>
                      <a:pt x="7053" y="112297"/>
                    </a:lnTo>
                    <a:lnTo>
                      <a:pt x="7135" y="106424"/>
                    </a:lnTo>
                    <a:lnTo>
                      <a:pt x="16411" y="97368"/>
                    </a:lnTo>
                    <a:lnTo>
                      <a:pt x="17207" y="89217"/>
                    </a:lnTo>
                    <a:lnTo>
                      <a:pt x="2772" y="81039"/>
                    </a:lnTo>
                    <a:lnTo>
                      <a:pt x="0" y="67921"/>
                    </a:lnTo>
                    <a:lnTo>
                      <a:pt x="521" y="64765"/>
                    </a:lnTo>
                    <a:lnTo>
                      <a:pt x="21323" y="57191"/>
                    </a:lnTo>
                    <a:lnTo>
                      <a:pt x="36060" y="73026"/>
                    </a:lnTo>
                    <a:lnTo>
                      <a:pt x="37295" y="63284"/>
                    </a:lnTo>
                    <a:lnTo>
                      <a:pt x="31587" y="51510"/>
                    </a:lnTo>
                    <a:lnTo>
                      <a:pt x="30270" y="37954"/>
                    </a:lnTo>
                    <a:lnTo>
                      <a:pt x="47751" y="50083"/>
                    </a:lnTo>
                    <a:lnTo>
                      <a:pt x="50660" y="27306"/>
                    </a:lnTo>
                    <a:lnTo>
                      <a:pt x="44952" y="16274"/>
                    </a:lnTo>
                    <a:lnTo>
                      <a:pt x="45034" y="10099"/>
                    </a:lnTo>
                    <a:lnTo>
                      <a:pt x="56203" y="0"/>
                    </a:lnTo>
                    <a:lnTo>
                      <a:pt x="59606" y="18936"/>
                    </a:lnTo>
                    <a:lnTo>
                      <a:pt x="67565" y="2239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4" name="Freeform: Shape 4483">
                <a:extLst>
                  <a:ext uri="{FF2B5EF4-FFF2-40B4-BE49-F238E27FC236}">
                    <a16:creationId xmlns:a16="http://schemas.microsoft.com/office/drawing/2014/main" id="{07BAEEE6-FB76-BFF9-AAB3-301D21A2DDD3}"/>
                  </a:ext>
                </a:extLst>
              </p:cNvPr>
              <p:cNvSpPr/>
              <p:nvPr/>
            </p:nvSpPr>
            <p:spPr>
              <a:xfrm>
                <a:off x="1397630" y="3434808"/>
                <a:ext cx="5020" cy="10525"/>
              </a:xfrm>
              <a:custGeom>
                <a:avLst/>
                <a:gdLst>
                  <a:gd name="connsiteX0" fmla="*/ 28486 w 48134"/>
                  <a:gd name="connsiteY0" fmla="*/ 56972 h 100907"/>
                  <a:gd name="connsiteX1" fmla="*/ 34221 w 48134"/>
                  <a:gd name="connsiteY1" fmla="*/ 66028 h 100907"/>
                  <a:gd name="connsiteX2" fmla="*/ 39710 w 48134"/>
                  <a:gd name="connsiteY2" fmla="*/ 66796 h 100907"/>
                  <a:gd name="connsiteX3" fmla="*/ 39765 w 48134"/>
                  <a:gd name="connsiteY3" fmla="*/ 73053 h 100907"/>
                  <a:gd name="connsiteX4" fmla="*/ 46324 w 48134"/>
                  <a:gd name="connsiteY4" fmla="*/ 89684 h 100907"/>
                  <a:gd name="connsiteX5" fmla="*/ 48135 w 48134"/>
                  <a:gd name="connsiteY5" fmla="*/ 98411 h 100907"/>
                  <a:gd name="connsiteX6" fmla="*/ 46955 w 48134"/>
                  <a:gd name="connsiteY6" fmla="*/ 100908 h 100907"/>
                  <a:gd name="connsiteX7" fmla="*/ 39381 w 48134"/>
                  <a:gd name="connsiteY7" fmla="*/ 96791 h 100907"/>
                  <a:gd name="connsiteX8" fmla="*/ 37624 w 48134"/>
                  <a:gd name="connsiteY8" fmla="*/ 86418 h 100907"/>
                  <a:gd name="connsiteX9" fmla="*/ 34029 w 48134"/>
                  <a:gd name="connsiteY9" fmla="*/ 82521 h 100907"/>
                  <a:gd name="connsiteX10" fmla="*/ 31312 w 48134"/>
                  <a:gd name="connsiteY10" fmla="*/ 74453 h 100907"/>
                  <a:gd name="connsiteX11" fmla="*/ 23409 w 48134"/>
                  <a:gd name="connsiteY11" fmla="*/ 65259 h 100907"/>
                  <a:gd name="connsiteX12" fmla="*/ 19128 w 48134"/>
                  <a:gd name="connsiteY12" fmla="*/ 67757 h 100907"/>
                  <a:gd name="connsiteX13" fmla="*/ 15478 w 48134"/>
                  <a:gd name="connsiteY13" fmla="*/ 62570 h 100907"/>
                  <a:gd name="connsiteX14" fmla="*/ 12267 w 48134"/>
                  <a:gd name="connsiteY14" fmla="*/ 46516 h 100907"/>
                  <a:gd name="connsiteX15" fmla="*/ 7025 w 48134"/>
                  <a:gd name="connsiteY15" fmla="*/ 34057 h 100907"/>
                  <a:gd name="connsiteX16" fmla="*/ 0 w 48134"/>
                  <a:gd name="connsiteY16" fmla="*/ 14435 h 100907"/>
                  <a:gd name="connsiteX17" fmla="*/ 1097 w 48134"/>
                  <a:gd name="connsiteY17" fmla="*/ 9852 h 100907"/>
                  <a:gd name="connsiteX18" fmla="*/ 439 w 48134"/>
                  <a:gd name="connsiteY18" fmla="*/ 0 h 100907"/>
                  <a:gd name="connsiteX19" fmla="*/ 6888 w 48134"/>
                  <a:gd name="connsiteY19" fmla="*/ 1098 h 100907"/>
                  <a:gd name="connsiteX20" fmla="*/ 12953 w 48134"/>
                  <a:gd name="connsiteY20" fmla="*/ 6971 h 100907"/>
                  <a:gd name="connsiteX21" fmla="*/ 12843 w 48134"/>
                  <a:gd name="connsiteY21" fmla="*/ 17042 h 100907"/>
                  <a:gd name="connsiteX22" fmla="*/ 17756 w 48134"/>
                  <a:gd name="connsiteY22" fmla="*/ 18771 h 100907"/>
                  <a:gd name="connsiteX23" fmla="*/ 18551 w 48134"/>
                  <a:gd name="connsiteY23" fmla="*/ 24644 h 100907"/>
                  <a:gd name="connsiteX24" fmla="*/ 16603 w 48134"/>
                  <a:gd name="connsiteY24" fmla="*/ 31477 h 100907"/>
                  <a:gd name="connsiteX25" fmla="*/ 19676 w 48134"/>
                  <a:gd name="connsiteY25" fmla="*/ 36142 h 100907"/>
                  <a:gd name="connsiteX26" fmla="*/ 23107 w 48134"/>
                  <a:gd name="connsiteY26" fmla="*/ 48025 h 100907"/>
                  <a:gd name="connsiteX27" fmla="*/ 22531 w 48134"/>
                  <a:gd name="connsiteY27" fmla="*/ 51648 h 100907"/>
                  <a:gd name="connsiteX28" fmla="*/ 27827 w 48134"/>
                  <a:gd name="connsiteY28" fmla="*/ 51895 h 100907"/>
                  <a:gd name="connsiteX29" fmla="*/ 28431 w 48134"/>
                  <a:gd name="connsiteY29" fmla="*/ 56999 h 10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134" h="100907">
                    <a:moveTo>
                      <a:pt x="28486" y="56972"/>
                    </a:moveTo>
                    <a:lnTo>
                      <a:pt x="34221" y="66028"/>
                    </a:lnTo>
                    <a:lnTo>
                      <a:pt x="39710" y="66796"/>
                    </a:lnTo>
                    <a:lnTo>
                      <a:pt x="39765" y="73053"/>
                    </a:lnTo>
                    <a:lnTo>
                      <a:pt x="46324" y="89684"/>
                    </a:lnTo>
                    <a:lnTo>
                      <a:pt x="48135" y="98411"/>
                    </a:lnTo>
                    <a:lnTo>
                      <a:pt x="46955" y="100908"/>
                    </a:lnTo>
                    <a:lnTo>
                      <a:pt x="39381" y="96791"/>
                    </a:lnTo>
                    <a:lnTo>
                      <a:pt x="37624" y="86418"/>
                    </a:lnTo>
                    <a:lnTo>
                      <a:pt x="34029" y="82521"/>
                    </a:lnTo>
                    <a:lnTo>
                      <a:pt x="31312" y="74453"/>
                    </a:lnTo>
                    <a:lnTo>
                      <a:pt x="23409" y="65259"/>
                    </a:lnTo>
                    <a:lnTo>
                      <a:pt x="19128" y="67757"/>
                    </a:lnTo>
                    <a:lnTo>
                      <a:pt x="15478" y="62570"/>
                    </a:lnTo>
                    <a:lnTo>
                      <a:pt x="12267" y="46516"/>
                    </a:lnTo>
                    <a:lnTo>
                      <a:pt x="7025" y="34057"/>
                    </a:lnTo>
                    <a:lnTo>
                      <a:pt x="0" y="14435"/>
                    </a:lnTo>
                    <a:lnTo>
                      <a:pt x="1097" y="9852"/>
                    </a:lnTo>
                    <a:lnTo>
                      <a:pt x="439" y="0"/>
                    </a:lnTo>
                    <a:lnTo>
                      <a:pt x="6888" y="1098"/>
                    </a:lnTo>
                    <a:lnTo>
                      <a:pt x="12953" y="6971"/>
                    </a:lnTo>
                    <a:lnTo>
                      <a:pt x="12843" y="17042"/>
                    </a:lnTo>
                    <a:lnTo>
                      <a:pt x="17756" y="18771"/>
                    </a:lnTo>
                    <a:lnTo>
                      <a:pt x="18551" y="24644"/>
                    </a:lnTo>
                    <a:lnTo>
                      <a:pt x="16603" y="31477"/>
                    </a:lnTo>
                    <a:lnTo>
                      <a:pt x="19676" y="36142"/>
                    </a:lnTo>
                    <a:lnTo>
                      <a:pt x="23107" y="48025"/>
                    </a:lnTo>
                    <a:lnTo>
                      <a:pt x="22531" y="51648"/>
                    </a:lnTo>
                    <a:lnTo>
                      <a:pt x="27827" y="51895"/>
                    </a:lnTo>
                    <a:lnTo>
                      <a:pt x="28431" y="5699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5" name="Freeform: Shape 4484">
                <a:extLst>
                  <a:ext uri="{FF2B5EF4-FFF2-40B4-BE49-F238E27FC236}">
                    <a16:creationId xmlns:a16="http://schemas.microsoft.com/office/drawing/2014/main" id="{BBAC6DBA-9B7B-468B-F44E-B8A1353F2B2F}"/>
                  </a:ext>
                </a:extLst>
              </p:cNvPr>
              <p:cNvSpPr/>
              <p:nvPr/>
            </p:nvSpPr>
            <p:spPr>
              <a:xfrm>
                <a:off x="1463083" y="3411744"/>
                <a:ext cx="4271" cy="3449"/>
              </a:xfrm>
              <a:custGeom>
                <a:avLst/>
                <a:gdLst>
                  <a:gd name="connsiteX0" fmla="*/ 14654 w 40944"/>
                  <a:gd name="connsiteY0" fmla="*/ 29693 h 33068"/>
                  <a:gd name="connsiteX1" fmla="*/ 1317 w 40944"/>
                  <a:gd name="connsiteY1" fmla="*/ 33069 h 33068"/>
                  <a:gd name="connsiteX2" fmla="*/ 0 w 40944"/>
                  <a:gd name="connsiteY2" fmla="*/ 28650 h 33068"/>
                  <a:gd name="connsiteX3" fmla="*/ 604 w 40944"/>
                  <a:gd name="connsiteY3" fmla="*/ 24891 h 33068"/>
                  <a:gd name="connsiteX4" fmla="*/ 8589 w 40944"/>
                  <a:gd name="connsiteY4" fmla="*/ 21817 h 33068"/>
                  <a:gd name="connsiteX5" fmla="*/ 26674 w 40944"/>
                  <a:gd name="connsiteY5" fmla="*/ 9550 h 33068"/>
                  <a:gd name="connsiteX6" fmla="*/ 36718 w 40944"/>
                  <a:gd name="connsiteY6" fmla="*/ 0 h 33068"/>
                  <a:gd name="connsiteX7" fmla="*/ 40945 w 40944"/>
                  <a:gd name="connsiteY7" fmla="*/ 2031 h 33068"/>
                  <a:gd name="connsiteX8" fmla="*/ 39956 w 40944"/>
                  <a:gd name="connsiteY8" fmla="*/ 9495 h 33068"/>
                  <a:gd name="connsiteX9" fmla="*/ 19621 w 40944"/>
                  <a:gd name="connsiteY9" fmla="*/ 24479 h 33068"/>
                  <a:gd name="connsiteX10" fmla="*/ 14682 w 40944"/>
                  <a:gd name="connsiteY10" fmla="*/ 29638 h 33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944" h="33068">
                    <a:moveTo>
                      <a:pt x="14654" y="29693"/>
                    </a:moveTo>
                    <a:lnTo>
                      <a:pt x="1317" y="33069"/>
                    </a:lnTo>
                    <a:lnTo>
                      <a:pt x="0" y="28650"/>
                    </a:lnTo>
                    <a:lnTo>
                      <a:pt x="604" y="24891"/>
                    </a:lnTo>
                    <a:lnTo>
                      <a:pt x="8589" y="21817"/>
                    </a:lnTo>
                    <a:lnTo>
                      <a:pt x="26674" y="9550"/>
                    </a:lnTo>
                    <a:lnTo>
                      <a:pt x="36718" y="0"/>
                    </a:lnTo>
                    <a:lnTo>
                      <a:pt x="40945" y="2031"/>
                    </a:lnTo>
                    <a:lnTo>
                      <a:pt x="39956" y="9495"/>
                    </a:lnTo>
                    <a:lnTo>
                      <a:pt x="19621" y="24479"/>
                    </a:lnTo>
                    <a:lnTo>
                      <a:pt x="14682" y="296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6" name="Freeform: Shape 4485">
                <a:extLst>
                  <a:ext uri="{FF2B5EF4-FFF2-40B4-BE49-F238E27FC236}">
                    <a16:creationId xmlns:a16="http://schemas.microsoft.com/office/drawing/2014/main" id="{13E9F114-06CF-7C35-A496-708E23B6D598}"/>
                  </a:ext>
                </a:extLst>
              </p:cNvPr>
              <p:cNvSpPr/>
              <p:nvPr/>
            </p:nvSpPr>
            <p:spPr>
              <a:xfrm>
                <a:off x="1451367" y="3433735"/>
                <a:ext cx="2748" cy="2204"/>
              </a:xfrm>
              <a:custGeom>
                <a:avLst/>
                <a:gdLst>
                  <a:gd name="connsiteX0" fmla="*/ 26291 w 26345"/>
                  <a:gd name="connsiteY0" fmla="*/ 1482 h 21131"/>
                  <a:gd name="connsiteX1" fmla="*/ 26346 w 26345"/>
                  <a:gd name="connsiteY1" fmla="*/ 8233 h 21131"/>
                  <a:gd name="connsiteX2" fmla="*/ 23135 w 26345"/>
                  <a:gd name="connsiteY2" fmla="*/ 7876 h 21131"/>
                  <a:gd name="connsiteX3" fmla="*/ 16933 w 26345"/>
                  <a:gd name="connsiteY3" fmla="*/ 12349 h 21131"/>
                  <a:gd name="connsiteX4" fmla="*/ 10648 w 26345"/>
                  <a:gd name="connsiteY4" fmla="*/ 12130 h 21131"/>
                  <a:gd name="connsiteX5" fmla="*/ 1949 w 26345"/>
                  <a:gd name="connsiteY5" fmla="*/ 21131 h 21131"/>
                  <a:gd name="connsiteX6" fmla="*/ 0 w 26345"/>
                  <a:gd name="connsiteY6" fmla="*/ 16301 h 21131"/>
                  <a:gd name="connsiteX7" fmla="*/ 3239 w 26345"/>
                  <a:gd name="connsiteY7" fmla="*/ 7245 h 21131"/>
                  <a:gd name="connsiteX8" fmla="*/ 11472 w 26345"/>
                  <a:gd name="connsiteY8" fmla="*/ 5296 h 21131"/>
                  <a:gd name="connsiteX9" fmla="*/ 13118 w 26345"/>
                  <a:gd name="connsiteY9" fmla="*/ 0 h 21131"/>
                  <a:gd name="connsiteX10" fmla="*/ 26291 w 26345"/>
                  <a:gd name="connsiteY10" fmla="*/ 1482 h 21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45" h="21131">
                    <a:moveTo>
                      <a:pt x="26291" y="1482"/>
                    </a:moveTo>
                    <a:lnTo>
                      <a:pt x="26346" y="8233"/>
                    </a:lnTo>
                    <a:lnTo>
                      <a:pt x="23135" y="7876"/>
                    </a:lnTo>
                    <a:lnTo>
                      <a:pt x="16933" y="12349"/>
                    </a:lnTo>
                    <a:lnTo>
                      <a:pt x="10648" y="12130"/>
                    </a:lnTo>
                    <a:lnTo>
                      <a:pt x="1949" y="21131"/>
                    </a:lnTo>
                    <a:lnTo>
                      <a:pt x="0" y="16301"/>
                    </a:lnTo>
                    <a:lnTo>
                      <a:pt x="3239" y="7245"/>
                    </a:lnTo>
                    <a:lnTo>
                      <a:pt x="11472" y="5296"/>
                    </a:lnTo>
                    <a:lnTo>
                      <a:pt x="13118" y="0"/>
                    </a:lnTo>
                    <a:lnTo>
                      <a:pt x="26291" y="148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7" name="Freeform: Shape 4486">
                <a:extLst>
                  <a:ext uri="{FF2B5EF4-FFF2-40B4-BE49-F238E27FC236}">
                    <a16:creationId xmlns:a16="http://schemas.microsoft.com/office/drawing/2014/main" id="{693705F0-3E08-B4FF-DA00-5E7AB0CA4A9E}"/>
                  </a:ext>
                </a:extLst>
              </p:cNvPr>
              <p:cNvSpPr/>
              <p:nvPr/>
            </p:nvSpPr>
            <p:spPr>
              <a:xfrm>
                <a:off x="1450360" y="3412422"/>
                <a:ext cx="2098" cy="3086"/>
              </a:xfrm>
              <a:custGeom>
                <a:avLst/>
                <a:gdLst>
                  <a:gd name="connsiteX0" fmla="*/ 20116 w 20115"/>
                  <a:gd name="connsiteY0" fmla="*/ 20912 h 29583"/>
                  <a:gd name="connsiteX1" fmla="*/ 9962 w 20115"/>
                  <a:gd name="connsiteY1" fmla="*/ 29584 h 29583"/>
                  <a:gd name="connsiteX2" fmla="*/ 3239 w 20115"/>
                  <a:gd name="connsiteY2" fmla="*/ 22092 h 29583"/>
                  <a:gd name="connsiteX3" fmla="*/ 0 w 20115"/>
                  <a:gd name="connsiteY3" fmla="*/ 6065 h 29583"/>
                  <a:gd name="connsiteX4" fmla="*/ 4035 w 20115"/>
                  <a:gd name="connsiteY4" fmla="*/ 0 h 29583"/>
                  <a:gd name="connsiteX5" fmla="*/ 9715 w 20115"/>
                  <a:gd name="connsiteY5" fmla="*/ 3458 h 29583"/>
                  <a:gd name="connsiteX6" fmla="*/ 19265 w 20115"/>
                  <a:gd name="connsiteY6" fmla="*/ 15231 h 29583"/>
                  <a:gd name="connsiteX7" fmla="*/ 20088 w 20115"/>
                  <a:gd name="connsiteY7" fmla="*/ 20939 h 2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15" h="29583">
                    <a:moveTo>
                      <a:pt x="20116" y="20912"/>
                    </a:moveTo>
                    <a:lnTo>
                      <a:pt x="9962" y="29584"/>
                    </a:lnTo>
                    <a:lnTo>
                      <a:pt x="3239" y="22092"/>
                    </a:lnTo>
                    <a:lnTo>
                      <a:pt x="0" y="6065"/>
                    </a:lnTo>
                    <a:lnTo>
                      <a:pt x="4035" y="0"/>
                    </a:lnTo>
                    <a:lnTo>
                      <a:pt x="9715" y="3458"/>
                    </a:lnTo>
                    <a:lnTo>
                      <a:pt x="19265" y="15231"/>
                    </a:lnTo>
                    <a:lnTo>
                      <a:pt x="20088" y="2093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8" name="Freeform: Shape 4487">
                <a:extLst>
                  <a:ext uri="{FF2B5EF4-FFF2-40B4-BE49-F238E27FC236}">
                    <a16:creationId xmlns:a16="http://schemas.microsoft.com/office/drawing/2014/main" id="{6D547666-0250-7C06-19B3-0A38FA9CFC11}"/>
                  </a:ext>
                </a:extLst>
              </p:cNvPr>
              <p:cNvSpPr/>
              <p:nvPr/>
            </p:nvSpPr>
            <p:spPr>
              <a:xfrm>
                <a:off x="1446370" y="3436008"/>
                <a:ext cx="1652" cy="2825"/>
              </a:xfrm>
              <a:custGeom>
                <a:avLst/>
                <a:gdLst>
                  <a:gd name="connsiteX0" fmla="*/ 14188 w 15834"/>
                  <a:gd name="connsiteY0" fmla="*/ 25796 h 27086"/>
                  <a:gd name="connsiteX1" fmla="*/ 9413 w 15834"/>
                  <a:gd name="connsiteY1" fmla="*/ 27086 h 27086"/>
                  <a:gd name="connsiteX2" fmla="*/ 7519 w 15834"/>
                  <a:gd name="connsiteY2" fmla="*/ 22256 h 27086"/>
                  <a:gd name="connsiteX3" fmla="*/ 2058 w 15834"/>
                  <a:gd name="connsiteY3" fmla="*/ 17426 h 27086"/>
                  <a:gd name="connsiteX4" fmla="*/ 0 w 15834"/>
                  <a:gd name="connsiteY4" fmla="*/ 5516 h 27086"/>
                  <a:gd name="connsiteX5" fmla="*/ 3074 w 15834"/>
                  <a:gd name="connsiteY5" fmla="*/ 0 h 27086"/>
                  <a:gd name="connsiteX6" fmla="*/ 6339 w 15834"/>
                  <a:gd name="connsiteY6" fmla="*/ 1976 h 27086"/>
                  <a:gd name="connsiteX7" fmla="*/ 10483 w 15834"/>
                  <a:gd name="connsiteY7" fmla="*/ 13118 h 27086"/>
                  <a:gd name="connsiteX8" fmla="*/ 15835 w 15834"/>
                  <a:gd name="connsiteY8" fmla="*/ 18387 h 27086"/>
                  <a:gd name="connsiteX9" fmla="*/ 14215 w 15834"/>
                  <a:gd name="connsiteY9" fmla="*/ 25824 h 2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34" h="27086">
                    <a:moveTo>
                      <a:pt x="14188" y="25796"/>
                    </a:moveTo>
                    <a:lnTo>
                      <a:pt x="9413" y="27086"/>
                    </a:lnTo>
                    <a:lnTo>
                      <a:pt x="7519" y="22256"/>
                    </a:lnTo>
                    <a:lnTo>
                      <a:pt x="2058" y="17426"/>
                    </a:lnTo>
                    <a:lnTo>
                      <a:pt x="0" y="5516"/>
                    </a:lnTo>
                    <a:lnTo>
                      <a:pt x="3074" y="0"/>
                    </a:lnTo>
                    <a:lnTo>
                      <a:pt x="6339" y="1976"/>
                    </a:lnTo>
                    <a:lnTo>
                      <a:pt x="10483" y="13118"/>
                    </a:lnTo>
                    <a:lnTo>
                      <a:pt x="15835" y="18387"/>
                    </a:lnTo>
                    <a:lnTo>
                      <a:pt x="14215" y="258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89" name="Freeform: Shape 4488">
                <a:extLst>
                  <a:ext uri="{FF2B5EF4-FFF2-40B4-BE49-F238E27FC236}">
                    <a16:creationId xmlns:a16="http://schemas.microsoft.com/office/drawing/2014/main" id="{9056AA3B-B70C-E422-1F2C-1BECEE2A04BF}"/>
                  </a:ext>
                </a:extLst>
              </p:cNvPr>
              <p:cNvSpPr/>
              <p:nvPr/>
            </p:nvSpPr>
            <p:spPr>
              <a:xfrm>
                <a:off x="1420904" y="3409420"/>
                <a:ext cx="1554" cy="2513"/>
              </a:xfrm>
              <a:custGeom>
                <a:avLst/>
                <a:gdLst>
                  <a:gd name="connsiteX0" fmla="*/ 14901 w 14901"/>
                  <a:gd name="connsiteY0" fmla="*/ 20445 h 24094"/>
                  <a:gd name="connsiteX1" fmla="*/ 8535 w 14901"/>
                  <a:gd name="connsiteY1" fmla="*/ 24095 h 24094"/>
                  <a:gd name="connsiteX2" fmla="*/ 7822 w 14901"/>
                  <a:gd name="connsiteY2" fmla="*/ 18963 h 24094"/>
                  <a:gd name="connsiteX3" fmla="*/ 521 w 14901"/>
                  <a:gd name="connsiteY3" fmla="*/ 15889 h 24094"/>
                  <a:gd name="connsiteX4" fmla="*/ 0 w 14901"/>
                  <a:gd name="connsiteY4" fmla="*/ 12679 h 24094"/>
                  <a:gd name="connsiteX5" fmla="*/ 2058 w 14901"/>
                  <a:gd name="connsiteY5" fmla="*/ 2278 h 24094"/>
                  <a:gd name="connsiteX6" fmla="*/ 6833 w 14901"/>
                  <a:gd name="connsiteY6" fmla="*/ 0 h 24094"/>
                  <a:gd name="connsiteX7" fmla="*/ 12926 w 14901"/>
                  <a:gd name="connsiteY7" fmla="*/ 4281 h 24094"/>
                  <a:gd name="connsiteX8" fmla="*/ 14874 w 14901"/>
                  <a:gd name="connsiteY8" fmla="*/ 20445 h 2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1" h="24094">
                    <a:moveTo>
                      <a:pt x="14901" y="20445"/>
                    </a:moveTo>
                    <a:lnTo>
                      <a:pt x="8535" y="24095"/>
                    </a:lnTo>
                    <a:lnTo>
                      <a:pt x="7822" y="18963"/>
                    </a:lnTo>
                    <a:lnTo>
                      <a:pt x="521" y="15889"/>
                    </a:lnTo>
                    <a:lnTo>
                      <a:pt x="0" y="12679"/>
                    </a:lnTo>
                    <a:lnTo>
                      <a:pt x="2058" y="2278"/>
                    </a:lnTo>
                    <a:lnTo>
                      <a:pt x="6833" y="0"/>
                    </a:lnTo>
                    <a:lnTo>
                      <a:pt x="12926" y="4281"/>
                    </a:lnTo>
                    <a:lnTo>
                      <a:pt x="14874" y="204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0" name="Freeform: Shape 4489">
                <a:extLst>
                  <a:ext uri="{FF2B5EF4-FFF2-40B4-BE49-F238E27FC236}">
                    <a16:creationId xmlns:a16="http://schemas.microsoft.com/office/drawing/2014/main" id="{33D9632E-AE76-A1DE-953E-6D287FA70189}"/>
                  </a:ext>
                </a:extLst>
              </p:cNvPr>
              <p:cNvSpPr/>
              <p:nvPr/>
            </p:nvSpPr>
            <p:spPr>
              <a:xfrm>
                <a:off x="1428606" y="3402020"/>
                <a:ext cx="945" cy="3071"/>
              </a:xfrm>
              <a:custGeom>
                <a:avLst/>
                <a:gdLst>
                  <a:gd name="connsiteX0" fmla="*/ 3650 w 9056"/>
                  <a:gd name="connsiteY0" fmla="*/ 3513 h 29446"/>
                  <a:gd name="connsiteX1" fmla="*/ 4144 w 9056"/>
                  <a:gd name="connsiteY1" fmla="*/ 13529 h 29446"/>
                  <a:gd name="connsiteX2" fmla="*/ 8014 w 9056"/>
                  <a:gd name="connsiteY2" fmla="*/ 6888 h 29446"/>
                  <a:gd name="connsiteX3" fmla="*/ 9056 w 9056"/>
                  <a:gd name="connsiteY3" fmla="*/ 19402 h 29446"/>
                  <a:gd name="connsiteX4" fmla="*/ 4501 w 9056"/>
                  <a:gd name="connsiteY4" fmla="*/ 19402 h 29446"/>
                  <a:gd name="connsiteX5" fmla="*/ 3650 w 9056"/>
                  <a:gd name="connsiteY5" fmla="*/ 29446 h 29446"/>
                  <a:gd name="connsiteX6" fmla="*/ 0 w 9056"/>
                  <a:gd name="connsiteY6" fmla="*/ 22092 h 29446"/>
                  <a:gd name="connsiteX7" fmla="*/ 961 w 9056"/>
                  <a:gd name="connsiteY7" fmla="*/ 17152 h 29446"/>
                  <a:gd name="connsiteX8" fmla="*/ 165 w 9056"/>
                  <a:gd name="connsiteY8" fmla="*/ 6065 h 29446"/>
                  <a:gd name="connsiteX9" fmla="*/ 1043 w 9056"/>
                  <a:gd name="connsiteY9" fmla="*/ 0 h 29446"/>
                  <a:gd name="connsiteX10" fmla="*/ 3678 w 9056"/>
                  <a:gd name="connsiteY10" fmla="*/ 3540 h 2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56" h="29446">
                    <a:moveTo>
                      <a:pt x="3650" y="3513"/>
                    </a:moveTo>
                    <a:lnTo>
                      <a:pt x="4144" y="13529"/>
                    </a:lnTo>
                    <a:lnTo>
                      <a:pt x="8014" y="6888"/>
                    </a:lnTo>
                    <a:lnTo>
                      <a:pt x="9056" y="19402"/>
                    </a:lnTo>
                    <a:lnTo>
                      <a:pt x="4501" y="19402"/>
                    </a:lnTo>
                    <a:cubicBezTo>
                      <a:pt x="4501" y="19402"/>
                      <a:pt x="3650" y="29446"/>
                      <a:pt x="3650" y="29446"/>
                    </a:cubicBezTo>
                    <a:lnTo>
                      <a:pt x="0" y="22092"/>
                    </a:lnTo>
                    <a:lnTo>
                      <a:pt x="961" y="17152"/>
                    </a:lnTo>
                    <a:lnTo>
                      <a:pt x="165" y="6065"/>
                    </a:lnTo>
                    <a:lnTo>
                      <a:pt x="1043" y="0"/>
                    </a:lnTo>
                    <a:lnTo>
                      <a:pt x="3678" y="354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1" name="Freeform: Shape 4490">
                <a:extLst>
                  <a:ext uri="{FF2B5EF4-FFF2-40B4-BE49-F238E27FC236}">
                    <a16:creationId xmlns:a16="http://schemas.microsoft.com/office/drawing/2014/main" id="{9CF2C8DC-61E4-0188-CEC5-3A8008128620}"/>
                  </a:ext>
                </a:extLst>
              </p:cNvPr>
              <p:cNvSpPr/>
              <p:nvPr/>
            </p:nvSpPr>
            <p:spPr>
              <a:xfrm>
                <a:off x="1425592" y="3426004"/>
                <a:ext cx="913" cy="1820"/>
              </a:xfrm>
              <a:custGeom>
                <a:avLst/>
                <a:gdLst>
                  <a:gd name="connsiteX0" fmla="*/ 8397 w 8754"/>
                  <a:gd name="connsiteY0" fmla="*/ 13035 h 17453"/>
                  <a:gd name="connsiteX1" fmla="*/ 2772 w 8754"/>
                  <a:gd name="connsiteY1" fmla="*/ 17454 h 17453"/>
                  <a:gd name="connsiteX2" fmla="*/ 0 w 8754"/>
                  <a:gd name="connsiteY2" fmla="*/ 5571 h 17453"/>
                  <a:gd name="connsiteX3" fmla="*/ 1235 w 8754"/>
                  <a:gd name="connsiteY3" fmla="*/ 0 h 17453"/>
                  <a:gd name="connsiteX4" fmla="*/ 2744 w 8754"/>
                  <a:gd name="connsiteY4" fmla="*/ 3595 h 17453"/>
                  <a:gd name="connsiteX5" fmla="*/ 8754 w 8754"/>
                  <a:gd name="connsiteY5" fmla="*/ 8068 h 17453"/>
                  <a:gd name="connsiteX6" fmla="*/ 8397 w 8754"/>
                  <a:gd name="connsiteY6" fmla="*/ 13035 h 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54" h="17453">
                    <a:moveTo>
                      <a:pt x="8397" y="13035"/>
                    </a:moveTo>
                    <a:lnTo>
                      <a:pt x="2772" y="17454"/>
                    </a:lnTo>
                    <a:lnTo>
                      <a:pt x="0" y="5571"/>
                    </a:lnTo>
                    <a:lnTo>
                      <a:pt x="1235" y="0"/>
                    </a:lnTo>
                    <a:lnTo>
                      <a:pt x="2744" y="3595"/>
                    </a:lnTo>
                    <a:lnTo>
                      <a:pt x="8754" y="8068"/>
                    </a:lnTo>
                    <a:lnTo>
                      <a:pt x="8397" y="130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2" name="Freeform: Shape 4491">
                <a:extLst>
                  <a:ext uri="{FF2B5EF4-FFF2-40B4-BE49-F238E27FC236}">
                    <a16:creationId xmlns:a16="http://schemas.microsoft.com/office/drawing/2014/main" id="{D44D54B6-1239-A2B2-2619-6E327312CBDF}"/>
                  </a:ext>
                </a:extLst>
              </p:cNvPr>
              <p:cNvSpPr/>
              <p:nvPr/>
            </p:nvSpPr>
            <p:spPr>
              <a:xfrm>
                <a:off x="1454453" y="3434525"/>
                <a:ext cx="1016" cy="1059"/>
              </a:xfrm>
              <a:custGeom>
                <a:avLst/>
                <a:gdLst>
                  <a:gd name="connsiteX0" fmla="*/ 9715 w 9742"/>
                  <a:gd name="connsiteY0" fmla="*/ 2662 h 10153"/>
                  <a:gd name="connsiteX1" fmla="*/ 9715 w 9742"/>
                  <a:gd name="connsiteY1" fmla="*/ 10154 h 10153"/>
                  <a:gd name="connsiteX2" fmla="*/ 851 w 9742"/>
                  <a:gd name="connsiteY2" fmla="*/ 6284 h 10153"/>
                  <a:gd name="connsiteX3" fmla="*/ 0 w 9742"/>
                  <a:gd name="connsiteY3" fmla="*/ 2744 h 10153"/>
                  <a:gd name="connsiteX4" fmla="*/ 604 w 9742"/>
                  <a:gd name="connsiteY4" fmla="*/ 0 h 10153"/>
                  <a:gd name="connsiteX5" fmla="*/ 9742 w 9742"/>
                  <a:gd name="connsiteY5" fmla="*/ 2662 h 10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42" h="10153">
                    <a:moveTo>
                      <a:pt x="9715" y="2662"/>
                    </a:moveTo>
                    <a:lnTo>
                      <a:pt x="9715" y="10154"/>
                    </a:lnTo>
                    <a:cubicBezTo>
                      <a:pt x="9715" y="10154"/>
                      <a:pt x="851" y="6284"/>
                      <a:pt x="851" y="6284"/>
                    </a:cubicBezTo>
                    <a:lnTo>
                      <a:pt x="0" y="2744"/>
                    </a:lnTo>
                    <a:lnTo>
                      <a:pt x="604" y="0"/>
                    </a:lnTo>
                    <a:lnTo>
                      <a:pt x="9742"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3" name="Freeform: Shape 4492">
                <a:extLst>
                  <a:ext uri="{FF2B5EF4-FFF2-40B4-BE49-F238E27FC236}">
                    <a16:creationId xmlns:a16="http://schemas.microsoft.com/office/drawing/2014/main" id="{7FB4A1BE-F9B8-4210-200E-CD95857E6972}"/>
                  </a:ext>
                </a:extLst>
              </p:cNvPr>
              <p:cNvSpPr/>
              <p:nvPr/>
            </p:nvSpPr>
            <p:spPr>
              <a:xfrm>
                <a:off x="1426554" y="3428211"/>
                <a:ext cx="549" cy="1093"/>
              </a:xfrm>
              <a:custGeom>
                <a:avLst/>
                <a:gdLst>
                  <a:gd name="connsiteX0" fmla="*/ 5269 w 5268"/>
                  <a:gd name="connsiteY0" fmla="*/ 8946 h 10483"/>
                  <a:gd name="connsiteX1" fmla="*/ 439 w 5268"/>
                  <a:gd name="connsiteY1" fmla="*/ 10483 h 10483"/>
                  <a:gd name="connsiteX2" fmla="*/ 0 w 5268"/>
                  <a:gd name="connsiteY2" fmla="*/ 1125 h 10483"/>
                  <a:gd name="connsiteX3" fmla="*/ 4995 w 5268"/>
                  <a:gd name="connsiteY3" fmla="*/ 0 h 10483"/>
                  <a:gd name="connsiteX4" fmla="*/ 5269 w 5268"/>
                  <a:gd name="connsiteY4" fmla="*/ 8946 h 10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8" h="10483">
                    <a:moveTo>
                      <a:pt x="5269" y="8946"/>
                    </a:moveTo>
                    <a:lnTo>
                      <a:pt x="439" y="10483"/>
                    </a:lnTo>
                    <a:lnTo>
                      <a:pt x="0" y="1125"/>
                    </a:lnTo>
                    <a:lnTo>
                      <a:pt x="4995" y="0"/>
                    </a:lnTo>
                    <a:lnTo>
                      <a:pt x="5269" y="894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4" name="Freeform: Shape 4493">
                <a:extLst>
                  <a:ext uri="{FF2B5EF4-FFF2-40B4-BE49-F238E27FC236}">
                    <a16:creationId xmlns:a16="http://schemas.microsoft.com/office/drawing/2014/main" id="{D39ADAB3-1F59-49CC-F853-3FC8E7CB13BF}"/>
                  </a:ext>
                </a:extLst>
              </p:cNvPr>
              <p:cNvSpPr/>
              <p:nvPr/>
            </p:nvSpPr>
            <p:spPr>
              <a:xfrm>
                <a:off x="1457728" y="3432530"/>
                <a:ext cx="358" cy="1617"/>
              </a:xfrm>
              <a:custGeom>
                <a:avLst/>
                <a:gdLst>
                  <a:gd name="connsiteX0" fmla="*/ 3430 w 3430"/>
                  <a:gd name="connsiteY0" fmla="*/ 12596 h 15505"/>
                  <a:gd name="connsiteX1" fmla="*/ 1482 w 3430"/>
                  <a:gd name="connsiteY1" fmla="*/ 15505 h 15505"/>
                  <a:gd name="connsiteX2" fmla="*/ 0 w 3430"/>
                  <a:gd name="connsiteY2" fmla="*/ 6888 h 15505"/>
                  <a:gd name="connsiteX3" fmla="*/ 686 w 3430"/>
                  <a:gd name="connsiteY3" fmla="*/ 0 h 15505"/>
                  <a:gd name="connsiteX4" fmla="*/ 3156 w 3430"/>
                  <a:gd name="connsiteY4" fmla="*/ 2470 h 15505"/>
                  <a:gd name="connsiteX5" fmla="*/ 3430 w 3430"/>
                  <a:gd name="connsiteY5" fmla="*/ 12624 h 1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30" h="15505">
                    <a:moveTo>
                      <a:pt x="3430" y="12596"/>
                    </a:moveTo>
                    <a:lnTo>
                      <a:pt x="1482" y="15505"/>
                    </a:lnTo>
                    <a:lnTo>
                      <a:pt x="0" y="6888"/>
                    </a:lnTo>
                    <a:lnTo>
                      <a:pt x="686" y="0"/>
                    </a:lnTo>
                    <a:lnTo>
                      <a:pt x="3156" y="2470"/>
                    </a:lnTo>
                    <a:lnTo>
                      <a:pt x="3430" y="126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5" name="Freeform: Shape 4494">
                <a:extLst>
                  <a:ext uri="{FF2B5EF4-FFF2-40B4-BE49-F238E27FC236}">
                    <a16:creationId xmlns:a16="http://schemas.microsoft.com/office/drawing/2014/main" id="{A18CE243-7808-9BEF-628F-99E1D1747DEE}"/>
                  </a:ext>
                </a:extLst>
              </p:cNvPr>
              <p:cNvSpPr/>
              <p:nvPr/>
            </p:nvSpPr>
            <p:spPr>
              <a:xfrm>
                <a:off x="1409480" y="3415181"/>
                <a:ext cx="509" cy="1248"/>
              </a:xfrm>
              <a:custGeom>
                <a:avLst/>
                <a:gdLst>
                  <a:gd name="connsiteX0" fmla="*/ 4885 w 4884"/>
                  <a:gd name="connsiteY0" fmla="*/ 8343 h 11965"/>
                  <a:gd name="connsiteX1" fmla="*/ 301 w 4884"/>
                  <a:gd name="connsiteY1" fmla="*/ 11965 h 11965"/>
                  <a:gd name="connsiteX2" fmla="*/ 0 w 4884"/>
                  <a:gd name="connsiteY2" fmla="*/ 2333 h 11965"/>
                  <a:gd name="connsiteX3" fmla="*/ 3952 w 4884"/>
                  <a:gd name="connsiteY3" fmla="*/ 0 h 11965"/>
                  <a:gd name="connsiteX4" fmla="*/ 4885 w 4884"/>
                  <a:gd name="connsiteY4" fmla="*/ 8343 h 11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4" h="11965">
                    <a:moveTo>
                      <a:pt x="4885" y="8343"/>
                    </a:moveTo>
                    <a:lnTo>
                      <a:pt x="301" y="11965"/>
                    </a:lnTo>
                    <a:lnTo>
                      <a:pt x="0" y="2333"/>
                    </a:lnTo>
                    <a:lnTo>
                      <a:pt x="3952" y="0"/>
                    </a:lnTo>
                    <a:lnTo>
                      <a:pt x="4885" y="834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6" name="Freeform: Shape 4495">
                <a:extLst>
                  <a:ext uri="{FF2B5EF4-FFF2-40B4-BE49-F238E27FC236}">
                    <a16:creationId xmlns:a16="http://schemas.microsoft.com/office/drawing/2014/main" id="{D5559E4C-71FD-3AA1-2CD4-F2FE04709B96}"/>
                  </a:ext>
                </a:extLst>
              </p:cNvPr>
              <p:cNvSpPr/>
              <p:nvPr/>
            </p:nvSpPr>
            <p:spPr>
              <a:xfrm>
                <a:off x="1429989" y="3403323"/>
                <a:ext cx="495" cy="1271"/>
              </a:xfrm>
              <a:custGeom>
                <a:avLst/>
                <a:gdLst>
                  <a:gd name="connsiteX0" fmla="*/ 4610 w 4747"/>
                  <a:gd name="connsiteY0" fmla="*/ 8425 h 12184"/>
                  <a:gd name="connsiteX1" fmla="*/ 1372 w 4747"/>
                  <a:gd name="connsiteY1" fmla="*/ 12185 h 12184"/>
                  <a:gd name="connsiteX2" fmla="*/ 0 w 4747"/>
                  <a:gd name="connsiteY2" fmla="*/ 5626 h 12184"/>
                  <a:gd name="connsiteX3" fmla="*/ 714 w 4747"/>
                  <a:gd name="connsiteY3" fmla="*/ 439 h 12184"/>
                  <a:gd name="connsiteX4" fmla="*/ 4748 w 4747"/>
                  <a:gd name="connsiteY4" fmla="*/ 0 h 12184"/>
                  <a:gd name="connsiteX5" fmla="*/ 4610 w 4747"/>
                  <a:gd name="connsiteY5" fmla="*/ 8425 h 12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7" h="12184">
                    <a:moveTo>
                      <a:pt x="4610" y="8425"/>
                    </a:moveTo>
                    <a:lnTo>
                      <a:pt x="1372" y="12185"/>
                    </a:lnTo>
                    <a:lnTo>
                      <a:pt x="0" y="5626"/>
                    </a:lnTo>
                    <a:lnTo>
                      <a:pt x="714" y="439"/>
                    </a:lnTo>
                    <a:lnTo>
                      <a:pt x="4748" y="0"/>
                    </a:lnTo>
                    <a:lnTo>
                      <a:pt x="4610" y="842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7" name="Freeform: Shape 4496">
                <a:extLst>
                  <a:ext uri="{FF2B5EF4-FFF2-40B4-BE49-F238E27FC236}">
                    <a16:creationId xmlns:a16="http://schemas.microsoft.com/office/drawing/2014/main" id="{F4558238-4400-197A-FFBB-477FEF623842}"/>
                  </a:ext>
                </a:extLst>
              </p:cNvPr>
              <p:cNvSpPr/>
              <p:nvPr/>
            </p:nvSpPr>
            <p:spPr>
              <a:xfrm>
                <a:off x="1324580" y="3813621"/>
                <a:ext cx="9274" cy="9546"/>
              </a:xfrm>
              <a:custGeom>
                <a:avLst/>
                <a:gdLst>
                  <a:gd name="connsiteX0" fmla="*/ 88915 w 88915"/>
                  <a:gd name="connsiteY0" fmla="*/ 45089 h 91522"/>
                  <a:gd name="connsiteX1" fmla="*/ 88010 w 88915"/>
                  <a:gd name="connsiteY1" fmla="*/ 53349 h 91522"/>
                  <a:gd name="connsiteX2" fmla="*/ 80189 w 88915"/>
                  <a:gd name="connsiteY2" fmla="*/ 57657 h 91522"/>
                  <a:gd name="connsiteX3" fmla="*/ 78981 w 88915"/>
                  <a:gd name="connsiteY3" fmla="*/ 66000 h 91522"/>
                  <a:gd name="connsiteX4" fmla="*/ 58756 w 88915"/>
                  <a:gd name="connsiteY4" fmla="*/ 83317 h 91522"/>
                  <a:gd name="connsiteX5" fmla="*/ 56011 w 88915"/>
                  <a:gd name="connsiteY5" fmla="*/ 89958 h 91522"/>
                  <a:gd name="connsiteX6" fmla="*/ 53130 w 88915"/>
                  <a:gd name="connsiteY6" fmla="*/ 91522 h 91522"/>
                  <a:gd name="connsiteX7" fmla="*/ 40671 w 88915"/>
                  <a:gd name="connsiteY7" fmla="*/ 84167 h 91522"/>
                  <a:gd name="connsiteX8" fmla="*/ 14161 w 88915"/>
                  <a:gd name="connsiteY8" fmla="*/ 73080 h 91522"/>
                  <a:gd name="connsiteX9" fmla="*/ 19896 w 88915"/>
                  <a:gd name="connsiteY9" fmla="*/ 69101 h 91522"/>
                  <a:gd name="connsiteX10" fmla="*/ 12267 w 88915"/>
                  <a:gd name="connsiteY10" fmla="*/ 63860 h 91522"/>
                  <a:gd name="connsiteX11" fmla="*/ 12267 w 88915"/>
                  <a:gd name="connsiteY11" fmla="*/ 59469 h 91522"/>
                  <a:gd name="connsiteX12" fmla="*/ 9687 w 88915"/>
                  <a:gd name="connsiteY12" fmla="*/ 54145 h 91522"/>
                  <a:gd name="connsiteX13" fmla="*/ 4556 w 88915"/>
                  <a:gd name="connsiteY13" fmla="*/ 53047 h 91522"/>
                  <a:gd name="connsiteX14" fmla="*/ 1784 w 88915"/>
                  <a:gd name="connsiteY14" fmla="*/ 48738 h 91522"/>
                  <a:gd name="connsiteX15" fmla="*/ 1564 w 88915"/>
                  <a:gd name="connsiteY15" fmla="*/ 45994 h 91522"/>
                  <a:gd name="connsiteX16" fmla="*/ 5845 w 88915"/>
                  <a:gd name="connsiteY16" fmla="*/ 44018 h 91522"/>
                  <a:gd name="connsiteX17" fmla="*/ 2689 w 88915"/>
                  <a:gd name="connsiteY17" fmla="*/ 40478 h 91522"/>
                  <a:gd name="connsiteX18" fmla="*/ 3019 w 88915"/>
                  <a:gd name="connsiteY18" fmla="*/ 33618 h 91522"/>
                  <a:gd name="connsiteX19" fmla="*/ 0 w 88915"/>
                  <a:gd name="connsiteY19" fmla="*/ 28623 h 91522"/>
                  <a:gd name="connsiteX20" fmla="*/ 8315 w 88915"/>
                  <a:gd name="connsiteY20" fmla="*/ 27059 h 91522"/>
                  <a:gd name="connsiteX21" fmla="*/ 11115 w 88915"/>
                  <a:gd name="connsiteY21" fmla="*/ 21954 h 91522"/>
                  <a:gd name="connsiteX22" fmla="*/ 18003 w 88915"/>
                  <a:gd name="connsiteY22" fmla="*/ 17124 h 91522"/>
                  <a:gd name="connsiteX23" fmla="*/ 23107 w 88915"/>
                  <a:gd name="connsiteY23" fmla="*/ 7272 h 91522"/>
                  <a:gd name="connsiteX24" fmla="*/ 24754 w 88915"/>
                  <a:gd name="connsiteY24" fmla="*/ 4171 h 91522"/>
                  <a:gd name="connsiteX25" fmla="*/ 29392 w 88915"/>
                  <a:gd name="connsiteY25" fmla="*/ 2744 h 91522"/>
                  <a:gd name="connsiteX26" fmla="*/ 35648 w 88915"/>
                  <a:gd name="connsiteY26" fmla="*/ 3430 h 91522"/>
                  <a:gd name="connsiteX27" fmla="*/ 43415 w 88915"/>
                  <a:gd name="connsiteY27" fmla="*/ 110 h 91522"/>
                  <a:gd name="connsiteX28" fmla="*/ 58893 w 88915"/>
                  <a:gd name="connsiteY28" fmla="*/ 0 h 91522"/>
                  <a:gd name="connsiteX29" fmla="*/ 62049 w 88915"/>
                  <a:gd name="connsiteY29" fmla="*/ 713 h 91522"/>
                  <a:gd name="connsiteX30" fmla="*/ 67455 w 88915"/>
                  <a:gd name="connsiteY30" fmla="*/ 7272 h 91522"/>
                  <a:gd name="connsiteX31" fmla="*/ 72944 w 88915"/>
                  <a:gd name="connsiteY31" fmla="*/ 17289 h 91522"/>
                  <a:gd name="connsiteX32" fmla="*/ 77033 w 88915"/>
                  <a:gd name="connsiteY32" fmla="*/ 20362 h 91522"/>
                  <a:gd name="connsiteX33" fmla="*/ 75907 w 88915"/>
                  <a:gd name="connsiteY33" fmla="*/ 26620 h 91522"/>
                  <a:gd name="connsiteX34" fmla="*/ 79420 w 88915"/>
                  <a:gd name="connsiteY34" fmla="*/ 28760 h 91522"/>
                  <a:gd name="connsiteX35" fmla="*/ 80079 w 88915"/>
                  <a:gd name="connsiteY35" fmla="*/ 34743 h 91522"/>
                  <a:gd name="connsiteX36" fmla="*/ 82851 w 88915"/>
                  <a:gd name="connsiteY36" fmla="*/ 39408 h 91522"/>
                  <a:gd name="connsiteX37" fmla="*/ 78597 w 88915"/>
                  <a:gd name="connsiteY37" fmla="*/ 44485 h 91522"/>
                  <a:gd name="connsiteX38" fmla="*/ 77938 w 88915"/>
                  <a:gd name="connsiteY38" fmla="*/ 49013 h 91522"/>
                  <a:gd name="connsiteX39" fmla="*/ 80984 w 88915"/>
                  <a:gd name="connsiteY39" fmla="*/ 49919 h 91522"/>
                  <a:gd name="connsiteX40" fmla="*/ 85897 w 88915"/>
                  <a:gd name="connsiteY40" fmla="*/ 45308 h 91522"/>
                  <a:gd name="connsiteX41" fmla="*/ 88888 w 88915"/>
                  <a:gd name="connsiteY41" fmla="*/ 45034 h 9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8915" h="91522">
                    <a:moveTo>
                      <a:pt x="88915" y="45089"/>
                    </a:moveTo>
                    <a:lnTo>
                      <a:pt x="88010" y="53349"/>
                    </a:lnTo>
                    <a:lnTo>
                      <a:pt x="80189" y="57657"/>
                    </a:lnTo>
                    <a:lnTo>
                      <a:pt x="78981" y="66000"/>
                    </a:lnTo>
                    <a:lnTo>
                      <a:pt x="58756" y="83317"/>
                    </a:lnTo>
                    <a:lnTo>
                      <a:pt x="56011" y="89958"/>
                    </a:lnTo>
                    <a:lnTo>
                      <a:pt x="53130" y="91522"/>
                    </a:lnTo>
                    <a:lnTo>
                      <a:pt x="40671" y="84167"/>
                    </a:lnTo>
                    <a:lnTo>
                      <a:pt x="14161" y="73080"/>
                    </a:lnTo>
                    <a:lnTo>
                      <a:pt x="19896" y="69101"/>
                    </a:lnTo>
                    <a:lnTo>
                      <a:pt x="12267" y="63860"/>
                    </a:lnTo>
                    <a:lnTo>
                      <a:pt x="12267" y="59469"/>
                    </a:lnTo>
                    <a:cubicBezTo>
                      <a:pt x="12267" y="59469"/>
                      <a:pt x="9687" y="54145"/>
                      <a:pt x="9687" y="54145"/>
                    </a:cubicBezTo>
                    <a:lnTo>
                      <a:pt x="4556" y="53047"/>
                    </a:lnTo>
                    <a:lnTo>
                      <a:pt x="1784" y="48738"/>
                    </a:lnTo>
                    <a:lnTo>
                      <a:pt x="1564" y="45994"/>
                    </a:lnTo>
                    <a:lnTo>
                      <a:pt x="5845" y="44018"/>
                    </a:lnTo>
                    <a:lnTo>
                      <a:pt x="2689" y="40478"/>
                    </a:lnTo>
                    <a:lnTo>
                      <a:pt x="3019" y="33618"/>
                    </a:lnTo>
                    <a:lnTo>
                      <a:pt x="0" y="28623"/>
                    </a:lnTo>
                    <a:lnTo>
                      <a:pt x="8315" y="27059"/>
                    </a:lnTo>
                    <a:lnTo>
                      <a:pt x="11115" y="21954"/>
                    </a:lnTo>
                    <a:lnTo>
                      <a:pt x="18003" y="17124"/>
                    </a:lnTo>
                    <a:lnTo>
                      <a:pt x="23107" y="7272"/>
                    </a:lnTo>
                    <a:lnTo>
                      <a:pt x="24754" y="4171"/>
                    </a:lnTo>
                    <a:lnTo>
                      <a:pt x="29392" y="2744"/>
                    </a:lnTo>
                    <a:lnTo>
                      <a:pt x="35648" y="3430"/>
                    </a:lnTo>
                    <a:lnTo>
                      <a:pt x="43415" y="110"/>
                    </a:lnTo>
                    <a:lnTo>
                      <a:pt x="58893" y="0"/>
                    </a:lnTo>
                    <a:lnTo>
                      <a:pt x="62049" y="713"/>
                    </a:lnTo>
                    <a:lnTo>
                      <a:pt x="67455" y="7272"/>
                    </a:lnTo>
                    <a:lnTo>
                      <a:pt x="72944" y="17289"/>
                    </a:lnTo>
                    <a:lnTo>
                      <a:pt x="77033" y="20362"/>
                    </a:lnTo>
                    <a:lnTo>
                      <a:pt x="75907" y="26620"/>
                    </a:lnTo>
                    <a:lnTo>
                      <a:pt x="79420" y="28760"/>
                    </a:lnTo>
                    <a:lnTo>
                      <a:pt x="80079" y="34743"/>
                    </a:lnTo>
                    <a:lnTo>
                      <a:pt x="82851" y="39408"/>
                    </a:lnTo>
                    <a:lnTo>
                      <a:pt x="78597" y="44485"/>
                    </a:lnTo>
                    <a:lnTo>
                      <a:pt x="77938" y="49013"/>
                    </a:lnTo>
                    <a:lnTo>
                      <a:pt x="80984" y="49919"/>
                    </a:lnTo>
                    <a:lnTo>
                      <a:pt x="85897" y="45308"/>
                    </a:lnTo>
                    <a:lnTo>
                      <a:pt x="88888" y="450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8" name="Freeform: Shape 4497">
                <a:extLst>
                  <a:ext uri="{FF2B5EF4-FFF2-40B4-BE49-F238E27FC236}">
                    <a16:creationId xmlns:a16="http://schemas.microsoft.com/office/drawing/2014/main" id="{9EE5921F-740C-98E1-819D-0AA4C090AC58}"/>
                  </a:ext>
                </a:extLst>
              </p:cNvPr>
              <p:cNvSpPr/>
              <p:nvPr/>
            </p:nvSpPr>
            <p:spPr>
              <a:xfrm>
                <a:off x="1311711" y="3792568"/>
                <a:ext cx="18777" cy="13745"/>
              </a:xfrm>
              <a:custGeom>
                <a:avLst/>
                <a:gdLst>
                  <a:gd name="connsiteX0" fmla="*/ 154724 w 180025"/>
                  <a:gd name="connsiteY0" fmla="*/ 58481 h 131781"/>
                  <a:gd name="connsiteX1" fmla="*/ 156974 w 180025"/>
                  <a:gd name="connsiteY1" fmla="*/ 61939 h 131781"/>
                  <a:gd name="connsiteX2" fmla="*/ 155931 w 180025"/>
                  <a:gd name="connsiteY2" fmla="*/ 68333 h 131781"/>
                  <a:gd name="connsiteX3" fmla="*/ 161200 w 180025"/>
                  <a:gd name="connsiteY3" fmla="*/ 73849 h 131781"/>
                  <a:gd name="connsiteX4" fmla="*/ 161667 w 180025"/>
                  <a:gd name="connsiteY4" fmla="*/ 81121 h 131781"/>
                  <a:gd name="connsiteX5" fmla="*/ 163505 w 180025"/>
                  <a:gd name="connsiteY5" fmla="*/ 84579 h 131781"/>
                  <a:gd name="connsiteX6" fmla="*/ 160404 w 180025"/>
                  <a:gd name="connsiteY6" fmla="*/ 91879 h 131781"/>
                  <a:gd name="connsiteX7" fmla="*/ 166661 w 180025"/>
                  <a:gd name="connsiteY7" fmla="*/ 101347 h 131781"/>
                  <a:gd name="connsiteX8" fmla="*/ 171656 w 180025"/>
                  <a:gd name="connsiteY8" fmla="*/ 99810 h 131781"/>
                  <a:gd name="connsiteX9" fmla="*/ 175333 w 180025"/>
                  <a:gd name="connsiteY9" fmla="*/ 103954 h 131781"/>
                  <a:gd name="connsiteX10" fmla="*/ 178983 w 180025"/>
                  <a:gd name="connsiteY10" fmla="*/ 111199 h 131781"/>
                  <a:gd name="connsiteX11" fmla="*/ 179861 w 180025"/>
                  <a:gd name="connsiteY11" fmla="*/ 118691 h 131781"/>
                  <a:gd name="connsiteX12" fmla="*/ 178654 w 180025"/>
                  <a:gd name="connsiteY12" fmla="*/ 122039 h 131781"/>
                  <a:gd name="connsiteX13" fmla="*/ 180026 w 180025"/>
                  <a:gd name="connsiteY13" fmla="*/ 126567 h 131781"/>
                  <a:gd name="connsiteX14" fmla="*/ 180026 w 180025"/>
                  <a:gd name="connsiteY14" fmla="*/ 129449 h 131781"/>
                  <a:gd name="connsiteX15" fmla="*/ 160102 w 180025"/>
                  <a:gd name="connsiteY15" fmla="*/ 129613 h 131781"/>
                  <a:gd name="connsiteX16" fmla="*/ 151348 w 180025"/>
                  <a:gd name="connsiteY16" fmla="*/ 131781 h 131781"/>
                  <a:gd name="connsiteX17" fmla="*/ 135925 w 180025"/>
                  <a:gd name="connsiteY17" fmla="*/ 126155 h 131781"/>
                  <a:gd name="connsiteX18" fmla="*/ 131699 w 180025"/>
                  <a:gd name="connsiteY18" fmla="*/ 127143 h 131781"/>
                  <a:gd name="connsiteX19" fmla="*/ 128351 w 180025"/>
                  <a:gd name="connsiteY19" fmla="*/ 122890 h 131781"/>
                  <a:gd name="connsiteX20" fmla="*/ 111556 w 180025"/>
                  <a:gd name="connsiteY20" fmla="*/ 121518 h 131781"/>
                  <a:gd name="connsiteX21" fmla="*/ 69211 w 180025"/>
                  <a:gd name="connsiteY21" fmla="*/ 121463 h 131781"/>
                  <a:gd name="connsiteX22" fmla="*/ 59249 w 180025"/>
                  <a:gd name="connsiteY22" fmla="*/ 126567 h 131781"/>
                  <a:gd name="connsiteX23" fmla="*/ 54886 w 180025"/>
                  <a:gd name="connsiteY23" fmla="*/ 128680 h 131781"/>
                  <a:gd name="connsiteX24" fmla="*/ 53239 w 180025"/>
                  <a:gd name="connsiteY24" fmla="*/ 129119 h 131781"/>
                  <a:gd name="connsiteX25" fmla="*/ 39765 w 180025"/>
                  <a:gd name="connsiteY25" fmla="*/ 127994 h 131781"/>
                  <a:gd name="connsiteX26" fmla="*/ 32355 w 180025"/>
                  <a:gd name="connsiteY26" fmla="*/ 131040 h 131781"/>
                  <a:gd name="connsiteX27" fmla="*/ 23354 w 180025"/>
                  <a:gd name="connsiteY27" fmla="*/ 131671 h 131781"/>
                  <a:gd name="connsiteX28" fmla="*/ 21213 w 180025"/>
                  <a:gd name="connsiteY28" fmla="*/ 126540 h 131781"/>
                  <a:gd name="connsiteX29" fmla="*/ 22201 w 180025"/>
                  <a:gd name="connsiteY29" fmla="*/ 109827 h 131781"/>
                  <a:gd name="connsiteX30" fmla="*/ 24644 w 180025"/>
                  <a:gd name="connsiteY30" fmla="*/ 106835 h 131781"/>
                  <a:gd name="connsiteX31" fmla="*/ 34441 w 180025"/>
                  <a:gd name="connsiteY31" fmla="*/ 106698 h 131781"/>
                  <a:gd name="connsiteX32" fmla="*/ 49150 w 180025"/>
                  <a:gd name="connsiteY32" fmla="*/ 106479 h 131781"/>
                  <a:gd name="connsiteX33" fmla="*/ 50934 w 180025"/>
                  <a:gd name="connsiteY33" fmla="*/ 101155 h 131781"/>
                  <a:gd name="connsiteX34" fmla="*/ 64491 w 180025"/>
                  <a:gd name="connsiteY34" fmla="*/ 100496 h 131781"/>
                  <a:gd name="connsiteX35" fmla="*/ 67674 w 180025"/>
                  <a:gd name="connsiteY35" fmla="*/ 95529 h 131781"/>
                  <a:gd name="connsiteX36" fmla="*/ 70666 w 180025"/>
                  <a:gd name="connsiteY36" fmla="*/ 94130 h 131781"/>
                  <a:gd name="connsiteX37" fmla="*/ 74974 w 180025"/>
                  <a:gd name="connsiteY37" fmla="*/ 97313 h 131781"/>
                  <a:gd name="connsiteX38" fmla="*/ 93635 w 180025"/>
                  <a:gd name="connsiteY38" fmla="*/ 104640 h 131781"/>
                  <a:gd name="connsiteX39" fmla="*/ 107165 w 180025"/>
                  <a:gd name="connsiteY39" fmla="*/ 101374 h 131781"/>
                  <a:gd name="connsiteX40" fmla="*/ 108290 w 180025"/>
                  <a:gd name="connsiteY40" fmla="*/ 98905 h 131781"/>
                  <a:gd name="connsiteX41" fmla="*/ 104366 w 180025"/>
                  <a:gd name="connsiteY41" fmla="*/ 94843 h 131781"/>
                  <a:gd name="connsiteX42" fmla="*/ 92894 w 180025"/>
                  <a:gd name="connsiteY42" fmla="*/ 97862 h 131781"/>
                  <a:gd name="connsiteX43" fmla="*/ 87077 w 180025"/>
                  <a:gd name="connsiteY43" fmla="*/ 92565 h 131781"/>
                  <a:gd name="connsiteX44" fmla="*/ 80819 w 180025"/>
                  <a:gd name="connsiteY44" fmla="*/ 92236 h 131781"/>
                  <a:gd name="connsiteX45" fmla="*/ 77691 w 180025"/>
                  <a:gd name="connsiteY45" fmla="*/ 88257 h 131781"/>
                  <a:gd name="connsiteX46" fmla="*/ 73382 w 180025"/>
                  <a:gd name="connsiteY46" fmla="*/ 87186 h 131781"/>
                  <a:gd name="connsiteX47" fmla="*/ 62927 w 180025"/>
                  <a:gd name="connsiteY47" fmla="*/ 88586 h 131781"/>
                  <a:gd name="connsiteX48" fmla="*/ 58399 w 180025"/>
                  <a:gd name="connsiteY48" fmla="*/ 93965 h 131781"/>
                  <a:gd name="connsiteX49" fmla="*/ 34496 w 180025"/>
                  <a:gd name="connsiteY49" fmla="*/ 93855 h 131781"/>
                  <a:gd name="connsiteX50" fmla="*/ 28129 w 180025"/>
                  <a:gd name="connsiteY50" fmla="*/ 93855 h 131781"/>
                  <a:gd name="connsiteX51" fmla="*/ 25330 w 180025"/>
                  <a:gd name="connsiteY51" fmla="*/ 88366 h 131781"/>
                  <a:gd name="connsiteX52" fmla="*/ 22394 w 180025"/>
                  <a:gd name="connsiteY52" fmla="*/ 86939 h 131781"/>
                  <a:gd name="connsiteX53" fmla="*/ 22668 w 180025"/>
                  <a:gd name="connsiteY53" fmla="*/ 83921 h 131781"/>
                  <a:gd name="connsiteX54" fmla="*/ 23299 w 180025"/>
                  <a:gd name="connsiteY54" fmla="*/ 79777 h 131781"/>
                  <a:gd name="connsiteX55" fmla="*/ 8891 w 180025"/>
                  <a:gd name="connsiteY55" fmla="*/ 61527 h 131781"/>
                  <a:gd name="connsiteX56" fmla="*/ 4281 w 180025"/>
                  <a:gd name="connsiteY56" fmla="*/ 59332 h 131781"/>
                  <a:gd name="connsiteX57" fmla="*/ 1537 w 180025"/>
                  <a:gd name="connsiteY57" fmla="*/ 60841 h 131781"/>
                  <a:gd name="connsiteX58" fmla="*/ 0 w 180025"/>
                  <a:gd name="connsiteY58" fmla="*/ 59057 h 131781"/>
                  <a:gd name="connsiteX59" fmla="*/ 11005 w 180025"/>
                  <a:gd name="connsiteY59" fmla="*/ 53459 h 131781"/>
                  <a:gd name="connsiteX60" fmla="*/ 21049 w 180025"/>
                  <a:gd name="connsiteY60" fmla="*/ 39902 h 131781"/>
                  <a:gd name="connsiteX61" fmla="*/ 27937 w 180025"/>
                  <a:gd name="connsiteY61" fmla="*/ 28047 h 131781"/>
                  <a:gd name="connsiteX62" fmla="*/ 29227 w 180025"/>
                  <a:gd name="connsiteY62" fmla="*/ 18826 h 131781"/>
                  <a:gd name="connsiteX63" fmla="*/ 29474 w 180025"/>
                  <a:gd name="connsiteY63" fmla="*/ 18743 h 131781"/>
                  <a:gd name="connsiteX64" fmla="*/ 30654 w 180025"/>
                  <a:gd name="connsiteY64" fmla="*/ 18551 h 131781"/>
                  <a:gd name="connsiteX65" fmla="*/ 31834 w 180025"/>
                  <a:gd name="connsiteY65" fmla="*/ 17399 h 131781"/>
                  <a:gd name="connsiteX66" fmla="*/ 31999 w 180025"/>
                  <a:gd name="connsiteY66" fmla="*/ 13859 h 131781"/>
                  <a:gd name="connsiteX67" fmla="*/ 35895 w 180025"/>
                  <a:gd name="connsiteY67" fmla="*/ 5653 h 131781"/>
                  <a:gd name="connsiteX68" fmla="*/ 39490 w 180025"/>
                  <a:gd name="connsiteY68" fmla="*/ 4007 h 131781"/>
                  <a:gd name="connsiteX69" fmla="*/ 52993 w 180025"/>
                  <a:gd name="connsiteY69" fmla="*/ 5818 h 131781"/>
                  <a:gd name="connsiteX70" fmla="*/ 59688 w 180025"/>
                  <a:gd name="connsiteY70" fmla="*/ 3074 h 131781"/>
                  <a:gd name="connsiteX71" fmla="*/ 67839 w 180025"/>
                  <a:gd name="connsiteY71" fmla="*/ 3074 h 131781"/>
                  <a:gd name="connsiteX72" fmla="*/ 73822 w 180025"/>
                  <a:gd name="connsiteY72" fmla="*/ 0 h 131781"/>
                  <a:gd name="connsiteX73" fmla="*/ 92318 w 180025"/>
                  <a:gd name="connsiteY73" fmla="*/ 1262 h 131781"/>
                  <a:gd name="connsiteX74" fmla="*/ 102637 w 180025"/>
                  <a:gd name="connsiteY74" fmla="*/ 9660 h 131781"/>
                  <a:gd name="connsiteX75" fmla="*/ 107769 w 180025"/>
                  <a:gd name="connsiteY75" fmla="*/ 16603 h 131781"/>
                  <a:gd name="connsiteX76" fmla="*/ 120667 w 180025"/>
                  <a:gd name="connsiteY76" fmla="*/ 18579 h 131781"/>
                  <a:gd name="connsiteX77" fmla="*/ 126183 w 180025"/>
                  <a:gd name="connsiteY77" fmla="*/ 31861 h 131781"/>
                  <a:gd name="connsiteX78" fmla="*/ 130409 w 180025"/>
                  <a:gd name="connsiteY78" fmla="*/ 35923 h 131781"/>
                  <a:gd name="connsiteX79" fmla="*/ 133675 w 180025"/>
                  <a:gd name="connsiteY79" fmla="*/ 36554 h 131781"/>
                  <a:gd name="connsiteX80" fmla="*/ 134059 w 180025"/>
                  <a:gd name="connsiteY80" fmla="*/ 39902 h 131781"/>
                  <a:gd name="connsiteX81" fmla="*/ 139328 w 180025"/>
                  <a:gd name="connsiteY81" fmla="*/ 46681 h 131781"/>
                  <a:gd name="connsiteX82" fmla="*/ 146353 w 180025"/>
                  <a:gd name="connsiteY82" fmla="*/ 50303 h 131781"/>
                  <a:gd name="connsiteX83" fmla="*/ 149372 w 180025"/>
                  <a:gd name="connsiteY83" fmla="*/ 54667 h 131781"/>
                  <a:gd name="connsiteX84" fmla="*/ 154833 w 180025"/>
                  <a:gd name="connsiteY84" fmla="*/ 58371 h 13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80025" h="131781">
                    <a:moveTo>
                      <a:pt x="154724" y="58481"/>
                    </a:moveTo>
                    <a:lnTo>
                      <a:pt x="156974" y="61939"/>
                    </a:lnTo>
                    <a:lnTo>
                      <a:pt x="155931" y="68333"/>
                    </a:lnTo>
                    <a:lnTo>
                      <a:pt x="161200" y="73849"/>
                    </a:lnTo>
                    <a:lnTo>
                      <a:pt x="161667" y="81121"/>
                    </a:lnTo>
                    <a:lnTo>
                      <a:pt x="163505" y="84579"/>
                    </a:lnTo>
                    <a:lnTo>
                      <a:pt x="160404" y="91879"/>
                    </a:lnTo>
                    <a:lnTo>
                      <a:pt x="166661" y="101347"/>
                    </a:lnTo>
                    <a:lnTo>
                      <a:pt x="171656" y="99810"/>
                    </a:lnTo>
                    <a:lnTo>
                      <a:pt x="175333" y="103954"/>
                    </a:lnTo>
                    <a:lnTo>
                      <a:pt x="178983" y="111199"/>
                    </a:lnTo>
                    <a:lnTo>
                      <a:pt x="179861" y="118691"/>
                    </a:lnTo>
                    <a:lnTo>
                      <a:pt x="178654" y="122039"/>
                    </a:lnTo>
                    <a:lnTo>
                      <a:pt x="180026" y="126567"/>
                    </a:lnTo>
                    <a:lnTo>
                      <a:pt x="180026" y="129449"/>
                    </a:lnTo>
                    <a:cubicBezTo>
                      <a:pt x="180026" y="129449"/>
                      <a:pt x="160102" y="129613"/>
                      <a:pt x="160102" y="129613"/>
                    </a:cubicBezTo>
                    <a:lnTo>
                      <a:pt x="151348" y="131781"/>
                    </a:lnTo>
                    <a:lnTo>
                      <a:pt x="135925" y="126155"/>
                    </a:lnTo>
                    <a:lnTo>
                      <a:pt x="131699" y="127143"/>
                    </a:lnTo>
                    <a:lnTo>
                      <a:pt x="128351" y="122890"/>
                    </a:lnTo>
                    <a:lnTo>
                      <a:pt x="111556" y="121518"/>
                    </a:lnTo>
                    <a:lnTo>
                      <a:pt x="69211" y="121463"/>
                    </a:lnTo>
                    <a:lnTo>
                      <a:pt x="59249" y="126567"/>
                    </a:lnTo>
                    <a:lnTo>
                      <a:pt x="54886" y="128680"/>
                    </a:lnTo>
                    <a:lnTo>
                      <a:pt x="53239" y="129119"/>
                    </a:lnTo>
                    <a:lnTo>
                      <a:pt x="39765" y="127994"/>
                    </a:lnTo>
                    <a:lnTo>
                      <a:pt x="32355" y="131040"/>
                    </a:lnTo>
                    <a:lnTo>
                      <a:pt x="23354" y="131671"/>
                    </a:lnTo>
                    <a:lnTo>
                      <a:pt x="21213" y="126540"/>
                    </a:lnTo>
                    <a:lnTo>
                      <a:pt x="22201" y="109827"/>
                    </a:lnTo>
                    <a:lnTo>
                      <a:pt x="24644" y="106835"/>
                    </a:lnTo>
                    <a:lnTo>
                      <a:pt x="34441" y="106698"/>
                    </a:lnTo>
                    <a:lnTo>
                      <a:pt x="49150" y="106479"/>
                    </a:lnTo>
                    <a:lnTo>
                      <a:pt x="50934" y="101155"/>
                    </a:lnTo>
                    <a:lnTo>
                      <a:pt x="64491" y="100496"/>
                    </a:lnTo>
                    <a:lnTo>
                      <a:pt x="67674" y="95529"/>
                    </a:lnTo>
                    <a:lnTo>
                      <a:pt x="70666" y="94130"/>
                    </a:lnTo>
                    <a:lnTo>
                      <a:pt x="74974" y="97313"/>
                    </a:lnTo>
                    <a:lnTo>
                      <a:pt x="93635" y="104640"/>
                    </a:lnTo>
                    <a:lnTo>
                      <a:pt x="107165" y="101374"/>
                    </a:lnTo>
                    <a:lnTo>
                      <a:pt x="108290" y="98905"/>
                    </a:lnTo>
                    <a:lnTo>
                      <a:pt x="104366" y="94843"/>
                    </a:lnTo>
                    <a:lnTo>
                      <a:pt x="92894" y="97862"/>
                    </a:lnTo>
                    <a:lnTo>
                      <a:pt x="87077" y="92565"/>
                    </a:lnTo>
                    <a:lnTo>
                      <a:pt x="80819" y="92236"/>
                    </a:lnTo>
                    <a:lnTo>
                      <a:pt x="77691" y="88257"/>
                    </a:lnTo>
                    <a:lnTo>
                      <a:pt x="73382" y="87186"/>
                    </a:lnTo>
                    <a:lnTo>
                      <a:pt x="62927" y="88586"/>
                    </a:lnTo>
                    <a:lnTo>
                      <a:pt x="58399" y="93965"/>
                    </a:lnTo>
                    <a:lnTo>
                      <a:pt x="34496" y="93855"/>
                    </a:lnTo>
                    <a:lnTo>
                      <a:pt x="28129" y="93855"/>
                    </a:lnTo>
                    <a:lnTo>
                      <a:pt x="25330" y="88366"/>
                    </a:lnTo>
                    <a:lnTo>
                      <a:pt x="22394" y="86939"/>
                    </a:lnTo>
                    <a:lnTo>
                      <a:pt x="22668" y="83921"/>
                    </a:lnTo>
                    <a:lnTo>
                      <a:pt x="23299" y="79777"/>
                    </a:lnTo>
                    <a:lnTo>
                      <a:pt x="8891" y="61527"/>
                    </a:lnTo>
                    <a:lnTo>
                      <a:pt x="4281" y="59332"/>
                    </a:lnTo>
                    <a:lnTo>
                      <a:pt x="1537" y="60841"/>
                    </a:lnTo>
                    <a:lnTo>
                      <a:pt x="0" y="59057"/>
                    </a:lnTo>
                    <a:lnTo>
                      <a:pt x="11005" y="53459"/>
                    </a:lnTo>
                    <a:lnTo>
                      <a:pt x="21049" y="39902"/>
                    </a:lnTo>
                    <a:lnTo>
                      <a:pt x="27937" y="28047"/>
                    </a:lnTo>
                    <a:lnTo>
                      <a:pt x="29227" y="18826"/>
                    </a:lnTo>
                    <a:lnTo>
                      <a:pt x="29474" y="18743"/>
                    </a:lnTo>
                    <a:lnTo>
                      <a:pt x="30654" y="18551"/>
                    </a:lnTo>
                    <a:lnTo>
                      <a:pt x="31834" y="17399"/>
                    </a:lnTo>
                    <a:lnTo>
                      <a:pt x="31999" y="13859"/>
                    </a:lnTo>
                    <a:lnTo>
                      <a:pt x="35895" y="5653"/>
                    </a:lnTo>
                    <a:lnTo>
                      <a:pt x="39490" y="4007"/>
                    </a:lnTo>
                    <a:lnTo>
                      <a:pt x="52993" y="5818"/>
                    </a:lnTo>
                    <a:lnTo>
                      <a:pt x="59688" y="3074"/>
                    </a:lnTo>
                    <a:lnTo>
                      <a:pt x="67839" y="3074"/>
                    </a:lnTo>
                    <a:cubicBezTo>
                      <a:pt x="67839" y="3074"/>
                      <a:pt x="73822" y="0"/>
                      <a:pt x="73822" y="0"/>
                    </a:cubicBezTo>
                    <a:lnTo>
                      <a:pt x="92318" y="1262"/>
                    </a:lnTo>
                    <a:lnTo>
                      <a:pt x="102637" y="9660"/>
                    </a:lnTo>
                    <a:lnTo>
                      <a:pt x="107769" y="16603"/>
                    </a:lnTo>
                    <a:lnTo>
                      <a:pt x="120667" y="18579"/>
                    </a:lnTo>
                    <a:lnTo>
                      <a:pt x="126183" y="31861"/>
                    </a:lnTo>
                    <a:lnTo>
                      <a:pt x="130409" y="35923"/>
                    </a:lnTo>
                    <a:lnTo>
                      <a:pt x="133675" y="36554"/>
                    </a:lnTo>
                    <a:lnTo>
                      <a:pt x="134059" y="39902"/>
                    </a:lnTo>
                    <a:lnTo>
                      <a:pt x="139328" y="46681"/>
                    </a:lnTo>
                    <a:lnTo>
                      <a:pt x="146353" y="50303"/>
                    </a:lnTo>
                    <a:lnTo>
                      <a:pt x="149372" y="54667"/>
                    </a:lnTo>
                    <a:lnTo>
                      <a:pt x="154833" y="583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499" name="Freeform: Shape 4498">
                <a:extLst>
                  <a:ext uri="{FF2B5EF4-FFF2-40B4-BE49-F238E27FC236}">
                    <a16:creationId xmlns:a16="http://schemas.microsoft.com/office/drawing/2014/main" id="{8B3D8079-5993-A5DC-DBB5-035337BF980C}"/>
                  </a:ext>
                </a:extLst>
              </p:cNvPr>
              <p:cNvSpPr/>
              <p:nvPr/>
            </p:nvSpPr>
            <p:spPr>
              <a:xfrm>
                <a:off x="1491157" y="3807461"/>
                <a:ext cx="31494" cy="42082"/>
              </a:xfrm>
              <a:custGeom>
                <a:avLst/>
                <a:gdLst>
                  <a:gd name="connsiteX0" fmla="*/ 296604 w 301955"/>
                  <a:gd name="connsiteY0" fmla="*/ 20472 h 403466"/>
                  <a:gd name="connsiteX1" fmla="*/ 299074 w 301955"/>
                  <a:gd name="connsiteY1" fmla="*/ 25659 h 403466"/>
                  <a:gd name="connsiteX2" fmla="*/ 297756 w 301955"/>
                  <a:gd name="connsiteY2" fmla="*/ 31751 h 403466"/>
                  <a:gd name="connsiteX3" fmla="*/ 298745 w 301955"/>
                  <a:gd name="connsiteY3" fmla="*/ 41466 h 403466"/>
                  <a:gd name="connsiteX4" fmla="*/ 291363 w 301955"/>
                  <a:gd name="connsiteY4" fmla="*/ 50605 h 403466"/>
                  <a:gd name="connsiteX5" fmla="*/ 288892 w 301955"/>
                  <a:gd name="connsiteY5" fmla="*/ 74343 h 403466"/>
                  <a:gd name="connsiteX6" fmla="*/ 283075 w 301955"/>
                  <a:gd name="connsiteY6" fmla="*/ 86939 h 403466"/>
                  <a:gd name="connsiteX7" fmla="*/ 277421 w 301955"/>
                  <a:gd name="connsiteY7" fmla="*/ 93141 h 403466"/>
                  <a:gd name="connsiteX8" fmla="*/ 268310 w 301955"/>
                  <a:gd name="connsiteY8" fmla="*/ 112653 h 403466"/>
                  <a:gd name="connsiteX9" fmla="*/ 259803 w 301955"/>
                  <a:gd name="connsiteY9" fmla="*/ 120886 h 403466"/>
                  <a:gd name="connsiteX10" fmla="*/ 259172 w 301955"/>
                  <a:gd name="connsiteY10" fmla="*/ 126594 h 403466"/>
                  <a:gd name="connsiteX11" fmla="*/ 255604 w 301955"/>
                  <a:gd name="connsiteY11" fmla="*/ 134223 h 403466"/>
                  <a:gd name="connsiteX12" fmla="*/ 241636 w 301955"/>
                  <a:gd name="connsiteY12" fmla="*/ 155931 h 403466"/>
                  <a:gd name="connsiteX13" fmla="*/ 236806 w 301955"/>
                  <a:gd name="connsiteY13" fmla="*/ 171738 h 403466"/>
                  <a:gd name="connsiteX14" fmla="*/ 231948 w 301955"/>
                  <a:gd name="connsiteY14" fmla="*/ 181563 h 403466"/>
                  <a:gd name="connsiteX15" fmla="*/ 204368 w 301955"/>
                  <a:gd name="connsiteY15" fmla="*/ 223358 h 403466"/>
                  <a:gd name="connsiteX16" fmla="*/ 200416 w 301955"/>
                  <a:gd name="connsiteY16" fmla="*/ 227639 h 403466"/>
                  <a:gd name="connsiteX17" fmla="*/ 182194 w 301955"/>
                  <a:gd name="connsiteY17" fmla="*/ 247508 h 403466"/>
                  <a:gd name="connsiteX18" fmla="*/ 147808 w 301955"/>
                  <a:gd name="connsiteY18" fmla="*/ 282608 h 403466"/>
                  <a:gd name="connsiteX19" fmla="*/ 136996 w 301955"/>
                  <a:gd name="connsiteY19" fmla="*/ 289084 h 403466"/>
                  <a:gd name="connsiteX20" fmla="*/ 107686 w 301955"/>
                  <a:gd name="connsiteY20" fmla="*/ 306620 h 403466"/>
                  <a:gd name="connsiteX21" fmla="*/ 106040 w 301955"/>
                  <a:gd name="connsiteY21" fmla="*/ 308020 h 403466"/>
                  <a:gd name="connsiteX22" fmla="*/ 90837 w 301955"/>
                  <a:gd name="connsiteY22" fmla="*/ 320781 h 403466"/>
                  <a:gd name="connsiteX23" fmla="*/ 75084 w 301955"/>
                  <a:gd name="connsiteY23" fmla="*/ 334036 h 403466"/>
                  <a:gd name="connsiteX24" fmla="*/ 69706 w 301955"/>
                  <a:gd name="connsiteY24" fmla="*/ 339662 h 403466"/>
                  <a:gd name="connsiteX25" fmla="*/ 46681 w 301955"/>
                  <a:gd name="connsiteY25" fmla="*/ 363756 h 403466"/>
                  <a:gd name="connsiteX26" fmla="*/ 45912 w 301955"/>
                  <a:gd name="connsiteY26" fmla="*/ 364580 h 403466"/>
                  <a:gd name="connsiteX27" fmla="*/ 41604 w 301955"/>
                  <a:gd name="connsiteY27" fmla="*/ 370014 h 403466"/>
                  <a:gd name="connsiteX28" fmla="*/ 27553 w 301955"/>
                  <a:gd name="connsiteY28" fmla="*/ 387687 h 403466"/>
                  <a:gd name="connsiteX29" fmla="*/ 27251 w 301955"/>
                  <a:gd name="connsiteY29" fmla="*/ 388812 h 403466"/>
                  <a:gd name="connsiteX30" fmla="*/ 24452 w 301955"/>
                  <a:gd name="connsiteY30" fmla="*/ 391364 h 403466"/>
                  <a:gd name="connsiteX31" fmla="*/ 20967 w 301955"/>
                  <a:gd name="connsiteY31" fmla="*/ 396770 h 403466"/>
                  <a:gd name="connsiteX32" fmla="*/ 16686 w 301955"/>
                  <a:gd name="connsiteY32" fmla="*/ 403467 h 403466"/>
                  <a:gd name="connsiteX33" fmla="*/ 12267 w 301955"/>
                  <a:gd name="connsiteY33" fmla="*/ 396770 h 403466"/>
                  <a:gd name="connsiteX34" fmla="*/ 6230 w 301955"/>
                  <a:gd name="connsiteY34" fmla="*/ 387687 h 403466"/>
                  <a:gd name="connsiteX35" fmla="*/ 0 w 301955"/>
                  <a:gd name="connsiteY35" fmla="*/ 377752 h 403466"/>
                  <a:gd name="connsiteX36" fmla="*/ 0 w 301955"/>
                  <a:gd name="connsiteY36" fmla="*/ 272810 h 403466"/>
                  <a:gd name="connsiteX37" fmla="*/ 10346 w 301955"/>
                  <a:gd name="connsiteY37" fmla="*/ 261175 h 403466"/>
                  <a:gd name="connsiteX38" fmla="*/ 26894 w 301955"/>
                  <a:gd name="connsiteY38" fmla="*/ 237519 h 403466"/>
                  <a:gd name="connsiteX39" fmla="*/ 32383 w 301955"/>
                  <a:gd name="connsiteY39" fmla="*/ 231948 h 403466"/>
                  <a:gd name="connsiteX40" fmla="*/ 43278 w 301955"/>
                  <a:gd name="connsiteY40" fmla="*/ 230878 h 403466"/>
                  <a:gd name="connsiteX41" fmla="*/ 47312 w 301955"/>
                  <a:gd name="connsiteY41" fmla="*/ 230466 h 403466"/>
                  <a:gd name="connsiteX42" fmla="*/ 55188 w 301955"/>
                  <a:gd name="connsiteY42" fmla="*/ 228051 h 403466"/>
                  <a:gd name="connsiteX43" fmla="*/ 63723 w 301955"/>
                  <a:gd name="connsiteY43" fmla="*/ 217760 h 403466"/>
                  <a:gd name="connsiteX44" fmla="*/ 78185 w 301955"/>
                  <a:gd name="connsiteY44" fmla="*/ 211448 h 403466"/>
                  <a:gd name="connsiteX45" fmla="*/ 89464 w 301955"/>
                  <a:gd name="connsiteY45" fmla="*/ 208731 h 403466"/>
                  <a:gd name="connsiteX46" fmla="*/ 90919 w 301955"/>
                  <a:gd name="connsiteY46" fmla="*/ 208731 h 403466"/>
                  <a:gd name="connsiteX47" fmla="*/ 106122 w 301955"/>
                  <a:gd name="connsiteY47" fmla="*/ 209033 h 403466"/>
                  <a:gd name="connsiteX48" fmla="*/ 117758 w 301955"/>
                  <a:gd name="connsiteY48" fmla="*/ 209253 h 403466"/>
                  <a:gd name="connsiteX49" fmla="*/ 137078 w 301955"/>
                  <a:gd name="connsiteY49" fmla="*/ 189384 h 403466"/>
                  <a:gd name="connsiteX50" fmla="*/ 182277 w 301955"/>
                  <a:gd name="connsiteY50" fmla="*/ 142868 h 403466"/>
                  <a:gd name="connsiteX51" fmla="*/ 200499 w 301955"/>
                  <a:gd name="connsiteY51" fmla="*/ 123603 h 403466"/>
                  <a:gd name="connsiteX52" fmla="*/ 204340 w 301955"/>
                  <a:gd name="connsiteY52" fmla="*/ 119541 h 403466"/>
                  <a:gd name="connsiteX53" fmla="*/ 203188 w 301955"/>
                  <a:gd name="connsiteY53" fmla="*/ 118773 h 403466"/>
                  <a:gd name="connsiteX54" fmla="*/ 200499 w 301955"/>
                  <a:gd name="connsiteY54" fmla="*/ 118773 h 403466"/>
                  <a:gd name="connsiteX55" fmla="*/ 182277 w 301955"/>
                  <a:gd name="connsiteY55" fmla="*/ 118691 h 403466"/>
                  <a:gd name="connsiteX56" fmla="*/ 175306 w 301955"/>
                  <a:gd name="connsiteY56" fmla="*/ 118252 h 403466"/>
                  <a:gd name="connsiteX57" fmla="*/ 139630 w 301955"/>
                  <a:gd name="connsiteY57" fmla="*/ 106232 h 403466"/>
                  <a:gd name="connsiteX58" fmla="*/ 137078 w 301955"/>
                  <a:gd name="connsiteY58" fmla="*/ 105381 h 403466"/>
                  <a:gd name="connsiteX59" fmla="*/ 91358 w 301955"/>
                  <a:gd name="connsiteY59" fmla="*/ 89985 h 403466"/>
                  <a:gd name="connsiteX60" fmla="*/ 90288 w 301955"/>
                  <a:gd name="connsiteY60" fmla="*/ 89299 h 403466"/>
                  <a:gd name="connsiteX61" fmla="*/ 69403 w 301955"/>
                  <a:gd name="connsiteY61" fmla="*/ 71900 h 403466"/>
                  <a:gd name="connsiteX62" fmla="*/ 66028 w 301955"/>
                  <a:gd name="connsiteY62" fmla="*/ 64299 h 403466"/>
                  <a:gd name="connsiteX63" fmla="*/ 56286 w 301955"/>
                  <a:gd name="connsiteY63" fmla="*/ 53953 h 403466"/>
                  <a:gd name="connsiteX64" fmla="*/ 54941 w 301955"/>
                  <a:gd name="connsiteY64" fmla="*/ 52114 h 403466"/>
                  <a:gd name="connsiteX65" fmla="*/ 50276 w 301955"/>
                  <a:gd name="connsiteY65" fmla="*/ 41905 h 403466"/>
                  <a:gd name="connsiteX66" fmla="*/ 58070 w 301955"/>
                  <a:gd name="connsiteY66" fmla="*/ 29309 h 403466"/>
                  <a:gd name="connsiteX67" fmla="*/ 58893 w 301955"/>
                  <a:gd name="connsiteY67" fmla="*/ 27937 h 403466"/>
                  <a:gd name="connsiteX68" fmla="*/ 62927 w 301955"/>
                  <a:gd name="connsiteY68" fmla="*/ 21460 h 403466"/>
                  <a:gd name="connsiteX69" fmla="*/ 64025 w 301955"/>
                  <a:gd name="connsiteY69" fmla="*/ 19649 h 403466"/>
                  <a:gd name="connsiteX70" fmla="*/ 64931 w 301955"/>
                  <a:gd name="connsiteY70" fmla="*/ 18167 h 403466"/>
                  <a:gd name="connsiteX71" fmla="*/ 66659 w 301955"/>
                  <a:gd name="connsiteY71" fmla="*/ 15368 h 403466"/>
                  <a:gd name="connsiteX72" fmla="*/ 72724 w 301955"/>
                  <a:gd name="connsiteY72" fmla="*/ 18798 h 403466"/>
                  <a:gd name="connsiteX73" fmla="*/ 78405 w 301955"/>
                  <a:gd name="connsiteY73" fmla="*/ 29474 h 403466"/>
                  <a:gd name="connsiteX74" fmla="*/ 85046 w 301955"/>
                  <a:gd name="connsiteY74" fmla="*/ 36883 h 403466"/>
                  <a:gd name="connsiteX75" fmla="*/ 90946 w 301955"/>
                  <a:gd name="connsiteY75" fmla="*/ 41439 h 403466"/>
                  <a:gd name="connsiteX76" fmla="*/ 96517 w 301955"/>
                  <a:gd name="connsiteY76" fmla="*/ 45720 h 403466"/>
                  <a:gd name="connsiteX77" fmla="*/ 101786 w 301955"/>
                  <a:gd name="connsiteY77" fmla="*/ 47449 h 403466"/>
                  <a:gd name="connsiteX78" fmla="*/ 106122 w 301955"/>
                  <a:gd name="connsiteY78" fmla="*/ 47174 h 403466"/>
                  <a:gd name="connsiteX79" fmla="*/ 116359 w 301955"/>
                  <a:gd name="connsiteY79" fmla="*/ 46516 h 403466"/>
                  <a:gd name="connsiteX80" fmla="*/ 137078 w 301955"/>
                  <a:gd name="connsiteY80" fmla="*/ 35895 h 403466"/>
                  <a:gd name="connsiteX81" fmla="*/ 141386 w 301955"/>
                  <a:gd name="connsiteY81" fmla="*/ 33700 h 403466"/>
                  <a:gd name="connsiteX82" fmla="*/ 154038 w 301955"/>
                  <a:gd name="connsiteY82" fmla="*/ 36060 h 403466"/>
                  <a:gd name="connsiteX83" fmla="*/ 158511 w 301955"/>
                  <a:gd name="connsiteY83" fmla="*/ 38475 h 403466"/>
                  <a:gd name="connsiteX84" fmla="*/ 162627 w 301955"/>
                  <a:gd name="connsiteY84" fmla="*/ 38008 h 403466"/>
                  <a:gd name="connsiteX85" fmla="*/ 182277 w 301955"/>
                  <a:gd name="connsiteY85" fmla="*/ 26812 h 403466"/>
                  <a:gd name="connsiteX86" fmla="*/ 189411 w 301955"/>
                  <a:gd name="connsiteY86" fmla="*/ 23985 h 403466"/>
                  <a:gd name="connsiteX87" fmla="*/ 196876 w 301955"/>
                  <a:gd name="connsiteY87" fmla="*/ 25988 h 403466"/>
                  <a:gd name="connsiteX88" fmla="*/ 200499 w 301955"/>
                  <a:gd name="connsiteY88" fmla="*/ 25742 h 403466"/>
                  <a:gd name="connsiteX89" fmla="*/ 209445 w 301955"/>
                  <a:gd name="connsiteY89" fmla="*/ 25138 h 403466"/>
                  <a:gd name="connsiteX90" fmla="*/ 222535 w 301955"/>
                  <a:gd name="connsiteY90" fmla="*/ 19786 h 403466"/>
                  <a:gd name="connsiteX91" fmla="*/ 234116 w 301955"/>
                  <a:gd name="connsiteY91" fmla="*/ 21790 h 403466"/>
                  <a:gd name="connsiteX92" fmla="*/ 247755 w 301955"/>
                  <a:gd name="connsiteY92" fmla="*/ 18853 h 403466"/>
                  <a:gd name="connsiteX93" fmla="*/ 253189 w 301955"/>
                  <a:gd name="connsiteY93" fmla="*/ 15478 h 403466"/>
                  <a:gd name="connsiteX94" fmla="*/ 272701 w 301955"/>
                  <a:gd name="connsiteY94" fmla="*/ 11471 h 403466"/>
                  <a:gd name="connsiteX95" fmla="*/ 278410 w 301955"/>
                  <a:gd name="connsiteY95" fmla="*/ 8013 h 403466"/>
                  <a:gd name="connsiteX96" fmla="*/ 282059 w 301955"/>
                  <a:gd name="connsiteY96" fmla="*/ 2140 h 403466"/>
                  <a:gd name="connsiteX97" fmla="*/ 287548 w 301955"/>
                  <a:gd name="connsiteY97" fmla="*/ 0 h 403466"/>
                  <a:gd name="connsiteX98" fmla="*/ 301434 w 301955"/>
                  <a:gd name="connsiteY98" fmla="*/ 3897 h 403466"/>
                  <a:gd name="connsiteX99" fmla="*/ 301955 w 301955"/>
                  <a:gd name="connsiteY99" fmla="*/ 7849 h 403466"/>
                  <a:gd name="connsiteX100" fmla="*/ 296714 w 301955"/>
                  <a:gd name="connsiteY100" fmla="*/ 20472 h 40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01955" h="403466">
                    <a:moveTo>
                      <a:pt x="296604" y="20472"/>
                    </a:moveTo>
                    <a:lnTo>
                      <a:pt x="299074" y="25659"/>
                    </a:lnTo>
                    <a:lnTo>
                      <a:pt x="297756" y="31751"/>
                    </a:lnTo>
                    <a:lnTo>
                      <a:pt x="298745" y="41466"/>
                    </a:lnTo>
                    <a:lnTo>
                      <a:pt x="291363" y="50605"/>
                    </a:lnTo>
                    <a:lnTo>
                      <a:pt x="288892" y="74343"/>
                    </a:lnTo>
                    <a:lnTo>
                      <a:pt x="283075" y="86939"/>
                    </a:lnTo>
                    <a:lnTo>
                      <a:pt x="277421" y="93141"/>
                    </a:lnTo>
                    <a:lnTo>
                      <a:pt x="268310" y="112653"/>
                    </a:lnTo>
                    <a:lnTo>
                      <a:pt x="259803" y="120886"/>
                    </a:lnTo>
                    <a:lnTo>
                      <a:pt x="259172" y="126594"/>
                    </a:lnTo>
                    <a:lnTo>
                      <a:pt x="255604" y="134223"/>
                    </a:lnTo>
                    <a:lnTo>
                      <a:pt x="241636" y="155931"/>
                    </a:lnTo>
                    <a:lnTo>
                      <a:pt x="236806" y="171738"/>
                    </a:lnTo>
                    <a:lnTo>
                      <a:pt x="231948" y="181563"/>
                    </a:lnTo>
                    <a:lnTo>
                      <a:pt x="204368" y="223358"/>
                    </a:lnTo>
                    <a:lnTo>
                      <a:pt x="200416" y="227639"/>
                    </a:lnTo>
                    <a:lnTo>
                      <a:pt x="182194" y="247508"/>
                    </a:lnTo>
                    <a:lnTo>
                      <a:pt x="147808" y="282608"/>
                    </a:lnTo>
                    <a:lnTo>
                      <a:pt x="136996" y="289084"/>
                    </a:lnTo>
                    <a:lnTo>
                      <a:pt x="107686" y="306620"/>
                    </a:lnTo>
                    <a:lnTo>
                      <a:pt x="106040" y="308020"/>
                    </a:lnTo>
                    <a:lnTo>
                      <a:pt x="90837" y="320781"/>
                    </a:lnTo>
                    <a:lnTo>
                      <a:pt x="75084" y="334036"/>
                    </a:lnTo>
                    <a:lnTo>
                      <a:pt x="69706" y="339662"/>
                    </a:lnTo>
                    <a:lnTo>
                      <a:pt x="46681" y="363756"/>
                    </a:lnTo>
                    <a:lnTo>
                      <a:pt x="45912" y="364580"/>
                    </a:lnTo>
                    <a:lnTo>
                      <a:pt x="41604" y="370014"/>
                    </a:lnTo>
                    <a:lnTo>
                      <a:pt x="27553" y="387687"/>
                    </a:lnTo>
                    <a:lnTo>
                      <a:pt x="27251" y="388812"/>
                    </a:lnTo>
                    <a:lnTo>
                      <a:pt x="24452" y="391364"/>
                    </a:lnTo>
                    <a:lnTo>
                      <a:pt x="20967" y="396770"/>
                    </a:lnTo>
                    <a:lnTo>
                      <a:pt x="16686" y="403467"/>
                    </a:lnTo>
                    <a:lnTo>
                      <a:pt x="12267" y="396770"/>
                    </a:lnTo>
                    <a:lnTo>
                      <a:pt x="6230" y="387687"/>
                    </a:lnTo>
                    <a:lnTo>
                      <a:pt x="0" y="377752"/>
                    </a:lnTo>
                    <a:lnTo>
                      <a:pt x="0" y="272810"/>
                    </a:lnTo>
                    <a:cubicBezTo>
                      <a:pt x="0" y="272810"/>
                      <a:pt x="10346" y="261175"/>
                      <a:pt x="10346" y="261175"/>
                    </a:cubicBezTo>
                    <a:lnTo>
                      <a:pt x="26894" y="237519"/>
                    </a:lnTo>
                    <a:lnTo>
                      <a:pt x="32383" y="231948"/>
                    </a:lnTo>
                    <a:lnTo>
                      <a:pt x="43278" y="230878"/>
                    </a:lnTo>
                    <a:lnTo>
                      <a:pt x="47312" y="230466"/>
                    </a:lnTo>
                    <a:lnTo>
                      <a:pt x="55188" y="228051"/>
                    </a:lnTo>
                    <a:lnTo>
                      <a:pt x="63723" y="217760"/>
                    </a:lnTo>
                    <a:lnTo>
                      <a:pt x="78185" y="211448"/>
                    </a:lnTo>
                    <a:lnTo>
                      <a:pt x="89464" y="208731"/>
                    </a:lnTo>
                    <a:lnTo>
                      <a:pt x="90919" y="208731"/>
                    </a:lnTo>
                    <a:cubicBezTo>
                      <a:pt x="90919" y="208731"/>
                      <a:pt x="106122" y="209033"/>
                      <a:pt x="106122" y="209033"/>
                    </a:cubicBezTo>
                    <a:lnTo>
                      <a:pt x="117758" y="209253"/>
                    </a:lnTo>
                    <a:lnTo>
                      <a:pt x="137078" y="189384"/>
                    </a:lnTo>
                    <a:lnTo>
                      <a:pt x="182277" y="142868"/>
                    </a:lnTo>
                    <a:lnTo>
                      <a:pt x="200499" y="123603"/>
                    </a:lnTo>
                    <a:lnTo>
                      <a:pt x="204340" y="119541"/>
                    </a:lnTo>
                    <a:lnTo>
                      <a:pt x="203188" y="118773"/>
                    </a:lnTo>
                    <a:lnTo>
                      <a:pt x="200499" y="118773"/>
                    </a:lnTo>
                    <a:lnTo>
                      <a:pt x="182277" y="118691"/>
                    </a:lnTo>
                    <a:lnTo>
                      <a:pt x="175306" y="118252"/>
                    </a:lnTo>
                    <a:lnTo>
                      <a:pt x="139630" y="106232"/>
                    </a:lnTo>
                    <a:lnTo>
                      <a:pt x="137078" y="105381"/>
                    </a:lnTo>
                    <a:lnTo>
                      <a:pt x="91358" y="89985"/>
                    </a:lnTo>
                    <a:lnTo>
                      <a:pt x="90288" y="89299"/>
                    </a:lnTo>
                    <a:lnTo>
                      <a:pt x="69403" y="71900"/>
                    </a:lnTo>
                    <a:lnTo>
                      <a:pt x="66028" y="64299"/>
                    </a:lnTo>
                    <a:lnTo>
                      <a:pt x="56286" y="53953"/>
                    </a:lnTo>
                    <a:lnTo>
                      <a:pt x="54941" y="52114"/>
                    </a:lnTo>
                    <a:lnTo>
                      <a:pt x="50276" y="41905"/>
                    </a:lnTo>
                    <a:lnTo>
                      <a:pt x="58070" y="29309"/>
                    </a:lnTo>
                    <a:lnTo>
                      <a:pt x="58893" y="27937"/>
                    </a:lnTo>
                    <a:lnTo>
                      <a:pt x="62927" y="21460"/>
                    </a:lnTo>
                    <a:lnTo>
                      <a:pt x="64025" y="19649"/>
                    </a:lnTo>
                    <a:lnTo>
                      <a:pt x="64931" y="18167"/>
                    </a:lnTo>
                    <a:lnTo>
                      <a:pt x="66659" y="15368"/>
                    </a:lnTo>
                    <a:lnTo>
                      <a:pt x="72724" y="18798"/>
                    </a:lnTo>
                    <a:lnTo>
                      <a:pt x="78405" y="29474"/>
                    </a:lnTo>
                    <a:lnTo>
                      <a:pt x="85046" y="36883"/>
                    </a:lnTo>
                    <a:lnTo>
                      <a:pt x="90946" y="41439"/>
                    </a:lnTo>
                    <a:lnTo>
                      <a:pt x="96517" y="45720"/>
                    </a:lnTo>
                    <a:lnTo>
                      <a:pt x="101786" y="47449"/>
                    </a:lnTo>
                    <a:lnTo>
                      <a:pt x="106122" y="47174"/>
                    </a:lnTo>
                    <a:lnTo>
                      <a:pt x="116359" y="46516"/>
                    </a:lnTo>
                    <a:lnTo>
                      <a:pt x="137078" y="35895"/>
                    </a:lnTo>
                    <a:lnTo>
                      <a:pt x="141386" y="33700"/>
                    </a:lnTo>
                    <a:lnTo>
                      <a:pt x="154038" y="36060"/>
                    </a:lnTo>
                    <a:lnTo>
                      <a:pt x="158511" y="38475"/>
                    </a:lnTo>
                    <a:lnTo>
                      <a:pt x="162627" y="38008"/>
                    </a:lnTo>
                    <a:lnTo>
                      <a:pt x="182277" y="26812"/>
                    </a:lnTo>
                    <a:lnTo>
                      <a:pt x="189411" y="23985"/>
                    </a:lnTo>
                    <a:lnTo>
                      <a:pt x="196876" y="25988"/>
                    </a:lnTo>
                    <a:lnTo>
                      <a:pt x="200499" y="25742"/>
                    </a:lnTo>
                    <a:lnTo>
                      <a:pt x="209445" y="25138"/>
                    </a:lnTo>
                    <a:lnTo>
                      <a:pt x="222535" y="19786"/>
                    </a:lnTo>
                    <a:lnTo>
                      <a:pt x="234116" y="21790"/>
                    </a:lnTo>
                    <a:lnTo>
                      <a:pt x="247755" y="18853"/>
                    </a:lnTo>
                    <a:lnTo>
                      <a:pt x="253189" y="15478"/>
                    </a:lnTo>
                    <a:lnTo>
                      <a:pt x="272701" y="11471"/>
                    </a:lnTo>
                    <a:lnTo>
                      <a:pt x="278410" y="8013"/>
                    </a:lnTo>
                    <a:lnTo>
                      <a:pt x="282059" y="2140"/>
                    </a:lnTo>
                    <a:lnTo>
                      <a:pt x="287548" y="0"/>
                    </a:lnTo>
                    <a:lnTo>
                      <a:pt x="301434" y="3897"/>
                    </a:lnTo>
                    <a:lnTo>
                      <a:pt x="301955" y="7849"/>
                    </a:lnTo>
                    <a:lnTo>
                      <a:pt x="296714" y="2047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0" name="Freeform: Shape 4499">
                <a:extLst>
                  <a:ext uri="{FF2B5EF4-FFF2-40B4-BE49-F238E27FC236}">
                    <a16:creationId xmlns:a16="http://schemas.microsoft.com/office/drawing/2014/main" id="{BA093FB8-68E0-A85F-3003-4265CE4A6FFA}"/>
                  </a:ext>
                </a:extLst>
              </p:cNvPr>
              <p:cNvSpPr/>
              <p:nvPr/>
            </p:nvSpPr>
            <p:spPr>
              <a:xfrm>
                <a:off x="1522445" y="3811972"/>
                <a:ext cx="667" cy="504"/>
              </a:xfrm>
              <a:custGeom>
                <a:avLst/>
                <a:gdLst>
                  <a:gd name="connsiteX0" fmla="*/ 275 w 6394"/>
                  <a:gd name="connsiteY0" fmla="*/ 0 h 4829"/>
                  <a:gd name="connsiteX1" fmla="*/ 3238 w 6394"/>
                  <a:gd name="connsiteY1" fmla="*/ 1564 h 4829"/>
                  <a:gd name="connsiteX2" fmla="*/ 5653 w 6394"/>
                  <a:gd name="connsiteY2" fmla="*/ 1564 h 4829"/>
                  <a:gd name="connsiteX3" fmla="*/ 6394 w 6394"/>
                  <a:gd name="connsiteY3" fmla="*/ 2634 h 4829"/>
                  <a:gd name="connsiteX4" fmla="*/ 5187 w 6394"/>
                  <a:gd name="connsiteY4" fmla="*/ 4830 h 4829"/>
                  <a:gd name="connsiteX5" fmla="*/ 2278 w 6394"/>
                  <a:gd name="connsiteY5" fmla="*/ 4528 h 4829"/>
                  <a:gd name="connsiteX6" fmla="*/ 0 w 6394"/>
                  <a:gd name="connsiteY6" fmla="*/ 1015 h 4829"/>
                  <a:gd name="connsiteX7" fmla="*/ 275 w 6394"/>
                  <a:gd name="connsiteY7" fmla="*/ 0 h 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94" h="4829">
                    <a:moveTo>
                      <a:pt x="275" y="0"/>
                    </a:moveTo>
                    <a:lnTo>
                      <a:pt x="3238" y="1564"/>
                    </a:lnTo>
                    <a:lnTo>
                      <a:pt x="5653" y="1564"/>
                    </a:lnTo>
                    <a:cubicBezTo>
                      <a:pt x="5653" y="1564"/>
                      <a:pt x="6394" y="2634"/>
                      <a:pt x="6394" y="2634"/>
                    </a:cubicBezTo>
                    <a:lnTo>
                      <a:pt x="5187" y="4830"/>
                    </a:lnTo>
                    <a:lnTo>
                      <a:pt x="2278" y="4528"/>
                    </a:lnTo>
                    <a:lnTo>
                      <a:pt x="0" y="1015"/>
                    </a:lnTo>
                    <a:lnTo>
                      <a:pt x="275"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1" name="Freeform: Shape 4500">
                <a:extLst>
                  <a:ext uri="{FF2B5EF4-FFF2-40B4-BE49-F238E27FC236}">
                    <a16:creationId xmlns:a16="http://schemas.microsoft.com/office/drawing/2014/main" id="{DE89CA31-BFEA-76DC-3884-859FE7A07C74}"/>
                  </a:ext>
                </a:extLst>
              </p:cNvPr>
              <p:cNvSpPr/>
              <p:nvPr/>
            </p:nvSpPr>
            <p:spPr>
              <a:xfrm>
                <a:off x="1187412" y="3826032"/>
                <a:ext cx="12354" cy="12769"/>
              </a:xfrm>
              <a:custGeom>
                <a:avLst/>
                <a:gdLst>
                  <a:gd name="connsiteX0" fmla="*/ 118032 w 118443"/>
                  <a:gd name="connsiteY0" fmla="*/ 11608 h 122423"/>
                  <a:gd name="connsiteX1" fmla="*/ 105957 w 118443"/>
                  <a:gd name="connsiteY1" fmla="*/ 27525 h 122423"/>
                  <a:gd name="connsiteX2" fmla="*/ 104283 w 118443"/>
                  <a:gd name="connsiteY2" fmla="*/ 33398 h 122423"/>
                  <a:gd name="connsiteX3" fmla="*/ 105326 w 118443"/>
                  <a:gd name="connsiteY3" fmla="*/ 46269 h 122423"/>
                  <a:gd name="connsiteX4" fmla="*/ 108427 w 118443"/>
                  <a:gd name="connsiteY4" fmla="*/ 57960 h 122423"/>
                  <a:gd name="connsiteX5" fmla="*/ 118444 w 118443"/>
                  <a:gd name="connsiteY5" fmla="*/ 71571 h 122423"/>
                  <a:gd name="connsiteX6" fmla="*/ 116743 w 118443"/>
                  <a:gd name="connsiteY6" fmla="*/ 77965 h 122423"/>
                  <a:gd name="connsiteX7" fmla="*/ 112900 w 118443"/>
                  <a:gd name="connsiteY7" fmla="*/ 82686 h 122423"/>
                  <a:gd name="connsiteX8" fmla="*/ 111913 w 118443"/>
                  <a:gd name="connsiteY8" fmla="*/ 94678 h 122423"/>
                  <a:gd name="connsiteX9" fmla="*/ 106945 w 118443"/>
                  <a:gd name="connsiteY9" fmla="*/ 103460 h 122423"/>
                  <a:gd name="connsiteX10" fmla="*/ 100880 w 118443"/>
                  <a:gd name="connsiteY10" fmla="*/ 108290 h 122423"/>
                  <a:gd name="connsiteX11" fmla="*/ 97999 w 118443"/>
                  <a:gd name="connsiteY11" fmla="*/ 107549 h 122423"/>
                  <a:gd name="connsiteX12" fmla="*/ 96983 w 118443"/>
                  <a:gd name="connsiteY12" fmla="*/ 104338 h 122423"/>
                  <a:gd name="connsiteX13" fmla="*/ 92730 w 118443"/>
                  <a:gd name="connsiteY13" fmla="*/ 104448 h 122423"/>
                  <a:gd name="connsiteX14" fmla="*/ 88312 w 118443"/>
                  <a:gd name="connsiteY14" fmla="*/ 101072 h 122423"/>
                  <a:gd name="connsiteX15" fmla="*/ 79365 w 118443"/>
                  <a:gd name="connsiteY15" fmla="*/ 102966 h 122423"/>
                  <a:gd name="connsiteX16" fmla="*/ 77197 w 118443"/>
                  <a:gd name="connsiteY16" fmla="*/ 105189 h 122423"/>
                  <a:gd name="connsiteX17" fmla="*/ 67016 w 118443"/>
                  <a:gd name="connsiteY17" fmla="*/ 105628 h 122423"/>
                  <a:gd name="connsiteX18" fmla="*/ 60731 w 118443"/>
                  <a:gd name="connsiteY18" fmla="*/ 102554 h 122423"/>
                  <a:gd name="connsiteX19" fmla="*/ 55929 w 118443"/>
                  <a:gd name="connsiteY19" fmla="*/ 109690 h 122423"/>
                  <a:gd name="connsiteX20" fmla="*/ 61362 w 118443"/>
                  <a:gd name="connsiteY20" fmla="*/ 116221 h 122423"/>
                  <a:gd name="connsiteX21" fmla="*/ 61362 w 118443"/>
                  <a:gd name="connsiteY21" fmla="*/ 121380 h 122423"/>
                  <a:gd name="connsiteX22" fmla="*/ 58399 w 118443"/>
                  <a:gd name="connsiteY22" fmla="*/ 122423 h 122423"/>
                  <a:gd name="connsiteX23" fmla="*/ 45308 w 118443"/>
                  <a:gd name="connsiteY23" fmla="*/ 119377 h 122423"/>
                  <a:gd name="connsiteX24" fmla="*/ 38695 w 118443"/>
                  <a:gd name="connsiteY24" fmla="*/ 116276 h 122423"/>
                  <a:gd name="connsiteX25" fmla="*/ 29035 w 118443"/>
                  <a:gd name="connsiteY25" fmla="*/ 98685 h 122423"/>
                  <a:gd name="connsiteX26" fmla="*/ 24314 w 118443"/>
                  <a:gd name="connsiteY26" fmla="*/ 93114 h 122423"/>
                  <a:gd name="connsiteX27" fmla="*/ 21021 w 118443"/>
                  <a:gd name="connsiteY27" fmla="*/ 77718 h 122423"/>
                  <a:gd name="connsiteX28" fmla="*/ 10730 w 118443"/>
                  <a:gd name="connsiteY28" fmla="*/ 76785 h 122423"/>
                  <a:gd name="connsiteX29" fmla="*/ 10730 w 118443"/>
                  <a:gd name="connsiteY29" fmla="*/ 72449 h 122423"/>
                  <a:gd name="connsiteX30" fmla="*/ 5763 w 118443"/>
                  <a:gd name="connsiteY30" fmla="*/ 68223 h 122423"/>
                  <a:gd name="connsiteX31" fmla="*/ 82 w 118443"/>
                  <a:gd name="connsiteY31" fmla="*/ 58947 h 122423"/>
                  <a:gd name="connsiteX32" fmla="*/ 0 w 118443"/>
                  <a:gd name="connsiteY32" fmla="*/ 52910 h 122423"/>
                  <a:gd name="connsiteX33" fmla="*/ 2251 w 118443"/>
                  <a:gd name="connsiteY33" fmla="*/ 46296 h 122423"/>
                  <a:gd name="connsiteX34" fmla="*/ 5187 w 118443"/>
                  <a:gd name="connsiteY34" fmla="*/ 40012 h 122423"/>
                  <a:gd name="connsiteX35" fmla="*/ 3293 w 118443"/>
                  <a:gd name="connsiteY35" fmla="*/ 35237 h 122423"/>
                  <a:gd name="connsiteX36" fmla="*/ 4857 w 118443"/>
                  <a:gd name="connsiteY36" fmla="*/ 32465 h 122423"/>
                  <a:gd name="connsiteX37" fmla="*/ 10867 w 118443"/>
                  <a:gd name="connsiteY37" fmla="*/ 29281 h 122423"/>
                  <a:gd name="connsiteX38" fmla="*/ 18743 w 118443"/>
                  <a:gd name="connsiteY38" fmla="*/ 29227 h 122423"/>
                  <a:gd name="connsiteX39" fmla="*/ 21241 w 118443"/>
                  <a:gd name="connsiteY39" fmla="*/ 25247 h 122423"/>
                  <a:gd name="connsiteX40" fmla="*/ 23985 w 118443"/>
                  <a:gd name="connsiteY40" fmla="*/ 24150 h 122423"/>
                  <a:gd name="connsiteX41" fmla="*/ 21213 w 118443"/>
                  <a:gd name="connsiteY41" fmla="*/ 19292 h 122423"/>
                  <a:gd name="connsiteX42" fmla="*/ 25440 w 118443"/>
                  <a:gd name="connsiteY42" fmla="*/ 10511 h 122423"/>
                  <a:gd name="connsiteX43" fmla="*/ 26071 w 118443"/>
                  <a:gd name="connsiteY43" fmla="*/ 4665 h 122423"/>
                  <a:gd name="connsiteX44" fmla="*/ 31779 w 118443"/>
                  <a:gd name="connsiteY44" fmla="*/ 0 h 122423"/>
                  <a:gd name="connsiteX45" fmla="*/ 59249 w 118443"/>
                  <a:gd name="connsiteY45" fmla="*/ 5351 h 122423"/>
                  <a:gd name="connsiteX46" fmla="*/ 64710 w 118443"/>
                  <a:gd name="connsiteY46" fmla="*/ 521 h 122423"/>
                  <a:gd name="connsiteX47" fmla="*/ 73492 w 118443"/>
                  <a:gd name="connsiteY47" fmla="*/ 110 h 122423"/>
                  <a:gd name="connsiteX48" fmla="*/ 82878 w 118443"/>
                  <a:gd name="connsiteY48" fmla="*/ 2497 h 122423"/>
                  <a:gd name="connsiteX49" fmla="*/ 86583 w 118443"/>
                  <a:gd name="connsiteY49" fmla="*/ 494 h 122423"/>
                  <a:gd name="connsiteX50" fmla="*/ 94596 w 118443"/>
                  <a:gd name="connsiteY50" fmla="*/ 192 h 122423"/>
                  <a:gd name="connsiteX51" fmla="*/ 116248 w 118443"/>
                  <a:gd name="connsiteY51" fmla="*/ 4610 h 122423"/>
                  <a:gd name="connsiteX52" fmla="*/ 118060 w 118443"/>
                  <a:gd name="connsiteY52" fmla="*/ 6806 h 122423"/>
                  <a:gd name="connsiteX53" fmla="*/ 118060 w 118443"/>
                  <a:gd name="connsiteY53" fmla="*/ 11608 h 12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18443" h="122423">
                    <a:moveTo>
                      <a:pt x="118032" y="11608"/>
                    </a:moveTo>
                    <a:lnTo>
                      <a:pt x="105957" y="27525"/>
                    </a:lnTo>
                    <a:lnTo>
                      <a:pt x="104283" y="33398"/>
                    </a:lnTo>
                    <a:lnTo>
                      <a:pt x="105326" y="46269"/>
                    </a:lnTo>
                    <a:lnTo>
                      <a:pt x="108427" y="57960"/>
                    </a:lnTo>
                    <a:lnTo>
                      <a:pt x="118444" y="71571"/>
                    </a:lnTo>
                    <a:lnTo>
                      <a:pt x="116743" y="77965"/>
                    </a:lnTo>
                    <a:lnTo>
                      <a:pt x="112900" y="82686"/>
                    </a:lnTo>
                    <a:lnTo>
                      <a:pt x="111913" y="94678"/>
                    </a:lnTo>
                    <a:lnTo>
                      <a:pt x="106945" y="103460"/>
                    </a:lnTo>
                    <a:lnTo>
                      <a:pt x="100880" y="108290"/>
                    </a:lnTo>
                    <a:lnTo>
                      <a:pt x="97999" y="107549"/>
                    </a:lnTo>
                    <a:lnTo>
                      <a:pt x="96983" y="104338"/>
                    </a:lnTo>
                    <a:lnTo>
                      <a:pt x="92730" y="104448"/>
                    </a:lnTo>
                    <a:lnTo>
                      <a:pt x="88312" y="101072"/>
                    </a:lnTo>
                    <a:lnTo>
                      <a:pt x="79365" y="102966"/>
                    </a:lnTo>
                    <a:lnTo>
                      <a:pt x="77197" y="105189"/>
                    </a:lnTo>
                    <a:lnTo>
                      <a:pt x="67016" y="105628"/>
                    </a:lnTo>
                    <a:lnTo>
                      <a:pt x="60731" y="102554"/>
                    </a:lnTo>
                    <a:lnTo>
                      <a:pt x="55929" y="109690"/>
                    </a:lnTo>
                    <a:lnTo>
                      <a:pt x="61362" y="116221"/>
                    </a:lnTo>
                    <a:lnTo>
                      <a:pt x="61362" y="121380"/>
                    </a:lnTo>
                    <a:cubicBezTo>
                      <a:pt x="61362" y="121380"/>
                      <a:pt x="58399" y="122423"/>
                      <a:pt x="58399" y="122423"/>
                    </a:cubicBezTo>
                    <a:lnTo>
                      <a:pt x="45308" y="119377"/>
                    </a:lnTo>
                    <a:lnTo>
                      <a:pt x="38695" y="116276"/>
                    </a:lnTo>
                    <a:lnTo>
                      <a:pt x="29035" y="98685"/>
                    </a:lnTo>
                    <a:lnTo>
                      <a:pt x="24314" y="93114"/>
                    </a:lnTo>
                    <a:lnTo>
                      <a:pt x="21021" y="77718"/>
                    </a:lnTo>
                    <a:lnTo>
                      <a:pt x="10730" y="76785"/>
                    </a:lnTo>
                    <a:lnTo>
                      <a:pt x="10730" y="72449"/>
                    </a:lnTo>
                    <a:cubicBezTo>
                      <a:pt x="10730" y="72449"/>
                      <a:pt x="5763" y="68223"/>
                      <a:pt x="5763" y="68223"/>
                    </a:cubicBezTo>
                    <a:lnTo>
                      <a:pt x="82" y="58947"/>
                    </a:lnTo>
                    <a:lnTo>
                      <a:pt x="0" y="52910"/>
                    </a:lnTo>
                    <a:lnTo>
                      <a:pt x="2251" y="46296"/>
                    </a:lnTo>
                    <a:lnTo>
                      <a:pt x="5187" y="40012"/>
                    </a:lnTo>
                    <a:lnTo>
                      <a:pt x="3293" y="35237"/>
                    </a:lnTo>
                    <a:lnTo>
                      <a:pt x="4857" y="32465"/>
                    </a:lnTo>
                    <a:lnTo>
                      <a:pt x="10867" y="29281"/>
                    </a:lnTo>
                    <a:lnTo>
                      <a:pt x="18743" y="29227"/>
                    </a:lnTo>
                    <a:lnTo>
                      <a:pt x="21241" y="25247"/>
                    </a:lnTo>
                    <a:lnTo>
                      <a:pt x="23985" y="24150"/>
                    </a:lnTo>
                    <a:lnTo>
                      <a:pt x="21213" y="19292"/>
                    </a:lnTo>
                    <a:lnTo>
                      <a:pt x="25440" y="10511"/>
                    </a:lnTo>
                    <a:lnTo>
                      <a:pt x="26071" y="4665"/>
                    </a:lnTo>
                    <a:lnTo>
                      <a:pt x="31779" y="0"/>
                    </a:lnTo>
                    <a:lnTo>
                      <a:pt x="59249" y="5351"/>
                    </a:lnTo>
                    <a:lnTo>
                      <a:pt x="64710" y="521"/>
                    </a:lnTo>
                    <a:lnTo>
                      <a:pt x="73492" y="110"/>
                    </a:lnTo>
                    <a:lnTo>
                      <a:pt x="82878" y="2497"/>
                    </a:lnTo>
                    <a:lnTo>
                      <a:pt x="86583" y="494"/>
                    </a:lnTo>
                    <a:lnTo>
                      <a:pt x="94596" y="192"/>
                    </a:lnTo>
                    <a:lnTo>
                      <a:pt x="116248" y="4610"/>
                    </a:lnTo>
                    <a:lnTo>
                      <a:pt x="118060" y="6806"/>
                    </a:lnTo>
                    <a:lnTo>
                      <a:pt x="118060" y="116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2" name="Freeform: Shape 4501">
                <a:extLst>
                  <a:ext uri="{FF2B5EF4-FFF2-40B4-BE49-F238E27FC236}">
                    <a16:creationId xmlns:a16="http://schemas.microsoft.com/office/drawing/2014/main" id="{B04C3926-A9EA-06A7-E05B-D57A912DB63E}"/>
                  </a:ext>
                </a:extLst>
              </p:cNvPr>
              <p:cNvSpPr/>
              <p:nvPr/>
            </p:nvSpPr>
            <p:spPr>
              <a:xfrm>
                <a:off x="1409586" y="3548134"/>
                <a:ext cx="2931" cy="4299"/>
              </a:xfrm>
              <a:custGeom>
                <a:avLst/>
                <a:gdLst>
                  <a:gd name="connsiteX0" fmla="*/ 25906 w 28101"/>
                  <a:gd name="connsiteY0" fmla="*/ 8837 h 41219"/>
                  <a:gd name="connsiteX1" fmla="*/ 27855 w 28101"/>
                  <a:gd name="connsiteY1" fmla="*/ 14600 h 41219"/>
                  <a:gd name="connsiteX2" fmla="*/ 25797 w 28101"/>
                  <a:gd name="connsiteY2" fmla="*/ 19430 h 41219"/>
                  <a:gd name="connsiteX3" fmla="*/ 28102 w 28101"/>
                  <a:gd name="connsiteY3" fmla="*/ 24150 h 41219"/>
                  <a:gd name="connsiteX4" fmla="*/ 27937 w 28101"/>
                  <a:gd name="connsiteY4" fmla="*/ 26730 h 41219"/>
                  <a:gd name="connsiteX5" fmla="*/ 15341 w 28101"/>
                  <a:gd name="connsiteY5" fmla="*/ 36362 h 41219"/>
                  <a:gd name="connsiteX6" fmla="*/ 15752 w 28101"/>
                  <a:gd name="connsiteY6" fmla="*/ 38859 h 41219"/>
                  <a:gd name="connsiteX7" fmla="*/ 13694 w 28101"/>
                  <a:gd name="connsiteY7" fmla="*/ 41137 h 41219"/>
                  <a:gd name="connsiteX8" fmla="*/ 9550 w 28101"/>
                  <a:gd name="connsiteY8" fmla="*/ 41219 h 41219"/>
                  <a:gd name="connsiteX9" fmla="*/ 8453 w 28101"/>
                  <a:gd name="connsiteY9" fmla="*/ 36362 h 41219"/>
                  <a:gd name="connsiteX10" fmla="*/ 13035 w 28101"/>
                  <a:gd name="connsiteY10" fmla="*/ 33014 h 41219"/>
                  <a:gd name="connsiteX11" fmla="*/ 10895 w 28101"/>
                  <a:gd name="connsiteY11" fmla="*/ 27608 h 41219"/>
                  <a:gd name="connsiteX12" fmla="*/ 2443 w 28101"/>
                  <a:gd name="connsiteY12" fmla="*/ 33014 h 41219"/>
                  <a:gd name="connsiteX13" fmla="*/ 0 w 28101"/>
                  <a:gd name="connsiteY13" fmla="*/ 27553 h 41219"/>
                  <a:gd name="connsiteX14" fmla="*/ 2525 w 28101"/>
                  <a:gd name="connsiteY14" fmla="*/ 17371 h 41219"/>
                  <a:gd name="connsiteX15" fmla="*/ 10648 w 28101"/>
                  <a:gd name="connsiteY15" fmla="*/ 13063 h 41219"/>
                  <a:gd name="connsiteX16" fmla="*/ 15204 w 28101"/>
                  <a:gd name="connsiteY16" fmla="*/ 18551 h 41219"/>
                  <a:gd name="connsiteX17" fmla="*/ 16521 w 28101"/>
                  <a:gd name="connsiteY17" fmla="*/ 16576 h 41219"/>
                  <a:gd name="connsiteX18" fmla="*/ 13667 w 28101"/>
                  <a:gd name="connsiteY18" fmla="*/ 10126 h 41219"/>
                  <a:gd name="connsiteX19" fmla="*/ 13667 w 28101"/>
                  <a:gd name="connsiteY19" fmla="*/ 6010 h 41219"/>
                  <a:gd name="connsiteX20" fmla="*/ 18991 w 28101"/>
                  <a:gd name="connsiteY20" fmla="*/ 8837 h 41219"/>
                  <a:gd name="connsiteX21" fmla="*/ 17920 w 28101"/>
                  <a:gd name="connsiteY21" fmla="*/ 1949 h 41219"/>
                  <a:gd name="connsiteX22" fmla="*/ 21323 w 28101"/>
                  <a:gd name="connsiteY22" fmla="*/ 0 h 41219"/>
                  <a:gd name="connsiteX23" fmla="*/ 25330 w 28101"/>
                  <a:gd name="connsiteY23" fmla="*/ 3979 h 41219"/>
                  <a:gd name="connsiteX24" fmla="*/ 25906 w 28101"/>
                  <a:gd name="connsiteY24" fmla="*/ 8864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101" h="41219">
                    <a:moveTo>
                      <a:pt x="25906" y="8837"/>
                    </a:moveTo>
                    <a:lnTo>
                      <a:pt x="27855" y="14600"/>
                    </a:lnTo>
                    <a:lnTo>
                      <a:pt x="25797" y="19430"/>
                    </a:lnTo>
                    <a:lnTo>
                      <a:pt x="28102" y="24150"/>
                    </a:lnTo>
                    <a:lnTo>
                      <a:pt x="27937" y="26730"/>
                    </a:lnTo>
                    <a:lnTo>
                      <a:pt x="15341" y="36362"/>
                    </a:lnTo>
                    <a:lnTo>
                      <a:pt x="15752" y="38859"/>
                    </a:lnTo>
                    <a:lnTo>
                      <a:pt x="13694" y="41137"/>
                    </a:lnTo>
                    <a:lnTo>
                      <a:pt x="9550" y="41219"/>
                    </a:lnTo>
                    <a:lnTo>
                      <a:pt x="8453" y="36362"/>
                    </a:lnTo>
                    <a:lnTo>
                      <a:pt x="13035" y="33014"/>
                    </a:lnTo>
                    <a:lnTo>
                      <a:pt x="10895" y="27608"/>
                    </a:lnTo>
                    <a:lnTo>
                      <a:pt x="2443" y="33014"/>
                    </a:lnTo>
                    <a:lnTo>
                      <a:pt x="0" y="27553"/>
                    </a:lnTo>
                    <a:lnTo>
                      <a:pt x="2525" y="17371"/>
                    </a:lnTo>
                    <a:lnTo>
                      <a:pt x="10648" y="13063"/>
                    </a:lnTo>
                    <a:lnTo>
                      <a:pt x="15204" y="18551"/>
                    </a:lnTo>
                    <a:lnTo>
                      <a:pt x="16521" y="16576"/>
                    </a:lnTo>
                    <a:lnTo>
                      <a:pt x="13667" y="10126"/>
                    </a:lnTo>
                    <a:lnTo>
                      <a:pt x="13667" y="6010"/>
                    </a:lnTo>
                    <a:lnTo>
                      <a:pt x="18991" y="8837"/>
                    </a:lnTo>
                    <a:lnTo>
                      <a:pt x="17920" y="1949"/>
                    </a:lnTo>
                    <a:lnTo>
                      <a:pt x="21323" y="0"/>
                    </a:lnTo>
                    <a:lnTo>
                      <a:pt x="25330" y="3979"/>
                    </a:lnTo>
                    <a:lnTo>
                      <a:pt x="25906" y="88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3" name="Freeform: Shape 4502">
                <a:extLst>
                  <a:ext uri="{FF2B5EF4-FFF2-40B4-BE49-F238E27FC236}">
                    <a16:creationId xmlns:a16="http://schemas.microsoft.com/office/drawing/2014/main" id="{DDDBF106-F76A-C471-5A99-81B65E7207C9}"/>
                  </a:ext>
                </a:extLst>
              </p:cNvPr>
              <p:cNvSpPr/>
              <p:nvPr/>
            </p:nvSpPr>
            <p:spPr>
              <a:xfrm>
                <a:off x="1433478" y="3531587"/>
                <a:ext cx="3773" cy="3200"/>
              </a:xfrm>
              <a:custGeom>
                <a:avLst/>
                <a:gdLst>
                  <a:gd name="connsiteX0" fmla="*/ 36170 w 36170"/>
                  <a:gd name="connsiteY0" fmla="*/ 3787 h 30681"/>
                  <a:gd name="connsiteX1" fmla="*/ 26538 w 36170"/>
                  <a:gd name="connsiteY1" fmla="*/ 20253 h 30681"/>
                  <a:gd name="connsiteX2" fmla="*/ 26538 w 36170"/>
                  <a:gd name="connsiteY2" fmla="*/ 23244 h 30681"/>
                  <a:gd name="connsiteX3" fmla="*/ 16823 w 36170"/>
                  <a:gd name="connsiteY3" fmla="*/ 30681 h 30681"/>
                  <a:gd name="connsiteX4" fmla="*/ 549 w 36170"/>
                  <a:gd name="connsiteY4" fmla="*/ 30681 h 30681"/>
                  <a:gd name="connsiteX5" fmla="*/ 0 w 36170"/>
                  <a:gd name="connsiteY5" fmla="*/ 28952 h 30681"/>
                  <a:gd name="connsiteX6" fmla="*/ 3239 w 36170"/>
                  <a:gd name="connsiteY6" fmla="*/ 22750 h 30681"/>
                  <a:gd name="connsiteX7" fmla="*/ 1812 w 36170"/>
                  <a:gd name="connsiteY7" fmla="*/ 19512 h 30681"/>
                  <a:gd name="connsiteX8" fmla="*/ 5928 w 36170"/>
                  <a:gd name="connsiteY8" fmla="*/ 13859 h 30681"/>
                  <a:gd name="connsiteX9" fmla="*/ 14463 w 36170"/>
                  <a:gd name="connsiteY9" fmla="*/ 19210 h 30681"/>
                  <a:gd name="connsiteX10" fmla="*/ 16795 w 36170"/>
                  <a:gd name="connsiteY10" fmla="*/ 10401 h 30681"/>
                  <a:gd name="connsiteX11" fmla="*/ 22558 w 36170"/>
                  <a:gd name="connsiteY11" fmla="*/ 15999 h 30681"/>
                  <a:gd name="connsiteX12" fmla="*/ 26510 w 36170"/>
                  <a:gd name="connsiteY12" fmla="*/ 12212 h 30681"/>
                  <a:gd name="connsiteX13" fmla="*/ 26510 w 36170"/>
                  <a:gd name="connsiteY13" fmla="*/ 3842 h 30681"/>
                  <a:gd name="connsiteX14" fmla="*/ 31093 w 36170"/>
                  <a:gd name="connsiteY14" fmla="*/ 6202 h 30681"/>
                  <a:gd name="connsiteX15" fmla="*/ 33755 w 36170"/>
                  <a:gd name="connsiteY15" fmla="*/ 0 h 30681"/>
                  <a:gd name="connsiteX16" fmla="*/ 36143 w 36170"/>
                  <a:gd name="connsiteY16" fmla="*/ 3815 h 3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170" h="30681">
                    <a:moveTo>
                      <a:pt x="36170" y="3787"/>
                    </a:moveTo>
                    <a:lnTo>
                      <a:pt x="26538" y="20253"/>
                    </a:lnTo>
                    <a:lnTo>
                      <a:pt x="26538" y="23244"/>
                    </a:lnTo>
                    <a:lnTo>
                      <a:pt x="16823" y="30681"/>
                    </a:lnTo>
                    <a:lnTo>
                      <a:pt x="549" y="30681"/>
                    </a:lnTo>
                    <a:cubicBezTo>
                      <a:pt x="549" y="30681"/>
                      <a:pt x="0" y="28952"/>
                      <a:pt x="0" y="28952"/>
                    </a:cubicBezTo>
                    <a:lnTo>
                      <a:pt x="3239" y="22750"/>
                    </a:lnTo>
                    <a:lnTo>
                      <a:pt x="1812" y="19512"/>
                    </a:lnTo>
                    <a:lnTo>
                      <a:pt x="5928" y="13859"/>
                    </a:lnTo>
                    <a:lnTo>
                      <a:pt x="14463" y="19210"/>
                    </a:lnTo>
                    <a:lnTo>
                      <a:pt x="16795" y="10401"/>
                    </a:lnTo>
                    <a:lnTo>
                      <a:pt x="22558" y="15999"/>
                    </a:lnTo>
                    <a:lnTo>
                      <a:pt x="26510" y="12212"/>
                    </a:lnTo>
                    <a:lnTo>
                      <a:pt x="26510" y="3842"/>
                    </a:lnTo>
                    <a:lnTo>
                      <a:pt x="31093" y="6202"/>
                    </a:lnTo>
                    <a:lnTo>
                      <a:pt x="33755" y="0"/>
                    </a:lnTo>
                    <a:lnTo>
                      <a:pt x="36143" y="381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4" name="Freeform: Shape 4503">
                <a:extLst>
                  <a:ext uri="{FF2B5EF4-FFF2-40B4-BE49-F238E27FC236}">
                    <a16:creationId xmlns:a16="http://schemas.microsoft.com/office/drawing/2014/main" id="{4F316961-8F57-C72A-6CB7-80F2AB58482A}"/>
                  </a:ext>
                </a:extLst>
              </p:cNvPr>
              <p:cNvSpPr/>
              <p:nvPr/>
            </p:nvSpPr>
            <p:spPr>
              <a:xfrm>
                <a:off x="1404800" y="3555390"/>
                <a:ext cx="1706" cy="2482"/>
              </a:xfrm>
              <a:custGeom>
                <a:avLst/>
                <a:gdLst>
                  <a:gd name="connsiteX0" fmla="*/ 5105 w 16355"/>
                  <a:gd name="connsiteY0" fmla="*/ 20418 h 23793"/>
                  <a:gd name="connsiteX1" fmla="*/ 137 w 16355"/>
                  <a:gd name="connsiteY1" fmla="*/ 23793 h 23793"/>
                  <a:gd name="connsiteX2" fmla="*/ 0 w 16355"/>
                  <a:gd name="connsiteY2" fmla="*/ 20033 h 23793"/>
                  <a:gd name="connsiteX3" fmla="*/ 6559 w 16355"/>
                  <a:gd name="connsiteY3" fmla="*/ 5598 h 23793"/>
                  <a:gd name="connsiteX4" fmla="*/ 16356 w 16355"/>
                  <a:gd name="connsiteY4" fmla="*/ 0 h 23793"/>
                  <a:gd name="connsiteX5" fmla="*/ 15752 w 16355"/>
                  <a:gd name="connsiteY5" fmla="*/ 8150 h 23793"/>
                  <a:gd name="connsiteX6" fmla="*/ 8041 w 16355"/>
                  <a:gd name="connsiteY6" fmla="*/ 16109 h 23793"/>
                  <a:gd name="connsiteX7" fmla="*/ 5077 w 16355"/>
                  <a:gd name="connsiteY7" fmla="*/ 20390 h 23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55" h="23793">
                    <a:moveTo>
                      <a:pt x="5105" y="20418"/>
                    </a:moveTo>
                    <a:lnTo>
                      <a:pt x="137" y="23793"/>
                    </a:lnTo>
                    <a:lnTo>
                      <a:pt x="0" y="20033"/>
                    </a:lnTo>
                    <a:lnTo>
                      <a:pt x="6559" y="5598"/>
                    </a:lnTo>
                    <a:lnTo>
                      <a:pt x="16356" y="0"/>
                    </a:lnTo>
                    <a:lnTo>
                      <a:pt x="15752" y="8150"/>
                    </a:lnTo>
                    <a:lnTo>
                      <a:pt x="8041" y="16109"/>
                    </a:lnTo>
                    <a:lnTo>
                      <a:pt x="5077" y="2039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5" name="Freeform: Shape 4504">
                <a:extLst>
                  <a:ext uri="{FF2B5EF4-FFF2-40B4-BE49-F238E27FC236}">
                    <a16:creationId xmlns:a16="http://schemas.microsoft.com/office/drawing/2014/main" id="{014219C4-BE80-5FC4-65F0-B982311B5D60}"/>
                  </a:ext>
                </a:extLst>
              </p:cNvPr>
              <p:cNvSpPr/>
              <p:nvPr/>
            </p:nvSpPr>
            <p:spPr>
              <a:xfrm>
                <a:off x="1425232" y="3536885"/>
                <a:ext cx="1543" cy="2115"/>
              </a:xfrm>
              <a:custGeom>
                <a:avLst/>
                <a:gdLst>
                  <a:gd name="connsiteX0" fmla="*/ 7382 w 14791"/>
                  <a:gd name="connsiteY0" fmla="*/ 2717 h 20280"/>
                  <a:gd name="connsiteX1" fmla="*/ 7547 w 14791"/>
                  <a:gd name="connsiteY1" fmla="*/ 10675 h 20280"/>
                  <a:gd name="connsiteX2" fmla="*/ 9550 w 14791"/>
                  <a:gd name="connsiteY2" fmla="*/ 6477 h 20280"/>
                  <a:gd name="connsiteX3" fmla="*/ 11169 w 14791"/>
                  <a:gd name="connsiteY3" fmla="*/ 10209 h 20280"/>
                  <a:gd name="connsiteX4" fmla="*/ 14791 w 14791"/>
                  <a:gd name="connsiteY4" fmla="*/ 14243 h 20280"/>
                  <a:gd name="connsiteX5" fmla="*/ 14517 w 14791"/>
                  <a:gd name="connsiteY5" fmla="*/ 18497 h 20280"/>
                  <a:gd name="connsiteX6" fmla="*/ 11114 w 14791"/>
                  <a:gd name="connsiteY6" fmla="*/ 20280 h 20280"/>
                  <a:gd name="connsiteX7" fmla="*/ 7107 w 14791"/>
                  <a:gd name="connsiteY7" fmla="*/ 19485 h 20280"/>
                  <a:gd name="connsiteX8" fmla="*/ 5296 w 14791"/>
                  <a:gd name="connsiteY8" fmla="*/ 16054 h 20280"/>
                  <a:gd name="connsiteX9" fmla="*/ 4803 w 14791"/>
                  <a:gd name="connsiteY9" fmla="*/ 10566 h 20280"/>
                  <a:gd name="connsiteX10" fmla="*/ 0 w 14791"/>
                  <a:gd name="connsiteY10" fmla="*/ 4446 h 20280"/>
                  <a:gd name="connsiteX11" fmla="*/ 2332 w 14791"/>
                  <a:gd name="connsiteY11" fmla="*/ 0 h 20280"/>
                  <a:gd name="connsiteX12" fmla="*/ 7355 w 14791"/>
                  <a:gd name="connsiteY12" fmla="*/ 2744 h 2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91" h="20280">
                    <a:moveTo>
                      <a:pt x="7382" y="2717"/>
                    </a:moveTo>
                    <a:lnTo>
                      <a:pt x="7547" y="10675"/>
                    </a:lnTo>
                    <a:lnTo>
                      <a:pt x="9550" y="6477"/>
                    </a:lnTo>
                    <a:lnTo>
                      <a:pt x="11169" y="10209"/>
                    </a:lnTo>
                    <a:lnTo>
                      <a:pt x="14791" y="14243"/>
                    </a:lnTo>
                    <a:lnTo>
                      <a:pt x="14517" y="18497"/>
                    </a:lnTo>
                    <a:lnTo>
                      <a:pt x="11114" y="20280"/>
                    </a:lnTo>
                    <a:lnTo>
                      <a:pt x="7107" y="19485"/>
                    </a:lnTo>
                    <a:lnTo>
                      <a:pt x="5296" y="16054"/>
                    </a:lnTo>
                    <a:lnTo>
                      <a:pt x="4803" y="10566"/>
                    </a:lnTo>
                    <a:lnTo>
                      <a:pt x="0" y="4446"/>
                    </a:lnTo>
                    <a:lnTo>
                      <a:pt x="2332" y="0"/>
                    </a:lnTo>
                    <a:lnTo>
                      <a:pt x="7355" y="274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6" name="Freeform: Shape 4505">
                <a:extLst>
                  <a:ext uri="{FF2B5EF4-FFF2-40B4-BE49-F238E27FC236}">
                    <a16:creationId xmlns:a16="http://schemas.microsoft.com/office/drawing/2014/main" id="{9EEEAFBF-D6D3-F42C-C24E-827B7E7DAF19}"/>
                  </a:ext>
                </a:extLst>
              </p:cNvPr>
              <p:cNvSpPr/>
              <p:nvPr/>
            </p:nvSpPr>
            <p:spPr>
              <a:xfrm>
                <a:off x="1438785" y="3530050"/>
                <a:ext cx="707" cy="990"/>
              </a:xfrm>
              <a:custGeom>
                <a:avLst/>
                <a:gdLst>
                  <a:gd name="connsiteX0" fmla="*/ 3375 w 6778"/>
                  <a:gd name="connsiteY0" fmla="*/ 0 h 9495"/>
                  <a:gd name="connsiteX1" fmla="*/ 3458 w 6778"/>
                  <a:gd name="connsiteY1" fmla="*/ 4885 h 9495"/>
                  <a:gd name="connsiteX2" fmla="*/ 5818 w 6778"/>
                  <a:gd name="connsiteY2" fmla="*/ 3952 h 9495"/>
                  <a:gd name="connsiteX3" fmla="*/ 6778 w 6778"/>
                  <a:gd name="connsiteY3" fmla="*/ 8727 h 9495"/>
                  <a:gd name="connsiteX4" fmla="*/ 1674 w 6778"/>
                  <a:gd name="connsiteY4" fmla="*/ 9495 h 9495"/>
                  <a:gd name="connsiteX5" fmla="*/ 0 w 6778"/>
                  <a:gd name="connsiteY5" fmla="*/ 192 h 9495"/>
                  <a:gd name="connsiteX6" fmla="*/ 3348 w 6778"/>
                  <a:gd name="connsiteY6" fmla="*/ 0 h 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8" h="9495">
                    <a:moveTo>
                      <a:pt x="3375" y="0"/>
                    </a:moveTo>
                    <a:lnTo>
                      <a:pt x="3458" y="4885"/>
                    </a:lnTo>
                    <a:lnTo>
                      <a:pt x="5818" y="3952"/>
                    </a:lnTo>
                    <a:lnTo>
                      <a:pt x="6778" y="8727"/>
                    </a:lnTo>
                    <a:lnTo>
                      <a:pt x="1674" y="9495"/>
                    </a:lnTo>
                    <a:lnTo>
                      <a:pt x="0" y="192"/>
                    </a:lnTo>
                    <a:lnTo>
                      <a:pt x="334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7" name="Freeform: Shape 4506">
                <a:extLst>
                  <a:ext uri="{FF2B5EF4-FFF2-40B4-BE49-F238E27FC236}">
                    <a16:creationId xmlns:a16="http://schemas.microsoft.com/office/drawing/2014/main" id="{40D2C042-2BDB-1FB9-FEF2-208646BFBA08}"/>
                  </a:ext>
                </a:extLst>
              </p:cNvPr>
              <p:cNvSpPr/>
              <p:nvPr/>
            </p:nvSpPr>
            <p:spPr>
              <a:xfrm>
                <a:off x="1440923" y="3529131"/>
                <a:ext cx="578" cy="910"/>
              </a:xfrm>
              <a:custGeom>
                <a:avLst/>
                <a:gdLst>
                  <a:gd name="connsiteX0" fmla="*/ 5544 w 5543"/>
                  <a:gd name="connsiteY0" fmla="*/ 2634 h 8726"/>
                  <a:gd name="connsiteX1" fmla="*/ 4309 w 5543"/>
                  <a:gd name="connsiteY1" fmla="*/ 8727 h 8726"/>
                  <a:gd name="connsiteX2" fmla="*/ 0 w 5543"/>
                  <a:gd name="connsiteY2" fmla="*/ 4336 h 8726"/>
                  <a:gd name="connsiteX3" fmla="*/ 2113 w 5543"/>
                  <a:gd name="connsiteY3" fmla="*/ 0 h 8726"/>
                  <a:gd name="connsiteX4" fmla="*/ 5516 w 5543"/>
                  <a:gd name="connsiteY4" fmla="*/ 2662 h 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3" h="8726">
                    <a:moveTo>
                      <a:pt x="5544" y="2634"/>
                    </a:moveTo>
                    <a:lnTo>
                      <a:pt x="4309" y="8727"/>
                    </a:lnTo>
                    <a:lnTo>
                      <a:pt x="0" y="4336"/>
                    </a:lnTo>
                    <a:lnTo>
                      <a:pt x="2113" y="0"/>
                    </a:lnTo>
                    <a:lnTo>
                      <a:pt x="5516" y="2662"/>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8" name="Freeform: Shape 4507">
                <a:extLst>
                  <a:ext uri="{FF2B5EF4-FFF2-40B4-BE49-F238E27FC236}">
                    <a16:creationId xmlns:a16="http://schemas.microsoft.com/office/drawing/2014/main" id="{E9EB8099-88B5-7A74-D3CD-9FE9EA96C0FC}"/>
                  </a:ext>
                </a:extLst>
              </p:cNvPr>
              <p:cNvSpPr/>
              <p:nvPr/>
            </p:nvSpPr>
            <p:spPr>
              <a:xfrm>
                <a:off x="1424716" y="3537872"/>
                <a:ext cx="607" cy="801"/>
              </a:xfrm>
              <a:custGeom>
                <a:avLst/>
                <a:gdLst>
                  <a:gd name="connsiteX0" fmla="*/ 5818 w 5817"/>
                  <a:gd name="connsiteY0" fmla="*/ 3568 h 7684"/>
                  <a:gd name="connsiteX1" fmla="*/ 5214 w 5817"/>
                  <a:gd name="connsiteY1" fmla="*/ 7684 h 7684"/>
                  <a:gd name="connsiteX2" fmla="*/ 0 w 5817"/>
                  <a:gd name="connsiteY2" fmla="*/ 3129 h 7684"/>
                  <a:gd name="connsiteX3" fmla="*/ 1290 w 5817"/>
                  <a:gd name="connsiteY3" fmla="*/ 0 h 7684"/>
                  <a:gd name="connsiteX4" fmla="*/ 5790 w 5817"/>
                  <a:gd name="connsiteY4" fmla="*/ 3595 h 7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7" h="7684">
                    <a:moveTo>
                      <a:pt x="5818" y="3568"/>
                    </a:moveTo>
                    <a:lnTo>
                      <a:pt x="5214" y="7684"/>
                    </a:lnTo>
                    <a:lnTo>
                      <a:pt x="0" y="3129"/>
                    </a:lnTo>
                    <a:lnTo>
                      <a:pt x="1290" y="0"/>
                    </a:lnTo>
                    <a:lnTo>
                      <a:pt x="5790" y="359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09" name="Freeform: Shape 4508">
                <a:extLst>
                  <a:ext uri="{FF2B5EF4-FFF2-40B4-BE49-F238E27FC236}">
                    <a16:creationId xmlns:a16="http://schemas.microsoft.com/office/drawing/2014/main" id="{CBC24279-8C00-9F2D-84B9-116021E4C96D}"/>
                  </a:ext>
                </a:extLst>
              </p:cNvPr>
              <p:cNvSpPr/>
              <p:nvPr/>
            </p:nvSpPr>
            <p:spPr>
              <a:xfrm>
                <a:off x="1427275" y="3536478"/>
                <a:ext cx="358" cy="1285"/>
              </a:xfrm>
              <a:custGeom>
                <a:avLst/>
                <a:gdLst>
                  <a:gd name="connsiteX0" fmla="*/ 3430 w 3430"/>
                  <a:gd name="connsiteY0" fmla="*/ 7245 h 12321"/>
                  <a:gd name="connsiteX1" fmla="*/ 1235 w 3430"/>
                  <a:gd name="connsiteY1" fmla="*/ 12322 h 12321"/>
                  <a:gd name="connsiteX2" fmla="*/ 0 w 3430"/>
                  <a:gd name="connsiteY2" fmla="*/ 2442 h 12321"/>
                  <a:gd name="connsiteX3" fmla="*/ 961 w 3430"/>
                  <a:gd name="connsiteY3" fmla="*/ 0 h 12321"/>
                  <a:gd name="connsiteX4" fmla="*/ 3430 w 3430"/>
                  <a:gd name="connsiteY4" fmla="*/ 7245 h 1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12321">
                    <a:moveTo>
                      <a:pt x="3430" y="7245"/>
                    </a:moveTo>
                    <a:lnTo>
                      <a:pt x="1235" y="12322"/>
                    </a:lnTo>
                    <a:lnTo>
                      <a:pt x="0" y="2442"/>
                    </a:lnTo>
                    <a:lnTo>
                      <a:pt x="961" y="0"/>
                    </a:lnTo>
                    <a:lnTo>
                      <a:pt x="3430" y="724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0" name="Freeform: Shape 4509">
                <a:extLst>
                  <a:ext uri="{FF2B5EF4-FFF2-40B4-BE49-F238E27FC236}">
                    <a16:creationId xmlns:a16="http://schemas.microsoft.com/office/drawing/2014/main" id="{55F87BDC-28E0-6E51-A118-424045E1BE97}"/>
                  </a:ext>
                </a:extLst>
              </p:cNvPr>
              <p:cNvSpPr/>
              <p:nvPr/>
            </p:nvSpPr>
            <p:spPr>
              <a:xfrm>
                <a:off x="1432851" y="3533381"/>
                <a:ext cx="544" cy="844"/>
              </a:xfrm>
              <a:custGeom>
                <a:avLst/>
                <a:gdLst>
                  <a:gd name="connsiteX0" fmla="*/ 5187 w 5214"/>
                  <a:gd name="connsiteY0" fmla="*/ 5928 h 8095"/>
                  <a:gd name="connsiteX1" fmla="*/ 796 w 5214"/>
                  <a:gd name="connsiteY1" fmla="*/ 8096 h 8095"/>
                  <a:gd name="connsiteX2" fmla="*/ 0 w 5214"/>
                  <a:gd name="connsiteY2" fmla="*/ 5983 h 8095"/>
                  <a:gd name="connsiteX3" fmla="*/ 3046 w 5214"/>
                  <a:gd name="connsiteY3" fmla="*/ 0 h 8095"/>
                  <a:gd name="connsiteX4" fmla="*/ 5215 w 5214"/>
                  <a:gd name="connsiteY4" fmla="*/ 5928 h 8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4" h="8095">
                    <a:moveTo>
                      <a:pt x="5187" y="5928"/>
                    </a:moveTo>
                    <a:lnTo>
                      <a:pt x="796" y="8096"/>
                    </a:lnTo>
                    <a:lnTo>
                      <a:pt x="0" y="5983"/>
                    </a:lnTo>
                    <a:lnTo>
                      <a:pt x="3046" y="0"/>
                    </a:lnTo>
                    <a:lnTo>
                      <a:pt x="5215" y="59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1" name="Freeform: Shape 4510">
                <a:extLst>
                  <a:ext uri="{FF2B5EF4-FFF2-40B4-BE49-F238E27FC236}">
                    <a16:creationId xmlns:a16="http://schemas.microsoft.com/office/drawing/2014/main" id="{07DAFD17-31A6-9274-AF0C-CA4DF85376D9}"/>
                  </a:ext>
                </a:extLst>
              </p:cNvPr>
              <p:cNvSpPr/>
              <p:nvPr/>
            </p:nvSpPr>
            <p:spPr>
              <a:xfrm>
                <a:off x="1444403" y="3532677"/>
                <a:ext cx="498" cy="922"/>
              </a:xfrm>
              <a:custGeom>
                <a:avLst/>
                <a:gdLst>
                  <a:gd name="connsiteX0" fmla="*/ 4775 w 4775"/>
                  <a:gd name="connsiteY0" fmla="*/ 5269 h 8836"/>
                  <a:gd name="connsiteX1" fmla="*/ 1317 w 4775"/>
                  <a:gd name="connsiteY1" fmla="*/ 8837 h 8836"/>
                  <a:gd name="connsiteX2" fmla="*/ 0 w 4775"/>
                  <a:gd name="connsiteY2" fmla="*/ 5214 h 8836"/>
                  <a:gd name="connsiteX3" fmla="*/ 3814 w 4775"/>
                  <a:gd name="connsiteY3" fmla="*/ 0 h 8836"/>
                  <a:gd name="connsiteX4" fmla="*/ 4775 w 4775"/>
                  <a:gd name="connsiteY4" fmla="*/ 5269 h 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 h="8836">
                    <a:moveTo>
                      <a:pt x="4775" y="5269"/>
                    </a:moveTo>
                    <a:lnTo>
                      <a:pt x="1317" y="8837"/>
                    </a:lnTo>
                    <a:lnTo>
                      <a:pt x="0" y="5214"/>
                    </a:lnTo>
                    <a:lnTo>
                      <a:pt x="3814" y="0"/>
                    </a:lnTo>
                    <a:lnTo>
                      <a:pt x="4775" y="5269"/>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2" name="Freeform: Shape 4511">
                <a:extLst>
                  <a:ext uri="{FF2B5EF4-FFF2-40B4-BE49-F238E27FC236}">
                    <a16:creationId xmlns:a16="http://schemas.microsoft.com/office/drawing/2014/main" id="{32396329-2974-D2DA-693D-DD72D1027B5E}"/>
                  </a:ext>
                </a:extLst>
              </p:cNvPr>
              <p:cNvSpPr/>
              <p:nvPr/>
            </p:nvSpPr>
            <p:spPr>
              <a:xfrm>
                <a:off x="1445328" y="3529572"/>
                <a:ext cx="529" cy="853"/>
              </a:xfrm>
              <a:custGeom>
                <a:avLst/>
                <a:gdLst>
                  <a:gd name="connsiteX0" fmla="*/ 4089 w 5076"/>
                  <a:gd name="connsiteY0" fmla="*/ 5900 h 8177"/>
                  <a:gd name="connsiteX1" fmla="*/ 741 w 5076"/>
                  <a:gd name="connsiteY1" fmla="*/ 8178 h 8177"/>
                  <a:gd name="connsiteX2" fmla="*/ 0 w 5076"/>
                  <a:gd name="connsiteY2" fmla="*/ 6065 h 8177"/>
                  <a:gd name="connsiteX3" fmla="*/ 3183 w 5076"/>
                  <a:gd name="connsiteY3" fmla="*/ 0 h 8177"/>
                  <a:gd name="connsiteX4" fmla="*/ 5077 w 5076"/>
                  <a:gd name="connsiteY4" fmla="*/ 1756 h 8177"/>
                  <a:gd name="connsiteX5" fmla="*/ 4089 w 5076"/>
                  <a:gd name="connsiteY5" fmla="*/ 5928 h 8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6" h="8177">
                    <a:moveTo>
                      <a:pt x="4089" y="5900"/>
                    </a:moveTo>
                    <a:lnTo>
                      <a:pt x="741" y="8178"/>
                    </a:lnTo>
                    <a:lnTo>
                      <a:pt x="0" y="6065"/>
                    </a:lnTo>
                    <a:lnTo>
                      <a:pt x="3183" y="0"/>
                    </a:lnTo>
                    <a:lnTo>
                      <a:pt x="5077" y="1756"/>
                    </a:lnTo>
                    <a:lnTo>
                      <a:pt x="4089" y="592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3" name="Freeform: Shape 4512">
                <a:extLst>
                  <a:ext uri="{FF2B5EF4-FFF2-40B4-BE49-F238E27FC236}">
                    <a16:creationId xmlns:a16="http://schemas.microsoft.com/office/drawing/2014/main" id="{D1D5BC69-1A64-479D-799B-1E7BE57CE62A}"/>
                  </a:ext>
                </a:extLst>
              </p:cNvPr>
              <p:cNvSpPr/>
              <p:nvPr/>
            </p:nvSpPr>
            <p:spPr>
              <a:xfrm>
                <a:off x="1416438" y="3548162"/>
                <a:ext cx="335" cy="902"/>
              </a:xfrm>
              <a:custGeom>
                <a:avLst/>
                <a:gdLst>
                  <a:gd name="connsiteX0" fmla="*/ 3184 w 3211"/>
                  <a:gd name="connsiteY0" fmla="*/ 6449 h 8644"/>
                  <a:gd name="connsiteX1" fmla="*/ 1208 w 3211"/>
                  <a:gd name="connsiteY1" fmla="*/ 8644 h 8644"/>
                  <a:gd name="connsiteX2" fmla="*/ 0 w 3211"/>
                  <a:gd name="connsiteY2" fmla="*/ 4309 h 8644"/>
                  <a:gd name="connsiteX3" fmla="*/ 549 w 3211"/>
                  <a:gd name="connsiteY3" fmla="*/ 0 h 8644"/>
                  <a:gd name="connsiteX4" fmla="*/ 2608 w 3211"/>
                  <a:gd name="connsiteY4" fmla="*/ 192 h 8644"/>
                  <a:gd name="connsiteX5" fmla="*/ 3211 w 3211"/>
                  <a:gd name="connsiteY5" fmla="*/ 6477 h 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1" h="8644">
                    <a:moveTo>
                      <a:pt x="3184" y="6449"/>
                    </a:moveTo>
                    <a:lnTo>
                      <a:pt x="1208" y="8644"/>
                    </a:lnTo>
                    <a:lnTo>
                      <a:pt x="0" y="4309"/>
                    </a:lnTo>
                    <a:lnTo>
                      <a:pt x="549" y="0"/>
                    </a:lnTo>
                    <a:lnTo>
                      <a:pt x="2608" y="192"/>
                    </a:lnTo>
                    <a:lnTo>
                      <a:pt x="3211" y="64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4" name="Freeform: Shape 4513">
                <a:extLst>
                  <a:ext uri="{FF2B5EF4-FFF2-40B4-BE49-F238E27FC236}">
                    <a16:creationId xmlns:a16="http://schemas.microsoft.com/office/drawing/2014/main" id="{9388D8ED-9292-489C-0C48-ADABA941CE08}"/>
                  </a:ext>
                </a:extLst>
              </p:cNvPr>
              <p:cNvSpPr/>
              <p:nvPr/>
            </p:nvSpPr>
            <p:spPr>
              <a:xfrm>
                <a:off x="1440350" y="3615158"/>
                <a:ext cx="424" cy="695"/>
              </a:xfrm>
              <a:custGeom>
                <a:avLst/>
                <a:gdLst>
                  <a:gd name="connsiteX0" fmla="*/ 4062 w 4061"/>
                  <a:gd name="connsiteY0" fmla="*/ 5461 h 6668"/>
                  <a:gd name="connsiteX1" fmla="*/ 1482 w 4061"/>
                  <a:gd name="connsiteY1" fmla="*/ 6669 h 6668"/>
                  <a:gd name="connsiteX2" fmla="*/ 0 w 4061"/>
                  <a:gd name="connsiteY2" fmla="*/ 4089 h 6668"/>
                  <a:gd name="connsiteX3" fmla="*/ 2003 w 4061"/>
                  <a:gd name="connsiteY3" fmla="*/ 0 h 6668"/>
                  <a:gd name="connsiteX4" fmla="*/ 4034 w 4061"/>
                  <a:gd name="connsiteY4" fmla="*/ 5461 h 6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6668">
                    <a:moveTo>
                      <a:pt x="4062" y="5461"/>
                    </a:moveTo>
                    <a:lnTo>
                      <a:pt x="1482" y="6669"/>
                    </a:lnTo>
                    <a:lnTo>
                      <a:pt x="0" y="4089"/>
                    </a:lnTo>
                    <a:lnTo>
                      <a:pt x="2003" y="0"/>
                    </a:lnTo>
                    <a:lnTo>
                      <a:pt x="4034" y="546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5" name="Freeform: Shape 4514">
                <a:extLst>
                  <a:ext uri="{FF2B5EF4-FFF2-40B4-BE49-F238E27FC236}">
                    <a16:creationId xmlns:a16="http://schemas.microsoft.com/office/drawing/2014/main" id="{27E0659A-7FFA-23CF-372C-780A14546DBF}"/>
                  </a:ext>
                </a:extLst>
              </p:cNvPr>
              <p:cNvSpPr/>
              <p:nvPr/>
            </p:nvSpPr>
            <p:spPr>
              <a:xfrm>
                <a:off x="1438799" y="3623908"/>
                <a:ext cx="372" cy="564"/>
              </a:xfrm>
              <a:custGeom>
                <a:avLst/>
                <a:gdLst>
                  <a:gd name="connsiteX0" fmla="*/ 2992 w 3567"/>
                  <a:gd name="connsiteY0" fmla="*/ 3650 h 5406"/>
                  <a:gd name="connsiteX1" fmla="*/ 659 w 3567"/>
                  <a:gd name="connsiteY1" fmla="*/ 5406 h 5406"/>
                  <a:gd name="connsiteX2" fmla="*/ 0 w 3567"/>
                  <a:gd name="connsiteY2" fmla="*/ 3485 h 5406"/>
                  <a:gd name="connsiteX3" fmla="*/ 604 w 3567"/>
                  <a:gd name="connsiteY3" fmla="*/ 219 h 5406"/>
                  <a:gd name="connsiteX4" fmla="*/ 3568 w 3567"/>
                  <a:gd name="connsiteY4" fmla="*/ 0 h 5406"/>
                  <a:gd name="connsiteX5" fmla="*/ 3019 w 3567"/>
                  <a:gd name="connsiteY5" fmla="*/ 3677 h 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5406">
                    <a:moveTo>
                      <a:pt x="2992" y="3650"/>
                    </a:moveTo>
                    <a:lnTo>
                      <a:pt x="659" y="5406"/>
                    </a:lnTo>
                    <a:lnTo>
                      <a:pt x="0" y="3485"/>
                    </a:lnTo>
                    <a:lnTo>
                      <a:pt x="604" y="219"/>
                    </a:lnTo>
                    <a:lnTo>
                      <a:pt x="3568" y="0"/>
                    </a:lnTo>
                    <a:lnTo>
                      <a:pt x="3019" y="367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6" name="Freeform: Shape 4515">
                <a:extLst>
                  <a:ext uri="{FF2B5EF4-FFF2-40B4-BE49-F238E27FC236}">
                    <a16:creationId xmlns:a16="http://schemas.microsoft.com/office/drawing/2014/main" id="{CBFD3967-02BD-56D2-7C2A-B73F8726015D}"/>
                  </a:ext>
                </a:extLst>
              </p:cNvPr>
              <p:cNvSpPr/>
              <p:nvPr/>
            </p:nvSpPr>
            <p:spPr>
              <a:xfrm>
                <a:off x="1427785" y="3716433"/>
                <a:ext cx="1451" cy="1574"/>
              </a:xfrm>
              <a:custGeom>
                <a:avLst/>
                <a:gdLst>
                  <a:gd name="connsiteX0" fmla="*/ 8480 w 13913"/>
                  <a:gd name="connsiteY0" fmla="*/ 5351 h 15093"/>
                  <a:gd name="connsiteX1" fmla="*/ 8480 w 13913"/>
                  <a:gd name="connsiteY1" fmla="*/ 7849 h 15093"/>
                  <a:gd name="connsiteX2" fmla="*/ 9825 w 13913"/>
                  <a:gd name="connsiteY2" fmla="*/ 7053 h 15093"/>
                  <a:gd name="connsiteX3" fmla="*/ 13914 w 13913"/>
                  <a:gd name="connsiteY3" fmla="*/ 13392 h 15093"/>
                  <a:gd name="connsiteX4" fmla="*/ 13337 w 13913"/>
                  <a:gd name="connsiteY4" fmla="*/ 15094 h 15093"/>
                  <a:gd name="connsiteX5" fmla="*/ 10675 w 13913"/>
                  <a:gd name="connsiteY5" fmla="*/ 14901 h 15093"/>
                  <a:gd name="connsiteX6" fmla="*/ 7848 w 13913"/>
                  <a:gd name="connsiteY6" fmla="*/ 13118 h 15093"/>
                  <a:gd name="connsiteX7" fmla="*/ 6614 w 13913"/>
                  <a:gd name="connsiteY7" fmla="*/ 14106 h 15093"/>
                  <a:gd name="connsiteX8" fmla="*/ 2992 w 13913"/>
                  <a:gd name="connsiteY8" fmla="*/ 11444 h 15093"/>
                  <a:gd name="connsiteX9" fmla="*/ 0 w 13913"/>
                  <a:gd name="connsiteY9" fmla="*/ 10456 h 15093"/>
                  <a:gd name="connsiteX10" fmla="*/ 1811 w 13913"/>
                  <a:gd name="connsiteY10" fmla="*/ 5214 h 15093"/>
                  <a:gd name="connsiteX11" fmla="*/ 4391 w 13913"/>
                  <a:gd name="connsiteY11" fmla="*/ 5845 h 15093"/>
                  <a:gd name="connsiteX12" fmla="*/ 5708 w 13913"/>
                  <a:gd name="connsiteY12" fmla="*/ 4775 h 15093"/>
                  <a:gd name="connsiteX13" fmla="*/ 5818 w 13913"/>
                  <a:gd name="connsiteY13" fmla="*/ 0 h 15093"/>
                  <a:gd name="connsiteX14" fmla="*/ 7108 w 13913"/>
                  <a:gd name="connsiteY14" fmla="*/ 192 h 15093"/>
                  <a:gd name="connsiteX15" fmla="*/ 8453 w 13913"/>
                  <a:gd name="connsiteY15" fmla="*/ 5351 h 1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913" h="15093">
                    <a:moveTo>
                      <a:pt x="8480" y="5351"/>
                    </a:moveTo>
                    <a:lnTo>
                      <a:pt x="8480" y="7849"/>
                    </a:lnTo>
                    <a:cubicBezTo>
                      <a:pt x="8480" y="7849"/>
                      <a:pt x="9825" y="7053"/>
                      <a:pt x="9825" y="7053"/>
                    </a:cubicBezTo>
                    <a:lnTo>
                      <a:pt x="13914" y="13392"/>
                    </a:lnTo>
                    <a:lnTo>
                      <a:pt x="13337" y="15094"/>
                    </a:lnTo>
                    <a:lnTo>
                      <a:pt x="10675" y="14901"/>
                    </a:lnTo>
                    <a:lnTo>
                      <a:pt x="7848" y="13118"/>
                    </a:lnTo>
                    <a:lnTo>
                      <a:pt x="6614" y="14106"/>
                    </a:lnTo>
                    <a:lnTo>
                      <a:pt x="2992" y="11444"/>
                    </a:lnTo>
                    <a:lnTo>
                      <a:pt x="0" y="10456"/>
                    </a:lnTo>
                    <a:lnTo>
                      <a:pt x="1811" y="5214"/>
                    </a:lnTo>
                    <a:lnTo>
                      <a:pt x="4391" y="5845"/>
                    </a:lnTo>
                    <a:lnTo>
                      <a:pt x="5708" y="4775"/>
                    </a:lnTo>
                    <a:lnTo>
                      <a:pt x="5818" y="0"/>
                    </a:lnTo>
                    <a:lnTo>
                      <a:pt x="7108" y="192"/>
                    </a:lnTo>
                    <a:lnTo>
                      <a:pt x="8453" y="535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7" name="Freeform: Shape 4516">
                <a:extLst>
                  <a:ext uri="{FF2B5EF4-FFF2-40B4-BE49-F238E27FC236}">
                    <a16:creationId xmlns:a16="http://schemas.microsoft.com/office/drawing/2014/main" id="{1B620828-A96C-5125-F916-322E348FFADD}"/>
                  </a:ext>
                </a:extLst>
              </p:cNvPr>
              <p:cNvSpPr/>
              <p:nvPr/>
            </p:nvSpPr>
            <p:spPr>
              <a:xfrm>
                <a:off x="1442251" y="3710399"/>
                <a:ext cx="1119" cy="773"/>
              </a:xfrm>
              <a:custGeom>
                <a:avLst/>
                <a:gdLst>
                  <a:gd name="connsiteX0" fmla="*/ 3348 w 10729"/>
                  <a:gd name="connsiteY0" fmla="*/ 0 h 7409"/>
                  <a:gd name="connsiteX1" fmla="*/ 7162 w 10729"/>
                  <a:gd name="connsiteY1" fmla="*/ 1235 h 7409"/>
                  <a:gd name="connsiteX2" fmla="*/ 10126 w 10729"/>
                  <a:gd name="connsiteY2" fmla="*/ 110 h 7409"/>
                  <a:gd name="connsiteX3" fmla="*/ 10730 w 10729"/>
                  <a:gd name="connsiteY3" fmla="*/ 1070 h 7409"/>
                  <a:gd name="connsiteX4" fmla="*/ 8507 w 10729"/>
                  <a:gd name="connsiteY4" fmla="*/ 7053 h 7409"/>
                  <a:gd name="connsiteX5" fmla="*/ 5296 w 10729"/>
                  <a:gd name="connsiteY5" fmla="*/ 3787 h 7409"/>
                  <a:gd name="connsiteX6" fmla="*/ 3375 w 10729"/>
                  <a:gd name="connsiteY6" fmla="*/ 7410 h 7409"/>
                  <a:gd name="connsiteX7" fmla="*/ 0 w 10729"/>
                  <a:gd name="connsiteY7" fmla="*/ 3211 h 7409"/>
                  <a:gd name="connsiteX8" fmla="*/ 549 w 10729"/>
                  <a:gd name="connsiteY8" fmla="*/ 631 h 7409"/>
                  <a:gd name="connsiteX9" fmla="*/ 3403 w 10729"/>
                  <a:gd name="connsiteY9" fmla="*/ 0 h 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9" h="7409">
                    <a:moveTo>
                      <a:pt x="3348" y="0"/>
                    </a:moveTo>
                    <a:lnTo>
                      <a:pt x="7162" y="1235"/>
                    </a:lnTo>
                    <a:lnTo>
                      <a:pt x="10126" y="110"/>
                    </a:lnTo>
                    <a:lnTo>
                      <a:pt x="10730" y="1070"/>
                    </a:lnTo>
                    <a:lnTo>
                      <a:pt x="8507" y="7053"/>
                    </a:lnTo>
                    <a:lnTo>
                      <a:pt x="5296" y="3787"/>
                    </a:lnTo>
                    <a:lnTo>
                      <a:pt x="3375" y="7410"/>
                    </a:lnTo>
                    <a:lnTo>
                      <a:pt x="0" y="3211"/>
                    </a:lnTo>
                    <a:lnTo>
                      <a:pt x="549" y="631"/>
                    </a:lnTo>
                    <a:lnTo>
                      <a:pt x="3403"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8" name="Freeform: Shape 4517">
                <a:extLst>
                  <a:ext uri="{FF2B5EF4-FFF2-40B4-BE49-F238E27FC236}">
                    <a16:creationId xmlns:a16="http://schemas.microsoft.com/office/drawing/2014/main" id="{C88B82F3-85D6-875B-AEA0-964617373F18}"/>
                  </a:ext>
                </a:extLst>
              </p:cNvPr>
              <p:cNvSpPr/>
              <p:nvPr/>
            </p:nvSpPr>
            <p:spPr>
              <a:xfrm>
                <a:off x="1440330" y="3714415"/>
                <a:ext cx="807" cy="942"/>
              </a:xfrm>
              <a:custGeom>
                <a:avLst/>
                <a:gdLst>
                  <a:gd name="connsiteX0" fmla="*/ 7738 w 7738"/>
                  <a:gd name="connsiteY0" fmla="*/ 7218 h 9028"/>
                  <a:gd name="connsiteX1" fmla="*/ 5818 w 7738"/>
                  <a:gd name="connsiteY1" fmla="*/ 9029 h 9028"/>
                  <a:gd name="connsiteX2" fmla="*/ 3073 w 7738"/>
                  <a:gd name="connsiteY2" fmla="*/ 7108 h 9028"/>
                  <a:gd name="connsiteX3" fmla="*/ 3787 w 7738"/>
                  <a:gd name="connsiteY3" fmla="*/ 5818 h 9028"/>
                  <a:gd name="connsiteX4" fmla="*/ 0 w 7738"/>
                  <a:gd name="connsiteY4" fmla="*/ 3897 h 9028"/>
                  <a:gd name="connsiteX5" fmla="*/ 1729 w 7738"/>
                  <a:gd name="connsiteY5" fmla="*/ 0 h 9028"/>
                  <a:gd name="connsiteX6" fmla="*/ 4418 w 7738"/>
                  <a:gd name="connsiteY6" fmla="*/ 1949 h 9028"/>
                  <a:gd name="connsiteX7" fmla="*/ 4281 w 7738"/>
                  <a:gd name="connsiteY7" fmla="*/ 4144 h 9028"/>
                  <a:gd name="connsiteX8" fmla="*/ 7738 w 7738"/>
                  <a:gd name="connsiteY8" fmla="*/ 7218 h 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38" h="9028">
                    <a:moveTo>
                      <a:pt x="7738" y="7218"/>
                    </a:moveTo>
                    <a:lnTo>
                      <a:pt x="5818" y="9029"/>
                    </a:lnTo>
                    <a:lnTo>
                      <a:pt x="3073" y="7108"/>
                    </a:lnTo>
                    <a:lnTo>
                      <a:pt x="3787" y="5818"/>
                    </a:lnTo>
                    <a:lnTo>
                      <a:pt x="0" y="3897"/>
                    </a:lnTo>
                    <a:lnTo>
                      <a:pt x="1729" y="0"/>
                    </a:lnTo>
                    <a:lnTo>
                      <a:pt x="4418" y="1949"/>
                    </a:lnTo>
                    <a:lnTo>
                      <a:pt x="4281" y="4144"/>
                    </a:lnTo>
                    <a:lnTo>
                      <a:pt x="7738" y="721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19" name="Freeform: Shape 4518">
                <a:extLst>
                  <a:ext uri="{FF2B5EF4-FFF2-40B4-BE49-F238E27FC236}">
                    <a16:creationId xmlns:a16="http://schemas.microsoft.com/office/drawing/2014/main" id="{11E6BBA3-1201-1E5D-A20E-203CCD24E909}"/>
                  </a:ext>
                </a:extLst>
              </p:cNvPr>
              <p:cNvSpPr/>
              <p:nvPr/>
            </p:nvSpPr>
            <p:spPr>
              <a:xfrm>
                <a:off x="1440625" y="3707165"/>
                <a:ext cx="744" cy="947"/>
              </a:xfrm>
              <a:custGeom>
                <a:avLst/>
                <a:gdLst>
                  <a:gd name="connsiteX0" fmla="*/ 7135 w 7135"/>
                  <a:gd name="connsiteY0" fmla="*/ 6559 h 9083"/>
                  <a:gd name="connsiteX1" fmla="*/ 2772 w 7135"/>
                  <a:gd name="connsiteY1" fmla="*/ 9083 h 9083"/>
                  <a:gd name="connsiteX2" fmla="*/ 2772 w 7135"/>
                  <a:gd name="connsiteY2" fmla="*/ 7711 h 9083"/>
                  <a:gd name="connsiteX3" fmla="*/ 357 w 7135"/>
                  <a:gd name="connsiteY3" fmla="*/ 6422 h 9083"/>
                  <a:gd name="connsiteX4" fmla="*/ 0 w 7135"/>
                  <a:gd name="connsiteY4" fmla="*/ 4391 h 9083"/>
                  <a:gd name="connsiteX5" fmla="*/ 1400 w 7135"/>
                  <a:gd name="connsiteY5" fmla="*/ 1317 h 9083"/>
                  <a:gd name="connsiteX6" fmla="*/ 3870 w 7135"/>
                  <a:gd name="connsiteY6" fmla="*/ 0 h 9083"/>
                  <a:gd name="connsiteX7" fmla="*/ 7135 w 7135"/>
                  <a:gd name="connsiteY7" fmla="*/ 3129 h 9083"/>
                  <a:gd name="connsiteX8" fmla="*/ 7135 w 7135"/>
                  <a:gd name="connsiteY8" fmla="*/ 6531 h 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5" h="9083">
                    <a:moveTo>
                      <a:pt x="7135" y="6559"/>
                    </a:moveTo>
                    <a:lnTo>
                      <a:pt x="2772" y="9083"/>
                    </a:lnTo>
                    <a:lnTo>
                      <a:pt x="2772" y="7711"/>
                    </a:lnTo>
                    <a:cubicBezTo>
                      <a:pt x="2772" y="7711"/>
                      <a:pt x="357" y="6422"/>
                      <a:pt x="357" y="6422"/>
                    </a:cubicBezTo>
                    <a:lnTo>
                      <a:pt x="0" y="4391"/>
                    </a:lnTo>
                    <a:lnTo>
                      <a:pt x="1400" y="1317"/>
                    </a:lnTo>
                    <a:lnTo>
                      <a:pt x="3870" y="0"/>
                    </a:lnTo>
                    <a:lnTo>
                      <a:pt x="7135" y="3129"/>
                    </a:lnTo>
                    <a:lnTo>
                      <a:pt x="7135" y="65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0" name="Freeform: Shape 4519">
                <a:extLst>
                  <a:ext uri="{FF2B5EF4-FFF2-40B4-BE49-F238E27FC236}">
                    <a16:creationId xmlns:a16="http://schemas.microsoft.com/office/drawing/2014/main" id="{2BA7910B-BE20-2628-D358-EFCAFF59E162}"/>
                  </a:ext>
                </a:extLst>
              </p:cNvPr>
              <p:cNvSpPr/>
              <p:nvPr/>
            </p:nvSpPr>
            <p:spPr>
              <a:xfrm>
                <a:off x="1428452" y="3714948"/>
                <a:ext cx="601" cy="965"/>
              </a:xfrm>
              <a:custGeom>
                <a:avLst/>
                <a:gdLst>
                  <a:gd name="connsiteX0" fmla="*/ 5763 w 5762"/>
                  <a:gd name="connsiteY0" fmla="*/ 8041 h 9248"/>
                  <a:gd name="connsiteX1" fmla="*/ 1729 w 5762"/>
                  <a:gd name="connsiteY1" fmla="*/ 9248 h 9248"/>
                  <a:gd name="connsiteX2" fmla="*/ 82 w 5762"/>
                  <a:gd name="connsiteY2" fmla="*/ 8260 h 9248"/>
                  <a:gd name="connsiteX3" fmla="*/ 0 w 5762"/>
                  <a:gd name="connsiteY3" fmla="*/ 6257 h 9248"/>
                  <a:gd name="connsiteX4" fmla="*/ 1262 w 5762"/>
                  <a:gd name="connsiteY4" fmla="*/ 2470 h 9248"/>
                  <a:gd name="connsiteX5" fmla="*/ 2689 w 5762"/>
                  <a:gd name="connsiteY5" fmla="*/ 522 h 9248"/>
                  <a:gd name="connsiteX6" fmla="*/ 4720 w 5762"/>
                  <a:gd name="connsiteY6" fmla="*/ 0 h 9248"/>
                  <a:gd name="connsiteX7" fmla="*/ 5735 w 5762"/>
                  <a:gd name="connsiteY7" fmla="*/ 8041 h 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62" h="9248">
                    <a:moveTo>
                      <a:pt x="5763" y="8041"/>
                    </a:moveTo>
                    <a:lnTo>
                      <a:pt x="1729" y="9248"/>
                    </a:lnTo>
                    <a:lnTo>
                      <a:pt x="82" y="8260"/>
                    </a:lnTo>
                    <a:lnTo>
                      <a:pt x="0" y="6257"/>
                    </a:lnTo>
                    <a:lnTo>
                      <a:pt x="1262" y="2470"/>
                    </a:lnTo>
                    <a:lnTo>
                      <a:pt x="2689" y="522"/>
                    </a:lnTo>
                    <a:lnTo>
                      <a:pt x="4720" y="0"/>
                    </a:lnTo>
                    <a:lnTo>
                      <a:pt x="5735" y="80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1" name="Freeform: Shape 4520">
                <a:extLst>
                  <a:ext uri="{FF2B5EF4-FFF2-40B4-BE49-F238E27FC236}">
                    <a16:creationId xmlns:a16="http://schemas.microsoft.com/office/drawing/2014/main" id="{D7B300F8-3236-6921-A3DE-BF13B4AF4EDD}"/>
                  </a:ext>
                </a:extLst>
              </p:cNvPr>
              <p:cNvSpPr/>
              <p:nvPr/>
            </p:nvSpPr>
            <p:spPr>
              <a:xfrm>
                <a:off x="1438690" y="3713236"/>
                <a:ext cx="449" cy="844"/>
              </a:xfrm>
              <a:custGeom>
                <a:avLst/>
                <a:gdLst>
                  <a:gd name="connsiteX0" fmla="*/ 4253 w 4308"/>
                  <a:gd name="connsiteY0" fmla="*/ 6833 h 8095"/>
                  <a:gd name="connsiteX1" fmla="*/ 2881 w 4308"/>
                  <a:gd name="connsiteY1" fmla="*/ 8096 h 8095"/>
                  <a:gd name="connsiteX2" fmla="*/ 795 w 4308"/>
                  <a:gd name="connsiteY2" fmla="*/ 5928 h 8095"/>
                  <a:gd name="connsiteX3" fmla="*/ 1481 w 4308"/>
                  <a:gd name="connsiteY3" fmla="*/ 3623 h 8095"/>
                  <a:gd name="connsiteX4" fmla="*/ 0 w 4308"/>
                  <a:gd name="connsiteY4" fmla="*/ 2744 h 8095"/>
                  <a:gd name="connsiteX5" fmla="*/ 1729 w 4308"/>
                  <a:gd name="connsiteY5" fmla="*/ 0 h 8095"/>
                  <a:gd name="connsiteX6" fmla="*/ 2689 w 4308"/>
                  <a:gd name="connsiteY6" fmla="*/ 3458 h 8095"/>
                  <a:gd name="connsiteX7" fmla="*/ 4308 w 4308"/>
                  <a:gd name="connsiteY7" fmla="*/ 4089 h 8095"/>
                  <a:gd name="connsiteX8" fmla="*/ 4253 w 4308"/>
                  <a:gd name="connsiteY8" fmla="*/ 6833 h 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8" h="8095">
                    <a:moveTo>
                      <a:pt x="4253" y="6833"/>
                    </a:moveTo>
                    <a:lnTo>
                      <a:pt x="2881" y="8096"/>
                    </a:lnTo>
                    <a:lnTo>
                      <a:pt x="795" y="5928"/>
                    </a:lnTo>
                    <a:lnTo>
                      <a:pt x="1481" y="3623"/>
                    </a:lnTo>
                    <a:lnTo>
                      <a:pt x="0" y="2744"/>
                    </a:lnTo>
                    <a:lnTo>
                      <a:pt x="1729" y="0"/>
                    </a:lnTo>
                    <a:lnTo>
                      <a:pt x="2689" y="3458"/>
                    </a:lnTo>
                    <a:lnTo>
                      <a:pt x="4308" y="4089"/>
                    </a:lnTo>
                    <a:lnTo>
                      <a:pt x="4253" y="683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2" name="Freeform: Shape 4521">
                <a:extLst>
                  <a:ext uri="{FF2B5EF4-FFF2-40B4-BE49-F238E27FC236}">
                    <a16:creationId xmlns:a16="http://schemas.microsoft.com/office/drawing/2014/main" id="{A44FE0A6-19D6-882A-9EBF-6589A058466B}"/>
                  </a:ext>
                </a:extLst>
              </p:cNvPr>
              <p:cNvSpPr/>
              <p:nvPr/>
            </p:nvSpPr>
            <p:spPr>
              <a:xfrm>
                <a:off x="1428658" y="3716456"/>
                <a:ext cx="472" cy="610"/>
              </a:xfrm>
              <a:custGeom>
                <a:avLst/>
                <a:gdLst>
                  <a:gd name="connsiteX0" fmla="*/ 4528 w 4527"/>
                  <a:gd name="connsiteY0" fmla="*/ 5708 h 5845"/>
                  <a:gd name="connsiteX1" fmla="*/ 2141 w 4527"/>
                  <a:gd name="connsiteY1" fmla="*/ 5845 h 5845"/>
                  <a:gd name="connsiteX2" fmla="*/ 0 w 4527"/>
                  <a:gd name="connsiteY2" fmla="*/ 0 h 5845"/>
                  <a:gd name="connsiteX3" fmla="*/ 2525 w 4527"/>
                  <a:gd name="connsiteY3" fmla="*/ 659 h 5845"/>
                  <a:gd name="connsiteX4" fmla="*/ 2058 w 4527"/>
                  <a:gd name="connsiteY4" fmla="*/ 1976 h 5845"/>
                  <a:gd name="connsiteX5" fmla="*/ 4528 w 4527"/>
                  <a:gd name="connsiteY5" fmla="*/ 5708 h 5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7" h="5845">
                    <a:moveTo>
                      <a:pt x="4528" y="5708"/>
                    </a:moveTo>
                    <a:lnTo>
                      <a:pt x="2141" y="5845"/>
                    </a:lnTo>
                    <a:lnTo>
                      <a:pt x="0" y="0"/>
                    </a:lnTo>
                    <a:lnTo>
                      <a:pt x="2525" y="659"/>
                    </a:lnTo>
                    <a:lnTo>
                      <a:pt x="2058" y="1976"/>
                    </a:lnTo>
                    <a:lnTo>
                      <a:pt x="4528" y="570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3" name="Freeform: Shape 4522">
                <a:extLst>
                  <a:ext uri="{FF2B5EF4-FFF2-40B4-BE49-F238E27FC236}">
                    <a16:creationId xmlns:a16="http://schemas.microsoft.com/office/drawing/2014/main" id="{1624B70A-7944-A10C-83D5-7ECED8789C9C}"/>
                  </a:ext>
                </a:extLst>
              </p:cNvPr>
              <p:cNvSpPr/>
              <p:nvPr/>
            </p:nvSpPr>
            <p:spPr>
              <a:xfrm>
                <a:off x="1441950" y="3712040"/>
                <a:ext cx="372" cy="561"/>
              </a:xfrm>
              <a:custGeom>
                <a:avLst/>
                <a:gdLst>
                  <a:gd name="connsiteX0" fmla="*/ 3568 w 3567"/>
                  <a:gd name="connsiteY0" fmla="*/ 1674 h 5378"/>
                  <a:gd name="connsiteX1" fmla="*/ 659 w 3567"/>
                  <a:gd name="connsiteY1" fmla="*/ 5379 h 5378"/>
                  <a:gd name="connsiteX2" fmla="*/ 0 w 3567"/>
                  <a:gd name="connsiteY2" fmla="*/ 3183 h 5378"/>
                  <a:gd name="connsiteX3" fmla="*/ 1455 w 3567"/>
                  <a:gd name="connsiteY3" fmla="*/ 0 h 5378"/>
                  <a:gd name="connsiteX4" fmla="*/ 3568 w 3567"/>
                  <a:gd name="connsiteY4" fmla="*/ 1701 h 5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 h="5378">
                    <a:moveTo>
                      <a:pt x="3568" y="1674"/>
                    </a:moveTo>
                    <a:lnTo>
                      <a:pt x="659" y="5379"/>
                    </a:lnTo>
                    <a:lnTo>
                      <a:pt x="0" y="3183"/>
                    </a:lnTo>
                    <a:lnTo>
                      <a:pt x="1455" y="0"/>
                    </a:lnTo>
                    <a:lnTo>
                      <a:pt x="3568" y="170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4" name="Freeform: Shape 4523">
                <a:extLst>
                  <a:ext uri="{FF2B5EF4-FFF2-40B4-BE49-F238E27FC236}">
                    <a16:creationId xmlns:a16="http://schemas.microsoft.com/office/drawing/2014/main" id="{F407D370-80D0-64B9-0A2C-179A7CBC0D4B}"/>
                  </a:ext>
                </a:extLst>
              </p:cNvPr>
              <p:cNvSpPr/>
              <p:nvPr/>
            </p:nvSpPr>
            <p:spPr>
              <a:xfrm>
                <a:off x="1439022" y="3712746"/>
                <a:ext cx="404" cy="444"/>
              </a:xfrm>
              <a:custGeom>
                <a:avLst/>
                <a:gdLst>
                  <a:gd name="connsiteX0" fmla="*/ 3842 w 3869"/>
                  <a:gd name="connsiteY0" fmla="*/ 1564 h 4253"/>
                  <a:gd name="connsiteX1" fmla="*/ 3183 w 3869"/>
                  <a:gd name="connsiteY1" fmla="*/ 4253 h 4253"/>
                  <a:gd name="connsiteX2" fmla="*/ 0 w 3869"/>
                  <a:gd name="connsiteY2" fmla="*/ 3705 h 4253"/>
                  <a:gd name="connsiteX3" fmla="*/ 2470 w 3869"/>
                  <a:gd name="connsiteY3" fmla="*/ 0 h 4253"/>
                  <a:gd name="connsiteX4" fmla="*/ 3869 w 3869"/>
                  <a:gd name="connsiteY4" fmla="*/ 1564 h 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 h="4253">
                    <a:moveTo>
                      <a:pt x="3842" y="1564"/>
                    </a:moveTo>
                    <a:lnTo>
                      <a:pt x="3183" y="4253"/>
                    </a:lnTo>
                    <a:lnTo>
                      <a:pt x="0" y="3705"/>
                    </a:lnTo>
                    <a:lnTo>
                      <a:pt x="2470" y="0"/>
                    </a:lnTo>
                    <a:lnTo>
                      <a:pt x="3869" y="156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5" name="Freeform: Shape 4524">
                <a:extLst>
                  <a:ext uri="{FF2B5EF4-FFF2-40B4-BE49-F238E27FC236}">
                    <a16:creationId xmlns:a16="http://schemas.microsoft.com/office/drawing/2014/main" id="{FB05DEA1-BE81-8846-4976-AFA1A66CB7CC}"/>
                  </a:ext>
                </a:extLst>
              </p:cNvPr>
              <p:cNvSpPr/>
              <p:nvPr/>
            </p:nvSpPr>
            <p:spPr>
              <a:xfrm>
                <a:off x="1429368" y="3715712"/>
                <a:ext cx="300" cy="518"/>
              </a:xfrm>
              <a:custGeom>
                <a:avLst/>
                <a:gdLst>
                  <a:gd name="connsiteX0" fmla="*/ 2854 w 2881"/>
                  <a:gd name="connsiteY0" fmla="*/ 2141 h 4967"/>
                  <a:gd name="connsiteX1" fmla="*/ 1097 w 2881"/>
                  <a:gd name="connsiteY1" fmla="*/ 4967 h 4967"/>
                  <a:gd name="connsiteX2" fmla="*/ 0 w 2881"/>
                  <a:gd name="connsiteY2" fmla="*/ 2086 h 4967"/>
                  <a:gd name="connsiteX3" fmla="*/ 1015 w 2881"/>
                  <a:gd name="connsiteY3" fmla="*/ 0 h 4967"/>
                  <a:gd name="connsiteX4" fmla="*/ 2882 w 2881"/>
                  <a:gd name="connsiteY4" fmla="*/ 192 h 4967"/>
                  <a:gd name="connsiteX5" fmla="*/ 2827 w 2881"/>
                  <a:gd name="connsiteY5" fmla="*/ 2141 h 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1" h="4967">
                    <a:moveTo>
                      <a:pt x="2854" y="2141"/>
                    </a:moveTo>
                    <a:lnTo>
                      <a:pt x="1097" y="4967"/>
                    </a:lnTo>
                    <a:lnTo>
                      <a:pt x="0" y="2086"/>
                    </a:lnTo>
                    <a:lnTo>
                      <a:pt x="1015" y="0"/>
                    </a:lnTo>
                    <a:lnTo>
                      <a:pt x="2882" y="192"/>
                    </a:lnTo>
                    <a:lnTo>
                      <a:pt x="2827" y="214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6" name="Freeform: Shape 4525">
                <a:extLst>
                  <a:ext uri="{FF2B5EF4-FFF2-40B4-BE49-F238E27FC236}">
                    <a16:creationId xmlns:a16="http://schemas.microsoft.com/office/drawing/2014/main" id="{EDC74E65-8143-32CE-2675-D5FAF1364761}"/>
                  </a:ext>
                </a:extLst>
              </p:cNvPr>
              <p:cNvSpPr/>
              <p:nvPr/>
            </p:nvSpPr>
            <p:spPr>
              <a:xfrm>
                <a:off x="1369614" y="3715271"/>
                <a:ext cx="750" cy="567"/>
              </a:xfrm>
              <a:custGeom>
                <a:avLst/>
                <a:gdLst>
                  <a:gd name="connsiteX0" fmla="*/ 2003 w 7190"/>
                  <a:gd name="connsiteY0" fmla="*/ 0 h 5433"/>
                  <a:gd name="connsiteX1" fmla="*/ 4226 w 7190"/>
                  <a:gd name="connsiteY1" fmla="*/ 2799 h 5433"/>
                  <a:gd name="connsiteX2" fmla="*/ 5982 w 7190"/>
                  <a:gd name="connsiteY2" fmla="*/ 1235 h 5433"/>
                  <a:gd name="connsiteX3" fmla="*/ 7190 w 7190"/>
                  <a:gd name="connsiteY3" fmla="*/ 4309 h 5433"/>
                  <a:gd name="connsiteX4" fmla="*/ 4528 w 7190"/>
                  <a:gd name="connsiteY4" fmla="*/ 5434 h 5433"/>
                  <a:gd name="connsiteX5" fmla="*/ 2799 w 7190"/>
                  <a:gd name="connsiteY5" fmla="*/ 2964 h 5433"/>
                  <a:gd name="connsiteX6" fmla="*/ 219 w 7190"/>
                  <a:gd name="connsiteY6" fmla="*/ 5022 h 5433"/>
                  <a:gd name="connsiteX7" fmla="*/ 0 w 7190"/>
                  <a:gd name="connsiteY7" fmla="*/ 2937 h 5433"/>
                  <a:gd name="connsiteX8" fmla="*/ 1976 w 7190"/>
                  <a:gd name="connsiteY8" fmla="*/ 0 h 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0" h="5433">
                    <a:moveTo>
                      <a:pt x="2003" y="0"/>
                    </a:moveTo>
                    <a:lnTo>
                      <a:pt x="4226" y="2799"/>
                    </a:lnTo>
                    <a:lnTo>
                      <a:pt x="5982" y="1235"/>
                    </a:lnTo>
                    <a:lnTo>
                      <a:pt x="7190" y="4309"/>
                    </a:lnTo>
                    <a:lnTo>
                      <a:pt x="4528" y="5434"/>
                    </a:lnTo>
                    <a:lnTo>
                      <a:pt x="2799" y="2964"/>
                    </a:lnTo>
                    <a:lnTo>
                      <a:pt x="219" y="5022"/>
                    </a:lnTo>
                    <a:lnTo>
                      <a:pt x="0" y="2937"/>
                    </a:lnTo>
                    <a:lnTo>
                      <a:pt x="1976"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7" name="Freeform: Shape 4526">
                <a:extLst>
                  <a:ext uri="{FF2B5EF4-FFF2-40B4-BE49-F238E27FC236}">
                    <a16:creationId xmlns:a16="http://schemas.microsoft.com/office/drawing/2014/main" id="{4545D4C9-7A42-5384-CA06-54C976589B7D}"/>
                  </a:ext>
                </a:extLst>
              </p:cNvPr>
              <p:cNvSpPr/>
              <p:nvPr/>
            </p:nvSpPr>
            <p:spPr>
              <a:xfrm>
                <a:off x="1440791" y="3579024"/>
                <a:ext cx="896" cy="1065"/>
              </a:xfrm>
              <a:custGeom>
                <a:avLst/>
                <a:gdLst>
                  <a:gd name="connsiteX0" fmla="*/ 8563 w 8590"/>
                  <a:gd name="connsiteY0" fmla="*/ 7355 h 10208"/>
                  <a:gd name="connsiteX1" fmla="*/ 6037 w 8590"/>
                  <a:gd name="connsiteY1" fmla="*/ 10209 h 10208"/>
                  <a:gd name="connsiteX2" fmla="*/ 0 w 8590"/>
                  <a:gd name="connsiteY2" fmla="*/ 6092 h 10208"/>
                  <a:gd name="connsiteX3" fmla="*/ 0 w 8590"/>
                  <a:gd name="connsiteY3" fmla="*/ 3019 h 10208"/>
                  <a:gd name="connsiteX4" fmla="*/ 7986 w 8590"/>
                  <a:gd name="connsiteY4" fmla="*/ 0 h 10208"/>
                  <a:gd name="connsiteX5" fmla="*/ 8590 w 8590"/>
                  <a:gd name="connsiteY5" fmla="*/ 7327 h 1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0" h="10208">
                    <a:moveTo>
                      <a:pt x="8563" y="7355"/>
                    </a:moveTo>
                    <a:lnTo>
                      <a:pt x="6037" y="10209"/>
                    </a:lnTo>
                    <a:lnTo>
                      <a:pt x="0" y="6092"/>
                    </a:lnTo>
                    <a:lnTo>
                      <a:pt x="0" y="3019"/>
                    </a:lnTo>
                    <a:lnTo>
                      <a:pt x="7986" y="0"/>
                    </a:lnTo>
                    <a:lnTo>
                      <a:pt x="8590" y="73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8" name="Freeform: Shape 4527">
                <a:extLst>
                  <a:ext uri="{FF2B5EF4-FFF2-40B4-BE49-F238E27FC236}">
                    <a16:creationId xmlns:a16="http://schemas.microsoft.com/office/drawing/2014/main" id="{7455ED8A-3E46-9E22-D2B0-1AD98D52E399}"/>
                  </a:ext>
                </a:extLst>
              </p:cNvPr>
              <p:cNvSpPr/>
              <p:nvPr/>
            </p:nvSpPr>
            <p:spPr>
              <a:xfrm>
                <a:off x="1403558" y="3717174"/>
                <a:ext cx="9575" cy="6177"/>
              </a:xfrm>
              <a:custGeom>
                <a:avLst/>
                <a:gdLst>
                  <a:gd name="connsiteX0" fmla="*/ 91166 w 91797"/>
                  <a:gd name="connsiteY0" fmla="*/ 4967 h 59221"/>
                  <a:gd name="connsiteX1" fmla="*/ 82851 w 91797"/>
                  <a:gd name="connsiteY1" fmla="*/ 17619 h 59221"/>
                  <a:gd name="connsiteX2" fmla="*/ 78076 w 91797"/>
                  <a:gd name="connsiteY2" fmla="*/ 29940 h 59221"/>
                  <a:gd name="connsiteX3" fmla="*/ 77938 w 91797"/>
                  <a:gd name="connsiteY3" fmla="*/ 34304 h 59221"/>
                  <a:gd name="connsiteX4" fmla="*/ 81918 w 91797"/>
                  <a:gd name="connsiteY4" fmla="*/ 37844 h 59221"/>
                  <a:gd name="connsiteX5" fmla="*/ 81286 w 91797"/>
                  <a:gd name="connsiteY5" fmla="*/ 40835 h 59221"/>
                  <a:gd name="connsiteX6" fmla="*/ 84031 w 91797"/>
                  <a:gd name="connsiteY6" fmla="*/ 45693 h 59221"/>
                  <a:gd name="connsiteX7" fmla="*/ 78954 w 91797"/>
                  <a:gd name="connsiteY7" fmla="*/ 52773 h 59221"/>
                  <a:gd name="connsiteX8" fmla="*/ 78707 w 91797"/>
                  <a:gd name="connsiteY8" fmla="*/ 59222 h 59221"/>
                  <a:gd name="connsiteX9" fmla="*/ 75304 w 91797"/>
                  <a:gd name="connsiteY9" fmla="*/ 58426 h 59221"/>
                  <a:gd name="connsiteX10" fmla="*/ 61390 w 91797"/>
                  <a:gd name="connsiteY10" fmla="*/ 55133 h 59221"/>
                  <a:gd name="connsiteX11" fmla="*/ 55792 w 91797"/>
                  <a:gd name="connsiteY11" fmla="*/ 47449 h 59221"/>
                  <a:gd name="connsiteX12" fmla="*/ 46928 w 91797"/>
                  <a:gd name="connsiteY12" fmla="*/ 43607 h 59221"/>
                  <a:gd name="connsiteX13" fmla="*/ 36609 w 91797"/>
                  <a:gd name="connsiteY13" fmla="*/ 40533 h 59221"/>
                  <a:gd name="connsiteX14" fmla="*/ 13393 w 91797"/>
                  <a:gd name="connsiteY14" fmla="*/ 26181 h 59221"/>
                  <a:gd name="connsiteX15" fmla="*/ 6943 w 91797"/>
                  <a:gd name="connsiteY15" fmla="*/ 26181 h 59221"/>
                  <a:gd name="connsiteX16" fmla="*/ 1537 w 91797"/>
                  <a:gd name="connsiteY16" fmla="*/ 22037 h 59221"/>
                  <a:gd name="connsiteX17" fmla="*/ 0 w 91797"/>
                  <a:gd name="connsiteY17" fmla="*/ 18057 h 59221"/>
                  <a:gd name="connsiteX18" fmla="*/ 2004 w 91797"/>
                  <a:gd name="connsiteY18" fmla="*/ 9934 h 59221"/>
                  <a:gd name="connsiteX19" fmla="*/ 9111 w 91797"/>
                  <a:gd name="connsiteY19" fmla="*/ 4693 h 59221"/>
                  <a:gd name="connsiteX20" fmla="*/ 12789 w 91797"/>
                  <a:gd name="connsiteY20" fmla="*/ 8809 h 59221"/>
                  <a:gd name="connsiteX21" fmla="*/ 15753 w 91797"/>
                  <a:gd name="connsiteY21" fmla="*/ 8919 h 59221"/>
                  <a:gd name="connsiteX22" fmla="*/ 19265 w 91797"/>
                  <a:gd name="connsiteY22" fmla="*/ 4034 h 59221"/>
                  <a:gd name="connsiteX23" fmla="*/ 25330 w 91797"/>
                  <a:gd name="connsiteY23" fmla="*/ 2607 h 59221"/>
                  <a:gd name="connsiteX24" fmla="*/ 37844 w 91797"/>
                  <a:gd name="connsiteY24" fmla="*/ 11115 h 59221"/>
                  <a:gd name="connsiteX25" fmla="*/ 51236 w 91797"/>
                  <a:gd name="connsiteY25" fmla="*/ 9687 h 59221"/>
                  <a:gd name="connsiteX26" fmla="*/ 56944 w 91797"/>
                  <a:gd name="connsiteY26" fmla="*/ 9687 h 59221"/>
                  <a:gd name="connsiteX27" fmla="*/ 68196 w 91797"/>
                  <a:gd name="connsiteY27" fmla="*/ 4611 h 59221"/>
                  <a:gd name="connsiteX28" fmla="*/ 78295 w 91797"/>
                  <a:gd name="connsiteY28" fmla="*/ 5516 h 59221"/>
                  <a:gd name="connsiteX29" fmla="*/ 91797 w 91797"/>
                  <a:gd name="connsiteY29" fmla="*/ 0 h 59221"/>
                  <a:gd name="connsiteX30" fmla="*/ 91166 w 91797"/>
                  <a:gd name="connsiteY30" fmla="*/ 4967 h 59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797" h="59221">
                    <a:moveTo>
                      <a:pt x="91166" y="4967"/>
                    </a:moveTo>
                    <a:lnTo>
                      <a:pt x="82851" y="17619"/>
                    </a:lnTo>
                    <a:lnTo>
                      <a:pt x="78076" y="29940"/>
                    </a:lnTo>
                    <a:lnTo>
                      <a:pt x="77938" y="34304"/>
                    </a:lnTo>
                    <a:lnTo>
                      <a:pt x="81918" y="37844"/>
                    </a:lnTo>
                    <a:lnTo>
                      <a:pt x="81286" y="40835"/>
                    </a:lnTo>
                    <a:lnTo>
                      <a:pt x="84031" y="45693"/>
                    </a:lnTo>
                    <a:lnTo>
                      <a:pt x="78954" y="52773"/>
                    </a:lnTo>
                    <a:lnTo>
                      <a:pt x="78707" y="59222"/>
                    </a:lnTo>
                    <a:lnTo>
                      <a:pt x="75304" y="58426"/>
                    </a:lnTo>
                    <a:lnTo>
                      <a:pt x="61390" y="55133"/>
                    </a:lnTo>
                    <a:lnTo>
                      <a:pt x="55792" y="47449"/>
                    </a:lnTo>
                    <a:lnTo>
                      <a:pt x="46928" y="43607"/>
                    </a:lnTo>
                    <a:lnTo>
                      <a:pt x="36609" y="40533"/>
                    </a:lnTo>
                    <a:lnTo>
                      <a:pt x="13393" y="26181"/>
                    </a:lnTo>
                    <a:lnTo>
                      <a:pt x="6943" y="26181"/>
                    </a:lnTo>
                    <a:cubicBezTo>
                      <a:pt x="6943" y="26181"/>
                      <a:pt x="1537" y="22037"/>
                      <a:pt x="1537" y="22037"/>
                    </a:cubicBezTo>
                    <a:lnTo>
                      <a:pt x="0" y="18057"/>
                    </a:lnTo>
                    <a:lnTo>
                      <a:pt x="2004" y="9934"/>
                    </a:lnTo>
                    <a:lnTo>
                      <a:pt x="9111" y="4693"/>
                    </a:lnTo>
                    <a:lnTo>
                      <a:pt x="12789" y="8809"/>
                    </a:lnTo>
                    <a:lnTo>
                      <a:pt x="15753" y="8919"/>
                    </a:lnTo>
                    <a:lnTo>
                      <a:pt x="19265" y="4034"/>
                    </a:lnTo>
                    <a:lnTo>
                      <a:pt x="25330" y="2607"/>
                    </a:lnTo>
                    <a:lnTo>
                      <a:pt x="37844" y="11115"/>
                    </a:lnTo>
                    <a:lnTo>
                      <a:pt x="51236" y="9687"/>
                    </a:lnTo>
                    <a:lnTo>
                      <a:pt x="56944" y="9687"/>
                    </a:lnTo>
                    <a:cubicBezTo>
                      <a:pt x="56944" y="9687"/>
                      <a:pt x="68196" y="4611"/>
                      <a:pt x="68196" y="4611"/>
                    </a:cubicBezTo>
                    <a:lnTo>
                      <a:pt x="78295" y="5516"/>
                    </a:lnTo>
                    <a:lnTo>
                      <a:pt x="91797" y="0"/>
                    </a:lnTo>
                    <a:lnTo>
                      <a:pt x="91166" y="496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29" name="Freeform: Shape 4528">
                <a:extLst>
                  <a:ext uri="{FF2B5EF4-FFF2-40B4-BE49-F238E27FC236}">
                    <a16:creationId xmlns:a16="http://schemas.microsoft.com/office/drawing/2014/main" id="{C183F315-63CC-4CF0-627D-4D23359DDD6E}"/>
                  </a:ext>
                </a:extLst>
              </p:cNvPr>
              <p:cNvSpPr/>
              <p:nvPr/>
            </p:nvSpPr>
            <p:spPr>
              <a:xfrm>
                <a:off x="1410748" y="3715884"/>
                <a:ext cx="578" cy="655"/>
              </a:xfrm>
              <a:custGeom>
                <a:avLst/>
                <a:gdLst>
                  <a:gd name="connsiteX0" fmla="*/ 3266 w 5543"/>
                  <a:gd name="connsiteY0" fmla="*/ 0 h 6284"/>
                  <a:gd name="connsiteX1" fmla="*/ 3266 w 5543"/>
                  <a:gd name="connsiteY1" fmla="*/ 2854 h 6284"/>
                  <a:gd name="connsiteX2" fmla="*/ 5544 w 5543"/>
                  <a:gd name="connsiteY2" fmla="*/ 2854 h 6284"/>
                  <a:gd name="connsiteX3" fmla="*/ 4940 w 5543"/>
                  <a:gd name="connsiteY3" fmla="*/ 6285 h 6284"/>
                  <a:gd name="connsiteX4" fmla="*/ 0 w 5543"/>
                  <a:gd name="connsiteY4" fmla="*/ 1729 h 6284"/>
                  <a:gd name="connsiteX5" fmla="*/ 1070 w 5543"/>
                  <a:gd name="connsiteY5" fmla="*/ 27 h 6284"/>
                  <a:gd name="connsiteX6" fmla="*/ 3266 w 5543"/>
                  <a:gd name="connsiteY6" fmla="*/ 27 h 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3" h="6284">
                    <a:moveTo>
                      <a:pt x="3266" y="0"/>
                    </a:moveTo>
                    <a:lnTo>
                      <a:pt x="3266" y="2854"/>
                    </a:lnTo>
                    <a:cubicBezTo>
                      <a:pt x="3266" y="2854"/>
                      <a:pt x="5544" y="2854"/>
                      <a:pt x="5544" y="2854"/>
                    </a:cubicBezTo>
                    <a:lnTo>
                      <a:pt x="4940" y="6285"/>
                    </a:lnTo>
                    <a:lnTo>
                      <a:pt x="0" y="1729"/>
                    </a:lnTo>
                    <a:lnTo>
                      <a:pt x="1070" y="27"/>
                    </a:lnTo>
                    <a:lnTo>
                      <a:pt x="3266"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0" name="Freeform: Shape 4529">
                <a:extLst>
                  <a:ext uri="{FF2B5EF4-FFF2-40B4-BE49-F238E27FC236}">
                    <a16:creationId xmlns:a16="http://schemas.microsoft.com/office/drawing/2014/main" id="{089D9623-09BB-0273-9050-6394B452ECA7}"/>
                  </a:ext>
                </a:extLst>
              </p:cNvPr>
              <p:cNvSpPr/>
              <p:nvPr/>
            </p:nvSpPr>
            <p:spPr>
              <a:xfrm>
                <a:off x="1438012" y="3573984"/>
                <a:ext cx="378" cy="673"/>
              </a:xfrm>
              <a:custGeom>
                <a:avLst/>
                <a:gdLst>
                  <a:gd name="connsiteX0" fmla="*/ 3513 w 3622"/>
                  <a:gd name="connsiteY0" fmla="*/ 2141 h 6449"/>
                  <a:gd name="connsiteX1" fmla="*/ 3623 w 3622"/>
                  <a:gd name="connsiteY1" fmla="*/ 6449 h 6449"/>
                  <a:gd name="connsiteX2" fmla="*/ 686 w 3622"/>
                  <a:gd name="connsiteY2" fmla="*/ 6120 h 6449"/>
                  <a:gd name="connsiteX3" fmla="*/ 0 w 3622"/>
                  <a:gd name="connsiteY3" fmla="*/ 3156 h 6449"/>
                  <a:gd name="connsiteX4" fmla="*/ 851 w 3622"/>
                  <a:gd name="connsiteY4" fmla="*/ 0 h 6449"/>
                  <a:gd name="connsiteX5" fmla="*/ 3513 w 3622"/>
                  <a:gd name="connsiteY5" fmla="*/ 2113 h 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2" h="6449">
                    <a:moveTo>
                      <a:pt x="3513" y="2141"/>
                    </a:moveTo>
                    <a:lnTo>
                      <a:pt x="3623" y="6449"/>
                    </a:lnTo>
                    <a:lnTo>
                      <a:pt x="686" y="6120"/>
                    </a:lnTo>
                    <a:lnTo>
                      <a:pt x="0" y="3156"/>
                    </a:lnTo>
                    <a:lnTo>
                      <a:pt x="851" y="0"/>
                    </a:lnTo>
                    <a:lnTo>
                      <a:pt x="3513" y="211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1" name="Freeform: Shape 4530">
                <a:extLst>
                  <a:ext uri="{FF2B5EF4-FFF2-40B4-BE49-F238E27FC236}">
                    <a16:creationId xmlns:a16="http://schemas.microsoft.com/office/drawing/2014/main" id="{CB78A325-D7CE-6870-9E9C-7F56CD15C848}"/>
                  </a:ext>
                </a:extLst>
              </p:cNvPr>
              <p:cNvSpPr/>
              <p:nvPr/>
            </p:nvSpPr>
            <p:spPr>
              <a:xfrm>
                <a:off x="1439180" y="3574227"/>
                <a:ext cx="363" cy="587"/>
              </a:xfrm>
              <a:custGeom>
                <a:avLst/>
                <a:gdLst>
                  <a:gd name="connsiteX0" fmla="*/ 2168 w 3485"/>
                  <a:gd name="connsiteY0" fmla="*/ 27 h 5625"/>
                  <a:gd name="connsiteX1" fmla="*/ 3485 w 3485"/>
                  <a:gd name="connsiteY1" fmla="*/ 5626 h 5625"/>
                  <a:gd name="connsiteX2" fmla="*/ 1180 w 3485"/>
                  <a:gd name="connsiteY2" fmla="*/ 5379 h 5625"/>
                  <a:gd name="connsiteX3" fmla="*/ 0 w 3485"/>
                  <a:gd name="connsiteY3" fmla="*/ 2525 h 5625"/>
                  <a:gd name="connsiteX4" fmla="*/ 2168 w 3485"/>
                  <a:gd name="connsiteY4" fmla="*/ 0 h 5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 h="5625">
                    <a:moveTo>
                      <a:pt x="2168" y="27"/>
                    </a:moveTo>
                    <a:lnTo>
                      <a:pt x="3485" y="5626"/>
                    </a:lnTo>
                    <a:lnTo>
                      <a:pt x="1180" y="5379"/>
                    </a:lnTo>
                    <a:lnTo>
                      <a:pt x="0" y="2525"/>
                    </a:lnTo>
                    <a:lnTo>
                      <a:pt x="2168"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2" name="Freeform: Shape 4531">
                <a:extLst>
                  <a:ext uri="{FF2B5EF4-FFF2-40B4-BE49-F238E27FC236}">
                    <a16:creationId xmlns:a16="http://schemas.microsoft.com/office/drawing/2014/main" id="{4D605AB1-AEEF-ED82-0F0F-6B127F37D06E}"/>
                  </a:ext>
                </a:extLst>
              </p:cNvPr>
              <p:cNvSpPr/>
              <p:nvPr/>
            </p:nvSpPr>
            <p:spPr>
              <a:xfrm>
                <a:off x="1678722" y="3770752"/>
                <a:ext cx="22329" cy="47271"/>
              </a:xfrm>
              <a:custGeom>
                <a:avLst/>
                <a:gdLst>
                  <a:gd name="connsiteX0" fmla="*/ 101265 w 214082"/>
                  <a:gd name="connsiteY0" fmla="*/ 7986 h 453220"/>
                  <a:gd name="connsiteX1" fmla="*/ 110074 w 214082"/>
                  <a:gd name="connsiteY1" fmla="*/ 12926 h 453220"/>
                  <a:gd name="connsiteX2" fmla="*/ 117126 w 214082"/>
                  <a:gd name="connsiteY2" fmla="*/ 11910 h 453220"/>
                  <a:gd name="connsiteX3" fmla="*/ 123027 w 214082"/>
                  <a:gd name="connsiteY3" fmla="*/ 14984 h 453220"/>
                  <a:gd name="connsiteX4" fmla="*/ 129696 w 214082"/>
                  <a:gd name="connsiteY4" fmla="*/ 13776 h 453220"/>
                  <a:gd name="connsiteX5" fmla="*/ 134992 w 214082"/>
                  <a:gd name="connsiteY5" fmla="*/ 16493 h 453220"/>
                  <a:gd name="connsiteX6" fmla="*/ 134992 w 214082"/>
                  <a:gd name="connsiteY6" fmla="*/ 22201 h 453220"/>
                  <a:gd name="connsiteX7" fmla="*/ 131589 w 214082"/>
                  <a:gd name="connsiteY7" fmla="*/ 25302 h 453220"/>
                  <a:gd name="connsiteX8" fmla="*/ 130491 w 214082"/>
                  <a:gd name="connsiteY8" fmla="*/ 29062 h 453220"/>
                  <a:gd name="connsiteX9" fmla="*/ 135239 w 214082"/>
                  <a:gd name="connsiteY9" fmla="*/ 41603 h 453220"/>
                  <a:gd name="connsiteX10" fmla="*/ 142758 w 214082"/>
                  <a:gd name="connsiteY10" fmla="*/ 45308 h 453220"/>
                  <a:gd name="connsiteX11" fmla="*/ 154065 w 214082"/>
                  <a:gd name="connsiteY11" fmla="*/ 54996 h 453220"/>
                  <a:gd name="connsiteX12" fmla="*/ 166744 w 214082"/>
                  <a:gd name="connsiteY12" fmla="*/ 54309 h 453220"/>
                  <a:gd name="connsiteX13" fmla="*/ 173056 w 214082"/>
                  <a:gd name="connsiteY13" fmla="*/ 57383 h 453220"/>
                  <a:gd name="connsiteX14" fmla="*/ 171738 w 214082"/>
                  <a:gd name="connsiteY14" fmla="*/ 59139 h 453220"/>
                  <a:gd name="connsiteX15" fmla="*/ 166826 w 214082"/>
                  <a:gd name="connsiteY15" fmla="*/ 59414 h 453220"/>
                  <a:gd name="connsiteX16" fmla="*/ 159362 w 214082"/>
                  <a:gd name="connsiteY16" fmla="*/ 64957 h 453220"/>
                  <a:gd name="connsiteX17" fmla="*/ 157386 w 214082"/>
                  <a:gd name="connsiteY17" fmla="*/ 71407 h 453220"/>
                  <a:gd name="connsiteX18" fmla="*/ 148302 w 214082"/>
                  <a:gd name="connsiteY18" fmla="*/ 76209 h 453220"/>
                  <a:gd name="connsiteX19" fmla="*/ 140097 w 214082"/>
                  <a:gd name="connsiteY19" fmla="*/ 76319 h 453220"/>
                  <a:gd name="connsiteX20" fmla="*/ 140371 w 214082"/>
                  <a:gd name="connsiteY20" fmla="*/ 78295 h 453220"/>
                  <a:gd name="connsiteX21" fmla="*/ 144899 w 214082"/>
                  <a:gd name="connsiteY21" fmla="*/ 79667 h 453220"/>
                  <a:gd name="connsiteX22" fmla="*/ 145201 w 214082"/>
                  <a:gd name="connsiteY22" fmla="*/ 81807 h 453220"/>
                  <a:gd name="connsiteX23" fmla="*/ 136282 w 214082"/>
                  <a:gd name="connsiteY23" fmla="*/ 81698 h 453220"/>
                  <a:gd name="connsiteX24" fmla="*/ 131561 w 214082"/>
                  <a:gd name="connsiteY24" fmla="*/ 88586 h 453220"/>
                  <a:gd name="connsiteX25" fmla="*/ 130025 w 214082"/>
                  <a:gd name="connsiteY25" fmla="*/ 96627 h 453220"/>
                  <a:gd name="connsiteX26" fmla="*/ 118636 w 214082"/>
                  <a:gd name="connsiteY26" fmla="*/ 106342 h 453220"/>
                  <a:gd name="connsiteX27" fmla="*/ 112709 w 214082"/>
                  <a:gd name="connsiteY27" fmla="*/ 109113 h 453220"/>
                  <a:gd name="connsiteX28" fmla="*/ 108866 w 214082"/>
                  <a:gd name="connsiteY28" fmla="*/ 117676 h 453220"/>
                  <a:gd name="connsiteX29" fmla="*/ 107796 w 214082"/>
                  <a:gd name="connsiteY29" fmla="*/ 127363 h 453220"/>
                  <a:gd name="connsiteX30" fmla="*/ 102966 w 214082"/>
                  <a:gd name="connsiteY30" fmla="*/ 138889 h 453220"/>
                  <a:gd name="connsiteX31" fmla="*/ 113696 w 214082"/>
                  <a:gd name="connsiteY31" fmla="*/ 156205 h 453220"/>
                  <a:gd name="connsiteX32" fmla="*/ 126731 w 214082"/>
                  <a:gd name="connsiteY32" fmla="*/ 167182 h 453220"/>
                  <a:gd name="connsiteX33" fmla="*/ 127775 w 214082"/>
                  <a:gd name="connsiteY33" fmla="*/ 176266 h 453220"/>
                  <a:gd name="connsiteX34" fmla="*/ 133373 w 214082"/>
                  <a:gd name="connsiteY34" fmla="*/ 185542 h 453220"/>
                  <a:gd name="connsiteX35" fmla="*/ 145228 w 214082"/>
                  <a:gd name="connsiteY35" fmla="*/ 195970 h 453220"/>
                  <a:gd name="connsiteX36" fmla="*/ 152473 w 214082"/>
                  <a:gd name="connsiteY36" fmla="*/ 205411 h 453220"/>
                  <a:gd name="connsiteX37" fmla="*/ 166551 w 214082"/>
                  <a:gd name="connsiteY37" fmla="*/ 216443 h 453220"/>
                  <a:gd name="connsiteX38" fmla="*/ 168061 w 214082"/>
                  <a:gd name="connsiteY38" fmla="*/ 220230 h 453220"/>
                  <a:gd name="connsiteX39" fmla="*/ 173138 w 214082"/>
                  <a:gd name="connsiteY39" fmla="*/ 220724 h 453220"/>
                  <a:gd name="connsiteX40" fmla="*/ 177200 w 214082"/>
                  <a:gd name="connsiteY40" fmla="*/ 225252 h 453220"/>
                  <a:gd name="connsiteX41" fmla="*/ 180795 w 214082"/>
                  <a:gd name="connsiteY41" fmla="*/ 225609 h 453220"/>
                  <a:gd name="connsiteX42" fmla="*/ 180191 w 214082"/>
                  <a:gd name="connsiteY42" fmla="*/ 229917 h 453220"/>
                  <a:gd name="connsiteX43" fmla="*/ 189357 w 214082"/>
                  <a:gd name="connsiteY43" fmla="*/ 242870 h 453220"/>
                  <a:gd name="connsiteX44" fmla="*/ 197699 w 214082"/>
                  <a:gd name="connsiteY44" fmla="*/ 250499 h 453220"/>
                  <a:gd name="connsiteX45" fmla="*/ 209856 w 214082"/>
                  <a:gd name="connsiteY45" fmla="*/ 293804 h 453220"/>
                  <a:gd name="connsiteX46" fmla="*/ 208979 w 214082"/>
                  <a:gd name="connsiteY46" fmla="*/ 309172 h 453220"/>
                  <a:gd name="connsiteX47" fmla="*/ 214083 w 214082"/>
                  <a:gd name="connsiteY47" fmla="*/ 323360 h 453220"/>
                  <a:gd name="connsiteX48" fmla="*/ 208210 w 214082"/>
                  <a:gd name="connsiteY48" fmla="*/ 332307 h 453220"/>
                  <a:gd name="connsiteX49" fmla="*/ 210378 w 214082"/>
                  <a:gd name="connsiteY49" fmla="*/ 338317 h 453220"/>
                  <a:gd name="connsiteX50" fmla="*/ 207579 w 214082"/>
                  <a:gd name="connsiteY50" fmla="*/ 340512 h 453220"/>
                  <a:gd name="connsiteX51" fmla="*/ 209472 w 214082"/>
                  <a:gd name="connsiteY51" fmla="*/ 352670 h 453220"/>
                  <a:gd name="connsiteX52" fmla="*/ 206234 w 214082"/>
                  <a:gd name="connsiteY52" fmla="*/ 355139 h 453220"/>
                  <a:gd name="connsiteX53" fmla="*/ 207222 w 214082"/>
                  <a:gd name="connsiteY53" fmla="*/ 360409 h 453220"/>
                  <a:gd name="connsiteX54" fmla="*/ 202913 w 214082"/>
                  <a:gd name="connsiteY54" fmla="*/ 364744 h 453220"/>
                  <a:gd name="connsiteX55" fmla="*/ 201185 w 214082"/>
                  <a:gd name="connsiteY55" fmla="*/ 370288 h 453220"/>
                  <a:gd name="connsiteX56" fmla="*/ 188122 w 214082"/>
                  <a:gd name="connsiteY56" fmla="*/ 376957 h 453220"/>
                  <a:gd name="connsiteX57" fmla="*/ 181316 w 214082"/>
                  <a:gd name="connsiteY57" fmla="*/ 382528 h 453220"/>
                  <a:gd name="connsiteX58" fmla="*/ 175745 w 214082"/>
                  <a:gd name="connsiteY58" fmla="*/ 384009 h 453220"/>
                  <a:gd name="connsiteX59" fmla="*/ 170037 w 214082"/>
                  <a:gd name="connsiteY59" fmla="*/ 390349 h 453220"/>
                  <a:gd name="connsiteX60" fmla="*/ 147341 w 214082"/>
                  <a:gd name="connsiteY60" fmla="*/ 400091 h 453220"/>
                  <a:gd name="connsiteX61" fmla="*/ 143061 w 214082"/>
                  <a:gd name="connsiteY61" fmla="*/ 397237 h 453220"/>
                  <a:gd name="connsiteX62" fmla="*/ 137517 w 214082"/>
                  <a:gd name="connsiteY62" fmla="*/ 399323 h 453220"/>
                  <a:gd name="connsiteX63" fmla="*/ 136117 w 214082"/>
                  <a:gd name="connsiteY63" fmla="*/ 407254 h 453220"/>
                  <a:gd name="connsiteX64" fmla="*/ 132412 w 214082"/>
                  <a:gd name="connsiteY64" fmla="*/ 415322 h 453220"/>
                  <a:gd name="connsiteX65" fmla="*/ 129696 w 214082"/>
                  <a:gd name="connsiteY65" fmla="*/ 417435 h 453220"/>
                  <a:gd name="connsiteX66" fmla="*/ 128378 w 214082"/>
                  <a:gd name="connsiteY66" fmla="*/ 423637 h 453220"/>
                  <a:gd name="connsiteX67" fmla="*/ 121956 w 214082"/>
                  <a:gd name="connsiteY67" fmla="*/ 424351 h 453220"/>
                  <a:gd name="connsiteX68" fmla="*/ 116523 w 214082"/>
                  <a:gd name="connsiteY68" fmla="*/ 431019 h 453220"/>
                  <a:gd name="connsiteX69" fmla="*/ 99481 w 214082"/>
                  <a:gd name="connsiteY69" fmla="*/ 438566 h 453220"/>
                  <a:gd name="connsiteX70" fmla="*/ 85897 w 214082"/>
                  <a:gd name="connsiteY70" fmla="*/ 451739 h 453220"/>
                  <a:gd name="connsiteX71" fmla="*/ 80161 w 214082"/>
                  <a:gd name="connsiteY71" fmla="*/ 453221 h 453220"/>
                  <a:gd name="connsiteX72" fmla="*/ 76978 w 214082"/>
                  <a:gd name="connsiteY72" fmla="*/ 451848 h 453220"/>
                  <a:gd name="connsiteX73" fmla="*/ 79091 w 214082"/>
                  <a:gd name="connsiteY73" fmla="*/ 448171 h 453220"/>
                  <a:gd name="connsiteX74" fmla="*/ 78103 w 214082"/>
                  <a:gd name="connsiteY74" fmla="*/ 443945 h 453220"/>
                  <a:gd name="connsiteX75" fmla="*/ 79777 w 214082"/>
                  <a:gd name="connsiteY75" fmla="*/ 422265 h 453220"/>
                  <a:gd name="connsiteX76" fmla="*/ 81177 w 214082"/>
                  <a:gd name="connsiteY76" fmla="*/ 416776 h 453220"/>
                  <a:gd name="connsiteX77" fmla="*/ 85622 w 214082"/>
                  <a:gd name="connsiteY77" fmla="*/ 410876 h 453220"/>
                  <a:gd name="connsiteX78" fmla="*/ 77829 w 214082"/>
                  <a:gd name="connsiteY78" fmla="*/ 405360 h 453220"/>
                  <a:gd name="connsiteX79" fmla="*/ 72532 w 214082"/>
                  <a:gd name="connsiteY79" fmla="*/ 405552 h 453220"/>
                  <a:gd name="connsiteX80" fmla="*/ 67592 w 214082"/>
                  <a:gd name="connsiteY80" fmla="*/ 398280 h 453220"/>
                  <a:gd name="connsiteX81" fmla="*/ 72834 w 214082"/>
                  <a:gd name="connsiteY81" fmla="*/ 395234 h 453220"/>
                  <a:gd name="connsiteX82" fmla="*/ 80545 w 214082"/>
                  <a:gd name="connsiteY82" fmla="*/ 394630 h 453220"/>
                  <a:gd name="connsiteX83" fmla="*/ 86253 w 214082"/>
                  <a:gd name="connsiteY83" fmla="*/ 389388 h 453220"/>
                  <a:gd name="connsiteX84" fmla="*/ 86390 w 214082"/>
                  <a:gd name="connsiteY84" fmla="*/ 383378 h 453220"/>
                  <a:gd name="connsiteX85" fmla="*/ 93663 w 214082"/>
                  <a:gd name="connsiteY85" fmla="*/ 384723 h 453220"/>
                  <a:gd name="connsiteX86" fmla="*/ 96984 w 214082"/>
                  <a:gd name="connsiteY86" fmla="*/ 382308 h 453220"/>
                  <a:gd name="connsiteX87" fmla="*/ 106259 w 214082"/>
                  <a:gd name="connsiteY87" fmla="*/ 380552 h 453220"/>
                  <a:gd name="connsiteX88" fmla="*/ 110184 w 214082"/>
                  <a:gd name="connsiteY88" fmla="*/ 385272 h 453220"/>
                  <a:gd name="connsiteX89" fmla="*/ 112571 w 214082"/>
                  <a:gd name="connsiteY89" fmla="*/ 384339 h 453220"/>
                  <a:gd name="connsiteX90" fmla="*/ 118225 w 214082"/>
                  <a:gd name="connsiteY90" fmla="*/ 386232 h 453220"/>
                  <a:gd name="connsiteX91" fmla="*/ 118911 w 214082"/>
                  <a:gd name="connsiteY91" fmla="*/ 380222 h 453220"/>
                  <a:gd name="connsiteX92" fmla="*/ 110102 w 214082"/>
                  <a:gd name="connsiteY92" fmla="*/ 372785 h 453220"/>
                  <a:gd name="connsiteX93" fmla="*/ 108894 w 214082"/>
                  <a:gd name="connsiteY93" fmla="*/ 361945 h 453220"/>
                  <a:gd name="connsiteX94" fmla="*/ 114877 w 214082"/>
                  <a:gd name="connsiteY94" fmla="*/ 358295 h 453220"/>
                  <a:gd name="connsiteX95" fmla="*/ 125881 w 214082"/>
                  <a:gd name="connsiteY95" fmla="*/ 360217 h 453220"/>
                  <a:gd name="connsiteX96" fmla="*/ 126622 w 214082"/>
                  <a:gd name="connsiteY96" fmla="*/ 352038 h 453220"/>
                  <a:gd name="connsiteX97" fmla="*/ 134306 w 214082"/>
                  <a:gd name="connsiteY97" fmla="*/ 351654 h 453220"/>
                  <a:gd name="connsiteX98" fmla="*/ 136776 w 214082"/>
                  <a:gd name="connsiteY98" fmla="*/ 349212 h 453220"/>
                  <a:gd name="connsiteX99" fmla="*/ 142649 w 214082"/>
                  <a:gd name="connsiteY99" fmla="*/ 348059 h 453220"/>
                  <a:gd name="connsiteX100" fmla="*/ 148961 w 214082"/>
                  <a:gd name="connsiteY100" fmla="*/ 342131 h 453220"/>
                  <a:gd name="connsiteX101" fmla="*/ 152226 w 214082"/>
                  <a:gd name="connsiteY101" fmla="*/ 341281 h 453220"/>
                  <a:gd name="connsiteX102" fmla="*/ 155547 w 214082"/>
                  <a:gd name="connsiteY102" fmla="*/ 343065 h 453220"/>
                  <a:gd name="connsiteX103" fmla="*/ 158538 w 214082"/>
                  <a:gd name="connsiteY103" fmla="*/ 340430 h 453220"/>
                  <a:gd name="connsiteX104" fmla="*/ 160020 w 214082"/>
                  <a:gd name="connsiteY104" fmla="*/ 333185 h 453220"/>
                  <a:gd name="connsiteX105" fmla="*/ 157551 w 214082"/>
                  <a:gd name="connsiteY105" fmla="*/ 320808 h 453220"/>
                  <a:gd name="connsiteX106" fmla="*/ 161337 w 214082"/>
                  <a:gd name="connsiteY106" fmla="*/ 307114 h 453220"/>
                  <a:gd name="connsiteX107" fmla="*/ 153352 w 214082"/>
                  <a:gd name="connsiteY107" fmla="*/ 286532 h 453220"/>
                  <a:gd name="connsiteX108" fmla="*/ 159224 w 214082"/>
                  <a:gd name="connsiteY108" fmla="*/ 269819 h 453220"/>
                  <a:gd name="connsiteX109" fmla="*/ 157687 w 214082"/>
                  <a:gd name="connsiteY109" fmla="*/ 260818 h 453220"/>
                  <a:gd name="connsiteX110" fmla="*/ 162161 w 214082"/>
                  <a:gd name="connsiteY110" fmla="*/ 250499 h 453220"/>
                  <a:gd name="connsiteX111" fmla="*/ 154422 w 214082"/>
                  <a:gd name="connsiteY111" fmla="*/ 244325 h 453220"/>
                  <a:gd name="connsiteX112" fmla="*/ 150004 w 214082"/>
                  <a:gd name="connsiteY112" fmla="*/ 236668 h 453220"/>
                  <a:gd name="connsiteX113" fmla="*/ 155163 w 214082"/>
                  <a:gd name="connsiteY113" fmla="*/ 231180 h 453220"/>
                  <a:gd name="connsiteX114" fmla="*/ 155492 w 214082"/>
                  <a:gd name="connsiteY114" fmla="*/ 226597 h 453220"/>
                  <a:gd name="connsiteX115" fmla="*/ 148549 w 214082"/>
                  <a:gd name="connsiteY115" fmla="*/ 224346 h 453220"/>
                  <a:gd name="connsiteX116" fmla="*/ 138752 w 214082"/>
                  <a:gd name="connsiteY116" fmla="*/ 214385 h 453220"/>
                  <a:gd name="connsiteX117" fmla="*/ 133428 w 214082"/>
                  <a:gd name="connsiteY117" fmla="*/ 214906 h 453220"/>
                  <a:gd name="connsiteX118" fmla="*/ 130299 w 214082"/>
                  <a:gd name="connsiteY118" fmla="*/ 209280 h 453220"/>
                  <a:gd name="connsiteX119" fmla="*/ 128762 w 214082"/>
                  <a:gd name="connsiteY119" fmla="*/ 200471 h 453220"/>
                  <a:gd name="connsiteX120" fmla="*/ 122149 w 214082"/>
                  <a:gd name="connsiteY120" fmla="*/ 191799 h 453220"/>
                  <a:gd name="connsiteX121" fmla="*/ 106616 w 214082"/>
                  <a:gd name="connsiteY121" fmla="*/ 178187 h 453220"/>
                  <a:gd name="connsiteX122" fmla="*/ 98657 w 214082"/>
                  <a:gd name="connsiteY122" fmla="*/ 163889 h 453220"/>
                  <a:gd name="connsiteX123" fmla="*/ 89958 w 214082"/>
                  <a:gd name="connsiteY123" fmla="*/ 158209 h 453220"/>
                  <a:gd name="connsiteX124" fmla="*/ 87735 w 214082"/>
                  <a:gd name="connsiteY124" fmla="*/ 154120 h 453220"/>
                  <a:gd name="connsiteX125" fmla="*/ 87653 w 214082"/>
                  <a:gd name="connsiteY125" fmla="*/ 147369 h 453220"/>
                  <a:gd name="connsiteX126" fmla="*/ 75606 w 214082"/>
                  <a:gd name="connsiteY126" fmla="*/ 142621 h 453220"/>
                  <a:gd name="connsiteX127" fmla="*/ 53267 w 214082"/>
                  <a:gd name="connsiteY127" fmla="*/ 127857 h 453220"/>
                  <a:gd name="connsiteX128" fmla="*/ 57329 w 214082"/>
                  <a:gd name="connsiteY128" fmla="*/ 122094 h 453220"/>
                  <a:gd name="connsiteX129" fmla="*/ 56944 w 214082"/>
                  <a:gd name="connsiteY129" fmla="*/ 116385 h 453220"/>
                  <a:gd name="connsiteX130" fmla="*/ 72751 w 214082"/>
                  <a:gd name="connsiteY130" fmla="*/ 117072 h 453220"/>
                  <a:gd name="connsiteX131" fmla="*/ 77526 w 214082"/>
                  <a:gd name="connsiteY131" fmla="*/ 112846 h 453220"/>
                  <a:gd name="connsiteX132" fmla="*/ 82027 w 214082"/>
                  <a:gd name="connsiteY132" fmla="*/ 104173 h 453220"/>
                  <a:gd name="connsiteX133" fmla="*/ 76676 w 214082"/>
                  <a:gd name="connsiteY133" fmla="*/ 99481 h 453220"/>
                  <a:gd name="connsiteX134" fmla="*/ 75606 w 214082"/>
                  <a:gd name="connsiteY134" fmla="*/ 94486 h 453220"/>
                  <a:gd name="connsiteX135" fmla="*/ 69513 w 214082"/>
                  <a:gd name="connsiteY135" fmla="*/ 92098 h 453220"/>
                  <a:gd name="connsiteX136" fmla="*/ 70611 w 214082"/>
                  <a:gd name="connsiteY136" fmla="*/ 86994 h 453220"/>
                  <a:gd name="connsiteX137" fmla="*/ 69019 w 214082"/>
                  <a:gd name="connsiteY137" fmla="*/ 83426 h 453220"/>
                  <a:gd name="connsiteX138" fmla="*/ 58756 w 214082"/>
                  <a:gd name="connsiteY138" fmla="*/ 76648 h 453220"/>
                  <a:gd name="connsiteX139" fmla="*/ 46735 w 214082"/>
                  <a:gd name="connsiteY139" fmla="*/ 81176 h 453220"/>
                  <a:gd name="connsiteX140" fmla="*/ 34111 w 214082"/>
                  <a:gd name="connsiteY140" fmla="*/ 80023 h 453220"/>
                  <a:gd name="connsiteX141" fmla="*/ 29364 w 214082"/>
                  <a:gd name="connsiteY141" fmla="*/ 77773 h 453220"/>
                  <a:gd name="connsiteX142" fmla="*/ 20884 w 214082"/>
                  <a:gd name="connsiteY142" fmla="*/ 66467 h 453220"/>
                  <a:gd name="connsiteX143" fmla="*/ 24150 w 214082"/>
                  <a:gd name="connsiteY143" fmla="*/ 57712 h 453220"/>
                  <a:gd name="connsiteX144" fmla="*/ 23381 w 214082"/>
                  <a:gd name="connsiteY144" fmla="*/ 51565 h 453220"/>
                  <a:gd name="connsiteX145" fmla="*/ 13721 w 214082"/>
                  <a:gd name="connsiteY145" fmla="*/ 46049 h 453220"/>
                  <a:gd name="connsiteX146" fmla="*/ 0 w 214082"/>
                  <a:gd name="connsiteY146" fmla="*/ 30297 h 453220"/>
                  <a:gd name="connsiteX147" fmla="*/ 3403 w 214082"/>
                  <a:gd name="connsiteY147" fmla="*/ 28403 h 453220"/>
                  <a:gd name="connsiteX148" fmla="*/ 10621 w 214082"/>
                  <a:gd name="connsiteY148" fmla="*/ 19183 h 453220"/>
                  <a:gd name="connsiteX149" fmla="*/ 26098 w 214082"/>
                  <a:gd name="connsiteY149" fmla="*/ 27745 h 453220"/>
                  <a:gd name="connsiteX150" fmla="*/ 35237 w 214082"/>
                  <a:gd name="connsiteY150" fmla="*/ 18497 h 453220"/>
                  <a:gd name="connsiteX151" fmla="*/ 40423 w 214082"/>
                  <a:gd name="connsiteY151" fmla="*/ 22750 h 453220"/>
                  <a:gd name="connsiteX152" fmla="*/ 45253 w 214082"/>
                  <a:gd name="connsiteY152" fmla="*/ 19238 h 453220"/>
                  <a:gd name="connsiteX153" fmla="*/ 53926 w 214082"/>
                  <a:gd name="connsiteY153" fmla="*/ 25796 h 453220"/>
                  <a:gd name="connsiteX154" fmla="*/ 58426 w 214082"/>
                  <a:gd name="connsiteY154" fmla="*/ 17893 h 453220"/>
                  <a:gd name="connsiteX155" fmla="*/ 61554 w 214082"/>
                  <a:gd name="connsiteY155" fmla="*/ 17344 h 453220"/>
                  <a:gd name="connsiteX156" fmla="*/ 66110 w 214082"/>
                  <a:gd name="connsiteY156" fmla="*/ 20143 h 453220"/>
                  <a:gd name="connsiteX157" fmla="*/ 76044 w 214082"/>
                  <a:gd name="connsiteY157" fmla="*/ 15862 h 453220"/>
                  <a:gd name="connsiteX158" fmla="*/ 78954 w 214082"/>
                  <a:gd name="connsiteY158" fmla="*/ 12843 h 453220"/>
                  <a:gd name="connsiteX159" fmla="*/ 80847 w 214082"/>
                  <a:gd name="connsiteY159" fmla="*/ 6147 h 453220"/>
                  <a:gd name="connsiteX160" fmla="*/ 93086 w 214082"/>
                  <a:gd name="connsiteY160" fmla="*/ 0 h 453220"/>
                  <a:gd name="connsiteX161" fmla="*/ 101128 w 214082"/>
                  <a:gd name="connsiteY161" fmla="*/ 7986 h 45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214082" h="453220">
                    <a:moveTo>
                      <a:pt x="101265" y="7986"/>
                    </a:moveTo>
                    <a:lnTo>
                      <a:pt x="110074" y="12926"/>
                    </a:lnTo>
                    <a:lnTo>
                      <a:pt x="117126" y="11910"/>
                    </a:lnTo>
                    <a:lnTo>
                      <a:pt x="123027" y="14984"/>
                    </a:lnTo>
                    <a:lnTo>
                      <a:pt x="129696" y="13776"/>
                    </a:lnTo>
                    <a:lnTo>
                      <a:pt x="134992" y="16493"/>
                    </a:lnTo>
                    <a:lnTo>
                      <a:pt x="134992" y="22201"/>
                    </a:lnTo>
                    <a:lnTo>
                      <a:pt x="131589" y="25302"/>
                    </a:lnTo>
                    <a:lnTo>
                      <a:pt x="130491" y="29062"/>
                    </a:lnTo>
                    <a:lnTo>
                      <a:pt x="135239" y="41603"/>
                    </a:lnTo>
                    <a:lnTo>
                      <a:pt x="142758" y="45308"/>
                    </a:lnTo>
                    <a:lnTo>
                      <a:pt x="154065" y="54996"/>
                    </a:lnTo>
                    <a:lnTo>
                      <a:pt x="166744" y="54309"/>
                    </a:lnTo>
                    <a:lnTo>
                      <a:pt x="173056" y="57383"/>
                    </a:lnTo>
                    <a:lnTo>
                      <a:pt x="171738" y="59139"/>
                    </a:lnTo>
                    <a:lnTo>
                      <a:pt x="166826" y="59414"/>
                    </a:lnTo>
                    <a:lnTo>
                      <a:pt x="159362" y="64957"/>
                    </a:lnTo>
                    <a:lnTo>
                      <a:pt x="157386" y="71407"/>
                    </a:lnTo>
                    <a:lnTo>
                      <a:pt x="148302" y="76209"/>
                    </a:lnTo>
                    <a:lnTo>
                      <a:pt x="140097" y="76319"/>
                    </a:lnTo>
                    <a:lnTo>
                      <a:pt x="140371" y="78295"/>
                    </a:lnTo>
                    <a:lnTo>
                      <a:pt x="144899" y="79667"/>
                    </a:lnTo>
                    <a:lnTo>
                      <a:pt x="145201" y="81807"/>
                    </a:lnTo>
                    <a:lnTo>
                      <a:pt x="136282" y="81698"/>
                    </a:lnTo>
                    <a:lnTo>
                      <a:pt x="131561" y="88586"/>
                    </a:lnTo>
                    <a:lnTo>
                      <a:pt x="130025" y="96627"/>
                    </a:lnTo>
                    <a:lnTo>
                      <a:pt x="118636" y="106342"/>
                    </a:lnTo>
                    <a:lnTo>
                      <a:pt x="112709" y="109113"/>
                    </a:lnTo>
                    <a:lnTo>
                      <a:pt x="108866" y="117676"/>
                    </a:lnTo>
                    <a:lnTo>
                      <a:pt x="107796" y="127363"/>
                    </a:lnTo>
                    <a:lnTo>
                      <a:pt x="102966" y="138889"/>
                    </a:lnTo>
                    <a:lnTo>
                      <a:pt x="113696" y="156205"/>
                    </a:lnTo>
                    <a:lnTo>
                      <a:pt x="126731" y="167182"/>
                    </a:lnTo>
                    <a:lnTo>
                      <a:pt x="127775" y="176266"/>
                    </a:lnTo>
                    <a:lnTo>
                      <a:pt x="133373" y="185542"/>
                    </a:lnTo>
                    <a:lnTo>
                      <a:pt x="145228" y="195970"/>
                    </a:lnTo>
                    <a:lnTo>
                      <a:pt x="152473" y="205411"/>
                    </a:lnTo>
                    <a:lnTo>
                      <a:pt x="166551" y="216443"/>
                    </a:lnTo>
                    <a:lnTo>
                      <a:pt x="168061" y="220230"/>
                    </a:lnTo>
                    <a:lnTo>
                      <a:pt x="173138" y="220724"/>
                    </a:lnTo>
                    <a:lnTo>
                      <a:pt x="177200" y="225252"/>
                    </a:lnTo>
                    <a:lnTo>
                      <a:pt x="180795" y="225609"/>
                    </a:lnTo>
                    <a:lnTo>
                      <a:pt x="180191" y="229917"/>
                    </a:lnTo>
                    <a:lnTo>
                      <a:pt x="189357" y="242870"/>
                    </a:lnTo>
                    <a:lnTo>
                      <a:pt x="197699" y="250499"/>
                    </a:lnTo>
                    <a:lnTo>
                      <a:pt x="209856" y="293804"/>
                    </a:lnTo>
                    <a:lnTo>
                      <a:pt x="208979" y="309172"/>
                    </a:lnTo>
                    <a:lnTo>
                      <a:pt x="214083" y="323360"/>
                    </a:lnTo>
                    <a:lnTo>
                      <a:pt x="208210" y="332307"/>
                    </a:lnTo>
                    <a:lnTo>
                      <a:pt x="210378" y="338317"/>
                    </a:lnTo>
                    <a:lnTo>
                      <a:pt x="207579" y="340512"/>
                    </a:lnTo>
                    <a:lnTo>
                      <a:pt x="209472" y="352670"/>
                    </a:lnTo>
                    <a:lnTo>
                      <a:pt x="206234" y="355139"/>
                    </a:lnTo>
                    <a:lnTo>
                      <a:pt x="207222" y="360409"/>
                    </a:lnTo>
                    <a:lnTo>
                      <a:pt x="202913" y="364744"/>
                    </a:lnTo>
                    <a:lnTo>
                      <a:pt x="201185" y="370288"/>
                    </a:lnTo>
                    <a:lnTo>
                      <a:pt x="188122" y="376957"/>
                    </a:lnTo>
                    <a:lnTo>
                      <a:pt x="181316" y="382528"/>
                    </a:lnTo>
                    <a:lnTo>
                      <a:pt x="175745" y="384009"/>
                    </a:lnTo>
                    <a:lnTo>
                      <a:pt x="170037" y="390349"/>
                    </a:lnTo>
                    <a:lnTo>
                      <a:pt x="147341" y="400091"/>
                    </a:lnTo>
                    <a:lnTo>
                      <a:pt x="143061" y="397237"/>
                    </a:lnTo>
                    <a:lnTo>
                      <a:pt x="137517" y="399323"/>
                    </a:lnTo>
                    <a:lnTo>
                      <a:pt x="136117" y="407254"/>
                    </a:lnTo>
                    <a:lnTo>
                      <a:pt x="132412" y="415322"/>
                    </a:lnTo>
                    <a:lnTo>
                      <a:pt x="129696" y="417435"/>
                    </a:lnTo>
                    <a:lnTo>
                      <a:pt x="128378" y="423637"/>
                    </a:lnTo>
                    <a:lnTo>
                      <a:pt x="121956" y="424351"/>
                    </a:lnTo>
                    <a:lnTo>
                      <a:pt x="116523" y="431019"/>
                    </a:lnTo>
                    <a:lnTo>
                      <a:pt x="99481" y="438566"/>
                    </a:lnTo>
                    <a:lnTo>
                      <a:pt x="85897" y="451739"/>
                    </a:lnTo>
                    <a:lnTo>
                      <a:pt x="80161" y="453221"/>
                    </a:lnTo>
                    <a:lnTo>
                      <a:pt x="76978" y="451848"/>
                    </a:lnTo>
                    <a:lnTo>
                      <a:pt x="79091" y="448171"/>
                    </a:lnTo>
                    <a:lnTo>
                      <a:pt x="78103" y="443945"/>
                    </a:lnTo>
                    <a:lnTo>
                      <a:pt x="79777" y="422265"/>
                    </a:lnTo>
                    <a:lnTo>
                      <a:pt x="81177" y="416776"/>
                    </a:lnTo>
                    <a:lnTo>
                      <a:pt x="85622" y="410876"/>
                    </a:lnTo>
                    <a:lnTo>
                      <a:pt x="77829" y="405360"/>
                    </a:lnTo>
                    <a:lnTo>
                      <a:pt x="72532" y="405552"/>
                    </a:lnTo>
                    <a:lnTo>
                      <a:pt x="67592" y="398280"/>
                    </a:lnTo>
                    <a:lnTo>
                      <a:pt x="72834" y="395234"/>
                    </a:lnTo>
                    <a:lnTo>
                      <a:pt x="80545" y="394630"/>
                    </a:lnTo>
                    <a:lnTo>
                      <a:pt x="86253" y="389388"/>
                    </a:lnTo>
                    <a:lnTo>
                      <a:pt x="86390" y="383378"/>
                    </a:lnTo>
                    <a:lnTo>
                      <a:pt x="93663" y="384723"/>
                    </a:lnTo>
                    <a:lnTo>
                      <a:pt x="96984" y="382308"/>
                    </a:lnTo>
                    <a:lnTo>
                      <a:pt x="106259" y="380552"/>
                    </a:lnTo>
                    <a:lnTo>
                      <a:pt x="110184" y="385272"/>
                    </a:lnTo>
                    <a:lnTo>
                      <a:pt x="112571" y="384339"/>
                    </a:lnTo>
                    <a:lnTo>
                      <a:pt x="118225" y="386232"/>
                    </a:lnTo>
                    <a:lnTo>
                      <a:pt x="118911" y="380222"/>
                    </a:lnTo>
                    <a:lnTo>
                      <a:pt x="110102" y="372785"/>
                    </a:lnTo>
                    <a:lnTo>
                      <a:pt x="108894" y="361945"/>
                    </a:lnTo>
                    <a:lnTo>
                      <a:pt x="114877" y="358295"/>
                    </a:lnTo>
                    <a:lnTo>
                      <a:pt x="125881" y="360217"/>
                    </a:lnTo>
                    <a:lnTo>
                      <a:pt x="126622" y="352038"/>
                    </a:lnTo>
                    <a:lnTo>
                      <a:pt x="134306" y="351654"/>
                    </a:lnTo>
                    <a:lnTo>
                      <a:pt x="136776" y="349212"/>
                    </a:lnTo>
                    <a:lnTo>
                      <a:pt x="142649" y="348059"/>
                    </a:lnTo>
                    <a:lnTo>
                      <a:pt x="148961" y="342131"/>
                    </a:lnTo>
                    <a:lnTo>
                      <a:pt x="152226" y="341281"/>
                    </a:lnTo>
                    <a:lnTo>
                      <a:pt x="155547" y="343065"/>
                    </a:lnTo>
                    <a:lnTo>
                      <a:pt x="158538" y="340430"/>
                    </a:lnTo>
                    <a:lnTo>
                      <a:pt x="160020" y="333185"/>
                    </a:lnTo>
                    <a:lnTo>
                      <a:pt x="157551" y="320808"/>
                    </a:lnTo>
                    <a:lnTo>
                      <a:pt x="161337" y="307114"/>
                    </a:lnTo>
                    <a:lnTo>
                      <a:pt x="153352" y="286532"/>
                    </a:lnTo>
                    <a:lnTo>
                      <a:pt x="159224" y="269819"/>
                    </a:lnTo>
                    <a:lnTo>
                      <a:pt x="157687" y="260818"/>
                    </a:lnTo>
                    <a:lnTo>
                      <a:pt x="162161" y="250499"/>
                    </a:lnTo>
                    <a:lnTo>
                      <a:pt x="154422" y="244325"/>
                    </a:lnTo>
                    <a:lnTo>
                      <a:pt x="150004" y="236668"/>
                    </a:lnTo>
                    <a:lnTo>
                      <a:pt x="155163" y="231180"/>
                    </a:lnTo>
                    <a:lnTo>
                      <a:pt x="155492" y="226597"/>
                    </a:lnTo>
                    <a:lnTo>
                      <a:pt x="148549" y="224346"/>
                    </a:lnTo>
                    <a:lnTo>
                      <a:pt x="138752" y="214385"/>
                    </a:lnTo>
                    <a:lnTo>
                      <a:pt x="133428" y="214906"/>
                    </a:lnTo>
                    <a:lnTo>
                      <a:pt x="130299" y="209280"/>
                    </a:lnTo>
                    <a:lnTo>
                      <a:pt x="128762" y="200471"/>
                    </a:lnTo>
                    <a:lnTo>
                      <a:pt x="122149" y="191799"/>
                    </a:lnTo>
                    <a:lnTo>
                      <a:pt x="106616" y="178187"/>
                    </a:lnTo>
                    <a:lnTo>
                      <a:pt x="98657" y="163889"/>
                    </a:lnTo>
                    <a:lnTo>
                      <a:pt x="89958" y="158209"/>
                    </a:lnTo>
                    <a:lnTo>
                      <a:pt x="87735" y="154120"/>
                    </a:lnTo>
                    <a:lnTo>
                      <a:pt x="87653" y="147369"/>
                    </a:lnTo>
                    <a:lnTo>
                      <a:pt x="75606" y="142621"/>
                    </a:lnTo>
                    <a:lnTo>
                      <a:pt x="53267" y="127857"/>
                    </a:lnTo>
                    <a:lnTo>
                      <a:pt x="57329" y="122094"/>
                    </a:lnTo>
                    <a:lnTo>
                      <a:pt x="56944" y="116385"/>
                    </a:lnTo>
                    <a:lnTo>
                      <a:pt x="72751" y="117072"/>
                    </a:lnTo>
                    <a:lnTo>
                      <a:pt x="77526" y="112846"/>
                    </a:lnTo>
                    <a:lnTo>
                      <a:pt x="82027" y="104173"/>
                    </a:lnTo>
                    <a:lnTo>
                      <a:pt x="76676" y="99481"/>
                    </a:lnTo>
                    <a:lnTo>
                      <a:pt x="75606" y="94486"/>
                    </a:lnTo>
                    <a:lnTo>
                      <a:pt x="69513" y="92098"/>
                    </a:lnTo>
                    <a:lnTo>
                      <a:pt x="70611" y="86994"/>
                    </a:lnTo>
                    <a:lnTo>
                      <a:pt x="69019" y="83426"/>
                    </a:lnTo>
                    <a:lnTo>
                      <a:pt x="58756" y="76648"/>
                    </a:lnTo>
                    <a:lnTo>
                      <a:pt x="46735" y="81176"/>
                    </a:lnTo>
                    <a:lnTo>
                      <a:pt x="34111" y="80023"/>
                    </a:lnTo>
                    <a:lnTo>
                      <a:pt x="29364" y="77773"/>
                    </a:lnTo>
                    <a:lnTo>
                      <a:pt x="20884" y="66467"/>
                    </a:lnTo>
                    <a:lnTo>
                      <a:pt x="24150" y="57712"/>
                    </a:lnTo>
                    <a:lnTo>
                      <a:pt x="23381" y="51565"/>
                    </a:lnTo>
                    <a:lnTo>
                      <a:pt x="13721" y="46049"/>
                    </a:lnTo>
                    <a:lnTo>
                      <a:pt x="0" y="30297"/>
                    </a:lnTo>
                    <a:lnTo>
                      <a:pt x="3403" y="28403"/>
                    </a:lnTo>
                    <a:lnTo>
                      <a:pt x="10621" y="19183"/>
                    </a:lnTo>
                    <a:lnTo>
                      <a:pt x="26098" y="27745"/>
                    </a:lnTo>
                    <a:lnTo>
                      <a:pt x="35237" y="18497"/>
                    </a:lnTo>
                    <a:lnTo>
                      <a:pt x="40423" y="22750"/>
                    </a:lnTo>
                    <a:lnTo>
                      <a:pt x="45253" y="19238"/>
                    </a:lnTo>
                    <a:lnTo>
                      <a:pt x="53926" y="25796"/>
                    </a:lnTo>
                    <a:lnTo>
                      <a:pt x="58426" y="17893"/>
                    </a:lnTo>
                    <a:lnTo>
                      <a:pt x="61554" y="17344"/>
                    </a:lnTo>
                    <a:lnTo>
                      <a:pt x="66110" y="20143"/>
                    </a:lnTo>
                    <a:lnTo>
                      <a:pt x="76044" y="15862"/>
                    </a:lnTo>
                    <a:lnTo>
                      <a:pt x="78954" y="12843"/>
                    </a:lnTo>
                    <a:lnTo>
                      <a:pt x="80847" y="6147"/>
                    </a:lnTo>
                    <a:lnTo>
                      <a:pt x="93086" y="0"/>
                    </a:lnTo>
                    <a:lnTo>
                      <a:pt x="101128" y="7986"/>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3" name="Freeform: Shape 4532">
                <a:extLst>
                  <a:ext uri="{FF2B5EF4-FFF2-40B4-BE49-F238E27FC236}">
                    <a16:creationId xmlns:a16="http://schemas.microsoft.com/office/drawing/2014/main" id="{71B5A1C8-4B31-8F6A-1D4B-162588861F43}"/>
                  </a:ext>
                </a:extLst>
              </p:cNvPr>
              <p:cNvSpPr/>
              <p:nvPr/>
            </p:nvSpPr>
            <p:spPr>
              <a:xfrm>
                <a:off x="1683900" y="3812195"/>
                <a:ext cx="784" cy="1136"/>
              </a:xfrm>
              <a:custGeom>
                <a:avLst/>
                <a:gdLst>
                  <a:gd name="connsiteX0" fmla="*/ 7437 w 7519"/>
                  <a:gd name="connsiteY0" fmla="*/ 2497 h 10895"/>
                  <a:gd name="connsiteX1" fmla="*/ 7519 w 7519"/>
                  <a:gd name="connsiteY1" fmla="*/ 6312 h 10895"/>
                  <a:gd name="connsiteX2" fmla="*/ 5489 w 7519"/>
                  <a:gd name="connsiteY2" fmla="*/ 10895 h 10895"/>
                  <a:gd name="connsiteX3" fmla="*/ 4500 w 7519"/>
                  <a:gd name="connsiteY3" fmla="*/ 10758 h 10895"/>
                  <a:gd name="connsiteX4" fmla="*/ 3897 w 7519"/>
                  <a:gd name="connsiteY4" fmla="*/ 7684 h 10895"/>
                  <a:gd name="connsiteX5" fmla="*/ 2470 w 7519"/>
                  <a:gd name="connsiteY5" fmla="*/ 5077 h 10895"/>
                  <a:gd name="connsiteX6" fmla="*/ 741 w 7519"/>
                  <a:gd name="connsiteY6" fmla="*/ 4473 h 10895"/>
                  <a:gd name="connsiteX7" fmla="*/ 0 w 7519"/>
                  <a:gd name="connsiteY7" fmla="*/ 2717 h 10895"/>
                  <a:gd name="connsiteX8" fmla="*/ 2634 w 7519"/>
                  <a:gd name="connsiteY8" fmla="*/ 2827 h 10895"/>
                  <a:gd name="connsiteX9" fmla="*/ 4912 w 7519"/>
                  <a:gd name="connsiteY9" fmla="*/ 0 h 10895"/>
                  <a:gd name="connsiteX10" fmla="*/ 7437 w 7519"/>
                  <a:gd name="connsiteY10" fmla="*/ 2470 h 10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19" h="10895">
                    <a:moveTo>
                      <a:pt x="7437" y="2497"/>
                    </a:moveTo>
                    <a:lnTo>
                      <a:pt x="7519" y="6312"/>
                    </a:lnTo>
                    <a:lnTo>
                      <a:pt x="5489" y="10895"/>
                    </a:lnTo>
                    <a:lnTo>
                      <a:pt x="4500" y="10758"/>
                    </a:lnTo>
                    <a:lnTo>
                      <a:pt x="3897" y="7684"/>
                    </a:lnTo>
                    <a:lnTo>
                      <a:pt x="2470" y="5077"/>
                    </a:lnTo>
                    <a:lnTo>
                      <a:pt x="741" y="4473"/>
                    </a:lnTo>
                    <a:lnTo>
                      <a:pt x="0" y="2717"/>
                    </a:lnTo>
                    <a:lnTo>
                      <a:pt x="2634" y="2827"/>
                    </a:lnTo>
                    <a:lnTo>
                      <a:pt x="4912" y="0"/>
                    </a:lnTo>
                    <a:lnTo>
                      <a:pt x="7437" y="247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4" name="Freeform: Shape 4533">
                <a:extLst>
                  <a:ext uri="{FF2B5EF4-FFF2-40B4-BE49-F238E27FC236}">
                    <a16:creationId xmlns:a16="http://schemas.microsoft.com/office/drawing/2014/main" id="{DB5C7FC8-98D5-C00B-E5B7-865C3239F5AF}"/>
                  </a:ext>
                </a:extLst>
              </p:cNvPr>
              <p:cNvSpPr/>
              <p:nvPr/>
            </p:nvSpPr>
            <p:spPr>
              <a:xfrm>
                <a:off x="1694574" y="3778657"/>
                <a:ext cx="716" cy="366"/>
              </a:xfrm>
              <a:custGeom>
                <a:avLst/>
                <a:gdLst>
                  <a:gd name="connsiteX0" fmla="*/ 5982 w 6860"/>
                  <a:gd name="connsiteY0" fmla="*/ 2388 h 3512"/>
                  <a:gd name="connsiteX1" fmla="*/ 1345 w 6860"/>
                  <a:gd name="connsiteY1" fmla="*/ 3512 h 3512"/>
                  <a:gd name="connsiteX2" fmla="*/ 0 w 6860"/>
                  <a:gd name="connsiteY2" fmla="*/ 2442 h 3512"/>
                  <a:gd name="connsiteX3" fmla="*/ 494 w 6860"/>
                  <a:gd name="connsiteY3" fmla="*/ 714 h 3512"/>
                  <a:gd name="connsiteX4" fmla="*/ 6861 w 6860"/>
                  <a:gd name="connsiteY4" fmla="*/ 0 h 3512"/>
                  <a:gd name="connsiteX5" fmla="*/ 6010 w 6860"/>
                  <a:gd name="connsiteY5" fmla="*/ 2388 h 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0" h="3512">
                    <a:moveTo>
                      <a:pt x="5982" y="2388"/>
                    </a:moveTo>
                    <a:lnTo>
                      <a:pt x="1345" y="3512"/>
                    </a:lnTo>
                    <a:lnTo>
                      <a:pt x="0" y="2442"/>
                    </a:lnTo>
                    <a:lnTo>
                      <a:pt x="494" y="714"/>
                    </a:lnTo>
                    <a:lnTo>
                      <a:pt x="6861" y="0"/>
                    </a:lnTo>
                    <a:lnTo>
                      <a:pt x="6010" y="23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5" name="Freeform: Shape 4534">
                <a:extLst>
                  <a:ext uri="{FF2B5EF4-FFF2-40B4-BE49-F238E27FC236}">
                    <a16:creationId xmlns:a16="http://schemas.microsoft.com/office/drawing/2014/main" id="{DB7C2805-7036-54D9-194E-4B1A33BB980A}"/>
                  </a:ext>
                </a:extLst>
              </p:cNvPr>
              <p:cNvSpPr/>
              <p:nvPr/>
            </p:nvSpPr>
            <p:spPr>
              <a:xfrm>
                <a:off x="1692522" y="3817599"/>
                <a:ext cx="381" cy="306"/>
              </a:xfrm>
              <a:custGeom>
                <a:avLst/>
                <a:gdLst>
                  <a:gd name="connsiteX0" fmla="*/ 3294 w 3650"/>
                  <a:gd name="connsiteY0" fmla="*/ 2882 h 2936"/>
                  <a:gd name="connsiteX1" fmla="*/ 385 w 3650"/>
                  <a:gd name="connsiteY1" fmla="*/ 2937 h 2936"/>
                  <a:gd name="connsiteX2" fmla="*/ 0 w 3650"/>
                  <a:gd name="connsiteY2" fmla="*/ 1345 h 2936"/>
                  <a:gd name="connsiteX3" fmla="*/ 1509 w 3650"/>
                  <a:gd name="connsiteY3" fmla="*/ 0 h 2936"/>
                  <a:gd name="connsiteX4" fmla="*/ 3650 w 3650"/>
                  <a:gd name="connsiteY4" fmla="*/ 1866 h 2936"/>
                  <a:gd name="connsiteX5" fmla="*/ 3266 w 3650"/>
                  <a:gd name="connsiteY5" fmla="*/ 2854 h 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0" h="2936">
                    <a:moveTo>
                      <a:pt x="3294" y="2882"/>
                    </a:moveTo>
                    <a:lnTo>
                      <a:pt x="385" y="2937"/>
                    </a:lnTo>
                    <a:lnTo>
                      <a:pt x="0" y="1345"/>
                    </a:lnTo>
                    <a:lnTo>
                      <a:pt x="1509" y="0"/>
                    </a:lnTo>
                    <a:lnTo>
                      <a:pt x="3650" y="1866"/>
                    </a:lnTo>
                    <a:lnTo>
                      <a:pt x="3266" y="285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6" name="Freeform: Shape 4535">
                <a:extLst>
                  <a:ext uri="{FF2B5EF4-FFF2-40B4-BE49-F238E27FC236}">
                    <a16:creationId xmlns:a16="http://schemas.microsoft.com/office/drawing/2014/main" id="{F188A2A7-7FE0-71B5-B0B8-1D8ABB014884}"/>
                  </a:ext>
                </a:extLst>
              </p:cNvPr>
              <p:cNvSpPr/>
              <p:nvPr/>
            </p:nvSpPr>
            <p:spPr>
              <a:xfrm>
                <a:off x="1700782" y="3805031"/>
                <a:ext cx="338" cy="329"/>
              </a:xfrm>
              <a:custGeom>
                <a:avLst/>
                <a:gdLst>
                  <a:gd name="connsiteX0" fmla="*/ 3238 w 3238"/>
                  <a:gd name="connsiteY0" fmla="*/ 988 h 3155"/>
                  <a:gd name="connsiteX1" fmla="*/ 2854 w 3238"/>
                  <a:gd name="connsiteY1" fmla="*/ 3156 h 3155"/>
                  <a:gd name="connsiteX2" fmla="*/ 411 w 3238"/>
                  <a:gd name="connsiteY2" fmla="*/ 2881 h 3155"/>
                  <a:gd name="connsiteX3" fmla="*/ 0 w 3238"/>
                  <a:gd name="connsiteY3" fmla="*/ 1701 h 3155"/>
                  <a:gd name="connsiteX4" fmla="*/ 988 w 3238"/>
                  <a:gd name="connsiteY4" fmla="*/ 0 h 3155"/>
                  <a:gd name="connsiteX5" fmla="*/ 3211 w 3238"/>
                  <a:gd name="connsiteY5" fmla="*/ 960 h 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8" h="3155">
                    <a:moveTo>
                      <a:pt x="3238" y="988"/>
                    </a:moveTo>
                    <a:lnTo>
                      <a:pt x="2854" y="3156"/>
                    </a:lnTo>
                    <a:lnTo>
                      <a:pt x="411" y="2881"/>
                    </a:lnTo>
                    <a:lnTo>
                      <a:pt x="0" y="1701"/>
                    </a:lnTo>
                    <a:lnTo>
                      <a:pt x="988" y="0"/>
                    </a:lnTo>
                    <a:lnTo>
                      <a:pt x="3211" y="96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7" name="Freeform: Shape 4536">
                <a:extLst>
                  <a:ext uri="{FF2B5EF4-FFF2-40B4-BE49-F238E27FC236}">
                    <a16:creationId xmlns:a16="http://schemas.microsoft.com/office/drawing/2014/main" id="{BE604C08-EDFE-A18D-5C52-3A5CDEDAD703}"/>
                  </a:ext>
                </a:extLst>
              </p:cNvPr>
              <p:cNvSpPr/>
              <p:nvPr/>
            </p:nvSpPr>
            <p:spPr>
              <a:xfrm>
                <a:off x="1604442" y="3726028"/>
                <a:ext cx="7345" cy="9700"/>
              </a:xfrm>
              <a:custGeom>
                <a:avLst/>
                <a:gdLst>
                  <a:gd name="connsiteX0" fmla="*/ 30050 w 70419"/>
                  <a:gd name="connsiteY0" fmla="*/ 92977 h 93004"/>
                  <a:gd name="connsiteX1" fmla="*/ 24370 w 70419"/>
                  <a:gd name="connsiteY1" fmla="*/ 87022 h 93004"/>
                  <a:gd name="connsiteX2" fmla="*/ 23134 w 70419"/>
                  <a:gd name="connsiteY2" fmla="*/ 82438 h 93004"/>
                  <a:gd name="connsiteX3" fmla="*/ 24644 w 70419"/>
                  <a:gd name="connsiteY3" fmla="*/ 79722 h 93004"/>
                  <a:gd name="connsiteX4" fmla="*/ 24095 w 70419"/>
                  <a:gd name="connsiteY4" fmla="*/ 73190 h 93004"/>
                  <a:gd name="connsiteX5" fmla="*/ 21735 w 70419"/>
                  <a:gd name="connsiteY5" fmla="*/ 69074 h 93004"/>
                  <a:gd name="connsiteX6" fmla="*/ 29255 w 70419"/>
                  <a:gd name="connsiteY6" fmla="*/ 64765 h 93004"/>
                  <a:gd name="connsiteX7" fmla="*/ 31066 w 70419"/>
                  <a:gd name="connsiteY7" fmla="*/ 58646 h 93004"/>
                  <a:gd name="connsiteX8" fmla="*/ 22366 w 70419"/>
                  <a:gd name="connsiteY8" fmla="*/ 52608 h 93004"/>
                  <a:gd name="connsiteX9" fmla="*/ 10703 w 70419"/>
                  <a:gd name="connsiteY9" fmla="*/ 48327 h 93004"/>
                  <a:gd name="connsiteX10" fmla="*/ 7574 w 70419"/>
                  <a:gd name="connsiteY10" fmla="*/ 36252 h 93004"/>
                  <a:gd name="connsiteX11" fmla="*/ 2689 w 70419"/>
                  <a:gd name="connsiteY11" fmla="*/ 26071 h 93004"/>
                  <a:gd name="connsiteX12" fmla="*/ 5571 w 70419"/>
                  <a:gd name="connsiteY12" fmla="*/ 18030 h 93004"/>
                  <a:gd name="connsiteX13" fmla="*/ 0 w 70419"/>
                  <a:gd name="connsiteY13" fmla="*/ 17536 h 93004"/>
                  <a:gd name="connsiteX14" fmla="*/ 23629 w 70419"/>
                  <a:gd name="connsiteY14" fmla="*/ 2031 h 93004"/>
                  <a:gd name="connsiteX15" fmla="*/ 41439 w 70419"/>
                  <a:gd name="connsiteY15" fmla="*/ 0 h 93004"/>
                  <a:gd name="connsiteX16" fmla="*/ 48245 w 70419"/>
                  <a:gd name="connsiteY16" fmla="*/ 4693 h 93004"/>
                  <a:gd name="connsiteX17" fmla="*/ 52169 w 70419"/>
                  <a:gd name="connsiteY17" fmla="*/ 10950 h 93004"/>
                  <a:gd name="connsiteX18" fmla="*/ 58618 w 70419"/>
                  <a:gd name="connsiteY18" fmla="*/ 14490 h 93004"/>
                  <a:gd name="connsiteX19" fmla="*/ 61829 w 70419"/>
                  <a:gd name="connsiteY19" fmla="*/ 19594 h 93004"/>
                  <a:gd name="connsiteX20" fmla="*/ 67483 w 70419"/>
                  <a:gd name="connsiteY20" fmla="*/ 15889 h 93004"/>
                  <a:gd name="connsiteX21" fmla="*/ 70419 w 70419"/>
                  <a:gd name="connsiteY21" fmla="*/ 18771 h 93004"/>
                  <a:gd name="connsiteX22" fmla="*/ 65918 w 70419"/>
                  <a:gd name="connsiteY22" fmla="*/ 40314 h 93004"/>
                  <a:gd name="connsiteX23" fmla="*/ 62240 w 70419"/>
                  <a:gd name="connsiteY23" fmla="*/ 46763 h 93004"/>
                  <a:gd name="connsiteX24" fmla="*/ 57603 w 70419"/>
                  <a:gd name="connsiteY24" fmla="*/ 48601 h 93004"/>
                  <a:gd name="connsiteX25" fmla="*/ 52471 w 70419"/>
                  <a:gd name="connsiteY25" fmla="*/ 55188 h 93004"/>
                  <a:gd name="connsiteX26" fmla="*/ 47559 w 70419"/>
                  <a:gd name="connsiteY26" fmla="*/ 55188 h 93004"/>
                  <a:gd name="connsiteX27" fmla="*/ 47943 w 70419"/>
                  <a:gd name="connsiteY27" fmla="*/ 61527 h 93004"/>
                  <a:gd name="connsiteX28" fmla="*/ 43388 w 70419"/>
                  <a:gd name="connsiteY28" fmla="*/ 70254 h 93004"/>
                  <a:gd name="connsiteX29" fmla="*/ 29336 w 70419"/>
                  <a:gd name="connsiteY29" fmla="*/ 71269 h 93004"/>
                  <a:gd name="connsiteX30" fmla="*/ 33535 w 70419"/>
                  <a:gd name="connsiteY30" fmla="*/ 83372 h 93004"/>
                  <a:gd name="connsiteX31" fmla="*/ 29255 w 70419"/>
                  <a:gd name="connsiteY31" fmla="*/ 86253 h 93004"/>
                  <a:gd name="connsiteX32" fmla="*/ 30077 w 70419"/>
                  <a:gd name="connsiteY32" fmla="*/ 93004 h 9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0419" h="93004">
                    <a:moveTo>
                      <a:pt x="30050" y="92977"/>
                    </a:moveTo>
                    <a:lnTo>
                      <a:pt x="24370" y="87022"/>
                    </a:lnTo>
                    <a:lnTo>
                      <a:pt x="23134" y="82438"/>
                    </a:lnTo>
                    <a:lnTo>
                      <a:pt x="24644" y="79722"/>
                    </a:lnTo>
                    <a:lnTo>
                      <a:pt x="24095" y="73190"/>
                    </a:lnTo>
                    <a:lnTo>
                      <a:pt x="21735" y="69074"/>
                    </a:lnTo>
                    <a:lnTo>
                      <a:pt x="29255" y="64765"/>
                    </a:lnTo>
                    <a:lnTo>
                      <a:pt x="31066" y="58646"/>
                    </a:lnTo>
                    <a:lnTo>
                      <a:pt x="22366" y="52608"/>
                    </a:lnTo>
                    <a:lnTo>
                      <a:pt x="10703" y="48327"/>
                    </a:lnTo>
                    <a:lnTo>
                      <a:pt x="7574" y="36252"/>
                    </a:lnTo>
                    <a:lnTo>
                      <a:pt x="2689" y="26071"/>
                    </a:lnTo>
                    <a:lnTo>
                      <a:pt x="5571" y="18030"/>
                    </a:lnTo>
                    <a:lnTo>
                      <a:pt x="0" y="17536"/>
                    </a:lnTo>
                    <a:lnTo>
                      <a:pt x="23629" y="2031"/>
                    </a:lnTo>
                    <a:lnTo>
                      <a:pt x="41439" y="0"/>
                    </a:lnTo>
                    <a:lnTo>
                      <a:pt x="48245" y="4693"/>
                    </a:lnTo>
                    <a:lnTo>
                      <a:pt x="52169" y="10950"/>
                    </a:lnTo>
                    <a:lnTo>
                      <a:pt x="58618" y="14490"/>
                    </a:lnTo>
                    <a:lnTo>
                      <a:pt x="61829" y="19594"/>
                    </a:lnTo>
                    <a:lnTo>
                      <a:pt x="67483" y="15889"/>
                    </a:lnTo>
                    <a:lnTo>
                      <a:pt x="70419" y="18771"/>
                    </a:lnTo>
                    <a:lnTo>
                      <a:pt x="65918" y="40314"/>
                    </a:lnTo>
                    <a:lnTo>
                      <a:pt x="62240" y="46763"/>
                    </a:lnTo>
                    <a:lnTo>
                      <a:pt x="57603" y="48601"/>
                    </a:lnTo>
                    <a:lnTo>
                      <a:pt x="52471" y="55188"/>
                    </a:lnTo>
                    <a:lnTo>
                      <a:pt x="47559" y="55188"/>
                    </a:lnTo>
                    <a:cubicBezTo>
                      <a:pt x="47559" y="55188"/>
                      <a:pt x="47943" y="61527"/>
                      <a:pt x="47943" y="61527"/>
                    </a:cubicBezTo>
                    <a:lnTo>
                      <a:pt x="43388" y="70254"/>
                    </a:lnTo>
                    <a:lnTo>
                      <a:pt x="29336" y="71269"/>
                    </a:lnTo>
                    <a:lnTo>
                      <a:pt x="33535" y="83372"/>
                    </a:lnTo>
                    <a:lnTo>
                      <a:pt x="29255" y="86253"/>
                    </a:lnTo>
                    <a:lnTo>
                      <a:pt x="30077" y="930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8" name="Freeform: Shape 4537">
                <a:extLst>
                  <a:ext uri="{FF2B5EF4-FFF2-40B4-BE49-F238E27FC236}">
                    <a16:creationId xmlns:a16="http://schemas.microsoft.com/office/drawing/2014/main" id="{3DAB28D0-BB3D-D77F-39FE-EF281BAF03F2}"/>
                  </a:ext>
                </a:extLst>
              </p:cNvPr>
              <p:cNvSpPr/>
              <p:nvPr/>
            </p:nvSpPr>
            <p:spPr>
              <a:xfrm>
                <a:off x="1646301" y="3749945"/>
                <a:ext cx="17798" cy="8922"/>
              </a:xfrm>
              <a:custGeom>
                <a:avLst/>
                <a:gdLst>
                  <a:gd name="connsiteX0" fmla="*/ 169845 w 170640"/>
                  <a:gd name="connsiteY0" fmla="*/ 40780 h 85539"/>
                  <a:gd name="connsiteX1" fmla="*/ 170641 w 170640"/>
                  <a:gd name="connsiteY1" fmla="*/ 50605 h 85539"/>
                  <a:gd name="connsiteX2" fmla="*/ 161337 w 170640"/>
                  <a:gd name="connsiteY2" fmla="*/ 56231 h 85539"/>
                  <a:gd name="connsiteX3" fmla="*/ 159745 w 170640"/>
                  <a:gd name="connsiteY3" fmla="*/ 53047 h 85539"/>
                  <a:gd name="connsiteX4" fmla="*/ 137627 w 170640"/>
                  <a:gd name="connsiteY4" fmla="*/ 40314 h 85539"/>
                  <a:gd name="connsiteX5" fmla="*/ 130189 w 170640"/>
                  <a:gd name="connsiteY5" fmla="*/ 40643 h 85539"/>
                  <a:gd name="connsiteX6" fmla="*/ 124866 w 170640"/>
                  <a:gd name="connsiteY6" fmla="*/ 38118 h 85539"/>
                  <a:gd name="connsiteX7" fmla="*/ 113312 w 170640"/>
                  <a:gd name="connsiteY7" fmla="*/ 42619 h 85539"/>
                  <a:gd name="connsiteX8" fmla="*/ 108372 w 170640"/>
                  <a:gd name="connsiteY8" fmla="*/ 49919 h 85539"/>
                  <a:gd name="connsiteX9" fmla="*/ 96764 w 170640"/>
                  <a:gd name="connsiteY9" fmla="*/ 56395 h 85539"/>
                  <a:gd name="connsiteX10" fmla="*/ 87324 w 170640"/>
                  <a:gd name="connsiteY10" fmla="*/ 60704 h 85539"/>
                  <a:gd name="connsiteX11" fmla="*/ 79146 w 170640"/>
                  <a:gd name="connsiteY11" fmla="*/ 62103 h 85539"/>
                  <a:gd name="connsiteX12" fmla="*/ 69019 w 170640"/>
                  <a:gd name="connsiteY12" fmla="*/ 72504 h 85539"/>
                  <a:gd name="connsiteX13" fmla="*/ 64409 w 170640"/>
                  <a:gd name="connsiteY13" fmla="*/ 80243 h 85539"/>
                  <a:gd name="connsiteX14" fmla="*/ 45583 w 170640"/>
                  <a:gd name="connsiteY14" fmla="*/ 84525 h 85539"/>
                  <a:gd name="connsiteX15" fmla="*/ 31258 w 170640"/>
                  <a:gd name="connsiteY15" fmla="*/ 82466 h 85539"/>
                  <a:gd name="connsiteX16" fmla="*/ 24397 w 170640"/>
                  <a:gd name="connsiteY16" fmla="*/ 84003 h 85539"/>
                  <a:gd name="connsiteX17" fmla="*/ 20665 w 170640"/>
                  <a:gd name="connsiteY17" fmla="*/ 84662 h 85539"/>
                  <a:gd name="connsiteX18" fmla="*/ 15752 w 170640"/>
                  <a:gd name="connsiteY18" fmla="*/ 85540 h 85539"/>
                  <a:gd name="connsiteX19" fmla="*/ 13530 w 170640"/>
                  <a:gd name="connsiteY19" fmla="*/ 76785 h 85539"/>
                  <a:gd name="connsiteX20" fmla="*/ 15231 w 170640"/>
                  <a:gd name="connsiteY20" fmla="*/ 69733 h 85539"/>
                  <a:gd name="connsiteX21" fmla="*/ 12569 w 170640"/>
                  <a:gd name="connsiteY21" fmla="*/ 65479 h 85539"/>
                  <a:gd name="connsiteX22" fmla="*/ 1126 w 170640"/>
                  <a:gd name="connsiteY22" fmla="*/ 63229 h 85539"/>
                  <a:gd name="connsiteX23" fmla="*/ 0 w 170640"/>
                  <a:gd name="connsiteY23" fmla="*/ 59935 h 85539"/>
                  <a:gd name="connsiteX24" fmla="*/ 2031 w 170640"/>
                  <a:gd name="connsiteY24" fmla="*/ 55737 h 85539"/>
                  <a:gd name="connsiteX25" fmla="*/ 11691 w 170640"/>
                  <a:gd name="connsiteY25" fmla="*/ 56368 h 85539"/>
                  <a:gd name="connsiteX26" fmla="*/ 19485 w 170640"/>
                  <a:gd name="connsiteY26" fmla="*/ 52965 h 85539"/>
                  <a:gd name="connsiteX27" fmla="*/ 20665 w 170640"/>
                  <a:gd name="connsiteY27" fmla="*/ 53075 h 85539"/>
                  <a:gd name="connsiteX28" fmla="*/ 25138 w 170640"/>
                  <a:gd name="connsiteY28" fmla="*/ 53541 h 85539"/>
                  <a:gd name="connsiteX29" fmla="*/ 31176 w 170640"/>
                  <a:gd name="connsiteY29" fmla="*/ 50358 h 85539"/>
                  <a:gd name="connsiteX30" fmla="*/ 35045 w 170640"/>
                  <a:gd name="connsiteY30" fmla="*/ 42674 h 85539"/>
                  <a:gd name="connsiteX31" fmla="*/ 47724 w 170640"/>
                  <a:gd name="connsiteY31" fmla="*/ 35182 h 85539"/>
                  <a:gd name="connsiteX32" fmla="*/ 51044 w 170640"/>
                  <a:gd name="connsiteY32" fmla="*/ 27031 h 85539"/>
                  <a:gd name="connsiteX33" fmla="*/ 67510 w 170640"/>
                  <a:gd name="connsiteY33" fmla="*/ 22366 h 85539"/>
                  <a:gd name="connsiteX34" fmla="*/ 73685 w 170640"/>
                  <a:gd name="connsiteY34" fmla="*/ 15450 h 85539"/>
                  <a:gd name="connsiteX35" fmla="*/ 85211 w 170640"/>
                  <a:gd name="connsiteY35" fmla="*/ 6971 h 85539"/>
                  <a:gd name="connsiteX36" fmla="*/ 91165 w 170640"/>
                  <a:gd name="connsiteY36" fmla="*/ 5077 h 85539"/>
                  <a:gd name="connsiteX37" fmla="*/ 96133 w 170640"/>
                  <a:gd name="connsiteY37" fmla="*/ 8343 h 85539"/>
                  <a:gd name="connsiteX38" fmla="*/ 108537 w 170640"/>
                  <a:gd name="connsiteY38" fmla="*/ 10922 h 85539"/>
                  <a:gd name="connsiteX39" fmla="*/ 120612 w 170640"/>
                  <a:gd name="connsiteY39" fmla="*/ 6696 h 85539"/>
                  <a:gd name="connsiteX40" fmla="*/ 131836 w 170640"/>
                  <a:gd name="connsiteY40" fmla="*/ 0 h 85539"/>
                  <a:gd name="connsiteX41" fmla="*/ 139768 w 170640"/>
                  <a:gd name="connsiteY41" fmla="*/ 6422 h 85539"/>
                  <a:gd name="connsiteX42" fmla="*/ 135212 w 170640"/>
                  <a:gd name="connsiteY42" fmla="*/ 11746 h 85539"/>
                  <a:gd name="connsiteX43" fmla="*/ 135651 w 170640"/>
                  <a:gd name="connsiteY43" fmla="*/ 15807 h 85539"/>
                  <a:gd name="connsiteX44" fmla="*/ 143966 w 170640"/>
                  <a:gd name="connsiteY44" fmla="*/ 13612 h 85539"/>
                  <a:gd name="connsiteX45" fmla="*/ 147506 w 170640"/>
                  <a:gd name="connsiteY45" fmla="*/ 20445 h 85539"/>
                  <a:gd name="connsiteX46" fmla="*/ 141030 w 170640"/>
                  <a:gd name="connsiteY46" fmla="*/ 29940 h 85539"/>
                  <a:gd name="connsiteX47" fmla="*/ 140783 w 170640"/>
                  <a:gd name="connsiteY47" fmla="*/ 34743 h 85539"/>
                  <a:gd name="connsiteX48" fmla="*/ 149454 w 170640"/>
                  <a:gd name="connsiteY48" fmla="*/ 33151 h 85539"/>
                  <a:gd name="connsiteX49" fmla="*/ 154915 w 170640"/>
                  <a:gd name="connsiteY49" fmla="*/ 35648 h 85539"/>
                  <a:gd name="connsiteX50" fmla="*/ 163615 w 170640"/>
                  <a:gd name="connsiteY50" fmla="*/ 36444 h 85539"/>
                  <a:gd name="connsiteX51" fmla="*/ 169872 w 170640"/>
                  <a:gd name="connsiteY51" fmla="*/ 40780 h 8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70640" h="85539">
                    <a:moveTo>
                      <a:pt x="169845" y="40780"/>
                    </a:moveTo>
                    <a:lnTo>
                      <a:pt x="170641" y="50605"/>
                    </a:lnTo>
                    <a:lnTo>
                      <a:pt x="161337" y="56231"/>
                    </a:lnTo>
                    <a:lnTo>
                      <a:pt x="159745" y="53047"/>
                    </a:lnTo>
                    <a:lnTo>
                      <a:pt x="137627" y="40314"/>
                    </a:lnTo>
                    <a:lnTo>
                      <a:pt x="130189" y="40643"/>
                    </a:lnTo>
                    <a:lnTo>
                      <a:pt x="124866" y="38118"/>
                    </a:lnTo>
                    <a:lnTo>
                      <a:pt x="113312" y="42619"/>
                    </a:lnTo>
                    <a:lnTo>
                      <a:pt x="108372" y="49919"/>
                    </a:lnTo>
                    <a:lnTo>
                      <a:pt x="96764" y="56395"/>
                    </a:lnTo>
                    <a:lnTo>
                      <a:pt x="87324" y="60704"/>
                    </a:lnTo>
                    <a:lnTo>
                      <a:pt x="79146" y="62103"/>
                    </a:lnTo>
                    <a:lnTo>
                      <a:pt x="69019" y="72504"/>
                    </a:lnTo>
                    <a:lnTo>
                      <a:pt x="64409" y="80243"/>
                    </a:lnTo>
                    <a:lnTo>
                      <a:pt x="45583" y="84525"/>
                    </a:lnTo>
                    <a:lnTo>
                      <a:pt x="31258" y="82466"/>
                    </a:lnTo>
                    <a:lnTo>
                      <a:pt x="24397" y="84003"/>
                    </a:lnTo>
                    <a:lnTo>
                      <a:pt x="20665" y="84662"/>
                    </a:lnTo>
                    <a:lnTo>
                      <a:pt x="15752" y="85540"/>
                    </a:lnTo>
                    <a:lnTo>
                      <a:pt x="13530" y="76785"/>
                    </a:lnTo>
                    <a:lnTo>
                      <a:pt x="15231" y="69733"/>
                    </a:lnTo>
                    <a:lnTo>
                      <a:pt x="12569" y="65479"/>
                    </a:lnTo>
                    <a:lnTo>
                      <a:pt x="1126" y="63229"/>
                    </a:lnTo>
                    <a:lnTo>
                      <a:pt x="0" y="59935"/>
                    </a:lnTo>
                    <a:lnTo>
                      <a:pt x="2031" y="55737"/>
                    </a:lnTo>
                    <a:lnTo>
                      <a:pt x="11691" y="56368"/>
                    </a:lnTo>
                    <a:lnTo>
                      <a:pt x="19485" y="52965"/>
                    </a:lnTo>
                    <a:lnTo>
                      <a:pt x="20665" y="53075"/>
                    </a:lnTo>
                    <a:lnTo>
                      <a:pt x="25138" y="53541"/>
                    </a:lnTo>
                    <a:lnTo>
                      <a:pt x="31176" y="50358"/>
                    </a:lnTo>
                    <a:lnTo>
                      <a:pt x="35045" y="42674"/>
                    </a:lnTo>
                    <a:lnTo>
                      <a:pt x="47724" y="35182"/>
                    </a:lnTo>
                    <a:lnTo>
                      <a:pt x="51044" y="27031"/>
                    </a:lnTo>
                    <a:lnTo>
                      <a:pt x="67510" y="22366"/>
                    </a:lnTo>
                    <a:lnTo>
                      <a:pt x="73685" y="15450"/>
                    </a:lnTo>
                    <a:lnTo>
                      <a:pt x="85211" y="6971"/>
                    </a:lnTo>
                    <a:lnTo>
                      <a:pt x="91165" y="5077"/>
                    </a:lnTo>
                    <a:lnTo>
                      <a:pt x="96133" y="8343"/>
                    </a:lnTo>
                    <a:lnTo>
                      <a:pt x="108537" y="10922"/>
                    </a:lnTo>
                    <a:lnTo>
                      <a:pt x="120612" y="6696"/>
                    </a:lnTo>
                    <a:lnTo>
                      <a:pt x="131836" y="0"/>
                    </a:lnTo>
                    <a:lnTo>
                      <a:pt x="139768" y="6422"/>
                    </a:lnTo>
                    <a:lnTo>
                      <a:pt x="135212" y="11746"/>
                    </a:lnTo>
                    <a:lnTo>
                      <a:pt x="135651" y="15807"/>
                    </a:lnTo>
                    <a:lnTo>
                      <a:pt x="143966" y="13612"/>
                    </a:lnTo>
                    <a:lnTo>
                      <a:pt x="147506" y="20445"/>
                    </a:lnTo>
                    <a:lnTo>
                      <a:pt x="141030" y="29940"/>
                    </a:lnTo>
                    <a:lnTo>
                      <a:pt x="140783" y="34743"/>
                    </a:lnTo>
                    <a:lnTo>
                      <a:pt x="149454" y="33151"/>
                    </a:lnTo>
                    <a:lnTo>
                      <a:pt x="154915" y="35648"/>
                    </a:lnTo>
                    <a:lnTo>
                      <a:pt x="163615" y="36444"/>
                    </a:lnTo>
                    <a:lnTo>
                      <a:pt x="169872" y="4078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39" name="Freeform: Shape 4538">
                <a:extLst>
                  <a:ext uri="{FF2B5EF4-FFF2-40B4-BE49-F238E27FC236}">
                    <a16:creationId xmlns:a16="http://schemas.microsoft.com/office/drawing/2014/main" id="{75B86583-5C70-0566-D99B-E66DA0918595}"/>
                  </a:ext>
                </a:extLst>
              </p:cNvPr>
              <p:cNvSpPr/>
              <p:nvPr/>
            </p:nvSpPr>
            <p:spPr>
              <a:xfrm>
                <a:off x="1608183" y="3736424"/>
                <a:ext cx="1251" cy="2430"/>
              </a:xfrm>
              <a:custGeom>
                <a:avLst/>
                <a:gdLst>
                  <a:gd name="connsiteX0" fmla="*/ 10950 w 11992"/>
                  <a:gd name="connsiteY0" fmla="*/ 20363 h 23299"/>
                  <a:gd name="connsiteX1" fmla="*/ 3156 w 11992"/>
                  <a:gd name="connsiteY1" fmla="*/ 23299 h 23299"/>
                  <a:gd name="connsiteX2" fmla="*/ 4034 w 11992"/>
                  <a:gd name="connsiteY2" fmla="*/ 16548 h 23299"/>
                  <a:gd name="connsiteX3" fmla="*/ 0 w 11992"/>
                  <a:gd name="connsiteY3" fmla="*/ 0 h 23299"/>
                  <a:gd name="connsiteX4" fmla="*/ 7026 w 11992"/>
                  <a:gd name="connsiteY4" fmla="*/ 851 h 23299"/>
                  <a:gd name="connsiteX5" fmla="*/ 6696 w 11992"/>
                  <a:gd name="connsiteY5" fmla="*/ 7904 h 23299"/>
                  <a:gd name="connsiteX6" fmla="*/ 11992 w 11992"/>
                  <a:gd name="connsiteY6" fmla="*/ 17509 h 23299"/>
                  <a:gd name="connsiteX7" fmla="*/ 10922 w 11992"/>
                  <a:gd name="connsiteY7" fmla="*/ 20335 h 2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92" h="23299">
                    <a:moveTo>
                      <a:pt x="10950" y="20363"/>
                    </a:moveTo>
                    <a:lnTo>
                      <a:pt x="3156" y="23299"/>
                    </a:lnTo>
                    <a:lnTo>
                      <a:pt x="4034" y="16548"/>
                    </a:lnTo>
                    <a:lnTo>
                      <a:pt x="0" y="0"/>
                    </a:lnTo>
                    <a:lnTo>
                      <a:pt x="7026" y="851"/>
                    </a:lnTo>
                    <a:lnTo>
                      <a:pt x="6696" y="7904"/>
                    </a:lnTo>
                    <a:lnTo>
                      <a:pt x="11992" y="17509"/>
                    </a:lnTo>
                    <a:lnTo>
                      <a:pt x="10922" y="2033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0" name="Freeform: Shape 4539">
                <a:extLst>
                  <a:ext uri="{FF2B5EF4-FFF2-40B4-BE49-F238E27FC236}">
                    <a16:creationId xmlns:a16="http://schemas.microsoft.com/office/drawing/2014/main" id="{E4818696-8CAA-E23B-1908-CE45327DB8BC}"/>
                  </a:ext>
                </a:extLst>
              </p:cNvPr>
              <p:cNvSpPr/>
              <p:nvPr/>
            </p:nvSpPr>
            <p:spPr>
              <a:xfrm>
                <a:off x="1607393" y="3742804"/>
                <a:ext cx="1637" cy="1686"/>
              </a:xfrm>
              <a:custGeom>
                <a:avLst/>
                <a:gdLst>
                  <a:gd name="connsiteX0" fmla="*/ 15697 w 15697"/>
                  <a:gd name="connsiteY0" fmla="*/ 12624 h 16163"/>
                  <a:gd name="connsiteX1" fmla="*/ 11306 w 15697"/>
                  <a:gd name="connsiteY1" fmla="*/ 16164 h 16163"/>
                  <a:gd name="connsiteX2" fmla="*/ 5516 w 15697"/>
                  <a:gd name="connsiteY2" fmla="*/ 14325 h 16163"/>
                  <a:gd name="connsiteX3" fmla="*/ 0 w 15697"/>
                  <a:gd name="connsiteY3" fmla="*/ 5461 h 16163"/>
                  <a:gd name="connsiteX4" fmla="*/ 6065 w 15697"/>
                  <a:gd name="connsiteY4" fmla="*/ 0 h 16163"/>
                  <a:gd name="connsiteX5" fmla="*/ 15697 w 15697"/>
                  <a:gd name="connsiteY5" fmla="*/ 12624 h 1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97" h="16163">
                    <a:moveTo>
                      <a:pt x="15697" y="12624"/>
                    </a:moveTo>
                    <a:lnTo>
                      <a:pt x="11306" y="16164"/>
                    </a:lnTo>
                    <a:lnTo>
                      <a:pt x="5516" y="14325"/>
                    </a:lnTo>
                    <a:lnTo>
                      <a:pt x="0" y="5461"/>
                    </a:lnTo>
                    <a:lnTo>
                      <a:pt x="6065" y="0"/>
                    </a:lnTo>
                    <a:lnTo>
                      <a:pt x="15697" y="1262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1" name="Freeform: Shape 4540">
                <a:extLst>
                  <a:ext uri="{FF2B5EF4-FFF2-40B4-BE49-F238E27FC236}">
                    <a16:creationId xmlns:a16="http://schemas.microsoft.com/office/drawing/2014/main" id="{D89E4584-0330-3BCD-9422-ADDE6532F2CD}"/>
                  </a:ext>
                </a:extLst>
              </p:cNvPr>
              <p:cNvSpPr/>
              <p:nvPr/>
            </p:nvSpPr>
            <p:spPr>
              <a:xfrm>
                <a:off x="1606076" y="3739879"/>
                <a:ext cx="950" cy="1096"/>
              </a:xfrm>
              <a:custGeom>
                <a:avLst/>
                <a:gdLst>
                  <a:gd name="connsiteX0" fmla="*/ 6038 w 9111"/>
                  <a:gd name="connsiteY0" fmla="*/ 4610 h 10510"/>
                  <a:gd name="connsiteX1" fmla="*/ 9111 w 9111"/>
                  <a:gd name="connsiteY1" fmla="*/ 10511 h 10510"/>
                  <a:gd name="connsiteX2" fmla="*/ 0 w 9111"/>
                  <a:gd name="connsiteY2" fmla="*/ 2799 h 10510"/>
                  <a:gd name="connsiteX3" fmla="*/ 412 w 9111"/>
                  <a:gd name="connsiteY3" fmla="*/ 0 h 10510"/>
                  <a:gd name="connsiteX4" fmla="*/ 6011 w 9111"/>
                  <a:gd name="connsiteY4" fmla="*/ 4583 h 10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1" h="10510">
                    <a:moveTo>
                      <a:pt x="6038" y="4610"/>
                    </a:moveTo>
                    <a:lnTo>
                      <a:pt x="9111" y="10511"/>
                    </a:lnTo>
                    <a:lnTo>
                      <a:pt x="0" y="2799"/>
                    </a:lnTo>
                    <a:lnTo>
                      <a:pt x="412" y="0"/>
                    </a:lnTo>
                    <a:lnTo>
                      <a:pt x="6011" y="4583"/>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2" name="Freeform: Shape 4541">
                <a:extLst>
                  <a:ext uri="{FF2B5EF4-FFF2-40B4-BE49-F238E27FC236}">
                    <a16:creationId xmlns:a16="http://schemas.microsoft.com/office/drawing/2014/main" id="{4D67C7A3-BF71-09D6-559C-8D8FE5E0D0CB}"/>
                  </a:ext>
                </a:extLst>
              </p:cNvPr>
              <p:cNvSpPr/>
              <p:nvPr/>
            </p:nvSpPr>
            <p:spPr>
              <a:xfrm>
                <a:off x="1610659" y="3744799"/>
                <a:ext cx="904" cy="1039"/>
              </a:xfrm>
              <a:custGeom>
                <a:avLst/>
                <a:gdLst>
                  <a:gd name="connsiteX0" fmla="*/ 7328 w 8672"/>
                  <a:gd name="connsiteY0" fmla="*/ 6943 h 9961"/>
                  <a:gd name="connsiteX1" fmla="*/ 7794 w 8672"/>
                  <a:gd name="connsiteY1" fmla="*/ 9962 h 9961"/>
                  <a:gd name="connsiteX2" fmla="*/ 0 w 8672"/>
                  <a:gd name="connsiteY2" fmla="*/ 0 h 9961"/>
                  <a:gd name="connsiteX3" fmla="*/ 1181 w 8672"/>
                  <a:gd name="connsiteY3" fmla="*/ 55 h 9961"/>
                  <a:gd name="connsiteX4" fmla="*/ 3623 w 8672"/>
                  <a:gd name="connsiteY4" fmla="*/ 2580 h 9961"/>
                  <a:gd name="connsiteX5" fmla="*/ 6724 w 8672"/>
                  <a:gd name="connsiteY5" fmla="*/ 2580 h 9961"/>
                  <a:gd name="connsiteX6" fmla="*/ 8508 w 8672"/>
                  <a:gd name="connsiteY6" fmla="*/ 4144 h 9961"/>
                  <a:gd name="connsiteX7" fmla="*/ 8672 w 8672"/>
                  <a:gd name="connsiteY7" fmla="*/ 5489 h 9961"/>
                  <a:gd name="connsiteX8" fmla="*/ 7328 w 8672"/>
                  <a:gd name="connsiteY8" fmla="*/ 6971 h 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2" h="9961">
                    <a:moveTo>
                      <a:pt x="7328" y="6943"/>
                    </a:moveTo>
                    <a:lnTo>
                      <a:pt x="7794" y="9962"/>
                    </a:lnTo>
                    <a:lnTo>
                      <a:pt x="0" y="0"/>
                    </a:lnTo>
                    <a:lnTo>
                      <a:pt x="1181" y="55"/>
                    </a:lnTo>
                    <a:lnTo>
                      <a:pt x="3623" y="2580"/>
                    </a:lnTo>
                    <a:lnTo>
                      <a:pt x="6724" y="2580"/>
                    </a:lnTo>
                    <a:lnTo>
                      <a:pt x="8508" y="4144"/>
                    </a:lnTo>
                    <a:lnTo>
                      <a:pt x="8672" y="5489"/>
                    </a:lnTo>
                    <a:lnTo>
                      <a:pt x="7328" y="697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3" name="Freeform: Shape 4542">
                <a:extLst>
                  <a:ext uri="{FF2B5EF4-FFF2-40B4-BE49-F238E27FC236}">
                    <a16:creationId xmlns:a16="http://schemas.microsoft.com/office/drawing/2014/main" id="{2258274D-71BE-EAB2-416C-6DB1B36EC745}"/>
                  </a:ext>
                </a:extLst>
              </p:cNvPr>
              <p:cNvSpPr/>
              <p:nvPr/>
            </p:nvSpPr>
            <p:spPr>
              <a:xfrm>
                <a:off x="1469958" y="3771441"/>
                <a:ext cx="8581" cy="3798"/>
              </a:xfrm>
              <a:custGeom>
                <a:avLst/>
                <a:gdLst>
                  <a:gd name="connsiteX0" fmla="*/ 82247 w 82273"/>
                  <a:gd name="connsiteY0" fmla="*/ 36307 h 36416"/>
                  <a:gd name="connsiteX1" fmla="*/ 62350 w 82273"/>
                  <a:gd name="connsiteY1" fmla="*/ 36307 h 36416"/>
                  <a:gd name="connsiteX2" fmla="*/ 0 w 82273"/>
                  <a:gd name="connsiteY2" fmla="*/ 36417 h 36416"/>
                  <a:gd name="connsiteX3" fmla="*/ 2963 w 82273"/>
                  <a:gd name="connsiteY3" fmla="*/ 29940 h 36416"/>
                  <a:gd name="connsiteX4" fmla="*/ 17810 w 82273"/>
                  <a:gd name="connsiteY4" fmla="*/ 26483 h 36416"/>
                  <a:gd name="connsiteX5" fmla="*/ 25549 w 82273"/>
                  <a:gd name="connsiteY5" fmla="*/ 9825 h 36416"/>
                  <a:gd name="connsiteX6" fmla="*/ 33563 w 82273"/>
                  <a:gd name="connsiteY6" fmla="*/ 10813 h 36416"/>
                  <a:gd name="connsiteX7" fmla="*/ 45199 w 82273"/>
                  <a:gd name="connsiteY7" fmla="*/ 0 h 36416"/>
                  <a:gd name="connsiteX8" fmla="*/ 46982 w 82273"/>
                  <a:gd name="connsiteY8" fmla="*/ 6449 h 36416"/>
                  <a:gd name="connsiteX9" fmla="*/ 52773 w 82273"/>
                  <a:gd name="connsiteY9" fmla="*/ 13063 h 36416"/>
                  <a:gd name="connsiteX10" fmla="*/ 62378 w 82273"/>
                  <a:gd name="connsiteY10" fmla="*/ 16164 h 36416"/>
                  <a:gd name="connsiteX11" fmla="*/ 70061 w 82273"/>
                  <a:gd name="connsiteY11" fmla="*/ 25412 h 36416"/>
                  <a:gd name="connsiteX12" fmla="*/ 81203 w 82273"/>
                  <a:gd name="connsiteY12" fmla="*/ 33206 h 36416"/>
                  <a:gd name="connsiteX13" fmla="*/ 82274 w 82273"/>
                  <a:gd name="connsiteY13" fmla="*/ 36307 h 3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273" h="36416">
                    <a:moveTo>
                      <a:pt x="82247" y="36307"/>
                    </a:moveTo>
                    <a:lnTo>
                      <a:pt x="62350" y="36307"/>
                    </a:lnTo>
                    <a:cubicBezTo>
                      <a:pt x="62350" y="36307"/>
                      <a:pt x="0" y="36417"/>
                      <a:pt x="0" y="36417"/>
                    </a:cubicBezTo>
                    <a:lnTo>
                      <a:pt x="2963" y="29940"/>
                    </a:lnTo>
                    <a:lnTo>
                      <a:pt x="17810" y="26483"/>
                    </a:lnTo>
                    <a:lnTo>
                      <a:pt x="25549" y="9825"/>
                    </a:lnTo>
                    <a:lnTo>
                      <a:pt x="33563" y="10813"/>
                    </a:lnTo>
                    <a:lnTo>
                      <a:pt x="45199" y="0"/>
                    </a:lnTo>
                    <a:lnTo>
                      <a:pt x="46982" y="6449"/>
                    </a:lnTo>
                    <a:lnTo>
                      <a:pt x="52773" y="13063"/>
                    </a:lnTo>
                    <a:lnTo>
                      <a:pt x="62378" y="16164"/>
                    </a:lnTo>
                    <a:lnTo>
                      <a:pt x="70061" y="25412"/>
                    </a:lnTo>
                    <a:lnTo>
                      <a:pt x="81203" y="33206"/>
                    </a:lnTo>
                    <a:lnTo>
                      <a:pt x="82274" y="3630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4" name="Freeform: Shape 4543">
                <a:extLst>
                  <a:ext uri="{FF2B5EF4-FFF2-40B4-BE49-F238E27FC236}">
                    <a16:creationId xmlns:a16="http://schemas.microsoft.com/office/drawing/2014/main" id="{CA66D52C-7A4E-EEA8-3C8E-B9EF8CF1D866}"/>
                  </a:ext>
                </a:extLst>
              </p:cNvPr>
              <p:cNvSpPr/>
              <p:nvPr/>
            </p:nvSpPr>
            <p:spPr>
              <a:xfrm>
                <a:off x="1470851" y="3829083"/>
                <a:ext cx="3469" cy="1182"/>
              </a:xfrm>
              <a:custGeom>
                <a:avLst/>
                <a:gdLst>
                  <a:gd name="connsiteX0" fmla="*/ 33261 w 33261"/>
                  <a:gd name="connsiteY0" fmla="*/ 11334 h 11333"/>
                  <a:gd name="connsiteX1" fmla="*/ 0 w 33261"/>
                  <a:gd name="connsiteY1" fmla="*/ 11334 h 11333"/>
                  <a:gd name="connsiteX2" fmla="*/ 4254 w 33261"/>
                  <a:gd name="connsiteY2" fmla="*/ 7767 h 11333"/>
                  <a:gd name="connsiteX3" fmla="*/ 27306 w 33261"/>
                  <a:gd name="connsiteY3" fmla="*/ 0 h 11333"/>
                  <a:gd name="connsiteX4" fmla="*/ 28129 w 33261"/>
                  <a:gd name="connsiteY4" fmla="*/ 2552 h 11333"/>
                  <a:gd name="connsiteX5" fmla="*/ 31752 w 33261"/>
                  <a:gd name="connsiteY5" fmla="*/ 3074 h 11333"/>
                  <a:gd name="connsiteX6" fmla="*/ 31066 w 33261"/>
                  <a:gd name="connsiteY6" fmla="*/ 6998 h 11333"/>
                  <a:gd name="connsiteX7" fmla="*/ 33261 w 33261"/>
                  <a:gd name="connsiteY7" fmla="*/ 11334 h 1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61" h="11333">
                    <a:moveTo>
                      <a:pt x="33261" y="11334"/>
                    </a:moveTo>
                    <a:lnTo>
                      <a:pt x="0" y="11334"/>
                    </a:lnTo>
                    <a:lnTo>
                      <a:pt x="4254" y="7767"/>
                    </a:lnTo>
                    <a:lnTo>
                      <a:pt x="27306" y="0"/>
                    </a:lnTo>
                    <a:lnTo>
                      <a:pt x="28129" y="2552"/>
                    </a:lnTo>
                    <a:lnTo>
                      <a:pt x="31752" y="3074"/>
                    </a:lnTo>
                    <a:lnTo>
                      <a:pt x="31066" y="6998"/>
                    </a:lnTo>
                    <a:lnTo>
                      <a:pt x="33261" y="1133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5" name="Freeform: Shape 4544">
                <a:extLst>
                  <a:ext uri="{FF2B5EF4-FFF2-40B4-BE49-F238E27FC236}">
                    <a16:creationId xmlns:a16="http://schemas.microsoft.com/office/drawing/2014/main" id="{00911263-B469-DCFF-9B0A-44B8855A00BD}"/>
                  </a:ext>
                </a:extLst>
              </p:cNvPr>
              <p:cNvSpPr/>
              <p:nvPr/>
            </p:nvSpPr>
            <p:spPr>
              <a:xfrm>
                <a:off x="1587989" y="3721969"/>
                <a:ext cx="20612" cy="17701"/>
              </a:xfrm>
              <a:custGeom>
                <a:avLst/>
                <a:gdLst>
                  <a:gd name="connsiteX0" fmla="*/ 157687 w 197616"/>
                  <a:gd name="connsiteY0" fmla="*/ 56450 h 169707"/>
                  <a:gd name="connsiteX1" fmla="*/ 163258 w 197616"/>
                  <a:gd name="connsiteY1" fmla="*/ 56944 h 169707"/>
                  <a:gd name="connsiteX2" fmla="*/ 160377 w 197616"/>
                  <a:gd name="connsiteY2" fmla="*/ 64985 h 169707"/>
                  <a:gd name="connsiteX3" fmla="*/ 165262 w 197616"/>
                  <a:gd name="connsiteY3" fmla="*/ 75166 h 169707"/>
                  <a:gd name="connsiteX4" fmla="*/ 168390 w 197616"/>
                  <a:gd name="connsiteY4" fmla="*/ 87241 h 169707"/>
                  <a:gd name="connsiteX5" fmla="*/ 180054 w 197616"/>
                  <a:gd name="connsiteY5" fmla="*/ 91522 h 169707"/>
                  <a:gd name="connsiteX6" fmla="*/ 188753 w 197616"/>
                  <a:gd name="connsiteY6" fmla="*/ 97560 h 169707"/>
                  <a:gd name="connsiteX7" fmla="*/ 186942 w 197616"/>
                  <a:gd name="connsiteY7" fmla="*/ 103680 h 169707"/>
                  <a:gd name="connsiteX8" fmla="*/ 179423 w 197616"/>
                  <a:gd name="connsiteY8" fmla="*/ 107988 h 169707"/>
                  <a:gd name="connsiteX9" fmla="*/ 181782 w 197616"/>
                  <a:gd name="connsiteY9" fmla="*/ 112104 h 169707"/>
                  <a:gd name="connsiteX10" fmla="*/ 182331 w 197616"/>
                  <a:gd name="connsiteY10" fmla="*/ 118636 h 169707"/>
                  <a:gd name="connsiteX11" fmla="*/ 180822 w 197616"/>
                  <a:gd name="connsiteY11" fmla="*/ 121353 h 169707"/>
                  <a:gd name="connsiteX12" fmla="*/ 182057 w 197616"/>
                  <a:gd name="connsiteY12" fmla="*/ 125936 h 169707"/>
                  <a:gd name="connsiteX13" fmla="*/ 187737 w 197616"/>
                  <a:gd name="connsiteY13" fmla="*/ 131891 h 169707"/>
                  <a:gd name="connsiteX14" fmla="*/ 193583 w 197616"/>
                  <a:gd name="connsiteY14" fmla="*/ 138615 h 169707"/>
                  <a:gd name="connsiteX15" fmla="*/ 197617 w 197616"/>
                  <a:gd name="connsiteY15" fmla="*/ 155163 h 169707"/>
                  <a:gd name="connsiteX16" fmla="*/ 196739 w 197616"/>
                  <a:gd name="connsiteY16" fmla="*/ 161914 h 169707"/>
                  <a:gd name="connsiteX17" fmla="*/ 188122 w 197616"/>
                  <a:gd name="connsiteY17" fmla="*/ 167841 h 169707"/>
                  <a:gd name="connsiteX18" fmla="*/ 183731 w 197616"/>
                  <a:gd name="connsiteY18" fmla="*/ 164438 h 169707"/>
                  <a:gd name="connsiteX19" fmla="*/ 181508 w 197616"/>
                  <a:gd name="connsiteY19" fmla="*/ 156343 h 169707"/>
                  <a:gd name="connsiteX20" fmla="*/ 171628 w 197616"/>
                  <a:gd name="connsiteY20" fmla="*/ 161996 h 169707"/>
                  <a:gd name="connsiteX21" fmla="*/ 170256 w 197616"/>
                  <a:gd name="connsiteY21" fmla="*/ 161365 h 169707"/>
                  <a:gd name="connsiteX22" fmla="*/ 170559 w 197616"/>
                  <a:gd name="connsiteY22" fmla="*/ 155437 h 169707"/>
                  <a:gd name="connsiteX23" fmla="*/ 160158 w 197616"/>
                  <a:gd name="connsiteY23" fmla="*/ 157468 h 169707"/>
                  <a:gd name="connsiteX24" fmla="*/ 152857 w 197616"/>
                  <a:gd name="connsiteY24" fmla="*/ 147314 h 169707"/>
                  <a:gd name="connsiteX25" fmla="*/ 139904 w 197616"/>
                  <a:gd name="connsiteY25" fmla="*/ 150744 h 169707"/>
                  <a:gd name="connsiteX26" fmla="*/ 132989 w 197616"/>
                  <a:gd name="connsiteY26" fmla="*/ 147780 h 169707"/>
                  <a:gd name="connsiteX27" fmla="*/ 124811 w 197616"/>
                  <a:gd name="connsiteY27" fmla="*/ 140673 h 169707"/>
                  <a:gd name="connsiteX28" fmla="*/ 116852 w 197616"/>
                  <a:gd name="connsiteY28" fmla="*/ 139575 h 169707"/>
                  <a:gd name="connsiteX29" fmla="*/ 98109 w 197616"/>
                  <a:gd name="connsiteY29" fmla="*/ 149839 h 169707"/>
                  <a:gd name="connsiteX30" fmla="*/ 98712 w 197616"/>
                  <a:gd name="connsiteY30" fmla="*/ 157330 h 169707"/>
                  <a:gd name="connsiteX31" fmla="*/ 93910 w 197616"/>
                  <a:gd name="connsiteY31" fmla="*/ 164219 h 169707"/>
                  <a:gd name="connsiteX32" fmla="*/ 86555 w 197616"/>
                  <a:gd name="connsiteY32" fmla="*/ 169707 h 169707"/>
                  <a:gd name="connsiteX33" fmla="*/ 81478 w 197616"/>
                  <a:gd name="connsiteY33" fmla="*/ 168774 h 169707"/>
                  <a:gd name="connsiteX34" fmla="*/ 73273 w 197616"/>
                  <a:gd name="connsiteY34" fmla="*/ 163972 h 169707"/>
                  <a:gd name="connsiteX35" fmla="*/ 63064 w 197616"/>
                  <a:gd name="connsiteY35" fmla="*/ 162106 h 169707"/>
                  <a:gd name="connsiteX36" fmla="*/ 61747 w 197616"/>
                  <a:gd name="connsiteY36" fmla="*/ 152281 h 169707"/>
                  <a:gd name="connsiteX37" fmla="*/ 52993 w 197616"/>
                  <a:gd name="connsiteY37" fmla="*/ 152583 h 169707"/>
                  <a:gd name="connsiteX38" fmla="*/ 32053 w 197616"/>
                  <a:gd name="connsiteY38" fmla="*/ 141194 h 169707"/>
                  <a:gd name="connsiteX39" fmla="*/ 29940 w 197616"/>
                  <a:gd name="connsiteY39" fmla="*/ 131562 h 169707"/>
                  <a:gd name="connsiteX40" fmla="*/ 29584 w 197616"/>
                  <a:gd name="connsiteY40" fmla="*/ 113833 h 169707"/>
                  <a:gd name="connsiteX41" fmla="*/ 25275 w 197616"/>
                  <a:gd name="connsiteY41" fmla="*/ 94294 h 169707"/>
                  <a:gd name="connsiteX42" fmla="*/ 35072 w 197616"/>
                  <a:gd name="connsiteY42" fmla="*/ 82356 h 169707"/>
                  <a:gd name="connsiteX43" fmla="*/ 41796 w 197616"/>
                  <a:gd name="connsiteY43" fmla="*/ 78103 h 169707"/>
                  <a:gd name="connsiteX44" fmla="*/ 44650 w 197616"/>
                  <a:gd name="connsiteY44" fmla="*/ 70391 h 169707"/>
                  <a:gd name="connsiteX45" fmla="*/ 34606 w 197616"/>
                  <a:gd name="connsiteY45" fmla="*/ 65150 h 169707"/>
                  <a:gd name="connsiteX46" fmla="*/ 34551 w 197616"/>
                  <a:gd name="connsiteY46" fmla="*/ 55901 h 169707"/>
                  <a:gd name="connsiteX47" fmla="*/ 20720 w 197616"/>
                  <a:gd name="connsiteY47" fmla="*/ 51538 h 169707"/>
                  <a:gd name="connsiteX48" fmla="*/ 14737 w 197616"/>
                  <a:gd name="connsiteY48" fmla="*/ 44074 h 169707"/>
                  <a:gd name="connsiteX49" fmla="*/ 3238 w 197616"/>
                  <a:gd name="connsiteY49" fmla="*/ 44293 h 169707"/>
                  <a:gd name="connsiteX50" fmla="*/ 0 w 197616"/>
                  <a:gd name="connsiteY50" fmla="*/ 42070 h 169707"/>
                  <a:gd name="connsiteX51" fmla="*/ 385 w 197616"/>
                  <a:gd name="connsiteY51" fmla="*/ 30105 h 169707"/>
                  <a:gd name="connsiteX52" fmla="*/ 10374 w 197616"/>
                  <a:gd name="connsiteY52" fmla="*/ 22119 h 169707"/>
                  <a:gd name="connsiteX53" fmla="*/ 16548 w 197616"/>
                  <a:gd name="connsiteY53" fmla="*/ 12734 h 169707"/>
                  <a:gd name="connsiteX54" fmla="*/ 35731 w 197616"/>
                  <a:gd name="connsiteY54" fmla="*/ 11142 h 169707"/>
                  <a:gd name="connsiteX55" fmla="*/ 31614 w 197616"/>
                  <a:gd name="connsiteY55" fmla="*/ 5132 h 169707"/>
                  <a:gd name="connsiteX56" fmla="*/ 37487 w 197616"/>
                  <a:gd name="connsiteY56" fmla="*/ 4583 h 169707"/>
                  <a:gd name="connsiteX57" fmla="*/ 44705 w 197616"/>
                  <a:gd name="connsiteY57" fmla="*/ 7382 h 169707"/>
                  <a:gd name="connsiteX58" fmla="*/ 58810 w 197616"/>
                  <a:gd name="connsiteY58" fmla="*/ 439 h 169707"/>
                  <a:gd name="connsiteX59" fmla="*/ 66494 w 197616"/>
                  <a:gd name="connsiteY59" fmla="*/ 0 h 169707"/>
                  <a:gd name="connsiteX60" fmla="*/ 68965 w 197616"/>
                  <a:gd name="connsiteY60" fmla="*/ 3074 h 169707"/>
                  <a:gd name="connsiteX61" fmla="*/ 75276 w 197616"/>
                  <a:gd name="connsiteY61" fmla="*/ 1153 h 169707"/>
                  <a:gd name="connsiteX62" fmla="*/ 82960 w 197616"/>
                  <a:gd name="connsiteY62" fmla="*/ 3897 h 169707"/>
                  <a:gd name="connsiteX63" fmla="*/ 85211 w 197616"/>
                  <a:gd name="connsiteY63" fmla="*/ 11252 h 169707"/>
                  <a:gd name="connsiteX64" fmla="*/ 91550 w 197616"/>
                  <a:gd name="connsiteY64" fmla="*/ 10593 h 169707"/>
                  <a:gd name="connsiteX65" fmla="*/ 96544 w 197616"/>
                  <a:gd name="connsiteY65" fmla="*/ 13557 h 169707"/>
                  <a:gd name="connsiteX66" fmla="*/ 99755 w 197616"/>
                  <a:gd name="connsiteY66" fmla="*/ 17481 h 169707"/>
                  <a:gd name="connsiteX67" fmla="*/ 101566 w 197616"/>
                  <a:gd name="connsiteY67" fmla="*/ 24040 h 169707"/>
                  <a:gd name="connsiteX68" fmla="*/ 101786 w 197616"/>
                  <a:gd name="connsiteY68" fmla="*/ 30325 h 169707"/>
                  <a:gd name="connsiteX69" fmla="*/ 99728 w 197616"/>
                  <a:gd name="connsiteY69" fmla="*/ 34853 h 169707"/>
                  <a:gd name="connsiteX70" fmla="*/ 104338 w 197616"/>
                  <a:gd name="connsiteY70" fmla="*/ 38475 h 169707"/>
                  <a:gd name="connsiteX71" fmla="*/ 106122 w 197616"/>
                  <a:gd name="connsiteY71" fmla="*/ 43854 h 169707"/>
                  <a:gd name="connsiteX72" fmla="*/ 111775 w 197616"/>
                  <a:gd name="connsiteY72" fmla="*/ 44156 h 169707"/>
                  <a:gd name="connsiteX73" fmla="*/ 117346 w 197616"/>
                  <a:gd name="connsiteY73" fmla="*/ 41631 h 169707"/>
                  <a:gd name="connsiteX74" fmla="*/ 118471 w 197616"/>
                  <a:gd name="connsiteY74" fmla="*/ 45912 h 169707"/>
                  <a:gd name="connsiteX75" fmla="*/ 123301 w 197616"/>
                  <a:gd name="connsiteY75" fmla="*/ 50056 h 169707"/>
                  <a:gd name="connsiteX76" fmla="*/ 135953 w 197616"/>
                  <a:gd name="connsiteY76" fmla="*/ 55215 h 169707"/>
                  <a:gd name="connsiteX77" fmla="*/ 149757 w 197616"/>
                  <a:gd name="connsiteY77" fmla="*/ 57877 h 169707"/>
                  <a:gd name="connsiteX78" fmla="*/ 157687 w 197616"/>
                  <a:gd name="connsiteY78" fmla="*/ 56587 h 16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7616" h="169707">
                    <a:moveTo>
                      <a:pt x="157687" y="56450"/>
                    </a:moveTo>
                    <a:lnTo>
                      <a:pt x="163258" y="56944"/>
                    </a:lnTo>
                    <a:lnTo>
                      <a:pt x="160377" y="64985"/>
                    </a:lnTo>
                    <a:lnTo>
                      <a:pt x="165262" y="75166"/>
                    </a:lnTo>
                    <a:lnTo>
                      <a:pt x="168390" y="87241"/>
                    </a:lnTo>
                    <a:lnTo>
                      <a:pt x="180054" y="91522"/>
                    </a:lnTo>
                    <a:lnTo>
                      <a:pt x="188753" y="97560"/>
                    </a:lnTo>
                    <a:lnTo>
                      <a:pt x="186942" y="103680"/>
                    </a:lnTo>
                    <a:lnTo>
                      <a:pt x="179423" y="107988"/>
                    </a:lnTo>
                    <a:lnTo>
                      <a:pt x="181782" y="112104"/>
                    </a:lnTo>
                    <a:lnTo>
                      <a:pt x="182331" y="118636"/>
                    </a:lnTo>
                    <a:lnTo>
                      <a:pt x="180822" y="121353"/>
                    </a:lnTo>
                    <a:lnTo>
                      <a:pt x="182057" y="125936"/>
                    </a:lnTo>
                    <a:lnTo>
                      <a:pt x="187737" y="131891"/>
                    </a:lnTo>
                    <a:lnTo>
                      <a:pt x="193583" y="138615"/>
                    </a:lnTo>
                    <a:lnTo>
                      <a:pt x="197617" y="155163"/>
                    </a:lnTo>
                    <a:lnTo>
                      <a:pt x="196739" y="161914"/>
                    </a:lnTo>
                    <a:lnTo>
                      <a:pt x="188122" y="167841"/>
                    </a:lnTo>
                    <a:lnTo>
                      <a:pt x="183731" y="164438"/>
                    </a:lnTo>
                    <a:lnTo>
                      <a:pt x="181508" y="156343"/>
                    </a:lnTo>
                    <a:lnTo>
                      <a:pt x="171628" y="161996"/>
                    </a:lnTo>
                    <a:lnTo>
                      <a:pt x="170256" y="161365"/>
                    </a:lnTo>
                    <a:lnTo>
                      <a:pt x="170559" y="155437"/>
                    </a:lnTo>
                    <a:lnTo>
                      <a:pt x="160158" y="157468"/>
                    </a:lnTo>
                    <a:lnTo>
                      <a:pt x="152857" y="147314"/>
                    </a:lnTo>
                    <a:lnTo>
                      <a:pt x="139904" y="150744"/>
                    </a:lnTo>
                    <a:lnTo>
                      <a:pt x="132989" y="147780"/>
                    </a:lnTo>
                    <a:lnTo>
                      <a:pt x="124811" y="140673"/>
                    </a:lnTo>
                    <a:lnTo>
                      <a:pt x="116852" y="139575"/>
                    </a:lnTo>
                    <a:lnTo>
                      <a:pt x="98109" y="149839"/>
                    </a:lnTo>
                    <a:lnTo>
                      <a:pt x="98712" y="157330"/>
                    </a:lnTo>
                    <a:lnTo>
                      <a:pt x="93910" y="164219"/>
                    </a:lnTo>
                    <a:lnTo>
                      <a:pt x="86555" y="169707"/>
                    </a:lnTo>
                    <a:lnTo>
                      <a:pt x="81478" y="168774"/>
                    </a:lnTo>
                    <a:lnTo>
                      <a:pt x="73273" y="163972"/>
                    </a:lnTo>
                    <a:lnTo>
                      <a:pt x="63064" y="162106"/>
                    </a:lnTo>
                    <a:lnTo>
                      <a:pt x="61747" y="152281"/>
                    </a:lnTo>
                    <a:lnTo>
                      <a:pt x="52993" y="152583"/>
                    </a:lnTo>
                    <a:lnTo>
                      <a:pt x="32053" y="141194"/>
                    </a:lnTo>
                    <a:lnTo>
                      <a:pt x="29940" y="131562"/>
                    </a:lnTo>
                    <a:lnTo>
                      <a:pt x="29584" y="113833"/>
                    </a:lnTo>
                    <a:lnTo>
                      <a:pt x="25275" y="94294"/>
                    </a:lnTo>
                    <a:lnTo>
                      <a:pt x="35072" y="82356"/>
                    </a:lnTo>
                    <a:lnTo>
                      <a:pt x="41796" y="78103"/>
                    </a:lnTo>
                    <a:lnTo>
                      <a:pt x="44650" y="70391"/>
                    </a:lnTo>
                    <a:lnTo>
                      <a:pt x="34606" y="65150"/>
                    </a:lnTo>
                    <a:lnTo>
                      <a:pt x="34551" y="55901"/>
                    </a:lnTo>
                    <a:lnTo>
                      <a:pt x="20720" y="51538"/>
                    </a:lnTo>
                    <a:lnTo>
                      <a:pt x="14737" y="44074"/>
                    </a:lnTo>
                    <a:lnTo>
                      <a:pt x="3238" y="44293"/>
                    </a:lnTo>
                    <a:lnTo>
                      <a:pt x="0" y="42070"/>
                    </a:lnTo>
                    <a:lnTo>
                      <a:pt x="385" y="30105"/>
                    </a:lnTo>
                    <a:lnTo>
                      <a:pt x="10374" y="22119"/>
                    </a:lnTo>
                    <a:lnTo>
                      <a:pt x="16548" y="12734"/>
                    </a:lnTo>
                    <a:lnTo>
                      <a:pt x="35731" y="11142"/>
                    </a:lnTo>
                    <a:lnTo>
                      <a:pt x="31614" y="5132"/>
                    </a:lnTo>
                    <a:lnTo>
                      <a:pt x="37487" y="4583"/>
                    </a:lnTo>
                    <a:lnTo>
                      <a:pt x="44705" y="7382"/>
                    </a:lnTo>
                    <a:lnTo>
                      <a:pt x="58810" y="439"/>
                    </a:lnTo>
                    <a:lnTo>
                      <a:pt x="66494" y="0"/>
                    </a:lnTo>
                    <a:lnTo>
                      <a:pt x="68965" y="3074"/>
                    </a:lnTo>
                    <a:lnTo>
                      <a:pt x="75276" y="1153"/>
                    </a:lnTo>
                    <a:lnTo>
                      <a:pt x="82960" y="3897"/>
                    </a:lnTo>
                    <a:lnTo>
                      <a:pt x="85211" y="11252"/>
                    </a:lnTo>
                    <a:lnTo>
                      <a:pt x="91550" y="10593"/>
                    </a:lnTo>
                    <a:lnTo>
                      <a:pt x="96544" y="13557"/>
                    </a:lnTo>
                    <a:lnTo>
                      <a:pt x="99755" y="17481"/>
                    </a:lnTo>
                    <a:lnTo>
                      <a:pt x="101566" y="24040"/>
                    </a:lnTo>
                    <a:lnTo>
                      <a:pt x="101786" y="30325"/>
                    </a:lnTo>
                    <a:lnTo>
                      <a:pt x="99728" y="34853"/>
                    </a:lnTo>
                    <a:lnTo>
                      <a:pt x="104338" y="38475"/>
                    </a:lnTo>
                    <a:lnTo>
                      <a:pt x="106122" y="43854"/>
                    </a:lnTo>
                    <a:lnTo>
                      <a:pt x="111775" y="44156"/>
                    </a:lnTo>
                    <a:lnTo>
                      <a:pt x="117346" y="41631"/>
                    </a:lnTo>
                    <a:lnTo>
                      <a:pt x="118471" y="45912"/>
                    </a:lnTo>
                    <a:lnTo>
                      <a:pt x="123301" y="50056"/>
                    </a:lnTo>
                    <a:lnTo>
                      <a:pt x="135953" y="55215"/>
                    </a:lnTo>
                    <a:lnTo>
                      <a:pt x="149757" y="57877"/>
                    </a:lnTo>
                    <a:lnTo>
                      <a:pt x="157687" y="5658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6" name="Freeform: Shape 4545">
                <a:extLst>
                  <a:ext uri="{FF2B5EF4-FFF2-40B4-BE49-F238E27FC236}">
                    <a16:creationId xmlns:a16="http://schemas.microsoft.com/office/drawing/2014/main" id="{09EE1156-1F06-C94D-1512-4C61A73E7A11}"/>
                  </a:ext>
                </a:extLst>
              </p:cNvPr>
              <p:cNvSpPr/>
              <p:nvPr/>
            </p:nvSpPr>
            <p:spPr>
              <a:xfrm>
                <a:off x="1135040" y="3786872"/>
                <a:ext cx="424" cy="286"/>
              </a:xfrm>
              <a:custGeom>
                <a:avLst/>
                <a:gdLst>
                  <a:gd name="connsiteX0" fmla="*/ 0 w 4061"/>
                  <a:gd name="connsiteY0" fmla="*/ 0 h 2744"/>
                  <a:gd name="connsiteX1" fmla="*/ 3485 w 4061"/>
                  <a:gd name="connsiteY1" fmla="*/ 137 h 2744"/>
                  <a:gd name="connsiteX2" fmla="*/ 4062 w 4061"/>
                  <a:gd name="connsiteY2" fmla="*/ 2744 h 2744"/>
                  <a:gd name="connsiteX3" fmla="*/ 1592 w 4061"/>
                  <a:gd name="connsiteY3" fmla="*/ 2470 h 2744"/>
                  <a:gd name="connsiteX4" fmla="*/ 0 w 4061"/>
                  <a:gd name="connsiteY4" fmla="*/ 0 h 2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2744">
                    <a:moveTo>
                      <a:pt x="0" y="0"/>
                    </a:moveTo>
                    <a:lnTo>
                      <a:pt x="3485" y="137"/>
                    </a:lnTo>
                    <a:lnTo>
                      <a:pt x="4062" y="2744"/>
                    </a:lnTo>
                    <a:lnTo>
                      <a:pt x="1592" y="2470"/>
                    </a:lnTo>
                    <a:lnTo>
                      <a:pt x="0" y="0"/>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7" name="Freeform: Shape 4546">
                <a:extLst>
                  <a:ext uri="{FF2B5EF4-FFF2-40B4-BE49-F238E27FC236}">
                    <a16:creationId xmlns:a16="http://schemas.microsoft.com/office/drawing/2014/main" id="{1CFC3363-E34A-F2D6-9C75-EB9B86515CFF}"/>
                  </a:ext>
                </a:extLst>
              </p:cNvPr>
              <p:cNvSpPr/>
              <p:nvPr/>
            </p:nvSpPr>
            <p:spPr>
              <a:xfrm>
                <a:off x="1450718" y="3813177"/>
                <a:ext cx="3566" cy="2487"/>
              </a:xfrm>
              <a:custGeom>
                <a:avLst/>
                <a:gdLst>
                  <a:gd name="connsiteX0" fmla="*/ 34195 w 34194"/>
                  <a:gd name="connsiteY0" fmla="*/ 14984 h 23847"/>
                  <a:gd name="connsiteX1" fmla="*/ 27910 w 34194"/>
                  <a:gd name="connsiteY1" fmla="*/ 22915 h 23847"/>
                  <a:gd name="connsiteX2" fmla="*/ 26867 w 34194"/>
                  <a:gd name="connsiteY2" fmla="*/ 23711 h 23847"/>
                  <a:gd name="connsiteX3" fmla="*/ 8260 w 34194"/>
                  <a:gd name="connsiteY3" fmla="*/ 23848 h 23847"/>
                  <a:gd name="connsiteX4" fmla="*/ 6147 w 34194"/>
                  <a:gd name="connsiteY4" fmla="*/ 22915 h 23847"/>
                  <a:gd name="connsiteX5" fmla="*/ 2744 w 34194"/>
                  <a:gd name="connsiteY5" fmla="*/ 15944 h 23847"/>
                  <a:gd name="connsiteX6" fmla="*/ 0 w 34194"/>
                  <a:gd name="connsiteY6" fmla="*/ 10264 h 23847"/>
                  <a:gd name="connsiteX7" fmla="*/ 0 w 34194"/>
                  <a:gd name="connsiteY7" fmla="*/ 0 h 23847"/>
                  <a:gd name="connsiteX8" fmla="*/ 34140 w 34194"/>
                  <a:gd name="connsiteY8" fmla="*/ 768 h 23847"/>
                  <a:gd name="connsiteX9" fmla="*/ 34140 w 34194"/>
                  <a:gd name="connsiteY9" fmla="*/ 12239 h 23847"/>
                  <a:gd name="connsiteX10" fmla="*/ 34195 w 34194"/>
                  <a:gd name="connsiteY10" fmla="*/ 15011 h 2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94" h="23847">
                    <a:moveTo>
                      <a:pt x="34195" y="14984"/>
                    </a:moveTo>
                    <a:lnTo>
                      <a:pt x="27910" y="22915"/>
                    </a:lnTo>
                    <a:lnTo>
                      <a:pt x="26867" y="23711"/>
                    </a:lnTo>
                    <a:lnTo>
                      <a:pt x="8260" y="23848"/>
                    </a:lnTo>
                    <a:lnTo>
                      <a:pt x="6147" y="22915"/>
                    </a:lnTo>
                    <a:lnTo>
                      <a:pt x="2744" y="15944"/>
                    </a:lnTo>
                    <a:lnTo>
                      <a:pt x="0" y="10264"/>
                    </a:lnTo>
                    <a:lnTo>
                      <a:pt x="0" y="0"/>
                    </a:lnTo>
                    <a:cubicBezTo>
                      <a:pt x="0" y="0"/>
                      <a:pt x="34140" y="768"/>
                      <a:pt x="34140" y="768"/>
                    </a:cubicBezTo>
                    <a:lnTo>
                      <a:pt x="34140" y="12239"/>
                    </a:lnTo>
                    <a:cubicBezTo>
                      <a:pt x="34140" y="12239"/>
                      <a:pt x="34195" y="15011"/>
                      <a:pt x="34195" y="15011"/>
                    </a:cubicBez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8" name="Freeform: Shape 4547">
                <a:extLst>
                  <a:ext uri="{FF2B5EF4-FFF2-40B4-BE49-F238E27FC236}">
                    <a16:creationId xmlns:a16="http://schemas.microsoft.com/office/drawing/2014/main" id="{65F20E18-1337-F902-9C61-95370E9079DC}"/>
                  </a:ext>
                </a:extLst>
              </p:cNvPr>
              <p:cNvSpPr/>
              <p:nvPr/>
            </p:nvSpPr>
            <p:spPr>
              <a:xfrm>
                <a:off x="1467182" y="3775243"/>
                <a:ext cx="2774" cy="896"/>
              </a:xfrm>
              <a:custGeom>
                <a:avLst/>
                <a:gdLst>
                  <a:gd name="connsiteX0" fmla="*/ 27 w 26592"/>
                  <a:gd name="connsiteY0" fmla="*/ 0 h 8589"/>
                  <a:gd name="connsiteX1" fmla="*/ 14627 w 26592"/>
                  <a:gd name="connsiteY1" fmla="*/ 0 h 8589"/>
                  <a:gd name="connsiteX2" fmla="*/ 16713 w 26592"/>
                  <a:gd name="connsiteY2" fmla="*/ 0 h 8589"/>
                  <a:gd name="connsiteX3" fmla="*/ 26593 w 26592"/>
                  <a:gd name="connsiteY3" fmla="*/ 0 h 8589"/>
                  <a:gd name="connsiteX4" fmla="*/ 23766 w 26592"/>
                  <a:gd name="connsiteY4" fmla="*/ 6998 h 8589"/>
                  <a:gd name="connsiteX5" fmla="*/ 12432 w 26592"/>
                  <a:gd name="connsiteY5" fmla="*/ 8590 h 8589"/>
                  <a:gd name="connsiteX6" fmla="*/ 0 w 26592"/>
                  <a:gd name="connsiteY6" fmla="*/ 27 h 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2" h="8589">
                    <a:moveTo>
                      <a:pt x="27" y="0"/>
                    </a:moveTo>
                    <a:lnTo>
                      <a:pt x="14627" y="0"/>
                    </a:lnTo>
                    <a:cubicBezTo>
                      <a:pt x="14627" y="0"/>
                      <a:pt x="16713" y="0"/>
                      <a:pt x="16713" y="0"/>
                    </a:cubicBezTo>
                    <a:lnTo>
                      <a:pt x="26593" y="0"/>
                    </a:lnTo>
                    <a:lnTo>
                      <a:pt x="23766" y="6998"/>
                    </a:lnTo>
                    <a:lnTo>
                      <a:pt x="12432" y="8590"/>
                    </a:lnTo>
                    <a:lnTo>
                      <a:pt x="0"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49" name="Freeform: Shape 4548">
                <a:extLst>
                  <a:ext uri="{FF2B5EF4-FFF2-40B4-BE49-F238E27FC236}">
                    <a16:creationId xmlns:a16="http://schemas.microsoft.com/office/drawing/2014/main" id="{D31A4FDA-7FFA-1B3A-BDC2-2F491AF7000A}"/>
                  </a:ext>
                </a:extLst>
              </p:cNvPr>
              <p:cNvSpPr/>
              <p:nvPr/>
            </p:nvSpPr>
            <p:spPr>
              <a:xfrm>
                <a:off x="1496292" y="3785072"/>
                <a:ext cx="32012" cy="20386"/>
              </a:xfrm>
              <a:custGeom>
                <a:avLst/>
                <a:gdLst>
                  <a:gd name="connsiteX0" fmla="*/ 274375 w 306921"/>
                  <a:gd name="connsiteY0" fmla="*/ 0 h 195449"/>
                  <a:gd name="connsiteX1" fmla="*/ 306922 w 306921"/>
                  <a:gd name="connsiteY1" fmla="*/ 72477 h 195449"/>
                  <a:gd name="connsiteX2" fmla="*/ 289056 w 306921"/>
                  <a:gd name="connsiteY2" fmla="*/ 79201 h 195449"/>
                  <a:gd name="connsiteX3" fmla="*/ 283403 w 306921"/>
                  <a:gd name="connsiteY3" fmla="*/ 84058 h 195449"/>
                  <a:gd name="connsiteX4" fmla="*/ 279260 w 306921"/>
                  <a:gd name="connsiteY4" fmla="*/ 93224 h 195449"/>
                  <a:gd name="connsiteX5" fmla="*/ 280302 w 306921"/>
                  <a:gd name="connsiteY5" fmla="*/ 102829 h 195449"/>
                  <a:gd name="connsiteX6" fmla="*/ 277119 w 306921"/>
                  <a:gd name="connsiteY6" fmla="*/ 105738 h 195449"/>
                  <a:gd name="connsiteX7" fmla="*/ 252585 w 306921"/>
                  <a:gd name="connsiteY7" fmla="*/ 116852 h 195449"/>
                  <a:gd name="connsiteX8" fmla="*/ 202721 w 306921"/>
                  <a:gd name="connsiteY8" fmla="*/ 131562 h 195449"/>
                  <a:gd name="connsiteX9" fmla="*/ 188835 w 306921"/>
                  <a:gd name="connsiteY9" fmla="*/ 138615 h 195449"/>
                  <a:gd name="connsiteX10" fmla="*/ 184636 w 306921"/>
                  <a:gd name="connsiteY10" fmla="*/ 144735 h 195449"/>
                  <a:gd name="connsiteX11" fmla="*/ 176375 w 306921"/>
                  <a:gd name="connsiteY11" fmla="*/ 151870 h 195449"/>
                  <a:gd name="connsiteX12" fmla="*/ 163889 w 306921"/>
                  <a:gd name="connsiteY12" fmla="*/ 153900 h 195449"/>
                  <a:gd name="connsiteX13" fmla="*/ 155711 w 306921"/>
                  <a:gd name="connsiteY13" fmla="*/ 152665 h 195449"/>
                  <a:gd name="connsiteX14" fmla="*/ 138971 w 306921"/>
                  <a:gd name="connsiteY14" fmla="*/ 163670 h 195449"/>
                  <a:gd name="connsiteX15" fmla="*/ 119926 w 306921"/>
                  <a:gd name="connsiteY15" fmla="*/ 170119 h 195449"/>
                  <a:gd name="connsiteX16" fmla="*/ 99261 w 306921"/>
                  <a:gd name="connsiteY16" fmla="*/ 171217 h 195449"/>
                  <a:gd name="connsiteX17" fmla="*/ 87790 w 306921"/>
                  <a:gd name="connsiteY17" fmla="*/ 173934 h 195449"/>
                  <a:gd name="connsiteX18" fmla="*/ 79721 w 306921"/>
                  <a:gd name="connsiteY18" fmla="*/ 181783 h 195449"/>
                  <a:gd name="connsiteX19" fmla="*/ 72970 w 306921"/>
                  <a:gd name="connsiteY19" fmla="*/ 184417 h 195449"/>
                  <a:gd name="connsiteX20" fmla="*/ 69403 w 306921"/>
                  <a:gd name="connsiteY20" fmla="*/ 190729 h 195449"/>
                  <a:gd name="connsiteX21" fmla="*/ 66796 w 306921"/>
                  <a:gd name="connsiteY21" fmla="*/ 189494 h 195449"/>
                  <a:gd name="connsiteX22" fmla="*/ 64024 w 306921"/>
                  <a:gd name="connsiteY22" fmla="*/ 191689 h 195449"/>
                  <a:gd name="connsiteX23" fmla="*/ 56862 w 306921"/>
                  <a:gd name="connsiteY23" fmla="*/ 189713 h 195449"/>
                  <a:gd name="connsiteX24" fmla="*/ 49726 w 306921"/>
                  <a:gd name="connsiteY24" fmla="*/ 193995 h 195449"/>
                  <a:gd name="connsiteX25" fmla="*/ 41686 w 306921"/>
                  <a:gd name="connsiteY25" fmla="*/ 195229 h 195449"/>
                  <a:gd name="connsiteX26" fmla="*/ 40369 w 306921"/>
                  <a:gd name="connsiteY26" fmla="*/ 195449 h 195449"/>
                  <a:gd name="connsiteX27" fmla="*/ 25330 w 306921"/>
                  <a:gd name="connsiteY27" fmla="*/ 192376 h 195449"/>
                  <a:gd name="connsiteX28" fmla="*/ 23903 w 306921"/>
                  <a:gd name="connsiteY28" fmla="*/ 190811 h 195449"/>
                  <a:gd name="connsiteX29" fmla="*/ 17316 w 306921"/>
                  <a:gd name="connsiteY29" fmla="*/ 176486 h 195449"/>
                  <a:gd name="connsiteX30" fmla="*/ 17728 w 306921"/>
                  <a:gd name="connsiteY30" fmla="*/ 162847 h 195449"/>
                  <a:gd name="connsiteX31" fmla="*/ 12843 w 306921"/>
                  <a:gd name="connsiteY31" fmla="*/ 150854 h 195449"/>
                  <a:gd name="connsiteX32" fmla="*/ 5790 w 306921"/>
                  <a:gd name="connsiteY32" fmla="*/ 121188 h 195449"/>
                  <a:gd name="connsiteX33" fmla="*/ 0 w 306921"/>
                  <a:gd name="connsiteY33" fmla="*/ 116468 h 195449"/>
                  <a:gd name="connsiteX34" fmla="*/ 3293 w 306921"/>
                  <a:gd name="connsiteY34" fmla="*/ 113312 h 195449"/>
                  <a:gd name="connsiteX35" fmla="*/ 1152 w 306921"/>
                  <a:gd name="connsiteY35" fmla="*/ 102445 h 195449"/>
                  <a:gd name="connsiteX36" fmla="*/ 4473 w 306921"/>
                  <a:gd name="connsiteY36" fmla="*/ 91440 h 195449"/>
                  <a:gd name="connsiteX37" fmla="*/ 2772 w 306921"/>
                  <a:gd name="connsiteY37" fmla="*/ 80189 h 195449"/>
                  <a:gd name="connsiteX38" fmla="*/ 7656 w 306921"/>
                  <a:gd name="connsiteY38" fmla="*/ 80189 h 195449"/>
                  <a:gd name="connsiteX39" fmla="*/ 8864 w 306921"/>
                  <a:gd name="connsiteY39" fmla="*/ 77526 h 195449"/>
                  <a:gd name="connsiteX40" fmla="*/ 12788 w 306921"/>
                  <a:gd name="connsiteY40" fmla="*/ 76072 h 195449"/>
                  <a:gd name="connsiteX41" fmla="*/ 14325 w 306921"/>
                  <a:gd name="connsiteY41" fmla="*/ 72587 h 195449"/>
                  <a:gd name="connsiteX42" fmla="*/ 16301 w 306921"/>
                  <a:gd name="connsiteY42" fmla="*/ 72065 h 195449"/>
                  <a:gd name="connsiteX43" fmla="*/ 16905 w 306921"/>
                  <a:gd name="connsiteY43" fmla="*/ 68196 h 195449"/>
                  <a:gd name="connsiteX44" fmla="*/ 14654 w 306921"/>
                  <a:gd name="connsiteY44" fmla="*/ 65122 h 195449"/>
                  <a:gd name="connsiteX45" fmla="*/ 16438 w 306921"/>
                  <a:gd name="connsiteY45" fmla="*/ 60539 h 195449"/>
                  <a:gd name="connsiteX46" fmla="*/ 14435 w 306921"/>
                  <a:gd name="connsiteY46" fmla="*/ 57246 h 195449"/>
                  <a:gd name="connsiteX47" fmla="*/ 18771 w 306921"/>
                  <a:gd name="connsiteY47" fmla="*/ 52636 h 195449"/>
                  <a:gd name="connsiteX48" fmla="*/ 17508 w 306921"/>
                  <a:gd name="connsiteY48" fmla="*/ 50797 h 195449"/>
                  <a:gd name="connsiteX49" fmla="*/ 17371 w 306921"/>
                  <a:gd name="connsiteY49" fmla="*/ 47010 h 195449"/>
                  <a:gd name="connsiteX50" fmla="*/ 21542 w 306921"/>
                  <a:gd name="connsiteY50" fmla="*/ 44979 h 195449"/>
                  <a:gd name="connsiteX51" fmla="*/ 33288 w 306921"/>
                  <a:gd name="connsiteY51" fmla="*/ 50797 h 195449"/>
                  <a:gd name="connsiteX52" fmla="*/ 34358 w 306921"/>
                  <a:gd name="connsiteY52" fmla="*/ 51428 h 195449"/>
                  <a:gd name="connsiteX53" fmla="*/ 37843 w 306921"/>
                  <a:gd name="connsiteY53" fmla="*/ 51648 h 195449"/>
                  <a:gd name="connsiteX54" fmla="*/ 38667 w 306921"/>
                  <a:gd name="connsiteY54" fmla="*/ 50797 h 195449"/>
                  <a:gd name="connsiteX55" fmla="*/ 41658 w 306921"/>
                  <a:gd name="connsiteY55" fmla="*/ 50276 h 195449"/>
                  <a:gd name="connsiteX56" fmla="*/ 50687 w 306921"/>
                  <a:gd name="connsiteY56" fmla="*/ 48739 h 195449"/>
                  <a:gd name="connsiteX57" fmla="*/ 56862 w 306921"/>
                  <a:gd name="connsiteY57" fmla="*/ 48684 h 195449"/>
                  <a:gd name="connsiteX58" fmla="*/ 70885 w 306921"/>
                  <a:gd name="connsiteY58" fmla="*/ 48574 h 195449"/>
                  <a:gd name="connsiteX59" fmla="*/ 78816 w 306921"/>
                  <a:gd name="connsiteY59" fmla="*/ 50770 h 195449"/>
                  <a:gd name="connsiteX60" fmla="*/ 87845 w 306921"/>
                  <a:gd name="connsiteY60" fmla="*/ 52115 h 195449"/>
                  <a:gd name="connsiteX61" fmla="*/ 103158 w 306921"/>
                  <a:gd name="connsiteY61" fmla="*/ 54337 h 195449"/>
                  <a:gd name="connsiteX62" fmla="*/ 119514 w 306921"/>
                  <a:gd name="connsiteY62" fmla="*/ 53487 h 195449"/>
                  <a:gd name="connsiteX63" fmla="*/ 127308 w 306921"/>
                  <a:gd name="connsiteY63" fmla="*/ 62899 h 195449"/>
                  <a:gd name="connsiteX64" fmla="*/ 133071 w 306921"/>
                  <a:gd name="connsiteY64" fmla="*/ 63284 h 195449"/>
                  <a:gd name="connsiteX65" fmla="*/ 141029 w 306921"/>
                  <a:gd name="connsiteY65" fmla="*/ 58014 h 195449"/>
                  <a:gd name="connsiteX66" fmla="*/ 145667 w 306921"/>
                  <a:gd name="connsiteY66" fmla="*/ 47367 h 195449"/>
                  <a:gd name="connsiteX67" fmla="*/ 151293 w 306921"/>
                  <a:gd name="connsiteY67" fmla="*/ 40149 h 195449"/>
                  <a:gd name="connsiteX68" fmla="*/ 162160 w 306921"/>
                  <a:gd name="connsiteY68" fmla="*/ 26236 h 195449"/>
                  <a:gd name="connsiteX69" fmla="*/ 188643 w 306921"/>
                  <a:gd name="connsiteY69" fmla="*/ 12514 h 195449"/>
                  <a:gd name="connsiteX70" fmla="*/ 238644 w 306921"/>
                  <a:gd name="connsiteY70" fmla="*/ 6586 h 195449"/>
                  <a:gd name="connsiteX71" fmla="*/ 274457 w 306921"/>
                  <a:gd name="connsiteY71" fmla="*/ 27 h 19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06921" h="195449">
                    <a:moveTo>
                      <a:pt x="274375" y="0"/>
                    </a:moveTo>
                    <a:lnTo>
                      <a:pt x="306922" y="72477"/>
                    </a:lnTo>
                    <a:lnTo>
                      <a:pt x="289056" y="79201"/>
                    </a:lnTo>
                    <a:lnTo>
                      <a:pt x="283403" y="84058"/>
                    </a:lnTo>
                    <a:lnTo>
                      <a:pt x="279260" y="93224"/>
                    </a:lnTo>
                    <a:lnTo>
                      <a:pt x="280302" y="102829"/>
                    </a:lnTo>
                    <a:lnTo>
                      <a:pt x="277119" y="105738"/>
                    </a:lnTo>
                    <a:lnTo>
                      <a:pt x="252585" y="116852"/>
                    </a:lnTo>
                    <a:lnTo>
                      <a:pt x="202721" y="131562"/>
                    </a:lnTo>
                    <a:lnTo>
                      <a:pt x="188835" y="138615"/>
                    </a:lnTo>
                    <a:lnTo>
                      <a:pt x="184636" y="144735"/>
                    </a:lnTo>
                    <a:lnTo>
                      <a:pt x="176375" y="151870"/>
                    </a:lnTo>
                    <a:lnTo>
                      <a:pt x="163889" y="153900"/>
                    </a:lnTo>
                    <a:lnTo>
                      <a:pt x="155711" y="152665"/>
                    </a:lnTo>
                    <a:lnTo>
                      <a:pt x="138971" y="163670"/>
                    </a:lnTo>
                    <a:lnTo>
                      <a:pt x="119926" y="170119"/>
                    </a:lnTo>
                    <a:lnTo>
                      <a:pt x="99261" y="171217"/>
                    </a:lnTo>
                    <a:lnTo>
                      <a:pt x="87790" y="173934"/>
                    </a:lnTo>
                    <a:lnTo>
                      <a:pt x="79721" y="181783"/>
                    </a:lnTo>
                    <a:lnTo>
                      <a:pt x="72970" y="184417"/>
                    </a:lnTo>
                    <a:lnTo>
                      <a:pt x="69403" y="190729"/>
                    </a:lnTo>
                    <a:lnTo>
                      <a:pt x="66796" y="189494"/>
                    </a:lnTo>
                    <a:lnTo>
                      <a:pt x="64024" y="191689"/>
                    </a:lnTo>
                    <a:lnTo>
                      <a:pt x="56862" y="189713"/>
                    </a:lnTo>
                    <a:lnTo>
                      <a:pt x="49726" y="193995"/>
                    </a:lnTo>
                    <a:lnTo>
                      <a:pt x="41686" y="195229"/>
                    </a:lnTo>
                    <a:lnTo>
                      <a:pt x="40369" y="195449"/>
                    </a:lnTo>
                    <a:lnTo>
                      <a:pt x="25330" y="192376"/>
                    </a:lnTo>
                    <a:lnTo>
                      <a:pt x="23903" y="190811"/>
                    </a:lnTo>
                    <a:lnTo>
                      <a:pt x="17316" y="176486"/>
                    </a:lnTo>
                    <a:lnTo>
                      <a:pt x="17728" y="162847"/>
                    </a:lnTo>
                    <a:lnTo>
                      <a:pt x="12843" y="150854"/>
                    </a:lnTo>
                    <a:lnTo>
                      <a:pt x="5790" y="121188"/>
                    </a:lnTo>
                    <a:lnTo>
                      <a:pt x="0" y="116468"/>
                    </a:lnTo>
                    <a:lnTo>
                      <a:pt x="3293" y="113312"/>
                    </a:lnTo>
                    <a:lnTo>
                      <a:pt x="1152" y="102445"/>
                    </a:lnTo>
                    <a:lnTo>
                      <a:pt x="4473" y="91440"/>
                    </a:lnTo>
                    <a:lnTo>
                      <a:pt x="2772" y="80189"/>
                    </a:lnTo>
                    <a:lnTo>
                      <a:pt x="7656" y="80189"/>
                    </a:lnTo>
                    <a:cubicBezTo>
                      <a:pt x="7656" y="80189"/>
                      <a:pt x="8864" y="77526"/>
                      <a:pt x="8864" y="77526"/>
                    </a:cubicBezTo>
                    <a:lnTo>
                      <a:pt x="12788" y="76072"/>
                    </a:lnTo>
                    <a:lnTo>
                      <a:pt x="14325" y="72587"/>
                    </a:lnTo>
                    <a:lnTo>
                      <a:pt x="16301" y="72065"/>
                    </a:lnTo>
                    <a:lnTo>
                      <a:pt x="16905" y="68196"/>
                    </a:lnTo>
                    <a:lnTo>
                      <a:pt x="14654" y="65122"/>
                    </a:lnTo>
                    <a:lnTo>
                      <a:pt x="16438" y="60539"/>
                    </a:lnTo>
                    <a:lnTo>
                      <a:pt x="14435" y="57246"/>
                    </a:lnTo>
                    <a:lnTo>
                      <a:pt x="18771" y="52636"/>
                    </a:lnTo>
                    <a:lnTo>
                      <a:pt x="17508" y="50797"/>
                    </a:lnTo>
                    <a:lnTo>
                      <a:pt x="17371" y="47010"/>
                    </a:lnTo>
                    <a:lnTo>
                      <a:pt x="21542" y="44979"/>
                    </a:lnTo>
                    <a:lnTo>
                      <a:pt x="33288" y="50797"/>
                    </a:lnTo>
                    <a:lnTo>
                      <a:pt x="34358" y="51428"/>
                    </a:lnTo>
                    <a:lnTo>
                      <a:pt x="37843" y="51648"/>
                    </a:lnTo>
                    <a:lnTo>
                      <a:pt x="38667" y="50797"/>
                    </a:lnTo>
                    <a:lnTo>
                      <a:pt x="41658" y="50276"/>
                    </a:lnTo>
                    <a:lnTo>
                      <a:pt x="50687" y="48739"/>
                    </a:lnTo>
                    <a:lnTo>
                      <a:pt x="56862" y="48684"/>
                    </a:lnTo>
                    <a:lnTo>
                      <a:pt x="70885" y="48574"/>
                    </a:lnTo>
                    <a:lnTo>
                      <a:pt x="78816" y="50770"/>
                    </a:lnTo>
                    <a:lnTo>
                      <a:pt x="87845" y="52115"/>
                    </a:lnTo>
                    <a:lnTo>
                      <a:pt x="103158" y="54337"/>
                    </a:lnTo>
                    <a:lnTo>
                      <a:pt x="119514" y="53487"/>
                    </a:lnTo>
                    <a:lnTo>
                      <a:pt x="127308" y="62899"/>
                    </a:lnTo>
                    <a:lnTo>
                      <a:pt x="133071" y="63284"/>
                    </a:lnTo>
                    <a:lnTo>
                      <a:pt x="141029" y="58014"/>
                    </a:lnTo>
                    <a:lnTo>
                      <a:pt x="145667" y="47367"/>
                    </a:lnTo>
                    <a:lnTo>
                      <a:pt x="151293" y="40149"/>
                    </a:lnTo>
                    <a:lnTo>
                      <a:pt x="162160" y="26236"/>
                    </a:lnTo>
                    <a:lnTo>
                      <a:pt x="188643" y="12514"/>
                    </a:lnTo>
                    <a:lnTo>
                      <a:pt x="238644" y="6586"/>
                    </a:lnTo>
                    <a:lnTo>
                      <a:pt x="274457" y="27"/>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0" name="Freeform: Shape 4549">
                <a:extLst>
                  <a:ext uri="{FF2B5EF4-FFF2-40B4-BE49-F238E27FC236}">
                    <a16:creationId xmlns:a16="http://schemas.microsoft.com/office/drawing/2014/main" id="{44B7884B-9739-02B4-DE74-1A90B305B188}"/>
                  </a:ext>
                </a:extLst>
              </p:cNvPr>
              <p:cNvSpPr/>
              <p:nvPr/>
            </p:nvSpPr>
            <p:spPr>
              <a:xfrm>
                <a:off x="1495857" y="3796518"/>
                <a:ext cx="335" cy="558"/>
              </a:xfrm>
              <a:custGeom>
                <a:avLst/>
                <a:gdLst>
                  <a:gd name="connsiteX0" fmla="*/ 3211 w 3210"/>
                  <a:gd name="connsiteY0" fmla="*/ 1015 h 5351"/>
                  <a:gd name="connsiteX1" fmla="*/ 1674 w 3210"/>
                  <a:gd name="connsiteY1" fmla="*/ 5351 h 5351"/>
                  <a:gd name="connsiteX2" fmla="*/ 0 w 3210"/>
                  <a:gd name="connsiteY2" fmla="*/ 3979 h 5351"/>
                  <a:gd name="connsiteX3" fmla="*/ 1784 w 3210"/>
                  <a:gd name="connsiteY3" fmla="*/ 0 h 5351"/>
                  <a:gd name="connsiteX4" fmla="*/ 3211 w 3210"/>
                  <a:gd name="connsiteY4" fmla="*/ 988 h 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 h="5351">
                    <a:moveTo>
                      <a:pt x="3211" y="1015"/>
                    </a:moveTo>
                    <a:lnTo>
                      <a:pt x="1674" y="5351"/>
                    </a:lnTo>
                    <a:lnTo>
                      <a:pt x="0" y="3979"/>
                    </a:lnTo>
                    <a:lnTo>
                      <a:pt x="1784" y="0"/>
                    </a:lnTo>
                    <a:lnTo>
                      <a:pt x="3211" y="98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1" name="Freeform: Shape 4550">
                <a:extLst>
                  <a:ext uri="{FF2B5EF4-FFF2-40B4-BE49-F238E27FC236}">
                    <a16:creationId xmlns:a16="http://schemas.microsoft.com/office/drawing/2014/main" id="{A5AAB631-3EB1-7C9D-22B3-AA6FB3AA14A5}"/>
                  </a:ext>
                </a:extLst>
              </p:cNvPr>
              <p:cNvSpPr/>
              <p:nvPr/>
            </p:nvSpPr>
            <p:spPr>
              <a:xfrm>
                <a:off x="1496318" y="3801702"/>
                <a:ext cx="341" cy="446"/>
              </a:xfrm>
              <a:custGeom>
                <a:avLst/>
                <a:gdLst>
                  <a:gd name="connsiteX0" fmla="*/ 3156 w 3265"/>
                  <a:gd name="connsiteY0" fmla="*/ 1866 h 4280"/>
                  <a:gd name="connsiteX1" fmla="*/ 1235 w 3265"/>
                  <a:gd name="connsiteY1" fmla="*/ 4281 h 4280"/>
                  <a:gd name="connsiteX2" fmla="*/ 0 w 3265"/>
                  <a:gd name="connsiteY2" fmla="*/ 3622 h 4280"/>
                  <a:gd name="connsiteX3" fmla="*/ 330 w 3265"/>
                  <a:gd name="connsiteY3" fmla="*/ 1866 h 4280"/>
                  <a:gd name="connsiteX4" fmla="*/ 3266 w 3265"/>
                  <a:gd name="connsiteY4" fmla="*/ 0 h 4280"/>
                  <a:gd name="connsiteX5" fmla="*/ 3184 w 3265"/>
                  <a:gd name="connsiteY5" fmla="*/ 1838 h 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5" h="4280">
                    <a:moveTo>
                      <a:pt x="3156" y="1866"/>
                    </a:moveTo>
                    <a:lnTo>
                      <a:pt x="1235" y="4281"/>
                    </a:lnTo>
                    <a:lnTo>
                      <a:pt x="0" y="3622"/>
                    </a:lnTo>
                    <a:lnTo>
                      <a:pt x="330" y="1866"/>
                    </a:lnTo>
                    <a:lnTo>
                      <a:pt x="3266" y="0"/>
                    </a:lnTo>
                    <a:lnTo>
                      <a:pt x="3184" y="1838"/>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2" name="Freeform: Shape 4551">
                <a:extLst>
                  <a:ext uri="{FF2B5EF4-FFF2-40B4-BE49-F238E27FC236}">
                    <a16:creationId xmlns:a16="http://schemas.microsoft.com/office/drawing/2014/main" id="{699F4428-101C-257D-0CBE-8101DC9D651C}"/>
                  </a:ext>
                </a:extLst>
              </p:cNvPr>
              <p:cNvSpPr/>
              <p:nvPr/>
            </p:nvSpPr>
            <p:spPr>
              <a:xfrm>
                <a:off x="1496309" y="3800863"/>
                <a:ext cx="318" cy="435"/>
              </a:xfrm>
              <a:custGeom>
                <a:avLst/>
                <a:gdLst>
                  <a:gd name="connsiteX0" fmla="*/ 3046 w 3046"/>
                  <a:gd name="connsiteY0" fmla="*/ 604 h 4171"/>
                  <a:gd name="connsiteX1" fmla="*/ 2882 w 3046"/>
                  <a:gd name="connsiteY1" fmla="*/ 4171 h 4171"/>
                  <a:gd name="connsiteX2" fmla="*/ 906 w 3046"/>
                  <a:gd name="connsiteY2" fmla="*/ 3924 h 4171"/>
                  <a:gd name="connsiteX3" fmla="*/ 0 w 3046"/>
                  <a:gd name="connsiteY3" fmla="*/ 1811 h 4171"/>
                  <a:gd name="connsiteX4" fmla="*/ 2278 w 3046"/>
                  <a:gd name="connsiteY4" fmla="*/ 0 h 4171"/>
                  <a:gd name="connsiteX5" fmla="*/ 3046 w 3046"/>
                  <a:gd name="connsiteY5" fmla="*/ 604 h 4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6" h="4171">
                    <a:moveTo>
                      <a:pt x="3046" y="604"/>
                    </a:moveTo>
                    <a:lnTo>
                      <a:pt x="2882" y="4171"/>
                    </a:lnTo>
                    <a:lnTo>
                      <a:pt x="906" y="3924"/>
                    </a:lnTo>
                    <a:lnTo>
                      <a:pt x="0" y="1811"/>
                    </a:lnTo>
                    <a:lnTo>
                      <a:pt x="2278" y="0"/>
                    </a:lnTo>
                    <a:lnTo>
                      <a:pt x="3046" y="604"/>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3" name="Freeform: Shape 4552">
                <a:extLst>
                  <a:ext uri="{FF2B5EF4-FFF2-40B4-BE49-F238E27FC236}">
                    <a16:creationId xmlns:a16="http://schemas.microsoft.com/office/drawing/2014/main" id="{9EFD71B5-BB54-7382-33B8-51D0D4197B76}"/>
                  </a:ext>
                </a:extLst>
              </p:cNvPr>
              <p:cNvSpPr/>
              <p:nvPr/>
            </p:nvSpPr>
            <p:spPr>
              <a:xfrm>
                <a:off x="1415883" y="3914106"/>
                <a:ext cx="50414" cy="44420"/>
              </a:xfrm>
              <a:custGeom>
                <a:avLst/>
                <a:gdLst>
                  <a:gd name="connsiteX0" fmla="*/ 389580 w 483353"/>
                  <a:gd name="connsiteY0" fmla="*/ 55 h 425887"/>
                  <a:gd name="connsiteX1" fmla="*/ 407172 w 483353"/>
                  <a:gd name="connsiteY1" fmla="*/ 6586 h 425887"/>
                  <a:gd name="connsiteX2" fmla="*/ 424214 w 483353"/>
                  <a:gd name="connsiteY2" fmla="*/ 5242 h 425887"/>
                  <a:gd name="connsiteX3" fmla="*/ 433407 w 483353"/>
                  <a:gd name="connsiteY3" fmla="*/ 6669 h 425887"/>
                  <a:gd name="connsiteX4" fmla="*/ 436838 w 483353"/>
                  <a:gd name="connsiteY4" fmla="*/ 9056 h 425887"/>
                  <a:gd name="connsiteX5" fmla="*/ 443835 w 483353"/>
                  <a:gd name="connsiteY5" fmla="*/ 32657 h 425887"/>
                  <a:gd name="connsiteX6" fmla="*/ 443835 w 483353"/>
                  <a:gd name="connsiteY6" fmla="*/ 41302 h 425887"/>
                  <a:gd name="connsiteX7" fmla="*/ 449955 w 483353"/>
                  <a:gd name="connsiteY7" fmla="*/ 55160 h 425887"/>
                  <a:gd name="connsiteX8" fmla="*/ 453304 w 483353"/>
                  <a:gd name="connsiteY8" fmla="*/ 58701 h 425887"/>
                  <a:gd name="connsiteX9" fmla="*/ 456926 w 483353"/>
                  <a:gd name="connsiteY9" fmla="*/ 71297 h 425887"/>
                  <a:gd name="connsiteX10" fmla="*/ 458325 w 483353"/>
                  <a:gd name="connsiteY10" fmla="*/ 96380 h 425887"/>
                  <a:gd name="connsiteX11" fmla="*/ 455553 w 483353"/>
                  <a:gd name="connsiteY11" fmla="*/ 119048 h 425887"/>
                  <a:gd name="connsiteX12" fmla="*/ 456569 w 483353"/>
                  <a:gd name="connsiteY12" fmla="*/ 123082 h 425887"/>
                  <a:gd name="connsiteX13" fmla="*/ 452837 w 483353"/>
                  <a:gd name="connsiteY13" fmla="*/ 124070 h 425887"/>
                  <a:gd name="connsiteX14" fmla="*/ 440872 w 483353"/>
                  <a:gd name="connsiteY14" fmla="*/ 116111 h 425887"/>
                  <a:gd name="connsiteX15" fmla="*/ 437057 w 483353"/>
                  <a:gd name="connsiteY15" fmla="*/ 116715 h 425887"/>
                  <a:gd name="connsiteX16" fmla="*/ 432199 w 483353"/>
                  <a:gd name="connsiteY16" fmla="*/ 121655 h 425887"/>
                  <a:gd name="connsiteX17" fmla="*/ 422924 w 483353"/>
                  <a:gd name="connsiteY17" fmla="*/ 138477 h 425887"/>
                  <a:gd name="connsiteX18" fmla="*/ 421963 w 483353"/>
                  <a:gd name="connsiteY18" fmla="*/ 149235 h 425887"/>
                  <a:gd name="connsiteX19" fmla="*/ 431788 w 483353"/>
                  <a:gd name="connsiteY19" fmla="*/ 163423 h 425887"/>
                  <a:gd name="connsiteX20" fmla="*/ 443341 w 483353"/>
                  <a:gd name="connsiteY20" fmla="*/ 167896 h 425887"/>
                  <a:gd name="connsiteX21" fmla="*/ 455965 w 483353"/>
                  <a:gd name="connsiteY21" fmla="*/ 167484 h 425887"/>
                  <a:gd name="connsiteX22" fmla="*/ 457557 w 483353"/>
                  <a:gd name="connsiteY22" fmla="*/ 152336 h 425887"/>
                  <a:gd name="connsiteX23" fmla="*/ 461070 w 483353"/>
                  <a:gd name="connsiteY23" fmla="*/ 152034 h 425887"/>
                  <a:gd name="connsiteX24" fmla="*/ 483354 w 483353"/>
                  <a:gd name="connsiteY24" fmla="*/ 152803 h 425887"/>
                  <a:gd name="connsiteX25" fmla="*/ 473529 w 483353"/>
                  <a:gd name="connsiteY25" fmla="*/ 194872 h 425887"/>
                  <a:gd name="connsiteX26" fmla="*/ 468726 w 483353"/>
                  <a:gd name="connsiteY26" fmla="*/ 208018 h 425887"/>
                  <a:gd name="connsiteX27" fmla="*/ 458600 w 483353"/>
                  <a:gd name="connsiteY27" fmla="*/ 218885 h 425887"/>
                  <a:gd name="connsiteX28" fmla="*/ 449736 w 483353"/>
                  <a:gd name="connsiteY28" fmla="*/ 223606 h 425887"/>
                  <a:gd name="connsiteX29" fmla="*/ 437249 w 483353"/>
                  <a:gd name="connsiteY29" fmla="*/ 237739 h 425887"/>
                  <a:gd name="connsiteX30" fmla="*/ 410931 w 483353"/>
                  <a:gd name="connsiteY30" fmla="*/ 284858 h 425887"/>
                  <a:gd name="connsiteX31" fmla="*/ 396688 w 483353"/>
                  <a:gd name="connsiteY31" fmla="*/ 304123 h 425887"/>
                  <a:gd name="connsiteX32" fmla="*/ 381512 w 483353"/>
                  <a:gd name="connsiteY32" fmla="*/ 316088 h 425887"/>
                  <a:gd name="connsiteX33" fmla="*/ 364882 w 483353"/>
                  <a:gd name="connsiteY33" fmla="*/ 336643 h 425887"/>
                  <a:gd name="connsiteX34" fmla="*/ 336698 w 483353"/>
                  <a:gd name="connsiteY34" fmla="*/ 362494 h 425887"/>
                  <a:gd name="connsiteX35" fmla="*/ 313673 w 483353"/>
                  <a:gd name="connsiteY35" fmla="*/ 379426 h 425887"/>
                  <a:gd name="connsiteX36" fmla="*/ 301352 w 483353"/>
                  <a:gd name="connsiteY36" fmla="*/ 385080 h 425887"/>
                  <a:gd name="connsiteX37" fmla="*/ 294216 w 483353"/>
                  <a:gd name="connsiteY37" fmla="*/ 388400 h 425887"/>
                  <a:gd name="connsiteX38" fmla="*/ 276515 w 483353"/>
                  <a:gd name="connsiteY38" fmla="*/ 386891 h 425887"/>
                  <a:gd name="connsiteX39" fmla="*/ 270176 w 483353"/>
                  <a:gd name="connsiteY39" fmla="*/ 391666 h 425887"/>
                  <a:gd name="connsiteX40" fmla="*/ 270616 w 483353"/>
                  <a:gd name="connsiteY40" fmla="*/ 397869 h 425887"/>
                  <a:gd name="connsiteX41" fmla="*/ 254205 w 483353"/>
                  <a:gd name="connsiteY41" fmla="*/ 395453 h 425887"/>
                  <a:gd name="connsiteX42" fmla="*/ 249896 w 483353"/>
                  <a:gd name="connsiteY42" fmla="*/ 396743 h 425887"/>
                  <a:gd name="connsiteX43" fmla="*/ 247618 w 483353"/>
                  <a:gd name="connsiteY43" fmla="*/ 400722 h 425887"/>
                  <a:gd name="connsiteX44" fmla="*/ 245423 w 483353"/>
                  <a:gd name="connsiteY44" fmla="*/ 403823 h 425887"/>
                  <a:gd name="connsiteX45" fmla="*/ 237794 w 483353"/>
                  <a:gd name="connsiteY45" fmla="*/ 402863 h 425887"/>
                  <a:gd name="connsiteX46" fmla="*/ 233705 w 483353"/>
                  <a:gd name="connsiteY46" fmla="*/ 400722 h 425887"/>
                  <a:gd name="connsiteX47" fmla="*/ 210488 w 483353"/>
                  <a:gd name="connsiteY47" fmla="*/ 396029 h 425887"/>
                  <a:gd name="connsiteX48" fmla="*/ 202310 w 483353"/>
                  <a:gd name="connsiteY48" fmla="*/ 400036 h 425887"/>
                  <a:gd name="connsiteX49" fmla="*/ 180191 w 483353"/>
                  <a:gd name="connsiteY49" fmla="*/ 396880 h 425887"/>
                  <a:gd name="connsiteX50" fmla="*/ 166744 w 483353"/>
                  <a:gd name="connsiteY50" fmla="*/ 400750 h 425887"/>
                  <a:gd name="connsiteX51" fmla="*/ 166140 w 483353"/>
                  <a:gd name="connsiteY51" fmla="*/ 403466 h 425887"/>
                  <a:gd name="connsiteX52" fmla="*/ 156755 w 483353"/>
                  <a:gd name="connsiteY52" fmla="*/ 410218 h 425887"/>
                  <a:gd name="connsiteX53" fmla="*/ 148110 w 483353"/>
                  <a:gd name="connsiteY53" fmla="*/ 409723 h 425887"/>
                  <a:gd name="connsiteX54" fmla="*/ 142210 w 483353"/>
                  <a:gd name="connsiteY54" fmla="*/ 411837 h 425887"/>
                  <a:gd name="connsiteX55" fmla="*/ 133702 w 483353"/>
                  <a:gd name="connsiteY55" fmla="*/ 409833 h 425887"/>
                  <a:gd name="connsiteX56" fmla="*/ 128790 w 483353"/>
                  <a:gd name="connsiteY56" fmla="*/ 412907 h 425887"/>
                  <a:gd name="connsiteX57" fmla="*/ 120255 w 483353"/>
                  <a:gd name="connsiteY57" fmla="*/ 413456 h 425887"/>
                  <a:gd name="connsiteX58" fmla="*/ 104119 w 483353"/>
                  <a:gd name="connsiteY58" fmla="*/ 425888 h 425887"/>
                  <a:gd name="connsiteX59" fmla="*/ 93224 w 483353"/>
                  <a:gd name="connsiteY59" fmla="*/ 423775 h 425887"/>
                  <a:gd name="connsiteX60" fmla="*/ 85677 w 483353"/>
                  <a:gd name="connsiteY60" fmla="*/ 418149 h 425887"/>
                  <a:gd name="connsiteX61" fmla="*/ 83372 w 483353"/>
                  <a:gd name="connsiteY61" fmla="*/ 412029 h 425887"/>
                  <a:gd name="connsiteX62" fmla="*/ 75606 w 483353"/>
                  <a:gd name="connsiteY62" fmla="*/ 409230 h 425887"/>
                  <a:gd name="connsiteX63" fmla="*/ 70117 w 483353"/>
                  <a:gd name="connsiteY63" fmla="*/ 409806 h 425887"/>
                  <a:gd name="connsiteX64" fmla="*/ 69623 w 483353"/>
                  <a:gd name="connsiteY64" fmla="*/ 400804 h 425887"/>
                  <a:gd name="connsiteX65" fmla="*/ 68416 w 483353"/>
                  <a:gd name="connsiteY65" fmla="*/ 399844 h 425887"/>
                  <a:gd name="connsiteX66" fmla="*/ 66824 w 483353"/>
                  <a:gd name="connsiteY66" fmla="*/ 399377 h 425887"/>
                  <a:gd name="connsiteX67" fmla="*/ 63613 w 483353"/>
                  <a:gd name="connsiteY67" fmla="*/ 399377 h 425887"/>
                  <a:gd name="connsiteX68" fmla="*/ 59057 w 483353"/>
                  <a:gd name="connsiteY68" fmla="*/ 400804 h 425887"/>
                  <a:gd name="connsiteX69" fmla="*/ 58152 w 483353"/>
                  <a:gd name="connsiteY69" fmla="*/ 402699 h 425887"/>
                  <a:gd name="connsiteX70" fmla="*/ 59112 w 483353"/>
                  <a:gd name="connsiteY70" fmla="*/ 406650 h 425887"/>
                  <a:gd name="connsiteX71" fmla="*/ 58289 w 483353"/>
                  <a:gd name="connsiteY71" fmla="*/ 407912 h 425887"/>
                  <a:gd name="connsiteX72" fmla="*/ 56725 w 483353"/>
                  <a:gd name="connsiteY72" fmla="*/ 406321 h 425887"/>
                  <a:gd name="connsiteX73" fmla="*/ 55216 w 483353"/>
                  <a:gd name="connsiteY73" fmla="*/ 402122 h 425887"/>
                  <a:gd name="connsiteX74" fmla="*/ 55654 w 483353"/>
                  <a:gd name="connsiteY74" fmla="*/ 400777 h 425887"/>
                  <a:gd name="connsiteX75" fmla="*/ 55298 w 483353"/>
                  <a:gd name="connsiteY75" fmla="*/ 396688 h 425887"/>
                  <a:gd name="connsiteX76" fmla="*/ 59277 w 483353"/>
                  <a:gd name="connsiteY76" fmla="*/ 391419 h 425887"/>
                  <a:gd name="connsiteX77" fmla="*/ 58206 w 483353"/>
                  <a:gd name="connsiteY77" fmla="*/ 386260 h 425887"/>
                  <a:gd name="connsiteX78" fmla="*/ 44897 w 483353"/>
                  <a:gd name="connsiteY78" fmla="*/ 365568 h 425887"/>
                  <a:gd name="connsiteX79" fmla="*/ 45857 w 483353"/>
                  <a:gd name="connsiteY79" fmla="*/ 362714 h 425887"/>
                  <a:gd name="connsiteX80" fmla="*/ 42263 w 483353"/>
                  <a:gd name="connsiteY80" fmla="*/ 361753 h 425887"/>
                  <a:gd name="connsiteX81" fmla="*/ 41494 w 483353"/>
                  <a:gd name="connsiteY81" fmla="*/ 356073 h 425887"/>
                  <a:gd name="connsiteX82" fmla="*/ 43909 w 483353"/>
                  <a:gd name="connsiteY82" fmla="*/ 351737 h 425887"/>
                  <a:gd name="connsiteX83" fmla="*/ 50138 w 483353"/>
                  <a:gd name="connsiteY83" fmla="*/ 352560 h 425887"/>
                  <a:gd name="connsiteX84" fmla="*/ 54090 w 483353"/>
                  <a:gd name="connsiteY84" fmla="*/ 346907 h 425887"/>
                  <a:gd name="connsiteX85" fmla="*/ 55216 w 483353"/>
                  <a:gd name="connsiteY85" fmla="*/ 335710 h 425887"/>
                  <a:gd name="connsiteX86" fmla="*/ 52883 w 483353"/>
                  <a:gd name="connsiteY86" fmla="*/ 320946 h 425887"/>
                  <a:gd name="connsiteX87" fmla="*/ 37899 w 483353"/>
                  <a:gd name="connsiteY87" fmla="*/ 296411 h 425887"/>
                  <a:gd name="connsiteX88" fmla="*/ 24561 w 483353"/>
                  <a:gd name="connsiteY88" fmla="*/ 270176 h 425887"/>
                  <a:gd name="connsiteX89" fmla="*/ 15066 w 483353"/>
                  <a:gd name="connsiteY89" fmla="*/ 239001 h 425887"/>
                  <a:gd name="connsiteX90" fmla="*/ 10346 w 483353"/>
                  <a:gd name="connsiteY90" fmla="*/ 227447 h 425887"/>
                  <a:gd name="connsiteX91" fmla="*/ 3485 w 483353"/>
                  <a:gd name="connsiteY91" fmla="*/ 216827 h 425887"/>
                  <a:gd name="connsiteX92" fmla="*/ 0 w 483353"/>
                  <a:gd name="connsiteY92" fmla="*/ 211805 h 425887"/>
                  <a:gd name="connsiteX93" fmla="*/ 8645 w 483353"/>
                  <a:gd name="connsiteY93" fmla="*/ 206014 h 425887"/>
                  <a:gd name="connsiteX94" fmla="*/ 9413 w 483353"/>
                  <a:gd name="connsiteY94" fmla="*/ 200059 h 425887"/>
                  <a:gd name="connsiteX95" fmla="*/ 13420 w 483353"/>
                  <a:gd name="connsiteY95" fmla="*/ 193555 h 425887"/>
                  <a:gd name="connsiteX96" fmla="*/ 18332 w 483353"/>
                  <a:gd name="connsiteY96" fmla="*/ 192210 h 425887"/>
                  <a:gd name="connsiteX97" fmla="*/ 21077 w 483353"/>
                  <a:gd name="connsiteY97" fmla="*/ 194050 h 425887"/>
                  <a:gd name="connsiteX98" fmla="*/ 22092 w 483353"/>
                  <a:gd name="connsiteY98" fmla="*/ 198084 h 425887"/>
                  <a:gd name="connsiteX99" fmla="*/ 27004 w 483353"/>
                  <a:gd name="connsiteY99" fmla="*/ 200526 h 425887"/>
                  <a:gd name="connsiteX100" fmla="*/ 26346 w 483353"/>
                  <a:gd name="connsiteY100" fmla="*/ 207249 h 425887"/>
                  <a:gd name="connsiteX101" fmla="*/ 28760 w 483353"/>
                  <a:gd name="connsiteY101" fmla="*/ 214082 h 425887"/>
                  <a:gd name="connsiteX102" fmla="*/ 43497 w 483353"/>
                  <a:gd name="connsiteY102" fmla="*/ 216854 h 425887"/>
                  <a:gd name="connsiteX103" fmla="*/ 50605 w 483353"/>
                  <a:gd name="connsiteY103" fmla="*/ 220916 h 425887"/>
                  <a:gd name="connsiteX104" fmla="*/ 66906 w 483353"/>
                  <a:gd name="connsiteY104" fmla="*/ 218501 h 425887"/>
                  <a:gd name="connsiteX105" fmla="*/ 78652 w 483353"/>
                  <a:gd name="connsiteY105" fmla="*/ 222782 h 425887"/>
                  <a:gd name="connsiteX106" fmla="*/ 82219 w 483353"/>
                  <a:gd name="connsiteY106" fmla="*/ 220806 h 425887"/>
                  <a:gd name="connsiteX107" fmla="*/ 82219 w 483353"/>
                  <a:gd name="connsiteY107" fmla="*/ 216882 h 425887"/>
                  <a:gd name="connsiteX108" fmla="*/ 87955 w 483353"/>
                  <a:gd name="connsiteY108" fmla="*/ 214247 h 425887"/>
                  <a:gd name="connsiteX109" fmla="*/ 91440 w 483353"/>
                  <a:gd name="connsiteY109" fmla="*/ 208759 h 425887"/>
                  <a:gd name="connsiteX110" fmla="*/ 104146 w 483353"/>
                  <a:gd name="connsiteY110" fmla="*/ 203682 h 425887"/>
                  <a:gd name="connsiteX111" fmla="*/ 104228 w 483353"/>
                  <a:gd name="connsiteY111" fmla="*/ 84003 h 425887"/>
                  <a:gd name="connsiteX112" fmla="*/ 115974 w 483353"/>
                  <a:gd name="connsiteY112" fmla="*/ 94431 h 425887"/>
                  <a:gd name="connsiteX113" fmla="*/ 127500 w 483353"/>
                  <a:gd name="connsiteY113" fmla="*/ 119844 h 425887"/>
                  <a:gd name="connsiteX114" fmla="*/ 128927 w 483353"/>
                  <a:gd name="connsiteY114" fmla="*/ 128982 h 425887"/>
                  <a:gd name="connsiteX115" fmla="*/ 122643 w 483353"/>
                  <a:gd name="connsiteY115" fmla="*/ 140920 h 425887"/>
                  <a:gd name="connsiteX116" fmla="*/ 124042 w 483353"/>
                  <a:gd name="connsiteY116" fmla="*/ 151403 h 425887"/>
                  <a:gd name="connsiteX117" fmla="*/ 153159 w 483353"/>
                  <a:gd name="connsiteY117" fmla="*/ 152363 h 425887"/>
                  <a:gd name="connsiteX118" fmla="*/ 157907 w 483353"/>
                  <a:gd name="connsiteY118" fmla="*/ 147067 h 425887"/>
                  <a:gd name="connsiteX119" fmla="*/ 164411 w 483353"/>
                  <a:gd name="connsiteY119" fmla="*/ 144735 h 425887"/>
                  <a:gd name="connsiteX120" fmla="*/ 170146 w 483353"/>
                  <a:gd name="connsiteY120" fmla="*/ 136913 h 425887"/>
                  <a:gd name="connsiteX121" fmla="*/ 181096 w 483353"/>
                  <a:gd name="connsiteY121" fmla="*/ 129256 h 425887"/>
                  <a:gd name="connsiteX122" fmla="*/ 184307 w 483353"/>
                  <a:gd name="connsiteY122" fmla="*/ 124180 h 425887"/>
                  <a:gd name="connsiteX123" fmla="*/ 188149 w 483353"/>
                  <a:gd name="connsiteY123" fmla="*/ 108811 h 425887"/>
                  <a:gd name="connsiteX124" fmla="*/ 193720 w 483353"/>
                  <a:gd name="connsiteY124" fmla="*/ 102198 h 425887"/>
                  <a:gd name="connsiteX125" fmla="*/ 205877 w 483353"/>
                  <a:gd name="connsiteY125" fmla="*/ 101923 h 425887"/>
                  <a:gd name="connsiteX126" fmla="*/ 219599 w 483353"/>
                  <a:gd name="connsiteY126" fmla="*/ 111995 h 425887"/>
                  <a:gd name="connsiteX127" fmla="*/ 226817 w 483353"/>
                  <a:gd name="connsiteY127" fmla="*/ 112763 h 425887"/>
                  <a:gd name="connsiteX128" fmla="*/ 232223 w 483353"/>
                  <a:gd name="connsiteY128" fmla="*/ 116193 h 425887"/>
                  <a:gd name="connsiteX129" fmla="*/ 240456 w 483353"/>
                  <a:gd name="connsiteY129" fmla="*/ 118197 h 425887"/>
                  <a:gd name="connsiteX130" fmla="*/ 262602 w 483353"/>
                  <a:gd name="connsiteY130" fmla="*/ 115892 h 425887"/>
                  <a:gd name="connsiteX131" fmla="*/ 269600 w 483353"/>
                  <a:gd name="connsiteY131" fmla="*/ 109607 h 425887"/>
                  <a:gd name="connsiteX132" fmla="*/ 277695 w 483353"/>
                  <a:gd name="connsiteY132" fmla="*/ 84469 h 425887"/>
                  <a:gd name="connsiteX133" fmla="*/ 292981 w 483353"/>
                  <a:gd name="connsiteY133" fmla="*/ 79612 h 425887"/>
                  <a:gd name="connsiteX134" fmla="*/ 305193 w 483353"/>
                  <a:gd name="connsiteY134" fmla="*/ 67620 h 425887"/>
                  <a:gd name="connsiteX135" fmla="*/ 311313 w 483353"/>
                  <a:gd name="connsiteY135" fmla="*/ 48958 h 425887"/>
                  <a:gd name="connsiteX136" fmla="*/ 318778 w 483353"/>
                  <a:gd name="connsiteY136" fmla="*/ 41988 h 425887"/>
                  <a:gd name="connsiteX137" fmla="*/ 333295 w 483353"/>
                  <a:gd name="connsiteY137" fmla="*/ 33014 h 425887"/>
                  <a:gd name="connsiteX138" fmla="*/ 347977 w 483353"/>
                  <a:gd name="connsiteY138" fmla="*/ 15642 h 425887"/>
                  <a:gd name="connsiteX139" fmla="*/ 365156 w 483353"/>
                  <a:gd name="connsiteY139" fmla="*/ 10346 h 425887"/>
                  <a:gd name="connsiteX140" fmla="*/ 370782 w 483353"/>
                  <a:gd name="connsiteY140" fmla="*/ 3156 h 425887"/>
                  <a:gd name="connsiteX141" fmla="*/ 379509 w 483353"/>
                  <a:gd name="connsiteY141" fmla="*/ 1948 h 425887"/>
                  <a:gd name="connsiteX142" fmla="*/ 389635 w 483353"/>
                  <a:gd name="connsiteY142" fmla="*/ 0 h 425887"/>
                  <a:gd name="connsiteX143" fmla="*/ 332500 w 483353"/>
                  <a:gd name="connsiteY143" fmla="*/ 221904 h 425887"/>
                  <a:gd name="connsiteX144" fmla="*/ 320726 w 483353"/>
                  <a:gd name="connsiteY144" fmla="*/ 239907 h 425887"/>
                  <a:gd name="connsiteX145" fmla="*/ 311533 w 483353"/>
                  <a:gd name="connsiteY145" fmla="*/ 246136 h 425887"/>
                  <a:gd name="connsiteX146" fmla="*/ 321659 w 483353"/>
                  <a:gd name="connsiteY146" fmla="*/ 263398 h 425887"/>
                  <a:gd name="connsiteX147" fmla="*/ 321961 w 483353"/>
                  <a:gd name="connsiteY147" fmla="*/ 267377 h 425887"/>
                  <a:gd name="connsiteX148" fmla="*/ 331950 w 483353"/>
                  <a:gd name="connsiteY148" fmla="*/ 277778 h 425887"/>
                  <a:gd name="connsiteX149" fmla="*/ 340760 w 483353"/>
                  <a:gd name="connsiteY149" fmla="*/ 280138 h 425887"/>
                  <a:gd name="connsiteX150" fmla="*/ 343339 w 483353"/>
                  <a:gd name="connsiteY150" fmla="*/ 278162 h 425887"/>
                  <a:gd name="connsiteX151" fmla="*/ 346770 w 483353"/>
                  <a:gd name="connsiteY151" fmla="*/ 267953 h 425887"/>
                  <a:gd name="connsiteX152" fmla="*/ 351188 w 483353"/>
                  <a:gd name="connsiteY152" fmla="*/ 263480 h 425887"/>
                  <a:gd name="connsiteX153" fmla="*/ 363455 w 483353"/>
                  <a:gd name="connsiteY153" fmla="*/ 261367 h 425887"/>
                  <a:gd name="connsiteX154" fmla="*/ 372950 w 483353"/>
                  <a:gd name="connsiteY154" fmla="*/ 255494 h 425887"/>
                  <a:gd name="connsiteX155" fmla="*/ 373719 w 483353"/>
                  <a:gd name="connsiteY155" fmla="*/ 247782 h 425887"/>
                  <a:gd name="connsiteX156" fmla="*/ 381787 w 483353"/>
                  <a:gd name="connsiteY156" fmla="*/ 237464 h 425887"/>
                  <a:gd name="connsiteX157" fmla="*/ 378741 w 483353"/>
                  <a:gd name="connsiteY157" fmla="*/ 227941 h 425887"/>
                  <a:gd name="connsiteX158" fmla="*/ 367352 w 483353"/>
                  <a:gd name="connsiteY158" fmla="*/ 218885 h 425887"/>
                  <a:gd name="connsiteX159" fmla="*/ 358213 w 483353"/>
                  <a:gd name="connsiteY159" fmla="*/ 210213 h 425887"/>
                  <a:gd name="connsiteX160" fmla="*/ 344684 w 483353"/>
                  <a:gd name="connsiteY160" fmla="*/ 214247 h 425887"/>
                  <a:gd name="connsiteX161" fmla="*/ 341006 w 483353"/>
                  <a:gd name="connsiteY161" fmla="*/ 218885 h 425887"/>
                  <a:gd name="connsiteX162" fmla="*/ 332445 w 483353"/>
                  <a:gd name="connsiteY162" fmla="*/ 221931 h 42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483353" h="425887">
                    <a:moveTo>
                      <a:pt x="389580" y="55"/>
                    </a:moveTo>
                    <a:lnTo>
                      <a:pt x="407172" y="6586"/>
                    </a:lnTo>
                    <a:lnTo>
                      <a:pt x="424214" y="5242"/>
                    </a:lnTo>
                    <a:lnTo>
                      <a:pt x="433407" y="6669"/>
                    </a:lnTo>
                    <a:lnTo>
                      <a:pt x="436838" y="9056"/>
                    </a:lnTo>
                    <a:lnTo>
                      <a:pt x="443835" y="32657"/>
                    </a:lnTo>
                    <a:lnTo>
                      <a:pt x="443835" y="41302"/>
                    </a:lnTo>
                    <a:cubicBezTo>
                      <a:pt x="443835" y="41302"/>
                      <a:pt x="449955" y="55160"/>
                      <a:pt x="449955" y="55160"/>
                    </a:cubicBezTo>
                    <a:lnTo>
                      <a:pt x="453304" y="58701"/>
                    </a:lnTo>
                    <a:lnTo>
                      <a:pt x="456926" y="71297"/>
                    </a:lnTo>
                    <a:lnTo>
                      <a:pt x="458325" y="96380"/>
                    </a:lnTo>
                    <a:lnTo>
                      <a:pt x="455553" y="119048"/>
                    </a:lnTo>
                    <a:lnTo>
                      <a:pt x="456569" y="123082"/>
                    </a:lnTo>
                    <a:lnTo>
                      <a:pt x="452837" y="124070"/>
                    </a:lnTo>
                    <a:lnTo>
                      <a:pt x="440872" y="116111"/>
                    </a:lnTo>
                    <a:lnTo>
                      <a:pt x="437057" y="116715"/>
                    </a:lnTo>
                    <a:lnTo>
                      <a:pt x="432199" y="121655"/>
                    </a:lnTo>
                    <a:lnTo>
                      <a:pt x="422924" y="138477"/>
                    </a:lnTo>
                    <a:lnTo>
                      <a:pt x="421963" y="149235"/>
                    </a:lnTo>
                    <a:lnTo>
                      <a:pt x="431788" y="163423"/>
                    </a:lnTo>
                    <a:lnTo>
                      <a:pt x="443341" y="167896"/>
                    </a:lnTo>
                    <a:lnTo>
                      <a:pt x="455965" y="167484"/>
                    </a:lnTo>
                    <a:lnTo>
                      <a:pt x="457557" y="152336"/>
                    </a:lnTo>
                    <a:lnTo>
                      <a:pt x="461070" y="152034"/>
                    </a:lnTo>
                    <a:lnTo>
                      <a:pt x="483354" y="152803"/>
                    </a:lnTo>
                    <a:lnTo>
                      <a:pt x="473529" y="194872"/>
                    </a:lnTo>
                    <a:lnTo>
                      <a:pt x="468726" y="208018"/>
                    </a:lnTo>
                    <a:lnTo>
                      <a:pt x="458600" y="218885"/>
                    </a:lnTo>
                    <a:lnTo>
                      <a:pt x="449736" y="223606"/>
                    </a:lnTo>
                    <a:lnTo>
                      <a:pt x="437249" y="237739"/>
                    </a:lnTo>
                    <a:lnTo>
                      <a:pt x="410931" y="284858"/>
                    </a:lnTo>
                    <a:lnTo>
                      <a:pt x="396688" y="304123"/>
                    </a:lnTo>
                    <a:lnTo>
                      <a:pt x="381512" y="316088"/>
                    </a:lnTo>
                    <a:lnTo>
                      <a:pt x="364882" y="336643"/>
                    </a:lnTo>
                    <a:lnTo>
                      <a:pt x="336698" y="362494"/>
                    </a:lnTo>
                    <a:lnTo>
                      <a:pt x="313673" y="379426"/>
                    </a:lnTo>
                    <a:lnTo>
                      <a:pt x="301352" y="385080"/>
                    </a:lnTo>
                    <a:lnTo>
                      <a:pt x="294216" y="388400"/>
                    </a:lnTo>
                    <a:lnTo>
                      <a:pt x="276515" y="386891"/>
                    </a:lnTo>
                    <a:lnTo>
                      <a:pt x="270176" y="391666"/>
                    </a:lnTo>
                    <a:lnTo>
                      <a:pt x="270616" y="397869"/>
                    </a:lnTo>
                    <a:lnTo>
                      <a:pt x="254205" y="395453"/>
                    </a:lnTo>
                    <a:lnTo>
                      <a:pt x="249896" y="396743"/>
                    </a:lnTo>
                    <a:lnTo>
                      <a:pt x="247618" y="400722"/>
                    </a:lnTo>
                    <a:lnTo>
                      <a:pt x="245423" y="403823"/>
                    </a:lnTo>
                    <a:lnTo>
                      <a:pt x="237794" y="402863"/>
                    </a:lnTo>
                    <a:lnTo>
                      <a:pt x="233705" y="400722"/>
                    </a:lnTo>
                    <a:lnTo>
                      <a:pt x="210488" y="396029"/>
                    </a:lnTo>
                    <a:lnTo>
                      <a:pt x="202310" y="400036"/>
                    </a:lnTo>
                    <a:lnTo>
                      <a:pt x="180191" y="396880"/>
                    </a:lnTo>
                    <a:lnTo>
                      <a:pt x="166744" y="400750"/>
                    </a:lnTo>
                    <a:lnTo>
                      <a:pt x="166140" y="403466"/>
                    </a:lnTo>
                    <a:lnTo>
                      <a:pt x="156755" y="410218"/>
                    </a:lnTo>
                    <a:lnTo>
                      <a:pt x="148110" y="409723"/>
                    </a:lnTo>
                    <a:lnTo>
                      <a:pt x="142210" y="411837"/>
                    </a:lnTo>
                    <a:lnTo>
                      <a:pt x="133702" y="409833"/>
                    </a:lnTo>
                    <a:lnTo>
                      <a:pt x="128790" y="412907"/>
                    </a:lnTo>
                    <a:lnTo>
                      <a:pt x="120255" y="413456"/>
                    </a:lnTo>
                    <a:lnTo>
                      <a:pt x="104119" y="425888"/>
                    </a:lnTo>
                    <a:lnTo>
                      <a:pt x="93224" y="423775"/>
                    </a:lnTo>
                    <a:lnTo>
                      <a:pt x="85677" y="418149"/>
                    </a:lnTo>
                    <a:lnTo>
                      <a:pt x="83372" y="412029"/>
                    </a:lnTo>
                    <a:lnTo>
                      <a:pt x="75606" y="409230"/>
                    </a:lnTo>
                    <a:lnTo>
                      <a:pt x="70117" y="409806"/>
                    </a:lnTo>
                    <a:lnTo>
                      <a:pt x="69623" y="400804"/>
                    </a:lnTo>
                    <a:lnTo>
                      <a:pt x="68416" y="399844"/>
                    </a:lnTo>
                    <a:lnTo>
                      <a:pt x="66824" y="399377"/>
                    </a:lnTo>
                    <a:lnTo>
                      <a:pt x="63613" y="399377"/>
                    </a:lnTo>
                    <a:cubicBezTo>
                      <a:pt x="63613" y="399377"/>
                      <a:pt x="59057" y="400804"/>
                      <a:pt x="59057" y="400804"/>
                    </a:cubicBezTo>
                    <a:lnTo>
                      <a:pt x="58152" y="402699"/>
                    </a:lnTo>
                    <a:lnTo>
                      <a:pt x="59112" y="406650"/>
                    </a:lnTo>
                    <a:lnTo>
                      <a:pt x="58289" y="407912"/>
                    </a:lnTo>
                    <a:lnTo>
                      <a:pt x="56725" y="406321"/>
                    </a:lnTo>
                    <a:lnTo>
                      <a:pt x="55216" y="402122"/>
                    </a:lnTo>
                    <a:lnTo>
                      <a:pt x="55654" y="400777"/>
                    </a:lnTo>
                    <a:lnTo>
                      <a:pt x="55298" y="396688"/>
                    </a:lnTo>
                    <a:lnTo>
                      <a:pt x="59277" y="391419"/>
                    </a:lnTo>
                    <a:lnTo>
                      <a:pt x="58206" y="386260"/>
                    </a:lnTo>
                    <a:lnTo>
                      <a:pt x="44897" y="365568"/>
                    </a:lnTo>
                    <a:lnTo>
                      <a:pt x="45857" y="362714"/>
                    </a:lnTo>
                    <a:lnTo>
                      <a:pt x="42263" y="361753"/>
                    </a:lnTo>
                    <a:lnTo>
                      <a:pt x="41494" y="356073"/>
                    </a:lnTo>
                    <a:lnTo>
                      <a:pt x="43909" y="351737"/>
                    </a:lnTo>
                    <a:lnTo>
                      <a:pt x="50138" y="352560"/>
                    </a:lnTo>
                    <a:lnTo>
                      <a:pt x="54090" y="346907"/>
                    </a:lnTo>
                    <a:lnTo>
                      <a:pt x="55216" y="335710"/>
                    </a:lnTo>
                    <a:lnTo>
                      <a:pt x="52883" y="320946"/>
                    </a:lnTo>
                    <a:lnTo>
                      <a:pt x="37899" y="296411"/>
                    </a:lnTo>
                    <a:lnTo>
                      <a:pt x="24561" y="270176"/>
                    </a:lnTo>
                    <a:lnTo>
                      <a:pt x="15066" y="239001"/>
                    </a:lnTo>
                    <a:lnTo>
                      <a:pt x="10346" y="227447"/>
                    </a:lnTo>
                    <a:lnTo>
                      <a:pt x="3485" y="216827"/>
                    </a:lnTo>
                    <a:lnTo>
                      <a:pt x="0" y="211805"/>
                    </a:lnTo>
                    <a:lnTo>
                      <a:pt x="8645" y="206014"/>
                    </a:lnTo>
                    <a:lnTo>
                      <a:pt x="9413" y="200059"/>
                    </a:lnTo>
                    <a:lnTo>
                      <a:pt x="13420" y="193555"/>
                    </a:lnTo>
                    <a:lnTo>
                      <a:pt x="18332" y="192210"/>
                    </a:lnTo>
                    <a:lnTo>
                      <a:pt x="21077" y="194050"/>
                    </a:lnTo>
                    <a:lnTo>
                      <a:pt x="22092" y="198084"/>
                    </a:lnTo>
                    <a:lnTo>
                      <a:pt x="27004" y="200526"/>
                    </a:lnTo>
                    <a:lnTo>
                      <a:pt x="26346" y="207249"/>
                    </a:lnTo>
                    <a:lnTo>
                      <a:pt x="28760" y="214082"/>
                    </a:lnTo>
                    <a:lnTo>
                      <a:pt x="43497" y="216854"/>
                    </a:lnTo>
                    <a:lnTo>
                      <a:pt x="50605" y="220916"/>
                    </a:lnTo>
                    <a:lnTo>
                      <a:pt x="66906" y="218501"/>
                    </a:lnTo>
                    <a:lnTo>
                      <a:pt x="78652" y="222782"/>
                    </a:lnTo>
                    <a:lnTo>
                      <a:pt x="82219" y="220806"/>
                    </a:lnTo>
                    <a:lnTo>
                      <a:pt x="82219" y="216882"/>
                    </a:lnTo>
                    <a:lnTo>
                      <a:pt x="87955" y="214247"/>
                    </a:lnTo>
                    <a:lnTo>
                      <a:pt x="91440" y="208759"/>
                    </a:lnTo>
                    <a:lnTo>
                      <a:pt x="104146" y="203682"/>
                    </a:lnTo>
                    <a:lnTo>
                      <a:pt x="104228" y="84003"/>
                    </a:lnTo>
                    <a:lnTo>
                      <a:pt x="115974" y="94431"/>
                    </a:lnTo>
                    <a:lnTo>
                      <a:pt x="127500" y="119844"/>
                    </a:lnTo>
                    <a:lnTo>
                      <a:pt x="128927" y="128982"/>
                    </a:lnTo>
                    <a:lnTo>
                      <a:pt x="122643" y="140920"/>
                    </a:lnTo>
                    <a:lnTo>
                      <a:pt x="124042" y="151403"/>
                    </a:lnTo>
                    <a:lnTo>
                      <a:pt x="153159" y="152363"/>
                    </a:lnTo>
                    <a:lnTo>
                      <a:pt x="157907" y="147067"/>
                    </a:lnTo>
                    <a:lnTo>
                      <a:pt x="164411" y="144735"/>
                    </a:lnTo>
                    <a:lnTo>
                      <a:pt x="170146" y="136913"/>
                    </a:lnTo>
                    <a:lnTo>
                      <a:pt x="181096" y="129256"/>
                    </a:lnTo>
                    <a:lnTo>
                      <a:pt x="184307" y="124180"/>
                    </a:lnTo>
                    <a:lnTo>
                      <a:pt x="188149" y="108811"/>
                    </a:lnTo>
                    <a:lnTo>
                      <a:pt x="193720" y="102198"/>
                    </a:lnTo>
                    <a:lnTo>
                      <a:pt x="205877" y="101923"/>
                    </a:lnTo>
                    <a:lnTo>
                      <a:pt x="219599" y="111995"/>
                    </a:lnTo>
                    <a:lnTo>
                      <a:pt x="226817" y="112763"/>
                    </a:lnTo>
                    <a:lnTo>
                      <a:pt x="232223" y="116193"/>
                    </a:lnTo>
                    <a:lnTo>
                      <a:pt x="240456" y="118197"/>
                    </a:lnTo>
                    <a:lnTo>
                      <a:pt x="262602" y="115892"/>
                    </a:lnTo>
                    <a:lnTo>
                      <a:pt x="269600" y="109607"/>
                    </a:lnTo>
                    <a:lnTo>
                      <a:pt x="277695" y="84469"/>
                    </a:lnTo>
                    <a:lnTo>
                      <a:pt x="292981" y="79612"/>
                    </a:lnTo>
                    <a:lnTo>
                      <a:pt x="305193" y="67620"/>
                    </a:lnTo>
                    <a:lnTo>
                      <a:pt x="311313" y="48958"/>
                    </a:lnTo>
                    <a:lnTo>
                      <a:pt x="318778" y="41988"/>
                    </a:lnTo>
                    <a:lnTo>
                      <a:pt x="333295" y="33014"/>
                    </a:lnTo>
                    <a:lnTo>
                      <a:pt x="347977" y="15642"/>
                    </a:lnTo>
                    <a:lnTo>
                      <a:pt x="365156" y="10346"/>
                    </a:lnTo>
                    <a:lnTo>
                      <a:pt x="370782" y="3156"/>
                    </a:lnTo>
                    <a:lnTo>
                      <a:pt x="379509" y="1948"/>
                    </a:lnTo>
                    <a:lnTo>
                      <a:pt x="389635" y="0"/>
                    </a:lnTo>
                    <a:moveTo>
                      <a:pt x="332500" y="221904"/>
                    </a:moveTo>
                    <a:lnTo>
                      <a:pt x="320726" y="239907"/>
                    </a:lnTo>
                    <a:lnTo>
                      <a:pt x="311533" y="246136"/>
                    </a:lnTo>
                    <a:lnTo>
                      <a:pt x="321659" y="263398"/>
                    </a:lnTo>
                    <a:lnTo>
                      <a:pt x="321961" y="267377"/>
                    </a:lnTo>
                    <a:lnTo>
                      <a:pt x="331950" y="277778"/>
                    </a:lnTo>
                    <a:lnTo>
                      <a:pt x="340760" y="280138"/>
                    </a:lnTo>
                    <a:lnTo>
                      <a:pt x="343339" y="278162"/>
                    </a:lnTo>
                    <a:lnTo>
                      <a:pt x="346770" y="267953"/>
                    </a:lnTo>
                    <a:lnTo>
                      <a:pt x="351188" y="263480"/>
                    </a:lnTo>
                    <a:lnTo>
                      <a:pt x="363455" y="261367"/>
                    </a:lnTo>
                    <a:lnTo>
                      <a:pt x="372950" y="255494"/>
                    </a:lnTo>
                    <a:lnTo>
                      <a:pt x="373719" y="247782"/>
                    </a:lnTo>
                    <a:lnTo>
                      <a:pt x="381787" y="237464"/>
                    </a:lnTo>
                    <a:lnTo>
                      <a:pt x="378741" y="227941"/>
                    </a:lnTo>
                    <a:lnTo>
                      <a:pt x="367352" y="218885"/>
                    </a:lnTo>
                    <a:lnTo>
                      <a:pt x="358213" y="210213"/>
                    </a:lnTo>
                    <a:lnTo>
                      <a:pt x="344684" y="214247"/>
                    </a:lnTo>
                    <a:lnTo>
                      <a:pt x="341006" y="218885"/>
                    </a:lnTo>
                    <a:lnTo>
                      <a:pt x="332445" y="221931"/>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54" name="Freeform: Shape 4553">
                <a:extLst>
                  <a:ext uri="{FF2B5EF4-FFF2-40B4-BE49-F238E27FC236}">
                    <a16:creationId xmlns:a16="http://schemas.microsoft.com/office/drawing/2014/main" id="{784D461A-1DC3-93DF-E360-785CC7907107}"/>
                  </a:ext>
                </a:extLst>
              </p:cNvPr>
              <p:cNvSpPr/>
              <p:nvPr/>
            </p:nvSpPr>
            <p:spPr>
              <a:xfrm>
                <a:off x="1432880" y="3869674"/>
                <a:ext cx="35811" cy="31119"/>
              </a:xfrm>
              <a:custGeom>
                <a:avLst/>
                <a:gdLst>
                  <a:gd name="connsiteX0" fmla="*/ 322180 w 343338"/>
                  <a:gd name="connsiteY0" fmla="*/ 35978 h 298359"/>
                  <a:gd name="connsiteX1" fmla="*/ 324239 w 343338"/>
                  <a:gd name="connsiteY1" fmla="*/ 42838 h 298359"/>
                  <a:gd name="connsiteX2" fmla="*/ 328575 w 343338"/>
                  <a:gd name="connsiteY2" fmla="*/ 42235 h 298359"/>
                  <a:gd name="connsiteX3" fmla="*/ 330166 w 343338"/>
                  <a:gd name="connsiteY3" fmla="*/ 44924 h 298359"/>
                  <a:gd name="connsiteX4" fmla="*/ 334282 w 343338"/>
                  <a:gd name="connsiteY4" fmla="*/ 50385 h 298359"/>
                  <a:gd name="connsiteX5" fmla="*/ 333460 w 343338"/>
                  <a:gd name="connsiteY5" fmla="*/ 55846 h 298359"/>
                  <a:gd name="connsiteX6" fmla="*/ 339332 w 343338"/>
                  <a:gd name="connsiteY6" fmla="*/ 60429 h 298359"/>
                  <a:gd name="connsiteX7" fmla="*/ 339853 w 343338"/>
                  <a:gd name="connsiteY7" fmla="*/ 64903 h 298359"/>
                  <a:gd name="connsiteX8" fmla="*/ 343339 w 343338"/>
                  <a:gd name="connsiteY8" fmla="*/ 70858 h 298359"/>
                  <a:gd name="connsiteX9" fmla="*/ 338509 w 343338"/>
                  <a:gd name="connsiteY9" fmla="*/ 77087 h 298359"/>
                  <a:gd name="connsiteX10" fmla="*/ 332252 w 343338"/>
                  <a:gd name="connsiteY10" fmla="*/ 80600 h 298359"/>
                  <a:gd name="connsiteX11" fmla="*/ 335133 w 343338"/>
                  <a:gd name="connsiteY11" fmla="*/ 88805 h 298359"/>
                  <a:gd name="connsiteX12" fmla="*/ 330496 w 343338"/>
                  <a:gd name="connsiteY12" fmla="*/ 99206 h 298359"/>
                  <a:gd name="connsiteX13" fmla="*/ 333267 w 343338"/>
                  <a:gd name="connsiteY13" fmla="*/ 106863 h 298359"/>
                  <a:gd name="connsiteX14" fmla="*/ 331703 w 343338"/>
                  <a:gd name="connsiteY14" fmla="*/ 117264 h 298359"/>
                  <a:gd name="connsiteX15" fmla="*/ 334118 w 343338"/>
                  <a:gd name="connsiteY15" fmla="*/ 123438 h 298359"/>
                  <a:gd name="connsiteX16" fmla="*/ 338838 w 343338"/>
                  <a:gd name="connsiteY16" fmla="*/ 124838 h 298359"/>
                  <a:gd name="connsiteX17" fmla="*/ 337549 w 343338"/>
                  <a:gd name="connsiteY17" fmla="*/ 127445 h 298359"/>
                  <a:gd name="connsiteX18" fmla="*/ 323745 w 343338"/>
                  <a:gd name="connsiteY18" fmla="*/ 134169 h 298359"/>
                  <a:gd name="connsiteX19" fmla="*/ 322455 w 343338"/>
                  <a:gd name="connsiteY19" fmla="*/ 137764 h 298359"/>
                  <a:gd name="connsiteX20" fmla="*/ 323937 w 343338"/>
                  <a:gd name="connsiteY20" fmla="*/ 141661 h 298359"/>
                  <a:gd name="connsiteX21" fmla="*/ 323415 w 343338"/>
                  <a:gd name="connsiteY21" fmla="*/ 150387 h 298359"/>
                  <a:gd name="connsiteX22" fmla="*/ 318668 w 343338"/>
                  <a:gd name="connsiteY22" fmla="*/ 159087 h 298359"/>
                  <a:gd name="connsiteX23" fmla="*/ 314771 w 343338"/>
                  <a:gd name="connsiteY23" fmla="*/ 162160 h 298359"/>
                  <a:gd name="connsiteX24" fmla="*/ 317954 w 343338"/>
                  <a:gd name="connsiteY24" fmla="*/ 164493 h 298359"/>
                  <a:gd name="connsiteX25" fmla="*/ 317598 w 343338"/>
                  <a:gd name="connsiteY25" fmla="*/ 167265 h 298359"/>
                  <a:gd name="connsiteX26" fmla="*/ 324129 w 343338"/>
                  <a:gd name="connsiteY26" fmla="*/ 174867 h 298359"/>
                  <a:gd name="connsiteX27" fmla="*/ 327751 w 343338"/>
                  <a:gd name="connsiteY27" fmla="*/ 172781 h 298359"/>
                  <a:gd name="connsiteX28" fmla="*/ 330660 w 343338"/>
                  <a:gd name="connsiteY28" fmla="*/ 174126 h 298359"/>
                  <a:gd name="connsiteX29" fmla="*/ 329617 w 343338"/>
                  <a:gd name="connsiteY29" fmla="*/ 174318 h 298359"/>
                  <a:gd name="connsiteX30" fmla="*/ 326159 w 343338"/>
                  <a:gd name="connsiteY30" fmla="*/ 175525 h 298359"/>
                  <a:gd name="connsiteX31" fmla="*/ 323223 w 343338"/>
                  <a:gd name="connsiteY31" fmla="*/ 176678 h 298359"/>
                  <a:gd name="connsiteX32" fmla="*/ 312164 w 343338"/>
                  <a:gd name="connsiteY32" fmla="*/ 180657 h 298359"/>
                  <a:gd name="connsiteX33" fmla="*/ 309145 w 343338"/>
                  <a:gd name="connsiteY33" fmla="*/ 181974 h 298359"/>
                  <a:gd name="connsiteX34" fmla="*/ 242458 w 343338"/>
                  <a:gd name="connsiteY34" fmla="*/ 204533 h 298359"/>
                  <a:gd name="connsiteX35" fmla="*/ 242239 w 343338"/>
                  <a:gd name="connsiteY35" fmla="*/ 208978 h 298359"/>
                  <a:gd name="connsiteX36" fmla="*/ 246301 w 343338"/>
                  <a:gd name="connsiteY36" fmla="*/ 215564 h 298359"/>
                  <a:gd name="connsiteX37" fmla="*/ 247590 w 343338"/>
                  <a:gd name="connsiteY37" fmla="*/ 223413 h 298359"/>
                  <a:gd name="connsiteX38" fmla="*/ 221821 w 343338"/>
                  <a:gd name="connsiteY38" fmla="*/ 224840 h 298359"/>
                  <a:gd name="connsiteX39" fmla="*/ 204697 w 343338"/>
                  <a:gd name="connsiteY39" fmla="*/ 233100 h 298359"/>
                  <a:gd name="connsiteX40" fmla="*/ 201761 w 343338"/>
                  <a:gd name="connsiteY40" fmla="*/ 236998 h 298359"/>
                  <a:gd name="connsiteX41" fmla="*/ 199044 w 343338"/>
                  <a:gd name="connsiteY41" fmla="*/ 250746 h 298359"/>
                  <a:gd name="connsiteX42" fmla="*/ 172067 w 343338"/>
                  <a:gd name="connsiteY42" fmla="*/ 264770 h 298359"/>
                  <a:gd name="connsiteX43" fmla="*/ 164109 w 343338"/>
                  <a:gd name="connsiteY43" fmla="*/ 277256 h 298359"/>
                  <a:gd name="connsiteX44" fmla="*/ 147341 w 343338"/>
                  <a:gd name="connsiteY44" fmla="*/ 295259 h 298359"/>
                  <a:gd name="connsiteX45" fmla="*/ 136968 w 343338"/>
                  <a:gd name="connsiteY45" fmla="*/ 298360 h 298359"/>
                  <a:gd name="connsiteX46" fmla="*/ 124344 w 343338"/>
                  <a:gd name="connsiteY46" fmla="*/ 293969 h 298359"/>
                  <a:gd name="connsiteX47" fmla="*/ 116056 w 343338"/>
                  <a:gd name="connsiteY47" fmla="*/ 296055 h 298359"/>
                  <a:gd name="connsiteX48" fmla="*/ 109141 w 343338"/>
                  <a:gd name="connsiteY48" fmla="*/ 291527 h 298359"/>
                  <a:gd name="connsiteX49" fmla="*/ 96160 w 343338"/>
                  <a:gd name="connsiteY49" fmla="*/ 290429 h 298359"/>
                  <a:gd name="connsiteX50" fmla="*/ 95941 w 343338"/>
                  <a:gd name="connsiteY50" fmla="*/ 290182 h 298359"/>
                  <a:gd name="connsiteX51" fmla="*/ 86719 w 343338"/>
                  <a:gd name="connsiteY51" fmla="*/ 282827 h 298359"/>
                  <a:gd name="connsiteX52" fmla="*/ 70995 w 343338"/>
                  <a:gd name="connsiteY52" fmla="*/ 280550 h 298359"/>
                  <a:gd name="connsiteX53" fmla="*/ 42070 w 343338"/>
                  <a:gd name="connsiteY53" fmla="*/ 285352 h 298359"/>
                  <a:gd name="connsiteX54" fmla="*/ 34880 w 343338"/>
                  <a:gd name="connsiteY54" fmla="*/ 280879 h 298359"/>
                  <a:gd name="connsiteX55" fmla="*/ 19594 w 343338"/>
                  <a:gd name="connsiteY55" fmla="*/ 265895 h 298359"/>
                  <a:gd name="connsiteX56" fmla="*/ 5049 w 343338"/>
                  <a:gd name="connsiteY56" fmla="*/ 251158 h 298359"/>
                  <a:gd name="connsiteX57" fmla="*/ 0 w 343338"/>
                  <a:gd name="connsiteY57" fmla="*/ 236970 h 298359"/>
                  <a:gd name="connsiteX58" fmla="*/ 192 w 343338"/>
                  <a:gd name="connsiteY58" fmla="*/ 145310 h 298359"/>
                  <a:gd name="connsiteX59" fmla="*/ 19594 w 343338"/>
                  <a:gd name="connsiteY59" fmla="*/ 143993 h 298359"/>
                  <a:gd name="connsiteX60" fmla="*/ 59221 w 343338"/>
                  <a:gd name="connsiteY60" fmla="*/ 143746 h 298359"/>
                  <a:gd name="connsiteX61" fmla="*/ 55874 w 343338"/>
                  <a:gd name="connsiteY61" fmla="*/ 138011 h 298359"/>
                  <a:gd name="connsiteX62" fmla="*/ 59524 w 343338"/>
                  <a:gd name="connsiteY62" fmla="*/ 127555 h 298359"/>
                  <a:gd name="connsiteX63" fmla="*/ 60621 w 343338"/>
                  <a:gd name="connsiteY63" fmla="*/ 123521 h 298359"/>
                  <a:gd name="connsiteX64" fmla="*/ 58454 w 343338"/>
                  <a:gd name="connsiteY64" fmla="*/ 118142 h 298359"/>
                  <a:gd name="connsiteX65" fmla="*/ 58042 w 343338"/>
                  <a:gd name="connsiteY65" fmla="*/ 103680 h 298359"/>
                  <a:gd name="connsiteX66" fmla="*/ 60923 w 343338"/>
                  <a:gd name="connsiteY66" fmla="*/ 95474 h 298359"/>
                  <a:gd name="connsiteX67" fmla="*/ 58838 w 343338"/>
                  <a:gd name="connsiteY67" fmla="*/ 80490 h 298359"/>
                  <a:gd name="connsiteX68" fmla="*/ 61719 w 343338"/>
                  <a:gd name="connsiteY68" fmla="*/ 81204 h 298359"/>
                  <a:gd name="connsiteX69" fmla="*/ 63393 w 343338"/>
                  <a:gd name="connsiteY69" fmla="*/ 84415 h 298359"/>
                  <a:gd name="connsiteX70" fmla="*/ 69650 w 343338"/>
                  <a:gd name="connsiteY70" fmla="*/ 86582 h 298359"/>
                  <a:gd name="connsiteX71" fmla="*/ 70391 w 343338"/>
                  <a:gd name="connsiteY71" fmla="*/ 91275 h 298359"/>
                  <a:gd name="connsiteX72" fmla="*/ 68745 w 343338"/>
                  <a:gd name="connsiteY72" fmla="*/ 95474 h 298359"/>
                  <a:gd name="connsiteX73" fmla="*/ 72148 w 343338"/>
                  <a:gd name="connsiteY73" fmla="*/ 97697 h 298359"/>
                  <a:gd name="connsiteX74" fmla="*/ 85073 w 343338"/>
                  <a:gd name="connsiteY74" fmla="*/ 91852 h 298359"/>
                  <a:gd name="connsiteX75" fmla="*/ 97834 w 343338"/>
                  <a:gd name="connsiteY75" fmla="*/ 90150 h 298359"/>
                  <a:gd name="connsiteX76" fmla="*/ 96764 w 343338"/>
                  <a:gd name="connsiteY76" fmla="*/ 95529 h 298359"/>
                  <a:gd name="connsiteX77" fmla="*/ 98438 w 343338"/>
                  <a:gd name="connsiteY77" fmla="*/ 102445 h 298359"/>
                  <a:gd name="connsiteX78" fmla="*/ 103487 w 343338"/>
                  <a:gd name="connsiteY78" fmla="*/ 106753 h 298359"/>
                  <a:gd name="connsiteX79" fmla="*/ 107302 w 343338"/>
                  <a:gd name="connsiteY79" fmla="*/ 106204 h 298359"/>
                  <a:gd name="connsiteX80" fmla="*/ 118361 w 343338"/>
                  <a:gd name="connsiteY80" fmla="*/ 111830 h 298359"/>
                  <a:gd name="connsiteX81" fmla="*/ 131232 w 343338"/>
                  <a:gd name="connsiteY81" fmla="*/ 111748 h 298359"/>
                  <a:gd name="connsiteX82" fmla="*/ 138065 w 343338"/>
                  <a:gd name="connsiteY82" fmla="*/ 113778 h 298359"/>
                  <a:gd name="connsiteX83" fmla="*/ 143581 w 343338"/>
                  <a:gd name="connsiteY83" fmla="*/ 112900 h 298359"/>
                  <a:gd name="connsiteX84" fmla="*/ 146792 w 343338"/>
                  <a:gd name="connsiteY84" fmla="*/ 109443 h 298359"/>
                  <a:gd name="connsiteX85" fmla="*/ 148768 w 343338"/>
                  <a:gd name="connsiteY85" fmla="*/ 102335 h 298359"/>
                  <a:gd name="connsiteX86" fmla="*/ 152583 w 343338"/>
                  <a:gd name="connsiteY86" fmla="*/ 101512 h 298359"/>
                  <a:gd name="connsiteX87" fmla="*/ 154174 w 343338"/>
                  <a:gd name="connsiteY87" fmla="*/ 106918 h 298359"/>
                  <a:gd name="connsiteX88" fmla="*/ 160157 w 343338"/>
                  <a:gd name="connsiteY88" fmla="*/ 111556 h 298359"/>
                  <a:gd name="connsiteX89" fmla="*/ 162133 w 343338"/>
                  <a:gd name="connsiteY89" fmla="*/ 117813 h 298359"/>
                  <a:gd name="connsiteX90" fmla="*/ 165700 w 343338"/>
                  <a:gd name="connsiteY90" fmla="*/ 121710 h 298359"/>
                  <a:gd name="connsiteX91" fmla="*/ 173110 w 343338"/>
                  <a:gd name="connsiteY91" fmla="*/ 121106 h 298359"/>
                  <a:gd name="connsiteX92" fmla="*/ 175854 w 343338"/>
                  <a:gd name="connsiteY92" fmla="*/ 124289 h 298359"/>
                  <a:gd name="connsiteX93" fmla="*/ 186941 w 343338"/>
                  <a:gd name="connsiteY93" fmla="*/ 127472 h 298359"/>
                  <a:gd name="connsiteX94" fmla="*/ 191168 w 343338"/>
                  <a:gd name="connsiteY94" fmla="*/ 132495 h 298359"/>
                  <a:gd name="connsiteX95" fmla="*/ 190536 w 343338"/>
                  <a:gd name="connsiteY95" fmla="*/ 135760 h 298359"/>
                  <a:gd name="connsiteX96" fmla="*/ 192869 w 343338"/>
                  <a:gd name="connsiteY96" fmla="*/ 139136 h 298359"/>
                  <a:gd name="connsiteX97" fmla="*/ 196245 w 343338"/>
                  <a:gd name="connsiteY97" fmla="*/ 139191 h 298359"/>
                  <a:gd name="connsiteX98" fmla="*/ 199648 w 343338"/>
                  <a:gd name="connsiteY98" fmla="*/ 142539 h 298359"/>
                  <a:gd name="connsiteX99" fmla="*/ 205850 w 343338"/>
                  <a:gd name="connsiteY99" fmla="*/ 155629 h 298359"/>
                  <a:gd name="connsiteX100" fmla="*/ 212052 w 343338"/>
                  <a:gd name="connsiteY100" fmla="*/ 156644 h 298359"/>
                  <a:gd name="connsiteX101" fmla="*/ 223715 w 343338"/>
                  <a:gd name="connsiteY101" fmla="*/ 150607 h 298359"/>
                  <a:gd name="connsiteX102" fmla="*/ 225334 w 343338"/>
                  <a:gd name="connsiteY102" fmla="*/ 151540 h 298359"/>
                  <a:gd name="connsiteX103" fmla="*/ 224510 w 343338"/>
                  <a:gd name="connsiteY103" fmla="*/ 156151 h 298359"/>
                  <a:gd name="connsiteX104" fmla="*/ 227996 w 343338"/>
                  <a:gd name="connsiteY104" fmla="*/ 157550 h 298359"/>
                  <a:gd name="connsiteX105" fmla="*/ 229670 w 343338"/>
                  <a:gd name="connsiteY105" fmla="*/ 155629 h 298359"/>
                  <a:gd name="connsiteX106" fmla="*/ 229725 w 343338"/>
                  <a:gd name="connsiteY106" fmla="*/ 127445 h 298359"/>
                  <a:gd name="connsiteX107" fmla="*/ 228764 w 343338"/>
                  <a:gd name="connsiteY107" fmla="*/ 118993 h 298359"/>
                  <a:gd name="connsiteX108" fmla="*/ 220531 w 343338"/>
                  <a:gd name="connsiteY108" fmla="*/ 121188 h 298359"/>
                  <a:gd name="connsiteX109" fmla="*/ 219735 w 343338"/>
                  <a:gd name="connsiteY109" fmla="*/ 124042 h 298359"/>
                  <a:gd name="connsiteX110" fmla="*/ 221163 w 343338"/>
                  <a:gd name="connsiteY110" fmla="*/ 127445 h 298359"/>
                  <a:gd name="connsiteX111" fmla="*/ 218995 w 343338"/>
                  <a:gd name="connsiteY111" fmla="*/ 127445 h 298359"/>
                  <a:gd name="connsiteX112" fmla="*/ 207222 w 343338"/>
                  <a:gd name="connsiteY112" fmla="*/ 124728 h 298359"/>
                  <a:gd name="connsiteX113" fmla="*/ 198632 w 343338"/>
                  <a:gd name="connsiteY113" fmla="*/ 113861 h 298359"/>
                  <a:gd name="connsiteX114" fmla="*/ 189329 w 343338"/>
                  <a:gd name="connsiteY114" fmla="*/ 107439 h 298359"/>
                  <a:gd name="connsiteX115" fmla="*/ 188231 w 343338"/>
                  <a:gd name="connsiteY115" fmla="*/ 98273 h 298359"/>
                  <a:gd name="connsiteX116" fmla="*/ 193006 w 343338"/>
                  <a:gd name="connsiteY116" fmla="*/ 78734 h 298359"/>
                  <a:gd name="connsiteX117" fmla="*/ 196574 w 343338"/>
                  <a:gd name="connsiteY117" fmla="*/ 73245 h 298359"/>
                  <a:gd name="connsiteX118" fmla="*/ 193994 w 343338"/>
                  <a:gd name="connsiteY118" fmla="*/ 60704 h 298359"/>
                  <a:gd name="connsiteX119" fmla="*/ 196464 w 343338"/>
                  <a:gd name="connsiteY119" fmla="*/ 48053 h 298359"/>
                  <a:gd name="connsiteX120" fmla="*/ 191689 w 343338"/>
                  <a:gd name="connsiteY120" fmla="*/ 34798 h 298359"/>
                  <a:gd name="connsiteX121" fmla="*/ 188616 w 343338"/>
                  <a:gd name="connsiteY121" fmla="*/ 31313 h 298359"/>
                  <a:gd name="connsiteX122" fmla="*/ 201514 w 343338"/>
                  <a:gd name="connsiteY122" fmla="*/ 19786 h 298359"/>
                  <a:gd name="connsiteX123" fmla="*/ 206782 w 343338"/>
                  <a:gd name="connsiteY123" fmla="*/ 8013 h 298359"/>
                  <a:gd name="connsiteX124" fmla="*/ 252859 w 343338"/>
                  <a:gd name="connsiteY124" fmla="*/ 2058 h 298359"/>
                  <a:gd name="connsiteX125" fmla="*/ 258074 w 343338"/>
                  <a:gd name="connsiteY125" fmla="*/ 0 h 298359"/>
                  <a:gd name="connsiteX126" fmla="*/ 266032 w 343338"/>
                  <a:gd name="connsiteY126" fmla="*/ 11828 h 298359"/>
                  <a:gd name="connsiteX127" fmla="*/ 275939 w 343338"/>
                  <a:gd name="connsiteY127" fmla="*/ 12432 h 298359"/>
                  <a:gd name="connsiteX128" fmla="*/ 280878 w 343338"/>
                  <a:gd name="connsiteY128" fmla="*/ 15204 h 298359"/>
                  <a:gd name="connsiteX129" fmla="*/ 283925 w 343338"/>
                  <a:gd name="connsiteY129" fmla="*/ 20610 h 298359"/>
                  <a:gd name="connsiteX130" fmla="*/ 290868 w 343338"/>
                  <a:gd name="connsiteY130" fmla="*/ 21543 h 298359"/>
                  <a:gd name="connsiteX131" fmla="*/ 294161 w 343338"/>
                  <a:gd name="connsiteY131" fmla="*/ 25742 h 298359"/>
                  <a:gd name="connsiteX132" fmla="*/ 301598 w 343338"/>
                  <a:gd name="connsiteY132" fmla="*/ 27855 h 298359"/>
                  <a:gd name="connsiteX133" fmla="*/ 306730 w 343338"/>
                  <a:gd name="connsiteY133" fmla="*/ 27937 h 298359"/>
                  <a:gd name="connsiteX134" fmla="*/ 310407 w 343338"/>
                  <a:gd name="connsiteY134" fmla="*/ 31395 h 298359"/>
                  <a:gd name="connsiteX135" fmla="*/ 322263 w 343338"/>
                  <a:gd name="connsiteY135" fmla="*/ 36005 h 29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43338" h="298359">
                    <a:moveTo>
                      <a:pt x="322180" y="35978"/>
                    </a:moveTo>
                    <a:lnTo>
                      <a:pt x="324239" y="42838"/>
                    </a:lnTo>
                    <a:lnTo>
                      <a:pt x="328575" y="42235"/>
                    </a:lnTo>
                    <a:lnTo>
                      <a:pt x="330166" y="44924"/>
                    </a:lnTo>
                    <a:lnTo>
                      <a:pt x="334282" y="50385"/>
                    </a:lnTo>
                    <a:lnTo>
                      <a:pt x="333460" y="55846"/>
                    </a:lnTo>
                    <a:lnTo>
                      <a:pt x="339332" y="60429"/>
                    </a:lnTo>
                    <a:lnTo>
                      <a:pt x="339853" y="64903"/>
                    </a:lnTo>
                    <a:lnTo>
                      <a:pt x="343339" y="70858"/>
                    </a:lnTo>
                    <a:lnTo>
                      <a:pt x="338509" y="77087"/>
                    </a:lnTo>
                    <a:lnTo>
                      <a:pt x="332252" y="80600"/>
                    </a:lnTo>
                    <a:lnTo>
                      <a:pt x="335133" y="88805"/>
                    </a:lnTo>
                    <a:lnTo>
                      <a:pt x="330496" y="99206"/>
                    </a:lnTo>
                    <a:lnTo>
                      <a:pt x="333267" y="106863"/>
                    </a:lnTo>
                    <a:lnTo>
                      <a:pt x="331703" y="117264"/>
                    </a:lnTo>
                    <a:lnTo>
                      <a:pt x="334118" y="123438"/>
                    </a:lnTo>
                    <a:lnTo>
                      <a:pt x="338838" y="124838"/>
                    </a:lnTo>
                    <a:lnTo>
                      <a:pt x="337549" y="127445"/>
                    </a:lnTo>
                    <a:lnTo>
                      <a:pt x="323745" y="134169"/>
                    </a:lnTo>
                    <a:lnTo>
                      <a:pt x="322455" y="137764"/>
                    </a:lnTo>
                    <a:lnTo>
                      <a:pt x="323937" y="141661"/>
                    </a:lnTo>
                    <a:lnTo>
                      <a:pt x="323415" y="150387"/>
                    </a:lnTo>
                    <a:lnTo>
                      <a:pt x="318668" y="159087"/>
                    </a:lnTo>
                    <a:lnTo>
                      <a:pt x="314771" y="162160"/>
                    </a:lnTo>
                    <a:lnTo>
                      <a:pt x="317954" y="164493"/>
                    </a:lnTo>
                    <a:lnTo>
                      <a:pt x="317598" y="167265"/>
                    </a:lnTo>
                    <a:lnTo>
                      <a:pt x="324129" y="174867"/>
                    </a:lnTo>
                    <a:lnTo>
                      <a:pt x="327751" y="172781"/>
                    </a:lnTo>
                    <a:lnTo>
                      <a:pt x="330660" y="174126"/>
                    </a:lnTo>
                    <a:lnTo>
                      <a:pt x="329617" y="174318"/>
                    </a:lnTo>
                    <a:lnTo>
                      <a:pt x="326159" y="175525"/>
                    </a:lnTo>
                    <a:lnTo>
                      <a:pt x="323223" y="176678"/>
                    </a:lnTo>
                    <a:lnTo>
                      <a:pt x="312164" y="180657"/>
                    </a:lnTo>
                    <a:lnTo>
                      <a:pt x="309145" y="181974"/>
                    </a:lnTo>
                    <a:lnTo>
                      <a:pt x="242458" y="204533"/>
                    </a:lnTo>
                    <a:lnTo>
                      <a:pt x="242239" y="208978"/>
                    </a:lnTo>
                    <a:lnTo>
                      <a:pt x="246301" y="215564"/>
                    </a:lnTo>
                    <a:lnTo>
                      <a:pt x="247590" y="223413"/>
                    </a:lnTo>
                    <a:lnTo>
                      <a:pt x="221821" y="224840"/>
                    </a:lnTo>
                    <a:lnTo>
                      <a:pt x="204697" y="233100"/>
                    </a:lnTo>
                    <a:lnTo>
                      <a:pt x="201761" y="236998"/>
                    </a:lnTo>
                    <a:lnTo>
                      <a:pt x="199044" y="250746"/>
                    </a:lnTo>
                    <a:lnTo>
                      <a:pt x="172067" y="264770"/>
                    </a:lnTo>
                    <a:lnTo>
                      <a:pt x="164109" y="277256"/>
                    </a:lnTo>
                    <a:lnTo>
                      <a:pt x="147341" y="295259"/>
                    </a:lnTo>
                    <a:lnTo>
                      <a:pt x="136968" y="298360"/>
                    </a:lnTo>
                    <a:lnTo>
                      <a:pt x="124344" y="293969"/>
                    </a:lnTo>
                    <a:lnTo>
                      <a:pt x="116056" y="296055"/>
                    </a:lnTo>
                    <a:lnTo>
                      <a:pt x="109141" y="291527"/>
                    </a:lnTo>
                    <a:lnTo>
                      <a:pt x="96160" y="290429"/>
                    </a:lnTo>
                    <a:lnTo>
                      <a:pt x="95941" y="290182"/>
                    </a:lnTo>
                    <a:lnTo>
                      <a:pt x="86719" y="282827"/>
                    </a:lnTo>
                    <a:lnTo>
                      <a:pt x="70995" y="280550"/>
                    </a:lnTo>
                    <a:lnTo>
                      <a:pt x="42070" y="285352"/>
                    </a:lnTo>
                    <a:lnTo>
                      <a:pt x="34880" y="280879"/>
                    </a:lnTo>
                    <a:lnTo>
                      <a:pt x="19594" y="265895"/>
                    </a:lnTo>
                    <a:lnTo>
                      <a:pt x="5049" y="251158"/>
                    </a:lnTo>
                    <a:lnTo>
                      <a:pt x="0" y="236970"/>
                    </a:lnTo>
                    <a:lnTo>
                      <a:pt x="192" y="145310"/>
                    </a:lnTo>
                    <a:lnTo>
                      <a:pt x="19594" y="143993"/>
                    </a:lnTo>
                    <a:lnTo>
                      <a:pt x="59221" y="143746"/>
                    </a:lnTo>
                    <a:lnTo>
                      <a:pt x="55874" y="138011"/>
                    </a:lnTo>
                    <a:lnTo>
                      <a:pt x="59524" y="127555"/>
                    </a:lnTo>
                    <a:lnTo>
                      <a:pt x="60621" y="123521"/>
                    </a:lnTo>
                    <a:lnTo>
                      <a:pt x="58454" y="118142"/>
                    </a:lnTo>
                    <a:lnTo>
                      <a:pt x="58042" y="103680"/>
                    </a:lnTo>
                    <a:lnTo>
                      <a:pt x="60923" y="95474"/>
                    </a:lnTo>
                    <a:lnTo>
                      <a:pt x="58838" y="80490"/>
                    </a:lnTo>
                    <a:lnTo>
                      <a:pt x="61719" y="81204"/>
                    </a:lnTo>
                    <a:lnTo>
                      <a:pt x="63393" y="84415"/>
                    </a:lnTo>
                    <a:lnTo>
                      <a:pt x="69650" y="86582"/>
                    </a:lnTo>
                    <a:lnTo>
                      <a:pt x="70391" y="91275"/>
                    </a:lnTo>
                    <a:lnTo>
                      <a:pt x="68745" y="95474"/>
                    </a:lnTo>
                    <a:lnTo>
                      <a:pt x="72148" y="97697"/>
                    </a:lnTo>
                    <a:lnTo>
                      <a:pt x="85073" y="91852"/>
                    </a:lnTo>
                    <a:lnTo>
                      <a:pt x="97834" y="90150"/>
                    </a:lnTo>
                    <a:lnTo>
                      <a:pt x="96764" y="95529"/>
                    </a:lnTo>
                    <a:lnTo>
                      <a:pt x="98438" y="102445"/>
                    </a:lnTo>
                    <a:lnTo>
                      <a:pt x="103487" y="106753"/>
                    </a:lnTo>
                    <a:lnTo>
                      <a:pt x="107302" y="106204"/>
                    </a:lnTo>
                    <a:lnTo>
                      <a:pt x="118361" y="111830"/>
                    </a:lnTo>
                    <a:lnTo>
                      <a:pt x="131232" y="111748"/>
                    </a:lnTo>
                    <a:lnTo>
                      <a:pt x="138065" y="113778"/>
                    </a:lnTo>
                    <a:lnTo>
                      <a:pt x="143581" y="112900"/>
                    </a:lnTo>
                    <a:lnTo>
                      <a:pt x="146792" y="109443"/>
                    </a:lnTo>
                    <a:lnTo>
                      <a:pt x="148768" y="102335"/>
                    </a:lnTo>
                    <a:lnTo>
                      <a:pt x="152583" y="101512"/>
                    </a:lnTo>
                    <a:lnTo>
                      <a:pt x="154174" y="106918"/>
                    </a:lnTo>
                    <a:lnTo>
                      <a:pt x="160157" y="111556"/>
                    </a:lnTo>
                    <a:lnTo>
                      <a:pt x="162133" y="117813"/>
                    </a:lnTo>
                    <a:lnTo>
                      <a:pt x="165700" y="121710"/>
                    </a:lnTo>
                    <a:lnTo>
                      <a:pt x="173110" y="121106"/>
                    </a:lnTo>
                    <a:lnTo>
                      <a:pt x="175854" y="124289"/>
                    </a:lnTo>
                    <a:lnTo>
                      <a:pt x="186941" y="127472"/>
                    </a:lnTo>
                    <a:lnTo>
                      <a:pt x="191168" y="132495"/>
                    </a:lnTo>
                    <a:lnTo>
                      <a:pt x="190536" y="135760"/>
                    </a:lnTo>
                    <a:lnTo>
                      <a:pt x="192869" y="139136"/>
                    </a:lnTo>
                    <a:lnTo>
                      <a:pt x="196245" y="139191"/>
                    </a:lnTo>
                    <a:lnTo>
                      <a:pt x="199648" y="142539"/>
                    </a:lnTo>
                    <a:lnTo>
                      <a:pt x="205850" y="155629"/>
                    </a:lnTo>
                    <a:lnTo>
                      <a:pt x="212052" y="156644"/>
                    </a:lnTo>
                    <a:lnTo>
                      <a:pt x="223715" y="150607"/>
                    </a:lnTo>
                    <a:lnTo>
                      <a:pt x="225334" y="151540"/>
                    </a:lnTo>
                    <a:lnTo>
                      <a:pt x="224510" y="156151"/>
                    </a:lnTo>
                    <a:lnTo>
                      <a:pt x="227996" y="157550"/>
                    </a:lnTo>
                    <a:lnTo>
                      <a:pt x="229670" y="155629"/>
                    </a:lnTo>
                    <a:lnTo>
                      <a:pt x="229725" y="127445"/>
                    </a:lnTo>
                    <a:lnTo>
                      <a:pt x="228764" y="118993"/>
                    </a:lnTo>
                    <a:lnTo>
                      <a:pt x="220531" y="121188"/>
                    </a:lnTo>
                    <a:lnTo>
                      <a:pt x="219735" y="124042"/>
                    </a:lnTo>
                    <a:lnTo>
                      <a:pt x="221163" y="127445"/>
                    </a:lnTo>
                    <a:lnTo>
                      <a:pt x="218995" y="127445"/>
                    </a:lnTo>
                    <a:lnTo>
                      <a:pt x="207222" y="124728"/>
                    </a:lnTo>
                    <a:lnTo>
                      <a:pt x="198632" y="113861"/>
                    </a:lnTo>
                    <a:lnTo>
                      <a:pt x="189329" y="107439"/>
                    </a:lnTo>
                    <a:lnTo>
                      <a:pt x="188231" y="98273"/>
                    </a:lnTo>
                    <a:lnTo>
                      <a:pt x="193006" y="78734"/>
                    </a:lnTo>
                    <a:lnTo>
                      <a:pt x="196574" y="73245"/>
                    </a:lnTo>
                    <a:lnTo>
                      <a:pt x="193994" y="60704"/>
                    </a:lnTo>
                    <a:lnTo>
                      <a:pt x="196464" y="48053"/>
                    </a:lnTo>
                    <a:lnTo>
                      <a:pt x="191689" y="34798"/>
                    </a:lnTo>
                    <a:lnTo>
                      <a:pt x="188616" y="31313"/>
                    </a:lnTo>
                    <a:lnTo>
                      <a:pt x="201514" y="19786"/>
                    </a:lnTo>
                    <a:lnTo>
                      <a:pt x="206782" y="8013"/>
                    </a:lnTo>
                    <a:lnTo>
                      <a:pt x="252859" y="2058"/>
                    </a:lnTo>
                    <a:lnTo>
                      <a:pt x="258074" y="0"/>
                    </a:lnTo>
                    <a:lnTo>
                      <a:pt x="266032" y="11828"/>
                    </a:lnTo>
                    <a:lnTo>
                      <a:pt x="275939" y="12432"/>
                    </a:lnTo>
                    <a:lnTo>
                      <a:pt x="280878" y="15204"/>
                    </a:lnTo>
                    <a:lnTo>
                      <a:pt x="283925" y="20610"/>
                    </a:lnTo>
                    <a:lnTo>
                      <a:pt x="290868" y="21543"/>
                    </a:lnTo>
                    <a:lnTo>
                      <a:pt x="294161" y="25742"/>
                    </a:lnTo>
                    <a:lnTo>
                      <a:pt x="301598" y="27855"/>
                    </a:lnTo>
                    <a:lnTo>
                      <a:pt x="306730" y="27937"/>
                    </a:lnTo>
                    <a:lnTo>
                      <a:pt x="310407" y="31395"/>
                    </a:lnTo>
                    <a:lnTo>
                      <a:pt x="322263" y="36005"/>
                    </a:lnTo>
                  </a:path>
                </a:pathLst>
              </a:custGeom>
              <a:solidFill>
                <a:schemeClr val="bg2">
                  <a:lumMod val="40000"/>
                  <a:lumOff val="60000"/>
                </a:schemeClr>
              </a:solid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3350" name="Group 3349">
              <a:extLst>
                <a:ext uri="{FF2B5EF4-FFF2-40B4-BE49-F238E27FC236}">
                  <a16:creationId xmlns:a16="http://schemas.microsoft.com/office/drawing/2014/main" id="{35613410-6A55-0923-FBAE-4D56ED92AE5F}"/>
                </a:ext>
              </a:extLst>
            </p:cNvPr>
            <p:cNvGrpSpPr/>
            <p:nvPr/>
          </p:nvGrpSpPr>
          <p:grpSpPr>
            <a:xfrm>
              <a:off x="982653" y="3528737"/>
              <a:ext cx="776913" cy="234917"/>
              <a:chOff x="-9952832" y="1854486"/>
              <a:chExt cx="7465175" cy="2257267"/>
            </a:xfrm>
            <a:solidFill>
              <a:schemeClr val="accent3"/>
            </a:solidFill>
          </p:grpSpPr>
          <p:sp>
            <p:nvSpPr>
              <p:cNvPr id="3351" name="Freeform: Shape 3350">
                <a:extLst>
                  <a:ext uri="{FF2B5EF4-FFF2-40B4-BE49-F238E27FC236}">
                    <a16:creationId xmlns:a16="http://schemas.microsoft.com/office/drawing/2014/main" id="{55BFF284-3FE7-4E1E-4A83-E24C87037547}"/>
                  </a:ext>
                </a:extLst>
              </p:cNvPr>
              <p:cNvSpPr/>
              <p:nvPr/>
            </p:nvSpPr>
            <p:spPr>
              <a:xfrm>
                <a:off x="-5503502" y="3243869"/>
                <a:ext cx="100249" cy="128872"/>
              </a:xfrm>
              <a:custGeom>
                <a:avLst/>
                <a:gdLst>
                  <a:gd name="connsiteX0" fmla="*/ 46461 w 100249"/>
                  <a:gd name="connsiteY0" fmla="*/ 128790 h 128872"/>
                  <a:gd name="connsiteX1" fmla="*/ 43525 w 100249"/>
                  <a:gd name="connsiteY1" fmla="*/ 123356 h 128872"/>
                  <a:gd name="connsiteX2" fmla="*/ 45089 w 100249"/>
                  <a:gd name="connsiteY2" fmla="*/ 119569 h 128872"/>
                  <a:gd name="connsiteX3" fmla="*/ 43635 w 100249"/>
                  <a:gd name="connsiteY3" fmla="*/ 101786 h 128872"/>
                  <a:gd name="connsiteX4" fmla="*/ 44457 w 100249"/>
                  <a:gd name="connsiteY4" fmla="*/ 95501 h 128872"/>
                  <a:gd name="connsiteX5" fmla="*/ 47339 w 100249"/>
                  <a:gd name="connsiteY5" fmla="*/ 88174 h 128872"/>
                  <a:gd name="connsiteX6" fmla="*/ 47284 w 100249"/>
                  <a:gd name="connsiteY6" fmla="*/ 80106 h 128872"/>
                  <a:gd name="connsiteX7" fmla="*/ 43580 w 100249"/>
                  <a:gd name="connsiteY7" fmla="*/ 70583 h 128872"/>
                  <a:gd name="connsiteX8" fmla="*/ 42537 w 100249"/>
                  <a:gd name="connsiteY8" fmla="*/ 64655 h 128872"/>
                  <a:gd name="connsiteX9" fmla="*/ 35758 w 100249"/>
                  <a:gd name="connsiteY9" fmla="*/ 58591 h 128872"/>
                  <a:gd name="connsiteX10" fmla="*/ 22339 w 100249"/>
                  <a:gd name="connsiteY10" fmla="*/ 38091 h 128872"/>
                  <a:gd name="connsiteX11" fmla="*/ 20143 w 100249"/>
                  <a:gd name="connsiteY11" fmla="*/ 35758 h 128872"/>
                  <a:gd name="connsiteX12" fmla="*/ 15807 w 100249"/>
                  <a:gd name="connsiteY12" fmla="*/ 22311 h 128872"/>
                  <a:gd name="connsiteX13" fmla="*/ 11444 w 100249"/>
                  <a:gd name="connsiteY13" fmla="*/ 14792 h 128872"/>
                  <a:gd name="connsiteX14" fmla="*/ 5187 w 100249"/>
                  <a:gd name="connsiteY14" fmla="*/ 9303 h 128872"/>
                  <a:gd name="connsiteX15" fmla="*/ 0 w 100249"/>
                  <a:gd name="connsiteY15" fmla="*/ 8672 h 128872"/>
                  <a:gd name="connsiteX16" fmla="*/ 4281 w 100249"/>
                  <a:gd name="connsiteY16" fmla="*/ 6367 h 128872"/>
                  <a:gd name="connsiteX17" fmla="*/ 5379 w 100249"/>
                  <a:gd name="connsiteY17" fmla="*/ 2333 h 128872"/>
                  <a:gd name="connsiteX18" fmla="*/ 17097 w 100249"/>
                  <a:gd name="connsiteY18" fmla="*/ 3238 h 128872"/>
                  <a:gd name="connsiteX19" fmla="*/ 30791 w 100249"/>
                  <a:gd name="connsiteY19" fmla="*/ 0 h 128872"/>
                  <a:gd name="connsiteX20" fmla="*/ 42756 w 100249"/>
                  <a:gd name="connsiteY20" fmla="*/ 8397 h 128872"/>
                  <a:gd name="connsiteX21" fmla="*/ 49452 w 100249"/>
                  <a:gd name="connsiteY21" fmla="*/ 10126 h 128872"/>
                  <a:gd name="connsiteX22" fmla="*/ 53926 w 100249"/>
                  <a:gd name="connsiteY22" fmla="*/ 15286 h 128872"/>
                  <a:gd name="connsiteX23" fmla="*/ 61582 w 100249"/>
                  <a:gd name="connsiteY23" fmla="*/ 13941 h 128872"/>
                  <a:gd name="connsiteX24" fmla="*/ 68251 w 100249"/>
                  <a:gd name="connsiteY24" fmla="*/ 21296 h 128872"/>
                  <a:gd name="connsiteX25" fmla="*/ 74206 w 100249"/>
                  <a:gd name="connsiteY25" fmla="*/ 21817 h 128872"/>
                  <a:gd name="connsiteX26" fmla="*/ 76868 w 100249"/>
                  <a:gd name="connsiteY26" fmla="*/ 29748 h 128872"/>
                  <a:gd name="connsiteX27" fmla="*/ 75002 w 100249"/>
                  <a:gd name="connsiteY27" fmla="*/ 41988 h 128872"/>
                  <a:gd name="connsiteX28" fmla="*/ 81918 w 100249"/>
                  <a:gd name="connsiteY28" fmla="*/ 49534 h 128872"/>
                  <a:gd name="connsiteX29" fmla="*/ 86116 w 100249"/>
                  <a:gd name="connsiteY29" fmla="*/ 49589 h 128872"/>
                  <a:gd name="connsiteX30" fmla="*/ 87570 w 100249"/>
                  <a:gd name="connsiteY30" fmla="*/ 64271 h 128872"/>
                  <a:gd name="connsiteX31" fmla="*/ 97175 w 100249"/>
                  <a:gd name="connsiteY31" fmla="*/ 73218 h 128872"/>
                  <a:gd name="connsiteX32" fmla="*/ 97423 w 100249"/>
                  <a:gd name="connsiteY32" fmla="*/ 83426 h 128872"/>
                  <a:gd name="connsiteX33" fmla="*/ 100249 w 100249"/>
                  <a:gd name="connsiteY33" fmla="*/ 89354 h 128872"/>
                  <a:gd name="connsiteX34" fmla="*/ 95639 w 100249"/>
                  <a:gd name="connsiteY34" fmla="*/ 90479 h 128872"/>
                  <a:gd name="connsiteX35" fmla="*/ 91578 w 100249"/>
                  <a:gd name="connsiteY35" fmla="*/ 88339 h 128872"/>
                  <a:gd name="connsiteX36" fmla="*/ 87680 w 100249"/>
                  <a:gd name="connsiteY36" fmla="*/ 90233 h 128872"/>
                  <a:gd name="connsiteX37" fmla="*/ 82878 w 100249"/>
                  <a:gd name="connsiteY37" fmla="*/ 86637 h 128872"/>
                  <a:gd name="connsiteX38" fmla="*/ 77664 w 100249"/>
                  <a:gd name="connsiteY38" fmla="*/ 87543 h 128872"/>
                  <a:gd name="connsiteX39" fmla="*/ 75413 w 100249"/>
                  <a:gd name="connsiteY39" fmla="*/ 84085 h 128872"/>
                  <a:gd name="connsiteX40" fmla="*/ 69568 w 100249"/>
                  <a:gd name="connsiteY40" fmla="*/ 86418 h 128872"/>
                  <a:gd name="connsiteX41" fmla="*/ 68580 w 100249"/>
                  <a:gd name="connsiteY41" fmla="*/ 93910 h 128872"/>
                  <a:gd name="connsiteX42" fmla="*/ 70501 w 100249"/>
                  <a:gd name="connsiteY42" fmla="*/ 99398 h 128872"/>
                  <a:gd name="connsiteX43" fmla="*/ 69211 w 100249"/>
                  <a:gd name="connsiteY43" fmla="*/ 104393 h 128872"/>
                  <a:gd name="connsiteX44" fmla="*/ 64080 w 100249"/>
                  <a:gd name="connsiteY44" fmla="*/ 107631 h 128872"/>
                  <a:gd name="connsiteX45" fmla="*/ 62186 w 100249"/>
                  <a:gd name="connsiteY45" fmla="*/ 113394 h 128872"/>
                  <a:gd name="connsiteX46" fmla="*/ 56066 w 100249"/>
                  <a:gd name="connsiteY46" fmla="*/ 118828 h 128872"/>
                  <a:gd name="connsiteX47" fmla="*/ 54282 w 100249"/>
                  <a:gd name="connsiteY47" fmla="*/ 126649 h 128872"/>
                  <a:gd name="connsiteX48" fmla="*/ 46488 w 100249"/>
                  <a:gd name="connsiteY48" fmla="*/ 128872 h 12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249" h="128872">
                    <a:moveTo>
                      <a:pt x="46461" y="128790"/>
                    </a:moveTo>
                    <a:lnTo>
                      <a:pt x="43525" y="123356"/>
                    </a:lnTo>
                    <a:lnTo>
                      <a:pt x="45089" y="119569"/>
                    </a:lnTo>
                    <a:lnTo>
                      <a:pt x="43635" y="101786"/>
                    </a:lnTo>
                    <a:lnTo>
                      <a:pt x="44457" y="95501"/>
                    </a:lnTo>
                    <a:lnTo>
                      <a:pt x="47339" y="88174"/>
                    </a:lnTo>
                    <a:lnTo>
                      <a:pt x="47284" y="80106"/>
                    </a:lnTo>
                    <a:lnTo>
                      <a:pt x="43580" y="70583"/>
                    </a:lnTo>
                    <a:lnTo>
                      <a:pt x="42537" y="64655"/>
                    </a:lnTo>
                    <a:lnTo>
                      <a:pt x="35758" y="58591"/>
                    </a:lnTo>
                    <a:lnTo>
                      <a:pt x="22339" y="38091"/>
                    </a:lnTo>
                    <a:lnTo>
                      <a:pt x="20143" y="35758"/>
                    </a:lnTo>
                    <a:lnTo>
                      <a:pt x="15807" y="22311"/>
                    </a:lnTo>
                    <a:lnTo>
                      <a:pt x="11444" y="14792"/>
                    </a:lnTo>
                    <a:lnTo>
                      <a:pt x="5187" y="9303"/>
                    </a:lnTo>
                    <a:lnTo>
                      <a:pt x="0" y="8672"/>
                    </a:lnTo>
                    <a:lnTo>
                      <a:pt x="4281" y="6367"/>
                    </a:lnTo>
                    <a:lnTo>
                      <a:pt x="5379" y="2333"/>
                    </a:lnTo>
                    <a:lnTo>
                      <a:pt x="17097" y="3238"/>
                    </a:lnTo>
                    <a:lnTo>
                      <a:pt x="30791" y="0"/>
                    </a:lnTo>
                    <a:lnTo>
                      <a:pt x="42756" y="8397"/>
                    </a:lnTo>
                    <a:lnTo>
                      <a:pt x="49452" y="10126"/>
                    </a:lnTo>
                    <a:lnTo>
                      <a:pt x="53926" y="15286"/>
                    </a:lnTo>
                    <a:lnTo>
                      <a:pt x="61582" y="13941"/>
                    </a:lnTo>
                    <a:lnTo>
                      <a:pt x="68251" y="21296"/>
                    </a:lnTo>
                    <a:lnTo>
                      <a:pt x="74206" y="21817"/>
                    </a:lnTo>
                    <a:lnTo>
                      <a:pt x="76868" y="29748"/>
                    </a:lnTo>
                    <a:lnTo>
                      <a:pt x="75002" y="41988"/>
                    </a:lnTo>
                    <a:lnTo>
                      <a:pt x="81918" y="49534"/>
                    </a:lnTo>
                    <a:lnTo>
                      <a:pt x="86116" y="49589"/>
                    </a:lnTo>
                    <a:lnTo>
                      <a:pt x="87570" y="64271"/>
                    </a:lnTo>
                    <a:lnTo>
                      <a:pt x="97175" y="73218"/>
                    </a:lnTo>
                    <a:lnTo>
                      <a:pt x="97423" y="83426"/>
                    </a:lnTo>
                    <a:lnTo>
                      <a:pt x="100249" y="89354"/>
                    </a:lnTo>
                    <a:lnTo>
                      <a:pt x="95639" y="90479"/>
                    </a:lnTo>
                    <a:lnTo>
                      <a:pt x="91578" y="88339"/>
                    </a:lnTo>
                    <a:lnTo>
                      <a:pt x="87680" y="90233"/>
                    </a:lnTo>
                    <a:lnTo>
                      <a:pt x="82878" y="86637"/>
                    </a:lnTo>
                    <a:lnTo>
                      <a:pt x="77664" y="87543"/>
                    </a:lnTo>
                    <a:lnTo>
                      <a:pt x="75413" y="84085"/>
                    </a:lnTo>
                    <a:lnTo>
                      <a:pt x="69568" y="86418"/>
                    </a:lnTo>
                    <a:lnTo>
                      <a:pt x="68580" y="93910"/>
                    </a:lnTo>
                    <a:lnTo>
                      <a:pt x="70501" y="99398"/>
                    </a:lnTo>
                    <a:lnTo>
                      <a:pt x="69211" y="104393"/>
                    </a:lnTo>
                    <a:lnTo>
                      <a:pt x="64080" y="107631"/>
                    </a:lnTo>
                    <a:lnTo>
                      <a:pt x="62186" y="113394"/>
                    </a:lnTo>
                    <a:lnTo>
                      <a:pt x="56066" y="118828"/>
                    </a:lnTo>
                    <a:lnTo>
                      <a:pt x="54282" y="126649"/>
                    </a:lnTo>
                    <a:lnTo>
                      <a:pt x="46488" y="12887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3352" name="Graphic 33">
                <a:extLst>
                  <a:ext uri="{FF2B5EF4-FFF2-40B4-BE49-F238E27FC236}">
                    <a16:creationId xmlns:a16="http://schemas.microsoft.com/office/drawing/2014/main" id="{EC715090-3E47-28CC-3ECA-26D452491695}"/>
                  </a:ext>
                </a:extLst>
              </p:cNvPr>
              <p:cNvGrpSpPr/>
              <p:nvPr/>
            </p:nvGrpSpPr>
            <p:grpSpPr>
              <a:xfrm>
                <a:off x="-9952832" y="1854486"/>
                <a:ext cx="7465175" cy="2257267"/>
                <a:chOff x="-9952832" y="1854486"/>
                <a:chExt cx="7465175" cy="2257267"/>
              </a:xfrm>
              <a:grpFill/>
            </p:grpSpPr>
            <p:sp>
              <p:nvSpPr>
                <p:cNvPr id="3353" name="Freeform: Shape 3352">
                  <a:extLst>
                    <a:ext uri="{FF2B5EF4-FFF2-40B4-BE49-F238E27FC236}">
                      <a16:creationId xmlns:a16="http://schemas.microsoft.com/office/drawing/2014/main" id="{98884A28-164A-CFB5-5EFB-FE7814ACD51F}"/>
                    </a:ext>
                  </a:extLst>
                </p:cNvPr>
                <p:cNvSpPr/>
                <p:nvPr/>
              </p:nvSpPr>
              <p:spPr>
                <a:xfrm>
                  <a:off x="-2492376" y="3837214"/>
                  <a:ext cx="4720" cy="3402"/>
                </a:xfrm>
                <a:custGeom>
                  <a:avLst/>
                  <a:gdLst>
                    <a:gd name="connsiteX0" fmla="*/ 4720 w 4720"/>
                    <a:gd name="connsiteY0" fmla="*/ 2717 h 3402"/>
                    <a:gd name="connsiteX1" fmla="*/ 1372 w 4720"/>
                    <a:gd name="connsiteY1" fmla="*/ 3403 h 3402"/>
                    <a:gd name="connsiteX2" fmla="*/ 0 w 4720"/>
                    <a:gd name="connsiteY2" fmla="*/ 2497 h 3402"/>
                    <a:gd name="connsiteX3" fmla="*/ 4089 w 4720"/>
                    <a:gd name="connsiteY3" fmla="*/ 0 h 3402"/>
                    <a:gd name="connsiteX4" fmla="*/ 4720 w 4720"/>
                    <a:gd name="connsiteY4" fmla="*/ 2717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0" h="3402">
                      <a:moveTo>
                        <a:pt x="4720" y="2717"/>
                      </a:moveTo>
                      <a:lnTo>
                        <a:pt x="1372" y="3403"/>
                      </a:lnTo>
                      <a:lnTo>
                        <a:pt x="0" y="2497"/>
                      </a:lnTo>
                      <a:lnTo>
                        <a:pt x="4089" y="0"/>
                      </a:lnTo>
                      <a:lnTo>
                        <a:pt x="4720" y="271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4" name="Freeform: Shape 3353">
                  <a:extLst>
                    <a:ext uri="{FF2B5EF4-FFF2-40B4-BE49-F238E27FC236}">
                      <a16:creationId xmlns:a16="http://schemas.microsoft.com/office/drawing/2014/main" id="{9FB37F14-F25C-A77F-BC4A-4C0202F31A2B}"/>
                    </a:ext>
                  </a:extLst>
                </p:cNvPr>
                <p:cNvSpPr/>
                <p:nvPr/>
              </p:nvSpPr>
              <p:spPr>
                <a:xfrm>
                  <a:off x="-9952832" y="3202952"/>
                  <a:ext cx="1696909" cy="908801"/>
                </a:xfrm>
                <a:custGeom>
                  <a:avLst/>
                  <a:gdLst>
                    <a:gd name="connsiteX0" fmla="*/ 876446 w 1696909"/>
                    <a:gd name="connsiteY0" fmla="*/ 2799 h 908801"/>
                    <a:gd name="connsiteX1" fmla="*/ 881276 w 1696909"/>
                    <a:gd name="connsiteY1" fmla="*/ 25742 h 908801"/>
                    <a:gd name="connsiteX2" fmla="*/ 884185 w 1696909"/>
                    <a:gd name="connsiteY2" fmla="*/ 28898 h 908801"/>
                    <a:gd name="connsiteX3" fmla="*/ 905179 w 1696909"/>
                    <a:gd name="connsiteY3" fmla="*/ 33069 h 908801"/>
                    <a:gd name="connsiteX4" fmla="*/ 908665 w 1696909"/>
                    <a:gd name="connsiteY4" fmla="*/ 37679 h 908801"/>
                    <a:gd name="connsiteX5" fmla="*/ 915580 w 1696909"/>
                    <a:gd name="connsiteY5" fmla="*/ 37075 h 908801"/>
                    <a:gd name="connsiteX6" fmla="*/ 920904 w 1696909"/>
                    <a:gd name="connsiteY6" fmla="*/ 33178 h 908801"/>
                    <a:gd name="connsiteX7" fmla="*/ 931744 w 1696909"/>
                    <a:gd name="connsiteY7" fmla="*/ 33343 h 908801"/>
                    <a:gd name="connsiteX8" fmla="*/ 941020 w 1696909"/>
                    <a:gd name="connsiteY8" fmla="*/ 37487 h 908801"/>
                    <a:gd name="connsiteX9" fmla="*/ 940471 w 1696909"/>
                    <a:gd name="connsiteY9" fmla="*/ 40643 h 908801"/>
                    <a:gd name="connsiteX10" fmla="*/ 944999 w 1696909"/>
                    <a:gd name="connsiteY10" fmla="*/ 41878 h 908801"/>
                    <a:gd name="connsiteX11" fmla="*/ 949280 w 1696909"/>
                    <a:gd name="connsiteY11" fmla="*/ 50166 h 908801"/>
                    <a:gd name="connsiteX12" fmla="*/ 951146 w 1696909"/>
                    <a:gd name="connsiteY12" fmla="*/ 49891 h 908801"/>
                    <a:gd name="connsiteX13" fmla="*/ 952162 w 1696909"/>
                    <a:gd name="connsiteY13" fmla="*/ 45473 h 908801"/>
                    <a:gd name="connsiteX14" fmla="*/ 957952 w 1696909"/>
                    <a:gd name="connsiteY14" fmla="*/ 45253 h 908801"/>
                    <a:gd name="connsiteX15" fmla="*/ 961190 w 1696909"/>
                    <a:gd name="connsiteY15" fmla="*/ 49837 h 908801"/>
                    <a:gd name="connsiteX16" fmla="*/ 966926 w 1696909"/>
                    <a:gd name="connsiteY16" fmla="*/ 52059 h 908801"/>
                    <a:gd name="connsiteX17" fmla="*/ 974363 w 1696909"/>
                    <a:gd name="connsiteY17" fmla="*/ 57987 h 908801"/>
                    <a:gd name="connsiteX18" fmla="*/ 981334 w 1696909"/>
                    <a:gd name="connsiteY18" fmla="*/ 57191 h 908801"/>
                    <a:gd name="connsiteX19" fmla="*/ 992475 w 1696909"/>
                    <a:gd name="connsiteY19" fmla="*/ 51264 h 908801"/>
                    <a:gd name="connsiteX20" fmla="*/ 995576 w 1696909"/>
                    <a:gd name="connsiteY20" fmla="*/ 54035 h 908801"/>
                    <a:gd name="connsiteX21" fmla="*/ 998129 w 1696909"/>
                    <a:gd name="connsiteY21" fmla="*/ 56313 h 908801"/>
                    <a:gd name="connsiteX22" fmla="*/ 1005401 w 1696909"/>
                    <a:gd name="connsiteY22" fmla="*/ 56313 h 908801"/>
                    <a:gd name="connsiteX23" fmla="*/ 1010066 w 1696909"/>
                    <a:gd name="connsiteY23" fmla="*/ 56313 h 908801"/>
                    <a:gd name="connsiteX24" fmla="*/ 1011685 w 1696909"/>
                    <a:gd name="connsiteY24" fmla="*/ 56313 h 908801"/>
                    <a:gd name="connsiteX25" fmla="*/ 1014293 w 1696909"/>
                    <a:gd name="connsiteY25" fmla="*/ 56313 h 908801"/>
                    <a:gd name="connsiteX26" fmla="*/ 1022416 w 1696909"/>
                    <a:gd name="connsiteY26" fmla="*/ 60896 h 908801"/>
                    <a:gd name="connsiteX27" fmla="*/ 1037180 w 1696909"/>
                    <a:gd name="connsiteY27" fmla="*/ 61500 h 908801"/>
                    <a:gd name="connsiteX28" fmla="*/ 1057598 w 1696909"/>
                    <a:gd name="connsiteY28" fmla="*/ 50495 h 908801"/>
                    <a:gd name="connsiteX29" fmla="*/ 1067258 w 1696909"/>
                    <a:gd name="connsiteY29" fmla="*/ 48272 h 908801"/>
                    <a:gd name="connsiteX30" fmla="*/ 1089569 w 1696909"/>
                    <a:gd name="connsiteY30" fmla="*/ 61664 h 908801"/>
                    <a:gd name="connsiteX31" fmla="*/ 1167589 w 1696909"/>
                    <a:gd name="connsiteY31" fmla="*/ 107851 h 908801"/>
                    <a:gd name="connsiteX32" fmla="*/ 1173462 w 1696909"/>
                    <a:gd name="connsiteY32" fmla="*/ 120200 h 908801"/>
                    <a:gd name="connsiteX33" fmla="*/ 1178841 w 1696909"/>
                    <a:gd name="connsiteY33" fmla="*/ 126540 h 908801"/>
                    <a:gd name="connsiteX34" fmla="*/ 1190669 w 1696909"/>
                    <a:gd name="connsiteY34" fmla="*/ 126100 h 908801"/>
                    <a:gd name="connsiteX35" fmla="*/ 1192425 w 1696909"/>
                    <a:gd name="connsiteY35" fmla="*/ 135870 h 908801"/>
                    <a:gd name="connsiteX36" fmla="*/ 1196294 w 1696909"/>
                    <a:gd name="connsiteY36" fmla="*/ 142923 h 908801"/>
                    <a:gd name="connsiteX37" fmla="*/ 1208452 w 1696909"/>
                    <a:gd name="connsiteY37" fmla="*/ 143829 h 908801"/>
                    <a:gd name="connsiteX38" fmla="*/ 1210894 w 1696909"/>
                    <a:gd name="connsiteY38" fmla="*/ 147479 h 908801"/>
                    <a:gd name="connsiteX39" fmla="*/ 1209412 w 1696909"/>
                    <a:gd name="connsiteY39" fmla="*/ 155794 h 908801"/>
                    <a:gd name="connsiteX40" fmla="*/ 1238886 w 1696909"/>
                    <a:gd name="connsiteY40" fmla="*/ 176897 h 908801"/>
                    <a:gd name="connsiteX41" fmla="*/ 1247229 w 1696909"/>
                    <a:gd name="connsiteY41" fmla="*/ 228216 h 908801"/>
                    <a:gd name="connsiteX42" fmla="*/ 1250110 w 1696909"/>
                    <a:gd name="connsiteY42" fmla="*/ 245615 h 908801"/>
                    <a:gd name="connsiteX43" fmla="*/ 1241603 w 1696909"/>
                    <a:gd name="connsiteY43" fmla="*/ 275006 h 908801"/>
                    <a:gd name="connsiteX44" fmla="*/ 1239298 w 1696909"/>
                    <a:gd name="connsiteY44" fmla="*/ 282910 h 908801"/>
                    <a:gd name="connsiteX45" fmla="*/ 1238337 w 1696909"/>
                    <a:gd name="connsiteY45" fmla="*/ 286230 h 908801"/>
                    <a:gd name="connsiteX46" fmla="*/ 1232162 w 1696909"/>
                    <a:gd name="connsiteY46" fmla="*/ 292981 h 908801"/>
                    <a:gd name="connsiteX47" fmla="*/ 1230241 w 1696909"/>
                    <a:gd name="connsiteY47" fmla="*/ 295094 h 908801"/>
                    <a:gd name="connsiteX48" fmla="*/ 1223161 w 1696909"/>
                    <a:gd name="connsiteY48" fmla="*/ 298964 h 908801"/>
                    <a:gd name="connsiteX49" fmla="*/ 1222173 w 1696909"/>
                    <a:gd name="connsiteY49" fmla="*/ 301598 h 908801"/>
                    <a:gd name="connsiteX50" fmla="*/ 1221213 w 1696909"/>
                    <a:gd name="connsiteY50" fmla="*/ 304150 h 908801"/>
                    <a:gd name="connsiteX51" fmla="*/ 1222969 w 1696909"/>
                    <a:gd name="connsiteY51" fmla="*/ 315183 h 908801"/>
                    <a:gd name="connsiteX52" fmla="*/ 1235099 w 1696909"/>
                    <a:gd name="connsiteY52" fmla="*/ 323223 h 908801"/>
                    <a:gd name="connsiteX53" fmla="*/ 1244155 w 1696909"/>
                    <a:gd name="connsiteY53" fmla="*/ 322455 h 908801"/>
                    <a:gd name="connsiteX54" fmla="*/ 1276592 w 1696909"/>
                    <a:gd name="connsiteY54" fmla="*/ 302888 h 908801"/>
                    <a:gd name="connsiteX55" fmla="*/ 1282163 w 1696909"/>
                    <a:gd name="connsiteY55" fmla="*/ 301598 h 908801"/>
                    <a:gd name="connsiteX56" fmla="*/ 1310265 w 1696909"/>
                    <a:gd name="connsiteY56" fmla="*/ 295122 h 908801"/>
                    <a:gd name="connsiteX57" fmla="*/ 1314546 w 1696909"/>
                    <a:gd name="connsiteY57" fmla="*/ 292981 h 908801"/>
                    <a:gd name="connsiteX58" fmla="*/ 1327993 w 1696909"/>
                    <a:gd name="connsiteY58" fmla="*/ 286230 h 908801"/>
                    <a:gd name="connsiteX59" fmla="*/ 1334497 w 1696909"/>
                    <a:gd name="connsiteY59" fmla="*/ 282910 h 908801"/>
                    <a:gd name="connsiteX60" fmla="*/ 1342401 w 1696909"/>
                    <a:gd name="connsiteY60" fmla="*/ 278848 h 908801"/>
                    <a:gd name="connsiteX61" fmla="*/ 1344706 w 1696909"/>
                    <a:gd name="connsiteY61" fmla="*/ 275006 h 908801"/>
                    <a:gd name="connsiteX62" fmla="*/ 1341193 w 1696909"/>
                    <a:gd name="connsiteY62" fmla="*/ 267185 h 908801"/>
                    <a:gd name="connsiteX63" fmla="*/ 1339108 w 1696909"/>
                    <a:gd name="connsiteY63" fmla="*/ 251817 h 908801"/>
                    <a:gd name="connsiteX64" fmla="*/ 1353378 w 1696909"/>
                    <a:gd name="connsiteY64" fmla="*/ 245505 h 908801"/>
                    <a:gd name="connsiteX65" fmla="*/ 1406507 w 1696909"/>
                    <a:gd name="connsiteY65" fmla="*/ 244791 h 908801"/>
                    <a:gd name="connsiteX66" fmla="*/ 1417457 w 1696909"/>
                    <a:gd name="connsiteY66" fmla="*/ 228243 h 908801"/>
                    <a:gd name="connsiteX67" fmla="*/ 1418665 w 1696909"/>
                    <a:gd name="connsiteY67" fmla="*/ 226377 h 908801"/>
                    <a:gd name="connsiteX68" fmla="*/ 1434335 w 1696909"/>
                    <a:gd name="connsiteY68" fmla="*/ 214165 h 908801"/>
                    <a:gd name="connsiteX69" fmla="*/ 1446766 w 1696909"/>
                    <a:gd name="connsiteY69" fmla="*/ 200416 h 908801"/>
                    <a:gd name="connsiteX70" fmla="*/ 1464797 w 1696909"/>
                    <a:gd name="connsiteY70" fmla="*/ 189247 h 908801"/>
                    <a:gd name="connsiteX71" fmla="*/ 1559502 w 1696909"/>
                    <a:gd name="connsiteY71" fmla="*/ 188972 h 908801"/>
                    <a:gd name="connsiteX72" fmla="*/ 1568421 w 1696909"/>
                    <a:gd name="connsiteY72" fmla="*/ 178023 h 908801"/>
                    <a:gd name="connsiteX73" fmla="*/ 1577862 w 1696909"/>
                    <a:gd name="connsiteY73" fmla="*/ 175608 h 908801"/>
                    <a:gd name="connsiteX74" fmla="*/ 1581951 w 1696909"/>
                    <a:gd name="connsiteY74" fmla="*/ 177309 h 908801"/>
                    <a:gd name="connsiteX75" fmla="*/ 1584009 w 1696909"/>
                    <a:gd name="connsiteY75" fmla="*/ 172918 h 908801"/>
                    <a:gd name="connsiteX76" fmla="*/ 1587659 w 1696909"/>
                    <a:gd name="connsiteY76" fmla="*/ 171848 h 908801"/>
                    <a:gd name="connsiteX77" fmla="*/ 1587714 w 1696909"/>
                    <a:gd name="connsiteY77" fmla="*/ 166195 h 908801"/>
                    <a:gd name="connsiteX78" fmla="*/ 1598910 w 1696909"/>
                    <a:gd name="connsiteY78" fmla="*/ 152144 h 908801"/>
                    <a:gd name="connsiteX79" fmla="*/ 1599487 w 1696909"/>
                    <a:gd name="connsiteY79" fmla="*/ 137928 h 908801"/>
                    <a:gd name="connsiteX80" fmla="*/ 1605195 w 1696909"/>
                    <a:gd name="connsiteY80" fmla="*/ 128570 h 908801"/>
                    <a:gd name="connsiteX81" fmla="*/ 1608406 w 1696909"/>
                    <a:gd name="connsiteY81" fmla="*/ 116852 h 908801"/>
                    <a:gd name="connsiteX82" fmla="*/ 1626298 w 1696909"/>
                    <a:gd name="connsiteY82" fmla="*/ 92318 h 908801"/>
                    <a:gd name="connsiteX83" fmla="*/ 1631293 w 1696909"/>
                    <a:gd name="connsiteY83" fmla="*/ 85704 h 908801"/>
                    <a:gd name="connsiteX84" fmla="*/ 1634202 w 1696909"/>
                    <a:gd name="connsiteY84" fmla="*/ 86665 h 908801"/>
                    <a:gd name="connsiteX85" fmla="*/ 1636095 w 1696909"/>
                    <a:gd name="connsiteY85" fmla="*/ 93059 h 908801"/>
                    <a:gd name="connsiteX86" fmla="*/ 1639636 w 1696909"/>
                    <a:gd name="connsiteY86" fmla="*/ 95694 h 908801"/>
                    <a:gd name="connsiteX87" fmla="*/ 1659614 w 1696909"/>
                    <a:gd name="connsiteY87" fmla="*/ 90013 h 908801"/>
                    <a:gd name="connsiteX88" fmla="*/ 1671030 w 1696909"/>
                    <a:gd name="connsiteY88" fmla="*/ 101347 h 908801"/>
                    <a:gd name="connsiteX89" fmla="*/ 1672128 w 1696909"/>
                    <a:gd name="connsiteY89" fmla="*/ 158346 h 908801"/>
                    <a:gd name="connsiteX90" fmla="*/ 1681980 w 1696909"/>
                    <a:gd name="connsiteY90" fmla="*/ 166304 h 908801"/>
                    <a:gd name="connsiteX91" fmla="*/ 1682419 w 1696909"/>
                    <a:gd name="connsiteY91" fmla="*/ 178709 h 908801"/>
                    <a:gd name="connsiteX92" fmla="*/ 1684889 w 1696909"/>
                    <a:gd name="connsiteY92" fmla="*/ 182167 h 908801"/>
                    <a:gd name="connsiteX93" fmla="*/ 1687551 w 1696909"/>
                    <a:gd name="connsiteY93" fmla="*/ 181371 h 908801"/>
                    <a:gd name="connsiteX94" fmla="*/ 1688128 w 1696909"/>
                    <a:gd name="connsiteY94" fmla="*/ 181755 h 908801"/>
                    <a:gd name="connsiteX95" fmla="*/ 1688402 w 1696909"/>
                    <a:gd name="connsiteY95" fmla="*/ 182112 h 908801"/>
                    <a:gd name="connsiteX96" fmla="*/ 1688676 w 1696909"/>
                    <a:gd name="connsiteY96" fmla="*/ 182386 h 908801"/>
                    <a:gd name="connsiteX97" fmla="*/ 1688896 w 1696909"/>
                    <a:gd name="connsiteY97" fmla="*/ 182386 h 908801"/>
                    <a:gd name="connsiteX98" fmla="*/ 1689527 w 1696909"/>
                    <a:gd name="connsiteY98" fmla="*/ 182386 h 908801"/>
                    <a:gd name="connsiteX99" fmla="*/ 1690789 w 1696909"/>
                    <a:gd name="connsiteY99" fmla="*/ 182935 h 908801"/>
                    <a:gd name="connsiteX100" fmla="*/ 1691311 w 1696909"/>
                    <a:gd name="connsiteY100" fmla="*/ 184252 h 908801"/>
                    <a:gd name="connsiteX101" fmla="*/ 1692107 w 1696909"/>
                    <a:gd name="connsiteY101" fmla="*/ 185350 h 908801"/>
                    <a:gd name="connsiteX102" fmla="*/ 1692354 w 1696909"/>
                    <a:gd name="connsiteY102" fmla="*/ 185981 h 908801"/>
                    <a:gd name="connsiteX103" fmla="*/ 1692354 w 1696909"/>
                    <a:gd name="connsiteY103" fmla="*/ 186530 h 908801"/>
                    <a:gd name="connsiteX104" fmla="*/ 1692271 w 1696909"/>
                    <a:gd name="connsiteY104" fmla="*/ 187051 h 908801"/>
                    <a:gd name="connsiteX105" fmla="*/ 1692655 w 1696909"/>
                    <a:gd name="connsiteY105" fmla="*/ 187738 h 908801"/>
                    <a:gd name="connsiteX106" fmla="*/ 1692957 w 1696909"/>
                    <a:gd name="connsiteY106" fmla="*/ 187957 h 908801"/>
                    <a:gd name="connsiteX107" fmla="*/ 1693204 w 1696909"/>
                    <a:gd name="connsiteY107" fmla="*/ 188286 h 908801"/>
                    <a:gd name="connsiteX108" fmla="*/ 1693918 w 1696909"/>
                    <a:gd name="connsiteY108" fmla="*/ 189988 h 908801"/>
                    <a:gd name="connsiteX109" fmla="*/ 1693918 w 1696909"/>
                    <a:gd name="connsiteY109" fmla="*/ 190619 h 908801"/>
                    <a:gd name="connsiteX110" fmla="*/ 1694220 w 1696909"/>
                    <a:gd name="connsiteY110" fmla="*/ 191003 h 908801"/>
                    <a:gd name="connsiteX111" fmla="*/ 1694357 w 1696909"/>
                    <a:gd name="connsiteY111" fmla="*/ 191195 h 908801"/>
                    <a:gd name="connsiteX112" fmla="*/ 1694439 w 1696909"/>
                    <a:gd name="connsiteY112" fmla="*/ 191250 h 908801"/>
                    <a:gd name="connsiteX113" fmla="*/ 1694522 w 1696909"/>
                    <a:gd name="connsiteY113" fmla="*/ 191497 h 908801"/>
                    <a:gd name="connsiteX114" fmla="*/ 1694632 w 1696909"/>
                    <a:gd name="connsiteY114" fmla="*/ 191689 h 908801"/>
                    <a:gd name="connsiteX115" fmla="*/ 1694824 w 1696909"/>
                    <a:gd name="connsiteY115" fmla="*/ 191854 h 908801"/>
                    <a:gd name="connsiteX116" fmla="*/ 1694961 w 1696909"/>
                    <a:gd name="connsiteY116" fmla="*/ 191936 h 908801"/>
                    <a:gd name="connsiteX117" fmla="*/ 1695125 w 1696909"/>
                    <a:gd name="connsiteY117" fmla="*/ 191936 h 908801"/>
                    <a:gd name="connsiteX118" fmla="*/ 1695263 w 1696909"/>
                    <a:gd name="connsiteY118" fmla="*/ 192046 h 908801"/>
                    <a:gd name="connsiteX119" fmla="*/ 1695098 w 1696909"/>
                    <a:gd name="connsiteY119" fmla="*/ 192265 h 908801"/>
                    <a:gd name="connsiteX120" fmla="*/ 1695098 w 1696909"/>
                    <a:gd name="connsiteY120" fmla="*/ 192375 h 908801"/>
                    <a:gd name="connsiteX121" fmla="*/ 1695235 w 1696909"/>
                    <a:gd name="connsiteY121" fmla="*/ 192458 h 908801"/>
                    <a:gd name="connsiteX122" fmla="*/ 1695427 w 1696909"/>
                    <a:gd name="connsiteY122" fmla="*/ 192567 h 908801"/>
                    <a:gd name="connsiteX123" fmla="*/ 1695510 w 1696909"/>
                    <a:gd name="connsiteY123" fmla="*/ 192705 h 908801"/>
                    <a:gd name="connsiteX124" fmla="*/ 1695756 w 1696909"/>
                    <a:gd name="connsiteY124" fmla="*/ 192814 h 908801"/>
                    <a:gd name="connsiteX125" fmla="*/ 1695894 w 1696909"/>
                    <a:gd name="connsiteY125" fmla="*/ 192732 h 908801"/>
                    <a:gd name="connsiteX126" fmla="*/ 1695949 w 1696909"/>
                    <a:gd name="connsiteY126" fmla="*/ 192869 h 908801"/>
                    <a:gd name="connsiteX127" fmla="*/ 1696086 w 1696909"/>
                    <a:gd name="connsiteY127" fmla="*/ 193006 h 908801"/>
                    <a:gd name="connsiteX128" fmla="*/ 1696086 w 1696909"/>
                    <a:gd name="connsiteY128" fmla="*/ 193226 h 908801"/>
                    <a:gd name="connsiteX129" fmla="*/ 1696086 w 1696909"/>
                    <a:gd name="connsiteY129" fmla="*/ 193363 h 908801"/>
                    <a:gd name="connsiteX130" fmla="*/ 1696031 w 1696909"/>
                    <a:gd name="connsiteY130" fmla="*/ 193500 h 908801"/>
                    <a:gd name="connsiteX131" fmla="*/ 1696031 w 1696909"/>
                    <a:gd name="connsiteY131" fmla="*/ 193637 h 908801"/>
                    <a:gd name="connsiteX132" fmla="*/ 1695949 w 1696909"/>
                    <a:gd name="connsiteY132" fmla="*/ 193912 h 908801"/>
                    <a:gd name="connsiteX133" fmla="*/ 1695949 w 1696909"/>
                    <a:gd name="connsiteY133" fmla="*/ 194324 h 908801"/>
                    <a:gd name="connsiteX134" fmla="*/ 1696031 w 1696909"/>
                    <a:gd name="connsiteY134" fmla="*/ 194488 h 908801"/>
                    <a:gd name="connsiteX135" fmla="*/ 1696031 w 1696909"/>
                    <a:gd name="connsiteY135" fmla="*/ 194626 h 908801"/>
                    <a:gd name="connsiteX136" fmla="*/ 1695921 w 1696909"/>
                    <a:gd name="connsiteY136" fmla="*/ 194763 h 908801"/>
                    <a:gd name="connsiteX137" fmla="*/ 1695811 w 1696909"/>
                    <a:gd name="connsiteY137" fmla="*/ 194763 h 908801"/>
                    <a:gd name="connsiteX138" fmla="*/ 1695619 w 1696909"/>
                    <a:gd name="connsiteY138" fmla="*/ 194763 h 908801"/>
                    <a:gd name="connsiteX139" fmla="*/ 1695455 w 1696909"/>
                    <a:gd name="connsiteY139" fmla="*/ 194845 h 908801"/>
                    <a:gd name="connsiteX140" fmla="*/ 1695318 w 1696909"/>
                    <a:gd name="connsiteY140" fmla="*/ 195010 h 908801"/>
                    <a:gd name="connsiteX141" fmla="*/ 1695263 w 1696909"/>
                    <a:gd name="connsiteY141" fmla="*/ 195120 h 908801"/>
                    <a:gd name="connsiteX142" fmla="*/ 1696552 w 1696909"/>
                    <a:gd name="connsiteY142" fmla="*/ 197013 h 908801"/>
                    <a:gd name="connsiteX143" fmla="*/ 1696744 w 1696909"/>
                    <a:gd name="connsiteY143" fmla="*/ 197013 h 908801"/>
                    <a:gd name="connsiteX144" fmla="*/ 1696909 w 1696909"/>
                    <a:gd name="connsiteY144" fmla="*/ 197095 h 908801"/>
                    <a:gd name="connsiteX145" fmla="*/ 1696717 w 1696909"/>
                    <a:gd name="connsiteY145" fmla="*/ 197315 h 908801"/>
                    <a:gd name="connsiteX146" fmla="*/ 1696552 w 1696909"/>
                    <a:gd name="connsiteY146" fmla="*/ 197370 h 908801"/>
                    <a:gd name="connsiteX147" fmla="*/ 1689994 w 1696909"/>
                    <a:gd name="connsiteY147" fmla="*/ 203627 h 908801"/>
                    <a:gd name="connsiteX148" fmla="*/ 1681267 w 1696909"/>
                    <a:gd name="connsiteY148" fmla="*/ 208210 h 908801"/>
                    <a:gd name="connsiteX149" fmla="*/ 1671470 w 1696909"/>
                    <a:gd name="connsiteY149" fmla="*/ 209884 h 908801"/>
                    <a:gd name="connsiteX150" fmla="*/ 1660849 w 1696909"/>
                    <a:gd name="connsiteY150" fmla="*/ 216827 h 908801"/>
                    <a:gd name="connsiteX151" fmla="*/ 1655635 w 1696909"/>
                    <a:gd name="connsiteY151" fmla="*/ 224429 h 908801"/>
                    <a:gd name="connsiteX152" fmla="*/ 1652067 w 1696909"/>
                    <a:gd name="connsiteY152" fmla="*/ 216196 h 908801"/>
                    <a:gd name="connsiteX153" fmla="*/ 1647402 w 1696909"/>
                    <a:gd name="connsiteY153" fmla="*/ 225910 h 908801"/>
                    <a:gd name="connsiteX154" fmla="*/ 1642627 w 1696909"/>
                    <a:gd name="connsiteY154" fmla="*/ 213808 h 908801"/>
                    <a:gd name="connsiteX155" fmla="*/ 1639828 w 1696909"/>
                    <a:gd name="connsiteY155" fmla="*/ 212985 h 908801"/>
                    <a:gd name="connsiteX156" fmla="*/ 1634092 w 1696909"/>
                    <a:gd name="connsiteY156" fmla="*/ 228518 h 908801"/>
                    <a:gd name="connsiteX157" fmla="*/ 1629564 w 1696909"/>
                    <a:gd name="connsiteY157" fmla="*/ 233100 h 908801"/>
                    <a:gd name="connsiteX158" fmla="*/ 1626436 w 1696909"/>
                    <a:gd name="connsiteY158" fmla="*/ 234418 h 908801"/>
                    <a:gd name="connsiteX159" fmla="*/ 1612934 w 1696909"/>
                    <a:gd name="connsiteY159" fmla="*/ 239961 h 908801"/>
                    <a:gd name="connsiteX160" fmla="*/ 1606649 w 1696909"/>
                    <a:gd name="connsiteY160" fmla="*/ 239907 h 908801"/>
                    <a:gd name="connsiteX161" fmla="*/ 1590897 w 1696909"/>
                    <a:gd name="connsiteY161" fmla="*/ 260598 h 908801"/>
                    <a:gd name="connsiteX162" fmla="*/ 1585546 w 1696909"/>
                    <a:gd name="connsiteY162" fmla="*/ 274100 h 908801"/>
                    <a:gd name="connsiteX163" fmla="*/ 1586479 w 1696909"/>
                    <a:gd name="connsiteY163" fmla="*/ 285956 h 908801"/>
                    <a:gd name="connsiteX164" fmla="*/ 1581127 w 1696909"/>
                    <a:gd name="connsiteY164" fmla="*/ 293228 h 908801"/>
                    <a:gd name="connsiteX165" fmla="*/ 1581127 w 1696909"/>
                    <a:gd name="connsiteY165" fmla="*/ 299897 h 908801"/>
                    <a:gd name="connsiteX166" fmla="*/ 1593641 w 1696909"/>
                    <a:gd name="connsiteY166" fmla="*/ 317158 h 908801"/>
                    <a:gd name="connsiteX167" fmla="*/ 1604399 w 1696909"/>
                    <a:gd name="connsiteY167" fmla="*/ 319519 h 908801"/>
                    <a:gd name="connsiteX168" fmla="*/ 1605359 w 1696909"/>
                    <a:gd name="connsiteY168" fmla="*/ 321879 h 908801"/>
                    <a:gd name="connsiteX169" fmla="*/ 1594629 w 1696909"/>
                    <a:gd name="connsiteY169" fmla="*/ 326517 h 908801"/>
                    <a:gd name="connsiteX170" fmla="*/ 1584174 w 1696909"/>
                    <a:gd name="connsiteY170" fmla="*/ 325556 h 908801"/>
                    <a:gd name="connsiteX171" fmla="*/ 1573745 w 1696909"/>
                    <a:gd name="connsiteY171" fmla="*/ 329316 h 908801"/>
                    <a:gd name="connsiteX172" fmla="*/ 1568119 w 1696909"/>
                    <a:gd name="connsiteY172" fmla="*/ 326270 h 908801"/>
                    <a:gd name="connsiteX173" fmla="*/ 1557471 w 1696909"/>
                    <a:gd name="connsiteY173" fmla="*/ 335655 h 908801"/>
                    <a:gd name="connsiteX174" fmla="*/ 1520478 w 1696909"/>
                    <a:gd name="connsiteY174" fmla="*/ 341912 h 908801"/>
                    <a:gd name="connsiteX175" fmla="*/ 1510489 w 1696909"/>
                    <a:gd name="connsiteY175" fmla="*/ 346413 h 908801"/>
                    <a:gd name="connsiteX176" fmla="*/ 1508980 w 1696909"/>
                    <a:gd name="connsiteY176" fmla="*/ 349486 h 908801"/>
                    <a:gd name="connsiteX177" fmla="*/ 1524430 w 1696909"/>
                    <a:gd name="connsiteY177" fmla="*/ 350584 h 908801"/>
                    <a:gd name="connsiteX178" fmla="*/ 1535874 w 1696909"/>
                    <a:gd name="connsiteY178" fmla="*/ 348361 h 908801"/>
                    <a:gd name="connsiteX179" fmla="*/ 1538591 w 1696909"/>
                    <a:gd name="connsiteY179" fmla="*/ 350557 h 908801"/>
                    <a:gd name="connsiteX180" fmla="*/ 1524677 w 1696909"/>
                    <a:gd name="connsiteY180" fmla="*/ 359146 h 908801"/>
                    <a:gd name="connsiteX181" fmla="*/ 1487574 w 1696909"/>
                    <a:gd name="connsiteY181" fmla="*/ 368367 h 908801"/>
                    <a:gd name="connsiteX182" fmla="*/ 1486367 w 1696909"/>
                    <a:gd name="connsiteY182" fmla="*/ 372237 h 908801"/>
                    <a:gd name="connsiteX183" fmla="*/ 1487794 w 1696909"/>
                    <a:gd name="connsiteY183" fmla="*/ 382006 h 908801"/>
                    <a:gd name="connsiteX184" fmla="*/ 1483924 w 1696909"/>
                    <a:gd name="connsiteY184" fmla="*/ 397704 h 908801"/>
                    <a:gd name="connsiteX185" fmla="*/ 1466278 w 1696909"/>
                    <a:gd name="connsiteY185" fmla="*/ 423061 h 908801"/>
                    <a:gd name="connsiteX186" fmla="*/ 1462958 w 1696909"/>
                    <a:gd name="connsiteY186" fmla="*/ 424186 h 908801"/>
                    <a:gd name="connsiteX187" fmla="*/ 1457414 w 1696909"/>
                    <a:gd name="connsiteY187" fmla="*/ 418945 h 908801"/>
                    <a:gd name="connsiteX188" fmla="*/ 1448715 w 1696909"/>
                    <a:gd name="connsiteY188" fmla="*/ 416145 h 908801"/>
                    <a:gd name="connsiteX189" fmla="*/ 1450114 w 1696909"/>
                    <a:gd name="connsiteY189" fmla="*/ 424488 h 908801"/>
                    <a:gd name="connsiteX190" fmla="*/ 1456262 w 1696909"/>
                    <a:gd name="connsiteY190" fmla="*/ 437578 h 908801"/>
                    <a:gd name="connsiteX191" fmla="*/ 1456728 w 1696909"/>
                    <a:gd name="connsiteY191" fmla="*/ 449543 h 908801"/>
                    <a:gd name="connsiteX192" fmla="*/ 1452502 w 1696909"/>
                    <a:gd name="connsiteY192" fmla="*/ 460328 h 908801"/>
                    <a:gd name="connsiteX193" fmla="*/ 1434664 w 1696909"/>
                    <a:gd name="connsiteY193" fmla="*/ 487250 h 908801"/>
                    <a:gd name="connsiteX194" fmla="*/ 1433512 w 1696909"/>
                    <a:gd name="connsiteY194" fmla="*/ 483134 h 908801"/>
                    <a:gd name="connsiteX195" fmla="*/ 1436942 w 1696909"/>
                    <a:gd name="connsiteY195" fmla="*/ 466174 h 908801"/>
                    <a:gd name="connsiteX196" fmla="*/ 1424373 w 1696909"/>
                    <a:gd name="connsiteY196" fmla="*/ 444192 h 908801"/>
                    <a:gd name="connsiteX197" fmla="*/ 1423303 w 1696909"/>
                    <a:gd name="connsiteY197" fmla="*/ 428028 h 908801"/>
                    <a:gd name="connsiteX198" fmla="*/ 1426459 w 1696909"/>
                    <a:gd name="connsiteY198" fmla="*/ 413675 h 908801"/>
                    <a:gd name="connsiteX199" fmla="*/ 1420229 w 1696909"/>
                    <a:gd name="connsiteY199" fmla="*/ 415734 h 908801"/>
                    <a:gd name="connsiteX200" fmla="*/ 1416524 w 1696909"/>
                    <a:gd name="connsiteY200" fmla="*/ 438511 h 908801"/>
                    <a:gd name="connsiteX201" fmla="*/ 1417869 w 1696909"/>
                    <a:gd name="connsiteY201" fmla="*/ 455553 h 908801"/>
                    <a:gd name="connsiteX202" fmla="*/ 1407935 w 1696909"/>
                    <a:gd name="connsiteY202" fmla="*/ 456981 h 908801"/>
                    <a:gd name="connsiteX203" fmla="*/ 1421135 w 1696909"/>
                    <a:gd name="connsiteY203" fmla="*/ 471416 h 908801"/>
                    <a:gd name="connsiteX204" fmla="*/ 1421931 w 1696909"/>
                    <a:gd name="connsiteY204" fmla="*/ 482365 h 908801"/>
                    <a:gd name="connsiteX205" fmla="*/ 1419735 w 1696909"/>
                    <a:gd name="connsiteY205" fmla="*/ 494907 h 908801"/>
                    <a:gd name="connsiteX206" fmla="*/ 1414988 w 1696909"/>
                    <a:gd name="connsiteY206" fmla="*/ 499929 h 908801"/>
                    <a:gd name="connsiteX207" fmla="*/ 1417759 w 1696909"/>
                    <a:gd name="connsiteY207" fmla="*/ 502948 h 908801"/>
                    <a:gd name="connsiteX208" fmla="*/ 1425800 w 1696909"/>
                    <a:gd name="connsiteY208" fmla="*/ 505774 h 908801"/>
                    <a:gd name="connsiteX209" fmla="*/ 1430465 w 1696909"/>
                    <a:gd name="connsiteY209" fmla="*/ 510769 h 908801"/>
                    <a:gd name="connsiteX210" fmla="*/ 1433594 w 1696909"/>
                    <a:gd name="connsiteY210" fmla="*/ 529759 h 908801"/>
                    <a:gd name="connsiteX211" fmla="*/ 1423934 w 1696909"/>
                    <a:gd name="connsiteY211" fmla="*/ 537800 h 908801"/>
                    <a:gd name="connsiteX212" fmla="*/ 1434829 w 1696909"/>
                    <a:gd name="connsiteY212" fmla="*/ 544249 h 908801"/>
                    <a:gd name="connsiteX213" fmla="*/ 1435295 w 1696909"/>
                    <a:gd name="connsiteY213" fmla="*/ 551165 h 908801"/>
                    <a:gd name="connsiteX214" fmla="*/ 1427309 w 1696909"/>
                    <a:gd name="connsiteY214" fmla="*/ 559453 h 908801"/>
                    <a:gd name="connsiteX215" fmla="*/ 1417567 w 1696909"/>
                    <a:gd name="connsiteY215" fmla="*/ 564804 h 908801"/>
                    <a:gd name="connsiteX216" fmla="*/ 1416524 w 1696909"/>
                    <a:gd name="connsiteY216" fmla="*/ 570402 h 908801"/>
                    <a:gd name="connsiteX217" fmla="*/ 1418336 w 1696909"/>
                    <a:gd name="connsiteY217" fmla="*/ 577099 h 908801"/>
                    <a:gd name="connsiteX218" fmla="*/ 1416552 w 1696909"/>
                    <a:gd name="connsiteY218" fmla="*/ 580886 h 908801"/>
                    <a:gd name="connsiteX219" fmla="*/ 1401787 w 1696909"/>
                    <a:gd name="connsiteY219" fmla="*/ 586154 h 908801"/>
                    <a:gd name="connsiteX220" fmla="*/ 1387133 w 1696909"/>
                    <a:gd name="connsiteY220" fmla="*/ 594470 h 908801"/>
                    <a:gd name="connsiteX221" fmla="*/ 1370859 w 1696909"/>
                    <a:gd name="connsiteY221" fmla="*/ 612500 h 908801"/>
                    <a:gd name="connsiteX222" fmla="*/ 1359498 w 1696909"/>
                    <a:gd name="connsiteY222" fmla="*/ 615107 h 908801"/>
                    <a:gd name="connsiteX223" fmla="*/ 1349426 w 1696909"/>
                    <a:gd name="connsiteY223" fmla="*/ 620046 h 908801"/>
                    <a:gd name="connsiteX224" fmla="*/ 1331973 w 1696909"/>
                    <a:gd name="connsiteY224" fmla="*/ 642385 h 908801"/>
                    <a:gd name="connsiteX225" fmla="*/ 1293772 w 1696909"/>
                    <a:gd name="connsiteY225" fmla="*/ 670789 h 908801"/>
                    <a:gd name="connsiteX226" fmla="*/ 1280078 w 1696909"/>
                    <a:gd name="connsiteY226" fmla="*/ 689176 h 908801"/>
                    <a:gd name="connsiteX227" fmla="*/ 1270335 w 1696909"/>
                    <a:gd name="connsiteY227" fmla="*/ 713655 h 908801"/>
                    <a:gd name="connsiteX228" fmla="*/ 1271433 w 1696909"/>
                    <a:gd name="connsiteY228" fmla="*/ 733990 h 908801"/>
                    <a:gd name="connsiteX229" fmla="*/ 1281258 w 1696909"/>
                    <a:gd name="connsiteY229" fmla="*/ 767882 h 908801"/>
                    <a:gd name="connsiteX230" fmla="*/ 1295007 w 1696909"/>
                    <a:gd name="connsiteY230" fmla="*/ 796889 h 908801"/>
                    <a:gd name="connsiteX231" fmla="*/ 1298081 w 1696909"/>
                    <a:gd name="connsiteY231" fmla="*/ 815331 h 908801"/>
                    <a:gd name="connsiteX232" fmla="*/ 1310869 w 1696909"/>
                    <a:gd name="connsiteY232" fmla="*/ 856880 h 908801"/>
                    <a:gd name="connsiteX233" fmla="*/ 1309030 w 1696909"/>
                    <a:gd name="connsiteY233" fmla="*/ 883883 h 908801"/>
                    <a:gd name="connsiteX234" fmla="*/ 1303569 w 1696909"/>
                    <a:gd name="connsiteY234" fmla="*/ 904081 h 908801"/>
                    <a:gd name="connsiteX235" fmla="*/ 1300797 w 1696909"/>
                    <a:gd name="connsiteY235" fmla="*/ 908802 h 908801"/>
                    <a:gd name="connsiteX236" fmla="*/ 1281422 w 1696909"/>
                    <a:gd name="connsiteY236" fmla="*/ 906003 h 908801"/>
                    <a:gd name="connsiteX237" fmla="*/ 1275111 w 1696909"/>
                    <a:gd name="connsiteY237" fmla="*/ 894915 h 908801"/>
                    <a:gd name="connsiteX238" fmla="*/ 1264820 w 1696909"/>
                    <a:gd name="connsiteY238" fmla="*/ 884899 h 908801"/>
                    <a:gd name="connsiteX239" fmla="*/ 1252470 w 1696909"/>
                    <a:gd name="connsiteY239" fmla="*/ 866018 h 908801"/>
                    <a:gd name="connsiteX240" fmla="*/ 1250028 w 1696909"/>
                    <a:gd name="connsiteY240" fmla="*/ 855974 h 908801"/>
                    <a:gd name="connsiteX241" fmla="*/ 1244374 w 1696909"/>
                    <a:gd name="connsiteY241" fmla="*/ 850348 h 908801"/>
                    <a:gd name="connsiteX242" fmla="*/ 1237569 w 1696909"/>
                    <a:gd name="connsiteY242" fmla="*/ 837011 h 908801"/>
                    <a:gd name="connsiteX243" fmla="*/ 1239105 w 1696909"/>
                    <a:gd name="connsiteY243" fmla="*/ 822219 h 908801"/>
                    <a:gd name="connsiteX244" fmla="*/ 1233452 w 1696909"/>
                    <a:gd name="connsiteY244" fmla="*/ 822768 h 908801"/>
                    <a:gd name="connsiteX245" fmla="*/ 1231915 w 1696909"/>
                    <a:gd name="connsiteY245" fmla="*/ 820764 h 908801"/>
                    <a:gd name="connsiteX246" fmla="*/ 1234056 w 1696909"/>
                    <a:gd name="connsiteY246" fmla="*/ 797465 h 908801"/>
                    <a:gd name="connsiteX247" fmla="*/ 1231394 w 1696909"/>
                    <a:gd name="connsiteY247" fmla="*/ 783003 h 908801"/>
                    <a:gd name="connsiteX248" fmla="*/ 1206530 w 1696909"/>
                    <a:gd name="connsiteY248" fmla="*/ 754654 h 908801"/>
                    <a:gd name="connsiteX249" fmla="*/ 1198847 w 1696909"/>
                    <a:gd name="connsiteY249" fmla="*/ 749001 h 908801"/>
                    <a:gd name="connsiteX250" fmla="*/ 1189516 w 1696909"/>
                    <a:gd name="connsiteY250" fmla="*/ 747986 h 908801"/>
                    <a:gd name="connsiteX251" fmla="*/ 1161195 w 1696909"/>
                    <a:gd name="connsiteY251" fmla="*/ 758195 h 908801"/>
                    <a:gd name="connsiteX252" fmla="*/ 1149504 w 1696909"/>
                    <a:gd name="connsiteY252" fmla="*/ 748837 h 908801"/>
                    <a:gd name="connsiteX253" fmla="*/ 1133752 w 1696909"/>
                    <a:gd name="connsiteY253" fmla="*/ 739753 h 908801"/>
                    <a:gd name="connsiteX254" fmla="*/ 1116051 w 1696909"/>
                    <a:gd name="connsiteY254" fmla="*/ 736322 h 908801"/>
                    <a:gd name="connsiteX255" fmla="*/ 1088389 w 1696909"/>
                    <a:gd name="connsiteY255" fmla="*/ 738765 h 908801"/>
                    <a:gd name="connsiteX256" fmla="*/ 1077549 w 1696909"/>
                    <a:gd name="connsiteY256" fmla="*/ 730066 h 908801"/>
                    <a:gd name="connsiteX257" fmla="*/ 1070084 w 1696909"/>
                    <a:gd name="connsiteY257" fmla="*/ 736048 h 908801"/>
                    <a:gd name="connsiteX258" fmla="*/ 1048294 w 1696909"/>
                    <a:gd name="connsiteY258" fmla="*/ 736871 h 908801"/>
                    <a:gd name="connsiteX259" fmla="*/ 1036165 w 1696909"/>
                    <a:gd name="connsiteY259" fmla="*/ 741070 h 908801"/>
                    <a:gd name="connsiteX260" fmla="*/ 1027328 w 1696909"/>
                    <a:gd name="connsiteY260" fmla="*/ 748535 h 908801"/>
                    <a:gd name="connsiteX261" fmla="*/ 1028096 w 1696909"/>
                    <a:gd name="connsiteY261" fmla="*/ 750209 h 908801"/>
                    <a:gd name="connsiteX262" fmla="*/ 1034491 w 1696909"/>
                    <a:gd name="connsiteY262" fmla="*/ 749605 h 908801"/>
                    <a:gd name="connsiteX263" fmla="*/ 1037839 w 1696909"/>
                    <a:gd name="connsiteY263" fmla="*/ 751608 h 908801"/>
                    <a:gd name="connsiteX264" fmla="*/ 1031444 w 1696909"/>
                    <a:gd name="connsiteY264" fmla="*/ 759539 h 908801"/>
                    <a:gd name="connsiteX265" fmla="*/ 1028837 w 1696909"/>
                    <a:gd name="connsiteY265" fmla="*/ 766565 h 908801"/>
                    <a:gd name="connsiteX266" fmla="*/ 1010862 w 1696909"/>
                    <a:gd name="connsiteY266" fmla="*/ 770434 h 908801"/>
                    <a:gd name="connsiteX267" fmla="*/ 1005346 w 1696909"/>
                    <a:gd name="connsiteY267" fmla="*/ 768925 h 908801"/>
                    <a:gd name="connsiteX268" fmla="*/ 995714 w 1696909"/>
                    <a:gd name="connsiteY268" fmla="*/ 773618 h 908801"/>
                    <a:gd name="connsiteX269" fmla="*/ 984215 w 1696909"/>
                    <a:gd name="connsiteY269" fmla="*/ 774331 h 908801"/>
                    <a:gd name="connsiteX270" fmla="*/ 981663 w 1696909"/>
                    <a:gd name="connsiteY270" fmla="*/ 772684 h 908801"/>
                    <a:gd name="connsiteX271" fmla="*/ 980099 w 1696909"/>
                    <a:gd name="connsiteY271" fmla="*/ 767278 h 908801"/>
                    <a:gd name="connsiteX272" fmla="*/ 963413 w 1696909"/>
                    <a:gd name="connsiteY272" fmla="*/ 755725 h 908801"/>
                    <a:gd name="connsiteX273" fmla="*/ 958391 w 1696909"/>
                    <a:gd name="connsiteY273" fmla="*/ 756960 h 908801"/>
                    <a:gd name="connsiteX274" fmla="*/ 954988 w 1696909"/>
                    <a:gd name="connsiteY274" fmla="*/ 762146 h 908801"/>
                    <a:gd name="connsiteX275" fmla="*/ 950789 w 1696909"/>
                    <a:gd name="connsiteY275" fmla="*/ 763738 h 908801"/>
                    <a:gd name="connsiteX276" fmla="*/ 922578 w 1696909"/>
                    <a:gd name="connsiteY276" fmla="*/ 757097 h 908801"/>
                    <a:gd name="connsiteX277" fmla="*/ 883993 w 1696909"/>
                    <a:gd name="connsiteY277" fmla="*/ 764013 h 908801"/>
                    <a:gd name="connsiteX278" fmla="*/ 876968 w 1696909"/>
                    <a:gd name="connsiteY278" fmla="*/ 758743 h 908801"/>
                    <a:gd name="connsiteX279" fmla="*/ 872961 w 1696909"/>
                    <a:gd name="connsiteY279" fmla="*/ 762640 h 908801"/>
                    <a:gd name="connsiteX280" fmla="*/ 873208 w 1696909"/>
                    <a:gd name="connsiteY280" fmla="*/ 772602 h 908801"/>
                    <a:gd name="connsiteX281" fmla="*/ 862258 w 1696909"/>
                    <a:gd name="connsiteY281" fmla="*/ 785034 h 908801"/>
                    <a:gd name="connsiteX282" fmla="*/ 844914 w 1696909"/>
                    <a:gd name="connsiteY282" fmla="*/ 794721 h 908801"/>
                    <a:gd name="connsiteX283" fmla="*/ 826939 w 1696909"/>
                    <a:gd name="connsiteY283" fmla="*/ 794721 h 908801"/>
                    <a:gd name="connsiteX284" fmla="*/ 828037 w 1696909"/>
                    <a:gd name="connsiteY284" fmla="*/ 802680 h 908801"/>
                    <a:gd name="connsiteX285" fmla="*/ 819886 w 1696909"/>
                    <a:gd name="connsiteY285" fmla="*/ 803832 h 908801"/>
                    <a:gd name="connsiteX286" fmla="*/ 819310 w 1696909"/>
                    <a:gd name="connsiteY286" fmla="*/ 809540 h 908801"/>
                    <a:gd name="connsiteX287" fmla="*/ 817032 w 1696909"/>
                    <a:gd name="connsiteY287" fmla="*/ 813355 h 908801"/>
                    <a:gd name="connsiteX288" fmla="*/ 810556 w 1696909"/>
                    <a:gd name="connsiteY288" fmla="*/ 812065 h 908801"/>
                    <a:gd name="connsiteX289" fmla="*/ 809760 w 1696909"/>
                    <a:gd name="connsiteY289" fmla="*/ 819145 h 908801"/>
                    <a:gd name="connsiteX290" fmla="*/ 803229 w 1696909"/>
                    <a:gd name="connsiteY290" fmla="*/ 822247 h 908801"/>
                    <a:gd name="connsiteX291" fmla="*/ 805424 w 1696909"/>
                    <a:gd name="connsiteY291" fmla="*/ 829546 h 908801"/>
                    <a:gd name="connsiteX292" fmla="*/ 801692 w 1696909"/>
                    <a:gd name="connsiteY292" fmla="*/ 836105 h 908801"/>
                    <a:gd name="connsiteX293" fmla="*/ 797356 w 1696909"/>
                    <a:gd name="connsiteY293" fmla="*/ 839783 h 908801"/>
                    <a:gd name="connsiteX294" fmla="*/ 799496 w 1696909"/>
                    <a:gd name="connsiteY294" fmla="*/ 843762 h 908801"/>
                    <a:gd name="connsiteX295" fmla="*/ 797960 w 1696909"/>
                    <a:gd name="connsiteY295" fmla="*/ 855343 h 908801"/>
                    <a:gd name="connsiteX296" fmla="*/ 804601 w 1696909"/>
                    <a:gd name="connsiteY296" fmla="*/ 876446 h 908801"/>
                    <a:gd name="connsiteX297" fmla="*/ 808882 w 1696909"/>
                    <a:gd name="connsiteY297" fmla="*/ 883581 h 908801"/>
                    <a:gd name="connsiteX298" fmla="*/ 800018 w 1696909"/>
                    <a:gd name="connsiteY298" fmla="*/ 886628 h 908801"/>
                    <a:gd name="connsiteX299" fmla="*/ 792773 w 1696909"/>
                    <a:gd name="connsiteY299" fmla="*/ 881468 h 908801"/>
                    <a:gd name="connsiteX300" fmla="*/ 777789 w 1696909"/>
                    <a:gd name="connsiteY300" fmla="*/ 879932 h 908801"/>
                    <a:gd name="connsiteX301" fmla="*/ 751306 w 1696909"/>
                    <a:gd name="connsiteY301" fmla="*/ 867967 h 908801"/>
                    <a:gd name="connsiteX302" fmla="*/ 747190 w 1696909"/>
                    <a:gd name="connsiteY302" fmla="*/ 856440 h 908801"/>
                    <a:gd name="connsiteX303" fmla="*/ 741592 w 1696909"/>
                    <a:gd name="connsiteY303" fmla="*/ 847961 h 908801"/>
                    <a:gd name="connsiteX304" fmla="*/ 738216 w 1696909"/>
                    <a:gd name="connsiteY304" fmla="*/ 830287 h 908801"/>
                    <a:gd name="connsiteX305" fmla="*/ 729270 w 1696909"/>
                    <a:gd name="connsiteY305" fmla="*/ 822768 h 908801"/>
                    <a:gd name="connsiteX306" fmla="*/ 723068 w 1696909"/>
                    <a:gd name="connsiteY306" fmla="*/ 812641 h 908801"/>
                    <a:gd name="connsiteX307" fmla="*/ 716975 w 1696909"/>
                    <a:gd name="connsiteY307" fmla="*/ 806796 h 908801"/>
                    <a:gd name="connsiteX308" fmla="*/ 701635 w 1696909"/>
                    <a:gd name="connsiteY308" fmla="*/ 775401 h 908801"/>
                    <a:gd name="connsiteX309" fmla="*/ 689340 w 1696909"/>
                    <a:gd name="connsiteY309" fmla="*/ 765357 h 908801"/>
                    <a:gd name="connsiteX310" fmla="*/ 683193 w 1696909"/>
                    <a:gd name="connsiteY310" fmla="*/ 757701 h 908801"/>
                    <a:gd name="connsiteX311" fmla="*/ 658055 w 1696909"/>
                    <a:gd name="connsiteY311" fmla="*/ 753776 h 908801"/>
                    <a:gd name="connsiteX312" fmla="*/ 647846 w 1696909"/>
                    <a:gd name="connsiteY312" fmla="*/ 757646 h 908801"/>
                    <a:gd name="connsiteX313" fmla="*/ 643346 w 1696909"/>
                    <a:gd name="connsiteY313" fmla="*/ 764095 h 908801"/>
                    <a:gd name="connsiteX314" fmla="*/ 638927 w 1696909"/>
                    <a:gd name="connsiteY314" fmla="*/ 776252 h 908801"/>
                    <a:gd name="connsiteX315" fmla="*/ 632561 w 1696909"/>
                    <a:gd name="connsiteY315" fmla="*/ 782454 h 908801"/>
                    <a:gd name="connsiteX316" fmla="*/ 627511 w 1696909"/>
                    <a:gd name="connsiteY316" fmla="*/ 782317 h 908801"/>
                    <a:gd name="connsiteX317" fmla="*/ 606572 w 1696909"/>
                    <a:gd name="connsiteY317" fmla="*/ 771724 h 908801"/>
                    <a:gd name="connsiteX318" fmla="*/ 593701 w 1696909"/>
                    <a:gd name="connsiteY318" fmla="*/ 761872 h 908801"/>
                    <a:gd name="connsiteX319" fmla="*/ 588130 w 1696909"/>
                    <a:gd name="connsiteY319" fmla="*/ 752130 h 908801"/>
                    <a:gd name="connsiteX320" fmla="*/ 586429 w 1696909"/>
                    <a:gd name="connsiteY320" fmla="*/ 741482 h 908801"/>
                    <a:gd name="connsiteX321" fmla="*/ 580145 w 1696909"/>
                    <a:gd name="connsiteY321" fmla="*/ 729270 h 908801"/>
                    <a:gd name="connsiteX322" fmla="*/ 543042 w 1696909"/>
                    <a:gd name="connsiteY322" fmla="*/ 698479 h 908801"/>
                    <a:gd name="connsiteX323" fmla="*/ 536044 w 1696909"/>
                    <a:gd name="connsiteY323" fmla="*/ 689532 h 908801"/>
                    <a:gd name="connsiteX324" fmla="*/ 485905 w 1696909"/>
                    <a:gd name="connsiteY324" fmla="*/ 687995 h 908801"/>
                    <a:gd name="connsiteX325" fmla="*/ 483518 w 1696909"/>
                    <a:gd name="connsiteY325" fmla="*/ 701964 h 908801"/>
                    <a:gd name="connsiteX326" fmla="*/ 482063 w 1696909"/>
                    <a:gd name="connsiteY326" fmla="*/ 703281 h 908801"/>
                    <a:gd name="connsiteX327" fmla="*/ 401079 w 1696909"/>
                    <a:gd name="connsiteY327" fmla="*/ 703281 h 908801"/>
                    <a:gd name="connsiteX328" fmla="*/ 292350 w 1696909"/>
                    <a:gd name="connsiteY328" fmla="*/ 664065 h 908801"/>
                    <a:gd name="connsiteX329" fmla="*/ 290072 w 1696909"/>
                    <a:gd name="connsiteY329" fmla="*/ 661403 h 908801"/>
                    <a:gd name="connsiteX330" fmla="*/ 289963 w 1696909"/>
                    <a:gd name="connsiteY330" fmla="*/ 655695 h 908801"/>
                    <a:gd name="connsiteX331" fmla="*/ 221383 w 1696909"/>
                    <a:gd name="connsiteY331" fmla="*/ 661650 h 908801"/>
                    <a:gd name="connsiteX332" fmla="*/ 218034 w 1696909"/>
                    <a:gd name="connsiteY332" fmla="*/ 654954 h 908801"/>
                    <a:gd name="connsiteX333" fmla="*/ 215537 w 1696909"/>
                    <a:gd name="connsiteY333" fmla="*/ 642797 h 908801"/>
                    <a:gd name="connsiteX334" fmla="*/ 211256 w 1696909"/>
                    <a:gd name="connsiteY334" fmla="*/ 635662 h 908801"/>
                    <a:gd name="connsiteX335" fmla="*/ 193720 w 1696909"/>
                    <a:gd name="connsiteY335" fmla="*/ 620842 h 908801"/>
                    <a:gd name="connsiteX336" fmla="*/ 185021 w 1696909"/>
                    <a:gd name="connsiteY336" fmla="*/ 618537 h 908801"/>
                    <a:gd name="connsiteX337" fmla="*/ 180410 w 1696909"/>
                    <a:gd name="connsiteY337" fmla="*/ 610908 h 908801"/>
                    <a:gd name="connsiteX338" fmla="*/ 163670 w 1696909"/>
                    <a:gd name="connsiteY338" fmla="*/ 606572 h 908801"/>
                    <a:gd name="connsiteX339" fmla="*/ 149674 w 1696909"/>
                    <a:gd name="connsiteY339" fmla="*/ 596144 h 908801"/>
                    <a:gd name="connsiteX340" fmla="*/ 125826 w 1696909"/>
                    <a:gd name="connsiteY340" fmla="*/ 593894 h 908801"/>
                    <a:gd name="connsiteX341" fmla="*/ 120310 w 1696909"/>
                    <a:gd name="connsiteY341" fmla="*/ 590600 h 908801"/>
                    <a:gd name="connsiteX342" fmla="*/ 116770 w 1696909"/>
                    <a:gd name="connsiteY342" fmla="*/ 570128 h 908801"/>
                    <a:gd name="connsiteX343" fmla="*/ 112105 w 1696909"/>
                    <a:gd name="connsiteY343" fmla="*/ 565956 h 908801"/>
                    <a:gd name="connsiteX344" fmla="*/ 109031 w 1696909"/>
                    <a:gd name="connsiteY344" fmla="*/ 558410 h 908801"/>
                    <a:gd name="connsiteX345" fmla="*/ 99426 w 1696909"/>
                    <a:gd name="connsiteY345" fmla="*/ 549683 h 908801"/>
                    <a:gd name="connsiteX346" fmla="*/ 82027 w 1696909"/>
                    <a:gd name="connsiteY346" fmla="*/ 527180 h 908801"/>
                    <a:gd name="connsiteX347" fmla="*/ 79941 w 1696909"/>
                    <a:gd name="connsiteY347" fmla="*/ 518562 h 908801"/>
                    <a:gd name="connsiteX348" fmla="*/ 82713 w 1696909"/>
                    <a:gd name="connsiteY348" fmla="*/ 512498 h 908801"/>
                    <a:gd name="connsiteX349" fmla="*/ 82110 w 1696909"/>
                    <a:gd name="connsiteY349" fmla="*/ 506350 h 908801"/>
                    <a:gd name="connsiteX350" fmla="*/ 70666 w 1696909"/>
                    <a:gd name="connsiteY350" fmla="*/ 498364 h 908801"/>
                    <a:gd name="connsiteX351" fmla="*/ 65589 w 1696909"/>
                    <a:gd name="connsiteY351" fmla="*/ 489967 h 908801"/>
                    <a:gd name="connsiteX352" fmla="*/ 62213 w 1696909"/>
                    <a:gd name="connsiteY352" fmla="*/ 472047 h 908801"/>
                    <a:gd name="connsiteX353" fmla="*/ 50632 w 1696909"/>
                    <a:gd name="connsiteY353" fmla="*/ 463183 h 908801"/>
                    <a:gd name="connsiteX354" fmla="*/ 45638 w 1696909"/>
                    <a:gd name="connsiteY354" fmla="*/ 449927 h 908801"/>
                    <a:gd name="connsiteX355" fmla="*/ 28568 w 1696909"/>
                    <a:gd name="connsiteY355" fmla="*/ 430580 h 908801"/>
                    <a:gd name="connsiteX356" fmla="*/ 25083 w 1696909"/>
                    <a:gd name="connsiteY356" fmla="*/ 415926 h 908801"/>
                    <a:gd name="connsiteX357" fmla="*/ 24013 w 1696909"/>
                    <a:gd name="connsiteY357" fmla="*/ 398499 h 908801"/>
                    <a:gd name="connsiteX358" fmla="*/ 9825 w 1696909"/>
                    <a:gd name="connsiteY358" fmla="*/ 378905 h 908801"/>
                    <a:gd name="connsiteX359" fmla="*/ 8782 w 1696909"/>
                    <a:gd name="connsiteY359" fmla="*/ 374267 h 908801"/>
                    <a:gd name="connsiteX360" fmla="*/ 8891 w 1696909"/>
                    <a:gd name="connsiteY360" fmla="*/ 368010 h 908801"/>
                    <a:gd name="connsiteX361" fmla="*/ 15149 w 1696909"/>
                    <a:gd name="connsiteY361" fmla="*/ 355881 h 908801"/>
                    <a:gd name="connsiteX362" fmla="*/ 16603 w 1696909"/>
                    <a:gd name="connsiteY362" fmla="*/ 332911 h 908801"/>
                    <a:gd name="connsiteX363" fmla="*/ 8123 w 1696909"/>
                    <a:gd name="connsiteY363" fmla="*/ 300857 h 908801"/>
                    <a:gd name="connsiteX364" fmla="*/ 7245 w 1696909"/>
                    <a:gd name="connsiteY364" fmla="*/ 293146 h 908801"/>
                    <a:gd name="connsiteX365" fmla="*/ 5159 w 1696909"/>
                    <a:gd name="connsiteY365" fmla="*/ 275363 h 908801"/>
                    <a:gd name="connsiteX366" fmla="*/ 15121 w 1696909"/>
                    <a:gd name="connsiteY366" fmla="*/ 228380 h 908801"/>
                    <a:gd name="connsiteX367" fmla="*/ 20939 w 1696909"/>
                    <a:gd name="connsiteY367" fmla="*/ 170915 h 908801"/>
                    <a:gd name="connsiteX368" fmla="*/ 21021 w 1696909"/>
                    <a:gd name="connsiteY368" fmla="*/ 146765 h 908801"/>
                    <a:gd name="connsiteX369" fmla="*/ 23409 w 1696909"/>
                    <a:gd name="connsiteY369" fmla="*/ 138258 h 908801"/>
                    <a:gd name="connsiteX370" fmla="*/ 19759 w 1696909"/>
                    <a:gd name="connsiteY370" fmla="*/ 131095 h 908801"/>
                    <a:gd name="connsiteX371" fmla="*/ 20637 w 1696909"/>
                    <a:gd name="connsiteY371" fmla="*/ 121188 h 908801"/>
                    <a:gd name="connsiteX372" fmla="*/ 18524 w 1696909"/>
                    <a:gd name="connsiteY372" fmla="*/ 106671 h 908801"/>
                    <a:gd name="connsiteX373" fmla="*/ 1098 w 1696909"/>
                    <a:gd name="connsiteY373" fmla="*/ 62405 h 908801"/>
                    <a:gd name="connsiteX374" fmla="*/ 0 w 1696909"/>
                    <a:gd name="connsiteY374" fmla="*/ 52361 h 908801"/>
                    <a:gd name="connsiteX375" fmla="*/ 4720 w 1696909"/>
                    <a:gd name="connsiteY375" fmla="*/ 47504 h 908801"/>
                    <a:gd name="connsiteX376" fmla="*/ 21159 w 1696909"/>
                    <a:gd name="connsiteY376" fmla="*/ 53102 h 908801"/>
                    <a:gd name="connsiteX377" fmla="*/ 52361 w 1696909"/>
                    <a:gd name="connsiteY377" fmla="*/ 56944 h 908801"/>
                    <a:gd name="connsiteX378" fmla="*/ 65946 w 1696909"/>
                    <a:gd name="connsiteY378" fmla="*/ 77389 h 908801"/>
                    <a:gd name="connsiteX379" fmla="*/ 68964 w 1696909"/>
                    <a:gd name="connsiteY379" fmla="*/ 59551 h 908801"/>
                    <a:gd name="connsiteX380" fmla="*/ 66961 w 1696909"/>
                    <a:gd name="connsiteY380" fmla="*/ 55380 h 908801"/>
                    <a:gd name="connsiteX381" fmla="*/ 62790 w 1696909"/>
                    <a:gd name="connsiteY381" fmla="*/ 57768 h 908801"/>
                    <a:gd name="connsiteX382" fmla="*/ 58865 w 1696909"/>
                    <a:gd name="connsiteY382" fmla="*/ 52581 h 908801"/>
                    <a:gd name="connsiteX383" fmla="*/ 59057 w 1696909"/>
                    <a:gd name="connsiteY383" fmla="*/ 42866 h 908801"/>
                    <a:gd name="connsiteX384" fmla="*/ 62680 w 1696909"/>
                    <a:gd name="connsiteY384" fmla="*/ 33810 h 908801"/>
                    <a:gd name="connsiteX385" fmla="*/ 55764 w 1696909"/>
                    <a:gd name="connsiteY385" fmla="*/ 16576 h 908801"/>
                    <a:gd name="connsiteX386" fmla="*/ 79283 w 1696909"/>
                    <a:gd name="connsiteY386" fmla="*/ 16576 h 908801"/>
                    <a:gd name="connsiteX387" fmla="*/ 360381 w 1696909"/>
                    <a:gd name="connsiteY387" fmla="*/ 16740 h 908801"/>
                    <a:gd name="connsiteX388" fmla="*/ 432090 w 1696909"/>
                    <a:gd name="connsiteY388" fmla="*/ 16795 h 908801"/>
                    <a:gd name="connsiteX389" fmla="*/ 865112 w 1696909"/>
                    <a:gd name="connsiteY389" fmla="*/ 16658 h 908801"/>
                    <a:gd name="connsiteX390" fmla="*/ 867116 w 1696909"/>
                    <a:gd name="connsiteY390" fmla="*/ 15423 h 908801"/>
                    <a:gd name="connsiteX391" fmla="*/ 868241 w 1696909"/>
                    <a:gd name="connsiteY391" fmla="*/ 0 h 908801"/>
                    <a:gd name="connsiteX392" fmla="*/ 876611 w 1696909"/>
                    <a:gd name="connsiteY392" fmla="*/ 2854 h 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Lst>
                  <a:rect l="l" t="t" r="r" b="b"/>
                  <a:pathLst>
                    <a:path w="1696909" h="908801">
                      <a:moveTo>
                        <a:pt x="876446" y="2799"/>
                      </a:moveTo>
                      <a:lnTo>
                        <a:pt x="881276" y="25742"/>
                      </a:lnTo>
                      <a:lnTo>
                        <a:pt x="884185" y="28898"/>
                      </a:lnTo>
                      <a:lnTo>
                        <a:pt x="905179" y="33069"/>
                      </a:lnTo>
                      <a:lnTo>
                        <a:pt x="908665" y="37679"/>
                      </a:lnTo>
                      <a:lnTo>
                        <a:pt x="915580" y="37075"/>
                      </a:lnTo>
                      <a:lnTo>
                        <a:pt x="920904" y="33178"/>
                      </a:lnTo>
                      <a:lnTo>
                        <a:pt x="931744" y="33343"/>
                      </a:lnTo>
                      <a:lnTo>
                        <a:pt x="941020" y="37487"/>
                      </a:lnTo>
                      <a:lnTo>
                        <a:pt x="940471" y="40643"/>
                      </a:lnTo>
                      <a:lnTo>
                        <a:pt x="944999" y="41878"/>
                      </a:lnTo>
                      <a:lnTo>
                        <a:pt x="949280" y="50166"/>
                      </a:lnTo>
                      <a:lnTo>
                        <a:pt x="951146" y="49891"/>
                      </a:lnTo>
                      <a:lnTo>
                        <a:pt x="952162" y="45473"/>
                      </a:lnTo>
                      <a:lnTo>
                        <a:pt x="957952" y="45253"/>
                      </a:lnTo>
                      <a:lnTo>
                        <a:pt x="961190" y="49837"/>
                      </a:lnTo>
                      <a:lnTo>
                        <a:pt x="966926" y="52059"/>
                      </a:lnTo>
                      <a:lnTo>
                        <a:pt x="974363" y="57987"/>
                      </a:lnTo>
                      <a:lnTo>
                        <a:pt x="981334" y="57191"/>
                      </a:lnTo>
                      <a:lnTo>
                        <a:pt x="992475" y="51264"/>
                      </a:lnTo>
                      <a:lnTo>
                        <a:pt x="995576" y="54035"/>
                      </a:lnTo>
                      <a:lnTo>
                        <a:pt x="998129" y="56313"/>
                      </a:lnTo>
                      <a:lnTo>
                        <a:pt x="1005401" y="56313"/>
                      </a:lnTo>
                      <a:cubicBezTo>
                        <a:pt x="1005401" y="56313"/>
                        <a:pt x="1010066" y="56313"/>
                        <a:pt x="1010066" y="56313"/>
                      </a:cubicBezTo>
                      <a:lnTo>
                        <a:pt x="1011685" y="56313"/>
                      </a:lnTo>
                      <a:cubicBezTo>
                        <a:pt x="1011685" y="56313"/>
                        <a:pt x="1014293" y="56313"/>
                        <a:pt x="1014293" y="56313"/>
                      </a:cubicBezTo>
                      <a:lnTo>
                        <a:pt x="1022416" y="60896"/>
                      </a:lnTo>
                      <a:lnTo>
                        <a:pt x="1037180" y="61500"/>
                      </a:lnTo>
                      <a:lnTo>
                        <a:pt x="1057598" y="50495"/>
                      </a:lnTo>
                      <a:lnTo>
                        <a:pt x="1067258" y="48272"/>
                      </a:lnTo>
                      <a:lnTo>
                        <a:pt x="1089569" y="61664"/>
                      </a:lnTo>
                      <a:lnTo>
                        <a:pt x="1167589" y="107851"/>
                      </a:lnTo>
                      <a:lnTo>
                        <a:pt x="1173462" y="120200"/>
                      </a:lnTo>
                      <a:lnTo>
                        <a:pt x="1178841" y="126540"/>
                      </a:lnTo>
                      <a:lnTo>
                        <a:pt x="1190669" y="126100"/>
                      </a:lnTo>
                      <a:lnTo>
                        <a:pt x="1192425" y="135870"/>
                      </a:lnTo>
                      <a:lnTo>
                        <a:pt x="1196294" y="142923"/>
                      </a:lnTo>
                      <a:lnTo>
                        <a:pt x="1208452" y="143829"/>
                      </a:lnTo>
                      <a:lnTo>
                        <a:pt x="1210894" y="147479"/>
                      </a:lnTo>
                      <a:lnTo>
                        <a:pt x="1209412" y="155794"/>
                      </a:lnTo>
                      <a:lnTo>
                        <a:pt x="1238886" y="176897"/>
                      </a:lnTo>
                      <a:lnTo>
                        <a:pt x="1247229" y="228216"/>
                      </a:lnTo>
                      <a:lnTo>
                        <a:pt x="1250110" y="245615"/>
                      </a:lnTo>
                      <a:lnTo>
                        <a:pt x="1241603" y="275006"/>
                      </a:lnTo>
                      <a:lnTo>
                        <a:pt x="1239298" y="282910"/>
                      </a:lnTo>
                      <a:lnTo>
                        <a:pt x="1238337" y="286230"/>
                      </a:lnTo>
                      <a:lnTo>
                        <a:pt x="1232162" y="292981"/>
                      </a:lnTo>
                      <a:lnTo>
                        <a:pt x="1230241" y="295094"/>
                      </a:lnTo>
                      <a:lnTo>
                        <a:pt x="1223161" y="298964"/>
                      </a:lnTo>
                      <a:lnTo>
                        <a:pt x="1222173" y="301598"/>
                      </a:lnTo>
                      <a:lnTo>
                        <a:pt x="1221213" y="304150"/>
                      </a:lnTo>
                      <a:lnTo>
                        <a:pt x="1222969" y="315183"/>
                      </a:lnTo>
                      <a:lnTo>
                        <a:pt x="1235099" y="323223"/>
                      </a:lnTo>
                      <a:lnTo>
                        <a:pt x="1244155" y="322455"/>
                      </a:lnTo>
                      <a:lnTo>
                        <a:pt x="1276592" y="302888"/>
                      </a:lnTo>
                      <a:lnTo>
                        <a:pt x="1282163" y="301598"/>
                      </a:lnTo>
                      <a:lnTo>
                        <a:pt x="1310265" y="295122"/>
                      </a:lnTo>
                      <a:lnTo>
                        <a:pt x="1314546" y="292981"/>
                      </a:lnTo>
                      <a:lnTo>
                        <a:pt x="1327993" y="286230"/>
                      </a:lnTo>
                      <a:lnTo>
                        <a:pt x="1334497" y="282910"/>
                      </a:lnTo>
                      <a:lnTo>
                        <a:pt x="1342401" y="278848"/>
                      </a:lnTo>
                      <a:lnTo>
                        <a:pt x="1344706" y="275006"/>
                      </a:lnTo>
                      <a:lnTo>
                        <a:pt x="1341193" y="267185"/>
                      </a:lnTo>
                      <a:lnTo>
                        <a:pt x="1339108" y="251817"/>
                      </a:lnTo>
                      <a:lnTo>
                        <a:pt x="1353378" y="245505"/>
                      </a:lnTo>
                      <a:lnTo>
                        <a:pt x="1406507" y="244791"/>
                      </a:lnTo>
                      <a:lnTo>
                        <a:pt x="1417457" y="228243"/>
                      </a:lnTo>
                      <a:lnTo>
                        <a:pt x="1418665" y="226377"/>
                      </a:lnTo>
                      <a:lnTo>
                        <a:pt x="1434335" y="214165"/>
                      </a:lnTo>
                      <a:lnTo>
                        <a:pt x="1446766" y="200416"/>
                      </a:lnTo>
                      <a:lnTo>
                        <a:pt x="1464797" y="189247"/>
                      </a:lnTo>
                      <a:lnTo>
                        <a:pt x="1559502" y="188972"/>
                      </a:lnTo>
                      <a:lnTo>
                        <a:pt x="1568421" y="178023"/>
                      </a:lnTo>
                      <a:lnTo>
                        <a:pt x="1577862" y="175608"/>
                      </a:lnTo>
                      <a:lnTo>
                        <a:pt x="1581951" y="177309"/>
                      </a:lnTo>
                      <a:lnTo>
                        <a:pt x="1584009" y="172918"/>
                      </a:lnTo>
                      <a:lnTo>
                        <a:pt x="1587659" y="171848"/>
                      </a:lnTo>
                      <a:lnTo>
                        <a:pt x="1587714" y="166195"/>
                      </a:lnTo>
                      <a:lnTo>
                        <a:pt x="1598910" y="152144"/>
                      </a:lnTo>
                      <a:lnTo>
                        <a:pt x="1599487" y="137928"/>
                      </a:lnTo>
                      <a:lnTo>
                        <a:pt x="1605195" y="128570"/>
                      </a:lnTo>
                      <a:lnTo>
                        <a:pt x="1608406" y="116852"/>
                      </a:lnTo>
                      <a:lnTo>
                        <a:pt x="1626298" y="92318"/>
                      </a:lnTo>
                      <a:lnTo>
                        <a:pt x="1631293" y="85704"/>
                      </a:lnTo>
                      <a:lnTo>
                        <a:pt x="1634202" y="86665"/>
                      </a:lnTo>
                      <a:lnTo>
                        <a:pt x="1636095" y="93059"/>
                      </a:lnTo>
                      <a:lnTo>
                        <a:pt x="1639636" y="95694"/>
                      </a:lnTo>
                      <a:lnTo>
                        <a:pt x="1659614" y="90013"/>
                      </a:lnTo>
                      <a:lnTo>
                        <a:pt x="1671030" y="101347"/>
                      </a:lnTo>
                      <a:lnTo>
                        <a:pt x="1672128" y="158346"/>
                      </a:lnTo>
                      <a:lnTo>
                        <a:pt x="1681980" y="166304"/>
                      </a:lnTo>
                      <a:lnTo>
                        <a:pt x="1682419" y="178709"/>
                      </a:lnTo>
                      <a:lnTo>
                        <a:pt x="1684889" y="182167"/>
                      </a:lnTo>
                      <a:lnTo>
                        <a:pt x="1687551" y="181371"/>
                      </a:lnTo>
                      <a:lnTo>
                        <a:pt x="1688128" y="181755"/>
                      </a:lnTo>
                      <a:lnTo>
                        <a:pt x="1688402" y="182112"/>
                      </a:lnTo>
                      <a:lnTo>
                        <a:pt x="1688676" y="182386"/>
                      </a:lnTo>
                      <a:lnTo>
                        <a:pt x="1688896" y="182386"/>
                      </a:lnTo>
                      <a:cubicBezTo>
                        <a:pt x="1688896" y="182386"/>
                        <a:pt x="1689527" y="182386"/>
                        <a:pt x="1689527" y="182386"/>
                      </a:cubicBezTo>
                      <a:lnTo>
                        <a:pt x="1690789" y="182935"/>
                      </a:lnTo>
                      <a:lnTo>
                        <a:pt x="1691311" y="184252"/>
                      </a:lnTo>
                      <a:lnTo>
                        <a:pt x="1692107" y="185350"/>
                      </a:lnTo>
                      <a:lnTo>
                        <a:pt x="1692354" y="185981"/>
                      </a:lnTo>
                      <a:lnTo>
                        <a:pt x="1692354" y="186530"/>
                      </a:lnTo>
                      <a:lnTo>
                        <a:pt x="1692271" y="187051"/>
                      </a:lnTo>
                      <a:lnTo>
                        <a:pt x="1692655" y="187738"/>
                      </a:lnTo>
                      <a:lnTo>
                        <a:pt x="1692957" y="187957"/>
                      </a:lnTo>
                      <a:lnTo>
                        <a:pt x="1693204" y="188286"/>
                      </a:lnTo>
                      <a:lnTo>
                        <a:pt x="1693918" y="189988"/>
                      </a:lnTo>
                      <a:lnTo>
                        <a:pt x="1693918" y="190619"/>
                      </a:lnTo>
                      <a:cubicBezTo>
                        <a:pt x="1693918" y="190619"/>
                        <a:pt x="1694220" y="191003"/>
                        <a:pt x="1694220" y="191003"/>
                      </a:cubicBezTo>
                      <a:lnTo>
                        <a:pt x="1694357" y="191195"/>
                      </a:lnTo>
                      <a:lnTo>
                        <a:pt x="1694439" y="191250"/>
                      </a:lnTo>
                      <a:lnTo>
                        <a:pt x="1694522" y="191497"/>
                      </a:lnTo>
                      <a:lnTo>
                        <a:pt x="1694632" y="191689"/>
                      </a:lnTo>
                      <a:lnTo>
                        <a:pt x="1694824" y="191854"/>
                      </a:lnTo>
                      <a:lnTo>
                        <a:pt x="1694961" y="191936"/>
                      </a:lnTo>
                      <a:lnTo>
                        <a:pt x="1695125" y="191936"/>
                      </a:lnTo>
                      <a:cubicBezTo>
                        <a:pt x="1695125" y="191936"/>
                        <a:pt x="1695263" y="192046"/>
                        <a:pt x="1695263" y="192046"/>
                      </a:cubicBezTo>
                      <a:lnTo>
                        <a:pt x="1695098" y="192265"/>
                      </a:lnTo>
                      <a:lnTo>
                        <a:pt x="1695098" y="192375"/>
                      </a:lnTo>
                      <a:cubicBezTo>
                        <a:pt x="1695098" y="192375"/>
                        <a:pt x="1695235" y="192458"/>
                        <a:pt x="1695235" y="192458"/>
                      </a:cubicBezTo>
                      <a:lnTo>
                        <a:pt x="1695427" y="192567"/>
                      </a:lnTo>
                      <a:lnTo>
                        <a:pt x="1695510" y="192705"/>
                      </a:lnTo>
                      <a:lnTo>
                        <a:pt x="1695756" y="192814"/>
                      </a:lnTo>
                      <a:lnTo>
                        <a:pt x="1695894" y="192732"/>
                      </a:lnTo>
                      <a:lnTo>
                        <a:pt x="1695949" y="192869"/>
                      </a:lnTo>
                      <a:lnTo>
                        <a:pt x="1696086" y="193006"/>
                      </a:lnTo>
                      <a:lnTo>
                        <a:pt x="1696086" y="193226"/>
                      </a:lnTo>
                      <a:cubicBezTo>
                        <a:pt x="1696086" y="193226"/>
                        <a:pt x="1696086" y="193363"/>
                        <a:pt x="1696086" y="193363"/>
                      </a:cubicBezTo>
                      <a:lnTo>
                        <a:pt x="1696031" y="193500"/>
                      </a:lnTo>
                      <a:lnTo>
                        <a:pt x="1696031" y="193637"/>
                      </a:lnTo>
                      <a:cubicBezTo>
                        <a:pt x="1696031" y="193637"/>
                        <a:pt x="1695949" y="193912"/>
                        <a:pt x="1695949" y="193912"/>
                      </a:cubicBezTo>
                      <a:lnTo>
                        <a:pt x="1695949" y="194324"/>
                      </a:lnTo>
                      <a:cubicBezTo>
                        <a:pt x="1695949" y="194324"/>
                        <a:pt x="1696031" y="194488"/>
                        <a:pt x="1696031" y="194488"/>
                      </a:cubicBezTo>
                      <a:lnTo>
                        <a:pt x="1696031" y="194626"/>
                      </a:lnTo>
                      <a:cubicBezTo>
                        <a:pt x="1696031" y="194626"/>
                        <a:pt x="1695921" y="194763"/>
                        <a:pt x="1695921" y="194763"/>
                      </a:cubicBezTo>
                      <a:lnTo>
                        <a:pt x="1695811" y="194763"/>
                      </a:lnTo>
                      <a:cubicBezTo>
                        <a:pt x="1695811" y="194763"/>
                        <a:pt x="1695619" y="194763"/>
                        <a:pt x="1695619" y="194763"/>
                      </a:cubicBezTo>
                      <a:lnTo>
                        <a:pt x="1695455" y="194845"/>
                      </a:lnTo>
                      <a:lnTo>
                        <a:pt x="1695318" y="195010"/>
                      </a:lnTo>
                      <a:lnTo>
                        <a:pt x="1695263" y="195120"/>
                      </a:lnTo>
                      <a:lnTo>
                        <a:pt x="1696552" y="197013"/>
                      </a:lnTo>
                      <a:lnTo>
                        <a:pt x="1696744" y="197013"/>
                      </a:lnTo>
                      <a:cubicBezTo>
                        <a:pt x="1696744" y="197013"/>
                        <a:pt x="1696909" y="197095"/>
                        <a:pt x="1696909" y="197095"/>
                      </a:cubicBezTo>
                      <a:lnTo>
                        <a:pt x="1696717" y="197315"/>
                      </a:lnTo>
                      <a:lnTo>
                        <a:pt x="1696552" y="197370"/>
                      </a:lnTo>
                      <a:lnTo>
                        <a:pt x="1689994" y="203627"/>
                      </a:lnTo>
                      <a:lnTo>
                        <a:pt x="1681267" y="208210"/>
                      </a:lnTo>
                      <a:lnTo>
                        <a:pt x="1671470" y="209884"/>
                      </a:lnTo>
                      <a:lnTo>
                        <a:pt x="1660849" y="216827"/>
                      </a:lnTo>
                      <a:lnTo>
                        <a:pt x="1655635" y="224429"/>
                      </a:lnTo>
                      <a:lnTo>
                        <a:pt x="1652067" y="216196"/>
                      </a:lnTo>
                      <a:lnTo>
                        <a:pt x="1647402" y="225910"/>
                      </a:lnTo>
                      <a:lnTo>
                        <a:pt x="1642627" y="213808"/>
                      </a:lnTo>
                      <a:lnTo>
                        <a:pt x="1639828" y="212985"/>
                      </a:lnTo>
                      <a:lnTo>
                        <a:pt x="1634092" y="228518"/>
                      </a:lnTo>
                      <a:lnTo>
                        <a:pt x="1629564" y="233100"/>
                      </a:lnTo>
                      <a:lnTo>
                        <a:pt x="1626436" y="234418"/>
                      </a:lnTo>
                      <a:lnTo>
                        <a:pt x="1612934" y="239961"/>
                      </a:lnTo>
                      <a:lnTo>
                        <a:pt x="1606649" y="239907"/>
                      </a:lnTo>
                      <a:lnTo>
                        <a:pt x="1590897" y="260598"/>
                      </a:lnTo>
                      <a:lnTo>
                        <a:pt x="1585546" y="274100"/>
                      </a:lnTo>
                      <a:lnTo>
                        <a:pt x="1586479" y="285956"/>
                      </a:lnTo>
                      <a:lnTo>
                        <a:pt x="1581127" y="293228"/>
                      </a:lnTo>
                      <a:lnTo>
                        <a:pt x="1581127" y="299897"/>
                      </a:lnTo>
                      <a:cubicBezTo>
                        <a:pt x="1581127" y="299897"/>
                        <a:pt x="1593641" y="317158"/>
                        <a:pt x="1593641" y="317158"/>
                      </a:cubicBezTo>
                      <a:lnTo>
                        <a:pt x="1604399" y="319519"/>
                      </a:lnTo>
                      <a:lnTo>
                        <a:pt x="1605359" y="321879"/>
                      </a:lnTo>
                      <a:lnTo>
                        <a:pt x="1594629" y="326517"/>
                      </a:lnTo>
                      <a:lnTo>
                        <a:pt x="1584174" y="325556"/>
                      </a:lnTo>
                      <a:lnTo>
                        <a:pt x="1573745" y="329316"/>
                      </a:lnTo>
                      <a:lnTo>
                        <a:pt x="1568119" y="326270"/>
                      </a:lnTo>
                      <a:lnTo>
                        <a:pt x="1557471" y="335655"/>
                      </a:lnTo>
                      <a:lnTo>
                        <a:pt x="1520478" y="341912"/>
                      </a:lnTo>
                      <a:lnTo>
                        <a:pt x="1510489" y="346413"/>
                      </a:lnTo>
                      <a:lnTo>
                        <a:pt x="1508980" y="349486"/>
                      </a:lnTo>
                      <a:lnTo>
                        <a:pt x="1524430" y="350584"/>
                      </a:lnTo>
                      <a:lnTo>
                        <a:pt x="1535874" y="348361"/>
                      </a:lnTo>
                      <a:lnTo>
                        <a:pt x="1538591" y="350557"/>
                      </a:lnTo>
                      <a:lnTo>
                        <a:pt x="1524677" y="359146"/>
                      </a:lnTo>
                      <a:lnTo>
                        <a:pt x="1487574" y="368367"/>
                      </a:lnTo>
                      <a:lnTo>
                        <a:pt x="1486367" y="372237"/>
                      </a:lnTo>
                      <a:lnTo>
                        <a:pt x="1487794" y="382006"/>
                      </a:lnTo>
                      <a:lnTo>
                        <a:pt x="1483924" y="397704"/>
                      </a:lnTo>
                      <a:lnTo>
                        <a:pt x="1466278" y="423061"/>
                      </a:lnTo>
                      <a:lnTo>
                        <a:pt x="1462958" y="424186"/>
                      </a:lnTo>
                      <a:lnTo>
                        <a:pt x="1457414" y="418945"/>
                      </a:lnTo>
                      <a:lnTo>
                        <a:pt x="1448715" y="416145"/>
                      </a:lnTo>
                      <a:lnTo>
                        <a:pt x="1450114" y="424488"/>
                      </a:lnTo>
                      <a:lnTo>
                        <a:pt x="1456262" y="437578"/>
                      </a:lnTo>
                      <a:lnTo>
                        <a:pt x="1456728" y="449543"/>
                      </a:lnTo>
                      <a:lnTo>
                        <a:pt x="1452502" y="460328"/>
                      </a:lnTo>
                      <a:lnTo>
                        <a:pt x="1434664" y="487250"/>
                      </a:lnTo>
                      <a:lnTo>
                        <a:pt x="1433512" y="483134"/>
                      </a:lnTo>
                      <a:lnTo>
                        <a:pt x="1436942" y="466174"/>
                      </a:lnTo>
                      <a:lnTo>
                        <a:pt x="1424373" y="444192"/>
                      </a:lnTo>
                      <a:lnTo>
                        <a:pt x="1423303" y="428028"/>
                      </a:lnTo>
                      <a:lnTo>
                        <a:pt x="1426459" y="413675"/>
                      </a:lnTo>
                      <a:lnTo>
                        <a:pt x="1420229" y="415734"/>
                      </a:lnTo>
                      <a:lnTo>
                        <a:pt x="1416524" y="438511"/>
                      </a:lnTo>
                      <a:lnTo>
                        <a:pt x="1417869" y="455553"/>
                      </a:lnTo>
                      <a:lnTo>
                        <a:pt x="1407935" y="456981"/>
                      </a:lnTo>
                      <a:lnTo>
                        <a:pt x="1421135" y="471416"/>
                      </a:lnTo>
                      <a:lnTo>
                        <a:pt x="1421931" y="482365"/>
                      </a:lnTo>
                      <a:lnTo>
                        <a:pt x="1419735" y="494907"/>
                      </a:lnTo>
                      <a:lnTo>
                        <a:pt x="1414988" y="499929"/>
                      </a:lnTo>
                      <a:lnTo>
                        <a:pt x="1417759" y="502948"/>
                      </a:lnTo>
                      <a:lnTo>
                        <a:pt x="1425800" y="505774"/>
                      </a:lnTo>
                      <a:lnTo>
                        <a:pt x="1430465" y="510769"/>
                      </a:lnTo>
                      <a:lnTo>
                        <a:pt x="1433594" y="529759"/>
                      </a:lnTo>
                      <a:lnTo>
                        <a:pt x="1423934" y="537800"/>
                      </a:lnTo>
                      <a:lnTo>
                        <a:pt x="1434829" y="544249"/>
                      </a:lnTo>
                      <a:lnTo>
                        <a:pt x="1435295" y="551165"/>
                      </a:lnTo>
                      <a:lnTo>
                        <a:pt x="1427309" y="559453"/>
                      </a:lnTo>
                      <a:lnTo>
                        <a:pt x="1417567" y="564804"/>
                      </a:lnTo>
                      <a:lnTo>
                        <a:pt x="1416524" y="570402"/>
                      </a:lnTo>
                      <a:lnTo>
                        <a:pt x="1418336" y="577099"/>
                      </a:lnTo>
                      <a:lnTo>
                        <a:pt x="1416552" y="580886"/>
                      </a:lnTo>
                      <a:lnTo>
                        <a:pt x="1401787" y="586154"/>
                      </a:lnTo>
                      <a:lnTo>
                        <a:pt x="1387133" y="594470"/>
                      </a:lnTo>
                      <a:lnTo>
                        <a:pt x="1370859" y="612500"/>
                      </a:lnTo>
                      <a:lnTo>
                        <a:pt x="1359498" y="615107"/>
                      </a:lnTo>
                      <a:lnTo>
                        <a:pt x="1349426" y="620046"/>
                      </a:lnTo>
                      <a:lnTo>
                        <a:pt x="1331973" y="642385"/>
                      </a:lnTo>
                      <a:lnTo>
                        <a:pt x="1293772" y="670789"/>
                      </a:lnTo>
                      <a:lnTo>
                        <a:pt x="1280078" y="689176"/>
                      </a:lnTo>
                      <a:lnTo>
                        <a:pt x="1270335" y="713655"/>
                      </a:lnTo>
                      <a:lnTo>
                        <a:pt x="1271433" y="733990"/>
                      </a:lnTo>
                      <a:lnTo>
                        <a:pt x="1281258" y="767882"/>
                      </a:lnTo>
                      <a:lnTo>
                        <a:pt x="1295007" y="796889"/>
                      </a:lnTo>
                      <a:lnTo>
                        <a:pt x="1298081" y="815331"/>
                      </a:lnTo>
                      <a:lnTo>
                        <a:pt x="1310869" y="856880"/>
                      </a:lnTo>
                      <a:lnTo>
                        <a:pt x="1309030" y="883883"/>
                      </a:lnTo>
                      <a:lnTo>
                        <a:pt x="1303569" y="904081"/>
                      </a:lnTo>
                      <a:lnTo>
                        <a:pt x="1300797" y="908802"/>
                      </a:lnTo>
                      <a:lnTo>
                        <a:pt x="1281422" y="906003"/>
                      </a:lnTo>
                      <a:lnTo>
                        <a:pt x="1275111" y="894915"/>
                      </a:lnTo>
                      <a:lnTo>
                        <a:pt x="1264820" y="884899"/>
                      </a:lnTo>
                      <a:lnTo>
                        <a:pt x="1252470" y="866018"/>
                      </a:lnTo>
                      <a:lnTo>
                        <a:pt x="1250028" y="855974"/>
                      </a:lnTo>
                      <a:lnTo>
                        <a:pt x="1244374" y="850348"/>
                      </a:lnTo>
                      <a:lnTo>
                        <a:pt x="1237569" y="837011"/>
                      </a:lnTo>
                      <a:lnTo>
                        <a:pt x="1239105" y="822219"/>
                      </a:lnTo>
                      <a:lnTo>
                        <a:pt x="1233452" y="822768"/>
                      </a:lnTo>
                      <a:lnTo>
                        <a:pt x="1231915" y="820764"/>
                      </a:lnTo>
                      <a:lnTo>
                        <a:pt x="1234056" y="797465"/>
                      </a:lnTo>
                      <a:lnTo>
                        <a:pt x="1231394" y="783003"/>
                      </a:lnTo>
                      <a:lnTo>
                        <a:pt x="1206530" y="754654"/>
                      </a:lnTo>
                      <a:lnTo>
                        <a:pt x="1198847" y="749001"/>
                      </a:lnTo>
                      <a:lnTo>
                        <a:pt x="1189516" y="747986"/>
                      </a:lnTo>
                      <a:lnTo>
                        <a:pt x="1161195" y="758195"/>
                      </a:lnTo>
                      <a:lnTo>
                        <a:pt x="1149504" y="748837"/>
                      </a:lnTo>
                      <a:lnTo>
                        <a:pt x="1133752" y="739753"/>
                      </a:lnTo>
                      <a:lnTo>
                        <a:pt x="1116051" y="736322"/>
                      </a:lnTo>
                      <a:lnTo>
                        <a:pt x="1088389" y="738765"/>
                      </a:lnTo>
                      <a:lnTo>
                        <a:pt x="1077549" y="730066"/>
                      </a:lnTo>
                      <a:lnTo>
                        <a:pt x="1070084" y="736048"/>
                      </a:lnTo>
                      <a:lnTo>
                        <a:pt x="1048294" y="736871"/>
                      </a:lnTo>
                      <a:lnTo>
                        <a:pt x="1036165" y="741070"/>
                      </a:lnTo>
                      <a:lnTo>
                        <a:pt x="1027328" y="748535"/>
                      </a:lnTo>
                      <a:lnTo>
                        <a:pt x="1028096" y="750209"/>
                      </a:lnTo>
                      <a:lnTo>
                        <a:pt x="1034491" y="749605"/>
                      </a:lnTo>
                      <a:lnTo>
                        <a:pt x="1037839" y="751608"/>
                      </a:lnTo>
                      <a:lnTo>
                        <a:pt x="1031444" y="759539"/>
                      </a:lnTo>
                      <a:lnTo>
                        <a:pt x="1028837" y="766565"/>
                      </a:lnTo>
                      <a:lnTo>
                        <a:pt x="1010862" y="770434"/>
                      </a:lnTo>
                      <a:lnTo>
                        <a:pt x="1005346" y="768925"/>
                      </a:lnTo>
                      <a:lnTo>
                        <a:pt x="995714" y="773618"/>
                      </a:lnTo>
                      <a:lnTo>
                        <a:pt x="984215" y="774331"/>
                      </a:lnTo>
                      <a:lnTo>
                        <a:pt x="981663" y="772684"/>
                      </a:lnTo>
                      <a:lnTo>
                        <a:pt x="980099" y="767278"/>
                      </a:lnTo>
                      <a:lnTo>
                        <a:pt x="963413" y="755725"/>
                      </a:lnTo>
                      <a:lnTo>
                        <a:pt x="958391" y="756960"/>
                      </a:lnTo>
                      <a:lnTo>
                        <a:pt x="954988" y="762146"/>
                      </a:lnTo>
                      <a:lnTo>
                        <a:pt x="950789" y="763738"/>
                      </a:lnTo>
                      <a:lnTo>
                        <a:pt x="922578" y="757097"/>
                      </a:lnTo>
                      <a:lnTo>
                        <a:pt x="883993" y="764013"/>
                      </a:lnTo>
                      <a:lnTo>
                        <a:pt x="876968" y="758743"/>
                      </a:lnTo>
                      <a:lnTo>
                        <a:pt x="872961" y="762640"/>
                      </a:lnTo>
                      <a:lnTo>
                        <a:pt x="873208" y="772602"/>
                      </a:lnTo>
                      <a:lnTo>
                        <a:pt x="862258" y="785034"/>
                      </a:lnTo>
                      <a:lnTo>
                        <a:pt x="844914" y="794721"/>
                      </a:lnTo>
                      <a:lnTo>
                        <a:pt x="826939" y="794721"/>
                      </a:lnTo>
                      <a:lnTo>
                        <a:pt x="828037" y="802680"/>
                      </a:lnTo>
                      <a:lnTo>
                        <a:pt x="819886" y="803832"/>
                      </a:lnTo>
                      <a:lnTo>
                        <a:pt x="819310" y="809540"/>
                      </a:lnTo>
                      <a:lnTo>
                        <a:pt x="817032" y="813355"/>
                      </a:lnTo>
                      <a:lnTo>
                        <a:pt x="810556" y="812065"/>
                      </a:lnTo>
                      <a:lnTo>
                        <a:pt x="809760" y="819145"/>
                      </a:lnTo>
                      <a:lnTo>
                        <a:pt x="803229" y="822247"/>
                      </a:lnTo>
                      <a:lnTo>
                        <a:pt x="805424" y="829546"/>
                      </a:lnTo>
                      <a:lnTo>
                        <a:pt x="801692" y="836105"/>
                      </a:lnTo>
                      <a:lnTo>
                        <a:pt x="797356" y="839783"/>
                      </a:lnTo>
                      <a:lnTo>
                        <a:pt x="799496" y="843762"/>
                      </a:lnTo>
                      <a:lnTo>
                        <a:pt x="797960" y="855343"/>
                      </a:lnTo>
                      <a:lnTo>
                        <a:pt x="804601" y="876446"/>
                      </a:lnTo>
                      <a:lnTo>
                        <a:pt x="808882" y="883581"/>
                      </a:lnTo>
                      <a:lnTo>
                        <a:pt x="800018" y="886628"/>
                      </a:lnTo>
                      <a:lnTo>
                        <a:pt x="792773" y="881468"/>
                      </a:lnTo>
                      <a:lnTo>
                        <a:pt x="777789" y="879932"/>
                      </a:lnTo>
                      <a:lnTo>
                        <a:pt x="751306" y="867967"/>
                      </a:lnTo>
                      <a:lnTo>
                        <a:pt x="747190" y="856440"/>
                      </a:lnTo>
                      <a:lnTo>
                        <a:pt x="741592" y="847961"/>
                      </a:lnTo>
                      <a:lnTo>
                        <a:pt x="738216" y="830287"/>
                      </a:lnTo>
                      <a:lnTo>
                        <a:pt x="729270" y="822768"/>
                      </a:lnTo>
                      <a:lnTo>
                        <a:pt x="723068" y="812641"/>
                      </a:lnTo>
                      <a:lnTo>
                        <a:pt x="716975" y="806796"/>
                      </a:lnTo>
                      <a:lnTo>
                        <a:pt x="701635" y="775401"/>
                      </a:lnTo>
                      <a:lnTo>
                        <a:pt x="689340" y="765357"/>
                      </a:lnTo>
                      <a:lnTo>
                        <a:pt x="683193" y="757701"/>
                      </a:lnTo>
                      <a:lnTo>
                        <a:pt x="658055" y="753776"/>
                      </a:lnTo>
                      <a:lnTo>
                        <a:pt x="647846" y="757646"/>
                      </a:lnTo>
                      <a:lnTo>
                        <a:pt x="643346" y="764095"/>
                      </a:lnTo>
                      <a:lnTo>
                        <a:pt x="638927" y="776252"/>
                      </a:lnTo>
                      <a:lnTo>
                        <a:pt x="632561" y="782454"/>
                      </a:lnTo>
                      <a:lnTo>
                        <a:pt x="627511" y="782317"/>
                      </a:lnTo>
                      <a:lnTo>
                        <a:pt x="606572" y="771724"/>
                      </a:lnTo>
                      <a:lnTo>
                        <a:pt x="593701" y="761872"/>
                      </a:lnTo>
                      <a:lnTo>
                        <a:pt x="588130" y="752130"/>
                      </a:lnTo>
                      <a:lnTo>
                        <a:pt x="586429" y="741482"/>
                      </a:lnTo>
                      <a:lnTo>
                        <a:pt x="580145" y="729270"/>
                      </a:lnTo>
                      <a:lnTo>
                        <a:pt x="543042" y="698479"/>
                      </a:lnTo>
                      <a:lnTo>
                        <a:pt x="536044" y="689532"/>
                      </a:lnTo>
                      <a:lnTo>
                        <a:pt x="485905" y="687995"/>
                      </a:lnTo>
                      <a:lnTo>
                        <a:pt x="483518" y="701964"/>
                      </a:lnTo>
                      <a:lnTo>
                        <a:pt x="482063" y="703281"/>
                      </a:lnTo>
                      <a:lnTo>
                        <a:pt x="401079" y="703281"/>
                      </a:lnTo>
                      <a:cubicBezTo>
                        <a:pt x="401079" y="703281"/>
                        <a:pt x="292350" y="664065"/>
                        <a:pt x="292350" y="664065"/>
                      </a:cubicBezTo>
                      <a:lnTo>
                        <a:pt x="290072" y="661403"/>
                      </a:lnTo>
                      <a:lnTo>
                        <a:pt x="289963" y="655695"/>
                      </a:lnTo>
                      <a:lnTo>
                        <a:pt x="221383" y="661650"/>
                      </a:lnTo>
                      <a:lnTo>
                        <a:pt x="218034" y="654954"/>
                      </a:lnTo>
                      <a:lnTo>
                        <a:pt x="215537" y="642797"/>
                      </a:lnTo>
                      <a:lnTo>
                        <a:pt x="211256" y="635662"/>
                      </a:lnTo>
                      <a:lnTo>
                        <a:pt x="193720" y="620842"/>
                      </a:lnTo>
                      <a:lnTo>
                        <a:pt x="185021" y="618537"/>
                      </a:lnTo>
                      <a:lnTo>
                        <a:pt x="180410" y="610908"/>
                      </a:lnTo>
                      <a:lnTo>
                        <a:pt x="163670" y="606572"/>
                      </a:lnTo>
                      <a:lnTo>
                        <a:pt x="149674" y="596144"/>
                      </a:lnTo>
                      <a:lnTo>
                        <a:pt x="125826" y="593894"/>
                      </a:lnTo>
                      <a:lnTo>
                        <a:pt x="120310" y="590600"/>
                      </a:lnTo>
                      <a:lnTo>
                        <a:pt x="116770" y="570128"/>
                      </a:lnTo>
                      <a:lnTo>
                        <a:pt x="112105" y="565956"/>
                      </a:lnTo>
                      <a:lnTo>
                        <a:pt x="109031" y="558410"/>
                      </a:lnTo>
                      <a:lnTo>
                        <a:pt x="99426" y="549683"/>
                      </a:lnTo>
                      <a:lnTo>
                        <a:pt x="82027" y="527180"/>
                      </a:lnTo>
                      <a:lnTo>
                        <a:pt x="79941" y="518562"/>
                      </a:lnTo>
                      <a:lnTo>
                        <a:pt x="82713" y="512498"/>
                      </a:lnTo>
                      <a:lnTo>
                        <a:pt x="82110" y="506350"/>
                      </a:lnTo>
                      <a:lnTo>
                        <a:pt x="70666" y="498364"/>
                      </a:lnTo>
                      <a:lnTo>
                        <a:pt x="65589" y="489967"/>
                      </a:lnTo>
                      <a:lnTo>
                        <a:pt x="62213" y="472047"/>
                      </a:lnTo>
                      <a:lnTo>
                        <a:pt x="50632" y="463183"/>
                      </a:lnTo>
                      <a:lnTo>
                        <a:pt x="45638" y="449927"/>
                      </a:lnTo>
                      <a:lnTo>
                        <a:pt x="28568" y="430580"/>
                      </a:lnTo>
                      <a:lnTo>
                        <a:pt x="25083" y="415926"/>
                      </a:lnTo>
                      <a:lnTo>
                        <a:pt x="24013" y="398499"/>
                      </a:lnTo>
                      <a:lnTo>
                        <a:pt x="9825" y="378905"/>
                      </a:lnTo>
                      <a:lnTo>
                        <a:pt x="8782" y="374267"/>
                      </a:lnTo>
                      <a:lnTo>
                        <a:pt x="8891" y="368010"/>
                      </a:lnTo>
                      <a:lnTo>
                        <a:pt x="15149" y="355881"/>
                      </a:lnTo>
                      <a:lnTo>
                        <a:pt x="16603" y="332911"/>
                      </a:lnTo>
                      <a:lnTo>
                        <a:pt x="8123" y="300857"/>
                      </a:lnTo>
                      <a:lnTo>
                        <a:pt x="7245" y="293146"/>
                      </a:lnTo>
                      <a:lnTo>
                        <a:pt x="5159" y="275363"/>
                      </a:lnTo>
                      <a:lnTo>
                        <a:pt x="15121" y="228380"/>
                      </a:lnTo>
                      <a:lnTo>
                        <a:pt x="20939" y="170915"/>
                      </a:lnTo>
                      <a:lnTo>
                        <a:pt x="21021" y="146765"/>
                      </a:lnTo>
                      <a:lnTo>
                        <a:pt x="23409" y="138258"/>
                      </a:lnTo>
                      <a:lnTo>
                        <a:pt x="19759" y="131095"/>
                      </a:lnTo>
                      <a:lnTo>
                        <a:pt x="20637" y="121188"/>
                      </a:lnTo>
                      <a:lnTo>
                        <a:pt x="18524" y="106671"/>
                      </a:lnTo>
                      <a:lnTo>
                        <a:pt x="1098" y="62405"/>
                      </a:lnTo>
                      <a:lnTo>
                        <a:pt x="0" y="52361"/>
                      </a:lnTo>
                      <a:lnTo>
                        <a:pt x="4720" y="47504"/>
                      </a:lnTo>
                      <a:lnTo>
                        <a:pt x="21159" y="53102"/>
                      </a:lnTo>
                      <a:lnTo>
                        <a:pt x="52361" y="56944"/>
                      </a:lnTo>
                      <a:lnTo>
                        <a:pt x="65946" y="77389"/>
                      </a:lnTo>
                      <a:lnTo>
                        <a:pt x="68964" y="59551"/>
                      </a:lnTo>
                      <a:lnTo>
                        <a:pt x="66961" y="55380"/>
                      </a:lnTo>
                      <a:lnTo>
                        <a:pt x="62790" y="57768"/>
                      </a:lnTo>
                      <a:lnTo>
                        <a:pt x="58865" y="52581"/>
                      </a:lnTo>
                      <a:lnTo>
                        <a:pt x="59057" y="42866"/>
                      </a:lnTo>
                      <a:lnTo>
                        <a:pt x="62680" y="33810"/>
                      </a:lnTo>
                      <a:lnTo>
                        <a:pt x="55764" y="16576"/>
                      </a:lnTo>
                      <a:lnTo>
                        <a:pt x="79283" y="16576"/>
                      </a:lnTo>
                      <a:cubicBezTo>
                        <a:pt x="79283" y="16576"/>
                        <a:pt x="360381" y="16740"/>
                        <a:pt x="360381" y="16740"/>
                      </a:cubicBezTo>
                      <a:lnTo>
                        <a:pt x="432090" y="16795"/>
                      </a:lnTo>
                      <a:lnTo>
                        <a:pt x="865112" y="16658"/>
                      </a:lnTo>
                      <a:lnTo>
                        <a:pt x="867116" y="15423"/>
                      </a:lnTo>
                      <a:lnTo>
                        <a:pt x="868241" y="0"/>
                      </a:lnTo>
                      <a:lnTo>
                        <a:pt x="876611" y="285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3355" name="Graphic 33">
                  <a:extLst>
                    <a:ext uri="{FF2B5EF4-FFF2-40B4-BE49-F238E27FC236}">
                      <a16:creationId xmlns:a16="http://schemas.microsoft.com/office/drawing/2014/main" id="{9DA6BD17-A6DD-E113-DA29-79AF7322BFCD}"/>
                    </a:ext>
                  </a:extLst>
                </p:cNvPr>
                <p:cNvGrpSpPr/>
                <p:nvPr/>
              </p:nvGrpSpPr>
              <p:grpSpPr>
                <a:xfrm>
                  <a:off x="-6997909" y="1854486"/>
                  <a:ext cx="1892659" cy="1885963"/>
                  <a:chOff x="-6997909" y="1854486"/>
                  <a:chExt cx="1892659" cy="1885963"/>
                </a:xfrm>
                <a:grpFill/>
              </p:grpSpPr>
              <p:sp>
                <p:nvSpPr>
                  <p:cNvPr id="3356" name="Freeform: Shape 3355">
                    <a:extLst>
                      <a:ext uri="{FF2B5EF4-FFF2-40B4-BE49-F238E27FC236}">
                        <a16:creationId xmlns:a16="http://schemas.microsoft.com/office/drawing/2014/main" id="{B838A3A9-ACE0-1FD8-02FC-97C6F79CA760}"/>
                      </a:ext>
                    </a:extLst>
                  </p:cNvPr>
                  <p:cNvSpPr/>
                  <p:nvPr/>
                </p:nvSpPr>
                <p:spPr>
                  <a:xfrm>
                    <a:off x="-5906556" y="2207814"/>
                    <a:ext cx="7217" cy="16740"/>
                  </a:xfrm>
                  <a:custGeom>
                    <a:avLst/>
                    <a:gdLst>
                      <a:gd name="connsiteX0" fmla="*/ 1893 w 7217"/>
                      <a:gd name="connsiteY0" fmla="*/ 13474 h 16740"/>
                      <a:gd name="connsiteX1" fmla="*/ 795 w 7217"/>
                      <a:gd name="connsiteY1" fmla="*/ 16740 h 16740"/>
                      <a:gd name="connsiteX2" fmla="*/ 0 w 7217"/>
                      <a:gd name="connsiteY2" fmla="*/ 14133 h 16740"/>
                      <a:gd name="connsiteX3" fmla="*/ 1207 w 7217"/>
                      <a:gd name="connsiteY3" fmla="*/ 9495 h 16740"/>
                      <a:gd name="connsiteX4" fmla="*/ 3924 w 7217"/>
                      <a:gd name="connsiteY4" fmla="*/ 7382 h 16740"/>
                      <a:gd name="connsiteX5" fmla="*/ 3567 w 7217"/>
                      <a:gd name="connsiteY5" fmla="*/ 0 h 16740"/>
                      <a:gd name="connsiteX6" fmla="*/ 5351 w 7217"/>
                      <a:gd name="connsiteY6" fmla="*/ 0 h 16740"/>
                      <a:gd name="connsiteX7" fmla="*/ 7217 w 7217"/>
                      <a:gd name="connsiteY7" fmla="*/ 5598 h 16740"/>
                      <a:gd name="connsiteX8" fmla="*/ 4775 w 7217"/>
                      <a:gd name="connsiteY8" fmla="*/ 6669 h 16740"/>
                      <a:gd name="connsiteX9" fmla="*/ 4555 w 7217"/>
                      <a:gd name="connsiteY9" fmla="*/ 13063 h 16740"/>
                      <a:gd name="connsiteX10" fmla="*/ 1893 w 7217"/>
                      <a:gd name="connsiteY10" fmla="*/ 13474 h 1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17" h="16740">
                        <a:moveTo>
                          <a:pt x="1893" y="13474"/>
                        </a:moveTo>
                        <a:lnTo>
                          <a:pt x="795" y="16740"/>
                        </a:lnTo>
                        <a:lnTo>
                          <a:pt x="0" y="14133"/>
                        </a:lnTo>
                        <a:lnTo>
                          <a:pt x="1207" y="9495"/>
                        </a:lnTo>
                        <a:lnTo>
                          <a:pt x="3924" y="7382"/>
                        </a:lnTo>
                        <a:lnTo>
                          <a:pt x="3567" y="0"/>
                        </a:lnTo>
                        <a:lnTo>
                          <a:pt x="5351" y="0"/>
                        </a:lnTo>
                        <a:lnTo>
                          <a:pt x="7217" y="5598"/>
                        </a:lnTo>
                        <a:lnTo>
                          <a:pt x="4775" y="6669"/>
                        </a:lnTo>
                        <a:lnTo>
                          <a:pt x="4555" y="13063"/>
                        </a:lnTo>
                        <a:lnTo>
                          <a:pt x="1893" y="1347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7" name="Freeform: Shape 3356">
                    <a:extLst>
                      <a:ext uri="{FF2B5EF4-FFF2-40B4-BE49-F238E27FC236}">
                        <a16:creationId xmlns:a16="http://schemas.microsoft.com/office/drawing/2014/main" id="{3D10054B-4162-A88B-53E5-1E71E39249B1}"/>
                      </a:ext>
                    </a:extLst>
                  </p:cNvPr>
                  <p:cNvSpPr/>
                  <p:nvPr/>
                </p:nvSpPr>
                <p:spPr>
                  <a:xfrm>
                    <a:off x="-5874147" y="2154438"/>
                    <a:ext cx="3732" cy="9879"/>
                  </a:xfrm>
                  <a:custGeom>
                    <a:avLst/>
                    <a:gdLst>
                      <a:gd name="connsiteX0" fmla="*/ 3733 w 3732"/>
                      <a:gd name="connsiteY0" fmla="*/ 4775 h 9879"/>
                      <a:gd name="connsiteX1" fmla="*/ 1317 w 3732"/>
                      <a:gd name="connsiteY1" fmla="*/ 9879 h 9879"/>
                      <a:gd name="connsiteX2" fmla="*/ 0 w 3732"/>
                      <a:gd name="connsiteY2" fmla="*/ 8315 h 9879"/>
                      <a:gd name="connsiteX3" fmla="*/ 1482 w 3732"/>
                      <a:gd name="connsiteY3" fmla="*/ 0 h 9879"/>
                      <a:gd name="connsiteX4" fmla="*/ 3733 w 3732"/>
                      <a:gd name="connsiteY4" fmla="*/ 4775 h 9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 h="9879">
                        <a:moveTo>
                          <a:pt x="3733" y="4775"/>
                        </a:moveTo>
                        <a:lnTo>
                          <a:pt x="1317" y="9879"/>
                        </a:lnTo>
                        <a:lnTo>
                          <a:pt x="0" y="8315"/>
                        </a:lnTo>
                        <a:lnTo>
                          <a:pt x="1482" y="0"/>
                        </a:lnTo>
                        <a:lnTo>
                          <a:pt x="3733" y="477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8" name="Freeform: Shape 3357">
                    <a:extLst>
                      <a:ext uri="{FF2B5EF4-FFF2-40B4-BE49-F238E27FC236}">
                        <a16:creationId xmlns:a16="http://schemas.microsoft.com/office/drawing/2014/main" id="{14406A86-272D-32A4-744B-A9E0C08B34E7}"/>
                      </a:ext>
                    </a:extLst>
                  </p:cNvPr>
                  <p:cNvSpPr/>
                  <p:nvPr/>
                </p:nvSpPr>
                <p:spPr>
                  <a:xfrm>
                    <a:off x="-5877934" y="2170739"/>
                    <a:ext cx="3951" cy="9248"/>
                  </a:xfrm>
                  <a:custGeom>
                    <a:avLst/>
                    <a:gdLst>
                      <a:gd name="connsiteX0" fmla="*/ 3952 w 3951"/>
                      <a:gd name="connsiteY0" fmla="*/ 2607 h 9248"/>
                      <a:gd name="connsiteX1" fmla="*/ 521 w 3951"/>
                      <a:gd name="connsiteY1" fmla="*/ 9248 h 9248"/>
                      <a:gd name="connsiteX2" fmla="*/ 0 w 3951"/>
                      <a:gd name="connsiteY2" fmla="*/ 3129 h 9248"/>
                      <a:gd name="connsiteX3" fmla="*/ 1372 w 3951"/>
                      <a:gd name="connsiteY3" fmla="*/ 0 h 9248"/>
                      <a:gd name="connsiteX4" fmla="*/ 3952 w 3951"/>
                      <a:gd name="connsiteY4" fmla="*/ 2635 h 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1" h="9248">
                        <a:moveTo>
                          <a:pt x="3952" y="2607"/>
                        </a:moveTo>
                        <a:lnTo>
                          <a:pt x="521" y="9248"/>
                        </a:lnTo>
                        <a:lnTo>
                          <a:pt x="0" y="3129"/>
                        </a:lnTo>
                        <a:lnTo>
                          <a:pt x="1372" y="0"/>
                        </a:lnTo>
                        <a:lnTo>
                          <a:pt x="3952" y="263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59" name="Freeform: Shape 3358">
                    <a:extLst>
                      <a:ext uri="{FF2B5EF4-FFF2-40B4-BE49-F238E27FC236}">
                        <a16:creationId xmlns:a16="http://schemas.microsoft.com/office/drawing/2014/main" id="{50F485AA-97CB-4396-DB81-AAD7C6BA72F1}"/>
                      </a:ext>
                    </a:extLst>
                  </p:cNvPr>
                  <p:cNvSpPr/>
                  <p:nvPr/>
                </p:nvSpPr>
                <p:spPr>
                  <a:xfrm>
                    <a:off x="-5858971" y="2148894"/>
                    <a:ext cx="4583" cy="7931"/>
                  </a:xfrm>
                  <a:custGeom>
                    <a:avLst/>
                    <a:gdLst>
                      <a:gd name="connsiteX0" fmla="*/ 4556 w 4583"/>
                      <a:gd name="connsiteY0" fmla="*/ 4885 h 7931"/>
                      <a:gd name="connsiteX1" fmla="*/ 2196 w 4583"/>
                      <a:gd name="connsiteY1" fmla="*/ 7931 h 7931"/>
                      <a:gd name="connsiteX2" fmla="*/ 0 w 4583"/>
                      <a:gd name="connsiteY2" fmla="*/ 4803 h 7931"/>
                      <a:gd name="connsiteX3" fmla="*/ 3979 w 4583"/>
                      <a:gd name="connsiteY3" fmla="*/ 0 h 7931"/>
                      <a:gd name="connsiteX4" fmla="*/ 4583 w 4583"/>
                      <a:gd name="connsiteY4" fmla="*/ 4912 h 7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 h="7931">
                        <a:moveTo>
                          <a:pt x="4556" y="4885"/>
                        </a:moveTo>
                        <a:lnTo>
                          <a:pt x="2196" y="7931"/>
                        </a:lnTo>
                        <a:lnTo>
                          <a:pt x="0" y="4803"/>
                        </a:lnTo>
                        <a:lnTo>
                          <a:pt x="3979" y="0"/>
                        </a:lnTo>
                        <a:lnTo>
                          <a:pt x="4583" y="491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0" name="Freeform: Shape 3359">
                    <a:extLst>
                      <a:ext uri="{FF2B5EF4-FFF2-40B4-BE49-F238E27FC236}">
                        <a16:creationId xmlns:a16="http://schemas.microsoft.com/office/drawing/2014/main" id="{BB9B481A-205F-7AD6-5A99-2C78E2C900F8}"/>
                      </a:ext>
                    </a:extLst>
                  </p:cNvPr>
                  <p:cNvSpPr/>
                  <p:nvPr/>
                </p:nvSpPr>
                <p:spPr>
                  <a:xfrm>
                    <a:off x="-5879580" y="2158691"/>
                    <a:ext cx="4775" cy="7217"/>
                  </a:xfrm>
                  <a:custGeom>
                    <a:avLst/>
                    <a:gdLst>
                      <a:gd name="connsiteX0" fmla="*/ 4775 w 4775"/>
                      <a:gd name="connsiteY0" fmla="*/ 2991 h 7217"/>
                      <a:gd name="connsiteX1" fmla="*/ 3211 w 4775"/>
                      <a:gd name="connsiteY1" fmla="*/ 7218 h 7217"/>
                      <a:gd name="connsiteX2" fmla="*/ 0 w 4775"/>
                      <a:gd name="connsiteY2" fmla="*/ 4254 h 7217"/>
                      <a:gd name="connsiteX3" fmla="*/ 1729 w 4775"/>
                      <a:gd name="connsiteY3" fmla="*/ 0 h 7217"/>
                      <a:gd name="connsiteX4" fmla="*/ 4775 w 4775"/>
                      <a:gd name="connsiteY4" fmla="*/ 2991 h 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 h="7217">
                        <a:moveTo>
                          <a:pt x="4775" y="2991"/>
                        </a:moveTo>
                        <a:lnTo>
                          <a:pt x="3211" y="7218"/>
                        </a:lnTo>
                        <a:lnTo>
                          <a:pt x="0" y="4254"/>
                        </a:lnTo>
                        <a:lnTo>
                          <a:pt x="1729" y="0"/>
                        </a:lnTo>
                        <a:lnTo>
                          <a:pt x="4775" y="299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1" name="Freeform: Shape 3360">
                    <a:extLst>
                      <a:ext uri="{FF2B5EF4-FFF2-40B4-BE49-F238E27FC236}">
                        <a16:creationId xmlns:a16="http://schemas.microsoft.com/office/drawing/2014/main" id="{DBE21B5A-7D26-18C0-0EC8-B47536170136}"/>
                      </a:ext>
                    </a:extLst>
                  </p:cNvPr>
                  <p:cNvSpPr/>
                  <p:nvPr/>
                </p:nvSpPr>
                <p:spPr>
                  <a:xfrm>
                    <a:off x="-5867450" y="2158829"/>
                    <a:ext cx="4527" cy="7382"/>
                  </a:xfrm>
                  <a:custGeom>
                    <a:avLst/>
                    <a:gdLst>
                      <a:gd name="connsiteX0" fmla="*/ 4528 w 4527"/>
                      <a:gd name="connsiteY0" fmla="*/ 5873 h 7382"/>
                      <a:gd name="connsiteX1" fmla="*/ 1893 w 4527"/>
                      <a:gd name="connsiteY1" fmla="*/ 7382 h 7382"/>
                      <a:gd name="connsiteX2" fmla="*/ 0 w 4527"/>
                      <a:gd name="connsiteY2" fmla="*/ 4693 h 7382"/>
                      <a:gd name="connsiteX3" fmla="*/ 4336 w 4527"/>
                      <a:gd name="connsiteY3" fmla="*/ 0 h 7382"/>
                      <a:gd name="connsiteX4" fmla="*/ 4528 w 4527"/>
                      <a:gd name="connsiteY4" fmla="*/ 5873 h 7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7" h="7382">
                        <a:moveTo>
                          <a:pt x="4528" y="5873"/>
                        </a:moveTo>
                        <a:lnTo>
                          <a:pt x="1893" y="7382"/>
                        </a:lnTo>
                        <a:lnTo>
                          <a:pt x="0" y="4693"/>
                        </a:lnTo>
                        <a:lnTo>
                          <a:pt x="4336" y="0"/>
                        </a:lnTo>
                        <a:lnTo>
                          <a:pt x="4528" y="587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2" name="Freeform: Shape 3361">
                    <a:extLst>
                      <a:ext uri="{FF2B5EF4-FFF2-40B4-BE49-F238E27FC236}">
                        <a16:creationId xmlns:a16="http://schemas.microsoft.com/office/drawing/2014/main" id="{5D170E44-6FEB-9271-9B04-5D5874742830}"/>
                      </a:ext>
                    </a:extLst>
                  </p:cNvPr>
                  <p:cNvSpPr/>
                  <p:nvPr/>
                </p:nvSpPr>
                <p:spPr>
                  <a:xfrm>
                    <a:off x="-5911524" y="2220411"/>
                    <a:ext cx="3402" cy="9467"/>
                  </a:xfrm>
                  <a:custGeom>
                    <a:avLst/>
                    <a:gdLst>
                      <a:gd name="connsiteX0" fmla="*/ 3403 w 3402"/>
                      <a:gd name="connsiteY0" fmla="*/ 1592 h 9467"/>
                      <a:gd name="connsiteX1" fmla="*/ 3073 w 3402"/>
                      <a:gd name="connsiteY1" fmla="*/ 9468 h 9467"/>
                      <a:gd name="connsiteX2" fmla="*/ 0 w 3402"/>
                      <a:gd name="connsiteY2" fmla="*/ 3348 h 9467"/>
                      <a:gd name="connsiteX3" fmla="*/ 1455 w 3402"/>
                      <a:gd name="connsiteY3" fmla="*/ 0 h 9467"/>
                      <a:gd name="connsiteX4" fmla="*/ 3403 w 3402"/>
                      <a:gd name="connsiteY4" fmla="*/ 1619 h 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9467">
                        <a:moveTo>
                          <a:pt x="3403" y="1592"/>
                        </a:moveTo>
                        <a:lnTo>
                          <a:pt x="3073" y="9468"/>
                        </a:lnTo>
                        <a:lnTo>
                          <a:pt x="0" y="3348"/>
                        </a:lnTo>
                        <a:lnTo>
                          <a:pt x="1455" y="0"/>
                        </a:lnTo>
                        <a:lnTo>
                          <a:pt x="3403" y="161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3" name="Freeform: Shape 3362">
                    <a:extLst>
                      <a:ext uri="{FF2B5EF4-FFF2-40B4-BE49-F238E27FC236}">
                        <a16:creationId xmlns:a16="http://schemas.microsoft.com/office/drawing/2014/main" id="{943DB8A2-D2CF-D282-F6CA-9C14874F2733}"/>
                      </a:ext>
                    </a:extLst>
                  </p:cNvPr>
                  <p:cNvSpPr/>
                  <p:nvPr/>
                </p:nvSpPr>
                <p:spPr>
                  <a:xfrm>
                    <a:off x="-5910179" y="2233227"/>
                    <a:ext cx="4116" cy="7436"/>
                  </a:xfrm>
                  <a:custGeom>
                    <a:avLst/>
                    <a:gdLst>
                      <a:gd name="connsiteX0" fmla="*/ 4116 w 4116"/>
                      <a:gd name="connsiteY0" fmla="*/ 4501 h 7436"/>
                      <a:gd name="connsiteX1" fmla="*/ 1729 w 4116"/>
                      <a:gd name="connsiteY1" fmla="*/ 7437 h 7436"/>
                      <a:gd name="connsiteX2" fmla="*/ 0 w 4116"/>
                      <a:gd name="connsiteY2" fmla="*/ 4830 h 7436"/>
                      <a:gd name="connsiteX3" fmla="*/ 1400 w 4116"/>
                      <a:gd name="connsiteY3" fmla="*/ 0 h 7436"/>
                      <a:gd name="connsiteX4" fmla="*/ 4062 w 4116"/>
                      <a:gd name="connsiteY4" fmla="*/ 0 h 7436"/>
                      <a:gd name="connsiteX5" fmla="*/ 4116 w 4116"/>
                      <a:gd name="connsiteY5" fmla="*/ 4501 h 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6" h="7436">
                        <a:moveTo>
                          <a:pt x="4116" y="4501"/>
                        </a:moveTo>
                        <a:lnTo>
                          <a:pt x="1729" y="7437"/>
                        </a:lnTo>
                        <a:lnTo>
                          <a:pt x="0" y="4830"/>
                        </a:lnTo>
                        <a:lnTo>
                          <a:pt x="1400" y="0"/>
                        </a:lnTo>
                        <a:lnTo>
                          <a:pt x="4062" y="0"/>
                        </a:lnTo>
                        <a:lnTo>
                          <a:pt x="4116" y="450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4" name="Freeform: Shape 3363">
                    <a:extLst>
                      <a:ext uri="{FF2B5EF4-FFF2-40B4-BE49-F238E27FC236}">
                        <a16:creationId xmlns:a16="http://schemas.microsoft.com/office/drawing/2014/main" id="{B3ABA849-FBFE-8487-3925-AFB22CFDD321}"/>
                      </a:ext>
                    </a:extLst>
                  </p:cNvPr>
                  <p:cNvSpPr/>
                  <p:nvPr/>
                </p:nvSpPr>
                <p:spPr>
                  <a:xfrm>
                    <a:off x="-5919784" y="2239319"/>
                    <a:ext cx="4720" cy="6284"/>
                  </a:xfrm>
                  <a:custGeom>
                    <a:avLst/>
                    <a:gdLst>
                      <a:gd name="connsiteX0" fmla="*/ 3842 w 4720"/>
                      <a:gd name="connsiteY0" fmla="*/ 4830 h 6284"/>
                      <a:gd name="connsiteX1" fmla="*/ 1262 w 4720"/>
                      <a:gd name="connsiteY1" fmla="*/ 6285 h 6284"/>
                      <a:gd name="connsiteX2" fmla="*/ 0 w 4720"/>
                      <a:gd name="connsiteY2" fmla="*/ 2936 h 6284"/>
                      <a:gd name="connsiteX3" fmla="*/ 1701 w 4720"/>
                      <a:gd name="connsiteY3" fmla="*/ 0 h 6284"/>
                      <a:gd name="connsiteX4" fmla="*/ 4720 w 4720"/>
                      <a:gd name="connsiteY4" fmla="*/ 1674 h 6284"/>
                      <a:gd name="connsiteX5" fmla="*/ 3869 w 4720"/>
                      <a:gd name="connsiteY5" fmla="*/ 4830 h 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0" h="6284">
                        <a:moveTo>
                          <a:pt x="3842" y="4830"/>
                        </a:moveTo>
                        <a:lnTo>
                          <a:pt x="1262" y="6285"/>
                        </a:lnTo>
                        <a:lnTo>
                          <a:pt x="0" y="2936"/>
                        </a:lnTo>
                        <a:lnTo>
                          <a:pt x="1701" y="0"/>
                        </a:lnTo>
                        <a:lnTo>
                          <a:pt x="4720" y="1674"/>
                        </a:lnTo>
                        <a:lnTo>
                          <a:pt x="3869" y="483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5" name="Freeform: Shape 3364">
                    <a:extLst>
                      <a:ext uri="{FF2B5EF4-FFF2-40B4-BE49-F238E27FC236}">
                        <a16:creationId xmlns:a16="http://schemas.microsoft.com/office/drawing/2014/main" id="{C4D425C6-8C20-3631-6ACC-276452FD6846}"/>
                      </a:ext>
                    </a:extLst>
                  </p:cNvPr>
                  <p:cNvSpPr/>
                  <p:nvPr/>
                </p:nvSpPr>
                <p:spPr>
                  <a:xfrm>
                    <a:off x="-5888499" y="2188028"/>
                    <a:ext cx="4391" cy="6119"/>
                  </a:xfrm>
                  <a:custGeom>
                    <a:avLst/>
                    <a:gdLst>
                      <a:gd name="connsiteX0" fmla="*/ 4391 w 4391"/>
                      <a:gd name="connsiteY0" fmla="*/ 0 h 6119"/>
                      <a:gd name="connsiteX1" fmla="*/ 4391 w 4391"/>
                      <a:gd name="connsiteY1" fmla="*/ 6120 h 6119"/>
                      <a:gd name="connsiteX2" fmla="*/ 494 w 4391"/>
                      <a:gd name="connsiteY2" fmla="*/ 3842 h 6119"/>
                      <a:gd name="connsiteX3" fmla="*/ 0 w 4391"/>
                      <a:gd name="connsiteY3" fmla="*/ 1262 h 6119"/>
                      <a:gd name="connsiteX4" fmla="*/ 4364 w 4391"/>
                      <a:gd name="connsiteY4" fmla="*/ 0 h 6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 h="6119">
                        <a:moveTo>
                          <a:pt x="4391" y="0"/>
                        </a:moveTo>
                        <a:lnTo>
                          <a:pt x="4391" y="6120"/>
                        </a:lnTo>
                        <a:cubicBezTo>
                          <a:pt x="4391" y="6120"/>
                          <a:pt x="494" y="3842"/>
                          <a:pt x="494" y="3842"/>
                        </a:cubicBezTo>
                        <a:lnTo>
                          <a:pt x="0" y="1262"/>
                        </a:lnTo>
                        <a:lnTo>
                          <a:pt x="4364"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6" name="Freeform: Shape 3365">
                    <a:extLst>
                      <a:ext uri="{FF2B5EF4-FFF2-40B4-BE49-F238E27FC236}">
                        <a16:creationId xmlns:a16="http://schemas.microsoft.com/office/drawing/2014/main" id="{7C9D73DF-5F1D-BBA1-17AA-032EF4F9750A}"/>
                      </a:ext>
                    </a:extLst>
                  </p:cNvPr>
                  <p:cNvSpPr/>
                  <p:nvPr/>
                </p:nvSpPr>
                <p:spPr>
                  <a:xfrm>
                    <a:off x="-5917260" y="2222524"/>
                    <a:ext cx="4061" cy="6558"/>
                  </a:xfrm>
                  <a:custGeom>
                    <a:avLst/>
                    <a:gdLst>
                      <a:gd name="connsiteX0" fmla="*/ 4062 w 4061"/>
                      <a:gd name="connsiteY0" fmla="*/ 686 h 6558"/>
                      <a:gd name="connsiteX1" fmla="*/ 2827 w 4061"/>
                      <a:gd name="connsiteY1" fmla="*/ 6559 h 6558"/>
                      <a:gd name="connsiteX2" fmla="*/ 0 w 4061"/>
                      <a:gd name="connsiteY2" fmla="*/ 5269 h 6558"/>
                      <a:gd name="connsiteX3" fmla="*/ 933 w 4061"/>
                      <a:gd name="connsiteY3" fmla="*/ 0 h 6558"/>
                      <a:gd name="connsiteX4" fmla="*/ 4034 w 4061"/>
                      <a:gd name="connsiteY4" fmla="*/ 659 h 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1" h="6558">
                        <a:moveTo>
                          <a:pt x="4062" y="686"/>
                        </a:moveTo>
                        <a:lnTo>
                          <a:pt x="2827" y="6559"/>
                        </a:lnTo>
                        <a:lnTo>
                          <a:pt x="0" y="5269"/>
                        </a:lnTo>
                        <a:lnTo>
                          <a:pt x="933" y="0"/>
                        </a:lnTo>
                        <a:lnTo>
                          <a:pt x="4034" y="65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7" name="Freeform: Shape 3366">
                    <a:extLst>
                      <a:ext uri="{FF2B5EF4-FFF2-40B4-BE49-F238E27FC236}">
                        <a16:creationId xmlns:a16="http://schemas.microsoft.com/office/drawing/2014/main" id="{B9702B15-F2A2-1CA7-3236-435304CF5F64}"/>
                      </a:ext>
                    </a:extLst>
                  </p:cNvPr>
                  <p:cNvSpPr/>
                  <p:nvPr/>
                </p:nvSpPr>
                <p:spPr>
                  <a:xfrm>
                    <a:off x="-5911579" y="2245247"/>
                    <a:ext cx="3320" cy="6668"/>
                  </a:xfrm>
                  <a:custGeom>
                    <a:avLst/>
                    <a:gdLst>
                      <a:gd name="connsiteX0" fmla="*/ 3293 w 3320"/>
                      <a:gd name="connsiteY0" fmla="*/ 4501 h 6668"/>
                      <a:gd name="connsiteX1" fmla="*/ 0 w 3320"/>
                      <a:gd name="connsiteY1" fmla="*/ 6669 h 6668"/>
                      <a:gd name="connsiteX2" fmla="*/ 0 w 3320"/>
                      <a:gd name="connsiteY2" fmla="*/ 0 h 6668"/>
                      <a:gd name="connsiteX3" fmla="*/ 2854 w 3320"/>
                      <a:gd name="connsiteY3" fmla="*/ 0 h 6668"/>
                      <a:gd name="connsiteX4" fmla="*/ 3320 w 3320"/>
                      <a:gd name="connsiteY4" fmla="*/ 4473 h 6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0" h="6668">
                        <a:moveTo>
                          <a:pt x="3293" y="4501"/>
                        </a:moveTo>
                        <a:lnTo>
                          <a:pt x="0" y="6669"/>
                        </a:lnTo>
                        <a:lnTo>
                          <a:pt x="0" y="0"/>
                        </a:lnTo>
                        <a:lnTo>
                          <a:pt x="2854" y="0"/>
                        </a:lnTo>
                        <a:lnTo>
                          <a:pt x="3320" y="447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8" name="Freeform: Shape 3367">
                    <a:extLst>
                      <a:ext uri="{FF2B5EF4-FFF2-40B4-BE49-F238E27FC236}">
                        <a16:creationId xmlns:a16="http://schemas.microsoft.com/office/drawing/2014/main" id="{99A758DE-E2F1-EDAB-0EC3-EC92C88E7215}"/>
                      </a:ext>
                    </a:extLst>
                  </p:cNvPr>
                  <p:cNvSpPr/>
                  <p:nvPr/>
                </p:nvSpPr>
                <p:spPr>
                  <a:xfrm>
                    <a:off x="-5885316" y="2179466"/>
                    <a:ext cx="5790" cy="3924"/>
                  </a:xfrm>
                  <a:custGeom>
                    <a:avLst/>
                    <a:gdLst>
                      <a:gd name="connsiteX0" fmla="*/ 5516 w 5790"/>
                      <a:gd name="connsiteY0" fmla="*/ 2827 h 3924"/>
                      <a:gd name="connsiteX1" fmla="*/ 0 w 5790"/>
                      <a:gd name="connsiteY1" fmla="*/ 3924 h 3924"/>
                      <a:gd name="connsiteX2" fmla="*/ 0 w 5790"/>
                      <a:gd name="connsiteY2" fmla="*/ 302 h 3924"/>
                      <a:gd name="connsiteX3" fmla="*/ 5790 w 5790"/>
                      <a:gd name="connsiteY3" fmla="*/ 0 h 3924"/>
                      <a:gd name="connsiteX4" fmla="*/ 5489 w 5790"/>
                      <a:gd name="connsiteY4" fmla="*/ 2827 h 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 h="3924">
                        <a:moveTo>
                          <a:pt x="5516" y="2827"/>
                        </a:moveTo>
                        <a:lnTo>
                          <a:pt x="0" y="3924"/>
                        </a:lnTo>
                        <a:lnTo>
                          <a:pt x="0" y="302"/>
                        </a:lnTo>
                        <a:cubicBezTo>
                          <a:pt x="0" y="302"/>
                          <a:pt x="5790" y="0"/>
                          <a:pt x="5790" y="0"/>
                        </a:cubicBezTo>
                        <a:lnTo>
                          <a:pt x="5489" y="28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69" name="Freeform: Shape 3368">
                    <a:extLst>
                      <a:ext uri="{FF2B5EF4-FFF2-40B4-BE49-F238E27FC236}">
                        <a16:creationId xmlns:a16="http://schemas.microsoft.com/office/drawing/2014/main" id="{C34F54B9-2A05-76AC-1C8E-083CE22B3DE5}"/>
                      </a:ext>
                    </a:extLst>
                  </p:cNvPr>
                  <p:cNvSpPr/>
                  <p:nvPr/>
                </p:nvSpPr>
                <p:spPr>
                  <a:xfrm>
                    <a:off x="-5940229" y="2160530"/>
                    <a:ext cx="5488" cy="4061"/>
                  </a:xfrm>
                  <a:custGeom>
                    <a:avLst/>
                    <a:gdLst>
                      <a:gd name="connsiteX0" fmla="*/ 5489 w 5488"/>
                      <a:gd name="connsiteY0" fmla="*/ 3458 h 4061"/>
                      <a:gd name="connsiteX1" fmla="*/ 604 w 5488"/>
                      <a:gd name="connsiteY1" fmla="*/ 4062 h 4061"/>
                      <a:gd name="connsiteX2" fmla="*/ 0 w 5488"/>
                      <a:gd name="connsiteY2" fmla="*/ 2195 h 4061"/>
                      <a:gd name="connsiteX3" fmla="*/ 686 w 5488"/>
                      <a:gd name="connsiteY3" fmla="*/ 466 h 4061"/>
                      <a:gd name="connsiteX4" fmla="*/ 5489 w 5488"/>
                      <a:gd name="connsiteY4" fmla="*/ 0 h 4061"/>
                      <a:gd name="connsiteX5" fmla="*/ 5489 w 5488"/>
                      <a:gd name="connsiteY5" fmla="*/ 3458 h 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8" h="4061">
                        <a:moveTo>
                          <a:pt x="5489" y="3458"/>
                        </a:moveTo>
                        <a:lnTo>
                          <a:pt x="604" y="4062"/>
                        </a:lnTo>
                        <a:lnTo>
                          <a:pt x="0" y="2195"/>
                        </a:lnTo>
                        <a:lnTo>
                          <a:pt x="686" y="466"/>
                        </a:lnTo>
                        <a:lnTo>
                          <a:pt x="5489" y="0"/>
                        </a:lnTo>
                        <a:lnTo>
                          <a:pt x="5489" y="345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0" name="Freeform: Shape 3369">
                    <a:extLst>
                      <a:ext uri="{FF2B5EF4-FFF2-40B4-BE49-F238E27FC236}">
                        <a16:creationId xmlns:a16="http://schemas.microsoft.com/office/drawing/2014/main" id="{78D7D4D4-6C84-9F31-5443-C9F161ADF9C0}"/>
                      </a:ext>
                    </a:extLst>
                  </p:cNvPr>
                  <p:cNvSpPr/>
                  <p:nvPr/>
                </p:nvSpPr>
                <p:spPr>
                  <a:xfrm>
                    <a:off x="-5922748" y="2209187"/>
                    <a:ext cx="4610" cy="4692"/>
                  </a:xfrm>
                  <a:custGeom>
                    <a:avLst/>
                    <a:gdLst>
                      <a:gd name="connsiteX0" fmla="*/ 4089 w 4610"/>
                      <a:gd name="connsiteY0" fmla="*/ 0 h 4692"/>
                      <a:gd name="connsiteX1" fmla="*/ 4610 w 4610"/>
                      <a:gd name="connsiteY1" fmla="*/ 4693 h 4692"/>
                      <a:gd name="connsiteX2" fmla="*/ 933 w 4610"/>
                      <a:gd name="connsiteY2" fmla="*/ 4528 h 4692"/>
                      <a:gd name="connsiteX3" fmla="*/ 0 w 4610"/>
                      <a:gd name="connsiteY3" fmla="*/ 137 h 4692"/>
                      <a:gd name="connsiteX4" fmla="*/ 4116 w 4610"/>
                      <a:gd name="connsiteY4" fmla="*/ 0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 h="4692">
                        <a:moveTo>
                          <a:pt x="4089" y="0"/>
                        </a:moveTo>
                        <a:lnTo>
                          <a:pt x="4610" y="4693"/>
                        </a:lnTo>
                        <a:lnTo>
                          <a:pt x="933" y="4528"/>
                        </a:lnTo>
                        <a:lnTo>
                          <a:pt x="0" y="137"/>
                        </a:lnTo>
                        <a:lnTo>
                          <a:pt x="4116"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1" name="Freeform: Shape 3370">
                    <a:extLst>
                      <a:ext uri="{FF2B5EF4-FFF2-40B4-BE49-F238E27FC236}">
                        <a16:creationId xmlns:a16="http://schemas.microsoft.com/office/drawing/2014/main" id="{F43E7CC3-1377-0B55-5C80-E69D9CA67D70}"/>
                      </a:ext>
                    </a:extLst>
                  </p:cNvPr>
                  <p:cNvSpPr/>
                  <p:nvPr/>
                </p:nvSpPr>
                <p:spPr>
                  <a:xfrm>
                    <a:off x="-5718517" y="3488688"/>
                    <a:ext cx="51071" cy="116056"/>
                  </a:xfrm>
                  <a:custGeom>
                    <a:avLst/>
                    <a:gdLst>
                      <a:gd name="connsiteX0" fmla="*/ 12157 w 51071"/>
                      <a:gd name="connsiteY0" fmla="*/ 0 h 116056"/>
                      <a:gd name="connsiteX1" fmla="*/ 15011 w 51071"/>
                      <a:gd name="connsiteY1" fmla="*/ 6641 h 116056"/>
                      <a:gd name="connsiteX2" fmla="*/ 22201 w 51071"/>
                      <a:gd name="connsiteY2" fmla="*/ 3074 h 116056"/>
                      <a:gd name="connsiteX3" fmla="*/ 27744 w 51071"/>
                      <a:gd name="connsiteY3" fmla="*/ 9276 h 116056"/>
                      <a:gd name="connsiteX4" fmla="*/ 34249 w 51071"/>
                      <a:gd name="connsiteY4" fmla="*/ 16466 h 116056"/>
                      <a:gd name="connsiteX5" fmla="*/ 37295 w 51071"/>
                      <a:gd name="connsiteY5" fmla="*/ 23985 h 116056"/>
                      <a:gd name="connsiteX6" fmla="*/ 37350 w 51071"/>
                      <a:gd name="connsiteY6" fmla="*/ 25796 h 116056"/>
                      <a:gd name="connsiteX7" fmla="*/ 37459 w 51071"/>
                      <a:gd name="connsiteY7" fmla="*/ 30050 h 116056"/>
                      <a:gd name="connsiteX8" fmla="*/ 36526 w 51071"/>
                      <a:gd name="connsiteY8" fmla="*/ 31285 h 116056"/>
                      <a:gd name="connsiteX9" fmla="*/ 35401 w 51071"/>
                      <a:gd name="connsiteY9" fmla="*/ 36143 h 116056"/>
                      <a:gd name="connsiteX10" fmla="*/ 35785 w 51071"/>
                      <a:gd name="connsiteY10" fmla="*/ 38283 h 116056"/>
                      <a:gd name="connsiteX11" fmla="*/ 36115 w 51071"/>
                      <a:gd name="connsiteY11" fmla="*/ 40122 h 116056"/>
                      <a:gd name="connsiteX12" fmla="*/ 36416 w 51071"/>
                      <a:gd name="connsiteY12" fmla="*/ 41686 h 116056"/>
                      <a:gd name="connsiteX13" fmla="*/ 34002 w 51071"/>
                      <a:gd name="connsiteY13" fmla="*/ 43195 h 116056"/>
                      <a:gd name="connsiteX14" fmla="*/ 35867 w 51071"/>
                      <a:gd name="connsiteY14" fmla="*/ 48684 h 116056"/>
                      <a:gd name="connsiteX15" fmla="*/ 34743 w 51071"/>
                      <a:gd name="connsiteY15" fmla="*/ 52087 h 116056"/>
                      <a:gd name="connsiteX16" fmla="*/ 37597 w 51071"/>
                      <a:gd name="connsiteY16" fmla="*/ 60896 h 116056"/>
                      <a:gd name="connsiteX17" fmla="*/ 39628 w 51071"/>
                      <a:gd name="connsiteY17" fmla="*/ 61774 h 116056"/>
                      <a:gd name="connsiteX18" fmla="*/ 41658 w 51071"/>
                      <a:gd name="connsiteY18" fmla="*/ 67180 h 116056"/>
                      <a:gd name="connsiteX19" fmla="*/ 44649 w 51071"/>
                      <a:gd name="connsiteY19" fmla="*/ 67290 h 116056"/>
                      <a:gd name="connsiteX20" fmla="*/ 48848 w 51071"/>
                      <a:gd name="connsiteY20" fmla="*/ 70117 h 116056"/>
                      <a:gd name="connsiteX21" fmla="*/ 51071 w 51071"/>
                      <a:gd name="connsiteY21" fmla="*/ 79365 h 116056"/>
                      <a:gd name="connsiteX22" fmla="*/ 42921 w 51071"/>
                      <a:gd name="connsiteY22" fmla="*/ 89738 h 116056"/>
                      <a:gd name="connsiteX23" fmla="*/ 38036 w 51071"/>
                      <a:gd name="connsiteY23" fmla="*/ 100112 h 116056"/>
                      <a:gd name="connsiteX24" fmla="*/ 33233 w 51071"/>
                      <a:gd name="connsiteY24" fmla="*/ 100908 h 116056"/>
                      <a:gd name="connsiteX25" fmla="*/ 30461 w 51071"/>
                      <a:gd name="connsiteY25" fmla="*/ 103899 h 116056"/>
                      <a:gd name="connsiteX26" fmla="*/ 31504 w 51071"/>
                      <a:gd name="connsiteY26" fmla="*/ 111281 h 116056"/>
                      <a:gd name="connsiteX27" fmla="*/ 28897 w 51071"/>
                      <a:gd name="connsiteY27" fmla="*/ 110376 h 116056"/>
                      <a:gd name="connsiteX28" fmla="*/ 28897 w 51071"/>
                      <a:gd name="connsiteY28" fmla="*/ 113559 h 116056"/>
                      <a:gd name="connsiteX29" fmla="*/ 26702 w 51071"/>
                      <a:gd name="connsiteY29" fmla="*/ 116056 h 116056"/>
                      <a:gd name="connsiteX30" fmla="*/ 20253 w 51071"/>
                      <a:gd name="connsiteY30" fmla="*/ 115014 h 116056"/>
                      <a:gd name="connsiteX31" fmla="*/ 19621 w 51071"/>
                      <a:gd name="connsiteY31" fmla="*/ 108592 h 116056"/>
                      <a:gd name="connsiteX32" fmla="*/ 16301 w 51071"/>
                      <a:gd name="connsiteY32" fmla="*/ 102774 h 116056"/>
                      <a:gd name="connsiteX33" fmla="*/ 2167 w 51071"/>
                      <a:gd name="connsiteY33" fmla="*/ 91138 h 116056"/>
                      <a:gd name="connsiteX34" fmla="*/ 4363 w 51071"/>
                      <a:gd name="connsiteY34" fmla="*/ 86473 h 116056"/>
                      <a:gd name="connsiteX35" fmla="*/ 0 w 51071"/>
                      <a:gd name="connsiteY35" fmla="*/ 78322 h 116056"/>
                      <a:gd name="connsiteX36" fmla="*/ 3649 w 51071"/>
                      <a:gd name="connsiteY36" fmla="*/ 64518 h 116056"/>
                      <a:gd name="connsiteX37" fmla="*/ 5845 w 51071"/>
                      <a:gd name="connsiteY37" fmla="*/ 54035 h 116056"/>
                      <a:gd name="connsiteX38" fmla="*/ 3266 w 51071"/>
                      <a:gd name="connsiteY38" fmla="*/ 50111 h 116056"/>
                      <a:gd name="connsiteX39" fmla="*/ 7025 w 51071"/>
                      <a:gd name="connsiteY39" fmla="*/ 41933 h 116056"/>
                      <a:gd name="connsiteX40" fmla="*/ 7217 w 51071"/>
                      <a:gd name="connsiteY40" fmla="*/ 40204 h 116056"/>
                      <a:gd name="connsiteX41" fmla="*/ 7437 w 51071"/>
                      <a:gd name="connsiteY41" fmla="*/ 38365 h 116056"/>
                      <a:gd name="connsiteX42" fmla="*/ 7986 w 51071"/>
                      <a:gd name="connsiteY42" fmla="*/ 34029 h 116056"/>
                      <a:gd name="connsiteX43" fmla="*/ 5955 w 51071"/>
                      <a:gd name="connsiteY43" fmla="*/ 31587 h 116056"/>
                      <a:gd name="connsiteX44" fmla="*/ 1619 w 51071"/>
                      <a:gd name="connsiteY44" fmla="*/ 31450 h 116056"/>
                      <a:gd name="connsiteX45" fmla="*/ 1729 w 51071"/>
                      <a:gd name="connsiteY45" fmla="*/ 25906 h 116056"/>
                      <a:gd name="connsiteX46" fmla="*/ 1784 w 51071"/>
                      <a:gd name="connsiteY46" fmla="*/ 22037 h 116056"/>
                      <a:gd name="connsiteX47" fmla="*/ 137 w 51071"/>
                      <a:gd name="connsiteY47" fmla="*/ 16576 h 116056"/>
                      <a:gd name="connsiteX48" fmla="*/ 4528 w 51071"/>
                      <a:gd name="connsiteY48" fmla="*/ 9386 h 116056"/>
                      <a:gd name="connsiteX49" fmla="*/ 8809 w 51071"/>
                      <a:gd name="connsiteY49" fmla="*/ 2360 h 116056"/>
                      <a:gd name="connsiteX50" fmla="*/ 12047 w 51071"/>
                      <a:gd name="connsiteY50" fmla="*/ 137 h 116056"/>
                      <a:gd name="connsiteX51" fmla="*/ 12212 w 51071"/>
                      <a:gd name="connsiteY51" fmla="*/ 27 h 116056"/>
                      <a:gd name="connsiteX52" fmla="*/ 12267 w 51071"/>
                      <a:gd name="connsiteY52" fmla="*/ 137 h 116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1071" h="116056">
                        <a:moveTo>
                          <a:pt x="12157" y="0"/>
                        </a:moveTo>
                        <a:lnTo>
                          <a:pt x="15011" y="6641"/>
                        </a:lnTo>
                        <a:lnTo>
                          <a:pt x="22201" y="3074"/>
                        </a:lnTo>
                        <a:lnTo>
                          <a:pt x="27744" y="9276"/>
                        </a:lnTo>
                        <a:lnTo>
                          <a:pt x="34249" y="16466"/>
                        </a:lnTo>
                        <a:lnTo>
                          <a:pt x="37295" y="23985"/>
                        </a:lnTo>
                        <a:lnTo>
                          <a:pt x="37350" y="25796"/>
                        </a:lnTo>
                        <a:lnTo>
                          <a:pt x="37459" y="30050"/>
                        </a:lnTo>
                        <a:lnTo>
                          <a:pt x="36526" y="31285"/>
                        </a:lnTo>
                        <a:lnTo>
                          <a:pt x="35401" y="36143"/>
                        </a:lnTo>
                        <a:lnTo>
                          <a:pt x="35785" y="38283"/>
                        </a:lnTo>
                        <a:lnTo>
                          <a:pt x="36115" y="40122"/>
                        </a:lnTo>
                        <a:lnTo>
                          <a:pt x="36416" y="41686"/>
                        </a:lnTo>
                        <a:lnTo>
                          <a:pt x="34002" y="43195"/>
                        </a:lnTo>
                        <a:lnTo>
                          <a:pt x="35867" y="48684"/>
                        </a:lnTo>
                        <a:lnTo>
                          <a:pt x="34743" y="52087"/>
                        </a:lnTo>
                        <a:lnTo>
                          <a:pt x="37597" y="60896"/>
                        </a:lnTo>
                        <a:lnTo>
                          <a:pt x="39628" y="61774"/>
                        </a:lnTo>
                        <a:lnTo>
                          <a:pt x="41658" y="67180"/>
                        </a:lnTo>
                        <a:lnTo>
                          <a:pt x="44649" y="67290"/>
                        </a:lnTo>
                        <a:lnTo>
                          <a:pt x="48848" y="70117"/>
                        </a:lnTo>
                        <a:lnTo>
                          <a:pt x="51071" y="79365"/>
                        </a:lnTo>
                        <a:lnTo>
                          <a:pt x="42921" y="89738"/>
                        </a:lnTo>
                        <a:lnTo>
                          <a:pt x="38036" y="100112"/>
                        </a:lnTo>
                        <a:lnTo>
                          <a:pt x="33233" y="100908"/>
                        </a:lnTo>
                        <a:lnTo>
                          <a:pt x="30461" y="103899"/>
                        </a:lnTo>
                        <a:lnTo>
                          <a:pt x="31504" y="111281"/>
                        </a:lnTo>
                        <a:lnTo>
                          <a:pt x="28897" y="110376"/>
                        </a:lnTo>
                        <a:lnTo>
                          <a:pt x="28897" y="113559"/>
                        </a:lnTo>
                        <a:cubicBezTo>
                          <a:pt x="28897" y="113559"/>
                          <a:pt x="26702" y="116056"/>
                          <a:pt x="26702" y="116056"/>
                        </a:cubicBezTo>
                        <a:lnTo>
                          <a:pt x="20253" y="115014"/>
                        </a:lnTo>
                        <a:lnTo>
                          <a:pt x="19621" y="108592"/>
                        </a:lnTo>
                        <a:lnTo>
                          <a:pt x="16301" y="102774"/>
                        </a:lnTo>
                        <a:lnTo>
                          <a:pt x="2167" y="91138"/>
                        </a:lnTo>
                        <a:lnTo>
                          <a:pt x="4363" y="86473"/>
                        </a:lnTo>
                        <a:lnTo>
                          <a:pt x="0" y="78322"/>
                        </a:lnTo>
                        <a:lnTo>
                          <a:pt x="3649" y="64518"/>
                        </a:lnTo>
                        <a:lnTo>
                          <a:pt x="5845" y="54035"/>
                        </a:lnTo>
                        <a:lnTo>
                          <a:pt x="3266" y="50111"/>
                        </a:lnTo>
                        <a:lnTo>
                          <a:pt x="7025" y="41933"/>
                        </a:lnTo>
                        <a:lnTo>
                          <a:pt x="7217" y="40204"/>
                        </a:lnTo>
                        <a:lnTo>
                          <a:pt x="7437" y="38365"/>
                        </a:lnTo>
                        <a:lnTo>
                          <a:pt x="7986" y="34029"/>
                        </a:lnTo>
                        <a:lnTo>
                          <a:pt x="5955" y="31587"/>
                        </a:lnTo>
                        <a:lnTo>
                          <a:pt x="1619" y="31450"/>
                        </a:lnTo>
                        <a:lnTo>
                          <a:pt x="1729" y="25906"/>
                        </a:lnTo>
                        <a:lnTo>
                          <a:pt x="1784" y="22037"/>
                        </a:lnTo>
                        <a:lnTo>
                          <a:pt x="137" y="16576"/>
                        </a:lnTo>
                        <a:lnTo>
                          <a:pt x="4528" y="9386"/>
                        </a:lnTo>
                        <a:lnTo>
                          <a:pt x="8809" y="2360"/>
                        </a:lnTo>
                        <a:lnTo>
                          <a:pt x="12047" y="137"/>
                        </a:lnTo>
                        <a:lnTo>
                          <a:pt x="12212" y="27"/>
                        </a:lnTo>
                        <a:lnTo>
                          <a:pt x="12267" y="13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2" name="Freeform: Shape 3371">
                    <a:extLst>
                      <a:ext uri="{FF2B5EF4-FFF2-40B4-BE49-F238E27FC236}">
                        <a16:creationId xmlns:a16="http://schemas.microsoft.com/office/drawing/2014/main" id="{95459E53-9457-55FE-9E04-B66BEB804FAA}"/>
                      </a:ext>
                    </a:extLst>
                  </p:cNvPr>
                  <p:cNvSpPr/>
                  <p:nvPr/>
                </p:nvSpPr>
                <p:spPr>
                  <a:xfrm>
                    <a:off x="-6006422" y="3219637"/>
                    <a:ext cx="224373" cy="114766"/>
                  </a:xfrm>
                  <a:custGeom>
                    <a:avLst/>
                    <a:gdLst>
                      <a:gd name="connsiteX0" fmla="*/ 182962 w 224373"/>
                      <a:gd name="connsiteY0" fmla="*/ 6531 h 114766"/>
                      <a:gd name="connsiteX1" fmla="*/ 198742 w 224373"/>
                      <a:gd name="connsiteY1" fmla="*/ 11828 h 114766"/>
                      <a:gd name="connsiteX2" fmla="*/ 206673 w 224373"/>
                      <a:gd name="connsiteY2" fmla="*/ 8645 h 114766"/>
                      <a:gd name="connsiteX3" fmla="*/ 216196 w 224373"/>
                      <a:gd name="connsiteY3" fmla="*/ 12898 h 114766"/>
                      <a:gd name="connsiteX4" fmla="*/ 217870 w 224373"/>
                      <a:gd name="connsiteY4" fmla="*/ 17042 h 114766"/>
                      <a:gd name="connsiteX5" fmla="*/ 218172 w 224373"/>
                      <a:gd name="connsiteY5" fmla="*/ 20665 h 114766"/>
                      <a:gd name="connsiteX6" fmla="*/ 215235 w 224373"/>
                      <a:gd name="connsiteY6" fmla="*/ 24973 h 114766"/>
                      <a:gd name="connsiteX7" fmla="*/ 218913 w 224373"/>
                      <a:gd name="connsiteY7" fmla="*/ 36746 h 114766"/>
                      <a:gd name="connsiteX8" fmla="*/ 221602 w 224373"/>
                      <a:gd name="connsiteY8" fmla="*/ 39106 h 114766"/>
                      <a:gd name="connsiteX9" fmla="*/ 224374 w 224373"/>
                      <a:gd name="connsiteY9" fmla="*/ 44019 h 114766"/>
                      <a:gd name="connsiteX10" fmla="*/ 220614 w 224373"/>
                      <a:gd name="connsiteY10" fmla="*/ 56889 h 114766"/>
                      <a:gd name="connsiteX11" fmla="*/ 213835 w 224373"/>
                      <a:gd name="connsiteY11" fmla="*/ 57877 h 114766"/>
                      <a:gd name="connsiteX12" fmla="*/ 207881 w 224373"/>
                      <a:gd name="connsiteY12" fmla="*/ 55627 h 114766"/>
                      <a:gd name="connsiteX13" fmla="*/ 202639 w 224373"/>
                      <a:gd name="connsiteY13" fmla="*/ 58975 h 114766"/>
                      <a:gd name="connsiteX14" fmla="*/ 209801 w 224373"/>
                      <a:gd name="connsiteY14" fmla="*/ 61939 h 114766"/>
                      <a:gd name="connsiteX15" fmla="*/ 209225 w 224373"/>
                      <a:gd name="connsiteY15" fmla="*/ 68553 h 114766"/>
                      <a:gd name="connsiteX16" fmla="*/ 202968 w 224373"/>
                      <a:gd name="connsiteY16" fmla="*/ 72614 h 114766"/>
                      <a:gd name="connsiteX17" fmla="*/ 204423 w 224373"/>
                      <a:gd name="connsiteY17" fmla="*/ 83152 h 114766"/>
                      <a:gd name="connsiteX18" fmla="*/ 203106 w 224373"/>
                      <a:gd name="connsiteY18" fmla="*/ 87186 h 114766"/>
                      <a:gd name="connsiteX19" fmla="*/ 199071 w 224373"/>
                      <a:gd name="connsiteY19" fmla="*/ 88119 h 114766"/>
                      <a:gd name="connsiteX20" fmla="*/ 193555 w 224373"/>
                      <a:gd name="connsiteY20" fmla="*/ 93526 h 114766"/>
                      <a:gd name="connsiteX21" fmla="*/ 190098 w 224373"/>
                      <a:gd name="connsiteY21" fmla="*/ 94980 h 114766"/>
                      <a:gd name="connsiteX22" fmla="*/ 190646 w 224373"/>
                      <a:gd name="connsiteY22" fmla="*/ 101951 h 114766"/>
                      <a:gd name="connsiteX23" fmla="*/ 183923 w 224373"/>
                      <a:gd name="connsiteY23" fmla="*/ 100469 h 114766"/>
                      <a:gd name="connsiteX24" fmla="*/ 179889 w 224373"/>
                      <a:gd name="connsiteY24" fmla="*/ 100524 h 114766"/>
                      <a:gd name="connsiteX25" fmla="*/ 175443 w 224373"/>
                      <a:gd name="connsiteY25" fmla="*/ 103707 h 114766"/>
                      <a:gd name="connsiteX26" fmla="*/ 172617 w 224373"/>
                      <a:gd name="connsiteY26" fmla="*/ 102774 h 114766"/>
                      <a:gd name="connsiteX27" fmla="*/ 162710 w 224373"/>
                      <a:gd name="connsiteY27" fmla="*/ 102829 h 114766"/>
                      <a:gd name="connsiteX28" fmla="*/ 157742 w 224373"/>
                      <a:gd name="connsiteY28" fmla="*/ 104668 h 114766"/>
                      <a:gd name="connsiteX29" fmla="*/ 153928 w 224373"/>
                      <a:gd name="connsiteY29" fmla="*/ 109168 h 114766"/>
                      <a:gd name="connsiteX30" fmla="*/ 151211 w 224373"/>
                      <a:gd name="connsiteY30" fmla="*/ 111446 h 114766"/>
                      <a:gd name="connsiteX31" fmla="*/ 148000 w 224373"/>
                      <a:gd name="connsiteY31" fmla="*/ 114767 h 114766"/>
                      <a:gd name="connsiteX32" fmla="*/ 144158 w 224373"/>
                      <a:gd name="connsiteY32" fmla="*/ 111748 h 114766"/>
                      <a:gd name="connsiteX33" fmla="*/ 122945 w 224373"/>
                      <a:gd name="connsiteY33" fmla="*/ 108345 h 114766"/>
                      <a:gd name="connsiteX34" fmla="*/ 116770 w 224373"/>
                      <a:gd name="connsiteY34" fmla="*/ 106506 h 114766"/>
                      <a:gd name="connsiteX35" fmla="*/ 94047 w 224373"/>
                      <a:gd name="connsiteY35" fmla="*/ 103597 h 114766"/>
                      <a:gd name="connsiteX36" fmla="*/ 92867 w 224373"/>
                      <a:gd name="connsiteY36" fmla="*/ 102609 h 114766"/>
                      <a:gd name="connsiteX37" fmla="*/ 86610 w 224373"/>
                      <a:gd name="connsiteY37" fmla="*/ 101649 h 114766"/>
                      <a:gd name="connsiteX38" fmla="*/ 77362 w 224373"/>
                      <a:gd name="connsiteY38" fmla="*/ 91468 h 114766"/>
                      <a:gd name="connsiteX39" fmla="*/ 76758 w 224373"/>
                      <a:gd name="connsiteY39" fmla="*/ 87927 h 114766"/>
                      <a:gd name="connsiteX40" fmla="*/ 79640 w 224373"/>
                      <a:gd name="connsiteY40" fmla="*/ 84881 h 114766"/>
                      <a:gd name="connsiteX41" fmla="*/ 76566 w 224373"/>
                      <a:gd name="connsiteY41" fmla="*/ 84360 h 114766"/>
                      <a:gd name="connsiteX42" fmla="*/ 65946 w 224373"/>
                      <a:gd name="connsiteY42" fmla="*/ 88586 h 114766"/>
                      <a:gd name="connsiteX43" fmla="*/ 61637 w 224373"/>
                      <a:gd name="connsiteY43" fmla="*/ 87296 h 114766"/>
                      <a:gd name="connsiteX44" fmla="*/ 47998 w 224373"/>
                      <a:gd name="connsiteY44" fmla="*/ 89327 h 114766"/>
                      <a:gd name="connsiteX45" fmla="*/ 42976 w 224373"/>
                      <a:gd name="connsiteY45" fmla="*/ 97752 h 114766"/>
                      <a:gd name="connsiteX46" fmla="*/ 33316 w 224373"/>
                      <a:gd name="connsiteY46" fmla="*/ 93718 h 114766"/>
                      <a:gd name="connsiteX47" fmla="*/ 27580 w 224373"/>
                      <a:gd name="connsiteY47" fmla="*/ 94102 h 114766"/>
                      <a:gd name="connsiteX48" fmla="*/ 27663 w 224373"/>
                      <a:gd name="connsiteY48" fmla="*/ 90644 h 114766"/>
                      <a:gd name="connsiteX49" fmla="*/ 25385 w 224373"/>
                      <a:gd name="connsiteY49" fmla="*/ 88559 h 114766"/>
                      <a:gd name="connsiteX50" fmla="*/ 18030 w 224373"/>
                      <a:gd name="connsiteY50" fmla="*/ 94267 h 114766"/>
                      <a:gd name="connsiteX51" fmla="*/ 11169 w 224373"/>
                      <a:gd name="connsiteY51" fmla="*/ 90864 h 114766"/>
                      <a:gd name="connsiteX52" fmla="*/ 9276 w 224373"/>
                      <a:gd name="connsiteY52" fmla="*/ 87241 h 114766"/>
                      <a:gd name="connsiteX53" fmla="*/ 2251 w 224373"/>
                      <a:gd name="connsiteY53" fmla="*/ 85238 h 114766"/>
                      <a:gd name="connsiteX54" fmla="*/ 2662 w 224373"/>
                      <a:gd name="connsiteY54" fmla="*/ 81314 h 114766"/>
                      <a:gd name="connsiteX55" fmla="*/ 0 w 224373"/>
                      <a:gd name="connsiteY55" fmla="*/ 76154 h 114766"/>
                      <a:gd name="connsiteX56" fmla="*/ 3842 w 224373"/>
                      <a:gd name="connsiteY56" fmla="*/ 70419 h 114766"/>
                      <a:gd name="connsiteX57" fmla="*/ 823 w 224373"/>
                      <a:gd name="connsiteY57" fmla="*/ 64381 h 114766"/>
                      <a:gd name="connsiteX58" fmla="*/ 12843 w 224373"/>
                      <a:gd name="connsiteY58" fmla="*/ 64189 h 114766"/>
                      <a:gd name="connsiteX59" fmla="*/ 13776 w 224373"/>
                      <a:gd name="connsiteY59" fmla="*/ 66933 h 114766"/>
                      <a:gd name="connsiteX60" fmla="*/ 17152 w 224373"/>
                      <a:gd name="connsiteY60" fmla="*/ 71681 h 114766"/>
                      <a:gd name="connsiteX61" fmla="*/ 19594 w 224373"/>
                      <a:gd name="connsiteY61" fmla="*/ 71956 h 114766"/>
                      <a:gd name="connsiteX62" fmla="*/ 19018 w 224373"/>
                      <a:gd name="connsiteY62" fmla="*/ 76209 h 114766"/>
                      <a:gd name="connsiteX63" fmla="*/ 26565 w 224373"/>
                      <a:gd name="connsiteY63" fmla="*/ 70666 h 114766"/>
                      <a:gd name="connsiteX64" fmla="*/ 27169 w 224373"/>
                      <a:gd name="connsiteY64" fmla="*/ 63805 h 114766"/>
                      <a:gd name="connsiteX65" fmla="*/ 39875 w 224373"/>
                      <a:gd name="connsiteY65" fmla="*/ 64628 h 114766"/>
                      <a:gd name="connsiteX66" fmla="*/ 42948 w 224373"/>
                      <a:gd name="connsiteY66" fmla="*/ 70748 h 114766"/>
                      <a:gd name="connsiteX67" fmla="*/ 43662 w 224373"/>
                      <a:gd name="connsiteY67" fmla="*/ 70748 h 114766"/>
                      <a:gd name="connsiteX68" fmla="*/ 55572 w 224373"/>
                      <a:gd name="connsiteY68" fmla="*/ 68635 h 114766"/>
                      <a:gd name="connsiteX69" fmla="*/ 55243 w 224373"/>
                      <a:gd name="connsiteY69" fmla="*/ 66467 h 114766"/>
                      <a:gd name="connsiteX70" fmla="*/ 59661 w 224373"/>
                      <a:gd name="connsiteY70" fmla="*/ 65314 h 114766"/>
                      <a:gd name="connsiteX71" fmla="*/ 61774 w 224373"/>
                      <a:gd name="connsiteY71" fmla="*/ 62241 h 114766"/>
                      <a:gd name="connsiteX72" fmla="*/ 74371 w 224373"/>
                      <a:gd name="connsiteY72" fmla="*/ 61088 h 114766"/>
                      <a:gd name="connsiteX73" fmla="*/ 77554 w 224373"/>
                      <a:gd name="connsiteY73" fmla="*/ 60979 h 114766"/>
                      <a:gd name="connsiteX74" fmla="*/ 77938 w 224373"/>
                      <a:gd name="connsiteY74" fmla="*/ 58975 h 114766"/>
                      <a:gd name="connsiteX75" fmla="*/ 78487 w 224373"/>
                      <a:gd name="connsiteY75" fmla="*/ 57273 h 114766"/>
                      <a:gd name="connsiteX76" fmla="*/ 82521 w 224373"/>
                      <a:gd name="connsiteY76" fmla="*/ 57685 h 114766"/>
                      <a:gd name="connsiteX77" fmla="*/ 85897 w 224373"/>
                      <a:gd name="connsiteY77" fmla="*/ 58975 h 114766"/>
                      <a:gd name="connsiteX78" fmla="*/ 87296 w 224373"/>
                      <a:gd name="connsiteY78" fmla="*/ 60594 h 114766"/>
                      <a:gd name="connsiteX79" fmla="*/ 89492 w 224373"/>
                      <a:gd name="connsiteY79" fmla="*/ 60512 h 114766"/>
                      <a:gd name="connsiteX80" fmla="*/ 90178 w 224373"/>
                      <a:gd name="connsiteY80" fmla="*/ 58975 h 114766"/>
                      <a:gd name="connsiteX81" fmla="*/ 93032 w 224373"/>
                      <a:gd name="connsiteY81" fmla="*/ 58344 h 114766"/>
                      <a:gd name="connsiteX82" fmla="*/ 99728 w 224373"/>
                      <a:gd name="connsiteY82" fmla="*/ 66220 h 114766"/>
                      <a:gd name="connsiteX83" fmla="*/ 103351 w 224373"/>
                      <a:gd name="connsiteY83" fmla="*/ 65424 h 114766"/>
                      <a:gd name="connsiteX84" fmla="*/ 104311 w 224373"/>
                      <a:gd name="connsiteY84" fmla="*/ 59002 h 114766"/>
                      <a:gd name="connsiteX85" fmla="*/ 99920 w 224373"/>
                      <a:gd name="connsiteY85" fmla="*/ 56066 h 114766"/>
                      <a:gd name="connsiteX86" fmla="*/ 101512 w 224373"/>
                      <a:gd name="connsiteY86" fmla="*/ 50468 h 114766"/>
                      <a:gd name="connsiteX87" fmla="*/ 98383 w 224373"/>
                      <a:gd name="connsiteY87" fmla="*/ 46077 h 114766"/>
                      <a:gd name="connsiteX88" fmla="*/ 97916 w 224373"/>
                      <a:gd name="connsiteY88" fmla="*/ 44595 h 114766"/>
                      <a:gd name="connsiteX89" fmla="*/ 94733 w 224373"/>
                      <a:gd name="connsiteY89" fmla="*/ 39463 h 114766"/>
                      <a:gd name="connsiteX90" fmla="*/ 100387 w 224373"/>
                      <a:gd name="connsiteY90" fmla="*/ 35319 h 114766"/>
                      <a:gd name="connsiteX91" fmla="*/ 107220 w 224373"/>
                      <a:gd name="connsiteY91" fmla="*/ 31450 h 114766"/>
                      <a:gd name="connsiteX92" fmla="*/ 113587 w 224373"/>
                      <a:gd name="connsiteY92" fmla="*/ 27992 h 114766"/>
                      <a:gd name="connsiteX93" fmla="*/ 114904 w 224373"/>
                      <a:gd name="connsiteY93" fmla="*/ 20143 h 114766"/>
                      <a:gd name="connsiteX94" fmla="*/ 117099 w 224373"/>
                      <a:gd name="connsiteY94" fmla="*/ 18305 h 114766"/>
                      <a:gd name="connsiteX95" fmla="*/ 123384 w 224373"/>
                      <a:gd name="connsiteY95" fmla="*/ 21762 h 114766"/>
                      <a:gd name="connsiteX96" fmla="*/ 125799 w 224373"/>
                      <a:gd name="connsiteY96" fmla="*/ 17399 h 114766"/>
                      <a:gd name="connsiteX97" fmla="*/ 125414 w 224373"/>
                      <a:gd name="connsiteY97" fmla="*/ 12843 h 114766"/>
                      <a:gd name="connsiteX98" fmla="*/ 126704 w 224373"/>
                      <a:gd name="connsiteY98" fmla="*/ 10264 h 114766"/>
                      <a:gd name="connsiteX99" fmla="*/ 134718 w 224373"/>
                      <a:gd name="connsiteY99" fmla="*/ 18195 h 114766"/>
                      <a:gd name="connsiteX100" fmla="*/ 141496 w 224373"/>
                      <a:gd name="connsiteY100" fmla="*/ 19567 h 114766"/>
                      <a:gd name="connsiteX101" fmla="*/ 145750 w 224373"/>
                      <a:gd name="connsiteY101" fmla="*/ 16576 h 114766"/>
                      <a:gd name="connsiteX102" fmla="*/ 151732 w 224373"/>
                      <a:gd name="connsiteY102" fmla="*/ 18606 h 114766"/>
                      <a:gd name="connsiteX103" fmla="*/ 153955 w 224373"/>
                      <a:gd name="connsiteY103" fmla="*/ 12980 h 114766"/>
                      <a:gd name="connsiteX104" fmla="*/ 159059 w 224373"/>
                      <a:gd name="connsiteY104" fmla="*/ 9413 h 114766"/>
                      <a:gd name="connsiteX105" fmla="*/ 161530 w 224373"/>
                      <a:gd name="connsiteY105" fmla="*/ 0 h 114766"/>
                      <a:gd name="connsiteX106" fmla="*/ 176787 w 224373"/>
                      <a:gd name="connsiteY106" fmla="*/ 4199 h 114766"/>
                      <a:gd name="connsiteX107" fmla="*/ 182990 w 224373"/>
                      <a:gd name="connsiteY107" fmla="*/ 6696 h 11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24373" h="114766">
                        <a:moveTo>
                          <a:pt x="182962" y="6531"/>
                        </a:moveTo>
                        <a:lnTo>
                          <a:pt x="198742" y="11828"/>
                        </a:lnTo>
                        <a:lnTo>
                          <a:pt x="206673" y="8645"/>
                        </a:lnTo>
                        <a:lnTo>
                          <a:pt x="216196" y="12898"/>
                        </a:lnTo>
                        <a:lnTo>
                          <a:pt x="217870" y="17042"/>
                        </a:lnTo>
                        <a:lnTo>
                          <a:pt x="218172" y="20665"/>
                        </a:lnTo>
                        <a:lnTo>
                          <a:pt x="215235" y="24973"/>
                        </a:lnTo>
                        <a:lnTo>
                          <a:pt x="218913" y="36746"/>
                        </a:lnTo>
                        <a:lnTo>
                          <a:pt x="221602" y="39106"/>
                        </a:lnTo>
                        <a:lnTo>
                          <a:pt x="224374" y="44019"/>
                        </a:lnTo>
                        <a:lnTo>
                          <a:pt x="220614" y="56889"/>
                        </a:lnTo>
                        <a:lnTo>
                          <a:pt x="213835" y="57877"/>
                        </a:lnTo>
                        <a:lnTo>
                          <a:pt x="207881" y="55627"/>
                        </a:lnTo>
                        <a:lnTo>
                          <a:pt x="202639" y="58975"/>
                        </a:lnTo>
                        <a:lnTo>
                          <a:pt x="209801" y="61939"/>
                        </a:lnTo>
                        <a:lnTo>
                          <a:pt x="209225" y="68553"/>
                        </a:lnTo>
                        <a:lnTo>
                          <a:pt x="202968" y="72614"/>
                        </a:lnTo>
                        <a:lnTo>
                          <a:pt x="204423" y="83152"/>
                        </a:lnTo>
                        <a:lnTo>
                          <a:pt x="203106" y="87186"/>
                        </a:lnTo>
                        <a:lnTo>
                          <a:pt x="199071" y="88119"/>
                        </a:lnTo>
                        <a:lnTo>
                          <a:pt x="193555" y="93526"/>
                        </a:lnTo>
                        <a:lnTo>
                          <a:pt x="190098" y="94980"/>
                        </a:lnTo>
                        <a:lnTo>
                          <a:pt x="190646" y="101951"/>
                        </a:lnTo>
                        <a:lnTo>
                          <a:pt x="183923" y="100469"/>
                        </a:lnTo>
                        <a:lnTo>
                          <a:pt x="179889" y="100524"/>
                        </a:lnTo>
                        <a:lnTo>
                          <a:pt x="175443" y="103707"/>
                        </a:lnTo>
                        <a:lnTo>
                          <a:pt x="172617" y="102774"/>
                        </a:lnTo>
                        <a:lnTo>
                          <a:pt x="162710" y="102829"/>
                        </a:lnTo>
                        <a:lnTo>
                          <a:pt x="157742" y="104668"/>
                        </a:lnTo>
                        <a:lnTo>
                          <a:pt x="153928" y="109168"/>
                        </a:lnTo>
                        <a:lnTo>
                          <a:pt x="151211" y="111446"/>
                        </a:lnTo>
                        <a:lnTo>
                          <a:pt x="148000" y="114767"/>
                        </a:lnTo>
                        <a:lnTo>
                          <a:pt x="144158" y="111748"/>
                        </a:lnTo>
                        <a:lnTo>
                          <a:pt x="122945" y="108345"/>
                        </a:lnTo>
                        <a:lnTo>
                          <a:pt x="116770" y="106506"/>
                        </a:lnTo>
                        <a:lnTo>
                          <a:pt x="94047" y="103597"/>
                        </a:lnTo>
                        <a:lnTo>
                          <a:pt x="92867" y="102609"/>
                        </a:lnTo>
                        <a:lnTo>
                          <a:pt x="86610" y="101649"/>
                        </a:lnTo>
                        <a:lnTo>
                          <a:pt x="77362" y="91468"/>
                        </a:lnTo>
                        <a:lnTo>
                          <a:pt x="76758" y="87927"/>
                        </a:lnTo>
                        <a:lnTo>
                          <a:pt x="79640" y="84881"/>
                        </a:lnTo>
                        <a:lnTo>
                          <a:pt x="76566" y="84360"/>
                        </a:lnTo>
                        <a:lnTo>
                          <a:pt x="65946" y="88586"/>
                        </a:lnTo>
                        <a:lnTo>
                          <a:pt x="61637" y="87296"/>
                        </a:lnTo>
                        <a:lnTo>
                          <a:pt x="47998" y="89327"/>
                        </a:lnTo>
                        <a:lnTo>
                          <a:pt x="42976" y="97752"/>
                        </a:lnTo>
                        <a:lnTo>
                          <a:pt x="33316" y="93718"/>
                        </a:lnTo>
                        <a:lnTo>
                          <a:pt x="27580" y="94102"/>
                        </a:lnTo>
                        <a:lnTo>
                          <a:pt x="27663" y="90644"/>
                        </a:lnTo>
                        <a:lnTo>
                          <a:pt x="25385" y="88559"/>
                        </a:lnTo>
                        <a:lnTo>
                          <a:pt x="18030" y="94267"/>
                        </a:lnTo>
                        <a:lnTo>
                          <a:pt x="11169" y="90864"/>
                        </a:lnTo>
                        <a:lnTo>
                          <a:pt x="9276" y="87241"/>
                        </a:lnTo>
                        <a:lnTo>
                          <a:pt x="2251" y="85238"/>
                        </a:lnTo>
                        <a:lnTo>
                          <a:pt x="2662" y="81314"/>
                        </a:lnTo>
                        <a:lnTo>
                          <a:pt x="0" y="76154"/>
                        </a:lnTo>
                        <a:lnTo>
                          <a:pt x="3842" y="70419"/>
                        </a:lnTo>
                        <a:lnTo>
                          <a:pt x="823" y="64381"/>
                        </a:lnTo>
                        <a:lnTo>
                          <a:pt x="12843" y="64189"/>
                        </a:lnTo>
                        <a:lnTo>
                          <a:pt x="13776" y="66933"/>
                        </a:lnTo>
                        <a:lnTo>
                          <a:pt x="17152" y="71681"/>
                        </a:lnTo>
                        <a:lnTo>
                          <a:pt x="19594" y="71956"/>
                        </a:lnTo>
                        <a:lnTo>
                          <a:pt x="19018" y="76209"/>
                        </a:lnTo>
                        <a:lnTo>
                          <a:pt x="26565" y="70666"/>
                        </a:lnTo>
                        <a:lnTo>
                          <a:pt x="27169" y="63805"/>
                        </a:lnTo>
                        <a:lnTo>
                          <a:pt x="39875" y="64628"/>
                        </a:lnTo>
                        <a:lnTo>
                          <a:pt x="42948" y="70748"/>
                        </a:lnTo>
                        <a:lnTo>
                          <a:pt x="43662" y="70748"/>
                        </a:lnTo>
                        <a:lnTo>
                          <a:pt x="55572" y="68635"/>
                        </a:lnTo>
                        <a:lnTo>
                          <a:pt x="55243" y="66467"/>
                        </a:lnTo>
                        <a:lnTo>
                          <a:pt x="59661" y="65314"/>
                        </a:lnTo>
                        <a:lnTo>
                          <a:pt x="61774" y="62241"/>
                        </a:lnTo>
                        <a:lnTo>
                          <a:pt x="74371" y="61088"/>
                        </a:lnTo>
                        <a:lnTo>
                          <a:pt x="77554" y="60979"/>
                        </a:lnTo>
                        <a:lnTo>
                          <a:pt x="77938" y="58975"/>
                        </a:lnTo>
                        <a:lnTo>
                          <a:pt x="78487" y="57273"/>
                        </a:lnTo>
                        <a:lnTo>
                          <a:pt x="82521" y="57685"/>
                        </a:lnTo>
                        <a:lnTo>
                          <a:pt x="85897" y="58975"/>
                        </a:lnTo>
                        <a:lnTo>
                          <a:pt x="87296" y="60594"/>
                        </a:lnTo>
                        <a:lnTo>
                          <a:pt x="89492" y="60512"/>
                        </a:lnTo>
                        <a:lnTo>
                          <a:pt x="90178" y="58975"/>
                        </a:lnTo>
                        <a:lnTo>
                          <a:pt x="93032" y="58344"/>
                        </a:lnTo>
                        <a:lnTo>
                          <a:pt x="99728" y="66220"/>
                        </a:lnTo>
                        <a:lnTo>
                          <a:pt x="103351" y="65424"/>
                        </a:lnTo>
                        <a:lnTo>
                          <a:pt x="104311" y="59002"/>
                        </a:lnTo>
                        <a:lnTo>
                          <a:pt x="99920" y="56066"/>
                        </a:lnTo>
                        <a:lnTo>
                          <a:pt x="101512" y="50468"/>
                        </a:lnTo>
                        <a:lnTo>
                          <a:pt x="98383" y="46077"/>
                        </a:lnTo>
                        <a:lnTo>
                          <a:pt x="97916" y="44595"/>
                        </a:lnTo>
                        <a:lnTo>
                          <a:pt x="94733" y="39463"/>
                        </a:lnTo>
                        <a:lnTo>
                          <a:pt x="100387" y="35319"/>
                        </a:lnTo>
                        <a:lnTo>
                          <a:pt x="107220" y="31450"/>
                        </a:lnTo>
                        <a:lnTo>
                          <a:pt x="113587" y="27992"/>
                        </a:lnTo>
                        <a:lnTo>
                          <a:pt x="114904" y="20143"/>
                        </a:lnTo>
                        <a:lnTo>
                          <a:pt x="117099" y="18305"/>
                        </a:lnTo>
                        <a:lnTo>
                          <a:pt x="123384" y="21762"/>
                        </a:lnTo>
                        <a:lnTo>
                          <a:pt x="125799" y="17399"/>
                        </a:lnTo>
                        <a:lnTo>
                          <a:pt x="125414" y="12843"/>
                        </a:lnTo>
                        <a:lnTo>
                          <a:pt x="126704" y="10264"/>
                        </a:lnTo>
                        <a:lnTo>
                          <a:pt x="134718" y="18195"/>
                        </a:lnTo>
                        <a:lnTo>
                          <a:pt x="141496" y="19567"/>
                        </a:lnTo>
                        <a:lnTo>
                          <a:pt x="145750" y="16576"/>
                        </a:lnTo>
                        <a:lnTo>
                          <a:pt x="151732" y="18606"/>
                        </a:lnTo>
                        <a:lnTo>
                          <a:pt x="153955" y="12980"/>
                        </a:lnTo>
                        <a:lnTo>
                          <a:pt x="159059" y="9413"/>
                        </a:lnTo>
                        <a:lnTo>
                          <a:pt x="161530" y="0"/>
                        </a:lnTo>
                        <a:lnTo>
                          <a:pt x="176787" y="4199"/>
                        </a:lnTo>
                        <a:lnTo>
                          <a:pt x="182990" y="669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3" name="Freeform: Shape 3372">
                    <a:extLst>
                      <a:ext uri="{FF2B5EF4-FFF2-40B4-BE49-F238E27FC236}">
                        <a16:creationId xmlns:a16="http://schemas.microsoft.com/office/drawing/2014/main" id="{BC3BF563-FE83-D95A-DA69-DCDDBD5CE4BC}"/>
                      </a:ext>
                    </a:extLst>
                  </p:cNvPr>
                  <p:cNvSpPr/>
                  <p:nvPr/>
                </p:nvSpPr>
                <p:spPr>
                  <a:xfrm>
                    <a:off x="-6244380" y="3488276"/>
                    <a:ext cx="10126" cy="7931"/>
                  </a:xfrm>
                  <a:custGeom>
                    <a:avLst/>
                    <a:gdLst>
                      <a:gd name="connsiteX0" fmla="*/ 10126 w 10126"/>
                      <a:gd name="connsiteY0" fmla="*/ 2772 h 7931"/>
                      <a:gd name="connsiteX1" fmla="*/ 8343 w 10126"/>
                      <a:gd name="connsiteY1" fmla="*/ 5544 h 7931"/>
                      <a:gd name="connsiteX2" fmla="*/ 768 w 10126"/>
                      <a:gd name="connsiteY2" fmla="*/ 7931 h 7931"/>
                      <a:gd name="connsiteX3" fmla="*/ 0 w 10126"/>
                      <a:gd name="connsiteY3" fmla="*/ 1564 h 7931"/>
                      <a:gd name="connsiteX4" fmla="*/ 1839 w 10126"/>
                      <a:gd name="connsiteY4" fmla="*/ 412 h 7931"/>
                      <a:gd name="connsiteX5" fmla="*/ 2470 w 10126"/>
                      <a:gd name="connsiteY5" fmla="*/ 0 h 7931"/>
                      <a:gd name="connsiteX6" fmla="*/ 3568 w 10126"/>
                      <a:gd name="connsiteY6" fmla="*/ 412 h 7931"/>
                      <a:gd name="connsiteX7" fmla="*/ 10099 w 10126"/>
                      <a:gd name="connsiteY7" fmla="*/ 2772 h 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26" h="7931">
                        <a:moveTo>
                          <a:pt x="10126" y="2772"/>
                        </a:moveTo>
                        <a:lnTo>
                          <a:pt x="8343" y="5544"/>
                        </a:lnTo>
                        <a:lnTo>
                          <a:pt x="768" y="7931"/>
                        </a:lnTo>
                        <a:lnTo>
                          <a:pt x="0" y="1564"/>
                        </a:lnTo>
                        <a:lnTo>
                          <a:pt x="1839" y="412"/>
                        </a:lnTo>
                        <a:lnTo>
                          <a:pt x="2470" y="0"/>
                        </a:lnTo>
                        <a:lnTo>
                          <a:pt x="3568" y="412"/>
                        </a:lnTo>
                        <a:lnTo>
                          <a:pt x="10099" y="277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4" name="Freeform: Shape 3373">
                    <a:extLst>
                      <a:ext uri="{FF2B5EF4-FFF2-40B4-BE49-F238E27FC236}">
                        <a16:creationId xmlns:a16="http://schemas.microsoft.com/office/drawing/2014/main" id="{BEED53D6-E3ED-4C5E-ED8C-CD8CD1DB17CF}"/>
                      </a:ext>
                    </a:extLst>
                  </p:cNvPr>
                  <p:cNvSpPr/>
                  <p:nvPr/>
                </p:nvSpPr>
                <p:spPr>
                  <a:xfrm>
                    <a:off x="-5605013" y="2871440"/>
                    <a:ext cx="280248" cy="243501"/>
                  </a:xfrm>
                  <a:custGeom>
                    <a:avLst/>
                    <a:gdLst>
                      <a:gd name="connsiteX0" fmla="*/ 253134 w 280248"/>
                      <a:gd name="connsiteY0" fmla="*/ 204011 h 243501"/>
                      <a:gd name="connsiteX1" fmla="*/ 249621 w 280248"/>
                      <a:gd name="connsiteY1" fmla="*/ 203847 h 243501"/>
                      <a:gd name="connsiteX2" fmla="*/ 228710 w 280248"/>
                      <a:gd name="connsiteY2" fmla="*/ 205768 h 243501"/>
                      <a:gd name="connsiteX3" fmla="*/ 216361 w 280248"/>
                      <a:gd name="connsiteY3" fmla="*/ 225554 h 243501"/>
                      <a:gd name="connsiteX4" fmla="*/ 219379 w 280248"/>
                      <a:gd name="connsiteY4" fmla="*/ 239660 h 243501"/>
                      <a:gd name="connsiteX5" fmla="*/ 215839 w 280248"/>
                      <a:gd name="connsiteY5" fmla="*/ 243502 h 243501"/>
                      <a:gd name="connsiteX6" fmla="*/ 205987 w 280248"/>
                      <a:gd name="connsiteY6" fmla="*/ 233156 h 243501"/>
                      <a:gd name="connsiteX7" fmla="*/ 195449 w 280248"/>
                      <a:gd name="connsiteY7" fmla="*/ 235378 h 243501"/>
                      <a:gd name="connsiteX8" fmla="*/ 191415 w 280248"/>
                      <a:gd name="connsiteY8" fmla="*/ 232250 h 243501"/>
                      <a:gd name="connsiteX9" fmla="*/ 181096 w 280248"/>
                      <a:gd name="connsiteY9" fmla="*/ 238040 h 243501"/>
                      <a:gd name="connsiteX10" fmla="*/ 174510 w 280248"/>
                      <a:gd name="connsiteY10" fmla="*/ 226542 h 243501"/>
                      <a:gd name="connsiteX11" fmla="*/ 166799 w 280248"/>
                      <a:gd name="connsiteY11" fmla="*/ 229807 h 243501"/>
                      <a:gd name="connsiteX12" fmla="*/ 162545 w 280248"/>
                      <a:gd name="connsiteY12" fmla="*/ 234857 h 243501"/>
                      <a:gd name="connsiteX13" fmla="*/ 159608 w 280248"/>
                      <a:gd name="connsiteY13" fmla="*/ 229780 h 243501"/>
                      <a:gd name="connsiteX14" fmla="*/ 152254 w 280248"/>
                      <a:gd name="connsiteY14" fmla="*/ 230247 h 243501"/>
                      <a:gd name="connsiteX15" fmla="*/ 148768 w 280248"/>
                      <a:gd name="connsiteY15" fmla="*/ 225252 h 243501"/>
                      <a:gd name="connsiteX16" fmla="*/ 142320 w 280248"/>
                      <a:gd name="connsiteY16" fmla="*/ 229917 h 243501"/>
                      <a:gd name="connsiteX17" fmla="*/ 137626 w 280248"/>
                      <a:gd name="connsiteY17" fmla="*/ 227914 h 243501"/>
                      <a:gd name="connsiteX18" fmla="*/ 134032 w 280248"/>
                      <a:gd name="connsiteY18" fmla="*/ 233513 h 243501"/>
                      <a:gd name="connsiteX19" fmla="*/ 132440 w 280248"/>
                      <a:gd name="connsiteY19" fmla="*/ 232003 h 243501"/>
                      <a:gd name="connsiteX20" fmla="*/ 132550 w 280248"/>
                      <a:gd name="connsiteY20" fmla="*/ 228298 h 243501"/>
                      <a:gd name="connsiteX21" fmla="*/ 120832 w 280248"/>
                      <a:gd name="connsiteY21" fmla="*/ 227420 h 243501"/>
                      <a:gd name="connsiteX22" fmla="*/ 117209 w 280248"/>
                      <a:gd name="connsiteY22" fmla="*/ 220340 h 243501"/>
                      <a:gd name="connsiteX23" fmla="*/ 108866 w 280248"/>
                      <a:gd name="connsiteY23" fmla="*/ 221438 h 243501"/>
                      <a:gd name="connsiteX24" fmla="*/ 79832 w 280248"/>
                      <a:gd name="connsiteY24" fmla="*/ 213150 h 243501"/>
                      <a:gd name="connsiteX25" fmla="*/ 76730 w 280248"/>
                      <a:gd name="connsiteY25" fmla="*/ 211997 h 243501"/>
                      <a:gd name="connsiteX26" fmla="*/ 65781 w 280248"/>
                      <a:gd name="connsiteY26" fmla="*/ 212985 h 243501"/>
                      <a:gd name="connsiteX27" fmla="*/ 59469 w 280248"/>
                      <a:gd name="connsiteY27" fmla="*/ 210817 h 243501"/>
                      <a:gd name="connsiteX28" fmla="*/ 52635 w 280248"/>
                      <a:gd name="connsiteY28" fmla="*/ 213891 h 243501"/>
                      <a:gd name="connsiteX29" fmla="*/ 35786 w 280248"/>
                      <a:gd name="connsiteY29" fmla="*/ 214989 h 243501"/>
                      <a:gd name="connsiteX30" fmla="*/ 33425 w 280248"/>
                      <a:gd name="connsiteY30" fmla="*/ 217431 h 243501"/>
                      <a:gd name="connsiteX31" fmla="*/ 32712 w 280248"/>
                      <a:gd name="connsiteY31" fmla="*/ 222014 h 243501"/>
                      <a:gd name="connsiteX32" fmla="*/ 24424 w 280248"/>
                      <a:gd name="connsiteY32" fmla="*/ 228765 h 243501"/>
                      <a:gd name="connsiteX33" fmla="*/ 21076 w 280248"/>
                      <a:gd name="connsiteY33" fmla="*/ 228408 h 243501"/>
                      <a:gd name="connsiteX34" fmla="*/ 17207 w 280248"/>
                      <a:gd name="connsiteY34" fmla="*/ 225362 h 243501"/>
                      <a:gd name="connsiteX35" fmla="*/ 13393 w 280248"/>
                      <a:gd name="connsiteY35" fmla="*/ 226734 h 243501"/>
                      <a:gd name="connsiteX36" fmla="*/ 13831 w 280248"/>
                      <a:gd name="connsiteY36" fmla="*/ 231701 h 243501"/>
                      <a:gd name="connsiteX37" fmla="*/ 12898 w 280248"/>
                      <a:gd name="connsiteY37" fmla="*/ 232552 h 243501"/>
                      <a:gd name="connsiteX38" fmla="*/ 10785 w 280248"/>
                      <a:gd name="connsiteY38" fmla="*/ 222425 h 243501"/>
                      <a:gd name="connsiteX39" fmla="*/ 12926 w 280248"/>
                      <a:gd name="connsiteY39" fmla="*/ 218968 h 243501"/>
                      <a:gd name="connsiteX40" fmla="*/ 14160 w 280248"/>
                      <a:gd name="connsiteY40" fmla="*/ 206975 h 243501"/>
                      <a:gd name="connsiteX41" fmla="*/ 0 w 280248"/>
                      <a:gd name="connsiteY41" fmla="*/ 195696 h 243501"/>
                      <a:gd name="connsiteX42" fmla="*/ 8288 w 280248"/>
                      <a:gd name="connsiteY42" fmla="*/ 183292 h 243501"/>
                      <a:gd name="connsiteX43" fmla="*/ 21296 w 280248"/>
                      <a:gd name="connsiteY43" fmla="*/ 175690 h 243501"/>
                      <a:gd name="connsiteX44" fmla="*/ 21707 w 280248"/>
                      <a:gd name="connsiteY44" fmla="*/ 165564 h 243501"/>
                      <a:gd name="connsiteX45" fmla="*/ 20116 w 280248"/>
                      <a:gd name="connsiteY45" fmla="*/ 151074 h 243501"/>
                      <a:gd name="connsiteX46" fmla="*/ 12075 w 280248"/>
                      <a:gd name="connsiteY46" fmla="*/ 126649 h 243501"/>
                      <a:gd name="connsiteX47" fmla="*/ 9907 w 280248"/>
                      <a:gd name="connsiteY47" fmla="*/ 113669 h 243501"/>
                      <a:gd name="connsiteX48" fmla="*/ 29693 w 280248"/>
                      <a:gd name="connsiteY48" fmla="*/ 113422 h 243501"/>
                      <a:gd name="connsiteX49" fmla="*/ 36280 w 280248"/>
                      <a:gd name="connsiteY49" fmla="*/ 116248 h 243501"/>
                      <a:gd name="connsiteX50" fmla="*/ 42564 w 280248"/>
                      <a:gd name="connsiteY50" fmla="*/ 111419 h 243501"/>
                      <a:gd name="connsiteX51" fmla="*/ 47257 w 280248"/>
                      <a:gd name="connsiteY51" fmla="*/ 111748 h 243501"/>
                      <a:gd name="connsiteX52" fmla="*/ 48766 w 280248"/>
                      <a:gd name="connsiteY52" fmla="*/ 104036 h 243501"/>
                      <a:gd name="connsiteX53" fmla="*/ 55847 w 280248"/>
                      <a:gd name="connsiteY53" fmla="*/ 104036 h 243501"/>
                      <a:gd name="connsiteX54" fmla="*/ 60594 w 280248"/>
                      <a:gd name="connsiteY54" fmla="*/ 98877 h 243501"/>
                      <a:gd name="connsiteX55" fmla="*/ 68031 w 280248"/>
                      <a:gd name="connsiteY55" fmla="*/ 96572 h 243501"/>
                      <a:gd name="connsiteX56" fmla="*/ 69815 w 280248"/>
                      <a:gd name="connsiteY56" fmla="*/ 98191 h 243501"/>
                      <a:gd name="connsiteX57" fmla="*/ 70199 w 280248"/>
                      <a:gd name="connsiteY57" fmla="*/ 103543 h 243501"/>
                      <a:gd name="connsiteX58" fmla="*/ 76264 w 280248"/>
                      <a:gd name="connsiteY58" fmla="*/ 102664 h 243501"/>
                      <a:gd name="connsiteX59" fmla="*/ 75989 w 280248"/>
                      <a:gd name="connsiteY59" fmla="*/ 99453 h 243501"/>
                      <a:gd name="connsiteX60" fmla="*/ 70473 w 280248"/>
                      <a:gd name="connsiteY60" fmla="*/ 93581 h 243501"/>
                      <a:gd name="connsiteX61" fmla="*/ 75523 w 280248"/>
                      <a:gd name="connsiteY61" fmla="*/ 82055 h 243501"/>
                      <a:gd name="connsiteX62" fmla="*/ 75660 w 280248"/>
                      <a:gd name="connsiteY62" fmla="*/ 70803 h 243501"/>
                      <a:gd name="connsiteX63" fmla="*/ 79942 w 280248"/>
                      <a:gd name="connsiteY63" fmla="*/ 64217 h 243501"/>
                      <a:gd name="connsiteX64" fmla="*/ 88476 w 280248"/>
                      <a:gd name="connsiteY64" fmla="*/ 61006 h 243501"/>
                      <a:gd name="connsiteX65" fmla="*/ 92209 w 280248"/>
                      <a:gd name="connsiteY65" fmla="*/ 54008 h 243501"/>
                      <a:gd name="connsiteX66" fmla="*/ 102636 w 280248"/>
                      <a:gd name="connsiteY66" fmla="*/ 52471 h 243501"/>
                      <a:gd name="connsiteX67" fmla="*/ 104914 w 280248"/>
                      <a:gd name="connsiteY67" fmla="*/ 47806 h 243501"/>
                      <a:gd name="connsiteX68" fmla="*/ 104585 w 280248"/>
                      <a:gd name="connsiteY68" fmla="*/ 44815 h 243501"/>
                      <a:gd name="connsiteX69" fmla="*/ 98602 w 280248"/>
                      <a:gd name="connsiteY69" fmla="*/ 41631 h 243501"/>
                      <a:gd name="connsiteX70" fmla="*/ 101594 w 280248"/>
                      <a:gd name="connsiteY70" fmla="*/ 25687 h 243501"/>
                      <a:gd name="connsiteX71" fmla="*/ 107055 w 280248"/>
                      <a:gd name="connsiteY71" fmla="*/ 25001 h 243501"/>
                      <a:gd name="connsiteX72" fmla="*/ 115343 w 280248"/>
                      <a:gd name="connsiteY72" fmla="*/ 17262 h 243501"/>
                      <a:gd name="connsiteX73" fmla="*/ 129723 w 280248"/>
                      <a:gd name="connsiteY73" fmla="*/ 19704 h 243501"/>
                      <a:gd name="connsiteX74" fmla="*/ 132357 w 280248"/>
                      <a:gd name="connsiteY74" fmla="*/ 12459 h 243501"/>
                      <a:gd name="connsiteX75" fmla="*/ 146436 w 280248"/>
                      <a:gd name="connsiteY75" fmla="*/ 0 h 243501"/>
                      <a:gd name="connsiteX76" fmla="*/ 150991 w 280248"/>
                      <a:gd name="connsiteY76" fmla="*/ 4940 h 243501"/>
                      <a:gd name="connsiteX77" fmla="*/ 159993 w 280248"/>
                      <a:gd name="connsiteY77" fmla="*/ 4666 h 243501"/>
                      <a:gd name="connsiteX78" fmla="*/ 165069 w 280248"/>
                      <a:gd name="connsiteY78" fmla="*/ 10566 h 243501"/>
                      <a:gd name="connsiteX79" fmla="*/ 173193 w 280248"/>
                      <a:gd name="connsiteY79" fmla="*/ 7904 h 243501"/>
                      <a:gd name="connsiteX80" fmla="*/ 181810 w 280248"/>
                      <a:gd name="connsiteY80" fmla="*/ 10868 h 243501"/>
                      <a:gd name="connsiteX81" fmla="*/ 183566 w 280248"/>
                      <a:gd name="connsiteY81" fmla="*/ 13639 h 243501"/>
                      <a:gd name="connsiteX82" fmla="*/ 183072 w 280248"/>
                      <a:gd name="connsiteY82" fmla="*/ 20198 h 243501"/>
                      <a:gd name="connsiteX83" fmla="*/ 185871 w 280248"/>
                      <a:gd name="connsiteY83" fmla="*/ 23903 h 243501"/>
                      <a:gd name="connsiteX84" fmla="*/ 198138 w 280248"/>
                      <a:gd name="connsiteY84" fmla="*/ 17317 h 243501"/>
                      <a:gd name="connsiteX85" fmla="*/ 207277 w 280248"/>
                      <a:gd name="connsiteY85" fmla="*/ 16823 h 243501"/>
                      <a:gd name="connsiteX86" fmla="*/ 214796 w 280248"/>
                      <a:gd name="connsiteY86" fmla="*/ 19869 h 243501"/>
                      <a:gd name="connsiteX87" fmla="*/ 222068 w 280248"/>
                      <a:gd name="connsiteY87" fmla="*/ 28458 h 243501"/>
                      <a:gd name="connsiteX88" fmla="*/ 227118 w 280248"/>
                      <a:gd name="connsiteY88" fmla="*/ 30764 h 243501"/>
                      <a:gd name="connsiteX89" fmla="*/ 227859 w 280248"/>
                      <a:gd name="connsiteY89" fmla="*/ 38146 h 243501"/>
                      <a:gd name="connsiteX90" fmla="*/ 225938 w 280248"/>
                      <a:gd name="connsiteY90" fmla="*/ 46489 h 243501"/>
                      <a:gd name="connsiteX91" fmla="*/ 229890 w 280248"/>
                      <a:gd name="connsiteY91" fmla="*/ 57987 h 243501"/>
                      <a:gd name="connsiteX92" fmla="*/ 225691 w 280248"/>
                      <a:gd name="connsiteY92" fmla="*/ 65973 h 243501"/>
                      <a:gd name="connsiteX93" fmla="*/ 225225 w 280248"/>
                      <a:gd name="connsiteY93" fmla="*/ 71434 h 243501"/>
                      <a:gd name="connsiteX94" fmla="*/ 232250 w 280248"/>
                      <a:gd name="connsiteY94" fmla="*/ 78762 h 243501"/>
                      <a:gd name="connsiteX95" fmla="*/ 233869 w 280248"/>
                      <a:gd name="connsiteY95" fmla="*/ 86198 h 243501"/>
                      <a:gd name="connsiteX96" fmla="*/ 240895 w 280248"/>
                      <a:gd name="connsiteY96" fmla="*/ 99508 h 243501"/>
                      <a:gd name="connsiteX97" fmla="*/ 253957 w 280248"/>
                      <a:gd name="connsiteY97" fmla="*/ 108702 h 243501"/>
                      <a:gd name="connsiteX98" fmla="*/ 254040 w 280248"/>
                      <a:gd name="connsiteY98" fmla="*/ 120722 h 243501"/>
                      <a:gd name="connsiteX99" fmla="*/ 263508 w 280248"/>
                      <a:gd name="connsiteY99" fmla="*/ 121216 h 243501"/>
                      <a:gd name="connsiteX100" fmla="*/ 272207 w 280248"/>
                      <a:gd name="connsiteY100" fmla="*/ 125771 h 243501"/>
                      <a:gd name="connsiteX101" fmla="*/ 274128 w 280248"/>
                      <a:gd name="connsiteY101" fmla="*/ 133538 h 243501"/>
                      <a:gd name="connsiteX102" fmla="*/ 280248 w 280248"/>
                      <a:gd name="connsiteY102" fmla="*/ 140261 h 243501"/>
                      <a:gd name="connsiteX103" fmla="*/ 272344 w 280248"/>
                      <a:gd name="connsiteY103" fmla="*/ 150689 h 243501"/>
                      <a:gd name="connsiteX104" fmla="*/ 262684 w 280248"/>
                      <a:gd name="connsiteY104" fmla="*/ 156068 h 243501"/>
                      <a:gd name="connsiteX105" fmla="*/ 256098 w 280248"/>
                      <a:gd name="connsiteY105" fmla="*/ 155355 h 243501"/>
                      <a:gd name="connsiteX106" fmla="*/ 248716 w 280248"/>
                      <a:gd name="connsiteY106" fmla="*/ 150552 h 243501"/>
                      <a:gd name="connsiteX107" fmla="*/ 241498 w 280248"/>
                      <a:gd name="connsiteY107" fmla="*/ 153544 h 243501"/>
                      <a:gd name="connsiteX108" fmla="*/ 239275 w 280248"/>
                      <a:gd name="connsiteY108" fmla="*/ 160624 h 243501"/>
                      <a:gd name="connsiteX109" fmla="*/ 246026 w 280248"/>
                      <a:gd name="connsiteY109" fmla="*/ 170531 h 243501"/>
                      <a:gd name="connsiteX110" fmla="*/ 245917 w 280248"/>
                      <a:gd name="connsiteY110" fmla="*/ 178105 h 243501"/>
                      <a:gd name="connsiteX111" fmla="*/ 249155 w 280248"/>
                      <a:gd name="connsiteY111" fmla="*/ 194598 h 243501"/>
                      <a:gd name="connsiteX112" fmla="*/ 253216 w 280248"/>
                      <a:gd name="connsiteY112" fmla="*/ 204039 h 2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280248" h="243501">
                        <a:moveTo>
                          <a:pt x="253134" y="204011"/>
                        </a:moveTo>
                        <a:lnTo>
                          <a:pt x="249621" y="203847"/>
                        </a:lnTo>
                        <a:lnTo>
                          <a:pt x="228710" y="205768"/>
                        </a:lnTo>
                        <a:lnTo>
                          <a:pt x="216361" y="225554"/>
                        </a:lnTo>
                        <a:lnTo>
                          <a:pt x="219379" y="239660"/>
                        </a:lnTo>
                        <a:lnTo>
                          <a:pt x="215839" y="243502"/>
                        </a:lnTo>
                        <a:lnTo>
                          <a:pt x="205987" y="233156"/>
                        </a:lnTo>
                        <a:lnTo>
                          <a:pt x="195449" y="235378"/>
                        </a:lnTo>
                        <a:lnTo>
                          <a:pt x="191415" y="232250"/>
                        </a:lnTo>
                        <a:lnTo>
                          <a:pt x="181096" y="238040"/>
                        </a:lnTo>
                        <a:lnTo>
                          <a:pt x="174510" y="226542"/>
                        </a:lnTo>
                        <a:lnTo>
                          <a:pt x="166799" y="229807"/>
                        </a:lnTo>
                        <a:lnTo>
                          <a:pt x="162545" y="234857"/>
                        </a:lnTo>
                        <a:lnTo>
                          <a:pt x="159608" y="229780"/>
                        </a:lnTo>
                        <a:lnTo>
                          <a:pt x="152254" y="230247"/>
                        </a:lnTo>
                        <a:lnTo>
                          <a:pt x="148768" y="225252"/>
                        </a:lnTo>
                        <a:lnTo>
                          <a:pt x="142320" y="229917"/>
                        </a:lnTo>
                        <a:lnTo>
                          <a:pt x="137626" y="227914"/>
                        </a:lnTo>
                        <a:lnTo>
                          <a:pt x="134032" y="233513"/>
                        </a:lnTo>
                        <a:lnTo>
                          <a:pt x="132440" y="232003"/>
                        </a:lnTo>
                        <a:lnTo>
                          <a:pt x="132550" y="228298"/>
                        </a:lnTo>
                        <a:lnTo>
                          <a:pt x="120832" y="227420"/>
                        </a:lnTo>
                        <a:lnTo>
                          <a:pt x="117209" y="220340"/>
                        </a:lnTo>
                        <a:lnTo>
                          <a:pt x="108866" y="221438"/>
                        </a:lnTo>
                        <a:lnTo>
                          <a:pt x="79832" y="213150"/>
                        </a:lnTo>
                        <a:lnTo>
                          <a:pt x="76730" y="211997"/>
                        </a:lnTo>
                        <a:lnTo>
                          <a:pt x="65781" y="212985"/>
                        </a:lnTo>
                        <a:lnTo>
                          <a:pt x="59469" y="210817"/>
                        </a:lnTo>
                        <a:lnTo>
                          <a:pt x="52635" y="213891"/>
                        </a:lnTo>
                        <a:lnTo>
                          <a:pt x="35786" y="214989"/>
                        </a:lnTo>
                        <a:lnTo>
                          <a:pt x="33425" y="217431"/>
                        </a:lnTo>
                        <a:lnTo>
                          <a:pt x="32712" y="222014"/>
                        </a:lnTo>
                        <a:lnTo>
                          <a:pt x="24424" y="228765"/>
                        </a:lnTo>
                        <a:lnTo>
                          <a:pt x="21076" y="228408"/>
                        </a:lnTo>
                        <a:lnTo>
                          <a:pt x="17207" y="225362"/>
                        </a:lnTo>
                        <a:lnTo>
                          <a:pt x="13393" y="226734"/>
                        </a:lnTo>
                        <a:lnTo>
                          <a:pt x="13831" y="231701"/>
                        </a:lnTo>
                        <a:lnTo>
                          <a:pt x="12898" y="232552"/>
                        </a:lnTo>
                        <a:lnTo>
                          <a:pt x="10785" y="222425"/>
                        </a:lnTo>
                        <a:lnTo>
                          <a:pt x="12926" y="218968"/>
                        </a:lnTo>
                        <a:lnTo>
                          <a:pt x="14160" y="206975"/>
                        </a:lnTo>
                        <a:lnTo>
                          <a:pt x="0" y="195696"/>
                        </a:lnTo>
                        <a:lnTo>
                          <a:pt x="8288" y="183292"/>
                        </a:lnTo>
                        <a:lnTo>
                          <a:pt x="21296" y="175690"/>
                        </a:lnTo>
                        <a:lnTo>
                          <a:pt x="21707" y="165564"/>
                        </a:lnTo>
                        <a:lnTo>
                          <a:pt x="20116" y="151074"/>
                        </a:lnTo>
                        <a:lnTo>
                          <a:pt x="12075" y="126649"/>
                        </a:lnTo>
                        <a:lnTo>
                          <a:pt x="9907" y="113669"/>
                        </a:lnTo>
                        <a:lnTo>
                          <a:pt x="29693" y="113422"/>
                        </a:lnTo>
                        <a:lnTo>
                          <a:pt x="36280" y="116248"/>
                        </a:lnTo>
                        <a:lnTo>
                          <a:pt x="42564" y="111419"/>
                        </a:lnTo>
                        <a:lnTo>
                          <a:pt x="47257" y="111748"/>
                        </a:lnTo>
                        <a:lnTo>
                          <a:pt x="48766" y="104036"/>
                        </a:lnTo>
                        <a:lnTo>
                          <a:pt x="55847" y="104036"/>
                        </a:lnTo>
                        <a:cubicBezTo>
                          <a:pt x="55847" y="104036"/>
                          <a:pt x="60594" y="98877"/>
                          <a:pt x="60594" y="98877"/>
                        </a:cubicBezTo>
                        <a:lnTo>
                          <a:pt x="68031" y="96572"/>
                        </a:lnTo>
                        <a:lnTo>
                          <a:pt x="69815" y="98191"/>
                        </a:lnTo>
                        <a:lnTo>
                          <a:pt x="70199" y="103543"/>
                        </a:lnTo>
                        <a:lnTo>
                          <a:pt x="76264" y="102664"/>
                        </a:lnTo>
                        <a:lnTo>
                          <a:pt x="75989" y="99453"/>
                        </a:lnTo>
                        <a:lnTo>
                          <a:pt x="70473" y="93581"/>
                        </a:lnTo>
                        <a:lnTo>
                          <a:pt x="75523" y="82055"/>
                        </a:lnTo>
                        <a:lnTo>
                          <a:pt x="75660" y="70803"/>
                        </a:lnTo>
                        <a:lnTo>
                          <a:pt x="79942" y="64217"/>
                        </a:lnTo>
                        <a:lnTo>
                          <a:pt x="88476" y="61006"/>
                        </a:lnTo>
                        <a:lnTo>
                          <a:pt x="92209" y="54008"/>
                        </a:lnTo>
                        <a:lnTo>
                          <a:pt x="102636" y="52471"/>
                        </a:lnTo>
                        <a:lnTo>
                          <a:pt x="104914" y="47806"/>
                        </a:lnTo>
                        <a:lnTo>
                          <a:pt x="104585" y="44815"/>
                        </a:lnTo>
                        <a:lnTo>
                          <a:pt x="98602" y="41631"/>
                        </a:lnTo>
                        <a:lnTo>
                          <a:pt x="101594" y="25687"/>
                        </a:lnTo>
                        <a:lnTo>
                          <a:pt x="107055" y="25001"/>
                        </a:lnTo>
                        <a:lnTo>
                          <a:pt x="115343" y="17262"/>
                        </a:lnTo>
                        <a:lnTo>
                          <a:pt x="129723" y="19704"/>
                        </a:lnTo>
                        <a:lnTo>
                          <a:pt x="132357" y="12459"/>
                        </a:lnTo>
                        <a:lnTo>
                          <a:pt x="146436" y="0"/>
                        </a:lnTo>
                        <a:lnTo>
                          <a:pt x="150991" y="4940"/>
                        </a:lnTo>
                        <a:lnTo>
                          <a:pt x="159993" y="4666"/>
                        </a:lnTo>
                        <a:lnTo>
                          <a:pt x="165069" y="10566"/>
                        </a:lnTo>
                        <a:lnTo>
                          <a:pt x="173193" y="7904"/>
                        </a:lnTo>
                        <a:lnTo>
                          <a:pt x="181810" y="10868"/>
                        </a:lnTo>
                        <a:lnTo>
                          <a:pt x="183566" y="13639"/>
                        </a:lnTo>
                        <a:lnTo>
                          <a:pt x="183072" y="20198"/>
                        </a:lnTo>
                        <a:lnTo>
                          <a:pt x="185871" y="23903"/>
                        </a:lnTo>
                        <a:lnTo>
                          <a:pt x="198138" y="17317"/>
                        </a:lnTo>
                        <a:lnTo>
                          <a:pt x="207277" y="16823"/>
                        </a:lnTo>
                        <a:lnTo>
                          <a:pt x="214796" y="19869"/>
                        </a:lnTo>
                        <a:lnTo>
                          <a:pt x="222068" y="28458"/>
                        </a:lnTo>
                        <a:lnTo>
                          <a:pt x="227118" y="30764"/>
                        </a:lnTo>
                        <a:lnTo>
                          <a:pt x="227859" y="38146"/>
                        </a:lnTo>
                        <a:lnTo>
                          <a:pt x="225938" y="46489"/>
                        </a:lnTo>
                        <a:lnTo>
                          <a:pt x="229890" y="57987"/>
                        </a:lnTo>
                        <a:lnTo>
                          <a:pt x="225691" y="65973"/>
                        </a:lnTo>
                        <a:lnTo>
                          <a:pt x="225225" y="71434"/>
                        </a:lnTo>
                        <a:lnTo>
                          <a:pt x="232250" y="78762"/>
                        </a:lnTo>
                        <a:lnTo>
                          <a:pt x="233869" y="86198"/>
                        </a:lnTo>
                        <a:lnTo>
                          <a:pt x="240895" y="99508"/>
                        </a:lnTo>
                        <a:lnTo>
                          <a:pt x="253957" y="108702"/>
                        </a:lnTo>
                        <a:lnTo>
                          <a:pt x="254040" y="120722"/>
                        </a:lnTo>
                        <a:lnTo>
                          <a:pt x="263508" y="121216"/>
                        </a:lnTo>
                        <a:lnTo>
                          <a:pt x="272207" y="125771"/>
                        </a:lnTo>
                        <a:lnTo>
                          <a:pt x="274128" y="133538"/>
                        </a:lnTo>
                        <a:lnTo>
                          <a:pt x="280248" y="140261"/>
                        </a:lnTo>
                        <a:lnTo>
                          <a:pt x="272344" y="150689"/>
                        </a:lnTo>
                        <a:lnTo>
                          <a:pt x="262684" y="156068"/>
                        </a:lnTo>
                        <a:lnTo>
                          <a:pt x="256098" y="155355"/>
                        </a:lnTo>
                        <a:lnTo>
                          <a:pt x="248716" y="150552"/>
                        </a:lnTo>
                        <a:lnTo>
                          <a:pt x="241498" y="153544"/>
                        </a:lnTo>
                        <a:lnTo>
                          <a:pt x="239275" y="160624"/>
                        </a:lnTo>
                        <a:lnTo>
                          <a:pt x="246026" y="170531"/>
                        </a:lnTo>
                        <a:lnTo>
                          <a:pt x="245917" y="178105"/>
                        </a:lnTo>
                        <a:lnTo>
                          <a:pt x="249155" y="194598"/>
                        </a:lnTo>
                        <a:lnTo>
                          <a:pt x="253216" y="20403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5" name="Freeform: Shape 3374">
                    <a:extLst>
                      <a:ext uri="{FF2B5EF4-FFF2-40B4-BE49-F238E27FC236}">
                        <a16:creationId xmlns:a16="http://schemas.microsoft.com/office/drawing/2014/main" id="{791FCC0B-B261-CA4E-D600-4EF9E2B995BE}"/>
                      </a:ext>
                    </a:extLst>
                  </p:cNvPr>
                  <p:cNvSpPr/>
                  <p:nvPr/>
                </p:nvSpPr>
                <p:spPr>
                  <a:xfrm>
                    <a:off x="-5930899" y="3125370"/>
                    <a:ext cx="198550" cy="113641"/>
                  </a:xfrm>
                  <a:custGeom>
                    <a:avLst/>
                    <a:gdLst>
                      <a:gd name="connsiteX0" fmla="*/ 74069 w 198550"/>
                      <a:gd name="connsiteY0" fmla="*/ 9303 h 113641"/>
                      <a:gd name="connsiteX1" fmla="*/ 78432 w 198550"/>
                      <a:gd name="connsiteY1" fmla="*/ 11087 h 113641"/>
                      <a:gd name="connsiteX2" fmla="*/ 80106 w 198550"/>
                      <a:gd name="connsiteY2" fmla="*/ 8727 h 113641"/>
                      <a:gd name="connsiteX3" fmla="*/ 84607 w 198550"/>
                      <a:gd name="connsiteY3" fmla="*/ 8343 h 113641"/>
                      <a:gd name="connsiteX4" fmla="*/ 87131 w 198550"/>
                      <a:gd name="connsiteY4" fmla="*/ 2168 h 113641"/>
                      <a:gd name="connsiteX5" fmla="*/ 92428 w 198550"/>
                      <a:gd name="connsiteY5" fmla="*/ 3430 h 113641"/>
                      <a:gd name="connsiteX6" fmla="*/ 96380 w 198550"/>
                      <a:gd name="connsiteY6" fmla="*/ 11910 h 113641"/>
                      <a:gd name="connsiteX7" fmla="*/ 101045 w 198550"/>
                      <a:gd name="connsiteY7" fmla="*/ 12953 h 113641"/>
                      <a:gd name="connsiteX8" fmla="*/ 108784 w 198550"/>
                      <a:gd name="connsiteY8" fmla="*/ 14682 h 113641"/>
                      <a:gd name="connsiteX9" fmla="*/ 116111 w 198550"/>
                      <a:gd name="connsiteY9" fmla="*/ 19896 h 113641"/>
                      <a:gd name="connsiteX10" fmla="*/ 117867 w 198550"/>
                      <a:gd name="connsiteY10" fmla="*/ 18414 h 113641"/>
                      <a:gd name="connsiteX11" fmla="*/ 126238 w 198550"/>
                      <a:gd name="connsiteY11" fmla="*/ 21131 h 113641"/>
                      <a:gd name="connsiteX12" fmla="*/ 126128 w 198550"/>
                      <a:gd name="connsiteY12" fmla="*/ 23930 h 113641"/>
                      <a:gd name="connsiteX13" fmla="*/ 122341 w 198550"/>
                      <a:gd name="connsiteY13" fmla="*/ 28047 h 113641"/>
                      <a:gd name="connsiteX14" fmla="*/ 131781 w 198550"/>
                      <a:gd name="connsiteY14" fmla="*/ 42372 h 113641"/>
                      <a:gd name="connsiteX15" fmla="*/ 135705 w 198550"/>
                      <a:gd name="connsiteY15" fmla="*/ 43607 h 113641"/>
                      <a:gd name="connsiteX16" fmla="*/ 140097 w 198550"/>
                      <a:gd name="connsiteY16" fmla="*/ 39847 h 113641"/>
                      <a:gd name="connsiteX17" fmla="*/ 143966 w 198550"/>
                      <a:gd name="connsiteY17" fmla="*/ 36609 h 113641"/>
                      <a:gd name="connsiteX18" fmla="*/ 140810 w 198550"/>
                      <a:gd name="connsiteY18" fmla="*/ 30270 h 113641"/>
                      <a:gd name="connsiteX19" fmla="*/ 141414 w 198550"/>
                      <a:gd name="connsiteY19" fmla="*/ 28266 h 113641"/>
                      <a:gd name="connsiteX20" fmla="*/ 156727 w 198550"/>
                      <a:gd name="connsiteY20" fmla="*/ 37267 h 113641"/>
                      <a:gd name="connsiteX21" fmla="*/ 165564 w 198550"/>
                      <a:gd name="connsiteY21" fmla="*/ 35841 h 113641"/>
                      <a:gd name="connsiteX22" fmla="*/ 165729 w 198550"/>
                      <a:gd name="connsiteY22" fmla="*/ 39189 h 113641"/>
                      <a:gd name="connsiteX23" fmla="*/ 163286 w 198550"/>
                      <a:gd name="connsiteY23" fmla="*/ 42509 h 113641"/>
                      <a:gd name="connsiteX24" fmla="*/ 168967 w 198550"/>
                      <a:gd name="connsiteY24" fmla="*/ 49397 h 113641"/>
                      <a:gd name="connsiteX25" fmla="*/ 174538 w 198550"/>
                      <a:gd name="connsiteY25" fmla="*/ 45912 h 113641"/>
                      <a:gd name="connsiteX26" fmla="*/ 183127 w 198550"/>
                      <a:gd name="connsiteY26" fmla="*/ 52197 h 113641"/>
                      <a:gd name="connsiteX27" fmla="*/ 190427 w 198550"/>
                      <a:gd name="connsiteY27" fmla="*/ 53020 h 113641"/>
                      <a:gd name="connsiteX28" fmla="*/ 191607 w 198550"/>
                      <a:gd name="connsiteY28" fmla="*/ 60320 h 113641"/>
                      <a:gd name="connsiteX29" fmla="*/ 197096 w 198550"/>
                      <a:gd name="connsiteY29" fmla="*/ 64491 h 113641"/>
                      <a:gd name="connsiteX30" fmla="*/ 198550 w 198550"/>
                      <a:gd name="connsiteY30" fmla="*/ 70913 h 113641"/>
                      <a:gd name="connsiteX31" fmla="*/ 190454 w 198550"/>
                      <a:gd name="connsiteY31" fmla="*/ 71818 h 113641"/>
                      <a:gd name="connsiteX32" fmla="*/ 185377 w 198550"/>
                      <a:gd name="connsiteY32" fmla="*/ 76347 h 113641"/>
                      <a:gd name="connsiteX33" fmla="*/ 183017 w 198550"/>
                      <a:gd name="connsiteY33" fmla="*/ 80051 h 113641"/>
                      <a:gd name="connsiteX34" fmla="*/ 178517 w 198550"/>
                      <a:gd name="connsiteY34" fmla="*/ 82356 h 113641"/>
                      <a:gd name="connsiteX35" fmla="*/ 175525 w 198550"/>
                      <a:gd name="connsiteY35" fmla="*/ 91989 h 113641"/>
                      <a:gd name="connsiteX36" fmla="*/ 163121 w 198550"/>
                      <a:gd name="connsiteY36" fmla="*/ 100716 h 113641"/>
                      <a:gd name="connsiteX37" fmla="*/ 155766 w 198550"/>
                      <a:gd name="connsiteY37" fmla="*/ 102554 h 113641"/>
                      <a:gd name="connsiteX38" fmla="*/ 149153 w 198550"/>
                      <a:gd name="connsiteY38" fmla="*/ 100716 h 113641"/>
                      <a:gd name="connsiteX39" fmla="*/ 142347 w 198550"/>
                      <a:gd name="connsiteY39" fmla="*/ 111281 h 113641"/>
                      <a:gd name="connsiteX40" fmla="*/ 140673 w 198550"/>
                      <a:gd name="connsiteY40" fmla="*/ 107137 h 113641"/>
                      <a:gd name="connsiteX41" fmla="*/ 131150 w 198550"/>
                      <a:gd name="connsiteY41" fmla="*/ 102884 h 113641"/>
                      <a:gd name="connsiteX42" fmla="*/ 123219 w 198550"/>
                      <a:gd name="connsiteY42" fmla="*/ 106067 h 113641"/>
                      <a:gd name="connsiteX43" fmla="*/ 107439 w 198550"/>
                      <a:gd name="connsiteY43" fmla="*/ 100771 h 113641"/>
                      <a:gd name="connsiteX44" fmla="*/ 101238 w 198550"/>
                      <a:gd name="connsiteY44" fmla="*/ 98273 h 113641"/>
                      <a:gd name="connsiteX45" fmla="*/ 85979 w 198550"/>
                      <a:gd name="connsiteY45" fmla="*/ 94075 h 113641"/>
                      <a:gd name="connsiteX46" fmla="*/ 83509 w 198550"/>
                      <a:gd name="connsiteY46" fmla="*/ 103487 h 113641"/>
                      <a:gd name="connsiteX47" fmla="*/ 78405 w 198550"/>
                      <a:gd name="connsiteY47" fmla="*/ 107055 h 113641"/>
                      <a:gd name="connsiteX48" fmla="*/ 76182 w 198550"/>
                      <a:gd name="connsiteY48" fmla="*/ 112681 h 113641"/>
                      <a:gd name="connsiteX49" fmla="*/ 70199 w 198550"/>
                      <a:gd name="connsiteY49" fmla="*/ 110650 h 113641"/>
                      <a:gd name="connsiteX50" fmla="*/ 65946 w 198550"/>
                      <a:gd name="connsiteY50" fmla="*/ 113641 h 113641"/>
                      <a:gd name="connsiteX51" fmla="*/ 59167 w 198550"/>
                      <a:gd name="connsiteY51" fmla="*/ 112269 h 113641"/>
                      <a:gd name="connsiteX52" fmla="*/ 51154 w 198550"/>
                      <a:gd name="connsiteY52" fmla="*/ 104338 h 113641"/>
                      <a:gd name="connsiteX53" fmla="*/ 42674 w 198550"/>
                      <a:gd name="connsiteY53" fmla="*/ 95557 h 113641"/>
                      <a:gd name="connsiteX54" fmla="*/ 38695 w 198550"/>
                      <a:gd name="connsiteY54" fmla="*/ 95008 h 113641"/>
                      <a:gd name="connsiteX55" fmla="*/ 37185 w 198550"/>
                      <a:gd name="connsiteY55" fmla="*/ 91083 h 113641"/>
                      <a:gd name="connsiteX56" fmla="*/ 31477 w 198550"/>
                      <a:gd name="connsiteY56" fmla="*/ 86308 h 113641"/>
                      <a:gd name="connsiteX57" fmla="*/ 25988 w 198550"/>
                      <a:gd name="connsiteY57" fmla="*/ 79585 h 113641"/>
                      <a:gd name="connsiteX58" fmla="*/ 20335 w 198550"/>
                      <a:gd name="connsiteY58" fmla="*/ 77993 h 113641"/>
                      <a:gd name="connsiteX59" fmla="*/ 15670 w 198550"/>
                      <a:gd name="connsiteY59" fmla="*/ 72614 h 113641"/>
                      <a:gd name="connsiteX60" fmla="*/ 15807 w 198550"/>
                      <a:gd name="connsiteY60" fmla="*/ 70666 h 113641"/>
                      <a:gd name="connsiteX61" fmla="*/ 14517 w 198550"/>
                      <a:gd name="connsiteY61" fmla="*/ 69650 h 113641"/>
                      <a:gd name="connsiteX62" fmla="*/ 8864 w 198550"/>
                      <a:gd name="connsiteY62" fmla="*/ 59826 h 113641"/>
                      <a:gd name="connsiteX63" fmla="*/ 13255 w 198550"/>
                      <a:gd name="connsiteY63" fmla="*/ 53130 h 113641"/>
                      <a:gd name="connsiteX64" fmla="*/ 4720 w 198550"/>
                      <a:gd name="connsiteY64" fmla="*/ 46132 h 113641"/>
                      <a:gd name="connsiteX65" fmla="*/ 1757 w 198550"/>
                      <a:gd name="connsiteY65" fmla="*/ 38722 h 113641"/>
                      <a:gd name="connsiteX66" fmla="*/ 0 w 198550"/>
                      <a:gd name="connsiteY66" fmla="*/ 34194 h 113641"/>
                      <a:gd name="connsiteX67" fmla="*/ 6504 w 198550"/>
                      <a:gd name="connsiteY67" fmla="*/ 39271 h 113641"/>
                      <a:gd name="connsiteX68" fmla="*/ 14215 w 198550"/>
                      <a:gd name="connsiteY68" fmla="*/ 30077 h 113641"/>
                      <a:gd name="connsiteX69" fmla="*/ 20994 w 198550"/>
                      <a:gd name="connsiteY69" fmla="*/ 28129 h 113641"/>
                      <a:gd name="connsiteX70" fmla="*/ 24918 w 198550"/>
                      <a:gd name="connsiteY70" fmla="*/ 30215 h 113641"/>
                      <a:gd name="connsiteX71" fmla="*/ 28102 w 198550"/>
                      <a:gd name="connsiteY71" fmla="*/ 25742 h 113641"/>
                      <a:gd name="connsiteX72" fmla="*/ 41192 w 198550"/>
                      <a:gd name="connsiteY72" fmla="*/ 19622 h 113641"/>
                      <a:gd name="connsiteX73" fmla="*/ 45583 w 198550"/>
                      <a:gd name="connsiteY73" fmla="*/ 15149 h 113641"/>
                      <a:gd name="connsiteX74" fmla="*/ 50824 w 198550"/>
                      <a:gd name="connsiteY74" fmla="*/ 15011 h 113641"/>
                      <a:gd name="connsiteX75" fmla="*/ 66522 w 198550"/>
                      <a:gd name="connsiteY75" fmla="*/ 7080 h 113641"/>
                      <a:gd name="connsiteX76" fmla="*/ 64107 w 198550"/>
                      <a:gd name="connsiteY76" fmla="*/ 2580 h 113641"/>
                      <a:gd name="connsiteX77" fmla="*/ 65177 w 198550"/>
                      <a:gd name="connsiteY77" fmla="*/ 0 h 113641"/>
                      <a:gd name="connsiteX78" fmla="*/ 70282 w 198550"/>
                      <a:gd name="connsiteY78" fmla="*/ 549 h 113641"/>
                      <a:gd name="connsiteX79" fmla="*/ 72944 w 198550"/>
                      <a:gd name="connsiteY79" fmla="*/ 3458 h 113641"/>
                      <a:gd name="connsiteX80" fmla="*/ 74014 w 198550"/>
                      <a:gd name="connsiteY80" fmla="*/ 9221 h 113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98550" h="113641">
                        <a:moveTo>
                          <a:pt x="74069" y="9303"/>
                        </a:moveTo>
                        <a:lnTo>
                          <a:pt x="78432" y="11087"/>
                        </a:lnTo>
                        <a:lnTo>
                          <a:pt x="80106" y="8727"/>
                        </a:lnTo>
                        <a:lnTo>
                          <a:pt x="84607" y="8343"/>
                        </a:lnTo>
                        <a:lnTo>
                          <a:pt x="87131" y="2168"/>
                        </a:lnTo>
                        <a:lnTo>
                          <a:pt x="92428" y="3430"/>
                        </a:lnTo>
                        <a:lnTo>
                          <a:pt x="96380" y="11910"/>
                        </a:lnTo>
                        <a:lnTo>
                          <a:pt x="101045" y="12953"/>
                        </a:lnTo>
                        <a:lnTo>
                          <a:pt x="108784" y="14682"/>
                        </a:lnTo>
                        <a:lnTo>
                          <a:pt x="116111" y="19896"/>
                        </a:lnTo>
                        <a:lnTo>
                          <a:pt x="117867" y="18414"/>
                        </a:lnTo>
                        <a:lnTo>
                          <a:pt x="126238" y="21131"/>
                        </a:lnTo>
                        <a:lnTo>
                          <a:pt x="126128" y="23930"/>
                        </a:lnTo>
                        <a:lnTo>
                          <a:pt x="122341" y="28047"/>
                        </a:lnTo>
                        <a:lnTo>
                          <a:pt x="131781" y="42372"/>
                        </a:lnTo>
                        <a:lnTo>
                          <a:pt x="135705" y="43607"/>
                        </a:lnTo>
                        <a:lnTo>
                          <a:pt x="140097" y="39847"/>
                        </a:lnTo>
                        <a:lnTo>
                          <a:pt x="143966" y="36609"/>
                        </a:lnTo>
                        <a:lnTo>
                          <a:pt x="140810" y="30270"/>
                        </a:lnTo>
                        <a:lnTo>
                          <a:pt x="141414" y="28266"/>
                        </a:lnTo>
                        <a:lnTo>
                          <a:pt x="156727" y="37267"/>
                        </a:lnTo>
                        <a:lnTo>
                          <a:pt x="165564" y="35841"/>
                        </a:lnTo>
                        <a:lnTo>
                          <a:pt x="165729" y="39189"/>
                        </a:lnTo>
                        <a:lnTo>
                          <a:pt x="163286" y="42509"/>
                        </a:lnTo>
                        <a:lnTo>
                          <a:pt x="168967" y="49397"/>
                        </a:lnTo>
                        <a:lnTo>
                          <a:pt x="174538" y="45912"/>
                        </a:lnTo>
                        <a:lnTo>
                          <a:pt x="183127" y="52197"/>
                        </a:lnTo>
                        <a:lnTo>
                          <a:pt x="190427" y="53020"/>
                        </a:lnTo>
                        <a:lnTo>
                          <a:pt x="191607" y="60320"/>
                        </a:lnTo>
                        <a:lnTo>
                          <a:pt x="197096" y="64491"/>
                        </a:lnTo>
                        <a:lnTo>
                          <a:pt x="198550" y="70913"/>
                        </a:lnTo>
                        <a:lnTo>
                          <a:pt x="190454" y="71818"/>
                        </a:lnTo>
                        <a:lnTo>
                          <a:pt x="185377" y="76347"/>
                        </a:lnTo>
                        <a:lnTo>
                          <a:pt x="183017" y="80051"/>
                        </a:lnTo>
                        <a:lnTo>
                          <a:pt x="178517" y="82356"/>
                        </a:lnTo>
                        <a:lnTo>
                          <a:pt x="175525" y="91989"/>
                        </a:lnTo>
                        <a:lnTo>
                          <a:pt x="163121" y="100716"/>
                        </a:lnTo>
                        <a:lnTo>
                          <a:pt x="155766" y="102554"/>
                        </a:lnTo>
                        <a:lnTo>
                          <a:pt x="149153" y="100716"/>
                        </a:lnTo>
                        <a:lnTo>
                          <a:pt x="142347" y="111281"/>
                        </a:lnTo>
                        <a:lnTo>
                          <a:pt x="140673" y="107137"/>
                        </a:lnTo>
                        <a:lnTo>
                          <a:pt x="131150" y="102884"/>
                        </a:lnTo>
                        <a:lnTo>
                          <a:pt x="123219" y="106067"/>
                        </a:lnTo>
                        <a:lnTo>
                          <a:pt x="107439" y="100771"/>
                        </a:lnTo>
                        <a:lnTo>
                          <a:pt x="101238" y="98273"/>
                        </a:lnTo>
                        <a:lnTo>
                          <a:pt x="85979" y="94075"/>
                        </a:lnTo>
                        <a:lnTo>
                          <a:pt x="83509" y="103487"/>
                        </a:lnTo>
                        <a:lnTo>
                          <a:pt x="78405" y="107055"/>
                        </a:lnTo>
                        <a:lnTo>
                          <a:pt x="76182" y="112681"/>
                        </a:lnTo>
                        <a:lnTo>
                          <a:pt x="70199" y="110650"/>
                        </a:lnTo>
                        <a:lnTo>
                          <a:pt x="65946" y="113641"/>
                        </a:lnTo>
                        <a:lnTo>
                          <a:pt x="59167" y="112269"/>
                        </a:lnTo>
                        <a:lnTo>
                          <a:pt x="51154" y="104338"/>
                        </a:lnTo>
                        <a:lnTo>
                          <a:pt x="42674" y="95557"/>
                        </a:lnTo>
                        <a:lnTo>
                          <a:pt x="38695" y="95008"/>
                        </a:lnTo>
                        <a:lnTo>
                          <a:pt x="37185" y="91083"/>
                        </a:lnTo>
                        <a:lnTo>
                          <a:pt x="31477" y="86308"/>
                        </a:lnTo>
                        <a:lnTo>
                          <a:pt x="25988" y="79585"/>
                        </a:lnTo>
                        <a:lnTo>
                          <a:pt x="20335" y="77993"/>
                        </a:lnTo>
                        <a:lnTo>
                          <a:pt x="15670" y="72614"/>
                        </a:lnTo>
                        <a:lnTo>
                          <a:pt x="15807" y="70666"/>
                        </a:lnTo>
                        <a:lnTo>
                          <a:pt x="14517" y="69650"/>
                        </a:lnTo>
                        <a:lnTo>
                          <a:pt x="8864" y="59826"/>
                        </a:lnTo>
                        <a:lnTo>
                          <a:pt x="13255" y="53130"/>
                        </a:lnTo>
                        <a:lnTo>
                          <a:pt x="4720" y="46132"/>
                        </a:lnTo>
                        <a:lnTo>
                          <a:pt x="1757" y="38722"/>
                        </a:lnTo>
                        <a:lnTo>
                          <a:pt x="0" y="34194"/>
                        </a:lnTo>
                        <a:lnTo>
                          <a:pt x="6504" y="39271"/>
                        </a:lnTo>
                        <a:lnTo>
                          <a:pt x="14215" y="30077"/>
                        </a:lnTo>
                        <a:lnTo>
                          <a:pt x="20994" y="28129"/>
                        </a:lnTo>
                        <a:lnTo>
                          <a:pt x="24918" y="30215"/>
                        </a:lnTo>
                        <a:lnTo>
                          <a:pt x="28102" y="25742"/>
                        </a:lnTo>
                        <a:lnTo>
                          <a:pt x="41192" y="19622"/>
                        </a:lnTo>
                        <a:lnTo>
                          <a:pt x="45583" y="15149"/>
                        </a:lnTo>
                        <a:lnTo>
                          <a:pt x="50824" y="15011"/>
                        </a:lnTo>
                        <a:lnTo>
                          <a:pt x="66522" y="7080"/>
                        </a:lnTo>
                        <a:lnTo>
                          <a:pt x="64107" y="2580"/>
                        </a:lnTo>
                        <a:lnTo>
                          <a:pt x="65177" y="0"/>
                        </a:lnTo>
                        <a:lnTo>
                          <a:pt x="70282" y="549"/>
                        </a:lnTo>
                        <a:lnTo>
                          <a:pt x="72944" y="3458"/>
                        </a:lnTo>
                        <a:lnTo>
                          <a:pt x="74014" y="922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6" name="Freeform: Shape 3375">
                    <a:extLst>
                      <a:ext uri="{FF2B5EF4-FFF2-40B4-BE49-F238E27FC236}">
                        <a16:creationId xmlns:a16="http://schemas.microsoft.com/office/drawing/2014/main" id="{4811CA70-D64E-0014-9676-504C7020C127}"/>
                      </a:ext>
                    </a:extLst>
                  </p:cNvPr>
                  <p:cNvSpPr/>
                  <p:nvPr/>
                </p:nvSpPr>
                <p:spPr>
                  <a:xfrm>
                    <a:off x="-5823899" y="3381825"/>
                    <a:ext cx="112268" cy="109853"/>
                  </a:xfrm>
                  <a:custGeom>
                    <a:avLst/>
                    <a:gdLst>
                      <a:gd name="connsiteX0" fmla="*/ 41247 w 112268"/>
                      <a:gd name="connsiteY0" fmla="*/ 3540 h 109853"/>
                      <a:gd name="connsiteX1" fmla="*/ 57164 w 112268"/>
                      <a:gd name="connsiteY1" fmla="*/ 5379 h 109853"/>
                      <a:gd name="connsiteX2" fmla="*/ 61582 w 112268"/>
                      <a:gd name="connsiteY2" fmla="*/ 7876 h 109853"/>
                      <a:gd name="connsiteX3" fmla="*/ 67043 w 112268"/>
                      <a:gd name="connsiteY3" fmla="*/ 4803 h 109853"/>
                      <a:gd name="connsiteX4" fmla="*/ 70940 w 112268"/>
                      <a:gd name="connsiteY4" fmla="*/ 6861 h 109853"/>
                      <a:gd name="connsiteX5" fmla="*/ 73986 w 112268"/>
                      <a:gd name="connsiteY5" fmla="*/ 5269 h 109853"/>
                      <a:gd name="connsiteX6" fmla="*/ 82082 w 112268"/>
                      <a:gd name="connsiteY6" fmla="*/ 6668 h 109853"/>
                      <a:gd name="connsiteX7" fmla="*/ 88613 w 112268"/>
                      <a:gd name="connsiteY7" fmla="*/ 9550 h 109853"/>
                      <a:gd name="connsiteX8" fmla="*/ 89958 w 112268"/>
                      <a:gd name="connsiteY8" fmla="*/ 15066 h 109853"/>
                      <a:gd name="connsiteX9" fmla="*/ 91824 w 112268"/>
                      <a:gd name="connsiteY9" fmla="*/ 16356 h 109853"/>
                      <a:gd name="connsiteX10" fmla="*/ 96572 w 112268"/>
                      <a:gd name="connsiteY10" fmla="*/ 16356 h 109853"/>
                      <a:gd name="connsiteX11" fmla="*/ 106259 w 112268"/>
                      <a:gd name="connsiteY11" fmla="*/ 14956 h 109853"/>
                      <a:gd name="connsiteX12" fmla="*/ 100469 w 112268"/>
                      <a:gd name="connsiteY12" fmla="*/ 30599 h 109853"/>
                      <a:gd name="connsiteX13" fmla="*/ 99947 w 112268"/>
                      <a:gd name="connsiteY13" fmla="*/ 36252 h 109853"/>
                      <a:gd name="connsiteX14" fmla="*/ 110540 w 112268"/>
                      <a:gd name="connsiteY14" fmla="*/ 47504 h 109853"/>
                      <a:gd name="connsiteX15" fmla="*/ 112269 w 112268"/>
                      <a:gd name="connsiteY15" fmla="*/ 51812 h 109853"/>
                      <a:gd name="connsiteX16" fmla="*/ 105052 w 112268"/>
                      <a:gd name="connsiteY16" fmla="*/ 54172 h 109853"/>
                      <a:gd name="connsiteX17" fmla="*/ 110211 w 112268"/>
                      <a:gd name="connsiteY17" fmla="*/ 62597 h 109853"/>
                      <a:gd name="connsiteX18" fmla="*/ 110568 w 112268"/>
                      <a:gd name="connsiteY18" fmla="*/ 66412 h 109853"/>
                      <a:gd name="connsiteX19" fmla="*/ 102527 w 112268"/>
                      <a:gd name="connsiteY19" fmla="*/ 70775 h 109853"/>
                      <a:gd name="connsiteX20" fmla="*/ 96353 w 112268"/>
                      <a:gd name="connsiteY20" fmla="*/ 70556 h 109853"/>
                      <a:gd name="connsiteX21" fmla="*/ 95502 w 112268"/>
                      <a:gd name="connsiteY21" fmla="*/ 71406 h 109853"/>
                      <a:gd name="connsiteX22" fmla="*/ 94761 w 112268"/>
                      <a:gd name="connsiteY22" fmla="*/ 73520 h 109853"/>
                      <a:gd name="connsiteX23" fmla="*/ 97807 w 112268"/>
                      <a:gd name="connsiteY23" fmla="*/ 79612 h 109853"/>
                      <a:gd name="connsiteX24" fmla="*/ 96298 w 112268"/>
                      <a:gd name="connsiteY24" fmla="*/ 81066 h 109853"/>
                      <a:gd name="connsiteX25" fmla="*/ 92730 w 112268"/>
                      <a:gd name="connsiteY25" fmla="*/ 78295 h 109853"/>
                      <a:gd name="connsiteX26" fmla="*/ 86967 w 112268"/>
                      <a:gd name="connsiteY26" fmla="*/ 82301 h 109853"/>
                      <a:gd name="connsiteX27" fmla="*/ 85567 w 112268"/>
                      <a:gd name="connsiteY27" fmla="*/ 89985 h 109853"/>
                      <a:gd name="connsiteX28" fmla="*/ 81341 w 112268"/>
                      <a:gd name="connsiteY28" fmla="*/ 92894 h 109853"/>
                      <a:gd name="connsiteX29" fmla="*/ 80326 w 112268"/>
                      <a:gd name="connsiteY29" fmla="*/ 99947 h 109853"/>
                      <a:gd name="connsiteX30" fmla="*/ 83235 w 112268"/>
                      <a:gd name="connsiteY30" fmla="*/ 105765 h 109853"/>
                      <a:gd name="connsiteX31" fmla="*/ 82274 w 112268"/>
                      <a:gd name="connsiteY31" fmla="*/ 106808 h 109853"/>
                      <a:gd name="connsiteX32" fmla="*/ 79447 w 112268"/>
                      <a:gd name="connsiteY32" fmla="*/ 109854 h 109853"/>
                      <a:gd name="connsiteX33" fmla="*/ 73136 w 112268"/>
                      <a:gd name="connsiteY33" fmla="*/ 107137 h 109853"/>
                      <a:gd name="connsiteX34" fmla="*/ 72779 w 112268"/>
                      <a:gd name="connsiteY34" fmla="*/ 106780 h 109853"/>
                      <a:gd name="connsiteX35" fmla="*/ 61637 w 112268"/>
                      <a:gd name="connsiteY35" fmla="*/ 96627 h 109853"/>
                      <a:gd name="connsiteX36" fmla="*/ 56231 w 112268"/>
                      <a:gd name="connsiteY36" fmla="*/ 96489 h 109853"/>
                      <a:gd name="connsiteX37" fmla="*/ 54090 w 112268"/>
                      <a:gd name="connsiteY37" fmla="*/ 95145 h 109853"/>
                      <a:gd name="connsiteX38" fmla="*/ 54227 w 112268"/>
                      <a:gd name="connsiteY38" fmla="*/ 94541 h 109853"/>
                      <a:gd name="connsiteX39" fmla="*/ 56478 w 112268"/>
                      <a:gd name="connsiteY39" fmla="*/ 91083 h 109853"/>
                      <a:gd name="connsiteX40" fmla="*/ 50413 w 112268"/>
                      <a:gd name="connsiteY40" fmla="*/ 84936 h 109853"/>
                      <a:gd name="connsiteX41" fmla="*/ 45720 w 112268"/>
                      <a:gd name="connsiteY41" fmla="*/ 78487 h 109853"/>
                      <a:gd name="connsiteX42" fmla="*/ 45528 w 112268"/>
                      <a:gd name="connsiteY42" fmla="*/ 73492 h 109853"/>
                      <a:gd name="connsiteX43" fmla="*/ 41933 w 112268"/>
                      <a:gd name="connsiteY43" fmla="*/ 71379 h 109853"/>
                      <a:gd name="connsiteX44" fmla="*/ 37624 w 112268"/>
                      <a:gd name="connsiteY44" fmla="*/ 68854 h 109853"/>
                      <a:gd name="connsiteX45" fmla="*/ 23711 w 112268"/>
                      <a:gd name="connsiteY45" fmla="*/ 52553 h 109853"/>
                      <a:gd name="connsiteX46" fmla="*/ 15423 w 112268"/>
                      <a:gd name="connsiteY46" fmla="*/ 44211 h 109853"/>
                      <a:gd name="connsiteX47" fmla="*/ 14024 w 112268"/>
                      <a:gd name="connsiteY47" fmla="*/ 42756 h 109853"/>
                      <a:gd name="connsiteX48" fmla="*/ 12788 w 112268"/>
                      <a:gd name="connsiteY48" fmla="*/ 42921 h 109853"/>
                      <a:gd name="connsiteX49" fmla="*/ 13639 w 112268"/>
                      <a:gd name="connsiteY49" fmla="*/ 37404 h 109853"/>
                      <a:gd name="connsiteX50" fmla="*/ 11608 w 112268"/>
                      <a:gd name="connsiteY50" fmla="*/ 32849 h 109853"/>
                      <a:gd name="connsiteX51" fmla="*/ 11553 w 112268"/>
                      <a:gd name="connsiteY51" fmla="*/ 31148 h 109853"/>
                      <a:gd name="connsiteX52" fmla="*/ 10483 w 112268"/>
                      <a:gd name="connsiteY52" fmla="*/ 29666 h 109853"/>
                      <a:gd name="connsiteX53" fmla="*/ 6092 w 112268"/>
                      <a:gd name="connsiteY53" fmla="*/ 22448 h 109853"/>
                      <a:gd name="connsiteX54" fmla="*/ 1400 w 112268"/>
                      <a:gd name="connsiteY54" fmla="*/ 19923 h 109853"/>
                      <a:gd name="connsiteX55" fmla="*/ 659 w 112268"/>
                      <a:gd name="connsiteY55" fmla="*/ 14984 h 109853"/>
                      <a:gd name="connsiteX56" fmla="*/ 0 w 112268"/>
                      <a:gd name="connsiteY56" fmla="*/ 12953 h 109853"/>
                      <a:gd name="connsiteX57" fmla="*/ 3046 w 112268"/>
                      <a:gd name="connsiteY57" fmla="*/ 933 h 109853"/>
                      <a:gd name="connsiteX58" fmla="*/ 8178 w 112268"/>
                      <a:gd name="connsiteY58" fmla="*/ 2140 h 109853"/>
                      <a:gd name="connsiteX59" fmla="*/ 16493 w 112268"/>
                      <a:gd name="connsiteY59" fmla="*/ 10154 h 109853"/>
                      <a:gd name="connsiteX60" fmla="*/ 24095 w 112268"/>
                      <a:gd name="connsiteY60" fmla="*/ 1070 h 109853"/>
                      <a:gd name="connsiteX61" fmla="*/ 31258 w 112268"/>
                      <a:gd name="connsiteY61" fmla="*/ 2085 h 109853"/>
                      <a:gd name="connsiteX62" fmla="*/ 35511 w 112268"/>
                      <a:gd name="connsiteY62" fmla="*/ 0 h 109853"/>
                      <a:gd name="connsiteX63" fmla="*/ 41302 w 112268"/>
                      <a:gd name="connsiteY63" fmla="*/ 3458 h 10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12268" h="109853">
                        <a:moveTo>
                          <a:pt x="41247" y="3540"/>
                        </a:moveTo>
                        <a:lnTo>
                          <a:pt x="57164" y="5379"/>
                        </a:lnTo>
                        <a:lnTo>
                          <a:pt x="61582" y="7876"/>
                        </a:lnTo>
                        <a:lnTo>
                          <a:pt x="67043" y="4803"/>
                        </a:lnTo>
                        <a:lnTo>
                          <a:pt x="70940" y="6861"/>
                        </a:lnTo>
                        <a:lnTo>
                          <a:pt x="73986" y="5269"/>
                        </a:lnTo>
                        <a:lnTo>
                          <a:pt x="82082" y="6668"/>
                        </a:lnTo>
                        <a:lnTo>
                          <a:pt x="88613" y="9550"/>
                        </a:lnTo>
                        <a:lnTo>
                          <a:pt x="89958" y="15066"/>
                        </a:lnTo>
                        <a:lnTo>
                          <a:pt x="91824" y="16356"/>
                        </a:lnTo>
                        <a:lnTo>
                          <a:pt x="96572" y="16356"/>
                        </a:lnTo>
                        <a:lnTo>
                          <a:pt x="106259" y="14956"/>
                        </a:lnTo>
                        <a:lnTo>
                          <a:pt x="100469" y="30599"/>
                        </a:lnTo>
                        <a:lnTo>
                          <a:pt x="99947" y="36252"/>
                        </a:lnTo>
                        <a:lnTo>
                          <a:pt x="110540" y="47504"/>
                        </a:lnTo>
                        <a:lnTo>
                          <a:pt x="112269" y="51812"/>
                        </a:lnTo>
                        <a:lnTo>
                          <a:pt x="105052" y="54172"/>
                        </a:lnTo>
                        <a:lnTo>
                          <a:pt x="110211" y="62597"/>
                        </a:lnTo>
                        <a:lnTo>
                          <a:pt x="110568" y="66412"/>
                        </a:lnTo>
                        <a:lnTo>
                          <a:pt x="102527" y="70775"/>
                        </a:lnTo>
                        <a:lnTo>
                          <a:pt x="96353" y="70556"/>
                        </a:lnTo>
                        <a:lnTo>
                          <a:pt x="95502" y="71406"/>
                        </a:lnTo>
                        <a:lnTo>
                          <a:pt x="94761" y="73520"/>
                        </a:lnTo>
                        <a:lnTo>
                          <a:pt x="97807" y="79612"/>
                        </a:lnTo>
                        <a:lnTo>
                          <a:pt x="96298" y="81066"/>
                        </a:lnTo>
                        <a:lnTo>
                          <a:pt x="92730" y="78295"/>
                        </a:lnTo>
                        <a:lnTo>
                          <a:pt x="86967" y="82301"/>
                        </a:lnTo>
                        <a:lnTo>
                          <a:pt x="85567" y="89985"/>
                        </a:lnTo>
                        <a:lnTo>
                          <a:pt x="81341" y="92894"/>
                        </a:lnTo>
                        <a:lnTo>
                          <a:pt x="80326" y="99947"/>
                        </a:lnTo>
                        <a:lnTo>
                          <a:pt x="83235" y="105765"/>
                        </a:lnTo>
                        <a:lnTo>
                          <a:pt x="82274" y="106808"/>
                        </a:lnTo>
                        <a:lnTo>
                          <a:pt x="79447" y="109854"/>
                        </a:lnTo>
                        <a:lnTo>
                          <a:pt x="73136" y="107137"/>
                        </a:lnTo>
                        <a:lnTo>
                          <a:pt x="72779" y="106780"/>
                        </a:lnTo>
                        <a:lnTo>
                          <a:pt x="61637" y="96627"/>
                        </a:lnTo>
                        <a:lnTo>
                          <a:pt x="56231" y="96489"/>
                        </a:lnTo>
                        <a:lnTo>
                          <a:pt x="54090" y="95145"/>
                        </a:lnTo>
                        <a:lnTo>
                          <a:pt x="54227" y="94541"/>
                        </a:lnTo>
                        <a:lnTo>
                          <a:pt x="56478" y="91083"/>
                        </a:lnTo>
                        <a:lnTo>
                          <a:pt x="50413" y="84936"/>
                        </a:lnTo>
                        <a:lnTo>
                          <a:pt x="45720" y="78487"/>
                        </a:lnTo>
                        <a:lnTo>
                          <a:pt x="45528" y="73492"/>
                        </a:lnTo>
                        <a:lnTo>
                          <a:pt x="41933" y="71379"/>
                        </a:lnTo>
                        <a:lnTo>
                          <a:pt x="37624" y="68854"/>
                        </a:lnTo>
                        <a:lnTo>
                          <a:pt x="23711" y="52553"/>
                        </a:lnTo>
                        <a:lnTo>
                          <a:pt x="15423" y="44211"/>
                        </a:lnTo>
                        <a:lnTo>
                          <a:pt x="14024" y="42756"/>
                        </a:lnTo>
                        <a:lnTo>
                          <a:pt x="12788" y="42921"/>
                        </a:lnTo>
                        <a:lnTo>
                          <a:pt x="13639" y="37404"/>
                        </a:lnTo>
                        <a:lnTo>
                          <a:pt x="11608" y="32849"/>
                        </a:lnTo>
                        <a:lnTo>
                          <a:pt x="11553" y="31148"/>
                        </a:lnTo>
                        <a:lnTo>
                          <a:pt x="10483" y="29666"/>
                        </a:lnTo>
                        <a:lnTo>
                          <a:pt x="6092" y="22448"/>
                        </a:lnTo>
                        <a:lnTo>
                          <a:pt x="1400" y="19923"/>
                        </a:lnTo>
                        <a:lnTo>
                          <a:pt x="659" y="14984"/>
                        </a:lnTo>
                        <a:lnTo>
                          <a:pt x="0" y="12953"/>
                        </a:lnTo>
                        <a:lnTo>
                          <a:pt x="3046" y="933"/>
                        </a:lnTo>
                        <a:lnTo>
                          <a:pt x="8178" y="2140"/>
                        </a:lnTo>
                        <a:lnTo>
                          <a:pt x="16493" y="10154"/>
                        </a:lnTo>
                        <a:lnTo>
                          <a:pt x="24095" y="1070"/>
                        </a:lnTo>
                        <a:lnTo>
                          <a:pt x="31258" y="2085"/>
                        </a:lnTo>
                        <a:lnTo>
                          <a:pt x="35511" y="0"/>
                        </a:lnTo>
                        <a:lnTo>
                          <a:pt x="41302" y="345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7" name="Freeform: Shape 3376">
                    <a:extLst>
                      <a:ext uri="{FF2B5EF4-FFF2-40B4-BE49-F238E27FC236}">
                        <a16:creationId xmlns:a16="http://schemas.microsoft.com/office/drawing/2014/main" id="{C431BEEC-D839-3CA4-77D7-A221C9BDE5D9}"/>
                      </a:ext>
                    </a:extLst>
                  </p:cNvPr>
                  <p:cNvSpPr/>
                  <p:nvPr/>
                </p:nvSpPr>
                <p:spPr>
                  <a:xfrm>
                    <a:off x="-6211860" y="3104404"/>
                    <a:ext cx="113504" cy="92784"/>
                  </a:xfrm>
                  <a:custGeom>
                    <a:avLst/>
                    <a:gdLst>
                      <a:gd name="connsiteX0" fmla="*/ 65068 w 113504"/>
                      <a:gd name="connsiteY0" fmla="*/ 0 h 92784"/>
                      <a:gd name="connsiteX1" fmla="*/ 68114 w 113504"/>
                      <a:gd name="connsiteY1" fmla="*/ 3238 h 92784"/>
                      <a:gd name="connsiteX2" fmla="*/ 73328 w 113504"/>
                      <a:gd name="connsiteY2" fmla="*/ 1674 h 92784"/>
                      <a:gd name="connsiteX3" fmla="*/ 75139 w 113504"/>
                      <a:gd name="connsiteY3" fmla="*/ 3458 h 92784"/>
                      <a:gd name="connsiteX4" fmla="*/ 75413 w 113504"/>
                      <a:gd name="connsiteY4" fmla="*/ 7272 h 92784"/>
                      <a:gd name="connsiteX5" fmla="*/ 79145 w 113504"/>
                      <a:gd name="connsiteY5" fmla="*/ 11361 h 92784"/>
                      <a:gd name="connsiteX6" fmla="*/ 86857 w 113504"/>
                      <a:gd name="connsiteY6" fmla="*/ 10236 h 92784"/>
                      <a:gd name="connsiteX7" fmla="*/ 88805 w 113504"/>
                      <a:gd name="connsiteY7" fmla="*/ 13283 h 92784"/>
                      <a:gd name="connsiteX8" fmla="*/ 95392 w 113504"/>
                      <a:gd name="connsiteY8" fmla="*/ 16054 h 92784"/>
                      <a:gd name="connsiteX9" fmla="*/ 95639 w 113504"/>
                      <a:gd name="connsiteY9" fmla="*/ 20829 h 92784"/>
                      <a:gd name="connsiteX10" fmla="*/ 94706 w 113504"/>
                      <a:gd name="connsiteY10" fmla="*/ 23217 h 92784"/>
                      <a:gd name="connsiteX11" fmla="*/ 91852 w 113504"/>
                      <a:gd name="connsiteY11" fmla="*/ 29529 h 92784"/>
                      <a:gd name="connsiteX12" fmla="*/ 92401 w 113504"/>
                      <a:gd name="connsiteY12" fmla="*/ 32410 h 92784"/>
                      <a:gd name="connsiteX13" fmla="*/ 92208 w 113504"/>
                      <a:gd name="connsiteY13" fmla="*/ 34962 h 92784"/>
                      <a:gd name="connsiteX14" fmla="*/ 94925 w 113504"/>
                      <a:gd name="connsiteY14" fmla="*/ 34167 h 92784"/>
                      <a:gd name="connsiteX15" fmla="*/ 98410 w 113504"/>
                      <a:gd name="connsiteY15" fmla="*/ 35072 h 92784"/>
                      <a:gd name="connsiteX16" fmla="*/ 102198 w 113504"/>
                      <a:gd name="connsiteY16" fmla="*/ 35072 h 92784"/>
                      <a:gd name="connsiteX17" fmla="*/ 107714 w 113504"/>
                      <a:gd name="connsiteY17" fmla="*/ 40698 h 92784"/>
                      <a:gd name="connsiteX18" fmla="*/ 107137 w 113504"/>
                      <a:gd name="connsiteY18" fmla="*/ 43826 h 92784"/>
                      <a:gd name="connsiteX19" fmla="*/ 107220 w 113504"/>
                      <a:gd name="connsiteY19" fmla="*/ 45885 h 92784"/>
                      <a:gd name="connsiteX20" fmla="*/ 110870 w 113504"/>
                      <a:gd name="connsiteY20" fmla="*/ 47010 h 92784"/>
                      <a:gd name="connsiteX21" fmla="*/ 113504 w 113504"/>
                      <a:gd name="connsiteY21" fmla="*/ 54996 h 92784"/>
                      <a:gd name="connsiteX22" fmla="*/ 112324 w 113504"/>
                      <a:gd name="connsiteY22" fmla="*/ 55435 h 92784"/>
                      <a:gd name="connsiteX23" fmla="*/ 107028 w 113504"/>
                      <a:gd name="connsiteY23" fmla="*/ 59634 h 92784"/>
                      <a:gd name="connsiteX24" fmla="*/ 105628 w 113504"/>
                      <a:gd name="connsiteY24" fmla="*/ 63915 h 92784"/>
                      <a:gd name="connsiteX25" fmla="*/ 102308 w 113504"/>
                      <a:gd name="connsiteY25" fmla="*/ 61500 h 92784"/>
                      <a:gd name="connsiteX26" fmla="*/ 98630 w 113504"/>
                      <a:gd name="connsiteY26" fmla="*/ 65150 h 92784"/>
                      <a:gd name="connsiteX27" fmla="*/ 94130 w 113504"/>
                      <a:gd name="connsiteY27" fmla="*/ 76566 h 92784"/>
                      <a:gd name="connsiteX28" fmla="*/ 98438 w 113504"/>
                      <a:gd name="connsiteY28" fmla="*/ 85183 h 92784"/>
                      <a:gd name="connsiteX29" fmla="*/ 96243 w 113504"/>
                      <a:gd name="connsiteY29" fmla="*/ 90562 h 92784"/>
                      <a:gd name="connsiteX30" fmla="*/ 93773 w 113504"/>
                      <a:gd name="connsiteY30" fmla="*/ 90562 h 92784"/>
                      <a:gd name="connsiteX31" fmla="*/ 86006 w 113504"/>
                      <a:gd name="connsiteY31" fmla="*/ 92785 h 92784"/>
                      <a:gd name="connsiteX32" fmla="*/ 83729 w 113504"/>
                      <a:gd name="connsiteY32" fmla="*/ 87324 h 92784"/>
                      <a:gd name="connsiteX33" fmla="*/ 76703 w 113504"/>
                      <a:gd name="connsiteY33" fmla="*/ 82768 h 92784"/>
                      <a:gd name="connsiteX34" fmla="*/ 71269 w 113504"/>
                      <a:gd name="connsiteY34" fmla="*/ 78926 h 92784"/>
                      <a:gd name="connsiteX35" fmla="*/ 68333 w 113504"/>
                      <a:gd name="connsiteY35" fmla="*/ 78569 h 92784"/>
                      <a:gd name="connsiteX36" fmla="*/ 66549 w 113504"/>
                      <a:gd name="connsiteY36" fmla="*/ 71160 h 92784"/>
                      <a:gd name="connsiteX37" fmla="*/ 67784 w 113504"/>
                      <a:gd name="connsiteY37" fmla="*/ 64052 h 92784"/>
                      <a:gd name="connsiteX38" fmla="*/ 66138 w 113504"/>
                      <a:gd name="connsiteY38" fmla="*/ 63064 h 92784"/>
                      <a:gd name="connsiteX39" fmla="*/ 62213 w 113504"/>
                      <a:gd name="connsiteY39" fmla="*/ 70144 h 92784"/>
                      <a:gd name="connsiteX40" fmla="*/ 55435 w 113504"/>
                      <a:gd name="connsiteY40" fmla="*/ 72559 h 92784"/>
                      <a:gd name="connsiteX41" fmla="*/ 49590 w 113504"/>
                      <a:gd name="connsiteY41" fmla="*/ 71818 h 92784"/>
                      <a:gd name="connsiteX42" fmla="*/ 46873 w 113504"/>
                      <a:gd name="connsiteY42" fmla="*/ 70858 h 92784"/>
                      <a:gd name="connsiteX43" fmla="*/ 48794 w 113504"/>
                      <a:gd name="connsiteY43" fmla="*/ 66247 h 92784"/>
                      <a:gd name="connsiteX44" fmla="*/ 48190 w 113504"/>
                      <a:gd name="connsiteY44" fmla="*/ 59030 h 92784"/>
                      <a:gd name="connsiteX45" fmla="*/ 43552 w 113504"/>
                      <a:gd name="connsiteY45" fmla="*/ 53459 h 92784"/>
                      <a:gd name="connsiteX46" fmla="*/ 34386 w 113504"/>
                      <a:gd name="connsiteY46" fmla="*/ 54913 h 92784"/>
                      <a:gd name="connsiteX47" fmla="*/ 33096 w 113504"/>
                      <a:gd name="connsiteY47" fmla="*/ 51703 h 92784"/>
                      <a:gd name="connsiteX48" fmla="*/ 32575 w 113504"/>
                      <a:gd name="connsiteY48" fmla="*/ 48684 h 92784"/>
                      <a:gd name="connsiteX49" fmla="*/ 31395 w 113504"/>
                      <a:gd name="connsiteY49" fmla="*/ 47367 h 92784"/>
                      <a:gd name="connsiteX50" fmla="*/ 29474 w 113504"/>
                      <a:gd name="connsiteY50" fmla="*/ 47065 h 92784"/>
                      <a:gd name="connsiteX51" fmla="*/ 22449 w 113504"/>
                      <a:gd name="connsiteY51" fmla="*/ 45885 h 92784"/>
                      <a:gd name="connsiteX52" fmla="*/ 20527 w 113504"/>
                      <a:gd name="connsiteY52" fmla="*/ 37048 h 92784"/>
                      <a:gd name="connsiteX53" fmla="*/ 18551 w 113504"/>
                      <a:gd name="connsiteY53" fmla="*/ 35045 h 92784"/>
                      <a:gd name="connsiteX54" fmla="*/ 16246 w 113504"/>
                      <a:gd name="connsiteY54" fmla="*/ 33974 h 92784"/>
                      <a:gd name="connsiteX55" fmla="*/ 13886 w 113504"/>
                      <a:gd name="connsiteY55" fmla="*/ 34249 h 92784"/>
                      <a:gd name="connsiteX56" fmla="*/ 9331 w 113504"/>
                      <a:gd name="connsiteY56" fmla="*/ 37295 h 92784"/>
                      <a:gd name="connsiteX57" fmla="*/ 2991 w 113504"/>
                      <a:gd name="connsiteY57" fmla="*/ 31861 h 92784"/>
                      <a:gd name="connsiteX58" fmla="*/ 1784 w 113504"/>
                      <a:gd name="connsiteY58" fmla="*/ 27745 h 92784"/>
                      <a:gd name="connsiteX59" fmla="*/ 933 w 113504"/>
                      <a:gd name="connsiteY59" fmla="*/ 23656 h 92784"/>
                      <a:gd name="connsiteX60" fmla="*/ 0 w 113504"/>
                      <a:gd name="connsiteY60" fmla="*/ 19484 h 92784"/>
                      <a:gd name="connsiteX61" fmla="*/ 5983 w 113504"/>
                      <a:gd name="connsiteY61" fmla="*/ 16082 h 92784"/>
                      <a:gd name="connsiteX62" fmla="*/ 16603 w 113504"/>
                      <a:gd name="connsiteY62" fmla="*/ 9029 h 92784"/>
                      <a:gd name="connsiteX63" fmla="*/ 24122 w 113504"/>
                      <a:gd name="connsiteY63" fmla="*/ 6312 h 92784"/>
                      <a:gd name="connsiteX64" fmla="*/ 24562 w 113504"/>
                      <a:gd name="connsiteY64" fmla="*/ 10813 h 92784"/>
                      <a:gd name="connsiteX65" fmla="*/ 29529 w 113504"/>
                      <a:gd name="connsiteY65" fmla="*/ 10044 h 92784"/>
                      <a:gd name="connsiteX66" fmla="*/ 35429 w 113504"/>
                      <a:gd name="connsiteY66" fmla="*/ 11169 h 92784"/>
                      <a:gd name="connsiteX67" fmla="*/ 38530 w 113504"/>
                      <a:gd name="connsiteY67" fmla="*/ 13776 h 92784"/>
                      <a:gd name="connsiteX68" fmla="*/ 42097 w 113504"/>
                      <a:gd name="connsiteY68" fmla="*/ 13145 h 92784"/>
                      <a:gd name="connsiteX69" fmla="*/ 49672 w 113504"/>
                      <a:gd name="connsiteY69" fmla="*/ 7355 h 92784"/>
                      <a:gd name="connsiteX70" fmla="*/ 49891 w 113504"/>
                      <a:gd name="connsiteY70" fmla="*/ 7081 h 92784"/>
                      <a:gd name="connsiteX71" fmla="*/ 49891 w 113504"/>
                      <a:gd name="connsiteY71" fmla="*/ 6092 h 92784"/>
                      <a:gd name="connsiteX72" fmla="*/ 50989 w 113504"/>
                      <a:gd name="connsiteY72" fmla="*/ 6038 h 92784"/>
                      <a:gd name="connsiteX73" fmla="*/ 54255 w 113504"/>
                      <a:gd name="connsiteY73" fmla="*/ 6504 h 92784"/>
                      <a:gd name="connsiteX74" fmla="*/ 54804 w 113504"/>
                      <a:gd name="connsiteY74" fmla="*/ 2717 h 92784"/>
                      <a:gd name="connsiteX75" fmla="*/ 57164 w 113504"/>
                      <a:gd name="connsiteY75" fmla="*/ 1619 h 92784"/>
                      <a:gd name="connsiteX76" fmla="*/ 62460 w 113504"/>
                      <a:gd name="connsiteY76" fmla="*/ 3678 h 92784"/>
                      <a:gd name="connsiteX77" fmla="*/ 65122 w 113504"/>
                      <a:gd name="connsiteY77" fmla="*/ 82 h 9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13504" h="92784">
                        <a:moveTo>
                          <a:pt x="65068" y="0"/>
                        </a:moveTo>
                        <a:lnTo>
                          <a:pt x="68114" y="3238"/>
                        </a:lnTo>
                        <a:lnTo>
                          <a:pt x="73328" y="1674"/>
                        </a:lnTo>
                        <a:lnTo>
                          <a:pt x="75139" y="3458"/>
                        </a:lnTo>
                        <a:lnTo>
                          <a:pt x="75413" y="7272"/>
                        </a:lnTo>
                        <a:lnTo>
                          <a:pt x="79145" y="11361"/>
                        </a:lnTo>
                        <a:lnTo>
                          <a:pt x="86857" y="10236"/>
                        </a:lnTo>
                        <a:lnTo>
                          <a:pt x="88805" y="13283"/>
                        </a:lnTo>
                        <a:lnTo>
                          <a:pt x="95392" y="16054"/>
                        </a:lnTo>
                        <a:lnTo>
                          <a:pt x="95639" y="20829"/>
                        </a:lnTo>
                        <a:lnTo>
                          <a:pt x="94706" y="23217"/>
                        </a:lnTo>
                        <a:lnTo>
                          <a:pt x="91852" y="29529"/>
                        </a:lnTo>
                        <a:lnTo>
                          <a:pt x="92401" y="32410"/>
                        </a:lnTo>
                        <a:lnTo>
                          <a:pt x="92208" y="34962"/>
                        </a:lnTo>
                        <a:lnTo>
                          <a:pt x="94925" y="34167"/>
                        </a:lnTo>
                        <a:lnTo>
                          <a:pt x="98410" y="35072"/>
                        </a:lnTo>
                        <a:lnTo>
                          <a:pt x="102198" y="35072"/>
                        </a:lnTo>
                        <a:cubicBezTo>
                          <a:pt x="102198" y="35072"/>
                          <a:pt x="107714" y="40698"/>
                          <a:pt x="107714" y="40698"/>
                        </a:cubicBezTo>
                        <a:lnTo>
                          <a:pt x="107137" y="43826"/>
                        </a:lnTo>
                        <a:lnTo>
                          <a:pt x="107220" y="45885"/>
                        </a:lnTo>
                        <a:lnTo>
                          <a:pt x="110870" y="47010"/>
                        </a:lnTo>
                        <a:lnTo>
                          <a:pt x="113504" y="54996"/>
                        </a:lnTo>
                        <a:lnTo>
                          <a:pt x="112324" y="55435"/>
                        </a:lnTo>
                        <a:lnTo>
                          <a:pt x="107028" y="59634"/>
                        </a:lnTo>
                        <a:lnTo>
                          <a:pt x="105628" y="63915"/>
                        </a:lnTo>
                        <a:lnTo>
                          <a:pt x="102308" y="61500"/>
                        </a:lnTo>
                        <a:lnTo>
                          <a:pt x="98630" y="65150"/>
                        </a:lnTo>
                        <a:lnTo>
                          <a:pt x="94130" y="76566"/>
                        </a:lnTo>
                        <a:lnTo>
                          <a:pt x="98438" y="85183"/>
                        </a:lnTo>
                        <a:lnTo>
                          <a:pt x="96243" y="90562"/>
                        </a:lnTo>
                        <a:lnTo>
                          <a:pt x="93773" y="90562"/>
                        </a:lnTo>
                        <a:cubicBezTo>
                          <a:pt x="93773" y="90562"/>
                          <a:pt x="86006" y="92785"/>
                          <a:pt x="86006" y="92785"/>
                        </a:cubicBezTo>
                        <a:lnTo>
                          <a:pt x="83729" y="87324"/>
                        </a:lnTo>
                        <a:lnTo>
                          <a:pt x="76703" y="82768"/>
                        </a:lnTo>
                        <a:lnTo>
                          <a:pt x="71269" y="78926"/>
                        </a:lnTo>
                        <a:lnTo>
                          <a:pt x="68333" y="78569"/>
                        </a:lnTo>
                        <a:lnTo>
                          <a:pt x="66549" y="71160"/>
                        </a:lnTo>
                        <a:lnTo>
                          <a:pt x="67784" y="64052"/>
                        </a:lnTo>
                        <a:lnTo>
                          <a:pt x="66138" y="63064"/>
                        </a:lnTo>
                        <a:lnTo>
                          <a:pt x="62213" y="70144"/>
                        </a:lnTo>
                        <a:lnTo>
                          <a:pt x="55435" y="72559"/>
                        </a:lnTo>
                        <a:lnTo>
                          <a:pt x="49590" y="71818"/>
                        </a:lnTo>
                        <a:lnTo>
                          <a:pt x="46873" y="70858"/>
                        </a:lnTo>
                        <a:lnTo>
                          <a:pt x="48794" y="66247"/>
                        </a:lnTo>
                        <a:lnTo>
                          <a:pt x="48190" y="59030"/>
                        </a:lnTo>
                        <a:lnTo>
                          <a:pt x="43552" y="53459"/>
                        </a:lnTo>
                        <a:lnTo>
                          <a:pt x="34386" y="54913"/>
                        </a:lnTo>
                        <a:lnTo>
                          <a:pt x="33096" y="51703"/>
                        </a:lnTo>
                        <a:lnTo>
                          <a:pt x="32575" y="48684"/>
                        </a:lnTo>
                        <a:lnTo>
                          <a:pt x="31395" y="47367"/>
                        </a:lnTo>
                        <a:lnTo>
                          <a:pt x="29474" y="47065"/>
                        </a:lnTo>
                        <a:lnTo>
                          <a:pt x="22449" y="45885"/>
                        </a:lnTo>
                        <a:lnTo>
                          <a:pt x="20527" y="37048"/>
                        </a:lnTo>
                        <a:lnTo>
                          <a:pt x="18551" y="35045"/>
                        </a:lnTo>
                        <a:lnTo>
                          <a:pt x="16246" y="33974"/>
                        </a:lnTo>
                        <a:lnTo>
                          <a:pt x="13886" y="34249"/>
                        </a:lnTo>
                        <a:lnTo>
                          <a:pt x="9331" y="37295"/>
                        </a:lnTo>
                        <a:lnTo>
                          <a:pt x="2991" y="31861"/>
                        </a:lnTo>
                        <a:lnTo>
                          <a:pt x="1784" y="27745"/>
                        </a:lnTo>
                        <a:lnTo>
                          <a:pt x="933" y="23656"/>
                        </a:lnTo>
                        <a:lnTo>
                          <a:pt x="0" y="19484"/>
                        </a:lnTo>
                        <a:lnTo>
                          <a:pt x="5983" y="16082"/>
                        </a:lnTo>
                        <a:lnTo>
                          <a:pt x="16603" y="9029"/>
                        </a:lnTo>
                        <a:lnTo>
                          <a:pt x="24122" y="6312"/>
                        </a:lnTo>
                        <a:lnTo>
                          <a:pt x="24562" y="10813"/>
                        </a:lnTo>
                        <a:lnTo>
                          <a:pt x="29529" y="10044"/>
                        </a:lnTo>
                        <a:lnTo>
                          <a:pt x="35429" y="11169"/>
                        </a:lnTo>
                        <a:lnTo>
                          <a:pt x="38530" y="13776"/>
                        </a:lnTo>
                        <a:lnTo>
                          <a:pt x="42097" y="13145"/>
                        </a:lnTo>
                        <a:lnTo>
                          <a:pt x="49672" y="7355"/>
                        </a:lnTo>
                        <a:lnTo>
                          <a:pt x="49891" y="7081"/>
                        </a:lnTo>
                        <a:lnTo>
                          <a:pt x="49891" y="6092"/>
                        </a:lnTo>
                        <a:cubicBezTo>
                          <a:pt x="49891" y="6092"/>
                          <a:pt x="50989" y="6038"/>
                          <a:pt x="50989" y="6038"/>
                        </a:cubicBezTo>
                        <a:lnTo>
                          <a:pt x="54255" y="6504"/>
                        </a:lnTo>
                        <a:lnTo>
                          <a:pt x="54804" y="2717"/>
                        </a:lnTo>
                        <a:lnTo>
                          <a:pt x="57164" y="1619"/>
                        </a:lnTo>
                        <a:lnTo>
                          <a:pt x="62460" y="3678"/>
                        </a:lnTo>
                        <a:lnTo>
                          <a:pt x="65122" y="8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8" name="Freeform: Shape 3377">
                    <a:extLst>
                      <a:ext uri="{FF2B5EF4-FFF2-40B4-BE49-F238E27FC236}">
                        <a16:creationId xmlns:a16="http://schemas.microsoft.com/office/drawing/2014/main" id="{1EA56497-6519-9432-4617-0F1CC9812816}"/>
                      </a:ext>
                    </a:extLst>
                  </p:cNvPr>
                  <p:cNvSpPr/>
                  <p:nvPr/>
                </p:nvSpPr>
                <p:spPr>
                  <a:xfrm>
                    <a:off x="-5629136" y="3424526"/>
                    <a:ext cx="183017" cy="118224"/>
                  </a:xfrm>
                  <a:custGeom>
                    <a:avLst/>
                    <a:gdLst>
                      <a:gd name="connsiteX0" fmla="*/ 14627 w 183017"/>
                      <a:gd name="connsiteY0" fmla="*/ 13941 h 118224"/>
                      <a:gd name="connsiteX1" fmla="*/ 18744 w 183017"/>
                      <a:gd name="connsiteY1" fmla="*/ 16740 h 118224"/>
                      <a:gd name="connsiteX2" fmla="*/ 30846 w 183017"/>
                      <a:gd name="connsiteY2" fmla="*/ 15011 h 118224"/>
                      <a:gd name="connsiteX3" fmla="*/ 37378 w 183017"/>
                      <a:gd name="connsiteY3" fmla="*/ 17399 h 118224"/>
                      <a:gd name="connsiteX4" fmla="*/ 51511 w 183017"/>
                      <a:gd name="connsiteY4" fmla="*/ 21104 h 118224"/>
                      <a:gd name="connsiteX5" fmla="*/ 57740 w 183017"/>
                      <a:gd name="connsiteY5" fmla="*/ 21213 h 118224"/>
                      <a:gd name="connsiteX6" fmla="*/ 62350 w 183017"/>
                      <a:gd name="connsiteY6" fmla="*/ 19018 h 118224"/>
                      <a:gd name="connsiteX7" fmla="*/ 67483 w 183017"/>
                      <a:gd name="connsiteY7" fmla="*/ 20171 h 118224"/>
                      <a:gd name="connsiteX8" fmla="*/ 86363 w 183017"/>
                      <a:gd name="connsiteY8" fmla="*/ 22942 h 118224"/>
                      <a:gd name="connsiteX9" fmla="*/ 93663 w 183017"/>
                      <a:gd name="connsiteY9" fmla="*/ 23464 h 118224"/>
                      <a:gd name="connsiteX10" fmla="*/ 97423 w 183017"/>
                      <a:gd name="connsiteY10" fmla="*/ 21625 h 118224"/>
                      <a:gd name="connsiteX11" fmla="*/ 103982 w 183017"/>
                      <a:gd name="connsiteY11" fmla="*/ 16960 h 118224"/>
                      <a:gd name="connsiteX12" fmla="*/ 110568 w 183017"/>
                      <a:gd name="connsiteY12" fmla="*/ 10264 h 118224"/>
                      <a:gd name="connsiteX13" fmla="*/ 117593 w 183017"/>
                      <a:gd name="connsiteY13" fmla="*/ 7382 h 118224"/>
                      <a:gd name="connsiteX14" fmla="*/ 118280 w 183017"/>
                      <a:gd name="connsiteY14" fmla="*/ 7327 h 118224"/>
                      <a:gd name="connsiteX15" fmla="*/ 134965 w 183017"/>
                      <a:gd name="connsiteY15" fmla="*/ 3238 h 118224"/>
                      <a:gd name="connsiteX16" fmla="*/ 144433 w 183017"/>
                      <a:gd name="connsiteY16" fmla="*/ 3732 h 118224"/>
                      <a:gd name="connsiteX17" fmla="*/ 148055 w 183017"/>
                      <a:gd name="connsiteY17" fmla="*/ 8013 h 118224"/>
                      <a:gd name="connsiteX18" fmla="*/ 156919 w 183017"/>
                      <a:gd name="connsiteY18" fmla="*/ 9441 h 118224"/>
                      <a:gd name="connsiteX19" fmla="*/ 163533 w 183017"/>
                      <a:gd name="connsiteY19" fmla="*/ 9358 h 118224"/>
                      <a:gd name="connsiteX20" fmla="*/ 166250 w 183017"/>
                      <a:gd name="connsiteY20" fmla="*/ 15286 h 118224"/>
                      <a:gd name="connsiteX21" fmla="*/ 172424 w 183017"/>
                      <a:gd name="connsiteY21" fmla="*/ 18469 h 118224"/>
                      <a:gd name="connsiteX22" fmla="*/ 182908 w 183017"/>
                      <a:gd name="connsiteY22" fmla="*/ 19567 h 118224"/>
                      <a:gd name="connsiteX23" fmla="*/ 183017 w 183017"/>
                      <a:gd name="connsiteY23" fmla="*/ 28760 h 118224"/>
                      <a:gd name="connsiteX24" fmla="*/ 180383 w 183017"/>
                      <a:gd name="connsiteY24" fmla="*/ 33343 h 118224"/>
                      <a:gd name="connsiteX25" fmla="*/ 171519 w 183017"/>
                      <a:gd name="connsiteY25" fmla="*/ 33014 h 118224"/>
                      <a:gd name="connsiteX26" fmla="*/ 167622 w 183017"/>
                      <a:gd name="connsiteY26" fmla="*/ 36664 h 118224"/>
                      <a:gd name="connsiteX27" fmla="*/ 164137 w 183017"/>
                      <a:gd name="connsiteY27" fmla="*/ 41960 h 118224"/>
                      <a:gd name="connsiteX28" fmla="*/ 162408 w 183017"/>
                      <a:gd name="connsiteY28" fmla="*/ 55929 h 118224"/>
                      <a:gd name="connsiteX29" fmla="*/ 161859 w 183017"/>
                      <a:gd name="connsiteY29" fmla="*/ 60539 h 118224"/>
                      <a:gd name="connsiteX30" fmla="*/ 157551 w 183017"/>
                      <a:gd name="connsiteY30" fmla="*/ 62652 h 118224"/>
                      <a:gd name="connsiteX31" fmla="*/ 156315 w 183017"/>
                      <a:gd name="connsiteY31" fmla="*/ 64162 h 118224"/>
                      <a:gd name="connsiteX32" fmla="*/ 151705 w 183017"/>
                      <a:gd name="connsiteY32" fmla="*/ 69842 h 118224"/>
                      <a:gd name="connsiteX33" fmla="*/ 156919 w 183017"/>
                      <a:gd name="connsiteY33" fmla="*/ 73410 h 118224"/>
                      <a:gd name="connsiteX34" fmla="*/ 166908 w 183017"/>
                      <a:gd name="connsiteY34" fmla="*/ 89986 h 118224"/>
                      <a:gd name="connsiteX35" fmla="*/ 164850 w 183017"/>
                      <a:gd name="connsiteY35" fmla="*/ 90123 h 118224"/>
                      <a:gd name="connsiteX36" fmla="*/ 152885 w 183017"/>
                      <a:gd name="connsiteY36" fmla="*/ 91522 h 118224"/>
                      <a:gd name="connsiteX37" fmla="*/ 150168 w 183017"/>
                      <a:gd name="connsiteY37" fmla="*/ 89931 h 118224"/>
                      <a:gd name="connsiteX38" fmla="*/ 148000 w 183017"/>
                      <a:gd name="connsiteY38" fmla="*/ 88641 h 118224"/>
                      <a:gd name="connsiteX39" fmla="*/ 144597 w 183017"/>
                      <a:gd name="connsiteY39" fmla="*/ 85732 h 118224"/>
                      <a:gd name="connsiteX40" fmla="*/ 138231 w 183017"/>
                      <a:gd name="connsiteY40" fmla="*/ 85814 h 118224"/>
                      <a:gd name="connsiteX41" fmla="*/ 135953 w 183017"/>
                      <a:gd name="connsiteY41" fmla="*/ 88641 h 118224"/>
                      <a:gd name="connsiteX42" fmla="*/ 134992 w 183017"/>
                      <a:gd name="connsiteY42" fmla="*/ 89300 h 118224"/>
                      <a:gd name="connsiteX43" fmla="*/ 132632 w 183017"/>
                      <a:gd name="connsiteY43" fmla="*/ 89903 h 118224"/>
                      <a:gd name="connsiteX44" fmla="*/ 123576 w 183017"/>
                      <a:gd name="connsiteY44" fmla="*/ 92208 h 118224"/>
                      <a:gd name="connsiteX45" fmla="*/ 122807 w 183017"/>
                      <a:gd name="connsiteY45" fmla="*/ 95694 h 118224"/>
                      <a:gd name="connsiteX46" fmla="*/ 117840 w 183017"/>
                      <a:gd name="connsiteY46" fmla="*/ 97258 h 118224"/>
                      <a:gd name="connsiteX47" fmla="*/ 117593 w 183017"/>
                      <a:gd name="connsiteY47" fmla="*/ 100688 h 118224"/>
                      <a:gd name="connsiteX48" fmla="*/ 109690 w 183017"/>
                      <a:gd name="connsiteY48" fmla="*/ 100825 h 118224"/>
                      <a:gd name="connsiteX49" fmla="*/ 110293 w 183017"/>
                      <a:gd name="connsiteY49" fmla="*/ 102390 h 118224"/>
                      <a:gd name="connsiteX50" fmla="*/ 110952 w 183017"/>
                      <a:gd name="connsiteY50" fmla="*/ 104228 h 118224"/>
                      <a:gd name="connsiteX51" fmla="*/ 112160 w 183017"/>
                      <a:gd name="connsiteY51" fmla="*/ 107467 h 118224"/>
                      <a:gd name="connsiteX52" fmla="*/ 111913 w 183017"/>
                      <a:gd name="connsiteY52" fmla="*/ 111940 h 118224"/>
                      <a:gd name="connsiteX53" fmla="*/ 110266 w 183017"/>
                      <a:gd name="connsiteY53" fmla="*/ 114602 h 118224"/>
                      <a:gd name="connsiteX54" fmla="*/ 105546 w 183017"/>
                      <a:gd name="connsiteY54" fmla="*/ 116029 h 118224"/>
                      <a:gd name="connsiteX55" fmla="*/ 104283 w 183017"/>
                      <a:gd name="connsiteY55" fmla="*/ 116550 h 118224"/>
                      <a:gd name="connsiteX56" fmla="*/ 84222 w 183017"/>
                      <a:gd name="connsiteY56" fmla="*/ 118224 h 118224"/>
                      <a:gd name="connsiteX57" fmla="*/ 82905 w 183017"/>
                      <a:gd name="connsiteY57" fmla="*/ 116441 h 118224"/>
                      <a:gd name="connsiteX58" fmla="*/ 74755 w 183017"/>
                      <a:gd name="connsiteY58" fmla="*/ 113614 h 118224"/>
                      <a:gd name="connsiteX59" fmla="*/ 71269 w 183017"/>
                      <a:gd name="connsiteY59" fmla="*/ 114465 h 118224"/>
                      <a:gd name="connsiteX60" fmla="*/ 63421 w 183017"/>
                      <a:gd name="connsiteY60" fmla="*/ 107028 h 118224"/>
                      <a:gd name="connsiteX61" fmla="*/ 49974 w 183017"/>
                      <a:gd name="connsiteY61" fmla="*/ 108098 h 118224"/>
                      <a:gd name="connsiteX62" fmla="*/ 49068 w 183017"/>
                      <a:gd name="connsiteY62" fmla="*/ 110677 h 118224"/>
                      <a:gd name="connsiteX63" fmla="*/ 37185 w 183017"/>
                      <a:gd name="connsiteY63" fmla="*/ 113833 h 118224"/>
                      <a:gd name="connsiteX64" fmla="*/ 16686 w 183017"/>
                      <a:gd name="connsiteY64" fmla="*/ 115315 h 118224"/>
                      <a:gd name="connsiteX65" fmla="*/ 17893 w 183017"/>
                      <a:gd name="connsiteY65" fmla="*/ 108208 h 118224"/>
                      <a:gd name="connsiteX66" fmla="*/ 18524 w 183017"/>
                      <a:gd name="connsiteY66" fmla="*/ 104201 h 118224"/>
                      <a:gd name="connsiteX67" fmla="*/ 18606 w 183017"/>
                      <a:gd name="connsiteY67" fmla="*/ 102362 h 118224"/>
                      <a:gd name="connsiteX68" fmla="*/ 18744 w 183017"/>
                      <a:gd name="connsiteY68" fmla="*/ 99508 h 118224"/>
                      <a:gd name="connsiteX69" fmla="*/ 15423 w 183017"/>
                      <a:gd name="connsiteY69" fmla="*/ 89876 h 118224"/>
                      <a:gd name="connsiteX70" fmla="*/ 14902 w 183017"/>
                      <a:gd name="connsiteY70" fmla="*/ 88394 h 118224"/>
                      <a:gd name="connsiteX71" fmla="*/ 4419 w 183017"/>
                      <a:gd name="connsiteY71" fmla="*/ 83097 h 118224"/>
                      <a:gd name="connsiteX72" fmla="*/ 2607 w 183017"/>
                      <a:gd name="connsiteY72" fmla="*/ 80545 h 118224"/>
                      <a:gd name="connsiteX73" fmla="*/ 0 w 183017"/>
                      <a:gd name="connsiteY73" fmla="*/ 76895 h 118224"/>
                      <a:gd name="connsiteX74" fmla="*/ 3348 w 183017"/>
                      <a:gd name="connsiteY74" fmla="*/ 73355 h 118224"/>
                      <a:gd name="connsiteX75" fmla="*/ 4940 w 183017"/>
                      <a:gd name="connsiteY75" fmla="*/ 71681 h 118224"/>
                      <a:gd name="connsiteX76" fmla="*/ 3129 w 183017"/>
                      <a:gd name="connsiteY76" fmla="*/ 64079 h 118224"/>
                      <a:gd name="connsiteX77" fmla="*/ 2992 w 183017"/>
                      <a:gd name="connsiteY77" fmla="*/ 63448 h 118224"/>
                      <a:gd name="connsiteX78" fmla="*/ 2415 w 183017"/>
                      <a:gd name="connsiteY78" fmla="*/ 56368 h 118224"/>
                      <a:gd name="connsiteX79" fmla="*/ 4556 w 183017"/>
                      <a:gd name="connsiteY79" fmla="*/ 54639 h 118224"/>
                      <a:gd name="connsiteX80" fmla="*/ 11389 w 183017"/>
                      <a:gd name="connsiteY80" fmla="*/ 53788 h 118224"/>
                      <a:gd name="connsiteX81" fmla="*/ 18991 w 183017"/>
                      <a:gd name="connsiteY81" fmla="*/ 41604 h 118224"/>
                      <a:gd name="connsiteX82" fmla="*/ 11362 w 183017"/>
                      <a:gd name="connsiteY82" fmla="*/ 33755 h 118224"/>
                      <a:gd name="connsiteX83" fmla="*/ 9001 w 183017"/>
                      <a:gd name="connsiteY83" fmla="*/ 33124 h 118224"/>
                      <a:gd name="connsiteX84" fmla="*/ 4665 w 183017"/>
                      <a:gd name="connsiteY84" fmla="*/ 28705 h 118224"/>
                      <a:gd name="connsiteX85" fmla="*/ 330 w 183017"/>
                      <a:gd name="connsiteY85" fmla="*/ 17454 h 118224"/>
                      <a:gd name="connsiteX86" fmla="*/ 1729 w 183017"/>
                      <a:gd name="connsiteY86" fmla="*/ 9468 h 118224"/>
                      <a:gd name="connsiteX87" fmla="*/ 5187 w 183017"/>
                      <a:gd name="connsiteY87" fmla="*/ 6971 h 118224"/>
                      <a:gd name="connsiteX88" fmla="*/ 7464 w 183017"/>
                      <a:gd name="connsiteY88" fmla="*/ 5544 h 118224"/>
                      <a:gd name="connsiteX89" fmla="*/ 9276 w 183017"/>
                      <a:gd name="connsiteY89" fmla="*/ 0 h 118224"/>
                      <a:gd name="connsiteX90" fmla="*/ 17838 w 183017"/>
                      <a:gd name="connsiteY90" fmla="*/ 4830 h 118224"/>
                      <a:gd name="connsiteX91" fmla="*/ 19512 w 183017"/>
                      <a:gd name="connsiteY91" fmla="*/ 7135 h 118224"/>
                      <a:gd name="connsiteX92" fmla="*/ 15752 w 183017"/>
                      <a:gd name="connsiteY92" fmla="*/ 9852 h 118224"/>
                      <a:gd name="connsiteX93" fmla="*/ 14655 w 183017"/>
                      <a:gd name="connsiteY93" fmla="*/ 13913 h 11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83017" h="118224">
                        <a:moveTo>
                          <a:pt x="14627" y="13941"/>
                        </a:moveTo>
                        <a:lnTo>
                          <a:pt x="18744" y="16740"/>
                        </a:lnTo>
                        <a:lnTo>
                          <a:pt x="30846" y="15011"/>
                        </a:lnTo>
                        <a:lnTo>
                          <a:pt x="37378" y="17399"/>
                        </a:lnTo>
                        <a:lnTo>
                          <a:pt x="51511" y="21104"/>
                        </a:lnTo>
                        <a:lnTo>
                          <a:pt x="57740" y="21213"/>
                        </a:lnTo>
                        <a:lnTo>
                          <a:pt x="62350" y="19018"/>
                        </a:lnTo>
                        <a:lnTo>
                          <a:pt x="67483" y="20171"/>
                        </a:lnTo>
                        <a:lnTo>
                          <a:pt x="86363" y="22942"/>
                        </a:lnTo>
                        <a:lnTo>
                          <a:pt x="93663" y="23464"/>
                        </a:lnTo>
                        <a:lnTo>
                          <a:pt x="97423" y="21625"/>
                        </a:lnTo>
                        <a:lnTo>
                          <a:pt x="103982" y="16960"/>
                        </a:lnTo>
                        <a:lnTo>
                          <a:pt x="110568" y="10264"/>
                        </a:lnTo>
                        <a:lnTo>
                          <a:pt x="117593" y="7382"/>
                        </a:lnTo>
                        <a:lnTo>
                          <a:pt x="118280" y="7327"/>
                        </a:lnTo>
                        <a:lnTo>
                          <a:pt x="134965" y="3238"/>
                        </a:lnTo>
                        <a:lnTo>
                          <a:pt x="144433" y="3732"/>
                        </a:lnTo>
                        <a:lnTo>
                          <a:pt x="148055" y="8013"/>
                        </a:lnTo>
                        <a:lnTo>
                          <a:pt x="156919" y="9441"/>
                        </a:lnTo>
                        <a:lnTo>
                          <a:pt x="163533" y="9358"/>
                        </a:lnTo>
                        <a:lnTo>
                          <a:pt x="166250" y="15286"/>
                        </a:lnTo>
                        <a:lnTo>
                          <a:pt x="172424" y="18469"/>
                        </a:lnTo>
                        <a:lnTo>
                          <a:pt x="182908" y="19567"/>
                        </a:lnTo>
                        <a:lnTo>
                          <a:pt x="183017" y="28760"/>
                        </a:lnTo>
                        <a:lnTo>
                          <a:pt x="180383" y="33343"/>
                        </a:lnTo>
                        <a:lnTo>
                          <a:pt x="171519" y="33014"/>
                        </a:lnTo>
                        <a:lnTo>
                          <a:pt x="167622" y="36664"/>
                        </a:lnTo>
                        <a:lnTo>
                          <a:pt x="164137" y="41960"/>
                        </a:lnTo>
                        <a:lnTo>
                          <a:pt x="162408" y="55929"/>
                        </a:lnTo>
                        <a:lnTo>
                          <a:pt x="161859" y="60539"/>
                        </a:lnTo>
                        <a:lnTo>
                          <a:pt x="157551" y="62652"/>
                        </a:lnTo>
                        <a:lnTo>
                          <a:pt x="156315" y="64162"/>
                        </a:lnTo>
                        <a:lnTo>
                          <a:pt x="151705" y="69842"/>
                        </a:lnTo>
                        <a:lnTo>
                          <a:pt x="156919" y="73410"/>
                        </a:lnTo>
                        <a:lnTo>
                          <a:pt x="166908" y="89986"/>
                        </a:lnTo>
                        <a:lnTo>
                          <a:pt x="164850" y="90123"/>
                        </a:lnTo>
                        <a:lnTo>
                          <a:pt x="152885" y="91522"/>
                        </a:lnTo>
                        <a:lnTo>
                          <a:pt x="150168" y="89931"/>
                        </a:lnTo>
                        <a:lnTo>
                          <a:pt x="148000" y="88641"/>
                        </a:lnTo>
                        <a:lnTo>
                          <a:pt x="144597" y="85732"/>
                        </a:lnTo>
                        <a:lnTo>
                          <a:pt x="138231" y="85814"/>
                        </a:lnTo>
                        <a:lnTo>
                          <a:pt x="135953" y="88641"/>
                        </a:lnTo>
                        <a:lnTo>
                          <a:pt x="134992" y="89300"/>
                        </a:lnTo>
                        <a:lnTo>
                          <a:pt x="132632" y="89903"/>
                        </a:lnTo>
                        <a:lnTo>
                          <a:pt x="123576" y="92208"/>
                        </a:lnTo>
                        <a:lnTo>
                          <a:pt x="122807" y="95694"/>
                        </a:lnTo>
                        <a:lnTo>
                          <a:pt x="117840" y="97258"/>
                        </a:lnTo>
                        <a:lnTo>
                          <a:pt x="117593" y="100688"/>
                        </a:lnTo>
                        <a:lnTo>
                          <a:pt x="109690" y="100825"/>
                        </a:lnTo>
                        <a:lnTo>
                          <a:pt x="110293" y="102390"/>
                        </a:lnTo>
                        <a:lnTo>
                          <a:pt x="110952" y="104228"/>
                        </a:lnTo>
                        <a:lnTo>
                          <a:pt x="112160" y="107467"/>
                        </a:lnTo>
                        <a:lnTo>
                          <a:pt x="111913" y="111940"/>
                        </a:lnTo>
                        <a:lnTo>
                          <a:pt x="110266" y="114602"/>
                        </a:lnTo>
                        <a:lnTo>
                          <a:pt x="105546" y="116029"/>
                        </a:lnTo>
                        <a:lnTo>
                          <a:pt x="104283" y="116550"/>
                        </a:lnTo>
                        <a:lnTo>
                          <a:pt x="84222" y="118224"/>
                        </a:lnTo>
                        <a:lnTo>
                          <a:pt x="82905" y="116441"/>
                        </a:lnTo>
                        <a:lnTo>
                          <a:pt x="74755" y="113614"/>
                        </a:lnTo>
                        <a:lnTo>
                          <a:pt x="71269" y="114465"/>
                        </a:lnTo>
                        <a:lnTo>
                          <a:pt x="63421" y="107028"/>
                        </a:lnTo>
                        <a:lnTo>
                          <a:pt x="49974" y="108098"/>
                        </a:lnTo>
                        <a:lnTo>
                          <a:pt x="49068" y="110677"/>
                        </a:lnTo>
                        <a:lnTo>
                          <a:pt x="37185" y="113833"/>
                        </a:lnTo>
                        <a:lnTo>
                          <a:pt x="16686" y="115315"/>
                        </a:lnTo>
                        <a:lnTo>
                          <a:pt x="17893" y="108208"/>
                        </a:lnTo>
                        <a:lnTo>
                          <a:pt x="18524" y="104201"/>
                        </a:lnTo>
                        <a:lnTo>
                          <a:pt x="18606" y="102362"/>
                        </a:lnTo>
                        <a:lnTo>
                          <a:pt x="18744" y="99508"/>
                        </a:lnTo>
                        <a:lnTo>
                          <a:pt x="15423" y="89876"/>
                        </a:lnTo>
                        <a:lnTo>
                          <a:pt x="14902" y="88394"/>
                        </a:lnTo>
                        <a:lnTo>
                          <a:pt x="4419" y="83097"/>
                        </a:lnTo>
                        <a:lnTo>
                          <a:pt x="2607" y="80545"/>
                        </a:lnTo>
                        <a:lnTo>
                          <a:pt x="0" y="76895"/>
                        </a:lnTo>
                        <a:lnTo>
                          <a:pt x="3348" y="73355"/>
                        </a:lnTo>
                        <a:lnTo>
                          <a:pt x="4940" y="71681"/>
                        </a:lnTo>
                        <a:lnTo>
                          <a:pt x="3129" y="64079"/>
                        </a:lnTo>
                        <a:lnTo>
                          <a:pt x="2992" y="63448"/>
                        </a:lnTo>
                        <a:lnTo>
                          <a:pt x="2415" y="56368"/>
                        </a:lnTo>
                        <a:lnTo>
                          <a:pt x="4556" y="54639"/>
                        </a:lnTo>
                        <a:lnTo>
                          <a:pt x="11389" y="53788"/>
                        </a:lnTo>
                        <a:lnTo>
                          <a:pt x="18991" y="41604"/>
                        </a:lnTo>
                        <a:lnTo>
                          <a:pt x="11362" y="33755"/>
                        </a:lnTo>
                        <a:lnTo>
                          <a:pt x="9001" y="33124"/>
                        </a:lnTo>
                        <a:lnTo>
                          <a:pt x="4665" y="28705"/>
                        </a:lnTo>
                        <a:lnTo>
                          <a:pt x="330" y="17454"/>
                        </a:lnTo>
                        <a:lnTo>
                          <a:pt x="1729" y="9468"/>
                        </a:lnTo>
                        <a:lnTo>
                          <a:pt x="5187" y="6971"/>
                        </a:lnTo>
                        <a:lnTo>
                          <a:pt x="7464" y="5544"/>
                        </a:lnTo>
                        <a:lnTo>
                          <a:pt x="9276" y="0"/>
                        </a:lnTo>
                        <a:lnTo>
                          <a:pt x="17838" y="4830"/>
                        </a:lnTo>
                        <a:lnTo>
                          <a:pt x="19512" y="7135"/>
                        </a:lnTo>
                        <a:lnTo>
                          <a:pt x="15752" y="9852"/>
                        </a:lnTo>
                        <a:lnTo>
                          <a:pt x="14655" y="1391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79" name="Freeform: Shape 3378">
                    <a:extLst>
                      <a:ext uri="{FF2B5EF4-FFF2-40B4-BE49-F238E27FC236}">
                        <a16:creationId xmlns:a16="http://schemas.microsoft.com/office/drawing/2014/main" id="{3EEFCC4C-64B6-5A18-42B3-BAF174E696B7}"/>
                      </a:ext>
                    </a:extLst>
                  </p:cNvPr>
                  <p:cNvSpPr/>
                  <p:nvPr/>
                </p:nvSpPr>
                <p:spPr>
                  <a:xfrm>
                    <a:off x="-6111666" y="3272684"/>
                    <a:ext cx="132851" cy="84743"/>
                  </a:xfrm>
                  <a:custGeom>
                    <a:avLst/>
                    <a:gdLst>
                      <a:gd name="connsiteX0" fmla="*/ 79886 w 132851"/>
                      <a:gd name="connsiteY0" fmla="*/ 5077 h 84743"/>
                      <a:gd name="connsiteX1" fmla="*/ 83564 w 132851"/>
                      <a:gd name="connsiteY1" fmla="*/ 5489 h 84743"/>
                      <a:gd name="connsiteX2" fmla="*/ 84909 w 132851"/>
                      <a:gd name="connsiteY2" fmla="*/ 4308 h 84743"/>
                      <a:gd name="connsiteX3" fmla="*/ 85869 w 132851"/>
                      <a:gd name="connsiteY3" fmla="*/ 5845 h 84743"/>
                      <a:gd name="connsiteX4" fmla="*/ 94953 w 132851"/>
                      <a:gd name="connsiteY4" fmla="*/ 6367 h 84743"/>
                      <a:gd name="connsiteX5" fmla="*/ 100304 w 132851"/>
                      <a:gd name="connsiteY5" fmla="*/ 7574 h 84743"/>
                      <a:gd name="connsiteX6" fmla="*/ 104173 w 132851"/>
                      <a:gd name="connsiteY6" fmla="*/ 10895 h 84743"/>
                      <a:gd name="connsiteX7" fmla="*/ 106012 w 132851"/>
                      <a:gd name="connsiteY7" fmla="*/ 11334 h 84743"/>
                      <a:gd name="connsiteX8" fmla="*/ 109031 w 132851"/>
                      <a:gd name="connsiteY8" fmla="*/ 17371 h 84743"/>
                      <a:gd name="connsiteX9" fmla="*/ 105189 w 132851"/>
                      <a:gd name="connsiteY9" fmla="*/ 23107 h 84743"/>
                      <a:gd name="connsiteX10" fmla="*/ 103597 w 132851"/>
                      <a:gd name="connsiteY10" fmla="*/ 32575 h 84743"/>
                      <a:gd name="connsiteX11" fmla="*/ 107439 w 132851"/>
                      <a:gd name="connsiteY11" fmla="*/ 32163 h 84743"/>
                      <a:gd name="connsiteX12" fmla="*/ 114465 w 132851"/>
                      <a:gd name="connsiteY12" fmla="*/ 34166 h 84743"/>
                      <a:gd name="connsiteX13" fmla="*/ 116358 w 132851"/>
                      <a:gd name="connsiteY13" fmla="*/ 37789 h 84743"/>
                      <a:gd name="connsiteX14" fmla="*/ 123219 w 132851"/>
                      <a:gd name="connsiteY14" fmla="*/ 41192 h 84743"/>
                      <a:gd name="connsiteX15" fmla="*/ 130574 w 132851"/>
                      <a:gd name="connsiteY15" fmla="*/ 35484 h 84743"/>
                      <a:gd name="connsiteX16" fmla="*/ 132852 w 132851"/>
                      <a:gd name="connsiteY16" fmla="*/ 37569 h 84743"/>
                      <a:gd name="connsiteX17" fmla="*/ 132769 w 132851"/>
                      <a:gd name="connsiteY17" fmla="*/ 41027 h 84743"/>
                      <a:gd name="connsiteX18" fmla="*/ 130683 w 132851"/>
                      <a:gd name="connsiteY18" fmla="*/ 48519 h 84743"/>
                      <a:gd name="connsiteX19" fmla="*/ 132742 w 132851"/>
                      <a:gd name="connsiteY19" fmla="*/ 51949 h 84743"/>
                      <a:gd name="connsiteX20" fmla="*/ 132275 w 132851"/>
                      <a:gd name="connsiteY20" fmla="*/ 54941 h 84743"/>
                      <a:gd name="connsiteX21" fmla="*/ 125387 w 132851"/>
                      <a:gd name="connsiteY21" fmla="*/ 51071 h 84743"/>
                      <a:gd name="connsiteX22" fmla="*/ 122121 w 132851"/>
                      <a:gd name="connsiteY22" fmla="*/ 52773 h 84743"/>
                      <a:gd name="connsiteX23" fmla="*/ 120475 w 132851"/>
                      <a:gd name="connsiteY23" fmla="*/ 57658 h 84743"/>
                      <a:gd name="connsiteX24" fmla="*/ 122780 w 132851"/>
                      <a:gd name="connsiteY24" fmla="*/ 60512 h 84743"/>
                      <a:gd name="connsiteX25" fmla="*/ 123521 w 132851"/>
                      <a:gd name="connsiteY25" fmla="*/ 66000 h 84743"/>
                      <a:gd name="connsiteX26" fmla="*/ 121710 w 132851"/>
                      <a:gd name="connsiteY26" fmla="*/ 67345 h 84743"/>
                      <a:gd name="connsiteX27" fmla="*/ 116331 w 132851"/>
                      <a:gd name="connsiteY27" fmla="*/ 61829 h 84743"/>
                      <a:gd name="connsiteX28" fmla="*/ 106177 w 132851"/>
                      <a:gd name="connsiteY28" fmla="*/ 64573 h 84743"/>
                      <a:gd name="connsiteX29" fmla="*/ 102390 w 132851"/>
                      <a:gd name="connsiteY29" fmla="*/ 57164 h 84743"/>
                      <a:gd name="connsiteX30" fmla="*/ 98850 w 132851"/>
                      <a:gd name="connsiteY30" fmla="*/ 56450 h 84743"/>
                      <a:gd name="connsiteX31" fmla="*/ 97258 w 132851"/>
                      <a:gd name="connsiteY31" fmla="*/ 58289 h 84743"/>
                      <a:gd name="connsiteX32" fmla="*/ 96791 w 132851"/>
                      <a:gd name="connsiteY32" fmla="*/ 67620 h 84743"/>
                      <a:gd name="connsiteX33" fmla="*/ 94184 w 132851"/>
                      <a:gd name="connsiteY33" fmla="*/ 70364 h 84743"/>
                      <a:gd name="connsiteX34" fmla="*/ 90342 w 132851"/>
                      <a:gd name="connsiteY34" fmla="*/ 76676 h 84743"/>
                      <a:gd name="connsiteX35" fmla="*/ 90617 w 132851"/>
                      <a:gd name="connsiteY35" fmla="*/ 83042 h 84743"/>
                      <a:gd name="connsiteX36" fmla="*/ 86912 w 132851"/>
                      <a:gd name="connsiteY36" fmla="*/ 84744 h 84743"/>
                      <a:gd name="connsiteX37" fmla="*/ 84470 w 132851"/>
                      <a:gd name="connsiteY37" fmla="*/ 74755 h 84743"/>
                      <a:gd name="connsiteX38" fmla="*/ 81067 w 132851"/>
                      <a:gd name="connsiteY38" fmla="*/ 73437 h 84743"/>
                      <a:gd name="connsiteX39" fmla="*/ 73712 w 132851"/>
                      <a:gd name="connsiteY39" fmla="*/ 66879 h 84743"/>
                      <a:gd name="connsiteX40" fmla="*/ 73547 w 132851"/>
                      <a:gd name="connsiteY40" fmla="*/ 59743 h 84743"/>
                      <a:gd name="connsiteX41" fmla="*/ 71407 w 132851"/>
                      <a:gd name="connsiteY41" fmla="*/ 58344 h 84743"/>
                      <a:gd name="connsiteX42" fmla="*/ 63311 w 132851"/>
                      <a:gd name="connsiteY42" fmla="*/ 66357 h 84743"/>
                      <a:gd name="connsiteX43" fmla="*/ 64107 w 132851"/>
                      <a:gd name="connsiteY43" fmla="*/ 71022 h 84743"/>
                      <a:gd name="connsiteX44" fmla="*/ 56478 w 132851"/>
                      <a:gd name="connsiteY44" fmla="*/ 80627 h 84743"/>
                      <a:gd name="connsiteX45" fmla="*/ 56066 w 132851"/>
                      <a:gd name="connsiteY45" fmla="*/ 81066 h 84743"/>
                      <a:gd name="connsiteX46" fmla="*/ 47806 w 132851"/>
                      <a:gd name="connsiteY46" fmla="*/ 78899 h 84743"/>
                      <a:gd name="connsiteX47" fmla="*/ 35182 w 132851"/>
                      <a:gd name="connsiteY47" fmla="*/ 83344 h 84743"/>
                      <a:gd name="connsiteX48" fmla="*/ 31999 w 132851"/>
                      <a:gd name="connsiteY48" fmla="*/ 80819 h 84743"/>
                      <a:gd name="connsiteX49" fmla="*/ 25275 w 132851"/>
                      <a:gd name="connsiteY49" fmla="*/ 70858 h 84743"/>
                      <a:gd name="connsiteX50" fmla="*/ 25385 w 132851"/>
                      <a:gd name="connsiteY50" fmla="*/ 59359 h 84743"/>
                      <a:gd name="connsiteX51" fmla="*/ 15999 w 132851"/>
                      <a:gd name="connsiteY51" fmla="*/ 58426 h 84743"/>
                      <a:gd name="connsiteX52" fmla="*/ 7712 w 132851"/>
                      <a:gd name="connsiteY52" fmla="*/ 64299 h 84743"/>
                      <a:gd name="connsiteX53" fmla="*/ 8150 w 132851"/>
                      <a:gd name="connsiteY53" fmla="*/ 69156 h 84743"/>
                      <a:gd name="connsiteX54" fmla="*/ 0 w 132851"/>
                      <a:gd name="connsiteY54" fmla="*/ 71928 h 84743"/>
                      <a:gd name="connsiteX55" fmla="*/ 4967 w 132851"/>
                      <a:gd name="connsiteY55" fmla="*/ 64052 h 84743"/>
                      <a:gd name="connsiteX56" fmla="*/ 5489 w 132851"/>
                      <a:gd name="connsiteY56" fmla="*/ 61747 h 84743"/>
                      <a:gd name="connsiteX57" fmla="*/ 3183 w 132851"/>
                      <a:gd name="connsiteY57" fmla="*/ 59853 h 84743"/>
                      <a:gd name="connsiteX58" fmla="*/ 5352 w 132851"/>
                      <a:gd name="connsiteY58" fmla="*/ 53816 h 84743"/>
                      <a:gd name="connsiteX59" fmla="*/ 13337 w 132851"/>
                      <a:gd name="connsiteY59" fmla="*/ 45418 h 84743"/>
                      <a:gd name="connsiteX60" fmla="*/ 14819 w 132851"/>
                      <a:gd name="connsiteY60" fmla="*/ 41192 h 84743"/>
                      <a:gd name="connsiteX61" fmla="*/ 14929 w 132851"/>
                      <a:gd name="connsiteY61" fmla="*/ 37624 h 84743"/>
                      <a:gd name="connsiteX62" fmla="*/ 26565 w 132851"/>
                      <a:gd name="connsiteY62" fmla="*/ 27662 h 84743"/>
                      <a:gd name="connsiteX63" fmla="*/ 31395 w 132851"/>
                      <a:gd name="connsiteY63" fmla="*/ 20445 h 84743"/>
                      <a:gd name="connsiteX64" fmla="*/ 28870 w 132851"/>
                      <a:gd name="connsiteY64" fmla="*/ 18579 h 84743"/>
                      <a:gd name="connsiteX65" fmla="*/ 28925 w 132851"/>
                      <a:gd name="connsiteY65" fmla="*/ 16027 h 84743"/>
                      <a:gd name="connsiteX66" fmla="*/ 34523 w 132851"/>
                      <a:gd name="connsiteY66" fmla="*/ 13008 h 84743"/>
                      <a:gd name="connsiteX67" fmla="*/ 37267 w 132851"/>
                      <a:gd name="connsiteY67" fmla="*/ 16164 h 84743"/>
                      <a:gd name="connsiteX68" fmla="*/ 41905 w 132851"/>
                      <a:gd name="connsiteY68" fmla="*/ 16082 h 84743"/>
                      <a:gd name="connsiteX69" fmla="*/ 45720 w 132851"/>
                      <a:gd name="connsiteY69" fmla="*/ 13035 h 84743"/>
                      <a:gd name="connsiteX70" fmla="*/ 47037 w 132851"/>
                      <a:gd name="connsiteY70" fmla="*/ 10319 h 84743"/>
                      <a:gd name="connsiteX71" fmla="*/ 48025 w 132851"/>
                      <a:gd name="connsiteY71" fmla="*/ 9221 h 84743"/>
                      <a:gd name="connsiteX72" fmla="*/ 49342 w 132851"/>
                      <a:gd name="connsiteY72" fmla="*/ 10483 h 84743"/>
                      <a:gd name="connsiteX73" fmla="*/ 51702 w 132851"/>
                      <a:gd name="connsiteY73" fmla="*/ 11416 h 84743"/>
                      <a:gd name="connsiteX74" fmla="*/ 56999 w 132851"/>
                      <a:gd name="connsiteY74" fmla="*/ 9385 h 84743"/>
                      <a:gd name="connsiteX75" fmla="*/ 72641 w 132851"/>
                      <a:gd name="connsiteY75" fmla="*/ 10181 h 84743"/>
                      <a:gd name="connsiteX76" fmla="*/ 77993 w 132851"/>
                      <a:gd name="connsiteY76" fmla="*/ 5845 h 84743"/>
                      <a:gd name="connsiteX77" fmla="*/ 74782 w 132851"/>
                      <a:gd name="connsiteY77" fmla="*/ 6696 h 84743"/>
                      <a:gd name="connsiteX78" fmla="*/ 72614 w 132851"/>
                      <a:gd name="connsiteY78" fmla="*/ 5900 h 84743"/>
                      <a:gd name="connsiteX79" fmla="*/ 75139 w 132851"/>
                      <a:gd name="connsiteY79" fmla="*/ 1097 h 84743"/>
                      <a:gd name="connsiteX80" fmla="*/ 78212 w 132851"/>
                      <a:gd name="connsiteY80" fmla="*/ 0 h 84743"/>
                      <a:gd name="connsiteX81" fmla="*/ 80436 w 132851"/>
                      <a:gd name="connsiteY81" fmla="*/ 2579 h 84743"/>
                      <a:gd name="connsiteX82" fmla="*/ 79667 w 132851"/>
                      <a:gd name="connsiteY82" fmla="*/ 5049 h 84743"/>
                      <a:gd name="connsiteX83" fmla="*/ 79886 w 132851"/>
                      <a:gd name="connsiteY83" fmla="*/ 5104 h 84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2851" h="84743">
                        <a:moveTo>
                          <a:pt x="79886" y="5077"/>
                        </a:moveTo>
                        <a:lnTo>
                          <a:pt x="83564" y="5489"/>
                        </a:lnTo>
                        <a:lnTo>
                          <a:pt x="84909" y="4308"/>
                        </a:lnTo>
                        <a:lnTo>
                          <a:pt x="85869" y="5845"/>
                        </a:lnTo>
                        <a:lnTo>
                          <a:pt x="94953" y="6367"/>
                        </a:lnTo>
                        <a:lnTo>
                          <a:pt x="100304" y="7574"/>
                        </a:lnTo>
                        <a:lnTo>
                          <a:pt x="104173" y="10895"/>
                        </a:lnTo>
                        <a:lnTo>
                          <a:pt x="106012" y="11334"/>
                        </a:lnTo>
                        <a:lnTo>
                          <a:pt x="109031" y="17371"/>
                        </a:lnTo>
                        <a:lnTo>
                          <a:pt x="105189" y="23107"/>
                        </a:lnTo>
                        <a:lnTo>
                          <a:pt x="103597" y="32575"/>
                        </a:lnTo>
                        <a:lnTo>
                          <a:pt x="107439" y="32163"/>
                        </a:lnTo>
                        <a:lnTo>
                          <a:pt x="114465" y="34166"/>
                        </a:lnTo>
                        <a:lnTo>
                          <a:pt x="116358" y="37789"/>
                        </a:lnTo>
                        <a:lnTo>
                          <a:pt x="123219" y="41192"/>
                        </a:lnTo>
                        <a:lnTo>
                          <a:pt x="130574" y="35484"/>
                        </a:lnTo>
                        <a:lnTo>
                          <a:pt x="132852" y="37569"/>
                        </a:lnTo>
                        <a:lnTo>
                          <a:pt x="132769" y="41027"/>
                        </a:lnTo>
                        <a:lnTo>
                          <a:pt x="130683" y="48519"/>
                        </a:lnTo>
                        <a:lnTo>
                          <a:pt x="132742" y="51949"/>
                        </a:lnTo>
                        <a:lnTo>
                          <a:pt x="132275" y="54941"/>
                        </a:lnTo>
                        <a:lnTo>
                          <a:pt x="125387" y="51071"/>
                        </a:lnTo>
                        <a:lnTo>
                          <a:pt x="122121" y="52773"/>
                        </a:lnTo>
                        <a:lnTo>
                          <a:pt x="120475" y="57658"/>
                        </a:lnTo>
                        <a:lnTo>
                          <a:pt x="122780" y="60512"/>
                        </a:lnTo>
                        <a:lnTo>
                          <a:pt x="123521" y="66000"/>
                        </a:lnTo>
                        <a:lnTo>
                          <a:pt x="121710" y="67345"/>
                        </a:lnTo>
                        <a:lnTo>
                          <a:pt x="116331" y="61829"/>
                        </a:lnTo>
                        <a:lnTo>
                          <a:pt x="106177" y="64573"/>
                        </a:lnTo>
                        <a:lnTo>
                          <a:pt x="102390" y="57164"/>
                        </a:lnTo>
                        <a:lnTo>
                          <a:pt x="98850" y="56450"/>
                        </a:lnTo>
                        <a:lnTo>
                          <a:pt x="97258" y="58289"/>
                        </a:lnTo>
                        <a:lnTo>
                          <a:pt x="96791" y="67620"/>
                        </a:lnTo>
                        <a:lnTo>
                          <a:pt x="94184" y="70364"/>
                        </a:lnTo>
                        <a:lnTo>
                          <a:pt x="90342" y="76676"/>
                        </a:lnTo>
                        <a:lnTo>
                          <a:pt x="90617" y="83042"/>
                        </a:lnTo>
                        <a:lnTo>
                          <a:pt x="86912" y="84744"/>
                        </a:lnTo>
                        <a:lnTo>
                          <a:pt x="84470" y="74755"/>
                        </a:lnTo>
                        <a:lnTo>
                          <a:pt x="81067" y="73437"/>
                        </a:lnTo>
                        <a:lnTo>
                          <a:pt x="73712" y="66879"/>
                        </a:lnTo>
                        <a:lnTo>
                          <a:pt x="73547" y="59743"/>
                        </a:lnTo>
                        <a:lnTo>
                          <a:pt x="71407" y="58344"/>
                        </a:lnTo>
                        <a:lnTo>
                          <a:pt x="63311" y="66357"/>
                        </a:lnTo>
                        <a:lnTo>
                          <a:pt x="64107" y="71022"/>
                        </a:lnTo>
                        <a:lnTo>
                          <a:pt x="56478" y="80627"/>
                        </a:lnTo>
                        <a:lnTo>
                          <a:pt x="56066" y="81066"/>
                        </a:lnTo>
                        <a:lnTo>
                          <a:pt x="47806" y="78899"/>
                        </a:lnTo>
                        <a:lnTo>
                          <a:pt x="35182" y="83344"/>
                        </a:lnTo>
                        <a:lnTo>
                          <a:pt x="31999" y="80819"/>
                        </a:lnTo>
                        <a:lnTo>
                          <a:pt x="25275" y="70858"/>
                        </a:lnTo>
                        <a:lnTo>
                          <a:pt x="25385" y="59359"/>
                        </a:lnTo>
                        <a:lnTo>
                          <a:pt x="15999" y="58426"/>
                        </a:lnTo>
                        <a:lnTo>
                          <a:pt x="7712" y="64299"/>
                        </a:lnTo>
                        <a:lnTo>
                          <a:pt x="8150" y="69156"/>
                        </a:lnTo>
                        <a:lnTo>
                          <a:pt x="0" y="71928"/>
                        </a:lnTo>
                        <a:lnTo>
                          <a:pt x="4967" y="64052"/>
                        </a:lnTo>
                        <a:lnTo>
                          <a:pt x="5489" y="61747"/>
                        </a:lnTo>
                        <a:lnTo>
                          <a:pt x="3183" y="59853"/>
                        </a:lnTo>
                        <a:lnTo>
                          <a:pt x="5352" y="53816"/>
                        </a:lnTo>
                        <a:lnTo>
                          <a:pt x="13337" y="45418"/>
                        </a:lnTo>
                        <a:lnTo>
                          <a:pt x="14819" y="41192"/>
                        </a:lnTo>
                        <a:lnTo>
                          <a:pt x="14929" y="37624"/>
                        </a:lnTo>
                        <a:lnTo>
                          <a:pt x="26565" y="27662"/>
                        </a:lnTo>
                        <a:lnTo>
                          <a:pt x="31395" y="20445"/>
                        </a:lnTo>
                        <a:lnTo>
                          <a:pt x="28870" y="18579"/>
                        </a:lnTo>
                        <a:lnTo>
                          <a:pt x="28925" y="16027"/>
                        </a:lnTo>
                        <a:lnTo>
                          <a:pt x="34523" y="13008"/>
                        </a:lnTo>
                        <a:lnTo>
                          <a:pt x="37267" y="16164"/>
                        </a:lnTo>
                        <a:lnTo>
                          <a:pt x="41905" y="16082"/>
                        </a:lnTo>
                        <a:lnTo>
                          <a:pt x="45720" y="13035"/>
                        </a:lnTo>
                        <a:lnTo>
                          <a:pt x="47037" y="10319"/>
                        </a:lnTo>
                        <a:lnTo>
                          <a:pt x="48025" y="9221"/>
                        </a:lnTo>
                        <a:lnTo>
                          <a:pt x="49342" y="10483"/>
                        </a:lnTo>
                        <a:lnTo>
                          <a:pt x="51702" y="11416"/>
                        </a:lnTo>
                        <a:lnTo>
                          <a:pt x="56999" y="9385"/>
                        </a:lnTo>
                        <a:lnTo>
                          <a:pt x="72641" y="10181"/>
                        </a:lnTo>
                        <a:lnTo>
                          <a:pt x="77993" y="5845"/>
                        </a:lnTo>
                        <a:lnTo>
                          <a:pt x="74782" y="6696"/>
                        </a:lnTo>
                        <a:lnTo>
                          <a:pt x="72614" y="5900"/>
                        </a:lnTo>
                        <a:lnTo>
                          <a:pt x="75139" y="1097"/>
                        </a:lnTo>
                        <a:lnTo>
                          <a:pt x="78212" y="0"/>
                        </a:lnTo>
                        <a:lnTo>
                          <a:pt x="80436" y="2579"/>
                        </a:lnTo>
                        <a:lnTo>
                          <a:pt x="79667" y="5049"/>
                        </a:lnTo>
                        <a:lnTo>
                          <a:pt x="79886" y="510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0" name="Freeform: Shape 3379">
                    <a:extLst>
                      <a:ext uri="{FF2B5EF4-FFF2-40B4-BE49-F238E27FC236}">
                        <a16:creationId xmlns:a16="http://schemas.microsoft.com/office/drawing/2014/main" id="{570558D7-7F4D-DE41-6C2F-0142ADAAE8F3}"/>
                      </a:ext>
                    </a:extLst>
                  </p:cNvPr>
                  <p:cNvSpPr/>
                  <p:nvPr/>
                </p:nvSpPr>
                <p:spPr>
                  <a:xfrm>
                    <a:off x="-6113834" y="2936727"/>
                    <a:ext cx="268941" cy="358981"/>
                  </a:xfrm>
                  <a:custGeom>
                    <a:avLst/>
                    <a:gdLst>
                      <a:gd name="connsiteX0" fmla="*/ 95090 w 268941"/>
                      <a:gd name="connsiteY0" fmla="*/ 2086 h 358981"/>
                      <a:gd name="connsiteX1" fmla="*/ 100414 w 268941"/>
                      <a:gd name="connsiteY1" fmla="*/ 5297 h 358981"/>
                      <a:gd name="connsiteX2" fmla="*/ 104119 w 268941"/>
                      <a:gd name="connsiteY2" fmla="*/ 4226 h 358981"/>
                      <a:gd name="connsiteX3" fmla="*/ 104201 w 268941"/>
                      <a:gd name="connsiteY3" fmla="*/ 4665 h 358981"/>
                      <a:gd name="connsiteX4" fmla="*/ 106232 w 268941"/>
                      <a:gd name="connsiteY4" fmla="*/ 4665 h 358981"/>
                      <a:gd name="connsiteX5" fmla="*/ 119020 w 268941"/>
                      <a:gd name="connsiteY5" fmla="*/ 6998 h 358981"/>
                      <a:gd name="connsiteX6" fmla="*/ 122094 w 268941"/>
                      <a:gd name="connsiteY6" fmla="*/ 14161 h 358981"/>
                      <a:gd name="connsiteX7" fmla="*/ 120283 w 268941"/>
                      <a:gd name="connsiteY7" fmla="*/ 20774 h 358981"/>
                      <a:gd name="connsiteX8" fmla="*/ 126101 w 268941"/>
                      <a:gd name="connsiteY8" fmla="*/ 24507 h 358981"/>
                      <a:gd name="connsiteX9" fmla="*/ 126293 w 268941"/>
                      <a:gd name="connsiteY9" fmla="*/ 28870 h 358981"/>
                      <a:gd name="connsiteX10" fmla="*/ 131205 w 268941"/>
                      <a:gd name="connsiteY10" fmla="*/ 24726 h 358981"/>
                      <a:gd name="connsiteX11" fmla="*/ 142155 w 268941"/>
                      <a:gd name="connsiteY11" fmla="*/ 30928 h 358981"/>
                      <a:gd name="connsiteX12" fmla="*/ 148741 w 268941"/>
                      <a:gd name="connsiteY12" fmla="*/ 27553 h 358981"/>
                      <a:gd name="connsiteX13" fmla="*/ 152720 w 268941"/>
                      <a:gd name="connsiteY13" fmla="*/ 30434 h 358981"/>
                      <a:gd name="connsiteX14" fmla="*/ 152556 w 268941"/>
                      <a:gd name="connsiteY14" fmla="*/ 36636 h 358981"/>
                      <a:gd name="connsiteX15" fmla="*/ 144158 w 268941"/>
                      <a:gd name="connsiteY15" fmla="*/ 42976 h 358981"/>
                      <a:gd name="connsiteX16" fmla="*/ 145914 w 268941"/>
                      <a:gd name="connsiteY16" fmla="*/ 46681 h 358981"/>
                      <a:gd name="connsiteX17" fmla="*/ 147753 w 268941"/>
                      <a:gd name="connsiteY17" fmla="*/ 48464 h 358981"/>
                      <a:gd name="connsiteX18" fmla="*/ 155108 w 268941"/>
                      <a:gd name="connsiteY18" fmla="*/ 45775 h 358981"/>
                      <a:gd name="connsiteX19" fmla="*/ 160212 w 268941"/>
                      <a:gd name="connsiteY19" fmla="*/ 48876 h 358981"/>
                      <a:gd name="connsiteX20" fmla="*/ 167100 w 268941"/>
                      <a:gd name="connsiteY20" fmla="*/ 44869 h 358981"/>
                      <a:gd name="connsiteX21" fmla="*/ 169817 w 268941"/>
                      <a:gd name="connsiteY21" fmla="*/ 39682 h 358981"/>
                      <a:gd name="connsiteX22" fmla="*/ 173495 w 268941"/>
                      <a:gd name="connsiteY22" fmla="*/ 38749 h 358981"/>
                      <a:gd name="connsiteX23" fmla="*/ 179943 w 268941"/>
                      <a:gd name="connsiteY23" fmla="*/ 37487 h 358981"/>
                      <a:gd name="connsiteX24" fmla="*/ 185899 w 268941"/>
                      <a:gd name="connsiteY24" fmla="*/ 34002 h 358981"/>
                      <a:gd name="connsiteX25" fmla="*/ 188396 w 268941"/>
                      <a:gd name="connsiteY25" fmla="*/ 32465 h 358981"/>
                      <a:gd name="connsiteX26" fmla="*/ 193418 w 268941"/>
                      <a:gd name="connsiteY26" fmla="*/ 30352 h 358981"/>
                      <a:gd name="connsiteX27" fmla="*/ 195778 w 268941"/>
                      <a:gd name="connsiteY27" fmla="*/ 23903 h 358981"/>
                      <a:gd name="connsiteX28" fmla="*/ 202584 w 268941"/>
                      <a:gd name="connsiteY28" fmla="*/ 27745 h 358981"/>
                      <a:gd name="connsiteX29" fmla="*/ 208347 w 268941"/>
                      <a:gd name="connsiteY29" fmla="*/ 24726 h 358981"/>
                      <a:gd name="connsiteX30" fmla="*/ 214797 w 268941"/>
                      <a:gd name="connsiteY30" fmla="*/ 26784 h 358981"/>
                      <a:gd name="connsiteX31" fmla="*/ 215565 w 268941"/>
                      <a:gd name="connsiteY31" fmla="*/ 18743 h 358981"/>
                      <a:gd name="connsiteX32" fmla="*/ 218913 w 268941"/>
                      <a:gd name="connsiteY32" fmla="*/ 13420 h 358981"/>
                      <a:gd name="connsiteX33" fmla="*/ 222837 w 268941"/>
                      <a:gd name="connsiteY33" fmla="*/ 21351 h 358981"/>
                      <a:gd name="connsiteX34" fmla="*/ 225636 w 268941"/>
                      <a:gd name="connsiteY34" fmla="*/ 17564 h 358981"/>
                      <a:gd name="connsiteX35" fmla="*/ 228216 w 268941"/>
                      <a:gd name="connsiteY35" fmla="*/ 18003 h 358981"/>
                      <a:gd name="connsiteX36" fmla="*/ 225965 w 268941"/>
                      <a:gd name="connsiteY36" fmla="*/ 23244 h 358981"/>
                      <a:gd name="connsiteX37" fmla="*/ 228875 w 268941"/>
                      <a:gd name="connsiteY37" fmla="*/ 28623 h 358981"/>
                      <a:gd name="connsiteX38" fmla="*/ 220724 w 268941"/>
                      <a:gd name="connsiteY38" fmla="*/ 32136 h 358981"/>
                      <a:gd name="connsiteX39" fmla="*/ 218831 w 268941"/>
                      <a:gd name="connsiteY39" fmla="*/ 36581 h 358981"/>
                      <a:gd name="connsiteX40" fmla="*/ 223441 w 268941"/>
                      <a:gd name="connsiteY40" fmla="*/ 40670 h 358981"/>
                      <a:gd name="connsiteX41" fmla="*/ 233457 w 268941"/>
                      <a:gd name="connsiteY41" fmla="*/ 38283 h 358981"/>
                      <a:gd name="connsiteX42" fmla="*/ 237629 w 268941"/>
                      <a:gd name="connsiteY42" fmla="*/ 46681 h 358981"/>
                      <a:gd name="connsiteX43" fmla="*/ 241773 w 268941"/>
                      <a:gd name="connsiteY43" fmla="*/ 46434 h 358981"/>
                      <a:gd name="connsiteX44" fmla="*/ 245505 w 268941"/>
                      <a:gd name="connsiteY44" fmla="*/ 49837 h 358981"/>
                      <a:gd name="connsiteX45" fmla="*/ 245121 w 268941"/>
                      <a:gd name="connsiteY45" fmla="*/ 52938 h 358981"/>
                      <a:gd name="connsiteX46" fmla="*/ 240785 w 268941"/>
                      <a:gd name="connsiteY46" fmla="*/ 52608 h 358981"/>
                      <a:gd name="connsiteX47" fmla="*/ 236174 w 268941"/>
                      <a:gd name="connsiteY47" fmla="*/ 54117 h 358981"/>
                      <a:gd name="connsiteX48" fmla="*/ 238041 w 268941"/>
                      <a:gd name="connsiteY48" fmla="*/ 57383 h 358981"/>
                      <a:gd name="connsiteX49" fmla="*/ 246767 w 268941"/>
                      <a:gd name="connsiteY49" fmla="*/ 61280 h 358981"/>
                      <a:gd name="connsiteX50" fmla="*/ 250994 w 268941"/>
                      <a:gd name="connsiteY50" fmla="*/ 79530 h 358981"/>
                      <a:gd name="connsiteX51" fmla="*/ 251570 w 268941"/>
                      <a:gd name="connsiteY51" fmla="*/ 82933 h 358981"/>
                      <a:gd name="connsiteX52" fmla="*/ 249978 w 268941"/>
                      <a:gd name="connsiteY52" fmla="*/ 85842 h 358981"/>
                      <a:gd name="connsiteX53" fmla="*/ 248935 w 268941"/>
                      <a:gd name="connsiteY53" fmla="*/ 92593 h 358981"/>
                      <a:gd name="connsiteX54" fmla="*/ 243117 w 268941"/>
                      <a:gd name="connsiteY54" fmla="*/ 97587 h 358981"/>
                      <a:gd name="connsiteX55" fmla="*/ 243502 w 268941"/>
                      <a:gd name="connsiteY55" fmla="*/ 100771 h 358981"/>
                      <a:gd name="connsiteX56" fmla="*/ 243447 w 268941"/>
                      <a:gd name="connsiteY56" fmla="*/ 103542 h 358981"/>
                      <a:gd name="connsiteX57" fmla="*/ 251735 w 268941"/>
                      <a:gd name="connsiteY57" fmla="*/ 111281 h 358981"/>
                      <a:gd name="connsiteX58" fmla="*/ 255522 w 268941"/>
                      <a:gd name="connsiteY58" fmla="*/ 113971 h 358981"/>
                      <a:gd name="connsiteX59" fmla="*/ 257388 w 268941"/>
                      <a:gd name="connsiteY59" fmla="*/ 118938 h 358981"/>
                      <a:gd name="connsiteX60" fmla="*/ 254589 w 268941"/>
                      <a:gd name="connsiteY60" fmla="*/ 125058 h 358981"/>
                      <a:gd name="connsiteX61" fmla="*/ 256537 w 268941"/>
                      <a:gd name="connsiteY61" fmla="*/ 130985 h 358981"/>
                      <a:gd name="connsiteX62" fmla="*/ 259336 w 268941"/>
                      <a:gd name="connsiteY62" fmla="*/ 133044 h 358981"/>
                      <a:gd name="connsiteX63" fmla="*/ 261093 w 268941"/>
                      <a:gd name="connsiteY63" fmla="*/ 140673 h 358981"/>
                      <a:gd name="connsiteX64" fmla="*/ 259968 w 268941"/>
                      <a:gd name="connsiteY64" fmla="*/ 143938 h 358981"/>
                      <a:gd name="connsiteX65" fmla="*/ 256921 w 268941"/>
                      <a:gd name="connsiteY65" fmla="*/ 152281 h 358981"/>
                      <a:gd name="connsiteX66" fmla="*/ 260654 w 268941"/>
                      <a:gd name="connsiteY66" fmla="*/ 159938 h 358981"/>
                      <a:gd name="connsiteX67" fmla="*/ 260324 w 268941"/>
                      <a:gd name="connsiteY67" fmla="*/ 163889 h 358981"/>
                      <a:gd name="connsiteX68" fmla="*/ 261422 w 268941"/>
                      <a:gd name="connsiteY68" fmla="*/ 166881 h 358981"/>
                      <a:gd name="connsiteX69" fmla="*/ 266307 w 268941"/>
                      <a:gd name="connsiteY69" fmla="*/ 169433 h 358981"/>
                      <a:gd name="connsiteX70" fmla="*/ 267514 w 268941"/>
                      <a:gd name="connsiteY70" fmla="*/ 174181 h 358981"/>
                      <a:gd name="connsiteX71" fmla="*/ 268942 w 268941"/>
                      <a:gd name="connsiteY71" fmla="*/ 178352 h 358981"/>
                      <a:gd name="connsiteX72" fmla="*/ 268201 w 268941"/>
                      <a:gd name="connsiteY72" fmla="*/ 184856 h 358981"/>
                      <a:gd name="connsiteX73" fmla="*/ 263096 w 268941"/>
                      <a:gd name="connsiteY73" fmla="*/ 197343 h 358981"/>
                      <a:gd name="connsiteX74" fmla="*/ 261422 w 268941"/>
                      <a:gd name="connsiteY74" fmla="*/ 199703 h 358981"/>
                      <a:gd name="connsiteX75" fmla="*/ 257059 w 268941"/>
                      <a:gd name="connsiteY75" fmla="*/ 197919 h 358981"/>
                      <a:gd name="connsiteX76" fmla="*/ 255989 w 268941"/>
                      <a:gd name="connsiteY76" fmla="*/ 192156 h 358981"/>
                      <a:gd name="connsiteX77" fmla="*/ 253326 w 268941"/>
                      <a:gd name="connsiteY77" fmla="*/ 189247 h 358981"/>
                      <a:gd name="connsiteX78" fmla="*/ 248222 w 268941"/>
                      <a:gd name="connsiteY78" fmla="*/ 188698 h 358981"/>
                      <a:gd name="connsiteX79" fmla="*/ 247151 w 268941"/>
                      <a:gd name="connsiteY79" fmla="*/ 191277 h 358981"/>
                      <a:gd name="connsiteX80" fmla="*/ 249567 w 268941"/>
                      <a:gd name="connsiteY80" fmla="*/ 195778 h 358981"/>
                      <a:gd name="connsiteX81" fmla="*/ 233869 w 268941"/>
                      <a:gd name="connsiteY81" fmla="*/ 203709 h 358981"/>
                      <a:gd name="connsiteX82" fmla="*/ 228627 w 268941"/>
                      <a:gd name="connsiteY82" fmla="*/ 203847 h 358981"/>
                      <a:gd name="connsiteX83" fmla="*/ 224237 w 268941"/>
                      <a:gd name="connsiteY83" fmla="*/ 208320 h 358981"/>
                      <a:gd name="connsiteX84" fmla="*/ 211146 w 268941"/>
                      <a:gd name="connsiteY84" fmla="*/ 214439 h 358981"/>
                      <a:gd name="connsiteX85" fmla="*/ 207963 w 268941"/>
                      <a:gd name="connsiteY85" fmla="*/ 218913 h 358981"/>
                      <a:gd name="connsiteX86" fmla="*/ 204038 w 268941"/>
                      <a:gd name="connsiteY86" fmla="*/ 216827 h 358981"/>
                      <a:gd name="connsiteX87" fmla="*/ 197260 w 268941"/>
                      <a:gd name="connsiteY87" fmla="*/ 218775 h 358981"/>
                      <a:gd name="connsiteX88" fmla="*/ 189549 w 268941"/>
                      <a:gd name="connsiteY88" fmla="*/ 227969 h 358981"/>
                      <a:gd name="connsiteX89" fmla="*/ 183045 w 268941"/>
                      <a:gd name="connsiteY89" fmla="*/ 222892 h 358981"/>
                      <a:gd name="connsiteX90" fmla="*/ 184801 w 268941"/>
                      <a:gd name="connsiteY90" fmla="*/ 227420 h 358981"/>
                      <a:gd name="connsiteX91" fmla="*/ 187765 w 268941"/>
                      <a:gd name="connsiteY91" fmla="*/ 234829 h 358981"/>
                      <a:gd name="connsiteX92" fmla="*/ 196300 w 268941"/>
                      <a:gd name="connsiteY92" fmla="*/ 241828 h 358981"/>
                      <a:gd name="connsiteX93" fmla="*/ 191909 w 268941"/>
                      <a:gd name="connsiteY93" fmla="*/ 248524 h 358981"/>
                      <a:gd name="connsiteX94" fmla="*/ 197562 w 268941"/>
                      <a:gd name="connsiteY94" fmla="*/ 258348 h 358981"/>
                      <a:gd name="connsiteX95" fmla="*/ 198852 w 268941"/>
                      <a:gd name="connsiteY95" fmla="*/ 259364 h 358981"/>
                      <a:gd name="connsiteX96" fmla="*/ 198715 w 268941"/>
                      <a:gd name="connsiteY96" fmla="*/ 261312 h 358981"/>
                      <a:gd name="connsiteX97" fmla="*/ 203380 w 268941"/>
                      <a:gd name="connsiteY97" fmla="*/ 266691 h 358981"/>
                      <a:gd name="connsiteX98" fmla="*/ 209033 w 268941"/>
                      <a:gd name="connsiteY98" fmla="*/ 268283 h 358981"/>
                      <a:gd name="connsiteX99" fmla="*/ 214522 w 268941"/>
                      <a:gd name="connsiteY99" fmla="*/ 275006 h 358981"/>
                      <a:gd name="connsiteX100" fmla="*/ 220230 w 268941"/>
                      <a:gd name="connsiteY100" fmla="*/ 279781 h 358981"/>
                      <a:gd name="connsiteX101" fmla="*/ 221740 w 268941"/>
                      <a:gd name="connsiteY101" fmla="*/ 283706 h 358981"/>
                      <a:gd name="connsiteX102" fmla="*/ 225719 w 268941"/>
                      <a:gd name="connsiteY102" fmla="*/ 284254 h 358981"/>
                      <a:gd name="connsiteX103" fmla="*/ 234198 w 268941"/>
                      <a:gd name="connsiteY103" fmla="*/ 293036 h 358981"/>
                      <a:gd name="connsiteX104" fmla="*/ 232909 w 268941"/>
                      <a:gd name="connsiteY104" fmla="*/ 295616 h 358981"/>
                      <a:gd name="connsiteX105" fmla="*/ 233293 w 268941"/>
                      <a:gd name="connsiteY105" fmla="*/ 300171 h 358981"/>
                      <a:gd name="connsiteX106" fmla="*/ 230878 w 268941"/>
                      <a:gd name="connsiteY106" fmla="*/ 304535 h 358981"/>
                      <a:gd name="connsiteX107" fmla="*/ 224593 w 268941"/>
                      <a:gd name="connsiteY107" fmla="*/ 301077 h 358981"/>
                      <a:gd name="connsiteX108" fmla="*/ 222398 w 268941"/>
                      <a:gd name="connsiteY108" fmla="*/ 302916 h 358981"/>
                      <a:gd name="connsiteX109" fmla="*/ 221080 w 268941"/>
                      <a:gd name="connsiteY109" fmla="*/ 310764 h 358981"/>
                      <a:gd name="connsiteX110" fmla="*/ 214714 w 268941"/>
                      <a:gd name="connsiteY110" fmla="*/ 314222 h 358981"/>
                      <a:gd name="connsiteX111" fmla="*/ 207881 w 268941"/>
                      <a:gd name="connsiteY111" fmla="*/ 318092 h 358981"/>
                      <a:gd name="connsiteX112" fmla="*/ 202227 w 268941"/>
                      <a:gd name="connsiteY112" fmla="*/ 322236 h 358981"/>
                      <a:gd name="connsiteX113" fmla="*/ 205411 w 268941"/>
                      <a:gd name="connsiteY113" fmla="*/ 327367 h 358981"/>
                      <a:gd name="connsiteX114" fmla="*/ 205878 w 268941"/>
                      <a:gd name="connsiteY114" fmla="*/ 328849 h 358981"/>
                      <a:gd name="connsiteX115" fmla="*/ 209006 w 268941"/>
                      <a:gd name="connsiteY115" fmla="*/ 333240 h 358981"/>
                      <a:gd name="connsiteX116" fmla="*/ 207414 w 268941"/>
                      <a:gd name="connsiteY116" fmla="*/ 338838 h 358981"/>
                      <a:gd name="connsiteX117" fmla="*/ 211805 w 268941"/>
                      <a:gd name="connsiteY117" fmla="*/ 341775 h 358981"/>
                      <a:gd name="connsiteX118" fmla="*/ 210844 w 268941"/>
                      <a:gd name="connsiteY118" fmla="*/ 348197 h 358981"/>
                      <a:gd name="connsiteX119" fmla="*/ 207222 w 268941"/>
                      <a:gd name="connsiteY119" fmla="*/ 348992 h 358981"/>
                      <a:gd name="connsiteX120" fmla="*/ 200526 w 268941"/>
                      <a:gd name="connsiteY120" fmla="*/ 341116 h 358981"/>
                      <a:gd name="connsiteX121" fmla="*/ 197672 w 268941"/>
                      <a:gd name="connsiteY121" fmla="*/ 341747 h 358981"/>
                      <a:gd name="connsiteX122" fmla="*/ 196986 w 268941"/>
                      <a:gd name="connsiteY122" fmla="*/ 343284 h 358981"/>
                      <a:gd name="connsiteX123" fmla="*/ 194791 w 268941"/>
                      <a:gd name="connsiteY123" fmla="*/ 343367 h 358981"/>
                      <a:gd name="connsiteX124" fmla="*/ 193391 w 268941"/>
                      <a:gd name="connsiteY124" fmla="*/ 341747 h 358981"/>
                      <a:gd name="connsiteX125" fmla="*/ 190015 w 268941"/>
                      <a:gd name="connsiteY125" fmla="*/ 340458 h 358981"/>
                      <a:gd name="connsiteX126" fmla="*/ 185981 w 268941"/>
                      <a:gd name="connsiteY126" fmla="*/ 340046 h 358981"/>
                      <a:gd name="connsiteX127" fmla="*/ 185432 w 268941"/>
                      <a:gd name="connsiteY127" fmla="*/ 341747 h 358981"/>
                      <a:gd name="connsiteX128" fmla="*/ 185048 w 268941"/>
                      <a:gd name="connsiteY128" fmla="*/ 343751 h 358981"/>
                      <a:gd name="connsiteX129" fmla="*/ 181865 w 268941"/>
                      <a:gd name="connsiteY129" fmla="*/ 343861 h 358981"/>
                      <a:gd name="connsiteX130" fmla="*/ 169268 w 268941"/>
                      <a:gd name="connsiteY130" fmla="*/ 345013 h 358981"/>
                      <a:gd name="connsiteX131" fmla="*/ 167155 w 268941"/>
                      <a:gd name="connsiteY131" fmla="*/ 348087 h 358981"/>
                      <a:gd name="connsiteX132" fmla="*/ 162737 w 268941"/>
                      <a:gd name="connsiteY132" fmla="*/ 349239 h 358981"/>
                      <a:gd name="connsiteX133" fmla="*/ 163066 w 268941"/>
                      <a:gd name="connsiteY133" fmla="*/ 351407 h 358981"/>
                      <a:gd name="connsiteX134" fmla="*/ 151156 w 268941"/>
                      <a:gd name="connsiteY134" fmla="*/ 353520 h 358981"/>
                      <a:gd name="connsiteX135" fmla="*/ 150443 w 268941"/>
                      <a:gd name="connsiteY135" fmla="*/ 353520 h 358981"/>
                      <a:gd name="connsiteX136" fmla="*/ 147369 w 268941"/>
                      <a:gd name="connsiteY136" fmla="*/ 347401 h 358981"/>
                      <a:gd name="connsiteX137" fmla="*/ 134663 w 268941"/>
                      <a:gd name="connsiteY137" fmla="*/ 346577 h 358981"/>
                      <a:gd name="connsiteX138" fmla="*/ 134059 w 268941"/>
                      <a:gd name="connsiteY138" fmla="*/ 353438 h 358981"/>
                      <a:gd name="connsiteX139" fmla="*/ 126512 w 268941"/>
                      <a:gd name="connsiteY139" fmla="*/ 358982 h 358981"/>
                      <a:gd name="connsiteX140" fmla="*/ 127089 w 268941"/>
                      <a:gd name="connsiteY140" fmla="*/ 354728 h 358981"/>
                      <a:gd name="connsiteX141" fmla="*/ 124646 w 268941"/>
                      <a:gd name="connsiteY141" fmla="*/ 354454 h 358981"/>
                      <a:gd name="connsiteX142" fmla="*/ 121271 w 268941"/>
                      <a:gd name="connsiteY142" fmla="*/ 349706 h 358981"/>
                      <a:gd name="connsiteX143" fmla="*/ 120338 w 268941"/>
                      <a:gd name="connsiteY143" fmla="*/ 346962 h 358981"/>
                      <a:gd name="connsiteX144" fmla="*/ 108318 w 268941"/>
                      <a:gd name="connsiteY144" fmla="*/ 347154 h 358981"/>
                      <a:gd name="connsiteX145" fmla="*/ 106479 w 268941"/>
                      <a:gd name="connsiteY145" fmla="*/ 346714 h 358981"/>
                      <a:gd name="connsiteX146" fmla="*/ 102609 w 268941"/>
                      <a:gd name="connsiteY146" fmla="*/ 343394 h 358981"/>
                      <a:gd name="connsiteX147" fmla="*/ 97258 w 268941"/>
                      <a:gd name="connsiteY147" fmla="*/ 342187 h 358981"/>
                      <a:gd name="connsiteX148" fmla="*/ 88174 w 268941"/>
                      <a:gd name="connsiteY148" fmla="*/ 341665 h 358981"/>
                      <a:gd name="connsiteX149" fmla="*/ 87214 w 268941"/>
                      <a:gd name="connsiteY149" fmla="*/ 340128 h 358981"/>
                      <a:gd name="connsiteX150" fmla="*/ 85869 w 268941"/>
                      <a:gd name="connsiteY150" fmla="*/ 341308 h 358981"/>
                      <a:gd name="connsiteX151" fmla="*/ 82192 w 268941"/>
                      <a:gd name="connsiteY151" fmla="*/ 340897 h 358981"/>
                      <a:gd name="connsiteX152" fmla="*/ 81972 w 268941"/>
                      <a:gd name="connsiteY152" fmla="*/ 340842 h 358981"/>
                      <a:gd name="connsiteX153" fmla="*/ 82741 w 268941"/>
                      <a:gd name="connsiteY153" fmla="*/ 338372 h 358981"/>
                      <a:gd name="connsiteX154" fmla="*/ 80518 w 268941"/>
                      <a:gd name="connsiteY154" fmla="*/ 335792 h 358981"/>
                      <a:gd name="connsiteX155" fmla="*/ 77444 w 268941"/>
                      <a:gd name="connsiteY155" fmla="*/ 336890 h 358981"/>
                      <a:gd name="connsiteX156" fmla="*/ 74919 w 268941"/>
                      <a:gd name="connsiteY156" fmla="*/ 341693 h 358981"/>
                      <a:gd name="connsiteX157" fmla="*/ 77088 w 268941"/>
                      <a:gd name="connsiteY157" fmla="*/ 342489 h 358981"/>
                      <a:gd name="connsiteX158" fmla="*/ 80298 w 268941"/>
                      <a:gd name="connsiteY158" fmla="*/ 341638 h 358981"/>
                      <a:gd name="connsiteX159" fmla="*/ 74947 w 268941"/>
                      <a:gd name="connsiteY159" fmla="*/ 345973 h 358981"/>
                      <a:gd name="connsiteX160" fmla="*/ 59305 w 268941"/>
                      <a:gd name="connsiteY160" fmla="*/ 345178 h 358981"/>
                      <a:gd name="connsiteX161" fmla="*/ 54008 w 268941"/>
                      <a:gd name="connsiteY161" fmla="*/ 347209 h 358981"/>
                      <a:gd name="connsiteX162" fmla="*/ 51648 w 268941"/>
                      <a:gd name="connsiteY162" fmla="*/ 346276 h 358981"/>
                      <a:gd name="connsiteX163" fmla="*/ 50331 w 268941"/>
                      <a:gd name="connsiteY163" fmla="*/ 345013 h 358981"/>
                      <a:gd name="connsiteX164" fmla="*/ 48300 w 268941"/>
                      <a:gd name="connsiteY164" fmla="*/ 341638 h 358981"/>
                      <a:gd name="connsiteX165" fmla="*/ 49068 w 268941"/>
                      <a:gd name="connsiteY165" fmla="*/ 338317 h 358981"/>
                      <a:gd name="connsiteX166" fmla="*/ 50742 w 268941"/>
                      <a:gd name="connsiteY166" fmla="*/ 328492 h 358981"/>
                      <a:gd name="connsiteX167" fmla="*/ 50001 w 268941"/>
                      <a:gd name="connsiteY167" fmla="*/ 321988 h 358981"/>
                      <a:gd name="connsiteX168" fmla="*/ 50001 w 268941"/>
                      <a:gd name="connsiteY168" fmla="*/ 321714 h 358981"/>
                      <a:gd name="connsiteX169" fmla="*/ 53047 w 268941"/>
                      <a:gd name="connsiteY169" fmla="*/ 315732 h 358981"/>
                      <a:gd name="connsiteX170" fmla="*/ 57246 w 268941"/>
                      <a:gd name="connsiteY170" fmla="*/ 300171 h 358981"/>
                      <a:gd name="connsiteX171" fmla="*/ 61280 w 268941"/>
                      <a:gd name="connsiteY171" fmla="*/ 295259 h 358981"/>
                      <a:gd name="connsiteX172" fmla="*/ 69294 w 268941"/>
                      <a:gd name="connsiteY172" fmla="*/ 284172 h 358981"/>
                      <a:gd name="connsiteX173" fmla="*/ 64464 w 268941"/>
                      <a:gd name="connsiteY173" fmla="*/ 282718 h 358981"/>
                      <a:gd name="connsiteX174" fmla="*/ 59826 w 268941"/>
                      <a:gd name="connsiteY174" fmla="*/ 280659 h 358981"/>
                      <a:gd name="connsiteX175" fmla="*/ 51758 w 268941"/>
                      <a:gd name="connsiteY175" fmla="*/ 280248 h 358981"/>
                      <a:gd name="connsiteX176" fmla="*/ 47230 w 268941"/>
                      <a:gd name="connsiteY176" fmla="*/ 275665 h 358981"/>
                      <a:gd name="connsiteX177" fmla="*/ 43936 w 268941"/>
                      <a:gd name="connsiteY177" fmla="*/ 275418 h 358981"/>
                      <a:gd name="connsiteX178" fmla="*/ 40341 w 268941"/>
                      <a:gd name="connsiteY178" fmla="*/ 277366 h 358981"/>
                      <a:gd name="connsiteX179" fmla="*/ 36033 w 268941"/>
                      <a:gd name="connsiteY179" fmla="*/ 275665 h 358981"/>
                      <a:gd name="connsiteX180" fmla="*/ 30873 w 268941"/>
                      <a:gd name="connsiteY180" fmla="*/ 273058 h 358981"/>
                      <a:gd name="connsiteX181" fmla="*/ 26702 w 268941"/>
                      <a:gd name="connsiteY181" fmla="*/ 275418 h 358981"/>
                      <a:gd name="connsiteX182" fmla="*/ 24918 w 268941"/>
                      <a:gd name="connsiteY182" fmla="*/ 272811 h 358981"/>
                      <a:gd name="connsiteX183" fmla="*/ 20006 w 268941"/>
                      <a:gd name="connsiteY183" fmla="*/ 263754 h 358981"/>
                      <a:gd name="connsiteX184" fmla="*/ 14380 w 268941"/>
                      <a:gd name="connsiteY184" fmla="*/ 261916 h 358981"/>
                      <a:gd name="connsiteX185" fmla="*/ 14380 w 268941"/>
                      <a:gd name="connsiteY185" fmla="*/ 258293 h 358981"/>
                      <a:gd name="connsiteX186" fmla="*/ 17811 w 268941"/>
                      <a:gd name="connsiteY186" fmla="*/ 250088 h 358981"/>
                      <a:gd name="connsiteX187" fmla="*/ 17591 w 268941"/>
                      <a:gd name="connsiteY187" fmla="*/ 245505 h 358981"/>
                      <a:gd name="connsiteX188" fmla="*/ 14380 w 268941"/>
                      <a:gd name="connsiteY188" fmla="*/ 244215 h 358981"/>
                      <a:gd name="connsiteX189" fmla="*/ 8892 w 268941"/>
                      <a:gd name="connsiteY189" fmla="*/ 239083 h 358981"/>
                      <a:gd name="connsiteX190" fmla="*/ 7684 w 268941"/>
                      <a:gd name="connsiteY190" fmla="*/ 231372 h 358981"/>
                      <a:gd name="connsiteX191" fmla="*/ 9084 w 268941"/>
                      <a:gd name="connsiteY191" fmla="*/ 227091 h 358981"/>
                      <a:gd name="connsiteX192" fmla="*/ 14380 w 268941"/>
                      <a:gd name="connsiteY192" fmla="*/ 222892 h 358981"/>
                      <a:gd name="connsiteX193" fmla="*/ 15560 w 268941"/>
                      <a:gd name="connsiteY193" fmla="*/ 222453 h 358981"/>
                      <a:gd name="connsiteX194" fmla="*/ 12926 w 268941"/>
                      <a:gd name="connsiteY194" fmla="*/ 214467 h 358981"/>
                      <a:gd name="connsiteX195" fmla="*/ 9276 w 268941"/>
                      <a:gd name="connsiteY195" fmla="*/ 213342 h 358981"/>
                      <a:gd name="connsiteX196" fmla="*/ 9194 w 268941"/>
                      <a:gd name="connsiteY196" fmla="*/ 211283 h 358981"/>
                      <a:gd name="connsiteX197" fmla="*/ 9770 w 268941"/>
                      <a:gd name="connsiteY197" fmla="*/ 208155 h 358981"/>
                      <a:gd name="connsiteX198" fmla="*/ 4254 w 268941"/>
                      <a:gd name="connsiteY198" fmla="*/ 202557 h 358981"/>
                      <a:gd name="connsiteX199" fmla="*/ 6175 w 268941"/>
                      <a:gd name="connsiteY199" fmla="*/ 195174 h 358981"/>
                      <a:gd name="connsiteX200" fmla="*/ 0 w 268941"/>
                      <a:gd name="connsiteY200" fmla="*/ 189631 h 358981"/>
                      <a:gd name="connsiteX201" fmla="*/ 8754 w 268941"/>
                      <a:gd name="connsiteY201" fmla="*/ 182496 h 358981"/>
                      <a:gd name="connsiteX202" fmla="*/ 5736 w 268941"/>
                      <a:gd name="connsiteY202" fmla="*/ 179752 h 358981"/>
                      <a:gd name="connsiteX203" fmla="*/ 10209 w 268941"/>
                      <a:gd name="connsiteY203" fmla="*/ 174016 h 358981"/>
                      <a:gd name="connsiteX204" fmla="*/ 9358 w 268941"/>
                      <a:gd name="connsiteY204" fmla="*/ 166744 h 358981"/>
                      <a:gd name="connsiteX205" fmla="*/ 2251 w 268941"/>
                      <a:gd name="connsiteY205" fmla="*/ 155904 h 358981"/>
                      <a:gd name="connsiteX206" fmla="*/ 3787 w 268941"/>
                      <a:gd name="connsiteY206" fmla="*/ 151924 h 358981"/>
                      <a:gd name="connsiteX207" fmla="*/ 8562 w 268941"/>
                      <a:gd name="connsiteY207" fmla="*/ 148631 h 358981"/>
                      <a:gd name="connsiteX208" fmla="*/ 15615 w 268941"/>
                      <a:gd name="connsiteY208" fmla="*/ 152089 h 358981"/>
                      <a:gd name="connsiteX209" fmla="*/ 26510 w 268941"/>
                      <a:gd name="connsiteY209" fmla="*/ 146902 h 358981"/>
                      <a:gd name="connsiteX210" fmla="*/ 25110 w 268941"/>
                      <a:gd name="connsiteY210" fmla="*/ 141441 h 358981"/>
                      <a:gd name="connsiteX211" fmla="*/ 25961 w 268941"/>
                      <a:gd name="connsiteY211" fmla="*/ 138203 h 358981"/>
                      <a:gd name="connsiteX212" fmla="*/ 34963 w 268941"/>
                      <a:gd name="connsiteY212" fmla="*/ 132330 h 358981"/>
                      <a:gd name="connsiteX213" fmla="*/ 33288 w 268941"/>
                      <a:gd name="connsiteY213" fmla="*/ 122807 h 358981"/>
                      <a:gd name="connsiteX214" fmla="*/ 24122 w 268941"/>
                      <a:gd name="connsiteY214" fmla="*/ 120530 h 358981"/>
                      <a:gd name="connsiteX215" fmla="*/ 24479 w 268941"/>
                      <a:gd name="connsiteY215" fmla="*/ 113696 h 358981"/>
                      <a:gd name="connsiteX216" fmla="*/ 33206 w 268941"/>
                      <a:gd name="connsiteY216" fmla="*/ 113147 h 358981"/>
                      <a:gd name="connsiteX217" fmla="*/ 35758 w 268941"/>
                      <a:gd name="connsiteY217" fmla="*/ 103460 h 358981"/>
                      <a:gd name="connsiteX218" fmla="*/ 38832 w 268941"/>
                      <a:gd name="connsiteY218" fmla="*/ 96490 h 358981"/>
                      <a:gd name="connsiteX219" fmla="*/ 39024 w 268941"/>
                      <a:gd name="connsiteY219" fmla="*/ 90041 h 358981"/>
                      <a:gd name="connsiteX220" fmla="*/ 39463 w 268941"/>
                      <a:gd name="connsiteY220" fmla="*/ 85732 h 358981"/>
                      <a:gd name="connsiteX221" fmla="*/ 39189 w 268941"/>
                      <a:gd name="connsiteY221" fmla="*/ 83701 h 358981"/>
                      <a:gd name="connsiteX222" fmla="*/ 40835 w 268941"/>
                      <a:gd name="connsiteY222" fmla="*/ 79612 h 358981"/>
                      <a:gd name="connsiteX223" fmla="*/ 34386 w 268941"/>
                      <a:gd name="connsiteY223" fmla="*/ 79036 h 358981"/>
                      <a:gd name="connsiteX224" fmla="*/ 33041 w 268941"/>
                      <a:gd name="connsiteY224" fmla="*/ 77911 h 358981"/>
                      <a:gd name="connsiteX225" fmla="*/ 36389 w 268941"/>
                      <a:gd name="connsiteY225" fmla="*/ 66851 h 358981"/>
                      <a:gd name="connsiteX226" fmla="*/ 41027 w 268941"/>
                      <a:gd name="connsiteY226" fmla="*/ 61033 h 358981"/>
                      <a:gd name="connsiteX227" fmla="*/ 49205 w 268941"/>
                      <a:gd name="connsiteY227" fmla="*/ 62350 h 358981"/>
                      <a:gd name="connsiteX228" fmla="*/ 56862 w 268941"/>
                      <a:gd name="connsiteY228" fmla="*/ 60704 h 358981"/>
                      <a:gd name="connsiteX229" fmla="*/ 62378 w 268941"/>
                      <a:gd name="connsiteY229" fmla="*/ 60951 h 358981"/>
                      <a:gd name="connsiteX230" fmla="*/ 65150 w 268941"/>
                      <a:gd name="connsiteY230" fmla="*/ 64162 h 358981"/>
                      <a:gd name="connsiteX231" fmla="*/ 67016 w 268941"/>
                      <a:gd name="connsiteY231" fmla="*/ 69211 h 358981"/>
                      <a:gd name="connsiteX232" fmla="*/ 64244 w 268941"/>
                      <a:gd name="connsiteY232" fmla="*/ 70721 h 358981"/>
                      <a:gd name="connsiteX233" fmla="*/ 68224 w 268941"/>
                      <a:gd name="connsiteY233" fmla="*/ 75496 h 358981"/>
                      <a:gd name="connsiteX234" fmla="*/ 71187 w 268941"/>
                      <a:gd name="connsiteY234" fmla="*/ 73273 h 358981"/>
                      <a:gd name="connsiteX235" fmla="*/ 69650 w 268941"/>
                      <a:gd name="connsiteY235" fmla="*/ 68827 h 358981"/>
                      <a:gd name="connsiteX236" fmla="*/ 70940 w 268941"/>
                      <a:gd name="connsiteY236" fmla="*/ 66083 h 358981"/>
                      <a:gd name="connsiteX237" fmla="*/ 78789 w 268941"/>
                      <a:gd name="connsiteY237" fmla="*/ 69760 h 358981"/>
                      <a:gd name="connsiteX238" fmla="*/ 77774 w 268941"/>
                      <a:gd name="connsiteY238" fmla="*/ 65753 h 358981"/>
                      <a:gd name="connsiteX239" fmla="*/ 78267 w 268941"/>
                      <a:gd name="connsiteY239" fmla="*/ 56587 h 358981"/>
                      <a:gd name="connsiteX240" fmla="*/ 82686 w 268941"/>
                      <a:gd name="connsiteY240" fmla="*/ 51511 h 358981"/>
                      <a:gd name="connsiteX241" fmla="*/ 85979 w 268941"/>
                      <a:gd name="connsiteY241" fmla="*/ 54200 h 358981"/>
                      <a:gd name="connsiteX242" fmla="*/ 92428 w 268941"/>
                      <a:gd name="connsiteY242" fmla="*/ 54365 h 358981"/>
                      <a:gd name="connsiteX243" fmla="*/ 99920 w 268941"/>
                      <a:gd name="connsiteY243" fmla="*/ 52718 h 358981"/>
                      <a:gd name="connsiteX244" fmla="*/ 97779 w 268941"/>
                      <a:gd name="connsiteY244" fmla="*/ 52114 h 358981"/>
                      <a:gd name="connsiteX245" fmla="*/ 92730 w 268941"/>
                      <a:gd name="connsiteY245" fmla="*/ 52114 h 358981"/>
                      <a:gd name="connsiteX246" fmla="*/ 86994 w 268941"/>
                      <a:gd name="connsiteY246" fmla="*/ 44952 h 358981"/>
                      <a:gd name="connsiteX247" fmla="*/ 90589 w 268941"/>
                      <a:gd name="connsiteY247" fmla="*/ 42564 h 358981"/>
                      <a:gd name="connsiteX248" fmla="*/ 86857 w 268941"/>
                      <a:gd name="connsiteY248" fmla="*/ 37871 h 358981"/>
                      <a:gd name="connsiteX249" fmla="*/ 87351 w 268941"/>
                      <a:gd name="connsiteY249" fmla="*/ 32767 h 358981"/>
                      <a:gd name="connsiteX250" fmla="*/ 82905 w 268941"/>
                      <a:gd name="connsiteY250" fmla="*/ 29748 h 358981"/>
                      <a:gd name="connsiteX251" fmla="*/ 88339 w 268941"/>
                      <a:gd name="connsiteY251" fmla="*/ 24068 h 358981"/>
                      <a:gd name="connsiteX252" fmla="*/ 87681 w 268941"/>
                      <a:gd name="connsiteY252" fmla="*/ 17728 h 358981"/>
                      <a:gd name="connsiteX253" fmla="*/ 81780 w 268941"/>
                      <a:gd name="connsiteY253" fmla="*/ 5104 h 358981"/>
                      <a:gd name="connsiteX254" fmla="*/ 81231 w 268941"/>
                      <a:gd name="connsiteY254" fmla="*/ 0 h 358981"/>
                      <a:gd name="connsiteX255" fmla="*/ 92785 w 268941"/>
                      <a:gd name="connsiteY255" fmla="*/ 1592 h 358981"/>
                      <a:gd name="connsiteX256" fmla="*/ 95282 w 268941"/>
                      <a:gd name="connsiteY256" fmla="*/ 1948 h 35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268941" h="358981">
                        <a:moveTo>
                          <a:pt x="95090" y="2086"/>
                        </a:moveTo>
                        <a:lnTo>
                          <a:pt x="100414" y="5297"/>
                        </a:lnTo>
                        <a:lnTo>
                          <a:pt x="104119" y="4226"/>
                        </a:lnTo>
                        <a:lnTo>
                          <a:pt x="104201" y="4665"/>
                        </a:lnTo>
                        <a:lnTo>
                          <a:pt x="106232" y="4665"/>
                        </a:lnTo>
                        <a:cubicBezTo>
                          <a:pt x="106232" y="4665"/>
                          <a:pt x="119020" y="6998"/>
                          <a:pt x="119020" y="6998"/>
                        </a:cubicBezTo>
                        <a:lnTo>
                          <a:pt x="122094" y="14161"/>
                        </a:lnTo>
                        <a:lnTo>
                          <a:pt x="120283" y="20774"/>
                        </a:lnTo>
                        <a:lnTo>
                          <a:pt x="126101" y="24507"/>
                        </a:lnTo>
                        <a:lnTo>
                          <a:pt x="126293" y="28870"/>
                        </a:lnTo>
                        <a:lnTo>
                          <a:pt x="131205" y="24726"/>
                        </a:lnTo>
                        <a:lnTo>
                          <a:pt x="142155" y="30928"/>
                        </a:lnTo>
                        <a:lnTo>
                          <a:pt x="148741" y="27553"/>
                        </a:lnTo>
                        <a:lnTo>
                          <a:pt x="152720" y="30434"/>
                        </a:lnTo>
                        <a:lnTo>
                          <a:pt x="152556" y="36636"/>
                        </a:lnTo>
                        <a:lnTo>
                          <a:pt x="144158" y="42976"/>
                        </a:lnTo>
                        <a:lnTo>
                          <a:pt x="145914" y="46681"/>
                        </a:lnTo>
                        <a:lnTo>
                          <a:pt x="147753" y="48464"/>
                        </a:lnTo>
                        <a:lnTo>
                          <a:pt x="155108" y="45775"/>
                        </a:lnTo>
                        <a:lnTo>
                          <a:pt x="160212" y="48876"/>
                        </a:lnTo>
                        <a:lnTo>
                          <a:pt x="167100" y="44869"/>
                        </a:lnTo>
                        <a:lnTo>
                          <a:pt x="169817" y="39682"/>
                        </a:lnTo>
                        <a:lnTo>
                          <a:pt x="173495" y="38749"/>
                        </a:lnTo>
                        <a:lnTo>
                          <a:pt x="179943" y="37487"/>
                        </a:lnTo>
                        <a:lnTo>
                          <a:pt x="185899" y="34002"/>
                        </a:lnTo>
                        <a:lnTo>
                          <a:pt x="188396" y="32465"/>
                        </a:lnTo>
                        <a:lnTo>
                          <a:pt x="193418" y="30352"/>
                        </a:lnTo>
                        <a:lnTo>
                          <a:pt x="195778" y="23903"/>
                        </a:lnTo>
                        <a:lnTo>
                          <a:pt x="202584" y="27745"/>
                        </a:lnTo>
                        <a:lnTo>
                          <a:pt x="208347" y="24726"/>
                        </a:lnTo>
                        <a:lnTo>
                          <a:pt x="214797" y="26784"/>
                        </a:lnTo>
                        <a:lnTo>
                          <a:pt x="215565" y="18743"/>
                        </a:lnTo>
                        <a:lnTo>
                          <a:pt x="218913" y="13420"/>
                        </a:lnTo>
                        <a:lnTo>
                          <a:pt x="222837" y="21351"/>
                        </a:lnTo>
                        <a:lnTo>
                          <a:pt x="225636" y="17564"/>
                        </a:lnTo>
                        <a:lnTo>
                          <a:pt x="228216" y="18003"/>
                        </a:lnTo>
                        <a:lnTo>
                          <a:pt x="225965" y="23244"/>
                        </a:lnTo>
                        <a:lnTo>
                          <a:pt x="228875" y="28623"/>
                        </a:lnTo>
                        <a:lnTo>
                          <a:pt x="220724" y="32136"/>
                        </a:lnTo>
                        <a:lnTo>
                          <a:pt x="218831" y="36581"/>
                        </a:lnTo>
                        <a:lnTo>
                          <a:pt x="223441" y="40670"/>
                        </a:lnTo>
                        <a:lnTo>
                          <a:pt x="233457" y="38283"/>
                        </a:lnTo>
                        <a:lnTo>
                          <a:pt x="237629" y="46681"/>
                        </a:lnTo>
                        <a:lnTo>
                          <a:pt x="241773" y="46434"/>
                        </a:lnTo>
                        <a:lnTo>
                          <a:pt x="245505" y="49837"/>
                        </a:lnTo>
                        <a:lnTo>
                          <a:pt x="245121" y="52938"/>
                        </a:lnTo>
                        <a:lnTo>
                          <a:pt x="240785" y="52608"/>
                        </a:lnTo>
                        <a:lnTo>
                          <a:pt x="236174" y="54117"/>
                        </a:lnTo>
                        <a:lnTo>
                          <a:pt x="238041" y="57383"/>
                        </a:lnTo>
                        <a:lnTo>
                          <a:pt x="246767" y="61280"/>
                        </a:lnTo>
                        <a:lnTo>
                          <a:pt x="250994" y="79530"/>
                        </a:lnTo>
                        <a:lnTo>
                          <a:pt x="251570" y="82933"/>
                        </a:lnTo>
                        <a:lnTo>
                          <a:pt x="249978" y="85842"/>
                        </a:lnTo>
                        <a:lnTo>
                          <a:pt x="248935" y="92593"/>
                        </a:lnTo>
                        <a:lnTo>
                          <a:pt x="243117" y="97587"/>
                        </a:lnTo>
                        <a:lnTo>
                          <a:pt x="243502" y="100771"/>
                        </a:lnTo>
                        <a:lnTo>
                          <a:pt x="243447" y="103542"/>
                        </a:lnTo>
                        <a:lnTo>
                          <a:pt x="251735" y="111281"/>
                        </a:lnTo>
                        <a:lnTo>
                          <a:pt x="255522" y="113971"/>
                        </a:lnTo>
                        <a:lnTo>
                          <a:pt x="257388" y="118938"/>
                        </a:lnTo>
                        <a:lnTo>
                          <a:pt x="254589" y="125058"/>
                        </a:lnTo>
                        <a:lnTo>
                          <a:pt x="256537" y="130985"/>
                        </a:lnTo>
                        <a:lnTo>
                          <a:pt x="259336" y="133044"/>
                        </a:lnTo>
                        <a:lnTo>
                          <a:pt x="261093" y="140673"/>
                        </a:lnTo>
                        <a:lnTo>
                          <a:pt x="259968" y="143938"/>
                        </a:lnTo>
                        <a:lnTo>
                          <a:pt x="256921" y="152281"/>
                        </a:lnTo>
                        <a:lnTo>
                          <a:pt x="260654" y="159938"/>
                        </a:lnTo>
                        <a:lnTo>
                          <a:pt x="260324" y="163889"/>
                        </a:lnTo>
                        <a:lnTo>
                          <a:pt x="261422" y="166881"/>
                        </a:lnTo>
                        <a:lnTo>
                          <a:pt x="266307" y="169433"/>
                        </a:lnTo>
                        <a:lnTo>
                          <a:pt x="267514" y="174181"/>
                        </a:lnTo>
                        <a:lnTo>
                          <a:pt x="268942" y="178352"/>
                        </a:lnTo>
                        <a:lnTo>
                          <a:pt x="268201" y="184856"/>
                        </a:lnTo>
                        <a:lnTo>
                          <a:pt x="263096" y="197343"/>
                        </a:lnTo>
                        <a:lnTo>
                          <a:pt x="261422" y="199703"/>
                        </a:lnTo>
                        <a:lnTo>
                          <a:pt x="257059" y="197919"/>
                        </a:lnTo>
                        <a:lnTo>
                          <a:pt x="255989" y="192156"/>
                        </a:lnTo>
                        <a:lnTo>
                          <a:pt x="253326" y="189247"/>
                        </a:lnTo>
                        <a:lnTo>
                          <a:pt x="248222" y="188698"/>
                        </a:lnTo>
                        <a:lnTo>
                          <a:pt x="247151" y="191277"/>
                        </a:lnTo>
                        <a:lnTo>
                          <a:pt x="249567" y="195778"/>
                        </a:lnTo>
                        <a:lnTo>
                          <a:pt x="233869" y="203709"/>
                        </a:lnTo>
                        <a:lnTo>
                          <a:pt x="228627" y="203847"/>
                        </a:lnTo>
                        <a:lnTo>
                          <a:pt x="224237" y="208320"/>
                        </a:lnTo>
                        <a:lnTo>
                          <a:pt x="211146" y="214439"/>
                        </a:lnTo>
                        <a:lnTo>
                          <a:pt x="207963" y="218913"/>
                        </a:lnTo>
                        <a:lnTo>
                          <a:pt x="204038" y="216827"/>
                        </a:lnTo>
                        <a:lnTo>
                          <a:pt x="197260" y="218775"/>
                        </a:lnTo>
                        <a:lnTo>
                          <a:pt x="189549" y="227969"/>
                        </a:lnTo>
                        <a:lnTo>
                          <a:pt x="183045" y="222892"/>
                        </a:lnTo>
                        <a:lnTo>
                          <a:pt x="184801" y="227420"/>
                        </a:lnTo>
                        <a:lnTo>
                          <a:pt x="187765" y="234829"/>
                        </a:lnTo>
                        <a:lnTo>
                          <a:pt x="196300" y="241828"/>
                        </a:lnTo>
                        <a:lnTo>
                          <a:pt x="191909" y="248524"/>
                        </a:lnTo>
                        <a:lnTo>
                          <a:pt x="197562" y="258348"/>
                        </a:lnTo>
                        <a:lnTo>
                          <a:pt x="198852" y="259364"/>
                        </a:lnTo>
                        <a:lnTo>
                          <a:pt x="198715" y="261312"/>
                        </a:lnTo>
                        <a:lnTo>
                          <a:pt x="203380" y="266691"/>
                        </a:lnTo>
                        <a:lnTo>
                          <a:pt x="209033" y="268283"/>
                        </a:lnTo>
                        <a:lnTo>
                          <a:pt x="214522" y="275006"/>
                        </a:lnTo>
                        <a:lnTo>
                          <a:pt x="220230" y="279781"/>
                        </a:lnTo>
                        <a:lnTo>
                          <a:pt x="221740" y="283706"/>
                        </a:lnTo>
                        <a:lnTo>
                          <a:pt x="225719" y="284254"/>
                        </a:lnTo>
                        <a:lnTo>
                          <a:pt x="234198" y="293036"/>
                        </a:lnTo>
                        <a:lnTo>
                          <a:pt x="232909" y="295616"/>
                        </a:lnTo>
                        <a:lnTo>
                          <a:pt x="233293" y="300171"/>
                        </a:lnTo>
                        <a:lnTo>
                          <a:pt x="230878" y="304535"/>
                        </a:lnTo>
                        <a:lnTo>
                          <a:pt x="224593" y="301077"/>
                        </a:lnTo>
                        <a:lnTo>
                          <a:pt x="222398" y="302916"/>
                        </a:lnTo>
                        <a:lnTo>
                          <a:pt x="221080" y="310764"/>
                        </a:lnTo>
                        <a:lnTo>
                          <a:pt x="214714" y="314222"/>
                        </a:lnTo>
                        <a:lnTo>
                          <a:pt x="207881" y="318092"/>
                        </a:lnTo>
                        <a:lnTo>
                          <a:pt x="202227" y="322236"/>
                        </a:lnTo>
                        <a:lnTo>
                          <a:pt x="205411" y="327367"/>
                        </a:lnTo>
                        <a:lnTo>
                          <a:pt x="205878" y="328849"/>
                        </a:lnTo>
                        <a:lnTo>
                          <a:pt x="209006" y="333240"/>
                        </a:lnTo>
                        <a:lnTo>
                          <a:pt x="207414" y="338838"/>
                        </a:lnTo>
                        <a:lnTo>
                          <a:pt x="211805" y="341775"/>
                        </a:lnTo>
                        <a:lnTo>
                          <a:pt x="210844" y="348197"/>
                        </a:lnTo>
                        <a:lnTo>
                          <a:pt x="207222" y="348992"/>
                        </a:lnTo>
                        <a:lnTo>
                          <a:pt x="200526" y="341116"/>
                        </a:lnTo>
                        <a:lnTo>
                          <a:pt x="197672" y="341747"/>
                        </a:lnTo>
                        <a:lnTo>
                          <a:pt x="196986" y="343284"/>
                        </a:lnTo>
                        <a:lnTo>
                          <a:pt x="194791" y="343367"/>
                        </a:lnTo>
                        <a:lnTo>
                          <a:pt x="193391" y="341747"/>
                        </a:lnTo>
                        <a:lnTo>
                          <a:pt x="190015" y="340458"/>
                        </a:lnTo>
                        <a:lnTo>
                          <a:pt x="185981" y="340046"/>
                        </a:lnTo>
                        <a:lnTo>
                          <a:pt x="185432" y="341747"/>
                        </a:lnTo>
                        <a:lnTo>
                          <a:pt x="185048" y="343751"/>
                        </a:lnTo>
                        <a:lnTo>
                          <a:pt x="181865" y="343861"/>
                        </a:lnTo>
                        <a:lnTo>
                          <a:pt x="169268" y="345013"/>
                        </a:lnTo>
                        <a:lnTo>
                          <a:pt x="167155" y="348087"/>
                        </a:lnTo>
                        <a:lnTo>
                          <a:pt x="162737" y="349239"/>
                        </a:lnTo>
                        <a:lnTo>
                          <a:pt x="163066" y="351407"/>
                        </a:lnTo>
                        <a:lnTo>
                          <a:pt x="151156" y="353520"/>
                        </a:lnTo>
                        <a:lnTo>
                          <a:pt x="150443" y="353520"/>
                        </a:lnTo>
                        <a:lnTo>
                          <a:pt x="147369" y="347401"/>
                        </a:lnTo>
                        <a:lnTo>
                          <a:pt x="134663" y="346577"/>
                        </a:lnTo>
                        <a:lnTo>
                          <a:pt x="134059" y="353438"/>
                        </a:lnTo>
                        <a:lnTo>
                          <a:pt x="126512" y="358982"/>
                        </a:lnTo>
                        <a:lnTo>
                          <a:pt x="127089" y="354728"/>
                        </a:lnTo>
                        <a:lnTo>
                          <a:pt x="124646" y="354454"/>
                        </a:lnTo>
                        <a:lnTo>
                          <a:pt x="121271" y="349706"/>
                        </a:lnTo>
                        <a:lnTo>
                          <a:pt x="120338" y="346962"/>
                        </a:lnTo>
                        <a:lnTo>
                          <a:pt x="108318" y="347154"/>
                        </a:lnTo>
                        <a:lnTo>
                          <a:pt x="106479" y="346714"/>
                        </a:lnTo>
                        <a:lnTo>
                          <a:pt x="102609" y="343394"/>
                        </a:lnTo>
                        <a:lnTo>
                          <a:pt x="97258" y="342187"/>
                        </a:lnTo>
                        <a:lnTo>
                          <a:pt x="88174" y="341665"/>
                        </a:lnTo>
                        <a:lnTo>
                          <a:pt x="87214" y="340128"/>
                        </a:lnTo>
                        <a:lnTo>
                          <a:pt x="85869" y="341308"/>
                        </a:lnTo>
                        <a:lnTo>
                          <a:pt x="82192" y="340897"/>
                        </a:lnTo>
                        <a:lnTo>
                          <a:pt x="81972" y="340842"/>
                        </a:lnTo>
                        <a:lnTo>
                          <a:pt x="82741" y="338372"/>
                        </a:lnTo>
                        <a:lnTo>
                          <a:pt x="80518" y="335792"/>
                        </a:lnTo>
                        <a:lnTo>
                          <a:pt x="77444" y="336890"/>
                        </a:lnTo>
                        <a:lnTo>
                          <a:pt x="74919" y="341693"/>
                        </a:lnTo>
                        <a:lnTo>
                          <a:pt x="77088" y="342489"/>
                        </a:lnTo>
                        <a:lnTo>
                          <a:pt x="80298" y="341638"/>
                        </a:lnTo>
                        <a:lnTo>
                          <a:pt x="74947" y="345973"/>
                        </a:lnTo>
                        <a:lnTo>
                          <a:pt x="59305" y="345178"/>
                        </a:lnTo>
                        <a:lnTo>
                          <a:pt x="54008" y="347209"/>
                        </a:lnTo>
                        <a:lnTo>
                          <a:pt x="51648" y="346276"/>
                        </a:lnTo>
                        <a:lnTo>
                          <a:pt x="50331" y="345013"/>
                        </a:lnTo>
                        <a:lnTo>
                          <a:pt x="48300" y="341638"/>
                        </a:lnTo>
                        <a:lnTo>
                          <a:pt x="49068" y="338317"/>
                        </a:lnTo>
                        <a:lnTo>
                          <a:pt x="50742" y="328492"/>
                        </a:lnTo>
                        <a:lnTo>
                          <a:pt x="50001" y="321988"/>
                        </a:lnTo>
                        <a:lnTo>
                          <a:pt x="50001" y="321714"/>
                        </a:lnTo>
                        <a:cubicBezTo>
                          <a:pt x="50001" y="321714"/>
                          <a:pt x="53047" y="315732"/>
                          <a:pt x="53047" y="315732"/>
                        </a:cubicBezTo>
                        <a:lnTo>
                          <a:pt x="57246" y="300171"/>
                        </a:lnTo>
                        <a:lnTo>
                          <a:pt x="61280" y="295259"/>
                        </a:lnTo>
                        <a:lnTo>
                          <a:pt x="69294" y="284172"/>
                        </a:lnTo>
                        <a:lnTo>
                          <a:pt x="64464" y="282718"/>
                        </a:lnTo>
                        <a:lnTo>
                          <a:pt x="59826" y="280659"/>
                        </a:lnTo>
                        <a:lnTo>
                          <a:pt x="51758" y="280248"/>
                        </a:lnTo>
                        <a:lnTo>
                          <a:pt x="47230" y="275665"/>
                        </a:lnTo>
                        <a:lnTo>
                          <a:pt x="43936" y="275418"/>
                        </a:lnTo>
                        <a:lnTo>
                          <a:pt x="40341" y="277366"/>
                        </a:lnTo>
                        <a:lnTo>
                          <a:pt x="36033" y="275665"/>
                        </a:lnTo>
                        <a:lnTo>
                          <a:pt x="30873" y="273058"/>
                        </a:lnTo>
                        <a:lnTo>
                          <a:pt x="26702" y="275418"/>
                        </a:lnTo>
                        <a:lnTo>
                          <a:pt x="24918" y="272811"/>
                        </a:lnTo>
                        <a:lnTo>
                          <a:pt x="20006" y="263754"/>
                        </a:lnTo>
                        <a:lnTo>
                          <a:pt x="14380" y="261916"/>
                        </a:lnTo>
                        <a:lnTo>
                          <a:pt x="14380" y="258293"/>
                        </a:lnTo>
                        <a:lnTo>
                          <a:pt x="17811" y="250088"/>
                        </a:lnTo>
                        <a:lnTo>
                          <a:pt x="17591" y="245505"/>
                        </a:lnTo>
                        <a:lnTo>
                          <a:pt x="14380" y="244215"/>
                        </a:lnTo>
                        <a:lnTo>
                          <a:pt x="8892" y="239083"/>
                        </a:lnTo>
                        <a:lnTo>
                          <a:pt x="7684" y="231372"/>
                        </a:lnTo>
                        <a:lnTo>
                          <a:pt x="9084" y="227091"/>
                        </a:lnTo>
                        <a:lnTo>
                          <a:pt x="14380" y="222892"/>
                        </a:lnTo>
                        <a:lnTo>
                          <a:pt x="15560" y="222453"/>
                        </a:lnTo>
                        <a:lnTo>
                          <a:pt x="12926" y="214467"/>
                        </a:lnTo>
                        <a:lnTo>
                          <a:pt x="9276" y="213342"/>
                        </a:lnTo>
                        <a:lnTo>
                          <a:pt x="9194" y="211283"/>
                        </a:lnTo>
                        <a:lnTo>
                          <a:pt x="9770" y="208155"/>
                        </a:lnTo>
                        <a:lnTo>
                          <a:pt x="4254" y="202557"/>
                        </a:lnTo>
                        <a:lnTo>
                          <a:pt x="6175" y="195174"/>
                        </a:lnTo>
                        <a:lnTo>
                          <a:pt x="0" y="189631"/>
                        </a:lnTo>
                        <a:lnTo>
                          <a:pt x="8754" y="182496"/>
                        </a:lnTo>
                        <a:lnTo>
                          <a:pt x="5736" y="179752"/>
                        </a:lnTo>
                        <a:lnTo>
                          <a:pt x="10209" y="174016"/>
                        </a:lnTo>
                        <a:lnTo>
                          <a:pt x="9358" y="166744"/>
                        </a:lnTo>
                        <a:lnTo>
                          <a:pt x="2251" y="155904"/>
                        </a:lnTo>
                        <a:lnTo>
                          <a:pt x="3787" y="151924"/>
                        </a:lnTo>
                        <a:lnTo>
                          <a:pt x="8562" y="148631"/>
                        </a:lnTo>
                        <a:lnTo>
                          <a:pt x="15615" y="152089"/>
                        </a:lnTo>
                        <a:lnTo>
                          <a:pt x="26510" y="146902"/>
                        </a:lnTo>
                        <a:lnTo>
                          <a:pt x="25110" y="141441"/>
                        </a:lnTo>
                        <a:lnTo>
                          <a:pt x="25961" y="138203"/>
                        </a:lnTo>
                        <a:lnTo>
                          <a:pt x="34963" y="132330"/>
                        </a:lnTo>
                        <a:lnTo>
                          <a:pt x="33288" y="122807"/>
                        </a:lnTo>
                        <a:lnTo>
                          <a:pt x="24122" y="120530"/>
                        </a:lnTo>
                        <a:lnTo>
                          <a:pt x="24479" y="113696"/>
                        </a:lnTo>
                        <a:lnTo>
                          <a:pt x="33206" y="113147"/>
                        </a:lnTo>
                        <a:lnTo>
                          <a:pt x="35758" y="103460"/>
                        </a:lnTo>
                        <a:lnTo>
                          <a:pt x="38832" y="96490"/>
                        </a:lnTo>
                        <a:lnTo>
                          <a:pt x="39024" y="90041"/>
                        </a:lnTo>
                        <a:lnTo>
                          <a:pt x="39463" y="85732"/>
                        </a:lnTo>
                        <a:lnTo>
                          <a:pt x="39189" y="83701"/>
                        </a:lnTo>
                        <a:lnTo>
                          <a:pt x="40835" y="79612"/>
                        </a:lnTo>
                        <a:lnTo>
                          <a:pt x="34386" y="79036"/>
                        </a:lnTo>
                        <a:lnTo>
                          <a:pt x="33041" y="77911"/>
                        </a:lnTo>
                        <a:lnTo>
                          <a:pt x="36389" y="66851"/>
                        </a:lnTo>
                        <a:lnTo>
                          <a:pt x="41027" y="61033"/>
                        </a:lnTo>
                        <a:lnTo>
                          <a:pt x="49205" y="62350"/>
                        </a:lnTo>
                        <a:lnTo>
                          <a:pt x="56862" y="60704"/>
                        </a:lnTo>
                        <a:lnTo>
                          <a:pt x="62378" y="60951"/>
                        </a:lnTo>
                        <a:lnTo>
                          <a:pt x="65150" y="64162"/>
                        </a:lnTo>
                        <a:lnTo>
                          <a:pt x="67016" y="69211"/>
                        </a:lnTo>
                        <a:lnTo>
                          <a:pt x="64244" y="70721"/>
                        </a:lnTo>
                        <a:lnTo>
                          <a:pt x="68224" y="75496"/>
                        </a:lnTo>
                        <a:lnTo>
                          <a:pt x="71187" y="73273"/>
                        </a:lnTo>
                        <a:lnTo>
                          <a:pt x="69650" y="68827"/>
                        </a:lnTo>
                        <a:lnTo>
                          <a:pt x="70940" y="66083"/>
                        </a:lnTo>
                        <a:lnTo>
                          <a:pt x="78789" y="69760"/>
                        </a:lnTo>
                        <a:lnTo>
                          <a:pt x="77774" y="65753"/>
                        </a:lnTo>
                        <a:lnTo>
                          <a:pt x="78267" y="56587"/>
                        </a:lnTo>
                        <a:lnTo>
                          <a:pt x="82686" y="51511"/>
                        </a:lnTo>
                        <a:lnTo>
                          <a:pt x="85979" y="54200"/>
                        </a:lnTo>
                        <a:lnTo>
                          <a:pt x="92428" y="54365"/>
                        </a:lnTo>
                        <a:lnTo>
                          <a:pt x="99920" y="52718"/>
                        </a:lnTo>
                        <a:lnTo>
                          <a:pt x="97779" y="52114"/>
                        </a:lnTo>
                        <a:lnTo>
                          <a:pt x="92730" y="52114"/>
                        </a:lnTo>
                        <a:lnTo>
                          <a:pt x="86994" y="44952"/>
                        </a:lnTo>
                        <a:lnTo>
                          <a:pt x="90589" y="42564"/>
                        </a:lnTo>
                        <a:lnTo>
                          <a:pt x="86857" y="37871"/>
                        </a:lnTo>
                        <a:lnTo>
                          <a:pt x="87351" y="32767"/>
                        </a:lnTo>
                        <a:lnTo>
                          <a:pt x="82905" y="29748"/>
                        </a:lnTo>
                        <a:lnTo>
                          <a:pt x="88339" y="24068"/>
                        </a:lnTo>
                        <a:lnTo>
                          <a:pt x="87681" y="17728"/>
                        </a:lnTo>
                        <a:lnTo>
                          <a:pt x="81780" y="5104"/>
                        </a:lnTo>
                        <a:lnTo>
                          <a:pt x="81231" y="0"/>
                        </a:lnTo>
                        <a:lnTo>
                          <a:pt x="92785" y="1592"/>
                        </a:lnTo>
                        <a:lnTo>
                          <a:pt x="95282" y="194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1" name="Freeform: Shape 3380">
                    <a:extLst>
                      <a:ext uri="{FF2B5EF4-FFF2-40B4-BE49-F238E27FC236}">
                        <a16:creationId xmlns:a16="http://schemas.microsoft.com/office/drawing/2014/main" id="{F16789E7-DDE8-16D9-135F-10AD67C0ED8D}"/>
                      </a:ext>
                    </a:extLst>
                  </p:cNvPr>
                  <p:cNvSpPr/>
                  <p:nvPr/>
                </p:nvSpPr>
                <p:spPr>
                  <a:xfrm>
                    <a:off x="-5962513" y="2956322"/>
                    <a:ext cx="7272" cy="6037"/>
                  </a:xfrm>
                  <a:custGeom>
                    <a:avLst/>
                    <a:gdLst>
                      <a:gd name="connsiteX0" fmla="*/ 7272 w 7272"/>
                      <a:gd name="connsiteY0" fmla="*/ 5818 h 6037"/>
                      <a:gd name="connsiteX1" fmla="*/ 3019 w 7272"/>
                      <a:gd name="connsiteY1" fmla="*/ 6037 h 6037"/>
                      <a:gd name="connsiteX2" fmla="*/ 55 w 7272"/>
                      <a:gd name="connsiteY2" fmla="*/ 4034 h 6037"/>
                      <a:gd name="connsiteX3" fmla="*/ 0 w 7272"/>
                      <a:gd name="connsiteY3" fmla="*/ 1125 h 6037"/>
                      <a:gd name="connsiteX4" fmla="*/ 1015 w 7272"/>
                      <a:gd name="connsiteY4" fmla="*/ 0 h 6037"/>
                      <a:gd name="connsiteX5" fmla="*/ 5407 w 7272"/>
                      <a:gd name="connsiteY5" fmla="*/ 1125 h 6037"/>
                      <a:gd name="connsiteX6" fmla="*/ 7218 w 7272"/>
                      <a:gd name="connsiteY6" fmla="*/ 5818 h 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72" h="6037">
                        <a:moveTo>
                          <a:pt x="7272" y="5818"/>
                        </a:moveTo>
                        <a:lnTo>
                          <a:pt x="3019" y="6037"/>
                        </a:lnTo>
                        <a:lnTo>
                          <a:pt x="55" y="4034"/>
                        </a:lnTo>
                        <a:lnTo>
                          <a:pt x="0" y="1125"/>
                        </a:lnTo>
                        <a:lnTo>
                          <a:pt x="1015" y="0"/>
                        </a:lnTo>
                        <a:lnTo>
                          <a:pt x="5407" y="1125"/>
                        </a:lnTo>
                        <a:lnTo>
                          <a:pt x="7218" y="581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2" name="Freeform: Shape 3381">
                    <a:extLst>
                      <a:ext uri="{FF2B5EF4-FFF2-40B4-BE49-F238E27FC236}">
                        <a16:creationId xmlns:a16="http://schemas.microsoft.com/office/drawing/2014/main" id="{D33E9049-1694-A8F3-AD83-4AAB087F7A7A}"/>
                      </a:ext>
                    </a:extLst>
                  </p:cNvPr>
                  <p:cNvSpPr/>
                  <p:nvPr/>
                </p:nvSpPr>
                <p:spPr>
                  <a:xfrm>
                    <a:off x="-6040424" y="2982173"/>
                    <a:ext cx="4473" cy="5515"/>
                  </a:xfrm>
                  <a:custGeom>
                    <a:avLst/>
                    <a:gdLst>
                      <a:gd name="connsiteX0" fmla="*/ 4446 w 4473"/>
                      <a:gd name="connsiteY0" fmla="*/ 905 h 5515"/>
                      <a:gd name="connsiteX1" fmla="*/ 2360 w 4473"/>
                      <a:gd name="connsiteY1" fmla="*/ 5516 h 5515"/>
                      <a:gd name="connsiteX2" fmla="*/ 0 w 4473"/>
                      <a:gd name="connsiteY2" fmla="*/ 4336 h 5515"/>
                      <a:gd name="connsiteX3" fmla="*/ 2635 w 4473"/>
                      <a:gd name="connsiteY3" fmla="*/ 0 h 5515"/>
                      <a:gd name="connsiteX4" fmla="*/ 4473 w 4473"/>
                      <a:gd name="connsiteY4" fmla="*/ 905 h 5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3" h="5515">
                        <a:moveTo>
                          <a:pt x="4446" y="905"/>
                        </a:moveTo>
                        <a:lnTo>
                          <a:pt x="2360" y="5516"/>
                        </a:lnTo>
                        <a:lnTo>
                          <a:pt x="0" y="4336"/>
                        </a:lnTo>
                        <a:lnTo>
                          <a:pt x="2635" y="0"/>
                        </a:lnTo>
                        <a:lnTo>
                          <a:pt x="4473" y="90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3" name="Freeform: Shape 3382">
                    <a:extLst>
                      <a:ext uri="{FF2B5EF4-FFF2-40B4-BE49-F238E27FC236}">
                        <a16:creationId xmlns:a16="http://schemas.microsoft.com/office/drawing/2014/main" id="{3FDF5723-6136-2014-5115-3E2EA185D3CC}"/>
                      </a:ext>
                    </a:extLst>
                  </p:cNvPr>
                  <p:cNvSpPr/>
                  <p:nvPr/>
                </p:nvSpPr>
                <p:spPr>
                  <a:xfrm>
                    <a:off x="-6057328" y="2971168"/>
                    <a:ext cx="4116" cy="5845"/>
                  </a:xfrm>
                  <a:custGeom>
                    <a:avLst/>
                    <a:gdLst>
                      <a:gd name="connsiteX0" fmla="*/ 4089 w 4116"/>
                      <a:gd name="connsiteY0" fmla="*/ 1537 h 5845"/>
                      <a:gd name="connsiteX1" fmla="*/ 3403 w 4116"/>
                      <a:gd name="connsiteY1" fmla="*/ 5845 h 5845"/>
                      <a:gd name="connsiteX2" fmla="*/ 0 w 4116"/>
                      <a:gd name="connsiteY2" fmla="*/ 1262 h 5845"/>
                      <a:gd name="connsiteX3" fmla="*/ 2579 w 4116"/>
                      <a:gd name="connsiteY3" fmla="*/ 0 h 5845"/>
                      <a:gd name="connsiteX4" fmla="*/ 4116 w 4116"/>
                      <a:gd name="connsiteY4" fmla="*/ 1537 h 5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 h="5845">
                        <a:moveTo>
                          <a:pt x="4089" y="1537"/>
                        </a:moveTo>
                        <a:lnTo>
                          <a:pt x="3403" y="5845"/>
                        </a:lnTo>
                        <a:lnTo>
                          <a:pt x="0" y="1262"/>
                        </a:lnTo>
                        <a:lnTo>
                          <a:pt x="2579" y="0"/>
                        </a:lnTo>
                        <a:lnTo>
                          <a:pt x="4116" y="153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4" name="Freeform: Shape 3383">
                    <a:extLst>
                      <a:ext uri="{FF2B5EF4-FFF2-40B4-BE49-F238E27FC236}">
                        <a16:creationId xmlns:a16="http://schemas.microsoft.com/office/drawing/2014/main" id="{0B0E67F2-696A-1EDC-20ED-D0522902BC65}"/>
                      </a:ext>
                    </a:extLst>
                  </p:cNvPr>
                  <p:cNvSpPr/>
                  <p:nvPr/>
                </p:nvSpPr>
                <p:spPr>
                  <a:xfrm>
                    <a:off x="-6040176" y="2945070"/>
                    <a:ext cx="6229" cy="3759"/>
                  </a:xfrm>
                  <a:custGeom>
                    <a:avLst/>
                    <a:gdLst>
                      <a:gd name="connsiteX0" fmla="*/ 6230 w 6229"/>
                      <a:gd name="connsiteY0" fmla="*/ 412 h 3759"/>
                      <a:gd name="connsiteX1" fmla="*/ 5571 w 6229"/>
                      <a:gd name="connsiteY1" fmla="*/ 3760 h 3759"/>
                      <a:gd name="connsiteX2" fmla="*/ 2964 w 6229"/>
                      <a:gd name="connsiteY2" fmla="*/ 3760 h 3759"/>
                      <a:gd name="connsiteX3" fmla="*/ 0 w 6229"/>
                      <a:gd name="connsiteY3" fmla="*/ 1866 h 3759"/>
                      <a:gd name="connsiteX4" fmla="*/ 1345 w 6229"/>
                      <a:gd name="connsiteY4" fmla="*/ 0 h 3759"/>
                      <a:gd name="connsiteX5" fmla="*/ 6230 w 6229"/>
                      <a:gd name="connsiteY5" fmla="*/ 412 h 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9" h="3759">
                        <a:moveTo>
                          <a:pt x="6230" y="412"/>
                        </a:moveTo>
                        <a:lnTo>
                          <a:pt x="5571" y="3760"/>
                        </a:lnTo>
                        <a:lnTo>
                          <a:pt x="2964" y="3760"/>
                        </a:lnTo>
                        <a:cubicBezTo>
                          <a:pt x="2964" y="3760"/>
                          <a:pt x="0" y="1866"/>
                          <a:pt x="0" y="1866"/>
                        </a:cubicBezTo>
                        <a:lnTo>
                          <a:pt x="1345" y="0"/>
                        </a:lnTo>
                        <a:lnTo>
                          <a:pt x="6230" y="41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5" name="Freeform: Shape 3384">
                    <a:extLst>
                      <a:ext uri="{FF2B5EF4-FFF2-40B4-BE49-F238E27FC236}">
                        <a16:creationId xmlns:a16="http://schemas.microsoft.com/office/drawing/2014/main" id="{D2912CAB-CA89-CF46-C890-A5976C7CDFAE}"/>
                      </a:ext>
                    </a:extLst>
                  </p:cNvPr>
                  <p:cNvSpPr/>
                  <p:nvPr/>
                </p:nvSpPr>
                <p:spPr>
                  <a:xfrm>
                    <a:off x="-6043744" y="2945784"/>
                    <a:ext cx="3512" cy="6613"/>
                  </a:xfrm>
                  <a:custGeom>
                    <a:avLst/>
                    <a:gdLst>
                      <a:gd name="connsiteX0" fmla="*/ 3513 w 3512"/>
                      <a:gd name="connsiteY0" fmla="*/ 4583 h 6613"/>
                      <a:gd name="connsiteX1" fmla="*/ 2058 w 3512"/>
                      <a:gd name="connsiteY1" fmla="*/ 6614 h 6613"/>
                      <a:gd name="connsiteX2" fmla="*/ 0 w 3512"/>
                      <a:gd name="connsiteY2" fmla="*/ 3567 h 6613"/>
                      <a:gd name="connsiteX3" fmla="*/ 2799 w 3512"/>
                      <a:gd name="connsiteY3" fmla="*/ 0 h 6613"/>
                      <a:gd name="connsiteX4" fmla="*/ 3513 w 3512"/>
                      <a:gd name="connsiteY4" fmla="*/ 4583 h 6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6613">
                        <a:moveTo>
                          <a:pt x="3513" y="4583"/>
                        </a:moveTo>
                        <a:lnTo>
                          <a:pt x="2058" y="6614"/>
                        </a:lnTo>
                        <a:lnTo>
                          <a:pt x="0" y="3567"/>
                        </a:lnTo>
                        <a:lnTo>
                          <a:pt x="2799" y="0"/>
                        </a:lnTo>
                        <a:lnTo>
                          <a:pt x="3513" y="458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6" name="Freeform: Shape 3385">
                    <a:extLst>
                      <a:ext uri="{FF2B5EF4-FFF2-40B4-BE49-F238E27FC236}">
                        <a16:creationId xmlns:a16="http://schemas.microsoft.com/office/drawing/2014/main" id="{0A0B222D-F4FB-F8A2-CC77-E53FE5B9F070}"/>
                      </a:ext>
                    </a:extLst>
                  </p:cNvPr>
                  <p:cNvSpPr/>
                  <p:nvPr/>
                </p:nvSpPr>
                <p:spPr>
                  <a:xfrm>
                    <a:off x="-6091577" y="3001163"/>
                    <a:ext cx="4473" cy="4528"/>
                  </a:xfrm>
                  <a:custGeom>
                    <a:avLst/>
                    <a:gdLst>
                      <a:gd name="connsiteX0" fmla="*/ 3348 w 4473"/>
                      <a:gd name="connsiteY0" fmla="*/ 0 h 4528"/>
                      <a:gd name="connsiteX1" fmla="*/ 4473 w 4473"/>
                      <a:gd name="connsiteY1" fmla="*/ 4528 h 4528"/>
                      <a:gd name="connsiteX2" fmla="*/ 576 w 4473"/>
                      <a:gd name="connsiteY2" fmla="*/ 3787 h 4528"/>
                      <a:gd name="connsiteX3" fmla="*/ 0 w 4473"/>
                      <a:gd name="connsiteY3" fmla="*/ 2141 h 4528"/>
                      <a:gd name="connsiteX4" fmla="*/ 3320 w 4473"/>
                      <a:gd name="connsiteY4" fmla="*/ 0 h 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3" h="4528">
                        <a:moveTo>
                          <a:pt x="3348" y="0"/>
                        </a:moveTo>
                        <a:lnTo>
                          <a:pt x="4473" y="4528"/>
                        </a:lnTo>
                        <a:lnTo>
                          <a:pt x="576" y="3787"/>
                        </a:lnTo>
                        <a:lnTo>
                          <a:pt x="0" y="2141"/>
                        </a:lnTo>
                        <a:lnTo>
                          <a:pt x="3320"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7" name="Freeform: Shape 3386">
                    <a:extLst>
                      <a:ext uri="{FF2B5EF4-FFF2-40B4-BE49-F238E27FC236}">
                        <a16:creationId xmlns:a16="http://schemas.microsoft.com/office/drawing/2014/main" id="{D92AF710-F0ED-C13C-528A-1065F6E849EA}"/>
                      </a:ext>
                    </a:extLst>
                  </p:cNvPr>
                  <p:cNvSpPr/>
                  <p:nvPr/>
                </p:nvSpPr>
                <p:spPr>
                  <a:xfrm>
                    <a:off x="-6086528" y="2997980"/>
                    <a:ext cx="3567" cy="5516"/>
                  </a:xfrm>
                  <a:custGeom>
                    <a:avLst/>
                    <a:gdLst>
                      <a:gd name="connsiteX0" fmla="*/ 3567 w 3567"/>
                      <a:gd name="connsiteY0" fmla="*/ 741 h 5516"/>
                      <a:gd name="connsiteX1" fmla="*/ 2799 w 3567"/>
                      <a:gd name="connsiteY1" fmla="*/ 5516 h 5516"/>
                      <a:gd name="connsiteX2" fmla="*/ 933 w 3567"/>
                      <a:gd name="connsiteY2" fmla="*/ 3760 h 5516"/>
                      <a:gd name="connsiteX3" fmla="*/ 0 w 3567"/>
                      <a:gd name="connsiteY3" fmla="*/ 988 h 5516"/>
                      <a:gd name="connsiteX4" fmla="*/ 1180 w 3567"/>
                      <a:gd name="connsiteY4" fmla="*/ 0 h 5516"/>
                      <a:gd name="connsiteX5" fmla="*/ 3567 w 3567"/>
                      <a:gd name="connsiteY5" fmla="*/ 714 h 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 h="5516">
                        <a:moveTo>
                          <a:pt x="3567" y="741"/>
                        </a:moveTo>
                        <a:lnTo>
                          <a:pt x="2799" y="5516"/>
                        </a:lnTo>
                        <a:lnTo>
                          <a:pt x="933" y="3760"/>
                        </a:lnTo>
                        <a:lnTo>
                          <a:pt x="0" y="988"/>
                        </a:lnTo>
                        <a:lnTo>
                          <a:pt x="1180" y="0"/>
                        </a:lnTo>
                        <a:lnTo>
                          <a:pt x="3567" y="71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8" name="Freeform: Shape 3387">
                    <a:extLst>
                      <a:ext uri="{FF2B5EF4-FFF2-40B4-BE49-F238E27FC236}">
                        <a16:creationId xmlns:a16="http://schemas.microsoft.com/office/drawing/2014/main" id="{B646EF5B-B945-B0EC-8639-9ECA61EB019D}"/>
                      </a:ext>
                    </a:extLst>
                  </p:cNvPr>
                  <p:cNvSpPr/>
                  <p:nvPr/>
                </p:nvSpPr>
                <p:spPr>
                  <a:xfrm>
                    <a:off x="-6043525" y="2933270"/>
                    <a:ext cx="3073" cy="5982"/>
                  </a:xfrm>
                  <a:custGeom>
                    <a:avLst/>
                    <a:gdLst>
                      <a:gd name="connsiteX0" fmla="*/ 3074 w 3073"/>
                      <a:gd name="connsiteY0" fmla="*/ 5900 h 5982"/>
                      <a:gd name="connsiteX1" fmla="*/ 0 w 3073"/>
                      <a:gd name="connsiteY1" fmla="*/ 5983 h 5982"/>
                      <a:gd name="connsiteX2" fmla="*/ 1729 w 3073"/>
                      <a:gd name="connsiteY2" fmla="*/ 0 h 5982"/>
                      <a:gd name="connsiteX3" fmla="*/ 3074 w 3073"/>
                      <a:gd name="connsiteY3" fmla="*/ 1180 h 5982"/>
                      <a:gd name="connsiteX4" fmla="*/ 3074 w 3073"/>
                      <a:gd name="connsiteY4" fmla="*/ 5900 h 5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 h="5982">
                        <a:moveTo>
                          <a:pt x="3074" y="5900"/>
                        </a:moveTo>
                        <a:lnTo>
                          <a:pt x="0" y="5983"/>
                        </a:lnTo>
                        <a:lnTo>
                          <a:pt x="1729" y="0"/>
                        </a:lnTo>
                        <a:lnTo>
                          <a:pt x="3074" y="1180"/>
                        </a:lnTo>
                        <a:lnTo>
                          <a:pt x="3074" y="590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89" name="Freeform: Shape 3388">
                    <a:extLst>
                      <a:ext uri="{FF2B5EF4-FFF2-40B4-BE49-F238E27FC236}">
                        <a16:creationId xmlns:a16="http://schemas.microsoft.com/office/drawing/2014/main" id="{E5F96FE9-76C5-A5FB-843C-6037766FDA24}"/>
                      </a:ext>
                    </a:extLst>
                  </p:cNvPr>
                  <p:cNvSpPr/>
                  <p:nvPr/>
                </p:nvSpPr>
                <p:spPr>
                  <a:xfrm>
                    <a:off x="-6035182" y="2954977"/>
                    <a:ext cx="4390" cy="4061"/>
                  </a:xfrm>
                  <a:custGeom>
                    <a:avLst/>
                    <a:gdLst>
                      <a:gd name="connsiteX0" fmla="*/ 4391 w 4390"/>
                      <a:gd name="connsiteY0" fmla="*/ 0 h 4061"/>
                      <a:gd name="connsiteX1" fmla="*/ 3787 w 4390"/>
                      <a:gd name="connsiteY1" fmla="*/ 4062 h 4061"/>
                      <a:gd name="connsiteX2" fmla="*/ 0 w 4390"/>
                      <a:gd name="connsiteY2" fmla="*/ 2772 h 4061"/>
                      <a:gd name="connsiteX3" fmla="*/ 0 w 4390"/>
                      <a:gd name="connsiteY3" fmla="*/ 933 h 4061"/>
                      <a:gd name="connsiteX4" fmla="*/ 4391 w 4390"/>
                      <a:gd name="connsiteY4" fmla="*/ 0 h 4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0" h="4061">
                        <a:moveTo>
                          <a:pt x="4391" y="0"/>
                        </a:moveTo>
                        <a:lnTo>
                          <a:pt x="3787" y="4062"/>
                        </a:lnTo>
                        <a:lnTo>
                          <a:pt x="0" y="2772"/>
                        </a:lnTo>
                        <a:lnTo>
                          <a:pt x="0" y="933"/>
                        </a:lnTo>
                        <a:cubicBezTo>
                          <a:pt x="0" y="933"/>
                          <a:pt x="4391" y="0"/>
                          <a:pt x="4391" y="0"/>
                        </a:cubicBez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0" name="Freeform: Shape 3389">
                    <a:extLst>
                      <a:ext uri="{FF2B5EF4-FFF2-40B4-BE49-F238E27FC236}">
                        <a16:creationId xmlns:a16="http://schemas.microsoft.com/office/drawing/2014/main" id="{9EE8A3AA-4E43-E287-91C7-CA420B4311C5}"/>
                      </a:ext>
                    </a:extLst>
                  </p:cNvPr>
                  <p:cNvSpPr/>
                  <p:nvPr/>
                </p:nvSpPr>
                <p:spPr>
                  <a:xfrm>
                    <a:off x="-6048519" y="2790209"/>
                    <a:ext cx="82603" cy="151759"/>
                  </a:xfrm>
                  <a:custGeom>
                    <a:avLst/>
                    <a:gdLst>
                      <a:gd name="connsiteX0" fmla="*/ 71324 w 82603"/>
                      <a:gd name="connsiteY0" fmla="*/ 21735 h 151759"/>
                      <a:gd name="connsiteX1" fmla="*/ 64573 w 82603"/>
                      <a:gd name="connsiteY1" fmla="*/ 39573 h 151759"/>
                      <a:gd name="connsiteX2" fmla="*/ 64052 w 82603"/>
                      <a:gd name="connsiteY2" fmla="*/ 51071 h 151759"/>
                      <a:gd name="connsiteX3" fmla="*/ 61555 w 82603"/>
                      <a:gd name="connsiteY3" fmla="*/ 53898 h 151759"/>
                      <a:gd name="connsiteX4" fmla="*/ 64848 w 82603"/>
                      <a:gd name="connsiteY4" fmla="*/ 54145 h 151759"/>
                      <a:gd name="connsiteX5" fmla="*/ 69294 w 82603"/>
                      <a:gd name="connsiteY5" fmla="*/ 62186 h 151759"/>
                      <a:gd name="connsiteX6" fmla="*/ 80024 w 82603"/>
                      <a:gd name="connsiteY6" fmla="*/ 63036 h 151759"/>
                      <a:gd name="connsiteX7" fmla="*/ 82603 w 82603"/>
                      <a:gd name="connsiteY7" fmla="*/ 70419 h 151759"/>
                      <a:gd name="connsiteX8" fmla="*/ 76868 w 82603"/>
                      <a:gd name="connsiteY8" fmla="*/ 80600 h 151759"/>
                      <a:gd name="connsiteX9" fmla="*/ 73520 w 82603"/>
                      <a:gd name="connsiteY9" fmla="*/ 79859 h 151759"/>
                      <a:gd name="connsiteX10" fmla="*/ 70748 w 82603"/>
                      <a:gd name="connsiteY10" fmla="*/ 83070 h 151759"/>
                      <a:gd name="connsiteX11" fmla="*/ 68553 w 82603"/>
                      <a:gd name="connsiteY11" fmla="*/ 75770 h 151759"/>
                      <a:gd name="connsiteX12" fmla="*/ 64107 w 82603"/>
                      <a:gd name="connsiteY12" fmla="*/ 80353 h 151759"/>
                      <a:gd name="connsiteX13" fmla="*/ 62213 w 82603"/>
                      <a:gd name="connsiteY13" fmla="*/ 96270 h 151759"/>
                      <a:gd name="connsiteX14" fmla="*/ 55105 w 82603"/>
                      <a:gd name="connsiteY14" fmla="*/ 98273 h 151759"/>
                      <a:gd name="connsiteX15" fmla="*/ 55435 w 82603"/>
                      <a:gd name="connsiteY15" fmla="*/ 105162 h 151759"/>
                      <a:gd name="connsiteX16" fmla="*/ 46214 w 82603"/>
                      <a:gd name="connsiteY16" fmla="*/ 105299 h 151759"/>
                      <a:gd name="connsiteX17" fmla="*/ 49397 w 82603"/>
                      <a:gd name="connsiteY17" fmla="*/ 111226 h 151759"/>
                      <a:gd name="connsiteX18" fmla="*/ 44485 w 82603"/>
                      <a:gd name="connsiteY18" fmla="*/ 120941 h 151759"/>
                      <a:gd name="connsiteX19" fmla="*/ 46845 w 82603"/>
                      <a:gd name="connsiteY19" fmla="*/ 128845 h 151759"/>
                      <a:gd name="connsiteX20" fmla="*/ 45363 w 82603"/>
                      <a:gd name="connsiteY20" fmla="*/ 133016 h 151759"/>
                      <a:gd name="connsiteX21" fmla="*/ 42921 w 82603"/>
                      <a:gd name="connsiteY21" fmla="*/ 133016 h 151759"/>
                      <a:gd name="connsiteX22" fmla="*/ 42811 w 82603"/>
                      <a:gd name="connsiteY22" fmla="*/ 139932 h 151759"/>
                      <a:gd name="connsiteX23" fmla="*/ 50166 w 82603"/>
                      <a:gd name="connsiteY23" fmla="*/ 138834 h 151759"/>
                      <a:gd name="connsiteX24" fmla="*/ 54639 w 82603"/>
                      <a:gd name="connsiteY24" fmla="*/ 142127 h 151759"/>
                      <a:gd name="connsiteX25" fmla="*/ 56834 w 82603"/>
                      <a:gd name="connsiteY25" fmla="*/ 147753 h 151759"/>
                      <a:gd name="connsiteX26" fmla="*/ 47504 w 82603"/>
                      <a:gd name="connsiteY26" fmla="*/ 149702 h 151759"/>
                      <a:gd name="connsiteX27" fmla="*/ 44128 w 82603"/>
                      <a:gd name="connsiteY27" fmla="*/ 147973 h 151759"/>
                      <a:gd name="connsiteX28" fmla="*/ 43470 w 82603"/>
                      <a:gd name="connsiteY28" fmla="*/ 147588 h 151759"/>
                      <a:gd name="connsiteX29" fmla="*/ 38804 w 82603"/>
                      <a:gd name="connsiteY29" fmla="*/ 150689 h 151759"/>
                      <a:gd name="connsiteX30" fmla="*/ 35100 w 82603"/>
                      <a:gd name="connsiteY30" fmla="*/ 151760 h 151759"/>
                      <a:gd name="connsiteX31" fmla="*/ 29776 w 82603"/>
                      <a:gd name="connsiteY31" fmla="*/ 148549 h 151759"/>
                      <a:gd name="connsiteX32" fmla="*/ 27278 w 82603"/>
                      <a:gd name="connsiteY32" fmla="*/ 148192 h 151759"/>
                      <a:gd name="connsiteX33" fmla="*/ 15725 w 82603"/>
                      <a:gd name="connsiteY33" fmla="*/ 146601 h 151759"/>
                      <a:gd name="connsiteX34" fmla="*/ 16109 w 82603"/>
                      <a:gd name="connsiteY34" fmla="*/ 122945 h 151759"/>
                      <a:gd name="connsiteX35" fmla="*/ 12404 w 82603"/>
                      <a:gd name="connsiteY35" fmla="*/ 118856 h 151759"/>
                      <a:gd name="connsiteX36" fmla="*/ 9578 w 82603"/>
                      <a:gd name="connsiteY36" fmla="*/ 123192 h 151759"/>
                      <a:gd name="connsiteX37" fmla="*/ 5489 w 82603"/>
                      <a:gd name="connsiteY37" fmla="*/ 112763 h 151759"/>
                      <a:gd name="connsiteX38" fmla="*/ 3403 w 82603"/>
                      <a:gd name="connsiteY38" fmla="*/ 115261 h 151759"/>
                      <a:gd name="connsiteX39" fmla="*/ 0 w 82603"/>
                      <a:gd name="connsiteY39" fmla="*/ 113147 h 151759"/>
                      <a:gd name="connsiteX40" fmla="*/ 2799 w 82603"/>
                      <a:gd name="connsiteY40" fmla="*/ 98932 h 151759"/>
                      <a:gd name="connsiteX41" fmla="*/ 7135 w 82603"/>
                      <a:gd name="connsiteY41" fmla="*/ 93443 h 151759"/>
                      <a:gd name="connsiteX42" fmla="*/ 851 w 82603"/>
                      <a:gd name="connsiteY42" fmla="*/ 81368 h 151759"/>
                      <a:gd name="connsiteX43" fmla="*/ 2827 w 82603"/>
                      <a:gd name="connsiteY43" fmla="*/ 70995 h 151759"/>
                      <a:gd name="connsiteX44" fmla="*/ 988 w 82603"/>
                      <a:gd name="connsiteY44" fmla="*/ 62680 h 151759"/>
                      <a:gd name="connsiteX45" fmla="*/ 2909 w 82603"/>
                      <a:gd name="connsiteY45" fmla="*/ 55298 h 151759"/>
                      <a:gd name="connsiteX46" fmla="*/ 16631 w 82603"/>
                      <a:gd name="connsiteY46" fmla="*/ 64711 h 151759"/>
                      <a:gd name="connsiteX47" fmla="*/ 18442 w 82603"/>
                      <a:gd name="connsiteY47" fmla="*/ 63201 h 151759"/>
                      <a:gd name="connsiteX48" fmla="*/ 19430 w 82603"/>
                      <a:gd name="connsiteY48" fmla="*/ 55654 h 151759"/>
                      <a:gd name="connsiteX49" fmla="*/ 26620 w 82603"/>
                      <a:gd name="connsiteY49" fmla="*/ 46269 h 151759"/>
                      <a:gd name="connsiteX50" fmla="*/ 30297 w 82603"/>
                      <a:gd name="connsiteY50" fmla="*/ 51702 h 151759"/>
                      <a:gd name="connsiteX51" fmla="*/ 30105 w 82603"/>
                      <a:gd name="connsiteY51" fmla="*/ 57411 h 151759"/>
                      <a:gd name="connsiteX52" fmla="*/ 35786 w 82603"/>
                      <a:gd name="connsiteY52" fmla="*/ 54447 h 151759"/>
                      <a:gd name="connsiteX53" fmla="*/ 32657 w 82603"/>
                      <a:gd name="connsiteY53" fmla="*/ 47614 h 151759"/>
                      <a:gd name="connsiteX54" fmla="*/ 31971 w 82603"/>
                      <a:gd name="connsiteY54" fmla="*/ 38585 h 151759"/>
                      <a:gd name="connsiteX55" fmla="*/ 29803 w 82603"/>
                      <a:gd name="connsiteY55" fmla="*/ 36691 h 151759"/>
                      <a:gd name="connsiteX56" fmla="*/ 24836 w 82603"/>
                      <a:gd name="connsiteY56" fmla="*/ 38420 h 151759"/>
                      <a:gd name="connsiteX57" fmla="*/ 21268 w 82603"/>
                      <a:gd name="connsiteY57" fmla="*/ 49260 h 151759"/>
                      <a:gd name="connsiteX58" fmla="*/ 17920 w 82603"/>
                      <a:gd name="connsiteY58" fmla="*/ 53239 h 151759"/>
                      <a:gd name="connsiteX59" fmla="*/ 8260 w 82603"/>
                      <a:gd name="connsiteY59" fmla="*/ 53185 h 151759"/>
                      <a:gd name="connsiteX60" fmla="*/ 5187 w 82603"/>
                      <a:gd name="connsiteY60" fmla="*/ 46296 h 151759"/>
                      <a:gd name="connsiteX61" fmla="*/ 14051 w 82603"/>
                      <a:gd name="connsiteY61" fmla="*/ 31724 h 151759"/>
                      <a:gd name="connsiteX62" fmla="*/ 37981 w 82603"/>
                      <a:gd name="connsiteY62" fmla="*/ 27498 h 151759"/>
                      <a:gd name="connsiteX63" fmla="*/ 54502 w 82603"/>
                      <a:gd name="connsiteY63" fmla="*/ 5818 h 151759"/>
                      <a:gd name="connsiteX64" fmla="*/ 69321 w 82603"/>
                      <a:gd name="connsiteY64" fmla="*/ 0 h 151759"/>
                      <a:gd name="connsiteX65" fmla="*/ 71324 w 82603"/>
                      <a:gd name="connsiteY65" fmla="*/ 21653 h 151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82603" h="151759">
                        <a:moveTo>
                          <a:pt x="71324" y="21735"/>
                        </a:moveTo>
                        <a:lnTo>
                          <a:pt x="64573" y="39573"/>
                        </a:lnTo>
                        <a:lnTo>
                          <a:pt x="64052" y="51071"/>
                        </a:lnTo>
                        <a:lnTo>
                          <a:pt x="61555" y="53898"/>
                        </a:lnTo>
                        <a:lnTo>
                          <a:pt x="64848" y="54145"/>
                        </a:lnTo>
                        <a:lnTo>
                          <a:pt x="69294" y="62186"/>
                        </a:lnTo>
                        <a:lnTo>
                          <a:pt x="80024" y="63036"/>
                        </a:lnTo>
                        <a:lnTo>
                          <a:pt x="82603" y="70419"/>
                        </a:lnTo>
                        <a:lnTo>
                          <a:pt x="76868" y="80600"/>
                        </a:lnTo>
                        <a:lnTo>
                          <a:pt x="73520" y="79859"/>
                        </a:lnTo>
                        <a:lnTo>
                          <a:pt x="70748" y="83070"/>
                        </a:lnTo>
                        <a:lnTo>
                          <a:pt x="68553" y="75770"/>
                        </a:lnTo>
                        <a:lnTo>
                          <a:pt x="64107" y="80353"/>
                        </a:lnTo>
                        <a:lnTo>
                          <a:pt x="62213" y="96270"/>
                        </a:lnTo>
                        <a:lnTo>
                          <a:pt x="55105" y="98273"/>
                        </a:lnTo>
                        <a:lnTo>
                          <a:pt x="55435" y="105162"/>
                        </a:lnTo>
                        <a:lnTo>
                          <a:pt x="46214" y="105299"/>
                        </a:lnTo>
                        <a:lnTo>
                          <a:pt x="49397" y="111226"/>
                        </a:lnTo>
                        <a:lnTo>
                          <a:pt x="44485" y="120941"/>
                        </a:lnTo>
                        <a:lnTo>
                          <a:pt x="46845" y="128845"/>
                        </a:lnTo>
                        <a:lnTo>
                          <a:pt x="45363" y="133016"/>
                        </a:lnTo>
                        <a:lnTo>
                          <a:pt x="42921" y="133016"/>
                        </a:lnTo>
                        <a:lnTo>
                          <a:pt x="42811" y="139932"/>
                        </a:lnTo>
                        <a:lnTo>
                          <a:pt x="50166" y="138834"/>
                        </a:lnTo>
                        <a:lnTo>
                          <a:pt x="54639" y="142127"/>
                        </a:lnTo>
                        <a:lnTo>
                          <a:pt x="56834" y="147753"/>
                        </a:lnTo>
                        <a:lnTo>
                          <a:pt x="47504" y="149702"/>
                        </a:lnTo>
                        <a:lnTo>
                          <a:pt x="44128" y="147973"/>
                        </a:lnTo>
                        <a:lnTo>
                          <a:pt x="43470" y="147588"/>
                        </a:lnTo>
                        <a:lnTo>
                          <a:pt x="38804" y="150689"/>
                        </a:lnTo>
                        <a:lnTo>
                          <a:pt x="35100" y="151760"/>
                        </a:lnTo>
                        <a:lnTo>
                          <a:pt x="29776" y="148549"/>
                        </a:lnTo>
                        <a:lnTo>
                          <a:pt x="27278" y="148192"/>
                        </a:lnTo>
                        <a:lnTo>
                          <a:pt x="15725" y="146601"/>
                        </a:lnTo>
                        <a:lnTo>
                          <a:pt x="16109" y="122945"/>
                        </a:lnTo>
                        <a:lnTo>
                          <a:pt x="12404" y="118856"/>
                        </a:lnTo>
                        <a:lnTo>
                          <a:pt x="9578" y="123192"/>
                        </a:lnTo>
                        <a:lnTo>
                          <a:pt x="5489" y="112763"/>
                        </a:lnTo>
                        <a:lnTo>
                          <a:pt x="3403" y="115261"/>
                        </a:lnTo>
                        <a:lnTo>
                          <a:pt x="0" y="113147"/>
                        </a:lnTo>
                        <a:lnTo>
                          <a:pt x="2799" y="98932"/>
                        </a:lnTo>
                        <a:lnTo>
                          <a:pt x="7135" y="93443"/>
                        </a:lnTo>
                        <a:lnTo>
                          <a:pt x="851" y="81368"/>
                        </a:lnTo>
                        <a:lnTo>
                          <a:pt x="2827" y="70995"/>
                        </a:lnTo>
                        <a:lnTo>
                          <a:pt x="988" y="62680"/>
                        </a:lnTo>
                        <a:lnTo>
                          <a:pt x="2909" y="55298"/>
                        </a:lnTo>
                        <a:lnTo>
                          <a:pt x="16631" y="64711"/>
                        </a:lnTo>
                        <a:lnTo>
                          <a:pt x="18442" y="63201"/>
                        </a:lnTo>
                        <a:lnTo>
                          <a:pt x="19430" y="55654"/>
                        </a:lnTo>
                        <a:lnTo>
                          <a:pt x="26620" y="46269"/>
                        </a:lnTo>
                        <a:lnTo>
                          <a:pt x="30297" y="51702"/>
                        </a:lnTo>
                        <a:lnTo>
                          <a:pt x="30105" y="57411"/>
                        </a:lnTo>
                        <a:lnTo>
                          <a:pt x="35786" y="54447"/>
                        </a:lnTo>
                        <a:lnTo>
                          <a:pt x="32657" y="47614"/>
                        </a:lnTo>
                        <a:lnTo>
                          <a:pt x="31971" y="38585"/>
                        </a:lnTo>
                        <a:lnTo>
                          <a:pt x="29803" y="36691"/>
                        </a:lnTo>
                        <a:lnTo>
                          <a:pt x="24836" y="38420"/>
                        </a:lnTo>
                        <a:lnTo>
                          <a:pt x="21268" y="49260"/>
                        </a:lnTo>
                        <a:lnTo>
                          <a:pt x="17920" y="53239"/>
                        </a:lnTo>
                        <a:lnTo>
                          <a:pt x="8260" y="53185"/>
                        </a:lnTo>
                        <a:lnTo>
                          <a:pt x="5187" y="46296"/>
                        </a:lnTo>
                        <a:lnTo>
                          <a:pt x="14051" y="31724"/>
                        </a:lnTo>
                        <a:lnTo>
                          <a:pt x="37981" y="27498"/>
                        </a:lnTo>
                        <a:lnTo>
                          <a:pt x="54502" y="5818"/>
                        </a:lnTo>
                        <a:lnTo>
                          <a:pt x="69321" y="0"/>
                        </a:lnTo>
                        <a:lnTo>
                          <a:pt x="71324" y="2165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1" name="Freeform: Shape 3390">
                    <a:extLst>
                      <a:ext uri="{FF2B5EF4-FFF2-40B4-BE49-F238E27FC236}">
                        <a16:creationId xmlns:a16="http://schemas.microsoft.com/office/drawing/2014/main" id="{DA44C321-7C3A-E444-FA57-2E62233A2739}"/>
                      </a:ext>
                    </a:extLst>
                  </p:cNvPr>
                  <p:cNvSpPr/>
                  <p:nvPr/>
                </p:nvSpPr>
                <p:spPr>
                  <a:xfrm>
                    <a:off x="-5962870" y="2874432"/>
                    <a:ext cx="48299" cy="78212"/>
                  </a:xfrm>
                  <a:custGeom>
                    <a:avLst/>
                    <a:gdLst>
                      <a:gd name="connsiteX0" fmla="*/ 46159 w 48299"/>
                      <a:gd name="connsiteY0" fmla="*/ 16082 h 78212"/>
                      <a:gd name="connsiteX1" fmla="*/ 46159 w 48299"/>
                      <a:gd name="connsiteY1" fmla="*/ 20555 h 78212"/>
                      <a:gd name="connsiteX2" fmla="*/ 48300 w 48299"/>
                      <a:gd name="connsiteY2" fmla="*/ 27470 h 78212"/>
                      <a:gd name="connsiteX3" fmla="*/ 45720 w 48299"/>
                      <a:gd name="connsiteY3" fmla="*/ 28595 h 78212"/>
                      <a:gd name="connsiteX4" fmla="*/ 43854 w 48299"/>
                      <a:gd name="connsiteY4" fmla="*/ 25001 h 78212"/>
                      <a:gd name="connsiteX5" fmla="*/ 39683 w 48299"/>
                      <a:gd name="connsiteY5" fmla="*/ 27223 h 78212"/>
                      <a:gd name="connsiteX6" fmla="*/ 35594 w 48299"/>
                      <a:gd name="connsiteY6" fmla="*/ 31230 h 78212"/>
                      <a:gd name="connsiteX7" fmla="*/ 35456 w 48299"/>
                      <a:gd name="connsiteY7" fmla="*/ 36005 h 78212"/>
                      <a:gd name="connsiteX8" fmla="*/ 41384 w 48299"/>
                      <a:gd name="connsiteY8" fmla="*/ 41686 h 78212"/>
                      <a:gd name="connsiteX9" fmla="*/ 33782 w 48299"/>
                      <a:gd name="connsiteY9" fmla="*/ 48190 h 78212"/>
                      <a:gd name="connsiteX10" fmla="*/ 33591 w 48299"/>
                      <a:gd name="connsiteY10" fmla="*/ 52910 h 78212"/>
                      <a:gd name="connsiteX11" fmla="*/ 36499 w 48299"/>
                      <a:gd name="connsiteY11" fmla="*/ 54090 h 78212"/>
                      <a:gd name="connsiteX12" fmla="*/ 36829 w 48299"/>
                      <a:gd name="connsiteY12" fmla="*/ 58097 h 78212"/>
                      <a:gd name="connsiteX13" fmla="*/ 41192 w 48299"/>
                      <a:gd name="connsiteY13" fmla="*/ 57410 h 78212"/>
                      <a:gd name="connsiteX14" fmla="*/ 42345 w 48299"/>
                      <a:gd name="connsiteY14" fmla="*/ 59716 h 78212"/>
                      <a:gd name="connsiteX15" fmla="*/ 35676 w 48299"/>
                      <a:gd name="connsiteY15" fmla="*/ 63777 h 78212"/>
                      <a:gd name="connsiteX16" fmla="*/ 29831 w 48299"/>
                      <a:gd name="connsiteY16" fmla="*/ 71544 h 78212"/>
                      <a:gd name="connsiteX17" fmla="*/ 27553 w 48299"/>
                      <a:gd name="connsiteY17" fmla="*/ 78212 h 78212"/>
                      <a:gd name="connsiteX18" fmla="*/ 13447 w 48299"/>
                      <a:gd name="connsiteY18" fmla="*/ 77471 h 78212"/>
                      <a:gd name="connsiteX19" fmla="*/ 0 w 48299"/>
                      <a:gd name="connsiteY19" fmla="*/ 69156 h 78212"/>
                      <a:gd name="connsiteX20" fmla="*/ 384 w 48299"/>
                      <a:gd name="connsiteY20" fmla="*/ 63914 h 78212"/>
                      <a:gd name="connsiteX21" fmla="*/ 2827 w 48299"/>
                      <a:gd name="connsiteY21" fmla="*/ 61115 h 78212"/>
                      <a:gd name="connsiteX22" fmla="*/ 7657 w 48299"/>
                      <a:gd name="connsiteY22" fmla="*/ 60951 h 78212"/>
                      <a:gd name="connsiteX23" fmla="*/ 15368 w 48299"/>
                      <a:gd name="connsiteY23" fmla="*/ 66138 h 78212"/>
                      <a:gd name="connsiteX24" fmla="*/ 27169 w 48299"/>
                      <a:gd name="connsiteY24" fmla="*/ 60018 h 78212"/>
                      <a:gd name="connsiteX25" fmla="*/ 19430 w 48299"/>
                      <a:gd name="connsiteY25" fmla="*/ 49123 h 78212"/>
                      <a:gd name="connsiteX26" fmla="*/ 7602 w 48299"/>
                      <a:gd name="connsiteY26" fmla="*/ 46214 h 78212"/>
                      <a:gd name="connsiteX27" fmla="*/ 1427 w 48299"/>
                      <a:gd name="connsiteY27" fmla="*/ 21021 h 78212"/>
                      <a:gd name="connsiteX28" fmla="*/ 8151 w 48299"/>
                      <a:gd name="connsiteY28" fmla="*/ 18743 h 78212"/>
                      <a:gd name="connsiteX29" fmla="*/ 18579 w 48299"/>
                      <a:gd name="connsiteY29" fmla="*/ 8782 h 78212"/>
                      <a:gd name="connsiteX30" fmla="*/ 20637 w 48299"/>
                      <a:gd name="connsiteY30" fmla="*/ 10511 h 78212"/>
                      <a:gd name="connsiteX31" fmla="*/ 22750 w 48299"/>
                      <a:gd name="connsiteY31" fmla="*/ 23793 h 78212"/>
                      <a:gd name="connsiteX32" fmla="*/ 25303 w 48299"/>
                      <a:gd name="connsiteY32" fmla="*/ 19786 h 78212"/>
                      <a:gd name="connsiteX33" fmla="*/ 27086 w 48299"/>
                      <a:gd name="connsiteY33" fmla="*/ 14078 h 78212"/>
                      <a:gd name="connsiteX34" fmla="*/ 26181 w 48299"/>
                      <a:gd name="connsiteY34" fmla="*/ 7135 h 78212"/>
                      <a:gd name="connsiteX35" fmla="*/ 37240 w 48299"/>
                      <a:gd name="connsiteY35" fmla="*/ 0 h 78212"/>
                      <a:gd name="connsiteX36" fmla="*/ 45748 w 48299"/>
                      <a:gd name="connsiteY36" fmla="*/ 3650 h 78212"/>
                      <a:gd name="connsiteX37" fmla="*/ 46159 w 48299"/>
                      <a:gd name="connsiteY37" fmla="*/ 16136 h 78212"/>
                      <a:gd name="connsiteX38" fmla="*/ 28458 w 48299"/>
                      <a:gd name="connsiteY38" fmla="*/ 20143 h 78212"/>
                      <a:gd name="connsiteX39" fmla="*/ 29502 w 48299"/>
                      <a:gd name="connsiteY39" fmla="*/ 21954 h 78212"/>
                      <a:gd name="connsiteX40" fmla="*/ 31477 w 48299"/>
                      <a:gd name="connsiteY40" fmla="*/ 21899 h 78212"/>
                      <a:gd name="connsiteX41" fmla="*/ 31642 w 48299"/>
                      <a:gd name="connsiteY41" fmla="*/ 17481 h 78212"/>
                      <a:gd name="connsiteX42" fmla="*/ 28458 w 48299"/>
                      <a:gd name="connsiteY42" fmla="*/ 20143 h 7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8299" h="78212">
                        <a:moveTo>
                          <a:pt x="46159" y="16082"/>
                        </a:moveTo>
                        <a:lnTo>
                          <a:pt x="46159" y="20555"/>
                        </a:lnTo>
                        <a:cubicBezTo>
                          <a:pt x="46159" y="20555"/>
                          <a:pt x="48300" y="27470"/>
                          <a:pt x="48300" y="27470"/>
                        </a:cubicBezTo>
                        <a:lnTo>
                          <a:pt x="45720" y="28595"/>
                        </a:lnTo>
                        <a:lnTo>
                          <a:pt x="43854" y="25001"/>
                        </a:lnTo>
                        <a:lnTo>
                          <a:pt x="39683" y="27223"/>
                        </a:lnTo>
                        <a:lnTo>
                          <a:pt x="35594" y="31230"/>
                        </a:lnTo>
                        <a:lnTo>
                          <a:pt x="35456" y="36005"/>
                        </a:lnTo>
                        <a:lnTo>
                          <a:pt x="41384" y="41686"/>
                        </a:lnTo>
                        <a:lnTo>
                          <a:pt x="33782" y="48190"/>
                        </a:lnTo>
                        <a:lnTo>
                          <a:pt x="33591" y="52910"/>
                        </a:lnTo>
                        <a:lnTo>
                          <a:pt x="36499" y="54090"/>
                        </a:lnTo>
                        <a:lnTo>
                          <a:pt x="36829" y="58097"/>
                        </a:lnTo>
                        <a:lnTo>
                          <a:pt x="41192" y="57410"/>
                        </a:lnTo>
                        <a:lnTo>
                          <a:pt x="42345" y="59716"/>
                        </a:lnTo>
                        <a:lnTo>
                          <a:pt x="35676" y="63777"/>
                        </a:lnTo>
                        <a:lnTo>
                          <a:pt x="29831" y="71544"/>
                        </a:lnTo>
                        <a:lnTo>
                          <a:pt x="27553" y="78212"/>
                        </a:lnTo>
                        <a:lnTo>
                          <a:pt x="13447" y="77471"/>
                        </a:lnTo>
                        <a:lnTo>
                          <a:pt x="0" y="69156"/>
                        </a:lnTo>
                        <a:lnTo>
                          <a:pt x="384" y="63914"/>
                        </a:lnTo>
                        <a:lnTo>
                          <a:pt x="2827" y="61115"/>
                        </a:lnTo>
                        <a:lnTo>
                          <a:pt x="7657" y="60951"/>
                        </a:lnTo>
                        <a:lnTo>
                          <a:pt x="15368" y="66138"/>
                        </a:lnTo>
                        <a:lnTo>
                          <a:pt x="27169" y="60018"/>
                        </a:lnTo>
                        <a:lnTo>
                          <a:pt x="19430" y="49123"/>
                        </a:lnTo>
                        <a:lnTo>
                          <a:pt x="7602" y="46214"/>
                        </a:lnTo>
                        <a:lnTo>
                          <a:pt x="1427" y="21021"/>
                        </a:lnTo>
                        <a:lnTo>
                          <a:pt x="8151" y="18743"/>
                        </a:lnTo>
                        <a:lnTo>
                          <a:pt x="18579" y="8782"/>
                        </a:lnTo>
                        <a:lnTo>
                          <a:pt x="20637" y="10511"/>
                        </a:lnTo>
                        <a:lnTo>
                          <a:pt x="22750" y="23793"/>
                        </a:lnTo>
                        <a:lnTo>
                          <a:pt x="25303" y="19786"/>
                        </a:lnTo>
                        <a:lnTo>
                          <a:pt x="27086" y="14078"/>
                        </a:lnTo>
                        <a:lnTo>
                          <a:pt x="26181" y="7135"/>
                        </a:lnTo>
                        <a:lnTo>
                          <a:pt x="37240" y="0"/>
                        </a:lnTo>
                        <a:lnTo>
                          <a:pt x="45748" y="3650"/>
                        </a:lnTo>
                        <a:lnTo>
                          <a:pt x="46159" y="16136"/>
                        </a:lnTo>
                        <a:moveTo>
                          <a:pt x="28458" y="20143"/>
                        </a:moveTo>
                        <a:lnTo>
                          <a:pt x="29502" y="21954"/>
                        </a:lnTo>
                        <a:lnTo>
                          <a:pt x="31477" y="21899"/>
                        </a:lnTo>
                        <a:lnTo>
                          <a:pt x="31642" y="17481"/>
                        </a:lnTo>
                        <a:lnTo>
                          <a:pt x="28458" y="2014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2" name="Freeform: Shape 3391">
                    <a:extLst>
                      <a:ext uri="{FF2B5EF4-FFF2-40B4-BE49-F238E27FC236}">
                        <a16:creationId xmlns:a16="http://schemas.microsoft.com/office/drawing/2014/main" id="{4519698F-C37F-9B13-0A43-C0AF1EAC0833}"/>
                      </a:ext>
                    </a:extLst>
                  </p:cNvPr>
                  <p:cNvSpPr/>
                  <p:nvPr/>
                </p:nvSpPr>
                <p:spPr>
                  <a:xfrm>
                    <a:off x="-5999616" y="2901793"/>
                    <a:ext cx="30598" cy="32931"/>
                  </a:xfrm>
                  <a:custGeom>
                    <a:avLst/>
                    <a:gdLst>
                      <a:gd name="connsiteX0" fmla="*/ 18963 w 30598"/>
                      <a:gd name="connsiteY0" fmla="*/ 0 h 32931"/>
                      <a:gd name="connsiteX1" fmla="*/ 23190 w 30598"/>
                      <a:gd name="connsiteY1" fmla="*/ 6833 h 32931"/>
                      <a:gd name="connsiteX2" fmla="*/ 25522 w 30598"/>
                      <a:gd name="connsiteY2" fmla="*/ 1070 h 32931"/>
                      <a:gd name="connsiteX3" fmla="*/ 26867 w 30598"/>
                      <a:gd name="connsiteY3" fmla="*/ 2003 h 32931"/>
                      <a:gd name="connsiteX4" fmla="*/ 30599 w 30598"/>
                      <a:gd name="connsiteY4" fmla="*/ 21405 h 32931"/>
                      <a:gd name="connsiteX5" fmla="*/ 25687 w 30598"/>
                      <a:gd name="connsiteY5" fmla="*/ 32932 h 32931"/>
                      <a:gd name="connsiteX6" fmla="*/ 18963 w 30598"/>
                      <a:gd name="connsiteY6" fmla="*/ 28376 h 32931"/>
                      <a:gd name="connsiteX7" fmla="*/ 10895 w 30598"/>
                      <a:gd name="connsiteY7" fmla="*/ 27580 h 32931"/>
                      <a:gd name="connsiteX8" fmla="*/ 10456 w 30598"/>
                      <a:gd name="connsiteY8" fmla="*/ 21433 h 32931"/>
                      <a:gd name="connsiteX9" fmla="*/ 8288 w 30598"/>
                      <a:gd name="connsiteY9" fmla="*/ 21433 h 32931"/>
                      <a:gd name="connsiteX10" fmla="*/ 3760 w 30598"/>
                      <a:gd name="connsiteY10" fmla="*/ 17591 h 32931"/>
                      <a:gd name="connsiteX11" fmla="*/ 0 w 30598"/>
                      <a:gd name="connsiteY11" fmla="*/ 3348 h 32931"/>
                      <a:gd name="connsiteX12" fmla="*/ 18991 w 30598"/>
                      <a:gd name="connsiteY12" fmla="*/ 27 h 3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8" h="32931">
                        <a:moveTo>
                          <a:pt x="18963" y="0"/>
                        </a:moveTo>
                        <a:lnTo>
                          <a:pt x="23190" y="6833"/>
                        </a:lnTo>
                        <a:lnTo>
                          <a:pt x="25522" y="1070"/>
                        </a:lnTo>
                        <a:lnTo>
                          <a:pt x="26867" y="2003"/>
                        </a:lnTo>
                        <a:lnTo>
                          <a:pt x="30599" y="21405"/>
                        </a:lnTo>
                        <a:lnTo>
                          <a:pt x="25687" y="32932"/>
                        </a:lnTo>
                        <a:lnTo>
                          <a:pt x="18963" y="28376"/>
                        </a:lnTo>
                        <a:lnTo>
                          <a:pt x="10895" y="27580"/>
                        </a:lnTo>
                        <a:lnTo>
                          <a:pt x="10456" y="21433"/>
                        </a:lnTo>
                        <a:lnTo>
                          <a:pt x="8288" y="21433"/>
                        </a:lnTo>
                        <a:lnTo>
                          <a:pt x="3760" y="17591"/>
                        </a:lnTo>
                        <a:lnTo>
                          <a:pt x="0" y="3348"/>
                        </a:lnTo>
                        <a:lnTo>
                          <a:pt x="18991" y="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3" name="Freeform: Shape 3392">
                    <a:extLst>
                      <a:ext uri="{FF2B5EF4-FFF2-40B4-BE49-F238E27FC236}">
                        <a16:creationId xmlns:a16="http://schemas.microsoft.com/office/drawing/2014/main" id="{E8B5CB24-A507-B164-4F5B-98E5DA81E45A}"/>
                      </a:ext>
                    </a:extLst>
                  </p:cNvPr>
                  <p:cNvSpPr/>
                  <p:nvPr/>
                </p:nvSpPr>
                <p:spPr>
                  <a:xfrm>
                    <a:off x="-5854882" y="2917023"/>
                    <a:ext cx="13776" cy="15917"/>
                  </a:xfrm>
                  <a:custGeom>
                    <a:avLst/>
                    <a:gdLst>
                      <a:gd name="connsiteX0" fmla="*/ 13776 w 13776"/>
                      <a:gd name="connsiteY0" fmla="*/ 11361 h 15917"/>
                      <a:gd name="connsiteX1" fmla="*/ 11691 w 13776"/>
                      <a:gd name="connsiteY1" fmla="*/ 15917 h 15917"/>
                      <a:gd name="connsiteX2" fmla="*/ 8178 w 13776"/>
                      <a:gd name="connsiteY2" fmla="*/ 15094 h 15917"/>
                      <a:gd name="connsiteX3" fmla="*/ 1784 w 13776"/>
                      <a:gd name="connsiteY3" fmla="*/ 12048 h 15917"/>
                      <a:gd name="connsiteX4" fmla="*/ 0 w 13776"/>
                      <a:gd name="connsiteY4" fmla="*/ 10319 h 15917"/>
                      <a:gd name="connsiteX5" fmla="*/ 851 w 13776"/>
                      <a:gd name="connsiteY5" fmla="*/ 3815 h 15917"/>
                      <a:gd name="connsiteX6" fmla="*/ 2634 w 13776"/>
                      <a:gd name="connsiteY6" fmla="*/ 0 h 15917"/>
                      <a:gd name="connsiteX7" fmla="*/ 4171 w 13776"/>
                      <a:gd name="connsiteY7" fmla="*/ 2305 h 15917"/>
                      <a:gd name="connsiteX8" fmla="*/ 13776 w 13776"/>
                      <a:gd name="connsiteY8" fmla="*/ 8563 h 15917"/>
                      <a:gd name="connsiteX9" fmla="*/ 13776 w 13776"/>
                      <a:gd name="connsiteY9" fmla="*/ 11361 h 15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76" h="15917">
                        <a:moveTo>
                          <a:pt x="13776" y="11361"/>
                        </a:moveTo>
                        <a:lnTo>
                          <a:pt x="11691" y="15917"/>
                        </a:lnTo>
                        <a:lnTo>
                          <a:pt x="8178" y="15094"/>
                        </a:lnTo>
                        <a:lnTo>
                          <a:pt x="1784" y="12048"/>
                        </a:lnTo>
                        <a:lnTo>
                          <a:pt x="0" y="10319"/>
                        </a:lnTo>
                        <a:lnTo>
                          <a:pt x="851" y="3815"/>
                        </a:lnTo>
                        <a:lnTo>
                          <a:pt x="2634" y="0"/>
                        </a:lnTo>
                        <a:lnTo>
                          <a:pt x="4171" y="2305"/>
                        </a:lnTo>
                        <a:lnTo>
                          <a:pt x="13776" y="8563"/>
                        </a:lnTo>
                        <a:lnTo>
                          <a:pt x="13776" y="1136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4" name="Freeform: Shape 3393">
                    <a:extLst>
                      <a:ext uri="{FF2B5EF4-FFF2-40B4-BE49-F238E27FC236}">
                        <a16:creationId xmlns:a16="http://schemas.microsoft.com/office/drawing/2014/main" id="{95E1E07D-6D2D-B31F-A485-62B114A27BB1}"/>
                      </a:ext>
                    </a:extLst>
                  </p:cNvPr>
                  <p:cNvSpPr/>
                  <p:nvPr/>
                </p:nvSpPr>
                <p:spPr>
                  <a:xfrm>
                    <a:off x="-5973463" y="2927095"/>
                    <a:ext cx="7601" cy="19100"/>
                  </a:xfrm>
                  <a:custGeom>
                    <a:avLst/>
                    <a:gdLst>
                      <a:gd name="connsiteX0" fmla="*/ 2415 w 7601"/>
                      <a:gd name="connsiteY0" fmla="*/ 18057 h 19100"/>
                      <a:gd name="connsiteX1" fmla="*/ 1153 w 7601"/>
                      <a:gd name="connsiteY1" fmla="*/ 19100 h 19100"/>
                      <a:gd name="connsiteX2" fmla="*/ 0 w 7601"/>
                      <a:gd name="connsiteY2" fmla="*/ 13557 h 19100"/>
                      <a:gd name="connsiteX3" fmla="*/ 1427 w 7601"/>
                      <a:gd name="connsiteY3" fmla="*/ 8480 h 19100"/>
                      <a:gd name="connsiteX4" fmla="*/ 6998 w 7601"/>
                      <a:gd name="connsiteY4" fmla="*/ 0 h 19100"/>
                      <a:gd name="connsiteX5" fmla="*/ 7602 w 7601"/>
                      <a:gd name="connsiteY5" fmla="*/ 3485 h 19100"/>
                      <a:gd name="connsiteX6" fmla="*/ 2388 w 7601"/>
                      <a:gd name="connsiteY6" fmla="*/ 18057 h 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1" h="19100">
                        <a:moveTo>
                          <a:pt x="2415" y="18057"/>
                        </a:moveTo>
                        <a:lnTo>
                          <a:pt x="1153" y="19100"/>
                        </a:lnTo>
                        <a:lnTo>
                          <a:pt x="0" y="13557"/>
                        </a:lnTo>
                        <a:lnTo>
                          <a:pt x="1427" y="8480"/>
                        </a:lnTo>
                        <a:lnTo>
                          <a:pt x="6998" y="0"/>
                        </a:lnTo>
                        <a:lnTo>
                          <a:pt x="7602" y="3485"/>
                        </a:lnTo>
                        <a:lnTo>
                          <a:pt x="2388" y="1805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5" name="Freeform: Shape 3394">
                    <a:extLst>
                      <a:ext uri="{FF2B5EF4-FFF2-40B4-BE49-F238E27FC236}">
                        <a16:creationId xmlns:a16="http://schemas.microsoft.com/office/drawing/2014/main" id="{62C188D9-FAE4-3CF6-F2F0-5C2AF23F6103}"/>
                      </a:ext>
                    </a:extLst>
                  </p:cNvPr>
                  <p:cNvSpPr/>
                  <p:nvPr/>
                </p:nvSpPr>
                <p:spPr>
                  <a:xfrm>
                    <a:off x="-5966959" y="2809886"/>
                    <a:ext cx="6531" cy="6311"/>
                  </a:xfrm>
                  <a:custGeom>
                    <a:avLst/>
                    <a:gdLst>
                      <a:gd name="connsiteX0" fmla="*/ 6531 w 6531"/>
                      <a:gd name="connsiteY0" fmla="*/ 3156 h 6311"/>
                      <a:gd name="connsiteX1" fmla="*/ 4830 w 6531"/>
                      <a:gd name="connsiteY1" fmla="*/ 6312 h 6311"/>
                      <a:gd name="connsiteX2" fmla="*/ 0 w 6531"/>
                      <a:gd name="connsiteY2" fmla="*/ 3458 h 6311"/>
                      <a:gd name="connsiteX3" fmla="*/ 1290 w 6531"/>
                      <a:gd name="connsiteY3" fmla="*/ 1043 h 6311"/>
                      <a:gd name="connsiteX4" fmla="*/ 5983 w 6531"/>
                      <a:gd name="connsiteY4" fmla="*/ 0 h 6311"/>
                      <a:gd name="connsiteX5" fmla="*/ 6531 w 6531"/>
                      <a:gd name="connsiteY5" fmla="*/ 3129 h 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1" h="6311">
                        <a:moveTo>
                          <a:pt x="6531" y="3156"/>
                        </a:moveTo>
                        <a:lnTo>
                          <a:pt x="4830" y="6312"/>
                        </a:lnTo>
                        <a:lnTo>
                          <a:pt x="0" y="3458"/>
                        </a:lnTo>
                        <a:lnTo>
                          <a:pt x="1290" y="1043"/>
                        </a:lnTo>
                        <a:lnTo>
                          <a:pt x="5983" y="0"/>
                        </a:lnTo>
                        <a:lnTo>
                          <a:pt x="6531" y="312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6" name="Freeform: Shape 3395">
                    <a:extLst>
                      <a:ext uri="{FF2B5EF4-FFF2-40B4-BE49-F238E27FC236}">
                        <a16:creationId xmlns:a16="http://schemas.microsoft.com/office/drawing/2014/main" id="{24410C99-46F3-984B-CDE3-0C1729971DDB}"/>
                      </a:ext>
                    </a:extLst>
                  </p:cNvPr>
                  <p:cNvSpPr/>
                  <p:nvPr/>
                </p:nvSpPr>
                <p:spPr>
                  <a:xfrm>
                    <a:off x="-6037981" y="2922018"/>
                    <a:ext cx="4006" cy="7464"/>
                  </a:xfrm>
                  <a:custGeom>
                    <a:avLst/>
                    <a:gdLst>
                      <a:gd name="connsiteX0" fmla="*/ 3348 w 4006"/>
                      <a:gd name="connsiteY0" fmla="*/ 6147 h 7464"/>
                      <a:gd name="connsiteX1" fmla="*/ 1811 w 4006"/>
                      <a:gd name="connsiteY1" fmla="*/ 7464 h 7464"/>
                      <a:gd name="connsiteX2" fmla="*/ 0 w 4006"/>
                      <a:gd name="connsiteY2" fmla="*/ 4940 h 7464"/>
                      <a:gd name="connsiteX3" fmla="*/ 796 w 4006"/>
                      <a:gd name="connsiteY3" fmla="*/ 0 h 7464"/>
                      <a:gd name="connsiteX4" fmla="*/ 4007 w 4006"/>
                      <a:gd name="connsiteY4" fmla="*/ 302 h 7464"/>
                      <a:gd name="connsiteX5" fmla="*/ 2744 w 4006"/>
                      <a:gd name="connsiteY5" fmla="*/ 3101 h 7464"/>
                      <a:gd name="connsiteX6" fmla="*/ 3321 w 4006"/>
                      <a:gd name="connsiteY6" fmla="*/ 6175 h 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6" h="7464">
                        <a:moveTo>
                          <a:pt x="3348" y="6147"/>
                        </a:moveTo>
                        <a:lnTo>
                          <a:pt x="1811" y="7464"/>
                        </a:lnTo>
                        <a:lnTo>
                          <a:pt x="0" y="4940"/>
                        </a:lnTo>
                        <a:lnTo>
                          <a:pt x="796" y="0"/>
                        </a:lnTo>
                        <a:lnTo>
                          <a:pt x="4007" y="302"/>
                        </a:lnTo>
                        <a:lnTo>
                          <a:pt x="2744" y="3101"/>
                        </a:lnTo>
                        <a:lnTo>
                          <a:pt x="3321" y="617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7" name="Freeform: Shape 3396">
                    <a:extLst>
                      <a:ext uri="{FF2B5EF4-FFF2-40B4-BE49-F238E27FC236}">
                        <a16:creationId xmlns:a16="http://schemas.microsoft.com/office/drawing/2014/main" id="{A7DD0637-C88F-982E-E0CD-4CA81C3D3B9D}"/>
                      </a:ext>
                    </a:extLst>
                  </p:cNvPr>
                  <p:cNvSpPr/>
                  <p:nvPr/>
                </p:nvSpPr>
                <p:spPr>
                  <a:xfrm>
                    <a:off x="-5977222" y="2885546"/>
                    <a:ext cx="4555" cy="6449"/>
                  </a:xfrm>
                  <a:custGeom>
                    <a:avLst/>
                    <a:gdLst>
                      <a:gd name="connsiteX0" fmla="*/ 3238 w 4555"/>
                      <a:gd name="connsiteY0" fmla="*/ 6147 h 6449"/>
                      <a:gd name="connsiteX1" fmla="*/ 412 w 4555"/>
                      <a:gd name="connsiteY1" fmla="*/ 6449 h 6449"/>
                      <a:gd name="connsiteX2" fmla="*/ 0 w 4555"/>
                      <a:gd name="connsiteY2" fmla="*/ 3211 h 6449"/>
                      <a:gd name="connsiteX3" fmla="*/ 2580 w 4555"/>
                      <a:gd name="connsiteY3" fmla="*/ 0 h 6449"/>
                      <a:gd name="connsiteX4" fmla="*/ 4556 w 4555"/>
                      <a:gd name="connsiteY4" fmla="*/ 384 h 6449"/>
                      <a:gd name="connsiteX5" fmla="*/ 3211 w 4555"/>
                      <a:gd name="connsiteY5" fmla="*/ 6175 h 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 h="6449">
                        <a:moveTo>
                          <a:pt x="3238" y="6147"/>
                        </a:moveTo>
                        <a:lnTo>
                          <a:pt x="412" y="6449"/>
                        </a:lnTo>
                        <a:lnTo>
                          <a:pt x="0" y="3211"/>
                        </a:lnTo>
                        <a:lnTo>
                          <a:pt x="2580" y="0"/>
                        </a:lnTo>
                        <a:lnTo>
                          <a:pt x="4556" y="384"/>
                        </a:lnTo>
                        <a:lnTo>
                          <a:pt x="3211" y="617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8" name="Freeform: Shape 3397">
                    <a:extLst>
                      <a:ext uri="{FF2B5EF4-FFF2-40B4-BE49-F238E27FC236}">
                        <a16:creationId xmlns:a16="http://schemas.microsoft.com/office/drawing/2014/main" id="{04E484C5-3FA3-AA4C-0864-1B97C02722A8}"/>
                      </a:ext>
                    </a:extLst>
                  </p:cNvPr>
                  <p:cNvSpPr/>
                  <p:nvPr/>
                </p:nvSpPr>
                <p:spPr>
                  <a:xfrm>
                    <a:off x="-5983726" y="2936480"/>
                    <a:ext cx="4775" cy="5488"/>
                  </a:xfrm>
                  <a:custGeom>
                    <a:avLst/>
                    <a:gdLst>
                      <a:gd name="connsiteX0" fmla="*/ 4775 w 4775"/>
                      <a:gd name="connsiteY0" fmla="*/ 1537 h 5488"/>
                      <a:gd name="connsiteX1" fmla="*/ 3129 w 4775"/>
                      <a:gd name="connsiteY1" fmla="*/ 5489 h 5488"/>
                      <a:gd name="connsiteX2" fmla="*/ 0 w 4775"/>
                      <a:gd name="connsiteY2" fmla="*/ 1015 h 5488"/>
                      <a:gd name="connsiteX3" fmla="*/ 714 w 4775"/>
                      <a:gd name="connsiteY3" fmla="*/ 0 h 5488"/>
                      <a:gd name="connsiteX4" fmla="*/ 4775 w 4775"/>
                      <a:gd name="connsiteY4" fmla="*/ 1564 h 5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 h="5488">
                        <a:moveTo>
                          <a:pt x="4775" y="1537"/>
                        </a:moveTo>
                        <a:lnTo>
                          <a:pt x="3129" y="5489"/>
                        </a:lnTo>
                        <a:lnTo>
                          <a:pt x="0" y="1015"/>
                        </a:lnTo>
                        <a:lnTo>
                          <a:pt x="714" y="0"/>
                        </a:lnTo>
                        <a:lnTo>
                          <a:pt x="4775" y="156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99" name="Freeform: Shape 3398">
                    <a:extLst>
                      <a:ext uri="{FF2B5EF4-FFF2-40B4-BE49-F238E27FC236}">
                        <a16:creationId xmlns:a16="http://schemas.microsoft.com/office/drawing/2014/main" id="{3747F316-52DB-96E8-A392-67E8E05F54A4}"/>
                      </a:ext>
                    </a:extLst>
                  </p:cNvPr>
                  <p:cNvSpPr/>
                  <p:nvPr/>
                </p:nvSpPr>
                <p:spPr>
                  <a:xfrm>
                    <a:off x="-6038530" y="2843613"/>
                    <a:ext cx="4555" cy="5763"/>
                  </a:xfrm>
                  <a:custGeom>
                    <a:avLst/>
                    <a:gdLst>
                      <a:gd name="connsiteX0" fmla="*/ 4528 w 4555"/>
                      <a:gd name="connsiteY0" fmla="*/ 4940 h 5763"/>
                      <a:gd name="connsiteX1" fmla="*/ 2196 w 4555"/>
                      <a:gd name="connsiteY1" fmla="*/ 5763 h 5763"/>
                      <a:gd name="connsiteX2" fmla="*/ 0 w 4555"/>
                      <a:gd name="connsiteY2" fmla="*/ 1263 h 5763"/>
                      <a:gd name="connsiteX3" fmla="*/ 4281 w 4555"/>
                      <a:gd name="connsiteY3" fmla="*/ 0 h 5763"/>
                      <a:gd name="connsiteX4" fmla="*/ 4556 w 4555"/>
                      <a:gd name="connsiteY4" fmla="*/ 4940 h 5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5" h="5763">
                        <a:moveTo>
                          <a:pt x="4528" y="4940"/>
                        </a:moveTo>
                        <a:lnTo>
                          <a:pt x="2196" y="5763"/>
                        </a:lnTo>
                        <a:lnTo>
                          <a:pt x="0" y="1263"/>
                        </a:lnTo>
                        <a:lnTo>
                          <a:pt x="4281" y="0"/>
                        </a:lnTo>
                        <a:lnTo>
                          <a:pt x="4556" y="494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0" name="Freeform: Shape 3399">
                    <a:extLst>
                      <a:ext uri="{FF2B5EF4-FFF2-40B4-BE49-F238E27FC236}">
                        <a16:creationId xmlns:a16="http://schemas.microsoft.com/office/drawing/2014/main" id="{D251BF85-2DC1-E66A-A898-04880159EE10}"/>
                      </a:ext>
                    </a:extLst>
                  </p:cNvPr>
                  <p:cNvSpPr/>
                  <p:nvPr/>
                </p:nvSpPr>
                <p:spPr>
                  <a:xfrm>
                    <a:off x="-5978293" y="2878384"/>
                    <a:ext cx="3293" cy="6531"/>
                  </a:xfrm>
                  <a:custGeom>
                    <a:avLst/>
                    <a:gdLst>
                      <a:gd name="connsiteX0" fmla="*/ 3293 w 3293"/>
                      <a:gd name="connsiteY0" fmla="*/ 4830 h 6531"/>
                      <a:gd name="connsiteX1" fmla="*/ 604 w 3293"/>
                      <a:gd name="connsiteY1" fmla="*/ 6531 h 6531"/>
                      <a:gd name="connsiteX2" fmla="*/ 0 w 3293"/>
                      <a:gd name="connsiteY2" fmla="*/ 3129 h 6531"/>
                      <a:gd name="connsiteX3" fmla="*/ 2662 w 3293"/>
                      <a:gd name="connsiteY3" fmla="*/ 0 h 6531"/>
                      <a:gd name="connsiteX4" fmla="*/ 3293 w 3293"/>
                      <a:gd name="connsiteY4" fmla="*/ 4857 h 6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 h="6531">
                        <a:moveTo>
                          <a:pt x="3293" y="4830"/>
                        </a:moveTo>
                        <a:lnTo>
                          <a:pt x="604" y="6531"/>
                        </a:lnTo>
                        <a:lnTo>
                          <a:pt x="0" y="3129"/>
                        </a:lnTo>
                        <a:lnTo>
                          <a:pt x="2662" y="0"/>
                        </a:lnTo>
                        <a:lnTo>
                          <a:pt x="3293" y="485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1" name="Freeform: Shape 3400">
                    <a:extLst>
                      <a:ext uri="{FF2B5EF4-FFF2-40B4-BE49-F238E27FC236}">
                        <a16:creationId xmlns:a16="http://schemas.microsoft.com/office/drawing/2014/main" id="{A8A5A705-15C2-E3E0-7213-380DBE340D29}"/>
                      </a:ext>
                    </a:extLst>
                  </p:cNvPr>
                  <p:cNvSpPr/>
                  <p:nvPr/>
                </p:nvSpPr>
                <p:spPr>
                  <a:xfrm>
                    <a:off x="-5913308" y="2896606"/>
                    <a:ext cx="2936" cy="6641"/>
                  </a:xfrm>
                  <a:custGeom>
                    <a:avLst/>
                    <a:gdLst>
                      <a:gd name="connsiteX0" fmla="*/ 2937 w 2936"/>
                      <a:gd name="connsiteY0" fmla="*/ 1372 h 6641"/>
                      <a:gd name="connsiteX1" fmla="*/ 2635 w 2936"/>
                      <a:gd name="connsiteY1" fmla="*/ 6641 h 6641"/>
                      <a:gd name="connsiteX2" fmla="*/ 0 w 2936"/>
                      <a:gd name="connsiteY2" fmla="*/ 4940 h 6641"/>
                      <a:gd name="connsiteX3" fmla="*/ 1126 w 2936"/>
                      <a:gd name="connsiteY3" fmla="*/ 0 h 6641"/>
                      <a:gd name="connsiteX4" fmla="*/ 2937 w 2936"/>
                      <a:gd name="connsiteY4" fmla="*/ 1372 h 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6" h="6641">
                        <a:moveTo>
                          <a:pt x="2937" y="1372"/>
                        </a:moveTo>
                        <a:lnTo>
                          <a:pt x="2635" y="6641"/>
                        </a:lnTo>
                        <a:lnTo>
                          <a:pt x="0" y="4940"/>
                        </a:lnTo>
                        <a:lnTo>
                          <a:pt x="1126" y="0"/>
                        </a:lnTo>
                        <a:lnTo>
                          <a:pt x="2937" y="137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2" name="Freeform: Shape 3401">
                    <a:extLst>
                      <a:ext uri="{FF2B5EF4-FFF2-40B4-BE49-F238E27FC236}">
                        <a16:creationId xmlns:a16="http://schemas.microsoft.com/office/drawing/2014/main" id="{50037293-AA7B-B163-252C-14FA72A0E883}"/>
                      </a:ext>
                    </a:extLst>
                  </p:cNvPr>
                  <p:cNvSpPr/>
                  <p:nvPr/>
                </p:nvSpPr>
                <p:spPr>
                  <a:xfrm>
                    <a:off x="-5944455" y="2867983"/>
                    <a:ext cx="4253" cy="4528"/>
                  </a:xfrm>
                  <a:custGeom>
                    <a:avLst/>
                    <a:gdLst>
                      <a:gd name="connsiteX0" fmla="*/ 3815 w 4253"/>
                      <a:gd name="connsiteY0" fmla="*/ 0 h 4528"/>
                      <a:gd name="connsiteX1" fmla="*/ 4253 w 4253"/>
                      <a:gd name="connsiteY1" fmla="*/ 4528 h 4528"/>
                      <a:gd name="connsiteX2" fmla="*/ 1097 w 4253"/>
                      <a:gd name="connsiteY2" fmla="*/ 4226 h 4528"/>
                      <a:gd name="connsiteX3" fmla="*/ 0 w 4253"/>
                      <a:gd name="connsiteY3" fmla="*/ 1949 h 4528"/>
                      <a:gd name="connsiteX4" fmla="*/ 3842 w 4253"/>
                      <a:gd name="connsiteY4" fmla="*/ 0 h 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4528">
                        <a:moveTo>
                          <a:pt x="3815" y="0"/>
                        </a:moveTo>
                        <a:lnTo>
                          <a:pt x="4253" y="4528"/>
                        </a:lnTo>
                        <a:lnTo>
                          <a:pt x="1097" y="4226"/>
                        </a:lnTo>
                        <a:lnTo>
                          <a:pt x="0" y="1949"/>
                        </a:lnTo>
                        <a:lnTo>
                          <a:pt x="3842"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3" name="Freeform: Shape 3402">
                    <a:extLst>
                      <a:ext uri="{FF2B5EF4-FFF2-40B4-BE49-F238E27FC236}">
                        <a16:creationId xmlns:a16="http://schemas.microsoft.com/office/drawing/2014/main" id="{7EF69C2D-298B-4687-FE6A-5287AC0485A5}"/>
                      </a:ext>
                    </a:extLst>
                  </p:cNvPr>
                  <p:cNvSpPr/>
                  <p:nvPr/>
                </p:nvSpPr>
                <p:spPr>
                  <a:xfrm>
                    <a:off x="-5949916" y="2840896"/>
                    <a:ext cx="4253" cy="4391"/>
                  </a:xfrm>
                  <a:custGeom>
                    <a:avLst/>
                    <a:gdLst>
                      <a:gd name="connsiteX0" fmla="*/ 4144 w 4253"/>
                      <a:gd name="connsiteY0" fmla="*/ 0 h 4391"/>
                      <a:gd name="connsiteX1" fmla="*/ 4253 w 4253"/>
                      <a:gd name="connsiteY1" fmla="*/ 4391 h 4391"/>
                      <a:gd name="connsiteX2" fmla="*/ 1674 w 4253"/>
                      <a:gd name="connsiteY2" fmla="*/ 3787 h 4391"/>
                      <a:gd name="connsiteX3" fmla="*/ 0 w 4253"/>
                      <a:gd name="connsiteY3" fmla="*/ 659 h 4391"/>
                      <a:gd name="connsiteX4" fmla="*/ 4144 w 4253"/>
                      <a:gd name="connsiteY4" fmla="*/ 0 h 4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4391">
                        <a:moveTo>
                          <a:pt x="4144" y="0"/>
                        </a:moveTo>
                        <a:lnTo>
                          <a:pt x="4253" y="4391"/>
                        </a:lnTo>
                        <a:lnTo>
                          <a:pt x="1674" y="3787"/>
                        </a:lnTo>
                        <a:lnTo>
                          <a:pt x="0" y="659"/>
                        </a:lnTo>
                        <a:lnTo>
                          <a:pt x="4144"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4" name="Freeform: Shape 3403">
                    <a:extLst>
                      <a:ext uri="{FF2B5EF4-FFF2-40B4-BE49-F238E27FC236}">
                        <a16:creationId xmlns:a16="http://schemas.microsoft.com/office/drawing/2014/main" id="{97DCE1B6-B56A-AC5B-363A-262EB6E4433D}"/>
                      </a:ext>
                    </a:extLst>
                  </p:cNvPr>
                  <p:cNvSpPr/>
                  <p:nvPr/>
                </p:nvSpPr>
                <p:spPr>
                  <a:xfrm>
                    <a:off x="-5959521" y="2808294"/>
                    <a:ext cx="2991" cy="5982"/>
                  </a:xfrm>
                  <a:custGeom>
                    <a:avLst/>
                    <a:gdLst>
                      <a:gd name="connsiteX0" fmla="*/ 2826 w 2991"/>
                      <a:gd name="connsiteY0" fmla="*/ 4116 h 5982"/>
                      <a:gd name="connsiteX1" fmla="*/ 1070 w 2991"/>
                      <a:gd name="connsiteY1" fmla="*/ 5983 h 5982"/>
                      <a:gd name="connsiteX2" fmla="*/ 0 w 2991"/>
                      <a:gd name="connsiteY2" fmla="*/ 2168 h 5982"/>
                      <a:gd name="connsiteX3" fmla="*/ 549 w 2991"/>
                      <a:gd name="connsiteY3" fmla="*/ 0 h 5982"/>
                      <a:gd name="connsiteX4" fmla="*/ 2991 w 2991"/>
                      <a:gd name="connsiteY4" fmla="*/ 0 h 5982"/>
                      <a:gd name="connsiteX5" fmla="*/ 2826 w 2991"/>
                      <a:gd name="connsiteY5" fmla="*/ 4116 h 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1" h="5982">
                        <a:moveTo>
                          <a:pt x="2826" y="4116"/>
                        </a:moveTo>
                        <a:lnTo>
                          <a:pt x="1070" y="5983"/>
                        </a:lnTo>
                        <a:lnTo>
                          <a:pt x="0" y="2168"/>
                        </a:lnTo>
                        <a:lnTo>
                          <a:pt x="549" y="0"/>
                        </a:lnTo>
                        <a:lnTo>
                          <a:pt x="2991" y="0"/>
                        </a:lnTo>
                        <a:lnTo>
                          <a:pt x="2826" y="411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5" name="Freeform: Shape 3404">
                    <a:extLst>
                      <a:ext uri="{FF2B5EF4-FFF2-40B4-BE49-F238E27FC236}">
                        <a16:creationId xmlns:a16="http://schemas.microsoft.com/office/drawing/2014/main" id="{BD36CF87-7805-5D8B-61D9-0D5AEA274D42}"/>
                      </a:ext>
                    </a:extLst>
                  </p:cNvPr>
                  <p:cNvSpPr/>
                  <p:nvPr/>
                </p:nvSpPr>
                <p:spPr>
                  <a:xfrm>
                    <a:off x="-5597741" y="2679175"/>
                    <a:ext cx="139767" cy="119761"/>
                  </a:xfrm>
                  <a:custGeom>
                    <a:avLst/>
                    <a:gdLst>
                      <a:gd name="connsiteX0" fmla="*/ 67592 w 139767"/>
                      <a:gd name="connsiteY0" fmla="*/ 0 h 119761"/>
                      <a:gd name="connsiteX1" fmla="*/ 70639 w 139767"/>
                      <a:gd name="connsiteY1" fmla="*/ 4446 h 119761"/>
                      <a:gd name="connsiteX2" fmla="*/ 72532 w 139767"/>
                      <a:gd name="connsiteY2" fmla="*/ 1427 h 119761"/>
                      <a:gd name="connsiteX3" fmla="*/ 97945 w 139767"/>
                      <a:gd name="connsiteY3" fmla="*/ 8178 h 119761"/>
                      <a:gd name="connsiteX4" fmla="*/ 103982 w 139767"/>
                      <a:gd name="connsiteY4" fmla="*/ 11718 h 119761"/>
                      <a:gd name="connsiteX5" fmla="*/ 129504 w 139767"/>
                      <a:gd name="connsiteY5" fmla="*/ 14023 h 119761"/>
                      <a:gd name="connsiteX6" fmla="*/ 135651 w 139767"/>
                      <a:gd name="connsiteY6" fmla="*/ 9879 h 119761"/>
                      <a:gd name="connsiteX7" fmla="*/ 139768 w 139767"/>
                      <a:gd name="connsiteY7" fmla="*/ 14188 h 119761"/>
                      <a:gd name="connsiteX8" fmla="*/ 139246 w 139767"/>
                      <a:gd name="connsiteY8" fmla="*/ 17948 h 119761"/>
                      <a:gd name="connsiteX9" fmla="*/ 132276 w 139767"/>
                      <a:gd name="connsiteY9" fmla="*/ 22668 h 119761"/>
                      <a:gd name="connsiteX10" fmla="*/ 125826 w 139767"/>
                      <a:gd name="connsiteY10" fmla="*/ 38804 h 119761"/>
                      <a:gd name="connsiteX11" fmla="*/ 115508 w 139767"/>
                      <a:gd name="connsiteY11" fmla="*/ 49013 h 119761"/>
                      <a:gd name="connsiteX12" fmla="*/ 120365 w 139767"/>
                      <a:gd name="connsiteY12" fmla="*/ 69980 h 119761"/>
                      <a:gd name="connsiteX13" fmla="*/ 120612 w 139767"/>
                      <a:gd name="connsiteY13" fmla="*/ 82823 h 119761"/>
                      <a:gd name="connsiteX14" fmla="*/ 126760 w 139767"/>
                      <a:gd name="connsiteY14" fmla="*/ 99700 h 119761"/>
                      <a:gd name="connsiteX15" fmla="*/ 121024 w 139767"/>
                      <a:gd name="connsiteY15" fmla="*/ 104146 h 119761"/>
                      <a:gd name="connsiteX16" fmla="*/ 116880 w 139767"/>
                      <a:gd name="connsiteY16" fmla="*/ 111830 h 119761"/>
                      <a:gd name="connsiteX17" fmla="*/ 115343 w 139767"/>
                      <a:gd name="connsiteY17" fmla="*/ 119761 h 119761"/>
                      <a:gd name="connsiteX18" fmla="*/ 102417 w 139767"/>
                      <a:gd name="connsiteY18" fmla="*/ 114163 h 119761"/>
                      <a:gd name="connsiteX19" fmla="*/ 91056 w 139767"/>
                      <a:gd name="connsiteY19" fmla="*/ 119349 h 119761"/>
                      <a:gd name="connsiteX20" fmla="*/ 84278 w 139767"/>
                      <a:gd name="connsiteY20" fmla="*/ 115206 h 119761"/>
                      <a:gd name="connsiteX21" fmla="*/ 76347 w 139767"/>
                      <a:gd name="connsiteY21" fmla="*/ 101923 h 119761"/>
                      <a:gd name="connsiteX22" fmla="*/ 72505 w 139767"/>
                      <a:gd name="connsiteY22" fmla="*/ 101512 h 119761"/>
                      <a:gd name="connsiteX23" fmla="*/ 56753 w 139767"/>
                      <a:gd name="connsiteY23" fmla="*/ 90672 h 119761"/>
                      <a:gd name="connsiteX24" fmla="*/ 47559 w 139767"/>
                      <a:gd name="connsiteY24" fmla="*/ 91001 h 119761"/>
                      <a:gd name="connsiteX25" fmla="*/ 41302 w 139767"/>
                      <a:gd name="connsiteY25" fmla="*/ 94733 h 119761"/>
                      <a:gd name="connsiteX26" fmla="*/ 27169 w 139767"/>
                      <a:gd name="connsiteY26" fmla="*/ 100084 h 119761"/>
                      <a:gd name="connsiteX27" fmla="*/ 31642 w 139767"/>
                      <a:gd name="connsiteY27" fmla="*/ 74919 h 119761"/>
                      <a:gd name="connsiteX28" fmla="*/ 27141 w 139767"/>
                      <a:gd name="connsiteY28" fmla="*/ 73410 h 119761"/>
                      <a:gd name="connsiteX29" fmla="*/ 18030 w 139767"/>
                      <a:gd name="connsiteY29" fmla="*/ 77773 h 119761"/>
                      <a:gd name="connsiteX30" fmla="*/ 11005 w 139767"/>
                      <a:gd name="connsiteY30" fmla="*/ 73767 h 119761"/>
                      <a:gd name="connsiteX31" fmla="*/ 3568 w 139767"/>
                      <a:gd name="connsiteY31" fmla="*/ 59030 h 119761"/>
                      <a:gd name="connsiteX32" fmla="*/ 5022 w 139767"/>
                      <a:gd name="connsiteY32" fmla="*/ 50083 h 119761"/>
                      <a:gd name="connsiteX33" fmla="*/ 0 w 139767"/>
                      <a:gd name="connsiteY33" fmla="*/ 51126 h 119761"/>
                      <a:gd name="connsiteX34" fmla="*/ 2580 w 139767"/>
                      <a:gd name="connsiteY34" fmla="*/ 26729 h 119761"/>
                      <a:gd name="connsiteX35" fmla="*/ 8865 w 139767"/>
                      <a:gd name="connsiteY35" fmla="*/ 23327 h 119761"/>
                      <a:gd name="connsiteX36" fmla="*/ 19073 w 139767"/>
                      <a:gd name="connsiteY36" fmla="*/ 20088 h 119761"/>
                      <a:gd name="connsiteX37" fmla="*/ 18661 w 139767"/>
                      <a:gd name="connsiteY37" fmla="*/ 15395 h 119761"/>
                      <a:gd name="connsiteX38" fmla="*/ 23217 w 139767"/>
                      <a:gd name="connsiteY38" fmla="*/ 16466 h 119761"/>
                      <a:gd name="connsiteX39" fmla="*/ 29337 w 139767"/>
                      <a:gd name="connsiteY39" fmla="*/ 9742 h 119761"/>
                      <a:gd name="connsiteX40" fmla="*/ 39738 w 139767"/>
                      <a:gd name="connsiteY40" fmla="*/ 10675 h 119761"/>
                      <a:gd name="connsiteX41" fmla="*/ 41329 w 139767"/>
                      <a:gd name="connsiteY41" fmla="*/ 4940 h 119761"/>
                      <a:gd name="connsiteX42" fmla="*/ 49837 w 139767"/>
                      <a:gd name="connsiteY42" fmla="*/ 9056 h 119761"/>
                      <a:gd name="connsiteX43" fmla="*/ 58564 w 139767"/>
                      <a:gd name="connsiteY43" fmla="*/ 7876 h 119761"/>
                      <a:gd name="connsiteX44" fmla="*/ 62570 w 139767"/>
                      <a:gd name="connsiteY44" fmla="*/ 2442 h 119761"/>
                      <a:gd name="connsiteX45" fmla="*/ 66193 w 139767"/>
                      <a:gd name="connsiteY45" fmla="*/ 3568 h 119761"/>
                      <a:gd name="connsiteX46" fmla="*/ 67592 w 139767"/>
                      <a:gd name="connsiteY46" fmla="*/ 0 h 11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9767" h="119761">
                        <a:moveTo>
                          <a:pt x="67592" y="0"/>
                        </a:moveTo>
                        <a:lnTo>
                          <a:pt x="70639" y="4446"/>
                        </a:lnTo>
                        <a:lnTo>
                          <a:pt x="72532" y="1427"/>
                        </a:lnTo>
                        <a:lnTo>
                          <a:pt x="97945" y="8178"/>
                        </a:lnTo>
                        <a:lnTo>
                          <a:pt x="103982" y="11718"/>
                        </a:lnTo>
                        <a:lnTo>
                          <a:pt x="129504" y="14023"/>
                        </a:lnTo>
                        <a:lnTo>
                          <a:pt x="135651" y="9879"/>
                        </a:lnTo>
                        <a:lnTo>
                          <a:pt x="139768" y="14188"/>
                        </a:lnTo>
                        <a:lnTo>
                          <a:pt x="139246" y="17948"/>
                        </a:lnTo>
                        <a:lnTo>
                          <a:pt x="132276" y="22668"/>
                        </a:lnTo>
                        <a:lnTo>
                          <a:pt x="125826" y="38804"/>
                        </a:lnTo>
                        <a:lnTo>
                          <a:pt x="115508" y="49013"/>
                        </a:lnTo>
                        <a:lnTo>
                          <a:pt x="120365" y="69980"/>
                        </a:lnTo>
                        <a:lnTo>
                          <a:pt x="120612" y="82823"/>
                        </a:lnTo>
                        <a:lnTo>
                          <a:pt x="126760" y="99700"/>
                        </a:lnTo>
                        <a:lnTo>
                          <a:pt x="121024" y="104146"/>
                        </a:lnTo>
                        <a:lnTo>
                          <a:pt x="116880" y="111830"/>
                        </a:lnTo>
                        <a:lnTo>
                          <a:pt x="115343" y="119761"/>
                        </a:lnTo>
                        <a:lnTo>
                          <a:pt x="102417" y="114163"/>
                        </a:lnTo>
                        <a:lnTo>
                          <a:pt x="91056" y="119349"/>
                        </a:lnTo>
                        <a:lnTo>
                          <a:pt x="84278" y="115206"/>
                        </a:lnTo>
                        <a:lnTo>
                          <a:pt x="76347" y="101923"/>
                        </a:lnTo>
                        <a:lnTo>
                          <a:pt x="72505" y="101512"/>
                        </a:lnTo>
                        <a:lnTo>
                          <a:pt x="56753" y="90672"/>
                        </a:lnTo>
                        <a:lnTo>
                          <a:pt x="47559" y="91001"/>
                        </a:lnTo>
                        <a:lnTo>
                          <a:pt x="41302" y="94733"/>
                        </a:lnTo>
                        <a:lnTo>
                          <a:pt x="27169" y="100084"/>
                        </a:lnTo>
                        <a:lnTo>
                          <a:pt x="31642" y="74919"/>
                        </a:lnTo>
                        <a:lnTo>
                          <a:pt x="27141" y="73410"/>
                        </a:lnTo>
                        <a:lnTo>
                          <a:pt x="18030" y="77773"/>
                        </a:lnTo>
                        <a:lnTo>
                          <a:pt x="11005" y="73767"/>
                        </a:lnTo>
                        <a:lnTo>
                          <a:pt x="3568" y="59030"/>
                        </a:lnTo>
                        <a:lnTo>
                          <a:pt x="5022" y="50083"/>
                        </a:lnTo>
                        <a:lnTo>
                          <a:pt x="0" y="51126"/>
                        </a:lnTo>
                        <a:lnTo>
                          <a:pt x="2580" y="26729"/>
                        </a:lnTo>
                        <a:lnTo>
                          <a:pt x="8865" y="23327"/>
                        </a:lnTo>
                        <a:lnTo>
                          <a:pt x="19073" y="20088"/>
                        </a:lnTo>
                        <a:lnTo>
                          <a:pt x="18661" y="15395"/>
                        </a:lnTo>
                        <a:lnTo>
                          <a:pt x="23217" y="16466"/>
                        </a:lnTo>
                        <a:lnTo>
                          <a:pt x="29337" y="9742"/>
                        </a:lnTo>
                        <a:lnTo>
                          <a:pt x="39738" y="10675"/>
                        </a:lnTo>
                        <a:lnTo>
                          <a:pt x="41329" y="4940"/>
                        </a:lnTo>
                        <a:lnTo>
                          <a:pt x="49837" y="9056"/>
                        </a:lnTo>
                        <a:lnTo>
                          <a:pt x="58564" y="7876"/>
                        </a:lnTo>
                        <a:lnTo>
                          <a:pt x="62570" y="2442"/>
                        </a:lnTo>
                        <a:lnTo>
                          <a:pt x="66193" y="3568"/>
                        </a:lnTo>
                        <a:lnTo>
                          <a:pt x="67592"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6" name="Freeform: Shape 3405">
                    <a:extLst>
                      <a:ext uri="{FF2B5EF4-FFF2-40B4-BE49-F238E27FC236}">
                        <a16:creationId xmlns:a16="http://schemas.microsoft.com/office/drawing/2014/main" id="{2569BC14-0E8B-E088-59D0-541B507F6C79}"/>
                      </a:ext>
                    </a:extLst>
                  </p:cNvPr>
                  <p:cNvSpPr/>
                  <p:nvPr/>
                </p:nvSpPr>
                <p:spPr>
                  <a:xfrm>
                    <a:off x="-5643351" y="2734912"/>
                    <a:ext cx="44101" cy="41383"/>
                  </a:xfrm>
                  <a:custGeom>
                    <a:avLst/>
                    <a:gdLst>
                      <a:gd name="connsiteX0" fmla="*/ 43497 w 44101"/>
                      <a:gd name="connsiteY0" fmla="*/ 2552 h 41383"/>
                      <a:gd name="connsiteX1" fmla="*/ 44101 w 44101"/>
                      <a:gd name="connsiteY1" fmla="*/ 8452 h 41383"/>
                      <a:gd name="connsiteX2" fmla="*/ 37954 w 44101"/>
                      <a:gd name="connsiteY2" fmla="*/ 6641 h 41383"/>
                      <a:gd name="connsiteX3" fmla="*/ 37240 w 44101"/>
                      <a:gd name="connsiteY3" fmla="*/ 8452 h 41383"/>
                      <a:gd name="connsiteX4" fmla="*/ 40286 w 44101"/>
                      <a:gd name="connsiteY4" fmla="*/ 11306 h 41383"/>
                      <a:gd name="connsiteX5" fmla="*/ 40176 w 44101"/>
                      <a:gd name="connsiteY5" fmla="*/ 13173 h 41383"/>
                      <a:gd name="connsiteX6" fmla="*/ 34743 w 44101"/>
                      <a:gd name="connsiteY6" fmla="*/ 15560 h 41383"/>
                      <a:gd name="connsiteX7" fmla="*/ 24095 w 44101"/>
                      <a:gd name="connsiteY7" fmla="*/ 24946 h 41383"/>
                      <a:gd name="connsiteX8" fmla="*/ 12624 w 44101"/>
                      <a:gd name="connsiteY8" fmla="*/ 26592 h 41383"/>
                      <a:gd name="connsiteX9" fmla="*/ 8782 w 44101"/>
                      <a:gd name="connsiteY9" fmla="*/ 38502 h 41383"/>
                      <a:gd name="connsiteX10" fmla="*/ 4693 w 44101"/>
                      <a:gd name="connsiteY10" fmla="*/ 41384 h 41383"/>
                      <a:gd name="connsiteX11" fmla="*/ 4281 w 44101"/>
                      <a:gd name="connsiteY11" fmla="*/ 37377 h 41383"/>
                      <a:gd name="connsiteX12" fmla="*/ 8891 w 44101"/>
                      <a:gd name="connsiteY12" fmla="*/ 30160 h 41383"/>
                      <a:gd name="connsiteX13" fmla="*/ 0 w 44101"/>
                      <a:gd name="connsiteY13" fmla="*/ 22174 h 41383"/>
                      <a:gd name="connsiteX14" fmla="*/ 2882 w 44101"/>
                      <a:gd name="connsiteY14" fmla="*/ 17481 h 41383"/>
                      <a:gd name="connsiteX15" fmla="*/ 1290 w 44101"/>
                      <a:gd name="connsiteY15" fmla="*/ 10346 h 41383"/>
                      <a:gd name="connsiteX16" fmla="*/ 5900 w 44101"/>
                      <a:gd name="connsiteY16" fmla="*/ 12843 h 41383"/>
                      <a:gd name="connsiteX17" fmla="*/ 9495 w 44101"/>
                      <a:gd name="connsiteY17" fmla="*/ 8480 h 41383"/>
                      <a:gd name="connsiteX18" fmla="*/ 12294 w 44101"/>
                      <a:gd name="connsiteY18" fmla="*/ 9962 h 41383"/>
                      <a:gd name="connsiteX19" fmla="*/ 12761 w 44101"/>
                      <a:gd name="connsiteY19" fmla="*/ 8480 h 41383"/>
                      <a:gd name="connsiteX20" fmla="*/ 19814 w 44101"/>
                      <a:gd name="connsiteY20" fmla="*/ 2772 h 41383"/>
                      <a:gd name="connsiteX21" fmla="*/ 32300 w 44101"/>
                      <a:gd name="connsiteY21" fmla="*/ 3650 h 41383"/>
                      <a:gd name="connsiteX22" fmla="*/ 40423 w 44101"/>
                      <a:gd name="connsiteY22" fmla="*/ 0 h 41383"/>
                      <a:gd name="connsiteX23" fmla="*/ 43470 w 44101"/>
                      <a:gd name="connsiteY23" fmla="*/ 2580 h 4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101" h="41383">
                        <a:moveTo>
                          <a:pt x="43497" y="2552"/>
                        </a:moveTo>
                        <a:lnTo>
                          <a:pt x="44101" y="8452"/>
                        </a:lnTo>
                        <a:lnTo>
                          <a:pt x="37954" y="6641"/>
                        </a:lnTo>
                        <a:lnTo>
                          <a:pt x="37240" y="8452"/>
                        </a:lnTo>
                        <a:lnTo>
                          <a:pt x="40286" y="11306"/>
                        </a:lnTo>
                        <a:lnTo>
                          <a:pt x="40176" y="13173"/>
                        </a:lnTo>
                        <a:lnTo>
                          <a:pt x="34743" y="15560"/>
                        </a:lnTo>
                        <a:lnTo>
                          <a:pt x="24095" y="24946"/>
                        </a:lnTo>
                        <a:lnTo>
                          <a:pt x="12624" y="26592"/>
                        </a:lnTo>
                        <a:lnTo>
                          <a:pt x="8782" y="38502"/>
                        </a:lnTo>
                        <a:lnTo>
                          <a:pt x="4693" y="41384"/>
                        </a:lnTo>
                        <a:lnTo>
                          <a:pt x="4281" y="37377"/>
                        </a:lnTo>
                        <a:lnTo>
                          <a:pt x="8891" y="30160"/>
                        </a:lnTo>
                        <a:lnTo>
                          <a:pt x="0" y="22174"/>
                        </a:lnTo>
                        <a:lnTo>
                          <a:pt x="2882" y="17481"/>
                        </a:lnTo>
                        <a:lnTo>
                          <a:pt x="1290" y="10346"/>
                        </a:lnTo>
                        <a:lnTo>
                          <a:pt x="5900" y="12843"/>
                        </a:lnTo>
                        <a:lnTo>
                          <a:pt x="9495" y="8480"/>
                        </a:lnTo>
                        <a:lnTo>
                          <a:pt x="12294" y="9962"/>
                        </a:lnTo>
                        <a:lnTo>
                          <a:pt x="12761" y="8480"/>
                        </a:lnTo>
                        <a:lnTo>
                          <a:pt x="19814" y="2772"/>
                        </a:lnTo>
                        <a:lnTo>
                          <a:pt x="32300" y="3650"/>
                        </a:lnTo>
                        <a:lnTo>
                          <a:pt x="40423" y="0"/>
                        </a:lnTo>
                        <a:lnTo>
                          <a:pt x="43470" y="258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7" name="Freeform: Shape 3406">
                    <a:extLst>
                      <a:ext uri="{FF2B5EF4-FFF2-40B4-BE49-F238E27FC236}">
                        <a16:creationId xmlns:a16="http://schemas.microsoft.com/office/drawing/2014/main" id="{91943138-1743-3B89-7919-3B37F2C8EC3F}"/>
                      </a:ext>
                    </a:extLst>
                  </p:cNvPr>
                  <p:cNvSpPr/>
                  <p:nvPr/>
                </p:nvSpPr>
                <p:spPr>
                  <a:xfrm>
                    <a:off x="-5629932" y="2711256"/>
                    <a:ext cx="21350" cy="22420"/>
                  </a:xfrm>
                  <a:custGeom>
                    <a:avLst/>
                    <a:gdLst>
                      <a:gd name="connsiteX0" fmla="*/ 8425 w 21350"/>
                      <a:gd name="connsiteY0" fmla="*/ 27 h 22420"/>
                      <a:gd name="connsiteX1" fmla="*/ 19046 w 21350"/>
                      <a:gd name="connsiteY1" fmla="*/ 9605 h 22420"/>
                      <a:gd name="connsiteX2" fmla="*/ 20555 w 21350"/>
                      <a:gd name="connsiteY2" fmla="*/ 9495 h 22420"/>
                      <a:gd name="connsiteX3" fmla="*/ 21351 w 21350"/>
                      <a:gd name="connsiteY3" fmla="*/ 13776 h 22420"/>
                      <a:gd name="connsiteX4" fmla="*/ 19046 w 21350"/>
                      <a:gd name="connsiteY4" fmla="*/ 13667 h 22420"/>
                      <a:gd name="connsiteX5" fmla="*/ 6752 w 21350"/>
                      <a:gd name="connsiteY5" fmla="*/ 22421 h 22420"/>
                      <a:gd name="connsiteX6" fmla="*/ 4364 w 21350"/>
                      <a:gd name="connsiteY6" fmla="*/ 20582 h 22420"/>
                      <a:gd name="connsiteX7" fmla="*/ 1949 w 21350"/>
                      <a:gd name="connsiteY7" fmla="*/ 11965 h 22420"/>
                      <a:gd name="connsiteX8" fmla="*/ 0 w 21350"/>
                      <a:gd name="connsiteY8" fmla="*/ 9797 h 22420"/>
                      <a:gd name="connsiteX9" fmla="*/ 8425 w 21350"/>
                      <a:gd name="connsiteY9" fmla="*/ 0 h 2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50" h="22420">
                        <a:moveTo>
                          <a:pt x="8425" y="27"/>
                        </a:moveTo>
                        <a:lnTo>
                          <a:pt x="19046" y="9605"/>
                        </a:lnTo>
                        <a:lnTo>
                          <a:pt x="20555" y="9495"/>
                        </a:lnTo>
                        <a:lnTo>
                          <a:pt x="21351" y="13776"/>
                        </a:lnTo>
                        <a:lnTo>
                          <a:pt x="19046" y="13667"/>
                        </a:lnTo>
                        <a:lnTo>
                          <a:pt x="6752" y="22421"/>
                        </a:lnTo>
                        <a:lnTo>
                          <a:pt x="4364" y="20582"/>
                        </a:lnTo>
                        <a:lnTo>
                          <a:pt x="1949" y="11965"/>
                        </a:lnTo>
                        <a:lnTo>
                          <a:pt x="0" y="9797"/>
                        </a:lnTo>
                        <a:lnTo>
                          <a:pt x="8425"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8" name="Freeform: Shape 3407">
                    <a:extLst>
                      <a:ext uri="{FF2B5EF4-FFF2-40B4-BE49-F238E27FC236}">
                        <a16:creationId xmlns:a16="http://schemas.microsoft.com/office/drawing/2014/main" id="{371E43D1-0C3D-6A2B-14B7-DD07441AB9B0}"/>
                      </a:ext>
                    </a:extLst>
                  </p:cNvPr>
                  <p:cNvSpPr/>
                  <p:nvPr/>
                </p:nvSpPr>
                <p:spPr>
                  <a:xfrm>
                    <a:off x="-5607373" y="2712985"/>
                    <a:ext cx="7546" cy="4912"/>
                  </a:xfrm>
                  <a:custGeom>
                    <a:avLst/>
                    <a:gdLst>
                      <a:gd name="connsiteX0" fmla="*/ 1564 w 7546"/>
                      <a:gd name="connsiteY0" fmla="*/ 0 h 4912"/>
                      <a:gd name="connsiteX1" fmla="*/ 5104 w 7546"/>
                      <a:gd name="connsiteY1" fmla="*/ 1756 h 4912"/>
                      <a:gd name="connsiteX2" fmla="*/ 7190 w 7546"/>
                      <a:gd name="connsiteY2" fmla="*/ 1125 h 4912"/>
                      <a:gd name="connsiteX3" fmla="*/ 7547 w 7546"/>
                      <a:gd name="connsiteY3" fmla="*/ 3979 h 4912"/>
                      <a:gd name="connsiteX4" fmla="*/ 1893 w 7546"/>
                      <a:gd name="connsiteY4" fmla="*/ 4912 h 4912"/>
                      <a:gd name="connsiteX5" fmla="*/ 0 w 7546"/>
                      <a:gd name="connsiteY5" fmla="*/ 1619 h 4912"/>
                      <a:gd name="connsiteX6" fmla="*/ 1591 w 7546"/>
                      <a:gd name="connsiteY6" fmla="*/ 27 h 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46" h="4912">
                        <a:moveTo>
                          <a:pt x="1564" y="0"/>
                        </a:moveTo>
                        <a:lnTo>
                          <a:pt x="5104" y="1756"/>
                        </a:lnTo>
                        <a:lnTo>
                          <a:pt x="7190" y="1125"/>
                        </a:lnTo>
                        <a:lnTo>
                          <a:pt x="7547" y="3979"/>
                        </a:lnTo>
                        <a:lnTo>
                          <a:pt x="1893" y="4912"/>
                        </a:lnTo>
                        <a:lnTo>
                          <a:pt x="0" y="1619"/>
                        </a:lnTo>
                        <a:lnTo>
                          <a:pt x="1591" y="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09" name="Freeform: Shape 3408">
                    <a:extLst>
                      <a:ext uri="{FF2B5EF4-FFF2-40B4-BE49-F238E27FC236}">
                        <a16:creationId xmlns:a16="http://schemas.microsoft.com/office/drawing/2014/main" id="{C26DBA58-EE4D-CDFD-94A1-D7ED9847757C}"/>
                      </a:ext>
                    </a:extLst>
                  </p:cNvPr>
                  <p:cNvSpPr/>
                  <p:nvPr/>
                </p:nvSpPr>
                <p:spPr>
                  <a:xfrm>
                    <a:off x="-5698292" y="3525187"/>
                    <a:ext cx="194542" cy="197507"/>
                  </a:xfrm>
                  <a:custGeom>
                    <a:avLst/>
                    <a:gdLst>
                      <a:gd name="connsiteX0" fmla="*/ 194461 w 194542"/>
                      <a:gd name="connsiteY0" fmla="*/ 13337 h 197507"/>
                      <a:gd name="connsiteX1" fmla="*/ 186256 w 194542"/>
                      <a:gd name="connsiteY1" fmla="*/ 18606 h 197507"/>
                      <a:gd name="connsiteX2" fmla="*/ 186420 w 194542"/>
                      <a:gd name="connsiteY2" fmla="*/ 29364 h 197507"/>
                      <a:gd name="connsiteX3" fmla="*/ 177200 w 194542"/>
                      <a:gd name="connsiteY3" fmla="*/ 38420 h 197507"/>
                      <a:gd name="connsiteX4" fmla="*/ 174867 w 194542"/>
                      <a:gd name="connsiteY4" fmla="*/ 34468 h 197507"/>
                      <a:gd name="connsiteX5" fmla="*/ 165426 w 194542"/>
                      <a:gd name="connsiteY5" fmla="*/ 33261 h 197507"/>
                      <a:gd name="connsiteX6" fmla="*/ 151760 w 194542"/>
                      <a:gd name="connsiteY6" fmla="*/ 30050 h 197507"/>
                      <a:gd name="connsiteX7" fmla="*/ 150936 w 194542"/>
                      <a:gd name="connsiteY7" fmla="*/ 28294 h 197507"/>
                      <a:gd name="connsiteX8" fmla="*/ 141359 w 194542"/>
                      <a:gd name="connsiteY8" fmla="*/ 33453 h 197507"/>
                      <a:gd name="connsiteX9" fmla="*/ 136364 w 194542"/>
                      <a:gd name="connsiteY9" fmla="*/ 33151 h 197507"/>
                      <a:gd name="connsiteX10" fmla="*/ 131946 w 194542"/>
                      <a:gd name="connsiteY10" fmla="*/ 30050 h 197507"/>
                      <a:gd name="connsiteX11" fmla="*/ 120969 w 194542"/>
                      <a:gd name="connsiteY11" fmla="*/ 38228 h 197507"/>
                      <a:gd name="connsiteX12" fmla="*/ 113559 w 194542"/>
                      <a:gd name="connsiteY12" fmla="*/ 36526 h 197507"/>
                      <a:gd name="connsiteX13" fmla="*/ 110513 w 194542"/>
                      <a:gd name="connsiteY13" fmla="*/ 37322 h 197507"/>
                      <a:gd name="connsiteX14" fmla="*/ 109113 w 194542"/>
                      <a:gd name="connsiteY14" fmla="*/ 40204 h 197507"/>
                      <a:gd name="connsiteX15" fmla="*/ 110266 w 194542"/>
                      <a:gd name="connsiteY15" fmla="*/ 42097 h 197507"/>
                      <a:gd name="connsiteX16" fmla="*/ 111007 w 194542"/>
                      <a:gd name="connsiteY16" fmla="*/ 43442 h 197507"/>
                      <a:gd name="connsiteX17" fmla="*/ 113257 w 194542"/>
                      <a:gd name="connsiteY17" fmla="*/ 45994 h 197507"/>
                      <a:gd name="connsiteX18" fmla="*/ 113312 w 194542"/>
                      <a:gd name="connsiteY18" fmla="*/ 49123 h 197507"/>
                      <a:gd name="connsiteX19" fmla="*/ 117730 w 194542"/>
                      <a:gd name="connsiteY19" fmla="*/ 51593 h 197507"/>
                      <a:gd name="connsiteX20" fmla="*/ 123109 w 194542"/>
                      <a:gd name="connsiteY20" fmla="*/ 53843 h 197507"/>
                      <a:gd name="connsiteX21" fmla="*/ 128543 w 194542"/>
                      <a:gd name="connsiteY21" fmla="*/ 60841 h 197507"/>
                      <a:gd name="connsiteX22" fmla="*/ 126622 w 194542"/>
                      <a:gd name="connsiteY22" fmla="*/ 61554 h 197507"/>
                      <a:gd name="connsiteX23" fmla="*/ 122259 w 194542"/>
                      <a:gd name="connsiteY23" fmla="*/ 56176 h 197507"/>
                      <a:gd name="connsiteX24" fmla="*/ 117593 w 194542"/>
                      <a:gd name="connsiteY24" fmla="*/ 54419 h 197507"/>
                      <a:gd name="connsiteX25" fmla="*/ 113395 w 194542"/>
                      <a:gd name="connsiteY25" fmla="*/ 51894 h 197507"/>
                      <a:gd name="connsiteX26" fmla="*/ 109086 w 194542"/>
                      <a:gd name="connsiteY26" fmla="*/ 55600 h 197507"/>
                      <a:gd name="connsiteX27" fmla="*/ 117017 w 194542"/>
                      <a:gd name="connsiteY27" fmla="*/ 62707 h 197507"/>
                      <a:gd name="connsiteX28" fmla="*/ 117566 w 194542"/>
                      <a:gd name="connsiteY28" fmla="*/ 65891 h 197507"/>
                      <a:gd name="connsiteX29" fmla="*/ 115892 w 194542"/>
                      <a:gd name="connsiteY29" fmla="*/ 68086 h 197507"/>
                      <a:gd name="connsiteX30" fmla="*/ 112709 w 194542"/>
                      <a:gd name="connsiteY30" fmla="*/ 66439 h 197507"/>
                      <a:gd name="connsiteX31" fmla="*/ 107083 w 194542"/>
                      <a:gd name="connsiteY31" fmla="*/ 58152 h 197507"/>
                      <a:gd name="connsiteX32" fmla="*/ 100633 w 194542"/>
                      <a:gd name="connsiteY32" fmla="*/ 56313 h 197507"/>
                      <a:gd name="connsiteX33" fmla="*/ 96380 w 194542"/>
                      <a:gd name="connsiteY33" fmla="*/ 57493 h 197507"/>
                      <a:gd name="connsiteX34" fmla="*/ 88175 w 194542"/>
                      <a:gd name="connsiteY34" fmla="*/ 53020 h 197507"/>
                      <a:gd name="connsiteX35" fmla="*/ 84634 w 194542"/>
                      <a:gd name="connsiteY35" fmla="*/ 48601 h 197507"/>
                      <a:gd name="connsiteX36" fmla="*/ 85594 w 194542"/>
                      <a:gd name="connsiteY36" fmla="*/ 42729 h 197507"/>
                      <a:gd name="connsiteX37" fmla="*/ 78734 w 194542"/>
                      <a:gd name="connsiteY37" fmla="*/ 46131 h 197507"/>
                      <a:gd name="connsiteX38" fmla="*/ 78185 w 194542"/>
                      <a:gd name="connsiteY38" fmla="*/ 47586 h 197507"/>
                      <a:gd name="connsiteX39" fmla="*/ 76538 w 194542"/>
                      <a:gd name="connsiteY39" fmla="*/ 49068 h 197507"/>
                      <a:gd name="connsiteX40" fmla="*/ 77581 w 194542"/>
                      <a:gd name="connsiteY40" fmla="*/ 52910 h 197507"/>
                      <a:gd name="connsiteX41" fmla="*/ 75057 w 194542"/>
                      <a:gd name="connsiteY41" fmla="*/ 61115 h 197507"/>
                      <a:gd name="connsiteX42" fmla="*/ 78158 w 194542"/>
                      <a:gd name="connsiteY42" fmla="*/ 67482 h 197507"/>
                      <a:gd name="connsiteX43" fmla="*/ 83509 w 194542"/>
                      <a:gd name="connsiteY43" fmla="*/ 74535 h 197507"/>
                      <a:gd name="connsiteX44" fmla="*/ 85567 w 194542"/>
                      <a:gd name="connsiteY44" fmla="*/ 81725 h 197507"/>
                      <a:gd name="connsiteX45" fmla="*/ 91605 w 194542"/>
                      <a:gd name="connsiteY45" fmla="*/ 87159 h 197507"/>
                      <a:gd name="connsiteX46" fmla="*/ 97725 w 194542"/>
                      <a:gd name="connsiteY46" fmla="*/ 97230 h 197507"/>
                      <a:gd name="connsiteX47" fmla="*/ 94431 w 194542"/>
                      <a:gd name="connsiteY47" fmla="*/ 99426 h 197507"/>
                      <a:gd name="connsiteX48" fmla="*/ 91083 w 194542"/>
                      <a:gd name="connsiteY48" fmla="*/ 93526 h 197507"/>
                      <a:gd name="connsiteX49" fmla="*/ 85018 w 194542"/>
                      <a:gd name="connsiteY49" fmla="*/ 93251 h 197507"/>
                      <a:gd name="connsiteX50" fmla="*/ 83399 w 194542"/>
                      <a:gd name="connsiteY50" fmla="*/ 96682 h 197507"/>
                      <a:gd name="connsiteX51" fmla="*/ 88531 w 194542"/>
                      <a:gd name="connsiteY51" fmla="*/ 104530 h 197507"/>
                      <a:gd name="connsiteX52" fmla="*/ 86555 w 194542"/>
                      <a:gd name="connsiteY52" fmla="*/ 107165 h 197507"/>
                      <a:gd name="connsiteX53" fmla="*/ 81341 w 194542"/>
                      <a:gd name="connsiteY53" fmla="*/ 109278 h 197507"/>
                      <a:gd name="connsiteX54" fmla="*/ 76785 w 194542"/>
                      <a:gd name="connsiteY54" fmla="*/ 108482 h 197507"/>
                      <a:gd name="connsiteX55" fmla="*/ 75880 w 194542"/>
                      <a:gd name="connsiteY55" fmla="*/ 110129 h 197507"/>
                      <a:gd name="connsiteX56" fmla="*/ 88833 w 194542"/>
                      <a:gd name="connsiteY56" fmla="*/ 114382 h 197507"/>
                      <a:gd name="connsiteX57" fmla="*/ 91989 w 194542"/>
                      <a:gd name="connsiteY57" fmla="*/ 117621 h 197507"/>
                      <a:gd name="connsiteX58" fmla="*/ 96599 w 194542"/>
                      <a:gd name="connsiteY58" fmla="*/ 118142 h 197507"/>
                      <a:gd name="connsiteX59" fmla="*/ 97697 w 194542"/>
                      <a:gd name="connsiteY59" fmla="*/ 123329 h 197507"/>
                      <a:gd name="connsiteX60" fmla="*/ 102856 w 194542"/>
                      <a:gd name="connsiteY60" fmla="*/ 121353 h 197507"/>
                      <a:gd name="connsiteX61" fmla="*/ 91468 w 194542"/>
                      <a:gd name="connsiteY61" fmla="*/ 109497 h 197507"/>
                      <a:gd name="connsiteX62" fmla="*/ 93882 w 194542"/>
                      <a:gd name="connsiteY62" fmla="*/ 105161 h 197507"/>
                      <a:gd name="connsiteX63" fmla="*/ 97560 w 194542"/>
                      <a:gd name="connsiteY63" fmla="*/ 105244 h 197507"/>
                      <a:gd name="connsiteX64" fmla="*/ 105518 w 194542"/>
                      <a:gd name="connsiteY64" fmla="*/ 112489 h 197507"/>
                      <a:gd name="connsiteX65" fmla="*/ 119788 w 194542"/>
                      <a:gd name="connsiteY65" fmla="*/ 118389 h 197507"/>
                      <a:gd name="connsiteX66" fmla="*/ 125304 w 194542"/>
                      <a:gd name="connsiteY66" fmla="*/ 132138 h 197507"/>
                      <a:gd name="connsiteX67" fmla="*/ 131781 w 194542"/>
                      <a:gd name="connsiteY67" fmla="*/ 137215 h 197507"/>
                      <a:gd name="connsiteX68" fmla="*/ 132660 w 194542"/>
                      <a:gd name="connsiteY68" fmla="*/ 140371 h 197507"/>
                      <a:gd name="connsiteX69" fmla="*/ 130491 w 194542"/>
                      <a:gd name="connsiteY69" fmla="*/ 142347 h 197507"/>
                      <a:gd name="connsiteX70" fmla="*/ 125826 w 194542"/>
                      <a:gd name="connsiteY70" fmla="*/ 141221 h 197507"/>
                      <a:gd name="connsiteX71" fmla="*/ 116797 w 194542"/>
                      <a:gd name="connsiteY71" fmla="*/ 128488 h 197507"/>
                      <a:gd name="connsiteX72" fmla="*/ 107302 w 194542"/>
                      <a:gd name="connsiteY72" fmla="*/ 129092 h 197507"/>
                      <a:gd name="connsiteX73" fmla="*/ 108317 w 194542"/>
                      <a:gd name="connsiteY73" fmla="*/ 129531 h 197507"/>
                      <a:gd name="connsiteX74" fmla="*/ 118608 w 194542"/>
                      <a:gd name="connsiteY74" fmla="*/ 135019 h 197507"/>
                      <a:gd name="connsiteX75" fmla="*/ 119048 w 194542"/>
                      <a:gd name="connsiteY75" fmla="*/ 152857 h 197507"/>
                      <a:gd name="connsiteX76" fmla="*/ 116633 w 194542"/>
                      <a:gd name="connsiteY76" fmla="*/ 154394 h 197507"/>
                      <a:gd name="connsiteX77" fmla="*/ 109909 w 194542"/>
                      <a:gd name="connsiteY77" fmla="*/ 147670 h 197507"/>
                      <a:gd name="connsiteX78" fmla="*/ 107796 w 194542"/>
                      <a:gd name="connsiteY78" fmla="*/ 144405 h 197507"/>
                      <a:gd name="connsiteX79" fmla="*/ 101649 w 194542"/>
                      <a:gd name="connsiteY79" fmla="*/ 145173 h 197507"/>
                      <a:gd name="connsiteX80" fmla="*/ 102472 w 194542"/>
                      <a:gd name="connsiteY80" fmla="*/ 143087 h 197507"/>
                      <a:gd name="connsiteX81" fmla="*/ 104832 w 194542"/>
                      <a:gd name="connsiteY81" fmla="*/ 142484 h 197507"/>
                      <a:gd name="connsiteX82" fmla="*/ 105573 w 194542"/>
                      <a:gd name="connsiteY82" fmla="*/ 141661 h 197507"/>
                      <a:gd name="connsiteX83" fmla="*/ 93306 w 194542"/>
                      <a:gd name="connsiteY83" fmla="*/ 144048 h 197507"/>
                      <a:gd name="connsiteX84" fmla="*/ 90123 w 194542"/>
                      <a:gd name="connsiteY84" fmla="*/ 146353 h 197507"/>
                      <a:gd name="connsiteX85" fmla="*/ 92016 w 194542"/>
                      <a:gd name="connsiteY85" fmla="*/ 149235 h 197507"/>
                      <a:gd name="connsiteX86" fmla="*/ 91523 w 194542"/>
                      <a:gd name="connsiteY86" fmla="*/ 152309 h 197507"/>
                      <a:gd name="connsiteX87" fmla="*/ 93882 w 194542"/>
                      <a:gd name="connsiteY87" fmla="*/ 157276 h 197507"/>
                      <a:gd name="connsiteX88" fmla="*/ 97258 w 194542"/>
                      <a:gd name="connsiteY88" fmla="*/ 158785 h 197507"/>
                      <a:gd name="connsiteX89" fmla="*/ 97340 w 194542"/>
                      <a:gd name="connsiteY89" fmla="*/ 156398 h 197507"/>
                      <a:gd name="connsiteX90" fmla="*/ 99728 w 194542"/>
                      <a:gd name="connsiteY90" fmla="*/ 156041 h 197507"/>
                      <a:gd name="connsiteX91" fmla="*/ 99398 w 194542"/>
                      <a:gd name="connsiteY91" fmla="*/ 159800 h 197507"/>
                      <a:gd name="connsiteX92" fmla="*/ 101814 w 194542"/>
                      <a:gd name="connsiteY92" fmla="*/ 162297 h 197507"/>
                      <a:gd name="connsiteX93" fmla="*/ 100469 w 194542"/>
                      <a:gd name="connsiteY93" fmla="*/ 164136 h 197507"/>
                      <a:gd name="connsiteX94" fmla="*/ 91659 w 194542"/>
                      <a:gd name="connsiteY94" fmla="*/ 167210 h 197507"/>
                      <a:gd name="connsiteX95" fmla="*/ 90370 w 194542"/>
                      <a:gd name="connsiteY95" fmla="*/ 162929 h 197507"/>
                      <a:gd name="connsiteX96" fmla="*/ 80600 w 194542"/>
                      <a:gd name="connsiteY96" fmla="*/ 158373 h 197507"/>
                      <a:gd name="connsiteX97" fmla="*/ 80106 w 194542"/>
                      <a:gd name="connsiteY97" fmla="*/ 161392 h 197507"/>
                      <a:gd name="connsiteX98" fmla="*/ 84991 w 194542"/>
                      <a:gd name="connsiteY98" fmla="*/ 174976 h 197507"/>
                      <a:gd name="connsiteX99" fmla="*/ 87406 w 194542"/>
                      <a:gd name="connsiteY99" fmla="*/ 177638 h 197507"/>
                      <a:gd name="connsiteX100" fmla="*/ 89848 w 194542"/>
                      <a:gd name="connsiteY100" fmla="*/ 195723 h 197507"/>
                      <a:gd name="connsiteX101" fmla="*/ 78706 w 194542"/>
                      <a:gd name="connsiteY101" fmla="*/ 188121 h 197507"/>
                      <a:gd name="connsiteX102" fmla="*/ 75166 w 194542"/>
                      <a:gd name="connsiteY102" fmla="*/ 190509 h 197507"/>
                      <a:gd name="connsiteX103" fmla="*/ 71407 w 194542"/>
                      <a:gd name="connsiteY103" fmla="*/ 197507 h 197507"/>
                      <a:gd name="connsiteX104" fmla="*/ 66961 w 194542"/>
                      <a:gd name="connsiteY104" fmla="*/ 187161 h 197507"/>
                      <a:gd name="connsiteX105" fmla="*/ 61912 w 194542"/>
                      <a:gd name="connsiteY105" fmla="*/ 180657 h 197507"/>
                      <a:gd name="connsiteX106" fmla="*/ 57768 w 194542"/>
                      <a:gd name="connsiteY106" fmla="*/ 181453 h 197507"/>
                      <a:gd name="connsiteX107" fmla="*/ 54447 w 194542"/>
                      <a:gd name="connsiteY107" fmla="*/ 186749 h 197507"/>
                      <a:gd name="connsiteX108" fmla="*/ 50028 w 194542"/>
                      <a:gd name="connsiteY108" fmla="*/ 184170 h 197507"/>
                      <a:gd name="connsiteX109" fmla="*/ 46955 w 194542"/>
                      <a:gd name="connsiteY109" fmla="*/ 175525 h 197507"/>
                      <a:gd name="connsiteX110" fmla="*/ 49150 w 194542"/>
                      <a:gd name="connsiteY110" fmla="*/ 165399 h 197507"/>
                      <a:gd name="connsiteX111" fmla="*/ 45967 w 194542"/>
                      <a:gd name="connsiteY111" fmla="*/ 159773 h 197507"/>
                      <a:gd name="connsiteX112" fmla="*/ 35155 w 194542"/>
                      <a:gd name="connsiteY112" fmla="*/ 149043 h 197507"/>
                      <a:gd name="connsiteX113" fmla="*/ 32987 w 194542"/>
                      <a:gd name="connsiteY113" fmla="*/ 145667 h 197507"/>
                      <a:gd name="connsiteX114" fmla="*/ 39490 w 194542"/>
                      <a:gd name="connsiteY114" fmla="*/ 138477 h 197507"/>
                      <a:gd name="connsiteX115" fmla="*/ 40616 w 194542"/>
                      <a:gd name="connsiteY115" fmla="*/ 134827 h 197507"/>
                      <a:gd name="connsiteX116" fmla="*/ 47367 w 194542"/>
                      <a:gd name="connsiteY116" fmla="*/ 136419 h 197507"/>
                      <a:gd name="connsiteX117" fmla="*/ 54639 w 194542"/>
                      <a:gd name="connsiteY117" fmla="*/ 129915 h 197507"/>
                      <a:gd name="connsiteX118" fmla="*/ 69568 w 194542"/>
                      <a:gd name="connsiteY118" fmla="*/ 136968 h 197507"/>
                      <a:gd name="connsiteX119" fmla="*/ 71489 w 194542"/>
                      <a:gd name="connsiteY119" fmla="*/ 137297 h 197507"/>
                      <a:gd name="connsiteX120" fmla="*/ 84085 w 194542"/>
                      <a:gd name="connsiteY120" fmla="*/ 144185 h 197507"/>
                      <a:gd name="connsiteX121" fmla="*/ 86500 w 194542"/>
                      <a:gd name="connsiteY121" fmla="*/ 143252 h 197507"/>
                      <a:gd name="connsiteX122" fmla="*/ 85897 w 194542"/>
                      <a:gd name="connsiteY122" fmla="*/ 140014 h 197507"/>
                      <a:gd name="connsiteX123" fmla="*/ 91440 w 194542"/>
                      <a:gd name="connsiteY123" fmla="*/ 140014 h 197507"/>
                      <a:gd name="connsiteX124" fmla="*/ 94130 w 194542"/>
                      <a:gd name="connsiteY124" fmla="*/ 137572 h 197507"/>
                      <a:gd name="connsiteX125" fmla="*/ 91687 w 194542"/>
                      <a:gd name="connsiteY125" fmla="*/ 136007 h 197507"/>
                      <a:gd name="connsiteX126" fmla="*/ 82631 w 194542"/>
                      <a:gd name="connsiteY126" fmla="*/ 133510 h 197507"/>
                      <a:gd name="connsiteX127" fmla="*/ 76456 w 194542"/>
                      <a:gd name="connsiteY127" fmla="*/ 128872 h 197507"/>
                      <a:gd name="connsiteX128" fmla="*/ 75276 w 194542"/>
                      <a:gd name="connsiteY128" fmla="*/ 130820 h 197507"/>
                      <a:gd name="connsiteX129" fmla="*/ 71462 w 194542"/>
                      <a:gd name="connsiteY129" fmla="*/ 126292 h 197507"/>
                      <a:gd name="connsiteX130" fmla="*/ 69156 w 194542"/>
                      <a:gd name="connsiteY130" fmla="*/ 129009 h 197507"/>
                      <a:gd name="connsiteX131" fmla="*/ 63997 w 194542"/>
                      <a:gd name="connsiteY131" fmla="*/ 129696 h 197507"/>
                      <a:gd name="connsiteX132" fmla="*/ 58261 w 194542"/>
                      <a:gd name="connsiteY132" fmla="*/ 127363 h 197507"/>
                      <a:gd name="connsiteX133" fmla="*/ 54200 w 194542"/>
                      <a:gd name="connsiteY133" fmla="*/ 128268 h 197507"/>
                      <a:gd name="connsiteX134" fmla="*/ 34111 w 194542"/>
                      <a:gd name="connsiteY134" fmla="*/ 129805 h 197507"/>
                      <a:gd name="connsiteX135" fmla="*/ 30709 w 194542"/>
                      <a:gd name="connsiteY135" fmla="*/ 121545 h 197507"/>
                      <a:gd name="connsiteX136" fmla="*/ 21927 w 194542"/>
                      <a:gd name="connsiteY136" fmla="*/ 109881 h 197507"/>
                      <a:gd name="connsiteX137" fmla="*/ 25357 w 194542"/>
                      <a:gd name="connsiteY137" fmla="*/ 107247 h 197507"/>
                      <a:gd name="connsiteX138" fmla="*/ 31395 w 194542"/>
                      <a:gd name="connsiteY138" fmla="*/ 109086 h 197507"/>
                      <a:gd name="connsiteX139" fmla="*/ 32987 w 194542"/>
                      <a:gd name="connsiteY139" fmla="*/ 106204 h 197507"/>
                      <a:gd name="connsiteX140" fmla="*/ 32328 w 194542"/>
                      <a:gd name="connsiteY140" fmla="*/ 102966 h 197507"/>
                      <a:gd name="connsiteX141" fmla="*/ 24370 w 194542"/>
                      <a:gd name="connsiteY141" fmla="*/ 102774 h 197507"/>
                      <a:gd name="connsiteX142" fmla="*/ 21186 w 194542"/>
                      <a:gd name="connsiteY142" fmla="*/ 104805 h 197507"/>
                      <a:gd name="connsiteX143" fmla="*/ 13804 w 194542"/>
                      <a:gd name="connsiteY143" fmla="*/ 94294 h 197507"/>
                      <a:gd name="connsiteX144" fmla="*/ 13393 w 194542"/>
                      <a:gd name="connsiteY144" fmla="*/ 94376 h 197507"/>
                      <a:gd name="connsiteX145" fmla="*/ 8590 w 194542"/>
                      <a:gd name="connsiteY145" fmla="*/ 92730 h 197507"/>
                      <a:gd name="connsiteX146" fmla="*/ 4528 w 194542"/>
                      <a:gd name="connsiteY146" fmla="*/ 81149 h 197507"/>
                      <a:gd name="connsiteX147" fmla="*/ 0 w 194542"/>
                      <a:gd name="connsiteY147" fmla="*/ 78404 h 197507"/>
                      <a:gd name="connsiteX148" fmla="*/ 6449 w 194542"/>
                      <a:gd name="connsiteY148" fmla="*/ 79447 h 197507"/>
                      <a:gd name="connsiteX149" fmla="*/ 8617 w 194542"/>
                      <a:gd name="connsiteY149" fmla="*/ 76950 h 197507"/>
                      <a:gd name="connsiteX150" fmla="*/ 8617 w 194542"/>
                      <a:gd name="connsiteY150" fmla="*/ 73767 h 197507"/>
                      <a:gd name="connsiteX151" fmla="*/ 11252 w 194542"/>
                      <a:gd name="connsiteY151" fmla="*/ 74672 h 197507"/>
                      <a:gd name="connsiteX152" fmla="*/ 10209 w 194542"/>
                      <a:gd name="connsiteY152" fmla="*/ 67290 h 197507"/>
                      <a:gd name="connsiteX153" fmla="*/ 12980 w 194542"/>
                      <a:gd name="connsiteY153" fmla="*/ 64299 h 197507"/>
                      <a:gd name="connsiteX154" fmla="*/ 17783 w 194542"/>
                      <a:gd name="connsiteY154" fmla="*/ 63503 h 197507"/>
                      <a:gd name="connsiteX155" fmla="*/ 22668 w 194542"/>
                      <a:gd name="connsiteY155" fmla="*/ 53130 h 197507"/>
                      <a:gd name="connsiteX156" fmla="*/ 30818 w 194542"/>
                      <a:gd name="connsiteY156" fmla="*/ 42756 h 197507"/>
                      <a:gd name="connsiteX157" fmla="*/ 28595 w 194542"/>
                      <a:gd name="connsiteY157" fmla="*/ 33508 h 197507"/>
                      <a:gd name="connsiteX158" fmla="*/ 52334 w 194542"/>
                      <a:gd name="connsiteY158" fmla="*/ 30544 h 197507"/>
                      <a:gd name="connsiteX159" fmla="*/ 56533 w 194542"/>
                      <a:gd name="connsiteY159" fmla="*/ 23930 h 197507"/>
                      <a:gd name="connsiteX160" fmla="*/ 64957 w 194542"/>
                      <a:gd name="connsiteY160" fmla="*/ 21186 h 197507"/>
                      <a:gd name="connsiteX161" fmla="*/ 68360 w 194542"/>
                      <a:gd name="connsiteY161" fmla="*/ 23162 h 197507"/>
                      <a:gd name="connsiteX162" fmla="*/ 70089 w 194542"/>
                      <a:gd name="connsiteY162" fmla="*/ 22586 h 197507"/>
                      <a:gd name="connsiteX163" fmla="*/ 79887 w 194542"/>
                      <a:gd name="connsiteY163" fmla="*/ 21543 h 197507"/>
                      <a:gd name="connsiteX164" fmla="*/ 81451 w 194542"/>
                      <a:gd name="connsiteY164" fmla="*/ 15807 h 197507"/>
                      <a:gd name="connsiteX165" fmla="*/ 84470 w 194542"/>
                      <a:gd name="connsiteY165" fmla="*/ 14517 h 197507"/>
                      <a:gd name="connsiteX166" fmla="*/ 85897 w 194542"/>
                      <a:gd name="connsiteY166" fmla="*/ 14627 h 197507"/>
                      <a:gd name="connsiteX167" fmla="*/ 106396 w 194542"/>
                      <a:gd name="connsiteY167" fmla="*/ 13145 h 197507"/>
                      <a:gd name="connsiteX168" fmla="*/ 118280 w 194542"/>
                      <a:gd name="connsiteY168" fmla="*/ 9989 h 197507"/>
                      <a:gd name="connsiteX169" fmla="*/ 119185 w 194542"/>
                      <a:gd name="connsiteY169" fmla="*/ 7409 h 197507"/>
                      <a:gd name="connsiteX170" fmla="*/ 132632 w 194542"/>
                      <a:gd name="connsiteY170" fmla="*/ 6339 h 197507"/>
                      <a:gd name="connsiteX171" fmla="*/ 140480 w 194542"/>
                      <a:gd name="connsiteY171" fmla="*/ 13776 h 197507"/>
                      <a:gd name="connsiteX172" fmla="*/ 143966 w 194542"/>
                      <a:gd name="connsiteY172" fmla="*/ 12926 h 197507"/>
                      <a:gd name="connsiteX173" fmla="*/ 152116 w 194542"/>
                      <a:gd name="connsiteY173" fmla="*/ 15752 h 197507"/>
                      <a:gd name="connsiteX174" fmla="*/ 153433 w 194542"/>
                      <a:gd name="connsiteY174" fmla="*/ 17536 h 197507"/>
                      <a:gd name="connsiteX175" fmla="*/ 173494 w 194542"/>
                      <a:gd name="connsiteY175" fmla="*/ 15862 h 197507"/>
                      <a:gd name="connsiteX176" fmla="*/ 174757 w 194542"/>
                      <a:gd name="connsiteY176" fmla="*/ 15341 h 197507"/>
                      <a:gd name="connsiteX177" fmla="*/ 179477 w 194542"/>
                      <a:gd name="connsiteY177" fmla="*/ 13913 h 197507"/>
                      <a:gd name="connsiteX178" fmla="*/ 181124 w 194542"/>
                      <a:gd name="connsiteY178" fmla="*/ 11252 h 197507"/>
                      <a:gd name="connsiteX179" fmla="*/ 181371 w 194542"/>
                      <a:gd name="connsiteY179" fmla="*/ 6778 h 197507"/>
                      <a:gd name="connsiteX180" fmla="*/ 180163 w 194542"/>
                      <a:gd name="connsiteY180" fmla="*/ 3540 h 197507"/>
                      <a:gd name="connsiteX181" fmla="*/ 179504 w 194542"/>
                      <a:gd name="connsiteY181" fmla="*/ 1701 h 197507"/>
                      <a:gd name="connsiteX182" fmla="*/ 178901 w 194542"/>
                      <a:gd name="connsiteY182" fmla="*/ 137 h 197507"/>
                      <a:gd name="connsiteX183" fmla="*/ 186805 w 194542"/>
                      <a:gd name="connsiteY183" fmla="*/ 0 h 197507"/>
                      <a:gd name="connsiteX184" fmla="*/ 189329 w 194542"/>
                      <a:gd name="connsiteY184" fmla="*/ 1701 h 197507"/>
                      <a:gd name="connsiteX185" fmla="*/ 192101 w 194542"/>
                      <a:gd name="connsiteY185" fmla="*/ 3540 h 197507"/>
                      <a:gd name="connsiteX186" fmla="*/ 193281 w 194542"/>
                      <a:gd name="connsiteY186" fmla="*/ 4308 h 197507"/>
                      <a:gd name="connsiteX187" fmla="*/ 194543 w 194542"/>
                      <a:gd name="connsiteY187" fmla="*/ 13282 h 19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94542" h="197507">
                        <a:moveTo>
                          <a:pt x="194461" y="13337"/>
                        </a:moveTo>
                        <a:lnTo>
                          <a:pt x="186256" y="18606"/>
                        </a:lnTo>
                        <a:lnTo>
                          <a:pt x="186420" y="29364"/>
                        </a:lnTo>
                        <a:lnTo>
                          <a:pt x="177200" y="38420"/>
                        </a:lnTo>
                        <a:lnTo>
                          <a:pt x="174867" y="34468"/>
                        </a:lnTo>
                        <a:lnTo>
                          <a:pt x="165426" y="33261"/>
                        </a:lnTo>
                        <a:lnTo>
                          <a:pt x="151760" y="30050"/>
                        </a:lnTo>
                        <a:lnTo>
                          <a:pt x="150936" y="28294"/>
                        </a:lnTo>
                        <a:lnTo>
                          <a:pt x="141359" y="33453"/>
                        </a:lnTo>
                        <a:lnTo>
                          <a:pt x="136364" y="33151"/>
                        </a:lnTo>
                        <a:lnTo>
                          <a:pt x="131946" y="30050"/>
                        </a:lnTo>
                        <a:lnTo>
                          <a:pt x="120969" y="38228"/>
                        </a:lnTo>
                        <a:lnTo>
                          <a:pt x="113559" y="36526"/>
                        </a:lnTo>
                        <a:lnTo>
                          <a:pt x="110513" y="37322"/>
                        </a:lnTo>
                        <a:lnTo>
                          <a:pt x="109113" y="40204"/>
                        </a:lnTo>
                        <a:lnTo>
                          <a:pt x="110266" y="42097"/>
                        </a:lnTo>
                        <a:lnTo>
                          <a:pt x="111007" y="43442"/>
                        </a:lnTo>
                        <a:lnTo>
                          <a:pt x="113257" y="45994"/>
                        </a:lnTo>
                        <a:lnTo>
                          <a:pt x="113312" y="49123"/>
                        </a:lnTo>
                        <a:lnTo>
                          <a:pt x="117730" y="51593"/>
                        </a:lnTo>
                        <a:lnTo>
                          <a:pt x="123109" y="53843"/>
                        </a:lnTo>
                        <a:lnTo>
                          <a:pt x="128543" y="60841"/>
                        </a:lnTo>
                        <a:lnTo>
                          <a:pt x="126622" y="61554"/>
                        </a:lnTo>
                        <a:lnTo>
                          <a:pt x="122259" y="56176"/>
                        </a:lnTo>
                        <a:lnTo>
                          <a:pt x="117593" y="54419"/>
                        </a:lnTo>
                        <a:lnTo>
                          <a:pt x="113395" y="51894"/>
                        </a:lnTo>
                        <a:lnTo>
                          <a:pt x="109086" y="55600"/>
                        </a:lnTo>
                        <a:lnTo>
                          <a:pt x="117017" y="62707"/>
                        </a:lnTo>
                        <a:lnTo>
                          <a:pt x="117566" y="65891"/>
                        </a:lnTo>
                        <a:lnTo>
                          <a:pt x="115892" y="68086"/>
                        </a:lnTo>
                        <a:lnTo>
                          <a:pt x="112709" y="66439"/>
                        </a:lnTo>
                        <a:lnTo>
                          <a:pt x="107083" y="58152"/>
                        </a:lnTo>
                        <a:lnTo>
                          <a:pt x="100633" y="56313"/>
                        </a:lnTo>
                        <a:lnTo>
                          <a:pt x="96380" y="57493"/>
                        </a:lnTo>
                        <a:lnTo>
                          <a:pt x="88175" y="53020"/>
                        </a:lnTo>
                        <a:lnTo>
                          <a:pt x="84634" y="48601"/>
                        </a:lnTo>
                        <a:lnTo>
                          <a:pt x="85594" y="42729"/>
                        </a:lnTo>
                        <a:lnTo>
                          <a:pt x="78734" y="46131"/>
                        </a:lnTo>
                        <a:lnTo>
                          <a:pt x="78185" y="47586"/>
                        </a:lnTo>
                        <a:lnTo>
                          <a:pt x="76538" y="49068"/>
                        </a:lnTo>
                        <a:lnTo>
                          <a:pt x="77581" y="52910"/>
                        </a:lnTo>
                        <a:lnTo>
                          <a:pt x="75057" y="61115"/>
                        </a:lnTo>
                        <a:lnTo>
                          <a:pt x="78158" y="67482"/>
                        </a:lnTo>
                        <a:lnTo>
                          <a:pt x="83509" y="74535"/>
                        </a:lnTo>
                        <a:lnTo>
                          <a:pt x="85567" y="81725"/>
                        </a:lnTo>
                        <a:lnTo>
                          <a:pt x="91605" y="87159"/>
                        </a:lnTo>
                        <a:lnTo>
                          <a:pt x="97725" y="97230"/>
                        </a:lnTo>
                        <a:lnTo>
                          <a:pt x="94431" y="99426"/>
                        </a:lnTo>
                        <a:lnTo>
                          <a:pt x="91083" y="93526"/>
                        </a:lnTo>
                        <a:lnTo>
                          <a:pt x="85018" y="93251"/>
                        </a:lnTo>
                        <a:lnTo>
                          <a:pt x="83399" y="96682"/>
                        </a:lnTo>
                        <a:lnTo>
                          <a:pt x="88531" y="104530"/>
                        </a:lnTo>
                        <a:lnTo>
                          <a:pt x="86555" y="107165"/>
                        </a:lnTo>
                        <a:lnTo>
                          <a:pt x="81341" y="109278"/>
                        </a:lnTo>
                        <a:lnTo>
                          <a:pt x="76785" y="108482"/>
                        </a:lnTo>
                        <a:lnTo>
                          <a:pt x="75880" y="110129"/>
                        </a:lnTo>
                        <a:lnTo>
                          <a:pt x="88833" y="114382"/>
                        </a:lnTo>
                        <a:lnTo>
                          <a:pt x="91989" y="117621"/>
                        </a:lnTo>
                        <a:lnTo>
                          <a:pt x="96599" y="118142"/>
                        </a:lnTo>
                        <a:lnTo>
                          <a:pt x="97697" y="123329"/>
                        </a:lnTo>
                        <a:lnTo>
                          <a:pt x="102856" y="121353"/>
                        </a:lnTo>
                        <a:lnTo>
                          <a:pt x="91468" y="109497"/>
                        </a:lnTo>
                        <a:lnTo>
                          <a:pt x="93882" y="105161"/>
                        </a:lnTo>
                        <a:lnTo>
                          <a:pt x="97560" y="105244"/>
                        </a:lnTo>
                        <a:lnTo>
                          <a:pt x="105518" y="112489"/>
                        </a:lnTo>
                        <a:lnTo>
                          <a:pt x="119788" y="118389"/>
                        </a:lnTo>
                        <a:lnTo>
                          <a:pt x="125304" y="132138"/>
                        </a:lnTo>
                        <a:lnTo>
                          <a:pt x="131781" y="137215"/>
                        </a:lnTo>
                        <a:lnTo>
                          <a:pt x="132660" y="140371"/>
                        </a:lnTo>
                        <a:lnTo>
                          <a:pt x="130491" y="142347"/>
                        </a:lnTo>
                        <a:lnTo>
                          <a:pt x="125826" y="141221"/>
                        </a:lnTo>
                        <a:lnTo>
                          <a:pt x="116797" y="128488"/>
                        </a:lnTo>
                        <a:lnTo>
                          <a:pt x="107302" y="129092"/>
                        </a:lnTo>
                        <a:lnTo>
                          <a:pt x="108317" y="129531"/>
                        </a:lnTo>
                        <a:lnTo>
                          <a:pt x="118608" y="135019"/>
                        </a:lnTo>
                        <a:lnTo>
                          <a:pt x="119048" y="152857"/>
                        </a:lnTo>
                        <a:lnTo>
                          <a:pt x="116633" y="154394"/>
                        </a:lnTo>
                        <a:lnTo>
                          <a:pt x="109909" y="147670"/>
                        </a:lnTo>
                        <a:lnTo>
                          <a:pt x="107796" y="144405"/>
                        </a:lnTo>
                        <a:lnTo>
                          <a:pt x="101649" y="145173"/>
                        </a:lnTo>
                        <a:lnTo>
                          <a:pt x="102472" y="143087"/>
                        </a:lnTo>
                        <a:lnTo>
                          <a:pt x="104832" y="142484"/>
                        </a:lnTo>
                        <a:lnTo>
                          <a:pt x="105573" y="141661"/>
                        </a:lnTo>
                        <a:lnTo>
                          <a:pt x="93306" y="144048"/>
                        </a:lnTo>
                        <a:lnTo>
                          <a:pt x="90123" y="146353"/>
                        </a:lnTo>
                        <a:lnTo>
                          <a:pt x="92016" y="149235"/>
                        </a:lnTo>
                        <a:lnTo>
                          <a:pt x="91523" y="152309"/>
                        </a:lnTo>
                        <a:lnTo>
                          <a:pt x="93882" y="157276"/>
                        </a:lnTo>
                        <a:lnTo>
                          <a:pt x="97258" y="158785"/>
                        </a:lnTo>
                        <a:lnTo>
                          <a:pt x="97340" y="156398"/>
                        </a:lnTo>
                        <a:lnTo>
                          <a:pt x="99728" y="156041"/>
                        </a:lnTo>
                        <a:lnTo>
                          <a:pt x="99398" y="159800"/>
                        </a:lnTo>
                        <a:lnTo>
                          <a:pt x="101814" y="162297"/>
                        </a:lnTo>
                        <a:lnTo>
                          <a:pt x="100469" y="164136"/>
                        </a:lnTo>
                        <a:lnTo>
                          <a:pt x="91659" y="167210"/>
                        </a:lnTo>
                        <a:lnTo>
                          <a:pt x="90370" y="162929"/>
                        </a:lnTo>
                        <a:lnTo>
                          <a:pt x="80600" y="158373"/>
                        </a:lnTo>
                        <a:lnTo>
                          <a:pt x="80106" y="161392"/>
                        </a:lnTo>
                        <a:lnTo>
                          <a:pt x="84991" y="174976"/>
                        </a:lnTo>
                        <a:lnTo>
                          <a:pt x="87406" y="177638"/>
                        </a:lnTo>
                        <a:lnTo>
                          <a:pt x="89848" y="195723"/>
                        </a:lnTo>
                        <a:lnTo>
                          <a:pt x="78706" y="188121"/>
                        </a:lnTo>
                        <a:lnTo>
                          <a:pt x="75166" y="190509"/>
                        </a:lnTo>
                        <a:lnTo>
                          <a:pt x="71407" y="197507"/>
                        </a:lnTo>
                        <a:lnTo>
                          <a:pt x="66961" y="187161"/>
                        </a:lnTo>
                        <a:lnTo>
                          <a:pt x="61912" y="180657"/>
                        </a:lnTo>
                        <a:lnTo>
                          <a:pt x="57768" y="181453"/>
                        </a:lnTo>
                        <a:lnTo>
                          <a:pt x="54447" y="186749"/>
                        </a:lnTo>
                        <a:lnTo>
                          <a:pt x="50028" y="184170"/>
                        </a:lnTo>
                        <a:lnTo>
                          <a:pt x="46955" y="175525"/>
                        </a:lnTo>
                        <a:lnTo>
                          <a:pt x="49150" y="165399"/>
                        </a:lnTo>
                        <a:lnTo>
                          <a:pt x="45967" y="159773"/>
                        </a:lnTo>
                        <a:lnTo>
                          <a:pt x="35155" y="149043"/>
                        </a:lnTo>
                        <a:lnTo>
                          <a:pt x="32987" y="145667"/>
                        </a:lnTo>
                        <a:lnTo>
                          <a:pt x="39490" y="138477"/>
                        </a:lnTo>
                        <a:lnTo>
                          <a:pt x="40616" y="134827"/>
                        </a:lnTo>
                        <a:lnTo>
                          <a:pt x="47367" y="136419"/>
                        </a:lnTo>
                        <a:lnTo>
                          <a:pt x="54639" y="129915"/>
                        </a:lnTo>
                        <a:lnTo>
                          <a:pt x="69568" y="136968"/>
                        </a:lnTo>
                        <a:lnTo>
                          <a:pt x="71489" y="137297"/>
                        </a:lnTo>
                        <a:lnTo>
                          <a:pt x="84085" y="144185"/>
                        </a:lnTo>
                        <a:lnTo>
                          <a:pt x="86500" y="143252"/>
                        </a:lnTo>
                        <a:lnTo>
                          <a:pt x="85897" y="140014"/>
                        </a:lnTo>
                        <a:lnTo>
                          <a:pt x="91440" y="140014"/>
                        </a:lnTo>
                        <a:cubicBezTo>
                          <a:pt x="91440" y="140014"/>
                          <a:pt x="94130" y="137572"/>
                          <a:pt x="94130" y="137572"/>
                        </a:cubicBezTo>
                        <a:lnTo>
                          <a:pt x="91687" y="136007"/>
                        </a:lnTo>
                        <a:lnTo>
                          <a:pt x="82631" y="133510"/>
                        </a:lnTo>
                        <a:lnTo>
                          <a:pt x="76456" y="128872"/>
                        </a:lnTo>
                        <a:lnTo>
                          <a:pt x="75276" y="130820"/>
                        </a:lnTo>
                        <a:lnTo>
                          <a:pt x="71462" y="126292"/>
                        </a:lnTo>
                        <a:lnTo>
                          <a:pt x="69156" y="129009"/>
                        </a:lnTo>
                        <a:lnTo>
                          <a:pt x="63997" y="129696"/>
                        </a:lnTo>
                        <a:lnTo>
                          <a:pt x="58261" y="127363"/>
                        </a:lnTo>
                        <a:lnTo>
                          <a:pt x="54200" y="128268"/>
                        </a:lnTo>
                        <a:lnTo>
                          <a:pt x="34111" y="129805"/>
                        </a:lnTo>
                        <a:lnTo>
                          <a:pt x="30709" y="121545"/>
                        </a:lnTo>
                        <a:lnTo>
                          <a:pt x="21927" y="109881"/>
                        </a:lnTo>
                        <a:lnTo>
                          <a:pt x="25357" y="107247"/>
                        </a:lnTo>
                        <a:lnTo>
                          <a:pt x="31395" y="109086"/>
                        </a:lnTo>
                        <a:lnTo>
                          <a:pt x="32987" y="106204"/>
                        </a:lnTo>
                        <a:lnTo>
                          <a:pt x="32328" y="102966"/>
                        </a:lnTo>
                        <a:lnTo>
                          <a:pt x="24370" y="102774"/>
                        </a:lnTo>
                        <a:lnTo>
                          <a:pt x="21186" y="104805"/>
                        </a:lnTo>
                        <a:lnTo>
                          <a:pt x="13804" y="94294"/>
                        </a:lnTo>
                        <a:lnTo>
                          <a:pt x="13393" y="94376"/>
                        </a:lnTo>
                        <a:lnTo>
                          <a:pt x="8590" y="92730"/>
                        </a:lnTo>
                        <a:lnTo>
                          <a:pt x="4528" y="81149"/>
                        </a:lnTo>
                        <a:lnTo>
                          <a:pt x="0" y="78404"/>
                        </a:lnTo>
                        <a:lnTo>
                          <a:pt x="6449" y="79447"/>
                        </a:lnTo>
                        <a:lnTo>
                          <a:pt x="8617" y="76950"/>
                        </a:lnTo>
                        <a:lnTo>
                          <a:pt x="8617" y="73767"/>
                        </a:lnTo>
                        <a:cubicBezTo>
                          <a:pt x="8617" y="73767"/>
                          <a:pt x="11252" y="74672"/>
                          <a:pt x="11252" y="74672"/>
                        </a:cubicBezTo>
                        <a:lnTo>
                          <a:pt x="10209" y="67290"/>
                        </a:lnTo>
                        <a:lnTo>
                          <a:pt x="12980" y="64299"/>
                        </a:lnTo>
                        <a:lnTo>
                          <a:pt x="17783" y="63503"/>
                        </a:lnTo>
                        <a:lnTo>
                          <a:pt x="22668" y="53130"/>
                        </a:lnTo>
                        <a:lnTo>
                          <a:pt x="30818" y="42756"/>
                        </a:lnTo>
                        <a:lnTo>
                          <a:pt x="28595" y="33508"/>
                        </a:lnTo>
                        <a:lnTo>
                          <a:pt x="52334" y="30544"/>
                        </a:lnTo>
                        <a:lnTo>
                          <a:pt x="56533" y="23930"/>
                        </a:lnTo>
                        <a:lnTo>
                          <a:pt x="64957" y="21186"/>
                        </a:lnTo>
                        <a:lnTo>
                          <a:pt x="68360" y="23162"/>
                        </a:lnTo>
                        <a:lnTo>
                          <a:pt x="70089" y="22586"/>
                        </a:lnTo>
                        <a:lnTo>
                          <a:pt x="79887" y="21543"/>
                        </a:lnTo>
                        <a:lnTo>
                          <a:pt x="81451" y="15807"/>
                        </a:lnTo>
                        <a:lnTo>
                          <a:pt x="84470" y="14517"/>
                        </a:lnTo>
                        <a:lnTo>
                          <a:pt x="85897" y="14627"/>
                        </a:lnTo>
                        <a:lnTo>
                          <a:pt x="106396" y="13145"/>
                        </a:lnTo>
                        <a:lnTo>
                          <a:pt x="118280" y="9989"/>
                        </a:lnTo>
                        <a:lnTo>
                          <a:pt x="119185" y="7409"/>
                        </a:lnTo>
                        <a:lnTo>
                          <a:pt x="132632" y="6339"/>
                        </a:lnTo>
                        <a:lnTo>
                          <a:pt x="140480" y="13776"/>
                        </a:lnTo>
                        <a:lnTo>
                          <a:pt x="143966" y="12926"/>
                        </a:lnTo>
                        <a:lnTo>
                          <a:pt x="152116" y="15752"/>
                        </a:lnTo>
                        <a:lnTo>
                          <a:pt x="153433" y="17536"/>
                        </a:lnTo>
                        <a:lnTo>
                          <a:pt x="173494" y="15862"/>
                        </a:lnTo>
                        <a:lnTo>
                          <a:pt x="174757" y="15341"/>
                        </a:lnTo>
                        <a:lnTo>
                          <a:pt x="179477" y="13913"/>
                        </a:lnTo>
                        <a:lnTo>
                          <a:pt x="181124" y="11252"/>
                        </a:lnTo>
                        <a:lnTo>
                          <a:pt x="181371" y="6778"/>
                        </a:lnTo>
                        <a:lnTo>
                          <a:pt x="180163" y="3540"/>
                        </a:lnTo>
                        <a:lnTo>
                          <a:pt x="179504" y="1701"/>
                        </a:lnTo>
                        <a:lnTo>
                          <a:pt x="178901" y="137"/>
                        </a:lnTo>
                        <a:lnTo>
                          <a:pt x="186805" y="0"/>
                        </a:lnTo>
                        <a:lnTo>
                          <a:pt x="189329" y="1701"/>
                        </a:lnTo>
                        <a:lnTo>
                          <a:pt x="192101" y="3540"/>
                        </a:lnTo>
                        <a:lnTo>
                          <a:pt x="193281" y="4308"/>
                        </a:lnTo>
                        <a:lnTo>
                          <a:pt x="194543" y="1328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0" name="Freeform: Shape 3409">
                    <a:extLst>
                      <a:ext uri="{FF2B5EF4-FFF2-40B4-BE49-F238E27FC236}">
                        <a16:creationId xmlns:a16="http://schemas.microsoft.com/office/drawing/2014/main" id="{25E6827F-3452-A2C2-40CA-B6DE4C55D4D5}"/>
                      </a:ext>
                    </a:extLst>
                  </p:cNvPr>
                  <p:cNvSpPr/>
                  <p:nvPr/>
                </p:nvSpPr>
                <p:spPr>
                  <a:xfrm>
                    <a:off x="-5709214" y="3599558"/>
                    <a:ext cx="10620" cy="14435"/>
                  </a:xfrm>
                  <a:custGeom>
                    <a:avLst/>
                    <a:gdLst>
                      <a:gd name="connsiteX0" fmla="*/ 10620 w 10620"/>
                      <a:gd name="connsiteY0" fmla="*/ 13227 h 14435"/>
                      <a:gd name="connsiteX1" fmla="*/ 10099 w 10620"/>
                      <a:gd name="connsiteY1" fmla="*/ 14435 h 14435"/>
                      <a:gd name="connsiteX2" fmla="*/ 7464 w 10620"/>
                      <a:gd name="connsiteY2" fmla="*/ 13255 h 14435"/>
                      <a:gd name="connsiteX3" fmla="*/ 0 w 10620"/>
                      <a:gd name="connsiteY3" fmla="*/ 1619 h 14435"/>
                      <a:gd name="connsiteX4" fmla="*/ 1921 w 10620"/>
                      <a:gd name="connsiteY4" fmla="*/ 0 h 14435"/>
                      <a:gd name="connsiteX5" fmla="*/ 8370 w 10620"/>
                      <a:gd name="connsiteY5" fmla="*/ 439 h 14435"/>
                      <a:gd name="connsiteX6" fmla="*/ 6696 w 10620"/>
                      <a:gd name="connsiteY6" fmla="*/ 4116 h 14435"/>
                      <a:gd name="connsiteX7" fmla="*/ 8809 w 10620"/>
                      <a:gd name="connsiteY7" fmla="*/ 11361 h 14435"/>
                      <a:gd name="connsiteX8" fmla="*/ 10593 w 10620"/>
                      <a:gd name="connsiteY8" fmla="*/ 13227 h 1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20" h="14435">
                        <a:moveTo>
                          <a:pt x="10620" y="13227"/>
                        </a:moveTo>
                        <a:lnTo>
                          <a:pt x="10099" y="14435"/>
                        </a:lnTo>
                        <a:lnTo>
                          <a:pt x="7464" y="13255"/>
                        </a:lnTo>
                        <a:lnTo>
                          <a:pt x="0" y="1619"/>
                        </a:lnTo>
                        <a:lnTo>
                          <a:pt x="1921" y="0"/>
                        </a:lnTo>
                        <a:lnTo>
                          <a:pt x="8370" y="439"/>
                        </a:lnTo>
                        <a:lnTo>
                          <a:pt x="6696" y="4116"/>
                        </a:lnTo>
                        <a:lnTo>
                          <a:pt x="8809" y="11361"/>
                        </a:lnTo>
                        <a:lnTo>
                          <a:pt x="10593" y="132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1" name="Freeform: Shape 3410">
                    <a:extLst>
                      <a:ext uri="{FF2B5EF4-FFF2-40B4-BE49-F238E27FC236}">
                        <a16:creationId xmlns:a16="http://schemas.microsoft.com/office/drawing/2014/main" id="{8A9DC1BF-C8FB-F21A-37FB-9980EE13EBCA}"/>
                      </a:ext>
                    </a:extLst>
                  </p:cNvPr>
                  <p:cNvSpPr/>
                  <p:nvPr/>
                </p:nvSpPr>
                <p:spPr>
                  <a:xfrm>
                    <a:off x="-5601336" y="3585370"/>
                    <a:ext cx="10977" cy="9632"/>
                  </a:xfrm>
                  <a:custGeom>
                    <a:avLst/>
                    <a:gdLst>
                      <a:gd name="connsiteX0" fmla="*/ 10950 w 10977"/>
                      <a:gd name="connsiteY0" fmla="*/ 7492 h 9632"/>
                      <a:gd name="connsiteX1" fmla="*/ 10840 w 10977"/>
                      <a:gd name="connsiteY1" fmla="*/ 9633 h 9632"/>
                      <a:gd name="connsiteX2" fmla="*/ 8534 w 10977"/>
                      <a:gd name="connsiteY2" fmla="*/ 9441 h 9632"/>
                      <a:gd name="connsiteX3" fmla="*/ 4638 w 10977"/>
                      <a:gd name="connsiteY3" fmla="*/ 7602 h 9632"/>
                      <a:gd name="connsiteX4" fmla="*/ 1564 w 10977"/>
                      <a:gd name="connsiteY4" fmla="*/ 8041 h 9632"/>
                      <a:gd name="connsiteX5" fmla="*/ 2196 w 10977"/>
                      <a:gd name="connsiteY5" fmla="*/ 6367 h 9632"/>
                      <a:gd name="connsiteX6" fmla="*/ 0 w 10977"/>
                      <a:gd name="connsiteY6" fmla="*/ 2525 h 9632"/>
                      <a:gd name="connsiteX7" fmla="*/ 604 w 10977"/>
                      <a:gd name="connsiteY7" fmla="*/ 0 h 9632"/>
                      <a:gd name="connsiteX8" fmla="*/ 2689 w 10977"/>
                      <a:gd name="connsiteY8" fmla="*/ 1098 h 9632"/>
                      <a:gd name="connsiteX9" fmla="*/ 5516 w 10977"/>
                      <a:gd name="connsiteY9" fmla="*/ 5077 h 9632"/>
                      <a:gd name="connsiteX10" fmla="*/ 10977 w 10977"/>
                      <a:gd name="connsiteY10" fmla="*/ 7492 h 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77" h="9632">
                        <a:moveTo>
                          <a:pt x="10950" y="7492"/>
                        </a:moveTo>
                        <a:lnTo>
                          <a:pt x="10840" y="9633"/>
                        </a:lnTo>
                        <a:lnTo>
                          <a:pt x="8534" y="9441"/>
                        </a:lnTo>
                        <a:lnTo>
                          <a:pt x="4638" y="7602"/>
                        </a:lnTo>
                        <a:lnTo>
                          <a:pt x="1564" y="8041"/>
                        </a:lnTo>
                        <a:lnTo>
                          <a:pt x="2196" y="6367"/>
                        </a:lnTo>
                        <a:lnTo>
                          <a:pt x="0" y="2525"/>
                        </a:lnTo>
                        <a:lnTo>
                          <a:pt x="604" y="0"/>
                        </a:lnTo>
                        <a:lnTo>
                          <a:pt x="2689" y="1098"/>
                        </a:lnTo>
                        <a:lnTo>
                          <a:pt x="5516" y="5077"/>
                        </a:lnTo>
                        <a:lnTo>
                          <a:pt x="10977" y="749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2" name="Freeform: Shape 3411">
                    <a:extLst>
                      <a:ext uri="{FF2B5EF4-FFF2-40B4-BE49-F238E27FC236}">
                        <a16:creationId xmlns:a16="http://schemas.microsoft.com/office/drawing/2014/main" id="{E6FAC847-7AE1-9DFD-7B6F-4831E7EBA449}"/>
                      </a:ext>
                    </a:extLst>
                  </p:cNvPr>
                  <p:cNvSpPr/>
                  <p:nvPr/>
                </p:nvSpPr>
                <p:spPr>
                  <a:xfrm>
                    <a:off x="-5614481" y="3633148"/>
                    <a:ext cx="4747" cy="3732"/>
                  </a:xfrm>
                  <a:custGeom>
                    <a:avLst/>
                    <a:gdLst>
                      <a:gd name="connsiteX0" fmla="*/ 4748 w 4747"/>
                      <a:gd name="connsiteY0" fmla="*/ 1756 h 3732"/>
                      <a:gd name="connsiteX1" fmla="*/ 2964 w 4747"/>
                      <a:gd name="connsiteY1" fmla="*/ 3732 h 3732"/>
                      <a:gd name="connsiteX2" fmla="*/ 0 w 4747"/>
                      <a:gd name="connsiteY2" fmla="*/ 2086 h 3732"/>
                      <a:gd name="connsiteX3" fmla="*/ 1921 w 4747"/>
                      <a:gd name="connsiteY3" fmla="*/ 0 h 3732"/>
                      <a:gd name="connsiteX4" fmla="*/ 4720 w 4747"/>
                      <a:gd name="connsiteY4" fmla="*/ 1756 h 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7" h="3732">
                        <a:moveTo>
                          <a:pt x="4748" y="1756"/>
                        </a:moveTo>
                        <a:lnTo>
                          <a:pt x="2964" y="3732"/>
                        </a:lnTo>
                        <a:lnTo>
                          <a:pt x="0" y="2086"/>
                        </a:lnTo>
                        <a:lnTo>
                          <a:pt x="1921" y="0"/>
                        </a:lnTo>
                        <a:lnTo>
                          <a:pt x="4720" y="175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3" name="Freeform: Shape 3412">
                    <a:extLst>
                      <a:ext uri="{FF2B5EF4-FFF2-40B4-BE49-F238E27FC236}">
                        <a16:creationId xmlns:a16="http://schemas.microsoft.com/office/drawing/2014/main" id="{5FC6B3B7-4101-D6EC-FD9D-91A42B696952}"/>
                      </a:ext>
                    </a:extLst>
                  </p:cNvPr>
                  <p:cNvSpPr/>
                  <p:nvPr/>
                </p:nvSpPr>
                <p:spPr>
                  <a:xfrm>
                    <a:off x="-5591895" y="3623351"/>
                    <a:ext cx="4555" cy="3759"/>
                  </a:xfrm>
                  <a:custGeom>
                    <a:avLst/>
                    <a:gdLst>
                      <a:gd name="connsiteX0" fmla="*/ 4555 w 4555"/>
                      <a:gd name="connsiteY0" fmla="*/ 1647 h 3759"/>
                      <a:gd name="connsiteX1" fmla="*/ 3101 w 4555"/>
                      <a:gd name="connsiteY1" fmla="*/ 3760 h 3759"/>
                      <a:gd name="connsiteX2" fmla="*/ 961 w 4555"/>
                      <a:gd name="connsiteY2" fmla="*/ 3266 h 3759"/>
                      <a:gd name="connsiteX3" fmla="*/ 0 w 4555"/>
                      <a:gd name="connsiteY3" fmla="*/ 714 h 3759"/>
                      <a:gd name="connsiteX4" fmla="*/ 659 w 4555"/>
                      <a:gd name="connsiteY4" fmla="*/ 0 h 3759"/>
                      <a:gd name="connsiteX5" fmla="*/ 4555 w 4555"/>
                      <a:gd name="connsiteY5" fmla="*/ 1647 h 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 h="3759">
                        <a:moveTo>
                          <a:pt x="4555" y="1647"/>
                        </a:moveTo>
                        <a:lnTo>
                          <a:pt x="3101" y="3760"/>
                        </a:lnTo>
                        <a:lnTo>
                          <a:pt x="961" y="3266"/>
                        </a:lnTo>
                        <a:lnTo>
                          <a:pt x="0" y="714"/>
                        </a:lnTo>
                        <a:lnTo>
                          <a:pt x="659" y="0"/>
                        </a:lnTo>
                        <a:lnTo>
                          <a:pt x="4555" y="164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4" name="Freeform: Shape 3413">
                    <a:extLst>
                      <a:ext uri="{FF2B5EF4-FFF2-40B4-BE49-F238E27FC236}">
                        <a16:creationId xmlns:a16="http://schemas.microsoft.com/office/drawing/2014/main" id="{C112AF7C-E15B-C985-3CC6-5C79A417BFC8}"/>
                      </a:ext>
                    </a:extLst>
                  </p:cNvPr>
                  <p:cNvSpPr/>
                  <p:nvPr/>
                </p:nvSpPr>
                <p:spPr>
                  <a:xfrm>
                    <a:off x="-5598070" y="3621841"/>
                    <a:ext cx="3293" cy="4308"/>
                  </a:xfrm>
                  <a:custGeom>
                    <a:avLst/>
                    <a:gdLst>
                      <a:gd name="connsiteX0" fmla="*/ 3266 w 3293"/>
                      <a:gd name="connsiteY0" fmla="*/ 576 h 4308"/>
                      <a:gd name="connsiteX1" fmla="*/ 2168 w 3293"/>
                      <a:gd name="connsiteY1" fmla="*/ 4308 h 4308"/>
                      <a:gd name="connsiteX2" fmla="*/ 0 w 3293"/>
                      <a:gd name="connsiteY2" fmla="*/ 2717 h 4308"/>
                      <a:gd name="connsiteX3" fmla="*/ 329 w 3293"/>
                      <a:gd name="connsiteY3" fmla="*/ 0 h 4308"/>
                      <a:gd name="connsiteX4" fmla="*/ 3293 w 3293"/>
                      <a:gd name="connsiteY4" fmla="*/ 576 h 4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 h="4308">
                        <a:moveTo>
                          <a:pt x="3266" y="576"/>
                        </a:moveTo>
                        <a:lnTo>
                          <a:pt x="2168" y="4308"/>
                        </a:lnTo>
                        <a:lnTo>
                          <a:pt x="0" y="2717"/>
                        </a:lnTo>
                        <a:lnTo>
                          <a:pt x="329" y="0"/>
                        </a:lnTo>
                        <a:lnTo>
                          <a:pt x="3293" y="57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5" name="Freeform: Shape 3414">
                    <a:extLst>
                      <a:ext uri="{FF2B5EF4-FFF2-40B4-BE49-F238E27FC236}">
                        <a16:creationId xmlns:a16="http://schemas.microsoft.com/office/drawing/2014/main" id="{609662A9-A297-B152-BE23-55CF8F31918A}"/>
                      </a:ext>
                    </a:extLst>
                  </p:cNvPr>
                  <p:cNvSpPr/>
                  <p:nvPr/>
                </p:nvSpPr>
                <p:spPr>
                  <a:xfrm>
                    <a:off x="-5609267" y="3622802"/>
                    <a:ext cx="3101" cy="4308"/>
                  </a:xfrm>
                  <a:custGeom>
                    <a:avLst/>
                    <a:gdLst>
                      <a:gd name="connsiteX0" fmla="*/ 2305 w 3101"/>
                      <a:gd name="connsiteY0" fmla="*/ 384 h 4308"/>
                      <a:gd name="connsiteX1" fmla="*/ 3101 w 3101"/>
                      <a:gd name="connsiteY1" fmla="*/ 4308 h 4308"/>
                      <a:gd name="connsiteX2" fmla="*/ 0 w 3101"/>
                      <a:gd name="connsiteY2" fmla="*/ 3842 h 4308"/>
                      <a:gd name="connsiteX3" fmla="*/ 768 w 3101"/>
                      <a:gd name="connsiteY3" fmla="*/ 0 h 4308"/>
                      <a:gd name="connsiteX4" fmla="*/ 2305 w 3101"/>
                      <a:gd name="connsiteY4" fmla="*/ 384 h 4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1" h="4308">
                        <a:moveTo>
                          <a:pt x="2305" y="384"/>
                        </a:moveTo>
                        <a:lnTo>
                          <a:pt x="3101" y="4308"/>
                        </a:lnTo>
                        <a:lnTo>
                          <a:pt x="0" y="3842"/>
                        </a:lnTo>
                        <a:lnTo>
                          <a:pt x="768" y="0"/>
                        </a:lnTo>
                        <a:lnTo>
                          <a:pt x="2305" y="38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6" name="Freeform: Shape 3415">
                    <a:extLst>
                      <a:ext uri="{FF2B5EF4-FFF2-40B4-BE49-F238E27FC236}">
                        <a16:creationId xmlns:a16="http://schemas.microsoft.com/office/drawing/2014/main" id="{EDCCD17D-3F08-CE7A-8864-D7A17C8E6B80}"/>
                      </a:ext>
                    </a:extLst>
                  </p:cNvPr>
                  <p:cNvSpPr/>
                  <p:nvPr/>
                </p:nvSpPr>
                <p:spPr>
                  <a:xfrm>
                    <a:off x="-6558739" y="3444203"/>
                    <a:ext cx="368476" cy="296246"/>
                  </a:xfrm>
                  <a:custGeom>
                    <a:avLst/>
                    <a:gdLst>
                      <a:gd name="connsiteX0" fmla="*/ 58426 w 368476"/>
                      <a:gd name="connsiteY0" fmla="*/ 6147 h 296246"/>
                      <a:gd name="connsiteX1" fmla="*/ 65150 w 368476"/>
                      <a:gd name="connsiteY1" fmla="*/ 7766 h 296246"/>
                      <a:gd name="connsiteX2" fmla="*/ 86885 w 368476"/>
                      <a:gd name="connsiteY2" fmla="*/ 6723 h 296246"/>
                      <a:gd name="connsiteX3" fmla="*/ 100112 w 368476"/>
                      <a:gd name="connsiteY3" fmla="*/ 3815 h 296246"/>
                      <a:gd name="connsiteX4" fmla="*/ 105491 w 368476"/>
                      <a:gd name="connsiteY4" fmla="*/ 7519 h 296246"/>
                      <a:gd name="connsiteX5" fmla="*/ 113532 w 368476"/>
                      <a:gd name="connsiteY5" fmla="*/ 7519 h 296246"/>
                      <a:gd name="connsiteX6" fmla="*/ 119569 w 368476"/>
                      <a:gd name="connsiteY6" fmla="*/ 10593 h 296246"/>
                      <a:gd name="connsiteX7" fmla="*/ 139219 w 368476"/>
                      <a:gd name="connsiteY7" fmla="*/ 13859 h 296246"/>
                      <a:gd name="connsiteX8" fmla="*/ 158374 w 368476"/>
                      <a:gd name="connsiteY8" fmla="*/ 10264 h 296246"/>
                      <a:gd name="connsiteX9" fmla="*/ 160487 w 368476"/>
                      <a:gd name="connsiteY9" fmla="*/ 12048 h 296246"/>
                      <a:gd name="connsiteX10" fmla="*/ 166359 w 368476"/>
                      <a:gd name="connsiteY10" fmla="*/ 9413 h 296246"/>
                      <a:gd name="connsiteX11" fmla="*/ 179175 w 368476"/>
                      <a:gd name="connsiteY11" fmla="*/ 15478 h 296246"/>
                      <a:gd name="connsiteX12" fmla="*/ 190729 w 368476"/>
                      <a:gd name="connsiteY12" fmla="*/ 11910 h 296246"/>
                      <a:gd name="connsiteX13" fmla="*/ 195943 w 368476"/>
                      <a:gd name="connsiteY13" fmla="*/ 14380 h 296246"/>
                      <a:gd name="connsiteX14" fmla="*/ 198001 w 368476"/>
                      <a:gd name="connsiteY14" fmla="*/ 15368 h 296246"/>
                      <a:gd name="connsiteX15" fmla="*/ 200992 w 368476"/>
                      <a:gd name="connsiteY15" fmla="*/ 16795 h 296246"/>
                      <a:gd name="connsiteX16" fmla="*/ 208018 w 368476"/>
                      <a:gd name="connsiteY16" fmla="*/ 17920 h 296246"/>
                      <a:gd name="connsiteX17" fmla="*/ 210350 w 368476"/>
                      <a:gd name="connsiteY17" fmla="*/ 17426 h 296246"/>
                      <a:gd name="connsiteX18" fmla="*/ 219434 w 368476"/>
                      <a:gd name="connsiteY18" fmla="*/ 15587 h 296246"/>
                      <a:gd name="connsiteX19" fmla="*/ 221108 w 368476"/>
                      <a:gd name="connsiteY19" fmla="*/ 17783 h 296246"/>
                      <a:gd name="connsiteX20" fmla="*/ 231098 w 368476"/>
                      <a:gd name="connsiteY20" fmla="*/ 19347 h 296246"/>
                      <a:gd name="connsiteX21" fmla="*/ 231098 w 368476"/>
                      <a:gd name="connsiteY21" fmla="*/ 22229 h 296246"/>
                      <a:gd name="connsiteX22" fmla="*/ 230247 w 368476"/>
                      <a:gd name="connsiteY22" fmla="*/ 24644 h 296246"/>
                      <a:gd name="connsiteX23" fmla="*/ 228765 w 368476"/>
                      <a:gd name="connsiteY23" fmla="*/ 26428 h 296246"/>
                      <a:gd name="connsiteX24" fmla="*/ 229616 w 368476"/>
                      <a:gd name="connsiteY24" fmla="*/ 27827 h 296246"/>
                      <a:gd name="connsiteX25" fmla="*/ 231098 w 368476"/>
                      <a:gd name="connsiteY25" fmla="*/ 28348 h 296246"/>
                      <a:gd name="connsiteX26" fmla="*/ 233430 w 368476"/>
                      <a:gd name="connsiteY26" fmla="*/ 26674 h 296246"/>
                      <a:gd name="connsiteX27" fmla="*/ 238891 w 368476"/>
                      <a:gd name="connsiteY27" fmla="*/ 28650 h 296246"/>
                      <a:gd name="connsiteX28" fmla="*/ 250664 w 368476"/>
                      <a:gd name="connsiteY28" fmla="*/ 32959 h 296246"/>
                      <a:gd name="connsiteX29" fmla="*/ 251652 w 368476"/>
                      <a:gd name="connsiteY29" fmla="*/ 33837 h 296246"/>
                      <a:gd name="connsiteX30" fmla="*/ 255220 w 368476"/>
                      <a:gd name="connsiteY30" fmla="*/ 37075 h 296246"/>
                      <a:gd name="connsiteX31" fmla="*/ 262739 w 368476"/>
                      <a:gd name="connsiteY31" fmla="*/ 35758 h 296246"/>
                      <a:gd name="connsiteX32" fmla="*/ 271603 w 368476"/>
                      <a:gd name="connsiteY32" fmla="*/ 41768 h 296246"/>
                      <a:gd name="connsiteX33" fmla="*/ 279671 w 368476"/>
                      <a:gd name="connsiteY33" fmla="*/ 41768 h 296246"/>
                      <a:gd name="connsiteX34" fmla="*/ 286011 w 368476"/>
                      <a:gd name="connsiteY34" fmla="*/ 41768 h 296246"/>
                      <a:gd name="connsiteX35" fmla="*/ 291390 w 368476"/>
                      <a:gd name="connsiteY35" fmla="*/ 42152 h 296246"/>
                      <a:gd name="connsiteX36" fmla="*/ 291692 w 368476"/>
                      <a:gd name="connsiteY36" fmla="*/ 37707 h 296246"/>
                      <a:gd name="connsiteX37" fmla="*/ 293009 w 368476"/>
                      <a:gd name="connsiteY37" fmla="*/ 35648 h 296246"/>
                      <a:gd name="connsiteX38" fmla="*/ 297235 w 368476"/>
                      <a:gd name="connsiteY38" fmla="*/ 36773 h 296246"/>
                      <a:gd name="connsiteX39" fmla="*/ 298662 w 368476"/>
                      <a:gd name="connsiteY39" fmla="*/ 37267 h 296246"/>
                      <a:gd name="connsiteX40" fmla="*/ 310902 w 368476"/>
                      <a:gd name="connsiteY40" fmla="*/ 41384 h 296246"/>
                      <a:gd name="connsiteX41" fmla="*/ 313481 w 368476"/>
                      <a:gd name="connsiteY41" fmla="*/ 44512 h 296246"/>
                      <a:gd name="connsiteX42" fmla="*/ 314414 w 368476"/>
                      <a:gd name="connsiteY42" fmla="*/ 45665 h 296246"/>
                      <a:gd name="connsiteX43" fmla="*/ 315183 w 368476"/>
                      <a:gd name="connsiteY43" fmla="*/ 52032 h 296246"/>
                      <a:gd name="connsiteX44" fmla="*/ 322757 w 368476"/>
                      <a:gd name="connsiteY44" fmla="*/ 49644 h 296246"/>
                      <a:gd name="connsiteX45" fmla="*/ 322894 w 368476"/>
                      <a:gd name="connsiteY45" fmla="*/ 50111 h 296246"/>
                      <a:gd name="connsiteX46" fmla="*/ 328355 w 368476"/>
                      <a:gd name="connsiteY46" fmla="*/ 51675 h 296246"/>
                      <a:gd name="connsiteX47" fmla="*/ 330386 w 368476"/>
                      <a:gd name="connsiteY47" fmla="*/ 53788 h 296246"/>
                      <a:gd name="connsiteX48" fmla="*/ 331868 w 368476"/>
                      <a:gd name="connsiteY48" fmla="*/ 55325 h 296246"/>
                      <a:gd name="connsiteX49" fmla="*/ 335052 w 368476"/>
                      <a:gd name="connsiteY49" fmla="*/ 53788 h 296246"/>
                      <a:gd name="connsiteX50" fmla="*/ 337713 w 368476"/>
                      <a:gd name="connsiteY50" fmla="*/ 52526 h 296246"/>
                      <a:gd name="connsiteX51" fmla="*/ 339525 w 368476"/>
                      <a:gd name="connsiteY51" fmla="*/ 53212 h 296246"/>
                      <a:gd name="connsiteX52" fmla="*/ 341061 w 368476"/>
                      <a:gd name="connsiteY52" fmla="*/ 53788 h 296246"/>
                      <a:gd name="connsiteX53" fmla="*/ 347099 w 368476"/>
                      <a:gd name="connsiteY53" fmla="*/ 56093 h 296246"/>
                      <a:gd name="connsiteX54" fmla="*/ 351847 w 368476"/>
                      <a:gd name="connsiteY54" fmla="*/ 53788 h 296246"/>
                      <a:gd name="connsiteX55" fmla="*/ 356814 w 368476"/>
                      <a:gd name="connsiteY55" fmla="*/ 51401 h 296246"/>
                      <a:gd name="connsiteX56" fmla="*/ 365376 w 368476"/>
                      <a:gd name="connsiteY56" fmla="*/ 52389 h 296246"/>
                      <a:gd name="connsiteX57" fmla="*/ 366144 w 368476"/>
                      <a:gd name="connsiteY57" fmla="*/ 53788 h 296246"/>
                      <a:gd name="connsiteX58" fmla="*/ 368477 w 368476"/>
                      <a:gd name="connsiteY58" fmla="*/ 58069 h 296246"/>
                      <a:gd name="connsiteX59" fmla="*/ 364800 w 368476"/>
                      <a:gd name="connsiteY59" fmla="*/ 61006 h 296246"/>
                      <a:gd name="connsiteX60" fmla="*/ 363894 w 368476"/>
                      <a:gd name="connsiteY60" fmla="*/ 61747 h 296246"/>
                      <a:gd name="connsiteX61" fmla="*/ 365815 w 368476"/>
                      <a:gd name="connsiteY61" fmla="*/ 70309 h 296246"/>
                      <a:gd name="connsiteX62" fmla="*/ 366391 w 368476"/>
                      <a:gd name="connsiteY62" fmla="*/ 72833 h 296246"/>
                      <a:gd name="connsiteX63" fmla="*/ 354646 w 368476"/>
                      <a:gd name="connsiteY63" fmla="*/ 82795 h 296246"/>
                      <a:gd name="connsiteX64" fmla="*/ 353740 w 368476"/>
                      <a:gd name="connsiteY64" fmla="*/ 83564 h 296246"/>
                      <a:gd name="connsiteX65" fmla="*/ 351627 w 368476"/>
                      <a:gd name="connsiteY65" fmla="*/ 84634 h 296246"/>
                      <a:gd name="connsiteX66" fmla="*/ 339552 w 368476"/>
                      <a:gd name="connsiteY66" fmla="*/ 90754 h 296246"/>
                      <a:gd name="connsiteX67" fmla="*/ 333295 w 368476"/>
                      <a:gd name="connsiteY67" fmla="*/ 97478 h 296246"/>
                      <a:gd name="connsiteX68" fmla="*/ 320397 w 368476"/>
                      <a:gd name="connsiteY68" fmla="*/ 101347 h 296246"/>
                      <a:gd name="connsiteX69" fmla="*/ 300775 w 368476"/>
                      <a:gd name="connsiteY69" fmla="*/ 107823 h 296246"/>
                      <a:gd name="connsiteX70" fmla="*/ 298690 w 368476"/>
                      <a:gd name="connsiteY70" fmla="*/ 110238 h 296246"/>
                      <a:gd name="connsiteX71" fmla="*/ 293366 w 368476"/>
                      <a:gd name="connsiteY71" fmla="*/ 116276 h 296246"/>
                      <a:gd name="connsiteX72" fmla="*/ 296604 w 368476"/>
                      <a:gd name="connsiteY72" fmla="*/ 121270 h 296246"/>
                      <a:gd name="connsiteX73" fmla="*/ 289935 w 368476"/>
                      <a:gd name="connsiteY73" fmla="*/ 124015 h 296246"/>
                      <a:gd name="connsiteX74" fmla="*/ 287136 w 368476"/>
                      <a:gd name="connsiteY74" fmla="*/ 127500 h 296246"/>
                      <a:gd name="connsiteX75" fmla="*/ 279699 w 368476"/>
                      <a:gd name="connsiteY75" fmla="*/ 138532 h 296246"/>
                      <a:gd name="connsiteX76" fmla="*/ 272070 w 368476"/>
                      <a:gd name="connsiteY76" fmla="*/ 149756 h 296246"/>
                      <a:gd name="connsiteX77" fmla="*/ 266444 w 368476"/>
                      <a:gd name="connsiteY77" fmla="*/ 158318 h 296246"/>
                      <a:gd name="connsiteX78" fmla="*/ 262383 w 368476"/>
                      <a:gd name="connsiteY78" fmla="*/ 170037 h 296246"/>
                      <a:gd name="connsiteX79" fmla="*/ 266005 w 368476"/>
                      <a:gd name="connsiteY79" fmla="*/ 182715 h 296246"/>
                      <a:gd name="connsiteX80" fmla="*/ 270862 w 368476"/>
                      <a:gd name="connsiteY80" fmla="*/ 190070 h 296246"/>
                      <a:gd name="connsiteX81" fmla="*/ 276214 w 368476"/>
                      <a:gd name="connsiteY81" fmla="*/ 192238 h 296246"/>
                      <a:gd name="connsiteX82" fmla="*/ 277833 w 368476"/>
                      <a:gd name="connsiteY82" fmla="*/ 194955 h 296246"/>
                      <a:gd name="connsiteX83" fmla="*/ 270423 w 368476"/>
                      <a:gd name="connsiteY83" fmla="*/ 201129 h 296246"/>
                      <a:gd name="connsiteX84" fmla="*/ 257498 w 368476"/>
                      <a:gd name="connsiteY84" fmla="*/ 211448 h 296246"/>
                      <a:gd name="connsiteX85" fmla="*/ 249594 w 368476"/>
                      <a:gd name="connsiteY85" fmla="*/ 229094 h 296246"/>
                      <a:gd name="connsiteX86" fmla="*/ 247262 w 368476"/>
                      <a:gd name="connsiteY86" fmla="*/ 233704 h 296246"/>
                      <a:gd name="connsiteX87" fmla="*/ 250253 w 368476"/>
                      <a:gd name="connsiteY87" fmla="*/ 235900 h 296246"/>
                      <a:gd name="connsiteX88" fmla="*/ 249649 w 368476"/>
                      <a:gd name="connsiteY88" fmla="*/ 238260 h 296246"/>
                      <a:gd name="connsiteX89" fmla="*/ 238919 w 368476"/>
                      <a:gd name="connsiteY89" fmla="*/ 239165 h 296246"/>
                      <a:gd name="connsiteX90" fmla="*/ 233320 w 368476"/>
                      <a:gd name="connsiteY90" fmla="*/ 239659 h 296246"/>
                      <a:gd name="connsiteX91" fmla="*/ 224099 w 368476"/>
                      <a:gd name="connsiteY91" fmla="*/ 246603 h 296246"/>
                      <a:gd name="connsiteX92" fmla="*/ 218611 w 368476"/>
                      <a:gd name="connsiteY92" fmla="*/ 253436 h 296246"/>
                      <a:gd name="connsiteX93" fmla="*/ 215839 w 368476"/>
                      <a:gd name="connsiteY93" fmla="*/ 262410 h 296246"/>
                      <a:gd name="connsiteX94" fmla="*/ 210405 w 368476"/>
                      <a:gd name="connsiteY94" fmla="*/ 268502 h 296246"/>
                      <a:gd name="connsiteX95" fmla="*/ 209006 w 368476"/>
                      <a:gd name="connsiteY95" fmla="*/ 270094 h 296246"/>
                      <a:gd name="connsiteX96" fmla="*/ 202529 w 368476"/>
                      <a:gd name="connsiteY96" fmla="*/ 266746 h 296246"/>
                      <a:gd name="connsiteX97" fmla="*/ 198056 w 368476"/>
                      <a:gd name="connsiteY97" fmla="*/ 267102 h 296246"/>
                      <a:gd name="connsiteX98" fmla="*/ 195998 w 368476"/>
                      <a:gd name="connsiteY98" fmla="*/ 268420 h 296246"/>
                      <a:gd name="connsiteX99" fmla="*/ 191085 w 368476"/>
                      <a:gd name="connsiteY99" fmla="*/ 271603 h 296246"/>
                      <a:gd name="connsiteX100" fmla="*/ 179971 w 368476"/>
                      <a:gd name="connsiteY100" fmla="*/ 269627 h 296246"/>
                      <a:gd name="connsiteX101" fmla="*/ 170805 w 368476"/>
                      <a:gd name="connsiteY101" fmla="*/ 271438 h 296246"/>
                      <a:gd name="connsiteX102" fmla="*/ 160898 w 368476"/>
                      <a:gd name="connsiteY102" fmla="*/ 270094 h 296246"/>
                      <a:gd name="connsiteX103" fmla="*/ 142703 w 368476"/>
                      <a:gd name="connsiteY103" fmla="*/ 271109 h 296246"/>
                      <a:gd name="connsiteX104" fmla="*/ 135075 w 368476"/>
                      <a:gd name="connsiteY104" fmla="*/ 278436 h 296246"/>
                      <a:gd name="connsiteX105" fmla="*/ 126512 w 368476"/>
                      <a:gd name="connsiteY105" fmla="*/ 279260 h 296246"/>
                      <a:gd name="connsiteX106" fmla="*/ 120283 w 368476"/>
                      <a:gd name="connsiteY106" fmla="*/ 281949 h 296246"/>
                      <a:gd name="connsiteX107" fmla="*/ 117511 w 368476"/>
                      <a:gd name="connsiteY107" fmla="*/ 285709 h 296246"/>
                      <a:gd name="connsiteX108" fmla="*/ 114931 w 368476"/>
                      <a:gd name="connsiteY108" fmla="*/ 291527 h 296246"/>
                      <a:gd name="connsiteX109" fmla="*/ 114794 w 368476"/>
                      <a:gd name="connsiteY109" fmla="*/ 291527 h 296246"/>
                      <a:gd name="connsiteX110" fmla="*/ 114574 w 368476"/>
                      <a:gd name="connsiteY110" fmla="*/ 291527 h 296246"/>
                      <a:gd name="connsiteX111" fmla="*/ 107302 w 368476"/>
                      <a:gd name="connsiteY111" fmla="*/ 296247 h 296246"/>
                      <a:gd name="connsiteX112" fmla="*/ 94733 w 368476"/>
                      <a:gd name="connsiteY112" fmla="*/ 290045 h 296246"/>
                      <a:gd name="connsiteX113" fmla="*/ 89409 w 368476"/>
                      <a:gd name="connsiteY113" fmla="*/ 282608 h 296246"/>
                      <a:gd name="connsiteX114" fmla="*/ 88339 w 368476"/>
                      <a:gd name="connsiteY114" fmla="*/ 276131 h 296246"/>
                      <a:gd name="connsiteX115" fmla="*/ 85348 w 368476"/>
                      <a:gd name="connsiteY115" fmla="*/ 274237 h 296246"/>
                      <a:gd name="connsiteX116" fmla="*/ 83948 w 368476"/>
                      <a:gd name="connsiteY116" fmla="*/ 273579 h 296246"/>
                      <a:gd name="connsiteX117" fmla="*/ 82768 w 368476"/>
                      <a:gd name="connsiteY117" fmla="*/ 270450 h 296246"/>
                      <a:gd name="connsiteX118" fmla="*/ 85320 w 368476"/>
                      <a:gd name="connsiteY118" fmla="*/ 267898 h 296246"/>
                      <a:gd name="connsiteX119" fmla="*/ 79530 w 368476"/>
                      <a:gd name="connsiteY119" fmla="*/ 261065 h 296246"/>
                      <a:gd name="connsiteX120" fmla="*/ 66165 w 368476"/>
                      <a:gd name="connsiteY120" fmla="*/ 253518 h 296246"/>
                      <a:gd name="connsiteX121" fmla="*/ 64711 w 368476"/>
                      <a:gd name="connsiteY121" fmla="*/ 252914 h 296246"/>
                      <a:gd name="connsiteX122" fmla="*/ 61939 w 368476"/>
                      <a:gd name="connsiteY122" fmla="*/ 252914 h 296246"/>
                      <a:gd name="connsiteX123" fmla="*/ 56286 w 368476"/>
                      <a:gd name="connsiteY123" fmla="*/ 253518 h 296246"/>
                      <a:gd name="connsiteX124" fmla="*/ 54255 w 368476"/>
                      <a:gd name="connsiteY124" fmla="*/ 254067 h 296246"/>
                      <a:gd name="connsiteX125" fmla="*/ 51017 w 368476"/>
                      <a:gd name="connsiteY125" fmla="*/ 241086 h 296246"/>
                      <a:gd name="connsiteX126" fmla="*/ 59140 w 368476"/>
                      <a:gd name="connsiteY126" fmla="*/ 224785 h 296246"/>
                      <a:gd name="connsiteX127" fmla="*/ 65726 w 368476"/>
                      <a:gd name="connsiteY127" fmla="*/ 221959 h 296246"/>
                      <a:gd name="connsiteX128" fmla="*/ 68086 w 368476"/>
                      <a:gd name="connsiteY128" fmla="*/ 215647 h 296246"/>
                      <a:gd name="connsiteX129" fmla="*/ 62899 w 368476"/>
                      <a:gd name="connsiteY129" fmla="*/ 216388 h 296246"/>
                      <a:gd name="connsiteX130" fmla="*/ 57027 w 368476"/>
                      <a:gd name="connsiteY130" fmla="*/ 206261 h 296246"/>
                      <a:gd name="connsiteX131" fmla="*/ 60100 w 368476"/>
                      <a:gd name="connsiteY131" fmla="*/ 195257 h 296246"/>
                      <a:gd name="connsiteX132" fmla="*/ 64080 w 368476"/>
                      <a:gd name="connsiteY132" fmla="*/ 191662 h 296246"/>
                      <a:gd name="connsiteX133" fmla="*/ 67043 w 368476"/>
                      <a:gd name="connsiteY133" fmla="*/ 184636 h 296246"/>
                      <a:gd name="connsiteX134" fmla="*/ 62378 w 368476"/>
                      <a:gd name="connsiteY134" fmla="*/ 181206 h 296246"/>
                      <a:gd name="connsiteX135" fmla="*/ 59305 w 368476"/>
                      <a:gd name="connsiteY135" fmla="*/ 175306 h 296246"/>
                      <a:gd name="connsiteX136" fmla="*/ 56862 w 368476"/>
                      <a:gd name="connsiteY136" fmla="*/ 168555 h 296246"/>
                      <a:gd name="connsiteX137" fmla="*/ 50138 w 368476"/>
                      <a:gd name="connsiteY137" fmla="*/ 160651 h 296246"/>
                      <a:gd name="connsiteX138" fmla="*/ 65424 w 368476"/>
                      <a:gd name="connsiteY138" fmla="*/ 159773 h 296246"/>
                      <a:gd name="connsiteX139" fmla="*/ 69705 w 368476"/>
                      <a:gd name="connsiteY139" fmla="*/ 148713 h 296246"/>
                      <a:gd name="connsiteX140" fmla="*/ 65973 w 368476"/>
                      <a:gd name="connsiteY140" fmla="*/ 141606 h 296246"/>
                      <a:gd name="connsiteX141" fmla="*/ 67565 w 368476"/>
                      <a:gd name="connsiteY141" fmla="*/ 137846 h 296246"/>
                      <a:gd name="connsiteX142" fmla="*/ 70089 w 368476"/>
                      <a:gd name="connsiteY142" fmla="*/ 137324 h 296246"/>
                      <a:gd name="connsiteX143" fmla="*/ 71983 w 368476"/>
                      <a:gd name="connsiteY143" fmla="*/ 133839 h 296246"/>
                      <a:gd name="connsiteX144" fmla="*/ 71626 w 368476"/>
                      <a:gd name="connsiteY144" fmla="*/ 115507 h 296246"/>
                      <a:gd name="connsiteX145" fmla="*/ 68169 w 368476"/>
                      <a:gd name="connsiteY145" fmla="*/ 107906 h 296246"/>
                      <a:gd name="connsiteX146" fmla="*/ 71736 w 368476"/>
                      <a:gd name="connsiteY146" fmla="*/ 106918 h 296246"/>
                      <a:gd name="connsiteX147" fmla="*/ 75249 w 368476"/>
                      <a:gd name="connsiteY147" fmla="*/ 101072 h 296246"/>
                      <a:gd name="connsiteX148" fmla="*/ 81423 w 368476"/>
                      <a:gd name="connsiteY148" fmla="*/ 97587 h 296246"/>
                      <a:gd name="connsiteX149" fmla="*/ 82439 w 368476"/>
                      <a:gd name="connsiteY149" fmla="*/ 97230 h 296246"/>
                      <a:gd name="connsiteX150" fmla="*/ 83290 w 368476"/>
                      <a:gd name="connsiteY150" fmla="*/ 95584 h 296246"/>
                      <a:gd name="connsiteX151" fmla="*/ 85375 w 368476"/>
                      <a:gd name="connsiteY151" fmla="*/ 94184 h 296246"/>
                      <a:gd name="connsiteX152" fmla="*/ 89464 w 368476"/>
                      <a:gd name="connsiteY152" fmla="*/ 87022 h 296246"/>
                      <a:gd name="connsiteX153" fmla="*/ 86418 w 368476"/>
                      <a:gd name="connsiteY153" fmla="*/ 83344 h 296246"/>
                      <a:gd name="connsiteX154" fmla="*/ 80243 w 368476"/>
                      <a:gd name="connsiteY154" fmla="*/ 81396 h 296246"/>
                      <a:gd name="connsiteX155" fmla="*/ 77746 w 368476"/>
                      <a:gd name="connsiteY155" fmla="*/ 72504 h 296246"/>
                      <a:gd name="connsiteX156" fmla="*/ 66495 w 368476"/>
                      <a:gd name="connsiteY156" fmla="*/ 70913 h 296246"/>
                      <a:gd name="connsiteX157" fmla="*/ 61390 w 368476"/>
                      <a:gd name="connsiteY157" fmla="*/ 70858 h 296246"/>
                      <a:gd name="connsiteX158" fmla="*/ 60183 w 368476"/>
                      <a:gd name="connsiteY158" fmla="*/ 74535 h 296246"/>
                      <a:gd name="connsiteX159" fmla="*/ 53843 w 368476"/>
                      <a:gd name="connsiteY159" fmla="*/ 76593 h 296246"/>
                      <a:gd name="connsiteX160" fmla="*/ 44485 w 368476"/>
                      <a:gd name="connsiteY160" fmla="*/ 73657 h 296246"/>
                      <a:gd name="connsiteX161" fmla="*/ 35155 w 368476"/>
                      <a:gd name="connsiteY161" fmla="*/ 76840 h 296246"/>
                      <a:gd name="connsiteX162" fmla="*/ 31834 w 368476"/>
                      <a:gd name="connsiteY162" fmla="*/ 76950 h 296246"/>
                      <a:gd name="connsiteX163" fmla="*/ 30928 w 368476"/>
                      <a:gd name="connsiteY163" fmla="*/ 72696 h 296246"/>
                      <a:gd name="connsiteX164" fmla="*/ 33618 w 368476"/>
                      <a:gd name="connsiteY164" fmla="*/ 68278 h 296246"/>
                      <a:gd name="connsiteX165" fmla="*/ 30846 w 368476"/>
                      <a:gd name="connsiteY165" fmla="*/ 63640 h 296246"/>
                      <a:gd name="connsiteX166" fmla="*/ 18799 w 368476"/>
                      <a:gd name="connsiteY166" fmla="*/ 67729 h 296246"/>
                      <a:gd name="connsiteX167" fmla="*/ 11306 w 368476"/>
                      <a:gd name="connsiteY167" fmla="*/ 74837 h 296246"/>
                      <a:gd name="connsiteX168" fmla="*/ 11224 w 368476"/>
                      <a:gd name="connsiteY168" fmla="*/ 66357 h 296246"/>
                      <a:gd name="connsiteX169" fmla="*/ 13475 w 368476"/>
                      <a:gd name="connsiteY169" fmla="*/ 60567 h 296246"/>
                      <a:gd name="connsiteX170" fmla="*/ 12295 w 368476"/>
                      <a:gd name="connsiteY170" fmla="*/ 58783 h 296246"/>
                      <a:gd name="connsiteX171" fmla="*/ 13612 w 368476"/>
                      <a:gd name="connsiteY171" fmla="*/ 55023 h 296246"/>
                      <a:gd name="connsiteX172" fmla="*/ 12130 w 368476"/>
                      <a:gd name="connsiteY172" fmla="*/ 51949 h 296246"/>
                      <a:gd name="connsiteX173" fmla="*/ 15313 w 368476"/>
                      <a:gd name="connsiteY173" fmla="*/ 42399 h 296246"/>
                      <a:gd name="connsiteX174" fmla="*/ 7135 w 368476"/>
                      <a:gd name="connsiteY174" fmla="*/ 47284 h 296246"/>
                      <a:gd name="connsiteX175" fmla="*/ 6916 w 368476"/>
                      <a:gd name="connsiteY175" fmla="*/ 41878 h 296246"/>
                      <a:gd name="connsiteX176" fmla="*/ 7684 w 368476"/>
                      <a:gd name="connsiteY176" fmla="*/ 39353 h 296246"/>
                      <a:gd name="connsiteX177" fmla="*/ 2882 w 368476"/>
                      <a:gd name="connsiteY177" fmla="*/ 37816 h 296246"/>
                      <a:gd name="connsiteX178" fmla="*/ 3293 w 368476"/>
                      <a:gd name="connsiteY178" fmla="*/ 33974 h 296246"/>
                      <a:gd name="connsiteX179" fmla="*/ 0 w 368476"/>
                      <a:gd name="connsiteY179" fmla="*/ 30297 h 296246"/>
                      <a:gd name="connsiteX180" fmla="*/ 3266 w 368476"/>
                      <a:gd name="connsiteY180" fmla="*/ 22915 h 296246"/>
                      <a:gd name="connsiteX181" fmla="*/ 11361 w 368476"/>
                      <a:gd name="connsiteY181" fmla="*/ 17316 h 296246"/>
                      <a:gd name="connsiteX182" fmla="*/ 28486 w 368476"/>
                      <a:gd name="connsiteY182" fmla="*/ 14819 h 296246"/>
                      <a:gd name="connsiteX183" fmla="*/ 27937 w 368476"/>
                      <a:gd name="connsiteY183" fmla="*/ 9578 h 296246"/>
                      <a:gd name="connsiteX184" fmla="*/ 29584 w 368476"/>
                      <a:gd name="connsiteY184" fmla="*/ 6916 h 296246"/>
                      <a:gd name="connsiteX185" fmla="*/ 39244 w 368476"/>
                      <a:gd name="connsiteY185" fmla="*/ 0 h 296246"/>
                      <a:gd name="connsiteX186" fmla="*/ 45501 w 368476"/>
                      <a:gd name="connsiteY186" fmla="*/ 137 h 296246"/>
                      <a:gd name="connsiteX187" fmla="*/ 52471 w 368476"/>
                      <a:gd name="connsiteY187" fmla="*/ 933 h 296246"/>
                      <a:gd name="connsiteX188" fmla="*/ 58426 w 368476"/>
                      <a:gd name="connsiteY188" fmla="*/ 6284 h 29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368476" h="296246">
                        <a:moveTo>
                          <a:pt x="58426" y="6147"/>
                        </a:moveTo>
                        <a:lnTo>
                          <a:pt x="65150" y="7766"/>
                        </a:lnTo>
                        <a:lnTo>
                          <a:pt x="86885" y="6723"/>
                        </a:lnTo>
                        <a:lnTo>
                          <a:pt x="100112" y="3815"/>
                        </a:lnTo>
                        <a:lnTo>
                          <a:pt x="105491" y="7519"/>
                        </a:lnTo>
                        <a:lnTo>
                          <a:pt x="113532" y="7519"/>
                        </a:lnTo>
                        <a:lnTo>
                          <a:pt x="119569" y="10593"/>
                        </a:lnTo>
                        <a:lnTo>
                          <a:pt x="139219" y="13859"/>
                        </a:lnTo>
                        <a:lnTo>
                          <a:pt x="158374" y="10264"/>
                        </a:lnTo>
                        <a:lnTo>
                          <a:pt x="160487" y="12048"/>
                        </a:lnTo>
                        <a:lnTo>
                          <a:pt x="166359" y="9413"/>
                        </a:lnTo>
                        <a:lnTo>
                          <a:pt x="179175" y="15478"/>
                        </a:lnTo>
                        <a:lnTo>
                          <a:pt x="190729" y="11910"/>
                        </a:lnTo>
                        <a:lnTo>
                          <a:pt x="195943" y="14380"/>
                        </a:lnTo>
                        <a:lnTo>
                          <a:pt x="198001" y="15368"/>
                        </a:lnTo>
                        <a:lnTo>
                          <a:pt x="200992" y="16795"/>
                        </a:lnTo>
                        <a:lnTo>
                          <a:pt x="208018" y="17920"/>
                        </a:lnTo>
                        <a:lnTo>
                          <a:pt x="210350" y="17426"/>
                        </a:lnTo>
                        <a:lnTo>
                          <a:pt x="219434" y="15587"/>
                        </a:lnTo>
                        <a:lnTo>
                          <a:pt x="221108" y="17783"/>
                        </a:lnTo>
                        <a:lnTo>
                          <a:pt x="231098" y="19347"/>
                        </a:lnTo>
                        <a:lnTo>
                          <a:pt x="231098" y="22229"/>
                        </a:lnTo>
                        <a:lnTo>
                          <a:pt x="230247" y="24644"/>
                        </a:lnTo>
                        <a:lnTo>
                          <a:pt x="228765" y="26428"/>
                        </a:lnTo>
                        <a:lnTo>
                          <a:pt x="229616" y="27827"/>
                        </a:lnTo>
                        <a:lnTo>
                          <a:pt x="231098" y="28348"/>
                        </a:lnTo>
                        <a:lnTo>
                          <a:pt x="233430" y="26674"/>
                        </a:lnTo>
                        <a:lnTo>
                          <a:pt x="238891" y="28650"/>
                        </a:lnTo>
                        <a:lnTo>
                          <a:pt x="250664" y="32959"/>
                        </a:lnTo>
                        <a:lnTo>
                          <a:pt x="251652" y="33837"/>
                        </a:lnTo>
                        <a:lnTo>
                          <a:pt x="255220" y="37075"/>
                        </a:lnTo>
                        <a:lnTo>
                          <a:pt x="262739" y="35758"/>
                        </a:lnTo>
                        <a:lnTo>
                          <a:pt x="271603" y="41768"/>
                        </a:lnTo>
                        <a:lnTo>
                          <a:pt x="279671" y="41768"/>
                        </a:lnTo>
                        <a:cubicBezTo>
                          <a:pt x="279671" y="41768"/>
                          <a:pt x="286011" y="41768"/>
                          <a:pt x="286011" y="41768"/>
                        </a:cubicBezTo>
                        <a:lnTo>
                          <a:pt x="291390" y="42152"/>
                        </a:lnTo>
                        <a:lnTo>
                          <a:pt x="291692" y="37707"/>
                        </a:lnTo>
                        <a:lnTo>
                          <a:pt x="293009" y="35648"/>
                        </a:lnTo>
                        <a:lnTo>
                          <a:pt x="297235" y="36773"/>
                        </a:lnTo>
                        <a:lnTo>
                          <a:pt x="298662" y="37267"/>
                        </a:lnTo>
                        <a:lnTo>
                          <a:pt x="310902" y="41384"/>
                        </a:lnTo>
                        <a:lnTo>
                          <a:pt x="313481" y="44512"/>
                        </a:lnTo>
                        <a:lnTo>
                          <a:pt x="314414" y="45665"/>
                        </a:lnTo>
                        <a:lnTo>
                          <a:pt x="315183" y="52032"/>
                        </a:lnTo>
                        <a:lnTo>
                          <a:pt x="322757" y="49644"/>
                        </a:lnTo>
                        <a:lnTo>
                          <a:pt x="322894" y="50111"/>
                        </a:lnTo>
                        <a:lnTo>
                          <a:pt x="328355" y="51675"/>
                        </a:lnTo>
                        <a:lnTo>
                          <a:pt x="330386" y="53788"/>
                        </a:lnTo>
                        <a:lnTo>
                          <a:pt x="331868" y="55325"/>
                        </a:lnTo>
                        <a:lnTo>
                          <a:pt x="335052" y="53788"/>
                        </a:lnTo>
                        <a:lnTo>
                          <a:pt x="337713" y="52526"/>
                        </a:lnTo>
                        <a:lnTo>
                          <a:pt x="339525" y="53212"/>
                        </a:lnTo>
                        <a:lnTo>
                          <a:pt x="341061" y="53788"/>
                        </a:lnTo>
                        <a:lnTo>
                          <a:pt x="347099" y="56093"/>
                        </a:lnTo>
                        <a:lnTo>
                          <a:pt x="351847" y="53788"/>
                        </a:lnTo>
                        <a:lnTo>
                          <a:pt x="356814" y="51401"/>
                        </a:lnTo>
                        <a:lnTo>
                          <a:pt x="365376" y="52389"/>
                        </a:lnTo>
                        <a:lnTo>
                          <a:pt x="366144" y="53788"/>
                        </a:lnTo>
                        <a:lnTo>
                          <a:pt x="368477" y="58069"/>
                        </a:lnTo>
                        <a:lnTo>
                          <a:pt x="364800" y="61006"/>
                        </a:lnTo>
                        <a:lnTo>
                          <a:pt x="363894" y="61747"/>
                        </a:lnTo>
                        <a:lnTo>
                          <a:pt x="365815" y="70309"/>
                        </a:lnTo>
                        <a:lnTo>
                          <a:pt x="366391" y="72833"/>
                        </a:lnTo>
                        <a:lnTo>
                          <a:pt x="354646" y="82795"/>
                        </a:lnTo>
                        <a:lnTo>
                          <a:pt x="353740" y="83564"/>
                        </a:lnTo>
                        <a:lnTo>
                          <a:pt x="351627" y="84634"/>
                        </a:lnTo>
                        <a:lnTo>
                          <a:pt x="339552" y="90754"/>
                        </a:lnTo>
                        <a:lnTo>
                          <a:pt x="333295" y="97478"/>
                        </a:lnTo>
                        <a:lnTo>
                          <a:pt x="320397" y="101347"/>
                        </a:lnTo>
                        <a:lnTo>
                          <a:pt x="300775" y="107823"/>
                        </a:lnTo>
                        <a:lnTo>
                          <a:pt x="298690" y="110238"/>
                        </a:lnTo>
                        <a:lnTo>
                          <a:pt x="293366" y="116276"/>
                        </a:lnTo>
                        <a:lnTo>
                          <a:pt x="296604" y="121270"/>
                        </a:lnTo>
                        <a:lnTo>
                          <a:pt x="289935" y="124015"/>
                        </a:lnTo>
                        <a:lnTo>
                          <a:pt x="287136" y="127500"/>
                        </a:lnTo>
                        <a:lnTo>
                          <a:pt x="279699" y="138532"/>
                        </a:lnTo>
                        <a:lnTo>
                          <a:pt x="272070" y="149756"/>
                        </a:lnTo>
                        <a:lnTo>
                          <a:pt x="266444" y="158318"/>
                        </a:lnTo>
                        <a:lnTo>
                          <a:pt x="262383" y="170037"/>
                        </a:lnTo>
                        <a:lnTo>
                          <a:pt x="266005" y="182715"/>
                        </a:lnTo>
                        <a:lnTo>
                          <a:pt x="270862" y="190070"/>
                        </a:lnTo>
                        <a:lnTo>
                          <a:pt x="276214" y="192238"/>
                        </a:lnTo>
                        <a:lnTo>
                          <a:pt x="277833" y="194955"/>
                        </a:lnTo>
                        <a:lnTo>
                          <a:pt x="270423" y="201129"/>
                        </a:lnTo>
                        <a:lnTo>
                          <a:pt x="257498" y="211448"/>
                        </a:lnTo>
                        <a:lnTo>
                          <a:pt x="249594" y="229094"/>
                        </a:lnTo>
                        <a:lnTo>
                          <a:pt x="247262" y="233704"/>
                        </a:lnTo>
                        <a:lnTo>
                          <a:pt x="250253" y="235900"/>
                        </a:lnTo>
                        <a:lnTo>
                          <a:pt x="249649" y="238260"/>
                        </a:lnTo>
                        <a:lnTo>
                          <a:pt x="238919" y="239165"/>
                        </a:lnTo>
                        <a:lnTo>
                          <a:pt x="233320" y="239659"/>
                        </a:lnTo>
                        <a:lnTo>
                          <a:pt x="224099" y="246603"/>
                        </a:lnTo>
                        <a:lnTo>
                          <a:pt x="218611" y="253436"/>
                        </a:lnTo>
                        <a:lnTo>
                          <a:pt x="215839" y="262410"/>
                        </a:lnTo>
                        <a:lnTo>
                          <a:pt x="210405" y="268502"/>
                        </a:lnTo>
                        <a:lnTo>
                          <a:pt x="209006" y="270094"/>
                        </a:lnTo>
                        <a:lnTo>
                          <a:pt x="202529" y="266746"/>
                        </a:lnTo>
                        <a:lnTo>
                          <a:pt x="198056" y="267102"/>
                        </a:lnTo>
                        <a:lnTo>
                          <a:pt x="195998" y="268420"/>
                        </a:lnTo>
                        <a:lnTo>
                          <a:pt x="191085" y="271603"/>
                        </a:lnTo>
                        <a:lnTo>
                          <a:pt x="179971" y="269627"/>
                        </a:lnTo>
                        <a:lnTo>
                          <a:pt x="170805" y="271438"/>
                        </a:lnTo>
                        <a:lnTo>
                          <a:pt x="160898" y="270094"/>
                        </a:lnTo>
                        <a:lnTo>
                          <a:pt x="142703" y="271109"/>
                        </a:lnTo>
                        <a:lnTo>
                          <a:pt x="135075" y="278436"/>
                        </a:lnTo>
                        <a:lnTo>
                          <a:pt x="126512" y="279260"/>
                        </a:lnTo>
                        <a:lnTo>
                          <a:pt x="120283" y="281949"/>
                        </a:lnTo>
                        <a:lnTo>
                          <a:pt x="117511" y="285709"/>
                        </a:lnTo>
                        <a:lnTo>
                          <a:pt x="114931" y="291527"/>
                        </a:lnTo>
                        <a:lnTo>
                          <a:pt x="114794" y="291527"/>
                        </a:lnTo>
                        <a:cubicBezTo>
                          <a:pt x="114794" y="291527"/>
                          <a:pt x="114574" y="291527"/>
                          <a:pt x="114574" y="291527"/>
                        </a:cubicBezTo>
                        <a:lnTo>
                          <a:pt x="107302" y="296247"/>
                        </a:lnTo>
                        <a:lnTo>
                          <a:pt x="94733" y="290045"/>
                        </a:lnTo>
                        <a:lnTo>
                          <a:pt x="89409" y="282608"/>
                        </a:lnTo>
                        <a:lnTo>
                          <a:pt x="88339" y="276131"/>
                        </a:lnTo>
                        <a:lnTo>
                          <a:pt x="85348" y="274237"/>
                        </a:lnTo>
                        <a:lnTo>
                          <a:pt x="83948" y="273579"/>
                        </a:lnTo>
                        <a:lnTo>
                          <a:pt x="82768" y="270450"/>
                        </a:lnTo>
                        <a:lnTo>
                          <a:pt x="85320" y="267898"/>
                        </a:lnTo>
                        <a:lnTo>
                          <a:pt x="79530" y="261065"/>
                        </a:lnTo>
                        <a:lnTo>
                          <a:pt x="66165" y="253518"/>
                        </a:lnTo>
                        <a:lnTo>
                          <a:pt x="64711" y="252914"/>
                        </a:lnTo>
                        <a:lnTo>
                          <a:pt x="61939" y="252914"/>
                        </a:lnTo>
                        <a:cubicBezTo>
                          <a:pt x="61939" y="252914"/>
                          <a:pt x="56286" y="253518"/>
                          <a:pt x="56286" y="253518"/>
                        </a:cubicBezTo>
                        <a:lnTo>
                          <a:pt x="54255" y="254067"/>
                        </a:lnTo>
                        <a:lnTo>
                          <a:pt x="51017" y="241086"/>
                        </a:lnTo>
                        <a:lnTo>
                          <a:pt x="59140" y="224785"/>
                        </a:lnTo>
                        <a:lnTo>
                          <a:pt x="65726" y="221959"/>
                        </a:lnTo>
                        <a:lnTo>
                          <a:pt x="68086" y="215647"/>
                        </a:lnTo>
                        <a:lnTo>
                          <a:pt x="62899" y="216388"/>
                        </a:lnTo>
                        <a:lnTo>
                          <a:pt x="57027" y="206261"/>
                        </a:lnTo>
                        <a:lnTo>
                          <a:pt x="60100" y="195257"/>
                        </a:lnTo>
                        <a:lnTo>
                          <a:pt x="64080" y="191662"/>
                        </a:lnTo>
                        <a:lnTo>
                          <a:pt x="67043" y="184636"/>
                        </a:lnTo>
                        <a:lnTo>
                          <a:pt x="62378" y="181206"/>
                        </a:lnTo>
                        <a:lnTo>
                          <a:pt x="59305" y="175306"/>
                        </a:lnTo>
                        <a:lnTo>
                          <a:pt x="56862" y="168555"/>
                        </a:lnTo>
                        <a:lnTo>
                          <a:pt x="50138" y="160651"/>
                        </a:lnTo>
                        <a:lnTo>
                          <a:pt x="65424" y="159773"/>
                        </a:lnTo>
                        <a:lnTo>
                          <a:pt x="69705" y="148713"/>
                        </a:lnTo>
                        <a:lnTo>
                          <a:pt x="65973" y="141606"/>
                        </a:lnTo>
                        <a:lnTo>
                          <a:pt x="67565" y="137846"/>
                        </a:lnTo>
                        <a:lnTo>
                          <a:pt x="70089" y="137324"/>
                        </a:lnTo>
                        <a:lnTo>
                          <a:pt x="71983" y="133839"/>
                        </a:lnTo>
                        <a:lnTo>
                          <a:pt x="71626" y="115507"/>
                        </a:lnTo>
                        <a:lnTo>
                          <a:pt x="68169" y="107906"/>
                        </a:lnTo>
                        <a:lnTo>
                          <a:pt x="71736" y="106918"/>
                        </a:lnTo>
                        <a:lnTo>
                          <a:pt x="75249" y="101072"/>
                        </a:lnTo>
                        <a:lnTo>
                          <a:pt x="81423" y="97587"/>
                        </a:lnTo>
                        <a:lnTo>
                          <a:pt x="82439" y="97230"/>
                        </a:lnTo>
                        <a:lnTo>
                          <a:pt x="83290" y="95584"/>
                        </a:lnTo>
                        <a:lnTo>
                          <a:pt x="85375" y="94184"/>
                        </a:lnTo>
                        <a:lnTo>
                          <a:pt x="89464" y="87022"/>
                        </a:lnTo>
                        <a:lnTo>
                          <a:pt x="86418" y="83344"/>
                        </a:lnTo>
                        <a:lnTo>
                          <a:pt x="80243" y="81396"/>
                        </a:lnTo>
                        <a:lnTo>
                          <a:pt x="77746" y="72504"/>
                        </a:lnTo>
                        <a:lnTo>
                          <a:pt x="66495" y="70913"/>
                        </a:lnTo>
                        <a:lnTo>
                          <a:pt x="61390" y="70858"/>
                        </a:lnTo>
                        <a:lnTo>
                          <a:pt x="60183" y="74535"/>
                        </a:lnTo>
                        <a:lnTo>
                          <a:pt x="53843" y="76593"/>
                        </a:lnTo>
                        <a:lnTo>
                          <a:pt x="44485" y="73657"/>
                        </a:lnTo>
                        <a:lnTo>
                          <a:pt x="35155" y="76840"/>
                        </a:lnTo>
                        <a:lnTo>
                          <a:pt x="31834" y="76950"/>
                        </a:lnTo>
                        <a:lnTo>
                          <a:pt x="30928" y="72696"/>
                        </a:lnTo>
                        <a:lnTo>
                          <a:pt x="33618" y="68278"/>
                        </a:lnTo>
                        <a:lnTo>
                          <a:pt x="30846" y="63640"/>
                        </a:lnTo>
                        <a:lnTo>
                          <a:pt x="18799" y="67729"/>
                        </a:lnTo>
                        <a:lnTo>
                          <a:pt x="11306" y="74837"/>
                        </a:lnTo>
                        <a:lnTo>
                          <a:pt x="11224" y="66357"/>
                        </a:lnTo>
                        <a:lnTo>
                          <a:pt x="13475" y="60567"/>
                        </a:lnTo>
                        <a:lnTo>
                          <a:pt x="12295" y="58783"/>
                        </a:lnTo>
                        <a:lnTo>
                          <a:pt x="13612" y="55023"/>
                        </a:lnTo>
                        <a:lnTo>
                          <a:pt x="12130" y="51949"/>
                        </a:lnTo>
                        <a:lnTo>
                          <a:pt x="15313" y="42399"/>
                        </a:lnTo>
                        <a:lnTo>
                          <a:pt x="7135" y="47284"/>
                        </a:lnTo>
                        <a:lnTo>
                          <a:pt x="6916" y="41878"/>
                        </a:lnTo>
                        <a:lnTo>
                          <a:pt x="7684" y="39353"/>
                        </a:lnTo>
                        <a:lnTo>
                          <a:pt x="2882" y="37816"/>
                        </a:lnTo>
                        <a:lnTo>
                          <a:pt x="3293" y="33974"/>
                        </a:lnTo>
                        <a:lnTo>
                          <a:pt x="0" y="30297"/>
                        </a:lnTo>
                        <a:lnTo>
                          <a:pt x="3266" y="22915"/>
                        </a:lnTo>
                        <a:lnTo>
                          <a:pt x="11361" y="17316"/>
                        </a:lnTo>
                        <a:lnTo>
                          <a:pt x="28486" y="14819"/>
                        </a:lnTo>
                        <a:lnTo>
                          <a:pt x="27937" y="9578"/>
                        </a:lnTo>
                        <a:lnTo>
                          <a:pt x="29584" y="6916"/>
                        </a:lnTo>
                        <a:lnTo>
                          <a:pt x="39244" y="0"/>
                        </a:lnTo>
                        <a:lnTo>
                          <a:pt x="45501" y="137"/>
                        </a:lnTo>
                        <a:lnTo>
                          <a:pt x="52471" y="933"/>
                        </a:lnTo>
                        <a:lnTo>
                          <a:pt x="58426" y="628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7" name="Freeform: Shape 3416">
                    <a:extLst>
                      <a:ext uri="{FF2B5EF4-FFF2-40B4-BE49-F238E27FC236}">
                        <a16:creationId xmlns:a16="http://schemas.microsoft.com/office/drawing/2014/main" id="{6C9021F8-2D40-9C78-EE93-7FEBBEEE4434}"/>
                      </a:ext>
                    </a:extLst>
                  </p:cNvPr>
                  <p:cNvSpPr/>
                  <p:nvPr/>
                </p:nvSpPr>
                <p:spPr>
                  <a:xfrm>
                    <a:off x="-6218226" y="3594892"/>
                    <a:ext cx="33096" cy="24918"/>
                  </a:xfrm>
                  <a:custGeom>
                    <a:avLst/>
                    <a:gdLst>
                      <a:gd name="connsiteX0" fmla="*/ 21762 w 33096"/>
                      <a:gd name="connsiteY0" fmla="*/ 0 h 24918"/>
                      <a:gd name="connsiteX1" fmla="*/ 23327 w 33096"/>
                      <a:gd name="connsiteY1" fmla="*/ 2058 h 24918"/>
                      <a:gd name="connsiteX2" fmla="*/ 24534 w 33096"/>
                      <a:gd name="connsiteY2" fmla="*/ 604 h 24918"/>
                      <a:gd name="connsiteX3" fmla="*/ 25851 w 33096"/>
                      <a:gd name="connsiteY3" fmla="*/ 1482 h 24918"/>
                      <a:gd name="connsiteX4" fmla="*/ 23958 w 33096"/>
                      <a:gd name="connsiteY4" fmla="*/ 5544 h 24918"/>
                      <a:gd name="connsiteX5" fmla="*/ 27086 w 33096"/>
                      <a:gd name="connsiteY5" fmla="*/ 7245 h 24918"/>
                      <a:gd name="connsiteX6" fmla="*/ 29885 w 33096"/>
                      <a:gd name="connsiteY6" fmla="*/ 5022 h 24918"/>
                      <a:gd name="connsiteX7" fmla="*/ 33096 w 33096"/>
                      <a:gd name="connsiteY7" fmla="*/ 6696 h 24918"/>
                      <a:gd name="connsiteX8" fmla="*/ 33096 w 33096"/>
                      <a:gd name="connsiteY8" fmla="*/ 10017 h 24918"/>
                      <a:gd name="connsiteX9" fmla="*/ 31532 w 33096"/>
                      <a:gd name="connsiteY9" fmla="*/ 10840 h 24918"/>
                      <a:gd name="connsiteX10" fmla="*/ 31477 w 33096"/>
                      <a:gd name="connsiteY10" fmla="*/ 12843 h 24918"/>
                      <a:gd name="connsiteX11" fmla="*/ 28403 w 33096"/>
                      <a:gd name="connsiteY11" fmla="*/ 16027 h 24918"/>
                      <a:gd name="connsiteX12" fmla="*/ 26428 w 33096"/>
                      <a:gd name="connsiteY12" fmla="*/ 21323 h 24918"/>
                      <a:gd name="connsiteX13" fmla="*/ 21158 w 33096"/>
                      <a:gd name="connsiteY13" fmla="*/ 24918 h 24918"/>
                      <a:gd name="connsiteX14" fmla="*/ 18469 w 33096"/>
                      <a:gd name="connsiteY14" fmla="*/ 21268 h 24918"/>
                      <a:gd name="connsiteX15" fmla="*/ 13420 w 33096"/>
                      <a:gd name="connsiteY15" fmla="*/ 21214 h 24918"/>
                      <a:gd name="connsiteX16" fmla="*/ 11526 w 33096"/>
                      <a:gd name="connsiteY16" fmla="*/ 16932 h 24918"/>
                      <a:gd name="connsiteX17" fmla="*/ 12349 w 33096"/>
                      <a:gd name="connsiteY17" fmla="*/ 15890 h 24918"/>
                      <a:gd name="connsiteX18" fmla="*/ 8809 w 33096"/>
                      <a:gd name="connsiteY18" fmla="*/ 13447 h 24918"/>
                      <a:gd name="connsiteX19" fmla="*/ 6120 w 33096"/>
                      <a:gd name="connsiteY19" fmla="*/ 15176 h 24918"/>
                      <a:gd name="connsiteX20" fmla="*/ 5516 w 33096"/>
                      <a:gd name="connsiteY20" fmla="*/ 17619 h 24918"/>
                      <a:gd name="connsiteX21" fmla="*/ 3320 w 33096"/>
                      <a:gd name="connsiteY21" fmla="*/ 15176 h 24918"/>
                      <a:gd name="connsiteX22" fmla="*/ 0 w 33096"/>
                      <a:gd name="connsiteY22" fmla="*/ 13090 h 24918"/>
                      <a:gd name="connsiteX23" fmla="*/ 7547 w 33096"/>
                      <a:gd name="connsiteY23" fmla="*/ 7712 h 24918"/>
                      <a:gd name="connsiteX24" fmla="*/ 9962 w 33096"/>
                      <a:gd name="connsiteY24" fmla="*/ 4857 h 24918"/>
                      <a:gd name="connsiteX25" fmla="*/ 13172 w 33096"/>
                      <a:gd name="connsiteY25" fmla="*/ 2442 h 24918"/>
                      <a:gd name="connsiteX26" fmla="*/ 15094 w 33096"/>
                      <a:gd name="connsiteY26" fmla="*/ 2168 h 24918"/>
                      <a:gd name="connsiteX27" fmla="*/ 18167 w 33096"/>
                      <a:gd name="connsiteY27" fmla="*/ 27 h 24918"/>
                      <a:gd name="connsiteX28" fmla="*/ 21762 w 33096"/>
                      <a:gd name="connsiteY28" fmla="*/ 27 h 2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3096" h="24918">
                        <a:moveTo>
                          <a:pt x="21762" y="0"/>
                        </a:moveTo>
                        <a:lnTo>
                          <a:pt x="23327" y="2058"/>
                        </a:lnTo>
                        <a:lnTo>
                          <a:pt x="24534" y="604"/>
                        </a:lnTo>
                        <a:lnTo>
                          <a:pt x="25851" y="1482"/>
                        </a:lnTo>
                        <a:lnTo>
                          <a:pt x="23958" y="5544"/>
                        </a:lnTo>
                        <a:lnTo>
                          <a:pt x="27086" y="7245"/>
                        </a:lnTo>
                        <a:lnTo>
                          <a:pt x="29885" y="5022"/>
                        </a:lnTo>
                        <a:lnTo>
                          <a:pt x="33096" y="6696"/>
                        </a:lnTo>
                        <a:lnTo>
                          <a:pt x="33096" y="10017"/>
                        </a:lnTo>
                        <a:cubicBezTo>
                          <a:pt x="33096" y="10017"/>
                          <a:pt x="31532" y="10840"/>
                          <a:pt x="31532" y="10840"/>
                        </a:cubicBezTo>
                        <a:lnTo>
                          <a:pt x="31477" y="12843"/>
                        </a:lnTo>
                        <a:lnTo>
                          <a:pt x="28403" y="16027"/>
                        </a:lnTo>
                        <a:lnTo>
                          <a:pt x="26428" y="21323"/>
                        </a:lnTo>
                        <a:lnTo>
                          <a:pt x="21158" y="24918"/>
                        </a:lnTo>
                        <a:lnTo>
                          <a:pt x="18469" y="21268"/>
                        </a:lnTo>
                        <a:lnTo>
                          <a:pt x="13420" y="21214"/>
                        </a:lnTo>
                        <a:lnTo>
                          <a:pt x="11526" y="16932"/>
                        </a:lnTo>
                        <a:lnTo>
                          <a:pt x="12349" y="15890"/>
                        </a:lnTo>
                        <a:lnTo>
                          <a:pt x="8809" y="13447"/>
                        </a:lnTo>
                        <a:lnTo>
                          <a:pt x="6120" y="15176"/>
                        </a:lnTo>
                        <a:lnTo>
                          <a:pt x="5516" y="17619"/>
                        </a:lnTo>
                        <a:lnTo>
                          <a:pt x="3320" y="15176"/>
                        </a:lnTo>
                        <a:lnTo>
                          <a:pt x="0" y="13090"/>
                        </a:lnTo>
                        <a:lnTo>
                          <a:pt x="7547" y="7712"/>
                        </a:lnTo>
                        <a:lnTo>
                          <a:pt x="9962" y="4857"/>
                        </a:lnTo>
                        <a:lnTo>
                          <a:pt x="13172" y="2442"/>
                        </a:lnTo>
                        <a:lnTo>
                          <a:pt x="15094" y="2168"/>
                        </a:lnTo>
                        <a:lnTo>
                          <a:pt x="18167" y="27"/>
                        </a:lnTo>
                        <a:lnTo>
                          <a:pt x="21762" y="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8" name="Freeform: Shape 3417">
                    <a:extLst>
                      <a:ext uri="{FF2B5EF4-FFF2-40B4-BE49-F238E27FC236}">
                        <a16:creationId xmlns:a16="http://schemas.microsoft.com/office/drawing/2014/main" id="{CD67A9C7-718C-F40E-FCA1-9D92AA6EB80F}"/>
                      </a:ext>
                    </a:extLst>
                  </p:cNvPr>
                  <p:cNvSpPr/>
                  <p:nvPr/>
                </p:nvSpPr>
                <p:spPr>
                  <a:xfrm>
                    <a:off x="-6175278" y="3589459"/>
                    <a:ext cx="15148" cy="9659"/>
                  </a:xfrm>
                  <a:custGeom>
                    <a:avLst/>
                    <a:gdLst>
                      <a:gd name="connsiteX0" fmla="*/ 13721 w 15148"/>
                      <a:gd name="connsiteY0" fmla="*/ 3705 h 9659"/>
                      <a:gd name="connsiteX1" fmla="*/ 15148 w 15148"/>
                      <a:gd name="connsiteY1" fmla="*/ 7464 h 9659"/>
                      <a:gd name="connsiteX2" fmla="*/ 14188 w 15148"/>
                      <a:gd name="connsiteY2" fmla="*/ 9660 h 9659"/>
                      <a:gd name="connsiteX3" fmla="*/ 12267 w 15148"/>
                      <a:gd name="connsiteY3" fmla="*/ 9056 h 9659"/>
                      <a:gd name="connsiteX4" fmla="*/ 6751 w 15148"/>
                      <a:gd name="connsiteY4" fmla="*/ 5352 h 9659"/>
                      <a:gd name="connsiteX5" fmla="*/ 4885 w 15148"/>
                      <a:gd name="connsiteY5" fmla="*/ 4720 h 9659"/>
                      <a:gd name="connsiteX6" fmla="*/ 851 w 15148"/>
                      <a:gd name="connsiteY6" fmla="*/ 5132 h 9659"/>
                      <a:gd name="connsiteX7" fmla="*/ 1097 w 15148"/>
                      <a:gd name="connsiteY7" fmla="*/ 2607 h 9659"/>
                      <a:gd name="connsiteX8" fmla="*/ 0 w 15148"/>
                      <a:gd name="connsiteY8" fmla="*/ 1701 h 9659"/>
                      <a:gd name="connsiteX9" fmla="*/ 905 w 15148"/>
                      <a:gd name="connsiteY9" fmla="*/ 439 h 9659"/>
                      <a:gd name="connsiteX10" fmla="*/ 4226 w 15148"/>
                      <a:gd name="connsiteY10" fmla="*/ 0 h 9659"/>
                      <a:gd name="connsiteX11" fmla="*/ 11142 w 15148"/>
                      <a:gd name="connsiteY11" fmla="*/ 0 h 9659"/>
                      <a:gd name="connsiteX12" fmla="*/ 13721 w 15148"/>
                      <a:gd name="connsiteY12" fmla="*/ 3732 h 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148" h="9659">
                        <a:moveTo>
                          <a:pt x="13721" y="3705"/>
                        </a:moveTo>
                        <a:lnTo>
                          <a:pt x="15148" y="7464"/>
                        </a:lnTo>
                        <a:lnTo>
                          <a:pt x="14188" y="9660"/>
                        </a:lnTo>
                        <a:lnTo>
                          <a:pt x="12267" y="9056"/>
                        </a:lnTo>
                        <a:lnTo>
                          <a:pt x="6751" y="5352"/>
                        </a:lnTo>
                        <a:lnTo>
                          <a:pt x="4885" y="4720"/>
                        </a:lnTo>
                        <a:lnTo>
                          <a:pt x="851" y="5132"/>
                        </a:lnTo>
                        <a:lnTo>
                          <a:pt x="1097" y="2607"/>
                        </a:lnTo>
                        <a:lnTo>
                          <a:pt x="0" y="1701"/>
                        </a:lnTo>
                        <a:lnTo>
                          <a:pt x="905" y="439"/>
                        </a:lnTo>
                        <a:lnTo>
                          <a:pt x="4226" y="0"/>
                        </a:lnTo>
                        <a:lnTo>
                          <a:pt x="11142" y="0"/>
                        </a:lnTo>
                        <a:cubicBezTo>
                          <a:pt x="11142" y="0"/>
                          <a:pt x="13721" y="3732"/>
                          <a:pt x="13721" y="3732"/>
                        </a:cubicBez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19" name="Freeform: Shape 3418">
                    <a:extLst>
                      <a:ext uri="{FF2B5EF4-FFF2-40B4-BE49-F238E27FC236}">
                        <a16:creationId xmlns:a16="http://schemas.microsoft.com/office/drawing/2014/main" id="{3AF46247-1A46-7079-4234-9D74CA20C86D}"/>
                      </a:ext>
                    </a:extLst>
                  </p:cNvPr>
                  <p:cNvSpPr/>
                  <p:nvPr/>
                </p:nvSpPr>
                <p:spPr>
                  <a:xfrm>
                    <a:off x="-6251652" y="3625628"/>
                    <a:ext cx="12266" cy="10400"/>
                  </a:xfrm>
                  <a:custGeom>
                    <a:avLst/>
                    <a:gdLst>
                      <a:gd name="connsiteX0" fmla="*/ 7135 w 12266"/>
                      <a:gd name="connsiteY0" fmla="*/ 7437 h 10400"/>
                      <a:gd name="connsiteX1" fmla="*/ 6175 w 12266"/>
                      <a:gd name="connsiteY1" fmla="*/ 10401 h 10400"/>
                      <a:gd name="connsiteX2" fmla="*/ 4446 w 12266"/>
                      <a:gd name="connsiteY2" fmla="*/ 9111 h 10400"/>
                      <a:gd name="connsiteX3" fmla="*/ 1674 w 12266"/>
                      <a:gd name="connsiteY3" fmla="*/ 9578 h 10400"/>
                      <a:gd name="connsiteX4" fmla="*/ 0 w 12266"/>
                      <a:gd name="connsiteY4" fmla="*/ 5845 h 10400"/>
                      <a:gd name="connsiteX5" fmla="*/ 3211 w 12266"/>
                      <a:gd name="connsiteY5" fmla="*/ 5434 h 10400"/>
                      <a:gd name="connsiteX6" fmla="*/ 2909 w 12266"/>
                      <a:gd name="connsiteY6" fmla="*/ 3238 h 10400"/>
                      <a:gd name="connsiteX7" fmla="*/ 4940 w 12266"/>
                      <a:gd name="connsiteY7" fmla="*/ 1564 h 10400"/>
                      <a:gd name="connsiteX8" fmla="*/ 10072 w 12266"/>
                      <a:gd name="connsiteY8" fmla="*/ 0 h 10400"/>
                      <a:gd name="connsiteX9" fmla="*/ 11554 w 12266"/>
                      <a:gd name="connsiteY9" fmla="*/ 741 h 10400"/>
                      <a:gd name="connsiteX10" fmla="*/ 12267 w 12266"/>
                      <a:gd name="connsiteY10" fmla="*/ 3046 h 10400"/>
                      <a:gd name="connsiteX11" fmla="*/ 9633 w 12266"/>
                      <a:gd name="connsiteY11" fmla="*/ 6257 h 10400"/>
                      <a:gd name="connsiteX12" fmla="*/ 7081 w 12266"/>
                      <a:gd name="connsiteY12" fmla="*/ 7409 h 1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66" h="10400">
                        <a:moveTo>
                          <a:pt x="7135" y="7437"/>
                        </a:moveTo>
                        <a:lnTo>
                          <a:pt x="6175" y="10401"/>
                        </a:lnTo>
                        <a:lnTo>
                          <a:pt x="4446" y="9111"/>
                        </a:lnTo>
                        <a:lnTo>
                          <a:pt x="1674" y="9578"/>
                        </a:lnTo>
                        <a:lnTo>
                          <a:pt x="0" y="5845"/>
                        </a:lnTo>
                        <a:lnTo>
                          <a:pt x="3211" y="5434"/>
                        </a:lnTo>
                        <a:lnTo>
                          <a:pt x="2909" y="3238"/>
                        </a:lnTo>
                        <a:lnTo>
                          <a:pt x="4940" y="1564"/>
                        </a:lnTo>
                        <a:lnTo>
                          <a:pt x="10072" y="0"/>
                        </a:lnTo>
                        <a:lnTo>
                          <a:pt x="11554" y="741"/>
                        </a:lnTo>
                        <a:lnTo>
                          <a:pt x="12267" y="3046"/>
                        </a:lnTo>
                        <a:lnTo>
                          <a:pt x="9633" y="6257"/>
                        </a:lnTo>
                        <a:lnTo>
                          <a:pt x="7081" y="740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0" name="Freeform: Shape 3419">
                    <a:extLst>
                      <a:ext uri="{FF2B5EF4-FFF2-40B4-BE49-F238E27FC236}">
                        <a16:creationId xmlns:a16="http://schemas.microsoft.com/office/drawing/2014/main" id="{85C62792-3E32-6EEC-E81B-C21064974DE4}"/>
                      </a:ext>
                    </a:extLst>
                  </p:cNvPr>
                  <p:cNvSpPr/>
                  <p:nvPr/>
                </p:nvSpPr>
                <p:spPr>
                  <a:xfrm>
                    <a:off x="-5682430" y="1945981"/>
                    <a:ext cx="323360" cy="721722"/>
                  </a:xfrm>
                  <a:custGeom>
                    <a:avLst/>
                    <a:gdLst>
                      <a:gd name="connsiteX0" fmla="*/ 217266 w 323360"/>
                      <a:gd name="connsiteY0" fmla="*/ 0 h 721722"/>
                      <a:gd name="connsiteX1" fmla="*/ 230411 w 323360"/>
                      <a:gd name="connsiteY1" fmla="*/ 21598 h 721722"/>
                      <a:gd name="connsiteX2" fmla="*/ 241800 w 323360"/>
                      <a:gd name="connsiteY2" fmla="*/ 27855 h 721722"/>
                      <a:gd name="connsiteX3" fmla="*/ 252009 w 323360"/>
                      <a:gd name="connsiteY3" fmla="*/ 33343 h 721722"/>
                      <a:gd name="connsiteX4" fmla="*/ 257799 w 323360"/>
                      <a:gd name="connsiteY4" fmla="*/ 50605 h 721722"/>
                      <a:gd name="connsiteX5" fmla="*/ 245285 w 323360"/>
                      <a:gd name="connsiteY5" fmla="*/ 70419 h 721722"/>
                      <a:gd name="connsiteX6" fmla="*/ 243254 w 323360"/>
                      <a:gd name="connsiteY6" fmla="*/ 80627 h 721722"/>
                      <a:gd name="connsiteX7" fmla="*/ 246493 w 323360"/>
                      <a:gd name="connsiteY7" fmla="*/ 86775 h 721722"/>
                      <a:gd name="connsiteX8" fmla="*/ 237519 w 323360"/>
                      <a:gd name="connsiteY8" fmla="*/ 96736 h 721722"/>
                      <a:gd name="connsiteX9" fmla="*/ 240620 w 323360"/>
                      <a:gd name="connsiteY9" fmla="*/ 104613 h 721722"/>
                      <a:gd name="connsiteX10" fmla="*/ 233513 w 323360"/>
                      <a:gd name="connsiteY10" fmla="*/ 128927 h 721722"/>
                      <a:gd name="connsiteX11" fmla="*/ 236833 w 323360"/>
                      <a:gd name="connsiteY11" fmla="*/ 148302 h 721722"/>
                      <a:gd name="connsiteX12" fmla="*/ 257689 w 323360"/>
                      <a:gd name="connsiteY12" fmla="*/ 166387 h 721722"/>
                      <a:gd name="connsiteX13" fmla="*/ 276680 w 323360"/>
                      <a:gd name="connsiteY13" fmla="*/ 198303 h 721722"/>
                      <a:gd name="connsiteX14" fmla="*/ 273442 w 323360"/>
                      <a:gd name="connsiteY14" fmla="*/ 212052 h 721722"/>
                      <a:gd name="connsiteX15" fmla="*/ 251158 w 323360"/>
                      <a:gd name="connsiteY15" fmla="*/ 252036 h 721722"/>
                      <a:gd name="connsiteX16" fmla="*/ 252256 w 323360"/>
                      <a:gd name="connsiteY16" fmla="*/ 262218 h 721722"/>
                      <a:gd name="connsiteX17" fmla="*/ 265401 w 323360"/>
                      <a:gd name="connsiteY17" fmla="*/ 290347 h 721722"/>
                      <a:gd name="connsiteX18" fmla="*/ 275720 w 323360"/>
                      <a:gd name="connsiteY18" fmla="*/ 313563 h 721722"/>
                      <a:gd name="connsiteX19" fmla="*/ 281483 w 323360"/>
                      <a:gd name="connsiteY19" fmla="*/ 342379 h 721722"/>
                      <a:gd name="connsiteX20" fmla="*/ 270807 w 323360"/>
                      <a:gd name="connsiteY20" fmla="*/ 347730 h 721722"/>
                      <a:gd name="connsiteX21" fmla="*/ 273222 w 323360"/>
                      <a:gd name="connsiteY21" fmla="*/ 353630 h 721722"/>
                      <a:gd name="connsiteX22" fmla="*/ 270752 w 323360"/>
                      <a:gd name="connsiteY22" fmla="*/ 357939 h 721722"/>
                      <a:gd name="connsiteX23" fmla="*/ 268173 w 323360"/>
                      <a:gd name="connsiteY23" fmla="*/ 373801 h 721722"/>
                      <a:gd name="connsiteX24" fmla="*/ 272701 w 323360"/>
                      <a:gd name="connsiteY24" fmla="*/ 381540 h 721722"/>
                      <a:gd name="connsiteX25" fmla="*/ 268008 w 323360"/>
                      <a:gd name="connsiteY25" fmla="*/ 390349 h 721722"/>
                      <a:gd name="connsiteX26" fmla="*/ 268063 w 323360"/>
                      <a:gd name="connsiteY26" fmla="*/ 400091 h 721722"/>
                      <a:gd name="connsiteX27" fmla="*/ 278711 w 323360"/>
                      <a:gd name="connsiteY27" fmla="*/ 411672 h 721722"/>
                      <a:gd name="connsiteX28" fmla="*/ 280440 w 323360"/>
                      <a:gd name="connsiteY28" fmla="*/ 432007 h 721722"/>
                      <a:gd name="connsiteX29" fmla="*/ 292789 w 323360"/>
                      <a:gd name="connsiteY29" fmla="*/ 450010 h 721722"/>
                      <a:gd name="connsiteX30" fmla="*/ 290923 w 323360"/>
                      <a:gd name="connsiteY30" fmla="*/ 461207 h 721722"/>
                      <a:gd name="connsiteX31" fmla="*/ 287026 w 323360"/>
                      <a:gd name="connsiteY31" fmla="*/ 469220 h 721722"/>
                      <a:gd name="connsiteX32" fmla="*/ 277147 w 323360"/>
                      <a:gd name="connsiteY32" fmla="*/ 477426 h 721722"/>
                      <a:gd name="connsiteX33" fmla="*/ 289166 w 323360"/>
                      <a:gd name="connsiteY33" fmla="*/ 492355 h 721722"/>
                      <a:gd name="connsiteX34" fmla="*/ 291664 w 323360"/>
                      <a:gd name="connsiteY34" fmla="*/ 495456 h 721722"/>
                      <a:gd name="connsiteX35" fmla="*/ 299457 w 323360"/>
                      <a:gd name="connsiteY35" fmla="*/ 501548 h 721722"/>
                      <a:gd name="connsiteX36" fmla="*/ 312905 w 323360"/>
                      <a:gd name="connsiteY36" fmla="*/ 512059 h 721722"/>
                      <a:gd name="connsiteX37" fmla="*/ 323361 w 323360"/>
                      <a:gd name="connsiteY37" fmla="*/ 533190 h 721722"/>
                      <a:gd name="connsiteX38" fmla="*/ 312658 w 323360"/>
                      <a:gd name="connsiteY38" fmla="*/ 560797 h 721722"/>
                      <a:gd name="connsiteX39" fmla="*/ 282196 w 323360"/>
                      <a:gd name="connsiteY39" fmla="*/ 600068 h 721722"/>
                      <a:gd name="connsiteX40" fmla="*/ 253490 w 323360"/>
                      <a:gd name="connsiteY40" fmla="*/ 637912 h 721722"/>
                      <a:gd name="connsiteX41" fmla="*/ 243749 w 323360"/>
                      <a:gd name="connsiteY41" fmla="*/ 644773 h 721722"/>
                      <a:gd name="connsiteX42" fmla="*/ 241224 w 323360"/>
                      <a:gd name="connsiteY42" fmla="*/ 648532 h 721722"/>
                      <a:gd name="connsiteX43" fmla="*/ 238397 w 323360"/>
                      <a:gd name="connsiteY43" fmla="*/ 654597 h 721722"/>
                      <a:gd name="connsiteX44" fmla="*/ 233787 w 323360"/>
                      <a:gd name="connsiteY44" fmla="*/ 656162 h 721722"/>
                      <a:gd name="connsiteX45" fmla="*/ 218885 w 323360"/>
                      <a:gd name="connsiteY45" fmla="*/ 672435 h 721722"/>
                      <a:gd name="connsiteX46" fmla="*/ 214522 w 323360"/>
                      <a:gd name="connsiteY46" fmla="*/ 678555 h 721722"/>
                      <a:gd name="connsiteX47" fmla="*/ 213369 w 323360"/>
                      <a:gd name="connsiteY47" fmla="*/ 679653 h 721722"/>
                      <a:gd name="connsiteX48" fmla="*/ 201404 w 323360"/>
                      <a:gd name="connsiteY48" fmla="*/ 685306 h 721722"/>
                      <a:gd name="connsiteX49" fmla="*/ 192979 w 323360"/>
                      <a:gd name="connsiteY49" fmla="*/ 681354 h 721722"/>
                      <a:gd name="connsiteX50" fmla="*/ 178572 w 323360"/>
                      <a:gd name="connsiteY50" fmla="*/ 687282 h 721722"/>
                      <a:gd name="connsiteX51" fmla="*/ 173687 w 323360"/>
                      <a:gd name="connsiteY51" fmla="*/ 683275 h 721722"/>
                      <a:gd name="connsiteX52" fmla="*/ 171711 w 323360"/>
                      <a:gd name="connsiteY52" fmla="*/ 690438 h 721722"/>
                      <a:gd name="connsiteX53" fmla="*/ 162901 w 323360"/>
                      <a:gd name="connsiteY53" fmla="*/ 688654 h 721722"/>
                      <a:gd name="connsiteX54" fmla="*/ 163121 w 323360"/>
                      <a:gd name="connsiteY54" fmla="*/ 694527 h 721722"/>
                      <a:gd name="connsiteX55" fmla="*/ 158566 w 323360"/>
                      <a:gd name="connsiteY55" fmla="*/ 698204 h 721722"/>
                      <a:gd name="connsiteX56" fmla="*/ 137819 w 323360"/>
                      <a:gd name="connsiteY56" fmla="*/ 697710 h 721722"/>
                      <a:gd name="connsiteX57" fmla="*/ 115425 w 323360"/>
                      <a:gd name="connsiteY57" fmla="*/ 712145 h 721722"/>
                      <a:gd name="connsiteX58" fmla="*/ 103817 w 323360"/>
                      <a:gd name="connsiteY58" fmla="*/ 711569 h 721722"/>
                      <a:gd name="connsiteX59" fmla="*/ 97505 w 323360"/>
                      <a:gd name="connsiteY59" fmla="*/ 717003 h 721722"/>
                      <a:gd name="connsiteX60" fmla="*/ 82274 w 323360"/>
                      <a:gd name="connsiteY60" fmla="*/ 717799 h 721722"/>
                      <a:gd name="connsiteX61" fmla="*/ 76840 w 323360"/>
                      <a:gd name="connsiteY61" fmla="*/ 721723 h 721722"/>
                      <a:gd name="connsiteX62" fmla="*/ 68745 w 323360"/>
                      <a:gd name="connsiteY62" fmla="*/ 715713 h 721722"/>
                      <a:gd name="connsiteX63" fmla="*/ 72971 w 323360"/>
                      <a:gd name="connsiteY63" fmla="*/ 706190 h 721722"/>
                      <a:gd name="connsiteX64" fmla="*/ 68745 w 323360"/>
                      <a:gd name="connsiteY64" fmla="*/ 710224 h 721722"/>
                      <a:gd name="connsiteX65" fmla="*/ 55874 w 323360"/>
                      <a:gd name="connsiteY65" fmla="*/ 711816 h 721722"/>
                      <a:gd name="connsiteX66" fmla="*/ 54200 w 323360"/>
                      <a:gd name="connsiteY66" fmla="*/ 707892 h 721722"/>
                      <a:gd name="connsiteX67" fmla="*/ 55215 w 323360"/>
                      <a:gd name="connsiteY67" fmla="*/ 698726 h 721722"/>
                      <a:gd name="connsiteX68" fmla="*/ 48876 w 323360"/>
                      <a:gd name="connsiteY68" fmla="*/ 701141 h 721722"/>
                      <a:gd name="connsiteX69" fmla="*/ 47339 w 323360"/>
                      <a:gd name="connsiteY69" fmla="*/ 695076 h 721722"/>
                      <a:gd name="connsiteX70" fmla="*/ 49095 w 323360"/>
                      <a:gd name="connsiteY70" fmla="*/ 690767 h 721722"/>
                      <a:gd name="connsiteX71" fmla="*/ 46790 w 323360"/>
                      <a:gd name="connsiteY71" fmla="*/ 687529 h 721722"/>
                      <a:gd name="connsiteX72" fmla="*/ 39271 w 323360"/>
                      <a:gd name="connsiteY72" fmla="*/ 694582 h 721722"/>
                      <a:gd name="connsiteX73" fmla="*/ 35017 w 323360"/>
                      <a:gd name="connsiteY73" fmla="*/ 679269 h 721722"/>
                      <a:gd name="connsiteX74" fmla="*/ 30187 w 323360"/>
                      <a:gd name="connsiteY74" fmla="*/ 682342 h 721722"/>
                      <a:gd name="connsiteX75" fmla="*/ 21625 w 323360"/>
                      <a:gd name="connsiteY75" fmla="*/ 681272 h 721722"/>
                      <a:gd name="connsiteX76" fmla="*/ 20966 w 323360"/>
                      <a:gd name="connsiteY76" fmla="*/ 677457 h 721722"/>
                      <a:gd name="connsiteX77" fmla="*/ 23793 w 323360"/>
                      <a:gd name="connsiteY77" fmla="*/ 669911 h 721722"/>
                      <a:gd name="connsiteX78" fmla="*/ 20610 w 323360"/>
                      <a:gd name="connsiteY78" fmla="*/ 659345 h 721722"/>
                      <a:gd name="connsiteX79" fmla="*/ 25632 w 323360"/>
                      <a:gd name="connsiteY79" fmla="*/ 649521 h 721722"/>
                      <a:gd name="connsiteX80" fmla="*/ 28733 w 323360"/>
                      <a:gd name="connsiteY80" fmla="*/ 624794 h 721722"/>
                      <a:gd name="connsiteX81" fmla="*/ 27278 w 323360"/>
                      <a:gd name="connsiteY81" fmla="*/ 614805 h 721722"/>
                      <a:gd name="connsiteX82" fmla="*/ 29666 w 323360"/>
                      <a:gd name="connsiteY82" fmla="*/ 612829 h 721722"/>
                      <a:gd name="connsiteX83" fmla="*/ 23217 w 323360"/>
                      <a:gd name="connsiteY83" fmla="*/ 593537 h 721722"/>
                      <a:gd name="connsiteX84" fmla="*/ 23628 w 323360"/>
                      <a:gd name="connsiteY84" fmla="*/ 571253 h 721722"/>
                      <a:gd name="connsiteX85" fmla="*/ 18799 w 323360"/>
                      <a:gd name="connsiteY85" fmla="*/ 560797 h 721722"/>
                      <a:gd name="connsiteX86" fmla="*/ 15258 w 323360"/>
                      <a:gd name="connsiteY86" fmla="*/ 545347 h 721722"/>
                      <a:gd name="connsiteX87" fmla="*/ 18139 w 323360"/>
                      <a:gd name="connsiteY87" fmla="*/ 529512 h 721722"/>
                      <a:gd name="connsiteX88" fmla="*/ 23079 w 323360"/>
                      <a:gd name="connsiteY88" fmla="*/ 533053 h 721722"/>
                      <a:gd name="connsiteX89" fmla="*/ 26867 w 323360"/>
                      <a:gd name="connsiteY89" fmla="*/ 527152 h 721722"/>
                      <a:gd name="connsiteX90" fmla="*/ 26427 w 323360"/>
                      <a:gd name="connsiteY90" fmla="*/ 518837 h 721722"/>
                      <a:gd name="connsiteX91" fmla="*/ 29007 w 323360"/>
                      <a:gd name="connsiteY91" fmla="*/ 521170 h 721722"/>
                      <a:gd name="connsiteX92" fmla="*/ 29940 w 323360"/>
                      <a:gd name="connsiteY92" fmla="*/ 513239 h 721722"/>
                      <a:gd name="connsiteX93" fmla="*/ 35100 w 323360"/>
                      <a:gd name="connsiteY93" fmla="*/ 508656 h 721722"/>
                      <a:gd name="connsiteX94" fmla="*/ 43909 w 323360"/>
                      <a:gd name="connsiteY94" fmla="*/ 503222 h 721722"/>
                      <a:gd name="connsiteX95" fmla="*/ 52471 w 323360"/>
                      <a:gd name="connsiteY95" fmla="*/ 506735 h 721722"/>
                      <a:gd name="connsiteX96" fmla="*/ 51236 w 323360"/>
                      <a:gd name="connsiteY96" fmla="*/ 501493 h 721722"/>
                      <a:gd name="connsiteX97" fmla="*/ 50303 w 323360"/>
                      <a:gd name="connsiteY97" fmla="*/ 497377 h 721722"/>
                      <a:gd name="connsiteX98" fmla="*/ 50879 w 323360"/>
                      <a:gd name="connsiteY98" fmla="*/ 495401 h 721722"/>
                      <a:gd name="connsiteX99" fmla="*/ 52416 w 323360"/>
                      <a:gd name="connsiteY99" fmla="*/ 490214 h 721722"/>
                      <a:gd name="connsiteX100" fmla="*/ 60539 w 323360"/>
                      <a:gd name="connsiteY100" fmla="*/ 482530 h 721722"/>
                      <a:gd name="connsiteX101" fmla="*/ 62954 w 323360"/>
                      <a:gd name="connsiteY101" fmla="*/ 471306 h 721722"/>
                      <a:gd name="connsiteX102" fmla="*/ 68196 w 323360"/>
                      <a:gd name="connsiteY102" fmla="*/ 471937 h 721722"/>
                      <a:gd name="connsiteX103" fmla="*/ 69019 w 323360"/>
                      <a:gd name="connsiteY103" fmla="*/ 468562 h 721722"/>
                      <a:gd name="connsiteX104" fmla="*/ 73273 w 323360"/>
                      <a:gd name="connsiteY104" fmla="*/ 469632 h 721722"/>
                      <a:gd name="connsiteX105" fmla="*/ 82384 w 323360"/>
                      <a:gd name="connsiteY105" fmla="*/ 465872 h 721722"/>
                      <a:gd name="connsiteX106" fmla="*/ 83564 w 323360"/>
                      <a:gd name="connsiteY106" fmla="*/ 462743 h 721722"/>
                      <a:gd name="connsiteX107" fmla="*/ 84470 w 323360"/>
                      <a:gd name="connsiteY107" fmla="*/ 456898 h 721722"/>
                      <a:gd name="connsiteX108" fmla="*/ 90232 w 323360"/>
                      <a:gd name="connsiteY108" fmla="*/ 457859 h 721722"/>
                      <a:gd name="connsiteX109" fmla="*/ 94239 w 323360"/>
                      <a:gd name="connsiteY109" fmla="*/ 449900 h 721722"/>
                      <a:gd name="connsiteX110" fmla="*/ 95227 w 323360"/>
                      <a:gd name="connsiteY110" fmla="*/ 447952 h 721722"/>
                      <a:gd name="connsiteX111" fmla="*/ 96819 w 323360"/>
                      <a:gd name="connsiteY111" fmla="*/ 444796 h 721722"/>
                      <a:gd name="connsiteX112" fmla="*/ 101429 w 323360"/>
                      <a:gd name="connsiteY112" fmla="*/ 435575 h 721722"/>
                      <a:gd name="connsiteX113" fmla="*/ 110814 w 323360"/>
                      <a:gd name="connsiteY113" fmla="*/ 424845 h 721722"/>
                      <a:gd name="connsiteX114" fmla="*/ 118911 w 323360"/>
                      <a:gd name="connsiteY114" fmla="*/ 405799 h 721722"/>
                      <a:gd name="connsiteX115" fmla="*/ 130903 w 323360"/>
                      <a:gd name="connsiteY115" fmla="*/ 399817 h 721722"/>
                      <a:gd name="connsiteX116" fmla="*/ 138202 w 323360"/>
                      <a:gd name="connsiteY116" fmla="*/ 400201 h 721722"/>
                      <a:gd name="connsiteX117" fmla="*/ 141057 w 323360"/>
                      <a:gd name="connsiteY117" fmla="*/ 395206 h 721722"/>
                      <a:gd name="connsiteX118" fmla="*/ 138807 w 323360"/>
                      <a:gd name="connsiteY118" fmla="*/ 381101 h 721722"/>
                      <a:gd name="connsiteX119" fmla="*/ 139163 w 323360"/>
                      <a:gd name="connsiteY119" fmla="*/ 360683 h 721722"/>
                      <a:gd name="connsiteX120" fmla="*/ 133400 w 323360"/>
                      <a:gd name="connsiteY120" fmla="*/ 351435 h 721722"/>
                      <a:gd name="connsiteX121" fmla="*/ 121792 w 323360"/>
                      <a:gd name="connsiteY121" fmla="*/ 347236 h 721722"/>
                      <a:gd name="connsiteX122" fmla="*/ 118032 w 323360"/>
                      <a:gd name="connsiteY122" fmla="*/ 341555 h 721722"/>
                      <a:gd name="connsiteX123" fmla="*/ 106643 w 323360"/>
                      <a:gd name="connsiteY123" fmla="*/ 338262 h 721722"/>
                      <a:gd name="connsiteX124" fmla="*/ 106039 w 323360"/>
                      <a:gd name="connsiteY124" fmla="*/ 335216 h 721722"/>
                      <a:gd name="connsiteX125" fmla="*/ 104914 w 323360"/>
                      <a:gd name="connsiteY125" fmla="*/ 327697 h 721722"/>
                      <a:gd name="connsiteX126" fmla="*/ 98822 w 323360"/>
                      <a:gd name="connsiteY126" fmla="*/ 311368 h 721722"/>
                      <a:gd name="connsiteX127" fmla="*/ 93690 w 323360"/>
                      <a:gd name="connsiteY127" fmla="*/ 307224 h 721722"/>
                      <a:gd name="connsiteX128" fmla="*/ 91632 w 323360"/>
                      <a:gd name="connsiteY128" fmla="*/ 300857 h 721722"/>
                      <a:gd name="connsiteX129" fmla="*/ 91961 w 323360"/>
                      <a:gd name="connsiteY129" fmla="*/ 288398 h 721722"/>
                      <a:gd name="connsiteX130" fmla="*/ 97532 w 323360"/>
                      <a:gd name="connsiteY130" fmla="*/ 280303 h 721722"/>
                      <a:gd name="connsiteX131" fmla="*/ 100523 w 323360"/>
                      <a:gd name="connsiteY131" fmla="*/ 260434 h 721722"/>
                      <a:gd name="connsiteX132" fmla="*/ 88696 w 323360"/>
                      <a:gd name="connsiteY132" fmla="*/ 233951 h 721722"/>
                      <a:gd name="connsiteX133" fmla="*/ 89574 w 323360"/>
                      <a:gd name="connsiteY133" fmla="*/ 228435 h 721722"/>
                      <a:gd name="connsiteX134" fmla="*/ 93443 w 323360"/>
                      <a:gd name="connsiteY134" fmla="*/ 225060 h 721722"/>
                      <a:gd name="connsiteX135" fmla="*/ 93745 w 323360"/>
                      <a:gd name="connsiteY135" fmla="*/ 215894 h 721722"/>
                      <a:gd name="connsiteX136" fmla="*/ 84552 w 323360"/>
                      <a:gd name="connsiteY136" fmla="*/ 211366 h 721722"/>
                      <a:gd name="connsiteX137" fmla="*/ 87900 w 323360"/>
                      <a:gd name="connsiteY137" fmla="*/ 202913 h 721722"/>
                      <a:gd name="connsiteX138" fmla="*/ 86363 w 323360"/>
                      <a:gd name="connsiteY138" fmla="*/ 184883 h 721722"/>
                      <a:gd name="connsiteX139" fmla="*/ 90397 w 323360"/>
                      <a:gd name="connsiteY139" fmla="*/ 177446 h 721722"/>
                      <a:gd name="connsiteX140" fmla="*/ 89958 w 323360"/>
                      <a:gd name="connsiteY140" fmla="*/ 173577 h 721722"/>
                      <a:gd name="connsiteX141" fmla="*/ 80764 w 323360"/>
                      <a:gd name="connsiteY141" fmla="*/ 160487 h 721722"/>
                      <a:gd name="connsiteX142" fmla="*/ 76950 w 323360"/>
                      <a:gd name="connsiteY142" fmla="*/ 159499 h 721722"/>
                      <a:gd name="connsiteX143" fmla="*/ 73437 w 323360"/>
                      <a:gd name="connsiteY143" fmla="*/ 147314 h 721722"/>
                      <a:gd name="connsiteX144" fmla="*/ 53212 w 323360"/>
                      <a:gd name="connsiteY144" fmla="*/ 133730 h 721722"/>
                      <a:gd name="connsiteX145" fmla="*/ 44540 w 323360"/>
                      <a:gd name="connsiteY145" fmla="*/ 132906 h 721722"/>
                      <a:gd name="connsiteX146" fmla="*/ 28952 w 323360"/>
                      <a:gd name="connsiteY146" fmla="*/ 117044 h 721722"/>
                      <a:gd name="connsiteX147" fmla="*/ 11252 w 323360"/>
                      <a:gd name="connsiteY147" fmla="*/ 98905 h 721722"/>
                      <a:gd name="connsiteX148" fmla="*/ 6888 w 323360"/>
                      <a:gd name="connsiteY148" fmla="*/ 89135 h 721722"/>
                      <a:gd name="connsiteX149" fmla="*/ 0 w 323360"/>
                      <a:gd name="connsiteY149" fmla="*/ 86144 h 721722"/>
                      <a:gd name="connsiteX150" fmla="*/ 5269 w 323360"/>
                      <a:gd name="connsiteY150" fmla="*/ 82439 h 721722"/>
                      <a:gd name="connsiteX151" fmla="*/ 13859 w 323360"/>
                      <a:gd name="connsiteY151" fmla="*/ 85951 h 721722"/>
                      <a:gd name="connsiteX152" fmla="*/ 15423 w 323360"/>
                      <a:gd name="connsiteY152" fmla="*/ 81725 h 721722"/>
                      <a:gd name="connsiteX153" fmla="*/ 13639 w 323360"/>
                      <a:gd name="connsiteY153" fmla="*/ 75907 h 721722"/>
                      <a:gd name="connsiteX154" fmla="*/ 14463 w 323360"/>
                      <a:gd name="connsiteY154" fmla="*/ 71434 h 721722"/>
                      <a:gd name="connsiteX155" fmla="*/ 21817 w 323360"/>
                      <a:gd name="connsiteY155" fmla="*/ 65506 h 721722"/>
                      <a:gd name="connsiteX156" fmla="*/ 28952 w 323360"/>
                      <a:gd name="connsiteY156" fmla="*/ 67510 h 721722"/>
                      <a:gd name="connsiteX157" fmla="*/ 31038 w 323360"/>
                      <a:gd name="connsiteY157" fmla="*/ 68113 h 721722"/>
                      <a:gd name="connsiteX158" fmla="*/ 33453 w 323360"/>
                      <a:gd name="connsiteY158" fmla="*/ 71434 h 721722"/>
                      <a:gd name="connsiteX159" fmla="*/ 42180 w 323360"/>
                      <a:gd name="connsiteY159" fmla="*/ 85073 h 721722"/>
                      <a:gd name="connsiteX160" fmla="*/ 54392 w 323360"/>
                      <a:gd name="connsiteY160" fmla="*/ 113285 h 721722"/>
                      <a:gd name="connsiteX161" fmla="*/ 77910 w 323360"/>
                      <a:gd name="connsiteY161" fmla="*/ 120502 h 721722"/>
                      <a:gd name="connsiteX162" fmla="*/ 91056 w 323360"/>
                      <a:gd name="connsiteY162" fmla="*/ 114931 h 721722"/>
                      <a:gd name="connsiteX163" fmla="*/ 95337 w 323360"/>
                      <a:gd name="connsiteY163" fmla="*/ 106122 h 721722"/>
                      <a:gd name="connsiteX164" fmla="*/ 99096 w 323360"/>
                      <a:gd name="connsiteY164" fmla="*/ 104832 h 721722"/>
                      <a:gd name="connsiteX165" fmla="*/ 126951 w 323360"/>
                      <a:gd name="connsiteY165" fmla="*/ 125140 h 721722"/>
                      <a:gd name="connsiteX166" fmla="*/ 133675 w 323360"/>
                      <a:gd name="connsiteY166" fmla="*/ 120036 h 721722"/>
                      <a:gd name="connsiteX167" fmla="*/ 137654 w 323360"/>
                      <a:gd name="connsiteY167" fmla="*/ 104750 h 721722"/>
                      <a:gd name="connsiteX168" fmla="*/ 150333 w 323360"/>
                      <a:gd name="connsiteY168" fmla="*/ 97121 h 721722"/>
                      <a:gd name="connsiteX169" fmla="*/ 152830 w 323360"/>
                      <a:gd name="connsiteY169" fmla="*/ 88778 h 721722"/>
                      <a:gd name="connsiteX170" fmla="*/ 151622 w 323360"/>
                      <a:gd name="connsiteY170" fmla="*/ 71407 h 721722"/>
                      <a:gd name="connsiteX171" fmla="*/ 153132 w 323360"/>
                      <a:gd name="connsiteY171" fmla="*/ 63668 h 721722"/>
                      <a:gd name="connsiteX172" fmla="*/ 154915 w 323360"/>
                      <a:gd name="connsiteY172" fmla="*/ 60622 h 721722"/>
                      <a:gd name="connsiteX173" fmla="*/ 154696 w 323360"/>
                      <a:gd name="connsiteY173" fmla="*/ 55380 h 721722"/>
                      <a:gd name="connsiteX174" fmla="*/ 157770 w 323360"/>
                      <a:gd name="connsiteY174" fmla="*/ 44046 h 721722"/>
                      <a:gd name="connsiteX175" fmla="*/ 159608 w 323360"/>
                      <a:gd name="connsiteY175" fmla="*/ 32794 h 721722"/>
                      <a:gd name="connsiteX176" fmla="*/ 174674 w 323360"/>
                      <a:gd name="connsiteY176" fmla="*/ 12404 h 721722"/>
                      <a:gd name="connsiteX177" fmla="*/ 191799 w 323360"/>
                      <a:gd name="connsiteY177" fmla="*/ 14133 h 721722"/>
                      <a:gd name="connsiteX178" fmla="*/ 208731 w 323360"/>
                      <a:gd name="connsiteY178" fmla="*/ 878 h 721722"/>
                      <a:gd name="connsiteX179" fmla="*/ 217266 w 323360"/>
                      <a:gd name="connsiteY179" fmla="*/ 55 h 72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323360" h="721722">
                        <a:moveTo>
                          <a:pt x="217266" y="0"/>
                        </a:moveTo>
                        <a:lnTo>
                          <a:pt x="230411" y="21598"/>
                        </a:lnTo>
                        <a:lnTo>
                          <a:pt x="241800" y="27855"/>
                        </a:lnTo>
                        <a:lnTo>
                          <a:pt x="252009" y="33343"/>
                        </a:lnTo>
                        <a:lnTo>
                          <a:pt x="257799" y="50605"/>
                        </a:lnTo>
                        <a:lnTo>
                          <a:pt x="245285" y="70419"/>
                        </a:lnTo>
                        <a:lnTo>
                          <a:pt x="243254" y="80627"/>
                        </a:lnTo>
                        <a:lnTo>
                          <a:pt x="246493" y="86775"/>
                        </a:lnTo>
                        <a:lnTo>
                          <a:pt x="237519" y="96736"/>
                        </a:lnTo>
                        <a:lnTo>
                          <a:pt x="240620" y="104613"/>
                        </a:lnTo>
                        <a:lnTo>
                          <a:pt x="233513" y="128927"/>
                        </a:lnTo>
                        <a:lnTo>
                          <a:pt x="236833" y="148302"/>
                        </a:lnTo>
                        <a:lnTo>
                          <a:pt x="257689" y="166387"/>
                        </a:lnTo>
                        <a:lnTo>
                          <a:pt x="276680" y="198303"/>
                        </a:lnTo>
                        <a:lnTo>
                          <a:pt x="273442" y="212052"/>
                        </a:lnTo>
                        <a:lnTo>
                          <a:pt x="251158" y="252036"/>
                        </a:lnTo>
                        <a:lnTo>
                          <a:pt x="252256" y="262218"/>
                        </a:lnTo>
                        <a:lnTo>
                          <a:pt x="265401" y="290347"/>
                        </a:lnTo>
                        <a:lnTo>
                          <a:pt x="275720" y="313563"/>
                        </a:lnTo>
                        <a:lnTo>
                          <a:pt x="281483" y="342379"/>
                        </a:lnTo>
                        <a:lnTo>
                          <a:pt x="270807" y="347730"/>
                        </a:lnTo>
                        <a:lnTo>
                          <a:pt x="273222" y="353630"/>
                        </a:lnTo>
                        <a:lnTo>
                          <a:pt x="270752" y="357939"/>
                        </a:lnTo>
                        <a:lnTo>
                          <a:pt x="268173" y="373801"/>
                        </a:lnTo>
                        <a:lnTo>
                          <a:pt x="272701" y="381540"/>
                        </a:lnTo>
                        <a:lnTo>
                          <a:pt x="268008" y="390349"/>
                        </a:lnTo>
                        <a:lnTo>
                          <a:pt x="268063" y="400091"/>
                        </a:lnTo>
                        <a:lnTo>
                          <a:pt x="278711" y="411672"/>
                        </a:lnTo>
                        <a:lnTo>
                          <a:pt x="280440" y="432007"/>
                        </a:lnTo>
                        <a:lnTo>
                          <a:pt x="292789" y="450010"/>
                        </a:lnTo>
                        <a:lnTo>
                          <a:pt x="290923" y="461207"/>
                        </a:lnTo>
                        <a:lnTo>
                          <a:pt x="287026" y="469220"/>
                        </a:lnTo>
                        <a:lnTo>
                          <a:pt x="277147" y="477426"/>
                        </a:lnTo>
                        <a:lnTo>
                          <a:pt x="289166" y="492355"/>
                        </a:lnTo>
                        <a:lnTo>
                          <a:pt x="291664" y="495456"/>
                        </a:lnTo>
                        <a:lnTo>
                          <a:pt x="299457" y="501548"/>
                        </a:lnTo>
                        <a:lnTo>
                          <a:pt x="312905" y="512059"/>
                        </a:lnTo>
                        <a:lnTo>
                          <a:pt x="323361" y="533190"/>
                        </a:lnTo>
                        <a:lnTo>
                          <a:pt x="312658" y="560797"/>
                        </a:lnTo>
                        <a:lnTo>
                          <a:pt x="282196" y="600068"/>
                        </a:lnTo>
                        <a:lnTo>
                          <a:pt x="253490" y="637912"/>
                        </a:lnTo>
                        <a:lnTo>
                          <a:pt x="243749" y="644773"/>
                        </a:lnTo>
                        <a:lnTo>
                          <a:pt x="241224" y="648532"/>
                        </a:lnTo>
                        <a:lnTo>
                          <a:pt x="238397" y="654597"/>
                        </a:lnTo>
                        <a:lnTo>
                          <a:pt x="233787" y="656162"/>
                        </a:lnTo>
                        <a:lnTo>
                          <a:pt x="218885" y="672435"/>
                        </a:lnTo>
                        <a:lnTo>
                          <a:pt x="214522" y="678555"/>
                        </a:lnTo>
                        <a:lnTo>
                          <a:pt x="213369" y="679653"/>
                        </a:lnTo>
                        <a:lnTo>
                          <a:pt x="201404" y="685306"/>
                        </a:lnTo>
                        <a:lnTo>
                          <a:pt x="192979" y="681354"/>
                        </a:lnTo>
                        <a:lnTo>
                          <a:pt x="178572" y="687282"/>
                        </a:lnTo>
                        <a:lnTo>
                          <a:pt x="173687" y="683275"/>
                        </a:lnTo>
                        <a:lnTo>
                          <a:pt x="171711" y="690438"/>
                        </a:lnTo>
                        <a:lnTo>
                          <a:pt x="162901" y="688654"/>
                        </a:lnTo>
                        <a:lnTo>
                          <a:pt x="163121" y="694527"/>
                        </a:lnTo>
                        <a:lnTo>
                          <a:pt x="158566" y="698204"/>
                        </a:lnTo>
                        <a:lnTo>
                          <a:pt x="137819" y="697710"/>
                        </a:lnTo>
                        <a:lnTo>
                          <a:pt x="115425" y="712145"/>
                        </a:lnTo>
                        <a:lnTo>
                          <a:pt x="103817" y="711569"/>
                        </a:lnTo>
                        <a:lnTo>
                          <a:pt x="97505" y="717003"/>
                        </a:lnTo>
                        <a:lnTo>
                          <a:pt x="82274" y="717799"/>
                        </a:lnTo>
                        <a:lnTo>
                          <a:pt x="76840" y="721723"/>
                        </a:lnTo>
                        <a:lnTo>
                          <a:pt x="68745" y="715713"/>
                        </a:lnTo>
                        <a:lnTo>
                          <a:pt x="72971" y="706190"/>
                        </a:lnTo>
                        <a:lnTo>
                          <a:pt x="68745" y="710224"/>
                        </a:lnTo>
                        <a:lnTo>
                          <a:pt x="55874" y="711816"/>
                        </a:lnTo>
                        <a:lnTo>
                          <a:pt x="54200" y="707892"/>
                        </a:lnTo>
                        <a:lnTo>
                          <a:pt x="55215" y="698726"/>
                        </a:lnTo>
                        <a:lnTo>
                          <a:pt x="48876" y="701141"/>
                        </a:lnTo>
                        <a:lnTo>
                          <a:pt x="47339" y="695076"/>
                        </a:lnTo>
                        <a:lnTo>
                          <a:pt x="49095" y="690767"/>
                        </a:lnTo>
                        <a:lnTo>
                          <a:pt x="46790" y="687529"/>
                        </a:lnTo>
                        <a:lnTo>
                          <a:pt x="39271" y="694582"/>
                        </a:lnTo>
                        <a:lnTo>
                          <a:pt x="35017" y="679269"/>
                        </a:lnTo>
                        <a:lnTo>
                          <a:pt x="30187" y="682342"/>
                        </a:lnTo>
                        <a:lnTo>
                          <a:pt x="21625" y="681272"/>
                        </a:lnTo>
                        <a:lnTo>
                          <a:pt x="20966" y="677457"/>
                        </a:lnTo>
                        <a:lnTo>
                          <a:pt x="23793" y="669911"/>
                        </a:lnTo>
                        <a:lnTo>
                          <a:pt x="20610" y="659345"/>
                        </a:lnTo>
                        <a:lnTo>
                          <a:pt x="25632" y="649521"/>
                        </a:lnTo>
                        <a:lnTo>
                          <a:pt x="28733" y="624794"/>
                        </a:lnTo>
                        <a:lnTo>
                          <a:pt x="27278" y="614805"/>
                        </a:lnTo>
                        <a:lnTo>
                          <a:pt x="29666" y="612829"/>
                        </a:lnTo>
                        <a:lnTo>
                          <a:pt x="23217" y="593537"/>
                        </a:lnTo>
                        <a:lnTo>
                          <a:pt x="23628" y="571253"/>
                        </a:lnTo>
                        <a:lnTo>
                          <a:pt x="18799" y="560797"/>
                        </a:lnTo>
                        <a:lnTo>
                          <a:pt x="15258" y="545347"/>
                        </a:lnTo>
                        <a:lnTo>
                          <a:pt x="18139" y="529512"/>
                        </a:lnTo>
                        <a:lnTo>
                          <a:pt x="23079" y="533053"/>
                        </a:lnTo>
                        <a:lnTo>
                          <a:pt x="26867" y="527152"/>
                        </a:lnTo>
                        <a:lnTo>
                          <a:pt x="26427" y="518837"/>
                        </a:lnTo>
                        <a:lnTo>
                          <a:pt x="29007" y="521170"/>
                        </a:lnTo>
                        <a:lnTo>
                          <a:pt x="29940" y="513239"/>
                        </a:lnTo>
                        <a:lnTo>
                          <a:pt x="35100" y="508656"/>
                        </a:lnTo>
                        <a:lnTo>
                          <a:pt x="43909" y="503222"/>
                        </a:lnTo>
                        <a:lnTo>
                          <a:pt x="52471" y="506735"/>
                        </a:lnTo>
                        <a:lnTo>
                          <a:pt x="51236" y="501493"/>
                        </a:lnTo>
                        <a:lnTo>
                          <a:pt x="50303" y="497377"/>
                        </a:lnTo>
                        <a:lnTo>
                          <a:pt x="50879" y="495401"/>
                        </a:lnTo>
                        <a:lnTo>
                          <a:pt x="52416" y="490214"/>
                        </a:lnTo>
                        <a:lnTo>
                          <a:pt x="60539" y="482530"/>
                        </a:lnTo>
                        <a:lnTo>
                          <a:pt x="62954" y="471306"/>
                        </a:lnTo>
                        <a:lnTo>
                          <a:pt x="68196" y="471937"/>
                        </a:lnTo>
                        <a:lnTo>
                          <a:pt x="69019" y="468562"/>
                        </a:lnTo>
                        <a:lnTo>
                          <a:pt x="73273" y="469632"/>
                        </a:lnTo>
                        <a:lnTo>
                          <a:pt x="82384" y="465872"/>
                        </a:lnTo>
                        <a:lnTo>
                          <a:pt x="83564" y="462743"/>
                        </a:lnTo>
                        <a:lnTo>
                          <a:pt x="84470" y="456898"/>
                        </a:lnTo>
                        <a:lnTo>
                          <a:pt x="90232" y="457859"/>
                        </a:lnTo>
                        <a:lnTo>
                          <a:pt x="94239" y="449900"/>
                        </a:lnTo>
                        <a:lnTo>
                          <a:pt x="95227" y="447952"/>
                        </a:lnTo>
                        <a:lnTo>
                          <a:pt x="96819" y="444796"/>
                        </a:lnTo>
                        <a:lnTo>
                          <a:pt x="101429" y="435575"/>
                        </a:lnTo>
                        <a:lnTo>
                          <a:pt x="110814" y="424845"/>
                        </a:lnTo>
                        <a:lnTo>
                          <a:pt x="118911" y="405799"/>
                        </a:lnTo>
                        <a:lnTo>
                          <a:pt x="130903" y="399817"/>
                        </a:lnTo>
                        <a:lnTo>
                          <a:pt x="138202" y="400201"/>
                        </a:lnTo>
                        <a:lnTo>
                          <a:pt x="141057" y="395206"/>
                        </a:lnTo>
                        <a:lnTo>
                          <a:pt x="138807" y="381101"/>
                        </a:lnTo>
                        <a:lnTo>
                          <a:pt x="139163" y="360683"/>
                        </a:lnTo>
                        <a:lnTo>
                          <a:pt x="133400" y="351435"/>
                        </a:lnTo>
                        <a:lnTo>
                          <a:pt x="121792" y="347236"/>
                        </a:lnTo>
                        <a:lnTo>
                          <a:pt x="118032" y="341555"/>
                        </a:lnTo>
                        <a:lnTo>
                          <a:pt x="106643" y="338262"/>
                        </a:lnTo>
                        <a:lnTo>
                          <a:pt x="106039" y="335216"/>
                        </a:lnTo>
                        <a:lnTo>
                          <a:pt x="104914" y="327697"/>
                        </a:lnTo>
                        <a:lnTo>
                          <a:pt x="98822" y="311368"/>
                        </a:lnTo>
                        <a:lnTo>
                          <a:pt x="93690" y="307224"/>
                        </a:lnTo>
                        <a:lnTo>
                          <a:pt x="91632" y="300857"/>
                        </a:lnTo>
                        <a:lnTo>
                          <a:pt x="91961" y="288398"/>
                        </a:lnTo>
                        <a:lnTo>
                          <a:pt x="97532" y="280303"/>
                        </a:lnTo>
                        <a:lnTo>
                          <a:pt x="100523" y="260434"/>
                        </a:lnTo>
                        <a:lnTo>
                          <a:pt x="88696" y="233951"/>
                        </a:lnTo>
                        <a:lnTo>
                          <a:pt x="89574" y="228435"/>
                        </a:lnTo>
                        <a:lnTo>
                          <a:pt x="93443" y="225060"/>
                        </a:lnTo>
                        <a:lnTo>
                          <a:pt x="93745" y="215894"/>
                        </a:lnTo>
                        <a:lnTo>
                          <a:pt x="84552" y="211366"/>
                        </a:lnTo>
                        <a:lnTo>
                          <a:pt x="87900" y="202913"/>
                        </a:lnTo>
                        <a:lnTo>
                          <a:pt x="86363" y="184883"/>
                        </a:lnTo>
                        <a:lnTo>
                          <a:pt x="90397" y="177446"/>
                        </a:lnTo>
                        <a:lnTo>
                          <a:pt x="89958" y="173577"/>
                        </a:lnTo>
                        <a:lnTo>
                          <a:pt x="80764" y="160487"/>
                        </a:lnTo>
                        <a:lnTo>
                          <a:pt x="76950" y="159499"/>
                        </a:lnTo>
                        <a:lnTo>
                          <a:pt x="73437" y="147314"/>
                        </a:lnTo>
                        <a:lnTo>
                          <a:pt x="53212" y="133730"/>
                        </a:lnTo>
                        <a:lnTo>
                          <a:pt x="44540" y="132906"/>
                        </a:lnTo>
                        <a:lnTo>
                          <a:pt x="28952" y="117044"/>
                        </a:lnTo>
                        <a:lnTo>
                          <a:pt x="11252" y="98905"/>
                        </a:lnTo>
                        <a:lnTo>
                          <a:pt x="6888" y="89135"/>
                        </a:lnTo>
                        <a:lnTo>
                          <a:pt x="0" y="86144"/>
                        </a:lnTo>
                        <a:lnTo>
                          <a:pt x="5269" y="82439"/>
                        </a:lnTo>
                        <a:lnTo>
                          <a:pt x="13859" y="85951"/>
                        </a:lnTo>
                        <a:lnTo>
                          <a:pt x="15423" y="81725"/>
                        </a:lnTo>
                        <a:lnTo>
                          <a:pt x="13639" y="75907"/>
                        </a:lnTo>
                        <a:lnTo>
                          <a:pt x="14463" y="71434"/>
                        </a:lnTo>
                        <a:lnTo>
                          <a:pt x="21817" y="65506"/>
                        </a:lnTo>
                        <a:lnTo>
                          <a:pt x="28952" y="67510"/>
                        </a:lnTo>
                        <a:lnTo>
                          <a:pt x="31038" y="68113"/>
                        </a:lnTo>
                        <a:lnTo>
                          <a:pt x="33453" y="71434"/>
                        </a:lnTo>
                        <a:lnTo>
                          <a:pt x="42180" y="85073"/>
                        </a:lnTo>
                        <a:lnTo>
                          <a:pt x="54392" y="113285"/>
                        </a:lnTo>
                        <a:lnTo>
                          <a:pt x="77910" y="120502"/>
                        </a:lnTo>
                        <a:lnTo>
                          <a:pt x="91056" y="114931"/>
                        </a:lnTo>
                        <a:lnTo>
                          <a:pt x="95337" y="106122"/>
                        </a:lnTo>
                        <a:lnTo>
                          <a:pt x="99096" y="104832"/>
                        </a:lnTo>
                        <a:lnTo>
                          <a:pt x="126951" y="125140"/>
                        </a:lnTo>
                        <a:lnTo>
                          <a:pt x="133675" y="120036"/>
                        </a:lnTo>
                        <a:lnTo>
                          <a:pt x="137654" y="104750"/>
                        </a:lnTo>
                        <a:lnTo>
                          <a:pt x="150333" y="97121"/>
                        </a:lnTo>
                        <a:lnTo>
                          <a:pt x="152830" y="88778"/>
                        </a:lnTo>
                        <a:lnTo>
                          <a:pt x="151622" y="71407"/>
                        </a:lnTo>
                        <a:lnTo>
                          <a:pt x="153132" y="63668"/>
                        </a:lnTo>
                        <a:lnTo>
                          <a:pt x="154915" y="60622"/>
                        </a:lnTo>
                        <a:lnTo>
                          <a:pt x="154696" y="55380"/>
                        </a:lnTo>
                        <a:lnTo>
                          <a:pt x="157770" y="44046"/>
                        </a:lnTo>
                        <a:lnTo>
                          <a:pt x="159608" y="32794"/>
                        </a:lnTo>
                        <a:lnTo>
                          <a:pt x="174674" y="12404"/>
                        </a:lnTo>
                        <a:lnTo>
                          <a:pt x="191799" y="14133"/>
                        </a:lnTo>
                        <a:lnTo>
                          <a:pt x="208731" y="878"/>
                        </a:lnTo>
                        <a:lnTo>
                          <a:pt x="217266" y="5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1" name="Freeform: Shape 3420">
                    <a:extLst>
                      <a:ext uri="{FF2B5EF4-FFF2-40B4-BE49-F238E27FC236}">
                        <a16:creationId xmlns:a16="http://schemas.microsoft.com/office/drawing/2014/main" id="{FDC6F581-42D4-69B3-5261-0151175484B6}"/>
                      </a:ext>
                    </a:extLst>
                  </p:cNvPr>
                  <p:cNvSpPr/>
                  <p:nvPr/>
                </p:nvSpPr>
                <p:spPr>
                  <a:xfrm>
                    <a:off x="-5711904" y="2633702"/>
                    <a:ext cx="21981" cy="23655"/>
                  </a:xfrm>
                  <a:custGeom>
                    <a:avLst/>
                    <a:gdLst>
                      <a:gd name="connsiteX0" fmla="*/ 20527 w 21981"/>
                      <a:gd name="connsiteY0" fmla="*/ 7684 h 23655"/>
                      <a:gd name="connsiteX1" fmla="*/ 18387 w 21981"/>
                      <a:gd name="connsiteY1" fmla="*/ 13996 h 23655"/>
                      <a:gd name="connsiteX2" fmla="*/ 14545 w 21981"/>
                      <a:gd name="connsiteY2" fmla="*/ 12679 h 23655"/>
                      <a:gd name="connsiteX3" fmla="*/ 14764 w 21981"/>
                      <a:gd name="connsiteY3" fmla="*/ 16960 h 23655"/>
                      <a:gd name="connsiteX4" fmla="*/ 18387 w 21981"/>
                      <a:gd name="connsiteY4" fmla="*/ 19320 h 23655"/>
                      <a:gd name="connsiteX5" fmla="*/ 21076 w 21981"/>
                      <a:gd name="connsiteY5" fmla="*/ 14600 h 23655"/>
                      <a:gd name="connsiteX6" fmla="*/ 21982 w 21981"/>
                      <a:gd name="connsiteY6" fmla="*/ 18744 h 23655"/>
                      <a:gd name="connsiteX7" fmla="*/ 18387 w 21981"/>
                      <a:gd name="connsiteY7" fmla="*/ 23656 h 23655"/>
                      <a:gd name="connsiteX8" fmla="*/ 384 w 21981"/>
                      <a:gd name="connsiteY8" fmla="*/ 13063 h 23655"/>
                      <a:gd name="connsiteX9" fmla="*/ 0 w 21981"/>
                      <a:gd name="connsiteY9" fmla="*/ 11965 h 23655"/>
                      <a:gd name="connsiteX10" fmla="*/ 3759 w 21981"/>
                      <a:gd name="connsiteY10" fmla="*/ 7053 h 23655"/>
                      <a:gd name="connsiteX11" fmla="*/ 4418 w 21981"/>
                      <a:gd name="connsiteY11" fmla="*/ 2607 h 23655"/>
                      <a:gd name="connsiteX12" fmla="*/ 8288 w 21981"/>
                      <a:gd name="connsiteY12" fmla="*/ 9797 h 23655"/>
                      <a:gd name="connsiteX13" fmla="*/ 9358 w 21981"/>
                      <a:gd name="connsiteY13" fmla="*/ 0 h 23655"/>
                      <a:gd name="connsiteX14" fmla="*/ 18387 w 21981"/>
                      <a:gd name="connsiteY14" fmla="*/ 3897 h 23655"/>
                      <a:gd name="connsiteX15" fmla="*/ 20527 w 21981"/>
                      <a:gd name="connsiteY15" fmla="*/ 7739 h 2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81" h="23655">
                        <a:moveTo>
                          <a:pt x="20527" y="7684"/>
                        </a:moveTo>
                        <a:lnTo>
                          <a:pt x="18387" y="13996"/>
                        </a:lnTo>
                        <a:lnTo>
                          <a:pt x="14545" y="12679"/>
                        </a:lnTo>
                        <a:lnTo>
                          <a:pt x="14764" y="16960"/>
                        </a:lnTo>
                        <a:lnTo>
                          <a:pt x="18387" y="19320"/>
                        </a:lnTo>
                        <a:lnTo>
                          <a:pt x="21076" y="14600"/>
                        </a:lnTo>
                        <a:lnTo>
                          <a:pt x="21982" y="18744"/>
                        </a:lnTo>
                        <a:lnTo>
                          <a:pt x="18387" y="23656"/>
                        </a:lnTo>
                        <a:lnTo>
                          <a:pt x="384" y="13063"/>
                        </a:lnTo>
                        <a:lnTo>
                          <a:pt x="0" y="11965"/>
                        </a:lnTo>
                        <a:lnTo>
                          <a:pt x="3759" y="7053"/>
                        </a:lnTo>
                        <a:lnTo>
                          <a:pt x="4418" y="2607"/>
                        </a:lnTo>
                        <a:lnTo>
                          <a:pt x="8288" y="9797"/>
                        </a:lnTo>
                        <a:lnTo>
                          <a:pt x="9358" y="0"/>
                        </a:lnTo>
                        <a:lnTo>
                          <a:pt x="18387" y="3897"/>
                        </a:lnTo>
                        <a:lnTo>
                          <a:pt x="20527" y="773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2" name="Freeform: Shape 3421">
                    <a:extLst>
                      <a:ext uri="{FF2B5EF4-FFF2-40B4-BE49-F238E27FC236}">
                        <a16:creationId xmlns:a16="http://schemas.microsoft.com/office/drawing/2014/main" id="{21DBB8DF-7748-166E-04F0-8369BF34DB60}"/>
                      </a:ext>
                    </a:extLst>
                  </p:cNvPr>
                  <p:cNvSpPr/>
                  <p:nvPr/>
                </p:nvSpPr>
                <p:spPr>
                  <a:xfrm>
                    <a:off x="-5665278" y="2447831"/>
                    <a:ext cx="8946" cy="14297"/>
                  </a:xfrm>
                  <a:custGeom>
                    <a:avLst/>
                    <a:gdLst>
                      <a:gd name="connsiteX0" fmla="*/ 8919 w 8946"/>
                      <a:gd name="connsiteY0" fmla="*/ 12212 h 14297"/>
                      <a:gd name="connsiteX1" fmla="*/ 4445 w 8946"/>
                      <a:gd name="connsiteY1" fmla="*/ 14298 h 14297"/>
                      <a:gd name="connsiteX2" fmla="*/ 0 w 8946"/>
                      <a:gd name="connsiteY2" fmla="*/ 7163 h 14297"/>
                      <a:gd name="connsiteX3" fmla="*/ 2992 w 8946"/>
                      <a:gd name="connsiteY3" fmla="*/ 0 h 14297"/>
                      <a:gd name="connsiteX4" fmla="*/ 7767 w 8946"/>
                      <a:gd name="connsiteY4" fmla="*/ 1839 h 14297"/>
                      <a:gd name="connsiteX5" fmla="*/ 7135 w 8946"/>
                      <a:gd name="connsiteY5" fmla="*/ 4528 h 14297"/>
                      <a:gd name="connsiteX6" fmla="*/ 8946 w 8946"/>
                      <a:gd name="connsiteY6" fmla="*/ 12240 h 1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 h="14297">
                        <a:moveTo>
                          <a:pt x="8919" y="12212"/>
                        </a:moveTo>
                        <a:lnTo>
                          <a:pt x="4445" y="14298"/>
                        </a:lnTo>
                        <a:lnTo>
                          <a:pt x="0" y="7163"/>
                        </a:lnTo>
                        <a:lnTo>
                          <a:pt x="2992" y="0"/>
                        </a:lnTo>
                        <a:lnTo>
                          <a:pt x="7767" y="1839"/>
                        </a:lnTo>
                        <a:lnTo>
                          <a:pt x="7135" y="4528"/>
                        </a:lnTo>
                        <a:lnTo>
                          <a:pt x="8946" y="1224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3" name="Freeform: Shape 3422">
                    <a:extLst>
                      <a:ext uri="{FF2B5EF4-FFF2-40B4-BE49-F238E27FC236}">
                        <a16:creationId xmlns:a16="http://schemas.microsoft.com/office/drawing/2014/main" id="{0E22F397-A7AA-BC91-1A8A-0495CB95647C}"/>
                      </a:ext>
                    </a:extLst>
                  </p:cNvPr>
                  <p:cNvSpPr/>
                  <p:nvPr/>
                </p:nvSpPr>
                <p:spPr>
                  <a:xfrm>
                    <a:off x="-5687699" y="2650360"/>
                    <a:ext cx="7244" cy="9412"/>
                  </a:xfrm>
                  <a:custGeom>
                    <a:avLst/>
                    <a:gdLst>
                      <a:gd name="connsiteX0" fmla="*/ 7217 w 7244"/>
                      <a:gd name="connsiteY0" fmla="*/ 5159 h 9412"/>
                      <a:gd name="connsiteX1" fmla="*/ 4308 w 7244"/>
                      <a:gd name="connsiteY1" fmla="*/ 9413 h 9412"/>
                      <a:gd name="connsiteX2" fmla="*/ 0 w 7244"/>
                      <a:gd name="connsiteY2" fmla="*/ 6669 h 9412"/>
                      <a:gd name="connsiteX3" fmla="*/ 2717 w 7244"/>
                      <a:gd name="connsiteY3" fmla="*/ 2305 h 9412"/>
                      <a:gd name="connsiteX4" fmla="*/ 2854 w 7244"/>
                      <a:gd name="connsiteY4" fmla="*/ 0 h 9412"/>
                      <a:gd name="connsiteX5" fmla="*/ 7025 w 7244"/>
                      <a:gd name="connsiteY5" fmla="*/ 1564 h 9412"/>
                      <a:gd name="connsiteX6" fmla="*/ 7245 w 7244"/>
                      <a:gd name="connsiteY6" fmla="*/ 5187 h 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44" h="9412">
                        <a:moveTo>
                          <a:pt x="7217" y="5159"/>
                        </a:moveTo>
                        <a:lnTo>
                          <a:pt x="4308" y="9413"/>
                        </a:lnTo>
                        <a:lnTo>
                          <a:pt x="0" y="6669"/>
                        </a:lnTo>
                        <a:lnTo>
                          <a:pt x="2717" y="2305"/>
                        </a:lnTo>
                        <a:lnTo>
                          <a:pt x="2854" y="0"/>
                        </a:lnTo>
                        <a:lnTo>
                          <a:pt x="7025" y="1564"/>
                        </a:lnTo>
                        <a:lnTo>
                          <a:pt x="7245" y="518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4" name="Freeform: Shape 3423">
                    <a:extLst>
                      <a:ext uri="{FF2B5EF4-FFF2-40B4-BE49-F238E27FC236}">
                        <a16:creationId xmlns:a16="http://schemas.microsoft.com/office/drawing/2014/main" id="{36246B2B-E213-84E1-ACA1-26BB8D352C87}"/>
                      </a:ext>
                    </a:extLst>
                  </p:cNvPr>
                  <p:cNvSpPr/>
                  <p:nvPr/>
                </p:nvSpPr>
                <p:spPr>
                  <a:xfrm>
                    <a:off x="-5652654" y="2632467"/>
                    <a:ext cx="5351" cy="12321"/>
                  </a:xfrm>
                  <a:custGeom>
                    <a:avLst/>
                    <a:gdLst>
                      <a:gd name="connsiteX0" fmla="*/ 4610 w 5351"/>
                      <a:gd name="connsiteY0" fmla="*/ 11252 h 12321"/>
                      <a:gd name="connsiteX1" fmla="*/ 0 w 5351"/>
                      <a:gd name="connsiteY1" fmla="*/ 12322 h 12321"/>
                      <a:gd name="connsiteX2" fmla="*/ 0 w 5351"/>
                      <a:gd name="connsiteY2" fmla="*/ 9331 h 12321"/>
                      <a:gd name="connsiteX3" fmla="*/ 2332 w 5351"/>
                      <a:gd name="connsiteY3" fmla="*/ 7821 h 12321"/>
                      <a:gd name="connsiteX4" fmla="*/ 2003 w 5351"/>
                      <a:gd name="connsiteY4" fmla="*/ 5516 h 12321"/>
                      <a:gd name="connsiteX5" fmla="*/ 3211 w 5351"/>
                      <a:gd name="connsiteY5" fmla="*/ 0 h 12321"/>
                      <a:gd name="connsiteX6" fmla="*/ 5351 w 5351"/>
                      <a:gd name="connsiteY6" fmla="*/ 4281 h 12321"/>
                      <a:gd name="connsiteX7" fmla="*/ 3567 w 5351"/>
                      <a:gd name="connsiteY7" fmla="*/ 8727 h 12321"/>
                      <a:gd name="connsiteX8" fmla="*/ 4583 w 5351"/>
                      <a:gd name="connsiteY8" fmla="*/ 11252 h 12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51" h="12321">
                        <a:moveTo>
                          <a:pt x="4610" y="11252"/>
                        </a:moveTo>
                        <a:lnTo>
                          <a:pt x="0" y="12322"/>
                        </a:lnTo>
                        <a:lnTo>
                          <a:pt x="0" y="9331"/>
                        </a:lnTo>
                        <a:lnTo>
                          <a:pt x="2332" y="7821"/>
                        </a:lnTo>
                        <a:lnTo>
                          <a:pt x="2003" y="5516"/>
                        </a:lnTo>
                        <a:lnTo>
                          <a:pt x="3211" y="0"/>
                        </a:lnTo>
                        <a:lnTo>
                          <a:pt x="5351" y="4281"/>
                        </a:lnTo>
                        <a:lnTo>
                          <a:pt x="3567" y="8727"/>
                        </a:lnTo>
                        <a:lnTo>
                          <a:pt x="4583" y="1125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5" name="Freeform: Shape 3424">
                    <a:extLst>
                      <a:ext uri="{FF2B5EF4-FFF2-40B4-BE49-F238E27FC236}">
                        <a16:creationId xmlns:a16="http://schemas.microsoft.com/office/drawing/2014/main" id="{FD5113E8-48EF-9E26-98AC-CD3361991838}"/>
                      </a:ext>
                    </a:extLst>
                  </p:cNvPr>
                  <p:cNvSpPr/>
                  <p:nvPr/>
                </p:nvSpPr>
                <p:spPr>
                  <a:xfrm>
                    <a:off x="-5642528" y="2644103"/>
                    <a:ext cx="6860" cy="8260"/>
                  </a:xfrm>
                  <a:custGeom>
                    <a:avLst/>
                    <a:gdLst>
                      <a:gd name="connsiteX0" fmla="*/ 5214 w 6860"/>
                      <a:gd name="connsiteY0" fmla="*/ 0 h 8260"/>
                      <a:gd name="connsiteX1" fmla="*/ 6861 w 6860"/>
                      <a:gd name="connsiteY1" fmla="*/ 2936 h 8260"/>
                      <a:gd name="connsiteX2" fmla="*/ 6476 w 6860"/>
                      <a:gd name="connsiteY2" fmla="*/ 5269 h 8260"/>
                      <a:gd name="connsiteX3" fmla="*/ 1838 w 6860"/>
                      <a:gd name="connsiteY3" fmla="*/ 8260 h 8260"/>
                      <a:gd name="connsiteX4" fmla="*/ 0 w 6860"/>
                      <a:gd name="connsiteY4" fmla="*/ 6285 h 8260"/>
                      <a:gd name="connsiteX5" fmla="*/ 878 w 6860"/>
                      <a:gd name="connsiteY5" fmla="*/ 5653 h 8260"/>
                      <a:gd name="connsiteX6" fmla="*/ 878 w 6860"/>
                      <a:gd name="connsiteY6" fmla="*/ 27 h 8260"/>
                      <a:gd name="connsiteX7" fmla="*/ 3430 w 6860"/>
                      <a:gd name="connsiteY7" fmla="*/ 1894 h 8260"/>
                      <a:gd name="connsiteX8" fmla="*/ 5241 w 6860"/>
                      <a:gd name="connsiteY8" fmla="*/ 27 h 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60" h="8260">
                        <a:moveTo>
                          <a:pt x="5214" y="0"/>
                        </a:moveTo>
                        <a:lnTo>
                          <a:pt x="6861" y="2936"/>
                        </a:lnTo>
                        <a:lnTo>
                          <a:pt x="6476" y="5269"/>
                        </a:lnTo>
                        <a:lnTo>
                          <a:pt x="1838" y="8260"/>
                        </a:lnTo>
                        <a:lnTo>
                          <a:pt x="0" y="6285"/>
                        </a:lnTo>
                        <a:lnTo>
                          <a:pt x="878" y="5653"/>
                        </a:lnTo>
                        <a:lnTo>
                          <a:pt x="878" y="27"/>
                        </a:lnTo>
                        <a:lnTo>
                          <a:pt x="3430" y="1894"/>
                        </a:lnTo>
                        <a:lnTo>
                          <a:pt x="5241" y="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6" name="Freeform: Shape 3425">
                    <a:extLst>
                      <a:ext uri="{FF2B5EF4-FFF2-40B4-BE49-F238E27FC236}">
                        <a16:creationId xmlns:a16="http://schemas.microsoft.com/office/drawing/2014/main" id="{E85EACD4-86F6-894F-FE66-906A0A7FE51B}"/>
                      </a:ext>
                    </a:extLst>
                  </p:cNvPr>
                  <p:cNvSpPr/>
                  <p:nvPr/>
                </p:nvSpPr>
                <p:spPr>
                  <a:xfrm>
                    <a:off x="-5665223" y="2634141"/>
                    <a:ext cx="5653" cy="8672"/>
                  </a:xfrm>
                  <a:custGeom>
                    <a:avLst/>
                    <a:gdLst>
                      <a:gd name="connsiteX0" fmla="*/ 2223 w 5653"/>
                      <a:gd name="connsiteY0" fmla="*/ 0 h 8672"/>
                      <a:gd name="connsiteX1" fmla="*/ 3403 w 5653"/>
                      <a:gd name="connsiteY1" fmla="*/ 3760 h 8672"/>
                      <a:gd name="connsiteX2" fmla="*/ 4720 w 5653"/>
                      <a:gd name="connsiteY2" fmla="*/ 1372 h 8672"/>
                      <a:gd name="connsiteX3" fmla="*/ 5653 w 5653"/>
                      <a:gd name="connsiteY3" fmla="*/ 7190 h 8672"/>
                      <a:gd name="connsiteX4" fmla="*/ 4199 w 5653"/>
                      <a:gd name="connsiteY4" fmla="*/ 8672 h 8672"/>
                      <a:gd name="connsiteX5" fmla="*/ 220 w 5653"/>
                      <a:gd name="connsiteY5" fmla="*/ 5598 h 8672"/>
                      <a:gd name="connsiteX6" fmla="*/ 0 w 5653"/>
                      <a:gd name="connsiteY6" fmla="*/ 1619 h 8672"/>
                      <a:gd name="connsiteX7" fmla="*/ 2196 w 5653"/>
                      <a:gd name="connsiteY7" fmla="*/ 0 h 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53" h="8672">
                        <a:moveTo>
                          <a:pt x="2223" y="0"/>
                        </a:moveTo>
                        <a:lnTo>
                          <a:pt x="3403" y="3760"/>
                        </a:lnTo>
                        <a:lnTo>
                          <a:pt x="4720" y="1372"/>
                        </a:lnTo>
                        <a:lnTo>
                          <a:pt x="5653" y="7190"/>
                        </a:lnTo>
                        <a:lnTo>
                          <a:pt x="4199" y="8672"/>
                        </a:lnTo>
                        <a:lnTo>
                          <a:pt x="220" y="5598"/>
                        </a:lnTo>
                        <a:lnTo>
                          <a:pt x="0" y="1619"/>
                        </a:lnTo>
                        <a:lnTo>
                          <a:pt x="2196"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7" name="Freeform: Shape 3426">
                    <a:extLst>
                      <a:ext uri="{FF2B5EF4-FFF2-40B4-BE49-F238E27FC236}">
                        <a16:creationId xmlns:a16="http://schemas.microsoft.com/office/drawing/2014/main" id="{3F973589-2B89-EFB9-F360-01FC0D572969}"/>
                      </a:ext>
                    </a:extLst>
                  </p:cNvPr>
                  <p:cNvSpPr/>
                  <p:nvPr/>
                </p:nvSpPr>
                <p:spPr>
                  <a:xfrm>
                    <a:off x="-5648647" y="2645365"/>
                    <a:ext cx="4857" cy="6284"/>
                  </a:xfrm>
                  <a:custGeom>
                    <a:avLst/>
                    <a:gdLst>
                      <a:gd name="connsiteX0" fmla="*/ 4720 w 4857"/>
                      <a:gd name="connsiteY0" fmla="*/ 3101 h 6284"/>
                      <a:gd name="connsiteX1" fmla="*/ 2908 w 4857"/>
                      <a:gd name="connsiteY1" fmla="*/ 6284 h 6284"/>
                      <a:gd name="connsiteX2" fmla="*/ 0 w 4857"/>
                      <a:gd name="connsiteY2" fmla="*/ 4857 h 6284"/>
                      <a:gd name="connsiteX3" fmla="*/ 933 w 4857"/>
                      <a:gd name="connsiteY3" fmla="*/ 878 h 6284"/>
                      <a:gd name="connsiteX4" fmla="*/ 4857 w 4857"/>
                      <a:gd name="connsiteY4" fmla="*/ 0 h 6284"/>
                      <a:gd name="connsiteX5" fmla="*/ 4693 w 4857"/>
                      <a:gd name="connsiteY5" fmla="*/ 3074 h 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 h="6284">
                        <a:moveTo>
                          <a:pt x="4720" y="3101"/>
                        </a:moveTo>
                        <a:lnTo>
                          <a:pt x="2908" y="6284"/>
                        </a:lnTo>
                        <a:lnTo>
                          <a:pt x="0" y="4857"/>
                        </a:lnTo>
                        <a:lnTo>
                          <a:pt x="933" y="878"/>
                        </a:lnTo>
                        <a:lnTo>
                          <a:pt x="4857" y="0"/>
                        </a:lnTo>
                        <a:lnTo>
                          <a:pt x="4693" y="307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8" name="Freeform: Shape 3427">
                    <a:extLst>
                      <a:ext uri="{FF2B5EF4-FFF2-40B4-BE49-F238E27FC236}">
                        <a16:creationId xmlns:a16="http://schemas.microsoft.com/office/drawing/2014/main" id="{F3673C5C-5572-2B06-9108-ABC2BC07DE17}"/>
                      </a:ext>
                    </a:extLst>
                  </p:cNvPr>
                  <p:cNvSpPr/>
                  <p:nvPr/>
                </p:nvSpPr>
                <p:spPr>
                  <a:xfrm>
                    <a:off x="-5677792" y="2462650"/>
                    <a:ext cx="4088" cy="8013"/>
                  </a:xfrm>
                  <a:custGeom>
                    <a:avLst/>
                    <a:gdLst>
                      <a:gd name="connsiteX0" fmla="*/ 4089 w 4088"/>
                      <a:gd name="connsiteY0" fmla="*/ 1125 h 8013"/>
                      <a:gd name="connsiteX1" fmla="*/ 1372 w 4088"/>
                      <a:gd name="connsiteY1" fmla="*/ 8013 h 8013"/>
                      <a:gd name="connsiteX2" fmla="*/ 0 w 4088"/>
                      <a:gd name="connsiteY2" fmla="*/ 6779 h 8013"/>
                      <a:gd name="connsiteX3" fmla="*/ 1729 w 4088"/>
                      <a:gd name="connsiteY3" fmla="*/ 0 h 8013"/>
                      <a:gd name="connsiteX4" fmla="*/ 4089 w 4088"/>
                      <a:gd name="connsiteY4" fmla="*/ 1125 h 8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8013">
                        <a:moveTo>
                          <a:pt x="4089" y="1125"/>
                        </a:moveTo>
                        <a:lnTo>
                          <a:pt x="1372" y="8013"/>
                        </a:lnTo>
                        <a:lnTo>
                          <a:pt x="0" y="6779"/>
                        </a:lnTo>
                        <a:lnTo>
                          <a:pt x="1729" y="0"/>
                        </a:lnTo>
                        <a:lnTo>
                          <a:pt x="4089" y="112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29" name="Freeform: Shape 3428">
                    <a:extLst>
                      <a:ext uri="{FF2B5EF4-FFF2-40B4-BE49-F238E27FC236}">
                        <a16:creationId xmlns:a16="http://schemas.microsoft.com/office/drawing/2014/main" id="{952F331E-4850-B5A5-B46F-677A72EB143F}"/>
                      </a:ext>
                    </a:extLst>
                  </p:cNvPr>
                  <p:cNvSpPr/>
                  <p:nvPr/>
                </p:nvSpPr>
                <p:spPr>
                  <a:xfrm>
                    <a:off x="-5670383" y="2630025"/>
                    <a:ext cx="3457" cy="8726"/>
                  </a:xfrm>
                  <a:custGeom>
                    <a:avLst/>
                    <a:gdLst>
                      <a:gd name="connsiteX0" fmla="*/ 3458 w 3457"/>
                      <a:gd name="connsiteY0" fmla="*/ 4199 h 8726"/>
                      <a:gd name="connsiteX1" fmla="*/ 1894 w 3457"/>
                      <a:gd name="connsiteY1" fmla="*/ 8727 h 8726"/>
                      <a:gd name="connsiteX2" fmla="*/ 0 w 3457"/>
                      <a:gd name="connsiteY2" fmla="*/ 2827 h 8726"/>
                      <a:gd name="connsiteX3" fmla="*/ 631 w 3457"/>
                      <a:gd name="connsiteY3" fmla="*/ 0 h 8726"/>
                      <a:gd name="connsiteX4" fmla="*/ 3458 w 3457"/>
                      <a:gd name="connsiteY4" fmla="*/ 4199 h 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 h="8726">
                        <a:moveTo>
                          <a:pt x="3458" y="4199"/>
                        </a:moveTo>
                        <a:lnTo>
                          <a:pt x="1894" y="8727"/>
                        </a:lnTo>
                        <a:lnTo>
                          <a:pt x="0" y="2827"/>
                        </a:lnTo>
                        <a:lnTo>
                          <a:pt x="631" y="0"/>
                        </a:lnTo>
                        <a:lnTo>
                          <a:pt x="3458" y="419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0" name="Freeform: Shape 3429">
                    <a:extLst>
                      <a:ext uri="{FF2B5EF4-FFF2-40B4-BE49-F238E27FC236}">
                        <a16:creationId xmlns:a16="http://schemas.microsoft.com/office/drawing/2014/main" id="{FDE4B6BF-C3FD-DC72-9CC8-00A93DDF3D22}"/>
                      </a:ext>
                    </a:extLst>
                  </p:cNvPr>
                  <p:cNvSpPr/>
                  <p:nvPr/>
                </p:nvSpPr>
                <p:spPr>
                  <a:xfrm>
                    <a:off x="-5654301" y="2647094"/>
                    <a:ext cx="4939" cy="5598"/>
                  </a:xfrm>
                  <a:custGeom>
                    <a:avLst/>
                    <a:gdLst>
                      <a:gd name="connsiteX0" fmla="*/ 4940 w 4939"/>
                      <a:gd name="connsiteY0" fmla="*/ 4967 h 5598"/>
                      <a:gd name="connsiteX1" fmla="*/ 1097 w 4939"/>
                      <a:gd name="connsiteY1" fmla="*/ 5598 h 5598"/>
                      <a:gd name="connsiteX2" fmla="*/ 0 w 4939"/>
                      <a:gd name="connsiteY2" fmla="*/ 2552 h 5598"/>
                      <a:gd name="connsiteX3" fmla="*/ 2278 w 4939"/>
                      <a:gd name="connsiteY3" fmla="*/ 0 h 5598"/>
                      <a:gd name="connsiteX4" fmla="*/ 4116 w 4939"/>
                      <a:gd name="connsiteY4" fmla="*/ 933 h 5598"/>
                      <a:gd name="connsiteX5" fmla="*/ 4912 w 4939"/>
                      <a:gd name="connsiteY5" fmla="*/ 4940 h 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9" h="5598">
                        <a:moveTo>
                          <a:pt x="4940" y="4967"/>
                        </a:moveTo>
                        <a:lnTo>
                          <a:pt x="1097" y="5598"/>
                        </a:lnTo>
                        <a:lnTo>
                          <a:pt x="0" y="2552"/>
                        </a:lnTo>
                        <a:lnTo>
                          <a:pt x="2278" y="0"/>
                        </a:lnTo>
                        <a:lnTo>
                          <a:pt x="4116" y="933"/>
                        </a:lnTo>
                        <a:lnTo>
                          <a:pt x="4912" y="494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1" name="Freeform: Shape 3430">
                    <a:extLst>
                      <a:ext uri="{FF2B5EF4-FFF2-40B4-BE49-F238E27FC236}">
                        <a16:creationId xmlns:a16="http://schemas.microsoft.com/office/drawing/2014/main" id="{62D00A52-32C6-E565-6AA4-5F3961A0457B}"/>
                      </a:ext>
                    </a:extLst>
                  </p:cNvPr>
                  <p:cNvSpPr/>
                  <p:nvPr/>
                </p:nvSpPr>
                <p:spPr>
                  <a:xfrm>
                    <a:off x="-5689291" y="2637709"/>
                    <a:ext cx="3814" cy="6860"/>
                  </a:xfrm>
                  <a:custGeom>
                    <a:avLst/>
                    <a:gdLst>
                      <a:gd name="connsiteX0" fmla="*/ 3787 w 3814"/>
                      <a:gd name="connsiteY0" fmla="*/ 1619 h 6860"/>
                      <a:gd name="connsiteX1" fmla="*/ 3183 w 3814"/>
                      <a:gd name="connsiteY1" fmla="*/ 6861 h 6860"/>
                      <a:gd name="connsiteX2" fmla="*/ 0 w 3814"/>
                      <a:gd name="connsiteY2" fmla="*/ 5544 h 6860"/>
                      <a:gd name="connsiteX3" fmla="*/ 2579 w 3814"/>
                      <a:gd name="connsiteY3" fmla="*/ 0 h 6860"/>
                      <a:gd name="connsiteX4" fmla="*/ 3814 w 3814"/>
                      <a:gd name="connsiteY4" fmla="*/ 1647 h 6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6860">
                        <a:moveTo>
                          <a:pt x="3787" y="1619"/>
                        </a:moveTo>
                        <a:lnTo>
                          <a:pt x="3183" y="6861"/>
                        </a:lnTo>
                        <a:lnTo>
                          <a:pt x="0" y="5544"/>
                        </a:lnTo>
                        <a:lnTo>
                          <a:pt x="2579" y="0"/>
                        </a:lnTo>
                        <a:lnTo>
                          <a:pt x="3814" y="164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2" name="Freeform: Shape 3431">
                    <a:extLst>
                      <a:ext uri="{FF2B5EF4-FFF2-40B4-BE49-F238E27FC236}">
                        <a16:creationId xmlns:a16="http://schemas.microsoft.com/office/drawing/2014/main" id="{B437F6E6-DBB5-F053-8747-893BE54F1DDF}"/>
                      </a:ext>
                    </a:extLst>
                  </p:cNvPr>
                  <p:cNvSpPr/>
                  <p:nvPr/>
                </p:nvSpPr>
                <p:spPr>
                  <a:xfrm>
                    <a:off x="-5671370" y="2615864"/>
                    <a:ext cx="3128" cy="7656"/>
                  </a:xfrm>
                  <a:custGeom>
                    <a:avLst/>
                    <a:gdLst>
                      <a:gd name="connsiteX0" fmla="*/ 3128 w 3128"/>
                      <a:gd name="connsiteY0" fmla="*/ 1454 h 7656"/>
                      <a:gd name="connsiteX1" fmla="*/ 2168 w 3128"/>
                      <a:gd name="connsiteY1" fmla="*/ 7657 h 7656"/>
                      <a:gd name="connsiteX2" fmla="*/ 0 w 3128"/>
                      <a:gd name="connsiteY2" fmla="*/ 6092 h 7656"/>
                      <a:gd name="connsiteX3" fmla="*/ 1235 w 3128"/>
                      <a:gd name="connsiteY3" fmla="*/ 0 h 7656"/>
                      <a:gd name="connsiteX4" fmla="*/ 3128 w 3128"/>
                      <a:gd name="connsiteY4" fmla="*/ 1454 h 7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8" h="7656">
                        <a:moveTo>
                          <a:pt x="3128" y="1454"/>
                        </a:moveTo>
                        <a:lnTo>
                          <a:pt x="2168" y="7657"/>
                        </a:lnTo>
                        <a:lnTo>
                          <a:pt x="0" y="6092"/>
                        </a:lnTo>
                        <a:lnTo>
                          <a:pt x="1235" y="0"/>
                        </a:lnTo>
                        <a:lnTo>
                          <a:pt x="3128" y="145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3" name="Freeform: Shape 3432">
                    <a:extLst>
                      <a:ext uri="{FF2B5EF4-FFF2-40B4-BE49-F238E27FC236}">
                        <a16:creationId xmlns:a16="http://schemas.microsoft.com/office/drawing/2014/main" id="{278B2DA1-E3A0-2803-6A2D-EAD7A63851AC}"/>
                      </a:ext>
                    </a:extLst>
                  </p:cNvPr>
                  <p:cNvSpPr/>
                  <p:nvPr/>
                </p:nvSpPr>
                <p:spPr>
                  <a:xfrm>
                    <a:off x="-5669065" y="2624756"/>
                    <a:ext cx="3457" cy="6421"/>
                  </a:xfrm>
                  <a:custGeom>
                    <a:avLst/>
                    <a:gdLst>
                      <a:gd name="connsiteX0" fmla="*/ 3458 w 3457"/>
                      <a:gd name="connsiteY0" fmla="*/ 1674 h 6421"/>
                      <a:gd name="connsiteX1" fmla="*/ 2882 w 3457"/>
                      <a:gd name="connsiteY1" fmla="*/ 6422 h 6421"/>
                      <a:gd name="connsiteX2" fmla="*/ 522 w 3457"/>
                      <a:gd name="connsiteY2" fmla="*/ 4720 h 6421"/>
                      <a:gd name="connsiteX3" fmla="*/ 0 w 3457"/>
                      <a:gd name="connsiteY3" fmla="*/ 1811 h 6421"/>
                      <a:gd name="connsiteX4" fmla="*/ 494 w 3457"/>
                      <a:gd name="connsiteY4" fmla="*/ 0 h 6421"/>
                      <a:gd name="connsiteX5" fmla="*/ 3458 w 3457"/>
                      <a:gd name="connsiteY5" fmla="*/ 1647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7" h="6421">
                        <a:moveTo>
                          <a:pt x="3458" y="1674"/>
                        </a:moveTo>
                        <a:lnTo>
                          <a:pt x="2882" y="6422"/>
                        </a:lnTo>
                        <a:lnTo>
                          <a:pt x="522" y="4720"/>
                        </a:lnTo>
                        <a:lnTo>
                          <a:pt x="0" y="1811"/>
                        </a:lnTo>
                        <a:lnTo>
                          <a:pt x="494" y="0"/>
                        </a:lnTo>
                        <a:lnTo>
                          <a:pt x="3458" y="164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4" name="Freeform: Shape 3433">
                    <a:extLst>
                      <a:ext uri="{FF2B5EF4-FFF2-40B4-BE49-F238E27FC236}">
                        <a16:creationId xmlns:a16="http://schemas.microsoft.com/office/drawing/2014/main" id="{FFF78161-B2C3-BFAB-8BF7-595CB889F883}"/>
                      </a:ext>
                    </a:extLst>
                  </p:cNvPr>
                  <p:cNvSpPr/>
                  <p:nvPr/>
                </p:nvSpPr>
                <p:spPr>
                  <a:xfrm>
                    <a:off x="-5678176" y="2639685"/>
                    <a:ext cx="4061" cy="5186"/>
                  </a:xfrm>
                  <a:custGeom>
                    <a:avLst/>
                    <a:gdLst>
                      <a:gd name="connsiteX0" fmla="*/ 3430 w 4061"/>
                      <a:gd name="connsiteY0" fmla="*/ 5159 h 5186"/>
                      <a:gd name="connsiteX1" fmla="*/ 466 w 4061"/>
                      <a:gd name="connsiteY1" fmla="*/ 5159 h 5186"/>
                      <a:gd name="connsiteX2" fmla="*/ 0 w 4061"/>
                      <a:gd name="connsiteY2" fmla="*/ 3129 h 5186"/>
                      <a:gd name="connsiteX3" fmla="*/ 1866 w 4061"/>
                      <a:gd name="connsiteY3" fmla="*/ 0 h 5186"/>
                      <a:gd name="connsiteX4" fmla="*/ 4062 w 4061"/>
                      <a:gd name="connsiteY4" fmla="*/ 2442 h 5186"/>
                      <a:gd name="connsiteX5" fmla="*/ 3403 w 4061"/>
                      <a:gd name="connsiteY5" fmla="*/ 5187 h 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1" h="5186">
                        <a:moveTo>
                          <a:pt x="3430" y="5159"/>
                        </a:moveTo>
                        <a:lnTo>
                          <a:pt x="466" y="5159"/>
                        </a:lnTo>
                        <a:lnTo>
                          <a:pt x="0" y="3129"/>
                        </a:lnTo>
                        <a:lnTo>
                          <a:pt x="1866" y="0"/>
                        </a:lnTo>
                        <a:lnTo>
                          <a:pt x="4062" y="2442"/>
                        </a:lnTo>
                        <a:lnTo>
                          <a:pt x="3403" y="518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5" name="Freeform: Shape 3434">
                    <a:extLst>
                      <a:ext uri="{FF2B5EF4-FFF2-40B4-BE49-F238E27FC236}">
                        <a16:creationId xmlns:a16="http://schemas.microsoft.com/office/drawing/2014/main" id="{5F03DE73-50D1-5D9B-B6FC-B01F47115331}"/>
                      </a:ext>
                    </a:extLst>
                  </p:cNvPr>
                  <p:cNvSpPr/>
                  <p:nvPr/>
                </p:nvSpPr>
                <p:spPr>
                  <a:xfrm>
                    <a:off x="-5629327" y="2662737"/>
                    <a:ext cx="2606" cy="7135"/>
                  </a:xfrm>
                  <a:custGeom>
                    <a:avLst/>
                    <a:gdLst>
                      <a:gd name="connsiteX0" fmla="*/ 2607 w 2606"/>
                      <a:gd name="connsiteY0" fmla="*/ 6449 h 7135"/>
                      <a:gd name="connsiteX1" fmla="*/ 1015 w 2606"/>
                      <a:gd name="connsiteY1" fmla="*/ 7135 h 7135"/>
                      <a:gd name="connsiteX2" fmla="*/ 0 w 2606"/>
                      <a:gd name="connsiteY2" fmla="*/ 4610 h 7135"/>
                      <a:gd name="connsiteX3" fmla="*/ 850 w 2606"/>
                      <a:gd name="connsiteY3" fmla="*/ 384 h 7135"/>
                      <a:gd name="connsiteX4" fmla="*/ 2470 w 2606"/>
                      <a:gd name="connsiteY4" fmla="*/ 0 h 7135"/>
                      <a:gd name="connsiteX5" fmla="*/ 2607 w 2606"/>
                      <a:gd name="connsiteY5" fmla="*/ 6422 h 7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6" h="7135">
                        <a:moveTo>
                          <a:pt x="2607" y="6449"/>
                        </a:moveTo>
                        <a:lnTo>
                          <a:pt x="1015" y="7135"/>
                        </a:lnTo>
                        <a:lnTo>
                          <a:pt x="0" y="4610"/>
                        </a:lnTo>
                        <a:lnTo>
                          <a:pt x="850" y="384"/>
                        </a:lnTo>
                        <a:lnTo>
                          <a:pt x="2470" y="0"/>
                        </a:lnTo>
                        <a:lnTo>
                          <a:pt x="2607" y="642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6" name="Freeform: Shape 3435">
                    <a:extLst>
                      <a:ext uri="{FF2B5EF4-FFF2-40B4-BE49-F238E27FC236}">
                        <a16:creationId xmlns:a16="http://schemas.microsoft.com/office/drawing/2014/main" id="{E169C174-9251-D3E6-A9BB-5D435AEECF7A}"/>
                      </a:ext>
                    </a:extLst>
                  </p:cNvPr>
                  <p:cNvSpPr/>
                  <p:nvPr/>
                </p:nvSpPr>
                <p:spPr>
                  <a:xfrm>
                    <a:off x="-6506295" y="2515340"/>
                    <a:ext cx="22914" cy="25137"/>
                  </a:xfrm>
                  <a:custGeom>
                    <a:avLst/>
                    <a:gdLst>
                      <a:gd name="connsiteX0" fmla="*/ 15560 w 22914"/>
                      <a:gd name="connsiteY0" fmla="*/ 3156 h 25137"/>
                      <a:gd name="connsiteX1" fmla="*/ 17591 w 22914"/>
                      <a:gd name="connsiteY1" fmla="*/ 3677 h 25137"/>
                      <a:gd name="connsiteX2" fmla="*/ 19100 w 22914"/>
                      <a:gd name="connsiteY2" fmla="*/ 7108 h 25137"/>
                      <a:gd name="connsiteX3" fmla="*/ 21021 w 22914"/>
                      <a:gd name="connsiteY3" fmla="*/ 8123 h 25137"/>
                      <a:gd name="connsiteX4" fmla="*/ 22915 w 22914"/>
                      <a:gd name="connsiteY4" fmla="*/ 14133 h 25137"/>
                      <a:gd name="connsiteX5" fmla="*/ 22586 w 22914"/>
                      <a:gd name="connsiteY5" fmla="*/ 17756 h 25137"/>
                      <a:gd name="connsiteX6" fmla="*/ 19347 w 22914"/>
                      <a:gd name="connsiteY6" fmla="*/ 14600 h 25137"/>
                      <a:gd name="connsiteX7" fmla="*/ 19567 w 22914"/>
                      <a:gd name="connsiteY7" fmla="*/ 17920 h 25137"/>
                      <a:gd name="connsiteX8" fmla="*/ 21350 w 22914"/>
                      <a:gd name="connsiteY8" fmla="*/ 22558 h 25137"/>
                      <a:gd name="connsiteX9" fmla="*/ 20939 w 22914"/>
                      <a:gd name="connsiteY9" fmla="*/ 25138 h 25137"/>
                      <a:gd name="connsiteX10" fmla="*/ 14270 w 22914"/>
                      <a:gd name="connsiteY10" fmla="*/ 19045 h 25137"/>
                      <a:gd name="connsiteX11" fmla="*/ 12322 w 22914"/>
                      <a:gd name="connsiteY11" fmla="*/ 14078 h 25137"/>
                      <a:gd name="connsiteX12" fmla="*/ 11169 w 22914"/>
                      <a:gd name="connsiteY12" fmla="*/ 18332 h 25137"/>
                      <a:gd name="connsiteX13" fmla="*/ 7601 w 22914"/>
                      <a:gd name="connsiteY13" fmla="*/ 20006 h 25137"/>
                      <a:gd name="connsiteX14" fmla="*/ 4363 w 22914"/>
                      <a:gd name="connsiteY14" fmla="*/ 18387 h 25137"/>
                      <a:gd name="connsiteX15" fmla="*/ 4308 w 22914"/>
                      <a:gd name="connsiteY15" fmla="*/ 16713 h 25137"/>
                      <a:gd name="connsiteX16" fmla="*/ 0 w 22914"/>
                      <a:gd name="connsiteY16" fmla="*/ 16274 h 25137"/>
                      <a:gd name="connsiteX17" fmla="*/ 933 w 22914"/>
                      <a:gd name="connsiteY17" fmla="*/ 12514 h 25137"/>
                      <a:gd name="connsiteX18" fmla="*/ 3156 w 22914"/>
                      <a:gd name="connsiteY18" fmla="*/ 13529 h 25137"/>
                      <a:gd name="connsiteX19" fmla="*/ 5598 w 22914"/>
                      <a:gd name="connsiteY19" fmla="*/ 11691 h 25137"/>
                      <a:gd name="connsiteX20" fmla="*/ 7080 w 22914"/>
                      <a:gd name="connsiteY20" fmla="*/ 5818 h 25137"/>
                      <a:gd name="connsiteX21" fmla="*/ 7025 w 22914"/>
                      <a:gd name="connsiteY21" fmla="*/ 2689 h 25137"/>
                      <a:gd name="connsiteX22" fmla="*/ 11197 w 22914"/>
                      <a:gd name="connsiteY22" fmla="*/ 3266 h 25137"/>
                      <a:gd name="connsiteX23" fmla="*/ 14051 w 22914"/>
                      <a:gd name="connsiteY23" fmla="*/ 0 h 25137"/>
                      <a:gd name="connsiteX24" fmla="*/ 15560 w 22914"/>
                      <a:gd name="connsiteY24" fmla="*/ 3156 h 2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14" h="25137">
                        <a:moveTo>
                          <a:pt x="15560" y="3156"/>
                        </a:moveTo>
                        <a:lnTo>
                          <a:pt x="17591" y="3677"/>
                        </a:lnTo>
                        <a:lnTo>
                          <a:pt x="19100" y="7108"/>
                        </a:lnTo>
                        <a:lnTo>
                          <a:pt x="21021" y="8123"/>
                        </a:lnTo>
                        <a:lnTo>
                          <a:pt x="22915" y="14133"/>
                        </a:lnTo>
                        <a:lnTo>
                          <a:pt x="22586" y="17756"/>
                        </a:lnTo>
                        <a:lnTo>
                          <a:pt x="19347" y="14600"/>
                        </a:lnTo>
                        <a:lnTo>
                          <a:pt x="19567" y="17920"/>
                        </a:lnTo>
                        <a:lnTo>
                          <a:pt x="21350" y="22558"/>
                        </a:lnTo>
                        <a:lnTo>
                          <a:pt x="20939" y="25138"/>
                        </a:lnTo>
                        <a:lnTo>
                          <a:pt x="14270" y="19045"/>
                        </a:lnTo>
                        <a:lnTo>
                          <a:pt x="12322" y="14078"/>
                        </a:lnTo>
                        <a:lnTo>
                          <a:pt x="11169" y="18332"/>
                        </a:lnTo>
                        <a:lnTo>
                          <a:pt x="7601" y="20006"/>
                        </a:lnTo>
                        <a:lnTo>
                          <a:pt x="4363" y="18387"/>
                        </a:lnTo>
                        <a:lnTo>
                          <a:pt x="4308" y="16713"/>
                        </a:lnTo>
                        <a:lnTo>
                          <a:pt x="0" y="16274"/>
                        </a:lnTo>
                        <a:lnTo>
                          <a:pt x="933" y="12514"/>
                        </a:lnTo>
                        <a:lnTo>
                          <a:pt x="3156" y="13529"/>
                        </a:lnTo>
                        <a:lnTo>
                          <a:pt x="5598" y="11691"/>
                        </a:lnTo>
                        <a:lnTo>
                          <a:pt x="7080" y="5818"/>
                        </a:lnTo>
                        <a:lnTo>
                          <a:pt x="7025" y="2689"/>
                        </a:lnTo>
                        <a:lnTo>
                          <a:pt x="11197" y="3266"/>
                        </a:lnTo>
                        <a:lnTo>
                          <a:pt x="14051" y="0"/>
                        </a:lnTo>
                        <a:lnTo>
                          <a:pt x="15560" y="315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7" name="Freeform: Shape 3436">
                    <a:extLst>
                      <a:ext uri="{FF2B5EF4-FFF2-40B4-BE49-F238E27FC236}">
                        <a16:creationId xmlns:a16="http://schemas.microsoft.com/office/drawing/2014/main" id="{C3A196E6-540D-826B-FC96-041032D42979}"/>
                      </a:ext>
                    </a:extLst>
                  </p:cNvPr>
                  <p:cNvSpPr/>
                  <p:nvPr/>
                </p:nvSpPr>
                <p:spPr>
                  <a:xfrm>
                    <a:off x="-6492794" y="2558371"/>
                    <a:ext cx="8973" cy="15258"/>
                  </a:xfrm>
                  <a:custGeom>
                    <a:avLst/>
                    <a:gdLst>
                      <a:gd name="connsiteX0" fmla="*/ 8837 w 8973"/>
                      <a:gd name="connsiteY0" fmla="*/ 10264 h 15258"/>
                      <a:gd name="connsiteX1" fmla="*/ 8974 w 8973"/>
                      <a:gd name="connsiteY1" fmla="*/ 15258 h 15258"/>
                      <a:gd name="connsiteX2" fmla="*/ 3842 w 8973"/>
                      <a:gd name="connsiteY2" fmla="*/ 11060 h 15258"/>
                      <a:gd name="connsiteX3" fmla="*/ 3320 w 8973"/>
                      <a:gd name="connsiteY3" fmla="*/ 7492 h 15258"/>
                      <a:gd name="connsiteX4" fmla="*/ 741 w 8973"/>
                      <a:gd name="connsiteY4" fmla="*/ 4501 h 15258"/>
                      <a:gd name="connsiteX5" fmla="*/ 0 w 8973"/>
                      <a:gd name="connsiteY5" fmla="*/ 1729 h 15258"/>
                      <a:gd name="connsiteX6" fmla="*/ 2278 w 8973"/>
                      <a:gd name="connsiteY6" fmla="*/ 0 h 15258"/>
                      <a:gd name="connsiteX7" fmla="*/ 5214 w 8973"/>
                      <a:gd name="connsiteY7" fmla="*/ 4446 h 15258"/>
                      <a:gd name="connsiteX8" fmla="*/ 7382 w 8973"/>
                      <a:gd name="connsiteY8" fmla="*/ 4912 h 15258"/>
                      <a:gd name="connsiteX9" fmla="*/ 8837 w 8973"/>
                      <a:gd name="connsiteY9" fmla="*/ 10236 h 1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3" h="15258">
                        <a:moveTo>
                          <a:pt x="8837" y="10264"/>
                        </a:moveTo>
                        <a:lnTo>
                          <a:pt x="8974" y="15258"/>
                        </a:lnTo>
                        <a:lnTo>
                          <a:pt x="3842" y="11060"/>
                        </a:lnTo>
                        <a:lnTo>
                          <a:pt x="3320" y="7492"/>
                        </a:lnTo>
                        <a:lnTo>
                          <a:pt x="741" y="4501"/>
                        </a:lnTo>
                        <a:lnTo>
                          <a:pt x="0" y="1729"/>
                        </a:lnTo>
                        <a:lnTo>
                          <a:pt x="2278" y="0"/>
                        </a:lnTo>
                        <a:lnTo>
                          <a:pt x="5214" y="4446"/>
                        </a:lnTo>
                        <a:lnTo>
                          <a:pt x="7382" y="4912"/>
                        </a:lnTo>
                        <a:lnTo>
                          <a:pt x="8837" y="1023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8" name="Freeform: Shape 3437">
                    <a:extLst>
                      <a:ext uri="{FF2B5EF4-FFF2-40B4-BE49-F238E27FC236}">
                        <a16:creationId xmlns:a16="http://schemas.microsoft.com/office/drawing/2014/main" id="{905E0D62-DD2C-4D12-4F21-D8EC68BB1C80}"/>
                      </a:ext>
                    </a:extLst>
                  </p:cNvPr>
                  <p:cNvSpPr/>
                  <p:nvPr/>
                </p:nvSpPr>
                <p:spPr>
                  <a:xfrm>
                    <a:off x="-6484341" y="2513392"/>
                    <a:ext cx="8040" cy="12294"/>
                  </a:xfrm>
                  <a:custGeom>
                    <a:avLst/>
                    <a:gdLst>
                      <a:gd name="connsiteX0" fmla="*/ 329 w 8040"/>
                      <a:gd name="connsiteY0" fmla="*/ 0 h 12294"/>
                      <a:gd name="connsiteX1" fmla="*/ 2333 w 8040"/>
                      <a:gd name="connsiteY1" fmla="*/ 3129 h 12294"/>
                      <a:gd name="connsiteX2" fmla="*/ 5818 w 8040"/>
                      <a:gd name="connsiteY2" fmla="*/ 329 h 12294"/>
                      <a:gd name="connsiteX3" fmla="*/ 7217 w 8040"/>
                      <a:gd name="connsiteY3" fmla="*/ 2635 h 12294"/>
                      <a:gd name="connsiteX4" fmla="*/ 8041 w 8040"/>
                      <a:gd name="connsiteY4" fmla="*/ 8068 h 12294"/>
                      <a:gd name="connsiteX5" fmla="*/ 6449 w 8040"/>
                      <a:gd name="connsiteY5" fmla="*/ 12295 h 12294"/>
                      <a:gd name="connsiteX6" fmla="*/ 3952 w 8040"/>
                      <a:gd name="connsiteY6" fmla="*/ 7135 h 12294"/>
                      <a:gd name="connsiteX7" fmla="*/ 1537 w 8040"/>
                      <a:gd name="connsiteY7" fmla="*/ 6449 h 12294"/>
                      <a:gd name="connsiteX8" fmla="*/ 0 w 8040"/>
                      <a:gd name="connsiteY8" fmla="*/ 2195 h 12294"/>
                      <a:gd name="connsiteX9" fmla="*/ 302 w 8040"/>
                      <a:gd name="connsiteY9" fmla="*/ 0 h 1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40" h="12294">
                        <a:moveTo>
                          <a:pt x="329" y="0"/>
                        </a:moveTo>
                        <a:lnTo>
                          <a:pt x="2333" y="3129"/>
                        </a:lnTo>
                        <a:lnTo>
                          <a:pt x="5818" y="329"/>
                        </a:lnTo>
                        <a:lnTo>
                          <a:pt x="7217" y="2635"/>
                        </a:lnTo>
                        <a:lnTo>
                          <a:pt x="8041" y="8068"/>
                        </a:lnTo>
                        <a:lnTo>
                          <a:pt x="6449" y="12295"/>
                        </a:lnTo>
                        <a:lnTo>
                          <a:pt x="3952" y="7135"/>
                        </a:lnTo>
                        <a:lnTo>
                          <a:pt x="1537" y="6449"/>
                        </a:lnTo>
                        <a:lnTo>
                          <a:pt x="0" y="2195"/>
                        </a:lnTo>
                        <a:lnTo>
                          <a:pt x="302"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39" name="Freeform: Shape 3438">
                    <a:extLst>
                      <a:ext uri="{FF2B5EF4-FFF2-40B4-BE49-F238E27FC236}">
                        <a16:creationId xmlns:a16="http://schemas.microsoft.com/office/drawing/2014/main" id="{1032504D-E7A9-3115-9D89-A272B2A73CC7}"/>
                      </a:ext>
                    </a:extLst>
                  </p:cNvPr>
                  <p:cNvSpPr/>
                  <p:nvPr/>
                </p:nvSpPr>
                <p:spPr>
                  <a:xfrm>
                    <a:off x="-6490406" y="2542482"/>
                    <a:ext cx="7437" cy="8150"/>
                  </a:xfrm>
                  <a:custGeom>
                    <a:avLst/>
                    <a:gdLst>
                      <a:gd name="connsiteX0" fmla="*/ 7108 w 7437"/>
                      <a:gd name="connsiteY0" fmla="*/ 3814 h 8150"/>
                      <a:gd name="connsiteX1" fmla="*/ 7437 w 7437"/>
                      <a:gd name="connsiteY1" fmla="*/ 8150 h 8150"/>
                      <a:gd name="connsiteX2" fmla="*/ 1015 w 7437"/>
                      <a:gd name="connsiteY2" fmla="*/ 4226 h 8150"/>
                      <a:gd name="connsiteX3" fmla="*/ 0 w 7437"/>
                      <a:gd name="connsiteY3" fmla="*/ 1454 h 8150"/>
                      <a:gd name="connsiteX4" fmla="*/ 768 w 7437"/>
                      <a:gd name="connsiteY4" fmla="*/ 0 h 8150"/>
                      <a:gd name="connsiteX5" fmla="*/ 7108 w 7437"/>
                      <a:gd name="connsiteY5" fmla="*/ 3787 h 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37" h="8150">
                        <a:moveTo>
                          <a:pt x="7108" y="3814"/>
                        </a:moveTo>
                        <a:lnTo>
                          <a:pt x="7437" y="8150"/>
                        </a:lnTo>
                        <a:lnTo>
                          <a:pt x="1015" y="4226"/>
                        </a:lnTo>
                        <a:lnTo>
                          <a:pt x="0" y="1454"/>
                        </a:lnTo>
                        <a:lnTo>
                          <a:pt x="768" y="0"/>
                        </a:lnTo>
                        <a:lnTo>
                          <a:pt x="7108" y="378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0" name="Freeform: Shape 3439">
                    <a:extLst>
                      <a:ext uri="{FF2B5EF4-FFF2-40B4-BE49-F238E27FC236}">
                        <a16:creationId xmlns:a16="http://schemas.microsoft.com/office/drawing/2014/main" id="{409BAEC9-E320-956A-C195-22B259DDE284}"/>
                      </a:ext>
                    </a:extLst>
                  </p:cNvPr>
                  <p:cNvSpPr/>
                  <p:nvPr/>
                </p:nvSpPr>
                <p:spPr>
                  <a:xfrm>
                    <a:off x="-6475559" y="2517152"/>
                    <a:ext cx="4006" cy="5900"/>
                  </a:xfrm>
                  <a:custGeom>
                    <a:avLst/>
                    <a:gdLst>
                      <a:gd name="connsiteX0" fmla="*/ 3320 w 4006"/>
                      <a:gd name="connsiteY0" fmla="*/ 5214 h 5900"/>
                      <a:gd name="connsiteX1" fmla="*/ 384 w 4006"/>
                      <a:gd name="connsiteY1" fmla="*/ 5900 h 5900"/>
                      <a:gd name="connsiteX2" fmla="*/ 0 w 4006"/>
                      <a:gd name="connsiteY2" fmla="*/ 3019 h 5900"/>
                      <a:gd name="connsiteX3" fmla="*/ 2058 w 4006"/>
                      <a:gd name="connsiteY3" fmla="*/ 0 h 5900"/>
                      <a:gd name="connsiteX4" fmla="*/ 4007 w 4006"/>
                      <a:gd name="connsiteY4" fmla="*/ 2662 h 5900"/>
                      <a:gd name="connsiteX5" fmla="*/ 3293 w 4006"/>
                      <a:gd name="connsiteY5" fmla="*/ 5187 h 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6" h="5900">
                        <a:moveTo>
                          <a:pt x="3320" y="5214"/>
                        </a:moveTo>
                        <a:lnTo>
                          <a:pt x="384" y="5900"/>
                        </a:lnTo>
                        <a:lnTo>
                          <a:pt x="0" y="3019"/>
                        </a:lnTo>
                        <a:lnTo>
                          <a:pt x="2058" y="0"/>
                        </a:lnTo>
                        <a:lnTo>
                          <a:pt x="4007" y="2662"/>
                        </a:lnTo>
                        <a:lnTo>
                          <a:pt x="3293" y="518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1" name="Freeform: Shape 3440">
                    <a:extLst>
                      <a:ext uri="{FF2B5EF4-FFF2-40B4-BE49-F238E27FC236}">
                        <a16:creationId xmlns:a16="http://schemas.microsoft.com/office/drawing/2014/main" id="{DD97A6F3-CAF8-FBF2-5148-3A3B70B9B0F7}"/>
                      </a:ext>
                    </a:extLst>
                  </p:cNvPr>
                  <p:cNvSpPr/>
                  <p:nvPr/>
                </p:nvSpPr>
                <p:spPr>
                  <a:xfrm>
                    <a:off x="-6365129" y="3196777"/>
                    <a:ext cx="4445" cy="4610"/>
                  </a:xfrm>
                  <a:custGeom>
                    <a:avLst/>
                    <a:gdLst>
                      <a:gd name="connsiteX0" fmla="*/ 2333 w 4445"/>
                      <a:gd name="connsiteY0" fmla="*/ 4501 h 4610"/>
                      <a:gd name="connsiteX1" fmla="*/ 2113 w 4445"/>
                      <a:gd name="connsiteY1" fmla="*/ 4611 h 4610"/>
                      <a:gd name="connsiteX2" fmla="*/ 0 w 4445"/>
                      <a:gd name="connsiteY2" fmla="*/ 2744 h 4610"/>
                      <a:gd name="connsiteX3" fmla="*/ 2333 w 4445"/>
                      <a:gd name="connsiteY3" fmla="*/ 1180 h 4610"/>
                      <a:gd name="connsiteX4" fmla="*/ 4144 w 4445"/>
                      <a:gd name="connsiteY4" fmla="*/ 0 h 4610"/>
                      <a:gd name="connsiteX5" fmla="*/ 4446 w 4445"/>
                      <a:gd name="connsiteY5" fmla="*/ 3238 h 4610"/>
                      <a:gd name="connsiteX6" fmla="*/ 2360 w 4445"/>
                      <a:gd name="connsiteY6" fmla="*/ 4501 h 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5" h="4610">
                        <a:moveTo>
                          <a:pt x="2333" y="4501"/>
                        </a:moveTo>
                        <a:lnTo>
                          <a:pt x="2113" y="4611"/>
                        </a:lnTo>
                        <a:lnTo>
                          <a:pt x="0" y="2744"/>
                        </a:lnTo>
                        <a:lnTo>
                          <a:pt x="2333" y="1180"/>
                        </a:lnTo>
                        <a:lnTo>
                          <a:pt x="4144" y="0"/>
                        </a:lnTo>
                        <a:lnTo>
                          <a:pt x="4446" y="3238"/>
                        </a:lnTo>
                        <a:lnTo>
                          <a:pt x="2360" y="450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2" name="Freeform: Shape 3441">
                    <a:extLst>
                      <a:ext uri="{FF2B5EF4-FFF2-40B4-BE49-F238E27FC236}">
                        <a16:creationId xmlns:a16="http://schemas.microsoft.com/office/drawing/2014/main" id="{460685C0-BFF9-46B7-9CF4-D114BF9C6DB1}"/>
                      </a:ext>
                    </a:extLst>
                  </p:cNvPr>
                  <p:cNvSpPr/>
                  <p:nvPr/>
                </p:nvSpPr>
                <p:spPr>
                  <a:xfrm>
                    <a:off x="-6354563" y="3185416"/>
                    <a:ext cx="4994" cy="3402"/>
                  </a:xfrm>
                  <a:custGeom>
                    <a:avLst/>
                    <a:gdLst>
                      <a:gd name="connsiteX0" fmla="*/ 4995 w 4994"/>
                      <a:gd name="connsiteY0" fmla="*/ 0 h 3402"/>
                      <a:gd name="connsiteX1" fmla="*/ 4116 w 4994"/>
                      <a:gd name="connsiteY1" fmla="*/ 3403 h 3402"/>
                      <a:gd name="connsiteX2" fmla="*/ 0 w 4994"/>
                      <a:gd name="connsiteY2" fmla="*/ 2662 h 3402"/>
                      <a:gd name="connsiteX3" fmla="*/ 796 w 4994"/>
                      <a:gd name="connsiteY3" fmla="*/ 851 h 3402"/>
                      <a:gd name="connsiteX4" fmla="*/ 4995 w 4994"/>
                      <a:gd name="connsiteY4" fmla="*/ 0 h 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4" h="3402">
                        <a:moveTo>
                          <a:pt x="4995" y="0"/>
                        </a:moveTo>
                        <a:lnTo>
                          <a:pt x="4116" y="3403"/>
                        </a:lnTo>
                        <a:lnTo>
                          <a:pt x="0" y="2662"/>
                        </a:lnTo>
                        <a:lnTo>
                          <a:pt x="796" y="851"/>
                        </a:lnTo>
                        <a:lnTo>
                          <a:pt x="4995"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3" name="Freeform: Shape 3442">
                    <a:extLst>
                      <a:ext uri="{FF2B5EF4-FFF2-40B4-BE49-F238E27FC236}">
                        <a16:creationId xmlns:a16="http://schemas.microsoft.com/office/drawing/2014/main" id="{D07B7436-7FF2-0203-53B1-6E7A67E97397}"/>
                      </a:ext>
                    </a:extLst>
                  </p:cNvPr>
                  <p:cNvSpPr/>
                  <p:nvPr/>
                </p:nvSpPr>
                <p:spPr>
                  <a:xfrm>
                    <a:off x="-6426629" y="3123861"/>
                    <a:ext cx="381951" cy="376572"/>
                  </a:xfrm>
                  <a:custGeom>
                    <a:avLst/>
                    <a:gdLst>
                      <a:gd name="connsiteX0" fmla="*/ 201459 w 381951"/>
                      <a:gd name="connsiteY0" fmla="*/ 4144 h 376572"/>
                      <a:gd name="connsiteX1" fmla="*/ 207359 w 381951"/>
                      <a:gd name="connsiteY1" fmla="*/ 2305 h 376572"/>
                      <a:gd name="connsiteX2" fmla="*/ 214714 w 381951"/>
                      <a:gd name="connsiteY2" fmla="*/ 0 h 376572"/>
                      <a:gd name="connsiteX3" fmla="*/ 215647 w 381951"/>
                      <a:gd name="connsiteY3" fmla="*/ 4171 h 376572"/>
                      <a:gd name="connsiteX4" fmla="*/ 216498 w 381951"/>
                      <a:gd name="connsiteY4" fmla="*/ 8260 h 376572"/>
                      <a:gd name="connsiteX5" fmla="*/ 217705 w 381951"/>
                      <a:gd name="connsiteY5" fmla="*/ 12376 h 376572"/>
                      <a:gd name="connsiteX6" fmla="*/ 224045 w 381951"/>
                      <a:gd name="connsiteY6" fmla="*/ 17810 h 376572"/>
                      <a:gd name="connsiteX7" fmla="*/ 228600 w 381951"/>
                      <a:gd name="connsiteY7" fmla="*/ 14764 h 376572"/>
                      <a:gd name="connsiteX8" fmla="*/ 230960 w 381951"/>
                      <a:gd name="connsiteY8" fmla="*/ 14490 h 376572"/>
                      <a:gd name="connsiteX9" fmla="*/ 233265 w 381951"/>
                      <a:gd name="connsiteY9" fmla="*/ 15560 h 376572"/>
                      <a:gd name="connsiteX10" fmla="*/ 235241 w 381951"/>
                      <a:gd name="connsiteY10" fmla="*/ 17563 h 376572"/>
                      <a:gd name="connsiteX11" fmla="*/ 237162 w 381951"/>
                      <a:gd name="connsiteY11" fmla="*/ 26400 h 376572"/>
                      <a:gd name="connsiteX12" fmla="*/ 244188 w 381951"/>
                      <a:gd name="connsiteY12" fmla="*/ 27580 h 376572"/>
                      <a:gd name="connsiteX13" fmla="*/ 246109 w 381951"/>
                      <a:gd name="connsiteY13" fmla="*/ 27882 h 376572"/>
                      <a:gd name="connsiteX14" fmla="*/ 247289 w 381951"/>
                      <a:gd name="connsiteY14" fmla="*/ 29199 h 376572"/>
                      <a:gd name="connsiteX15" fmla="*/ 247810 w 381951"/>
                      <a:gd name="connsiteY15" fmla="*/ 32218 h 376572"/>
                      <a:gd name="connsiteX16" fmla="*/ 249100 w 381951"/>
                      <a:gd name="connsiteY16" fmla="*/ 35429 h 376572"/>
                      <a:gd name="connsiteX17" fmla="*/ 258266 w 381951"/>
                      <a:gd name="connsiteY17" fmla="*/ 33974 h 376572"/>
                      <a:gd name="connsiteX18" fmla="*/ 262904 w 381951"/>
                      <a:gd name="connsiteY18" fmla="*/ 39545 h 376572"/>
                      <a:gd name="connsiteX19" fmla="*/ 263508 w 381951"/>
                      <a:gd name="connsiteY19" fmla="*/ 46763 h 376572"/>
                      <a:gd name="connsiteX20" fmla="*/ 261587 w 381951"/>
                      <a:gd name="connsiteY20" fmla="*/ 51373 h 376572"/>
                      <a:gd name="connsiteX21" fmla="*/ 264303 w 381951"/>
                      <a:gd name="connsiteY21" fmla="*/ 52334 h 376572"/>
                      <a:gd name="connsiteX22" fmla="*/ 270149 w 381951"/>
                      <a:gd name="connsiteY22" fmla="*/ 53075 h 376572"/>
                      <a:gd name="connsiteX23" fmla="*/ 276927 w 381951"/>
                      <a:gd name="connsiteY23" fmla="*/ 50660 h 376572"/>
                      <a:gd name="connsiteX24" fmla="*/ 280852 w 381951"/>
                      <a:gd name="connsiteY24" fmla="*/ 43579 h 376572"/>
                      <a:gd name="connsiteX25" fmla="*/ 282498 w 381951"/>
                      <a:gd name="connsiteY25" fmla="*/ 44567 h 376572"/>
                      <a:gd name="connsiteX26" fmla="*/ 281263 w 381951"/>
                      <a:gd name="connsiteY26" fmla="*/ 51675 h 376572"/>
                      <a:gd name="connsiteX27" fmla="*/ 283047 w 381951"/>
                      <a:gd name="connsiteY27" fmla="*/ 59084 h 376572"/>
                      <a:gd name="connsiteX28" fmla="*/ 285984 w 381951"/>
                      <a:gd name="connsiteY28" fmla="*/ 59441 h 376572"/>
                      <a:gd name="connsiteX29" fmla="*/ 291417 w 381951"/>
                      <a:gd name="connsiteY29" fmla="*/ 63283 h 376572"/>
                      <a:gd name="connsiteX30" fmla="*/ 298442 w 381951"/>
                      <a:gd name="connsiteY30" fmla="*/ 67839 h 376572"/>
                      <a:gd name="connsiteX31" fmla="*/ 300720 w 381951"/>
                      <a:gd name="connsiteY31" fmla="*/ 73300 h 376572"/>
                      <a:gd name="connsiteX32" fmla="*/ 308487 w 381951"/>
                      <a:gd name="connsiteY32" fmla="*/ 71105 h 376572"/>
                      <a:gd name="connsiteX33" fmla="*/ 310957 w 381951"/>
                      <a:gd name="connsiteY33" fmla="*/ 71105 h 376572"/>
                      <a:gd name="connsiteX34" fmla="*/ 313152 w 381951"/>
                      <a:gd name="connsiteY34" fmla="*/ 73300 h 376572"/>
                      <a:gd name="connsiteX35" fmla="*/ 327038 w 381951"/>
                      <a:gd name="connsiteY35" fmla="*/ 75002 h 376572"/>
                      <a:gd name="connsiteX36" fmla="*/ 332664 w 381951"/>
                      <a:gd name="connsiteY36" fmla="*/ 76840 h 376572"/>
                      <a:gd name="connsiteX37" fmla="*/ 337576 w 381951"/>
                      <a:gd name="connsiteY37" fmla="*/ 85896 h 376572"/>
                      <a:gd name="connsiteX38" fmla="*/ 339360 w 381951"/>
                      <a:gd name="connsiteY38" fmla="*/ 88504 h 376572"/>
                      <a:gd name="connsiteX39" fmla="*/ 343531 w 381951"/>
                      <a:gd name="connsiteY39" fmla="*/ 86143 h 376572"/>
                      <a:gd name="connsiteX40" fmla="*/ 348691 w 381951"/>
                      <a:gd name="connsiteY40" fmla="*/ 88750 h 376572"/>
                      <a:gd name="connsiteX41" fmla="*/ 352999 w 381951"/>
                      <a:gd name="connsiteY41" fmla="*/ 90452 h 376572"/>
                      <a:gd name="connsiteX42" fmla="*/ 356594 w 381951"/>
                      <a:gd name="connsiteY42" fmla="*/ 88504 h 376572"/>
                      <a:gd name="connsiteX43" fmla="*/ 359887 w 381951"/>
                      <a:gd name="connsiteY43" fmla="*/ 88750 h 376572"/>
                      <a:gd name="connsiteX44" fmla="*/ 364415 w 381951"/>
                      <a:gd name="connsiteY44" fmla="*/ 93333 h 376572"/>
                      <a:gd name="connsiteX45" fmla="*/ 372483 w 381951"/>
                      <a:gd name="connsiteY45" fmla="*/ 93745 h 376572"/>
                      <a:gd name="connsiteX46" fmla="*/ 377122 w 381951"/>
                      <a:gd name="connsiteY46" fmla="*/ 95803 h 376572"/>
                      <a:gd name="connsiteX47" fmla="*/ 381952 w 381951"/>
                      <a:gd name="connsiteY47" fmla="*/ 97258 h 376572"/>
                      <a:gd name="connsiteX48" fmla="*/ 373938 w 381951"/>
                      <a:gd name="connsiteY48" fmla="*/ 108345 h 376572"/>
                      <a:gd name="connsiteX49" fmla="*/ 369904 w 381951"/>
                      <a:gd name="connsiteY49" fmla="*/ 113257 h 376572"/>
                      <a:gd name="connsiteX50" fmla="*/ 365705 w 381951"/>
                      <a:gd name="connsiteY50" fmla="*/ 128817 h 376572"/>
                      <a:gd name="connsiteX51" fmla="*/ 362687 w 381951"/>
                      <a:gd name="connsiteY51" fmla="*/ 134800 h 376572"/>
                      <a:gd name="connsiteX52" fmla="*/ 362687 w 381951"/>
                      <a:gd name="connsiteY52" fmla="*/ 135074 h 376572"/>
                      <a:gd name="connsiteX53" fmla="*/ 363400 w 381951"/>
                      <a:gd name="connsiteY53" fmla="*/ 141578 h 376572"/>
                      <a:gd name="connsiteX54" fmla="*/ 361726 w 381951"/>
                      <a:gd name="connsiteY54" fmla="*/ 151403 h 376572"/>
                      <a:gd name="connsiteX55" fmla="*/ 360958 w 381951"/>
                      <a:gd name="connsiteY55" fmla="*/ 154723 h 376572"/>
                      <a:gd name="connsiteX56" fmla="*/ 362988 w 381951"/>
                      <a:gd name="connsiteY56" fmla="*/ 158099 h 376572"/>
                      <a:gd name="connsiteX57" fmla="*/ 362000 w 381951"/>
                      <a:gd name="connsiteY57" fmla="*/ 159196 h 376572"/>
                      <a:gd name="connsiteX58" fmla="*/ 360683 w 381951"/>
                      <a:gd name="connsiteY58" fmla="*/ 161914 h 376572"/>
                      <a:gd name="connsiteX59" fmla="*/ 356869 w 381951"/>
                      <a:gd name="connsiteY59" fmla="*/ 164960 h 376572"/>
                      <a:gd name="connsiteX60" fmla="*/ 352231 w 381951"/>
                      <a:gd name="connsiteY60" fmla="*/ 165042 h 376572"/>
                      <a:gd name="connsiteX61" fmla="*/ 349486 w 381951"/>
                      <a:gd name="connsiteY61" fmla="*/ 161886 h 376572"/>
                      <a:gd name="connsiteX62" fmla="*/ 343888 w 381951"/>
                      <a:gd name="connsiteY62" fmla="*/ 164905 h 376572"/>
                      <a:gd name="connsiteX63" fmla="*/ 343833 w 381951"/>
                      <a:gd name="connsiteY63" fmla="*/ 167457 h 376572"/>
                      <a:gd name="connsiteX64" fmla="*/ 346358 w 381951"/>
                      <a:gd name="connsiteY64" fmla="*/ 169323 h 376572"/>
                      <a:gd name="connsiteX65" fmla="*/ 341528 w 381951"/>
                      <a:gd name="connsiteY65" fmla="*/ 176541 h 376572"/>
                      <a:gd name="connsiteX66" fmla="*/ 329892 w 381951"/>
                      <a:gd name="connsiteY66" fmla="*/ 186502 h 376572"/>
                      <a:gd name="connsiteX67" fmla="*/ 329782 w 381951"/>
                      <a:gd name="connsiteY67" fmla="*/ 190070 h 376572"/>
                      <a:gd name="connsiteX68" fmla="*/ 328300 w 381951"/>
                      <a:gd name="connsiteY68" fmla="*/ 194296 h 376572"/>
                      <a:gd name="connsiteX69" fmla="*/ 320315 w 381951"/>
                      <a:gd name="connsiteY69" fmla="*/ 202694 h 376572"/>
                      <a:gd name="connsiteX70" fmla="*/ 318147 w 381951"/>
                      <a:gd name="connsiteY70" fmla="*/ 208731 h 376572"/>
                      <a:gd name="connsiteX71" fmla="*/ 320452 w 381951"/>
                      <a:gd name="connsiteY71" fmla="*/ 210625 h 376572"/>
                      <a:gd name="connsiteX72" fmla="*/ 319930 w 381951"/>
                      <a:gd name="connsiteY72" fmla="*/ 212930 h 376572"/>
                      <a:gd name="connsiteX73" fmla="*/ 314963 w 381951"/>
                      <a:gd name="connsiteY73" fmla="*/ 220806 h 376572"/>
                      <a:gd name="connsiteX74" fmla="*/ 323114 w 381951"/>
                      <a:gd name="connsiteY74" fmla="*/ 218034 h 376572"/>
                      <a:gd name="connsiteX75" fmla="*/ 322675 w 381951"/>
                      <a:gd name="connsiteY75" fmla="*/ 213177 h 376572"/>
                      <a:gd name="connsiteX76" fmla="*/ 330962 w 381951"/>
                      <a:gd name="connsiteY76" fmla="*/ 207304 h 376572"/>
                      <a:gd name="connsiteX77" fmla="*/ 340348 w 381951"/>
                      <a:gd name="connsiteY77" fmla="*/ 208237 h 376572"/>
                      <a:gd name="connsiteX78" fmla="*/ 340238 w 381951"/>
                      <a:gd name="connsiteY78" fmla="*/ 219736 h 376572"/>
                      <a:gd name="connsiteX79" fmla="*/ 346962 w 381951"/>
                      <a:gd name="connsiteY79" fmla="*/ 229698 h 376572"/>
                      <a:gd name="connsiteX80" fmla="*/ 339827 w 381951"/>
                      <a:gd name="connsiteY80" fmla="*/ 235762 h 376572"/>
                      <a:gd name="connsiteX81" fmla="*/ 345095 w 381951"/>
                      <a:gd name="connsiteY81" fmla="*/ 242157 h 376572"/>
                      <a:gd name="connsiteX82" fmla="*/ 346001 w 381951"/>
                      <a:gd name="connsiteY82" fmla="*/ 246987 h 376572"/>
                      <a:gd name="connsiteX83" fmla="*/ 348718 w 381951"/>
                      <a:gd name="connsiteY83" fmla="*/ 248825 h 376572"/>
                      <a:gd name="connsiteX84" fmla="*/ 350447 w 381951"/>
                      <a:gd name="connsiteY84" fmla="*/ 251570 h 376572"/>
                      <a:gd name="connsiteX85" fmla="*/ 348498 w 381951"/>
                      <a:gd name="connsiteY85" fmla="*/ 258705 h 376572"/>
                      <a:gd name="connsiteX86" fmla="*/ 334777 w 381951"/>
                      <a:gd name="connsiteY86" fmla="*/ 263837 h 376572"/>
                      <a:gd name="connsiteX87" fmla="*/ 339168 w 381951"/>
                      <a:gd name="connsiteY87" fmla="*/ 272701 h 376572"/>
                      <a:gd name="connsiteX88" fmla="*/ 345891 w 381951"/>
                      <a:gd name="connsiteY88" fmla="*/ 275445 h 376572"/>
                      <a:gd name="connsiteX89" fmla="*/ 347593 w 381951"/>
                      <a:gd name="connsiteY89" fmla="*/ 280302 h 376572"/>
                      <a:gd name="connsiteX90" fmla="*/ 344135 w 381951"/>
                      <a:gd name="connsiteY90" fmla="*/ 282745 h 376572"/>
                      <a:gd name="connsiteX91" fmla="*/ 341967 w 381951"/>
                      <a:gd name="connsiteY91" fmla="*/ 288178 h 376572"/>
                      <a:gd name="connsiteX92" fmla="*/ 342351 w 381951"/>
                      <a:gd name="connsiteY92" fmla="*/ 294847 h 376572"/>
                      <a:gd name="connsiteX93" fmla="*/ 346742 w 381951"/>
                      <a:gd name="connsiteY93" fmla="*/ 300116 h 376572"/>
                      <a:gd name="connsiteX94" fmla="*/ 356978 w 381951"/>
                      <a:gd name="connsiteY94" fmla="*/ 304617 h 376572"/>
                      <a:gd name="connsiteX95" fmla="*/ 363400 w 381951"/>
                      <a:gd name="connsiteY95" fmla="*/ 303849 h 376572"/>
                      <a:gd name="connsiteX96" fmla="*/ 366666 w 381951"/>
                      <a:gd name="connsiteY96" fmla="*/ 307169 h 376572"/>
                      <a:gd name="connsiteX97" fmla="*/ 361040 w 381951"/>
                      <a:gd name="connsiteY97" fmla="*/ 314195 h 376572"/>
                      <a:gd name="connsiteX98" fmla="*/ 361259 w 381951"/>
                      <a:gd name="connsiteY98" fmla="*/ 318503 h 376572"/>
                      <a:gd name="connsiteX99" fmla="*/ 358598 w 381951"/>
                      <a:gd name="connsiteY99" fmla="*/ 319930 h 376572"/>
                      <a:gd name="connsiteX100" fmla="*/ 358543 w 381951"/>
                      <a:gd name="connsiteY100" fmla="*/ 319820 h 376572"/>
                      <a:gd name="connsiteX101" fmla="*/ 357829 w 381951"/>
                      <a:gd name="connsiteY101" fmla="*/ 320506 h 376572"/>
                      <a:gd name="connsiteX102" fmla="*/ 357829 w 381951"/>
                      <a:gd name="connsiteY102" fmla="*/ 320616 h 376572"/>
                      <a:gd name="connsiteX103" fmla="*/ 357747 w 381951"/>
                      <a:gd name="connsiteY103" fmla="*/ 320726 h 376572"/>
                      <a:gd name="connsiteX104" fmla="*/ 357911 w 381951"/>
                      <a:gd name="connsiteY104" fmla="*/ 320863 h 376572"/>
                      <a:gd name="connsiteX105" fmla="*/ 350721 w 381951"/>
                      <a:gd name="connsiteY105" fmla="*/ 324184 h 376572"/>
                      <a:gd name="connsiteX106" fmla="*/ 345041 w 381951"/>
                      <a:gd name="connsiteY106" fmla="*/ 329563 h 376572"/>
                      <a:gd name="connsiteX107" fmla="*/ 343668 w 381951"/>
                      <a:gd name="connsiteY107" fmla="*/ 330852 h 376572"/>
                      <a:gd name="connsiteX108" fmla="*/ 342763 w 381951"/>
                      <a:gd name="connsiteY108" fmla="*/ 332416 h 376572"/>
                      <a:gd name="connsiteX109" fmla="*/ 337549 w 381951"/>
                      <a:gd name="connsiteY109" fmla="*/ 334722 h 376572"/>
                      <a:gd name="connsiteX110" fmla="*/ 335024 w 381951"/>
                      <a:gd name="connsiteY110" fmla="*/ 343092 h 376572"/>
                      <a:gd name="connsiteX111" fmla="*/ 324897 w 381951"/>
                      <a:gd name="connsiteY111" fmla="*/ 345891 h 376572"/>
                      <a:gd name="connsiteX112" fmla="*/ 311313 w 381951"/>
                      <a:gd name="connsiteY112" fmla="*/ 347730 h 376572"/>
                      <a:gd name="connsiteX113" fmla="*/ 306620 w 381951"/>
                      <a:gd name="connsiteY113" fmla="*/ 343037 h 376572"/>
                      <a:gd name="connsiteX114" fmla="*/ 298635 w 381951"/>
                      <a:gd name="connsiteY114" fmla="*/ 341692 h 376572"/>
                      <a:gd name="connsiteX115" fmla="*/ 295808 w 381951"/>
                      <a:gd name="connsiteY115" fmla="*/ 336890 h 376572"/>
                      <a:gd name="connsiteX116" fmla="*/ 288947 w 381951"/>
                      <a:gd name="connsiteY116" fmla="*/ 336615 h 376572"/>
                      <a:gd name="connsiteX117" fmla="*/ 283733 w 381951"/>
                      <a:gd name="connsiteY117" fmla="*/ 333267 h 376572"/>
                      <a:gd name="connsiteX118" fmla="*/ 277092 w 381951"/>
                      <a:gd name="connsiteY118" fmla="*/ 335572 h 376572"/>
                      <a:gd name="connsiteX119" fmla="*/ 272976 w 381951"/>
                      <a:gd name="connsiteY119" fmla="*/ 332471 h 376572"/>
                      <a:gd name="connsiteX120" fmla="*/ 264221 w 381951"/>
                      <a:gd name="connsiteY120" fmla="*/ 331703 h 376572"/>
                      <a:gd name="connsiteX121" fmla="*/ 262163 w 381951"/>
                      <a:gd name="connsiteY121" fmla="*/ 329618 h 376572"/>
                      <a:gd name="connsiteX122" fmla="*/ 260406 w 381951"/>
                      <a:gd name="connsiteY122" fmla="*/ 327861 h 376572"/>
                      <a:gd name="connsiteX123" fmla="*/ 255961 w 381951"/>
                      <a:gd name="connsiteY123" fmla="*/ 328877 h 376572"/>
                      <a:gd name="connsiteX124" fmla="*/ 254918 w 381951"/>
                      <a:gd name="connsiteY124" fmla="*/ 329590 h 376572"/>
                      <a:gd name="connsiteX125" fmla="*/ 251487 w 381951"/>
                      <a:gd name="connsiteY125" fmla="*/ 332444 h 376572"/>
                      <a:gd name="connsiteX126" fmla="*/ 247014 w 381951"/>
                      <a:gd name="connsiteY126" fmla="*/ 334859 h 376572"/>
                      <a:gd name="connsiteX127" fmla="*/ 244215 w 381951"/>
                      <a:gd name="connsiteY127" fmla="*/ 337768 h 376572"/>
                      <a:gd name="connsiteX128" fmla="*/ 235104 w 381951"/>
                      <a:gd name="connsiteY128" fmla="*/ 341720 h 376572"/>
                      <a:gd name="connsiteX129" fmla="*/ 230000 w 381951"/>
                      <a:gd name="connsiteY129" fmla="*/ 350309 h 376572"/>
                      <a:gd name="connsiteX130" fmla="*/ 229314 w 381951"/>
                      <a:gd name="connsiteY130" fmla="*/ 356786 h 376572"/>
                      <a:gd name="connsiteX131" fmla="*/ 229231 w 381951"/>
                      <a:gd name="connsiteY131" fmla="*/ 358240 h 376572"/>
                      <a:gd name="connsiteX132" fmla="*/ 229396 w 381951"/>
                      <a:gd name="connsiteY132" fmla="*/ 365019 h 376572"/>
                      <a:gd name="connsiteX133" fmla="*/ 229451 w 381951"/>
                      <a:gd name="connsiteY133" fmla="*/ 366995 h 376572"/>
                      <a:gd name="connsiteX134" fmla="*/ 233183 w 381951"/>
                      <a:gd name="connsiteY134" fmla="*/ 372868 h 376572"/>
                      <a:gd name="connsiteX135" fmla="*/ 224621 w 381951"/>
                      <a:gd name="connsiteY135" fmla="*/ 371879 h 376572"/>
                      <a:gd name="connsiteX136" fmla="*/ 219654 w 381951"/>
                      <a:gd name="connsiteY136" fmla="*/ 374267 h 376572"/>
                      <a:gd name="connsiteX137" fmla="*/ 214906 w 381951"/>
                      <a:gd name="connsiteY137" fmla="*/ 376572 h 376572"/>
                      <a:gd name="connsiteX138" fmla="*/ 208868 w 381951"/>
                      <a:gd name="connsiteY138" fmla="*/ 374267 h 376572"/>
                      <a:gd name="connsiteX139" fmla="*/ 207332 w 381951"/>
                      <a:gd name="connsiteY139" fmla="*/ 373691 h 376572"/>
                      <a:gd name="connsiteX140" fmla="*/ 205521 w 381951"/>
                      <a:gd name="connsiteY140" fmla="*/ 373005 h 376572"/>
                      <a:gd name="connsiteX141" fmla="*/ 202859 w 381951"/>
                      <a:gd name="connsiteY141" fmla="*/ 374267 h 376572"/>
                      <a:gd name="connsiteX142" fmla="*/ 199675 w 381951"/>
                      <a:gd name="connsiteY142" fmla="*/ 375804 h 376572"/>
                      <a:gd name="connsiteX143" fmla="*/ 198193 w 381951"/>
                      <a:gd name="connsiteY143" fmla="*/ 374267 h 376572"/>
                      <a:gd name="connsiteX144" fmla="*/ 196162 w 381951"/>
                      <a:gd name="connsiteY144" fmla="*/ 372154 h 376572"/>
                      <a:gd name="connsiteX145" fmla="*/ 190701 w 381951"/>
                      <a:gd name="connsiteY145" fmla="*/ 370590 h 376572"/>
                      <a:gd name="connsiteX146" fmla="*/ 190564 w 381951"/>
                      <a:gd name="connsiteY146" fmla="*/ 370123 h 376572"/>
                      <a:gd name="connsiteX147" fmla="*/ 192348 w 381951"/>
                      <a:gd name="connsiteY147" fmla="*/ 367352 h 376572"/>
                      <a:gd name="connsiteX148" fmla="*/ 185817 w 381951"/>
                      <a:gd name="connsiteY148" fmla="*/ 364992 h 376572"/>
                      <a:gd name="connsiteX149" fmla="*/ 184719 w 381951"/>
                      <a:gd name="connsiteY149" fmla="*/ 364580 h 376572"/>
                      <a:gd name="connsiteX150" fmla="*/ 184088 w 381951"/>
                      <a:gd name="connsiteY150" fmla="*/ 364992 h 376572"/>
                      <a:gd name="connsiteX151" fmla="*/ 182249 w 381951"/>
                      <a:gd name="connsiteY151" fmla="*/ 366144 h 376572"/>
                      <a:gd name="connsiteX152" fmla="*/ 181316 w 381951"/>
                      <a:gd name="connsiteY152" fmla="*/ 364992 h 376572"/>
                      <a:gd name="connsiteX153" fmla="*/ 178736 w 381951"/>
                      <a:gd name="connsiteY153" fmla="*/ 361863 h 376572"/>
                      <a:gd name="connsiteX154" fmla="*/ 166497 w 381951"/>
                      <a:gd name="connsiteY154" fmla="*/ 357747 h 376572"/>
                      <a:gd name="connsiteX155" fmla="*/ 165070 w 381951"/>
                      <a:gd name="connsiteY155" fmla="*/ 357253 h 376572"/>
                      <a:gd name="connsiteX156" fmla="*/ 160843 w 381951"/>
                      <a:gd name="connsiteY156" fmla="*/ 356127 h 376572"/>
                      <a:gd name="connsiteX157" fmla="*/ 159526 w 381951"/>
                      <a:gd name="connsiteY157" fmla="*/ 358185 h 376572"/>
                      <a:gd name="connsiteX158" fmla="*/ 159224 w 381951"/>
                      <a:gd name="connsiteY158" fmla="*/ 362631 h 376572"/>
                      <a:gd name="connsiteX159" fmla="*/ 153846 w 381951"/>
                      <a:gd name="connsiteY159" fmla="*/ 362247 h 376572"/>
                      <a:gd name="connsiteX160" fmla="*/ 139438 w 381951"/>
                      <a:gd name="connsiteY160" fmla="*/ 362247 h 376572"/>
                      <a:gd name="connsiteX161" fmla="*/ 130574 w 381951"/>
                      <a:gd name="connsiteY161" fmla="*/ 356265 h 376572"/>
                      <a:gd name="connsiteX162" fmla="*/ 123055 w 381951"/>
                      <a:gd name="connsiteY162" fmla="*/ 357582 h 376572"/>
                      <a:gd name="connsiteX163" fmla="*/ 119487 w 381951"/>
                      <a:gd name="connsiteY163" fmla="*/ 354344 h 376572"/>
                      <a:gd name="connsiteX164" fmla="*/ 118499 w 381951"/>
                      <a:gd name="connsiteY164" fmla="*/ 353465 h 376572"/>
                      <a:gd name="connsiteX165" fmla="*/ 106726 w 381951"/>
                      <a:gd name="connsiteY165" fmla="*/ 349157 h 376572"/>
                      <a:gd name="connsiteX166" fmla="*/ 101265 w 381951"/>
                      <a:gd name="connsiteY166" fmla="*/ 347181 h 376572"/>
                      <a:gd name="connsiteX167" fmla="*/ 98932 w 381951"/>
                      <a:gd name="connsiteY167" fmla="*/ 348855 h 376572"/>
                      <a:gd name="connsiteX168" fmla="*/ 97450 w 381951"/>
                      <a:gd name="connsiteY168" fmla="*/ 348334 h 376572"/>
                      <a:gd name="connsiteX169" fmla="*/ 96599 w 381951"/>
                      <a:gd name="connsiteY169" fmla="*/ 346934 h 376572"/>
                      <a:gd name="connsiteX170" fmla="*/ 98081 w 381951"/>
                      <a:gd name="connsiteY170" fmla="*/ 345150 h 376572"/>
                      <a:gd name="connsiteX171" fmla="*/ 98932 w 381951"/>
                      <a:gd name="connsiteY171" fmla="*/ 342735 h 376572"/>
                      <a:gd name="connsiteX172" fmla="*/ 98932 w 381951"/>
                      <a:gd name="connsiteY172" fmla="*/ 339854 h 376572"/>
                      <a:gd name="connsiteX173" fmla="*/ 88943 w 381951"/>
                      <a:gd name="connsiteY173" fmla="*/ 338289 h 376572"/>
                      <a:gd name="connsiteX174" fmla="*/ 87269 w 381951"/>
                      <a:gd name="connsiteY174" fmla="*/ 336094 h 376572"/>
                      <a:gd name="connsiteX175" fmla="*/ 94953 w 381951"/>
                      <a:gd name="connsiteY175" fmla="*/ 328849 h 376572"/>
                      <a:gd name="connsiteX176" fmla="*/ 99371 w 381951"/>
                      <a:gd name="connsiteY176" fmla="*/ 307553 h 376572"/>
                      <a:gd name="connsiteX177" fmla="*/ 102911 w 381951"/>
                      <a:gd name="connsiteY177" fmla="*/ 290484 h 376572"/>
                      <a:gd name="connsiteX178" fmla="*/ 104256 w 381951"/>
                      <a:gd name="connsiteY178" fmla="*/ 284529 h 376572"/>
                      <a:gd name="connsiteX179" fmla="*/ 107028 w 381951"/>
                      <a:gd name="connsiteY179" fmla="*/ 281592 h 376572"/>
                      <a:gd name="connsiteX180" fmla="*/ 103597 w 381951"/>
                      <a:gd name="connsiteY180" fmla="*/ 276844 h 376572"/>
                      <a:gd name="connsiteX181" fmla="*/ 106232 w 381951"/>
                      <a:gd name="connsiteY181" fmla="*/ 248468 h 376572"/>
                      <a:gd name="connsiteX182" fmla="*/ 108811 w 381951"/>
                      <a:gd name="connsiteY182" fmla="*/ 246795 h 376572"/>
                      <a:gd name="connsiteX183" fmla="*/ 116880 w 381951"/>
                      <a:gd name="connsiteY183" fmla="*/ 256043 h 376572"/>
                      <a:gd name="connsiteX184" fmla="*/ 118746 w 381951"/>
                      <a:gd name="connsiteY184" fmla="*/ 254726 h 376572"/>
                      <a:gd name="connsiteX185" fmla="*/ 115178 w 381951"/>
                      <a:gd name="connsiteY185" fmla="*/ 248029 h 376572"/>
                      <a:gd name="connsiteX186" fmla="*/ 104613 w 381951"/>
                      <a:gd name="connsiteY186" fmla="*/ 239083 h 376572"/>
                      <a:gd name="connsiteX187" fmla="*/ 100332 w 381951"/>
                      <a:gd name="connsiteY187" fmla="*/ 228792 h 376572"/>
                      <a:gd name="connsiteX188" fmla="*/ 101237 w 381951"/>
                      <a:gd name="connsiteY188" fmla="*/ 226953 h 376572"/>
                      <a:gd name="connsiteX189" fmla="*/ 104750 w 381951"/>
                      <a:gd name="connsiteY189" fmla="*/ 232140 h 376572"/>
                      <a:gd name="connsiteX190" fmla="*/ 106232 w 381951"/>
                      <a:gd name="connsiteY190" fmla="*/ 231152 h 376572"/>
                      <a:gd name="connsiteX191" fmla="*/ 107522 w 381951"/>
                      <a:gd name="connsiteY191" fmla="*/ 224703 h 376572"/>
                      <a:gd name="connsiteX192" fmla="*/ 104914 w 381951"/>
                      <a:gd name="connsiteY192" fmla="*/ 218611 h 376572"/>
                      <a:gd name="connsiteX193" fmla="*/ 108125 w 381951"/>
                      <a:gd name="connsiteY193" fmla="*/ 212848 h 376572"/>
                      <a:gd name="connsiteX194" fmla="*/ 106671 w 381951"/>
                      <a:gd name="connsiteY194" fmla="*/ 212957 h 376572"/>
                      <a:gd name="connsiteX195" fmla="*/ 104914 w 381951"/>
                      <a:gd name="connsiteY195" fmla="*/ 213122 h 376572"/>
                      <a:gd name="connsiteX196" fmla="*/ 103817 w 381951"/>
                      <a:gd name="connsiteY196" fmla="*/ 214659 h 376572"/>
                      <a:gd name="connsiteX197" fmla="*/ 98877 w 381951"/>
                      <a:gd name="connsiteY197" fmla="*/ 211942 h 376572"/>
                      <a:gd name="connsiteX198" fmla="*/ 87104 w 381951"/>
                      <a:gd name="connsiteY198" fmla="*/ 205575 h 376572"/>
                      <a:gd name="connsiteX199" fmla="*/ 83866 w 381951"/>
                      <a:gd name="connsiteY199" fmla="*/ 198714 h 376572"/>
                      <a:gd name="connsiteX200" fmla="*/ 78185 w 381951"/>
                      <a:gd name="connsiteY200" fmla="*/ 192238 h 376572"/>
                      <a:gd name="connsiteX201" fmla="*/ 76648 w 381951"/>
                      <a:gd name="connsiteY201" fmla="*/ 190481 h 376572"/>
                      <a:gd name="connsiteX202" fmla="*/ 78185 w 381951"/>
                      <a:gd name="connsiteY202" fmla="*/ 187957 h 376572"/>
                      <a:gd name="connsiteX203" fmla="*/ 81533 w 381951"/>
                      <a:gd name="connsiteY203" fmla="*/ 182441 h 376572"/>
                      <a:gd name="connsiteX204" fmla="*/ 78185 w 381951"/>
                      <a:gd name="connsiteY204" fmla="*/ 179669 h 376572"/>
                      <a:gd name="connsiteX205" fmla="*/ 76127 w 381951"/>
                      <a:gd name="connsiteY205" fmla="*/ 177940 h 376572"/>
                      <a:gd name="connsiteX206" fmla="*/ 75413 w 381951"/>
                      <a:gd name="connsiteY206" fmla="*/ 172671 h 376572"/>
                      <a:gd name="connsiteX207" fmla="*/ 66742 w 381951"/>
                      <a:gd name="connsiteY207" fmla="*/ 170778 h 376572"/>
                      <a:gd name="connsiteX208" fmla="*/ 65918 w 381951"/>
                      <a:gd name="connsiteY208" fmla="*/ 167347 h 376572"/>
                      <a:gd name="connsiteX209" fmla="*/ 67510 w 381951"/>
                      <a:gd name="connsiteY209" fmla="*/ 164274 h 376572"/>
                      <a:gd name="connsiteX210" fmla="*/ 65863 w 381951"/>
                      <a:gd name="connsiteY210" fmla="*/ 161529 h 376572"/>
                      <a:gd name="connsiteX211" fmla="*/ 63805 w 381951"/>
                      <a:gd name="connsiteY211" fmla="*/ 161694 h 376572"/>
                      <a:gd name="connsiteX212" fmla="*/ 57301 w 381951"/>
                      <a:gd name="connsiteY212" fmla="*/ 162188 h 376572"/>
                      <a:gd name="connsiteX213" fmla="*/ 40286 w 381951"/>
                      <a:gd name="connsiteY213" fmla="*/ 153955 h 376572"/>
                      <a:gd name="connsiteX214" fmla="*/ 36197 w 381951"/>
                      <a:gd name="connsiteY214" fmla="*/ 148686 h 376572"/>
                      <a:gd name="connsiteX215" fmla="*/ 12761 w 381951"/>
                      <a:gd name="connsiteY215" fmla="*/ 147451 h 376572"/>
                      <a:gd name="connsiteX216" fmla="*/ 6038 w 381951"/>
                      <a:gd name="connsiteY216" fmla="*/ 139163 h 376572"/>
                      <a:gd name="connsiteX217" fmla="*/ 12322 w 381951"/>
                      <a:gd name="connsiteY217" fmla="*/ 134114 h 376572"/>
                      <a:gd name="connsiteX218" fmla="*/ 8315 w 381951"/>
                      <a:gd name="connsiteY218" fmla="*/ 129668 h 376572"/>
                      <a:gd name="connsiteX219" fmla="*/ 9578 w 381951"/>
                      <a:gd name="connsiteY219" fmla="*/ 126100 h 376572"/>
                      <a:gd name="connsiteX220" fmla="*/ 1537 w 381951"/>
                      <a:gd name="connsiteY220" fmla="*/ 124262 h 376572"/>
                      <a:gd name="connsiteX221" fmla="*/ 0 w 381951"/>
                      <a:gd name="connsiteY221" fmla="*/ 121517 h 376572"/>
                      <a:gd name="connsiteX222" fmla="*/ 2223 w 381951"/>
                      <a:gd name="connsiteY222" fmla="*/ 115782 h 376572"/>
                      <a:gd name="connsiteX223" fmla="*/ 12624 w 381951"/>
                      <a:gd name="connsiteY223" fmla="*/ 110952 h 376572"/>
                      <a:gd name="connsiteX224" fmla="*/ 20966 w 381951"/>
                      <a:gd name="connsiteY224" fmla="*/ 109140 h 376572"/>
                      <a:gd name="connsiteX225" fmla="*/ 32163 w 381951"/>
                      <a:gd name="connsiteY225" fmla="*/ 110979 h 376572"/>
                      <a:gd name="connsiteX226" fmla="*/ 35648 w 381951"/>
                      <a:gd name="connsiteY226" fmla="*/ 104365 h 376572"/>
                      <a:gd name="connsiteX227" fmla="*/ 46681 w 381951"/>
                      <a:gd name="connsiteY227" fmla="*/ 101950 h 376572"/>
                      <a:gd name="connsiteX228" fmla="*/ 60402 w 381951"/>
                      <a:gd name="connsiteY228" fmla="*/ 115919 h 376572"/>
                      <a:gd name="connsiteX229" fmla="*/ 63777 w 381951"/>
                      <a:gd name="connsiteY229" fmla="*/ 114272 h 376572"/>
                      <a:gd name="connsiteX230" fmla="*/ 65836 w 381951"/>
                      <a:gd name="connsiteY230" fmla="*/ 113284 h 376572"/>
                      <a:gd name="connsiteX231" fmla="*/ 70830 w 381951"/>
                      <a:gd name="connsiteY231" fmla="*/ 110869 h 376572"/>
                      <a:gd name="connsiteX232" fmla="*/ 78185 w 381951"/>
                      <a:gd name="connsiteY232" fmla="*/ 113915 h 376572"/>
                      <a:gd name="connsiteX233" fmla="*/ 82686 w 381951"/>
                      <a:gd name="connsiteY233" fmla="*/ 110238 h 376572"/>
                      <a:gd name="connsiteX234" fmla="*/ 87379 w 381951"/>
                      <a:gd name="connsiteY234" fmla="*/ 112928 h 376572"/>
                      <a:gd name="connsiteX235" fmla="*/ 93553 w 381951"/>
                      <a:gd name="connsiteY235" fmla="*/ 112461 h 376572"/>
                      <a:gd name="connsiteX236" fmla="*/ 95502 w 381951"/>
                      <a:gd name="connsiteY236" fmla="*/ 110128 h 376572"/>
                      <a:gd name="connsiteX237" fmla="*/ 93443 w 381951"/>
                      <a:gd name="connsiteY237" fmla="*/ 103927 h 376572"/>
                      <a:gd name="connsiteX238" fmla="*/ 92208 w 381951"/>
                      <a:gd name="connsiteY238" fmla="*/ 89080 h 376572"/>
                      <a:gd name="connsiteX239" fmla="*/ 86802 w 381951"/>
                      <a:gd name="connsiteY239" fmla="*/ 77389 h 376572"/>
                      <a:gd name="connsiteX240" fmla="*/ 84909 w 381951"/>
                      <a:gd name="connsiteY240" fmla="*/ 65561 h 376572"/>
                      <a:gd name="connsiteX241" fmla="*/ 101457 w 381951"/>
                      <a:gd name="connsiteY241" fmla="*/ 65643 h 376572"/>
                      <a:gd name="connsiteX242" fmla="*/ 102609 w 381951"/>
                      <a:gd name="connsiteY242" fmla="*/ 73163 h 376572"/>
                      <a:gd name="connsiteX243" fmla="*/ 106863 w 381951"/>
                      <a:gd name="connsiteY243" fmla="*/ 81286 h 376572"/>
                      <a:gd name="connsiteX244" fmla="*/ 111666 w 381951"/>
                      <a:gd name="connsiteY244" fmla="*/ 78240 h 376572"/>
                      <a:gd name="connsiteX245" fmla="*/ 134526 w 381951"/>
                      <a:gd name="connsiteY245" fmla="*/ 82795 h 376572"/>
                      <a:gd name="connsiteX246" fmla="*/ 147479 w 381951"/>
                      <a:gd name="connsiteY246" fmla="*/ 76922 h 376572"/>
                      <a:gd name="connsiteX247" fmla="*/ 148494 w 381951"/>
                      <a:gd name="connsiteY247" fmla="*/ 76429 h 376572"/>
                      <a:gd name="connsiteX248" fmla="*/ 148878 w 381951"/>
                      <a:gd name="connsiteY248" fmla="*/ 76374 h 376572"/>
                      <a:gd name="connsiteX249" fmla="*/ 149592 w 381951"/>
                      <a:gd name="connsiteY249" fmla="*/ 76264 h 376572"/>
                      <a:gd name="connsiteX250" fmla="*/ 149784 w 381951"/>
                      <a:gd name="connsiteY250" fmla="*/ 76264 h 376572"/>
                      <a:gd name="connsiteX251" fmla="*/ 150525 w 381951"/>
                      <a:gd name="connsiteY251" fmla="*/ 76044 h 376572"/>
                      <a:gd name="connsiteX252" fmla="*/ 150662 w 381951"/>
                      <a:gd name="connsiteY252" fmla="*/ 76044 h 376572"/>
                      <a:gd name="connsiteX253" fmla="*/ 151732 w 381951"/>
                      <a:gd name="connsiteY253" fmla="*/ 75688 h 376572"/>
                      <a:gd name="connsiteX254" fmla="*/ 152281 w 381951"/>
                      <a:gd name="connsiteY254" fmla="*/ 75358 h 376572"/>
                      <a:gd name="connsiteX255" fmla="*/ 153324 w 381951"/>
                      <a:gd name="connsiteY255" fmla="*/ 74672 h 376572"/>
                      <a:gd name="connsiteX256" fmla="*/ 153763 w 381951"/>
                      <a:gd name="connsiteY256" fmla="*/ 74425 h 376572"/>
                      <a:gd name="connsiteX257" fmla="*/ 154010 w 381951"/>
                      <a:gd name="connsiteY257" fmla="*/ 74233 h 376572"/>
                      <a:gd name="connsiteX258" fmla="*/ 154312 w 381951"/>
                      <a:gd name="connsiteY258" fmla="*/ 74123 h 376572"/>
                      <a:gd name="connsiteX259" fmla="*/ 154587 w 381951"/>
                      <a:gd name="connsiteY259" fmla="*/ 74041 h 376572"/>
                      <a:gd name="connsiteX260" fmla="*/ 154998 w 381951"/>
                      <a:gd name="connsiteY260" fmla="*/ 74151 h 376572"/>
                      <a:gd name="connsiteX261" fmla="*/ 155163 w 381951"/>
                      <a:gd name="connsiteY261" fmla="*/ 74288 h 376572"/>
                      <a:gd name="connsiteX262" fmla="*/ 155602 w 381951"/>
                      <a:gd name="connsiteY262" fmla="*/ 74864 h 376572"/>
                      <a:gd name="connsiteX263" fmla="*/ 156233 w 381951"/>
                      <a:gd name="connsiteY263" fmla="*/ 75660 h 376572"/>
                      <a:gd name="connsiteX264" fmla="*/ 156590 w 381951"/>
                      <a:gd name="connsiteY264" fmla="*/ 76099 h 376572"/>
                      <a:gd name="connsiteX265" fmla="*/ 156864 w 381951"/>
                      <a:gd name="connsiteY265" fmla="*/ 76319 h 376572"/>
                      <a:gd name="connsiteX266" fmla="*/ 157002 w 381951"/>
                      <a:gd name="connsiteY266" fmla="*/ 76429 h 376572"/>
                      <a:gd name="connsiteX267" fmla="*/ 157303 w 381951"/>
                      <a:gd name="connsiteY267" fmla="*/ 76538 h 376572"/>
                      <a:gd name="connsiteX268" fmla="*/ 157440 w 381951"/>
                      <a:gd name="connsiteY268" fmla="*/ 76538 h 376572"/>
                      <a:gd name="connsiteX269" fmla="*/ 157633 w 381951"/>
                      <a:gd name="connsiteY269" fmla="*/ 76538 h 376572"/>
                      <a:gd name="connsiteX270" fmla="*/ 157907 w 381951"/>
                      <a:gd name="connsiteY270" fmla="*/ 76484 h 376572"/>
                      <a:gd name="connsiteX271" fmla="*/ 158126 w 381951"/>
                      <a:gd name="connsiteY271" fmla="*/ 76374 h 376572"/>
                      <a:gd name="connsiteX272" fmla="*/ 158044 w 381951"/>
                      <a:gd name="connsiteY272" fmla="*/ 76291 h 376572"/>
                      <a:gd name="connsiteX273" fmla="*/ 157852 w 381951"/>
                      <a:gd name="connsiteY273" fmla="*/ 76291 h 376572"/>
                      <a:gd name="connsiteX274" fmla="*/ 157440 w 381951"/>
                      <a:gd name="connsiteY274" fmla="*/ 76291 h 376572"/>
                      <a:gd name="connsiteX275" fmla="*/ 156974 w 381951"/>
                      <a:gd name="connsiteY275" fmla="*/ 76127 h 376572"/>
                      <a:gd name="connsiteX276" fmla="*/ 156507 w 381951"/>
                      <a:gd name="connsiteY276" fmla="*/ 75660 h 376572"/>
                      <a:gd name="connsiteX277" fmla="*/ 155876 w 381951"/>
                      <a:gd name="connsiteY277" fmla="*/ 74837 h 376572"/>
                      <a:gd name="connsiteX278" fmla="*/ 155711 w 381951"/>
                      <a:gd name="connsiteY278" fmla="*/ 74617 h 376572"/>
                      <a:gd name="connsiteX279" fmla="*/ 155382 w 381951"/>
                      <a:gd name="connsiteY279" fmla="*/ 74206 h 376572"/>
                      <a:gd name="connsiteX280" fmla="*/ 155135 w 381951"/>
                      <a:gd name="connsiteY280" fmla="*/ 73931 h 376572"/>
                      <a:gd name="connsiteX281" fmla="*/ 154888 w 381951"/>
                      <a:gd name="connsiteY281" fmla="*/ 73794 h 376572"/>
                      <a:gd name="connsiteX282" fmla="*/ 154778 w 381951"/>
                      <a:gd name="connsiteY282" fmla="*/ 73794 h 376572"/>
                      <a:gd name="connsiteX283" fmla="*/ 154532 w 381951"/>
                      <a:gd name="connsiteY283" fmla="*/ 73739 h 376572"/>
                      <a:gd name="connsiteX284" fmla="*/ 154312 w 381951"/>
                      <a:gd name="connsiteY284" fmla="*/ 73739 h 376572"/>
                      <a:gd name="connsiteX285" fmla="*/ 153983 w 381951"/>
                      <a:gd name="connsiteY285" fmla="*/ 73876 h 376572"/>
                      <a:gd name="connsiteX286" fmla="*/ 153763 w 381951"/>
                      <a:gd name="connsiteY286" fmla="*/ 74014 h 376572"/>
                      <a:gd name="connsiteX287" fmla="*/ 153324 w 381951"/>
                      <a:gd name="connsiteY287" fmla="*/ 74315 h 376572"/>
                      <a:gd name="connsiteX288" fmla="*/ 152583 w 381951"/>
                      <a:gd name="connsiteY288" fmla="*/ 74864 h 376572"/>
                      <a:gd name="connsiteX289" fmla="*/ 152501 w 381951"/>
                      <a:gd name="connsiteY289" fmla="*/ 74919 h 376572"/>
                      <a:gd name="connsiteX290" fmla="*/ 152172 w 381951"/>
                      <a:gd name="connsiteY290" fmla="*/ 75056 h 376572"/>
                      <a:gd name="connsiteX291" fmla="*/ 151568 w 381951"/>
                      <a:gd name="connsiteY291" fmla="*/ 75276 h 376572"/>
                      <a:gd name="connsiteX292" fmla="*/ 151129 w 381951"/>
                      <a:gd name="connsiteY292" fmla="*/ 75386 h 376572"/>
                      <a:gd name="connsiteX293" fmla="*/ 150827 w 381951"/>
                      <a:gd name="connsiteY293" fmla="*/ 75441 h 376572"/>
                      <a:gd name="connsiteX294" fmla="*/ 150305 w 381951"/>
                      <a:gd name="connsiteY294" fmla="*/ 75495 h 376572"/>
                      <a:gd name="connsiteX295" fmla="*/ 149647 w 381951"/>
                      <a:gd name="connsiteY295" fmla="*/ 75495 h 376572"/>
                      <a:gd name="connsiteX296" fmla="*/ 148659 w 381951"/>
                      <a:gd name="connsiteY296" fmla="*/ 75413 h 376572"/>
                      <a:gd name="connsiteX297" fmla="*/ 147835 w 381951"/>
                      <a:gd name="connsiteY297" fmla="*/ 75331 h 376572"/>
                      <a:gd name="connsiteX298" fmla="*/ 147671 w 381951"/>
                      <a:gd name="connsiteY298" fmla="*/ 75605 h 376572"/>
                      <a:gd name="connsiteX299" fmla="*/ 147479 w 381951"/>
                      <a:gd name="connsiteY299" fmla="*/ 75605 h 376572"/>
                      <a:gd name="connsiteX300" fmla="*/ 142292 w 381951"/>
                      <a:gd name="connsiteY300" fmla="*/ 72312 h 376572"/>
                      <a:gd name="connsiteX301" fmla="*/ 144487 w 381951"/>
                      <a:gd name="connsiteY301" fmla="*/ 65506 h 376572"/>
                      <a:gd name="connsiteX302" fmla="*/ 147451 w 381951"/>
                      <a:gd name="connsiteY302" fmla="*/ 62872 h 376572"/>
                      <a:gd name="connsiteX303" fmla="*/ 180301 w 381951"/>
                      <a:gd name="connsiteY303" fmla="*/ 47504 h 376572"/>
                      <a:gd name="connsiteX304" fmla="*/ 186750 w 381951"/>
                      <a:gd name="connsiteY304" fmla="*/ 40808 h 376572"/>
                      <a:gd name="connsiteX305" fmla="*/ 185432 w 381951"/>
                      <a:gd name="connsiteY305" fmla="*/ 35429 h 376572"/>
                      <a:gd name="connsiteX306" fmla="*/ 188122 w 381951"/>
                      <a:gd name="connsiteY306" fmla="*/ 34386 h 376572"/>
                      <a:gd name="connsiteX307" fmla="*/ 186009 w 381951"/>
                      <a:gd name="connsiteY307" fmla="*/ 29583 h 376572"/>
                      <a:gd name="connsiteX308" fmla="*/ 187024 w 381951"/>
                      <a:gd name="connsiteY308" fmla="*/ 11663 h 376572"/>
                      <a:gd name="connsiteX309" fmla="*/ 201349 w 381951"/>
                      <a:gd name="connsiteY309" fmla="*/ 4226 h 376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381951" h="376572">
                        <a:moveTo>
                          <a:pt x="201459" y="4144"/>
                        </a:moveTo>
                        <a:lnTo>
                          <a:pt x="207359" y="2305"/>
                        </a:lnTo>
                        <a:lnTo>
                          <a:pt x="214714" y="0"/>
                        </a:lnTo>
                        <a:lnTo>
                          <a:pt x="215647" y="4171"/>
                        </a:lnTo>
                        <a:lnTo>
                          <a:pt x="216498" y="8260"/>
                        </a:lnTo>
                        <a:lnTo>
                          <a:pt x="217705" y="12376"/>
                        </a:lnTo>
                        <a:lnTo>
                          <a:pt x="224045" y="17810"/>
                        </a:lnTo>
                        <a:lnTo>
                          <a:pt x="228600" y="14764"/>
                        </a:lnTo>
                        <a:lnTo>
                          <a:pt x="230960" y="14490"/>
                        </a:lnTo>
                        <a:lnTo>
                          <a:pt x="233265" y="15560"/>
                        </a:lnTo>
                        <a:lnTo>
                          <a:pt x="235241" y="17563"/>
                        </a:lnTo>
                        <a:lnTo>
                          <a:pt x="237162" y="26400"/>
                        </a:lnTo>
                        <a:lnTo>
                          <a:pt x="244188" y="27580"/>
                        </a:lnTo>
                        <a:lnTo>
                          <a:pt x="246109" y="27882"/>
                        </a:lnTo>
                        <a:lnTo>
                          <a:pt x="247289" y="29199"/>
                        </a:lnTo>
                        <a:lnTo>
                          <a:pt x="247810" y="32218"/>
                        </a:lnTo>
                        <a:lnTo>
                          <a:pt x="249100" y="35429"/>
                        </a:lnTo>
                        <a:lnTo>
                          <a:pt x="258266" y="33974"/>
                        </a:lnTo>
                        <a:lnTo>
                          <a:pt x="262904" y="39545"/>
                        </a:lnTo>
                        <a:lnTo>
                          <a:pt x="263508" y="46763"/>
                        </a:lnTo>
                        <a:lnTo>
                          <a:pt x="261587" y="51373"/>
                        </a:lnTo>
                        <a:lnTo>
                          <a:pt x="264303" y="52334"/>
                        </a:lnTo>
                        <a:lnTo>
                          <a:pt x="270149" y="53075"/>
                        </a:lnTo>
                        <a:lnTo>
                          <a:pt x="276927" y="50660"/>
                        </a:lnTo>
                        <a:lnTo>
                          <a:pt x="280852" y="43579"/>
                        </a:lnTo>
                        <a:lnTo>
                          <a:pt x="282498" y="44567"/>
                        </a:lnTo>
                        <a:lnTo>
                          <a:pt x="281263" y="51675"/>
                        </a:lnTo>
                        <a:lnTo>
                          <a:pt x="283047" y="59084"/>
                        </a:lnTo>
                        <a:lnTo>
                          <a:pt x="285984" y="59441"/>
                        </a:lnTo>
                        <a:lnTo>
                          <a:pt x="291417" y="63283"/>
                        </a:lnTo>
                        <a:lnTo>
                          <a:pt x="298442" y="67839"/>
                        </a:lnTo>
                        <a:lnTo>
                          <a:pt x="300720" y="73300"/>
                        </a:lnTo>
                        <a:lnTo>
                          <a:pt x="308487" y="71105"/>
                        </a:lnTo>
                        <a:lnTo>
                          <a:pt x="310957" y="71105"/>
                        </a:lnTo>
                        <a:cubicBezTo>
                          <a:pt x="310957" y="71105"/>
                          <a:pt x="313152" y="73300"/>
                          <a:pt x="313152" y="73300"/>
                        </a:cubicBezTo>
                        <a:lnTo>
                          <a:pt x="327038" y="75002"/>
                        </a:lnTo>
                        <a:lnTo>
                          <a:pt x="332664" y="76840"/>
                        </a:lnTo>
                        <a:lnTo>
                          <a:pt x="337576" y="85896"/>
                        </a:lnTo>
                        <a:lnTo>
                          <a:pt x="339360" y="88504"/>
                        </a:lnTo>
                        <a:lnTo>
                          <a:pt x="343531" y="86143"/>
                        </a:lnTo>
                        <a:lnTo>
                          <a:pt x="348691" y="88750"/>
                        </a:lnTo>
                        <a:lnTo>
                          <a:pt x="352999" y="90452"/>
                        </a:lnTo>
                        <a:lnTo>
                          <a:pt x="356594" y="88504"/>
                        </a:lnTo>
                        <a:lnTo>
                          <a:pt x="359887" y="88750"/>
                        </a:lnTo>
                        <a:lnTo>
                          <a:pt x="364415" y="93333"/>
                        </a:lnTo>
                        <a:lnTo>
                          <a:pt x="372483" y="93745"/>
                        </a:lnTo>
                        <a:lnTo>
                          <a:pt x="377122" y="95803"/>
                        </a:lnTo>
                        <a:lnTo>
                          <a:pt x="381952" y="97258"/>
                        </a:lnTo>
                        <a:lnTo>
                          <a:pt x="373938" y="108345"/>
                        </a:lnTo>
                        <a:lnTo>
                          <a:pt x="369904" y="113257"/>
                        </a:lnTo>
                        <a:lnTo>
                          <a:pt x="365705" y="128817"/>
                        </a:lnTo>
                        <a:lnTo>
                          <a:pt x="362687" y="134800"/>
                        </a:lnTo>
                        <a:lnTo>
                          <a:pt x="362687" y="135074"/>
                        </a:lnTo>
                        <a:cubicBezTo>
                          <a:pt x="362687" y="135074"/>
                          <a:pt x="363400" y="141578"/>
                          <a:pt x="363400" y="141578"/>
                        </a:cubicBezTo>
                        <a:lnTo>
                          <a:pt x="361726" y="151403"/>
                        </a:lnTo>
                        <a:lnTo>
                          <a:pt x="360958" y="154723"/>
                        </a:lnTo>
                        <a:lnTo>
                          <a:pt x="362988" y="158099"/>
                        </a:lnTo>
                        <a:lnTo>
                          <a:pt x="362000" y="159196"/>
                        </a:lnTo>
                        <a:lnTo>
                          <a:pt x="360683" y="161914"/>
                        </a:lnTo>
                        <a:lnTo>
                          <a:pt x="356869" y="164960"/>
                        </a:lnTo>
                        <a:lnTo>
                          <a:pt x="352231" y="165042"/>
                        </a:lnTo>
                        <a:lnTo>
                          <a:pt x="349486" y="161886"/>
                        </a:lnTo>
                        <a:lnTo>
                          <a:pt x="343888" y="164905"/>
                        </a:lnTo>
                        <a:lnTo>
                          <a:pt x="343833" y="167457"/>
                        </a:lnTo>
                        <a:lnTo>
                          <a:pt x="346358" y="169323"/>
                        </a:lnTo>
                        <a:lnTo>
                          <a:pt x="341528" y="176541"/>
                        </a:lnTo>
                        <a:lnTo>
                          <a:pt x="329892" y="186502"/>
                        </a:lnTo>
                        <a:lnTo>
                          <a:pt x="329782" y="190070"/>
                        </a:lnTo>
                        <a:lnTo>
                          <a:pt x="328300" y="194296"/>
                        </a:lnTo>
                        <a:lnTo>
                          <a:pt x="320315" y="202694"/>
                        </a:lnTo>
                        <a:lnTo>
                          <a:pt x="318147" y="208731"/>
                        </a:lnTo>
                        <a:lnTo>
                          <a:pt x="320452" y="210625"/>
                        </a:lnTo>
                        <a:lnTo>
                          <a:pt x="319930" y="212930"/>
                        </a:lnTo>
                        <a:lnTo>
                          <a:pt x="314963" y="220806"/>
                        </a:lnTo>
                        <a:lnTo>
                          <a:pt x="323114" y="218034"/>
                        </a:lnTo>
                        <a:lnTo>
                          <a:pt x="322675" y="213177"/>
                        </a:lnTo>
                        <a:lnTo>
                          <a:pt x="330962" y="207304"/>
                        </a:lnTo>
                        <a:lnTo>
                          <a:pt x="340348" y="208237"/>
                        </a:lnTo>
                        <a:lnTo>
                          <a:pt x="340238" y="219736"/>
                        </a:lnTo>
                        <a:lnTo>
                          <a:pt x="346962" y="229698"/>
                        </a:lnTo>
                        <a:lnTo>
                          <a:pt x="339827" y="235762"/>
                        </a:lnTo>
                        <a:lnTo>
                          <a:pt x="345095" y="242157"/>
                        </a:lnTo>
                        <a:lnTo>
                          <a:pt x="346001" y="246987"/>
                        </a:lnTo>
                        <a:lnTo>
                          <a:pt x="348718" y="248825"/>
                        </a:lnTo>
                        <a:lnTo>
                          <a:pt x="350447" y="251570"/>
                        </a:lnTo>
                        <a:lnTo>
                          <a:pt x="348498" y="258705"/>
                        </a:lnTo>
                        <a:lnTo>
                          <a:pt x="334777" y="263837"/>
                        </a:lnTo>
                        <a:lnTo>
                          <a:pt x="339168" y="272701"/>
                        </a:lnTo>
                        <a:lnTo>
                          <a:pt x="345891" y="275445"/>
                        </a:lnTo>
                        <a:lnTo>
                          <a:pt x="347593" y="280302"/>
                        </a:lnTo>
                        <a:lnTo>
                          <a:pt x="344135" y="282745"/>
                        </a:lnTo>
                        <a:lnTo>
                          <a:pt x="341967" y="288178"/>
                        </a:lnTo>
                        <a:lnTo>
                          <a:pt x="342351" y="294847"/>
                        </a:lnTo>
                        <a:lnTo>
                          <a:pt x="346742" y="300116"/>
                        </a:lnTo>
                        <a:lnTo>
                          <a:pt x="356978" y="304617"/>
                        </a:lnTo>
                        <a:lnTo>
                          <a:pt x="363400" y="303849"/>
                        </a:lnTo>
                        <a:lnTo>
                          <a:pt x="366666" y="307169"/>
                        </a:lnTo>
                        <a:lnTo>
                          <a:pt x="361040" y="314195"/>
                        </a:lnTo>
                        <a:lnTo>
                          <a:pt x="361259" y="318503"/>
                        </a:lnTo>
                        <a:lnTo>
                          <a:pt x="358598" y="319930"/>
                        </a:lnTo>
                        <a:lnTo>
                          <a:pt x="358543" y="319820"/>
                        </a:lnTo>
                        <a:lnTo>
                          <a:pt x="357829" y="320506"/>
                        </a:lnTo>
                        <a:lnTo>
                          <a:pt x="357829" y="320616"/>
                        </a:lnTo>
                        <a:lnTo>
                          <a:pt x="357747" y="320726"/>
                        </a:lnTo>
                        <a:lnTo>
                          <a:pt x="357911" y="320863"/>
                        </a:lnTo>
                        <a:lnTo>
                          <a:pt x="350721" y="324184"/>
                        </a:lnTo>
                        <a:lnTo>
                          <a:pt x="345041" y="329563"/>
                        </a:lnTo>
                        <a:lnTo>
                          <a:pt x="343668" y="330852"/>
                        </a:lnTo>
                        <a:lnTo>
                          <a:pt x="342763" y="332416"/>
                        </a:lnTo>
                        <a:lnTo>
                          <a:pt x="337549" y="334722"/>
                        </a:lnTo>
                        <a:lnTo>
                          <a:pt x="335024" y="343092"/>
                        </a:lnTo>
                        <a:lnTo>
                          <a:pt x="324897" y="345891"/>
                        </a:lnTo>
                        <a:lnTo>
                          <a:pt x="311313" y="347730"/>
                        </a:lnTo>
                        <a:lnTo>
                          <a:pt x="306620" y="343037"/>
                        </a:lnTo>
                        <a:lnTo>
                          <a:pt x="298635" y="341692"/>
                        </a:lnTo>
                        <a:lnTo>
                          <a:pt x="295808" y="336890"/>
                        </a:lnTo>
                        <a:lnTo>
                          <a:pt x="288947" y="336615"/>
                        </a:lnTo>
                        <a:lnTo>
                          <a:pt x="283733" y="333267"/>
                        </a:lnTo>
                        <a:lnTo>
                          <a:pt x="277092" y="335572"/>
                        </a:lnTo>
                        <a:lnTo>
                          <a:pt x="272976" y="332471"/>
                        </a:lnTo>
                        <a:lnTo>
                          <a:pt x="264221" y="331703"/>
                        </a:lnTo>
                        <a:lnTo>
                          <a:pt x="262163" y="329618"/>
                        </a:lnTo>
                        <a:lnTo>
                          <a:pt x="260406" y="327861"/>
                        </a:lnTo>
                        <a:lnTo>
                          <a:pt x="255961" y="328877"/>
                        </a:lnTo>
                        <a:lnTo>
                          <a:pt x="254918" y="329590"/>
                        </a:lnTo>
                        <a:lnTo>
                          <a:pt x="251487" y="332444"/>
                        </a:lnTo>
                        <a:lnTo>
                          <a:pt x="247014" y="334859"/>
                        </a:lnTo>
                        <a:lnTo>
                          <a:pt x="244215" y="337768"/>
                        </a:lnTo>
                        <a:lnTo>
                          <a:pt x="235104" y="341720"/>
                        </a:lnTo>
                        <a:lnTo>
                          <a:pt x="230000" y="350309"/>
                        </a:lnTo>
                        <a:lnTo>
                          <a:pt x="229314" y="356786"/>
                        </a:lnTo>
                        <a:lnTo>
                          <a:pt x="229231" y="358240"/>
                        </a:lnTo>
                        <a:lnTo>
                          <a:pt x="229396" y="365019"/>
                        </a:lnTo>
                        <a:lnTo>
                          <a:pt x="229451" y="366995"/>
                        </a:lnTo>
                        <a:lnTo>
                          <a:pt x="233183" y="372868"/>
                        </a:lnTo>
                        <a:lnTo>
                          <a:pt x="224621" y="371879"/>
                        </a:lnTo>
                        <a:lnTo>
                          <a:pt x="219654" y="374267"/>
                        </a:lnTo>
                        <a:lnTo>
                          <a:pt x="214906" y="376572"/>
                        </a:lnTo>
                        <a:lnTo>
                          <a:pt x="208868" y="374267"/>
                        </a:lnTo>
                        <a:lnTo>
                          <a:pt x="207332" y="373691"/>
                        </a:lnTo>
                        <a:lnTo>
                          <a:pt x="205521" y="373005"/>
                        </a:lnTo>
                        <a:lnTo>
                          <a:pt x="202859" y="374267"/>
                        </a:lnTo>
                        <a:lnTo>
                          <a:pt x="199675" y="375804"/>
                        </a:lnTo>
                        <a:lnTo>
                          <a:pt x="198193" y="374267"/>
                        </a:lnTo>
                        <a:lnTo>
                          <a:pt x="196162" y="372154"/>
                        </a:lnTo>
                        <a:lnTo>
                          <a:pt x="190701" y="370590"/>
                        </a:lnTo>
                        <a:lnTo>
                          <a:pt x="190564" y="370123"/>
                        </a:lnTo>
                        <a:lnTo>
                          <a:pt x="192348" y="367352"/>
                        </a:lnTo>
                        <a:lnTo>
                          <a:pt x="185817" y="364992"/>
                        </a:lnTo>
                        <a:lnTo>
                          <a:pt x="184719" y="364580"/>
                        </a:lnTo>
                        <a:lnTo>
                          <a:pt x="184088" y="364992"/>
                        </a:lnTo>
                        <a:lnTo>
                          <a:pt x="182249" y="366144"/>
                        </a:lnTo>
                        <a:lnTo>
                          <a:pt x="181316" y="364992"/>
                        </a:lnTo>
                        <a:lnTo>
                          <a:pt x="178736" y="361863"/>
                        </a:lnTo>
                        <a:lnTo>
                          <a:pt x="166497" y="357747"/>
                        </a:lnTo>
                        <a:lnTo>
                          <a:pt x="165070" y="357253"/>
                        </a:lnTo>
                        <a:lnTo>
                          <a:pt x="160843" y="356127"/>
                        </a:lnTo>
                        <a:lnTo>
                          <a:pt x="159526" y="358185"/>
                        </a:lnTo>
                        <a:lnTo>
                          <a:pt x="159224" y="362631"/>
                        </a:lnTo>
                        <a:lnTo>
                          <a:pt x="153846" y="362247"/>
                        </a:lnTo>
                        <a:lnTo>
                          <a:pt x="139438" y="362247"/>
                        </a:lnTo>
                        <a:cubicBezTo>
                          <a:pt x="139438" y="362247"/>
                          <a:pt x="130574" y="356265"/>
                          <a:pt x="130574" y="356265"/>
                        </a:cubicBezTo>
                        <a:lnTo>
                          <a:pt x="123055" y="357582"/>
                        </a:lnTo>
                        <a:lnTo>
                          <a:pt x="119487" y="354344"/>
                        </a:lnTo>
                        <a:lnTo>
                          <a:pt x="118499" y="353465"/>
                        </a:lnTo>
                        <a:lnTo>
                          <a:pt x="106726" y="349157"/>
                        </a:lnTo>
                        <a:lnTo>
                          <a:pt x="101265" y="347181"/>
                        </a:lnTo>
                        <a:lnTo>
                          <a:pt x="98932" y="348855"/>
                        </a:lnTo>
                        <a:lnTo>
                          <a:pt x="97450" y="348334"/>
                        </a:lnTo>
                        <a:lnTo>
                          <a:pt x="96599" y="346934"/>
                        </a:lnTo>
                        <a:lnTo>
                          <a:pt x="98081" y="345150"/>
                        </a:lnTo>
                        <a:lnTo>
                          <a:pt x="98932" y="342735"/>
                        </a:lnTo>
                        <a:lnTo>
                          <a:pt x="98932" y="339854"/>
                        </a:lnTo>
                        <a:lnTo>
                          <a:pt x="88943" y="338289"/>
                        </a:lnTo>
                        <a:lnTo>
                          <a:pt x="87269" y="336094"/>
                        </a:lnTo>
                        <a:lnTo>
                          <a:pt x="94953" y="328849"/>
                        </a:lnTo>
                        <a:lnTo>
                          <a:pt x="99371" y="307553"/>
                        </a:lnTo>
                        <a:lnTo>
                          <a:pt x="102911" y="290484"/>
                        </a:lnTo>
                        <a:lnTo>
                          <a:pt x="104256" y="284529"/>
                        </a:lnTo>
                        <a:lnTo>
                          <a:pt x="107028" y="281592"/>
                        </a:lnTo>
                        <a:lnTo>
                          <a:pt x="103597" y="276844"/>
                        </a:lnTo>
                        <a:lnTo>
                          <a:pt x="106232" y="248468"/>
                        </a:lnTo>
                        <a:lnTo>
                          <a:pt x="108811" y="246795"/>
                        </a:lnTo>
                        <a:lnTo>
                          <a:pt x="116880" y="256043"/>
                        </a:lnTo>
                        <a:lnTo>
                          <a:pt x="118746" y="254726"/>
                        </a:lnTo>
                        <a:lnTo>
                          <a:pt x="115178" y="248029"/>
                        </a:lnTo>
                        <a:lnTo>
                          <a:pt x="104613" y="239083"/>
                        </a:lnTo>
                        <a:lnTo>
                          <a:pt x="100332" y="228792"/>
                        </a:lnTo>
                        <a:lnTo>
                          <a:pt x="101237" y="226953"/>
                        </a:lnTo>
                        <a:lnTo>
                          <a:pt x="104750" y="232140"/>
                        </a:lnTo>
                        <a:lnTo>
                          <a:pt x="106232" y="231152"/>
                        </a:lnTo>
                        <a:lnTo>
                          <a:pt x="107522" y="224703"/>
                        </a:lnTo>
                        <a:lnTo>
                          <a:pt x="104914" y="218611"/>
                        </a:lnTo>
                        <a:lnTo>
                          <a:pt x="108125" y="212848"/>
                        </a:lnTo>
                        <a:lnTo>
                          <a:pt x="106671" y="212957"/>
                        </a:lnTo>
                        <a:lnTo>
                          <a:pt x="104914" y="213122"/>
                        </a:lnTo>
                        <a:lnTo>
                          <a:pt x="103817" y="214659"/>
                        </a:lnTo>
                        <a:lnTo>
                          <a:pt x="98877" y="211942"/>
                        </a:lnTo>
                        <a:lnTo>
                          <a:pt x="87104" y="205575"/>
                        </a:lnTo>
                        <a:lnTo>
                          <a:pt x="83866" y="198714"/>
                        </a:lnTo>
                        <a:lnTo>
                          <a:pt x="78185" y="192238"/>
                        </a:lnTo>
                        <a:lnTo>
                          <a:pt x="76648" y="190481"/>
                        </a:lnTo>
                        <a:lnTo>
                          <a:pt x="78185" y="187957"/>
                        </a:lnTo>
                        <a:lnTo>
                          <a:pt x="81533" y="182441"/>
                        </a:lnTo>
                        <a:lnTo>
                          <a:pt x="78185" y="179669"/>
                        </a:lnTo>
                        <a:lnTo>
                          <a:pt x="76127" y="177940"/>
                        </a:lnTo>
                        <a:lnTo>
                          <a:pt x="75413" y="172671"/>
                        </a:lnTo>
                        <a:lnTo>
                          <a:pt x="66742" y="170778"/>
                        </a:lnTo>
                        <a:lnTo>
                          <a:pt x="65918" y="167347"/>
                        </a:lnTo>
                        <a:lnTo>
                          <a:pt x="67510" y="164274"/>
                        </a:lnTo>
                        <a:lnTo>
                          <a:pt x="65863" y="161529"/>
                        </a:lnTo>
                        <a:lnTo>
                          <a:pt x="63805" y="161694"/>
                        </a:lnTo>
                        <a:lnTo>
                          <a:pt x="57301" y="162188"/>
                        </a:lnTo>
                        <a:lnTo>
                          <a:pt x="40286" y="153955"/>
                        </a:lnTo>
                        <a:lnTo>
                          <a:pt x="36197" y="148686"/>
                        </a:lnTo>
                        <a:lnTo>
                          <a:pt x="12761" y="147451"/>
                        </a:lnTo>
                        <a:lnTo>
                          <a:pt x="6038" y="139163"/>
                        </a:lnTo>
                        <a:lnTo>
                          <a:pt x="12322" y="134114"/>
                        </a:lnTo>
                        <a:lnTo>
                          <a:pt x="8315" y="129668"/>
                        </a:lnTo>
                        <a:lnTo>
                          <a:pt x="9578" y="126100"/>
                        </a:lnTo>
                        <a:lnTo>
                          <a:pt x="1537" y="124262"/>
                        </a:lnTo>
                        <a:lnTo>
                          <a:pt x="0" y="121517"/>
                        </a:lnTo>
                        <a:lnTo>
                          <a:pt x="2223" y="115782"/>
                        </a:lnTo>
                        <a:lnTo>
                          <a:pt x="12624" y="110952"/>
                        </a:lnTo>
                        <a:lnTo>
                          <a:pt x="20966" y="109140"/>
                        </a:lnTo>
                        <a:lnTo>
                          <a:pt x="32163" y="110979"/>
                        </a:lnTo>
                        <a:lnTo>
                          <a:pt x="35648" y="104365"/>
                        </a:lnTo>
                        <a:lnTo>
                          <a:pt x="46681" y="101950"/>
                        </a:lnTo>
                        <a:lnTo>
                          <a:pt x="60402" y="115919"/>
                        </a:lnTo>
                        <a:lnTo>
                          <a:pt x="63777" y="114272"/>
                        </a:lnTo>
                        <a:lnTo>
                          <a:pt x="65836" y="113284"/>
                        </a:lnTo>
                        <a:lnTo>
                          <a:pt x="70830" y="110869"/>
                        </a:lnTo>
                        <a:lnTo>
                          <a:pt x="78185" y="113915"/>
                        </a:lnTo>
                        <a:lnTo>
                          <a:pt x="82686" y="110238"/>
                        </a:lnTo>
                        <a:lnTo>
                          <a:pt x="87379" y="112928"/>
                        </a:lnTo>
                        <a:lnTo>
                          <a:pt x="93553" y="112461"/>
                        </a:lnTo>
                        <a:lnTo>
                          <a:pt x="95502" y="110128"/>
                        </a:lnTo>
                        <a:lnTo>
                          <a:pt x="93443" y="103927"/>
                        </a:lnTo>
                        <a:lnTo>
                          <a:pt x="92208" y="89080"/>
                        </a:lnTo>
                        <a:lnTo>
                          <a:pt x="86802" y="77389"/>
                        </a:lnTo>
                        <a:lnTo>
                          <a:pt x="84909" y="65561"/>
                        </a:lnTo>
                        <a:lnTo>
                          <a:pt x="101457" y="65643"/>
                        </a:lnTo>
                        <a:lnTo>
                          <a:pt x="102609" y="73163"/>
                        </a:lnTo>
                        <a:lnTo>
                          <a:pt x="106863" y="81286"/>
                        </a:lnTo>
                        <a:lnTo>
                          <a:pt x="111666" y="78240"/>
                        </a:lnTo>
                        <a:lnTo>
                          <a:pt x="134526" y="82795"/>
                        </a:lnTo>
                        <a:lnTo>
                          <a:pt x="147479" y="76922"/>
                        </a:lnTo>
                        <a:lnTo>
                          <a:pt x="148494" y="76429"/>
                        </a:lnTo>
                        <a:lnTo>
                          <a:pt x="148878" y="76374"/>
                        </a:lnTo>
                        <a:lnTo>
                          <a:pt x="149592" y="76264"/>
                        </a:lnTo>
                        <a:lnTo>
                          <a:pt x="149784" y="76264"/>
                        </a:lnTo>
                        <a:cubicBezTo>
                          <a:pt x="149784" y="76264"/>
                          <a:pt x="150525" y="76044"/>
                          <a:pt x="150525" y="76044"/>
                        </a:cubicBezTo>
                        <a:lnTo>
                          <a:pt x="150662" y="76044"/>
                        </a:lnTo>
                        <a:cubicBezTo>
                          <a:pt x="150662" y="76044"/>
                          <a:pt x="151732" y="75688"/>
                          <a:pt x="151732" y="75688"/>
                        </a:cubicBezTo>
                        <a:lnTo>
                          <a:pt x="152281" y="75358"/>
                        </a:lnTo>
                        <a:lnTo>
                          <a:pt x="153324" y="74672"/>
                        </a:lnTo>
                        <a:lnTo>
                          <a:pt x="153763" y="74425"/>
                        </a:lnTo>
                        <a:lnTo>
                          <a:pt x="154010" y="74233"/>
                        </a:lnTo>
                        <a:lnTo>
                          <a:pt x="154312" y="74123"/>
                        </a:lnTo>
                        <a:lnTo>
                          <a:pt x="154587" y="74041"/>
                        </a:lnTo>
                        <a:lnTo>
                          <a:pt x="154998" y="74151"/>
                        </a:lnTo>
                        <a:lnTo>
                          <a:pt x="155163" y="74288"/>
                        </a:lnTo>
                        <a:lnTo>
                          <a:pt x="155602" y="74864"/>
                        </a:lnTo>
                        <a:lnTo>
                          <a:pt x="156233" y="75660"/>
                        </a:lnTo>
                        <a:lnTo>
                          <a:pt x="156590" y="76099"/>
                        </a:lnTo>
                        <a:lnTo>
                          <a:pt x="156864" y="76319"/>
                        </a:lnTo>
                        <a:lnTo>
                          <a:pt x="157002" y="76429"/>
                        </a:lnTo>
                        <a:lnTo>
                          <a:pt x="157303" y="76538"/>
                        </a:lnTo>
                        <a:lnTo>
                          <a:pt x="157440" y="76538"/>
                        </a:lnTo>
                        <a:cubicBezTo>
                          <a:pt x="157440" y="76538"/>
                          <a:pt x="157633" y="76538"/>
                          <a:pt x="157633" y="76538"/>
                        </a:cubicBezTo>
                        <a:lnTo>
                          <a:pt x="157907" y="76484"/>
                        </a:lnTo>
                        <a:lnTo>
                          <a:pt x="158126" y="76374"/>
                        </a:lnTo>
                        <a:lnTo>
                          <a:pt x="158044" y="76291"/>
                        </a:lnTo>
                        <a:lnTo>
                          <a:pt x="157852" y="76291"/>
                        </a:lnTo>
                        <a:cubicBezTo>
                          <a:pt x="157852" y="76291"/>
                          <a:pt x="157440" y="76291"/>
                          <a:pt x="157440" y="76291"/>
                        </a:cubicBezTo>
                        <a:lnTo>
                          <a:pt x="156974" y="76127"/>
                        </a:lnTo>
                        <a:lnTo>
                          <a:pt x="156507" y="75660"/>
                        </a:lnTo>
                        <a:lnTo>
                          <a:pt x="155876" y="74837"/>
                        </a:lnTo>
                        <a:lnTo>
                          <a:pt x="155711" y="74617"/>
                        </a:lnTo>
                        <a:lnTo>
                          <a:pt x="155382" y="74206"/>
                        </a:lnTo>
                        <a:lnTo>
                          <a:pt x="155135" y="73931"/>
                        </a:lnTo>
                        <a:lnTo>
                          <a:pt x="154888" y="73794"/>
                        </a:lnTo>
                        <a:lnTo>
                          <a:pt x="154778" y="73794"/>
                        </a:lnTo>
                        <a:cubicBezTo>
                          <a:pt x="154778" y="73794"/>
                          <a:pt x="154532" y="73739"/>
                          <a:pt x="154532" y="73739"/>
                        </a:cubicBezTo>
                        <a:lnTo>
                          <a:pt x="154312" y="73739"/>
                        </a:lnTo>
                        <a:lnTo>
                          <a:pt x="153983" y="73876"/>
                        </a:lnTo>
                        <a:lnTo>
                          <a:pt x="153763" y="74014"/>
                        </a:lnTo>
                        <a:lnTo>
                          <a:pt x="153324" y="74315"/>
                        </a:lnTo>
                        <a:lnTo>
                          <a:pt x="152583" y="74864"/>
                        </a:lnTo>
                        <a:lnTo>
                          <a:pt x="152501" y="74919"/>
                        </a:lnTo>
                        <a:lnTo>
                          <a:pt x="152172" y="75056"/>
                        </a:lnTo>
                        <a:lnTo>
                          <a:pt x="151568" y="75276"/>
                        </a:lnTo>
                        <a:lnTo>
                          <a:pt x="151129" y="75386"/>
                        </a:lnTo>
                        <a:lnTo>
                          <a:pt x="150827" y="75441"/>
                        </a:lnTo>
                        <a:lnTo>
                          <a:pt x="150305" y="75495"/>
                        </a:lnTo>
                        <a:lnTo>
                          <a:pt x="149647" y="75495"/>
                        </a:lnTo>
                        <a:lnTo>
                          <a:pt x="148659" y="75413"/>
                        </a:lnTo>
                        <a:lnTo>
                          <a:pt x="147835" y="75331"/>
                        </a:lnTo>
                        <a:lnTo>
                          <a:pt x="147671" y="75605"/>
                        </a:lnTo>
                        <a:lnTo>
                          <a:pt x="147479" y="75605"/>
                        </a:lnTo>
                        <a:cubicBezTo>
                          <a:pt x="147479" y="75605"/>
                          <a:pt x="142292" y="72312"/>
                          <a:pt x="142292" y="72312"/>
                        </a:cubicBezTo>
                        <a:lnTo>
                          <a:pt x="144487" y="65506"/>
                        </a:lnTo>
                        <a:lnTo>
                          <a:pt x="147451" y="62872"/>
                        </a:lnTo>
                        <a:lnTo>
                          <a:pt x="180301" y="47504"/>
                        </a:lnTo>
                        <a:lnTo>
                          <a:pt x="186750" y="40808"/>
                        </a:lnTo>
                        <a:lnTo>
                          <a:pt x="185432" y="35429"/>
                        </a:lnTo>
                        <a:lnTo>
                          <a:pt x="188122" y="34386"/>
                        </a:lnTo>
                        <a:lnTo>
                          <a:pt x="186009" y="29583"/>
                        </a:lnTo>
                        <a:lnTo>
                          <a:pt x="187024" y="11663"/>
                        </a:lnTo>
                        <a:lnTo>
                          <a:pt x="201349" y="422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4" name="Freeform: Shape 3443">
                    <a:extLst>
                      <a:ext uri="{FF2B5EF4-FFF2-40B4-BE49-F238E27FC236}">
                        <a16:creationId xmlns:a16="http://schemas.microsoft.com/office/drawing/2014/main" id="{DEF7CD8A-0DE4-8C01-DA19-C205BC883FD3}"/>
                      </a:ext>
                    </a:extLst>
                  </p:cNvPr>
                  <p:cNvSpPr/>
                  <p:nvPr/>
                </p:nvSpPr>
                <p:spPr>
                  <a:xfrm>
                    <a:off x="-6034057" y="3475378"/>
                    <a:ext cx="27991" cy="62185"/>
                  </a:xfrm>
                  <a:custGeom>
                    <a:avLst/>
                    <a:gdLst>
                      <a:gd name="connsiteX0" fmla="*/ 22394 w 27991"/>
                      <a:gd name="connsiteY0" fmla="*/ 53404 h 62185"/>
                      <a:gd name="connsiteX1" fmla="*/ 18085 w 27991"/>
                      <a:gd name="connsiteY1" fmla="*/ 62186 h 62185"/>
                      <a:gd name="connsiteX2" fmla="*/ 6943 w 27991"/>
                      <a:gd name="connsiteY2" fmla="*/ 56368 h 62185"/>
                      <a:gd name="connsiteX3" fmla="*/ 6010 w 27991"/>
                      <a:gd name="connsiteY3" fmla="*/ 53404 h 62185"/>
                      <a:gd name="connsiteX4" fmla="*/ 7739 w 27991"/>
                      <a:gd name="connsiteY4" fmla="*/ 51565 h 62185"/>
                      <a:gd name="connsiteX5" fmla="*/ 2415 w 27991"/>
                      <a:gd name="connsiteY5" fmla="*/ 40506 h 62185"/>
                      <a:gd name="connsiteX6" fmla="*/ 0 w 27991"/>
                      <a:gd name="connsiteY6" fmla="*/ 23628 h 62185"/>
                      <a:gd name="connsiteX7" fmla="*/ 4994 w 27991"/>
                      <a:gd name="connsiteY7" fmla="*/ 16246 h 62185"/>
                      <a:gd name="connsiteX8" fmla="*/ 9331 w 27991"/>
                      <a:gd name="connsiteY8" fmla="*/ 13310 h 62185"/>
                      <a:gd name="connsiteX9" fmla="*/ 14956 w 27991"/>
                      <a:gd name="connsiteY9" fmla="*/ 10126 h 62185"/>
                      <a:gd name="connsiteX10" fmla="*/ 20500 w 27991"/>
                      <a:gd name="connsiteY10" fmla="*/ 9824 h 62185"/>
                      <a:gd name="connsiteX11" fmla="*/ 22339 w 27991"/>
                      <a:gd name="connsiteY11" fmla="*/ 1125 h 62185"/>
                      <a:gd name="connsiteX12" fmla="*/ 24040 w 27991"/>
                      <a:gd name="connsiteY12" fmla="*/ 0 h 62185"/>
                      <a:gd name="connsiteX13" fmla="*/ 25659 w 27991"/>
                      <a:gd name="connsiteY13" fmla="*/ 2772 h 62185"/>
                      <a:gd name="connsiteX14" fmla="*/ 26565 w 27991"/>
                      <a:gd name="connsiteY14" fmla="*/ 13310 h 62185"/>
                      <a:gd name="connsiteX15" fmla="*/ 27388 w 27991"/>
                      <a:gd name="connsiteY15" fmla="*/ 22558 h 62185"/>
                      <a:gd name="connsiteX16" fmla="*/ 27992 w 27991"/>
                      <a:gd name="connsiteY16" fmla="*/ 29419 h 62185"/>
                      <a:gd name="connsiteX17" fmla="*/ 25412 w 27991"/>
                      <a:gd name="connsiteY17" fmla="*/ 39051 h 62185"/>
                      <a:gd name="connsiteX18" fmla="*/ 23820 w 27991"/>
                      <a:gd name="connsiteY18" fmla="*/ 44018 h 62185"/>
                      <a:gd name="connsiteX19" fmla="*/ 23189 w 27991"/>
                      <a:gd name="connsiteY19" fmla="*/ 51538 h 62185"/>
                      <a:gd name="connsiteX20" fmla="*/ 22421 w 27991"/>
                      <a:gd name="connsiteY20" fmla="*/ 53376 h 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991" h="62185">
                        <a:moveTo>
                          <a:pt x="22394" y="53404"/>
                        </a:moveTo>
                        <a:lnTo>
                          <a:pt x="18085" y="62186"/>
                        </a:lnTo>
                        <a:lnTo>
                          <a:pt x="6943" y="56368"/>
                        </a:lnTo>
                        <a:lnTo>
                          <a:pt x="6010" y="53404"/>
                        </a:lnTo>
                        <a:lnTo>
                          <a:pt x="7739" y="51565"/>
                        </a:lnTo>
                        <a:lnTo>
                          <a:pt x="2415" y="40506"/>
                        </a:lnTo>
                        <a:lnTo>
                          <a:pt x="0" y="23628"/>
                        </a:lnTo>
                        <a:lnTo>
                          <a:pt x="4994" y="16246"/>
                        </a:lnTo>
                        <a:lnTo>
                          <a:pt x="9331" y="13310"/>
                        </a:lnTo>
                        <a:lnTo>
                          <a:pt x="14956" y="10126"/>
                        </a:lnTo>
                        <a:lnTo>
                          <a:pt x="20500" y="9824"/>
                        </a:lnTo>
                        <a:lnTo>
                          <a:pt x="22339" y="1125"/>
                        </a:lnTo>
                        <a:lnTo>
                          <a:pt x="24040" y="0"/>
                        </a:lnTo>
                        <a:lnTo>
                          <a:pt x="25659" y="2772"/>
                        </a:lnTo>
                        <a:lnTo>
                          <a:pt x="26565" y="13310"/>
                        </a:lnTo>
                        <a:lnTo>
                          <a:pt x="27388" y="22558"/>
                        </a:lnTo>
                        <a:lnTo>
                          <a:pt x="27992" y="29419"/>
                        </a:lnTo>
                        <a:lnTo>
                          <a:pt x="25412" y="39051"/>
                        </a:lnTo>
                        <a:lnTo>
                          <a:pt x="23820" y="44018"/>
                        </a:lnTo>
                        <a:lnTo>
                          <a:pt x="23189" y="51538"/>
                        </a:lnTo>
                        <a:lnTo>
                          <a:pt x="22421" y="5337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5" name="Freeform: Shape 3444">
                    <a:extLst>
                      <a:ext uri="{FF2B5EF4-FFF2-40B4-BE49-F238E27FC236}">
                        <a16:creationId xmlns:a16="http://schemas.microsoft.com/office/drawing/2014/main" id="{9CFF7094-C641-632D-A796-0D09A6DB75B6}"/>
                      </a:ext>
                    </a:extLst>
                  </p:cNvPr>
                  <p:cNvSpPr/>
                  <p:nvPr/>
                </p:nvSpPr>
                <p:spPr>
                  <a:xfrm>
                    <a:off x="-6382747" y="3290659"/>
                    <a:ext cx="4391" cy="4143"/>
                  </a:xfrm>
                  <a:custGeom>
                    <a:avLst/>
                    <a:gdLst>
                      <a:gd name="connsiteX0" fmla="*/ 0 w 4391"/>
                      <a:gd name="connsiteY0" fmla="*/ 1537 h 4143"/>
                      <a:gd name="connsiteX1" fmla="*/ 302 w 4391"/>
                      <a:gd name="connsiteY1" fmla="*/ 0 h 4143"/>
                      <a:gd name="connsiteX2" fmla="*/ 3129 w 4391"/>
                      <a:gd name="connsiteY2" fmla="*/ 1043 h 4143"/>
                      <a:gd name="connsiteX3" fmla="*/ 4391 w 4391"/>
                      <a:gd name="connsiteY3" fmla="*/ 4144 h 4143"/>
                      <a:gd name="connsiteX4" fmla="*/ 1290 w 4391"/>
                      <a:gd name="connsiteY4" fmla="*/ 4089 h 4143"/>
                      <a:gd name="connsiteX5" fmla="*/ 27 w 4391"/>
                      <a:gd name="connsiteY5" fmla="*/ 1509 h 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1" h="4143">
                        <a:moveTo>
                          <a:pt x="0" y="1537"/>
                        </a:moveTo>
                        <a:lnTo>
                          <a:pt x="302" y="0"/>
                        </a:lnTo>
                        <a:lnTo>
                          <a:pt x="3129" y="1043"/>
                        </a:lnTo>
                        <a:lnTo>
                          <a:pt x="4391" y="4144"/>
                        </a:lnTo>
                        <a:lnTo>
                          <a:pt x="1290" y="4089"/>
                        </a:lnTo>
                        <a:lnTo>
                          <a:pt x="27" y="150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6" name="Freeform: Shape 3445">
                    <a:extLst>
                      <a:ext uri="{FF2B5EF4-FFF2-40B4-BE49-F238E27FC236}">
                        <a16:creationId xmlns:a16="http://schemas.microsoft.com/office/drawing/2014/main" id="{72A17550-7C68-C831-888C-5E04D17D866A}"/>
                      </a:ext>
                    </a:extLst>
                  </p:cNvPr>
                  <p:cNvSpPr/>
                  <p:nvPr/>
                </p:nvSpPr>
                <p:spPr>
                  <a:xfrm>
                    <a:off x="-6355359" y="3305396"/>
                    <a:ext cx="3128" cy="4363"/>
                  </a:xfrm>
                  <a:custGeom>
                    <a:avLst/>
                    <a:gdLst>
                      <a:gd name="connsiteX0" fmla="*/ 0 w 3128"/>
                      <a:gd name="connsiteY0" fmla="*/ 247 h 4363"/>
                      <a:gd name="connsiteX1" fmla="*/ 2744 w 3128"/>
                      <a:gd name="connsiteY1" fmla="*/ 0 h 4363"/>
                      <a:gd name="connsiteX2" fmla="*/ 3128 w 3128"/>
                      <a:gd name="connsiteY2" fmla="*/ 3238 h 4363"/>
                      <a:gd name="connsiteX3" fmla="*/ 1756 w 3128"/>
                      <a:gd name="connsiteY3" fmla="*/ 4364 h 4363"/>
                      <a:gd name="connsiteX4" fmla="*/ 164 w 3128"/>
                      <a:gd name="connsiteY4" fmla="*/ 2882 h 4363"/>
                      <a:gd name="connsiteX5" fmla="*/ 0 w 3128"/>
                      <a:gd name="connsiteY5" fmla="*/ 220 h 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8" h="4363">
                        <a:moveTo>
                          <a:pt x="0" y="247"/>
                        </a:moveTo>
                        <a:lnTo>
                          <a:pt x="2744" y="0"/>
                        </a:lnTo>
                        <a:lnTo>
                          <a:pt x="3128" y="3238"/>
                        </a:lnTo>
                        <a:lnTo>
                          <a:pt x="1756" y="4364"/>
                        </a:lnTo>
                        <a:lnTo>
                          <a:pt x="164" y="2882"/>
                        </a:lnTo>
                        <a:lnTo>
                          <a:pt x="0" y="22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7" name="Freeform: Shape 3446">
                    <a:extLst>
                      <a:ext uri="{FF2B5EF4-FFF2-40B4-BE49-F238E27FC236}">
                        <a16:creationId xmlns:a16="http://schemas.microsoft.com/office/drawing/2014/main" id="{422163F0-B1CE-D88D-B308-C9EE4E0CCA9E}"/>
                      </a:ext>
                    </a:extLst>
                  </p:cNvPr>
                  <p:cNvSpPr/>
                  <p:nvPr/>
                </p:nvSpPr>
                <p:spPr>
                  <a:xfrm>
                    <a:off x="-6333075" y="3339096"/>
                    <a:ext cx="3484" cy="2689"/>
                  </a:xfrm>
                  <a:custGeom>
                    <a:avLst/>
                    <a:gdLst>
                      <a:gd name="connsiteX0" fmla="*/ 3211 w 3484"/>
                      <a:gd name="connsiteY0" fmla="*/ 2278 h 2689"/>
                      <a:gd name="connsiteX1" fmla="*/ 2936 w 3484"/>
                      <a:gd name="connsiteY1" fmla="*/ 2689 h 2689"/>
                      <a:gd name="connsiteX2" fmla="*/ 1070 w 3484"/>
                      <a:gd name="connsiteY2" fmla="*/ 2689 h 2689"/>
                      <a:gd name="connsiteX3" fmla="*/ 0 w 3484"/>
                      <a:gd name="connsiteY3" fmla="*/ 768 h 2689"/>
                      <a:gd name="connsiteX4" fmla="*/ 1866 w 3484"/>
                      <a:gd name="connsiteY4" fmla="*/ 0 h 2689"/>
                      <a:gd name="connsiteX5" fmla="*/ 3485 w 3484"/>
                      <a:gd name="connsiteY5" fmla="*/ 1564 h 2689"/>
                      <a:gd name="connsiteX6" fmla="*/ 3211 w 3484"/>
                      <a:gd name="connsiteY6" fmla="*/ 2305 h 2689"/>
                      <a:gd name="connsiteX7" fmla="*/ 3211 w 3484"/>
                      <a:gd name="connsiteY7" fmla="*/ 2305 h 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4" h="2689">
                        <a:moveTo>
                          <a:pt x="3211" y="2278"/>
                        </a:moveTo>
                        <a:lnTo>
                          <a:pt x="2936" y="2689"/>
                        </a:lnTo>
                        <a:lnTo>
                          <a:pt x="1070" y="2689"/>
                        </a:lnTo>
                        <a:lnTo>
                          <a:pt x="0" y="768"/>
                        </a:lnTo>
                        <a:lnTo>
                          <a:pt x="1866" y="0"/>
                        </a:lnTo>
                        <a:lnTo>
                          <a:pt x="3485" y="1564"/>
                        </a:lnTo>
                        <a:lnTo>
                          <a:pt x="3211" y="2305"/>
                        </a:lnTo>
                        <a:lnTo>
                          <a:pt x="3211" y="230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8" name="Freeform: Shape 3447">
                    <a:extLst>
                      <a:ext uri="{FF2B5EF4-FFF2-40B4-BE49-F238E27FC236}">
                        <a16:creationId xmlns:a16="http://schemas.microsoft.com/office/drawing/2014/main" id="{0AADA98F-B97D-5967-D3F6-A38B534C24CC}"/>
                      </a:ext>
                    </a:extLst>
                  </p:cNvPr>
                  <p:cNvSpPr/>
                  <p:nvPr/>
                </p:nvSpPr>
                <p:spPr>
                  <a:xfrm>
                    <a:off x="-6329782" y="3340112"/>
                    <a:ext cx="1619" cy="2305"/>
                  </a:xfrm>
                  <a:custGeom>
                    <a:avLst/>
                    <a:gdLst>
                      <a:gd name="connsiteX0" fmla="*/ 0 w 1619"/>
                      <a:gd name="connsiteY0" fmla="*/ 1125 h 2305"/>
                      <a:gd name="connsiteX1" fmla="*/ 714 w 1619"/>
                      <a:gd name="connsiteY1" fmla="*/ 0 h 2305"/>
                      <a:gd name="connsiteX2" fmla="*/ 1619 w 1619"/>
                      <a:gd name="connsiteY2" fmla="*/ 55 h 2305"/>
                      <a:gd name="connsiteX3" fmla="*/ 1619 w 1619"/>
                      <a:gd name="connsiteY3" fmla="*/ 1647 h 2305"/>
                      <a:gd name="connsiteX4" fmla="*/ 796 w 1619"/>
                      <a:gd name="connsiteY4" fmla="*/ 2305 h 2305"/>
                      <a:gd name="connsiteX5" fmla="*/ 0 w 1619"/>
                      <a:gd name="connsiteY5" fmla="*/ 1125 h 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 h="2305">
                        <a:moveTo>
                          <a:pt x="0" y="1125"/>
                        </a:moveTo>
                        <a:lnTo>
                          <a:pt x="714" y="0"/>
                        </a:lnTo>
                        <a:lnTo>
                          <a:pt x="1619" y="55"/>
                        </a:lnTo>
                        <a:lnTo>
                          <a:pt x="1619" y="1647"/>
                        </a:lnTo>
                        <a:lnTo>
                          <a:pt x="796" y="2305"/>
                        </a:lnTo>
                        <a:lnTo>
                          <a:pt x="0" y="112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49" name="Freeform: Shape 3448">
                    <a:extLst>
                      <a:ext uri="{FF2B5EF4-FFF2-40B4-BE49-F238E27FC236}">
                        <a16:creationId xmlns:a16="http://schemas.microsoft.com/office/drawing/2014/main" id="{87E40EEA-90EE-163A-5CB8-517955CEDA45}"/>
                      </a:ext>
                    </a:extLst>
                  </p:cNvPr>
                  <p:cNvSpPr/>
                  <p:nvPr/>
                </p:nvSpPr>
                <p:spPr>
                  <a:xfrm>
                    <a:off x="-5888993" y="3327515"/>
                    <a:ext cx="173576" cy="151979"/>
                  </a:xfrm>
                  <a:custGeom>
                    <a:avLst/>
                    <a:gdLst>
                      <a:gd name="connsiteX0" fmla="*/ 90342 w 173576"/>
                      <a:gd name="connsiteY0" fmla="*/ 2442 h 151979"/>
                      <a:gd name="connsiteX1" fmla="*/ 97916 w 173576"/>
                      <a:gd name="connsiteY1" fmla="*/ 7794 h 151979"/>
                      <a:gd name="connsiteX2" fmla="*/ 98547 w 173576"/>
                      <a:gd name="connsiteY2" fmla="*/ 9083 h 151979"/>
                      <a:gd name="connsiteX3" fmla="*/ 106644 w 173576"/>
                      <a:gd name="connsiteY3" fmla="*/ 15890 h 151979"/>
                      <a:gd name="connsiteX4" fmla="*/ 110842 w 173576"/>
                      <a:gd name="connsiteY4" fmla="*/ 23162 h 151979"/>
                      <a:gd name="connsiteX5" fmla="*/ 118526 w 173576"/>
                      <a:gd name="connsiteY5" fmla="*/ 25577 h 151979"/>
                      <a:gd name="connsiteX6" fmla="*/ 121353 w 173576"/>
                      <a:gd name="connsiteY6" fmla="*/ 29117 h 151979"/>
                      <a:gd name="connsiteX7" fmla="*/ 129037 w 173576"/>
                      <a:gd name="connsiteY7" fmla="*/ 31504 h 151979"/>
                      <a:gd name="connsiteX8" fmla="*/ 144514 w 173576"/>
                      <a:gd name="connsiteY8" fmla="*/ 33069 h 151979"/>
                      <a:gd name="connsiteX9" fmla="*/ 151074 w 173576"/>
                      <a:gd name="connsiteY9" fmla="*/ 26976 h 151979"/>
                      <a:gd name="connsiteX10" fmla="*/ 155766 w 173576"/>
                      <a:gd name="connsiteY10" fmla="*/ 26318 h 151979"/>
                      <a:gd name="connsiteX11" fmla="*/ 157770 w 173576"/>
                      <a:gd name="connsiteY11" fmla="*/ 26016 h 151979"/>
                      <a:gd name="connsiteX12" fmla="*/ 159636 w 173576"/>
                      <a:gd name="connsiteY12" fmla="*/ 37158 h 151979"/>
                      <a:gd name="connsiteX13" fmla="*/ 158758 w 173576"/>
                      <a:gd name="connsiteY13" fmla="*/ 40396 h 151979"/>
                      <a:gd name="connsiteX14" fmla="*/ 162984 w 173576"/>
                      <a:gd name="connsiteY14" fmla="*/ 42838 h 151979"/>
                      <a:gd name="connsiteX15" fmla="*/ 162051 w 173576"/>
                      <a:gd name="connsiteY15" fmla="*/ 44320 h 151979"/>
                      <a:gd name="connsiteX16" fmla="*/ 161228 w 173576"/>
                      <a:gd name="connsiteY16" fmla="*/ 46488 h 151979"/>
                      <a:gd name="connsiteX17" fmla="*/ 160980 w 173576"/>
                      <a:gd name="connsiteY17" fmla="*/ 48492 h 151979"/>
                      <a:gd name="connsiteX18" fmla="*/ 164933 w 173576"/>
                      <a:gd name="connsiteY18" fmla="*/ 52443 h 151979"/>
                      <a:gd name="connsiteX19" fmla="*/ 172561 w 173576"/>
                      <a:gd name="connsiteY19" fmla="*/ 55078 h 151979"/>
                      <a:gd name="connsiteX20" fmla="*/ 173577 w 173576"/>
                      <a:gd name="connsiteY20" fmla="*/ 57658 h 151979"/>
                      <a:gd name="connsiteX21" fmla="*/ 164356 w 173576"/>
                      <a:gd name="connsiteY21" fmla="*/ 59057 h 151979"/>
                      <a:gd name="connsiteX22" fmla="*/ 164905 w 173576"/>
                      <a:gd name="connsiteY22" fmla="*/ 66577 h 151979"/>
                      <a:gd name="connsiteX23" fmla="*/ 161118 w 173576"/>
                      <a:gd name="connsiteY23" fmla="*/ 69376 h 151979"/>
                      <a:gd name="connsiteX24" fmla="*/ 161749 w 173576"/>
                      <a:gd name="connsiteY24" fmla="*/ 70666 h 151979"/>
                      <a:gd name="connsiteX25" fmla="*/ 157001 w 173576"/>
                      <a:gd name="connsiteY25" fmla="*/ 70666 h 151979"/>
                      <a:gd name="connsiteX26" fmla="*/ 155135 w 173576"/>
                      <a:gd name="connsiteY26" fmla="*/ 69376 h 151979"/>
                      <a:gd name="connsiteX27" fmla="*/ 153791 w 173576"/>
                      <a:gd name="connsiteY27" fmla="*/ 63860 h 151979"/>
                      <a:gd name="connsiteX28" fmla="*/ 147259 w 173576"/>
                      <a:gd name="connsiteY28" fmla="*/ 60978 h 151979"/>
                      <a:gd name="connsiteX29" fmla="*/ 139163 w 173576"/>
                      <a:gd name="connsiteY29" fmla="*/ 59579 h 151979"/>
                      <a:gd name="connsiteX30" fmla="*/ 136117 w 173576"/>
                      <a:gd name="connsiteY30" fmla="*/ 61171 h 151979"/>
                      <a:gd name="connsiteX31" fmla="*/ 132220 w 173576"/>
                      <a:gd name="connsiteY31" fmla="*/ 59112 h 151979"/>
                      <a:gd name="connsiteX32" fmla="*/ 126759 w 173576"/>
                      <a:gd name="connsiteY32" fmla="*/ 62186 h 151979"/>
                      <a:gd name="connsiteX33" fmla="*/ 122341 w 173576"/>
                      <a:gd name="connsiteY33" fmla="*/ 59688 h 151979"/>
                      <a:gd name="connsiteX34" fmla="*/ 106424 w 173576"/>
                      <a:gd name="connsiteY34" fmla="*/ 57850 h 151979"/>
                      <a:gd name="connsiteX35" fmla="*/ 100633 w 173576"/>
                      <a:gd name="connsiteY35" fmla="*/ 54392 h 151979"/>
                      <a:gd name="connsiteX36" fmla="*/ 96380 w 173576"/>
                      <a:gd name="connsiteY36" fmla="*/ 56478 h 151979"/>
                      <a:gd name="connsiteX37" fmla="*/ 89217 w 173576"/>
                      <a:gd name="connsiteY37" fmla="*/ 55462 h 151979"/>
                      <a:gd name="connsiteX38" fmla="*/ 81615 w 173576"/>
                      <a:gd name="connsiteY38" fmla="*/ 64546 h 151979"/>
                      <a:gd name="connsiteX39" fmla="*/ 73300 w 173576"/>
                      <a:gd name="connsiteY39" fmla="*/ 56532 h 151979"/>
                      <a:gd name="connsiteX40" fmla="*/ 68169 w 173576"/>
                      <a:gd name="connsiteY40" fmla="*/ 55325 h 151979"/>
                      <a:gd name="connsiteX41" fmla="*/ 65122 w 173576"/>
                      <a:gd name="connsiteY41" fmla="*/ 67345 h 151979"/>
                      <a:gd name="connsiteX42" fmla="*/ 65781 w 173576"/>
                      <a:gd name="connsiteY42" fmla="*/ 69376 h 151979"/>
                      <a:gd name="connsiteX43" fmla="*/ 66522 w 173576"/>
                      <a:gd name="connsiteY43" fmla="*/ 74315 h 151979"/>
                      <a:gd name="connsiteX44" fmla="*/ 71214 w 173576"/>
                      <a:gd name="connsiteY44" fmla="*/ 76840 h 151979"/>
                      <a:gd name="connsiteX45" fmla="*/ 75606 w 173576"/>
                      <a:gd name="connsiteY45" fmla="*/ 84058 h 151979"/>
                      <a:gd name="connsiteX46" fmla="*/ 76676 w 173576"/>
                      <a:gd name="connsiteY46" fmla="*/ 85540 h 151979"/>
                      <a:gd name="connsiteX47" fmla="*/ 76730 w 173576"/>
                      <a:gd name="connsiteY47" fmla="*/ 87241 h 151979"/>
                      <a:gd name="connsiteX48" fmla="*/ 78761 w 173576"/>
                      <a:gd name="connsiteY48" fmla="*/ 91797 h 151979"/>
                      <a:gd name="connsiteX49" fmla="*/ 77910 w 173576"/>
                      <a:gd name="connsiteY49" fmla="*/ 97313 h 151979"/>
                      <a:gd name="connsiteX50" fmla="*/ 79146 w 173576"/>
                      <a:gd name="connsiteY50" fmla="*/ 97148 h 151979"/>
                      <a:gd name="connsiteX51" fmla="*/ 80545 w 173576"/>
                      <a:gd name="connsiteY51" fmla="*/ 98602 h 151979"/>
                      <a:gd name="connsiteX52" fmla="*/ 88833 w 173576"/>
                      <a:gd name="connsiteY52" fmla="*/ 106945 h 151979"/>
                      <a:gd name="connsiteX53" fmla="*/ 102746 w 173576"/>
                      <a:gd name="connsiteY53" fmla="*/ 123247 h 151979"/>
                      <a:gd name="connsiteX54" fmla="*/ 107055 w 173576"/>
                      <a:gd name="connsiteY54" fmla="*/ 125771 h 151979"/>
                      <a:gd name="connsiteX55" fmla="*/ 110650 w 173576"/>
                      <a:gd name="connsiteY55" fmla="*/ 127884 h 151979"/>
                      <a:gd name="connsiteX56" fmla="*/ 110842 w 173576"/>
                      <a:gd name="connsiteY56" fmla="*/ 132879 h 151979"/>
                      <a:gd name="connsiteX57" fmla="*/ 115535 w 173576"/>
                      <a:gd name="connsiteY57" fmla="*/ 139328 h 151979"/>
                      <a:gd name="connsiteX58" fmla="*/ 121600 w 173576"/>
                      <a:gd name="connsiteY58" fmla="*/ 145475 h 151979"/>
                      <a:gd name="connsiteX59" fmla="*/ 119349 w 173576"/>
                      <a:gd name="connsiteY59" fmla="*/ 148933 h 151979"/>
                      <a:gd name="connsiteX60" fmla="*/ 119267 w 173576"/>
                      <a:gd name="connsiteY60" fmla="*/ 148933 h 151979"/>
                      <a:gd name="connsiteX61" fmla="*/ 119102 w 173576"/>
                      <a:gd name="connsiteY61" fmla="*/ 149015 h 151979"/>
                      <a:gd name="connsiteX62" fmla="*/ 118993 w 173576"/>
                      <a:gd name="connsiteY62" fmla="*/ 149180 h 151979"/>
                      <a:gd name="connsiteX63" fmla="*/ 118883 w 173576"/>
                      <a:gd name="connsiteY63" fmla="*/ 149372 h 151979"/>
                      <a:gd name="connsiteX64" fmla="*/ 118883 w 173576"/>
                      <a:gd name="connsiteY64" fmla="*/ 149592 h 151979"/>
                      <a:gd name="connsiteX65" fmla="*/ 118883 w 173576"/>
                      <a:gd name="connsiteY65" fmla="*/ 149839 h 151979"/>
                      <a:gd name="connsiteX66" fmla="*/ 118938 w 173576"/>
                      <a:gd name="connsiteY66" fmla="*/ 150031 h 151979"/>
                      <a:gd name="connsiteX67" fmla="*/ 119047 w 173576"/>
                      <a:gd name="connsiteY67" fmla="*/ 150223 h 151979"/>
                      <a:gd name="connsiteX68" fmla="*/ 119212 w 173576"/>
                      <a:gd name="connsiteY68" fmla="*/ 150333 h 151979"/>
                      <a:gd name="connsiteX69" fmla="*/ 118361 w 173576"/>
                      <a:gd name="connsiteY69" fmla="*/ 151979 h 151979"/>
                      <a:gd name="connsiteX70" fmla="*/ 113422 w 173576"/>
                      <a:gd name="connsiteY70" fmla="*/ 150085 h 151979"/>
                      <a:gd name="connsiteX71" fmla="*/ 115315 w 173576"/>
                      <a:gd name="connsiteY71" fmla="*/ 147039 h 151979"/>
                      <a:gd name="connsiteX72" fmla="*/ 112736 w 173576"/>
                      <a:gd name="connsiteY72" fmla="*/ 143088 h 151979"/>
                      <a:gd name="connsiteX73" fmla="*/ 101183 w 173576"/>
                      <a:gd name="connsiteY73" fmla="*/ 134882 h 151979"/>
                      <a:gd name="connsiteX74" fmla="*/ 89464 w 173576"/>
                      <a:gd name="connsiteY74" fmla="*/ 134333 h 151979"/>
                      <a:gd name="connsiteX75" fmla="*/ 88915 w 173576"/>
                      <a:gd name="connsiteY75" fmla="*/ 132193 h 151979"/>
                      <a:gd name="connsiteX76" fmla="*/ 92181 w 173576"/>
                      <a:gd name="connsiteY76" fmla="*/ 130189 h 151979"/>
                      <a:gd name="connsiteX77" fmla="*/ 87708 w 173576"/>
                      <a:gd name="connsiteY77" fmla="*/ 126786 h 151979"/>
                      <a:gd name="connsiteX78" fmla="*/ 73328 w 173576"/>
                      <a:gd name="connsiteY78" fmla="*/ 126210 h 151979"/>
                      <a:gd name="connsiteX79" fmla="*/ 67949 w 173576"/>
                      <a:gd name="connsiteY79" fmla="*/ 117236 h 151979"/>
                      <a:gd name="connsiteX80" fmla="*/ 59881 w 173576"/>
                      <a:gd name="connsiteY80" fmla="*/ 111144 h 151979"/>
                      <a:gd name="connsiteX81" fmla="*/ 54886 w 173576"/>
                      <a:gd name="connsiteY81" fmla="*/ 108976 h 151979"/>
                      <a:gd name="connsiteX82" fmla="*/ 48959 w 173576"/>
                      <a:gd name="connsiteY82" fmla="*/ 99673 h 151979"/>
                      <a:gd name="connsiteX83" fmla="*/ 49974 w 173576"/>
                      <a:gd name="connsiteY83" fmla="*/ 95611 h 151979"/>
                      <a:gd name="connsiteX84" fmla="*/ 53789 w 173576"/>
                      <a:gd name="connsiteY84" fmla="*/ 93690 h 151979"/>
                      <a:gd name="connsiteX85" fmla="*/ 51949 w 173576"/>
                      <a:gd name="connsiteY85" fmla="*/ 91028 h 151979"/>
                      <a:gd name="connsiteX86" fmla="*/ 41988 w 173576"/>
                      <a:gd name="connsiteY86" fmla="*/ 83015 h 151979"/>
                      <a:gd name="connsiteX87" fmla="*/ 39957 w 173576"/>
                      <a:gd name="connsiteY87" fmla="*/ 63421 h 151979"/>
                      <a:gd name="connsiteX88" fmla="*/ 36334 w 173576"/>
                      <a:gd name="connsiteY88" fmla="*/ 60402 h 151979"/>
                      <a:gd name="connsiteX89" fmla="*/ 35868 w 173576"/>
                      <a:gd name="connsiteY89" fmla="*/ 64930 h 151979"/>
                      <a:gd name="connsiteX90" fmla="*/ 29831 w 173576"/>
                      <a:gd name="connsiteY90" fmla="*/ 62927 h 151979"/>
                      <a:gd name="connsiteX91" fmla="*/ 28925 w 173576"/>
                      <a:gd name="connsiteY91" fmla="*/ 54749 h 151979"/>
                      <a:gd name="connsiteX92" fmla="*/ 25687 w 173576"/>
                      <a:gd name="connsiteY92" fmla="*/ 51730 h 151979"/>
                      <a:gd name="connsiteX93" fmla="*/ 22970 w 173576"/>
                      <a:gd name="connsiteY93" fmla="*/ 52773 h 151979"/>
                      <a:gd name="connsiteX94" fmla="*/ 20720 w 173576"/>
                      <a:gd name="connsiteY94" fmla="*/ 58289 h 151979"/>
                      <a:gd name="connsiteX95" fmla="*/ 13667 w 173576"/>
                      <a:gd name="connsiteY95" fmla="*/ 71709 h 151979"/>
                      <a:gd name="connsiteX96" fmla="*/ 12404 w 173576"/>
                      <a:gd name="connsiteY96" fmla="*/ 73794 h 151979"/>
                      <a:gd name="connsiteX97" fmla="*/ 11608 w 173576"/>
                      <a:gd name="connsiteY97" fmla="*/ 72120 h 151979"/>
                      <a:gd name="connsiteX98" fmla="*/ 9825 w 173576"/>
                      <a:gd name="connsiteY98" fmla="*/ 71681 h 151979"/>
                      <a:gd name="connsiteX99" fmla="*/ 2168 w 173576"/>
                      <a:gd name="connsiteY99" fmla="*/ 57465 h 151979"/>
                      <a:gd name="connsiteX100" fmla="*/ 0 w 173576"/>
                      <a:gd name="connsiteY100" fmla="*/ 45281 h 151979"/>
                      <a:gd name="connsiteX101" fmla="*/ 3787 w 173576"/>
                      <a:gd name="connsiteY101" fmla="*/ 45720 h 151979"/>
                      <a:gd name="connsiteX102" fmla="*/ 17317 w 173576"/>
                      <a:gd name="connsiteY102" fmla="*/ 44540 h 151979"/>
                      <a:gd name="connsiteX103" fmla="*/ 17536 w 173576"/>
                      <a:gd name="connsiteY103" fmla="*/ 44540 h 151979"/>
                      <a:gd name="connsiteX104" fmla="*/ 25467 w 173576"/>
                      <a:gd name="connsiteY104" fmla="*/ 43826 h 151979"/>
                      <a:gd name="connsiteX105" fmla="*/ 30846 w 173576"/>
                      <a:gd name="connsiteY105" fmla="*/ 36526 h 151979"/>
                      <a:gd name="connsiteX106" fmla="*/ 36637 w 173576"/>
                      <a:gd name="connsiteY106" fmla="*/ 43305 h 151979"/>
                      <a:gd name="connsiteX107" fmla="*/ 38859 w 173576"/>
                      <a:gd name="connsiteY107" fmla="*/ 44979 h 151979"/>
                      <a:gd name="connsiteX108" fmla="*/ 42811 w 173576"/>
                      <a:gd name="connsiteY108" fmla="*/ 43250 h 151979"/>
                      <a:gd name="connsiteX109" fmla="*/ 50138 w 173576"/>
                      <a:gd name="connsiteY109" fmla="*/ 46845 h 151979"/>
                      <a:gd name="connsiteX110" fmla="*/ 54063 w 173576"/>
                      <a:gd name="connsiteY110" fmla="*/ 44403 h 151979"/>
                      <a:gd name="connsiteX111" fmla="*/ 52169 w 173576"/>
                      <a:gd name="connsiteY111" fmla="*/ 39984 h 151979"/>
                      <a:gd name="connsiteX112" fmla="*/ 51867 w 173576"/>
                      <a:gd name="connsiteY112" fmla="*/ 34304 h 151979"/>
                      <a:gd name="connsiteX113" fmla="*/ 53239 w 173576"/>
                      <a:gd name="connsiteY113" fmla="*/ 32739 h 151979"/>
                      <a:gd name="connsiteX114" fmla="*/ 55380 w 173576"/>
                      <a:gd name="connsiteY114" fmla="*/ 31477 h 151979"/>
                      <a:gd name="connsiteX115" fmla="*/ 62707 w 173576"/>
                      <a:gd name="connsiteY115" fmla="*/ 29419 h 151979"/>
                      <a:gd name="connsiteX116" fmla="*/ 64271 w 173576"/>
                      <a:gd name="connsiteY116" fmla="*/ 23793 h 151979"/>
                      <a:gd name="connsiteX117" fmla="*/ 63970 w 173576"/>
                      <a:gd name="connsiteY117" fmla="*/ 20472 h 151979"/>
                      <a:gd name="connsiteX118" fmla="*/ 61939 w 173576"/>
                      <a:gd name="connsiteY118" fmla="*/ 19100 h 151979"/>
                      <a:gd name="connsiteX119" fmla="*/ 62158 w 173576"/>
                      <a:gd name="connsiteY119" fmla="*/ 14984 h 151979"/>
                      <a:gd name="connsiteX120" fmla="*/ 66769 w 173576"/>
                      <a:gd name="connsiteY120" fmla="*/ 11746 h 151979"/>
                      <a:gd name="connsiteX121" fmla="*/ 69184 w 173576"/>
                      <a:gd name="connsiteY121" fmla="*/ 10895 h 151979"/>
                      <a:gd name="connsiteX122" fmla="*/ 77005 w 173576"/>
                      <a:gd name="connsiteY122" fmla="*/ 6065 h 151979"/>
                      <a:gd name="connsiteX123" fmla="*/ 81780 w 173576"/>
                      <a:gd name="connsiteY123" fmla="*/ 6668 h 151979"/>
                      <a:gd name="connsiteX124" fmla="*/ 80023 w 173576"/>
                      <a:gd name="connsiteY124" fmla="*/ 1893 h 151979"/>
                      <a:gd name="connsiteX125" fmla="*/ 83893 w 173576"/>
                      <a:gd name="connsiteY125" fmla="*/ 0 h 151979"/>
                      <a:gd name="connsiteX126" fmla="*/ 90479 w 173576"/>
                      <a:gd name="connsiteY126" fmla="*/ 2525 h 151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73576" h="151979">
                        <a:moveTo>
                          <a:pt x="90342" y="2442"/>
                        </a:moveTo>
                        <a:lnTo>
                          <a:pt x="97916" y="7794"/>
                        </a:lnTo>
                        <a:lnTo>
                          <a:pt x="98547" y="9083"/>
                        </a:lnTo>
                        <a:lnTo>
                          <a:pt x="106644" y="15890"/>
                        </a:lnTo>
                        <a:lnTo>
                          <a:pt x="110842" y="23162"/>
                        </a:lnTo>
                        <a:lnTo>
                          <a:pt x="118526" y="25577"/>
                        </a:lnTo>
                        <a:lnTo>
                          <a:pt x="121353" y="29117"/>
                        </a:lnTo>
                        <a:lnTo>
                          <a:pt x="129037" y="31504"/>
                        </a:lnTo>
                        <a:lnTo>
                          <a:pt x="144514" y="33069"/>
                        </a:lnTo>
                        <a:lnTo>
                          <a:pt x="151074" y="26976"/>
                        </a:lnTo>
                        <a:lnTo>
                          <a:pt x="155766" y="26318"/>
                        </a:lnTo>
                        <a:lnTo>
                          <a:pt x="157770" y="26016"/>
                        </a:lnTo>
                        <a:lnTo>
                          <a:pt x="159636" y="37158"/>
                        </a:lnTo>
                        <a:lnTo>
                          <a:pt x="158758" y="40396"/>
                        </a:lnTo>
                        <a:lnTo>
                          <a:pt x="162984" y="42838"/>
                        </a:lnTo>
                        <a:lnTo>
                          <a:pt x="162051" y="44320"/>
                        </a:lnTo>
                        <a:lnTo>
                          <a:pt x="161228" y="46488"/>
                        </a:lnTo>
                        <a:lnTo>
                          <a:pt x="160980" y="48492"/>
                        </a:lnTo>
                        <a:lnTo>
                          <a:pt x="164933" y="52443"/>
                        </a:lnTo>
                        <a:lnTo>
                          <a:pt x="172561" y="55078"/>
                        </a:lnTo>
                        <a:lnTo>
                          <a:pt x="173577" y="57658"/>
                        </a:lnTo>
                        <a:lnTo>
                          <a:pt x="164356" y="59057"/>
                        </a:lnTo>
                        <a:lnTo>
                          <a:pt x="164905" y="66577"/>
                        </a:lnTo>
                        <a:lnTo>
                          <a:pt x="161118" y="69376"/>
                        </a:lnTo>
                        <a:lnTo>
                          <a:pt x="161749" y="70666"/>
                        </a:lnTo>
                        <a:lnTo>
                          <a:pt x="157001" y="70666"/>
                        </a:lnTo>
                        <a:lnTo>
                          <a:pt x="155135" y="69376"/>
                        </a:lnTo>
                        <a:lnTo>
                          <a:pt x="153791" y="63860"/>
                        </a:lnTo>
                        <a:lnTo>
                          <a:pt x="147259" y="60978"/>
                        </a:lnTo>
                        <a:lnTo>
                          <a:pt x="139163" y="59579"/>
                        </a:lnTo>
                        <a:lnTo>
                          <a:pt x="136117" y="61171"/>
                        </a:lnTo>
                        <a:lnTo>
                          <a:pt x="132220" y="59112"/>
                        </a:lnTo>
                        <a:lnTo>
                          <a:pt x="126759" y="62186"/>
                        </a:lnTo>
                        <a:lnTo>
                          <a:pt x="122341" y="59688"/>
                        </a:lnTo>
                        <a:lnTo>
                          <a:pt x="106424" y="57850"/>
                        </a:lnTo>
                        <a:lnTo>
                          <a:pt x="100633" y="54392"/>
                        </a:lnTo>
                        <a:lnTo>
                          <a:pt x="96380" y="56478"/>
                        </a:lnTo>
                        <a:lnTo>
                          <a:pt x="89217" y="55462"/>
                        </a:lnTo>
                        <a:lnTo>
                          <a:pt x="81615" y="64546"/>
                        </a:lnTo>
                        <a:lnTo>
                          <a:pt x="73300" y="56532"/>
                        </a:lnTo>
                        <a:lnTo>
                          <a:pt x="68169" y="55325"/>
                        </a:lnTo>
                        <a:lnTo>
                          <a:pt x="65122" y="67345"/>
                        </a:lnTo>
                        <a:lnTo>
                          <a:pt x="65781" y="69376"/>
                        </a:lnTo>
                        <a:lnTo>
                          <a:pt x="66522" y="74315"/>
                        </a:lnTo>
                        <a:lnTo>
                          <a:pt x="71214" y="76840"/>
                        </a:lnTo>
                        <a:lnTo>
                          <a:pt x="75606" y="84058"/>
                        </a:lnTo>
                        <a:lnTo>
                          <a:pt x="76676" y="85540"/>
                        </a:lnTo>
                        <a:lnTo>
                          <a:pt x="76730" y="87241"/>
                        </a:lnTo>
                        <a:lnTo>
                          <a:pt x="78761" y="91797"/>
                        </a:lnTo>
                        <a:lnTo>
                          <a:pt x="77910" y="97313"/>
                        </a:lnTo>
                        <a:lnTo>
                          <a:pt x="79146" y="97148"/>
                        </a:lnTo>
                        <a:lnTo>
                          <a:pt x="80545" y="98602"/>
                        </a:lnTo>
                        <a:lnTo>
                          <a:pt x="88833" y="106945"/>
                        </a:lnTo>
                        <a:lnTo>
                          <a:pt x="102746" y="123247"/>
                        </a:lnTo>
                        <a:lnTo>
                          <a:pt x="107055" y="125771"/>
                        </a:lnTo>
                        <a:lnTo>
                          <a:pt x="110650" y="127884"/>
                        </a:lnTo>
                        <a:lnTo>
                          <a:pt x="110842" y="132879"/>
                        </a:lnTo>
                        <a:lnTo>
                          <a:pt x="115535" y="139328"/>
                        </a:lnTo>
                        <a:lnTo>
                          <a:pt x="121600" y="145475"/>
                        </a:lnTo>
                        <a:lnTo>
                          <a:pt x="119349" y="148933"/>
                        </a:lnTo>
                        <a:lnTo>
                          <a:pt x="119267" y="148933"/>
                        </a:lnTo>
                        <a:lnTo>
                          <a:pt x="119102" y="149015"/>
                        </a:lnTo>
                        <a:lnTo>
                          <a:pt x="118993" y="149180"/>
                        </a:lnTo>
                        <a:lnTo>
                          <a:pt x="118883" y="149372"/>
                        </a:lnTo>
                        <a:lnTo>
                          <a:pt x="118883" y="149592"/>
                        </a:lnTo>
                        <a:cubicBezTo>
                          <a:pt x="118883" y="149592"/>
                          <a:pt x="118883" y="149839"/>
                          <a:pt x="118883" y="149839"/>
                        </a:cubicBezTo>
                        <a:lnTo>
                          <a:pt x="118938" y="150031"/>
                        </a:lnTo>
                        <a:lnTo>
                          <a:pt x="119047" y="150223"/>
                        </a:lnTo>
                        <a:lnTo>
                          <a:pt x="119212" y="150333"/>
                        </a:lnTo>
                        <a:lnTo>
                          <a:pt x="118361" y="151979"/>
                        </a:lnTo>
                        <a:lnTo>
                          <a:pt x="113422" y="150085"/>
                        </a:lnTo>
                        <a:lnTo>
                          <a:pt x="115315" y="147039"/>
                        </a:lnTo>
                        <a:lnTo>
                          <a:pt x="112736" y="143088"/>
                        </a:lnTo>
                        <a:lnTo>
                          <a:pt x="101183" y="134882"/>
                        </a:lnTo>
                        <a:lnTo>
                          <a:pt x="89464" y="134333"/>
                        </a:lnTo>
                        <a:lnTo>
                          <a:pt x="88915" y="132193"/>
                        </a:lnTo>
                        <a:lnTo>
                          <a:pt x="92181" y="130189"/>
                        </a:lnTo>
                        <a:lnTo>
                          <a:pt x="87708" y="126786"/>
                        </a:lnTo>
                        <a:lnTo>
                          <a:pt x="73328" y="126210"/>
                        </a:lnTo>
                        <a:lnTo>
                          <a:pt x="67949" y="117236"/>
                        </a:lnTo>
                        <a:lnTo>
                          <a:pt x="59881" y="111144"/>
                        </a:lnTo>
                        <a:lnTo>
                          <a:pt x="54886" y="108976"/>
                        </a:lnTo>
                        <a:lnTo>
                          <a:pt x="48959" y="99673"/>
                        </a:lnTo>
                        <a:lnTo>
                          <a:pt x="49974" y="95611"/>
                        </a:lnTo>
                        <a:lnTo>
                          <a:pt x="53789" y="93690"/>
                        </a:lnTo>
                        <a:lnTo>
                          <a:pt x="51949" y="91028"/>
                        </a:lnTo>
                        <a:lnTo>
                          <a:pt x="41988" y="83015"/>
                        </a:lnTo>
                        <a:lnTo>
                          <a:pt x="39957" y="63421"/>
                        </a:lnTo>
                        <a:lnTo>
                          <a:pt x="36334" y="60402"/>
                        </a:lnTo>
                        <a:lnTo>
                          <a:pt x="35868" y="64930"/>
                        </a:lnTo>
                        <a:lnTo>
                          <a:pt x="29831" y="62927"/>
                        </a:lnTo>
                        <a:lnTo>
                          <a:pt x="28925" y="54749"/>
                        </a:lnTo>
                        <a:lnTo>
                          <a:pt x="25687" y="51730"/>
                        </a:lnTo>
                        <a:lnTo>
                          <a:pt x="22970" y="52773"/>
                        </a:lnTo>
                        <a:lnTo>
                          <a:pt x="20720" y="58289"/>
                        </a:lnTo>
                        <a:lnTo>
                          <a:pt x="13667" y="71709"/>
                        </a:lnTo>
                        <a:lnTo>
                          <a:pt x="12404" y="73794"/>
                        </a:lnTo>
                        <a:lnTo>
                          <a:pt x="11608" y="72120"/>
                        </a:lnTo>
                        <a:lnTo>
                          <a:pt x="9825" y="71681"/>
                        </a:lnTo>
                        <a:lnTo>
                          <a:pt x="2168" y="57465"/>
                        </a:lnTo>
                        <a:lnTo>
                          <a:pt x="0" y="45281"/>
                        </a:lnTo>
                        <a:lnTo>
                          <a:pt x="3787" y="45720"/>
                        </a:lnTo>
                        <a:lnTo>
                          <a:pt x="17317" y="44540"/>
                        </a:lnTo>
                        <a:lnTo>
                          <a:pt x="17536" y="44540"/>
                        </a:lnTo>
                        <a:cubicBezTo>
                          <a:pt x="17536" y="44540"/>
                          <a:pt x="25467" y="43826"/>
                          <a:pt x="25467" y="43826"/>
                        </a:cubicBezTo>
                        <a:lnTo>
                          <a:pt x="30846" y="36526"/>
                        </a:lnTo>
                        <a:lnTo>
                          <a:pt x="36637" y="43305"/>
                        </a:lnTo>
                        <a:lnTo>
                          <a:pt x="38859" y="44979"/>
                        </a:lnTo>
                        <a:lnTo>
                          <a:pt x="42811" y="43250"/>
                        </a:lnTo>
                        <a:lnTo>
                          <a:pt x="50138" y="46845"/>
                        </a:lnTo>
                        <a:lnTo>
                          <a:pt x="54063" y="44403"/>
                        </a:lnTo>
                        <a:lnTo>
                          <a:pt x="52169" y="39984"/>
                        </a:lnTo>
                        <a:lnTo>
                          <a:pt x="51867" y="34304"/>
                        </a:lnTo>
                        <a:lnTo>
                          <a:pt x="53239" y="32739"/>
                        </a:lnTo>
                        <a:lnTo>
                          <a:pt x="55380" y="31477"/>
                        </a:lnTo>
                        <a:lnTo>
                          <a:pt x="62707" y="29419"/>
                        </a:lnTo>
                        <a:lnTo>
                          <a:pt x="64271" y="23793"/>
                        </a:lnTo>
                        <a:lnTo>
                          <a:pt x="63970" y="20472"/>
                        </a:lnTo>
                        <a:lnTo>
                          <a:pt x="61939" y="19100"/>
                        </a:lnTo>
                        <a:lnTo>
                          <a:pt x="62158" y="14984"/>
                        </a:lnTo>
                        <a:lnTo>
                          <a:pt x="66769" y="11746"/>
                        </a:lnTo>
                        <a:lnTo>
                          <a:pt x="69184" y="10895"/>
                        </a:lnTo>
                        <a:lnTo>
                          <a:pt x="77005" y="6065"/>
                        </a:lnTo>
                        <a:lnTo>
                          <a:pt x="81780" y="6668"/>
                        </a:lnTo>
                        <a:lnTo>
                          <a:pt x="80023" y="1893"/>
                        </a:lnTo>
                        <a:lnTo>
                          <a:pt x="83893" y="0"/>
                        </a:lnTo>
                        <a:lnTo>
                          <a:pt x="90479" y="252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0" name="Freeform: Shape 3449">
                    <a:extLst>
                      <a:ext uri="{FF2B5EF4-FFF2-40B4-BE49-F238E27FC236}">
                        <a16:creationId xmlns:a16="http://schemas.microsoft.com/office/drawing/2014/main" id="{480E7375-FCE5-00FB-0CA4-7385311176C9}"/>
                      </a:ext>
                    </a:extLst>
                  </p:cNvPr>
                  <p:cNvSpPr/>
                  <p:nvPr/>
                </p:nvSpPr>
                <p:spPr>
                  <a:xfrm>
                    <a:off x="-5768903" y="3478452"/>
                    <a:ext cx="26976" cy="18715"/>
                  </a:xfrm>
                  <a:custGeom>
                    <a:avLst/>
                    <a:gdLst>
                      <a:gd name="connsiteX0" fmla="*/ 6586 w 26976"/>
                      <a:gd name="connsiteY0" fmla="*/ 82 h 18715"/>
                      <a:gd name="connsiteX1" fmla="*/ 17728 w 26976"/>
                      <a:gd name="connsiteY1" fmla="*/ 10236 h 18715"/>
                      <a:gd name="connsiteX2" fmla="*/ 18085 w 26976"/>
                      <a:gd name="connsiteY2" fmla="*/ 10593 h 18715"/>
                      <a:gd name="connsiteX3" fmla="*/ 24397 w 26976"/>
                      <a:gd name="connsiteY3" fmla="*/ 13310 h 18715"/>
                      <a:gd name="connsiteX4" fmla="*/ 26977 w 26976"/>
                      <a:gd name="connsiteY4" fmla="*/ 18716 h 18715"/>
                      <a:gd name="connsiteX5" fmla="*/ 15423 w 26976"/>
                      <a:gd name="connsiteY5" fmla="*/ 10264 h 18715"/>
                      <a:gd name="connsiteX6" fmla="*/ 8041 w 26976"/>
                      <a:gd name="connsiteY6" fmla="*/ 4830 h 18715"/>
                      <a:gd name="connsiteX7" fmla="*/ 0 w 26976"/>
                      <a:gd name="connsiteY7" fmla="*/ 1729 h 18715"/>
                      <a:gd name="connsiteX8" fmla="*/ 494 w 26976"/>
                      <a:gd name="connsiteY8" fmla="*/ 192 h 18715"/>
                      <a:gd name="connsiteX9" fmla="*/ 659 w 26976"/>
                      <a:gd name="connsiteY9" fmla="*/ 274 h 18715"/>
                      <a:gd name="connsiteX10" fmla="*/ 823 w 26976"/>
                      <a:gd name="connsiteY10" fmla="*/ 274 h 18715"/>
                      <a:gd name="connsiteX11" fmla="*/ 988 w 26976"/>
                      <a:gd name="connsiteY11" fmla="*/ 274 h 18715"/>
                      <a:gd name="connsiteX12" fmla="*/ 1125 w 26976"/>
                      <a:gd name="connsiteY12" fmla="*/ 164 h 18715"/>
                      <a:gd name="connsiteX13" fmla="*/ 1235 w 26976"/>
                      <a:gd name="connsiteY13" fmla="*/ 0 h 18715"/>
                      <a:gd name="connsiteX14" fmla="*/ 6641 w 26976"/>
                      <a:gd name="connsiteY14" fmla="*/ 137 h 18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76" h="18715">
                        <a:moveTo>
                          <a:pt x="6586" y="82"/>
                        </a:moveTo>
                        <a:lnTo>
                          <a:pt x="17728" y="10236"/>
                        </a:lnTo>
                        <a:lnTo>
                          <a:pt x="18085" y="10593"/>
                        </a:lnTo>
                        <a:lnTo>
                          <a:pt x="24397" y="13310"/>
                        </a:lnTo>
                        <a:lnTo>
                          <a:pt x="26977" y="18716"/>
                        </a:lnTo>
                        <a:lnTo>
                          <a:pt x="15423" y="10264"/>
                        </a:lnTo>
                        <a:lnTo>
                          <a:pt x="8041" y="4830"/>
                        </a:lnTo>
                        <a:lnTo>
                          <a:pt x="0" y="1729"/>
                        </a:lnTo>
                        <a:lnTo>
                          <a:pt x="494" y="192"/>
                        </a:lnTo>
                        <a:lnTo>
                          <a:pt x="659" y="274"/>
                        </a:lnTo>
                        <a:lnTo>
                          <a:pt x="823" y="274"/>
                        </a:lnTo>
                        <a:cubicBezTo>
                          <a:pt x="823" y="274"/>
                          <a:pt x="988" y="274"/>
                          <a:pt x="988" y="274"/>
                        </a:cubicBezTo>
                        <a:lnTo>
                          <a:pt x="1125" y="164"/>
                        </a:lnTo>
                        <a:lnTo>
                          <a:pt x="1235" y="0"/>
                        </a:lnTo>
                        <a:lnTo>
                          <a:pt x="6641" y="13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1" name="Freeform: Shape 3450">
                    <a:extLst>
                      <a:ext uri="{FF2B5EF4-FFF2-40B4-BE49-F238E27FC236}">
                        <a16:creationId xmlns:a16="http://schemas.microsoft.com/office/drawing/2014/main" id="{D07EC834-91DC-17F8-9C63-2A733A1E538C}"/>
                      </a:ext>
                    </a:extLst>
                  </p:cNvPr>
                  <p:cNvSpPr/>
                  <p:nvPr/>
                </p:nvSpPr>
                <p:spPr>
                  <a:xfrm>
                    <a:off x="-5865722" y="3392775"/>
                    <a:ext cx="5461" cy="18578"/>
                  </a:xfrm>
                  <a:custGeom>
                    <a:avLst/>
                    <a:gdLst>
                      <a:gd name="connsiteX0" fmla="*/ 3293 w 5461"/>
                      <a:gd name="connsiteY0" fmla="*/ 15341 h 18578"/>
                      <a:gd name="connsiteX1" fmla="*/ 4116 w 5461"/>
                      <a:gd name="connsiteY1" fmla="*/ 18579 h 18578"/>
                      <a:gd name="connsiteX2" fmla="*/ 220 w 5461"/>
                      <a:gd name="connsiteY2" fmla="*/ 17838 h 18578"/>
                      <a:gd name="connsiteX3" fmla="*/ 1702 w 5461"/>
                      <a:gd name="connsiteY3" fmla="*/ 14298 h 18578"/>
                      <a:gd name="connsiteX4" fmla="*/ 0 w 5461"/>
                      <a:gd name="connsiteY4" fmla="*/ 3046 h 18578"/>
                      <a:gd name="connsiteX5" fmla="*/ 2278 w 5461"/>
                      <a:gd name="connsiteY5" fmla="*/ 2223 h 18578"/>
                      <a:gd name="connsiteX6" fmla="*/ 2278 w 5461"/>
                      <a:gd name="connsiteY6" fmla="*/ 0 h 18578"/>
                      <a:gd name="connsiteX7" fmla="*/ 4062 w 5461"/>
                      <a:gd name="connsiteY7" fmla="*/ 1207 h 18578"/>
                      <a:gd name="connsiteX8" fmla="*/ 4281 w 5461"/>
                      <a:gd name="connsiteY8" fmla="*/ 6449 h 18578"/>
                      <a:gd name="connsiteX9" fmla="*/ 5461 w 5461"/>
                      <a:gd name="connsiteY9" fmla="*/ 15039 h 18578"/>
                      <a:gd name="connsiteX10" fmla="*/ 3293 w 5461"/>
                      <a:gd name="connsiteY10" fmla="*/ 15368 h 1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61" h="18578">
                        <a:moveTo>
                          <a:pt x="3293" y="15341"/>
                        </a:moveTo>
                        <a:lnTo>
                          <a:pt x="4116" y="18579"/>
                        </a:lnTo>
                        <a:lnTo>
                          <a:pt x="220" y="17838"/>
                        </a:lnTo>
                        <a:lnTo>
                          <a:pt x="1702" y="14298"/>
                        </a:lnTo>
                        <a:lnTo>
                          <a:pt x="0" y="3046"/>
                        </a:lnTo>
                        <a:lnTo>
                          <a:pt x="2278" y="2223"/>
                        </a:lnTo>
                        <a:lnTo>
                          <a:pt x="2278" y="0"/>
                        </a:lnTo>
                        <a:cubicBezTo>
                          <a:pt x="2278" y="0"/>
                          <a:pt x="4062" y="1207"/>
                          <a:pt x="4062" y="1207"/>
                        </a:cubicBezTo>
                        <a:lnTo>
                          <a:pt x="4281" y="6449"/>
                        </a:lnTo>
                        <a:lnTo>
                          <a:pt x="5461" y="15039"/>
                        </a:lnTo>
                        <a:lnTo>
                          <a:pt x="3293" y="1536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2" name="Freeform: Shape 3451">
                    <a:extLst>
                      <a:ext uri="{FF2B5EF4-FFF2-40B4-BE49-F238E27FC236}">
                        <a16:creationId xmlns:a16="http://schemas.microsoft.com/office/drawing/2014/main" id="{8D25EE92-CF80-12B0-067F-B8E78EBBFDC2}"/>
                      </a:ext>
                    </a:extLst>
                  </p:cNvPr>
                  <p:cNvSpPr/>
                  <p:nvPr/>
                </p:nvSpPr>
                <p:spPr>
                  <a:xfrm>
                    <a:off x="-5796894" y="3472387"/>
                    <a:ext cx="16904" cy="5268"/>
                  </a:xfrm>
                  <a:custGeom>
                    <a:avLst/>
                    <a:gdLst>
                      <a:gd name="connsiteX0" fmla="*/ 16795 w 16904"/>
                      <a:gd name="connsiteY0" fmla="*/ 1921 h 5268"/>
                      <a:gd name="connsiteX1" fmla="*/ 16905 w 16904"/>
                      <a:gd name="connsiteY1" fmla="*/ 3266 h 5268"/>
                      <a:gd name="connsiteX2" fmla="*/ 14572 w 16904"/>
                      <a:gd name="connsiteY2" fmla="*/ 5077 h 5268"/>
                      <a:gd name="connsiteX3" fmla="*/ 768 w 16904"/>
                      <a:gd name="connsiteY3" fmla="*/ 5269 h 5268"/>
                      <a:gd name="connsiteX4" fmla="*/ 0 w 16904"/>
                      <a:gd name="connsiteY4" fmla="*/ 3403 h 5268"/>
                      <a:gd name="connsiteX5" fmla="*/ 714 w 16904"/>
                      <a:gd name="connsiteY5" fmla="*/ 1976 h 5268"/>
                      <a:gd name="connsiteX6" fmla="*/ 3622 w 16904"/>
                      <a:gd name="connsiteY6" fmla="*/ 2771 h 5268"/>
                      <a:gd name="connsiteX7" fmla="*/ 8562 w 16904"/>
                      <a:gd name="connsiteY7" fmla="*/ 2717 h 5268"/>
                      <a:gd name="connsiteX8" fmla="*/ 11746 w 16904"/>
                      <a:gd name="connsiteY8" fmla="*/ 0 h 5268"/>
                      <a:gd name="connsiteX9" fmla="*/ 16795 w 16904"/>
                      <a:gd name="connsiteY9" fmla="*/ 1921 h 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04" h="5268">
                        <a:moveTo>
                          <a:pt x="16795" y="1921"/>
                        </a:moveTo>
                        <a:lnTo>
                          <a:pt x="16905" y="3266"/>
                        </a:lnTo>
                        <a:lnTo>
                          <a:pt x="14572" y="5077"/>
                        </a:lnTo>
                        <a:lnTo>
                          <a:pt x="768" y="5269"/>
                        </a:lnTo>
                        <a:lnTo>
                          <a:pt x="0" y="3403"/>
                        </a:lnTo>
                        <a:lnTo>
                          <a:pt x="714" y="1976"/>
                        </a:lnTo>
                        <a:lnTo>
                          <a:pt x="3622" y="2771"/>
                        </a:lnTo>
                        <a:lnTo>
                          <a:pt x="8562" y="2717"/>
                        </a:lnTo>
                        <a:lnTo>
                          <a:pt x="11746" y="0"/>
                        </a:lnTo>
                        <a:lnTo>
                          <a:pt x="16795" y="192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3" name="Freeform: Shape 3452">
                    <a:extLst>
                      <a:ext uri="{FF2B5EF4-FFF2-40B4-BE49-F238E27FC236}">
                        <a16:creationId xmlns:a16="http://schemas.microsoft.com/office/drawing/2014/main" id="{6FA4CE81-AA14-1BCE-D731-3534F3DEB3F5}"/>
                      </a:ext>
                    </a:extLst>
                  </p:cNvPr>
                  <p:cNvSpPr/>
                  <p:nvPr/>
                </p:nvSpPr>
                <p:spPr>
                  <a:xfrm>
                    <a:off x="-5845084" y="3429960"/>
                    <a:ext cx="7190" cy="9220"/>
                  </a:xfrm>
                  <a:custGeom>
                    <a:avLst/>
                    <a:gdLst>
                      <a:gd name="connsiteX0" fmla="*/ 7190 w 7190"/>
                      <a:gd name="connsiteY0" fmla="*/ 7712 h 9220"/>
                      <a:gd name="connsiteX1" fmla="*/ 5351 w 7190"/>
                      <a:gd name="connsiteY1" fmla="*/ 9221 h 9220"/>
                      <a:gd name="connsiteX2" fmla="*/ 2415 w 7190"/>
                      <a:gd name="connsiteY2" fmla="*/ 6449 h 9220"/>
                      <a:gd name="connsiteX3" fmla="*/ 0 w 7190"/>
                      <a:gd name="connsiteY3" fmla="*/ 2333 h 9220"/>
                      <a:gd name="connsiteX4" fmla="*/ 1564 w 7190"/>
                      <a:gd name="connsiteY4" fmla="*/ 0 h 9220"/>
                      <a:gd name="connsiteX5" fmla="*/ 3074 w 7190"/>
                      <a:gd name="connsiteY5" fmla="*/ 1729 h 9220"/>
                      <a:gd name="connsiteX6" fmla="*/ 2525 w 7190"/>
                      <a:gd name="connsiteY6" fmla="*/ 3870 h 9220"/>
                      <a:gd name="connsiteX7" fmla="*/ 7163 w 7190"/>
                      <a:gd name="connsiteY7" fmla="*/ 7712 h 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0" h="9220">
                        <a:moveTo>
                          <a:pt x="7190" y="7712"/>
                        </a:moveTo>
                        <a:lnTo>
                          <a:pt x="5351" y="9221"/>
                        </a:lnTo>
                        <a:lnTo>
                          <a:pt x="2415" y="6449"/>
                        </a:lnTo>
                        <a:lnTo>
                          <a:pt x="0" y="2333"/>
                        </a:lnTo>
                        <a:lnTo>
                          <a:pt x="1564" y="0"/>
                        </a:lnTo>
                        <a:lnTo>
                          <a:pt x="3074" y="1729"/>
                        </a:lnTo>
                        <a:lnTo>
                          <a:pt x="2525" y="3870"/>
                        </a:lnTo>
                        <a:lnTo>
                          <a:pt x="7163" y="771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4" name="Freeform: Shape 3453">
                    <a:extLst>
                      <a:ext uri="{FF2B5EF4-FFF2-40B4-BE49-F238E27FC236}">
                        <a16:creationId xmlns:a16="http://schemas.microsoft.com/office/drawing/2014/main" id="{3FF91F31-B09E-5B20-1D2E-5DB1FBB4783D}"/>
                      </a:ext>
                    </a:extLst>
                  </p:cNvPr>
                  <p:cNvSpPr/>
                  <p:nvPr/>
                </p:nvSpPr>
                <p:spPr>
                  <a:xfrm>
                    <a:off x="-5803920" y="3465060"/>
                    <a:ext cx="9412" cy="4116"/>
                  </a:xfrm>
                  <a:custGeom>
                    <a:avLst/>
                    <a:gdLst>
                      <a:gd name="connsiteX0" fmla="*/ 7026 w 9412"/>
                      <a:gd name="connsiteY0" fmla="*/ 27 h 4116"/>
                      <a:gd name="connsiteX1" fmla="*/ 9413 w 9412"/>
                      <a:gd name="connsiteY1" fmla="*/ 3375 h 4116"/>
                      <a:gd name="connsiteX2" fmla="*/ 7958 w 9412"/>
                      <a:gd name="connsiteY2" fmla="*/ 4116 h 4116"/>
                      <a:gd name="connsiteX3" fmla="*/ 439 w 9412"/>
                      <a:gd name="connsiteY3" fmla="*/ 2442 h 4116"/>
                      <a:gd name="connsiteX4" fmla="*/ 0 w 9412"/>
                      <a:gd name="connsiteY4" fmla="*/ 1674 h 4116"/>
                      <a:gd name="connsiteX5" fmla="*/ 961 w 9412"/>
                      <a:gd name="connsiteY5" fmla="*/ 439 h 4116"/>
                      <a:gd name="connsiteX6" fmla="*/ 4391 w 9412"/>
                      <a:gd name="connsiteY6" fmla="*/ 1701 h 4116"/>
                      <a:gd name="connsiteX7" fmla="*/ 6998 w 9412"/>
                      <a:gd name="connsiteY7" fmla="*/ 0 h 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12" h="4116">
                        <a:moveTo>
                          <a:pt x="7026" y="27"/>
                        </a:moveTo>
                        <a:lnTo>
                          <a:pt x="9413" y="3375"/>
                        </a:lnTo>
                        <a:lnTo>
                          <a:pt x="7958" y="4116"/>
                        </a:lnTo>
                        <a:lnTo>
                          <a:pt x="439" y="2442"/>
                        </a:lnTo>
                        <a:lnTo>
                          <a:pt x="0" y="1674"/>
                        </a:lnTo>
                        <a:lnTo>
                          <a:pt x="961" y="439"/>
                        </a:lnTo>
                        <a:lnTo>
                          <a:pt x="4391" y="1701"/>
                        </a:lnTo>
                        <a:lnTo>
                          <a:pt x="6998"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5" name="Freeform: Shape 3454">
                    <a:extLst>
                      <a:ext uri="{FF2B5EF4-FFF2-40B4-BE49-F238E27FC236}">
                        <a16:creationId xmlns:a16="http://schemas.microsoft.com/office/drawing/2014/main" id="{B6878B4C-8A6C-03AC-AB04-0188A19E38B1}"/>
                      </a:ext>
                    </a:extLst>
                  </p:cNvPr>
                  <p:cNvSpPr/>
                  <p:nvPr/>
                </p:nvSpPr>
                <p:spPr>
                  <a:xfrm>
                    <a:off x="-5844782" y="3413769"/>
                    <a:ext cx="4527" cy="6641"/>
                  </a:xfrm>
                  <a:custGeom>
                    <a:avLst/>
                    <a:gdLst>
                      <a:gd name="connsiteX0" fmla="*/ 4308 w 4527"/>
                      <a:gd name="connsiteY0" fmla="*/ 3348 h 6641"/>
                      <a:gd name="connsiteX1" fmla="*/ 4528 w 4527"/>
                      <a:gd name="connsiteY1" fmla="*/ 6641 h 6641"/>
                      <a:gd name="connsiteX2" fmla="*/ 2497 w 4527"/>
                      <a:gd name="connsiteY2" fmla="*/ 6065 h 6641"/>
                      <a:gd name="connsiteX3" fmla="*/ 0 w 4527"/>
                      <a:gd name="connsiteY3" fmla="*/ 2168 h 6641"/>
                      <a:gd name="connsiteX4" fmla="*/ 549 w 4527"/>
                      <a:gd name="connsiteY4" fmla="*/ 0 h 6641"/>
                      <a:gd name="connsiteX5" fmla="*/ 4336 w 4527"/>
                      <a:gd name="connsiteY5" fmla="*/ 3321 h 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7" h="6641">
                        <a:moveTo>
                          <a:pt x="4308" y="3348"/>
                        </a:moveTo>
                        <a:lnTo>
                          <a:pt x="4528" y="6641"/>
                        </a:lnTo>
                        <a:lnTo>
                          <a:pt x="2497" y="6065"/>
                        </a:lnTo>
                        <a:lnTo>
                          <a:pt x="0" y="2168"/>
                        </a:lnTo>
                        <a:lnTo>
                          <a:pt x="549" y="0"/>
                        </a:lnTo>
                        <a:lnTo>
                          <a:pt x="4336" y="332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6" name="Freeform: Shape 3455">
                    <a:extLst>
                      <a:ext uri="{FF2B5EF4-FFF2-40B4-BE49-F238E27FC236}">
                        <a16:creationId xmlns:a16="http://schemas.microsoft.com/office/drawing/2014/main" id="{76A2FDB2-6817-1449-07F2-D4B568F59BDD}"/>
                      </a:ext>
                    </a:extLst>
                  </p:cNvPr>
                  <p:cNvSpPr/>
                  <p:nvPr/>
                </p:nvSpPr>
                <p:spPr>
                  <a:xfrm>
                    <a:off x="-5809902" y="3456744"/>
                    <a:ext cx="4775" cy="4034"/>
                  </a:xfrm>
                  <a:custGeom>
                    <a:avLst/>
                    <a:gdLst>
                      <a:gd name="connsiteX0" fmla="*/ 4775 w 4775"/>
                      <a:gd name="connsiteY0" fmla="*/ 2662 h 4034"/>
                      <a:gd name="connsiteX1" fmla="*/ 3677 w 4775"/>
                      <a:gd name="connsiteY1" fmla="*/ 4034 h 4034"/>
                      <a:gd name="connsiteX2" fmla="*/ 0 w 4775"/>
                      <a:gd name="connsiteY2" fmla="*/ 1262 h 4034"/>
                      <a:gd name="connsiteX3" fmla="*/ 960 w 4775"/>
                      <a:gd name="connsiteY3" fmla="*/ 0 h 4034"/>
                      <a:gd name="connsiteX4" fmla="*/ 3622 w 4775"/>
                      <a:gd name="connsiteY4" fmla="*/ 878 h 4034"/>
                      <a:gd name="connsiteX5" fmla="*/ 4775 w 4775"/>
                      <a:gd name="connsiteY5" fmla="*/ 2662 h 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 h="4034">
                        <a:moveTo>
                          <a:pt x="4775" y="2662"/>
                        </a:moveTo>
                        <a:lnTo>
                          <a:pt x="3677" y="4034"/>
                        </a:lnTo>
                        <a:lnTo>
                          <a:pt x="0" y="1262"/>
                        </a:lnTo>
                        <a:lnTo>
                          <a:pt x="960" y="0"/>
                        </a:lnTo>
                        <a:lnTo>
                          <a:pt x="3622" y="878"/>
                        </a:lnTo>
                        <a:lnTo>
                          <a:pt x="4775" y="266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7" name="Freeform: Shape 3456">
                    <a:extLst>
                      <a:ext uri="{FF2B5EF4-FFF2-40B4-BE49-F238E27FC236}">
                        <a16:creationId xmlns:a16="http://schemas.microsoft.com/office/drawing/2014/main" id="{60FD0B65-2AFC-E06D-952C-883905839E8C}"/>
                      </a:ext>
                    </a:extLst>
                  </p:cNvPr>
                  <p:cNvSpPr/>
                  <p:nvPr/>
                </p:nvSpPr>
                <p:spPr>
                  <a:xfrm>
                    <a:off x="-5867204" y="3384542"/>
                    <a:ext cx="3238" cy="5708"/>
                  </a:xfrm>
                  <a:custGeom>
                    <a:avLst/>
                    <a:gdLst>
                      <a:gd name="connsiteX0" fmla="*/ 3239 w 3238"/>
                      <a:gd name="connsiteY0" fmla="*/ 1400 h 5708"/>
                      <a:gd name="connsiteX1" fmla="*/ 2689 w 3238"/>
                      <a:gd name="connsiteY1" fmla="*/ 5708 h 5708"/>
                      <a:gd name="connsiteX2" fmla="*/ 0 w 3238"/>
                      <a:gd name="connsiteY2" fmla="*/ 2552 h 5708"/>
                      <a:gd name="connsiteX3" fmla="*/ 1619 w 3238"/>
                      <a:gd name="connsiteY3" fmla="*/ 0 h 5708"/>
                      <a:gd name="connsiteX4" fmla="*/ 3239 w 3238"/>
                      <a:gd name="connsiteY4" fmla="*/ 1400 h 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5708">
                        <a:moveTo>
                          <a:pt x="3239" y="1400"/>
                        </a:moveTo>
                        <a:lnTo>
                          <a:pt x="2689" y="5708"/>
                        </a:lnTo>
                        <a:lnTo>
                          <a:pt x="0" y="2552"/>
                        </a:lnTo>
                        <a:lnTo>
                          <a:pt x="1619" y="0"/>
                        </a:lnTo>
                        <a:lnTo>
                          <a:pt x="3239" y="140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8" name="Freeform: Shape 3457">
                    <a:extLst>
                      <a:ext uri="{FF2B5EF4-FFF2-40B4-BE49-F238E27FC236}">
                        <a16:creationId xmlns:a16="http://schemas.microsoft.com/office/drawing/2014/main" id="{E29FC08D-5C14-D506-97BD-D26CF0D0086A}"/>
                      </a:ext>
                    </a:extLst>
                  </p:cNvPr>
                  <p:cNvSpPr/>
                  <p:nvPr/>
                </p:nvSpPr>
                <p:spPr>
                  <a:xfrm>
                    <a:off x="-5860068" y="3413906"/>
                    <a:ext cx="3841" cy="4692"/>
                  </a:xfrm>
                  <a:custGeom>
                    <a:avLst/>
                    <a:gdLst>
                      <a:gd name="connsiteX0" fmla="*/ 3842 w 3841"/>
                      <a:gd name="connsiteY0" fmla="*/ 4281 h 4692"/>
                      <a:gd name="connsiteX1" fmla="*/ 1207 w 3841"/>
                      <a:gd name="connsiteY1" fmla="*/ 4693 h 4692"/>
                      <a:gd name="connsiteX2" fmla="*/ 0 w 3841"/>
                      <a:gd name="connsiteY2" fmla="*/ 1564 h 4692"/>
                      <a:gd name="connsiteX3" fmla="*/ 1756 w 3841"/>
                      <a:gd name="connsiteY3" fmla="*/ 0 h 4692"/>
                      <a:gd name="connsiteX4" fmla="*/ 3842 w 3841"/>
                      <a:gd name="connsiteY4" fmla="*/ 4281 h 4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1" h="4692">
                        <a:moveTo>
                          <a:pt x="3842" y="4281"/>
                        </a:moveTo>
                        <a:lnTo>
                          <a:pt x="1207" y="4693"/>
                        </a:lnTo>
                        <a:lnTo>
                          <a:pt x="0" y="1564"/>
                        </a:lnTo>
                        <a:lnTo>
                          <a:pt x="1756" y="0"/>
                        </a:lnTo>
                        <a:lnTo>
                          <a:pt x="3842" y="428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59" name="Freeform: Shape 3458">
                    <a:extLst>
                      <a:ext uri="{FF2B5EF4-FFF2-40B4-BE49-F238E27FC236}">
                        <a16:creationId xmlns:a16="http://schemas.microsoft.com/office/drawing/2014/main" id="{C047905D-8843-939B-8B93-DBB5E9D709A6}"/>
                      </a:ext>
                    </a:extLst>
                  </p:cNvPr>
                  <p:cNvSpPr/>
                  <p:nvPr/>
                </p:nvSpPr>
                <p:spPr>
                  <a:xfrm>
                    <a:off x="-5838992" y="3437809"/>
                    <a:ext cx="3402" cy="5131"/>
                  </a:xfrm>
                  <a:custGeom>
                    <a:avLst/>
                    <a:gdLst>
                      <a:gd name="connsiteX0" fmla="*/ 3046 w 3402"/>
                      <a:gd name="connsiteY0" fmla="*/ 0 h 5131"/>
                      <a:gd name="connsiteX1" fmla="*/ 3403 w 3402"/>
                      <a:gd name="connsiteY1" fmla="*/ 5132 h 5131"/>
                      <a:gd name="connsiteX2" fmla="*/ 55 w 3402"/>
                      <a:gd name="connsiteY2" fmla="*/ 2717 h 5131"/>
                      <a:gd name="connsiteX3" fmla="*/ 0 w 3402"/>
                      <a:gd name="connsiteY3" fmla="*/ 878 h 5131"/>
                      <a:gd name="connsiteX4" fmla="*/ 3046 w 3402"/>
                      <a:gd name="connsiteY4" fmla="*/ 0 h 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5131">
                        <a:moveTo>
                          <a:pt x="3046" y="0"/>
                        </a:moveTo>
                        <a:lnTo>
                          <a:pt x="3403" y="5132"/>
                        </a:lnTo>
                        <a:lnTo>
                          <a:pt x="55" y="2717"/>
                        </a:lnTo>
                        <a:lnTo>
                          <a:pt x="0" y="878"/>
                        </a:lnTo>
                        <a:lnTo>
                          <a:pt x="3046"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0" name="Freeform: Shape 3459">
                    <a:extLst>
                      <a:ext uri="{FF2B5EF4-FFF2-40B4-BE49-F238E27FC236}">
                        <a16:creationId xmlns:a16="http://schemas.microsoft.com/office/drawing/2014/main" id="{9F26AD35-37B8-3B08-ABDD-A80103521AA5}"/>
                      </a:ext>
                    </a:extLst>
                  </p:cNvPr>
                  <p:cNvSpPr/>
                  <p:nvPr/>
                </p:nvSpPr>
                <p:spPr>
                  <a:xfrm>
                    <a:off x="-5850271" y="3425102"/>
                    <a:ext cx="3375" cy="5159"/>
                  </a:xfrm>
                  <a:custGeom>
                    <a:avLst/>
                    <a:gdLst>
                      <a:gd name="connsiteX0" fmla="*/ 2881 w 3375"/>
                      <a:gd name="connsiteY0" fmla="*/ 0 h 5159"/>
                      <a:gd name="connsiteX1" fmla="*/ 3375 w 3375"/>
                      <a:gd name="connsiteY1" fmla="*/ 5159 h 5159"/>
                      <a:gd name="connsiteX2" fmla="*/ 740 w 3375"/>
                      <a:gd name="connsiteY2" fmla="*/ 3732 h 5159"/>
                      <a:gd name="connsiteX3" fmla="*/ 0 w 3375"/>
                      <a:gd name="connsiteY3" fmla="*/ 1976 h 5159"/>
                      <a:gd name="connsiteX4" fmla="*/ 2908 w 3375"/>
                      <a:gd name="connsiteY4" fmla="*/ 0 h 5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 h="5159">
                        <a:moveTo>
                          <a:pt x="2881" y="0"/>
                        </a:moveTo>
                        <a:lnTo>
                          <a:pt x="3375" y="5159"/>
                        </a:lnTo>
                        <a:lnTo>
                          <a:pt x="740" y="3732"/>
                        </a:lnTo>
                        <a:lnTo>
                          <a:pt x="0" y="1976"/>
                        </a:lnTo>
                        <a:lnTo>
                          <a:pt x="2908"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1" name="Freeform: Shape 3460">
                    <a:extLst>
                      <a:ext uri="{FF2B5EF4-FFF2-40B4-BE49-F238E27FC236}">
                        <a16:creationId xmlns:a16="http://schemas.microsoft.com/office/drawing/2014/main" id="{F73D3304-9182-E04C-1E08-6599F649F21E}"/>
                      </a:ext>
                    </a:extLst>
                  </p:cNvPr>
                  <p:cNvSpPr/>
                  <p:nvPr/>
                </p:nvSpPr>
                <p:spPr>
                  <a:xfrm>
                    <a:off x="-5808942" y="3497003"/>
                    <a:ext cx="4857" cy="3210"/>
                  </a:xfrm>
                  <a:custGeom>
                    <a:avLst/>
                    <a:gdLst>
                      <a:gd name="connsiteX0" fmla="*/ 4857 w 4857"/>
                      <a:gd name="connsiteY0" fmla="*/ 2854 h 3210"/>
                      <a:gd name="connsiteX1" fmla="*/ 1208 w 4857"/>
                      <a:gd name="connsiteY1" fmla="*/ 3211 h 3210"/>
                      <a:gd name="connsiteX2" fmla="*/ 0 w 4857"/>
                      <a:gd name="connsiteY2" fmla="*/ 1592 h 3210"/>
                      <a:gd name="connsiteX3" fmla="*/ 4007 w 4857"/>
                      <a:gd name="connsiteY3" fmla="*/ 0 h 3210"/>
                      <a:gd name="connsiteX4" fmla="*/ 4857 w 4857"/>
                      <a:gd name="connsiteY4" fmla="*/ 2854 h 3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 h="3210">
                        <a:moveTo>
                          <a:pt x="4857" y="2854"/>
                        </a:moveTo>
                        <a:lnTo>
                          <a:pt x="1208" y="3211"/>
                        </a:lnTo>
                        <a:lnTo>
                          <a:pt x="0" y="1592"/>
                        </a:lnTo>
                        <a:lnTo>
                          <a:pt x="4007" y="0"/>
                        </a:lnTo>
                        <a:lnTo>
                          <a:pt x="4857" y="285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2" name="Freeform: Shape 3461">
                    <a:extLst>
                      <a:ext uri="{FF2B5EF4-FFF2-40B4-BE49-F238E27FC236}">
                        <a16:creationId xmlns:a16="http://schemas.microsoft.com/office/drawing/2014/main" id="{25EBA692-588A-E064-445C-CA0B56F90690}"/>
                      </a:ext>
                    </a:extLst>
                  </p:cNvPr>
                  <p:cNvSpPr/>
                  <p:nvPr/>
                </p:nvSpPr>
                <p:spPr>
                  <a:xfrm>
                    <a:off x="-5855101" y="3397907"/>
                    <a:ext cx="3512" cy="4473"/>
                  </a:xfrm>
                  <a:custGeom>
                    <a:avLst/>
                    <a:gdLst>
                      <a:gd name="connsiteX0" fmla="*/ 3512 w 3512"/>
                      <a:gd name="connsiteY0" fmla="*/ 3512 h 4473"/>
                      <a:gd name="connsiteX1" fmla="*/ 1427 w 3512"/>
                      <a:gd name="connsiteY1" fmla="*/ 4473 h 4473"/>
                      <a:gd name="connsiteX2" fmla="*/ 0 w 3512"/>
                      <a:gd name="connsiteY2" fmla="*/ 1592 h 4473"/>
                      <a:gd name="connsiteX3" fmla="*/ 3512 w 3512"/>
                      <a:gd name="connsiteY3" fmla="*/ 0 h 4473"/>
                      <a:gd name="connsiteX4" fmla="*/ 3512 w 3512"/>
                      <a:gd name="connsiteY4" fmla="*/ 3485 h 4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 h="4473">
                        <a:moveTo>
                          <a:pt x="3512" y="3512"/>
                        </a:moveTo>
                        <a:lnTo>
                          <a:pt x="1427" y="4473"/>
                        </a:lnTo>
                        <a:lnTo>
                          <a:pt x="0" y="1592"/>
                        </a:lnTo>
                        <a:lnTo>
                          <a:pt x="3512" y="0"/>
                        </a:lnTo>
                        <a:lnTo>
                          <a:pt x="3512" y="348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3" name="Freeform: Shape 3462">
                    <a:extLst>
                      <a:ext uri="{FF2B5EF4-FFF2-40B4-BE49-F238E27FC236}">
                        <a16:creationId xmlns:a16="http://schemas.microsoft.com/office/drawing/2014/main" id="{4AF6CE0D-6C3E-E451-52D8-1976BADF5777}"/>
                      </a:ext>
                    </a:extLst>
                  </p:cNvPr>
                  <p:cNvSpPr/>
                  <p:nvPr/>
                </p:nvSpPr>
                <p:spPr>
                  <a:xfrm>
                    <a:off x="-5814541" y="3470850"/>
                    <a:ext cx="5406" cy="2771"/>
                  </a:xfrm>
                  <a:custGeom>
                    <a:avLst/>
                    <a:gdLst>
                      <a:gd name="connsiteX0" fmla="*/ 5160 w 5406"/>
                      <a:gd name="connsiteY0" fmla="*/ 2388 h 2771"/>
                      <a:gd name="connsiteX1" fmla="*/ 577 w 5406"/>
                      <a:gd name="connsiteY1" fmla="*/ 2772 h 2771"/>
                      <a:gd name="connsiteX2" fmla="*/ 0 w 5406"/>
                      <a:gd name="connsiteY2" fmla="*/ 1015 h 2771"/>
                      <a:gd name="connsiteX3" fmla="*/ 1784 w 5406"/>
                      <a:gd name="connsiteY3" fmla="*/ 0 h 2771"/>
                      <a:gd name="connsiteX4" fmla="*/ 5407 w 5406"/>
                      <a:gd name="connsiteY4" fmla="*/ 302 h 2771"/>
                      <a:gd name="connsiteX5" fmla="*/ 5160 w 5406"/>
                      <a:gd name="connsiteY5" fmla="*/ 2388 h 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6" h="2771">
                        <a:moveTo>
                          <a:pt x="5160" y="2388"/>
                        </a:moveTo>
                        <a:lnTo>
                          <a:pt x="577" y="2772"/>
                        </a:lnTo>
                        <a:lnTo>
                          <a:pt x="0" y="1015"/>
                        </a:lnTo>
                        <a:lnTo>
                          <a:pt x="1784" y="0"/>
                        </a:lnTo>
                        <a:lnTo>
                          <a:pt x="5407" y="302"/>
                        </a:lnTo>
                        <a:lnTo>
                          <a:pt x="5160" y="238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4" name="Freeform: Shape 3463">
                    <a:extLst>
                      <a:ext uri="{FF2B5EF4-FFF2-40B4-BE49-F238E27FC236}">
                        <a16:creationId xmlns:a16="http://schemas.microsoft.com/office/drawing/2014/main" id="{877F7D75-984D-DAE9-E4C4-EBCCAB8C4A8C}"/>
                      </a:ext>
                    </a:extLst>
                  </p:cNvPr>
                  <p:cNvSpPr/>
                  <p:nvPr/>
                </p:nvSpPr>
                <p:spPr>
                  <a:xfrm>
                    <a:off x="-5793163" y="3467447"/>
                    <a:ext cx="6229" cy="2030"/>
                  </a:xfrm>
                  <a:custGeom>
                    <a:avLst/>
                    <a:gdLst>
                      <a:gd name="connsiteX0" fmla="*/ 5901 w 6229"/>
                      <a:gd name="connsiteY0" fmla="*/ 329 h 2030"/>
                      <a:gd name="connsiteX1" fmla="*/ 6230 w 6229"/>
                      <a:gd name="connsiteY1" fmla="*/ 2031 h 2030"/>
                      <a:gd name="connsiteX2" fmla="*/ 549 w 6229"/>
                      <a:gd name="connsiteY2" fmla="*/ 1619 h 2030"/>
                      <a:gd name="connsiteX3" fmla="*/ 0 w 6229"/>
                      <a:gd name="connsiteY3" fmla="*/ 631 h 2030"/>
                      <a:gd name="connsiteX4" fmla="*/ 330 w 6229"/>
                      <a:gd name="connsiteY4" fmla="*/ 0 h 2030"/>
                      <a:gd name="connsiteX5" fmla="*/ 5901 w 6229"/>
                      <a:gd name="connsiteY5" fmla="*/ 357 h 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9" h="2030">
                        <a:moveTo>
                          <a:pt x="5901" y="329"/>
                        </a:moveTo>
                        <a:lnTo>
                          <a:pt x="6230" y="2031"/>
                        </a:lnTo>
                        <a:lnTo>
                          <a:pt x="549" y="1619"/>
                        </a:lnTo>
                        <a:lnTo>
                          <a:pt x="0" y="631"/>
                        </a:lnTo>
                        <a:lnTo>
                          <a:pt x="330" y="0"/>
                        </a:lnTo>
                        <a:lnTo>
                          <a:pt x="5901" y="35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5" name="Freeform: Shape 3464">
                    <a:extLst>
                      <a:ext uri="{FF2B5EF4-FFF2-40B4-BE49-F238E27FC236}">
                        <a16:creationId xmlns:a16="http://schemas.microsoft.com/office/drawing/2014/main" id="{17F3DEE6-2259-4F9F-561B-A3011F2CEB17}"/>
                      </a:ext>
                    </a:extLst>
                  </p:cNvPr>
                  <p:cNvSpPr/>
                  <p:nvPr/>
                </p:nvSpPr>
                <p:spPr>
                  <a:xfrm>
                    <a:off x="-5812866" y="3238545"/>
                    <a:ext cx="199482" cy="122093"/>
                  </a:xfrm>
                  <a:custGeom>
                    <a:avLst/>
                    <a:gdLst>
                      <a:gd name="connsiteX0" fmla="*/ 156205 w 199482"/>
                      <a:gd name="connsiteY0" fmla="*/ 0 h 122093"/>
                      <a:gd name="connsiteX1" fmla="*/ 161557 w 199482"/>
                      <a:gd name="connsiteY1" fmla="*/ 3540 h 122093"/>
                      <a:gd name="connsiteX2" fmla="*/ 165701 w 199482"/>
                      <a:gd name="connsiteY2" fmla="*/ 9825 h 122093"/>
                      <a:gd name="connsiteX3" fmla="*/ 176705 w 199482"/>
                      <a:gd name="connsiteY3" fmla="*/ 8700 h 122093"/>
                      <a:gd name="connsiteX4" fmla="*/ 177693 w 199482"/>
                      <a:gd name="connsiteY4" fmla="*/ 7602 h 122093"/>
                      <a:gd name="connsiteX5" fmla="*/ 188012 w 199482"/>
                      <a:gd name="connsiteY5" fmla="*/ 15204 h 122093"/>
                      <a:gd name="connsiteX6" fmla="*/ 191277 w 199482"/>
                      <a:gd name="connsiteY6" fmla="*/ 20637 h 122093"/>
                      <a:gd name="connsiteX7" fmla="*/ 197452 w 199482"/>
                      <a:gd name="connsiteY7" fmla="*/ 21159 h 122093"/>
                      <a:gd name="connsiteX8" fmla="*/ 199483 w 199482"/>
                      <a:gd name="connsiteY8" fmla="*/ 27443 h 122093"/>
                      <a:gd name="connsiteX9" fmla="*/ 192759 w 199482"/>
                      <a:gd name="connsiteY9" fmla="*/ 34414 h 122093"/>
                      <a:gd name="connsiteX10" fmla="*/ 186859 w 199482"/>
                      <a:gd name="connsiteY10" fmla="*/ 34715 h 122093"/>
                      <a:gd name="connsiteX11" fmla="*/ 179642 w 199482"/>
                      <a:gd name="connsiteY11" fmla="*/ 40012 h 122093"/>
                      <a:gd name="connsiteX12" fmla="*/ 178434 w 199482"/>
                      <a:gd name="connsiteY12" fmla="*/ 42948 h 122093"/>
                      <a:gd name="connsiteX13" fmla="*/ 176897 w 199482"/>
                      <a:gd name="connsiteY13" fmla="*/ 43058 h 122093"/>
                      <a:gd name="connsiteX14" fmla="*/ 174318 w 199482"/>
                      <a:gd name="connsiteY14" fmla="*/ 46351 h 122093"/>
                      <a:gd name="connsiteX15" fmla="*/ 173549 w 199482"/>
                      <a:gd name="connsiteY15" fmla="*/ 51757 h 122093"/>
                      <a:gd name="connsiteX16" fmla="*/ 163093 w 199482"/>
                      <a:gd name="connsiteY16" fmla="*/ 68031 h 122093"/>
                      <a:gd name="connsiteX17" fmla="*/ 156700 w 199482"/>
                      <a:gd name="connsiteY17" fmla="*/ 83975 h 122093"/>
                      <a:gd name="connsiteX18" fmla="*/ 152995 w 199482"/>
                      <a:gd name="connsiteY18" fmla="*/ 86226 h 122093"/>
                      <a:gd name="connsiteX19" fmla="*/ 152446 w 199482"/>
                      <a:gd name="connsiteY19" fmla="*/ 93389 h 122093"/>
                      <a:gd name="connsiteX20" fmla="*/ 148412 w 199482"/>
                      <a:gd name="connsiteY20" fmla="*/ 98520 h 122093"/>
                      <a:gd name="connsiteX21" fmla="*/ 144762 w 199482"/>
                      <a:gd name="connsiteY21" fmla="*/ 101073 h 122093"/>
                      <a:gd name="connsiteX22" fmla="*/ 137105 w 199482"/>
                      <a:gd name="connsiteY22" fmla="*/ 100030 h 122093"/>
                      <a:gd name="connsiteX23" fmla="*/ 135019 w 199482"/>
                      <a:gd name="connsiteY23" fmla="*/ 104914 h 122093"/>
                      <a:gd name="connsiteX24" fmla="*/ 122066 w 199482"/>
                      <a:gd name="connsiteY24" fmla="*/ 106369 h 122093"/>
                      <a:gd name="connsiteX25" fmla="*/ 120859 w 199482"/>
                      <a:gd name="connsiteY25" fmla="*/ 106177 h 122093"/>
                      <a:gd name="connsiteX26" fmla="*/ 110348 w 199482"/>
                      <a:gd name="connsiteY26" fmla="*/ 105354 h 122093"/>
                      <a:gd name="connsiteX27" fmla="*/ 105436 w 199482"/>
                      <a:gd name="connsiteY27" fmla="*/ 103762 h 122093"/>
                      <a:gd name="connsiteX28" fmla="*/ 101704 w 199482"/>
                      <a:gd name="connsiteY28" fmla="*/ 104640 h 122093"/>
                      <a:gd name="connsiteX29" fmla="*/ 93800 w 199482"/>
                      <a:gd name="connsiteY29" fmla="*/ 112077 h 122093"/>
                      <a:gd name="connsiteX30" fmla="*/ 88256 w 199482"/>
                      <a:gd name="connsiteY30" fmla="*/ 111007 h 122093"/>
                      <a:gd name="connsiteX31" fmla="*/ 85759 w 199482"/>
                      <a:gd name="connsiteY31" fmla="*/ 114300 h 122093"/>
                      <a:gd name="connsiteX32" fmla="*/ 81643 w 199482"/>
                      <a:gd name="connsiteY32" fmla="*/ 115041 h 122093"/>
                      <a:gd name="connsiteX33" fmla="*/ 79640 w 199482"/>
                      <a:gd name="connsiteY33" fmla="*/ 115343 h 122093"/>
                      <a:gd name="connsiteX34" fmla="*/ 74947 w 199482"/>
                      <a:gd name="connsiteY34" fmla="*/ 116002 h 122093"/>
                      <a:gd name="connsiteX35" fmla="*/ 68388 w 199482"/>
                      <a:gd name="connsiteY35" fmla="*/ 122094 h 122093"/>
                      <a:gd name="connsiteX36" fmla="*/ 52910 w 199482"/>
                      <a:gd name="connsiteY36" fmla="*/ 120530 h 122093"/>
                      <a:gd name="connsiteX37" fmla="*/ 45226 w 199482"/>
                      <a:gd name="connsiteY37" fmla="*/ 118142 h 122093"/>
                      <a:gd name="connsiteX38" fmla="*/ 42399 w 199482"/>
                      <a:gd name="connsiteY38" fmla="*/ 114602 h 122093"/>
                      <a:gd name="connsiteX39" fmla="*/ 34715 w 199482"/>
                      <a:gd name="connsiteY39" fmla="*/ 112187 h 122093"/>
                      <a:gd name="connsiteX40" fmla="*/ 30517 w 199482"/>
                      <a:gd name="connsiteY40" fmla="*/ 104914 h 122093"/>
                      <a:gd name="connsiteX41" fmla="*/ 22421 w 199482"/>
                      <a:gd name="connsiteY41" fmla="*/ 98109 h 122093"/>
                      <a:gd name="connsiteX42" fmla="*/ 21790 w 199482"/>
                      <a:gd name="connsiteY42" fmla="*/ 96819 h 122093"/>
                      <a:gd name="connsiteX43" fmla="*/ 14215 w 199482"/>
                      <a:gd name="connsiteY43" fmla="*/ 91468 h 122093"/>
                      <a:gd name="connsiteX44" fmla="*/ 7547 w 199482"/>
                      <a:gd name="connsiteY44" fmla="*/ 80929 h 122093"/>
                      <a:gd name="connsiteX45" fmla="*/ 5736 w 199482"/>
                      <a:gd name="connsiteY45" fmla="*/ 75441 h 122093"/>
                      <a:gd name="connsiteX46" fmla="*/ 0 w 199482"/>
                      <a:gd name="connsiteY46" fmla="*/ 74618 h 122093"/>
                      <a:gd name="connsiteX47" fmla="*/ 5516 w 199482"/>
                      <a:gd name="connsiteY47" fmla="*/ 69211 h 122093"/>
                      <a:gd name="connsiteX48" fmla="*/ 9550 w 199482"/>
                      <a:gd name="connsiteY48" fmla="*/ 68278 h 122093"/>
                      <a:gd name="connsiteX49" fmla="*/ 10867 w 199482"/>
                      <a:gd name="connsiteY49" fmla="*/ 64244 h 122093"/>
                      <a:gd name="connsiteX50" fmla="*/ 9413 w 199482"/>
                      <a:gd name="connsiteY50" fmla="*/ 53706 h 122093"/>
                      <a:gd name="connsiteX51" fmla="*/ 15670 w 199482"/>
                      <a:gd name="connsiteY51" fmla="*/ 49644 h 122093"/>
                      <a:gd name="connsiteX52" fmla="*/ 16246 w 199482"/>
                      <a:gd name="connsiteY52" fmla="*/ 43031 h 122093"/>
                      <a:gd name="connsiteX53" fmla="*/ 9084 w 199482"/>
                      <a:gd name="connsiteY53" fmla="*/ 40067 h 122093"/>
                      <a:gd name="connsiteX54" fmla="*/ 14325 w 199482"/>
                      <a:gd name="connsiteY54" fmla="*/ 36719 h 122093"/>
                      <a:gd name="connsiteX55" fmla="*/ 20280 w 199482"/>
                      <a:gd name="connsiteY55" fmla="*/ 38969 h 122093"/>
                      <a:gd name="connsiteX56" fmla="*/ 27059 w 199482"/>
                      <a:gd name="connsiteY56" fmla="*/ 37981 h 122093"/>
                      <a:gd name="connsiteX57" fmla="*/ 30818 w 199482"/>
                      <a:gd name="connsiteY57" fmla="*/ 25110 h 122093"/>
                      <a:gd name="connsiteX58" fmla="*/ 33370 w 199482"/>
                      <a:gd name="connsiteY58" fmla="*/ 24863 h 122093"/>
                      <a:gd name="connsiteX59" fmla="*/ 46845 w 199482"/>
                      <a:gd name="connsiteY59" fmla="*/ 35978 h 122093"/>
                      <a:gd name="connsiteX60" fmla="*/ 52361 w 199482"/>
                      <a:gd name="connsiteY60" fmla="*/ 36829 h 122093"/>
                      <a:gd name="connsiteX61" fmla="*/ 64766 w 199482"/>
                      <a:gd name="connsiteY61" fmla="*/ 36938 h 122093"/>
                      <a:gd name="connsiteX62" fmla="*/ 80436 w 199482"/>
                      <a:gd name="connsiteY62" fmla="*/ 33371 h 122093"/>
                      <a:gd name="connsiteX63" fmla="*/ 78432 w 199482"/>
                      <a:gd name="connsiteY63" fmla="*/ 30873 h 122093"/>
                      <a:gd name="connsiteX64" fmla="*/ 78515 w 199482"/>
                      <a:gd name="connsiteY64" fmla="*/ 27114 h 122093"/>
                      <a:gd name="connsiteX65" fmla="*/ 82823 w 199482"/>
                      <a:gd name="connsiteY65" fmla="*/ 22887 h 122093"/>
                      <a:gd name="connsiteX66" fmla="*/ 85348 w 199482"/>
                      <a:gd name="connsiteY66" fmla="*/ 21982 h 122093"/>
                      <a:gd name="connsiteX67" fmla="*/ 98191 w 199482"/>
                      <a:gd name="connsiteY67" fmla="*/ 20966 h 122093"/>
                      <a:gd name="connsiteX68" fmla="*/ 102966 w 199482"/>
                      <a:gd name="connsiteY68" fmla="*/ 15039 h 122093"/>
                      <a:gd name="connsiteX69" fmla="*/ 111775 w 199482"/>
                      <a:gd name="connsiteY69" fmla="*/ 19018 h 122093"/>
                      <a:gd name="connsiteX70" fmla="*/ 115892 w 199482"/>
                      <a:gd name="connsiteY70" fmla="*/ 18030 h 122093"/>
                      <a:gd name="connsiteX71" fmla="*/ 123164 w 199482"/>
                      <a:gd name="connsiteY71" fmla="*/ 12789 h 122093"/>
                      <a:gd name="connsiteX72" fmla="*/ 127994 w 199482"/>
                      <a:gd name="connsiteY72" fmla="*/ 4912 h 122093"/>
                      <a:gd name="connsiteX73" fmla="*/ 130244 w 199482"/>
                      <a:gd name="connsiteY73" fmla="*/ 1701 h 122093"/>
                      <a:gd name="connsiteX74" fmla="*/ 137160 w 199482"/>
                      <a:gd name="connsiteY74" fmla="*/ 55 h 122093"/>
                      <a:gd name="connsiteX75" fmla="*/ 147451 w 199482"/>
                      <a:gd name="connsiteY75" fmla="*/ 3101 h 122093"/>
                      <a:gd name="connsiteX76" fmla="*/ 156260 w 199482"/>
                      <a:gd name="connsiteY76" fmla="*/ 27 h 12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99482" h="122093">
                        <a:moveTo>
                          <a:pt x="156205" y="0"/>
                        </a:moveTo>
                        <a:lnTo>
                          <a:pt x="161557" y="3540"/>
                        </a:lnTo>
                        <a:lnTo>
                          <a:pt x="165701" y="9825"/>
                        </a:lnTo>
                        <a:lnTo>
                          <a:pt x="176705" y="8700"/>
                        </a:lnTo>
                        <a:lnTo>
                          <a:pt x="177693" y="7602"/>
                        </a:lnTo>
                        <a:lnTo>
                          <a:pt x="188012" y="15204"/>
                        </a:lnTo>
                        <a:lnTo>
                          <a:pt x="191277" y="20637"/>
                        </a:lnTo>
                        <a:lnTo>
                          <a:pt x="197452" y="21159"/>
                        </a:lnTo>
                        <a:lnTo>
                          <a:pt x="199483" y="27443"/>
                        </a:lnTo>
                        <a:lnTo>
                          <a:pt x="192759" y="34414"/>
                        </a:lnTo>
                        <a:lnTo>
                          <a:pt x="186859" y="34715"/>
                        </a:lnTo>
                        <a:lnTo>
                          <a:pt x="179642" y="40012"/>
                        </a:lnTo>
                        <a:lnTo>
                          <a:pt x="178434" y="42948"/>
                        </a:lnTo>
                        <a:lnTo>
                          <a:pt x="176897" y="43058"/>
                        </a:lnTo>
                        <a:lnTo>
                          <a:pt x="174318" y="46351"/>
                        </a:lnTo>
                        <a:lnTo>
                          <a:pt x="173549" y="51757"/>
                        </a:lnTo>
                        <a:lnTo>
                          <a:pt x="163093" y="68031"/>
                        </a:lnTo>
                        <a:lnTo>
                          <a:pt x="156700" y="83975"/>
                        </a:lnTo>
                        <a:lnTo>
                          <a:pt x="152995" y="86226"/>
                        </a:lnTo>
                        <a:lnTo>
                          <a:pt x="152446" y="93389"/>
                        </a:lnTo>
                        <a:lnTo>
                          <a:pt x="148412" y="98520"/>
                        </a:lnTo>
                        <a:lnTo>
                          <a:pt x="144762" y="101073"/>
                        </a:lnTo>
                        <a:lnTo>
                          <a:pt x="137105" y="100030"/>
                        </a:lnTo>
                        <a:lnTo>
                          <a:pt x="135019" y="104914"/>
                        </a:lnTo>
                        <a:lnTo>
                          <a:pt x="122066" y="106369"/>
                        </a:lnTo>
                        <a:lnTo>
                          <a:pt x="120859" y="106177"/>
                        </a:lnTo>
                        <a:lnTo>
                          <a:pt x="110348" y="105354"/>
                        </a:lnTo>
                        <a:lnTo>
                          <a:pt x="105436" y="103762"/>
                        </a:lnTo>
                        <a:lnTo>
                          <a:pt x="101704" y="104640"/>
                        </a:lnTo>
                        <a:lnTo>
                          <a:pt x="93800" y="112077"/>
                        </a:lnTo>
                        <a:lnTo>
                          <a:pt x="88256" y="111007"/>
                        </a:lnTo>
                        <a:lnTo>
                          <a:pt x="85759" y="114300"/>
                        </a:lnTo>
                        <a:lnTo>
                          <a:pt x="81643" y="115041"/>
                        </a:lnTo>
                        <a:lnTo>
                          <a:pt x="79640" y="115343"/>
                        </a:lnTo>
                        <a:lnTo>
                          <a:pt x="74947" y="116002"/>
                        </a:lnTo>
                        <a:lnTo>
                          <a:pt x="68388" y="122094"/>
                        </a:lnTo>
                        <a:lnTo>
                          <a:pt x="52910" y="120530"/>
                        </a:lnTo>
                        <a:lnTo>
                          <a:pt x="45226" y="118142"/>
                        </a:lnTo>
                        <a:lnTo>
                          <a:pt x="42399" y="114602"/>
                        </a:lnTo>
                        <a:lnTo>
                          <a:pt x="34715" y="112187"/>
                        </a:lnTo>
                        <a:lnTo>
                          <a:pt x="30517" y="104914"/>
                        </a:lnTo>
                        <a:lnTo>
                          <a:pt x="22421" y="98109"/>
                        </a:lnTo>
                        <a:lnTo>
                          <a:pt x="21790" y="96819"/>
                        </a:lnTo>
                        <a:lnTo>
                          <a:pt x="14215" y="91468"/>
                        </a:lnTo>
                        <a:lnTo>
                          <a:pt x="7547" y="80929"/>
                        </a:lnTo>
                        <a:lnTo>
                          <a:pt x="5736" y="75441"/>
                        </a:lnTo>
                        <a:lnTo>
                          <a:pt x="0" y="74618"/>
                        </a:lnTo>
                        <a:lnTo>
                          <a:pt x="5516" y="69211"/>
                        </a:lnTo>
                        <a:lnTo>
                          <a:pt x="9550" y="68278"/>
                        </a:lnTo>
                        <a:lnTo>
                          <a:pt x="10867" y="64244"/>
                        </a:lnTo>
                        <a:lnTo>
                          <a:pt x="9413" y="53706"/>
                        </a:lnTo>
                        <a:lnTo>
                          <a:pt x="15670" y="49644"/>
                        </a:lnTo>
                        <a:lnTo>
                          <a:pt x="16246" y="43031"/>
                        </a:lnTo>
                        <a:lnTo>
                          <a:pt x="9084" y="40067"/>
                        </a:lnTo>
                        <a:lnTo>
                          <a:pt x="14325" y="36719"/>
                        </a:lnTo>
                        <a:lnTo>
                          <a:pt x="20280" y="38969"/>
                        </a:lnTo>
                        <a:lnTo>
                          <a:pt x="27059" y="37981"/>
                        </a:lnTo>
                        <a:lnTo>
                          <a:pt x="30818" y="25110"/>
                        </a:lnTo>
                        <a:lnTo>
                          <a:pt x="33370" y="24863"/>
                        </a:lnTo>
                        <a:lnTo>
                          <a:pt x="46845" y="35978"/>
                        </a:lnTo>
                        <a:lnTo>
                          <a:pt x="52361" y="36829"/>
                        </a:lnTo>
                        <a:lnTo>
                          <a:pt x="64766" y="36938"/>
                        </a:lnTo>
                        <a:lnTo>
                          <a:pt x="80436" y="33371"/>
                        </a:lnTo>
                        <a:lnTo>
                          <a:pt x="78432" y="30873"/>
                        </a:lnTo>
                        <a:lnTo>
                          <a:pt x="78515" y="27114"/>
                        </a:lnTo>
                        <a:lnTo>
                          <a:pt x="82823" y="22887"/>
                        </a:lnTo>
                        <a:lnTo>
                          <a:pt x="85348" y="21982"/>
                        </a:lnTo>
                        <a:lnTo>
                          <a:pt x="98191" y="20966"/>
                        </a:lnTo>
                        <a:lnTo>
                          <a:pt x="102966" y="15039"/>
                        </a:lnTo>
                        <a:lnTo>
                          <a:pt x="111775" y="19018"/>
                        </a:lnTo>
                        <a:lnTo>
                          <a:pt x="115892" y="18030"/>
                        </a:lnTo>
                        <a:lnTo>
                          <a:pt x="123164" y="12789"/>
                        </a:lnTo>
                        <a:lnTo>
                          <a:pt x="127994" y="4912"/>
                        </a:lnTo>
                        <a:lnTo>
                          <a:pt x="130244" y="1701"/>
                        </a:lnTo>
                        <a:lnTo>
                          <a:pt x="137160" y="55"/>
                        </a:lnTo>
                        <a:lnTo>
                          <a:pt x="147451" y="3101"/>
                        </a:lnTo>
                        <a:lnTo>
                          <a:pt x="156260" y="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6" name="Freeform: Shape 3465">
                    <a:extLst>
                      <a:ext uri="{FF2B5EF4-FFF2-40B4-BE49-F238E27FC236}">
                        <a16:creationId xmlns:a16="http://schemas.microsoft.com/office/drawing/2014/main" id="{4CE5AF34-EB8D-D8FC-7347-831C87644C8C}"/>
                      </a:ext>
                    </a:extLst>
                  </p:cNvPr>
                  <p:cNvSpPr/>
                  <p:nvPr/>
                </p:nvSpPr>
                <p:spPr>
                  <a:xfrm>
                    <a:off x="-6997909" y="2231992"/>
                    <a:ext cx="309282" cy="213835"/>
                  </a:xfrm>
                  <a:custGeom>
                    <a:avLst/>
                    <a:gdLst>
                      <a:gd name="connsiteX0" fmla="*/ 236723 w 309282"/>
                      <a:gd name="connsiteY0" fmla="*/ 110 h 213835"/>
                      <a:gd name="connsiteX1" fmla="*/ 255467 w 309282"/>
                      <a:gd name="connsiteY1" fmla="*/ 19018 h 213835"/>
                      <a:gd name="connsiteX2" fmla="*/ 268886 w 309282"/>
                      <a:gd name="connsiteY2" fmla="*/ 16960 h 213835"/>
                      <a:gd name="connsiteX3" fmla="*/ 270341 w 309282"/>
                      <a:gd name="connsiteY3" fmla="*/ 26592 h 213835"/>
                      <a:gd name="connsiteX4" fmla="*/ 277284 w 309282"/>
                      <a:gd name="connsiteY4" fmla="*/ 37460 h 213835"/>
                      <a:gd name="connsiteX5" fmla="*/ 280028 w 309282"/>
                      <a:gd name="connsiteY5" fmla="*/ 50330 h 213835"/>
                      <a:gd name="connsiteX6" fmla="*/ 290210 w 309282"/>
                      <a:gd name="connsiteY6" fmla="*/ 55846 h 213835"/>
                      <a:gd name="connsiteX7" fmla="*/ 306291 w 309282"/>
                      <a:gd name="connsiteY7" fmla="*/ 72340 h 213835"/>
                      <a:gd name="connsiteX8" fmla="*/ 309282 w 309282"/>
                      <a:gd name="connsiteY8" fmla="*/ 100935 h 213835"/>
                      <a:gd name="connsiteX9" fmla="*/ 301406 w 309282"/>
                      <a:gd name="connsiteY9" fmla="*/ 119871 h 213835"/>
                      <a:gd name="connsiteX10" fmla="*/ 287685 w 309282"/>
                      <a:gd name="connsiteY10" fmla="*/ 133510 h 213835"/>
                      <a:gd name="connsiteX11" fmla="*/ 282745 w 309282"/>
                      <a:gd name="connsiteY11" fmla="*/ 145146 h 213835"/>
                      <a:gd name="connsiteX12" fmla="*/ 272728 w 309282"/>
                      <a:gd name="connsiteY12" fmla="*/ 155025 h 213835"/>
                      <a:gd name="connsiteX13" fmla="*/ 254945 w 309282"/>
                      <a:gd name="connsiteY13" fmla="*/ 159361 h 213835"/>
                      <a:gd name="connsiteX14" fmla="*/ 240977 w 309282"/>
                      <a:gd name="connsiteY14" fmla="*/ 167731 h 213835"/>
                      <a:gd name="connsiteX15" fmla="*/ 221218 w 309282"/>
                      <a:gd name="connsiteY15" fmla="*/ 186887 h 213835"/>
                      <a:gd name="connsiteX16" fmla="*/ 195696 w 309282"/>
                      <a:gd name="connsiteY16" fmla="*/ 193144 h 213835"/>
                      <a:gd name="connsiteX17" fmla="*/ 181727 w 309282"/>
                      <a:gd name="connsiteY17" fmla="*/ 206207 h 213835"/>
                      <a:gd name="connsiteX18" fmla="*/ 168966 w 309282"/>
                      <a:gd name="connsiteY18" fmla="*/ 212107 h 213835"/>
                      <a:gd name="connsiteX19" fmla="*/ 147863 w 309282"/>
                      <a:gd name="connsiteY19" fmla="*/ 213836 h 213835"/>
                      <a:gd name="connsiteX20" fmla="*/ 121984 w 309282"/>
                      <a:gd name="connsiteY20" fmla="*/ 206701 h 213835"/>
                      <a:gd name="connsiteX21" fmla="*/ 86006 w 309282"/>
                      <a:gd name="connsiteY21" fmla="*/ 184499 h 213835"/>
                      <a:gd name="connsiteX22" fmla="*/ 63832 w 309282"/>
                      <a:gd name="connsiteY22" fmla="*/ 186118 h 213835"/>
                      <a:gd name="connsiteX23" fmla="*/ 60210 w 309282"/>
                      <a:gd name="connsiteY23" fmla="*/ 186118 h 213835"/>
                      <a:gd name="connsiteX24" fmla="*/ 43579 w 309282"/>
                      <a:gd name="connsiteY24" fmla="*/ 187216 h 213835"/>
                      <a:gd name="connsiteX25" fmla="*/ 42564 w 309282"/>
                      <a:gd name="connsiteY25" fmla="*/ 175800 h 213835"/>
                      <a:gd name="connsiteX26" fmla="*/ 44649 w 309282"/>
                      <a:gd name="connsiteY26" fmla="*/ 170695 h 213835"/>
                      <a:gd name="connsiteX27" fmla="*/ 50907 w 309282"/>
                      <a:gd name="connsiteY27" fmla="*/ 176623 h 213835"/>
                      <a:gd name="connsiteX28" fmla="*/ 60375 w 309282"/>
                      <a:gd name="connsiteY28" fmla="*/ 172397 h 213835"/>
                      <a:gd name="connsiteX29" fmla="*/ 69732 w 309282"/>
                      <a:gd name="connsiteY29" fmla="*/ 164960 h 213835"/>
                      <a:gd name="connsiteX30" fmla="*/ 68799 w 309282"/>
                      <a:gd name="connsiteY30" fmla="*/ 157797 h 213835"/>
                      <a:gd name="connsiteX31" fmla="*/ 71434 w 309282"/>
                      <a:gd name="connsiteY31" fmla="*/ 153132 h 213835"/>
                      <a:gd name="connsiteX32" fmla="*/ 82576 w 309282"/>
                      <a:gd name="connsiteY32" fmla="*/ 149427 h 213835"/>
                      <a:gd name="connsiteX33" fmla="*/ 66467 w 309282"/>
                      <a:gd name="connsiteY33" fmla="*/ 150552 h 213835"/>
                      <a:gd name="connsiteX34" fmla="*/ 54804 w 309282"/>
                      <a:gd name="connsiteY34" fmla="*/ 133455 h 213835"/>
                      <a:gd name="connsiteX35" fmla="*/ 46571 w 309282"/>
                      <a:gd name="connsiteY35" fmla="*/ 123054 h 213835"/>
                      <a:gd name="connsiteX36" fmla="*/ 13584 w 309282"/>
                      <a:gd name="connsiteY36" fmla="*/ 120337 h 213835"/>
                      <a:gd name="connsiteX37" fmla="*/ 21982 w 309282"/>
                      <a:gd name="connsiteY37" fmla="*/ 111803 h 213835"/>
                      <a:gd name="connsiteX38" fmla="*/ 59771 w 309282"/>
                      <a:gd name="connsiteY38" fmla="*/ 104366 h 213835"/>
                      <a:gd name="connsiteX39" fmla="*/ 60896 w 309282"/>
                      <a:gd name="connsiteY39" fmla="*/ 99700 h 213835"/>
                      <a:gd name="connsiteX40" fmla="*/ 54117 w 309282"/>
                      <a:gd name="connsiteY40" fmla="*/ 91797 h 213835"/>
                      <a:gd name="connsiteX41" fmla="*/ 59277 w 309282"/>
                      <a:gd name="connsiteY41" fmla="*/ 79173 h 213835"/>
                      <a:gd name="connsiteX42" fmla="*/ 58261 w 309282"/>
                      <a:gd name="connsiteY42" fmla="*/ 74590 h 213835"/>
                      <a:gd name="connsiteX43" fmla="*/ 37075 w 309282"/>
                      <a:gd name="connsiteY43" fmla="*/ 66879 h 213835"/>
                      <a:gd name="connsiteX44" fmla="*/ 10236 w 309282"/>
                      <a:gd name="connsiteY44" fmla="*/ 75276 h 213835"/>
                      <a:gd name="connsiteX45" fmla="*/ 0 w 309282"/>
                      <a:gd name="connsiteY45" fmla="*/ 66165 h 213835"/>
                      <a:gd name="connsiteX46" fmla="*/ 6504 w 309282"/>
                      <a:gd name="connsiteY46" fmla="*/ 54941 h 213835"/>
                      <a:gd name="connsiteX47" fmla="*/ 15780 w 309282"/>
                      <a:gd name="connsiteY47" fmla="*/ 54749 h 213835"/>
                      <a:gd name="connsiteX48" fmla="*/ 13749 w 309282"/>
                      <a:gd name="connsiteY48" fmla="*/ 37460 h 213835"/>
                      <a:gd name="connsiteX49" fmla="*/ 20610 w 309282"/>
                      <a:gd name="connsiteY49" fmla="*/ 25687 h 213835"/>
                      <a:gd name="connsiteX50" fmla="*/ 29336 w 309282"/>
                      <a:gd name="connsiteY50" fmla="*/ 25934 h 213835"/>
                      <a:gd name="connsiteX51" fmla="*/ 48135 w 309282"/>
                      <a:gd name="connsiteY51" fmla="*/ 35593 h 213835"/>
                      <a:gd name="connsiteX52" fmla="*/ 46735 w 309282"/>
                      <a:gd name="connsiteY52" fmla="*/ 28349 h 213835"/>
                      <a:gd name="connsiteX53" fmla="*/ 36966 w 309282"/>
                      <a:gd name="connsiteY53" fmla="*/ 11910 h 213835"/>
                      <a:gd name="connsiteX54" fmla="*/ 36966 w 309282"/>
                      <a:gd name="connsiteY54" fmla="*/ 7218 h 213835"/>
                      <a:gd name="connsiteX55" fmla="*/ 39655 w 309282"/>
                      <a:gd name="connsiteY55" fmla="*/ 4363 h 213835"/>
                      <a:gd name="connsiteX56" fmla="*/ 52553 w 309282"/>
                      <a:gd name="connsiteY56" fmla="*/ 6943 h 213835"/>
                      <a:gd name="connsiteX57" fmla="*/ 78212 w 309282"/>
                      <a:gd name="connsiteY57" fmla="*/ 35621 h 213835"/>
                      <a:gd name="connsiteX58" fmla="*/ 81560 w 309282"/>
                      <a:gd name="connsiteY58" fmla="*/ 47120 h 213835"/>
                      <a:gd name="connsiteX59" fmla="*/ 81670 w 309282"/>
                      <a:gd name="connsiteY59" fmla="*/ 63311 h 213835"/>
                      <a:gd name="connsiteX60" fmla="*/ 89985 w 309282"/>
                      <a:gd name="connsiteY60" fmla="*/ 78844 h 213835"/>
                      <a:gd name="connsiteX61" fmla="*/ 99673 w 309282"/>
                      <a:gd name="connsiteY61" fmla="*/ 64820 h 213835"/>
                      <a:gd name="connsiteX62" fmla="*/ 111418 w 309282"/>
                      <a:gd name="connsiteY62" fmla="*/ 57026 h 213835"/>
                      <a:gd name="connsiteX63" fmla="*/ 113230 w 309282"/>
                      <a:gd name="connsiteY63" fmla="*/ 36472 h 213835"/>
                      <a:gd name="connsiteX64" fmla="*/ 115727 w 309282"/>
                      <a:gd name="connsiteY64" fmla="*/ 31477 h 213835"/>
                      <a:gd name="connsiteX65" fmla="*/ 121517 w 309282"/>
                      <a:gd name="connsiteY65" fmla="*/ 33233 h 213835"/>
                      <a:gd name="connsiteX66" fmla="*/ 136501 w 309282"/>
                      <a:gd name="connsiteY66" fmla="*/ 49150 h 213835"/>
                      <a:gd name="connsiteX67" fmla="*/ 142456 w 309282"/>
                      <a:gd name="connsiteY67" fmla="*/ 33892 h 213835"/>
                      <a:gd name="connsiteX68" fmla="*/ 157522 w 309282"/>
                      <a:gd name="connsiteY68" fmla="*/ 26345 h 213835"/>
                      <a:gd name="connsiteX69" fmla="*/ 176019 w 309282"/>
                      <a:gd name="connsiteY69" fmla="*/ 46790 h 213835"/>
                      <a:gd name="connsiteX70" fmla="*/ 175498 w 309282"/>
                      <a:gd name="connsiteY70" fmla="*/ 33124 h 213835"/>
                      <a:gd name="connsiteX71" fmla="*/ 176787 w 309282"/>
                      <a:gd name="connsiteY71" fmla="*/ 28266 h 213835"/>
                      <a:gd name="connsiteX72" fmla="*/ 198687 w 309282"/>
                      <a:gd name="connsiteY72" fmla="*/ 31944 h 213835"/>
                      <a:gd name="connsiteX73" fmla="*/ 207304 w 309282"/>
                      <a:gd name="connsiteY73" fmla="*/ 24671 h 213835"/>
                      <a:gd name="connsiteX74" fmla="*/ 222316 w 309282"/>
                      <a:gd name="connsiteY74" fmla="*/ 20719 h 213835"/>
                      <a:gd name="connsiteX75" fmla="*/ 228463 w 309282"/>
                      <a:gd name="connsiteY75" fmla="*/ 2415 h 213835"/>
                      <a:gd name="connsiteX76" fmla="*/ 236668 w 309282"/>
                      <a:gd name="connsiteY76" fmla="*/ 0 h 21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09282" h="213835">
                        <a:moveTo>
                          <a:pt x="236723" y="110"/>
                        </a:moveTo>
                        <a:lnTo>
                          <a:pt x="255467" y="19018"/>
                        </a:lnTo>
                        <a:lnTo>
                          <a:pt x="268886" y="16960"/>
                        </a:lnTo>
                        <a:lnTo>
                          <a:pt x="270341" y="26592"/>
                        </a:lnTo>
                        <a:lnTo>
                          <a:pt x="277284" y="37460"/>
                        </a:lnTo>
                        <a:lnTo>
                          <a:pt x="280028" y="50330"/>
                        </a:lnTo>
                        <a:lnTo>
                          <a:pt x="290210" y="55846"/>
                        </a:lnTo>
                        <a:lnTo>
                          <a:pt x="306291" y="72340"/>
                        </a:lnTo>
                        <a:lnTo>
                          <a:pt x="309282" y="100935"/>
                        </a:lnTo>
                        <a:lnTo>
                          <a:pt x="301406" y="119871"/>
                        </a:lnTo>
                        <a:lnTo>
                          <a:pt x="287685" y="133510"/>
                        </a:lnTo>
                        <a:lnTo>
                          <a:pt x="282745" y="145146"/>
                        </a:lnTo>
                        <a:lnTo>
                          <a:pt x="272728" y="155025"/>
                        </a:lnTo>
                        <a:lnTo>
                          <a:pt x="254945" y="159361"/>
                        </a:lnTo>
                        <a:lnTo>
                          <a:pt x="240977" y="167731"/>
                        </a:lnTo>
                        <a:lnTo>
                          <a:pt x="221218" y="186887"/>
                        </a:lnTo>
                        <a:lnTo>
                          <a:pt x="195696" y="193144"/>
                        </a:lnTo>
                        <a:lnTo>
                          <a:pt x="181727" y="206207"/>
                        </a:lnTo>
                        <a:lnTo>
                          <a:pt x="168966" y="212107"/>
                        </a:lnTo>
                        <a:lnTo>
                          <a:pt x="147863" y="213836"/>
                        </a:lnTo>
                        <a:lnTo>
                          <a:pt x="121984" y="206701"/>
                        </a:lnTo>
                        <a:lnTo>
                          <a:pt x="86006" y="184499"/>
                        </a:lnTo>
                        <a:lnTo>
                          <a:pt x="63832" y="186118"/>
                        </a:lnTo>
                        <a:lnTo>
                          <a:pt x="60210" y="186118"/>
                        </a:lnTo>
                        <a:cubicBezTo>
                          <a:pt x="60210" y="186118"/>
                          <a:pt x="43579" y="187216"/>
                          <a:pt x="43579" y="187216"/>
                        </a:cubicBezTo>
                        <a:lnTo>
                          <a:pt x="42564" y="175800"/>
                        </a:lnTo>
                        <a:lnTo>
                          <a:pt x="44649" y="170695"/>
                        </a:lnTo>
                        <a:lnTo>
                          <a:pt x="50907" y="176623"/>
                        </a:lnTo>
                        <a:lnTo>
                          <a:pt x="60375" y="172397"/>
                        </a:lnTo>
                        <a:lnTo>
                          <a:pt x="69732" y="164960"/>
                        </a:lnTo>
                        <a:lnTo>
                          <a:pt x="68799" y="157797"/>
                        </a:lnTo>
                        <a:lnTo>
                          <a:pt x="71434" y="153132"/>
                        </a:lnTo>
                        <a:lnTo>
                          <a:pt x="82576" y="149427"/>
                        </a:lnTo>
                        <a:lnTo>
                          <a:pt x="66467" y="150552"/>
                        </a:lnTo>
                        <a:lnTo>
                          <a:pt x="54804" y="133455"/>
                        </a:lnTo>
                        <a:lnTo>
                          <a:pt x="46571" y="123054"/>
                        </a:lnTo>
                        <a:lnTo>
                          <a:pt x="13584" y="120337"/>
                        </a:lnTo>
                        <a:lnTo>
                          <a:pt x="21982" y="111803"/>
                        </a:lnTo>
                        <a:lnTo>
                          <a:pt x="59771" y="104366"/>
                        </a:lnTo>
                        <a:lnTo>
                          <a:pt x="60896" y="99700"/>
                        </a:lnTo>
                        <a:lnTo>
                          <a:pt x="54117" y="91797"/>
                        </a:lnTo>
                        <a:lnTo>
                          <a:pt x="59277" y="79173"/>
                        </a:lnTo>
                        <a:lnTo>
                          <a:pt x="58261" y="74590"/>
                        </a:lnTo>
                        <a:lnTo>
                          <a:pt x="37075" y="66879"/>
                        </a:lnTo>
                        <a:lnTo>
                          <a:pt x="10236" y="75276"/>
                        </a:lnTo>
                        <a:lnTo>
                          <a:pt x="0" y="66165"/>
                        </a:lnTo>
                        <a:lnTo>
                          <a:pt x="6504" y="54941"/>
                        </a:lnTo>
                        <a:lnTo>
                          <a:pt x="15780" y="54749"/>
                        </a:lnTo>
                        <a:lnTo>
                          <a:pt x="13749" y="37460"/>
                        </a:lnTo>
                        <a:lnTo>
                          <a:pt x="20610" y="25687"/>
                        </a:lnTo>
                        <a:lnTo>
                          <a:pt x="29336" y="25934"/>
                        </a:lnTo>
                        <a:lnTo>
                          <a:pt x="48135" y="35593"/>
                        </a:lnTo>
                        <a:lnTo>
                          <a:pt x="46735" y="28349"/>
                        </a:lnTo>
                        <a:lnTo>
                          <a:pt x="36966" y="11910"/>
                        </a:lnTo>
                        <a:lnTo>
                          <a:pt x="36966" y="7218"/>
                        </a:lnTo>
                        <a:cubicBezTo>
                          <a:pt x="36966" y="7218"/>
                          <a:pt x="39655" y="4363"/>
                          <a:pt x="39655" y="4363"/>
                        </a:cubicBezTo>
                        <a:lnTo>
                          <a:pt x="52553" y="6943"/>
                        </a:lnTo>
                        <a:lnTo>
                          <a:pt x="78212" y="35621"/>
                        </a:lnTo>
                        <a:lnTo>
                          <a:pt x="81560" y="47120"/>
                        </a:lnTo>
                        <a:lnTo>
                          <a:pt x="81670" y="63311"/>
                        </a:lnTo>
                        <a:lnTo>
                          <a:pt x="89985" y="78844"/>
                        </a:lnTo>
                        <a:lnTo>
                          <a:pt x="99673" y="64820"/>
                        </a:lnTo>
                        <a:lnTo>
                          <a:pt x="111418" y="57026"/>
                        </a:lnTo>
                        <a:lnTo>
                          <a:pt x="113230" y="36472"/>
                        </a:lnTo>
                        <a:lnTo>
                          <a:pt x="115727" y="31477"/>
                        </a:lnTo>
                        <a:lnTo>
                          <a:pt x="121517" y="33233"/>
                        </a:lnTo>
                        <a:lnTo>
                          <a:pt x="136501" y="49150"/>
                        </a:lnTo>
                        <a:lnTo>
                          <a:pt x="142456" y="33892"/>
                        </a:lnTo>
                        <a:lnTo>
                          <a:pt x="157522" y="26345"/>
                        </a:lnTo>
                        <a:lnTo>
                          <a:pt x="176019" y="46790"/>
                        </a:lnTo>
                        <a:lnTo>
                          <a:pt x="175498" y="33124"/>
                        </a:lnTo>
                        <a:lnTo>
                          <a:pt x="176787" y="28266"/>
                        </a:lnTo>
                        <a:lnTo>
                          <a:pt x="198687" y="31944"/>
                        </a:lnTo>
                        <a:lnTo>
                          <a:pt x="207304" y="24671"/>
                        </a:lnTo>
                        <a:lnTo>
                          <a:pt x="222316" y="20719"/>
                        </a:lnTo>
                        <a:lnTo>
                          <a:pt x="228463" y="2415"/>
                        </a:lnTo>
                        <a:lnTo>
                          <a:pt x="236668"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7" name="Freeform: Shape 3466">
                    <a:extLst>
                      <a:ext uri="{FF2B5EF4-FFF2-40B4-BE49-F238E27FC236}">
                        <a16:creationId xmlns:a16="http://schemas.microsoft.com/office/drawing/2014/main" id="{45C65700-097D-E60F-B291-7BA56EC3B349}"/>
                      </a:ext>
                    </a:extLst>
                  </p:cNvPr>
                  <p:cNvSpPr/>
                  <p:nvPr/>
                </p:nvSpPr>
                <p:spPr>
                  <a:xfrm>
                    <a:off x="-6091961" y="3304024"/>
                    <a:ext cx="349102" cy="366199"/>
                  </a:xfrm>
                  <a:custGeom>
                    <a:avLst/>
                    <a:gdLst>
                      <a:gd name="connsiteX0" fmla="*/ 162325 w 349102"/>
                      <a:gd name="connsiteY0" fmla="*/ 3513 h 366199"/>
                      <a:gd name="connsiteX1" fmla="*/ 162929 w 349102"/>
                      <a:gd name="connsiteY1" fmla="*/ 7053 h 366199"/>
                      <a:gd name="connsiteX2" fmla="*/ 172177 w 349102"/>
                      <a:gd name="connsiteY2" fmla="*/ 17234 h 366199"/>
                      <a:gd name="connsiteX3" fmla="*/ 178434 w 349102"/>
                      <a:gd name="connsiteY3" fmla="*/ 18195 h 366199"/>
                      <a:gd name="connsiteX4" fmla="*/ 179614 w 349102"/>
                      <a:gd name="connsiteY4" fmla="*/ 19183 h 366199"/>
                      <a:gd name="connsiteX5" fmla="*/ 202337 w 349102"/>
                      <a:gd name="connsiteY5" fmla="*/ 22092 h 366199"/>
                      <a:gd name="connsiteX6" fmla="*/ 208512 w 349102"/>
                      <a:gd name="connsiteY6" fmla="*/ 23931 h 366199"/>
                      <a:gd name="connsiteX7" fmla="*/ 207633 w 349102"/>
                      <a:gd name="connsiteY7" fmla="*/ 27580 h 366199"/>
                      <a:gd name="connsiteX8" fmla="*/ 199318 w 349102"/>
                      <a:gd name="connsiteY8" fmla="*/ 32877 h 366199"/>
                      <a:gd name="connsiteX9" fmla="*/ 200251 w 349102"/>
                      <a:gd name="connsiteY9" fmla="*/ 35978 h 366199"/>
                      <a:gd name="connsiteX10" fmla="*/ 206453 w 349102"/>
                      <a:gd name="connsiteY10" fmla="*/ 39161 h 366199"/>
                      <a:gd name="connsiteX11" fmla="*/ 202145 w 349102"/>
                      <a:gd name="connsiteY11" fmla="*/ 43991 h 366199"/>
                      <a:gd name="connsiteX12" fmla="*/ 202748 w 349102"/>
                      <a:gd name="connsiteY12" fmla="*/ 46818 h 366199"/>
                      <a:gd name="connsiteX13" fmla="*/ 205850 w 349102"/>
                      <a:gd name="connsiteY13" fmla="*/ 47696 h 366199"/>
                      <a:gd name="connsiteX14" fmla="*/ 205109 w 349102"/>
                      <a:gd name="connsiteY14" fmla="*/ 53789 h 366199"/>
                      <a:gd name="connsiteX15" fmla="*/ 205109 w 349102"/>
                      <a:gd name="connsiteY15" fmla="*/ 54282 h 366199"/>
                      <a:gd name="connsiteX16" fmla="*/ 210378 w 349102"/>
                      <a:gd name="connsiteY16" fmla="*/ 56780 h 366199"/>
                      <a:gd name="connsiteX17" fmla="*/ 213973 w 349102"/>
                      <a:gd name="connsiteY17" fmla="*/ 61527 h 366199"/>
                      <a:gd name="connsiteX18" fmla="*/ 212244 w 349102"/>
                      <a:gd name="connsiteY18" fmla="*/ 63421 h 366199"/>
                      <a:gd name="connsiteX19" fmla="*/ 208786 w 349102"/>
                      <a:gd name="connsiteY19" fmla="*/ 63229 h 366199"/>
                      <a:gd name="connsiteX20" fmla="*/ 208896 w 349102"/>
                      <a:gd name="connsiteY20" fmla="*/ 59222 h 366199"/>
                      <a:gd name="connsiteX21" fmla="*/ 204588 w 349102"/>
                      <a:gd name="connsiteY21" fmla="*/ 55133 h 366199"/>
                      <a:gd name="connsiteX22" fmla="*/ 199483 w 349102"/>
                      <a:gd name="connsiteY22" fmla="*/ 57740 h 366199"/>
                      <a:gd name="connsiteX23" fmla="*/ 191661 w 349102"/>
                      <a:gd name="connsiteY23" fmla="*/ 56231 h 366199"/>
                      <a:gd name="connsiteX24" fmla="*/ 190427 w 349102"/>
                      <a:gd name="connsiteY24" fmla="*/ 61143 h 366199"/>
                      <a:gd name="connsiteX25" fmla="*/ 177967 w 349102"/>
                      <a:gd name="connsiteY25" fmla="*/ 66604 h 366199"/>
                      <a:gd name="connsiteX26" fmla="*/ 173001 w 349102"/>
                      <a:gd name="connsiteY26" fmla="*/ 65836 h 366199"/>
                      <a:gd name="connsiteX27" fmla="*/ 172616 w 349102"/>
                      <a:gd name="connsiteY27" fmla="*/ 68361 h 366199"/>
                      <a:gd name="connsiteX28" fmla="*/ 168362 w 349102"/>
                      <a:gd name="connsiteY28" fmla="*/ 71517 h 366199"/>
                      <a:gd name="connsiteX29" fmla="*/ 165536 w 349102"/>
                      <a:gd name="connsiteY29" fmla="*/ 70913 h 366199"/>
                      <a:gd name="connsiteX30" fmla="*/ 161969 w 349102"/>
                      <a:gd name="connsiteY30" fmla="*/ 75578 h 366199"/>
                      <a:gd name="connsiteX31" fmla="*/ 163972 w 349102"/>
                      <a:gd name="connsiteY31" fmla="*/ 77389 h 366199"/>
                      <a:gd name="connsiteX32" fmla="*/ 167786 w 349102"/>
                      <a:gd name="connsiteY32" fmla="*/ 81423 h 366199"/>
                      <a:gd name="connsiteX33" fmla="*/ 167182 w 349102"/>
                      <a:gd name="connsiteY33" fmla="*/ 85156 h 366199"/>
                      <a:gd name="connsiteX34" fmla="*/ 171683 w 349102"/>
                      <a:gd name="connsiteY34" fmla="*/ 90233 h 366199"/>
                      <a:gd name="connsiteX35" fmla="*/ 169789 w 349102"/>
                      <a:gd name="connsiteY35" fmla="*/ 96736 h 366199"/>
                      <a:gd name="connsiteX36" fmla="*/ 166386 w 349102"/>
                      <a:gd name="connsiteY36" fmla="*/ 95584 h 366199"/>
                      <a:gd name="connsiteX37" fmla="*/ 166003 w 349102"/>
                      <a:gd name="connsiteY37" fmla="*/ 103488 h 366199"/>
                      <a:gd name="connsiteX38" fmla="*/ 169351 w 349102"/>
                      <a:gd name="connsiteY38" fmla="*/ 120173 h 366199"/>
                      <a:gd name="connsiteX39" fmla="*/ 171299 w 349102"/>
                      <a:gd name="connsiteY39" fmla="*/ 122725 h 366199"/>
                      <a:gd name="connsiteX40" fmla="*/ 180135 w 349102"/>
                      <a:gd name="connsiteY40" fmla="*/ 130629 h 366199"/>
                      <a:gd name="connsiteX41" fmla="*/ 192540 w 349102"/>
                      <a:gd name="connsiteY41" fmla="*/ 139575 h 366199"/>
                      <a:gd name="connsiteX42" fmla="*/ 203956 w 349102"/>
                      <a:gd name="connsiteY42" fmla="*/ 145914 h 366199"/>
                      <a:gd name="connsiteX43" fmla="*/ 205603 w 349102"/>
                      <a:gd name="connsiteY43" fmla="*/ 149262 h 366199"/>
                      <a:gd name="connsiteX44" fmla="*/ 206344 w 349102"/>
                      <a:gd name="connsiteY44" fmla="*/ 150799 h 366199"/>
                      <a:gd name="connsiteX45" fmla="*/ 209335 w 349102"/>
                      <a:gd name="connsiteY45" fmla="*/ 158072 h 366199"/>
                      <a:gd name="connsiteX46" fmla="*/ 212463 w 349102"/>
                      <a:gd name="connsiteY46" fmla="*/ 167265 h 366199"/>
                      <a:gd name="connsiteX47" fmla="*/ 214384 w 349102"/>
                      <a:gd name="connsiteY47" fmla="*/ 174181 h 366199"/>
                      <a:gd name="connsiteX48" fmla="*/ 219297 w 349102"/>
                      <a:gd name="connsiteY48" fmla="*/ 184664 h 366199"/>
                      <a:gd name="connsiteX49" fmla="*/ 221163 w 349102"/>
                      <a:gd name="connsiteY49" fmla="*/ 188753 h 366199"/>
                      <a:gd name="connsiteX50" fmla="*/ 224319 w 349102"/>
                      <a:gd name="connsiteY50" fmla="*/ 192156 h 366199"/>
                      <a:gd name="connsiteX51" fmla="*/ 226432 w 349102"/>
                      <a:gd name="connsiteY51" fmla="*/ 193940 h 366199"/>
                      <a:gd name="connsiteX52" fmla="*/ 235076 w 349102"/>
                      <a:gd name="connsiteY52" fmla="*/ 201130 h 366199"/>
                      <a:gd name="connsiteX53" fmla="*/ 237189 w 349102"/>
                      <a:gd name="connsiteY53" fmla="*/ 202914 h 366199"/>
                      <a:gd name="connsiteX54" fmla="*/ 239385 w 349102"/>
                      <a:gd name="connsiteY54" fmla="*/ 206893 h 366199"/>
                      <a:gd name="connsiteX55" fmla="*/ 243885 w 349102"/>
                      <a:gd name="connsiteY55" fmla="*/ 209171 h 366199"/>
                      <a:gd name="connsiteX56" fmla="*/ 246191 w 349102"/>
                      <a:gd name="connsiteY56" fmla="*/ 210460 h 366199"/>
                      <a:gd name="connsiteX57" fmla="*/ 250307 w 349102"/>
                      <a:gd name="connsiteY57" fmla="*/ 212738 h 366199"/>
                      <a:gd name="connsiteX58" fmla="*/ 279452 w 349102"/>
                      <a:gd name="connsiteY58" fmla="*/ 213342 h 366199"/>
                      <a:gd name="connsiteX59" fmla="*/ 280632 w 349102"/>
                      <a:gd name="connsiteY59" fmla="*/ 218830 h 366199"/>
                      <a:gd name="connsiteX60" fmla="*/ 276323 w 349102"/>
                      <a:gd name="connsiteY60" fmla="*/ 222974 h 366199"/>
                      <a:gd name="connsiteX61" fmla="*/ 274402 w 349102"/>
                      <a:gd name="connsiteY61" fmla="*/ 224813 h 366199"/>
                      <a:gd name="connsiteX62" fmla="*/ 272865 w 349102"/>
                      <a:gd name="connsiteY62" fmla="*/ 226268 h 366199"/>
                      <a:gd name="connsiteX63" fmla="*/ 276378 w 349102"/>
                      <a:gd name="connsiteY63" fmla="*/ 232497 h 366199"/>
                      <a:gd name="connsiteX64" fmla="*/ 291609 w 349102"/>
                      <a:gd name="connsiteY64" fmla="*/ 240208 h 366199"/>
                      <a:gd name="connsiteX65" fmla="*/ 307087 w 349102"/>
                      <a:gd name="connsiteY65" fmla="*/ 246438 h 366199"/>
                      <a:gd name="connsiteX66" fmla="*/ 316500 w 349102"/>
                      <a:gd name="connsiteY66" fmla="*/ 253354 h 366199"/>
                      <a:gd name="connsiteX67" fmla="*/ 333926 w 349102"/>
                      <a:gd name="connsiteY67" fmla="*/ 262575 h 366199"/>
                      <a:gd name="connsiteX68" fmla="*/ 337329 w 349102"/>
                      <a:gd name="connsiteY68" fmla="*/ 267953 h 366199"/>
                      <a:gd name="connsiteX69" fmla="*/ 346056 w 349102"/>
                      <a:gd name="connsiteY69" fmla="*/ 275665 h 366199"/>
                      <a:gd name="connsiteX70" fmla="*/ 349102 w 349102"/>
                      <a:gd name="connsiteY70" fmla="*/ 282251 h 366199"/>
                      <a:gd name="connsiteX71" fmla="*/ 345397 w 349102"/>
                      <a:gd name="connsiteY71" fmla="*/ 294985 h 366199"/>
                      <a:gd name="connsiteX72" fmla="*/ 336396 w 349102"/>
                      <a:gd name="connsiteY72" fmla="*/ 290786 h 366199"/>
                      <a:gd name="connsiteX73" fmla="*/ 333267 w 349102"/>
                      <a:gd name="connsiteY73" fmla="*/ 281538 h 366199"/>
                      <a:gd name="connsiteX74" fmla="*/ 327532 w 349102"/>
                      <a:gd name="connsiteY74" fmla="*/ 276488 h 366199"/>
                      <a:gd name="connsiteX75" fmla="*/ 319162 w 349102"/>
                      <a:gd name="connsiteY75" fmla="*/ 275939 h 366199"/>
                      <a:gd name="connsiteX76" fmla="*/ 308349 w 349102"/>
                      <a:gd name="connsiteY76" fmla="*/ 268118 h 366199"/>
                      <a:gd name="connsiteX77" fmla="*/ 301187 w 349102"/>
                      <a:gd name="connsiteY77" fmla="*/ 272509 h 366199"/>
                      <a:gd name="connsiteX78" fmla="*/ 294627 w 349102"/>
                      <a:gd name="connsiteY78" fmla="*/ 283239 h 366199"/>
                      <a:gd name="connsiteX79" fmla="*/ 293612 w 349102"/>
                      <a:gd name="connsiteY79" fmla="*/ 289688 h 366199"/>
                      <a:gd name="connsiteX80" fmla="*/ 290429 w 349102"/>
                      <a:gd name="connsiteY80" fmla="*/ 295341 h 366199"/>
                      <a:gd name="connsiteX81" fmla="*/ 291389 w 349102"/>
                      <a:gd name="connsiteY81" fmla="*/ 300171 h 366199"/>
                      <a:gd name="connsiteX82" fmla="*/ 305824 w 349102"/>
                      <a:gd name="connsiteY82" fmla="*/ 307554 h 366199"/>
                      <a:gd name="connsiteX83" fmla="*/ 309172 w 349102"/>
                      <a:gd name="connsiteY83" fmla="*/ 311149 h 366199"/>
                      <a:gd name="connsiteX84" fmla="*/ 309172 w 349102"/>
                      <a:gd name="connsiteY84" fmla="*/ 318805 h 366199"/>
                      <a:gd name="connsiteX85" fmla="*/ 309420 w 349102"/>
                      <a:gd name="connsiteY85" fmla="*/ 328163 h 366199"/>
                      <a:gd name="connsiteX86" fmla="*/ 301873 w 349102"/>
                      <a:gd name="connsiteY86" fmla="*/ 328685 h 366199"/>
                      <a:gd name="connsiteX87" fmla="*/ 292460 w 349102"/>
                      <a:gd name="connsiteY87" fmla="*/ 334997 h 366199"/>
                      <a:gd name="connsiteX88" fmla="*/ 292816 w 349102"/>
                      <a:gd name="connsiteY88" fmla="*/ 345919 h 366199"/>
                      <a:gd name="connsiteX89" fmla="*/ 281922 w 349102"/>
                      <a:gd name="connsiteY89" fmla="*/ 356896 h 366199"/>
                      <a:gd name="connsiteX90" fmla="*/ 277695 w 349102"/>
                      <a:gd name="connsiteY90" fmla="*/ 365678 h 366199"/>
                      <a:gd name="connsiteX91" fmla="*/ 268173 w 349102"/>
                      <a:gd name="connsiteY91" fmla="*/ 366199 h 366199"/>
                      <a:gd name="connsiteX92" fmla="*/ 265264 w 349102"/>
                      <a:gd name="connsiteY92" fmla="*/ 362961 h 366199"/>
                      <a:gd name="connsiteX93" fmla="*/ 265346 w 349102"/>
                      <a:gd name="connsiteY93" fmla="*/ 355771 h 366199"/>
                      <a:gd name="connsiteX94" fmla="*/ 270121 w 349102"/>
                      <a:gd name="connsiteY94" fmla="*/ 351984 h 366199"/>
                      <a:gd name="connsiteX95" fmla="*/ 273277 w 349102"/>
                      <a:gd name="connsiteY95" fmla="*/ 344547 h 366199"/>
                      <a:gd name="connsiteX96" fmla="*/ 271548 w 349102"/>
                      <a:gd name="connsiteY96" fmla="*/ 338948 h 366199"/>
                      <a:gd name="connsiteX97" fmla="*/ 279589 w 349102"/>
                      <a:gd name="connsiteY97" fmla="*/ 336176 h 366199"/>
                      <a:gd name="connsiteX98" fmla="*/ 281922 w 349102"/>
                      <a:gd name="connsiteY98" fmla="*/ 333103 h 366199"/>
                      <a:gd name="connsiteX99" fmla="*/ 281674 w 349102"/>
                      <a:gd name="connsiteY99" fmla="*/ 329288 h 366199"/>
                      <a:gd name="connsiteX100" fmla="*/ 278381 w 349102"/>
                      <a:gd name="connsiteY100" fmla="*/ 324102 h 366199"/>
                      <a:gd name="connsiteX101" fmla="*/ 277476 w 349102"/>
                      <a:gd name="connsiteY101" fmla="*/ 318805 h 366199"/>
                      <a:gd name="connsiteX102" fmla="*/ 275912 w 349102"/>
                      <a:gd name="connsiteY102" fmla="*/ 310490 h 366199"/>
                      <a:gd name="connsiteX103" fmla="*/ 270615 w 349102"/>
                      <a:gd name="connsiteY103" fmla="*/ 301077 h 366199"/>
                      <a:gd name="connsiteX104" fmla="*/ 268447 w 349102"/>
                      <a:gd name="connsiteY104" fmla="*/ 290759 h 366199"/>
                      <a:gd name="connsiteX105" fmla="*/ 265209 w 349102"/>
                      <a:gd name="connsiteY105" fmla="*/ 286175 h 366199"/>
                      <a:gd name="connsiteX106" fmla="*/ 262821 w 349102"/>
                      <a:gd name="connsiteY106" fmla="*/ 285160 h 366199"/>
                      <a:gd name="connsiteX107" fmla="*/ 258705 w 349102"/>
                      <a:gd name="connsiteY107" fmla="*/ 287712 h 366199"/>
                      <a:gd name="connsiteX108" fmla="*/ 256482 w 349102"/>
                      <a:gd name="connsiteY108" fmla="*/ 287575 h 366199"/>
                      <a:gd name="connsiteX109" fmla="*/ 254644 w 349102"/>
                      <a:gd name="connsiteY109" fmla="*/ 286642 h 366199"/>
                      <a:gd name="connsiteX110" fmla="*/ 253518 w 349102"/>
                      <a:gd name="connsiteY110" fmla="*/ 284584 h 366199"/>
                      <a:gd name="connsiteX111" fmla="*/ 250500 w 349102"/>
                      <a:gd name="connsiteY111" fmla="*/ 281840 h 366199"/>
                      <a:gd name="connsiteX112" fmla="*/ 247371 w 349102"/>
                      <a:gd name="connsiteY112" fmla="*/ 280989 h 366199"/>
                      <a:gd name="connsiteX113" fmla="*/ 244517 w 349102"/>
                      <a:gd name="connsiteY113" fmla="*/ 278985 h 366199"/>
                      <a:gd name="connsiteX114" fmla="*/ 244023 w 349102"/>
                      <a:gd name="connsiteY114" fmla="*/ 277394 h 366199"/>
                      <a:gd name="connsiteX115" fmla="*/ 245807 w 349102"/>
                      <a:gd name="connsiteY115" fmla="*/ 273881 h 366199"/>
                      <a:gd name="connsiteX116" fmla="*/ 245807 w 349102"/>
                      <a:gd name="connsiteY116" fmla="*/ 272372 h 366199"/>
                      <a:gd name="connsiteX117" fmla="*/ 242733 w 349102"/>
                      <a:gd name="connsiteY117" fmla="*/ 265648 h 366199"/>
                      <a:gd name="connsiteX118" fmla="*/ 239934 w 349102"/>
                      <a:gd name="connsiteY118" fmla="*/ 262465 h 366199"/>
                      <a:gd name="connsiteX119" fmla="*/ 233018 w 349102"/>
                      <a:gd name="connsiteY119" fmla="*/ 264139 h 366199"/>
                      <a:gd name="connsiteX120" fmla="*/ 230603 w 349102"/>
                      <a:gd name="connsiteY120" fmla="*/ 263947 h 366199"/>
                      <a:gd name="connsiteX121" fmla="*/ 228490 w 349102"/>
                      <a:gd name="connsiteY121" fmla="*/ 259034 h 366199"/>
                      <a:gd name="connsiteX122" fmla="*/ 217787 w 349102"/>
                      <a:gd name="connsiteY122" fmla="*/ 253134 h 366199"/>
                      <a:gd name="connsiteX123" fmla="*/ 209801 w 349102"/>
                      <a:gd name="connsiteY123" fmla="*/ 240483 h 366199"/>
                      <a:gd name="connsiteX124" fmla="*/ 196025 w 349102"/>
                      <a:gd name="connsiteY124" fmla="*/ 237821 h 366199"/>
                      <a:gd name="connsiteX125" fmla="*/ 189329 w 349102"/>
                      <a:gd name="connsiteY125" fmla="*/ 239769 h 366199"/>
                      <a:gd name="connsiteX126" fmla="*/ 180739 w 349102"/>
                      <a:gd name="connsiteY126" fmla="*/ 232909 h 366199"/>
                      <a:gd name="connsiteX127" fmla="*/ 175992 w 349102"/>
                      <a:gd name="connsiteY127" fmla="*/ 230878 h 366199"/>
                      <a:gd name="connsiteX128" fmla="*/ 170613 w 349102"/>
                      <a:gd name="connsiteY128" fmla="*/ 224868 h 366199"/>
                      <a:gd name="connsiteX129" fmla="*/ 168967 w 349102"/>
                      <a:gd name="connsiteY129" fmla="*/ 223029 h 366199"/>
                      <a:gd name="connsiteX130" fmla="*/ 157880 w 349102"/>
                      <a:gd name="connsiteY130" fmla="*/ 210543 h 366199"/>
                      <a:gd name="connsiteX131" fmla="*/ 156754 w 349102"/>
                      <a:gd name="connsiteY131" fmla="*/ 209253 h 366199"/>
                      <a:gd name="connsiteX132" fmla="*/ 153132 w 349102"/>
                      <a:gd name="connsiteY132" fmla="*/ 208210 h 366199"/>
                      <a:gd name="connsiteX133" fmla="*/ 150140 w 349102"/>
                      <a:gd name="connsiteY133" fmla="*/ 203682 h 366199"/>
                      <a:gd name="connsiteX134" fmla="*/ 148823 w 349102"/>
                      <a:gd name="connsiteY134" fmla="*/ 201240 h 366199"/>
                      <a:gd name="connsiteX135" fmla="*/ 147506 w 349102"/>
                      <a:gd name="connsiteY135" fmla="*/ 198797 h 366199"/>
                      <a:gd name="connsiteX136" fmla="*/ 141798 w 349102"/>
                      <a:gd name="connsiteY136" fmla="*/ 194955 h 366199"/>
                      <a:gd name="connsiteX137" fmla="*/ 133016 w 349102"/>
                      <a:gd name="connsiteY137" fmla="*/ 193802 h 366199"/>
                      <a:gd name="connsiteX138" fmla="*/ 132879 w 349102"/>
                      <a:gd name="connsiteY138" fmla="*/ 188863 h 366199"/>
                      <a:gd name="connsiteX139" fmla="*/ 130134 w 349102"/>
                      <a:gd name="connsiteY139" fmla="*/ 184774 h 366199"/>
                      <a:gd name="connsiteX140" fmla="*/ 127335 w 349102"/>
                      <a:gd name="connsiteY140" fmla="*/ 181151 h 366199"/>
                      <a:gd name="connsiteX141" fmla="*/ 122341 w 349102"/>
                      <a:gd name="connsiteY141" fmla="*/ 178544 h 366199"/>
                      <a:gd name="connsiteX142" fmla="*/ 119898 w 349102"/>
                      <a:gd name="connsiteY142" fmla="*/ 172370 h 366199"/>
                      <a:gd name="connsiteX143" fmla="*/ 114218 w 349102"/>
                      <a:gd name="connsiteY143" fmla="*/ 171738 h 366199"/>
                      <a:gd name="connsiteX144" fmla="*/ 114025 w 349102"/>
                      <a:gd name="connsiteY144" fmla="*/ 159499 h 366199"/>
                      <a:gd name="connsiteX145" fmla="*/ 109305 w 349102"/>
                      <a:gd name="connsiteY145" fmla="*/ 149372 h 366199"/>
                      <a:gd name="connsiteX146" fmla="*/ 107961 w 349102"/>
                      <a:gd name="connsiteY146" fmla="*/ 146518 h 366199"/>
                      <a:gd name="connsiteX147" fmla="*/ 106726 w 349102"/>
                      <a:gd name="connsiteY147" fmla="*/ 137050 h 366199"/>
                      <a:gd name="connsiteX148" fmla="*/ 103377 w 349102"/>
                      <a:gd name="connsiteY148" fmla="*/ 130491 h 366199"/>
                      <a:gd name="connsiteX149" fmla="*/ 99700 w 349102"/>
                      <a:gd name="connsiteY149" fmla="*/ 127665 h 366199"/>
                      <a:gd name="connsiteX150" fmla="*/ 93251 w 349102"/>
                      <a:gd name="connsiteY150" fmla="*/ 126567 h 366199"/>
                      <a:gd name="connsiteX151" fmla="*/ 84771 w 349102"/>
                      <a:gd name="connsiteY151" fmla="*/ 120612 h 366199"/>
                      <a:gd name="connsiteX152" fmla="*/ 73684 w 349102"/>
                      <a:gd name="connsiteY152" fmla="*/ 114657 h 366199"/>
                      <a:gd name="connsiteX153" fmla="*/ 62927 w 349102"/>
                      <a:gd name="connsiteY153" fmla="*/ 112269 h 366199"/>
                      <a:gd name="connsiteX154" fmla="*/ 58947 w 349102"/>
                      <a:gd name="connsiteY154" fmla="*/ 113916 h 366199"/>
                      <a:gd name="connsiteX155" fmla="*/ 48409 w 349102"/>
                      <a:gd name="connsiteY155" fmla="*/ 124262 h 366199"/>
                      <a:gd name="connsiteX156" fmla="*/ 44320 w 349102"/>
                      <a:gd name="connsiteY156" fmla="*/ 132001 h 366199"/>
                      <a:gd name="connsiteX157" fmla="*/ 39188 w 349102"/>
                      <a:gd name="connsiteY157" fmla="*/ 135486 h 366199"/>
                      <a:gd name="connsiteX158" fmla="*/ 26482 w 349102"/>
                      <a:gd name="connsiteY158" fmla="*/ 138340 h 366199"/>
                      <a:gd name="connsiteX159" fmla="*/ 26263 w 349102"/>
                      <a:gd name="connsiteY159" fmla="*/ 134032 h 366199"/>
                      <a:gd name="connsiteX160" fmla="*/ 31889 w 349102"/>
                      <a:gd name="connsiteY160" fmla="*/ 127006 h 366199"/>
                      <a:gd name="connsiteX161" fmla="*/ 28623 w 349102"/>
                      <a:gd name="connsiteY161" fmla="*/ 123686 h 366199"/>
                      <a:gd name="connsiteX162" fmla="*/ 22201 w 349102"/>
                      <a:gd name="connsiteY162" fmla="*/ 124454 h 366199"/>
                      <a:gd name="connsiteX163" fmla="*/ 11965 w 349102"/>
                      <a:gd name="connsiteY163" fmla="*/ 119953 h 366199"/>
                      <a:gd name="connsiteX164" fmla="*/ 7574 w 349102"/>
                      <a:gd name="connsiteY164" fmla="*/ 114684 h 366199"/>
                      <a:gd name="connsiteX165" fmla="*/ 7190 w 349102"/>
                      <a:gd name="connsiteY165" fmla="*/ 108016 h 366199"/>
                      <a:gd name="connsiteX166" fmla="*/ 9358 w 349102"/>
                      <a:gd name="connsiteY166" fmla="*/ 102582 h 366199"/>
                      <a:gd name="connsiteX167" fmla="*/ 12816 w 349102"/>
                      <a:gd name="connsiteY167" fmla="*/ 100139 h 366199"/>
                      <a:gd name="connsiteX168" fmla="*/ 11114 w 349102"/>
                      <a:gd name="connsiteY168" fmla="*/ 95282 h 366199"/>
                      <a:gd name="connsiteX169" fmla="*/ 4391 w 349102"/>
                      <a:gd name="connsiteY169" fmla="*/ 92538 h 366199"/>
                      <a:gd name="connsiteX170" fmla="*/ 0 w 349102"/>
                      <a:gd name="connsiteY170" fmla="*/ 83674 h 366199"/>
                      <a:gd name="connsiteX171" fmla="*/ 13721 w 349102"/>
                      <a:gd name="connsiteY171" fmla="*/ 78542 h 366199"/>
                      <a:gd name="connsiteX172" fmla="*/ 15670 w 349102"/>
                      <a:gd name="connsiteY172" fmla="*/ 71407 h 366199"/>
                      <a:gd name="connsiteX173" fmla="*/ 13941 w 349102"/>
                      <a:gd name="connsiteY173" fmla="*/ 68662 h 366199"/>
                      <a:gd name="connsiteX174" fmla="*/ 11224 w 349102"/>
                      <a:gd name="connsiteY174" fmla="*/ 66824 h 366199"/>
                      <a:gd name="connsiteX175" fmla="*/ 10319 w 349102"/>
                      <a:gd name="connsiteY175" fmla="*/ 61994 h 366199"/>
                      <a:gd name="connsiteX176" fmla="*/ 5049 w 349102"/>
                      <a:gd name="connsiteY176" fmla="*/ 55600 h 366199"/>
                      <a:gd name="connsiteX177" fmla="*/ 12185 w 349102"/>
                      <a:gd name="connsiteY177" fmla="*/ 49535 h 366199"/>
                      <a:gd name="connsiteX178" fmla="*/ 15368 w 349102"/>
                      <a:gd name="connsiteY178" fmla="*/ 52060 h 366199"/>
                      <a:gd name="connsiteX179" fmla="*/ 27992 w 349102"/>
                      <a:gd name="connsiteY179" fmla="*/ 47614 h 366199"/>
                      <a:gd name="connsiteX180" fmla="*/ 36252 w 349102"/>
                      <a:gd name="connsiteY180" fmla="*/ 49782 h 366199"/>
                      <a:gd name="connsiteX181" fmla="*/ 36664 w 349102"/>
                      <a:gd name="connsiteY181" fmla="*/ 49342 h 366199"/>
                      <a:gd name="connsiteX182" fmla="*/ 44293 w 349102"/>
                      <a:gd name="connsiteY182" fmla="*/ 39737 h 366199"/>
                      <a:gd name="connsiteX183" fmla="*/ 43497 w 349102"/>
                      <a:gd name="connsiteY183" fmla="*/ 35072 h 366199"/>
                      <a:gd name="connsiteX184" fmla="*/ 51593 w 349102"/>
                      <a:gd name="connsiteY184" fmla="*/ 27059 h 366199"/>
                      <a:gd name="connsiteX185" fmla="*/ 53733 w 349102"/>
                      <a:gd name="connsiteY185" fmla="*/ 28458 h 366199"/>
                      <a:gd name="connsiteX186" fmla="*/ 53898 w 349102"/>
                      <a:gd name="connsiteY186" fmla="*/ 35594 h 366199"/>
                      <a:gd name="connsiteX187" fmla="*/ 61253 w 349102"/>
                      <a:gd name="connsiteY187" fmla="*/ 42152 h 366199"/>
                      <a:gd name="connsiteX188" fmla="*/ 64655 w 349102"/>
                      <a:gd name="connsiteY188" fmla="*/ 43470 h 366199"/>
                      <a:gd name="connsiteX189" fmla="*/ 67098 w 349102"/>
                      <a:gd name="connsiteY189" fmla="*/ 53459 h 366199"/>
                      <a:gd name="connsiteX190" fmla="*/ 70803 w 349102"/>
                      <a:gd name="connsiteY190" fmla="*/ 51757 h 366199"/>
                      <a:gd name="connsiteX191" fmla="*/ 70528 w 349102"/>
                      <a:gd name="connsiteY191" fmla="*/ 45391 h 366199"/>
                      <a:gd name="connsiteX192" fmla="*/ 74370 w 349102"/>
                      <a:gd name="connsiteY192" fmla="*/ 39079 h 366199"/>
                      <a:gd name="connsiteX193" fmla="*/ 76977 w 349102"/>
                      <a:gd name="connsiteY193" fmla="*/ 36334 h 366199"/>
                      <a:gd name="connsiteX194" fmla="*/ 77444 w 349102"/>
                      <a:gd name="connsiteY194" fmla="*/ 27004 h 366199"/>
                      <a:gd name="connsiteX195" fmla="*/ 79036 w 349102"/>
                      <a:gd name="connsiteY195" fmla="*/ 25165 h 366199"/>
                      <a:gd name="connsiteX196" fmla="*/ 82576 w 349102"/>
                      <a:gd name="connsiteY196" fmla="*/ 25879 h 366199"/>
                      <a:gd name="connsiteX197" fmla="*/ 86363 w 349102"/>
                      <a:gd name="connsiteY197" fmla="*/ 33288 h 366199"/>
                      <a:gd name="connsiteX198" fmla="*/ 96517 w 349102"/>
                      <a:gd name="connsiteY198" fmla="*/ 30544 h 366199"/>
                      <a:gd name="connsiteX199" fmla="*/ 101896 w 349102"/>
                      <a:gd name="connsiteY199" fmla="*/ 36060 h 366199"/>
                      <a:gd name="connsiteX200" fmla="*/ 103707 w 349102"/>
                      <a:gd name="connsiteY200" fmla="*/ 34715 h 366199"/>
                      <a:gd name="connsiteX201" fmla="*/ 102966 w 349102"/>
                      <a:gd name="connsiteY201" fmla="*/ 29227 h 366199"/>
                      <a:gd name="connsiteX202" fmla="*/ 100661 w 349102"/>
                      <a:gd name="connsiteY202" fmla="*/ 26373 h 366199"/>
                      <a:gd name="connsiteX203" fmla="*/ 102307 w 349102"/>
                      <a:gd name="connsiteY203" fmla="*/ 21488 h 366199"/>
                      <a:gd name="connsiteX204" fmla="*/ 105573 w 349102"/>
                      <a:gd name="connsiteY204" fmla="*/ 19787 h 366199"/>
                      <a:gd name="connsiteX205" fmla="*/ 112461 w 349102"/>
                      <a:gd name="connsiteY205" fmla="*/ 23656 h 366199"/>
                      <a:gd name="connsiteX206" fmla="*/ 112928 w 349102"/>
                      <a:gd name="connsiteY206" fmla="*/ 20665 h 366199"/>
                      <a:gd name="connsiteX207" fmla="*/ 110869 w 349102"/>
                      <a:gd name="connsiteY207" fmla="*/ 17234 h 366199"/>
                      <a:gd name="connsiteX208" fmla="*/ 112955 w 349102"/>
                      <a:gd name="connsiteY208" fmla="*/ 9742 h 366199"/>
                      <a:gd name="connsiteX209" fmla="*/ 118691 w 349102"/>
                      <a:gd name="connsiteY209" fmla="*/ 9358 h 366199"/>
                      <a:gd name="connsiteX210" fmla="*/ 128351 w 349102"/>
                      <a:gd name="connsiteY210" fmla="*/ 13392 h 366199"/>
                      <a:gd name="connsiteX211" fmla="*/ 133373 w 349102"/>
                      <a:gd name="connsiteY211" fmla="*/ 4967 h 366199"/>
                      <a:gd name="connsiteX212" fmla="*/ 147012 w 349102"/>
                      <a:gd name="connsiteY212" fmla="*/ 2937 h 366199"/>
                      <a:gd name="connsiteX213" fmla="*/ 151321 w 349102"/>
                      <a:gd name="connsiteY213" fmla="*/ 4226 h 366199"/>
                      <a:gd name="connsiteX214" fmla="*/ 161941 w 349102"/>
                      <a:gd name="connsiteY214" fmla="*/ 0 h 366199"/>
                      <a:gd name="connsiteX215" fmla="*/ 165014 w 349102"/>
                      <a:gd name="connsiteY215" fmla="*/ 522 h 366199"/>
                      <a:gd name="connsiteX216" fmla="*/ 162133 w 349102"/>
                      <a:gd name="connsiteY216" fmla="*/ 3568 h 366199"/>
                      <a:gd name="connsiteX217" fmla="*/ 168774 w 349102"/>
                      <a:gd name="connsiteY217" fmla="*/ 214412 h 366199"/>
                      <a:gd name="connsiteX218" fmla="*/ 169625 w 349102"/>
                      <a:gd name="connsiteY218" fmla="*/ 215016 h 366199"/>
                      <a:gd name="connsiteX219" fmla="*/ 173357 w 349102"/>
                      <a:gd name="connsiteY219" fmla="*/ 214632 h 366199"/>
                      <a:gd name="connsiteX220" fmla="*/ 172534 w 349102"/>
                      <a:gd name="connsiteY220" fmla="*/ 211613 h 366199"/>
                      <a:gd name="connsiteX221" fmla="*/ 170833 w 349102"/>
                      <a:gd name="connsiteY221" fmla="*/ 212189 h 366199"/>
                      <a:gd name="connsiteX222" fmla="*/ 168774 w 349102"/>
                      <a:gd name="connsiteY222" fmla="*/ 214412 h 366199"/>
                      <a:gd name="connsiteX223" fmla="*/ 170393 w 349102"/>
                      <a:gd name="connsiteY223" fmla="*/ 131397 h 366199"/>
                      <a:gd name="connsiteX224" fmla="*/ 170393 w 349102"/>
                      <a:gd name="connsiteY224" fmla="*/ 133483 h 366199"/>
                      <a:gd name="connsiteX225" fmla="*/ 172616 w 349102"/>
                      <a:gd name="connsiteY225" fmla="*/ 132824 h 366199"/>
                      <a:gd name="connsiteX226" fmla="*/ 172808 w 349102"/>
                      <a:gd name="connsiteY226" fmla="*/ 130162 h 366199"/>
                      <a:gd name="connsiteX227" fmla="*/ 170393 w 349102"/>
                      <a:gd name="connsiteY227" fmla="*/ 131397 h 36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349102" h="366199">
                        <a:moveTo>
                          <a:pt x="162325" y="3513"/>
                        </a:moveTo>
                        <a:lnTo>
                          <a:pt x="162929" y="7053"/>
                        </a:lnTo>
                        <a:lnTo>
                          <a:pt x="172177" y="17234"/>
                        </a:lnTo>
                        <a:lnTo>
                          <a:pt x="178434" y="18195"/>
                        </a:lnTo>
                        <a:lnTo>
                          <a:pt x="179614" y="19183"/>
                        </a:lnTo>
                        <a:lnTo>
                          <a:pt x="202337" y="22092"/>
                        </a:lnTo>
                        <a:lnTo>
                          <a:pt x="208512" y="23931"/>
                        </a:lnTo>
                        <a:lnTo>
                          <a:pt x="207633" y="27580"/>
                        </a:lnTo>
                        <a:lnTo>
                          <a:pt x="199318" y="32877"/>
                        </a:lnTo>
                        <a:lnTo>
                          <a:pt x="200251" y="35978"/>
                        </a:lnTo>
                        <a:lnTo>
                          <a:pt x="206453" y="39161"/>
                        </a:lnTo>
                        <a:lnTo>
                          <a:pt x="202145" y="43991"/>
                        </a:lnTo>
                        <a:lnTo>
                          <a:pt x="202748" y="46818"/>
                        </a:lnTo>
                        <a:lnTo>
                          <a:pt x="205850" y="47696"/>
                        </a:lnTo>
                        <a:lnTo>
                          <a:pt x="205109" y="53789"/>
                        </a:lnTo>
                        <a:lnTo>
                          <a:pt x="205109" y="54282"/>
                        </a:lnTo>
                        <a:cubicBezTo>
                          <a:pt x="205109" y="54282"/>
                          <a:pt x="210378" y="56780"/>
                          <a:pt x="210378" y="56780"/>
                        </a:cubicBezTo>
                        <a:lnTo>
                          <a:pt x="213973" y="61527"/>
                        </a:lnTo>
                        <a:lnTo>
                          <a:pt x="212244" y="63421"/>
                        </a:lnTo>
                        <a:lnTo>
                          <a:pt x="208786" y="63229"/>
                        </a:lnTo>
                        <a:lnTo>
                          <a:pt x="208896" y="59222"/>
                        </a:lnTo>
                        <a:lnTo>
                          <a:pt x="204588" y="55133"/>
                        </a:lnTo>
                        <a:lnTo>
                          <a:pt x="199483" y="57740"/>
                        </a:lnTo>
                        <a:lnTo>
                          <a:pt x="191661" y="56231"/>
                        </a:lnTo>
                        <a:lnTo>
                          <a:pt x="190427" y="61143"/>
                        </a:lnTo>
                        <a:lnTo>
                          <a:pt x="177967" y="66604"/>
                        </a:lnTo>
                        <a:lnTo>
                          <a:pt x="173001" y="65836"/>
                        </a:lnTo>
                        <a:lnTo>
                          <a:pt x="172616" y="68361"/>
                        </a:lnTo>
                        <a:lnTo>
                          <a:pt x="168362" y="71517"/>
                        </a:lnTo>
                        <a:lnTo>
                          <a:pt x="165536" y="70913"/>
                        </a:lnTo>
                        <a:lnTo>
                          <a:pt x="161969" y="75578"/>
                        </a:lnTo>
                        <a:lnTo>
                          <a:pt x="163972" y="77389"/>
                        </a:lnTo>
                        <a:lnTo>
                          <a:pt x="167786" y="81423"/>
                        </a:lnTo>
                        <a:lnTo>
                          <a:pt x="167182" y="85156"/>
                        </a:lnTo>
                        <a:lnTo>
                          <a:pt x="171683" y="90233"/>
                        </a:lnTo>
                        <a:lnTo>
                          <a:pt x="169789" y="96736"/>
                        </a:lnTo>
                        <a:lnTo>
                          <a:pt x="166386" y="95584"/>
                        </a:lnTo>
                        <a:lnTo>
                          <a:pt x="166003" y="103488"/>
                        </a:lnTo>
                        <a:lnTo>
                          <a:pt x="169351" y="120173"/>
                        </a:lnTo>
                        <a:lnTo>
                          <a:pt x="171299" y="122725"/>
                        </a:lnTo>
                        <a:lnTo>
                          <a:pt x="180135" y="130629"/>
                        </a:lnTo>
                        <a:lnTo>
                          <a:pt x="192540" y="139575"/>
                        </a:lnTo>
                        <a:lnTo>
                          <a:pt x="203956" y="145914"/>
                        </a:lnTo>
                        <a:lnTo>
                          <a:pt x="205603" y="149262"/>
                        </a:lnTo>
                        <a:lnTo>
                          <a:pt x="206344" y="150799"/>
                        </a:lnTo>
                        <a:lnTo>
                          <a:pt x="209335" y="158072"/>
                        </a:lnTo>
                        <a:lnTo>
                          <a:pt x="212463" y="167265"/>
                        </a:lnTo>
                        <a:lnTo>
                          <a:pt x="214384" y="174181"/>
                        </a:lnTo>
                        <a:lnTo>
                          <a:pt x="219297" y="184664"/>
                        </a:lnTo>
                        <a:lnTo>
                          <a:pt x="221163" y="188753"/>
                        </a:lnTo>
                        <a:lnTo>
                          <a:pt x="224319" y="192156"/>
                        </a:lnTo>
                        <a:lnTo>
                          <a:pt x="226432" y="193940"/>
                        </a:lnTo>
                        <a:lnTo>
                          <a:pt x="235076" y="201130"/>
                        </a:lnTo>
                        <a:lnTo>
                          <a:pt x="237189" y="202914"/>
                        </a:lnTo>
                        <a:lnTo>
                          <a:pt x="239385" y="206893"/>
                        </a:lnTo>
                        <a:lnTo>
                          <a:pt x="243885" y="209171"/>
                        </a:lnTo>
                        <a:lnTo>
                          <a:pt x="246191" y="210460"/>
                        </a:lnTo>
                        <a:lnTo>
                          <a:pt x="250307" y="212738"/>
                        </a:lnTo>
                        <a:lnTo>
                          <a:pt x="279452" y="213342"/>
                        </a:lnTo>
                        <a:lnTo>
                          <a:pt x="280632" y="218830"/>
                        </a:lnTo>
                        <a:lnTo>
                          <a:pt x="276323" y="222974"/>
                        </a:lnTo>
                        <a:lnTo>
                          <a:pt x="274402" y="224813"/>
                        </a:lnTo>
                        <a:lnTo>
                          <a:pt x="272865" y="226268"/>
                        </a:lnTo>
                        <a:lnTo>
                          <a:pt x="276378" y="232497"/>
                        </a:lnTo>
                        <a:lnTo>
                          <a:pt x="291609" y="240208"/>
                        </a:lnTo>
                        <a:lnTo>
                          <a:pt x="307087" y="246438"/>
                        </a:lnTo>
                        <a:lnTo>
                          <a:pt x="316500" y="253354"/>
                        </a:lnTo>
                        <a:lnTo>
                          <a:pt x="333926" y="262575"/>
                        </a:lnTo>
                        <a:lnTo>
                          <a:pt x="337329" y="267953"/>
                        </a:lnTo>
                        <a:lnTo>
                          <a:pt x="346056" y="275665"/>
                        </a:lnTo>
                        <a:lnTo>
                          <a:pt x="349102" y="282251"/>
                        </a:lnTo>
                        <a:lnTo>
                          <a:pt x="345397" y="294985"/>
                        </a:lnTo>
                        <a:lnTo>
                          <a:pt x="336396" y="290786"/>
                        </a:lnTo>
                        <a:lnTo>
                          <a:pt x="333267" y="281538"/>
                        </a:lnTo>
                        <a:lnTo>
                          <a:pt x="327532" y="276488"/>
                        </a:lnTo>
                        <a:lnTo>
                          <a:pt x="319162" y="275939"/>
                        </a:lnTo>
                        <a:lnTo>
                          <a:pt x="308349" y="268118"/>
                        </a:lnTo>
                        <a:lnTo>
                          <a:pt x="301187" y="272509"/>
                        </a:lnTo>
                        <a:lnTo>
                          <a:pt x="294627" y="283239"/>
                        </a:lnTo>
                        <a:lnTo>
                          <a:pt x="293612" y="289688"/>
                        </a:lnTo>
                        <a:lnTo>
                          <a:pt x="290429" y="295341"/>
                        </a:lnTo>
                        <a:lnTo>
                          <a:pt x="291389" y="300171"/>
                        </a:lnTo>
                        <a:lnTo>
                          <a:pt x="305824" y="307554"/>
                        </a:lnTo>
                        <a:lnTo>
                          <a:pt x="309172" y="311149"/>
                        </a:lnTo>
                        <a:lnTo>
                          <a:pt x="309172" y="318805"/>
                        </a:lnTo>
                        <a:cubicBezTo>
                          <a:pt x="309172" y="318805"/>
                          <a:pt x="309420" y="328163"/>
                          <a:pt x="309420" y="328163"/>
                        </a:cubicBezTo>
                        <a:lnTo>
                          <a:pt x="301873" y="328685"/>
                        </a:lnTo>
                        <a:lnTo>
                          <a:pt x="292460" y="334997"/>
                        </a:lnTo>
                        <a:lnTo>
                          <a:pt x="292816" y="345919"/>
                        </a:lnTo>
                        <a:lnTo>
                          <a:pt x="281922" y="356896"/>
                        </a:lnTo>
                        <a:lnTo>
                          <a:pt x="277695" y="365678"/>
                        </a:lnTo>
                        <a:lnTo>
                          <a:pt x="268173" y="366199"/>
                        </a:lnTo>
                        <a:lnTo>
                          <a:pt x="265264" y="362961"/>
                        </a:lnTo>
                        <a:lnTo>
                          <a:pt x="265346" y="355771"/>
                        </a:lnTo>
                        <a:lnTo>
                          <a:pt x="270121" y="351984"/>
                        </a:lnTo>
                        <a:lnTo>
                          <a:pt x="273277" y="344547"/>
                        </a:lnTo>
                        <a:lnTo>
                          <a:pt x="271548" y="338948"/>
                        </a:lnTo>
                        <a:lnTo>
                          <a:pt x="279589" y="336176"/>
                        </a:lnTo>
                        <a:lnTo>
                          <a:pt x="281922" y="333103"/>
                        </a:lnTo>
                        <a:lnTo>
                          <a:pt x="281674" y="329288"/>
                        </a:lnTo>
                        <a:lnTo>
                          <a:pt x="278381" y="324102"/>
                        </a:lnTo>
                        <a:lnTo>
                          <a:pt x="277476" y="318805"/>
                        </a:lnTo>
                        <a:lnTo>
                          <a:pt x="275912" y="310490"/>
                        </a:lnTo>
                        <a:lnTo>
                          <a:pt x="270615" y="301077"/>
                        </a:lnTo>
                        <a:lnTo>
                          <a:pt x="268447" y="290759"/>
                        </a:lnTo>
                        <a:lnTo>
                          <a:pt x="265209" y="286175"/>
                        </a:lnTo>
                        <a:lnTo>
                          <a:pt x="262821" y="285160"/>
                        </a:lnTo>
                        <a:lnTo>
                          <a:pt x="258705" y="287712"/>
                        </a:lnTo>
                        <a:lnTo>
                          <a:pt x="256482" y="287575"/>
                        </a:lnTo>
                        <a:lnTo>
                          <a:pt x="254644" y="286642"/>
                        </a:lnTo>
                        <a:lnTo>
                          <a:pt x="253518" y="284584"/>
                        </a:lnTo>
                        <a:lnTo>
                          <a:pt x="250500" y="281840"/>
                        </a:lnTo>
                        <a:lnTo>
                          <a:pt x="247371" y="280989"/>
                        </a:lnTo>
                        <a:lnTo>
                          <a:pt x="244517" y="278985"/>
                        </a:lnTo>
                        <a:lnTo>
                          <a:pt x="244023" y="277394"/>
                        </a:lnTo>
                        <a:lnTo>
                          <a:pt x="245807" y="273881"/>
                        </a:lnTo>
                        <a:lnTo>
                          <a:pt x="245807" y="272372"/>
                        </a:lnTo>
                        <a:cubicBezTo>
                          <a:pt x="245807" y="272372"/>
                          <a:pt x="242733" y="265648"/>
                          <a:pt x="242733" y="265648"/>
                        </a:cubicBezTo>
                        <a:lnTo>
                          <a:pt x="239934" y="262465"/>
                        </a:lnTo>
                        <a:lnTo>
                          <a:pt x="233018" y="264139"/>
                        </a:lnTo>
                        <a:lnTo>
                          <a:pt x="230603" y="263947"/>
                        </a:lnTo>
                        <a:lnTo>
                          <a:pt x="228490" y="259034"/>
                        </a:lnTo>
                        <a:lnTo>
                          <a:pt x="217787" y="253134"/>
                        </a:lnTo>
                        <a:lnTo>
                          <a:pt x="209801" y="240483"/>
                        </a:lnTo>
                        <a:lnTo>
                          <a:pt x="196025" y="237821"/>
                        </a:lnTo>
                        <a:lnTo>
                          <a:pt x="189329" y="239769"/>
                        </a:lnTo>
                        <a:lnTo>
                          <a:pt x="180739" y="232909"/>
                        </a:lnTo>
                        <a:lnTo>
                          <a:pt x="175992" y="230878"/>
                        </a:lnTo>
                        <a:lnTo>
                          <a:pt x="170613" y="224868"/>
                        </a:lnTo>
                        <a:lnTo>
                          <a:pt x="168967" y="223029"/>
                        </a:lnTo>
                        <a:lnTo>
                          <a:pt x="157880" y="210543"/>
                        </a:lnTo>
                        <a:lnTo>
                          <a:pt x="156754" y="209253"/>
                        </a:lnTo>
                        <a:lnTo>
                          <a:pt x="153132" y="208210"/>
                        </a:lnTo>
                        <a:lnTo>
                          <a:pt x="150140" y="203682"/>
                        </a:lnTo>
                        <a:lnTo>
                          <a:pt x="148823" y="201240"/>
                        </a:lnTo>
                        <a:lnTo>
                          <a:pt x="147506" y="198797"/>
                        </a:lnTo>
                        <a:lnTo>
                          <a:pt x="141798" y="194955"/>
                        </a:lnTo>
                        <a:lnTo>
                          <a:pt x="133016" y="193802"/>
                        </a:lnTo>
                        <a:lnTo>
                          <a:pt x="132879" y="188863"/>
                        </a:lnTo>
                        <a:lnTo>
                          <a:pt x="130134" y="184774"/>
                        </a:lnTo>
                        <a:lnTo>
                          <a:pt x="127335" y="181151"/>
                        </a:lnTo>
                        <a:lnTo>
                          <a:pt x="122341" y="178544"/>
                        </a:lnTo>
                        <a:lnTo>
                          <a:pt x="119898" y="172370"/>
                        </a:lnTo>
                        <a:lnTo>
                          <a:pt x="114218" y="171738"/>
                        </a:lnTo>
                        <a:lnTo>
                          <a:pt x="114025" y="159499"/>
                        </a:lnTo>
                        <a:lnTo>
                          <a:pt x="109305" y="149372"/>
                        </a:lnTo>
                        <a:lnTo>
                          <a:pt x="107961" y="146518"/>
                        </a:lnTo>
                        <a:lnTo>
                          <a:pt x="106726" y="137050"/>
                        </a:lnTo>
                        <a:lnTo>
                          <a:pt x="103377" y="130491"/>
                        </a:lnTo>
                        <a:lnTo>
                          <a:pt x="99700" y="127665"/>
                        </a:lnTo>
                        <a:lnTo>
                          <a:pt x="93251" y="126567"/>
                        </a:lnTo>
                        <a:lnTo>
                          <a:pt x="84771" y="120612"/>
                        </a:lnTo>
                        <a:lnTo>
                          <a:pt x="73684" y="114657"/>
                        </a:lnTo>
                        <a:lnTo>
                          <a:pt x="62927" y="112269"/>
                        </a:lnTo>
                        <a:lnTo>
                          <a:pt x="58947" y="113916"/>
                        </a:lnTo>
                        <a:lnTo>
                          <a:pt x="48409" y="124262"/>
                        </a:lnTo>
                        <a:lnTo>
                          <a:pt x="44320" y="132001"/>
                        </a:lnTo>
                        <a:lnTo>
                          <a:pt x="39188" y="135486"/>
                        </a:lnTo>
                        <a:lnTo>
                          <a:pt x="26482" y="138340"/>
                        </a:lnTo>
                        <a:lnTo>
                          <a:pt x="26263" y="134032"/>
                        </a:lnTo>
                        <a:lnTo>
                          <a:pt x="31889" y="127006"/>
                        </a:lnTo>
                        <a:lnTo>
                          <a:pt x="28623" y="123686"/>
                        </a:lnTo>
                        <a:lnTo>
                          <a:pt x="22201" y="124454"/>
                        </a:lnTo>
                        <a:lnTo>
                          <a:pt x="11965" y="119953"/>
                        </a:lnTo>
                        <a:lnTo>
                          <a:pt x="7574" y="114684"/>
                        </a:lnTo>
                        <a:lnTo>
                          <a:pt x="7190" y="108016"/>
                        </a:lnTo>
                        <a:lnTo>
                          <a:pt x="9358" y="102582"/>
                        </a:lnTo>
                        <a:lnTo>
                          <a:pt x="12816" y="100139"/>
                        </a:lnTo>
                        <a:lnTo>
                          <a:pt x="11114" y="95282"/>
                        </a:lnTo>
                        <a:lnTo>
                          <a:pt x="4391" y="92538"/>
                        </a:lnTo>
                        <a:lnTo>
                          <a:pt x="0" y="83674"/>
                        </a:lnTo>
                        <a:lnTo>
                          <a:pt x="13721" y="78542"/>
                        </a:lnTo>
                        <a:lnTo>
                          <a:pt x="15670" y="71407"/>
                        </a:lnTo>
                        <a:lnTo>
                          <a:pt x="13941" y="68662"/>
                        </a:lnTo>
                        <a:lnTo>
                          <a:pt x="11224" y="66824"/>
                        </a:lnTo>
                        <a:lnTo>
                          <a:pt x="10319" y="61994"/>
                        </a:lnTo>
                        <a:lnTo>
                          <a:pt x="5049" y="55600"/>
                        </a:lnTo>
                        <a:lnTo>
                          <a:pt x="12185" y="49535"/>
                        </a:lnTo>
                        <a:lnTo>
                          <a:pt x="15368" y="52060"/>
                        </a:lnTo>
                        <a:lnTo>
                          <a:pt x="27992" y="47614"/>
                        </a:lnTo>
                        <a:lnTo>
                          <a:pt x="36252" y="49782"/>
                        </a:lnTo>
                        <a:lnTo>
                          <a:pt x="36664" y="49342"/>
                        </a:lnTo>
                        <a:lnTo>
                          <a:pt x="44293" y="39737"/>
                        </a:lnTo>
                        <a:lnTo>
                          <a:pt x="43497" y="35072"/>
                        </a:lnTo>
                        <a:lnTo>
                          <a:pt x="51593" y="27059"/>
                        </a:lnTo>
                        <a:lnTo>
                          <a:pt x="53733" y="28458"/>
                        </a:lnTo>
                        <a:lnTo>
                          <a:pt x="53898" y="35594"/>
                        </a:lnTo>
                        <a:lnTo>
                          <a:pt x="61253" y="42152"/>
                        </a:lnTo>
                        <a:lnTo>
                          <a:pt x="64655" y="43470"/>
                        </a:lnTo>
                        <a:lnTo>
                          <a:pt x="67098" y="53459"/>
                        </a:lnTo>
                        <a:lnTo>
                          <a:pt x="70803" y="51757"/>
                        </a:lnTo>
                        <a:lnTo>
                          <a:pt x="70528" y="45391"/>
                        </a:lnTo>
                        <a:lnTo>
                          <a:pt x="74370" y="39079"/>
                        </a:lnTo>
                        <a:lnTo>
                          <a:pt x="76977" y="36334"/>
                        </a:lnTo>
                        <a:lnTo>
                          <a:pt x="77444" y="27004"/>
                        </a:lnTo>
                        <a:lnTo>
                          <a:pt x="79036" y="25165"/>
                        </a:lnTo>
                        <a:lnTo>
                          <a:pt x="82576" y="25879"/>
                        </a:lnTo>
                        <a:lnTo>
                          <a:pt x="86363" y="33288"/>
                        </a:lnTo>
                        <a:lnTo>
                          <a:pt x="96517" y="30544"/>
                        </a:lnTo>
                        <a:lnTo>
                          <a:pt x="101896" y="36060"/>
                        </a:lnTo>
                        <a:lnTo>
                          <a:pt x="103707" y="34715"/>
                        </a:lnTo>
                        <a:lnTo>
                          <a:pt x="102966" y="29227"/>
                        </a:lnTo>
                        <a:lnTo>
                          <a:pt x="100661" y="26373"/>
                        </a:lnTo>
                        <a:lnTo>
                          <a:pt x="102307" y="21488"/>
                        </a:lnTo>
                        <a:lnTo>
                          <a:pt x="105573" y="19787"/>
                        </a:lnTo>
                        <a:lnTo>
                          <a:pt x="112461" y="23656"/>
                        </a:lnTo>
                        <a:lnTo>
                          <a:pt x="112928" y="20665"/>
                        </a:lnTo>
                        <a:lnTo>
                          <a:pt x="110869" y="17234"/>
                        </a:lnTo>
                        <a:lnTo>
                          <a:pt x="112955" y="9742"/>
                        </a:lnTo>
                        <a:lnTo>
                          <a:pt x="118691" y="9358"/>
                        </a:lnTo>
                        <a:lnTo>
                          <a:pt x="128351" y="13392"/>
                        </a:lnTo>
                        <a:lnTo>
                          <a:pt x="133373" y="4967"/>
                        </a:lnTo>
                        <a:lnTo>
                          <a:pt x="147012" y="2937"/>
                        </a:lnTo>
                        <a:lnTo>
                          <a:pt x="151321" y="4226"/>
                        </a:lnTo>
                        <a:lnTo>
                          <a:pt x="161941" y="0"/>
                        </a:lnTo>
                        <a:lnTo>
                          <a:pt x="165014" y="522"/>
                        </a:lnTo>
                        <a:lnTo>
                          <a:pt x="162133" y="3568"/>
                        </a:lnTo>
                        <a:moveTo>
                          <a:pt x="168774" y="214412"/>
                        </a:moveTo>
                        <a:lnTo>
                          <a:pt x="169625" y="215016"/>
                        </a:lnTo>
                        <a:lnTo>
                          <a:pt x="173357" y="214632"/>
                        </a:lnTo>
                        <a:lnTo>
                          <a:pt x="172534" y="211613"/>
                        </a:lnTo>
                        <a:lnTo>
                          <a:pt x="170833" y="212189"/>
                        </a:lnTo>
                        <a:lnTo>
                          <a:pt x="168774" y="214412"/>
                        </a:lnTo>
                        <a:moveTo>
                          <a:pt x="170393" y="131397"/>
                        </a:moveTo>
                        <a:lnTo>
                          <a:pt x="170393" y="133483"/>
                        </a:lnTo>
                        <a:lnTo>
                          <a:pt x="172616" y="132824"/>
                        </a:lnTo>
                        <a:lnTo>
                          <a:pt x="172808" y="130162"/>
                        </a:lnTo>
                        <a:lnTo>
                          <a:pt x="170393" y="13139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8" name="Freeform: Shape 3467">
                    <a:extLst>
                      <a:ext uri="{FF2B5EF4-FFF2-40B4-BE49-F238E27FC236}">
                        <a16:creationId xmlns:a16="http://schemas.microsoft.com/office/drawing/2014/main" id="{C4909050-F7BF-518C-DBEB-555F971F18E1}"/>
                      </a:ext>
                    </a:extLst>
                  </p:cNvPr>
                  <p:cNvSpPr/>
                  <p:nvPr/>
                </p:nvSpPr>
                <p:spPr>
                  <a:xfrm>
                    <a:off x="-6046790" y="3543739"/>
                    <a:ext cx="48491" cy="90287"/>
                  </a:xfrm>
                  <a:custGeom>
                    <a:avLst/>
                    <a:gdLst>
                      <a:gd name="connsiteX0" fmla="*/ 40204 w 48491"/>
                      <a:gd name="connsiteY0" fmla="*/ 8480 h 90287"/>
                      <a:gd name="connsiteX1" fmla="*/ 46763 w 48491"/>
                      <a:gd name="connsiteY1" fmla="*/ 22640 h 90287"/>
                      <a:gd name="connsiteX2" fmla="*/ 48492 w 48491"/>
                      <a:gd name="connsiteY2" fmla="*/ 29144 h 90287"/>
                      <a:gd name="connsiteX3" fmla="*/ 43140 w 48491"/>
                      <a:gd name="connsiteY3" fmla="*/ 39408 h 90287"/>
                      <a:gd name="connsiteX4" fmla="*/ 45912 w 48491"/>
                      <a:gd name="connsiteY4" fmla="*/ 45720 h 90287"/>
                      <a:gd name="connsiteX5" fmla="*/ 43881 w 48491"/>
                      <a:gd name="connsiteY5" fmla="*/ 65314 h 90287"/>
                      <a:gd name="connsiteX6" fmla="*/ 41741 w 48491"/>
                      <a:gd name="connsiteY6" fmla="*/ 79530 h 90287"/>
                      <a:gd name="connsiteX7" fmla="*/ 40863 w 48491"/>
                      <a:gd name="connsiteY7" fmla="*/ 80929 h 90287"/>
                      <a:gd name="connsiteX8" fmla="*/ 38420 w 48491"/>
                      <a:gd name="connsiteY8" fmla="*/ 81396 h 90287"/>
                      <a:gd name="connsiteX9" fmla="*/ 35539 w 48491"/>
                      <a:gd name="connsiteY9" fmla="*/ 79557 h 90287"/>
                      <a:gd name="connsiteX10" fmla="*/ 31258 w 48491"/>
                      <a:gd name="connsiteY10" fmla="*/ 77718 h 90287"/>
                      <a:gd name="connsiteX11" fmla="*/ 28952 w 48491"/>
                      <a:gd name="connsiteY11" fmla="*/ 78953 h 90287"/>
                      <a:gd name="connsiteX12" fmla="*/ 27306 w 48491"/>
                      <a:gd name="connsiteY12" fmla="*/ 78322 h 90287"/>
                      <a:gd name="connsiteX13" fmla="*/ 25988 w 48491"/>
                      <a:gd name="connsiteY13" fmla="*/ 79585 h 90287"/>
                      <a:gd name="connsiteX14" fmla="*/ 25330 w 48491"/>
                      <a:gd name="connsiteY14" fmla="*/ 85732 h 90287"/>
                      <a:gd name="connsiteX15" fmla="*/ 21076 w 48491"/>
                      <a:gd name="connsiteY15" fmla="*/ 90287 h 90287"/>
                      <a:gd name="connsiteX16" fmla="*/ 13913 w 48491"/>
                      <a:gd name="connsiteY16" fmla="*/ 89629 h 90287"/>
                      <a:gd name="connsiteX17" fmla="*/ 13310 w 48491"/>
                      <a:gd name="connsiteY17" fmla="*/ 87818 h 90287"/>
                      <a:gd name="connsiteX18" fmla="*/ 10620 w 48491"/>
                      <a:gd name="connsiteY18" fmla="*/ 84414 h 90287"/>
                      <a:gd name="connsiteX19" fmla="*/ 7218 w 48491"/>
                      <a:gd name="connsiteY19" fmla="*/ 86829 h 90287"/>
                      <a:gd name="connsiteX20" fmla="*/ 6120 w 48491"/>
                      <a:gd name="connsiteY20" fmla="*/ 83619 h 90287"/>
                      <a:gd name="connsiteX21" fmla="*/ 7163 w 48491"/>
                      <a:gd name="connsiteY21" fmla="*/ 79585 h 90287"/>
                      <a:gd name="connsiteX22" fmla="*/ 6861 w 48491"/>
                      <a:gd name="connsiteY22" fmla="*/ 69266 h 90287"/>
                      <a:gd name="connsiteX23" fmla="*/ 8754 w 48491"/>
                      <a:gd name="connsiteY23" fmla="*/ 59304 h 90287"/>
                      <a:gd name="connsiteX24" fmla="*/ 10072 w 48491"/>
                      <a:gd name="connsiteY24" fmla="*/ 59084 h 90287"/>
                      <a:gd name="connsiteX25" fmla="*/ 10977 w 48491"/>
                      <a:gd name="connsiteY25" fmla="*/ 53294 h 90287"/>
                      <a:gd name="connsiteX26" fmla="*/ 7272 w 48491"/>
                      <a:gd name="connsiteY26" fmla="*/ 50495 h 90287"/>
                      <a:gd name="connsiteX27" fmla="*/ 9248 w 48491"/>
                      <a:gd name="connsiteY27" fmla="*/ 38420 h 90287"/>
                      <a:gd name="connsiteX28" fmla="*/ 7026 w 48491"/>
                      <a:gd name="connsiteY28" fmla="*/ 32410 h 90287"/>
                      <a:gd name="connsiteX29" fmla="*/ 4336 w 48491"/>
                      <a:gd name="connsiteY29" fmla="*/ 26180 h 90287"/>
                      <a:gd name="connsiteX30" fmla="*/ 0 w 48491"/>
                      <a:gd name="connsiteY30" fmla="*/ 25055 h 90287"/>
                      <a:gd name="connsiteX31" fmla="*/ 1564 w 48491"/>
                      <a:gd name="connsiteY31" fmla="*/ 14901 h 90287"/>
                      <a:gd name="connsiteX32" fmla="*/ 10401 w 48491"/>
                      <a:gd name="connsiteY32" fmla="*/ 16136 h 90287"/>
                      <a:gd name="connsiteX33" fmla="*/ 18908 w 48491"/>
                      <a:gd name="connsiteY33" fmla="*/ 12075 h 90287"/>
                      <a:gd name="connsiteX34" fmla="*/ 21049 w 48491"/>
                      <a:gd name="connsiteY34" fmla="*/ 8809 h 90287"/>
                      <a:gd name="connsiteX35" fmla="*/ 30654 w 48491"/>
                      <a:gd name="connsiteY35" fmla="*/ 0 h 90287"/>
                      <a:gd name="connsiteX36" fmla="*/ 39902 w 48491"/>
                      <a:gd name="connsiteY36" fmla="*/ 4034 h 90287"/>
                      <a:gd name="connsiteX37" fmla="*/ 40177 w 48491"/>
                      <a:gd name="connsiteY37" fmla="*/ 8507 h 9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8491" h="90287">
                        <a:moveTo>
                          <a:pt x="40204" y="8480"/>
                        </a:moveTo>
                        <a:lnTo>
                          <a:pt x="46763" y="22640"/>
                        </a:lnTo>
                        <a:lnTo>
                          <a:pt x="48492" y="29144"/>
                        </a:lnTo>
                        <a:lnTo>
                          <a:pt x="43140" y="39408"/>
                        </a:lnTo>
                        <a:lnTo>
                          <a:pt x="45912" y="45720"/>
                        </a:lnTo>
                        <a:lnTo>
                          <a:pt x="43881" y="65314"/>
                        </a:lnTo>
                        <a:lnTo>
                          <a:pt x="41741" y="79530"/>
                        </a:lnTo>
                        <a:lnTo>
                          <a:pt x="40863" y="80929"/>
                        </a:lnTo>
                        <a:lnTo>
                          <a:pt x="38420" y="81396"/>
                        </a:lnTo>
                        <a:lnTo>
                          <a:pt x="35539" y="79557"/>
                        </a:lnTo>
                        <a:lnTo>
                          <a:pt x="31258" y="77718"/>
                        </a:lnTo>
                        <a:lnTo>
                          <a:pt x="28952" y="78953"/>
                        </a:lnTo>
                        <a:lnTo>
                          <a:pt x="27306" y="78322"/>
                        </a:lnTo>
                        <a:lnTo>
                          <a:pt x="25988" y="79585"/>
                        </a:lnTo>
                        <a:lnTo>
                          <a:pt x="25330" y="85732"/>
                        </a:lnTo>
                        <a:lnTo>
                          <a:pt x="21076" y="90287"/>
                        </a:lnTo>
                        <a:lnTo>
                          <a:pt x="13913" y="89629"/>
                        </a:lnTo>
                        <a:lnTo>
                          <a:pt x="13310" y="87818"/>
                        </a:lnTo>
                        <a:lnTo>
                          <a:pt x="10620" y="84414"/>
                        </a:lnTo>
                        <a:lnTo>
                          <a:pt x="7218" y="86829"/>
                        </a:lnTo>
                        <a:lnTo>
                          <a:pt x="6120" y="83619"/>
                        </a:lnTo>
                        <a:lnTo>
                          <a:pt x="7163" y="79585"/>
                        </a:lnTo>
                        <a:lnTo>
                          <a:pt x="6861" y="69266"/>
                        </a:lnTo>
                        <a:lnTo>
                          <a:pt x="8754" y="59304"/>
                        </a:lnTo>
                        <a:lnTo>
                          <a:pt x="10072" y="59084"/>
                        </a:lnTo>
                        <a:lnTo>
                          <a:pt x="10977" y="53294"/>
                        </a:lnTo>
                        <a:lnTo>
                          <a:pt x="7272" y="50495"/>
                        </a:lnTo>
                        <a:lnTo>
                          <a:pt x="9248" y="38420"/>
                        </a:lnTo>
                        <a:lnTo>
                          <a:pt x="7026" y="32410"/>
                        </a:lnTo>
                        <a:lnTo>
                          <a:pt x="4336" y="26180"/>
                        </a:lnTo>
                        <a:lnTo>
                          <a:pt x="0" y="25055"/>
                        </a:lnTo>
                        <a:lnTo>
                          <a:pt x="1564" y="14901"/>
                        </a:lnTo>
                        <a:lnTo>
                          <a:pt x="10401" y="16136"/>
                        </a:lnTo>
                        <a:lnTo>
                          <a:pt x="18908" y="12075"/>
                        </a:lnTo>
                        <a:lnTo>
                          <a:pt x="21049" y="8809"/>
                        </a:lnTo>
                        <a:lnTo>
                          <a:pt x="30654" y="0"/>
                        </a:lnTo>
                        <a:lnTo>
                          <a:pt x="39902" y="4034"/>
                        </a:lnTo>
                        <a:lnTo>
                          <a:pt x="40177" y="850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69" name="Freeform: Shape 3468">
                    <a:extLst>
                      <a:ext uri="{FF2B5EF4-FFF2-40B4-BE49-F238E27FC236}">
                        <a16:creationId xmlns:a16="http://schemas.microsoft.com/office/drawing/2014/main" id="{2A077979-D52B-F4FB-A035-4996D2B40276}"/>
                      </a:ext>
                    </a:extLst>
                  </p:cNvPr>
                  <p:cNvSpPr/>
                  <p:nvPr/>
                </p:nvSpPr>
                <p:spPr>
                  <a:xfrm>
                    <a:off x="-5989791" y="3478973"/>
                    <a:ext cx="10373" cy="6202"/>
                  </a:xfrm>
                  <a:custGeom>
                    <a:avLst/>
                    <a:gdLst>
                      <a:gd name="connsiteX0" fmla="*/ 10319 w 10373"/>
                      <a:gd name="connsiteY0" fmla="*/ 1043 h 6202"/>
                      <a:gd name="connsiteX1" fmla="*/ 9660 w 10373"/>
                      <a:gd name="connsiteY1" fmla="*/ 6202 h 6202"/>
                      <a:gd name="connsiteX2" fmla="*/ 7739 w 10373"/>
                      <a:gd name="connsiteY2" fmla="*/ 4693 h 6202"/>
                      <a:gd name="connsiteX3" fmla="*/ 1015 w 10373"/>
                      <a:gd name="connsiteY3" fmla="*/ 5763 h 6202"/>
                      <a:gd name="connsiteX4" fmla="*/ 0 w 10373"/>
                      <a:gd name="connsiteY4" fmla="*/ 3650 h 6202"/>
                      <a:gd name="connsiteX5" fmla="*/ 2525 w 10373"/>
                      <a:gd name="connsiteY5" fmla="*/ 2525 h 6202"/>
                      <a:gd name="connsiteX6" fmla="*/ 4281 w 10373"/>
                      <a:gd name="connsiteY6" fmla="*/ 3485 h 6202"/>
                      <a:gd name="connsiteX7" fmla="*/ 5104 w 10373"/>
                      <a:gd name="connsiteY7" fmla="*/ 1921 h 6202"/>
                      <a:gd name="connsiteX8" fmla="*/ 8068 w 10373"/>
                      <a:gd name="connsiteY8" fmla="*/ 2251 h 6202"/>
                      <a:gd name="connsiteX9" fmla="*/ 9468 w 10373"/>
                      <a:gd name="connsiteY9" fmla="*/ 0 h 6202"/>
                      <a:gd name="connsiteX10" fmla="*/ 10374 w 10373"/>
                      <a:gd name="connsiteY10" fmla="*/ 1043 h 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73" h="6202">
                        <a:moveTo>
                          <a:pt x="10319" y="1043"/>
                        </a:moveTo>
                        <a:lnTo>
                          <a:pt x="9660" y="6202"/>
                        </a:lnTo>
                        <a:lnTo>
                          <a:pt x="7739" y="4693"/>
                        </a:lnTo>
                        <a:lnTo>
                          <a:pt x="1015" y="5763"/>
                        </a:lnTo>
                        <a:lnTo>
                          <a:pt x="0" y="3650"/>
                        </a:lnTo>
                        <a:lnTo>
                          <a:pt x="2525" y="2525"/>
                        </a:lnTo>
                        <a:lnTo>
                          <a:pt x="4281" y="3485"/>
                        </a:lnTo>
                        <a:lnTo>
                          <a:pt x="5104" y="1921"/>
                        </a:lnTo>
                        <a:lnTo>
                          <a:pt x="8068" y="2251"/>
                        </a:lnTo>
                        <a:lnTo>
                          <a:pt x="9468" y="0"/>
                        </a:lnTo>
                        <a:lnTo>
                          <a:pt x="10374" y="104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0" name="Freeform: Shape 3469">
                    <a:extLst>
                      <a:ext uri="{FF2B5EF4-FFF2-40B4-BE49-F238E27FC236}">
                        <a16:creationId xmlns:a16="http://schemas.microsoft.com/office/drawing/2014/main" id="{0F6BB6AB-04DD-0C6F-488D-D7A953D9A782}"/>
                      </a:ext>
                    </a:extLst>
                  </p:cNvPr>
                  <p:cNvSpPr/>
                  <p:nvPr/>
                </p:nvSpPr>
                <p:spPr>
                  <a:xfrm>
                    <a:off x="-5999561" y="3469258"/>
                    <a:ext cx="3540" cy="5406"/>
                  </a:xfrm>
                  <a:custGeom>
                    <a:avLst/>
                    <a:gdLst>
                      <a:gd name="connsiteX0" fmla="*/ 3540 w 3540"/>
                      <a:gd name="connsiteY0" fmla="*/ 2799 h 5406"/>
                      <a:gd name="connsiteX1" fmla="*/ 1729 w 3540"/>
                      <a:gd name="connsiteY1" fmla="*/ 5406 h 5406"/>
                      <a:gd name="connsiteX2" fmla="*/ 0 w 3540"/>
                      <a:gd name="connsiteY2" fmla="*/ 3074 h 5406"/>
                      <a:gd name="connsiteX3" fmla="*/ 1921 w 3540"/>
                      <a:gd name="connsiteY3" fmla="*/ 0 h 5406"/>
                      <a:gd name="connsiteX4" fmla="*/ 3540 w 3540"/>
                      <a:gd name="connsiteY4" fmla="*/ 2799 h 5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 h="5406">
                        <a:moveTo>
                          <a:pt x="3540" y="2799"/>
                        </a:moveTo>
                        <a:lnTo>
                          <a:pt x="1729" y="5406"/>
                        </a:lnTo>
                        <a:lnTo>
                          <a:pt x="0" y="3074"/>
                        </a:lnTo>
                        <a:lnTo>
                          <a:pt x="1921" y="0"/>
                        </a:lnTo>
                        <a:lnTo>
                          <a:pt x="3540" y="279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1" name="Freeform: Shape 3470">
                    <a:extLst>
                      <a:ext uri="{FF2B5EF4-FFF2-40B4-BE49-F238E27FC236}">
                        <a16:creationId xmlns:a16="http://schemas.microsoft.com/office/drawing/2014/main" id="{3D93A64C-ADFC-4746-2610-FE799D82F592}"/>
                      </a:ext>
                    </a:extLst>
                  </p:cNvPr>
                  <p:cNvSpPr/>
                  <p:nvPr/>
                </p:nvSpPr>
                <p:spPr>
                  <a:xfrm>
                    <a:off x="-5831802" y="3505675"/>
                    <a:ext cx="3896" cy="4638"/>
                  </a:xfrm>
                  <a:custGeom>
                    <a:avLst/>
                    <a:gdLst>
                      <a:gd name="connsiteX0" fmla="*/ 3897 w 3896"/>
                      <a:gd name="connsiteY0" fmla="*/ 2004 h 4638"/>
                      <a:gd name="connsiteX1" fmla="*/ 1235 w 3896"/>
                      <a:gd name="connsiteY1" fmla="*/ 4638 h 4638"/>
                      <a:gd name="connsiteX2" fmla="*/ 0 w 3896"/>
                      <a:gd name="connsiteY2" fmla="*/ 1153 h 4638"/>
                      <a:gd name="connsiteX3" fmla="*/ 2113 w 3896"/>
                      <a:gd name="connsiteY3" fmla="*/ 0 h 4638"/>
                      <a:gd name="connsiteX4" fmla="*/ 3897 w 3896"/>
                      <a:gd name="connsiteY4" fmla="*/ 2004 h 4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6" h="4638">
                        <a:moveTo>
                          <a:pt x="3897" y="2004"/>
                        </a:moveTo>
                        <a:lnTo>
                          <a:pt x="1235" y="4638"/>
                        </a:lnTo>
                        <a:lnTo>
                          <a:pt x="0" y="1153"/>
                        </a:lnTo>
                        <a:lnTo>
                          <a:pt x="2113" y="0"/>
                        </a:lnTo>
                        <a:lnTo>
                          <a:pt x="3897" y="200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2" name="Freeform: Shape 3471">
                    <a:extLst>
                      <a:ext uri="{FF2B5EF4-FFF2-40B4-BE49-F238E27FC236}">
                        <a16:creationId xmlns:a16="http://schemas.microsoft.com/office/drawing/2014/main" id="{6918B320-E380-00F3-17A8-948C4D43D4E3}"/>
                      </a:ext>
                    </a:extLst>
                  </p:cNvPr>
                  <p:cNvSpPr/>
                  <p:nvPr/>
                </p:nvSpPr>
                <p:spPr>
                  <a:xfrm>
                    <a:off x="-6047284" y="3553152"/>
                    <a:ext cx="3650" cy="4720"/>
                  </a:xfrm>
                  <a:custGeom>
                    <a:avLst/>
                    <a:gdLst>
                      <a:gd name="connsiteX0" fmla="*/ 3650 w 3650"/>
                      <a:gd name="connsiteY0" fmla="*/ 1317 h 4720"/>
                      <a:gd name="connsiteX1" fmla="*/ 2552 w 3650"/>
                      <a:gd name="connsiteY1" fmla="*/ 4720 h 4720"/>
                      <a:gd name="connsiteX2" fmla="*/ 0 w 3650"/>
                      <a:gd name="connsiteY2" fmla="*/ 2552 h 4720"/>
                      <a:gd name="connsiteX3" fmla="*/ 1647 w 3650"/>
                      <a:gd name="connsiteY3" fmla="*/ 0 h 4720"/>
                      <a:gd name="connsiteX4" fmla="*/ 3650 w 3650"/>
                      <a:gd name="connsiteY4" fmla="*/ 1317 h 4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4720">
                        <a:moveTo>
                          <a:pt x="3650" y="1317"/>
                        </a:moveTo>
                        <a:lnTo>
                          <a:pt x="2552" y="4720"/>
                        </a:lnTo>
                        <a:lnTo>
                          <a:pt x="0" y="2552"/>
                        </a:lnTo>
                        <a:lnTo>
                          <a:pt x="1647" y="0"/>
                        </a:lnTo>
                        <a:lnTo>
                          <a:pt x="3650" y="131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3" name="Freeform: Shape 3472">
                    <a:extLst>
                      <a:ext uri="{FF2B5EF4-FFF2-40B4-BE49-F238E27FC236}">
                        <a16:creationId xmlns:a16="http://schemas.microsoft.com/office/drawing/2014/main" id="{6D25B367-862F-9DFD-063E-3B1A323CFC2E}"/>
                      </a:ext>
                    </a:extLst>
                  </p:cNvPr>
                  <p:cNvSpPr/>
                  <p:nvPr/>
                </p:nvSpPr>
                <p:spPr>
                  <a:xfrm>
                    <a:off x="-5968029" y="3497909"/>
                    <a:ext cx="4006" cy="4253"/>
                  </a:xfrm>
                  <a:custGeom>
                    <a:avLst/>
                    <a:gdLst>
                      <a:gd name="connsiteX0" fmla="*/ 4007 w 4006"/>
                      <a:gd name="connsiteY0" fmla="*/ 1701 h 4253"/>
                      <a:gd name="connsiteX1" fmla="*/ 1427 w 4006"/>
                      <a:gd name="connsiteY1" fmla="*/ 4254 h 4253"/>
                      <a:gd name="connsiteX2" fmla="*/ 0 w 4006"/>
                      <a:gd name="connsiteY2" fmla="*/ 1784 h 4253"/>
                      <a:gd name="connsiteX3" fmla="*/ 1482 w 4006"/>
                      <a:gd name="connsiteY3" fmla="*/ 0 h 4253"/>
                      <a:gd name="connsiteX4" fmla="*/ 2580 w 4006"/>
                      <a:gd name="connsiteY4" fmla="*/ 0 h 4253"/>
                      <a:gd name="connsiteX5" fmla="*/ 4007 w 4006"/>
                      <a:gd name="connsiteY5" fmla="*/ 1701 h 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6" h="4253">
                        <a:moveTo>
                          <a:pt x="4007" y="1701"/>
                        </a:moveTo>
                        <a:lnTo>
                          <a:pt x="1427" y="4254"/>
                        </a:lnTo>
                        <a:lnTo>
                          <a:pt x="0" y="1784"/>
                        </a:lnTo>
                        <a:lnTo>
                          <a:pt x="1482" y="0"/>
                        </a:lnTo>
                        <a:lnTo>
                          <a:pt x="2580" y="0"/>
                        </a:lnTo>
                        <a:lnTo>
                          <a:pt x="4007" y="170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4" name="Freeform: Shape 3473">
                    <a:extLst>
                      <a:ext uri="{FF2B5EF4-FFF2-40B4-BE49-F238E27FC236}">
                        <a16:creationId xmlns:a16="http://schemas.microsoft.com/office/drawing/2014/main" id="{8342663C-659A-EC9D-454C-C9825DD01BD5}"/>
                      </a:ext>
                    </a:extLst>
                  </p:cNvPr>
                  <p:cNvSpPr/>
                  <p:nvPr/>
                </p:nvSpPr>
                <p:spPr>
                  <a:xfrm>
                    <a:off x="-6044869" y="3622390"/>
                    <a:ext cx="3128" cy="4884"/>
                  </a:xfrm>
                  <a:custGeom>
                    <a:avLst/>
                    <a:gdLst>
                      <a:gd name="connsiteX0" fmla="*/ 3129 w 3128"/>
                      <a:gd name="connsiteY0" fmla="*/ 0 h 4884"/>
                      <a:gd name="connsiteX1" fmla="*/ 1866 w 3128"/>
                      <a:gd name="connsiteY1" fmla="*/ 4885 h 4884"/>
                      <a:gd name="connsiteX2" fmla="*/ 0 w 3128"/>
                      <a:gd name="connsiteY2" fmla="*/ 2415 h 4884"/>
                      <a:gd name="connsiteX3" fmla="*/ 851 w 3128"/>
                      <a:gd name="connsiteY3" fmla="*/ 0 h 4884"/>
                      <a:gd name="connsiteX4" fmla="*/ 3129 w 3128"/>
                      <a:gd name="connsiteY4" fmla="*/ 0 h 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8" h="4884">
                        <a:moveTo>
                          <a:pt x="3129" y="0"/>
                        </a:moveTo>
                        <a:lnTo>
                          <a:pt x="1866" y="4885"/>
                        </a:lnTo>
                        <a:lnTo>
                          <a:pt x="0" y="2415"/>
                        </a:lnTo>
                        <a:lnTo>
                          <a:pt x="851" y="0"/>
                        </a:lnTo>
                        <a:lnTo>
                          <a:pt x="3129"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5" name="Freeform: Shape 3474">
                    <a:extLst>
                      <a:ext uri="{FF2B5EF4-FFF2-40B4-BE49-F238E27FC236}">
                        <a16:creationId xmlns:a16="http://schemas.microsoft.com/office/drawing/2014/main" id="{8FE93B8E-2C79-0C8A-6899-361FC158DF74}"/>
                      </a:ext>
                    </a:extLst>
                  </p:cNvPr>
                  <p:cNvSpPr/>
                  <p:nvPr/>
                </p:nvSpPr>
                <p:spPr>
                  <a:xfrm>
                    <a:off x="-6044211" y="3547526"/>
                    <a:ext cx="3760" cy="3814"/>
                  </a:xfrm>
                  <a:custGeom>
                    <a:avLst/>
                    <a:gdLst>
                      <a:gd name="connsiteX0" fmla="*/ 3183 w 3760"/>
                      <a:gd name="connsiteY0" fmla="*/ 3815 h 3814"/>
                      <a:gd name="connsiteX1" fmla="*/ 1208 w 3760"/>
                      <a:gd name="connsiteY1" fmla="*/ 3815 h 3814"/>
                      <a:gd name="connsiteX2" fmla="*/ 0 w 3760"/>
                      <a:gd name="connsiteY2" fmla="*/ 1482 h 3814"/>
                      <a:gd name="connsiteX3" fmla="*/ 2223 w 3760"/>
                      <a:gd name="connsiteY3" fmla="*/ 0 h 3814"/>
                      <a:gd name="connsiteX4" fmla="*/ 3760 w 3760"/>
                      <a:gd name="connsiteY4" fmla="*/ 2004 h 3814"/>
                      <a:gd name="connsiteX5" fmla="*/ 3183 w 3760"/>
                      <a:gd name="connsiteY5" fmla="*/ 3815 h 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0" h="3814">
                        <a:moveTo>
                          <a:pt x="3183" y="3815"/>
                        </a:moveTo>
                        <a:lnTo>
                          <a:pt x="1208" y="3815"/>
                        </a:lnTo>
                        <a:cubicBezTo>
                          <a:pt x="1208" y="3815"/>
                          <a:pt x="0" y="1482"/>
                          <a:pt x="0" y="1482"/>
                        </a:cubicBezTo>
                        <a:lnTo>
                          <a:pt x="2223" y="0"/>
                        </a:lnTo>
                        <a:lnTo>
                          <a:pt x="3760" y="2004"/>
                        </a:lnTo>
                        <a:lnTo>
                          <a:pt x="3183" y="381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6" name="Freeform: Shape 3475">
                    <a:extLst>
                      <a:ext uri="{FF2B5EF4-FFF2-40B4-BE49-F238E27FC236}">
                        <a16:creationId xmlns:a16="http://schemas.microsoft.com/office/drawing/2014/main" id="{E942B8A5-BBCF-2FA4-E251-A2D3BE60A9A8}"/>
                      </a:ext>
                    </a:extLst>
                  </p:cNvPr>
                  <p:cNvSpPr/>
                  <p:nvPr/>
                </p:nvSpPr>
                <p:spPr>
                  <a:xfrm>
                    <a:off x="-5880047" y="3562043"/>
                    <a:ext cx="4253" cy="3320"/>
                  </a:xfrm>
                  <a:custGeom>
                    <a:avLst/>
                    <a:gdLst>
                      <a:gd name="connsiteX0" fmla="*/ 4254 w 4253"/>
                      <a:gd name="connsiteY0" fmla="*/ 823 h 3320"/>
                      <a:gd name="connsiteX1" fmla="*/ 2964 w 4253"/>
                      <a:gd name="connsiteY1" fmla="*/ 3320 h 3320"/>
                      <a:gd name="connsiteX2" fmla="*/ 0 w 4253"/>
                      <a:gd name="connsiteY2" fmla="*/ 2552 h 3320"/>
                      <a:gd name="connsiteX3" fmla="*/ 466 w 4253"/>
                      <a:gd name="connsiteY3" fmla="*/ 0 h 3320"/>
                      <a:gd name="connsiteX4" fmla="*/ 4254 w 4253"/>
                      <a:gd name="connsiteY4" fmla="*/ 823 h 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3320">
                        <a:moveTo>
                          <a:pt x="4254" y="823"/>
                        </a:moveTo>
                        <a:lnTo>
                          <a:pt x="2964" y="3320"/>
                        </a:lnTo>
                        <a:lnTo>
                          <a:pt x="0" y="2552"/>
                        </a:lnTo>
                        <a:lnTo>
                          <a:pt x="466" y="0"/>
                        </a:lnTo>
                        <a:lnTo>
                          <a:pt x="4254" y="82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7" name="Freeform: Shape 3476">
                    <a:extLst>
                      <a:ext uri="{FF2B5EF4-FFF2-40B4-BE49-F238E27FC236}">
                        <a16:creationId xmlns:a16="http://schemas.microsoft.com/office/drawing/2014/main" id="{64A8440E-3220-5594-24AC-39318ACC8C4A}"/>
                      </a:ext>
                    </a:extLst>
                  </p:cNvPr>
                  <p:cNvSpPr/>
                  <p:nvPr/>
                </p:nvSpPr>
                <p:spPr>
                  <a:xfrm>
                    <a:off x="-6352533" y="3207782"/>
                    <a:ext cx="6202" cy="4280"/>
                  </a:xfrm>
                  <a:custGeom>
                    <a:avLst/>
                    <a:gdLst>
                      <a:gd name="connsiteX0" fmla="*/ 27 w 6202"/>
                      <a:gd name="connsiteY0" fmla="*/ 1153 h 4280"/>
                      <a:gd name="connsiteX1" fmla="*/ 2223 w 6202"/>
                      <a:gd name="connsiteY1" fmla="*/ 0 h 4280"/>
                      <a:gd name="connsiteX2" fmla="*/ 4144 w 6202"/>
                      <a:gd name="connsiteY2" fmla="*/ 631 h 4280"/>
                      <a:gd name="connsiteX3" fmla="*/ 6202 w 6202"/>
                      <a:gd name="connsiteY3" fmla="*/ 1317 h 4280"/>
                      <a:gd name="connsiteX4" fmla="*/ 6093 w 6202"/>
                      <a:gd name="connsiteY4" fmla="*/ 4281 h 4280"/>
                      <a:gd name="connsiteX5" fmla="*/ 4144 w 6202"/>
                      <a:gd name="connsiteY5" fmla="*/ 3870 h 4280"/>
                      <a:gd name="connsiteX6" fmla="*/ 384 w 6202"/>
                      <a:gd name="connsiteY6" fmla="*/ 3129 h 4280"/>
                      <a:gd name="connsiteX7" fmla="*/ 0 w 6202"/>
                      <a:gd name="connsiteY7" fmla="*/ 1153 h 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02" h="4280">
                        <a:moveTo>
                          <a:pt x="27" y="1153"/>
                        </a:moveTo>
                        <a:lnTo>
                          <a:pt x="2223" y="0"/>
                        </a:lnTo>
                        <a:lnTo>
                          <a:pt x="4144" y="631"/>
                        </a:lnTo>
                        <a:lnTo>
                          <a:pt x="6202" y="1317"/>
                        </a:lnTo>
                        <a:lnTo>
                          <a:pt x="6093" y="4281"/>
                        </a:lnTo>
                        <a:lnTo>
                          <a:pt x="4144" y="3870"/>
                        </a:lnTo>
                        <a:lnTo>
                          <a:pt x="384" y="3129"/>
                        </a:lnTo>
                        <a:lnTo>
                          <a:pt x="0" y="115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8" name="Freeform: Shape 3477">
                    <a:extLst>
                      <a:ext uri="{FF2B5EF4-FFF2-40B4-BE49-F238E27FC236}">
                        <a16:creationId xmlns:a16="http://schemas.microsoft.com/office/drawing/2014/main" id="{00326EB1-BF9C-88EF-1AF9-BFF88E2500FB}"/>
                      </a:ext>
                    </a:extLst>
                  </p:cNvPr>
                  <p:cNvSpPr/>
                  <p:nvPr/>
                </p:nvSpPr>
                <p:spPr>
                  <a:xfrm>
                    <a:off x="-6589695" y="2916035"/>
                    <a:ext cx="125496" cy="188780"/>
                  </a:xfrm>
                  <a:custGeom>
                    <a:avLst/>
                    <a:gdLst>
                      <a:gd name="connsiteX0" fmla="*/ 95337 w 125496"/>
                      <a:gd name="connsiteY0" fmla="*/ 3568 h 188780"/>
                      <a:gd name="connsiteX1" fmla="*/ 89492 w 125496"/>
                      <a:gd name="connsiteY1" fmla="*/ 12871 h 188780"/>
                      <a:gd name="connsiteX2" fmla="*/ 79008 w 125496"/>
                      <a:gd name="connsiteY2" fmla="*/ 28843 h 188780"/>
                      <a:gd name="connsiteX3" fmla="*/ 72943 w 125496"/>
                      <a:gd name="connsiteY3" fmla="*/ 31614 h 188780"/>
                      <a:gd name="connsiteX4" fmla="*/ 76346 w 125496"/>
                      <a:gd name="connsiteY4" fmla="*/ 36307 h 188780"/>
                      <a:gd name="connsiteX5" fmla="*/ 67565 w 125496"/>
                      <a:gd name="connsiteY5" fmla="*/ 40177 h 188780"/>
                      <a:gd name="connsiteX6" fmla="*/ 63723 w 125496"/>
                      <a:gd name="connsiteY6" fmla="*/ 44622 h 188780"/>
                      <a:gd name="connsiteX7" fmla="*/ 64573 w 125496"/>
                      <a:gd name="connsiteY7" fmla="*/ 46379 h 188780"/>
                      <a:gd name="connsiteX8" fmla="*/ 72120 w 125496"/>
                      <a:gd name="connsiteY8" fmla="*/ 55545 h 188780"/>
                      <a:gd name="connsiteX9" fmla="*/ 79008 w 125496"/>
                      <a:gd name="connsiteY9" fmla="*/ 59634 h 188780"/>
                      <a:gd name="connsiteX10" fmla="*/ 88174 w 125496"/>
                      <a:gd name="connsiteY10" fmla="*/ 60347 h 188780"/>
                      <a:gd name="connsiteX11" fmla="*/ 92208 w 125496"/>
                      <a:gd name="connsiteY11" fmla="*/ 55078 h 188780"/>
                      <a:gd name="connsiteX12" fmla="*/ 91495 w 125496"/>
                      <a:gd name="connsiteY12" fmla="*/ 50001 h 188780"/>
                      <a:gd name="connsiteX13" fmla="*/ 96352 w 125496"/>
                      <a:gd name="connsiteY13" fmla="*/ 46544 h 188780"/>
                      <a:gd name="connsiteX14" fmla="*/ 101017 w 125496"/>
                      <a:gd name="connsiteY14" fmla="*/ 50385 h 188780"/>
                      <a:gd name="connsiteX15" fmla="*/ 103213 w 125496"/>
                      <a:gd name="connsiteY15" fmla="*/ 56286 h 188780"/>
                      <a:gd name="connsiteX16" fmla="*/ 107494 w 125496"/>
                      <a:gd name="connsiteY16" fmla="*/ 57960 h 188780"/>
                      <a:gd name="connsiteX17" fmla="*/ 107165 w 125496"/>
                      <a:gd name="connsiteY17" fmla="*/ 62405 h 188780"/>
                      <a:gd name="connsiteX18" fmla="*/ 108921 w 125496"/>
                      <a:gd name="connsiteY18" fmla="*/ 64738 h 188780"/>
                      <a:gd name="connsiteX19" fmla="*/ 118554 w 125496"/>
                      <a:gd name="connsiteY19" fmla="*/ 61829 h 188780"/>
                      <a:gd name="connsiteX20" fmla="*/ 120804 w 125496"/>
                      <a:gd name="connsiteY20" fmla="*/ 66138 h 188780"/>
                      <a:gd name="connsiteX21" fmla="*/ 115864 w 125496"/>
                      <a:gd name="connsiteY21" fmla="*/ 69513 h 188780"/>
                      <a:gd name="connsiteX22" fmla="*/ 118965 w 125496"/>
                      <a:gd name="connsiteY22" fmla="*/ 75660 h 188780"/>
                      <a:gd name="connsiteX23" fmla="*/ 120091 w 125496"/>
                      <a:gd name="connsiteY23" fmla="*/ 85238 h 188780"/>
                      <a:gd name="connsiteX24" fmla="*/ 123548 w 125496"/>
                      <a:gd name="connsiteY24" fmla="*/ 89300 h 188780"/>
                      <a:gd name="connsiteX25" fmla="*/ 121380 w 125496"/>
                      <a:gd name="connsiteY25" fmla="*/ 100249 h 188780"/>
                      <a:gd name="connsiteX26" fmla="*/ 123384 w 125496"/>
                      <a:gd name="connsiteY26" fmla="*/ 106095 h 188780"/>
                      <a:gd name="connsiteX27" fmla="*/ 125497 w 125496"/>
                      <a:gd name="connsiteY27" fmla="*/ 118526 h 188780"/>
                      <a:gd name="connsiteX28" fmla="*/ 122149 w 125496"/>
                      <a:gd name="connsiteY28" fmla="*/ 129174 h 188780"/>
                      <a:gd name="connsiteX29" fmla="*/ 117813 w 125496"/>
                      <a:gd name="connsiteY29" fmla="*/ 142319 h 188780"/>
                      <a:gd name="connsiteX30" fmla="*/ 116166 w 125496"/>
                      <a:gd name="connsiteY30" fmla="*/ 144927 h 188780"/>
                      <a:gd name="connsiteX31" fmla="*/ 115672 w 125496"/>
                      <a:gd name="connsiteY31" fmla="*/ 146792 h 188780"/>
                      <a:gd name="connsiteX32" fmla="*/ 113751 w 125496"/>
                      <a:gd name="connsiteY32" fmla="*/ 149262 h 188780"/>
                      <a:gd name="connsiteX33" fmla="*/ 116495 w 125496"/>
                      <a:gd name="connsiteY33" fmla="*/ 153324 h 188780"/>
                      <a:gd name="connsiteX34" fmla="*/ 115343 w 125496"/>
                      <a:gd name="connsiteY34" fmla="*/ 155904 h 188780"/>
                      <a:gd name="connsiteX35" fmla="*/ 98136 w 125496"/>
                      <a:gd name="connsiteY35" fmla="*/ 154422 h 188780"/>
                      <a:gd name="connsiteX36" fmla="*/ 96187 w 125496"/>
                      <a:gd name="connsiteY36" fmla="*/ 157852 h 188780"/>
                      <a:gd name="connsiteX37" fmla="*/ 84716 w 125496"/>
                      <a:gd name="connsiteY37" fmla="*/ 158703 h 188780"/>
                      <a:gd name="connsiteX38" fmla="*/ 80106 w 125496"/>
                      <a:gd name="connsiteY38" fmla="*/ 160789 h 188780"/>
                      <a:gd name="connsiteX39" fmla="*/ 78514 w 125496"/>
                      <a:gd name="connsiteY39" fmla="*/ 165289 h 188780"/>
                      <a:gd name="connsiteX40" fmla="*/ 72230 w 125496"/>
                      <a:gd name="connsiteY40" fmla="*/ 166881 h 188780"/>
                      <a:gd name="connsiteX41" fmla="*/ 47257 w 125496"/>
                      <a:gd name="connsiteY41" fmla="*/ 183484 h 188780"/>
                      <a:gd name="connsiteX42" fmla="*/ 28540 w 125496"/>
                      <a:gd name="connsiteY42" fmla="*/ 188780 h 188780"/>
                      <a:gd name="connsiteX43" fmla="*/ 20774 w 125496"/>
                      <a:gd name="connsiteY43" fmla="*/ 186255 h 188780"/>
                      <a:gd name="connsiteX44" fmla="*/ 18963 w 125496"/>
                      <a:gd name="connsiteY44" fmla="*/ 179999 h 188780"/>
                      <a:gd name="connsiteX45" fmla="*/ 8562 w 125496"/>
                      <a:gd name="connsiteY45" fmla="*/ 181618 h 188780"/>
                      <a:gd name="connsiteX46" fmla="*/ 8041 w 125496"/>
                      <a:gd name="connsiteY46" fmla="*/ 175580 h 188780"/>
                      <a:gd name="connsiteX47" fmla="*/ 192 w 125496"/>
                      <a:gd name="connsiteY47" fmla="*/ 171162 h 188780"/>
                      <a:gd name="connsiteX48" fmla="*/ 6915 w 125496"/>
                      <a:gd name="connsiteY48" fmla="*/ 160843 h 188780"/>
                      <a:gd name="connsiteX49" fmla="*/ 0 w 125496"/>
                      <a:gd name="connsiteY49" fmla="*/ 157743 h 188780"/>
                      <a:gd name="connsiteX50" fmla="*/ 219 w 125496"/>
                      <a:gd name="connsiteY50" fmla="*/ 154422 h 188780"/>
                      <a:gd name="connsiteX51" fmla="*/ 10648 w 125496"/>
                      <a:gd name="connsiteY51" fmla="*/ 151952 h 188780"/>
                      <a:gd name="connsiteX52" fmla="*/ 14792 w 125496"/>
                      <a:gd name="connsiteY52" fmla="*/ 142017 h 188780"/>
                      <a:gd name="connsiteX53" fmla="*/ 20582 w 125496"/>
                      <a:gd name="connsiteY53" fmla="*/ 138011 h 188780"/>
                      <a:gd name="connsiteX54" fmla="*/ 27416 w 125496"/>
                      <a:gd name="connsiteY54" fmla="*/ 137215 h 188780"/>
                      <a:gd name="connsiteX55" fmla="*/ 18798 w 125496"/>
                      <a:gd name="connsiteY55" fmla="*/ 133263 h 188780"/>
                      <a:gd name="connsiteX56" fmla="*/ 29364 w 125496"/>
                      <a:gd name="connsiteY56" fmla="*/ 112516 h 188780"/>
                      <a:gd name="connsiteX57" fmla="*/ 37871 w 125496"/>
                      <a:gd name="connsiteY57" fmla="*/ 109498 h 188780"/>
                      <a:gd name="connsiteX58" fmla="*/ 38036 w 125496"/>
                      <a:gd name="connsiteY58" fmla="*/ 106451 h 188780"/>
                      <a:gd name="connsiteX59" fmla="*/ 36746 w 125496"/>
                      <a:gd name="connsiteY59" fmla="*/ 103625 h 188780"/>
                      <a:gd name="connsiteX60" fmla="*/ 17152 w 125496"/>
                      <a:gd name="connsiteY60" fmla="*/ 104338 h 188780"/>
                      <a:gd name="connsiteX61" fmla="*/ 13200 w 125496"/>
                      <a:gd name="connsiteY61" fmla="*/ 100990 h 188780"/>
                      <a:gd name="connsiteX62" fmla="*/ 12404 w 125496"/>
                      <a:gd name="connsiteY62" fmla="*/ 96517 h 188780"/>
                      <a:gd name="connsiteX63" fmla="*/ 6202 w 125496"/>
                      <a:gd name="connsiteY63" fmla="*/ 95666 h 188780"/>
                      <a:gd name="connsiteX64" fmla="*/ 4665 w 125496"/>
                      <a:gd name="connsiteY64" fmla="*/ 91907 h 188780"/>
                      <a:gd name="connsiteX65" fmla="*/ 6696 w 125496"/>
                      <a:gd name="connsiteY65" fmla="*/ 87653 h 188780"/>
                      <a:gd name="connsiteX66" fmla="*/ 11389 w 125496"/>
                      <a:gd name="connsiteY66" fmla="*/ 85814 h 188780"/>
                      <a:gd name="connsiteX67" fmla="*/ 11993 w 125496"/>
                      <a:gd name="connsiteY67" fmla="*/ 79283 h 188780"/>
                      <a:gd name="connsiteX68" fmla="*/ 18002 w 125496"/>
                      <a:gd name="connsiteY68" fmla="*/ 75523 h 188780"/>
                      <a:gd name="connsiteX69" fmla="*/ 16603 w 125496"/>
                      <a:gd name="connsiteY69" fmla="*/ 72614 h 188780"/>
                      <a:gd name="connsiteX70" fmla="*/ 10511 w 125496"/>
                      <a:gd name="connsiteY70" fmla="*/ 72889 h 188780"/>
                      <a:gd name="connsiteX71" fmla="*/ 6861 w 125496"/>
                      <a:gd name="connsiteY71" fmla="*/ 68937 h 188780"/>
                      <a:gd name="connsiteX72" fmla="*/ 7547 w 125496"/>
                      <a:gd name="connsiteY72" fmla="*/ 66906 h 188780"/>
                      <a:gd name="connsiteX73" fmla="*/ 12486 w 125496"/>
                      <a:gd name="connsiteY73" fmla="*/ 67290 h 188780"/>
                      <a:gd name="connsiteX74" fmla="*/ 9742 w 125496"/>
                      <a:gd name="connsiteY74" fmla="*/ 57191 h 188780"/>
                      <a:gd name="connsiteX75" fmla="*/ 7025 w 125496"/>
                      <a:gd name="connsiteY75" fmla="*/ 56011 h 188780"/>
                      <a:gd name="connsiteX76" fmla="*/ 7519 w 125496"/>
                      <a:gd name="connsiteY76" fmla="*/ 53926 h 188780"/>
                      <a:gd name="connsiteX77" fmla="*/ 17673 w 125496"/>
                      <a:gd name="connsiteY77" fmla="*/ 50770 h 188780"/>
                      <a:gd name="connsiteX78" fmla="*/ 27854 w 125496"/>
                      <a:gd name="connsiteY78" fmla="*/ 51291 h 188780"/>
                      <a:gd name="connsiteX79" fmla="*/ 34221 w 125496"/>
                      <a:gd name="connsiteY79" fmla="*/ 58810 h 188780"/>
                      <a:gd name="connsiteX80" fmla="*/ 38695 w 125496"/>
                      <a:gd name="connsiteY80" fmla="*/ 53349 h 188780"/>
                      <a:gd name="connsiteX81" fmla="*/ 47943 w 125496"/>
                      <a:gd name="connsiteY81" fmla="*/ 52718 h 188780"/>
                      <a:gd name="connsiteX82" fmla="*/ 50248 w 125496"/>
                      <a:gd name="connsiteY82" fmla="*/ 47614 h 188780"/>
                      <a:gd name="connsiteX83" fmla="*/ 59524 w 125496"/>
                      <a:gd name="connsiteY83" fmla="*/ 39683 h 188780"/>
                      <a:gd name="connsiteX84" fmla="*/ 59167 w 125496"/>
                      <a:gd name="connsiteY84" fmla="*/ 36307 h 188780"/>
                      <a:gd name="connsiteX85" fmla="*/ 49123 w 125496"/>
                      <a:gd name="connsiteY85" fmla="*/ 35374 h 188780"/>
                      <a:gd name="connsiteX86" fmla="*/ 45473 w 125496"/>
                      <a:gd name="connsiteY86" fmla="*/ 32273 h 188780"/>
                      <a:gd name="connsiteX87" fmla="*/ 53816 w 125496"/>
                      <a:gd name="connsiteY87" fmla="*/ 24205 h 188780"/>
                      <a:gd name="connsiteX88" fmla="*/ 55160 w 125496"/>
                      <a:gd name="connsiteY88" fmla="*/ 16274 h 188780"/>
                      <a:gd name="connsiteX89" fmla="*/ 59277 w 125496"/>
                      <a:gd name="connsiteY89" fmla="*/ 9825 h 188780"/>
                      <a:gd name="connsiteX90" fmla="*/ 76868 w 125496"/>
                      <a:gd name="connsiteY90" fmla="*/ 4418 h 188780"/>
                      <a:gd name="connsiteX91" fmla="*/ 81423 w 125496"/>
                      <a:gd name="connsiteY91" fmla="*/ 12597 h 188780"/>
                      <a:gd name="connsiteX92" fmla="*/ 82768 w 125496"/>
                      <a:gd name="connsiteY92" fmla="*/ 3623 h 188780"/>
                      <a:gd name="connsiteX93" fmla="*/ 85841 w 125496"/>
                      <a:gd name="connsiteY93" fmla="*/ 0 h 188780"/>
                      <a:gd name="connsiteX94" fmla="*/ 95227 w 125496"/>
                      <a:gd name="connsiteY94" fmla="*/ 3513 h 18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25496" h="188780">
                        <a:moveTo>
                          <a:pt x="95337" y="3568"/>
                        </a:moveTo>
                        <a:lnTo>
                          <a:pt x="89492" y="12871"/>
                        </a:lnTo>
                        <a:lnTo>
                          <a:pt x="79008" y="28843"/>
                        </a:lnTo>
                        <a:lnTo>
                          <a:pt x="72943" y="31614"/>
                        </a:lnTo>
                        <a:lnTo>
                          <a:pt x="76346" y="36307"/>
                        </a:lnTo>
                        <a:lnTo>
                          <a:pt x="67565" y="40177"/>
                        </a:lnTo>
                        <a:lnTo>
                          <a:pt x="63723" y="44622"/>
                        </a:lnTo>
                        <a:lnTo>
                          <a:pt x="64573" y="46379"/>
                        </a:lnTo>
                        <a:lnTo>
                          <a:pt x="72120" y="55545"/>
                        </a:lnTo>
                        <a:lnTo>
                          <a:pt x="79008" y="59634"/>
                        </a:lnTo>
                        <a:lnTo>
                          <a:pt x="88174" y="60347"/>
                        </a:lnTo>
                        <a:lnTo>
                          <a:pt x="92208" y="55078"/>
                        </a:lnTo>
                        <a:lnTo>
                          <a:pt x="91495" y="50001"/>
                        </a:lnTo>
                        <a:lnTo>
                          <a:pt x="96352" y="46544"/>
                        </a:lnTo>
                        <a:lnTo>
                          <a:pt x="101017" y="50385"/>
                        </a:lnTo>
                        <a:lnTo>
                          <a:pt x="103213" y="56286"/>
                        </a:lnTo>
                        <a:lnTo>
                          <a:pt x="107494" y="57960"/>
                        </a:lnTo>
                        <a:lnTo>
                          <a:pt x="107165" y="62405"/>
                        </a:lnTo>
                        <a:lnTo>
                          <a:pt x="108921" y="64738"/>
                        </a:lnTo>
                        <a:lnTo>
                          <a:pt x="118554" y="61829"/>
                        </a:lnTo>
                        <a:lnTo>
                          <a:pt x="120804" y="66138"/>
                        </a:lnTo>
                        <a:lnTo>
                          <a:pt x="115864" y="69513"/>
                        </a:lnTo>
                        <a:lnTo>
                          <a:pt x="118965" y="75660"/>
                        </a:lnTo>
                        <a:lnTo>
                          <a:pt x="120091" y="85238"/>
                        </a:lnTo>
                        <a:lnTo>
                          <a:pt x="123548" y="89300"/>
                        </a:lnTo>
                        <a:lnTo>
                          <a:pt x="121380" y="100249"/>
                        </a:lnTo>
                        <a:lnTo>
                          <a:pt x="123384" y="106095"/>
                        </a:lnTo>
                        <a:lnTo>
                          <a:pt x="125497" y="118526"/>
                        </a:lnTo>
                        <a:lnTo>
                          <a:pt x="122149" y="129174"/>
                        </a:lnTo>
                        <a:lnTo>
                          <a:pt x="117813" y="142319"/>
                        </a:lnTo>
                        <a:lnTo>
                          <a:pt x="116166" y="144927"/>
                        </a:lnTo>
                        <a:lnTo>
                          <a:pt x="115672" y="146792"/>
                        </a:lnTo>
                        <a:lnTo>
                          <a:pt x="113751" y="149262"/>
                        </a:lnTo>
                        <a:lnTo>
                          <a:pt x="116495" y="153324"/>
                        </a:lnTo>
                        <a:lnTo>
                          <a:pt x="115343" y="155904"/>
                        </a:lnTo>
                        <a:lnTo>
                          <a:pt x="98136" y="154422"/>
                        </a:lnTo>
                        <a:lnTo>
                          <a:pt x="96187" y="157852"/>
                        </a:lnTo>
                        <a:lnTo>
                          <a:pt x="84716" y="158703"/>
                        </a:lnTo>
                        <a:lnTo>
                          <a:pt x="80106" y="160789"/>
                        </a:lnTo>
                        <a:lnTo>
                          <a:pt x="78514" y="165289"/>
                        </a:lnTo>
                        <a:lnTo>
                          <a:pt x="72230" y="166881"/>
                        </a:lnTo>
                        <a:lnTo>
                          <a:pt x="47257" y="183484"/>
                        </a:lnTo>
                        <a:lnTo>
                          <a:pt x="28540" y="188780"/>
                        </a:lnTo>
                        <a:lnTo>
                          <a:pt x="20774" y="186255"/>
                        </a:lnTo>
                        <a:lnTo>
                          <a:pt x="18963" y="179999"/>
                        </a:lnTo>
                        <a:lnTo>
                          <a:pt x="8562" y="181618"/>
                        </a:lnTo>
                        <a:lnTo>
                          <a:pt x="8041" y="175580"/>
                        </a:lnTo>
                        <a:lnTo>
                          <a:pt x="192" y="171162"/>
                        </a:lnTo>
                        <a:lnTo>
                          <a:pt x="6915" y="160843"/>
                        </a:lnTo>
                        <a:lnTo>
                          <a:pt x="0" y="157743"/>
                        </a:lnTo>
                        <a:lnTo>
                          <a:pt x="219" y="154422"/>
                        </a:lnTo>
                        <a:lnTo>
                          <a:pt x="10648" y="151952"/>
                        </a:lnTo>
                        <a:lnTo>
                          <a:pt x="14792" y="142017"/>
                        </a:lnTo>
                        <a:lnTo>
                          <a:pt x="20582" y="138011"/>
                        </a:lnTo>
                        <a:lnTo>
                          <a:pt x="27416" y="137215"/>
                        </a:lnTo>
                        <a:lnTo>
                          <a:pt x="18798" y="133263"/>
                        </a:lnTo>
                        <a:lnTo>
                          <a:pt x="29364" y="112516"/>
                        </a:lnTo>
                        <a:lnTo>
                          <a:pt x="37871" y="109498"/>
                        </a:lnTo>
                        <a:lnTo>
                          <a:pt x="38036" y="106451"/>
                        </a:lnTo>
                        <a:lnTo>
                          <a:pt x="36746" y="103625"/>
                        </a:lnTo>
                        <a:lnTo>
                          <a:pt x="17152" y="104338"/>
                        </a:lnTo>
                        <a:lnTo>
                          <a:pt x="13200" y="100990"/>
                        </a:lnTo>
                        <a:lnTo>
                          <a:pt x="12404" y="96517"/>
                        </a:lnTo>
                        <a:lnTo>
                          <a:pt x="6202" y="95666"/>
                        </a:lnTo>
                        <a:lnTo>
                          <a:pt x="4665" y="91907"/>
                        </a:lnTo>
                        <a:lnTo>
                          <a:pt x="6696" y="87653"/>
                        </a:lnTo>
                        <a:lnTo>
                          <a:pt x="11389" y="85814"/>
                        </a:lnTo>
                        <a:lnTo>
                          <a:pt x="11993" y="79283"/>
                        </a:lnTo>
                        <a:lnTo>
                          <a:pt x="18002" y="75523"/>
                        </a:lnTo>
                        <a:lnTo>
                          <a:pt x="16603" y="72614"/>
                        </a:lnTo>
                        <a:lnTo>
                          <a:pt x="10511" y="72889"/>
                        </a:lnTo>
                        <a:lnTo>
                          <a:pt x="6861" y="68937"/>
                        </a:lnTo>
                        <a:lnTo>
                          <a:pt x="7547" y="66906"/>
                        </a:lnTo>
                        <a:lnTo>
                          <a:pt x="12486" y="67290"/>
                        </a:lnTo>
                        <a:lnTo>
                          <a:pt x="9742" y="57191"/>
                        </a:lnTo>
                        <a:lnTo>
                          <a:pt x="7025" y="56011"/>
                        </a:lnTo>
                        <a:lnTo>
                          <a:pt x="7519" y="53926"/>
                        </a:lnTo>
                        <a:lnTo>
                          <a:pt x="17673" y="50770"/>
                        </a:lnTo>
                        <a:lnTo>
                          <a:pt x="27854" y="51291"/>
                        </a:lnTo>
                        <a:lnTo>
                          <a:pt x="34221" y="58810"/>
                        </a:lnTo>
                        <a:lnTo>
                          <a:pt x="38695" y="53349"/>
                        </a:lnTo>
                        <a:lnTo>
                          <a:pt x="47943" y="52718"/>
                        </a:lnTo>
                        <a:lnTo>
                          <a:pt x="50248" y="47614"/>
                        </a:lnTo>
                        <a:lnTo>
                          <a:pt x="59524" y="39683"/>
                        </a:lnTo>
                        <a:lnTo>
                          <a:pt x="59167" y="36307"/>
                        </a:lnTo>
                        <a:lnTo>
                          <a:pt x="49123" y="35374"/>
                        </a:lnTo>
                        <a:lnTo>
                          <a:pt x="45473" y="32273"/>
                        </a:lnTo>
                        <a:lnTo>
                          <a:pt x="53816" y="24205"/>
                        </a:lnTo>
                        <a:lnTo>
                          <a:pt x="55160" y="16274"/>
                        </a:lnTo>
                        <a:lnTo>
                          <a:pt x="59277" y="9825"/>
                        </a:lnTo>
                        <a:lnTo>
                          <a:pt x="76868" y="4418"/>
                        </a:lnTo>
                        <a:lnTo>
                          <a:pt x="81423" y="12597"/>
                        </a:lnTo>
                        <a:lnTo>
                          <a:pt x="82768" y="3623"/>
                        </a:lnTo>
                        <a:lnTo>
                          <a:pt x="85841" y="0"/>
                        </a:lnTo>
                        <a:lnTo>
                          <a:pt x="95227" y="351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79" name="Freeform: Shape 3478">
                    <a:extLst>
                      <a:ext uri="{FF2B5EF4-FFF2-40B4-BE49-F238E27FC236}">
                        <a16:creationId xmlns:a16="http://schemas.microsoft.com/office/drawing/2014/main" id="{14544648-4B06-B020-E4E4-5742E213BC58}"/>
                      </a:ext>
                    </a:extLst>
                  </p:cNvPr>
                  <p:cNvSpPr/>
                  <p:nvPr/>
                </p:nvSpPr>
                <p:spPr>
                  <a:xfrm>
                    <a:off x="-6539831" y="2929372"/>
                    <a:ext cx="3979" cy="6092"/>
                  </a:xfrm>
                  <a:custGeom>
                    <a:avLst/>
                    <a:gdLst>
                      <a:gd name="connsiteX0" fmla="*/ 3979 w 3979"/>
                      <a:gd name="connsiteY0" fmla="*/ 3266 h 6092"/>
                      <a:gd name="connsiteX1" fmla="*/ 1647 w 3979"/>
                      <a:gd name="connsiteY1" fmla="*/ 6093 h 6092"/>
                      <a:gd name="connsiteX2" fmla="*/ 0 w 3979"/>
                      <a:gd name="connsiteY2" fmla="*/ 823 h 6092"/>
                      <a:gd name="connsiteX3" fmla="*/ 1729 w 3979"/>
                      <a:gd name="connsiteY3" fmla="*/ 0 h 6092"/>
                      <a:gd name="connsiteX4" fmla="*/ 3979 w 3979"/>
                      <a:gd name="connsiteY4" fmla="*/ 3266 h 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 h="6092">
                        <a:moveTo>
                          <a:pt x="3979" y="3266"/>
                        </a:moveTo>
                        <a:lnTo>
                          <a:pt x="1647" y="6093"/>
                        </a:lnTo>
                        <a:lnTo>
                          <a:pt x="0" y="823"/>
                        </a:lnTo>
                        <a:lnTo>
                          <a:pt x="1729" y="0"/>
                        </a:lnTo>
                        <a:lnTo>
                          <a:pt x="3979" y="326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0" name="Freeform: Shape 3479">
                    <a:extLst>
                      <a:ext uri="{FF2B5EF4-FFF2-40B4-BE49-F238E27FC236}">
                        <a16:creationId xmlns:a16="http://schemas.microsoft.com/office/drawing/2014/main" id="{59300D26-9709-1241-C66A-D877DB30AE49}"/>
                      </a:ext>
                    </a:extLst>
                  </p:cNvPr>
                  <p:cNvSpPr/>
                  <p:nvPr/>
                </p:nvSpPr>
                <p:spPr>
                  <a:xfrm>
                    <a:off x="-6587499" y="2980828"/>
                    <a:ext cx="3128" cy="5790"/>
                  </a:xfrm>
                  <a:custGeom>
                    <a:avLst/>
                    <a:gdLst>
                      <a:gd name="connsiteX0" fmla="*/ 3129 w 3128"/>
                      <a:gd name="connsiteY0" fmla="*/ 659 h 5790"/>
                      <a:gd name="connsiteX1" fmla="*/ 2635 w 3128"/>
                      <a:gd name="connsiteY1" fmla="*/ 5791 h 5790"/>
                      <a:gd name="connsiteX2" fmla="*/ 0 w 3128"/>
                      <a:gd name="connsiteY2" fmla="*/ 3129 h 5790"/>
                      <a:gd name="connsiteX3" fmla="*/ 302 w 3128"/>
                      <a:gd name="connsiteY3" fmla="*/ 0 h 5790"/>
                      <a:gd name="connsiteX4" fmla="*/ 3129 w 3128"/>
                      <a:gd name="connsiteY4" fmla="*/ 659 h 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8" h="5790">
                        <a:moveTo>
                          <a:pt x="3129" y="659"/>
                        </a:moveTo>
                        <a:lnTo>
                          <a:pt x="2635" y="5791"/>
                        </a:lnTo>
                        <a:lnTo>
                          <a:pt x="0" y="3129"/>
                        </a:lnTo>
                        <a:lnTo>
                          <a:pt x="302" y="0"/>
                        </a:lnTo>
                        <a:lnTo>
                          <a:pt x="3129" y="65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1" name="Freeform: Shape 3480">
                    <a:extLst>
                      <a:ext uri="{FF2B5EF4-FFF2-40B4-BE49-F238E27FC236}">
                        <a16:creationId xmlns:a16="http://schemas.microsoft.com/office/drawing/2014/main" id="{C088E3A8-B629-965E-7340-FC7708EA47CB}"/>
                      </a:ext>
                    </a:extLst>
                  </p:cNvPr>
                  <p:cNvSpPr/>
                  <p:nvPr/>
                </p:nvSpPr>
                <p:spPr>
                  <a:xfrm>
                    <a:off x="-6575507" y="3102785"/>
                    <a:ext cx="3897" cy="4280"/>
                  </a:xfrm>
                  <a:custGeom>
                    <a:avLst/>
                    <a:gdLst>
                      <a:gd name="connsiteX0" fmla="*/ 3897 w 3897"/>
                      <a:gd name="connsiteY0" fmla="*/ 3156 h 4280"/>
                      <a:gd name="connsiteX1" fmla="*/ 1400 w 3897"/>
                      <a:gd name="connsiteY1" fmla="*/ 4281 h 4280"/>
                      <a:gd name="connsiteX2" fmla="*/ 0 w 3897"/>
                      <a:gd name="connsiteY2" fmla="*/ 2525 h 4280"/>
                      <a:gd name="connsiteX3" fmla="*/ 1756 w 3897"/>
                      <a:gd name="connsiteY3" fmla="*/ 0 h 4280"/>
                      <a:gd name="connsiteX4" fmla="*/ 3595 w 3897"/>
                      <a:gd name="connsiteY4" fmla="*/ 82 h 4280"/>
                      <a:gd name="connsiteX5" fmla="*/ 3897 w 3897"/>
                      <a:gd name="connsiteY5" fmla="*/ 3129 h 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7" h="4280">
                        <a:moveTo>
                          <a:pt x="3897" y="3156"/>
                        </a:moveTo>
                        <a:lnTo>
                          <a:pt x="1400" y="4281"/>
                        </a:lnTo>
                        <a:lnTo>
                          <a:pt x="0" y="2525"/>
                        </a:lnTo>
                        <a:lnTo>
                          <a:pt x="1756" y="0"/>
                        </a:lnTo>
                        <a:lnTo>
                          <a:pt x="3595" y="82"/>
                        </a:lnTo>
                        <a:lnTo>
                          <a:pt x="3897" y="312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2" name="Freeform: Shape 3481">
                    <a:extLst>
                      <a:ext uri="{FF2B5EF4-FFF2-40B4-BE49-F238E27FC236}">
                        <a16:creationId xmlns:a16="http://schemas.microsoft.com/office/drawing/2014/main" id="{8B80843C-29F9-8F8F-F069-494181B2CE2B}"/>
                      </a:ext>
                    </a:extLst>
                  </p:cNvPr>
                  <p:cNvSpPr/>
                  <p:nvPr/>
                </p:nvSpPr>
                <p:spPr>
                  <a:xfrm>
                    <a:off x="-6426711" y="2961920"/>
                    <a:ext cx="12953" cy="18002"/>
                  </a:xfrm>
                  <a:custGeom>
                    <a:avLst/>
                    <a:gdLst>
                      <a:gd name="connsiteX0" fmla="*/ 27 w 12953"/>
                      <a:gd name="connsiteY0" fmla="*/ 16191 h 18002"/>
                      <a:gd name="connsiteX1" fmla="*/ 1125 w 12953"/>
                      <a:gd name="connsiteY1" fmla="*/ 10456 h 18002"/>
                      <a:gd name="connsiteX2" fmla="*/ 4253 w 12953"/>
                      <a:gd name="connsiteY2" fmla="*/ 7519 h 18002"/>
                      <a:gd name="connsiteX3" fmla="*/ 6559 w 12953"/>
                      <a:gd name="connsiteY3" fmla="*/ 2470 h 18002"/>
                      <a:gd name="connsiteX4" fmla="*/ 11581 w 12953"/>
                      <a:gd name="connsiteY4" fmla="*/ 0 h 18002"/>
                      <a:gd name="connsiteX5" fmla="*/ 11004 w 12953"/>
                      <a:gd name="connsiteY5" fmla="*/ 3677 h 18002"/>
                      <a:gd name="connsiteX6" fmla="*/ 12953 w 12953"/>
                      <a:gd name="connsiteY6" fmla="*/ 5818 h 18002"/>
                      <a:gd name="connsiteX7" fmla="*/ 8507 w 12953"/>
                      <a:gd name="connsiteY7" fmla="*/ 13968 h 18002"/>
                      <a:gd name="connsiteX8" fmla="*/ 2497 w 12953"/>
                      <a:gd name="connsiteY8" fmla="*/ 18002 h 18002"/>
                      <a:gd name="connsiteX9" fmla="*/ 0 w 12953"/>
                      <a:gd name="connsiteY9" fmla="*/ 16164 h 1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53" h="18002">
                        <a:moveTo>
                          <a:pt x="27" y="16191"/>
                        </a:moveTo>
                        <a:lnTo>
                          <a:pt x="1125" y="10456"/>
                        </a:lnTo>
                        <a:lnTo>
                          <a:pt x="4253" y="7519"/>
                        </a:lnTo>
                        <a:lnTo>
                          <a:pt x="6559" y="2470"/>
                        </a:lnTo>
                        <a:lnTo>
                          <a:pt x="11581" y="0"/>
                        </a:lnTo>
                        <a:lnTo>
                          <a:pt x="11004" y="3677"/>
                        </a:lnTo>
                        <a:lnTo>
                          <a:pt x="12953" y="5818"/>
                        </a:lnTo>
                        <a:lnTo>
                          <a:pt x="8507" y="13968"/>
                        </a:lnTo>
                        <a:lnTo>
                          <a:pt x="2497" y="18002"/>
                        </a:lnTo>
                        <a:lnTo>
                          <a:pt x="0" y="1616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3" name="Freeform: Shape 3482">
                    <a:extLst>
                      <a:ext uri="{FF2B5EF4-FFF2-40B4-BE49-F238E27FC236}">
                        <a16:creationId xmlns:a16="http://schemas.microsoft.com/office/drawing/2014/main" id="{1D49EA68-EB8C-D525-DCEF-3D692D3855A6}"/>
                      </a:ext>
                    </a:extLst>
                  </p:cNvPr>
                  <p:cNvSpPr/>
                  <p:nvPr/>
                </p:nvSpPr>
                <p:spPr>
                  <a:xfrm>
                    <a:off x="-6008068" y="3295791"/>
                    <a:ext cx="4253" cy="9495"/>
                  </a:xfrm>
                  <a:custGeom>
                    <a:avLst/>
                    <a:gdLst>
                      <a:gd name="connsiteX0" fmla="*/ 0 w 4253"/>
                      <a:gd name="connsiteY0" fmla="*/ 9468 h 9495"/>
                      <a:gd name="connsiteX1" fmla="*/ 1592 w 4253"/>
                      <a:gd name="connsiteY1" fmla="*/ 0 h 9495"/>
                      <a:gd name="connsiteX2" fmla="*/ 4254 w 4253"/>
                      <a:gd name="connsiteY2" fmla="*/ 5159 h 9495"/>
                      <a:gd name="connsiteX3" fmla="*/ 3842 w 4253"/>
                      <a:gd name="connsiteY3" fmla="*/ 9084 h 9495"/>
                      <a:gd name="connsiteX4" fmla="*/ 0 w 4253"/>
                      <a:gd name="connsiteY4" fmla="*/ 9495 h 9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9495">
                        <a:moveTo>
                          <a:pt x="0" y="9468"/>
                        </a:moveTo>
                        <a:lnTo>
                          <a:pt x="1592" y="0"/>
                        </a:lnTo>
                        <a:lnTo>
                          <a:pt x="4254" y="5159"/>
                        </a:lnTo>
                        <a:lnTo>
                          <a:pt x="3842" y="9084"/>
                        </a:lnTo>
                        <a:lnTo>
                          <a:pt x="0" y="949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4" name="Freeform: Shape 3483">
                    <a:extLst>
                      <a:ext uri="{FF2B5EF4-FFF2-40B4-BE49-F238E27FC236}">
                        <a16:creationId xmlns:a16="http://schemas.microsoft.com/office/drawing/2014/main" id="{A52F031C-EEA7-9436-F069-91ABD95F7042}"/>
                      </a:ext>
                    </a:extLst>
                  </p:cNvPr>
                  <p:cNvSpPr/>
                  <p:nvPr/>
                </p:nvSpPr>
                <p:spPr>
                  <a:xfrm>
                    <a:off x="-6181728" y="3009753"/>
                    <a:ext cx="107219" cy="129613"/>
                  </a:xfrm>
                  <a:custGeom>
                    <a:avLst/>
                    <a:gdLst>
                      <a:gd name="connsiteX0" fmla="*/ 97121 w 107219"/>
                      <a:gd name="connsiteY0" fmla="*/ 2662 h 129613"/>
                      <a:gd name="connsiteX1" fmla="*/ 98493 w 107219"/>
                      <a:gd name="connsiteY1" fmla="*/ 6092 h 129613"/>
                      <a:gd name="connsiteX2" fmla="*/ 103021 w 107219"/>
                      <a:gd name="connsiteY2" fmla="*/ 8041 h 129613"/>
                      <a:gd name="connsiteX3" fmla="*/ 103543 w 107219"/>
                      <a:gd name="connsiteY3" fmla="*/ 10072 h 129613"/>
                      <a:gd name="connsiteX4" fmla="*/ 106946 w 107219"/>
                      <a:gd name="connsiteY4" fmla="*/ 10758 h 129613"/>
                      <a:gd name="connsiteX5" fmla="*/ 107220 w 107219"/>
                      <a:gd name="connsiteY5" fmla="*/ 12789 h 129613"/>
                      <a:gd name="connsiteX6" fmla="*/ 106781 w 107219"/>
                      <a:gd name="connsiteY6" fmla="*/ 17097 h 129613"/>
                      <a:gd name="connsiteX7" fmla="*/ 106589 w 107219"/>
                      <a:gd name="connsiteY7" fmla="*/ 23546 h 129613"/>
                      <a:gd name="connsiteX8" fmla="*/ 103515 w 107219"/>
                      <a:gd name="connsiteY8" fmla="*/ 30517 h 129613"/>
                      <a:gd name="connsiteX9" fmla="*/ 100963 w 107219"/>
                      <a:gd name="connsiteY9" fmla="*/ 40204 h 129613"/>
                      <a:gd name="connsiteX10" fmla="*/ 92236 w 107219"/>
                      <a:gd name="connsiteY10" fmla="*/ 40753 h 129613"/>
                      <a:gd name="connsiteX11" fmla="*/ 91879 w 107219"/>
                      <a:gd name="connsiteY11" fmla="*/ 47586 h 129613"/>
                      <a:gd name="connsiteX12" fmla="*/ 101045 w 107219"/>
                      <a:gd name="connsiteY12" fmla="*/ 49864 h 129613"/>
                      <a:gd name="connsiteX13" fmla="*/ 102719 w 107219"/>
                      <a:gd name="connsiteY13" fmla="*/ 59387 h 129613"/>
                      <a:gd name="connsiteX14" fmla="*/ 93718 w 107219"/>
                      <a:gd name="connsiteY14" fmla="*/ 65259 h 129613"/>
                      <a:gd name="connsiteX15" fmla="*/ 92867 w 107219"/>
                      <a:gd name="connsiteY15" fmla="*/ 68498 h 129613"/>
                      <a:gd name="connsiteX16" fmla="*/ 94267 w 107219"/>
                      <a:gd name="connsiteY16" fmla="*/ 73959 h 129613"/>
                      <a:gd name="connsiteX17" fmla="*/ 83372 w 107219"/>
                      <a:gd name="connsiteY17" fmla="*/ 79145 h 129613"/>
                      <a:gd name="connsiteX18" fmla="*/ 76319 w 107219"/>
                      <a:gd name="connsiteY18" fmla="*/ 75688 h 129613"/>
                      <a:gd name="connsiteX19" fmla="*/ 71544 w 107219"/>
                      <a:gd name="connsiteY19" fmla="*/ 78981 h 129613"/>
                      <a:gd name="connsiteX20" fmla="*/ 70007 w 107219"/>
                      <a:gd name="connsiteY20" fmla="*/ 82960 h 129613"/>
                      <a:gd name="connsiteX21" fmla="*/ 77115 w 107219"/>
                      <a:gd name="connsiteY21" fmla="*/ 93800 h 129613"/>
                      <a:gd name="connsiteX22" fmla="*/ 77966 w 107219"/>
                      <a:gd name="connsiteY22" fmla="*/ 101073 h 129613"/>
                      <a:gd name="connsiteX23" fmla="*/ 73492 w 107219"/>
                      <a:gd name="connsiteY23" fmla="*/ 106808 h 129613"/>
                      <a:gd name="connsiteX24" fmla="*/ 76511 w 107219"/>
                      <a:gd name="connsiteY24" fmla="*/ 109552 h 129613"/>
                      <a:gd name="connsiteX25" fmla="*/ 67757 w 107219"/>
                      <a:gd name="connsiteY25" fmla="*/ 116688 h 129613"/>
                      <a:gd name="connsiteX26" fmla="*/ 73932 w 107219"/>
                      <a:gd name="connsiteY26" fmla="*/ 122231 h 129613"/>
                      <a:gd name="connsiteX27" fmla="*/ 72010 w 107219"/>
                      <a:gd name="connsiteY27" fmla="*/ 129613 h 129613"/>
                      <a:gd name="connsiteX28" fmla="*/ 68223 w 107219"/>
                      <a:gd name="connsiteY28" fmla="*/ 129613 h 129613"/>
                      <a:gd name="connsiteX29" fmla="*/ 64738 w 107219"/>
                      <a:gd name="connsiteY29" fmla="*/ 128680 h 129613"/>
                      <a:gd name="connsiteX30" fmla="*/ 62021 w 107219"/>
                      <a:gd name="connsiteY30" fmla="*/ 129476 h 129613"/>
                      <a:gd name="connsiteX31" fmla="*/ 62213 w 107219"/>
                      <a:gd name="connsiteY31" fmla="*/ 126924 h 129613"/>
                      <a:gd name="connsiteX32" fmla="*/ 61665 w 107219"/>
                      <a:gd name="connsiteY32" fmla="*/ 124042 h 129613"/>
                      <a:gd name="connsiteX33" fmla="*/ 64518 w 107219"/>
                      <a:gd name="connsiteY33" fmla="*/ 117730 h 129613"/>
                      <a:gd name="connsiteX34" fmla="*/ 65452 w 107219"/>
                      <a:gd name="connsiteY34" fmla="*/ 115343 h 129613"/>
                      <a:gd name="connsiteX35" fmla="*/ 65205 w 107219"/>
                      <a:gd name="connsiteY35" fmla="*/ 110568 h 129613"/>
                      <a:gd name="connsiteX36" fmla="*/ 58618 w 107219"/>
                      <a:gd name="connsiteY36" fmla="*/ 107796 h 129613"/>
                      <a:gd name="connsiteX37" fmla="*/ 56670 w 107219"/>
                      <a:gd name="connsiteY37" fmla="*/ 104750 h 129613"/>
                      <a:gd name="connsiteX38" fmla="*/ 48959 w 107219"/>
                      <a:gd name="connsiteY38" fmla="*/ 105875 h 129613"/>
                      <a:gd name="connsiteX39" fmla="*/ 45226 w 107219"/>
                      <a:gd name="connsiteY39" fmla="*/ 101786 h 129613"/>
                      <a:gd name="connsiteX40" fmla="*/ 44952 w 107219"/>
                      <a:gd name="connsiteY40" fmla="*/ 97972 h 129613"/>
                      <a:gd name="connsiteX41" fmla="*/ 43141 w 107219"/>
                      <a:gd name="connsiteY41" fmla="*/ 96188 h 129613"/>
                      <a:gd name="connsiteX42" fmla="*/ 37926 w 107219"/>
                      <a:gd name="connsiteY42" fmla="*/ 97752 h 129613"/>
                      <a:gd name="connsiteX43" fmla="*/ 34880 w 107219"/>
                      <a:gd name="connsiteY43" fmla="*/ 94514 h 129613"/>
                      <a:gd name="connsiteX44" fmla="*/ 32218 w 107219"/>
                      <a:gd name="connsiteY44" fmla="*/ 98109 h 129613"/>
                      <a:gd name="connsiteX45" fmla="*/ 26922 w 107219"/>
                      <a:gd name="connsiteY45" fmla="*/ 96050 h 129613"/>
                      <a:gd name="connsiteX46" fmla="*/ 24562 w 107219"/>
                      <a:gd name="connsiteY46" fmla="*/ 97148 h 129613"/>
                      <a:gd name="connsiteX47" fmla="*/ 24013 w 107219"/>
                      <a:gd name="connsiteY47" fmla="*/ 100935 h 129613"/>
                      <a:gd name="connsiteX48" fmla="*/ 20747 w 107219"/>
                      <a:gd name="connsiteY48" fmla="*/ 100469 h 129613"/>
                      <a:gd name="connsiteX49" fmla="*/ 19677 w 107219"/>
                      <a:gd name="connsiteY49" fmla="*/ 100524 h 129613"/>
                      <a:gd name="connsiteX50" fmla="*/ 5900 w 107219"/>
                      <a:gd name="connsiteY50" fmla="*/ 98410 h 129613"/>
                      <a:gd name="connsiteX51" fmla="*/ 0 w 107219"/>
                      <a:gd name="connsiteY51" fmla="*/ 94678 h 129613"/>
                      <a:gd name="connsiteX52" fmla="*/ 1811 w 107219"/>
                      <a:gd name="connsiteY52" fmla="*/ 91413 h 129613"/>
                      <a:gd name="connsiteX53" fmla="*/ 8370 w 107219"/>
                      <a:gd name="connsiteY53" fmla="*/ 90617 h 129613"/>
                      <a:gd name="connsiteX54" fmla="*/ 7794 w 107219"/>
                      <a:gd name="connsiteY54" fmla="*/ 82411 h 129613"/>
                      <a:gd name="connsiteX55" fmla="*/ 13859 w 107219"/>
                      <a:gd name="connsiteY55" fmla="*/ 77883 h 129613"/>
                      <a:gd name="connsiteX56" fmla="*/ 12487 w 107219"/>
                      <a:gd name="connsiteY56" fmla="*/ 72230 h 129613"/>
                      <a:gd name="connsiteX57" fmla="*/ 16274 w 107219"/>
                      <a:gd name="connsiteY57" fmla="*/ 70885 h 129613"/>
                      <a:gd name="connsiteX58" fmla="*/ 17317 w 107219"/>
                      <a:gd name="connsiteY58" fmla="*/ 69513 h 129613"/>
                      <a:gd name="connsiteX59" fmla="*/ 18332 w 107219"/>
                      <a:gd name="connsiteY59" fmla="*/ 68333 h 129613"/>
                      <a:gd name="connsiteX60" fmla="*/ 23519 w 107219"/>
                      <a:gd name="connsiteY60" fmla="*/ 61966 h 129613"/>
                      <a:gd name="connsiteX61" fmla="*/ 27059 w 107219"/>
                      <a:gd name="connsiteY61" fmla="*/ 55188 h 129613"/>
                      <a:gd name="connsiteX62" fmla="*/ 29007 w 107219"/>
                      <a:gd name="connsiteY62" fmla="*/ 49919 h 129613"/>
                      <a:gd name="connsiteX63" fmla="*/ 30435 w 107219"/>
                      <a:gd name="connsiteY63" fmla="*/ 43333 h 129613"/>
                      <a:gd name="connsiteX64" fmla="*/ 31614 w 107219"/>
                      <a:gd name="connsiteY64" fmla="*/ 34469 h 129613"/>
                      <a:gd name="connsiteX65" fmla="*/ 33974 w 107219"/>
                      <a:gd name="connsiteY65" fmla="*/ 19869 h 129613"/>
                      <a:gd name="connsiteX66" fmla="*/ 36637 w 107219"/>
                      <a:gd name="connsiteY66" fmla="*/ 14874 h 129613"/>
                      <a:gd name="connsiteX67" fmla="*/ 38859 w 107219"/>
                      <a:gd name="connsiteY67" fmla="*/ 17042 h 129613"/>
                      <a:gd name="connsiteX68" fmla="*/ 35813 w 107219"/>
                      <a:gd name="connsiteY68" fmla="*/ 22805 h 129613"/>
                      <a:gd name="connsiteX69" fmla="*/ 37075 w 107219"/>
                      <a:gd name="connsiteY69" fmla="*/ 26977 h 129613"/>
                      <a:gd name="connsiteX70" fmla="*/ 46735 w 107219"/>
                      <a:gd name="connsiteY70" fmla="*/ 22558 h 129613"/>
                      <a:gd name="connsiteX71" fmla="*/ 54008 w 107219"/>
                      <a:gd name="connsiteY71" fmla="*/ 15176 h 129613"/>
                      <a:gd name="connsiteX72" fmla="*/ 54612 w 107219"/>
                      <a:gd name="connsiteY72" fmla="*/ 12734 h 129613"/>
                      <a:gd name="connsiteX73" fmla="*/ 66165 w 107219"/>
                      <a:gd name="connsiteY73" fmla="*/ 4528 h 129613"/>
                      <a:gd name="connsiteX74" fmla="*/ 76950 w 107219"/>
                      <a:gd name="connsiteY74" fmla="*/ 2442 h 129613"/>
                      <a:gd name="connsiteX75" fmla="*/ 80161 w 107219"/>
                      <a:gd name="connsiteY75" fmla="*/ 3046 h 129613"/>
                      <a:gd name="connsiteX76" fmla="*/ 93416 w 107219"/>
                      <a:gd name="connsiteY76" fmla="*/ 0 h 129613"/>
                      <a:gd name="connsiteX77" fmla="*/ 97038 w 107219"/>
                      <a:gd name="connsiteY77" fmla="*/ 2580 h 12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7219" h="129613">
                        <a:moveTo>
                          <a:pt x="97121" y="2662"/>
                        </a:moveTo>
                        <a:lnTo>
                          <a:pt x="98493" y="6092"/>
                        </a:lnTo>
                        <a:lnTo>
                          <a:pt x="103021" y="8041"/>
                        </a:lnTo>
                        <a:lnTo>
                          <a:pt x="103543" y="10072"/>
                        </a:lnTo>
                        <a:lnTo>
                          <a:pt x="106946" y="10758"/>
                        </a:lnTo>
                        <a:lnTo>
                          <a:pt x="107220" y="12789"/>
                        </a:lnTo>
                        <a:lnTo>
                          <a:pt x="106781" y="17097"/>
                        </a:lnTo>
                        <a:lnTo>
                          <a:pt x="106589" y="23546"/>
                        </a:lnTo>
                        <a:lnTo>
                          <a:pt x="103515" y="30517"/>
                        </a:lnTo>
                        <a:lnTo>
                          <a:pt x="100963" y="40204"/>
                        </a:lnTo>
                        <a:lnTo>
                          <a:pt x="92236" y="40753"/>
                        </a:lnTo>
                        <a:lnTo>
                          <a:pt x="91879" y="47586"/>
                        </a:lnTo>
                        <a:lnTo>
                          <a:pt x="101045" y="49864"/>
                        </a:lnTo>
                        <a:lnTo>
                          <a:pt x="102719" y="59387"/>
                        </a:lnTo>
                        <a:lnTo>
                          <a:pt x="93718" y="65259"/>
                        </a:lnTo>
                        <a:lnTo>
                          <a:pt x="92867" y="68498"/>
                        </a:lnTo>
                        <a:lnTo>
                          <a:pt x="94267" y="73959"/>
                        </a:lnTo>
                        <a:lnTo>
                          <a:pt x="83372" y="79145"/>
                        </a:lnTo>
                        <a:lnTo>
                          <a:pt x="76319" y="75688"/>
                        </a:lnTo>
                        <a:lnTo>
                          <a:pt x="71544" y="78981"/>
                        </a:lnTo>
                        <a:lnTo>
                          <a:pt x="70007" y="82960"/>
                        </a:lnTo>
                        <a:lnTo>
                          <a:pt x="77115" y="93800"/>
                        </a:lnTo>
                        <a:lnTo>
                          <a:pt x="77966" y="101073"/>
                        </a:lnTo>
                        <a:lnTo>
                          <a:pt x="73492" y="106808"/>
                        </a:lnTo>
                        <a:lnTo>
                          <a:pt x="76511" y="109552"/>
                        </a:lnTo>
                        <a:lnTo>
                          <a:pt x="67757" y="116688"/>
                        </a:lnTo>
                        <a:lnTo>
                          <a:pt x="73932" y="122231"/>
                        </a:lnTo>
                        <a:lnTo>
                          <a:pt x="72010" y="129613"/>
                        </a:lnTo>
                        <a:lnTo>
                          <a:pt x="68223" y="129613"/>
                        </a:lnTo>
                        <a:cubicBezTo>
                          <a:pt x="68223" y="129613"/>
                          <a:pt x="64738" y="128680"/>
                          <a:pt x="64738" y="128680"/>
                        </a:cubicBezTo>
                        <a:lnTo>
                          <a:pt x="62021" y="129476"/>
                        </a:lnTo>
                        <a:lnTo>
                          <a:pt x="62213" y="126924"/>
                        </a:lnTo>
                        <a:lnTo>
                          <a:pt x="61665" y="124042"/>
                        </a:lnTo>
                        <a:lnTo>
                          <a:pt x="64518" y="117730"/>
                        </a:lnTo>
                        <a:lnTo>
                          <a:pt x="65452" y="115343"/>
                        </a:lnTo>
                        <a:lnTo>
                          <a:pt x="65205" y="110568"/>
                        </a:lnTo>
                        <a:lnTo>
                          <a:pt x="58618" y="107796"/>
                        </a:lnTo>
                        <a:lnTo>
                          <a:pt x="56670" y="104750"/>
                        </a:lnTo>
                        <a:lnTo>
                          <a:pt x="48959" y="105875"/>
                        </a:lnTo>
                        <a:lnTo>
                          <a:pt x="45226" y="101786"/>
                        </a:lnTo>
                        <a:lnTo>
                          <a:pt x="44952" y="97972"/>
                        </a:lnTo>
                        <a:lnTo>
                          <a:pt x="43141" y="96188"/>
                        </a:lnTo>
                        <a:lnTo>
                          <a:pt x="37926" y="97752"/>
                        </a:lnTo>
                        <a:lnTo>
                          <a:pt x="34880" y="94514"/>
                        </a:lnTo>
                        <a:lnTo>
                          <a:pt x="32218" y="98109"/>
                        </a:lnTo>
                        <a:lnTo>
                          <a:pt x="26922" y="96050"/>
                        </a:lnTo>
                        <a:lnTo>
                          <a:pt x="24562" y="97148"/>
                        </a:lnTo>
                        <a:lnTo>
                          <a:pt x="24013" y="100935"/>
                        </a:lnTo>
                        <a:lnTo>
                          <a:pt x="20747" y="100469"/>
                        </a:lnTo>
                        <a:lnTo>
                          <a:pt x="19677" y="100524"/>
                        </a:lnTo>
                        <a:lnTo>
                          <a:pt x="5900" y="98410"/>
                        </a:lnTo>
                        <a:lnTo>
                          <a:pt x="0" y="94678"/>
                        </a:lnTo>
                        <a:lnTo>
                          <a:pt x="1811" y="91413"/>
                        </a:lnTo>
                        <a:lnTo>
                          <a:pt x="8370" y="90617"/>
                        </a:lnTo>
                        <a:lnTo>
                          <a:pt x="7794" y="82411"/>
                        </a:lnTo>
                        <a:lnTo>
                          <a:pt x="13859" y="77883"/>
                        </a:lnTo>
                        <a:lnTo>
                          <a:pt x="12487" y="72230"/>
                        </a:lnTo>
                        <a:lnTo>
                          <a:pt x="16274" y="70885"/>
                        </a:lnTo>
                        <a:lnTo>
                          <a:pt x="17317" y="69513"/>
                        </a:lnTo>
                        <a:lnTo>
                          <a:pt x="18332" y="68333"/>
                        </a:lnTo>
                        <a:lnTo>
                          <a:pt x="23519" y="61966"/>
                        </a:lnTo>
                        <a:lnTo>
                          <a:pt x="27059" y="55188"/>
                        </a:lnTo>
                        <a:lnTo>
                          <a:pt x="29007" y="49919"/>
                        </a:lnTo>
                        <a:lnTo>
                          <a:pt x="30435" y="43333"/>
                        </a:lnTo>
                        <a:lnTo>
                          <a:pt x="31614" y="34469"/>
                        </a:lnTo>
                        <a:lnTo>
                          <a:pt x="33974" y="19869"/>
                        </a:lnTo>
                        <a:lnTo>
                          <a:pt x="36637" y="14874"/>
                        </a:lnTo>
                        <a:lnTo>
                          <a:pt x="38859" y="17042"/>
                        </a:lnTo>
                        <a:lnTo>
                          <a:pt x="35813" y="22805"/>
                        </a:lnTo>
                        <a:lnTo>
                          <a:pt x="37075" y="26977"/>
                        </a:lnTo>
                        <a:lnTo>
                          <a:pt x="46735" y="22558"/>
                        </a:lnTo>
                        <a:lnTo>
                          <a:pt x="54008" y="15176"/>
                        </a:lnTo>
                        <a:lnTo>
                          <a:pt x="54612" y="12734"/>
                        </a:lnTo>
                        <a:lnTo>
                          <a:pt x="66165" y="4528"/>
                        </a:lnTo>
                        <a:lnTo>
                          <a:pt x="76950" y="2442"/>
                        </a:lnTo>
                        <a:lnTo>
                          <a:pt x="80161" y="3046"/>
                        </a:lnTo>
                        <a:lnTo>
                          <a:pt x="93416" y="0"/>
                        </a:lnTo>
                        <a:lnTo>
                          <a:pt x="97038" y="258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5" name="Freeform: Shape 3484">
                    <a:extLst>
                      <a:ext uri="{FF2B5EF4-FFF2-40B4-BE49-F238E27FC236}">
                        <a16:creationId xmlns:a16="http://schemas.microsoft.com/office/drawing/2014/main" id="{FB29103E-A354-976D-D96A-0A9607DF4D3C}"/>
                      </a:ext>
                    </a:extLst>
                  </p:cNvPr>
                  <p:cNvSpPr/>
                  <p:nvPr/>
                </p:nvSpPr>
                <p:spPr>
                  <a:xfrm>
                    <a:off x="-6187765" y="3109151"/>
                    <a:ext cx="25549" cy="8946"/>
                  </a:xfrm>
                  <a:custGeom>
                    <a:avLst/>
                    <a:gdLst>
                      <a:gd name="connsiteX0" fmla="*/ 5379 w 25549"/>
                      <a:gd name="connsiteY0" fmla="*/ 27 h 8946"/>
                      <a:gd name="connsiteX1" fmla="*/ 12898 w 25549"/>
                      <a:gd name="connsiteY1" fmla="*/ 2799 h 8946"/>
                      <a:gd name="connsiteX2" fmla="*/ 18002 w 25549"/>
                      <a:gd name="connsiteY2" fmla="*/ 659 h 8946"/>
                      <a:gd name="connsiteX3" fmla="*/ 25549 w 25549"/>
                      <a:gd name="connsiteY3" fmla="*/ 2525 h 8946"/>
                      <a:gd name="connsiteX4" fmla="*/ 17975 w 25549"/>
                      <a:gd name="connsiteY4" fmla="*/ 8315 h 8946"/>
                      <a:gd name="connsiteX5" fmla="*/ 14408 w 25549"/>
                      <a:gd name="connsiteY5" fmla="*/ 8946 h 8946"/>
                      <a:gd name="connsiteX6" fmla="*/ 11306 w 25549"/>
                      <a:gd name="connsiteY6" fmla="*/ 6339 h 8946"/>
                      <a:gd name="connsiteX7" fmla="*/ 5406 w 25549"/>
                      <a:gd name="connsiteY7" fmla="*/ 5214 h 8946"/>
                      <a:gd name="connsiteX8" fmla="*/ 439 w 25549"/>
                      <a:gd name="connsiteY8" fmla="*/ 5983 h 8946"/>
                      <a:gd name="connsiteX9" fmla="*/ 0 w 25549"/>
                      <a:gd name="connsiteY9" fmla="*/ 1482 h 8946"/>
                      <a:gd name="connsiteX10" fmla="*/ 5406 w 25549"/>
                      <a:gd name="connsiteY10" fmla="*/ 0 h 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49" h="8946">
                        <a:moveTo>
                          <a:pt x="5379" y="27"/>
                        </a:moveTo>
                        <a:lnTo>
                          <a:pt x="12898" y="2799"/>
                        </a:lnTo>
                        <a:lnTo>
                          <a:pt x="18002" y="659"/>
                        </a:lnTo>
                        <a:lnTo>
                          <a:pt x="25549" y="2525"/>
                        </a:lnTo>
                        <a:lnTo>
                          <a:pt x="17975" y="8315"/>
                        </a:lnTo>
                        <a:lnTo>
                          <a:pt x="14408" y="8946"/>
                        </a:lnTo>
                        <a:lnTo>
                          <a:pt x="11306" y="6339"/>
                        </a:lnTo>
                        <a:lnTo>
                          <a:pt x="5406" y="5214"/>
                        </a:lnTo>
                        <a:lnTo>
                          <a:pt x="439" y="5983"/>
                        </a:lnTo>
                        <a:lnTo>
                          <a:pt x="0" y="1482"/>
                        </a:lnTo>
                        <a:lnTo>
                          <a:pt x="5406"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6" name="Freeform: Shape 3485">
                    <a:extLst>
                      <a:ext uri="{FF2B5EF4-FFF2-40B4-BE49-F238E27FC236}">
                        <a16:creationId xmlns:a16="http://schemas.microsoft.com/office/drawing/2014/main" id="{C1A76A1B-A5A3-2DFC-4F02-0190817A37BD}"/>
                      </a:ext>
                    </a:extLst>
                  </p:cNvPr>
                  <p:cNvSpPr/>
                  <p:nvPr/>
                </p:nvSpPr>
                <p:spPr>
                  <a:xfrm>
                    <a:off x="-6135596" y="3011674"/>
                    <a:ext cx="5351" cy="4500"/>
                  </a:xfrm>
                  <a:custGeom>
                    <a:avLst/>
                    <a:gdLst>
                      <a:gd name="connsiteX0" fmla="*/ 2415 w 5351"/>
                      <a:gd name="connsiteY0" fmla="*/ 27 h 4500"/>
                      <a:gd name="connsiteX1" fmla="*/ 3458 w 5351"/>
                      <a:gd name="connsiteY1" fmla="*/ 1399 h 4500"/>
                      <a:gd name="connsiteX2" fmla="*/ 3458 w 5351"/>
                      <a:gd name="connsiteY2" fmla="*/ 933 h 4500"/>
                      <a:gd name="connsiteX3" fmla="*/ 4007 w 5351"/>
                      <a:gd name="connsiteY3" fmla="*/ 933 h 4500"/>
                      <a:gd name="connsiteX4" fmla="*/ 4803 w 5351"/>
                      <a:gd name="connsiteY4" fmla="*/ 466 h 4500"/>
                      <a:gd name="connsiteX5" fmla="*/ 5077 w 5351"/>
                      <a:gd name="connsiteY5" fmla="*/ 466 h 4500"/>
                      <a:gd name="connsiteX6" fmla="*/ 5077 w 5351"/>
                      <a:gd name="connsiteY6" fmla="*/ 933 h 4500"/>
                      <a:gd name="connsiteX7" fmla="*/ 5351 w 5351"/>
                      <a:gd name="connsiteY7" fmla="*/ 933 h 4500"/>
                      <a:gd name="connsiteX8" fmla="*/ 5351 w 5351"/>
                      <a:gd name="connsiteY8" fmla="*/ 1811 h 4500"/>
                      <a:gd name="connsiteX9" fmla="*/ 5077 w 5351"/>
                      <a:gd name="connsiteY9" fmla="*/ 2278 h 4500"/>
                      <a:gd name="connsiteX10" fmla="*/ 4803 w 5351"/>
                      <a:gd name="connsiteY10" fmla="*/ 2278 h 4500"/>
                      <a:gd name="connsiteX11" fmla="*/ 4528 w 5351"/>
                      <a:gd name="connsiteY11" fmla="*/ 2744 h 4500"/>
                      <a:gd name="connsiteX12" fmla="*/ 3979 w 5351"/>
                      <a:gd name="connsiteY12" fmla="*/ 2744 h 4500"/>
                      <a:gd name="connsiteX13" fmla="*/ 3979 w 5351"/>
                      <a:gd name="connsiteY13" fmla="*/ 2278 h 4500"/>
                      <a:gd name="connsiteX14" fmla="*/ 3705 w 5351"/>
                      <a:gd name="connsiteY14" fmla="*/ 2278 h 4500"/>
                      <a:gd name="connsiteX15" fmla="*/ 3430 w 5351"/>
                      <a:gd name="connsiteY15" fmla="*/ 1811 h 4500"/>
                      <a:gd name="connsiteX16" fmla="*/ 3430 w 5351"/>
                      <a:gd name="connsiteY16" fmla="*/ 2278 h 4500"/>
                      <a:gd name="connsiteX17" fmla="*/ 2662 w 5351"/>
                      <a:gd name="connsiteY17" fmla="*/ 4500 h 4500"/>
                      <a:gd name="connsiteX18" fmla="*/ 796 w 5351"/>
                      <a:gd name="connsiteY18" fmla="*/ 4500 h 4500"/>
                      <a:gd name="connsiteX19" fmla="*/ 0 w 5351"/>
                      <a:gd name="connsiteY19" fmla="*/ 2717 h 4500"/>
                      <a:gd name="connsiteX20" fmla="*/ 549 w 5351"/>
                      <a:gd name="connsiteY20" fmla="*/ 1372 h 4500"/>
                      <a:gd name="connsiteX21" fmla="*/ 1619 w 5351"/>
                      <a:gd name="connsiteY21" fmla="*/ 0 h 4500"/>
                      <a:gd name="connsiteX22" fmla="*/ 2415 w 5351"/>
                      <a:gd name="connsiteY22" fmla="*/ 0 h 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351" h="4500">
                        <a:moveTo>
                          <a:pt x="2415" y="27"/>
                        </a:moveTo>
                        <a:lnTo>
                          <a:pt x="3458" y="1399"/>
                        </a:lnTo>
                        <a:lnTo>
                          <a:pt x="3458" y="933"/>
                        </a:lnTo>
                        <a:lnTo>
                          <a:pt x="4007" y="933"/>
                        </a:lnTo>
                        <a:lnTo>
                          <a:pt x="4803" y="466"/>
                        </a:lnTo>
                        <a:lnTo>
                          <a:pt x="5077" y="466"/>
                        </a:lnTo>
                        <a:lnTo>
                          <a:pt x="5077" y="933"/>
                        </a:lnTo>
                        <a:lnTo>
                          <a:pt x="5351" y="933"/>
                        </a:lnTo>
                        <a:lnTo>
                          <a:pt x="5351" y="1811"/>
                        </a:lnTo>
                        <a:lnTo>
                          <a:pt x="5077" y="2278"/>
                        </a:lnTo>
                        <a:lnTo>
                          <a:pt x="4803" y="2278"/>
                        </a:lnTo>
                        <a:lnTo>
                          <a:pt x="4528" y="2744"/>
                        </a:lnTo>
                        <a:lnTo>
                          <a:pt x="3979" y="2744"/>
                        </a:lnTo>
                        <a:lnTo>
                          <a:pt x="3979" y="2278"/>
                        </a:lnTo>
                        <a:lnTo>
                          <a:pt x="3705" y="2278"/>
                        </a:lnTo>
                        <a:lnTo>
                          <a:pt x="3430" y="1811"/>
                        </a:lnTo>
                        <a:lnTo>
                          <a:pt x="3430" y="2278"/>
                        </a:lnTo>
                        <a:lnTo>
                          <a:pt x="2662" y="4500"/>
                        </a:lnTo>
                        <a:lnTo>
                          <a:pt x="796" y="4500"/>
                        </a:lnTo>
                        <a:lnTo>
                          <a:pt x="0" y="2717"/>
                        </a:lnTo>
                        <a:lnTo>
                          <a:pt x="549" y="1372"/>
                        </a:lnTo>
                        <a:lnTo>
                          <a:pt x="1619" y="0"/>
                        </a:lnTo>
                        <a:lnTo>
                          <a:pt x="2415"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7" name="Freeform: Shape 3486">
                    <a:extLst>
                      <a:ext uri="{FF2B5EF4-FFF2-40B4-BE49-F238E27FC236}">
                        <a16:creationId xmlns:a16="http://schemas.microsoft.com/office/drawing/2014/main" id="{DEC5231A-77A6-7BC5-5EB5-BCD74559FEF0}"/>
                      </a:ext>
                    </a:extLst>
                  </p:cNvPr>
                  <p:cNvSpPr/>
                  <p:nvPr/>
                </p:nvSpPr>
                <p:spPr>
                  <a:xfrm>
                    <a:off x="-6123191" y="3007969"/>
                    <a:ext cx="4884" cy="4720"/>
                  </a:xfrm>
                  <a:custGeom>
                    <a:avLst/>
                    <a:gdLst>
                      <a:gd name="connsiteX0" fmla="*/ 4885 w 4884"/>
                      <a:gd name="connsiteY0" fmla="*/ 2882 h 4720"/>
                      <a:gd name="connsiteX1" fmla="*/ 2086 w 4884"/>
                      <a:gd name="connsiteY1" fmla="*/ 4720 h 4720"/>
                      <a:gd name="connsiteX2" fmla="*/ 0 w 4884"/>
                      <a:gd name="connsiteY2" fmla="*/ 2360 h 4720"/>
                      <a:gd name="connsiteX3" fmla="*/ 2744 w 4884"/>
                      <a:gd name="connsiteY3" fmla="*/ 0 h 4720"/>
                      <a:gd name="connsiteX4" fmla="*/ 4885 w 4884"/>
                      <a:gd name="connsiteY4" fmla="*/ 2882 h 4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4" h="4720">
                        <a:moveTo>
                          <a:pt x="4885" y="2882"/>
                        </a:moveTo>
                        <a:lnTo>
                          <a:pt x="2086" y="4720"/>
                        </a:lnTo>
                        <a:lnTo>
                          <a:pt x="0" y="2360"/>
                        </a:lnTo>
                        <a:lnTo>
                          <a:pt x="2744" y="0"/>
                        </a:lnTo>
                        <a:lnTo>
                          <a:pt x="4885" y="288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8" name="Freeform: Shape 3487">
                    <a:extLst>
                      <a:ext uri="{FF2B5EF4-FFF2-40B4-BE49-F238E27FC236}">
                        <a16:creationId xmlns:a16="http://schemas.microsoft.com/office/drawing/2014/main" id="{A370AADA-6EEA-A476-E58F-3BF8CA98114E}"/>
                      </a:ext>
                    </a:extLst>
                  </p:cNvPr>
                  <p:cNvSpPr/>
                  <p:nvPr/>
                </p:nvSpPr>
                <p:spPr>
                  <a:xfrm>
                    <a:off x="-6094294" y="3004649"/>
                    <a:ext cx="4034" cy="3677"/>
                  </a:xfrm>
                  <a:custGeom>
                    <a:avLst/>
                    <a:gdLst>
                      <a:gd name="connsiteX0" fmla="*/ 4034 w 4034"/>
                      <a:gd name="connsiteY0" fmla="*/ 1482 h 3677"/>
                      <a:gd name="connsiteX1" fmla="*/ 2223 w 4034"/>
                      <a:gd name="connsiteY1" fmla="*/ 3677 h 3677"/>
                      <a:gd name="connsiteX2" fmla="*/ 0 w 4034"/>
                      <a:gd name="connsiteY2" fmla="*/ 1701 h 3677"/>
                      <a:gd name="connsiteX3" fmla="*/ 2168 w 4034"/>
                      <a:gd name="connsiteY3" fmla="*/ 0 h 3677"/>
                      <a:gd name="connsiteX4" fmla="*/ 4034 w 4034"/>
                      <a:gd name="connsiteY4" fmla="*/ 1482 h 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 h="3677">
                        <a:moveTo>
                          <a:pt x="4034" y="1482"/>
                        </a:moveTo>
                        <a:lnTo>
                          <a:pt x="2223" y="3677"/>
                        </a:lnTo>
                        <a:lnTo>
                          <a:pt x="0" y="1701"/>
                        </a:lnTo>
                        <a:lnTo>
                          <a:pt x="2168" y="0"/>
                        </a:lnTo>
                        <a:lnTo>
                          <a:pt x="4034" y="148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89" name="Freeform: Shape 3488">
                    <a:extLst>
                      <a:ext uri="{FF2B5EF4-FFF2-40B4-BE49-F238E27FC236}">
                        <a16:creationId xmlns:a16="http://schemas.microsoft.com/office/drawing/2014/main" id="{9A724327-56A5-F96F-F882-63CC2751A134}"/>
                      </a:ext>
                    </a:extLst>
                  </p:cNvPr>
                  <p:cNvSpPr/>
                  <p:nvPr/>
                </p:nvSpPr>
                <p:spPr>
                  <a:xfrm>
                    <a:off x="-6565764" y="3507816"/>
                    <a:ext cx="96462" cy="197809"/>
                  </a:xfrm>
                  <a:custGeom>
                    <a:avLst/>
                    <a:gdLst>
                      <a:gd name="connsiteX0" fmla="*/ 37926 w 96462"/>
                      <a:gd name="connsiteY0" fmla="*/ 8974 h 197809"/>
                      <a:gd name="connsiteX1" fmla="*/ 38832 w 96462"/>
                      <a:gd name="connsiteY1" fmla="*/ 13228 h 197809"/>
                      <a:gd name="connsiteX2" fmla="*/ 42152 w 96462"/>
                      <a:gd name="connsiteY2" fmla="*/ 13118 h 197809"/>
                      <a:gd name="connsiteX3" fmla="*/ 51483 w 96462"/>
                      <a:gd name="connsiteY3" fmla="*/ 9934 h 197809"/>
                      <a:gd name="connsiteX4" fmla="*/ 60841 w 96462"/>
                      <a:gd name="connsiteY4" fmla="*/ 12871 h 197809"/>
                      <a:gd name="connsiteX5" fmla="*/ 67180 w 96462"/>
                      <a:gd name="connsiteY5" fmla="*/ 10813 h 197809"/>
                      <a:gd name="connsiteX6" fmla="*/ 68388 w 96462"/>
                      <a:gd name="connsiteY6" fmla="*/ 7135 h 197809"/>
                      <a:gd name="connsiteX7" fmla="*/ 73492 w 96462"/>
                      <a:gd name="connsiteY7" fmla="*/ 7190 h 197809"/>
                      <a:gd name="connsiteX8" fmla="*/ 84744 w 96462"/>
                      <a:gd name="connsiteY8" fmla="*/ 8782 h 197809"/>
                      <a:gd name="connsiteX9" fmla="*/ 87241 w 96462"/>
                      <a:gd name="connsiteY9" fmla="*/ 17673 h 197809"/>
                      <a:gd name="connsiteX10" fmla="*/ 93416 w 96462"/>
                      <a:gd name="connsiteY10" fmla="*/ 19622 h 197809"/>
                      <a:gd name="connsiteX11" fmla="*/ 96462 w 96462"/>
                      <a:gd name="connsiteY11" fmla="*/ 23299 h 197809"/>
                      <a:gd name="connsiteX12" fmla="*/ 92373 w 96462"/>
                      <a:gd name="connsiteY12" fmla="*/ 30462 h 197809"/>
                      <a:gd name="connsiteX13" fmla="*/ 90287 w 96462"/>
                      <a:gd name="connsiteY13" fmla="*/ 31861 h 197809"/>
                      <a:gd name="connsiteX14" fmla="*/ 89437 w 96462"/>
                      <a:gd name="connsiteY14" fmla="*/ 33508 h 197809"/>
                      <a:gd name="connsiteX15" fmla="*/ 88421 w 96462"/>
                      <a:gd name="connsiteY15" fmla="*/ 33865 h 197809"/>
                      <a:gd name="connsiteX16" fmla="*/ 82247 w 96462"/>
                      <a:gd name="connsiteY16" fmla="*/ 37350 h 197809"/>
                      <a:gd name="connsiteX17" fmla="*/ 78734 w 96462"/>
                      <a:gd name="connsiteY17" fmla="*/ 43195 h 197809"/>
                      <a:gd name="connsiteX18" fmla="*/ 75166 w 96462"/>
                      <a:gd name="connsiteY18" fmla="*/ 44183 h 197809"/>
                      <a:gd name="connsiteX19" fmla="*/ 78624 w 96462"/>
                      <a:gd name="connsiteY19" fmla="*/ 51785 h 197809"/>
                      <a:gd name="connsiteX20" fmla="*/ 78981 w 96462"/>
                      <a:gd name="connsiteY20" fmla="*/ 70117 h 197809"/>
                      <a:gd name="connsiteX21" fmla="*/ 77087 w 96462"/>
                      <a:gd name="connsiteY21" fmla="*/ 73602 h 197809"/>
                      <a:gd name="connsiteX22" fmla="*/ 74563 w 96462"/>
                      <a:gd name="connsiteY22" fmla="*/ 74124 h 197809"/>
                      <a:gd name="connsiteX23" fmla="*/ 72971 w 96462"/>
                      <a:gd name="connsiteY23" fmla="*/ 77883 h 197809"/>
                      <a:gd name="connsiteX24" fmla="*/ 76703 w 96462"/>
                      <a:gd name="connsiteY24" fmla="*/ 84991 h 197809"/>
                      <a:gd name="connsiteX25" fmla="*/ 72422 w 96462"/>
                      <a:gd name="connsiteY25" fmla="*/ 96050 h 197809"/>
                      <a:gd name="connsiteX26" fmla="*/ 57136 w 96462"/>
                      <a:gd name="connsiteY26" fmla="*/ 96929 h 197809"/>
                      <a:gd name="connsiteX27" fmla="*/ 63860 w 96462"/>
                      <a:gd name="connsiteY27" fmla="*/ 104832 h 197809"/>
                      <a:gd name="connsiteX28" fmla="*/ 66302 w 96462"/>
                      <a:gd name="connsiteY28" fmla="*/ 111583 h 197809"/>
                      <a:gd name="connsiteX29" fmla="*/ 69376 w 96462"/>
                      <a:gd name="connsiteY29" fmla="*/ 117484 h 197809"/>
                      <a:gd name="connsiteX30" fmla="*/ 74041 w 96462"/>
                      <a:gd name="connsiteY30" fmla="*/ 120914 h 197809"/>
                      <a:gd name="connsiteX31" fmla="*/ 71077 w 96462"/>
                      <a:gd name="connsiteY31" fmla="*/ 127939 h 197809"/>
                      <a:gd name="connsiteX32" fmla="*/ 67098 w 96462"/>
                      <a:gd name="connsiteY32" fmla="*/ 131534 h 197809"/>
                      <a:gd name="connsiteX33" fmla="*/ 64024 w 96462"/>
                      <a:gd name="connsiteY33" fmla="*/ 142539 h 197809"/>
                      <a:gd name="connsiteX34" fmla="*/ 69897 w 96462"/>
                      <a:gd name="connsiteY34" fmla="*/ 152665 h 197809"/>
                      <a:gd name="connsiteX35" fmla="*/ 75084 w 96462"/>
                      <a:gd name="connsiteY35" fmla="*/ 151924 h 197809"/>
                      <a:gd name="connsiteX36" fmla="*/ 72724 w 96462"/>
                      <a:gd name="connsiteY36" fmla="*/ 158236 h 197809"/>
                      <a:gd name="connsiteX37" fmla="*/ 66138 w 96462"/>
                      <a:gd name="connsiteY37" fmla="*/ 161063 h 197809"/>
                      <a:gd name="connsiteX38" fmla="*/ 58014 w 96462"/>
                      <a:gd name="connsiteY38" fmla="*/ 177364 h 197809"/>
                      <a:gd name="connsiteX39" fmla="*/ 61253 w 96462"/>
                      <a:gd name="connsiteY39" fmla="*/ 190344 h 197809"/>
                      <a:gd name="connsiteX40" fmla="*/ 46982 w 96462"/>
                      <a:gd name="connsiteY40" fmla="*/ 197809 h 197809"/>
                      <a:gd name="connsiteX41" fmla="*/ 38557 w 96462"/>
                      <a:gd name="connsiteY41" fmla="*/ 193857 h 197809"/>
                      <a:gd name="connsiteX42" fmla="*/ 26647 w 96462"/>
                      <a:gd name="connsiteY42" fmla="*/ 192622 h 197809"/>
                      <a:gd name="connsiteX43" fmla="*/ 15505 w 96462"/>
                      <a:gd name="connsiteY43" fmla="*/ 196080 h 197809"/>
                      <a:gd name="connsiteX44" fmla="*/ 16905 w 96462"/>
                      <a:gd name="connsiteY44" fmla="*/ 189796 h 197809"/>
                      <a:gd name="connsiteX45" fmla="*/ 20253 w 96462"/>
                      <a:gd name="connsiteY45" fmla="*/ 180438 h 197809"/>
                      <a:gd name="connsiteX46" fmla="*/ 20198 w 96462"/>
                      <a:gd name="connsiteY46" fmla="*/ 164987 h 197809"/>
                      <a:gd name="connsiteX47" fmla="*/ 18250 w 96462"/>
                      <a:gd name="connsiteY47" fmla="*/ 160596 h 197809"/>
                      <a:gd name="connsiteX48" fmla="*/ 22091 w 96462"/>
                      <a:gd name="connsiteY48" fmla="*/ 140426 h 197809"/>
                      <a:gd name="connsiteX49" fmla="*/ 9001 w 96462"/>
                      <a:gd name="connsiteY49" fmla="*/ 143499 h 197809"/>
                      <a:gd name="connsiteX50" fmla="*/ 7053 w 96462"/>
                      <a:gd name="connsiteY50" fmla="*/ 135870 h 197809"/>
                      <a:gd name="connsiteX51" fmla="*/ 0 w 96462"/>
                      <a:gd name="connsiteY51" fmla="*/ 131891 h 197809"/>
                      <a:gd name="connsiteX52" fmla="*/ 2058 w 96462"/>
                      <a:gd name="connsiteY52" fmla="*/ 120090 h 197809"/>
                      <a:gd name="connsiteX53" fmla="*/ 4253 w 96462"/>
                      <a:gd name="connsiteY53" fmla="*/ 108949 h 197809"/>
                      <a:gd name="connsiteX54" fmla="*/ 10181 w 96462"/>
                      <a:gd name="connsiteY54" fmla="*/ 102225 h 197809"/>
                      <a:gd name="connsiteX55" fmla="*/ 13118 w 96462"/>
                      <a:gd name="connsiteY55" fmla="*/ 93965 h 197809"/>
                      <a:gd name="connsiteX56" fmla="*/ 17399 w 96462"/>
                      <a:gd name="connsiteY56" fmla="*/ 82329 h 197809"/>
                      <a:gd name="connsiteX57" fmla="*/ 20665 w 96462"/>
                      <a:gd name="connsiteY57" fmla="*/ 64025 h 197809"/>
                      <a:gd name="connsiteX58" fmla="*/ 23518 w 96462"/>
                      <a:gd name="connsiteY58" fmla="*/ 57383 h 197809"/>
                      <a:gd name="connsiteX59" fmla="*/ 24506 w 96462"/>
                      <a:gd name="connsiteY59" fmla="*/ 46763 h 197809"/>
                      <a:gd name="connsiteX60" fmla="*/ 20884 w 96462"/>
                      <a:gd name="connsiteY60" fmla="*/ 26949 h 197809"/>
                      <a:gd name="connsiteX61" fmla="*/ 20225 w 96462"/>
                      <a:gd name="connsiteY61" fmla="*/ 23354 h 197809"/>
                      <a:gd name="connsiteX62" fmla="*/ 19869 w 96462"/>
                      <a:gd name="connsiteY62" fmla="*/ 21461 h 197809"/>
                      <a:gd name="connsiteX63" fmla="*/ 18332 w 96462"/>
                      <a:gd name="connsiteY63" fmla="*/ 11197 h 197809"/>
                      <a:gd name="connsiteX64" fmla="*/ 25824 w 96462"/>
                      <a:gd name="connsiteY64" fmla="*/ 4089 h 197809"/>
                      <a:gd name="connsiteX65" fmla="*/ 37871 w 96462"/>
                      <a:gd name="connsiteY65" fmla="*/ 0 h 197809"/>
                      <a:gd name="connsiteX66" fmla="*/ 40643 w 96462"/>
                      <a:gd name="connsiteY66" fmla="*/ 4638 h 197809"/>
                      <a:gd name="connsiteX67" fmla="*/ 37954 w 96462"/>
                      <a:gd name="connsiteY67" fmla="*/ 9056 h 19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96462" h="197809">
                        <a:moveTo>
                          <a:pt x="37926" y="8974"/>
                        </a:moveTo>
                        <a:lnTo>
                          <a:pt x="38832" y="13228"/>
                        </a:lnTo>
                        <a:lnTo>
                          <a:pt x="42152" y="13118"/>
                        </a:lnTo>
                        <a:lnTo>
                          <a:pt x="51483" y="9934"/>
                        </a:lnTo>
                        <a:lnTo>
                          <a:pt x="60841" y="12871"/>
                        </a:lnTo>
                        <a:lnTo>
                          <a:pt x="67180" y="10813"/>
                        </a:lnTo>
                        <a:lnTo>
                          <a:pt x="68388" y="7135"/>
                        </a:lnTo>
                        <a:lnTo>
                          <a:pt x="73492" y="7190"/>
                        </a:lnTo>
                        <a:lnTo>
                          <a:pt x="84744" y="8782"/>
                        </a:lnTo>
                        <a:lnTo>
                          <a:pt x="87241" y="17673"/>
                        </a:lnTo>
                        <a:lnTo>
                          <a:pt x="93416" y="19622"/>
                        </a:lnTo>
                        <a:lnTo>
                          <a:pt x="96462" y="23299"/>
                        </a:lnTo>
                        <a:lnTo>
                          <a:pt x="92373" y="30462"/>
                        </a:lnTo>
                        <a:lnTo>
                          <a:pt x="90287" y="31861"/>
                        </a:lnTo>
                        <a:lnTo>
                          <a:pt x="89437" y="33508"/>
                        </a:lnTo>
                        <a:lnTo>
                          <a:pt x="88421" y="33865"/>
                        </a:lnTo>
                        <a:lnTo>
                          <a:pt x="82247" y="37350"/>
                        </a:lnTo>
                        <a:lnTo>
                          <a:pt x="78734" y="43195"/>
                        </a:lnTo>
                        <a:lnTo>
                          <a:pt x="75166" y="44183"/>
                        </a:lnTo>
                        <a:lnTo>
                          <a:pt x="78624" y="51785"/>
                        </a:lnTo>
                        <a:lnTo>
                          <a:pt x="78981" y="70117"/>
                        </a:lnTo>
                        <a:lnTo>
                          <a:pt x="77087" y="73602"/>
                        </a:lnTo>
                        <a:lnTo>
                          <a:pt x="74563" y="74124"/>
                        </a:lnTo>
                        <a:lnTo>
                          <a:pt x="72971" y="77883"/>
                        </a:lnTo>
                        <a:lnTo>
                          <a:pt x="76703" y="84991"/>
                        </a:lnTo>
                        <a:lnTo>
                          <a:pt x="72422" y="96050"/>
                        </a:lnTo>
                        <a:lnTo>
                          <a:pt x="57136" y="96929"/>
                        </a:lnTo>
                        <a:lnTo>
                          <a:pt x="63860" y="104832"/>
                        </a:lnTo>
                        <a:lnTo>
                          <a:pt x="66302" y="111583"/>
                        </a:lnTo>
                        <a:lnTo>
                          <a:pt x="69376" y="117484"/>
                        </a:lnTo>
                        <a:lnTo>
                          <a:pt x="74041" y="120914"/>
                        </a:lnTo>
                        <a:lnTo>
                          <a:pt x="71077" y="127939"/>
                        </a:lnTo>
                        <a:lnTo>
                          <a:pt x="67098" y="131534"/>
                        </a:lnTo>
                        <a:lnTo>
                          <a:pt x="64024" y="142539"/>
                        </a:lnTo>
                        <a:lnTo>
                          <a:pt x="69897" y="152665"/>
                        </a:lnTo>
                        <a:lnTo>
                          <a:pt x="75084" y="151924"/>
                        </a:lnTo>
                        <a:lnTo>
                          <a:pt x="72724" y="158236"/>
                        </a:lnTo>
                        <a:lnTo>
                          <a:pt x="66138" y="161063"/>
                        </a:lnTo>
                        <a:lnTo>
                          <a:pt x="58014" y="177364"/>
                        </a:lnTo>
                        <a:lnTo>
                          <a:pt x="61253" y="190344"/>
                        </a:lnTo>
                        <a:lnTo>
                          <a:pt x="46982" y="197809"/>
                        </a:lnTo>
                        <a:lnTo>
                          <a:pt x="38557" y="193857"/>
                        </a:lnTo>
                        <a:lnTo>
                          <a:pt x="26647" y="192622"/>
                        </a:lnTo>
                        <a:lnTo>
                          <a:pt x="15505" y="196080"/>
                        </a:lnTo>
                        <a:lnTo>
                          <a:pt x="16905" y="189796"/>
                        </a:lnTo>
                        <a:lnTo>
                          <a:pt x="20253" y="180438"/>
                        </a:lnTo>
                        <a:lnTo>
                          <a:pt x="20198" y="164987"/>
                        </a:lnTo>
                        <a:lnTo>
                          <a:pt x="18250" y="160596"/>
                        </a:lnTo>
                        <a:lnTo>
                          <a:pt x="22091" y="140426"/>
                        </a:lnTo>
                        <a:lnTo>
                          <a:pt x="9001" y="143499"/>
                        </a:lnTo>
                        <a:lnTo>
                          <a:pt x="7053" y="135870"/>
                        </a:lnTo>
                        <a:lnTo>
                          <a:pt x="0" y="131891"/>
                        </a:lnTo>
                        <a:lnTo>
                          <a:pt x="2058" y="120090"/>
                        </a:lnTo>
                        <a:lnTo>
                          <a:pt x="4253" y="108949"/>
                        </a:lnTo>
                        <a:lnTo>
                          <a:pt x="10181" y="102225"/>
                        </a:lnTo>
                        <a:lnTo>
                          <a:pt x="13118" y="93965"/>
                        </a:lnTo>
                        <a:lnTo>
                          <a:pt x="17399" y="82329"/>
                        </a:lnTo>
                        <a:lnTo>
                          <a:pt x="20665" y="64025"/>
                        </a:lnTo>
                        <a:lnTo>
                          <a:pt x="23518" y="57383"/>
                        </a:lnTo>
                        <a:lnTo>
                          <a:pt x="24506" y="46763"/>
                        </a:lnTo>
                        <a:lnTo>
                          <a:pt x="20884" y="26949"/>
                        </a:lnTo>
                        <a:lnTo>
                          <a:pt x="20225" y="23354"/>
                        </a:lnTo>
                        <a:lnTo>
                          <a:pt x="19869" y="21461"/>
                        </a:lnTo>
                        <a:lnTo>
                          <a:pt x="18332" y="11197"/>
                        </a:lnTo>
                        <a:lnTo>
                          <a:pt x="25824" y="4089"/>
                        </a:lnTo>
                        <a:lnTo>
                          <a:pt x="37871" y="0"/>
                        </a:lnTo>
                        <a:lnTo>
                          <a:pt x="40643" y="4638"/>
                        </a:lnTo>
                        <a:lnTo>
                          <a:pt x="37954" y="905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0" name="Freeform: Shape 3489">
                    <a:extLst>
                      <a:ext uri="{FF2B5EF4-FFF2-40B4-BE49-F238E27FC236}">
                        <a16:creationId xmlns:a16="http://schemas.microsoft.com/office/drawing/2014/main" id="{870A2E8F-F40E-952E-A194-FBD00F9B4BAC}"/>
                      </a:ext>
                    </a:extLst>
                  </p:cNvPr>
                  <p:cNvSpPr/>
                  <p:nvPr/>
                </p:nvSpPr>
                <p:spPr>
                  <a:xfrm>
                    <a:off x="-5690745" y="3252377"/>
                    <a:ext cx="276871" cy="195558"/>
                  </a:xfrm>
                  <a:custGeom>
                    <a:avLst/>
                    <a:gdLst>
                      <a:gd name="connsiteX0" fmla="*/ 203023 w 276871"/>
                      <a:gd name="connsiteY0" fmla="*/ 13749 h 195558"/>
                      <a:gd name="connsiteX1" fmla="*/ 207359 w 276871"/>
                      <a:gd name="connsiteY1" fmla="*/ 27196 h 195558"/>
                      <a:gd name="connsiteX2" fmla="*/ 209555 w 276871"/>
                      <a:gd name="connsiteY2" fmla="*/ 29529 h 195558"/>
                      <a:gd name="connsiteX3" fmla="*/ 222974 w 276871"/>
                      <a:gd name="connsiteY3" fmla="*/ 50028 h 195558"/>
                      <a:gd name="connsiteX4" fmla="*/ 229753 w 276871"/>
                      <a:gd name="connsiteY4" fmla="*/ 56093 h 195558"/>
                      <a:gd name="connsiteX5" fmla="*/ 230796 w 276871"/>
                      <a:gd name="connsiteY5" fmla="*/ 62021 h 195558"/>
                      <a:gd name="connsiteX6" fmla="*/ 234500 w 276871"/>
                      <a:gd name="connsiteY6" fmla="*/ 71544 h 195558"/>
                      <a:gd name="connsiteX7" fmla="*/ 234555 w 276871"/>
                      <a:gd name="connsiteY7" fmla="*/ 79612 h 195558"/>
                      <a:gd name="connsiteX8" fmla="*/ 231673 w 276871"/>
                      <a:gd name="connsiteY8" fmla="*/ 86939 h 195558"/>
                      <a:gd name="connsiteX9" fmla="*/ 230851 w 276871"/>
                      <a:gd name="connsiteY9" fmla="*/ 93224 h 195558"/>
                      <a:gd name="connsiteX10" fmla="*/ 232305 w 276871"/>
                      <a:gd name="connsiteY10" fmla="*/ 111007 h 195558"/>
                      <a:gd name="connsiteX11" fmla="*/ 230741 w 276871"/>
                      <a:gd name="connsiteY11" fmla="*/ 114794 h 195558"/>
                      <a:gd name="connsiteX12" fmla="*/ 233677 w 276871"/>
                      <a:gd name="connsiteY12" fmla="*/ 120228 h 195558"/>
                      <a:gd name="connsiteX13" fmla="*/ 239495 w 276871"/>
                      <a:gd name="connsiteY13" fmla="*/ 126869 h 195558"/>
                      <a:gd name="connsiteX14" fmla="*/ 249429 w 276871"/>
                      <a:gd name="connsiteY14" fmla="*/ 129366 h 195558"/>
                      <a:gd name="connsiteX15" fmla="*/ 269627 w 276871"/>
                      <a:gd name="connsiteY15" fmla="*/ 121902 h 195558"/>
                      <a:gd name="connsiteX16" fmla="*/ 274979 w 276871"/>
                      <a:gd name="connsiteY16" fmla="*/ 125222 h 195558"/>
                      <a:gd name="connsiteX17" fmla="*/ 276872 w 276871"/>
                      <a:gd name="connsiteY17" fmla="*/ 130903 h 195558"/>
                      <a:gd name="connsiteX18" fmla="*/ 274841 w 276871"/>
                      <a:gd name="connsiteY18" fmla="*/ 145832 h 195558"/>
                      <a:gd name="connsiteX19" fmla="*/ 261888 w 276871"/>
                      <a:gd name="connsiteY19" fmla="*/ 149015 h 195558"/>
                      <a:gd name="connsiteX20" fmla="*/ 256729 w 276871"/>
                      <a:gd name="connsiteY20" fmla="*/ 153022 h 195558"/>
                      <a:gd name="connsiteX21" fmla="*/ 246411 w 276871"/>
                      <a:gd name="connsiteY21" fmla="*/ 168280 h 195558"/>
                      <a:gd name="connsiteX22" fmla="*/ 246795 w 276871"/>
                      <a:gd name="connsiteY22" fmla="*/ 181480 h 195558"/>
                      <a:gd name="connsiteX23" fmla="*/ 244517 w 276871"/>
                      <a:gd name="connsiteY23" fmla="*/ 191662 h 195558"/>
                      <a:gd name="connsiteX24" fmla="*/ 234034 w 276871"/>
                      <a:gd name="connsiteY24" fmla="*/ 190564 h 195558"/>
                      <a:gd name="connsiteX25" fmla="*/ 227859 w 276871"/>
                      <a:gd name="connsiteY25" fmla="*/ 187381 h 195558"/>
                      <a:gd name="connsiteX26" fmla="*/ 225142 w 276871"/>
                      <a:gd name="connsiteY26" fmla="*/ 181453 h 195558"/>
                      <a:gd name="connsiteX27" fmla="*/ 218529 w 276871"/>
                      <a:gd name="connsiteY27" fmla="*/ 181535 h 195558"/>
                      <a:gd name="connsiteX28" fmla="*/ 209664 w 276871"/>
                      <a:gd name="connsiteY28" fmla="*/ 180108 h 195558"/>
                      <a:gd name="connsiteX29" fmla="*/ 206042 w 276871"/>
                      <a:gd name="connsiteY29" fmla="*/ 175827 h 195558"/>
                      <a:gd name="connsiteX30" fmla="*/ 196574 w 276871"/>
                      <a:gd name="connsiteY30" fmla="*/ 175333 h 195558"/>
                      <a:gd name="connsiteX31" fmla="*/ 179889 w 276871"/>
                      <a:gd name="connsiteY31" fmla="*/ 179422 h 195558"/>
                      <a:gd name="connsiteX32" fmla="*/ 179203 w 276871"/>
                      <a:gd name="connsiteY32" fmla="*/ 179477 h 195558"/>
                      <a:gd name="connsiteX33" fmla="*/ 172177 w 276871"/>
                      <a:gd name="connsiteY33" fmla="*/ 182358 h 195558"/>
                      <a:gd name="connsiteX34" fmla="*/ 165591 w 276871"/>
                      <a:gd name="connsiteY34" fmla="*/ 189055 h 195558"/>
                      <a:gd name="connsiteX35" fmla="*/ 159032 w 276871"/>
                      <a:gd name="connsiteY35" fmla="*/ 193720 h 195558"/>
                      <a:gd name="connsiteX36" fmla="*/ 155273 w 276871"/>
                      <a:gd name="connsiteY36" fmla="*/ 195559 h 195558"/>
                      <a:gd name="connsiteX37" fmla="*/ 147972 w 276871"/>
                      <a:gd name="connsiteY37" fmla="*/ 195037 h 195558"/>
                      <a:gd name="connsiteX38" fmla="*/ 129092 w 276871"/>
                      <a:gd name="connsiteY38" fmla="*/ 192265 h 195558"/>
                      <a:gd name="connsiteX39" fmla="*/ 123960 w 276871"/>
                      <a:gd name="connsiteY39" fmla="*/ 191113 h 195558"/>
                      <a:gd name="connsiteX40" fmla="*/ 119349 w 276871"/>
                      <a:gd name="connsiteY40" fmla="*/ 193308 h 195558"/>
                      <a:gd name="connsiteX41" fmla="*/ 113120 w 276871"/>
                      <a:gd name="connsiteY41" fmla="*/ 193199 h 195558"/>
                      <a:gd name="connsiteX42" fmla="*/ 98987 w 276871"/>
                      <a:gd name="connsiteY42" fmla="*/ 189494 h 195558"/>
                      <a:gd name="connsiteX43" fmla="*/ 92455 w 276871"/>
                      <a:gd name="connsiteY43" fmla="*/ 187106 h 195558"/>
                      <a:gd name="connsiteX44" fmla="*/ 80353 w 276871"/>
                      <a:gd name="connsiteY44" fmla="*/ 188835 h 195558"/>
                      <a:gd name="connsiteX45" fmla="*/ 76237 w 276871"/>
                      <a:gd name="connsiteY45" fmla="*/ 186036 h 195558"/>
                      <a:gd name="connsiteX46" fmla="*/ 77334 w 276871"/>
                      <a:gd name="connsiteY46" fmla="*/ 181974 h 195558"/>
                      <a:gd name="connsiteX47" fmla="*/ 81094 w 276871"/>
                      <a:gd name="connsiteY47" fmla="*/ 179257 h 195558"/>
                      <a:gd name="connsiteX48" fmla="*/ 79420 w 276871"/>
                      <a:gd name="connsiteY48" fmla="*/ 176952 h 195558"/>
                      <a:gd name="connsiteX49" fmla="*/ 70858 w 276871"/>
                      <a:gd name="connsiteY49" fmla="*/ 172122 h 195558"/>
                      <a:gd name="connsiteX50" fmla="*/ 65067 w 276871"/>
                      <a:gd name="connsiteY50" fmla="*/ 162572 h 195558"/>
                      <a:gd name="connsiteX51" fmla="*/ 68937 w 276871"/>
                      <a:gd name="connsiteY51" fmla="*/ 159087 h 195558"/>
                      <a:gd name="connsiteX52" fmla="*/ 72477 w 276871"/>
                      <a:gd name="connsiteY52" fmla="*/ 159004 h 195558"/>
                      <a:gd name="connsiteX53" fmla="*/ 71736 w 276871"/>
                      <a:gd name="connsiteY53" fmla="*/ 156562 h 195558"/>
                      <a:gd name="connsiteX54" fmla="*/ 63311 w 276871"/>
                      <a:gd name="connsiteY54" fmla="*/ 152446 h 195558"/>
                      <a:gd name="connsiteX55" fmla="*/ 55297 w 276871"/>
                      <a:gd name="connsiteY55" fmla="*/ 161090 h 195558"/>
                      <a:gd name="connsiteX56" fmla="*/ 51511 w 276871"/>
                      <a:gd name="connsiteY56" fmla="*/ 156343 h 195558"/>
                      <a:gd name="connsiteX57" fmla="*/ 51401 w 276871"/>
                      <a:gd name="connsiteY57" fmla="*/ 156206 h 195558"/>
                      <a:gd name="connsiteX58" fmla="*/ 40890 w 276871"/>
                      <a:gd name="connsiteY58" fmla="*/ 153461 h 195558"/>
                      <a:gd name="connsiteX59" fmla="*/ 38475 w 276871"/>
                      <a:gd name="connsiteY59" fmla="*/ 150031 h 195558"/>
                      <a:gd name="connsiteX60" fmla="*/ 32163 w 276871"/>
                      <a:gd name="connsiteY60" fmla="*/ 147122 h 195558"/>
                      <a:gd name="connsiteX61" fmla="*/ 37707 w 276871"/>
                      <a:gd name="connsiteY61" fmla="*/ 144432 h 195558"/>
                      <a:gd name="connsiteX62" fmla="*/ 33535 w 276871"/>
                      <a:gd name="connsiteY62" fmla="*/ 139657 h 195558"/>
                      <a:gd name="connsiteX63" fmla="*/ 36417 w 276871"/>
                      <a:gd name="connsiteY63" fmla="*/ 134306 h 195558"/>
                      <a:gd name="connsiteX64" fmla="*/ 35703 w 276871"/>
                      <a:gd name="connsiteY64" fmla="*/ 131671 h 195558"/>
                      <a:gd name="connsiteX65" fmla="*/ 22119 w 276871"/>
                      <a:gd name="connsiteY65" fmla="*/ 126155 h 195558"/>
                      <a:gd name="connsiteX66" fmla="*/ 16273 w 276871"/>
                      <a:gd name="connsiteY66" fmla="*/ 119158 h 195558"/>
                      <a:gd name="connsiteX67" fmla="*/ 16054 w 276871"/>
                      <a:gd name="connsiteY67" fmla="*/ 108153 h 195558"/>
                      <a:gd name="connsiteX68" fmla="*/ 11718 w 276871"/>
                      <a:gd name="connsiteY68" fmla="*/ 106424 h 195558"/>
                      <a:gd name="connsiteX69" fmla="*/ 0 w 276871"/>
                      <a:gd name="connsiteY69" fmla="*/ 92346 h 195558"/>
                      <a:gd name="connsiteX70" fmla="*/ 12953 w 276871"/>
                      <a:gd name="connsiteY70" fmla="*/ 90891 h 195558"/>
                      <a:gd name="connsiteX71" fmla="*/ 15039 w 276871"/>
                      <a:gd name="connsiteY71" fmla="*/ 86006 h 195558"/>
                      <a:gd name="connsiteX72" fmla="*/ 22695 w 276871"/>
                      <a:gd name="connsiteY72" fmla="*/ 87049 h 195558"/>
                      <a:gd name="connsiteX73" fmla="*/ 26346 w 276871"/>
                      <a:gd name="connsiteY73" fmla="*/ 84497 h 195558"/>
                      <a:gd name="connsiteX74" fmla="*/ 30380 w 276871"/>
                      <a:gd name="connsiteY74" fmla="*/ 79365 h 195558"/>
                      <a:gd name="connsiteX75" fmla="*/ 30928 w 276871"/>
                      <a:gd name="connsiteY75" fmla="*/ 72202 h 195558"/>
                      <a:gd name="connsiteX76" fmla="*/ 34633 w 276871"/>
                      <a:gd name="connsiteY76" fmla="*/ 69952 h 195558"/>
                      <a:gd name="connsiteX77" fmla="*/ 41027 w 276871"/>
                      <a:gd name="connsiteY77" fmla="*/ 54008 h 195558"/>
                      <a:gd name="connsiteX78" fmla="*/ 51483 w 276871"/>
                      <a:gd name="connsiteY78" fmla="*/ 37734 h 195558"/>
                      <a:gd name="connsiteX79" fmla="*/ 52252 w 276871"/>
                      <a:gd name="connsiteY79" fmla="*/ 32328 h 195558"/>
                      <a:gd name="connsiteX80" fmla="*/ 54831 w 276871"/>
                      <a:gd name="connsiteY80" fmla="*/ 29035 h 195558"/>
                      <a:gd name="connsiteX81" fmla="*/ 56368 w 276871"/>
                      <a:gd name="connsiteY81" fmla="*/ 28925 h 195558"/>
                      <a:gd name="connsiteX82" fmla="*/ 57575 w 276871"/>
                      <a:gd name="connsiteY82" fmla="*/ 25988 h 195558"/>
                      <a:gd name="connsiteX83" fmla="*/ 64793 w 276871"/>
                      <a:gd name="connsiteY83" fmla="*/ 20692 h 195558"/>
                      <a:gd name="connsiteX84" fmla="*/ 70693 w 276871"/>
                      <a:gd name="connsiteY84" fmla="*/ 20390 h 195558"/>
                      <a:gd name="connsiteX85" fmla="*/ 77417 w 276871"/>
                      <a:gd name="connsiteY85" fmla="*/ 13420 h 195558"/>
                      <a:gd name="connsiteX86" fmla="*/ 86143 w 276871"/>
                      <a:gd name="connsiteY86" fmla="*/ 6614 h 195558"/>
                      <a:gd name="connsiteX87" fmla="*/ 95008 w 276871"/>
                      <a:gd name="connsiteY87" fmla="*/ 12843 h 195558"/>
                      <a:gd name="connsiteX88" fmla="*/ 97230 w 276871"/>
                      <a:gd name="connsiteY88" fmla="*/ 11087 h 195558"/>
                      <a:gd name="connsiteX89" fmla="*/ 116221 w 276871"/>
                      <a:gd name="connsiteY89" fmla="*/ 15670 h 195558"/>
                      <a:gd name="connsiteX90" fmla="*/ 126622 w 276871"/>
                      <a:gd name="connsiteY90" fmla="*/ 13337 h 195558"/>
                      <a:gd name="connsiteX91" fmla="*/ 137764 w 276871"/>
                      <a:gd name="connsiteY91" fmla="*/ 23299 h 195558"/>
                      <a:gd name="connsiteX92" fmla="*/ 141990 w 276871"/>
                      <a:gd name="connsiteY92" fmla="*/ 22448 h 195558"/>
                      <a:gd name="connsiteX93" fmla="*/ 147808 w 276871"/>
                      <a:gd name="connsiteY93" fmla="*/ 15533 h 195558"/>
                      <a:gd name="connsiteX94" fmla="*/ 165646 w 276871"/>
                      <a:gd name="connsiteY94" fmla="*/ 13090 h 195558"/>
                      <a:gd name="connsiteX95" fmla="*/ 171628 w 276871"/>
                      <a:gd name="connsiteY95" fmla="*/ 12377 h 195558"/>
                      <a:gd name="connsiteX96" fmla="*/ 174757 w 276871"/>
                      <a:gd name="connsiteY96" fmla="*/ 10648 h 195558"/>
                      <a:gd name="connsiteX97" fmla="*/ 179038 w 276871"/>
                      <a:gd name="connsiteY97" fmla="*/ 3320 h 195558"/>
                      <a:gd name="connsiteX98" fmla="*/ 187271 w 276871"/>
                      <a:gd name="connsiteY98" fmla="*/ 0 h 195558"/>
                      <a:gd name="connsiteX99" fmla="*/ 192458 w 276871"/>
                      <a:gd name="connsiteY99" fmla="*/ 631 h 195558"/>
                      <a:gd name="connsiteX100" fmla="*/ 198714 w 276871"/>
                      <a:gd name="connsiteY100" fmla="*/ 6120 h 195558"/>
                      <a:gd name="connsiteX101" fmla="*/ 203078 w 276871"/>
                      <a:gd name="connsiteY101" fmla="*/ 13639 h 19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76871" h="195558">
                        <a:moveTo>
                          <a:pt x="203023" y="13749"/>
                        </a:moveTo>
                        <a:lnTo>
                          <a:pt x="207359" y="27196"/>
                        </a:lnTo>
                        <a:lnTo>
                          <a:pt x="209555" y="29529"/>
                        </a:lnTo>
                        <a:lnTo>
                          <a:pt x="222974" y="50028"/>
                        </a:lnTo>
                        <a:lnTo>
                          <a:pt x="229753" y="56093"/>
                        </a:lnTo>
                        <a:lnTo>
                          <a:pt x="230796" y="62021"/>
                        </a:lnTo>
                        <a:lnTo>
                          <a:pt x="234500" y="71544"/>
                        </a:lnTo>
                        <a:lnTo>
                          <a:pt x="234555" y="79612"/>
                        </a:lnTo>
                        <a:lnTo>
                          <a:pt x="231673" y="86939"/>
                        </a:lnTo>
                        <a:lnTo>
                          <a:pt x="230851" y="93224"/>
                        </a:lnTo>
                        <a:lnTo>
                          <a:pt x="232305" y="111007"/>
                        </a:lnTo>
                        <a:lnTo>
                          <a:pt x="230741" y="114794"/>
                        </a:lnTo>
                        <a:lnTo>
                          <a:pt x="233677" y="120228"/>
                        </a:lnTo>
                        <a:lnTo>
                          <a:pt x="239495" y="126869"/>
                        </a:lnTo>
                        <a:lnTo>
                          <a:pt x="249429" y="129366"/>
                        </a:lnTo>
                        <a:lnTo>
                          <a:pt x="269627" y="121902"/>
                        </a:lnTo>
                        <a:lnTo>
                          <a:pt x="274979" y="125222"/>
                        </a:lnTo>
                        <a:lnTo>
                          <a:pt x="276872" y="130903"/>
                        </a:lnTo>
                        <a:lnTo>
                          <a:pt x="274841" y="145832"/>
                        </a:lnTo>
                        <a:lnTo>
                          <a:pt x="261888" y="149015"/>
                        </a:lnTo>
                        <a:lnTo>
                          <a:pt x="256729" y="153022"/>
                        </a:lnTo>
                        <a:lnTo>
                          <a:pt x="246411" y="168280"/>
                        </a:lnTo>
                        <a:lnTo>
                          <a:pt x="246795" y="181480"/>
                        </a:lnTo>
                        <a:lnTo>
                          <a:pt x="244517" y="191662"/>
                        </a:lnTo>
                        <a:lnTo>
                          <a:pt x="234034" y="190564"/>
                        </a:lnTo>
                        <a:lnTo>
                          <a:pt x="227859" y="187381"/>
                        </a:lnTo>
                        <a:lnTo>
                          <a:pt x="225142" y="181453"/>
                        </a:lnTo>
                        <a:lnTo>
                          <a:pt x="218529" y="181535"/>
                        </a:lnTo>
                        <a:lnTo>
                          <a:pt x="209664" y="180108"/>
                        </a:lnTo>
                        <a:lnTo>
                          <a:pt x="206042" y="175827"/>
                        </a:lnTo>
                        <a:lnTo>
                          <a:pt x="196574" y="175333"/>
                        </a:lnTo>
                        <a:lnTo>
                          <a:pt x="179889" y="179422"/>
                        </a:lnTo>
                        <a:lnTo>
                          <a:pt x="179203" y="179477"/>
                        </a:lnTo>
                        <a:lnTo>
                          <a:pt x="172177" y="182358"/>
                        </a:lnTo>
                        <a:lnTo>
                          <a:pt x="165591" y="189055"/>
                        </a:lnTo>
                        <a:lnTo>
                          <a:pt x="159032" y="193720"/>
                        </a:lnTo>
                        <a:lnTo>
                          <a:pt x="155273" y="195559"/>
                        </a:lnTo>
                        <a:lnTo>
                          <a:pt x="147972" y="195037"/>
                        </a:lnTo>
                        <a:lnTo>
                          <a:pt x="129092" y="192265"/>
                        </a:lnTo>
                        <a:lnTo>
                          <a:pt x="123960" y="191113"/>
                        </a:lnTo>
                        <a:lnTo>
                          <a:pt x="119349" y="193308"/>
                        </a:lnTo>
                        <a:lnTo>
                          <a:pt x="113120" y="193199"/>
                        </a:lnTo>
                        <a:lnTo>
                          <a:pt x="98987" y="189494"/>
                        </a:lnTo>
                        <a:lnTo>
                          <a:pt x="92455" y="187106"/>
                        </a:lnTo>
                        <a:lnTo>
                          <a:pt x="80353" y="188835"/>
                        </a:lnTo>
                        <a:lnTo>
                          <a:pt x="76237" y="186036"/>
                        </a:lnTo>
                        <a:lnTo>
                          <a:pt x="77334" y="181974"/>
                        </a:lnTo>
                        <a:lnTo>
                          <a:pt x="81094" y="179257"/>
                        </a:lnTo>
                        <a:lnTo>
                          <a:pt x="79420" y="176952"/>
                        </a:lnTo>
                        <a:lnTo>
                          <a:pt x="70858" y="172122"/>
                        </a:lnTo>
                        <a:lnTo>
                          <a:pt x="65067" y="162572"/>
                        </a:lnTo>
                        <a:lnTo>
                          <a:pt x="68937" y="159087"/>
                        </a:lnTo>
                        <a:lnTo>
                          <a:pt x="72477" y="159004"/>
                        </a:lnTo>
                        <a:lnTo>
                          <a:pt x="71736" y="156562"/>
                        </a:lnTo>
                        <a:lnTo>
                          <a:pt x="63311" y="152446"/>
                        </a:lnTo>
                        <a:lnTo>
                          <a:pt x="55297" y="161090"/>
                        </a:lnTo>
                        <a:lnTo>
                          <a:pt x="51511" y="156343"/>
                        </a:lnTo>
                        <a:lnTo>
                          <a:pt x="51401" y="156206"/>
                        </a:lnTo>
                        <a:lnTo>
                          <a:pt x="40890" y="153461"/>
                        </a:lnTo>
                        <a:lnTo>
                          <a:pt x="38475" y="150031"/>
                        </a:lnTo>
                        <a:lnTo>
                          <a:pt x="32163" y="147122"/>
                        </a:lnTo>
                        <a:lnTo>
                          <a:pt x="37707" y="144432"/>
                        </a:lnTo>
                        <a:lnTo>
                          <a:pt x="33535" y="139657"/>
                        </a:lnTo>
                        <a:lnTo>
                          <a:pt x="36417" y="134306"/>
                        </a:lnTo>
                        <a:lnTo>
                          <a:pt x="35703" y="131671"/>
                        </a:lnTo>
                        <a:lnTo>
                          <a:pt x="22119" y="126155"/>
                        </a:lnTo>
                        <a:lnTo>
                          <a:pt x="16273" y="119158"/>
                        </a:lnTo>
                        <a:lnTo>
                          <a:pt x="16054" y="108153"/>
                        </a:lnTo>
                        <a:lnTo>
                          <a:pt x="11718" y="106424"/>
                        </a:lnTo>
                        <a:lnTo>
                          <a:pt x="0" y="92346"/>
                        </a:lnTo>
                        <a:lnTo>
                          <a:pt x="12953" y="90891"/>
                        </a:lnTo>
                        <a:lnTo>
                          <a:pt x="15039" y="86006"/>
                        </a:lnTo>
                        <a:lnTo>
                          <a:pt x="22695" y="87049"/>
                        </a:lnTo>
                        <a:lnTo>
                          <a:pt x="26346" y="84497"/>
                        </a:lnTo>
                        <a:lnTo>
                          <a:pt x="30380" y="79365"/>
                        </a:lnTo>
                        <a:lnTo>
                          <a:pt x="30928" y="72202"/>
                        </a:lnTo>
                        <a:lnTo>
                          <a:pt x="34633" y="69952"/>
                        </a:lnTo>
                        <a:lnTo>
                          <a:pt x="41027" y="54008"/>
                        </a:lnTo>
                        <a:lnTo>
                          <a:pt x="51483" y="37734"/>
                        </a:lnTo>
                        <a:lnTo>
                          <a:pt x="52252" y="32328"/>
                        </a:lnTo>
                        <a:lnTo>
                          <a:pt x="54831" y="29035"/>
                        </a:lnTo>
                        <a:lnTo>
                          <a:pt x="56368" y="28925"/>
                        </a:lnTo>
                        <a:lnTo>
                          <a:pt x="57575" y="25988"/>
                        </a:lnTo>
                        <a:lnTo>
                          <a:pt x="64793" y="20692"/>
                        </a:lnTo>
                        <a:lnTo>
                          <a:pt x="70693" y="20390"/>
                        </a:lnTo>
                        <a:lnTo>
                          <a:pt x="77417" y="13420"/>
                        </a:lnTo>
                        <a:lnTo>
                          <a:pt x="86143" y="6614"/>
                        </a:lnTo>
                        <a:lnTo>
                          <a:pt x="95008" y="12843"/>
                        </a:lnTo>
                        <a:lnTo>
                          <a:pt x="97230" y="11087"/>
                        </a:lnTo>
                        <a:lnTo>
                          <a:pt x="116221" y="15670"/>
                        </a:lnTo>
                        <a:lnTo>
                          <a:pt x="126622" y="13337"/>
                        </a:lnTo>
                        <a:lnTo>
                          <a:pt x="137764" y="23299"/>
                        </a:lnTo>
                        <a:lnTo>
                          <a:pt x="141990" y="22448"/>
                        </a:lnTo>
                        <a:lnTo>
                          <a:pt x="147808" y="15533"/>
                        </a:lnTo>
                        <a:lnTo>
                          <a:pt x="165646" y="13090"/>
                        </a:lnTo>
                        <a:lnTo>
                          <a:pt x="171628" y="12377"/>
                        </a:lnTo>
                        <a:lnTo>
                          <a:pt x="174757" y="10648"/>
                        </a:lnTo>
                        <a:lnTo>
                          <a:pt x="179038" y="3320"/>
                        </a:lnTo>
                        <a:lnTo>
                          <a:pt x="187271" y="0"/>
                        </a:lnTo>
                        <a:lnTo>
                          <a:pt x="192458" y="631"/>
                        </a:lnTo>
                        <a:lnTo>
                          <a:pt x="198714" y="6120"/>
                        </a:lnTo>
                        <a:lnTo>
                          <a:pt x="203078" y="1363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1" name="Freeform: Shape 3490">
                    <a:extLst>
                      <a:ext uri="{FF2B5EF4-FFF2-40B4-BE49-F238E27FC236}">
                        <a16:creationId xmlns:a16="http://schemas.microsoft.com/office/drawing/2014/main" id="{96C1C735-40DE-6836-4A06-CE4BEA13D8DA}"/>
                      </a:ext>
                    </a:extLst>
                  </p:cNvPr>
                  <p:cNvSpPr/>
                  <p:nvPr/>
                </p:nvSpPr>
                <p:spPr>
                  <a:xfrm>
                    <a:off x="-5870716" y="2941228"/>
                    <a:ext cx="292569" cy="275280"/>
                  </a:xfrm>
                  <a:custGeom>
                    <a:avLst/>
                    <a:gdLst>
                      <a:gd name="connsiteX0" fmla="*/ 131452 w 292569"/>
                      <a:gd name="connsiteY0" fmla="*/ 20500 h 275280"/>
                      <a:gd name="connsiteX1" fmla="*/ 141276 w 292569"/>
                      <a:gd name="connsiteY1" fmla="*/ 23766 h 275280"/>
                      <a:gd name="connsiteX2" fmla="*/ 152830 w 292569"/>
                      <a:gd name="connsiteY2" fmla="*/ 23162 h 275280"/>
                      <a:gd name="connsiteX3" fmla="*/ 161557 w 292569"/>
                      <a:gd name="connsiteY3" fmla="*/ 18716 h 275280"/>
                      <a:gd name="connsiteX4" fmla="*/ 161831 w 292569"/>
                      <a:gd name="connsiteY4" fmla="*/ 18991 h 275280"/>
                      <a:gd name="connsiteX5" fmla="*/ 150470 w 292569"/>
                      <a:gd name="connsiteY5" fmla="*/ 24836 h 275280"/>
                      <a:gd name="connsiteX6" fmla="*/ 150333 w 292569"/>
                      <a:gd name="connsiteY6" fmla="*/ 27800 h 275280"/>
                      <a:gd name="connsiteX7" fmla="*/ 154806 w 292569"/>
                      <a:gd name="connsiteY7" fmla="*/ 27937 h 275280"/>
                      <a:gd name="connsiteX8" fmla="*/ 166415 w 292569"/>
                      <a:gd name="connsiteY8" fmla="*/ 19539 h 275280"/>
                      <a:gd name="connsiteX9" fmla="*/ 181398 w 292569"/>
                      <a:gd name="connsiteY9" fmla="*/ 21570 h 275280"/>
                      <a:gd name="connsiteX10" fmla="*/ 218035 w 292569"/>
                      <a:gd name="connsiteY10" fmla="*/ 25604 h 275280"/>
                      <a:gd name="connsiteX11" fmla="*/ 254287 w 292569"/>
                      <a:gd name="connsiteY11" fmla="*/ 23546 h 275280"/>
                      <a:gd name="connsiteX12" fmla="*/ 259364 w 292569"/>
                      <a:gd name="connsiteY12" fmla="*/ 22366 h 275280"/>
                      <a:gd name="connsiteX13" fmla="*/ 269847 w 292569"/>
                      <a:gd name="connsiteY13" fmla="*/ 29117 h 275280"/>
                      <a:gd name="connsiteX14" fmla="*/ 274979 w 292569"/>
                      <a:gd name="connsiteY14" fmla="*/ 35539 h 275280"/>
                      <a:gd name="connsiteX15" fmla="*/ 275555 w 292569"/>
                      <a:gd name="connsiteY15" fmla="*/ 43991 h 275280"/>
                      <a:gd name="connsiteX16" fmla="*/ 277723 w 292569"/>
                      <a:gd name="connsiteY16" fmla="*/ 56972 h 275280"/>
                      <a:gd name="connsiteX17" fmla="*/ 285764 w 292569"/>
                      <a:gd name="connsiteY17" fmla="*/ 81396 h 275280"/>
                      <a:gd name="connsiteX18" fmla="*/ 287356 w 292569"/>
                      <a:gd name="connsiteY18" fmla="*/ 95886 h 275280"/>
                      <a:gd name="connsiteX19" fmla="*/ 286944 w 292569"/>
                      <a:gd name="connsiteY19" fmla="*/ 106012 h 275280"/>
                      <a:gd name="connsiteX20" fmla="*/ 273936 w 292569"/>
                      <a:gd name="connsiteY20" fmla="*/ 113614 h 275280"/>
                      <a:gd name="connsiteX21" fmla="*/ 265648 w 292569"/>
                      <a:gd name="connsiteY21" fmla="*/ 126018 h 275280"/>
                      <a:gd name="connsiteX22" fmla="*/ 279809 w 292569"/>
                      <a:gd name="connsiteY22" fmla="*/ 137297 h 275280"/>
                      <a:gd name="connsiteX23" fmla="*/ 278574 w 292569"/>
                      <a:gd name="connsiteY23" fmla="*/ 149290 h 275280"/>
                      <a:gd name="connsiteX24" fmla="*/ 276433 w 292569"/>
                      <a:gd name="connsiteY24" fmla="*/ 152748 h 275280"/>
                      <a:gd name="connsiteX25" fmla="*/ 278546 w 292569"/>
                      <a:gd name="connsiteY25" fmla="*/ 162874 h 275280"/>
                      <a:gd name="connsiteX26" fmla="*/ 281263 w 292569"/>
                      <a:gd name="connsiteY26" fmla="*/ 173824 h 275280"/>
                      <a:gd name="connsiteX27" fmla="*/ 292570 w 292569"/>
                      <a:gd name="connsiteY27" fmla="*/ 193418 h 275280"/>
                      <a:gd name="connsiteX28" fmla="*/ 289222 w 292569"/>
                      <a:gd name="connsiteY28" fmla="*/ 195861 h 275280"/>
                      <a:gd name="connsiteX29" fmla="*/ 292487 w 292569"/>
                      <a:gd name="connsiteY29" fmla="*/ 203435 h 275280"/>
                      <a:gd name="connsiteX30" fmla="*/ 291115 w 292569"/>
                      <a:gd name="connsiteY30" fmla="*/ 211723 h 275280"/>
                      <a:gd name="connsiteX31" fmla="*/ 281703 w 292569"/>
                      <a:gd name="connsiteY31" fmla="*/ 215674 h 275280"/>
                      <a:gd name="connsiteX32" fmla="*/ 276515 w 292569"/>
                      <a:gd name="connsiteY32" fmla="*/ 221520 h 275280"/>
                      <a:gd name="connsiteX33" fmla="*/ 251186 w 292569"/>
                      <a:gd name="connsiteY33" fmla="*/ 252530 h 275280"/>
                      <a:gd name="connsiteX34" fmla="*/ 252942 w 292569"/>
                      <a:gd name="connsiteY34" fmla="*/ 267843 h 275280"/>
                      <a:gd name="connsiteX35" fmla="*/ 255522 w 292569"/>
                      <a:gd name="connsiteY35" fmla="*/ 275280 h 275280"/>
                      <a:gd name="connsiteX36" fmla="*/ 247673 w 292569"/>
                      <a:gd name="connsiteY36" fmla="*/ 274430 h 275280"/>
                      <a:gd name="connsiteX37" fmla="*/ 233019 w 292569"/>
                      <a:gd name="connsiteY37" fmla="*/ 268502 h 275280"/>
                      <a:gd name="connsiteX38" fmla="*/ 227475 w 292569"/>
                      <a:gd name="connsiteY38" fmla="*/ 261477 h 275280"/>
                      <a:gd name="connsiteX39" fmla="*/ 213314 w 292569"/>
                      <a:gd name="connsiteY39" fmla="*/ 258869 h 275280"/>
                      <a:gd name="connsiteX40" fmla="*/ 205219 w 292569"/>
                      <a:gd name="connsiteY40" fmla="*/ 259611 h 275280"/>
                      <a:gd name="connsiteX41" fmla="*/ 199785 w 292569"/>
                      <a:gd name="connsiteY41" fmla="*/ 264331 h 275280"/>
                      <a:gd name="connsiteX42" fmla="*/ 190290 w 292569"/>
                      <a:gd name="connsiteY42" fmla="*/ 259583 h 275280"/>
                      <a:gd name="connsiteX43" fmla="*/ 188890 w 292569"/>
                      <a:gd name="connsiteY43" fmla="*/ 261065 h 275280"/>
                      <a:gd name="connsiteX44" fmla="*/ 184499 w 292569"/>
                      <a:gd name="connsiteY44" fmla="*/ 260160 h 275280"/>
                      <a:gd name="connsiteX45" fmla="*/ 177309 w 292569"/>
                      <a:gd name="connsiteY45" fmla="*/ 263754 h 275280"/>
                      <a:gd name="connsiteX46" fmla="*/ 174510 w 292569"/>
                      <a:gd name="connsiteY46" fmla="*/ 269490 h 275280"/>
                      <a:gd name="connsiteX47" fmla="*/ 168829 w 292569"/>
                      <a:gd name="connsiteY47" fmla="*/ 269216 h 275280"/>
                      <a:gd name="connsiteX48" fmla="*/ 165893 w 292569"/>
                      <a:gd name="connsiteY48" fmla="*/ 268529 h 275280"/>
                      <a:gd name="connsiteX49" fmla="*/ 165811 w 292569"/>
                      <a:gd name="connsiteY49" fmla="*/ 260955 h 275280"/>
                      <a:gd name="connsiteX50" fmla="*/ 162161 w 292569"/>
                      <a:gd name="connsiteY50" fmla="*/ 259912 h 275280"/>
                      <a:gd name="connsiteX51" fmla="*/ 156562 w 292569"/>
                      <a:gd name="connsiteY51" fmla="*/ 250719 h 275280"/>
                      <a:gd name="connsiteX52" fmla="*/ 147616 w 292569"/>
                      <a:gd name="connsiteY52" fmla="*/ 259583 h 275280"/>
                      <a:gd name="connsiteX53" fmla="*/ 142676 w 292569"/>
                      <a:gd name="connsiteY53" fmla="*/ 259967 h 275280"/>
                      <a:gd name="connsiteX54" fmla="*/ 140975 w 292569"/>
                      <a:gd name="connsiteY54" fmla="*/ 255796 h 275280"/>
                      <a:gd name="connsiteX55" fmla="*/ 138423 w 292569"/>
                      <a:gd name="connsiteY55" fmla="*/ 255110 h 275280"/>
                      <a:gd name="connsiteX56" fmla="*/ 136968 w 292569"/>
                      <a:gd name="connsiteY56" fmla="*/ 248688 h 275280"/>
                      <a:gd name="connsiteX57" fmla="*/ 131480 w 292569"/>
                      <a:gd name="connsiteY57" fmla="*/ 244517 h 275280"/>
                      <a:gd name="connsiteX58" fmla="*/ 130299 w 292569"/>
                      <a:gd name="connsiteY58" fmla="*/ 237217 h 275280"/>
                      <a:gd name="connsiteX59" fmla="*/ 123000 w 292569"/>
                      <a:gd name="connsiteY59" fmla="*/ 236394 h 275280"/>
                      <a:gd name="connsiteX60" fmla="*/ 114410 w 292569"/>
                      <a:gd name="connsiteY60" fmla="*/ 230109 h 275280"/>
                      <a:gd name="connsiteX61" fmla="*/ 108839 w 292569"/>
                      <a:gd name="connsiteY61" fmla="*/ 233595 h 275280"/>
                      <a:gd name="connsiteX62" fmla="*/ 103158 w 292569"/>
                      <a:gd name="connsiteY62" fmla="*/ 226706 h 275280"/>
                      <a:gd name="connsiteX63" fmla="*/ 105601 w 292569"/>
                      <a:gd name="connsiteY63" fmla="*/ 223386 h 275280"/>
                      <a:gd name="connsiteX64" fmla="*/ 105436 w 292569"/>
                      <a:gd name="connsiteY64" fmla="*/ 220038 h 275280"/>
                      <a:gd name="connsiteX65" fmla="*/ 96600 w 292569"/>
                      <a:gd name="connsiteY65" fmla="*/ 221465 h 275280"/>
                      <a:gd name="connsiteX66" fmla="*/ 81286 w 292569"/>
                      <a:gd name="connsiteY66" fmla="*/ 212464 h 275280"/>
                      <a:gd name="connsiteX67" fmla="*/ 80683 w 292569"/>
                      <a:gd name="connsiteY67" fmla="*/ 214467 h 275280"/>
                      <a:gd name="connsiteX68" fmla="*/ 83838 w 292569"/>
                      <a:gd name="connsiteY68" fmla="*/ 220806 h 275280"/>
                      <a:gd name="connsiteX69" fmla="*/ 79969 w 292569"/>
                      <a:gd name="connsiteY69" fmla="*/ 224045 h 275280"/>
                      <a:gd name="connsiteX70" fmla="*/ 75578 w 292569"/>
                      <a:gd name="connsiteY70" fmla="*/ 227804 h 275280"/>
                      <a:gd name="connsiteX71" fmla="*/ 71654 w 292569"/>
                      <a:gd name="connsiteY71" fmla="*/ 226569 h 275280"/>
                      <a:gd name="connsiteX72" fmla="*/ 62214 w 292569"/>
                      <a:gd name="connsiteY72" fmla="*/ 212244 h 275280"/>
                      <a:gd name="connsiteX73" fmla="*/ 66000 w 292569"/>
                      <a:gd name="connsiteY73" fmla="*/ 208127 h 275280"/>
                      <a:gd name="connsiteX74" fmla="*/ 66110 w 292569"/>
                      <a:gd name="connsiteY74" fmla="*/ 205328 h 275280"/>
                      <a:gd name="connsiteX75" fmla="*/ 57740 w 292569"/>
                      <a:gd name="connsiteY75" fmla="*/ 202611 h 275280"/>
                      <a:gd name="connsiteX76" fmla="*/ 55984 w 292569"/>
                      <a:gd name="connsiteY76" fmla="*/ 204093 h 275280"/>
                      <a:gd name="connsiteX77" fmla="*/ 48656 w 292569"/>
                      <a:gd name="connsiteY77" fmla="*/ 198879 h 275280"/>
                      <a:gd name="connsiteX78" fmla="*/ 40918 w 292569"/>
                      <a:gd name="connsiteY78" fmla="*/ 197150 h 275280"/>
                      <a:gd name="connsiteX79" fmla="*/ 36253 w 292569"/>
                      <a:gd name="connsiteY79" fmla="*/ 196107 h 275280"/>
                      <a:gd name="connsiteX80" fmla="*/ 32300 w 292569"/>
                      <a:gd name="connsiteY80" fmla="*/ 187628 h 275280"/>
                      <a:gd name="connsiteX81" fmla="*/ 27004 w 292569"/>
                      <a:gd name="connsiteY81" fmla="*/ 186365 h 275280"/>
                      <a:gd name="connsiteX82" fmla="*/ 24480 w 292569"/>
                      <a:gd name="connsiteY82" fmla="*/ 192540 h 275280"/>
                      <a:gd name="connsiteX83" fmla="*/ 19979 w 292569"/>
                      <a:gd name="connsiteY83" fmla="*/ 192924 h 275280"/>
                      <a:gd name="connsiteX84" fmla="*/ 25083 w 292569"/>
                      <a:gd name="connsiteY84" fmla="*/ 180438 h 275280"/>
                      <a:gd name="connsiteX85" fmla="*/ 25824 w 292569"/>
                      <a:gd name="connsiteY85" fmla="*/ 173934 h 275280"/>
                      <a:gd name="connsiteX86" fmla="*/ 24397 w 292569"/>
                      <a:gd name="connsiteY86" fmla="*/ 169762 h 275280"/>
                      <a:gd name="connsiteX87" fmla="*/ 23190 w 292569"/>
                      <a:gd name="connsiteY87" fmla="*/ 165015 h 275280"/>
                      <a:gd name="connsiteX88" fmla="*/ 18305 w 292569"/>
                      <a:gd name="connsiteY88" fmla="*/ 162462 h 275280"/>
                      <a:gd name="connsiteX89" fmla="*/ 17207 w 292569"/>
                      <a:gd name="connsiteY89" fmla="*/ 159471 h 275280"/>
                      <a:gd name="connsiteX90" fmla="*/ 17536 w 292569"/>
                      <a:gd name="connsiteY90" fmla="*/ 155519 h 275280"/>
                      <a:gd name="connsiteX91" fmla="*/ 13804 w 292569"/>
                      <a:gd name="connsiteY91" fmla="*/ 147863 h 275280"/>
                      <a:gd name="connsiteX92" fmla="*/ 16850 w 292569"/>
                      <a:gd name="connsiteY92" fmla="*/ 139520 h 275280"/>
                      <a:gd name="connsiteX93" fmla="*/ 17975 w 292569"/>
                      <a:gd name="connsiteY93" fmla="*/ 136254 h 275280"/>
                      <a:gd name="connsiteX94" fmla="*/ 16219 w 292569"/>
                      <a:gd name="connsiteY94" fmla="*/ 128625 h 275280"/>
                      <a:gd name="connsiteX95" fmla="*/ 13420 w 292569"/>
                      <a:gd name="connsiteY95" fmla="*/ 126567 h 275280"/>
                      <a:gd name="connsiteX96" fmla="*/ 11472 w 292569"/>
                      <a:gd name="connsiteY96" fmla="*/ 120639 h 275280"/>
                      <a:gd name="connsiteX97" fmla="*/ 14271 w 292569"/>
                      <a:gd name="connsiteY97" fmla="*/ 114519 h 275280"/>
                      <a:gd name="connsiteX98" fmla="*/ 12404 w 292569"/>
                      <a:gd name="connsiteY98" fmla="*/ 109552 h 275280"/>
                      <a:gd name="connsiteX99" fmla="*/ 8617 w 292569"/>
                      <a:gd name="connsiteY99" fmla="*/ 106863 h 275280"/>
                      <a:gd name="connsiteX100" fmla="*/ 330 w 292569"/>
                      <a:gd name="connsiteY100" fmla="*/ 99124 h 275280"/>
                      <a:gd name="connsiteX101" fmla="*/ 385 w 292569"/>
                      <a:gd name="connsiteY101" fmla="*/ 96352 h 275280"/>
                      <a:gd name="connsiteX102" fmla="*/ 0 w 292569"/>
                      <a:gd name="connsiteY102" fmla="*/ 93169 h 275280"/>
                      <a:gd name="connsiteX103" fmla="*/ 5818 w 292569"/>
                      <a:gd name="connsiteY103" fmla="*/ 88174 h 275280"/>
                      <a:gd name="connsiteX104" fmla="*/ 6861 w 292569"/>
                      <a:gd name="connsiteY104" fmla="*/ 81423 h 275280"/>
                      <a:gd name="connsiteX105" fmla="*/ 8453 w 292569"/>
                      <a:gd name="connsiteY105" fmla="*/ 78514 h 275280"/>
                      <a:gd name="connsiteX106" fmla="*/ 7876 w 292569"/>
                      <a:gd name="connsiteY106" fmla="*/ 75111 h 275280"/>
                      <a:gd name="connsiteX107" fmla="*/ 3650 w 292569"/>
                      <a:gd name="connsiteY107" fmla="*/ 56862 h 275280"/>
                      <a:gd name="connsiteX108" fmla="*/ 10566 w 292569"/>
                      <a:gd name="connsiteY108" fmla="*/ 57219 h 275280"/>
                      <a:gd name="connsiteX109" fmla="*/ 12734 w 292569"/>
                      <a:gd name="connsiteY109" fmla="*/ 50824 h 275280"/>
                      <a:gd name="connsiteX110" fmla="*/ 9386 w 292569"/>
                      <a:gd name="connsiteY110" fmla="*/ 49041 h 275280"/>
                      <a:gd name="connsiteX111" fmla="*/ 2031 w 292569"/>
                      <a:gd name="connsiteY111" fmla="*/ 49672 h 275280"/>
                      <a:gd name="connsiteX112" fmla="*/ 2031 w 292569"/>
                      <a:gd name="connsiteY112" fmla="*/ 48492 h 275280"/>
                      <a:gd name="connsiteX113" fmla="*/ 2388 w 292569"/>
                      <a:gd name="connsiteY113" fmla="*/ 45391 h 275280"/>
                      <a:gd name="connsiteX114" fmla="*/ 7108 w 292569"/>
                      <a:gd name="connsiteY114" fmla="*/ 45885 h 275280"/>
                      <a:gd name="connsiteX115" fmla="*/ 14600 w 292569"/>
                      <a:gd name="connsiteY115" fmla="*/ 41960 h 275280"/>
                      <a:gd name="connsiteX116" fmla="*/ 17536 w 292569"/>
                      <a:gd name="connsiteY116" fmla="*/ 44787 h 275280"/>
                      <a:gd name="connsiteX117" fmla="*/ 20720 w 292569"/>
                      <a:gd name="connsiteY117" fmla="*/ 39545 h 275280"/>
                      <a:gd name="connsiteX118" fmla="*/ 36554 w 292569"/>
                      <a:gd name="connsiteY118" fmla="*/ 33865 h 275280"/>
                      <a:gd name="connsiteX119" fmla="*/ 57795 w 292569"/>
                      <a:gd name="connsiteY119" fmla="*/ 27745 h 275280"/>
                      <a:gd name="connsiteX120" fmla="*/ 69019 w 292569"/>
                      <a:gd name="connsiteY120" fmla="*/ 15725 h 275280"/>
                      <a:gd name="connsiteX121" fmla="*/ 75139 w 292569"/>
                      <a:gd name="connsiteY121" fmla="*/ 13173 h 275280"/>
                      <a:gd name="connsiteX122" fmla="*/ 91550 w 292569"/>
                      <a:gd name="connsiteY122" fmla="*/ 4994 h 275280"/>
                      <a:gd name="connsiteX123" fmla="*/ 103597 w 292569"/>
                      <a:gd name="connsiteY123" fmla="*/ 2278 h 275280"/>
                      <a:gd name="connsiteX124" fmla="*/ 123082 w 292569"/>
                      <a:gd name="connsiteY124" fmla="*/ 0 h 275280"/>
                      <a:gd name="connsiteX125" fmla="*/ 129339 w 292569"/>
                      <a:gd name="connsiteY125" fmla="*/ 12404 h 275280"/>
                      <a:gd name="connsiteX126" fmla="*/ 131507 w 292569"/>
                      <a:gd name="connsiteY126" fmla="*/ 20555 h 275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92569" h="275280">
                        <a:moveTo>
                          <a:pt x="131452" y="20500"/>
                        </a:moveTo>
                        <a:lnTo>
                          <a:pt x="141276" y="23766"/>
                        </a:lnTo>
                        <a:lnTo>
                          <a:pt x="152830" y="23162"/>
                        </a:lnTo>
                        <a:lnTo>
                          <a:pt x="161557" y="18716"/>
                        </a:lnTo>
                        <a:lnTo>
                          <a:pt x="161831" y="18991"/>
                        </a:lnTo>
                        <a:lnTo>
                          <a:pt x="150470" y="24836"/>
                        </a:lnTo>
                        <a:lnTo>
                          <a:pt x="150333" y="27800"/>
                        </a:lnTo>
                        <a:lnTo>
                          <a:pt x="154806" y="27937"/>
                        </a:lnTo>
                        <a:lnTo>
                          <a:pt x="166415" y="19539"/>
                        </a:lnTo>
                        <a:lnTo>
                          <a:pt x="181398" y="21570"/>
                        </a:lnTo>
                        <a:lnTo>
                          <a:pt x="218035" y="25604"/>
                        </a:lnTo>
                        <a:lnTo>
                          <a:pt x="254287" y="23546"/>
                        </a:lnTo>
                        <a:lnTo>
                          <a:pt x="259364" y="22366"/>
                        </a:lnTo>
                        <a:lnTo>
                          <a:pt x="269847" y="29117"/>
                        </a:lnTo>
                        <a:lnTo>
                          <a:pt x="274979" y="35539"/>
                        </a:lnTo>
                        <a:lnTo>
                          <a:pt x="275555" y="43991"/>
                        </a:lnTo>
                        <a:lnTo>
                          <a:pt x="277723" y="56972"/>
                        </a:lnTo>
                        <a:lnTo>
                          <a:pt x="285764" y="81396"/>
                        </a:lnTo>
                        <a:lnTo>
                          <a:pt x="287356" y="95886"/>
                        </a:lnTo>
                        <a:lnTo>
                          <a:pt x="286944" y="106012"/>
                        </a:lnTo>
                        <a:lnTo>
                          <a:pt x="273936" y="113614"/>
                        </a:lnTo>
                        <a:lnTo>
                          <a:pt x="265648" y="126018"/>
                        </a:lnTo>
                        <a:lnTo>
                          <a:pt x="279809" y="137297"/>
                        </a:lnTo>
                        <a:lnTo>
                          <a:pt x="278574" y="149290"/>
                        </a:lnTo>
                        <a:lnTo>
                          <a:pt x="276433" y="152748"/>
                        </a:lnTo>
                        <a:lnTo>
                          <a:pt x="278546" y="162874"/>
                        </a:lnTo>
                        <a:lnTo>
                          <a:pt x="281263" y="173824"/>
                        </a:lnTo>
                        <a:lnTo>
                          <a:pt x="292570" y="193418"/>
                        </a:lnTo>
                        <a:lnTo>
                          <a:pt x="289222" y="195861"/>
                        </a:lnTo>
                        <a:lnTo>
                          <a:pt x="292487" y="203435"/>
                        </a:lnTo>
                        <a:lnTo>
                          <a:pt x="291115" y="211723"/>
                        </a:lnTo>
                        <a:lnTo>
                          <a:pt x="281703" y="215674"/>
                        </a:lnTo>
                        <a:lnTo>
                          <a:pt x="276515" y="221520"/>
                        </a:lnTo>
                        <a:lnTo>
                          <a:pt x="251186" y="252530"/>
                        </a:lnTo>
                        <a:lnTo>
                          <a:pt x="252942" y="267843"/>
                        </a:lnTo>
                        <a:lnTo>
                          <a:pt x="255522" y="275280"/>
                        </a:lnTo>
                        <a:lnTo>
                          <a:pt x="247673" y="274430"/>
                        </a:lnTo>
                        <a:lnTo>
                          <a:pt x="233019" y="268502"/>
                        </a:lnTo>
                        <a:lnTo>
                          <a:pt x="227475" y="261477"/>
                        </a:lnTo>
                        <a:lnTo>
                          <a:pt x="213314" y="258869"/>
                        </a:lnTo>
                        <a:lnTo>
                          <a:pt x="205219" y="259611"/>
                        </a:lnTo>
                        <a:lnTo>
                          <a:pt x="199785" y="264331"/>
                        </a:lnTo>
                        <a:lnTo>
                          <a:pt x="190290" y="259583"/>
                        </a:lnTo>
                        <a:lnTo>
                          <a:pt x="188890" y="261065"/>
                        </a:lnTo>
                        <a:lnTo>
                          <a:pt x="184499" y="260160"/>
                        </a:lnTo>
                        <a:lnTo>
                          <a:pt x="177309" y="263754"/>
                        </a:lnTo>
                        <a:lnTo>
                          <a:pt x="174510" y="269490"/>
                        </a:lnTo>
                        <a:lnTo>
                          <a:pt x="168829" y="269216"/>
                        </a:lnTo>
                        <a:lnTo>
                          <a:pt x="165893" y="268529"/>
                        </a:lnTo>
                        <a:lnTo>
                          <a:pt x="165811" y="260955"/>
                        </a:lnTo>
                        <a:lnTo>
                          <a:pt x="162161" y="259912"/>
                        </a:lnTo>
                        <a:lnTo>
                          <a:pt x="156562" y="250719"/>
                        </a:lnTo>
                        <a:lnTo>
                          <a:pt x="147616" y="259583"/>
                        </a:lnTo>
                        <a:lnTo>
                          <a:pt x="142676" y="259967"/>
                        </a:lnTo>
                        <a:lnTo>
                          <a:pt x="140975" y="255796"/>
                        </a:lnTo>
                        <a:lnTo>
                          <a:pt x="138423" y="255110"/>
                        </a:lnTo>
                        <a:lnTo>
                          <a:pt x="136968" y="248688"/>
                        </a:lnTo>
                        <a:lnTo>
                          <a:pt x="131480" y="244517"/>
                        </a:lnTo>
                        <a:lnTo>
                          <a:pt x="130299" y="237217"/>
                        </a:lnTo>
                        <a:lnTo>
                          <a:pt x="123000" y="236394"/>
                        </a:lnTo>
                        <a:lnTo>
                          <a:pt x="114410" y="230109"/>
                        </a:lnTo>
                        <a:lnTo>
                          <a:pt x="108839" y="233595"/>
                        </a:lnTo>
                        <a:lnTo>
                          <a:pt x="103158" y="226706"/>
                        </a:lnTo>
                        <a:lnTo>
                          <a:pt x="105601" y="223386"/>
                        </a:lnTo>
                        <a:lnTo>
                          <a:pt x="105436" y="220038"/>
                        </a:lnTo>
                        <a:lnTo>
                          <a:pt x="96600" y="221465"/>
                        </a:lnTo>
                        <a:lnTo>
                          <a:pt x="81286" y="212464"/>
                        </a:lnTo>
                        <a:lnTo>
                          <a:pt x="80683" y="214467"/>
                        </a:lnTo>
                        <a:lnTo>
                          <a:pt x="83838" y="220806"/>
                        </a:lnTo>
                        <a:lnTo>
                          <a:pt x="79969" y="224045"/>
                        </a:lnTo>
                        <a:lnTo>
                          <a:pt x="75578" y="227804"/>
                        </a:lnTo>
                        <a:lnTo>
                          <a:pt x="71654" y="226569"/>
                        </a:lnTo>
                        <a:lnTo>
                          <a:pt x="62214" y="212244"/>
                        </a:lnTo>
                        <a:lnTo>
                          <a:pt x="66000" y="208127"/>
                        </a:lnTo>
                        <a:lnTo>
                          <a:pt x="66110" y="205328"/>
                        </a:lnTo>
                        <a:lnTo>
                          <a:pt x="57740" y="202611"/>
                        </a:lnTo>
                        <a:lnTo>
                          <a:pt x="55984" y="204093"/>
                        </a:lnTo>
                        <a:lnTo>
                          <a:pt x="48656" y="198879"/>
                        </a:lnTo>
                        <a:lnTo>
                          <a:pt x="40918" y="197150"/>
                        </a:lnTo>
                        <a:lnTo>
                          <a:pt x="36253" y="196107"/>
                        </a:lnTo>
                        <a:lnTo>
                          <a:pt x="32300" y="187628"/>
                        </a:lnTo>
                        <a:lnTo>
                          <a:pt x="27004" y="186365"/>
                        </a:lnTo>
                        <a:lnTo>
                          <a:pt x="24480" y="192540"/>
                        </a:lnTo>
                        <a:lnTo>
                          <a:pt x="19979" y="192924"/>
                        </a:lnTo>
                        <a:lnTo>
                          <a:pt x="25083" y="180438"/>
                        </a:lnTo>
                        <a:lnTo>
                          <a:pt x="25824" y="173934"/>
                        </a:lnTo>
                        <a:lnTo>
                          <a:pt x="24397" y="169762"/>
                        </a:lnTo>
                        <a:lnTo>
                          <a:pt x="23190" y="165015"/>
                        </a:lnTo>
                        <a:lnTo>
                          <a:pt x="18305" y="162462"/>
                        </a:lnTo>
                        <a:lnTo>
                          <a:pt x="17207" y="159471"/>
                        </a:lnTo>
                        <a:lnTo>
                          <a:pt x="17536" y="155519"/>
                        </a:lnTo>
                        <a:lnTo>
                          <a:pt x="13804" y="147863"/>
                        </a:lnTo>
                        <a:lnTo>
                          <a:pt x="16850" y="139520"/>
                        </a:lnTo>
                        <a:lnTo>
                          <a:pt x="17975" y="136254"/>
                        </a:lnTo>
                        <a:lnTo>
                          <a:pt x="16219" y="128625"/>
                        </a:lnTo>
                        <a:lnTo>
                          <a:pt x="13420" y="126567"/>
                        </a:lnTo>
                        <a:lnTo>
                          <a:pt x="11472" y="120639"/>
                        </a:lnTo>
                        <a:lnTo>
                          <a:pt x="14271" y="114519"/>
                        </a:lnTo>
                        <a:lnTo>
                          <a:pt x="12404" y="109552"/>
                        </a:lnTo>
                        <a:lnTo>
                          <a:pt x="8617" y="106863"/>
                        </a:lnTo>
                        <a:lnTo>
                          <a:pt x="330" y="99124"/>
                        </a:lnTo>
                        <a:lnTo>
                          <a:pt x="385" y="96352"/>
                        </a:lnTo>
                        <a:lnTo>
                          <a:pt x="0" y="93169"/>
                        </a:lnTo>
                        <a:lnTo>
                          <a:pt x="5818" y="88174"/>
                        </a:lnTo>
                        <a:lnTo>
                          <a:pt x="6861" y="81423"/>
                        </a:lnTo>
                        <a:lnTo>
                          <a:pt x="8453" y="78514"/>
                        </a:lnTo>
                        <a:lnTo>
                          <a:pt x="7876" y="75111"/>
                        </a:lnTo>
                        <a:lnTo>
                          <a:pt x="3650" y="56862"/>
                        </a:lnTo>
                        <a:lnTo>
                          <a:pt x="10566" y="57219"/>
                        </a:lnTo>
                        <a:lnTo>
                          <a:pt x="12734" y="50824"/>
                        </a:lnTo>
                        <a:lnTo>
                          <a:pt x="9386" y="49041"/>
                        </a:lnTo>
                        <a:lnTo>
                          <a:pt x="2031" y="49672"/>
                        </a:lnTo>
                        <a:lnTo>
                          <a:pt x="2031" y="48492"/>
                        </a:lnTo>
                        <a:cubicBezTo>
                          <a:pt x="2031" y="48492"/>
                          <a:pt x="2388" y="45391"/>
                          <a:pt x="2388" y="45391"/>
                        </a:cubicBezTo>
                        <a:lnTo>
                          <a:pt x="7108" y="45885"/>
                        </a:lnTo>
                        <a:lnTo>
                          <a:pt x="14600" y="41960"/>
                        </a:lnTo>
                        <a:lnTo>
                          <a:pt x="17536" y="44787"/>
                        </a:lnTo>
                        <a:lnTo>
                          <a:pt x="20720" y="39545"/>
                        </a:lnTo>
                        <a:lnTo>
                          <a:pt x="36554" y="33865"/>
                        </a:lnTo>
                        <a:lnTo>
                          <a:pt x="57795" y="27745"/>
                        </a:lnTo>
                        <a:lnTo>
                          <a:pt x="69019" y="15725"/>
                        </a:lnTo>
                        <a:lnTo>
                          <a:pt x="75139" y="13173"/>
                        </a:lnTo>
                        <a:lnTo>
                          <a:pt x="91550" y="4994"/>
                        </a:lnTo>
                        <a:lnTo>
                          <a:pt x="103597" y="2278"/>
                        </a:lnTo>
                        <a:lnTo>
                          <a:pt x="123082" y="0"/>
                        </a:lnTo>
                        <a:lnTo>
                          <a:pt x="129339" y="12404"/>
                        </a:lnTo>
                        <a:lnTo>
                          <a:pt x="131507" y="2055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2" name="Freeform: Shape 3491">
                    <a:extLst>
                      <a:ext uri="{FF2B5EF4-FFF2-40B4-BE49-F238E27FC236}">
                        <a16:creationId xmlns:a16="http://schemas.microsoft.com/office/drawing/2014/main" id="{C644EF85-742D-55BB-9C47-FF29198EC02C}"/>
                      </a:ext>
                    </a:extLst>
                  </p:cNvPr>
                  <p:cNvSpPr/>
                  <p:nvPr/>
                </p:nvSpPr>
                <p:spPr>
                  <a:xfrm>
                    <a:off x="-5667474" y="2857856"/>
                    <a:ext cx="167264" cy="129887"/>
                  </a:xfrm>
                  <a:custGeom>
                    <a:avLst/>
                    <a:gdLst>
                      <a:gd name="connsiteX0" fmla="*/ 79063 w 167264"/>
                      <a:gd name="connsiteY0" fmla="*/ 3375 h 129887"/>
                      <a:gd name="connsiteX1" fmla="*/ 91028 w 167264"/>
                      <a:gd name="connsiteY1" fmla="*/ 9221 h 129887"/>
                      <a:gd name="connsiteX2" fmla="*/ 102170 w 167264"/>
                      <a:gd name="connsiteY2" fmla="*/ 7739 h 129887"/>
                      <a:gd name="connsiteX3" fmla="*/ 106314 w 167264"/>
                      <a:gd name="connsiteY3" fmla="*/ 2031 h 129887"/>
                      <a:gd name="connsiteX4" fmla="*/ 112544 w 167264"/>
                      <a:gd name="connsiteY4" fmla="*/ 27 h 129887"/>
                      <a:gd name="connsiteX5" fmla="*/ 119295 w 167264"/>
                      <a:gd name="connsiteY5" fmla="*/ 12596 h 129887"/>
                      <a:gd name="connsiteX6" fmla="*/ 134855 w 167264"/>
                      <a:gd name="connsiteY6" fmla="*/ 15944 h 129887"/>
                      <a:gd name="connsiteX7" fmla="*/ 140151 w 167264"/>
                      <a:gd name="connsiteY7" fmla="*/ 19841 h 129887"/>
                      <a:gd name="connsiteX8" fmla="*/ 142320 w 167264"/>
                      <a:gd name="connsiteY8" fmla="*/ 22586 h 129887"/>
                      <a:gd name="connsiteX9" fmla="*/ 146738 w 167264"/>
                      <a:gd name="connsiteY9" fmla="*/ 25549 h 129887"/>
                      <a:gd name="connsiteX10" fmla="*/ 156205 w 167264"/>
                      <a:gd name="connsiteY10" fmla="*/ 37460 h 129887"/>
                      <a:gd name="connsiteX11" fmla="*/ 163944 w 167264"/>
                      <a:gd name="connsiteY11" fmla="*/ 39326 h 129887"/>
                      <a:gd name="connsiteX12" fmla="*/ 160953 w 167264"/>
                      <a:gd name="connsiteY12" fmla="*/ 55270 h 129887"/>
                      <a:gd name="connsiteX13" fmla="*/ 166936 w 167264"/>
                      <a:gd name="connsiteY13" fmla="*/ 58454 h 129887"/>
                      <a:gd name="connsiteX14" fmla="*/ 167265 w 167264"/>
                      <a:gd name="connsiteY14" fmla="*/ 61445 h 129887"/>
                      <a:gd name="connsiteX15" fmla="*/ 164988 w 167264"/>
                      <a:gd name="connsiteY15" fmla="*/ 66110 h 129887"/>
                      <a:gd name="connsiteX16" fmla="*/ 154559 w 167264"/>
                      <a:gd name="connsiteY16" fmla="*/ 67647 h 129887"/>
                      <a:gd name="connsiteX17" fmla="*/ 150827 w 167264"/>
                      <a:gd name="connsiteY17" fmla="*/ 74645 h 129887"/>
                      <a:gd name="connsiteX18" fmla="*/ 142292 w 167264"/>
                      <a:gd name="connsiteY18" fmla="*/ 77856 h 129887"/>
                      <a:gd name="connsiteX19" fmla="*/ 138011 w 167264"/>
                      <a:gd name="connsiteY19" fmla="*/ 84442 h 129887"/>
                      <a:gd name="connsiteX20" fmla="*/ 137874 w 167264"/>
                      <a:gd name="connsiteY20" fmla="*/ 95694 h 129887"/>
                      <a:gd name="connsiteX21" fmla="*/ 132824 w 167264"/>
                      <a:gd name="connsiteY21" fmla="*/ 107220 h 129887"/>
                      <a:gd name="connsiteX22" fmla="*/ 138340 w 167264"/>
                      <a:gd name="connsiteY22" fmla="*/ 113092 h 129887"/>
                      <a:gd name="connsiteX23" fmla="*/ 138615 w 167264"/>
                      <a:gd name="connsiteY23" fmla="*/ 116303 h 129887"/>
                      <a:gd name="connsiteX24" fmla="*/ 132550 w 167264"/>
                      <a:gd name="connsiteY24" fmla="*/ 117181 h 129887"/>
                      <a:gd name="connsiteX25" fmla="*/ 132165 w 167264"/>
                      <a:gd name="connsiteY25" fmla="*/ 111830 h 129887"/>
                      <a:gd name="connsiteX26" fmla="*/ 130382 w 167264"/>
                      <a:gd name="connsiteY26" fmla="*/ 110211 h 129887"/>
                      <a:gd name="connsiteX27" fmla="*/ 122945 w 167264"/>
                      <a:gd name="connsiteY27" fmla="*/ 112516 h 129887"/>
                      <a:gd name="connsiteX28" fmla="*/ 118197 w 167264"/>
                      <a:gd name="connsiteY28" fmla="*/ 117703 h 129887"/>
                      <a:gd name="connsiteX29" fmla="*/ 111117 w 167264"/>
                      <a:gd name="connsiteY29" fmla="*/ 117703 h 129887"/>
                      <a:gd name="connsiteX30" fmla="*/ 109607 w 167264"/>
                      <a:gd name="connsiteY30" fmla="*/ 125387 h 129887"/>
                      <a:gd name="connsiteX31" fmla="*/ 104914 w 167264"/>
                      <a:gd name="connsiteY31" fmla="*/ 125058 h 129887"/>
                      <a:gd name="connsiteX32" fmla="*/ 98630 w 167264"/>
                      <a:gd name="connsiteY32" fmla="*/ 129887 h 129887"/>
                      <a:gd name="connsiteX33" fmla="*/ 92044 w 167264"/>
                      <a:gd name="connsiteY33" fmla="*/ 127061 h 129887"/>
                      <a:gd name="connsiteX34" fmla="*/ 72258 w 167264"/>
                      <a:gd name="connsiteY34" fmla="*/ 127308 h 129887"/>
                      <a:gd name="connsiteX35" fmla="*/ 71681 w 167264"/>
                      <a:gd name="connsiteY35" fmla="*/ 118855 h 129887"/>
                      <a:gd name="connsiteX36" fmla="*/ 66549 w 167264"/>
                      <a:gd name="connsiteY36" fmla="*/ 112434 h 129887"/>
                      <a:gd name="connsiteX37" fmla="*/ 56066 w 167264"/>
                      <a:gd name="connsiteY37" fmla="*/ 105683 h 129887"/>
                      <a:gd name="connsiteX38" fmla="*/ 50989 w 167264"/>
                      <a:gd name="connsiteY38" fmla="*/ 106863 h 129887"/>
                      <a:gd name="connsiteX39" fmla="*/ 48080 w 167264"/>
                      <a:gd name="connsiteY39" fmla="*/ 96599 h 129887"/>
                      <a:gd name="connsiteX40" fmla="*/ 53102 w 167264"/>
                      <a:gd name="connsiteY40" fmla="*/ 83756 h 129887"/>
                      <a:gd name="connsiteX41" fmla="*/ 45007 w 167264"/>
                      <a:gd name="connsiteY41" fmla="*/ 70858 h 129887"/>
                      <a:gd name="connsiteX42" fmla="*/ 30050 w 167264"/>
                      <a:gd name="connsiteY42" fmla="*/ 72340 h 129887"/>
                      <a:gd name="connsiteX43" fmla="*/ 17427 w 167264"/>
                      <a:gd name="connsiteY43" fmla="*/ 65232 h 129887"/>
                      <a:gd name="connsiteX44" fmla="*/ 9468 w 167264"/>
                      <a:gd name="connsiteY44" fmla="*/ 60100 h 129887"/>
                      <a:gd name="connsiteX45" fmla="*/ 6339 w 167264"/>
                      <a:gd name="connsiteY45" fmla="*/ 61829 h 129887"/>
                      <a:gd name="connsiteX46" fmla="*/ 5215 w 167264"/>
                      <a:gd name="connsiteY46" fmla="*/ 49562 h 129887"/>
                      <a:gd name="connsiteX47" fmla="*/ 1345 w 167264"/>
                      <a:gd name="connsiteY47" fmla="*/ 40506 h 129887"/>
                      <a:gd name="connsiteX48" fmla="*/ 0 w 167264"/>
                      <a:gd name="connsiteY48" fmla="*/ 29693 h 129887"/>
                      <a:gd name="connsiteX49" fmla="*/ 192 w 167264"/>
                      <a:gd name="connsiteY49" fmla="*/ 18908 h 129887"/>
                      <a:gd name="connsiteX50" fmla="*/ 3540 w 167264"/>
                      <a:gd name="connsiteY50" fmla="*/ 18195 h 129887"/>
                      <a:gd name="connsiteX51" fmla="*/ 6367 w 167264"/>
                      <a:gd name="connsiteY51" fmla="*/ 12789 h 129887"/>
                      <a:gd name="connsiteX52" fmla="*/ 13914 w 167264"/>
                      <a:gd name="connsiteY52" fmla="*/ 6696 h 129887"/>
                      <a:gd name="connsiteX53" fmla="*/ 27059 w 167264"/>
                      <a:gd name="connsiteY53" fmla="*/ 2196 h 129887"/>
                      <a:gd name="connsiteX54" fmla="*/ 31148 w 167264"/>
                      <a:gd name="connsiteY54" fmla="*/ 0 h 129887"/>
                      <a:gd name="connsiteX55" fmla="*/ 46406 w 167264"/>
                      <a:gd name="connsiteY55" fmla="*/ 3101 h 129887"/>
                      <a:gd name="connsiteX56" fmla="*/ 52828 w 167264"/>
                      <a:gd name="connsiteY56" fmla="*/ 3101 h 129887"/>
                      <a:gd name="connsiteX57" fmla="*/ 54804 w 167264"/>
                      <a:gd name="connsiteY57" fmla="*/ 1427 h 129887"/>
                      <a:gd name="connsiteX58" fmla="*/ 58865 w 167264"/>
                      <a:gd name="connsiteY58" fmla="*/ 5544 h 129887"/>
                      <a:gd name="connsiteX59" fmla="*/ 64930 w 167264"/>
                      <a:gd name="connsiteY59" fmla="*/ 2827 h 129887"/>
                      <a:gd name="connsiteX60" fmla="*/ 79036 w 167264"/>
                      <a:gd name="connsiteY60" fmla="*/ 3348 h 12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67264" h="129887">
                        <a:moveTo>
                          <a:pt x="79063" y="3375"/>
                        </a:moveTo>
                        <a:lnTo>
                          <a:pt x="91028" y="9221"/>
                        </a:lnTo>
                        <a:lnTo>
                          <a:pt x="102170" y="7739"/>
                        </a:lnTo>
                        <a:lnTo>
                          <a:pt x="106314" y="2031"/>
                        </a:lnTo>
                        <a:lnTo>
                          <a:pt x="112544" y="27"/>
                        </a:lnTo>
                        <a:lnTo>
                          <a:pt x="119295" y="12596"/>
                        </a:lnTo>
                        <a:lnTo>
                          <a:pt x="134855" y="15944"/>
                        </a:lnTo>
                        <a:lnTo>
                          <a:pt x="140151" y="19841"/>
                        </a:lnTo>
                        <a:lnTo>
                          <a:pt x="142320" y="22586"/>
                        </a:lnTo>
                        <a:lnTo>
                          <a:pt x="146738" y="25549"/>
                        </a:lnTo>
                        <a:lnTo>
                          <a:pt x="156205" y="37460"/>
                        </a:lnTo>
                        <a:lnTo>
                          <a:pt x="163944" y="39326"/>
                        </a:lnTo>
                        <a:lnTo>
                          <a:pt x="160953" y="55270"/>
                        </a:lnTo>
                        <a:lnTo>
                          <a:pt x="166936" y="58454"/>
                        </a:lnTo>
                        <a:lnTo>
                          <a:pt x="167265" y="61445"/>
                        </a:lnTo>
                        <a:lnTo>
                          <a:pt x="164988" y="66110"/>
                        </a:lnTo>
                        <a:lnTo>
                          <a:pt x="154559" y="67647"/>
                        </a:lnTo>
                        <a:lnTo>
                          <a:pt x="150827" y="74645"/>
                        </a:lnTo>
                        <a:lnTo>
                          <a:pt x="142292" y="77856"/>
                        </a:lnTo>
                        <a:lnTo>
                          <a:pt x="138011" y="84442"/>
                        </a:lnTo>
                        <a:lnTo>
                          <a:pt x="137874" y="95694"/>
                        </a:lnTo>
                        <a:lnTo>
                          <a:pt x="132824" y="107220"/>
                        </a:lnTo>
                        <a:lnTo>
                          <a:pt x="138340" y="113092"/>
                        </a:lnTo>
                        <a:lnTo>
                          <a:pt x="138615" y="116303"/>
                        </a:lnTo>
                        <a:lnTo>
                          <a:pt x="132550" y="117181"/>
                        </a:lnTo>
                        <a:lnTo>
                          <a:pt x="132165" y="111830"/>
                        </a:lnTo>
                        <a:lnTo>
                          <a:pt x="130382" y="110211"/>
                        </a:lnTo>
                        <a:lnTo>
                          <a:pt x="122945" y="112516"/>
                        </a:lnTo>
                        <a:lnTo>
                          <a:pt x="118197" y="117703"/>
                        </a:lnTo>
                        <a:lnTo>
                          <a:pt x="111117" y="117703"/>
                        </a:lnTo>
                        <a:cubicBezTo>
                          <a:pt x="111117" y="117703"/>
                          <a:pt x="109607" y="125387"/>
                          <a:pt x="109607" y="125387"/>
                        </a:cubicBezTo>
                        <a:lnTo>
                          <a:pt x="104914" y="125058"/>
                        </a:lnTo>
                        <a:lnTo>
                          <a:pt x="98630" y="129887"/>
                        </a:lnTo>
                        <a:lnTo>
                          <a:pt x="92044" y="127061"/>
                        </a:lnTo>
                        <a:lnTo>
                          <a:pt x="72258" y="127308"/>
                        </a:lnTo>
                        <a:lnTo>
                          <a:pt x="71681" y="118855"/>
                        </a:lnTo>
                        <a:lnTo>
                          <a:pt x="66549" y="112434"/>
                        </a:lnTo>
                        <a:lnTo>
                          <a:pt x="56066" y="105683"/>
                        </a:lnTo>
                        <a:lnTo>
                          <a:pt x="50989" y="106863"/>
                        </a:lnTo>
                        <a:lnTo>
                          <a:pt x="48080" y="96599"/>
                        </a:lnTo>
                        <a:lnTo>
                          <a:pt x="53102" y="83756"/>
                        </a:lnTo>
                        <a:lnTo>
                          <a:pt x="45007" y="70858"/>
                        </a:lnTo>
                        <a:lnTo>
                          <a:pt x="30050" y="72340"/>
                        </a:lnTo>
                        <a:lnTo>
                          <a:pt x="17427" y="65232"/>
                        </a:lnTo>
                        <a:lnTo>
                          <a:pt x="9468" y="60100"/>
                        </a:lnTo>
                        <a:lnTo>
                          <a:pt x="6339" y="61829"/>
                        </a:lnTo>
                        <a:lnTo>
                          <a:pt x="5215" y="49562"/>
                        </a:lnTo>
                        <a:lnTo>
                          <a:pt x="1345" y="40506"/>
                        </a:lnTo>
                        <a:lnTo>
                          <a:pt x="0" y="29693"/>
                        </a:lnTo>
                        <a:lnTo>
                          <a:pt x="192" y="18908"/>
                        </a:lnTo>
                        <a:lnTo>
                          <a:pt x="3540" y="18195"/>
                        </a:lnTo>
                        <a:lnTo>
                          <a:pt x="6367" y="12789"/>
                        </a:lnTo>
                        <a:lnTo>
                          <a:pt x="13914" y="6696"/>
                        </a:lnTo>
                        <a:lnTo>
                          <a:pt x="27059" y="2196"/>
                        </a:lnTo>
                        <a:lnTo>
                          <a:pt x="31148" y="0"/>
                        </a:lnTo>
                        <a:lnTo>
                          <a:pt x="46406" y="3101"/>
                        </a:lnTo>
                        <a:lnTo>
                          <a:pt x="52828" y="3101"/>
                        </a:lnTo>
                        <a:lnTo>
                          <a:pt x="54804" y="1427"/>
                        </a:lnTo>
                        <a:lnTo>
                          <a:pt x="58865" y="5544"/>
                        </a:lnTo>
                        <a:lnTo>
                          <a:pt x="64930" y="2827"/>
                        </a:lnTo>
                        <a:lnTo>
                          <a:pt x="79036" y="334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3" name="Freeform: Shape 3492">
                    <a:extLst>
                      <a:ext uri="{FF2B5EF4-FFF2-40B4-BE49-F238E27FC236}">
                        <a16:creationId xmlns:a16="http://schemas.microsoft.com/office/drawing/2014/main" id="{F0FAFFD4-1A2C-6FC0-85E2-B76256D209CB}"/>
                      </a:ext>
                    </a:extLst>
                  </p:cNvPr>
                  <p:cNvSpPr/>
                  <p:nvPr/>
                </p:nvSpPr>
                <p:spPr>
                  <a:xfrm>
                    <a:off x="-6117758" y="3165849"/>
                    <a:ext cx="21625" cy="32986"/>
                  </a:xfrm>
                  <a:custGeom>
                    <a:avLst/>
                    <a:gdLst>
                      <a:gd name="connsiteX0" fmla="*/ 11498 w 21625"/>
                      <a:gd name="connsiteY0" fmla="*/ 2442 h 32986"/>
                      <a:gd name="connsiteX1" fmla="*/ 12706 w 21625"/>
                      <a:gd name="connsiteY1" fmla="*/ 10154 h 32986"/>
                      <a:gd name="connsiteX2" fmla="*/ 18195 w 21625"/>
                      <a:gd name="connsiteY2" fmla="*/ 15286 h 32986"/>
                      <a:gd name="connsiteX3" fmla="*/ 21405 w 21625"/>
                      <a:gd name="connsiteY3" fmla="*/ 16576 h 32986"/>
                      <a:gd name="connsiteX4" fmla="*/ 21625 w 21625"/>
                      <a:gd name="connsiteY4" fmla="*/ 21158 h 32986"/>
                      <a:gd name="connsiteX5" fmla="*/ 18195 w 21625"/>
                      <a:gd name="connsiteY5" fmla="*/ 29364 h 32986"/>
                      <a:gd name="connsiteX6" fmla="*/ 18195 w 21625"/>
                      <a:gd name="connsiteY6" fmla="*/ 32987 h 32986"/>
                      <a:gd name="connsiteX7" fmla="*/ 4308 w 21625"/>
                      <a:gd name="connsiteY7" fmla="*/ 31285 h 32986"/>
                      <a:gd name="connsiteX8" fmla="*/ 2113 w 21625"/>
                      <a:gd name="connsiteY8" fmla="*/ 29062 h 32986"/>
                      <a:gd name="connsiteX9" fmla="*/ 4308 w 21625"/>
                      <a:gd name="connsiteY9" fmla="*/ 23683 h 32986"/>
                      <a:gd name="connsiteX10" fmla="*/ 0 w 21625"/>
                      <a:gd name="connsiteY10" fmla="*/ 15066 h 32986"/>
                      <a:gd name="connsiteX11" fmla="*/ 4501 w 21625"/>
                      <a:gd name="connsiteY11" fmla="*/ 3650 h 32986"/>
                      <a:gd name="connsiteX12" fmla="*/ 8178 w 21625"/>
                      <a:gd name="connsiteY12" fmla="*/ 0 h 32986"/>
                      <a:gd name="connsiteX13" fmla="*/ 11498 w 21625"/>
                      <a:gd name="connsiteY13" fmla="*/ 2415 h 32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25" h="32986">
                        <a:moveTo>
                          <a:pt x="11498" y="2442"/>
                        </a:moveTo>
                        <a:lnTo>
                          <a:pt x="12706" y="10154"/>
                        </a:lnTo>
                        <a:lnTo>
                          <a:pt x="18195" y="15286"/>
                        </a:lnTo>
                        <a:lnTo>
                          <a:pt x="21405" y="16576"/>
                        </a:lnTo>
                        <a:lnTo>
                          <a:pt x="21625" y="21158"/>
                        </a:lnTo>
                        <a:lnTo>
                          <a:pt x="18195" y="29364"/>
                        </a:lnTo>
                        <a:lnTo>
                          <a:pt x="18195" y="32987"/>
                        </a:lnTo>
                        <a:lnTo>
                          <a:pt x="4308" y="31285"/>
                        </a:lnTo>
                        <a:lnTo>
                          <a:pt x="2113" y="29062"/>
                        </a:lnTo>
                        <a:lnTo>
                          <a:pt x="4308" y="23683"/>
                        </a:lnTo>
                        <a:lnTo>
                          <a:pt x="0" y="15066"/>
                        </a:lnTo>
                        <a:lnTo>
                          <a:pt x="4501" y="3650"/>
                        </a:lnTo>
                        <a:lnTo>
                          <a:pt x="8178" y="0"/>
                        </a:lnTo>
                        <a:lnTo>
                          <a:pt x="11498" y="241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4" name="Freeform: Shape 3493">
                    <a:extLst>
                      <a:ext uri="{FF2B5EF4-FFF2-40B4-BE49-F238E27FC236}">
                        <a16:creationId xmlns:a16="http://schemas.microsoft.com/office/drawing/2014/main" id="{83130C49-19AD-C8C8-3E71-E99BC4ED9AC3}"/>
                      </a:ext>
                    </a:extLst>
                  </p:cNvPr>
                  <p:cNvSpPr/>
                  <p:nvPr/>
                </p:nvSpPr>
                <p:spPr>
                  <a:xfrm>
                    <a:off x="-5669888" y="2769764"/>
                    <a:ext cx="213121" cy="127362"/>
                  </a:xfrm>
                  <a:custGeom>
                    <a:avLst/>
                    <a:gdLst>
                      <a:gd name="connsiteX0" fmla="*/ 156452 w 213121"/>
                      <a:gd name="connsiteY0" fmla="*/ 24616 h 127362"/>
                      <a:gd name="connsiteX1" fmla="*/ 163231 w 213121"/>
                      <a:gd name="connsiteY1" fmla="*/ 28760 h 127362"/>
                      <a:gd name="connsiteX2" fmla="*/ 174592 w 213121"/>
                      <a:gd name="connsiteY2" fmla="*/ 23573 h 127362"/>
                      <a:gd name="connsiteX3" fmla="*/ 187517 w 213121"/>
                      <a:gd name="connsiteY3" fmla="*/ 29172 h 127362"/>
                      <a:gd name="connsiteX4" fmla="*/ 192705 w 213121"/>
                      <a:gd name="connsiteY4" fmla="*/ 28815 h 127362"/>
                      <a:gd name="connsiteX5" fmla="*/ 193281 w 213121"/>
                      <a:gd name="connsiteY5" fmla="*/ 34139 h 127362"/>
                      <a:gd name="connsiteX6" fmla="*/ 197507 w 213121"/>
                      <a:gd name="connsiteY6" fmla="*/ 37240 h 127362"/>
                      <a:gd name="connsiteX7" fmla="*/ 202282 w 213121"/>
                      <a:gd name="connsiteY7" fmla="*/ 42921 h 127362"/>
                      <a:gd name="connsiteX8" fmla="*/ 197068 w 213121"/>
                      <a:gd name="connsiteY8" fmla="*/ 65150 h 127362"/>
                      <a:gd name="connsiteX9" fmla="*/ 202858 w 213121"/>
                      <a:gd name="connsiteY9" fmla="*/ 65314 h 127362"/>
                      <a:gd name="connsiteX10" fmla="*/ 209939 w 213121"/>
                      <a:gd name="connsiteY10" fmla="*/ 80627 h 127362"/>
                      <a:gd name="connsiteX11" fmla="*/ 213122 w 213121"/>
                      <a:gd name="connsiteY11" fmla="*/ 95749 h 127362"/>
                      <a:gd name="connsiteX12" fmla="*/ 211146 w 213121"/>
                      <a:gd name="connsiteY12" fmla="*/ 101676 h 127362"/>
                      <a:gd name="connsiteX13" fmla="*/ 197068 w 213121"/>
                      <a:gd name="connsiteY13" fmla="*/ 114135 h 127362"/>
                      <a:gd name="connsiteX14" fmla="*/ 194433 w 213121"/>
                      <a:gd name="connsiteY14" fmla="*/ 121380 h 127362"/>
                      <a:gd name="connsiteX15" fmla="*/ 180053 w 213121"/>
                      <a:gd name="connsiteY15" fmla="*/ 118938 h 127362"/>
                      <a:gd name="connsiteX16" fmla="*/ 171765 w 213121"/>
                      <a:gd name="connsiteY16" fmla="*/ 126677 h 127362"/>
                      <a:gd name="connsiteX17" fmla="*/ 166304 w 213121"/>
                      <a:gd name="connsiteY17" fmla="*/ 127363 h 127362"/>
                      <a:gd name="connsiteX18" fmla="*/ 158566 w 213121"/>
                      <a:gd name="connsiteY18" fmla="*/ 125497 h 127362"/>
                      <a:gd name="connsiteX19" fmla="*/ 149097 w 213121"/>
                      <a:gd name="connsiteY19" fmla="*/ 113587 h 127362"/>
                      <a:gd name="connsiteX20" fmla="*/ 144679 w 213121"/>
                      <a:gd name="connsiteY20" fmla="*/ 110622 h 127362"/>
                      <a:gd name="connsiteX21" fmla="*/ 142511 w 213121"/>
                      <a:gd name="connsiteY21" fmla="*/ 107878 h 127362"/>
                      <a:gd name="connsiteX22" fmla="*/ 137215 w 213121"/>
                      <a:gd name="connsiteY22" fmla="*/ 103981 h 127362"/>
                      <a:gd name="connsiteX23" fmla="*/ 121654 w 213121"/>
                      <a:gd name="connsiteY23" fmla="*/ 100633 h 127362"/>
                      <a:gd name="connsiteX24" fmla="*/ 114903 w 213121"/>
                      <a:gd name="connsiteY24" fmla="*/ 88064 h 127362"/>
                      <a:gd name="connsiteX25" fmla="*/ 108674 w 213121"/>
                      <a:gd name="connsiteY25" fmla="*/ 90068 h 127362"/>
                      <a:gd name="connsiteX26" fmla="*/ 104530 w 213121"/>
                      <a:gd name="connsiteY26" fmla="*/ 95776 h 127362"/>
                      <a:gd name="connsiteX27" fmla="*/ 93389 w 213121"/>
                      <a:gd name="connsiteY27" fmla="*/ 97258 h 127362"/>
                      <a:gd name="connsiteX28" fmla="*/ 81423 w 213121"/>
                      <a:gd name="connsiteY28" fmla="*/ 91412 h 127362"/>
                      <a:gd name="connsiteX29" fmla="*/ 67318 w 213121"/>
                      <a:gd name="connsiteY29" fmla="*/ 90891 h 127362"/>
                      <a:gd name="connsiteX30" fmla="*/ 61252 w 213121"/>
                      <a:gd name="connsiteY30" fmla="*/ 93608 h 127362"/>
                      <a:gd name="connsiteX31" fmla="*/ 57191 w 213121"/>
                      <a:gd name="connsiteY31" fmla="*/ 89492 h 127362"/>
                      <a:gd name="connsiteX32" fmla="*/ 55215 w 213121"/>
                      <a:gd name="connsiteY32" fmla="*/ 91165 h 127362"/>
                      <a:gd name="connsiteX33" fmla="*/ 48794 w 213121"/>
                      <a:gd name="connsiteY33" fmla="*/ 91165 h 127362"/>
                      <a:gd name="connsiteX34" fmla="*/ 33535 w 213121"/>
                      <a:gd name="connsiteY34" fmla="*/ 88064 h 127362"/>
                      <a:gd name="connsiteX35" fmla="*/ 29446 w 213121"/>
                      <a:gd name="connsiteY35" fmla="*/ 90260 h 127362"/>
                      <a:gd name="connsiteX36" fmla="*/ 16301 w 213121"/>
                      <a:gd name="connsiteY36" fmla="*/ 94761 h 127362"/>
                      <a:gd name="connsiteX37" fmla="*/ 8754 w 213121"/>
                      <a:gd name="connsiteY37" fmla="*/ 100853 h 127362"/>
                      <a:gd name="connsiteX38" fmla="*/ 5927 w 213121"/>
                      <a:gd name="connsiteY38" fmla="*/ 106259 h 127362"/>
                      <a:gd name="connsiteX39" fmla="*/ 2579 w 213121"/>
                      <a:gd name="connsiteY39" fmla="*/ 106973 h 127362"/>
                      <a:gd name="connsiteX40" fmla="*/ 0 w 213121"/>
                      <a:gd name="connsiteY40" fmla="*/ 92620 h 127362"/>
                      <a:gd name="connsiteX41" fmla="*/ 2497 w 213121"/>
                      <a:gd name="connsiteY41" fmla="*/ 67702 h 127362"/>
                      <a:gd name="connsiteX42" fmla="*/ 11608 w 213121"/>
                      <a:gd name="connsiteY42" fmla="*/ 56834 h 127362"/>
                      <a:gd name="connsiteX43" fmla="*/ 12788 w 213121"/>
                      <a:gd name="connsiteY43" fmla="*/ 46598 h 127362"/>
                      <a:gd name="connsiteX44" fmla="*/ 13968 w 213121"/>
                      <a:gd name="connsiteY44" fmla="*/ 40561 h 127362"/>
                      <a:gd name="connsiteX45" fmla="*/ 22064 w 213121"/>
                      <a:gd name="connsiteY45" fmla="*/ 26455 h 127362"/>
                      <a:gd name="connsiteX46" fmla="*/ 45308 w 213121"/>
                      <a:gd name="connsiteY46" fmla="*/ 16877 h 127362"/>
                      <a:gd name="connsiteX47" fmla="*/ 47010 w 213121"/>
                      <a:gd name="connsiteY47" fmla="*/ 17563 h 127362"/>
                      <a:gd name="connsiteX48" fmla="*/ 49397 w 213121"/>
                      <a:gd name="connsiteY48" fmla="*/ 25906 h 127362"/>
                      <a:gd name="connsiteX49" fmla="*/ 61225 w 213121"/>
                      <a:gd name="connsiteY49" fmla="*/ 36993 h 127362"/>
                      <a:gd name="connsiteX50" fmla="*/ 63832 w 213121"/>
                      <a:gd name="connsiteY50" fmla="*/ 40149 h 127362"/>
                      <a:gd name="connsiteX51" fmla="*/ 65616 w 213121"/>
                      <a:gd name="connsiteY51" fmla="*/ 46598 h 127362"/>
                      <a:gd name="connsiteX52" fmla="*/ 67894 w 213121"/>
                      <a:gd name="connsiteY52" fmla="*/ 52965 h 127362"/>
                      <a:gd name="connsiteX53" fmla="*/ 76950 w 213121"/>
                      <a:gd name="connsiteY53" fmla="*/ 58618 h 127362"/>
                      <a:gd name="connsiteX54" fmla="*/ 87022 w 213121"/>
                      <a:gd name="connsiteY54" fmla="*/ 56944 h 127362"/>
                      <a:gd name="connsiteX55" fmla="*/ 92455 w 213121"/>
                      <a:gd name="connsiteY55" fmla="*/ 52635 h 127362"/>
                      <a:gd name="connsiteX56" fmla="*/ 99041 w 213121"/>
                      <a:gd name="connsiteY56" fmla="*/ 46598 h 127362"/>
                      <a:gd name="connsiteX57" fmla="*/ 100825 w 213121"/>
                      <a:gd name="connsiteY57" fmla="*/ 41110 h 127362"/>
                      <a:gd name="connsiteX58" fmla="*/ 99343 w 213121"/>
                      <a:gd name="connsiteY58" fmla="*/ 9413 h 127362"/>
                      <a:gd name="connsiteX59" fmla="*/ 113476 w 213121"/>
                      <a:gd name="connsiteY59" fmla="*/ 4062 h 127362"/>
                      <a:gd name="connsiteX60" fmla="*/ 119733 w 213121"/>
                      <a:gd name="connsiteY60" fmla="*/ 329 h 127362"/>
                      <a:gd name="connsiteX61" fmla="*/ 128927 w 213121"/>
                      <a:gd name="connsiteY61" fmla="*/ 0 h 127362"/>
                      <a:gd name="connsiteX62" fmla="*/ 144679 w 213121"/>
                      <a:gd name="connsiteY62" fmla="*/ 10840 h 127362"/>
                      <a:gd name="connsiteX63" fmla="*/ 148521 w 213121"/>
                      <a:gd name="connsiteY63" fmla="*/ 11252 h 127362"/>
                      <a:gd name="connsiteX64" fmla="*/ 156452 w 213121"/>
                      <a:gd name="connsiteY64" fmla="*/ 24534 h 12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3121" h="127362">
                        <a:moveTo>
                          <a:pt x="156452" y="24616"/>
                        </a:moveTo>
                        <a:lnTo>
                          <a:pt x="163231" y="28760"/>
                        </a:lnTo>
                        <a:lnTo>
                          <a:pt x="174592" y="23573"/>
                        </a:lnTo>
                        <a:lnTo>
                          <a:pt x="187517" y="29172"/>
                        </a:lnTo>
                        <a:lnTo>
                          <a:pt x="192705" y="28815"/>
                        </a:lnTo>
                        <a:lnTo>
                          <a:pt x="193281" y="34139"/>
                        </a:lnTo>
                        <a:lnTo>
                          <a:pt x="197507" y="37240"/>
                        </a:lnTo>
                        <a:lnTo>
                          <a:pt x="202282" y="42921"/>
                        </a:lnTo>
                        <a:lnTo>
                          <a:pt x="197068" y="65150"/>
                        </a:lnTo>
                        <a:lnTo>
                          <a:pt x="202858" y="65314"/>
                        </a:lnTo>
                        <a:lnTo>
                          <a:pt x="209939" y="80627"/>
                        </a:lnTo>
                        <a:lnTo>
                          <a:pt x="213122" y="95749"/>
                        </a:lnTo>
                        <a:lnTo>
                          <a:pt x="211146" y="101676"/>
                        </a:lnTo>
                        <a:lnTo>
                          <a:pt x="197068" y="114135"/>
                        </a:lnTo>
                        <a:lnTo>
                          <a:pt x="194433" y="121380"/>
                        </a:lnTo>
                        <a:lnTo>
                          <a:pt x="180053" y="118938"/>
                        </a:lnTo>
                        <a:lnTo>
                          <a:pt x="171765" y="126677"/>
                        </a:lnTo>
                        <a:lnTo>
                          <a:pt x="166304" y="127363"/>
                        </a:lnTo>
                        <a:lnTo>
                          <a:pt x="158566" y="125497"/>
                        </a:lnTo>
                        <a:lnTo>
                          <a:pt x="149097" y="113587"/>
                        </a:lnTo>
                        <a:lnTo>
                          <a:pt x="144679" y="110622"/>
                        </a:lnTo>
                        <a:lnTo>
                          <a:pt x="142511" y="107878"/>
                        </a:lnTo>
                        <a:lnTo>
                          <a:pt x="137215" y="103981"/>
                        </a:lnTo>
                        <a:lnTo>
                          <a:pt x="121654" y="100633"/>
                        </a:lnTo>
                        <a:lnTo>
                          <a:pt x="114903" y="88064"/>
                        </a:lnTo>
                        <a:lnTo>
                          <a:pt x="108674" y="90068"/>
                        </a:lnTo>
                        <a:lnTo>
                          <a:pt x="104530" y="95776"/>
                        </a:lnTo>
                        <a:lnTo>
                          <a:pt x="93389" y="97258"/>
                        </a:lnTo>
                        <a:lnTo>
                          <a:pt x="81423" y="91412"/>
                        </a:lnTo>
                        <a:lnTo>
                          <a:pt x="67318" y="90891"/>
                        </a:lnTo>
                        <a:lnTo>
                          <a:pt x="61252" y="93608"/>
                        </a:lnTo>
                        <a:lnTo>
                          <a:pt x="57191" y="89492"/>
                        </a:lnTo>
                        <a:lnTo>
                          <a:pt x="55215" y="91165"/>
                        </a:lnTo>
                        <a:lnTo>
                          <a:pt x="48794" y="91165"/>
                        </a:lnTo>
                        <a:lnTo>
                          <a:pt x="33535" y="88064"/>
                        </a:lnTo>
                        <a:lnTo>
                          <a:pt x="29446" y="90260"/>
                        </a:lnTo>
                        <a:lnTo>
                          <a:pt x="16301" y="94761"/>
                        </a:lnTo>
                        <a:lnTo>
                          <a:pt x="8754" y="100853"/>
                        </a:lnTo>
                        <a:lnTo>
                          <a:pt x="5927" y="106259"/>
                        </a:lnTo>
                        <a:lnTo>
                          <a:pt x="2579" y="106973"/>
                        </a:lnTo>
                        <a:lnTo>
                          <a:pt x="0" y="92620"/>
                        </a:lnTo>
                        <a:lnTo>
                          <a:pt x="2497" y="67702"/>
                        </a:lnTo>
                        <a:lnTo>
                          <a:pt x="11608" y="56834"/>
                        </a:lnTo>
                        <a:lnTo>
                          <a:pt x="12788" y="46598"/>
                        </a:lnTo>
                        <a:lnTo>
                          <a:pt x="13968" y="40561"/>
                        </a:lnTo>
                        <a:lnTo>
                          <a:pt x="22064" y="26455"/>
                        </a:lnTo>
                        <a:lnTo>
                          <a:pt x="45308" y="16877"/>
                        </a:lnTo>
                        <a:lnTo>
                          <a:pt x="47010" y="17563"/>
                        </a:lnTo>
                        <a:lnTo>
                          <a:pt x="49397" y="25906"/>
                        </a:lnTo>
                        <a:lnTo>
                          <a:pt x="61225" y="36993"/>
                        </a:lnTo>
                        <a:lnTo>
                          <a:pt x="63832" y="40149"/>
                        </a:lnTo>
                        <a:lnTo>
                          <a:pt x="65616" y="46598"/>
                        </a:lnTo>
                        <a:lnTo>
                          <a:pt x="67894" y="52965"/>
                        </a:lnTo>
                        <a:lnTo>
                          <a:pt x="76950" y="58618"/>
                        </a:lnTo>
                        <a:lnTo>
                          <a:pt x="87022" y="56944"/>
                        </a:lnTo>
                        <a:lnTo>
                          <a:pt x="92455" y="52635"/>
                        </a:lnTo>
                        <a:lnTo>
                          <a:pt x="99041" y="46598"/>
                        </a:lnTo>
                        <a:lnTo>
                          <a:pt x="100825" y="41110"/>
                        </a:lnTo>
                        <a:lnTo>
                          <a:pt x="99343" y="9413"/>
                        </a:lnTo>
                        <a:lnTo>
                          <a:pt x="113476" y="4062"/>
                        </a:lnTo>
                        <a:lnTo>
                          <a:pt x="119733" y="329"/>
                        </a:lnTo>
                        <a:lnTo>
                          <a:pt x="128927" y="0"/>
                        </a:lnTo>
                        <a:lnTo>
                          <a:pt x="144679" y="10840"/>
                        </a:lnTo>
                        <a:lnTo>
                          <a:pt x="148521" y="11252"/>
                        </a:lnTo>
                        <a:lnTo>
                          <a:pt x="156452" y="2453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5" name="Freeform: Shape 3494">
                    <a:extLst>
                      <a:ext uri="{FF2B5EF4-FFF2-40B4-BE49-F238E27FC236}">
                        <a16:creationId xmlns:a16="http://schemas.microsoft.com/office/drawing/2014/main" id="{43DE1C4A-F6B4-BD29-CC5D-B3047B72FD07}"/>
                      </a:ext>
                    </a:extLst>
                  </p:cNvPr>
                  <p:cNvSpPr/>
                  <p:nvPr/>
                </p:nvSpPr>
                <p:spPr>
                  <a:xfrm>
                    <a:off x="-6068690" y="3443544"/>
                    <a:ext cx="823" cy="1124"/>
                  </a:xfrm>
                  <a:custGeom>
                    <a:avLst/>
                    <a:gdLst>
                      <a:gd name="connsiteX0" fmla="*/ 796 w 823"/>
                      <a:gd name="connsiteY0" fmla="*/ 0 h 1124"/>
                      <a:gd name="connsiteX1" fmla="*/ 0 w 823"/>
                      <a:gd name="connsiteY1" fmla="*/ 1125 h 1124"/>
                      <a:gd name="connsiteX2" fmla="*/ 0 w 823"/>
                      <a:gd name="connsiteY2" fmla="*/ 741 h 1124"/>
                      <a:gd name="connsiteX3" fmla="*/ 549 w 823"/>
                      <a:gd name="connsiteY3" fmla="*/ 0 h 1124"/>
                      <a:gd name="connsiteX4" fmla="*/ 823 w 823"/>
                      <a:gd name="connsiteY4" fmla="*/ 0 h 1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 h="1124">
                        <a:moveTo>
                          <a:pt x="796" y="0"/>
                        </a:moveTo>
                        <a:lnTo>
                          <a:pt x="0" y="1125"/>
                        </a:lnTo>
                        <a:lnTo>
                          <a:pt x="0" y="741"/>
                        </a:lnTo>
                        <a:lnTo>
                          <a:pt x="549" y="0"/>
                        </a:lnTo>
                        <a:lnTo>
                          <a:pt x="823"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6" name="Freeform: Shape 3495">
                    <a:extLst>
                      <a:ext uri="{FF2B5EF4-FFF2-40B4-BE49-F238E27FC236}">
                        <a16:creationId xmlns:a16="http://schemas.microsoft.com/office/drawing/2014/main" id="{BB87D8A6-FCF5-72FC-055B-155D7BAC5C9B}"/>
                      </a:ext>
                    </a:extLst>
                  </p:cNvPr>
                  <p:cNvSpPr/>
                  <p:nvPr/>
                </p:nvSpPr>
                <p:spPr>
                  <a:xfrm>
                    <a:off x="-5744534" y="3452408"/>
                    <a:ext cx="56313" cy="67564"/>
                  </a:xfrm>
                  <a:custGeom>
                    <a:avLst/>
                    <a:gdLst>
                      <a:gd name="connsiteX0" fmla="*/ 23135 w 56313"/>
                      <a:gd name="connsiteY0" fmla="*/ 219 h 67564"/>
                      <a:gd name="connsiteX1" fmla="*/ 36280 w 56313"/>
                      <a:gd name="connsiteY1" fmla="*/ 13721 h 67564"/>
                      <a:gd name="connsiteX2" fmla="*/ 47861 w 56313"/>
                      <a:gd name="connsiteY2" fmla="*/ 21268 h 67564"/>
                      <a:gd name="connsiteX3" fmla="*/ 52526 w 56313"/>
                      <a:gd name="connsiteY3" fmla="*/ 23518 h 67564"/>
                      <a:gd name="connsiteX4" fmla="*/ 55600 w 56313"/>
                      <a:gd name="connsiteY4" fmla="*/ 25357 h 67564"/>
                      <a:gd name="connsiteX5" fmla="*/ 56313 w 56313"/>
                      <a:gd name="connsiteY5" fmla="*/ 28239 h 67564"/>
                      <a:gd name="connsiteX6" fmla="*/ 47861 w 56313"/>
                      <a:gd name="connsiteY6" fmla="*/ 31889 h 67564"/>
                      <a:gd name="connsiteX7" fmla="*/ 48739 w 56313"/>
                      <a:gd name="connsiteY7" fmla="*/ 36280 h 67564"/>
                      <a:gd name="connsiteX8" fmla="*/ 48163 w 56313"/>
                      <a:gd name="connsiteY8" fmla="*/ 39326 h 67564"/>
                      <a:gd name="connsiteX9" fmla="*/ 40973 w 56313"/>
                      <a:gd name="connsiteY9" fmla="*/ 42893 h 67564"/>
                      <a:gd name="connsiteX10" fmla="*/ 38119 w 56313"/>
                      <a:gd name="connsiteY10" fmla="*/ 36252 h 67564"/>
                      <a:gd name="connsiteX11" fmla="*/ 38064 w 56313"/>
                      <a:gd name="connsiteY11" fmla="*/ 36142 h 67564"/>
                      <a:gd name="connsiteX12" fmla="*/ 37899 w 56313"/>
                      <a:gd name="connsiteY12" fmla="*/ 36252 h 67564"/>
                      <a:gd name="connsiteX13" fmla="*/ 34661 w 56313"/>
                      <a:gd name="connsiteY13" fmla="*/ 38475 h 67564"/>
                      <a:gd name="connsiteX14" fmla="*/ 30380 w 56313"/>
                      <a:gd name="connsiteY14" fmla="*/ 45500 h 67564"/>
                      <a:gd name="connsiteX15" fmla="*/ 25989 w 56313"/>
                      <a:gd name="connsiteY15" fmla="*/ 52690 h 67564"/>
                      <a:gd name="connsiteX16" fmla="*/ 27635 w 56313"/>
                      <a:gd name="connsiteY16" fmla="*/ 58152 h 67564"/>
                      <a:gd name="connsiteX17" fmla="*/ 27580 w 56313"/>
                      <a:gd name="connsiteY17" fmla="*/ 62021 h 67564"/>
                      <a:gd name="connsiteX18" fmla="*/ 27470 w 56313"/>
                      <a:gd name="connsiteY18" fmla="*/ 67565 h 67564"/>
                      <a:gd name="connsiteX19" fmla="*/ 21900 w 56313"/>
                      <a:gd name="connsiteY19" fmla="*/ 63750 h 67564"/>
                      <a:gd name="connsiteX20" fmla="*/ 21268 w 56313"/>
                      <a:gd name="connsiteY20" fmla="*/ 61994 h 67564"/>
                      <a:gd name="connsiteX21" fmla="*/ 20775 w 56313"/>
                      <a:gd name="connsiteY21" fmla="*/ 60704 h 67564"/>
                      <a:gd name="connsiteX22" fmla="*/ 14134 w 56313"/>
                      <a:gd name="connsiteY22" fmla="*/ 52690 h 67564"/>
                      <a:gd name="connsiteX23" fmla="*/ 13255 w 56313"/>
                      <a:gd name="connsiteY23" fmla="*/ 51620 h 67564"/>
                      <a:gd name="connsiteX24" fmla="*/ 8974 w 56313"/>
                      <a:gd name="connsiteY24" fmla="*/ 49562 h 67564"/>
                      <a:gd name="connsiteX25" fmla="*/ 7218 w 56313"/>
                      <a:gd name="connsiteY25" fmla="*/ 45500 h 67564"/>
                      <a:gd name="connsiteX26" fmla="*/ 4089 w 56313"/>
                      <a:gd name="connsiteY26" fmla="*/ 45500 h 67564"/>
                      <a:gd name="connsiteX27" fmla="*/ 2580 w 56313"/>
                      <a:gd name="connsiteY27" fmla="*/ 44704 h 67564"/>
                      <a:gd name="connsiteX28" fmla="*/ 0 w 56313"/>
                      <a:gd name="connsiteY28" fmla="*/ 39298 h 67564"/>
                      <a:gd name="connsiteX29" fmla="*/ 2827 w 56313"/>
                      <a:gd name="connsiteY29" fmla="*/ 36252 h 67564"/>
                      <a:gd name="connsiteX30" fmla="*/ 3787 w 56313"/>
                      <a:gd name="connsiteY30" fmla="*/ 35209 h 67564"/>
                      <a:gd name="connsiteX31" fmla="*/ 878 w 56313"/>
                      <a:gd name="connsiteY31" fmla="*/ 29391 h 67564"/>
                      <a:gd name="connsiteX32" fmla="*/ 1894 w 56313"/>
                      <a:gd name="connsiteY32" fmla="*/ 22339 h 67564"/>
                      <a:gd name="connsiteX33" fmla="*/ 6120 w 56313"/>
                      <a:gd name="connsiteY33" fmla="*/ 19430 h 67564"/>
                      <a:gd name="connsiteX34" fmla="*/ 7519 w 56313"/>
                      <a:gd name="connsiteY34" fmla="*/ 11746 h 67564"/>
                      <a:gd name="connsiteX35" fmla="*/ 13283 w 56313"/>
                      <a:gd name="connsiteY35" fmla="*/ 7739 h 67564"/>
                      <a:gd name="connsiteX36" fmla="*/ 16850 w 56313"/>
                      <a:gd name="connsiteY36" fmla="*/ 10511 h 67564"/>
                      <a:gd name="connsiteX37" fmla="*/ 18360 w 56313"/>
                      <a:gd name="connsiteY37" fmla="*/ 9056 h 67564"/>
                      <a:gd name="connsiteX38" fmla="*/ 15313 w 56313"/>
                      <a:gd name="connsiteY38" fmla="*/ 2964 h 67564"/>
                      <a:gd name="connsiteX39" fmla="*/ 16054 w 56313"/>
                      <a:gd name="connsiteY39" fmla="*/ 851 h 67564"/>
                      <a:gd name="connsiteX40" fmla="*/ 16905 w 56313"/>
                      <a:gd name="connsiteY40" fmla="*/ 0 h 67564"/>
                      <a:gd name="connsiteX41" fmla="*/ 23080 w 56313"/>
                      <a:gd name="connsiteY41" fmla="*/ 219 h 67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6313" h="67564">
                        <a:moveTo>
                          <a:pt x="23135" y="219"/>
                        </a:moveTo>
                        <a:lnTo>
                          <a:pt x="36280" y="13721"/>
                        </a:lnTo>
                        <a:lnTo>
                          <a:pt x="47861" y="21268"/>
                        </a:lnTo>
                        <a:lnTo>
                          <a:pt x="52526" y="23518"/>
                        </a:lnTo>
                        <a:lnTo>
                          <a:pt x="55600" y="25357"/>
                        </a:lnTo>
                        <a:lnTo>
                          <a:pt x="56313" y="28239"/>
                        </a:lnTo>
                        <a:lnTo>
                          <a:pt x="47861" y="31889"/>
                        </a:lnTo>
                        <a:lnTo>
                          <a:pt x="48739" y="36280"/>
                        </a:lnTo>
                        <a:lnTo>
                          <a:pt x="48163" y="39326"/>
                        </a:lnTo>
                        <a:lnTo>
                          <a:pt x="40973" y="42893"/>
                        </a:lnTo>
                        <a:lnTo>
                          <a:pt x="38119" y="36252"/>
                        </a:lnTo>
                        <a:lnTo>
                          <a:pt x="38064" y="36142"/>
                        </a:lnTo>
                        <a:lnTo>
                          <a:pt x="37899" y="36252"/>
                        </a:lnTo>
                        <a:lnTo>
                          <a:pt x="34661" y="38475"/>
                        </a:lnTo>
                        <a:lnTo>
                          <a:pt x="30380" y="45500"/>
                        </a:lnTo>
                        <a:lnTo>
                          <a:pt x="25989" y="52690"/>
                        </a:lnTo>
                        <a:lnTo>
                          <a:pt x="27635" y="58152"/>
                        </a:lnTo>
                        <a:lnTo>
                          <a:pt x="27580" y="62021"/>
                        </a:lnTo>
                        <a:lnTo>
                          <a:pt x="27470" y="67565"/>
                        </a:lnTo>
                        <a:lnTo>
                          <a:pt x="21900" y="63750"/>
                        </a:lnTo>
                        <a:lnTo>
                          <a:pt x="21268" y="61994"/>
                        </a:lnTo>
                        <a:lnTo>
                          <a:pt x="20775" y="60704"/>
                        </a:lnTo>
                        <a:lnTo>
                          <a:pt x="14134" y="52690"/>
                        </a:lnTo>
                        <a:lnTo>
                          <a:pt x="13255" y="51620"/>
                        </a:lnTo>
                        <a:lnTo>
                          <a:pt x="8974" y="49562"/>
                        </a:lnTo>
                        <a:lnTo>
                          <a:pt x="7218" y="45500"/>
                        </a:lnTo>
                        <a:lnTo>
                          <a:pt x="4089" y="45500"/>
                        </a:lnTo>
                        <a:lnTo>
                          <a:pt x="2580" y="44704"/>
                        </a:lnTo>
                        <a:lnTo>
                          <a:pt x="0" y="39298"/>
                        </a:lnTo>
                        <a:lnTo>
                          <a:pt x="2827" y="36252"/>
                        </a:lnTo>
                        <a:lnTo>
                          <a:pt x="3787" y="35209"/>
                        </a:lnTo>
                        <a:lnTo>
                          <a:pt x="878" y="29391"/>
                        </a:lnTo>
                        <a:lnTo>
                          <a:pt x="1894" y="22339"/>
                        </a:lnTo>
                        <a:lnTo>
                          <a:pt x="6120" y="19430"/>
                        </a:lnTo>
                        <a:lnTo>
                          <a:pt x="7519" y="11746"/>
                        </a:lnTo>
                        <a:lnTo>
                          <a:pt x="13283" y="7739"/>
                        </a:lnTo>
                        <a:lnTo>
                          <a:pt x="16850" y="10511"/>
                        </a:lnTo>
                        <a:lnTo>
                          <a:pt x="18360" y="9056"/>
                        </a:lnTo>
                        <a:lnTo>
                          <a:pt x="15313" y="2964"/>
                        </a:lnTo>
                        <a:lnTo>
                          <a:pt x="16054" y="851"/>
                        </a:lnTo>
                        <a:lnTo>
                          <a:pt x="16905" y="0"/>
                        </a:lnTo>
                        <a:lnTo>
                          <a:pt x="23080" y="21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7" name="Freeform: Shape 3496">
                    <a:extLst>
                      <a:ext uri="{FF2B5EF4-FFF2-40B4-BE49-F238E27FC236}">
                        <a16:creationId xmlns:a16="http://schemas.microsoft.com/office/drawing/2014/main" id="{981077C7-9D97-8B1C-68D8-B36058282DBE}"/>
                      </a:ext>
                    </a:extLst>
                  </p:cNvPr>
                  <p:cNvSpPr/>
                  <p:nvPr/>
                </p:nvSpPr>
                <p:spPr>
                  <a:xfrm>
                    <a:off x="-5684598" y="3499994"/>
                    <a:ext cx="74205" cy="58782"/>
                  </a:xfrm>
                  <a:custGeom>
                    <a:avLst/>
                    <a:gdLst>
                      <a:gd name="connsiteX0" fmla="*/ 55462 w 74205"/>
                      <a:gd name="connsiteY0" fmla="*/ 1482 h 58782"/>
                      <a:gd name="connsiteX1" fmla="*/ 58069 w 74205"/>
                      <a:gd name="connsiteY1" fmla="*/ 5132 h 58782"/>
                      <a:gd name="connsiteX2" fmla="*/ 59881 w 74205"/>
                      <a:gd name="connsiteY2" fmla="*/ 7684 h 58782"/>
                      <a:gd name="connsiteX3" fmla="*/ 70364 w 74205"/>
                      <a:gd name="connsiteY3" fmla="*/ 12980 h 58782"/>
                      <a:gd name="connsiteX4" fmla="*/ 70885 w 74205"/>
                      <a:gd name="connsiteY4" fmla="*/ 14463 h 58782"/>
                      <a:gd name="connsiteX5" fmla="*/ 74206 w 74205"/>
                      <a:gd name="connsiteY5" fmla="*/ 24095 h 58782"/>
                      <a:gd name="connsiteX6" fmla="*/ 74069 w 74205"/>
                      <a:gd name="connsiteY6" fmla="*/ 26949 h 58782"/>
                      <a:gd name="connsiteX7" fmla="*/ 73986 w 74205"/>
                      <a:gd name="connsiteY7" fmla="*/ 28788 h 58782"/>
                      <a:gd name="connsiteX8" fmla="*/ 73355 w 74205"/>
                      <a:gd name="connsiteY8" fmla="*/ 32794 h 58782"/>
                      <a:gd name="connsiteX9" fmla="*/ 72148 w 74205"/>
                      <a:gd name="connsiteY9" fmla="*/ 39902 h 58782"/>
                      <a:gd name="connsiteX10" fmla="*/ 70721 w 74205"/>
                      <a:gd name="connsiteY10" fmla="*/ 39792 h 58782"/>
                      <a:gd name="connsiteX11" fmla="*/ 67702 w 74205"/>
                      <a:gd name="connsiteY11" fmla="*/ 41082 h 58782"/>
                      <a:gd name="connsiteX12" fmla="*/ 66138 w 74205"/>
                      <a:gd name="connsiteY12" fmla="*/ 46818 h 58782"/>
                      <a:gd name="connsiteX13" fmla="*/ 56341 w 74205"/>
                      <a:gd name="connsiteY13" fmla="*/ 47861 h 58782"/>
                      <a:gd name="connsiteX14" fmla="*/ 54611 w 74205"/>
                      <a:gd name="connsiteY14" fmla="*/ 48437 h 58782"/>
                      <a:gd name="connsiteX15" fmla="*/ 51208 w 74205"/>
                      <a:gd name="connsiteY15" fmla="*/ 46461 h 58782"/>
                      <a:gd name="connsiteX16" fmla="*/ 42784 w 74205"/>
                      <a:gd name="connsiteY16" fmla="*/ 49205 h 58782"/>
                      <a:gd name="connsiteX17" fmla="*/ 38585 w 74205"/>
                      <a:gd name="connsiteY17" fmla="*/ 55819 h 58782"/>
                      <a:gd name="connsiteX18" fmla="*/ 14846 w 74205"/>
                      <a:gd name="connsiteY18" fmla="*/ 58783 h 58782"/>
                      <a:gd name="connsiteX19" fmla="*/ 10648 w 74205"/>
                      <a:gd name="connsiteY19" fmla="*/ 55956 h 58782"/>
                      <a:gd name="connsiteX20" fmla="*/ 7657 w 74205"/>
                      <a:gd name="connsiteY20" fmla="*/ 55846 h 58782"/>
                      <a:gd name="connsiteX21" fmla="*/ 5626 w 74205"/>
                      <a:gd name="connsiteY21" fmla="*/ 50440 h 58782"/>
                      <a:gd name="connsiteX22" fmla="*/ 3595 w 74205"/>
                      <a:gd name="connsiteY22" fmla="*/ 49562 h 58782"/>
                      <a:gd name="connsiteX23" fmla="*/ 741 w 74205"/>
                      <a:gd name="connsiteY23" fmla="*/ 40753 h 58782"/>
                      <a:gd name="connsiteX24" fmla="*/ 1866 w 74205"/>
                      <a:gd name="connsiteY24" fmla="*/ 37350 h 58782"/>
                      <a:gd name="connsiteX25" fmla="*/ 0 w 74205"/>
                      <a:gd name="connsiteY25" fmla="*/ 31861 h 58782"/>
                      <a:gd name="connsiteX26" fmla="*/ 2415 w 74205"/>
                      <a:gd name="connsiteY26" fmla="*/ 30352 h 58782"/>
                      <a:gd name="connsiteX27" fmla="*/ 2113 w 74205"/>
                      <a:gd name="connsiteY27" fmla="*/ 28788 h 58782"/>
                      <a:gd name="connsiteX28" fmla="*/ 1784 w 74205"/>
                      <a:gd name="connsiteY28" fmla="*/ 26949 h 58782"/>
                      <a:gd name="connsiteX29" fmla="*/ 1400 w 74205"/>
                      <a:gd name="connsiteY29" fmla="*/ 24809 h 58782"/>
                      <a:gd name="connsiteX30" fmla="*/ 2525 w 74205"/>
                      <a:gd name="connsiteY30" fmla="*/ 19951 h 58782"/>
                      <a:gd name="connsiteX31" fmla="*/ 3458 w 74205"/>
                      <a:gd name="connsiteY31" fmla="*/ 18716 h 58782"/>
                      <a:gd name="connsiteX32" fmla="*/ 7876 w 74205"/>
                      <a:gd name="connsiteY32" fmla="*/ 18140 h 58782"/>
                      <a:gd name="connsiteX33" fmla="*/ 8013 w 74205"/>
                      <a:gd name="connsiteY33" fmla="*/ 14463 h 58782"/>
                      <a:gd name="connsiteX34" fmla="*/ 8617 w 74205"/>
                      <a:gd name="connsiteY34" fmla="*/ 12816 h 58782"/>
                      <a:gd name="connsiteX35" fmla="*/ 18168 w 74205"/>
                      <a:gd name="connsiteY35" fmla="*/ 6449 h 58782"/>
                      <a:gd name="connsiteX36" fmla="*/ 21625 w 74205"/>
                      <a:gd name="connsiteY36" fmla="*/ 9468 h 58782"/>
                      <a:gd name="connsiteX37" fmla="*/ 28404 w 74205"/>
                      <a:gd name="connsiteY37" fmla="*/ 4528 h 58782"/>
                      <a:gd name="connsiteX38" fmla="*/ 29172 w 74205"/>
                      <a:gd name="connsiteY38" fmla="*/ 3129 h 58782"/>
                      <a:gd name="connsiteX39" fmla="*/ 32630 w 74205"/>
                      <a:gd name="connsiteY39" fmla="*/ 3430 h 58782"/>
                      <a:gd name="connsiteX40" fmla="*/ 52334 w 74205"/>
                      <a:gd name="connsiteY40" fmla="*/ 0 h 58782"/>
                      <a:gd name="connsiteX41" fmla="*/ 55380 w 74205"/>
                      <a:gd name="connsiteY41" fmla="*/ 1509 h 5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4205" h="58782">
                        <a:moveTo>
                          <a:pt x="55462" y="1482"/>
                        </a:moveTo>
                        <a:lnTo>
                          <a:pt x="58069" y="5132"/>
                        </a:lnTo>
                        <a:lnTo>
                          <a:pt x="59881" y="7684"/>
                        </a:lnTo>
                        <a:lnTo>
                          <a:pt x="70364" y="12980"/>
                        </a:lnTo>
                        <a:lnTo>
                          <a:pt x="70885" y="14463"/>
                        </a:lnTo>
                        <a:lnTo>
                          <a:pt x="74206" y="24095"/>
                        </a:lnTo>
                        <a:lnTo>
                          <a:pt x="74069" y="26949"/>
                        </a:lnTo>
                        <a:lnTo>
                          <a:pt x="73986" y="28788"/>
                        </a:lnTo>
                        <a:lnTo>
                          <a:pt x="73355" y="32794"/>
                        </a:lnTo>
                        <a:lnTo>
                          <a:pt x="72148" y="39902"/>
                        </a:lnTo>
                        <a:lnTo>
                          <a:pt x="70721" y="39792"/>
                        </a:lnTo>
                        <a:lnTo>
                          <a:pt x="67702" y="41082"/>
                        </a:lnTo>
                        <a:lnTo>
                          <a:pt x="66138" y="46818"/>
                        </a:lnTo>
                        <a:lnTo>
                          <a:pt x="56341" y="47861"/>
                        </a:lnTo>
                        <a:lnTo>
                          <a:pt x="54611" y="48437"/>
                        </a:lnTo>
                        <a:lnTo>
                          <a:pt x="51208" y="46461"/>
                        </a:lnTo>
                        <a:lnTo>
                          <a:pt x="42784" y="49205"/>
                        </a:lnTo>
                        <a:lnTo>
                          <a:pt x="38585" y="55819"/>
                        </a:lnTo>
                        <a:lnTo>
                          <a:pt x="14846" y="58783"/>
                        </a:lnTo>
                        <a:lnTo>
                          <a:pt x="10648" y="55956"/>
                        </a:lnTo>
                        <a:lnTo>
                          <a:pt x="7657" y="55846"/>
                        </a:lnTo>
                        <a:lnTo>
                          <a:pt x="5626" y="50440"/>
                        </a:lnTo>
                        <a:lnTo>
                          <a:pt x="3595" y="49562"/>
                        </a:lnTo>
                        <a:lnTo>
                          <a:pt x="741" y="40753"/>
                        </a:lnTo>
                        <a:lnTo>
                          <a:pt x="1866" y="37350"/>
                        </a:lnTo>
                        <a:lnTo>
                          <a:pt x="0" y="31861"/>
                        </a:lnTo>
                        <a:lnTo>
                          <a:pt x="2415" y="30352"/>
                        </a:lnTo>
                        <a:lnTo>
                          <a:pt x="2113" y="28788"/>
                        </a:lnTo>
                        <a:lnTo>
                          <a:pt x="1784" y="26949"/>
                        </a:lnTo>
                        <a:lnTo>
                          <a:pt x="1400" y="24809"/>
                        </a:lnTo>
                        <a:lnTo>
                          <a:pt x="2525" y="19951"/>
                        </a:lnTo>
                        <a:lnTo>
                          <a:pt x="3458" y="18716"/>
                        </a:lnTo>
                        <a:lnTo>
                          <a:pt x="7876" y="18140"/>
                        </a:lnTo>
                        <a:lnTo>
                          <a:pt x="8013" y="14463"/>
                        </a:lnTo>
                        <a:lnTo>
                          <a:pt x="8617" y="12816"/>
                        </a:lnTo>
                        <a:lnTo>
                          <a:pt x="18168" y="6449"/>
                        </a:lnTo>
                        <a:lnTo>
                          <a:pt x="21625" y="9468"/>
                        </a:lnTo>
                        <a:lnTo>
                          <a:pt x="28404" y="4528"/>
                        </a:lnTo>
                        <a:lnTo>
                          <a:pt x="29172" y="3129"/>
                        </a:lnTo>
                        <a:lnTo>
                          <a:pt x="32630" y="3430"/>
                        </a:lnTo>
                        <a:lnTo>
                          <a:pt x="52334" y="0"/>
                        </a:lnTo>
                        <a:lnTo>
                          <a:pt x="55380" y="150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8" name="Freeform: Shape 3497">
                    <a:extLst>
                      <a:ext uri="{FF2B5EF4-FFF2-40B4-BE49-F238E27FC236}">
                        <a16:creationId xmlns:a16="http://schemas.microsoft.com/office/drawing/2014/main" id="{DF5E3553-AB14-9747-39E2-89C4B5F7605A}"/>
                      </a:ext>
                    </a:extLst>
                  </p:cNvPr>
                  <p:cNvSpPr/>
                  <p:nvPr/>
                </p:nvSpPr>
                <p:spPr>
                  <a:xfrm>
                    <a:off x="-5923187" y="3515637"/>
                    <a:ext cx="4582" cy="3403"/>
                  </a:xfrm>
                  <a:custGeom>
                    <a:avLst/>
                    <a:gdLst>
                      <a:gd name="connsiteX0" fmla="*/ 0 w 4582"/>
                      <a:gd name="connsiteY0" fmla="*/ 2799 h 3403"/>
                      <a:gd name="connsiteX1" fmla="*/ 2058 w 4582"/>
                      <a:gd name="connsiteY1" fmla="*/ 577 h 3403"/>
                      <a:gd name="connsiteX2" fmla="*/ 3759 w 4582"/>
                      <a:gd name="connsiteY2" fmla="*/ 0 h 3403"/>
                      <a:gd name="connsiteX3" fmla="*/ 4583 w 4582"/>
                      <a:gd name="connsiteY3" fmla="*/ 3019 h 3403"/>
                      <a:gd name="connsiteX4" fmla="*/ 851 w 4582"/>
                      <a:gd name="connsiteY4" fmla="*/ 3403 h 3403"/>
                      <a:gd name="connsiteX5" fmla="*/ 0 w 4582"/>
                      <a:gd name="connsiteY5" fmla="*/ 2799 h 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2" h="3403">
                        <a:moveTo>
                          <a:pt x="0" y="2799"/>
                        </a:moveTo>
                        <a:lnTo>
                          <a:pt x="2058" y="577"/>
                        </a:lnTo>
                        <a:lnTo>
                          <a:pt x="3759" y="0"/>
                        </a:lnTo>
                        <a:lnTo>
                          <a:pt x="4583" y="3019"/>
                        </a:lnTo>
                        <a:lnTo>
                          <a:pt x="851" y="3403"/>
                        </a:lnTo>
                        <a:lnTo>
                          <a:pt x="0" y="279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99" name="Freeform: Shape 3498">
                    <a:extLst>
                      <a:ext uri="{FF2B5EF4-FFF2-40B4-BE49-F238E27FC236}">
                        <a16:creationId xmlns:a16="http://schemas.microsoft.com/office/drawing/2014/main" id="{A4B84366-A820-96EF-3934-894084DF113E}"/>
                      </a:ext>
                    </a:extLst>
                  </p:cNvPr>
                  <p:cNvSpPr/>
                  <p:nvPr/>
                </p:nvSpPr>
                <p:spPr>
                  <a:xfrm>
                    <a:off x="-5731361" y="3342280"/>
                    <a:ext cx="121133" cy="176430"/>
                  </a:xfrm>
                  <a:custGeom>
                    <a:avLst/>
                    <a:gdLst>
                      <a:gd name="connsiteX0" fmla="*/ 40561 w 121133"/>
                      <a:gd name="connsiteY0" fmla="*/ 2552 h 176430"/>
                      <a:gd name="connsiteX1" fmla="*/ 52279 w 121133"/>
                      <a:gd name="connsiteY1" fmla="*/ 16630 h 176430"/>
                      <a:gd name="connsiteX2" fmla="*/ 56615 w 121133"/>
                      <a:gd name="connsiteY2" fmla="*/ 18359 h 176430"/>
                      <a:gd name="connsiteX3" fmla="*/ 56834 w 121133"/>
                      <a:gd name="connsiteY3" fmla="*/ 29364 h 176430"/>
                      <a:gd name="connsiteX4" fmla="*/ 62680 w 121133"/>
                      <a:gd name="connsiteY4" fmla="*/ 36362 h 176430"/>
                      <a:gd name="connsiteX5" fmla="*/ 76264 w 121133"/>
                      <a:gd name="connsiteY5" fmla="*/ 41878 h 176430"/>
                      <a:gd name="connsiteX6" fmla="*/ 76978 w 121133"/>
                      <a:gd name="connsiteY6" fmla="*/ 44512 h 176430"/>
                      <a:gd name="connsiteX7" fmla="*/ 74096 w 121133"/>
                      <a:gd name="connsiteY7" fmla="*/ 49864 h 176430"/>
                      <a:gd name="connsiteX8" fmla="*/ 78267 w 121133"/>
                      <a:gd name="connsiteY8" fmla="*/ 54639 h 176430"/>
                      <a:gd name="connsiteX9" fmla="*/ 72724 w 121133"/>
                      <a:gd name="connsiteY9" fmla="*/ 57328 h 176430"/>
                      <a:gd name="connsiteX10" fmla="*/ 79036 w 121133"/>
                      <a:gd name="connsiteY10" fmla="*/ 60237 h 176430"/>
                      <a:gd name="connsiteX11" fmla="*/ 81451 w 121133"/>
                      <a:gd name="connsiteY11" fmla="*/ 63668 h 176430"/>
                      <a:gd name="connsiteX12" fmla="*/ 91961 w 121133"/>
                      <a:gd name="connsiteY12" fmla="*/ 66412 h 176430"/>
                      <a:gd name="connsiteX13" fmla="*/ 92071 w 121133"/>
                      <a:gd name="connsiteY13" fmla="*/ 66549 h 176430"/>
                      <a:gd name="connsiteX14" fmla="*/ 95859 w 121133"/>
                      <a:gd name="connsiteY14" fmla="*/ 71297 h 176430"/>
                      <a:gd name="connsiteX15" fmla="*/ 103872 w 121133"/>
                      <a:gd name="connsiteY15" fmla="*/ 62652 h 176430"/>
                      <a:gd name="connsiteX16" fmla="*/ 112297 w 121133"/>
                      <a:gd name="connsiteY16" fmla="*/ 66769 h 176430"/>
                      <a:gd name="connsiteX17" fmla="*/ 113037 w 121133"/>
                      <a:gd name="connsiteY17" fmla="*/ 69211 h 176430"/>
                      <a:gd name="connsiteX18" fmla="*/ 109498 w 121133"/>
                      <a:gd name="connsiteY18" fmla="*/ 69294 h 176430"/>
                      <a:gd name="connsiteX19" fmla="*/ 105628 w 121133"/>
                      <a:gd name="connsiteY19" fmla="*/ 72779 h 176430"/>
                      <a:gd name="connsiteX20" fmla="*/ 111419 w 121133"/>
                      <a:gd name="connsiteY20" fmla="*/ 82329 h 176430"/>
                      <a:gd name="connsiteX21" fmla="*/ 109607 w 121133"/>
                      <a:gd name="connsiteY21" fmla="*/ 87872 h 176430"/>
                      <a:gd name="connsiteX22" fmla="*/ 107330 w 121133"/>
                      <a:gd name="connsiteY22" fmla="*/ 89299 h 176430"/>
                      <a:gd name="connsiteX23" fmla="*/ 103872 w 121133"/>
                      <a:gd name="connsiteY23" fmla="*/ 91797 h 176430"/>
                      <a:gd name="connsiteX24" fmla="*/ 102472 w 121133"/>
                      <a:gd name="connsiteY24" fmla="*/ 99783 h 176430"/>
                      <a:gd name="connsiteX25" fmla="*/ 106809 w 121133"/>
                      <a:gd name="connsiteY25" fmla="*/ 111034 h 176430"/>
                      <a:gd name="connsiteX26" fmla="*/ 111144 w 121133"/>
                      <a:gd name="connsiteY26" fmla="*/ 115452 h 176430"/>
                      <a:gd name="connsiteX27" fmla="*/ 113504 w 121133"/>
                      <a:gd name="connsiteY27" fmla="*/ 116084 h 176430"/>
                      <a:gd name="connsiteX28" fmla="*/ 121134 w 121133"/>
                      <a:gd name="connsiteY28" fmla="*/ 123933 h 176430"/>
                      <a:gd name="connsiteX29" fmla="*/ 113532 w 121133"/>
                      <a:gd name="connsiteY29" fmla="*/ 136117 h 176430"/>
                      <a:gd name="connsiteX30" fmla="*/ 106699 w 121133"/>
                      <a:gd name="connsiteY30" fmla="*/ 136968 h 176430"/>
                      <a:gd name="connsiteX31" fmla="*/ 104558 w 121133"/>
                      <a:gd name="connsiteY31" fmla="*/ 138697 h 176430"/>
                      <a:gd name="connsiteX32" fmla="*/ 105134 w 121133"/>
                      <a:gd name="connsiteY32" fmla="*/ 145777 h 176430"/>
                      <a:gd name="connsiteX33" fmla="*/ 105272 w 121133"/>
                      <a:gd name="connsiteY33" fmla="*/ 146408 h 176430"/>
                      <a:gd name="connsiteX34" fmla="*/ 107083 w 121133"/>
                      <a:gd name="connsiteY34" fmla="*/ 154010 h 176430"/>
                      <a:gd name="connsiteX35" fmla="*/ 105491 w 121133"/>
                      <a:gd name="connsiteY35" fmla="*/ 155684 h 176430"/>
                      <a:gd name="connsiteX36" fmla="*/ 102143 w 121133"/>
                      <a:gd name="connsiteY36" fmla="*/ 159224 h 176430"/>
                      <a:gd name="connsiteX37" fmla="*/ 99097 w 121133"/>
                      <a:gd name="connsiteY37" fmla="*/ 157715 h 176430"/>
                      <a:gd name="connsiteX38" fmla="*/ 79393 w 121133"/>
                      <a:gd name="connsiteY38" fmla="*/ 161145 h 176430"/>
                      <a:gd name="connsiteX39" fmla="*/ 75935 w 121133"/>
                      <a:gd name="connsiteY39" fmla="*/ 160843 h 176430"/>
                      <a:gd name="connsiteX40" fmla="*/ 75167 w 121133"/>
                      <a:gd name="connsiteY40" fmla="*/ 162243 h 176430"/>
                      <a:gd name="connsiteX41" fmla="*/ 68388 w 121133"/>
                      <a:gd name="connsiteY41" fmla="*/ 167182 h 176430"/>
                      <a:gd name="connsiteX42" fmla="*/ 64931 w 121133"/>
                      <a:gd name="connsiteY42" fmla="*/ 164164 h 176430"/>
                      <a:gd name="connsiteX43" fmla="*/ 55380 w 121133"/>
                      <a:gd name="connsiteY43" fmla="*/ 170531 h 176430"/>
                      <a:gd name="connsiteX44" fmla="*/ 54776 w 121133"/>
                      <a:gd name="connsiteY44" fmla="*/ 172177 h 176430"/>
                      <a:gd name="connsiteX45" fmla="*/ 54639 w 121133"/>
                      <a:gd name="connsiteY45" fmla="*/ 175854 h 176430"/>
                      <a:gd name="connsiteX46" fmla="*/ 50221 w 121133"/>
                      <a:gd name="connsiteY46" fmla="*/ 176431 h 176430"/>
                      <a:gd name="connsiteX47" fmla="*/ 50111 w 121133"/>
                      <a:gd name="connsiteY47" fmla="*/ 172177 h 176430"/>
                      <a:gd name="connsiteX48" fmla="*/ 50056 w 121133"/>
                      <a:gd name="connsiteY48" fmla="*/ 170366 h 176430"/>
                      <a:gd name="connsiteX49" fmla="*/ 47010 w 121133"/>
                      <a:gd name="connsiteY49" fmla="*/ 162847 h 176430"/>
                      <a:gd name="connsiteX50" fmla="*/ 40506 w 121133"/>
                      <a:gd name="connsiteY50" fmla="*/ 155656 h 176430"/>
                      <a:gd name="connsiteX51" fmla="*/ 34962 w 121133"/>
                      <a:gd name="connsiteY51" fmla="*/ 149454 h 176430"/>
                      <a:gd name="connsiteX52" fmla="*/ 35539 w 121133"/>
                      <a:gd name="connsiteY52" fmla="*/ 146408 h 176430"/>
                      <a:gd name="connsiteX53" fmla="*/ 34661 w 121133"/>
                      <a:gd name="connsiteY53" fmla="*/ 142017 h 176430"/>
                      <a:gd name="connsiteX54" fmla="*/ 43113 w 121133"/>
                      <a:gd name="connsiteY54" fmla="*/ 138367 h 176430"/>
                      <a:gd name="connsiteX55" fmla="*/ 42399 w 121133"/>
                      <a:gd name="connsiteY55" fmla="*/ 135486 h 176430"/>
                      <a:gd name="connsiteX56" fmla="*/ 39326 w 121133"/>
                      <a:gd name="connsiteY56" fmla="*/ 133647 h 176430"/>
                      <a:gd name="connsiteX57" fmla="*/ 34661 w 121133"/>
                      <a:gd name="connsiteY57" fmla="*/ 131397 h 176430"/>
                      <a:gd name="connsiteX58" fmla="*/ 23080 w 121133"/>
                      <a:gd name="connsiteY58" fmla="*/ 123850 h 176430"/>
                      <a:gd name="connsiteX59" fmla="*/ 9935 w 121133"/>
                      <a:gd name="connsiteY59" fmla="*/ 110348 h 176430"/>
                      <a:gd name="connsiteX60" fmla="*/ 17975 w 121133"/>
                      <a:gd name="connsiteY60" fmla="*/ 105985 h 176430"/>
                      <a:gd name="connsiteX61" fmla="*/ 17619 w 121133"/>
                      <a:gd name="connsiteY61" fmla="*/ 102170 h 176430"/>
                      <a:gd name="connsiteX62" fmla="*/ 12459 w 121133"/>
                      <a:gd name="connsiteY62" fmla="*/ 93745 h 176430"/>
                      <a:gd name="connsiteX63" fmla="*/ 19677 w 121133"/>
                      <a:gd name="connsiteY63" fmla="*/ 91385 h 176430"/>
                      <a:gd name="connsiteX64" fmla="*/ 17948 w 121133"/>
                      <a:gd name="connsiteY64" fmla="*/ 87077 h 176430"/>
                      <a:gd name="connsiteX65" fmla="*/ 7355 w 121133"/>
                      <a:gd name="connsiteY65" fmla="*/ 75825 h 176430"/>
                      <a:gd name="connsiteX66" fmla="*/ 7876 w 121133"/>
                      <a:gd name="connsiteY66" fmla="*/ 70172 h 176430"/>
                      <a:gd name="connsiteX67" fmla="*/ 13667 w 121133"/>
                      <a:gd name="connsiteY67" fmla="*/ 54529 h 176430"/>
                      <a:gd name="connsiteX68" fmla="*/ 3979 w 121133"/>
                      <a:gd name="connsiteY68" fmla="*/ 55929 h 176430"/>
                      <a:gd name="connsiteX69" fmla="*/ 3348 w 121133"/>
                      <a:gd name="connsiteY69" fmla="*/ 54639 h 176430"/>
                      <a:gd name="connsiteX70" fmla="*/ 7135 w 121133"/>
                      <a:gd name="connsiteY70" fmla="*/ 51840 h 176430"/>
                      <a:gd name="connsiteX71" fmla="*/ 6587 w 121133"/>
                      <a:gd name="connsiteY71" fmla="*/ 44320 h 176430"/>
                      <a:gd name="connsiteX72" fmla="*/ 15807 w 121133"/>
                      <a:gd name="connsiteY72" fmla="*/ 42921 h 176430"/>
                      <a:gd name="connsiteX73" fmla="*/ 14792 w 121133"/>
                      <a:gd name="connsiteY73" fmla="*/ 40341 h 176430"/>
                      <a:gd name="connsiteX74" fmla="*/ 7163 w 121133"/>
                      <a:gd name="connsiteY74" fmla="*/ 37707 h 176430"/>
                      <a:gd name="connsiteX75" fmla="*/ 3211 w 121133"/>
                      <a:gd name="connsiteY75" fmla="*/ 33755 h 176430"/>
                      <a:gd name="connsiteX76" fmla="*/ 3458 w 121133"/>
                      <a:gd name="connsiteY76" fmla="*/ 31751 h 176430"/>
                      <a:gd name="connsiteX77" fmla="*/ 4281 w 121133"/>
                      <a:gd name="connsiteY77" fmla="*/ 29584 h 176430"/>
                      <a:gd name="connsiteX78" fmla="*/ 5215 w 121133"/>
                      <a:gd name="connsiteY78" fmla="*/ 28102 h 176430"/>
                      <a:gd name="connsiteX79" fmla="*/ 988 w 121133"/>
                      <a:gd name="connsiteY79" fmla="*/ 25659 h 176430"/>
                      <a:gd name="connsiteX80" fmla="*/ 1867 w 121133"/>
                      <a:gd name="connsiteY80" fmla="*/ 22421 h 176430"/>
                      <a:gd name="connsiteX81" fmla="*/ 0 w 121133"/>
                      <a:gd name="connsiteY81" fmla="*/ 11279 h 176430"/>
                      <a:gd name="connsiteX82" fmla="*/ 4116 w 121133"/>
                      <a:gd name="connsiteY82" fmla="*/ 10538 h 176430"/>
                      <a:gd name="connsiteX83" fmla="*/ 6614 w 121133"/>
                      <a:gd name="connsiteY83" fmla="*/ 7245 h 176430"/>
                      <a:gd name="connsiteX84" fmla="*/ 12158 w 121133"/>
                      <a:gd name="connsiteY84" fmla="*/ 8315 h 176430"/>
                      <a:gd name="connsiteX85" fmla="*/ 20061 w 121133"/>
                      <a:gd name="connsiteY85" fmla="*/ 878 h 176430"/>
                      <a:gd name="connsiteX86" fmla="*/ 23794 w 121133"/>
                      <a:gd name="connsiteY86" fmla="*/ 0 h 176430"/>
                      <a:gd name="connsiteX87" fmla="*/ 28705 w 121133"/>
                      <a:gd name="connsiteY87" fmla="*/ 1592 h 176430"/>
                      <a:gd name="connsiteX88" fmla="*/ 39216 w 121133"/>
                      <a:gd name="connsiteY88" fmla="*/ 2415 h 176430"/>
                      <a:gd name="connsiteX89" fmla="*/ 40423 w 121133"/>
                      <a:gd name="connsiteY89" fmla="*/ 2607 h 17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133" h="176430">
                        <a:moveTo>
                          <a:pt x="40561" y="2552"/>
                        </a:moveTo>
                        <a:lnTo>
                          <a:pt x="52279" y="16630"/>
                        </a:lnTo>
                        <a:lnTo>
                          <a:pt x="56615" y="18359"/>
                        </a:lnTo>
                        <a:lnTo>
                          <a:pt x="56834" y="29364"/>
                        </a:lnTo>
                        <a:lnTo>
                          <a:pt x="62680" y="36362"/>
                        </a:lnTo>
                        <a:lnTo>
                          <a:pt x="76264" y="41878"/>
                        </a:lnTo>
                        <a:lnTo>
                          <a:pt x="76978" y="44512"/>
                        </a:lnTo>
                        <a:lnTo>
                          <a:pt x="74096" y="49864"/>
                        </a:lnTo>
                        <a:lnTo>
                          <a:pt x="78267" y="54639"/>
                        </a:lnTo>
                        <a:lnTo>
                          <a:pt x="72724" y="57328"/>
                        </a:lnTo>
                        <a:lnTo>
                          <a:pt x="79036" y="60237"/>
                        </a:lnTo>
                        <a:lnTo>
                          <a:pt x="81451" y="63668"/>
                        </a:lnTo>
                        <a:lnTo>
                          <a:pt x="91961" y="66412"/>
                        </a:lnTo>
                        <a:lnTo>
                          <a:pt x="92071" y="66549"/>
                        </a:lnTo>
                        <a:lnTo>
                          <a:pt x="95859" y="71297"/>
                        </a:lnTo>
                        <a:lnTo>
                          <a:pt x="103872" y="62652"/>
                        </a:lnTo>
                        <a:lnTo>
                          <a:pt x="112297" y="66769"/>
                        </a:lnTo>
                        <a:lnTo>
                          <a:pt x="113037" y="69211"/>
                        </a:lnTo>
                        <a:lnTo>
                          <a:pt x="109498" y="69294"/>
                        </a:lnTo>
                        <a:lnTo>
                          <a:pt x="105628" y="72779"/>
                        </a:lnTo>
                        <a:lnTo>
                          <a:pt x="111419" y="82329"/>
                        </a:lnTo>
                        <a:lnTo>
                          <a:pt x="109607" y="87872"/>
                        </a:lnTo>
                        <a:lnTo>
                          <a:pt x="107330" y="89299"/>
                        </a:lnTo>
                        <a:lnTo>
                          <a:pt x="103872" y="91797"/>
                        </a:lnTo>
                        <a:lnTo>
                          <a:pt x="102472" y="99783"/>
                        </a:lnTo>
                        <a:lnTo>
                          <a:pt x="106809" y="111034"/>
                        </a:lnTo>
                        <a:lnTo>
                          <a:pt x="111144" y="115452"/>
                        </a:lnTo>
                        <a:lnTo>
                          <a:pt x="113504" y="116084"/>
                        </a:lnTo>
                        <a:lnTo>
                          <a:pt x="121134" y="123933"/>
                        </a:lnTo>
                        <a:lnTo>
                          <a:pt x="113532" y="136117"/>
                        </a:lnTo>
                        <a:lnTo>
                          <a:pt x="106699" y="136968"/>
                        </a:lnTo>
                        <a:lnTo>
                          <a:pt x="104558" y="138697"/>
                        </a:lnTo>
                        <a:lnTo>
                          <a:pt x="105134" y="145777"/>
                        </a:lnTo>
                        <a:lnTo>
                          <a:pt x="105272" y="146408"/>
                        </a:lnTo>
                        <a:lnTo>
                          <a:pt x="107083" y="154010"/>
                        </a:lnTo>
                        <a:lnTo>
                          <a:pt x="105491" y="155684"/>
                        </a:lnTo>
                        <a:lnTo>
                          <a:pt x="102143" y="159224"/>
                        </a:lnTo>
                        <a:lnTo>
                          <a:pt x="99097" y="157715"/>
                        </a:lnTo>
                        <a:lnTo>
                          <a:pt x="79393" y="161145"/>
                        </a:lnTo>
                        <a:lnTo>
                          <a:pt x="75935" y="160843"/>
                        </a:lnTo>
                        <a:lnTo>
                          <a:pt x="75167" y="162243"/>
                        </a:lnTo>
                        <a:lnTo>
                          <a:pt x="68388" y="167182"/>
                        </a:lnTo>
                        <a:lnTo>
                          <a:pt x="64931" y="164164"/>
                        </a:lnTo>
                        <a:lnTo>
                          <a:pt x="55380" y="170531"/>
                        </a:lnTo>
                        <a:lnTo>
                          <a:pt x="54776" y="172177"/>
                        </a:lnTo>
                        <a:lnTo>
                          <a:pt x="54639" y="175854"/>
                        </a:lnTo>
                        <a:lnTo>
                          <a:pt x="50221" y="176431"/>
                        </a:lnTo>
                        <a:lnTo>
                          <a:pt x="50111" y="172177"/>
                        </a:lnTo>
                        <a:lnTo>
                          <a:pt x="50056" y="170366"/>
                        </a:lnTo>
                        <a:lnTo>
                          <a:pt x="47010" y="162847"/>
                        </a:lnTo>
                        <a:lnTo>
                          <a:pt x="40506" y="155656"/>
                        </a:lnTo>
                        <a:lnTo>
                          <a:pt x="34962" y="149454"/>
                        </a:lnTo>
                        <a:lnTo>
                          <a:pt x="35539" y="146408"/>
                        </a:lnTo>
                        <a:lnTo>
                          <a:pt x="34661" y="142017"/>
                        </a:lnTo>
                        <a:lnTo>
                          <a:pt x="43113" y="138367"/>
                        </a:lnTo>
                        <a:lnTo>
                          <a:pt x="42399" y="135486"/>
                        </a:lnTo>
                        <a:lnTo>
                          <a:pt x="39326" y="133647"/>
                        </a:lnTo>
                        <a:lnTo>
                          <a:pt x="34661" y="131397"/>
                        </a:lnTo>
                        <a:lnTo>
                          <a:pt x="23080" y="123850"/>
                        </a:lnTo>
                        <a:lnTo>
                          <a:pt x="9935" y="110348"/>
                        </a:lnTo>
                        <a:lnTo>
                          <a:pt x="17975" y="105985"/>
                        </a:lnTo>
                        <a:lnTo>
                          <a:pt x="17619" y="102170"/>
                        </a:lnTo>
                        <a:lnTo>
                          <a:pt x="12459" y="93745"/>
                        </a:lnTo>
                        <a:lnTo>
                          <a:pt x="19677" y="91385"/>
                        </a:lnTo>
                        <a:lnTo>
                          <a:pt x="17948" y="87077"/>
                        </a:lnTo>
                        <a:lnTo>
                          <a:pt x="7355" y="75825"/>
                        </a:lnTo>
                        <a:lnTo>
                          <a:pt x="7876" y="70172"/>
                        </a:lnTo>
                        <a:lnTo>
                          <a:pt x="13667" y="54529"/>
                        </a:lnTo>
                        <a:lnTo>
                          <a:pt x="3979" y="55929"/>
                        </a:lnTo>
                        <a:lnTo>
                          <a:pt x="3348" y="54639"/>
                        </a:lnTo>
                        <a:lnTo>
                          <a:pt x="7135" y="51840"/>
                        </a:lnTo>
                        <a:lnTo>
                          <a:pt x="6587" y="44320"/>
                        </a:lnTo>
                        <a:lnTo>
                          <a:pt x="15807" y="42921"/>
                        </a:lnTo>
                        <a:lnTo>
                          <a:pt x="14792" y="40341"/>
                        </a:lnTo>
                        <a:lnTo>
                          <a:pt x="7163" y="37707"/>
                        </a:lnTo>
                        <a:lnTo>
                          <a:pt x="3211" y="33755"/>
                        </a:lnTo>
                        <a:lnTo>
                          <a:pt x="3458" y="31751"/>
                        </a:lnTo>
                        <a:lnTo>
                          <a:pt x="4281" y="29584"/>
                        </a:lnTo>
                        <a:lnTo>
                          <a:pt x="5215" y="28102"/>
                        </a:lnTo>
                        <a:lnTo>
                          <a:pt x="988" y="25659"/>
                        </a:lnTo>
                        <a:lnTo>
                          <a:pt x="1867" y="22421"/>
                        </a:lnTo>
                        <a:lnTo>
                          <a:pt x="0" y="11279"/>
                        </a:lnTo>
                        <a:lnTo>
                          <a:pt x="4116" y="10538"/>
                        </a:lnTo>
                        <a:lnTo>
                          <a:pt x="6614" y="7245"/>
                        </a:lnTo>
                        <a:lnTo>
                          <a:pt x="12158" y="8315"/>
                        </a:lnTo>
                        <a:lnTo>
                          <a:pt x="20061" y="878"/>
                        </a:lnTo>
                        <a:lnTo>
                          <a:pt x="23794" y="0"/>
                        </a:lnTo>
                        <a:lnTo>
                          <a:pt x="28705" y="1592"/>
                        </a:lnTo>
                        <a:lnTo>
                          <a:pt x="39216" y="2415"/>
                        </a:lnTo>
                        <a:lnTo>
                          <a:pt x="40423" y="260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0" name="Freeform: Shape 3499">
                    <a:extLst>
                      <a:ext uri="{FF2B5EF4-FFF2-40B4-BE49-F238E27FC236}">
                        <a16:creationId xmlns:a16="http://schemas.microsoft.com/office/drawing/2014/main" id="{267E9FDF-0B58-8124-A933-8744E0F73236}"/>
                      </a:ext>
                    </a:extLst>
                  </p:cNvPr>
                  <p:cNvSpPr/>
                  <p:nvPr/>
                </p:nvSpPr>
                <p:spPr>
                  <a:xfrm>
                    <a:off x="-5635118" y="3063377"/>
                    <a:ext cx="529869" cy="352203"/>
                  </a:xfrm>
                  <a:custGeom>
                    <a:avLst/>
                    <a:gdLst>
                      <a:gd name="connsiteX0" fmla="*/ 342817 w 529869"/>
                      <a:gd name="connsiteY0" fmla="*/ 933 h 352203"/>
                      <a:gd name="connsiteX1" fmla="*/ 350035 w 529869"/>
                      <a:gd name="connsiteY1" fmla="*/ 8809 h 352203"/>
                      <a:gd name="connsiteX2" fmla="*/ 352148 w 529869"/>
                      <a:gd name="connsiteY2" fmla="*/ 17289 h 352203"/>
                      <a:gd name="connsiteX3" fmla="*/ 359778 w 529869"/>
                      <a:gd name="connsiteY3" fmla="*/ 26620 h 352203"/>
                      <a:gd name="connsiteX4" fmla="*/ 359092 w 529869"/>
                      <a:gd name="connsiteY4" fmla="*/ 30434 h 352203"/>
                      <a:gd name="connsiteX5" fmla="*/ 352313 w 529869"/>
                      <a:gd name="connsiteY5" fmla="*/ 33343 h 352203"/>
                      <a:gd name="connsiteX6" fmla="*/ 355963 w 529869"/>
                      <a:gd name="connsiteY6" fmla="*/ 39875 h 352203"/>
                      <a:gd name="connsiteX7" fmla="*/ 357033 w 529869"/>
                      <a:gd name="connsiteY7" fmla="*/ 52059 h 352203"/>
                      <a:gd name="connsiteX8" fmla="*/ 371304 w 529869"/>
                      <a:gd name="connsiteY8" fmla="*/ 56286 h 352203"/>
                      <a:gd name="connsiteX9" fmla="*/ 381128 w 529869"/>
                      <a:gd name="connsiteY9" fmla="*/ 55325 h 352203"/>
                      <a:gd name="connsiteX10" fmla="*/ 383433 w 529869"/>
                      <a:gd name="connsiteY10" fmla="*/ 60841 h 352203"/>
                      <a:gd name="connsiteX11" fmla="*/ 388208 w 529869"/>
                      <a:gd name="connsiteY11" fmla="*/ 63476 h 352203"/>
                      <a:gd name="connsiteX12" fmla="*/ 391282 w 529869"/>
                      <a:gd name="connsiteY12" fmla="*/ 76374 h 352203"/>
                      <a:gd name="connsiteX13" fmla="*/ 390266 w 529869"/>
                      <a:gd name="connsiteY13" fmla="*/ 84744 h 352203"/>
                      <a:gd name="connsiteX14" fmla="*/ 396524 w 529869"/>
                      <a:gd name="connsiteY14" fmla="*/ 93992 h 352203"/>
                      <a:gd name="connsiteX15" fmla="*/ 408653 w 529869"/>
                      <a:gd name="connsiteY15" fmla="*/ 90534 h 352203"/>
                      <a:gd name="connsiteX16" fmla="*/ 416612 w 529869"/>
                      <a:gd name="connsiteY16" fmla="*/ 96736 h 352203"/>
                      <a:gd name="connsiteX17" fmla="*/ 426190 w 529869"/>
                      <a:gd name="connsiteY17" fmla="*/ 99728 h 352203"/>
                      <a:gd name="connsiteX18" fmla="*/ 449434 w 529869"/>
                      <a:gd name="connsiteY18" fmla="*/ 91797 h 352203"/>
                      <a:gd name="connsiteX19" fmla="*/ 454236 w 529869"/>
                      <a:gd name="connsiteY19" fmla="*/ 96901 h 352203"/>
                      <a:gd name="connsiteX20" fmla="*/ 458463 w 529869"/>
                      <a:gd name="connsiteY20" fmla="*/ 106149 h 352203"/>
                      <a:gd name="connsiteX21" fmla="*/ 467107 w 529869"/>
                      <a:gd name="connsiteY21" fmla="*/ 113339 h 352203"/>
                      <a:gd name="connsiteX22" fmla="*/ 470317 w 529869"/>
                      <a:gd name="connsiteY22" fmla="*/ 113037 h 352203"/>
                      <a:gd name="connsiteX23" fmla="*/ 474023 w 529869"/>
                      <a:gd name="connsiteY23" fmla="*/ 107576 h 352203"/>
                      <a:gd name="connsiteX24" fmla="*/ 493946 w 529869"/>
                      <a:gd name="connsiteY24" fmla="*/ 119103 h 352203"/>
                      <a:gd name="connsiteX25" fmla="*/ 500286 w 529869"/>
                      <a:gd name="connsiteY25" fmla="*/ 117429 h 352203"/>
                      <a:gd name="connsiteX26" fmla="*/ 504786 w 529869"/>
                      <a:gd name="connsiteY26" fmla="*/ 121792 h 352203"/>
                      <a:gd name="connsiteX27" fmla="*/ 512004 w 529869"/>
                      <a:gd name="connsiteY27" fmla="*/ 123192 h 352203"/>
                      <a:gd name="connsiteX28" fmla="*/ 518562 w 529869"/>
                      <a:gd name="connsiteY28" fmla="*/ 130080 h 352203"/>
                      <a:gd name="connsiteX29" fmla="*/ 527344 w 529869"/>
                      <a:gd name="connsiteY29" fmla="*/ 130244 h 352203"/>
                      <a:gd name="connsiteX30" fmla="*/ 526631 w 529869"/>
                      <a:gd name="connsiteY30" fmla="*/ 134992 h 352203"/>
                      <a:gd name="connsiteX31" fmla="*/ 529814 w 529869"/>
                      <a:gd name="connsiteY31" fmla="*/ 140590 h 352203"/>
                      <a:gd name="connsiteX32" fmla="*/ 529869 w 529869"/>
                      <a:gd name="connsiteY32" fmla="*/ 144762 h 352203"/>
                      <a:gd name="connsiteX33" fmla="*/ 523200 w 529869"/>
                      <a:gd name="connsiteY33" fmla="*/ 152446 h 352203"/>
                      <a:gd name="connsiteX34" fmla="*/ 516889 w 529869"/>
                      <a:gd name="connsiteY34" fmla="*/ 155876 h 352203"/>
                      <a:gd name="connsiteX35" fmla="*/ 519386 w 529869"/>
                      <a:gd name="connsiteY35" fmla="*/ 159855 h 352203"/>
                      <a:gd name="connsiteX36" fmla="*/ 524737 w 529869"/>
                      <a:gd name="connsiteY36" fmla="*/ 162023 h 352203"/>
                      <a:gd name="connsiteX37" fmla="*/ 523502 w 529869"/>
                      <a:gd name="connsiteY37" fmla="*/ 164411 h 352203"/>
                      <a:gd name="connsiteX38" fmla="*/ 519001 w 529869"/>
                      <a:gd name="connsiteY38" fmla="*/ 164850 h 352203"/>
                      <a:gd name="connsiteX39" fmla="*/ 516257 w 529869"/>
                      <a:gd name="connsiteY39" fmla="*/ 170613 h 352203"/>
                      <a:gd name="connsiteX40" fmla="*/ 524133 w 529869"/>
                      <a:gd name="connsiteY40" fmla="*/ 189494 h 352203"/>
                      <a:gd name="connsiteX41" fmla="*/ 518315 w 529869"/>
                      <a:gd name="connsiteY41" fmla="*/ 205356 h 352203"/>
                      <a:gd name="connsiteX42" fmla="*/ 512662 w 529869"/>
                      <a:gd name="connsiteY42" fmla="*/ 207990 h 352203"/>
                      <a:gd name="connsiteX43" fmla="*/ 492409 w 529869"/>
                      <a:gd name="connsiteY43" fmla="*/ 206783 h 352203"/>
                      <a:gd name="connsiteX44" fmla="*/ 487826 w 529869"/>
                      <a:gd name="connsiteY44" fmla="*/ 213534 h 352203"/>
                      <a:gd name="connsiteX45" fmla="*/ 479703 w 529869"/>
                      <a:gd name="connsiteY45" fmla="*/ 216305 h 352203"/>
                      <a:gd name="connsiteX46" fmla="*/ 475395 w 529869"/>
                      <a:gd name="connsiteY46" fmla="*/ 220559 h 352203"/>
                      <a:gd name="connsiteX47" fmla="*/ 473556 w 529869"/>
                      <a:gd name="connsiteY47" fmla="*/ 228627 h 352203"/>
                      <a:gd name="connsiteX48" fmla="*/ 474818 w 529869"/>
                      <a:gd name="connsiteY48" fmla="*/ 232909 h 352203"/>
                      <a:gd name="connsiteX49" fmla="*/ 472788 w 529869"/>
                      <a:gd name="connsiteY49" fmla="*/ 238946 h 352203"/>
                      <a:gd name="connsiteX50" fmla="*/ 455251 w 529869"/>
                      <a:gd name="connsiteY50" fmla="*/ 241251 h 352203"/>
                      <a:gd name="connsiteX51" fmla="*/ 432227 w 529869"/>
                      <a:gd name="connsiteY51" fmla="*/ 254040 h 352203"/>
                      <a:gd name="connsiteX52" fmla="*/ 404400 w 529869"/>
                      <a:gd name="connsiteY52" fmla="*/ 260297 h 352203"/>
                      <a:gd name="connsiteX53" fmla="*/ 371056 w 529869"/>
                      <a:gd name="connsiteY53" fmla="*/ 279589 h 352203"/>
                      <a:gd name="connsiteX54" fmla="*/ 367846 w 529869"/>
                      <a:gd name="connsiteY54" fmla="*/ 293091 h 352203"/>
                      <a:gd name="connsiteX55" fmla="*/ 376957 w 529869"/>
                      <a:gd name="connsiteY55" fmla="*/ 302147 h 352203"/>
                      <a:gd name="connsiteX56" fmla="*/ 384421 w 529869"/>
                      <a:gd name="connsiteY56" fmla="*/ 314002 h 352203"/>
                      <a:gd name="connsiteX57" fmla="*/ 391529 w 529869"/>
                      <a:gd name="connsiteY57" fmla="*/ 315978 h 352203"/>
                      <a:gd name="connsiteX58" fmla="*/ 412605 w 529869"/>
                      <a:gd name="connsiteY58" fmla="*/ 310462 h 352203"/>
                      <a:gd name="connsiteX59" fmla="*/ 421057 w 529869"/>
                      <a:gd name="connsiteY59" fmla="*/ 316720 h 352203"/>
                      <a:gd name="connsiteX60" fmla="*/ 415185 w 529869"/>
                      <a:gd name="connsiteY60" fmla="*/ 325391 h 352203"/>
                      <a:gd name="connsiteX61" fmla="*/ 404427 w 529869"/>
                      <a:gd name="connsiteY61" fmla="*/ 327559 h 352203"/>
                      <a:gd name="connsiteX62" fmla="*/ 392242 w 529869"/>
                      <a:gd name="connsiteY62" fmla="*/ 326407 h 352203"/>
                      <a:gd name="connsiteX63" fmla="*/ 380909 w 529869"/>
                      <a:gd name="connsiteY63" fmla="*/ 334310 h 352203"/>
                      <a:gd name="connsiteX64" fmla="*/ 363619 w 529869"/>
                      <a:gd name="connsiteY64" fmla="*/ 341006 h 352203"/>
                      <a:gd name="connsiteX65" fmla="*/ 349459 w 529869"/>
                      <a:gd name="connsiteY65" fmla="*/ 351819 h 352203"/>
                      <a:gd name="connsiteX66" fmla="*/ 341445 w 529869"/>
                      <a:gd name="connsiteY66" fmla="*/ 352203 h 352203"/>
                      <a:gd name="connsiteX67" fmla="*/ 335326 w 529869"/>
                      <a:gd name="connsiteY67" fmla="*/ 347922 h 352203"/>
                      <a:gd name="connsiteX68" fmla="*/ 335545 w 529869"/>
                      <a:gd name="connsiteY68" fmla="*/ 332252 h 352203"/>
                      <a:gd name="connsiteX69" fmla="*/ 331813 w 529869"/>
                      <a:gd name="connsiteY69" fmla="*/ 323662 h 352203"/>
                      <a:gd name="connsiteX70" fmla="*/ 307690 w 529869"/>
                      <a:gd name="connsiteY70" fmla="*/ 311862 h 352203"/>
                      <a:gd name="connsiteX71" fmla="*/ 311999 w 529869"/>
                      <a:gd name="connsiteY71" fmla="*/ 305605 h 352203"/>
                      <a:gd name="connsiteX72" fmla="*/ 334338 w 529869"/>
                      <a:gd name="connsiteY72" fmla="*/ 292240 h 352203"/>
                      <a:gd name="connsiteX73" fmla="*/ 335243 w 529869"/>
                      <a:gd name="connsiteY73" fmla="*/ 285160 h 352203"/>
                      <a:gd name="connsiteX74" fmla="*/ 323470 w 529869"/>
                      <a:gd name="connsiteY74" fmla="*/ 281894 h 352203"/>
                      <a:gd name="connsiteX75" fmla="*/ 312822 w 529869"/>
                      <a:gd name="connsiteY75" fmla="*/ 284309 h 352203"/>
                      <a:gd name="connsiteX76" fmla="*/ 290566 w 529869"/>
                      <a:gd name="connsiteY76" fmla="*/ 276680 h 352203"/>
                      <a:gd name="connsiteX77" fmla="*/ 287794 w 529869"/>
                      <a:gd name="connsiteY77" fmla="*/ 273195 h 352203"/>
                      <a:gd name="connsiteX78" fmla="*/ 287191 w 529869"/>
                      <a:gd name="connsiteY78" fmla="*/ 267981 h 352203"/>
                      <a:gd name="connsiteX79" fmla="*/ 293420 w 529869"/>
                      <a:gd name="connsiteY79" fmla="*/ 262629 h 352203"/>
                      <a:gd name="connsiteX80" fmla="*/ 287932 w 529869"/>
                      <a:gd name="connsiteY80" fmla="*/ 257113 h 352203"/>
                      <a:gd name="connsiteX81" fmla="*/ 254204 w 529869"/>
                      <a:gd name="connsiteY81" fmla="*/ 266307 h 352203"/>
                      <a:gd name="connsiteX82" fmla="*/ 239851 w 529869"/>
                      <a:gd name="connsiteY82" fmla="*/ 288563 h 352203"/>
                      <a:gd name="connsiteX83" fmla="*/ 224264 w 529869"/>
                      <a:gd name="connsiteY83" fmla="*/ 304891 h 352203"/>
                      <a:gd name="connsiteX84" fmla="*/ 221327 w 529869"/>
                      <a:gd name="connsiteY84" fmla="*/ 320013 h 352203"/>
                      <a:gd name="connsiteX85" fmla="*/ 219434 w 529869"/>
                      <a:gd name="connsiteY85" fmla="*/ 314332 h 352203"/>
                      <a:gd name="connsiteX86" fmla="*/ 214083 w 529869"/>
                      <a:gd name="connsiteY86" fmla="*/ 311011 h 352203"/>
                      <a:gd name="connsiteX87" fmla="*/ 193884 w 529869"/>
                      <a:gd name="connsiteY87" fmla="*/ 318476 h 352203"/>
                      <a:gd name="connsiteX88" fmla="*/ 183950 w 529869"/>
                      <a:gd name="connsiteY88" fmla="*/ 315978 h 352203"/>
                      <a:gd name="connsiteX89" fmla="*/ 178132 w 529869"/>
                      <a:gd name="connsiteY89" fmla="*/ 309337 h 352203"/>
                      <a:gd name="connsiteX90" fmla="*/ 185926 w 529869"/>
                      <a:gd name="connsiteY90" fmla="*/ 307114 h 352203"/>
                      <a:gd name="connsiteX91" fmla="*/ 187710 w 529869"/>
                      <a:gd name="connsiteY91" fmla="*/ 299293 h 352203"/>
                      <a:gd name="connsiteX92" fmla="*/ 193829 w 529869"/>
                      <a:gd name="connsiteY92" fmla="*/ 293859 h 352203"/>
                      <a:gd name="connsiteX93" fmla="*/ 195724 w 529869"/>
                      <a:gd name="connsiteY93" fmla="*/ 288096 h 352203"/>
                      <a:gd name="connsiteX94" fmla="*/ 200855 w 529869"/>
                      <a:gd name="connsiteY94" fmla="*/ 284858 h 352203"/>
                      <a:gd name="connsiteX95" fmla="*/ 202145 w 529869"/>
                      <a:gd name="connsiteY95" fmla="*/ 279863 h 352203"/>
                      <a:gd name="connsiteX96" fmla="*/ 200224 w 529869"/>
                      <a:gd name="connsiteY96" fmla="*/ 274375 h 352203"/>
                      <a:gd name="connsiteX97" fmla="*/ 201212 w 529869"/>
                      <a:gd name="connsiteY97" fmla="*/ 266883 h 352203"/>
                      <a:gd name="connsiteX98" fmla="*/ 207057 w 529869"/>
                      <a:gd name="connsiteY98" fmla="*/ 264550 h 352203"/>
                      <a:gd name="connsiteX99" fmla="*/ 209308 w 529869"/>
                      <a:gd name="connsiteY99" fmla="*/ 268008 h 352203"/>
                      <a:gd name="connsiteX100" fmla="*/ 214522 w 529869"/>
                      <a:gd name="connsiteY100" fmla="*/ 267102 h 352203"/>
                      <a:gd name="connsiteX101" fmla="*/ 219324 w 529869"/>
                      <a:gd name="connsiteY101" fmla="*/ 270698 h 352203"/>
                      <a:gd name="connsiteX102" fmla="*/ 223221 w 529869"/>
                      <a:gd name="connsiteY102" fmla="*/ 268804 h 352203"/>
                      <a:gd name="connsiteX103" fmla="*/ 227283 w 529869"/>
                      <a:gd name="connsiteY103" fmla="*/ 270944 h 352203"/>
                      <a:gd name="connsiteX104" fmla="*/ 231893 w 529869"/>
                      <a:gd name="connsiteY104" fmla="*/ 269819 h 352203"/>
                      <a:gd name="connsiteX105" fmla="*/ 229066 w 529869"/>
                      <a:gd name="connsiteY105" fmla="*/ 263892 h 352203"/>
                      <a:gd name="connsiteX106" fmla="*/ 228819 w 529869"/>
                      <a:gd name="connsiteY106" fmla="*/ 253683 h 352203"/>
                      <a:gd name="connsiteX107" fmla="*/ 219214 w 529869"/>
                      <a:gd name="connsiteY107" fmla="*/ 244736 h 352203"/>
                      <a:gd name="connsiteX108" fmla="*/ 217760 w 529869"/>
                      <a:gd name="connsiteY108" fmla="*/ 230054 h 352203"/>
                      <a:gd name="connsiteX109" fmla="*/ 213561 w 529869"/>
                      <a:gd name="connsiteY109" fmla="*/ 229999 h 352203"/>
                      <a:gd name="connsiteX110" fmla="*/ 206646 w 529869"/>
                      <a:gd name="connsiteY110" fmla="*/ 222453 h 352203"/>
                      <a:gd name="connsiteX111" fmla="*/ 208512 w 529869"/>
                      <a:gd name="connsiteY111" fmla="*/ 210213 h 352203"/>
                      <a:gd name="connsiteX112" fmla="*/ 205850 w 529869"/>
                      <a:gd name="connsiteY112" fmla="*/ 202282 h 352203"/>
                      <a:gd name="connsiteX113" fmla="*/ 199895 w 529869"/>
                      <a:gd name="connsiteY113" fmla="*/ 201761 h 352203"/>
                      <a:gd name="connsiteX114" fmla="*/ 193226 w 529869"/>
                      <a:gd name="connsiteY114" fmla="*/ 194406 h 352203"/>
                      <a:gd name="connsiteX115" fmla="*/ 185569 w 529869"/>
                      <a:gd name="connsiteY115" fmla="*/ 195751 h 352203"/>
                      <a:gd name="connsiteX116" fmla="*/ 181096 w 529869"/>
                      <a:gd name="connsiteY116" fmla="*/ 190591 h 352203"/>
                      <a:gd name="connsiteX117" fmla="*/ 174400 w 529869"/>
                      <a:gd name="connsiteY117" fmla="*/ 188862 h 352203"/>
                      <a:gd name="connsiteX118" fmla="*/ 162435 w 529869"/>
                      <a:gd name="connsiteY118" fmla="*/ 180465 h 352203"/>
                      <a:gd name="connsiteX119" fmla="*/ 148741 w 529869"/>
                      <a:gd name="connsiteY119" fmla="*/ 183703 h 352203"/>
                      <a:gd name="connsiteX120" fmla="*/ 137023 w 529869"/>
                      <a:gd name="connsiteY120" fmla="*/ 182798 h 352203"/>
                      <a:gd name="connsiteX121" fmla="*/ 135925 w 529869"/>
                      <a:gd name="connsiteY121" fmla="*/ 186832 h 352203"/>
                      <a:gd name="connsiteX122" fmla="*/ 131644 w 529869"/>
                      <a:gd name="connsiteY122" fmla="*/ 189137 h 352203"/>
                      <a:gd name="connsiteX123" fmla="*/ 123411 w 529869"/>
                      <a:gd name="connsiteY123" fmla="*/ 192458 h 352203"/>
                      <a:gd name="connsiteX124" fmla="*/ 119130 w 529869"/>
                      <a:gd name="connsiteY124" fmla="*/ 199785 h 352203"/>
                      <a:gd name="connsiteX125" fmla="*/ 116002 w 529869"/>
                      <a:gd name="connsiteY125" fmla="*/ 201514 h 352203"/>
                      <a:gd name="connsiteX126" fmla="*/ 110019 w 529869"/>
                      <a:gd name="connsiteY126" fmla="*/ 202227 h 352203"/>
                      <a:gd name="connsiteX127" fmla="*/ 92181 w 529869"/>
                      <a:gd name="connsiteY127" fmla="*/ 204670 h 352203"/>
                      <a:gd name="connsiteX128" fmla="*/ 86363 w 529869"/>
                      <a:gd name="connsiteY128" fmla="*/ 211585 h 352203"/>
                      <a:gd name="connsiteX129" fmla="*/ 82137 w 529869"/>
                      <a:gd name="connsiteY129" fmla="*/ 212436 h 352203"/>
                      <a:gd name="connsiteX130" fmla="*/ 70995 w 529869"/>
                      <a:gd name="connsiteY130" fmla="*/ 202474 h 352203"/>
                      <a:gd name="connsiteX131" fmla="*/ 60594 w 529869"/>
                      <a:gd name="connsiteY131" fmla="*/ 204807 h 352203"/>
                      <a:gd name="connsiteX132" fmla="*/ 41603 w 529869"/>
                      <a:gd name="connsiteY132" fmla="*/ 200224 h 352203"/>
                      <a:gd name="connsiteX133" fmla="*/ 39381 w 529869"/>
                      <a:gd name="connsiteY133" fmla="*/ 201980 h 352203"/>
                      <a:gd name="connsiteX134" fmla="*/ 30516 w 529869"/>
                      <a:gd name="connsiteY134" fmla="*/ 195751 h 352203"/>
                      <a:gd name="connsiteX135" fmla="*/ 21790 w 529869"/>
                      <a:gd name="connsiteY135" fmla="*/ 202556 h 352203"/>
                      <a:gd name="connsiteX136" fmla="*/ 19759 w 529869"/>
                      <a:gd name="connsiteY136" fmla="*/ 196272 h 352203"/>
                      <a:gd name="connsiteX137" fmla="*/ 13584 w 529869"/>
                      <a:gd name="connsiteY137" fmla="*/ 195751 h 352203"/>
                      <a:gd name="connsiteX138" fmla="*/ 10319 w 529869"/>
                      <a:gd name="connsiteY138" fmla="*/ 190317 h 352203"/>
                      <a:gd name="connsiteX139" fmla="*/ 0 w 529869"/>
                      <a:gd name="connsiteY139" fmla="*/ 182715 h 352203"/>
                      <a:gd name="connsiteX140" fmla="*/ 439 w 529869"/>
                      <a:gd name="connsiteY140" fmla="*/ 175361 h 352203"/>
                      <a:gd name="connsiteX141" fmla="*/ 5131 w 529869"/>
                      <a:gd name="connsiteY141" fmla="*/ 169790 h 352203"/>
                      <a:gd name="connsiteX142" fmla="*/ 6723 w 529869"/>
                      <a:gd name="connsiteY142" fmla="*/ 162298 h 352203"/>
                      <a:gd name="connsiteX143" fmla="*/ 12130 w 529869"/>
                      <a:gd name="connsiteY143" fmla="*/ 152171 h 352203"/>
                      <a:gd name="connsiteX144" fmla="*/ 19979 w 529869"/>
                      <a:gd name="connsiteY144" fmla="*/ 153022 h 352203"/>
                      <a:gd name="connsiteX145" fmla="*/ 17399 w 529869"/>
                      <a:gd name="connsiteY145" fmla="*/ 145585 h 352203"/>
                      <a:gd name="connsiteX146" fmla="*/ 15642 w 529869"/>
                      <a:gd name="connsiteY146" fmla="*/ 130272 h 352203"/>
                      <a:gd name="connsiteX147" fmla="*/ 40972 w 529869"/>
                      <a:gd name="connsiteY147" fmla="*/ 99261 h 352203"/>
                      <a:gd name="connsiteX148" fmla="*/ 46159 w 529869"/>
                      <a:gd name="connsiteY148" fmla="*/ 93416 h 352203"/>
                      <a:gd name="connsiteX149" fmla="*/ 55572 w 529869"/>
                      <a:gd name="connsiteY149" fmla="*/ 89464 h 352203"/>
                      <a:gd name="connsiteX150" fmla="*/ 56944 w 529869"/>
                      <a:gd name="connsiteY150" fmla="*/ 81176 h 352203"/>
                      <a:gd name="connsiteX151" fmla="*/ 53679 w 529869"/>
                      <a:gd name="connsiteY151" fmla="*/ 73602 h 352203"/>
                      <a:gd name="connsiteX152" fmla="*/ 57027 w 529869"/>
                      <a:gd name="connsiteY152" fmla="*/ 71159 h 352203"/>
                      <a:gd name="connsiteX153" fmla="*/ 45720 w 529869"/>
                      <a:gd name="connsiteY153" fmla="*/ 51565 h 352203"/>
                      <a:gd name="connsiteX154" fmla="*/ 43003 w 529869"/>
                      <a:gd name="connsiteY154" fmla="*/ 40615 h 352203"/>
                      <a:gd name="connsiteX155" fmla="*/ 43936 w 529869"/>
                      <a:gd name="connsiteY155" fmla="*/ 39765 h 352203"/>
                      <a:gd name="connsiteX156" fmla="*/ 43497 w 529869"/>
                      <a:gd name="connsiteY156" fmla="*/ 34798 h 352203"/>
                      <a:gd name="connsiteX157" fmla="*/ 47312 w 529869"/>
                      <a:gd name="connsiteY157" fmla="*/ 33425 h 352203"/>
                      <a:gd name="connsiteX158" fmla="*/ 51181 w 529869"/>
                      <a:gd name="connsiteY158" fmla="*/ 36472 h 352203"/>
                      <a:gd name="connsiteX159" fmla="*/ 54529 w 529869"/>
                      <a:gd name="connsiteY159" fmla="*/ 36828 h 352203"/>
                      <a:gd name="connsiteX160" fmla="*/ 62817 w 529869"/>
                      <a:gd name="connsiteY160" fmla="*/ 30077 h 352203"/>
                      <a:gd name="connsiteX161" fmla="*/ 63530 w 529869"/>
                      <a:gd name="connsiteY161" fmla="*/ 25495 h 352203"/>
                      <a:gd name="connsiteX162" fmla="*/ 65891 w 529869"/>
                      <a:gd name="connsiteY162" fmla="*/ 23052 h 352203"/>
                      <a:gd name="connsiteX163" fmla="*/ 82740 w 529869"/>
                      <a:gd name="connsiteY163" fmla="*/ 21954 h 352203"/>
                      <a:gd name="connsiteX164" fmla="*/ 89574 w 529869"/>
                      <a:gd name="connsiteY164" fmla="*/ 18881 h 352203"/>
                      <a:gd name="connsiteX165" fmla="*/ 95886 w 529869"/>
                      <a:gd name="connsiteY165" fmla="*/ 21049 h 352203"/>
                      <a:gd name="connsiteX166" fmla="*/ 106835 w 529869"/>
                      <a:gd name="connsiteY166" fmla="*/ 20061 h 352203"/>
                      <a:gd name="connsiteX167" fmla="*/ 109937 w 529869"/>
                      <a:gd name="connsiteY167" fmla="*/ 21213 h 352203"/>
                      <a:gd name="connsiteX168" fmla="*/ 138971 w 529869"/>
                      <a:gd name="connsiteY168" fmla="*/ 29501 h 352203"/>
                      <a:gd name="connsiteX169" fmla="*/ 147314 w 529869"/>
                      <a:gd name="connsiteY169" fmla="*/ 28403 h 352203"/>
                      <a:gd name="connsiteX170" fmla="*/ 150936 w 529869"/>
                      <a:gd name="connsiteY170" fmla="*/ 35484 h 352203"/>
                      <a:gd name="connsiteX171" fmla="*/ 162655 w 529869"/>
                      <a:gd name="connsiteY171" fmla="*/ 36362 h 352203"/>
                      <a:gd name="connsiteX172" fmla="*/ 162545 w 529869"/>
                      <a:gd name="connsiteY172" fmla="*/ 40067 h 352203"/>
                      <a:gd name="connsiteX173" fmla="*/ 164137 w 529869"/>
                      <a:gd name="connsiteY173" fmla="*/ 41576 h 352203"/>
                      <a:gd name="connsiteX174" fmla="*/ 167731 w 529869"/>
                      <a:gd name="connsiteY174" fmla="*/ 35978 h 352203"/>
                      <a:gd name="connsiteX175" fmla="*/ 172424 w 529869"/>
                      <a:gd name="connsiteY175" fmla="*/ 37981 h 352203"/>
                      <a:gd name="connsiteX176" fmla="*/ 178873 w 529869"/>
                      <a:gd name="connsiteY176" fmla="*/ 33316 h 352203"/>
                      <a:gd name="connsiteX177" fmla="*/ 182358 w 529869"/>
                      <a:gd name="connsiteY177" fmla="*/ 38310 h 352203"/>
                      <a:gd name="connsiteX178" fmla="*/ 189713 w 529869"/>
                      <a:gd name="connsiteY178" fmla="*/ 37844 h 352203"/>
                      <a:gd name="connsiteX179" fmla="*/ 192650 w 529869"/>
                      <a:gd name="connsiteY179" fmla="*/ 42921 h 352203"/>
                      <a:gd name="connsiteX180" fmla="*/ 196903 w 529869"/>
                      <a:gd name="connsiteY180" fmla="*/ 37871 h 352203"/>
                      <a:gd name="connsiteX181" fmla="*/ 204615 w 529869"/>
                      <a:gd name="connsiteY181" fmla="*/ 34606 h 352203"/>
                      <a:gd name="connsiteX182" fmla="*/ 211201 w 529869"/>
                      <a:gd name="connsiteY182" fmla="*/ 46104 h 352203"/>
                      <a:gd name="connsiteX183" fmla="*/ 221520 w 529869"/>
                      <a:gd name="connsiteY183" fmla="*/ 40314 h 352203"/>
                      <a:gd name="connsiteX184" fmla="*/ 225554 w 529869"/>
                      <a:gd name="connsiteY184" fmla="*/ 43442 h 352203"/>
                      <a:gd name="connsiteX185" fmla="*/ 236092 w 529869"/>
                      <a:gd name="connsiteY185" fmla="*/ 41219 h 352203"/>
                      <a:gd name="connsiteX186" fmla="*/ 245944 w 529869"/>
                      <a:gd name="connsiteY186" fmla="*/ 51565 h 352203"/>
                      <a:gd name="connsiteX187" fmla="*/ 249484 w 529869"/>
                      <a:gd name="connsiteY187" fmla="*/ 47723 h 352203"/>
                      <a:gd name="connsiteX188" fmla="*/ 246466 w 529869"/>
                      <a:gd name="connsiteY188" fmla="*/ 33618 h 352203"/>
                      <a:gd name="connsiteX189" fmla="*/ 258815 w 529869"/>
                      <a:gd name="connsiteY189" fmla="*/ 13831 h 352203"/>
                      <a:gd name="connsiteX190" fmla="*/ 279726 w 529869"/>
                      <a:gd name="connsiteY190" fmla="*/ 11910 h 352203"/>
                      <a:gd name="connsiteX191" fmla="*/ 283239 w 529869"/>
                      <a:gd name="connsiteY191" fmla="*/ 12075 h 352203"/>
                      <a:gd name="connsiteX192" fmla="*/ 294628 w 529869"/>
                      <a:gd name="connsiteY192" fmla="*/ 14023 h 352203"/>
                      <a:gd name="connsiteX193" fmla="*/ 298223 w 529869"/>
                      <a:gd name="connsiteY193" fmla="*/ 10840 h 352203"/>
                      <a:gd name="connsiteX194" fmla="*/ 301928 w 529869"/>
                      <a:gd name="connsiteY194" fmla="*/ 2113 h 352203"/>
                      <a:gd name="connsiteX195" fmla="*/ 312493 w 529869"/>
                      <a:gd name="connsiteY195" fmla="*/ 5022 h 352203"/>
                      <a:gd name="connsiteX196" fmla="*/ 324952 w 529869"/>
                      <a:gd name="connsiteY196" fmla="*/ 0 h 352203"/>
                      <a:gd name="connsiteX197" fmla="*/ 342817 w 529869"/>
                      <a:gd name="connsiteY197" fmla="*/ 933 h 35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529869" h="352203">
                        <a:moveTo>
                          <a:pt x="342817" y="933"/>
                        </a:moveTo>
                        <a:lnTo>
                          <a:pt x="350035" y="8809"/>
                        </a:lnTo>
                        <a:lnTo>
                          <a:pt x="352148" y="17289"/>
                        </a:lnTo>
                        <a:lnTo>
                          <a:pt x="359778" y="26620"/>
                        </a:lnTo>
                        <a:lnTo>
                          <a:pt x="359092" y="30434"/>
                        </a:lnTo>
                        <a:lnTo>
                          <a:pt x="352313" y="33343"/>
                        </a:lnTo>
                        <a:lnTo>
                          <a:pt x="355963" y="39875"/>
                        </a:lnTo>
                        <a:lnTo>
                          <a:pt x="357033" y="52059"/>
                        </a:lnTo>
                        <a:lnTo>
                          <a:pt x="371304" y="56286"/>
                        </a:lnTo>
                        <a:lnTo>
                          <a:pt x="381128" y="55325"/>
                        </a:lnTo>
                        <a:lnTo>
                          <a:pt x="383433" y="60841"/>
                        </a:lnTo>
                        <a:lnTo>
                          <a:pt x="388208" y="63476"/>
                        </a:lnTo>
                        <a:lnTo>
                          <a:pt x="391282" y="76374"/>
                        </a:lnTo>
                        <a:lnTo>
                          <a:pt x="390266" y="84744"/>
                        </a:lnTo>
                        <a:lnTo>
                          <a:pt x="396524" y="93992"/>
                        </a:lnTo>
                        <a:lnTo>
                          <a:pt x="408653" y="90534"/>
                        </a:lnTo>
                        <a:lnTo>
                          <a:pt x="416612" y="96736"/>
                        </a:lnTo>
                        <a:lnTo>
                          <a:pt x="426190" y="99728"/>
                        </a:lnTo>
                        <a:lnTo>
                          <a:pt x="449434" y="91797"/>
                        </a:lnTo>
                        <a:lnTo>
                          <a:pt x="454236" y="96901"/>
                        </a:lnTo>
                        <a:lnTo>
                          <a:pt x="458463" y="106149"/>
                        </a:lnTo>
                        <a:lnTo>
                          <a:pt x="467107" y="113339"/>
                        </a:lnTo>
                        <a:lnTo>
                          <a:pt x="470317" y="113037"/>
                        </a:lnTo>
                        <a:lnTo>
                          <a:pt x="474023" y="107576"/>
                        </a:lnTo>
                        <a:lnTo>
                          <a:pt x="493946" y="119103"/>
                        </a:lnTo>
                        <a:lnTo>
                          <a:pt x="500286" y="117429"/>
                        </a:lnTo>
                        <a:lnTo>
                          <a:pt x="504786" y="121792"/>
                        </a:lnTo>
                        <a:lnTo>
                          <a:pt x="512004" y="123192"/>
                        </a:lnTo>
                        <a:lnTo>
                          <a:pt x="518562" y="130080"/>
                        </a:lnTo>
                        <a:lnTo>
                          <a:pt x="527344" y="130244"/>
                        </a:lnTo>
                        <a:lnTo>
                          <a:pt x="526631" y="134992"/>
                        </a:lnTo>
                        <a:lnTo>
                          <a:pt x="529814" y="140590"/>
                        </a:lnTo>
                        <a:lnTo>
                          <a:pt x="529869" y="144762"/>
                        </a:lnTo>
                        <a:lnTo>
                          <a:pt x="523200" y="152446"/>
                        </a:lnTo>
                        <a:lnTo>
                          <a:pt x="516889" y="155876"/>
                        </a:lnTo>
                        <a:lnTo>
                          <a:pt x="519386" y="159855"/>
                        </a:lnTo>
                        <a:lnTo>
                          <a:pt x="524737" y="162023"/>
                        </a:lnTo>
                        <a:lnTo>
                          <a:pt x="523502" y="164411"/>
                        </a:lnTo>
                        <a:lnTo>
                          <a:pt x="519001" y="164850"/>
                        </a:lnTo>
                        <a:lnTo>
                          <a:pt x="516257" y="170613"/>
                        </a:lnTo>
                        <a:lnTo>
                          <a:pt x="524133" y="189494"/>
                        </a:lnTo>
                        <a:lnTo>
                          <a:pt x="518315" y="205356"/>
                        </a:lnTo>
                        <a:lnTo>
                          <a:pt x="512662" y="207990"/>
                        </a:lnTo>
                        <a:lnTo>
                          <a:pt x="492409" y="206783"/>
                        </a:lnTo>
                        <a:lnTo>
                          <a:pt x="487826" y="213534"/>
                        </a:lnTo>
                        <a:lnTo>
                          <a:pt x="479703" y="216305"/>
                        </a:lnTo>
                        <a:lnTo>
                          <a:pt x="475395" y="220559"/>
                        </a:lnTo>
                        <a:lnTo>
                          <a:pt x="473556" y="228627"/>
                        </a:lnTo>
                        <a:lnTo>
                          <a:pt x="474818" y="232909"/>
                        </a:lnTo>
                        <a:lnTo>
                          <a:pt x="472788" y="238946"/>
                        </a:lnTo>
                        <a:lnTo>
                          <a:pt x="455251" y="241251"/>
                        </a:lnTo>
                        <a:lnTo>
                          <a:pt x="432227" y="254040"/>
                        </a:lnTo>
                        <a:lnTo>
                          <a:pt x="404400" y="260297"/>
                        </a:lnTo>
                        <a:lnTo>
                          <a:pt x="371056" y="279589"/>
                        </a:lnTo>
                        <a:lnTo>
                          <a:pt x="367846" y="293091"/>
                        </a:lnTo>
                        <a:lnTo>
                          <a:pt x="376957" y="302147"/>
                        </a:lnTo>
                        <a:lnTo>
                          <a:pt x="384421" y="314002"/>
                        </a:lnTo>
                        <a:lnTo>
                          <a:pt x="391529" y="315978"/>
                        </a:lnTo>
                        <a:lnTo>
                          <a:pt x="412605" y="310462"/>
                        </a:lnTo>
                        <a:lnTo>
                          <a:pt x="421057" y="316720"/>
                        </a:lnTo>
                        <a:lnTo>
                          <a:pt x="415185" y="325391"/>
                        </a:lnTo>
                        <a:lnTo>
                          <a:pt x="404427" y="327559"/>
                        </a:lnTo>
                        <a:lnTo>
                          <a:pt x="392242" y="326407"/>
                        </a:lnTo>
                        <a:lnTo>
                          <a:pt x="380909" y="334310"/>
                        </a:lnTo>
                        <a:lnTo>
                          <a:pt x="363619" y="341006"/>
                        </a:lnTo>
                        <a:lnTo>
                          <a:pt x="349459" y="351819"/>
                        </a:lnTo>
                        <a:lnTo>
                          <a:pt x="341445" y="352203"/>
                        </a:lnTo>
                        <a:lnTo>
                          <a:pt x="335326" y="347922"/>
                        </a:lnTo>
                        <a:lnTo>
                          <a:pt x="335545" y="332252"/>
                        </a:lnTo>
                        <a:lnTo>
                          <a:pt x="331813" y="323662"/>
                        </a:lnTo>
                        <a:lnTo>
                          <a:pt x="307690" y="311862"/>
                        </a:lnTo>
                        <a:lnTo>
                          <a:pt x="311999" y="305605"/>
                        </a:lnTo>
                        <a:lnTo>
                          <a:pt x="334338" y="292240"/>
                        </a:lnTo>
                        <a:lnTo>
                          <a:pt x="335243" y="285160"/>
                        </a:lnTo>
                        <a:lnTo>
                          <a:pt x="323470" y="281894"/>
                        </a:lnTo>
                        <a:lnTo>
                          <a:pt x="312822" y="284309"/>
                        </a:lnTo>
                        <a:lnTo>
                          <a:pt x="290566" y="276680"/>
                        </a:lnTo>
                        <a:lnTo>
                          <a:pt x="287794" y="273195"/>
                        </a:lnTo>
                        <a:lnTo>
                          <a:pt x="287191" y="267981"/>
                        </a:lnTo>
                        <a:lnTo>
                          <a:pt x="293420" y="262629"/>
                        </a:lnTo>
                        <a:lnTo>
                          <a:pt x="287932" y="257113"/>
                        </a:lnTo>
                        <a:lnTo>
                          <a:pt x="254204" y="266307"/>
                        </a:lnTo>
                        <a:lnTo>
                          <a:pt x="239851" y="288563"/>
                        </a:lnTo>
                        <a:lnTo>
                          <a:pt x="224264" y="304891"/>
                        </a:lnTo>
                        <a:lnTo>
                          <a:pt x="221327" y="320013"/>
                        </a:lnTo>
                        <a:lnTo>
                          <a:pt x="219434" y="314332"/>
                        </a:lnTo>
                        <a:lnTo>
                          <a:pt x="214083" y="311011"/>
                        </a:lnTo>
                        <a:lnTo>
                          <a:pt x="193884" y="318476"/>
                        </a:lnTo>
                        <a:lnTo>
                          <a:pt x="183950" y="315978"/>
                        </a:lnTo>
                        <a:lnTo>
                          <a:pt x="178132" y="309337"/>
                        </a:lnTo>
                        <a:lnTo>
                          <a:pt x="185926" y="307114"/>
                        </a:lnTo>
                        <a:lnTo>
                          <a:pt x="187710" y="299293"/>
                        </a:lnTo>
                        <a:lnTo>
                          <a:pt x="193829" y="293859"/>
                        </a:lnTo>
                        <a:lnTo>
                          <a:pt x="195724" y="288096"/>
                        </a:lnTo>
                        <a:lnTo>
                          <a:pt x="200855" y="284858"/>
                        </a:lnTo>
                        <a:lnTo>
                          <a:pt x="202145" y="279863"/>
                        </a:lnTo>
                        <a:lnTo>
                          <a:pt x="200224" y="274375"/>
                        </a:lnTo>
                        <a:lnTo>
                          <a:pt x="201212" y="266883"/>
                        </a:lnTo>
                        <a:lnTo>
                          <a:pt x="207057" y="264550"/>
                        </a:lnTo>
                        <a:lnTo>
                          <a:pt x="209308" y="268008"/>
                        </a:lnTo>
                        <a:lnTo>
                          <a:pt x="214522" y="267102"/>
                        </a:lnTo>
                        <a:lnTo>
                          <a:pt x="219324" y="270698"/>
                        </a:lnTo>
                        <a:lnTo>
                          <a:pt x="223221" y="268804"/>
                        </a:lnTo>
                        <a:lnTo>
                          <a:pt x="227283" y="270944"/>
                        </a:lnTo>
                        <a:lnTo>
                          <a:pt x="231893" y="269819"/>
                        </a:lnTo>
                        <a:lnTo>
                          <a:pt x="229066" y="263892"/>
                        </a:lnTo>
                        <a:lnTo>
                          <a:pt x="228819" y="253683"/>
                        </a:lnTo>
                        <a:lnTo>
                          <a:pt x="219214" y="244736"/>
                        </a:lnTo>
                        <a:lnTo>
                          <a:pt x="217760" y="230054"/>
                        </a:lnTo>
                        <a:lnTo>
                          <a:pt x="213561" y="229999"/>
                        </a:lnTo>
                        <a:lnTo>
                          <a:pt x="206646" y="222453"/>
                        </a:lnTo>
                        <a:lnTo>
                          <a:pt x="208512" y="210213"/>
                        </a:lnTo>
                        <a:lnTo>
                          <a:pt x="205850" y="202282"/>
                        </a:lnTo>
                        <a:lnTo>
                          <a:pt x="199895" y="201761"/>
                        </a:lnTo>
                        <a:lnTo>
                          <a:pt x="193226" y="194406"/>
                        </a:lnTo>
                        <a:lnTo>
                          <a:pt x="185569" y="195751"/>
                        </a:lnTo>
                        <a:lnTo>
                          <a:pt x="181096" y="190591"/>
                        </a:lnTo>
                        <a:lnTo>
                          <a:pt x="174400" y="188862"/>
                        </a:lnTo>
                        <a:lnTo>
                          <a:pt x="162435" y="180465"/>
                        </a:lnTo>
                        <a:lnTo>
                          <a:pt x="148741" y="183703"/>
                        </a:lnTo>
                        <a:lnTo>
                          <a:pt x="137023" y="182798"/>
                        </a:lnTo>
                        <a:lnTo>
                          <a:pt x="135925" y="186832"/>
                        </a:lnTo>
                        <a:lnTo>
                          <a:pt x="131644" y="189137"/>
                        </a:lnTo>
                        <a:lnTo>
                          <a:pt x="123411" y="192458"/>
                        </a:lnTo>
                        <a:lnTo>
                          <a:pt x="119130" y="199785"/>
                        </a:lnTo>
                        <a:lnTo>
                          <a:pt x="116002" y="201514"/>
                        </a:lnTo>
                        <a:lnTo>
                          <a:pt x="110019" y="202227"/>
                        </a:lnTo>
                        <a:lnTo>
                          <a:pt x="92181" y="204670"/>
                        </a:lnTo>
                        <a:lnTo>
                          <a:pt x="86363" y="211585"/>
                        </a:lnTo>
                        <a:lnTo>
                          <a:pt x="82137" y="212436"/>
                        </a:lnTo>
                        <a:lnTo>
                          <a:pt x="70995" y="202474"/>
                        </a:lnTo>
                        <a:lnTo>
                          <a:pt x="60594" y="204807"/>
                        </a:lnTo>
                        <a:lnTo>
                          <a:pt x="41603" y="200224"/>
                        </a:lnTo>
                        <a:lnTo>
                          <a:pt x="39381" y="201980"/>
                        </a:lnTo>
                        <a:lnTo>
                          <a:pt x="30516" y="195751"/>
                        </a:lnTo>
                        <a:lnTo>
                          <a:pt x="21790" y="202556"/>
                        </a:lnTo>
                        <a:lnTo>
                          <a:pt x="19759" y="196272"/>
                        </a:lnTo>
                        <a:lnTo>
                          <a:pt x="13584" y="195751"/>
                        </a:lnTo>
                        <a:lnTo>
                          <a:pt x="10319" y="190317"/>
                        </a:lnTo>
                        <a:lnTo>
                          <a:pt x="0" y="182715"/>
                        </a:lnTo>
                        <a:lnTo>
                          <a:pt x="439" y="175361"/>
                        </a:lnTo>
                        <a:lnTo>
                          <a:pt x="5131" y="169790"/>
                        </a:lnTo>
                        <a:lnTo>
                          <a:pt x="6723" y="162298"/>
                        </a:lnTo>
                        <a:lnTo>
                          <a:pt x="12130" y="152171"/>
                        </a:lnTo>
                        <a:lnTo>
                          <a:pt x="19979" y="153022"/>
                        </a:lnTo>
                        <a:lnTo>
                          <a:pt x="17399" y="145585"/>
                        </a:lnTo>
                        <a:lnTo>
                          <a:pt x="15642" y="130272"/>
                        </a:lnTo>
                        <a:lnTo>
                          <a:pt x="40972" y="99261"/>
                        </a:lnTo>
                        <a:lnTo>
                          <a:pt x="46159" y="93416"/>
                        </a:lnTo>
                        <a:lnTo>
                          <a:pt x="55572" y="89464"/>
                        </a:lnTo>
                        <a:lnTo>
                          <a:pt x="56944" y="81176"/>
                        </a:lnTo>
                        <a:lnTo>
                          <a:pt x="53679" y="73602"/>
                        </a:lnTo>
                        <a:lnTo>
                          <a:pt x="57027" y="71159"/>
                        </a:lnTo>
                        <a:lnTo>
                          <a:pt x="45720" y="51565"/>
                        </a:lnTo>
                        <a:lnTo>
                          <a:pt x="43003" y="40615"/>
                        </a:lnTo>
                        <a:lnTo>
                          <a:pt x="43936" y="39765"/>
                        </a:lnTo>
                        <a:lnTo>
                          <a:pt x="43497" y="34798"/>
                        </a:lnTo>
                        <a:lnTo>
                          <a:pt x="47312" y="33425"/>
                        </a:lnTo>
                        <a:lnTo>
                          <a:pt x="51181" y="36472"/>
                        </a:lnTo>
                        <a:lnTo>
                          <a:pt x="54529" y="36828"/>
                        </a:lnTo>
                        <a:lnTo>
                          <a:pt x="62817" y="30077"/>
                        </a:lnTo>
                        <a:lnTo>
                          <a:pt x="63530" y="25495"/>
                        </a:lnTo>
                        <a:lnTo>
                          <a:pt x="65891" y="23052"/>
                        </a:lnTo>
                        <a:lnTo>
                          <a:pt x="82740" y="21954"/>
                        </a:lnTo>
                        <a:lnTo>
                          <a:pt x="89574" y="18881"/>
                        </a:lnTo>
                        <a:lnTo>
                          <a:pt x="95886" y="21049"/>
                        </a:lnTo>
                        <a:lnTo>
                          <a:pt x="106835" y="20061"/>
                        </a:lnTo>
                        <a:lnTo>
                          <a:pt x="109937" y="21213"/>
                        </a:lnTo>
                        <a:lnTo>
                          <a:pt x="138971" y="29501"/>
                        </a:lnTo>
                        <a:lnTo>
                          <a:pt x="147314" y="28403"/>
                        </a:lnTo>
                        <a:lnTo>
                          <a:pt x="150936" y="35484"/>
                        </a:lnTo>
                        <a:lnTo>
                          <a:pt x="162655" y="36362"/>
                        </a:lnTo>
                        <a:lnTo>
                          <a:pt x="162545" y="40067"/>
                        </a:lnTo>
                        <a:lnTo>
                          <a:pt x="164137" y="41576"/>
                        </a:lnTo>
                        <a:lnTo>
                          <a:pt x="167731" y="35978"/>
                        </a:lnTo>
                        <a:lnTo>
                          <a:pt x="172424" y="37981"/>
                        </a:lnTo>
                        <a:lnTo>
                          <a:pt x="178873" y="33316"/>
                        </a:lnTo>
                        <a:lnTo>
                          <a:pt x="182358" y="38310"/>
                        </a:lnTo>
                        <a:lnTo>
                          <a:pt x="189713" y="37844"/>
                        </a:lnTo>
                        <a:lnTo>
                          <a:pt x="192650" y="42921"/>
                        </a:lnTo>
                        <a:lnTo>
                          <a:pt x="196903" y="37871"/>
                        </a:lnTo>
                        <a:lnTo>
                          <a:pt x="204615" y="34606"/>
                        </a:lnTo>
                        <a:lnTo>
                          <a:pt x="211201" y="46104"/>
                        </a:lnTo>
                        <a:lnTo>
                          <a:pt x="221520" y="40314"/>
                        </a:lnTo>
                        <a:lnTo>
                          <a:pt x="225554" y="43442"/>
                        </a:lnTo>
                        <a:lnTo>
                          <a:pt x="236092" y="41219"/>
                        </a:lnTo>
                        <a:lnTo>
                          <a:pt x="245944" y="51565"/>
                        </a:lnTo>
                        <a:lnTo>
                          <a:pt x="249484" y="47723"/>
                        </a:lnTo>
                        <a:lnTo>
                          <a:pt x="246466" y="33618"/>
                        </a:lnTo>
                        <a:lnTo>
                          <a:pt x="258815" y="13831"/>
                        </a:lnTo>
                        <a:lnTo>
                          <a:pt x="279726" y="11910"/>
                        </a:lnTo>
                        <a:lnTo>
                          <a:pt x="283239" y="12075"/>
                        </a:lnTo>
                        <a:lnTo>
                          <a:pt x="294628" y="14023"/>
                        </a:lnTo>
                        <a:lnTo>
                          <a:pt x="298223" y="10840"/>
                        </a:lnTo>
                        <a:lnTo>
                          <a:pt x="301928" y="2113"/>
                        </a:lnTo>
                        <a:lnTo>
                          <a:pt x="312493" y="5022"/>
                        </a:lnTo>
                        <a:lnTo>
                          <a:pt x="324952" y="0"/>
                        </a:lnTo>
                        <a:lnTo>
                          <a:pt x="342817" y="93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1" name="Freeform: Shape 3500">
                    <a:extLst>
                      <a:ext uri="{FF2B5EF4-FFF2-40B4-BE49-F238E27FC236}">
                        <a16:creationId xmlns:a16="http://schemas.microsoft.com/office/drawing/2014/main" id="{DC1AA321-481F-10C0-39A2-89F15D68F22A}"/>
                      </a:ext>
                    </a:extLst>
                  </p:cNvPr>
                  <p:cNvSpPr/>
                  <p:nvPr/>
                </p:nvSpPr>
                <p:spPr>
                  <a:xfrm>
                    <a:off x="-6483408" y="2736695"/>
                    <a:ext cx="247755" cy="438291"/>
                  </a:xfrm>
                  <a:custGeom>
                    <a:avLst/>
                    <a:gdLst>
                      <a:gd name="connsiteX0" fmla="*/ 207908 w 247755"/>
                      <a:gd name="connsiteY0" fmla="*/ 369026 h 438291"/>
                      <a:gd name="connsiteX1" fmla="*/ 204340 w 247755"/>
                      <a:gd name="connsiteY1" fmla="*/ 368724 h 438291"/>
                      <a:gd name="connsiteX2" fmla="*/ 202804 w 247755"/>
                      <a:gd name="connsiteY2" fmla="*/ 368285 h 438291"/>
                      <a:gd name="connsiteX3" fmla="*/ 201075 w 247755"/>
                      <a:gd name="connsiteY3" fmla="*/ 367215 h 438291"/>
                      <a:gd name="connsiteX4" fmla="*/ 199455 w 247755"/>
                      <a:gd name="connsiteY4" fmla="*/ 367077 h 438291"/>
                      <a:gd name="connsiteX5" fmla="*/ 196876 w 247755"/>
                      <a:gd name="connsiteY5" fmla="*/ 367489 h 438291"/>
                      <a:gd name="connsiteX6" fmla="*/ 194269 w 247755"/>
                      <a:gd name="connsiteY6" fmla="*/ 367489 h 438291"/>
                      <a:gd name="connsiteX7" fmla="*/ 193308 w 247755"/>
                      <a:gd name="connsiteY7" fmla="*/ 367297 h 438291"/>
                      <a:gd name="connsiteX8" fmla="*/ 192183 w 247755"/>
                      <a:gd name="connsiteY8" fmla="*/ 368504 h 438291"/>
                      <a:gd name="connsiteX9" fmla="*/ 189411 w 247755"/>
                      <a:gd name="connsiteY9" fmla="*/ 368340 h 438291"/>
                      <a:gd name="connsiteX10" fmla="*/ 190015 w 247755"/>
                      <a:gd name="connsiteY10" fmla="*/ 369136 h 438291"/>
                      <a:gd name="connsiteX11" fmla="*/ 192814 w 247755"/>
                      <a:gd name="connsiteY11" fmla="*/ 368532 h 438291"/>
                      <a:gd name="connsiteX12" fmla="*/ 193391 w 247755"/>
                      <a:gd name="connsiteY12" fmla="*/ 367407 h 438291"/>
                      <a:gd name="connsiteX13" fmla="*/ 195888 w 247755"/>
                      <a:gd name="connsiteY13" fmla="*/ 368504 h 438291"/>
                      <a:gd name="connsiteX14" fmla="*/ 200224 w 247755"/>
                      <a:gd name="connsiteY14" fmla="*/ 367516 h 438291"/>
                      <a:gd name="connsiteX15" fmla="*/ 202996 w 247755"/>
                      <a:gd name="connsiteY15" fmla="*/ 368751 h 438291"/>
                      <a:gd name="connsiteX16" fmla="*/ 204313 w 247755"/>
                      <a:gd name="connsiteY16" fmla="*/ 369657 h 438291"/>
                      <a:gd name="connsiteX17" fmla="*/ 207908 w 247755"/>
                      <a:gd name="connsiteY17" fmla="*/ 369822 h 438291"/>
                      <a:gd name="connsiteX18" fmla="*/ 210076 w 247755"/>
                      <a:gd name="connsiteY18" fmla="*/ 369959 h 438291"/>
                      <a:gd name="connsiteX19" fmla="*/ 216443 w 247755"/>
                      <a:gd name="connsiteY19" fmla="*/ 369904 h 438291"/>
                      <a:gd name="connsiteX20" fmla="*/ 215016 w 247755"/>
                      <a:gd name="connsiteY20" fmla="*/ 373719 h 438291"/>
                      <a:gd name="connsiteX21" fmla="*/ 219983 w 247755"/>
                      <a:gd name="connsiteY21" fmla="*/ 370810 h 438291"/>
                      <a:gd name="connsiteX22" fmla="*/ 223249 w 247755"/>
                      <a:gd name="connsiteY22" fmla="*/ 373883 h 438291"/>
                      <a:gd name="connsiteX23" fmla="*/ 224538 w 247755"/>
                      <a:gd name="connsiteY23" fmla="*/ 375091 h 438291"/>
                      <a:gd name="connsiteX24" fmla="*/ 229066 w 247755"/>
                      <a:gd name="connsiteY24" fmla="*/ 373856 h 438291"/>
                      <a:gd name="connsiteX25" fmla="*/ 238260 w 247755"/>
                      <a:gd name="connsiteY25" fmla="*/ 374569 h 438291"/>
                      <a:gd name="connsiteX26" fmla="*/ 236696 w 247755"/>
                      <a:gd name="connsiteY26" fmla="*/ 384476 h 438291"/>
                      <a:gd name="connsiteX27" fmla="*/ 229066 w 247755"/>
                      <a:gd name="connsiteY27" fmla="*/ 388099 h 438291"/>
                      <a:gd name="connsiteX28" fmla="*/ 227173 w 247755"/>
                      <a:gd name="connsiteY28" fmla="*/ 388977 h 438291"/>
                      <a:gd name="connsiteX29" fmla="*/ 225307 w 247755"/>
                      <a:gd name="connsiteY29" fmla="*/ 391282 h 438291"/>
                      <a:gd name="connsiteX30" fmla="*/ 224703 w 247755"/>
                      <a:gd name="connsiteY30" fmla="*/ 394822 h 438291"/>
                      <a:gd name="connsiteX31" fmla="*/ 223276 w 247755"/>
                      <a:gd name="connsiteY31" fmla="*/ 394822 h 438291"/>
                      <a:gd name="connsiteX32" fmla="*/ 221739 w 247755"/>
                      <a:gd name="connsiteY32" fmla="*/ 394822 h 438291"/>
                      <a:gd name="connsiteX33" fmla="*/ 204313 w 247755"/>
                      <a:gd name="connsiteY33" fmla="*/ 402836 h 438291"/>
                      <a:gd name="connsiteX34" fmla="*/ 195476 w 247755"/>
                      <a:gd name="connsiteY34" fmla="*/ 400613 h 438291"/>
                      <a:gd name="connsiteX35" fmla="*/ 190235 w 247755"/>
                      <a:gd name="connsiteY35" fmla="*/ 399295 h 438291"/>
                      <a:gd name="connsiteX36" fmla="*/ 173220 w 247755"/>
                      <a:gd name="connsiteY36" fmla="*/ 403494 h 438291"/>
                      <a:gd name="connsiteX37" fmla="*/ 169159 w 247755"/>
                      <a:gd name="connsiteY37" fmla="*/ 398582 h 438291"/>
                      <a:gd name="connsiteX38" fmla="*/ 167594 w 247755"/>
                      <a:gd name="connsiteY38" fmla="*/ 400503 h 438291"/>
                      <a:gd name="connsiteX39" fmla="*/ 166469 w 247755"/>
                      <a:gd name="connsiteY39" fmla="*/ 399048 h 438291"/>
                      <a:gd name="connsiteX40" fmla="*/ 165097 w 247755"/>
                      <a:gd name="connsiteY40" fmla="*/ 400256 h 438291"/>
                      <a:gd name="connsiteX41" fmla="*/ 163478 w 247755"/>
                      <a:gd name="connsiteY41" fmla="*/ 398939 h 438291"/>
                      <a:gd name="connsiteX42" fmla="*/ 160926 w 247755"/>
                      <a:gd name="connsiteY42" fmla="*/ 399899 h 438291"/>
                      <a:gd name="connsiteX43" fmla="*/ 156425 w 247755"/>
                      <a:gd name="connsiteY43" fmla="*/ 396853 h 438291"/>
                      <a:gd name="connsiteX44" fmla="*/ 153873 w 247755"/>
                      <a:gd name="connsiteY44" fmla="*/ 395261 h 438291"/>
                      <a:gd name="connsiteX45" fmla="*/ 157084 w 247755"/>
                      <a:gd name="connsiteY45" fmla="*/ 400476 h 438291"/>
                      <a:gd name="connsiteX46" fmla="*/ 146792 w 247755"/>
                      <a:gd name="connsiteY46" fmla="*/ 403549 h 438291"/>
                      <a:gd name="connsiteX47" fmla="*/ 145338 w 247755"/>
                      <a:gd name="connsiteY47" fmla="*/ 404235 h 438291"/>
                      <a:gd name="connsiteX48" fmla="*/ 136858 w 247755"/>
                      <a:gd name="connsiteY48" fmla="*/ 404510 h 438291"/>
                      <a:gd name="connsiteX49" fmla="*/ 138313 w 247755"/>
                      <a:gd name="connsiteY49" fmla="*/ 407473 h 438291"/>
                      <a:gd name="connsiteX50" fmla="*/ 137215 w 247755"/>
                      <a:gd name="connsiteY50" fmla="*/ 409779 h 438291"/>
                      <a:gd name="connsiteX51" fmla="*/ 122615 w 247755"/>
                      <a:gd name="connsiteY51" fmla="*/ 409504 h 438291"/>
                      <a:gd name="connsiteX52" fmla="*/ 120557 w 247755"/>
                      <a:gd name="connsiteY52" fmla="*/ 408681 h 438291"/>
                      <a:gd name="connsiteX53" fmla="*/ 109881 w 247755"/>
                      <a:gd name="connsiteY53" fmla="*/ 404400 h 438291"/>
                      <a:gd name="connsiteX54" fmla="*/ 100579 w 247755"/>
                      <a:gd name="connsiteY54" fmla="*/ 406952 h 438291"/>
                      <a:gd name="connsiteX55" fmla="*/ 93389 w 247755"/>
                      <a:gd name="connsiteY55" fmla="*/ 413730 h 438291"/>
                      <a:gd name="connsiteX56" fmla="*/ 93334 w 247755"/>
                      <a:gd name="connsiteY56" fmla="*/ 420097 h 438291"/>
                      <a:gd name="connsiteX57" fmla="*/ 88421 w 247755"/>
                      <a:gd name="connsiteY57" fmla="*/ 427479 h 438291"/>
                      <a:gd name="connsiteX58" fmla="*/ 83729 w 247755"/>
                      <a:gd name="connsiteY58" fmla="*/ 427040 h 438291"/>
                      <a:gd name="connsiteX59" fmla="*/ 80984 w 247755"/>
                      <a:gd name="connsiteY59" fmla="*/ 423610 h 438291"/>
                      <a:gd name="connsiteX60" fmla="*/ 76703 w 247755"/>
                      <a:gd name="connsiteY60" fmla="*/ 423610 h 438291"/>
                      <a:gd name="connsiteX61" fmla="*/ 75303 w 247755"/>
                      <a:gd name="connsiteY61" fmla="*/ 421579 h 438291"/>
                      <a:gd name="connsiteX62" fmla="*/ 73437 w 247755"/>
                      <a:gd name="connsiteY62" fmla="*/ 418012 h 438291"/>
                      <a:gd name="connsiteX63" fmla="*/ 72504 w 247755"/>
                      <a:gd name="connsiteY63" fmla="*/ 415651 h 438291"/>
                      <a:gd name="connsiteX64" fmla="*/ 70528 w 247755"/>
                      <a:gd name="connsiteY64" fmla="*/ 420234 h 438291"/>
                      <a:gd name="connsiteX65" fmla="*/ 57301 w 247755"/>
                      <a:gd name="connsiteY65" fmla="*/ 422814 h 438291"/>
                      <a:gd name="connsiteX66" fmla="*/ 54913 w 247755"/>
                      <a:gd name="connsiteY66" fmla="*/ 426766 h 438291"/>
                      <a:gd name="connsiteX67" fmla="*/ 47531 w 247755"/>
                      <a:gd name="connsiteY67" fmla="*/ 429126 h 438291"/>
                      <a:gd name="connsiteX68" fmla="*/ 47092 w 247755"/>
                      <a:gd name="connsiteY68" fmla="*/ 435904 h 438291"/>
                      <a:gd name="connsiteX69" fmla="*/ 43799 w 247755"/>
                      <a:gd name="connsiteY69" fmla="*/ 438292 h 438291"/>
                      <a:gd name="connsiteX70" fmla="*/ 36197 w 247755"/>
                      <a:gd name="connsiteY70" fmla="*/ 432337 h 438291"/>
                      <a:gd name="connsiteX71" fmla="*/ 29419 w 247755"/>
                      <a:gd name="connsiteY71" fmla="*/ 434477 h 438291"/>
                      <a:gd name="connsiteX72" fmla="*/ 30022 w 247755"/>
                      <a:gd name="connsiteY72" fmla="*/ 430635 h 438291"/>
                      <a:gd name="connsiteX73" fmla="*/ 41137 w 247755"/>
                      <a:gd name="connsiteY73" fmla="*/ 425009 h 438291"/>
                      <a:gd name="connsiteX74" fmla="*/ 47531 w 247755"/>
                      <a:gd name="connsiteY74" fmla="*/ 417490 h 438291"/>
                      <a:gd name="connsiteX75" fmla="*/ 49562 w 247755"/>
                      <a:gd name="connsiteY75" fmla="*/ 411864 h 438291"/>
                      <a:gd name="connsiteX76" fmla="*/ 55078 w 247755"/>
                      <a:gd name="connsiteY76" fmla="*/ 409532 h 438291"/>
                      <a:gd name="connsiteX77" fmla="*/ 60786 w 247755"/>
                      <a:gd name="connsiteY77" fmla="*/ 403275 h 438291"/>
                      <a:gd name="connsiteX78" fmla="*/ 62899 w 247755"/>
                      <a:gd name="connsiteY78" fmla="*/ 394603 h 438291"/>
                      <a:gd name="connsiteX79" fmla="*/ 64326 w 247755"/>
                      <a:gd name="connsiteY79" fmla="*/ 390953 h 438291"/>
                      <a:gd name="connsiteX80" fmla="*/ 69870 w 247755"/>
                      <a:gd name="connsiteY80" fmla="*/ 390870 h 438291"/>
                      <a:gd name="connsiteX81" fmla="*/ 74261 w 247755"/>
                      <a:gd name="connsiteY81" fmla="*/ 382281 h 438291"/>
                      <a:gd name="connsiteX82" fmla="*/ 87159 w 247755"/>
                      <a:gd name="connsiteY82" fmla="*/ 380360 h 438291"/>
                      <a:gd name="connsiteX83" fmla="*/ 106616 w 247755"/>
                      <a:gd name="connsiteY83" fmla="*/ 382363 h 438291"/>
                      <a:gd name="connsiteX84" fmla="*/ 108537 w 247755"/>
                      <a:gd name="connsiteY84" fmla="*/ 376243 h 438291"/>
                      <a:gd name="connsiteX85" fmla="*/ 113971 w 247755"/>
                      <a:gd name="connsiteY85" fmla="*/ 369190 h 438291"/>
                      <a:gd name="connsiteX86" fmla="*/ 117785 w 247755"/>
                      <a:gd name="connsiteY86" fmla="*/ 368696 h 438291"/>
                      <a:gd name="connsiteX87" fmla="*/ 117950 w 247755"/>
                      <a:gd name="connsiteY87" fmla="*/ 365650 h 438291"/>
                      <a:gd name="connsiteX88" fmla="*/ 120584 w 247755"/>
                      <a:gd name="connsiteY88" fmla="*/ 361589 h 438291"/>
                      <a:gd name="connsiteX89" fmla="*/ 122039 w 247755"/>
                      <a:gd name="connsiteY89" fmla="*/ 359366 h 438291"/>
                      <a:gd name="connsiteX90" fmla="*/ 120584 w 247755"/>
                      <a:gd name="connsiteY90" fmla="*/ 360025 h 438291"/>
                      <a:gd name="connsiteX91" fmla="*/ 118169 w 247755"/>
                      <a:gd name="connsiteY91" fmla="*/ 361150 h 438291"/>
                      <a:gd name="connsiteX92" fmla="*/ 105930 w 247755"/>
                      <a:gd name="connsiteY92" fmla="*/ 367654 h 438291"/>
                      <a:gd name="connsiteX93" fmla="*/ 102719 w 247755"/>
                      <a:gd name="connsiteY93" fmla="*/ 371962 h 438291"/>
                      <a:gd name="connsiteX94" fmla="*/ 97230 w 247755"/>
                      <a:gd name="connsiteY94" fmla="*/ 373115 h 438291"/>
                      <a:gd name="connsiteX95" fmla="*/ 89601 w 247755"/>
                      <a:gd name="connsiteY95" fmla="*/ 369136 h 438291"/>
                      <a:gd name="connsiteX96" fmla="*/ 86253 w 247755"/>
                      <a:gd name="connsiteY96" fmla="*/ 367022 h 438291"/>
                      <a:gd name="connsiteX97" fmla="*/ 82274 w 247755"/>
                      <a:gd name="connsiteY97" fmla="*/ 362165 h 438291"/>
                      <a:gd name="connsiteX98" fmla="*/ 73739 w 247755"/>
                      <a:gd name="connsiteY98" fmla="*/ 365376 h 438291"/>
                      <a:gd name="connsiteX99" fmla="*/ 70693 w 247755"/>
                      <a:gd name="connsiteY99" fmla="*/ 364251 h 438291"/>
                      <a:gd name="connsiteX100" fmla="*/ 71407 w 247755"/>
                      <a:gd name="connsiteY100" fmla="*/ 361945 h 438291"/>
                      <a:gd name="connsiteX101" fmla="*/ 77389 w 247755"/>
                      <a:gd name="connsiteY101" fmla="*/ 358103 h 438291"/>
                      <a:gd name="connsiteX102" fmla="*/ 63613 w 247755"/>
                      <a:gd name="connsiteY102" fmla="*/ 356429 h 438291"/>
                      <a:gd name="connsiteX103" fmla="*/ 50056 w 247755"/>
                      <a:gd name="connsiteY103" fmla="*/ 362137 h 438291"/>
                      <a:gd name="connsiteX104" fmla="*/ 44814 w 247755"/>
                      <a:gd name="connsiteY104" fmla="*/ 357115 h 438291"/>
                      <a:gd name="connsiteX105" fmla="*/ 44924 w 247755"/>
                      <a:gd name="connsiteY105" fmla="*/ 351874 h 438291"/>
                      <a:gd name="connsiteX106" fmla="*/ 42893 w 247755"/>
                      <a:gd name="connsiteY106" fmla="*/ 348608 h 438291"/>
                      <a:gd name="connsiteX107" fmla="*/ 48464 w 247755"/>
                      <a:gd name="connsiteY107" fmla="*/ 343147 h 438291"/>
                      <a:gd name="connsiteX108" fmla="*/ 70721 w 247755"/>
                      <a:gd name="connsiteY108" fmla="*/ 332444 h 438291"/>
                      <a:gd name="connsiteX109" fmla="*/ 80957 w 247755"/>
                      <a:gd name="connsiteY109" fmla="*/ 317323 h 438291"/>
                      <a:gd name="connsiteX110" fmla="*/ 76511 w 247755"/>
                      <a:gd name="connsiteY110" fmla="*/ 315375 h 438291"/>
                      <a:gd name="connsiteX111" fmla="*/ 76319 w 247755"/>
                      <a:gd name="connsiteY111" fmla="*/ 308596 h 438291"/>
                      <a:gd name="connsiteX112" fmla="*/ 73602 w 247755"/>
                      <a:gd name="connsiteY112" fmla="*/ 301022 h 438291"/>
                      <a:gd name="connsiteX113" fmla="*/ 63558 w 247755"/>
                      <a:gd name="connsiteY113" fmla="*/ 304590 h 438291"/>
                      <a:gd name="connsiteX114" fmla="*/ 60018 w 247755"/>
                      <a:gd name="connsiteY114" fmla="*/ 303053 h 438291"/>
                      <a:gd name="connsiteX115" fmla="*/ 73849 w 247755"/>
                      <a:gd name="connsiteY115" fmla="*/ 285709 h 438291"/>
                      <a:gd name="connsiteX116" fmla="*/ 78734 w 247755"/>
                      <a:gd name="connsiteY116" fmla="*/ 283514 h 438291"/>
                      <a:gd name="connsiteX117" fmla="*/ 86253 w 247755"/>
                      <a:gd name="connsiteY117" fmla="*/ 280138 h 438291"/>
                      <a:gd name="connsiteX118" fmla="*/ 97669 w 247755"/>
                      <a:gd name="connsiteY118" fmla="*/ 278354 h 438291"/>
                      <a:gd name="connsiteX119" fmla="*/ 105381 w 247755"/>
                      <a:gd name="connsiteY119" fmla="*/ 282553 h 438291"/>
                      <a:gd name="connsiteX120" fmla="*/ 105106 w 247755"/>
                      <a:gd name="connsiteY120" fmla="*/ 281099 h 438291"/>
                      <a:gd name="connsiteX121" fmla="*/ 103268 w 247755"/>
                      <a:gd name="connsiteY121" fmla="*/ 277147 h 438291"/>
                      <a:gd name="connsiteX122" fmla="*/ 106616 w 247755"/>
                      <a:gd name="connsiteY122" fmla="*/ 274704 h 438291"/>
                      <a:gd name="connsiteX123" fmla="*/ 110458 w 247755"/>
                      <a:gd name="connsiteY123" fmla="*/ 280495 h 438291"/>
                      <a:gd name="connsiteX124" fmla="*/ 115645 w 247755"/>
                      <a:gd name="connsiteY124" fmla="*/ 280165 h 438291"/>
                      <a:gd name="connsiteX125" fmla="*/ 113449 w 247755"/>
                      <a:gd name="connsiteY125" fmla="*/ 279342 h 438291"/>
                      <a:gd name="connsiteX126" fmla="*/ 109909 w 247755"/>
                      <a:gd name="connsiteY126" fmla="*/ 277503 h 438291"/>
                      <a:gd name="connsiteX127" fmla="*/ 108098 w 247755"/>
                      <a:gd name="connsiteY127" fmla="*/ 274073 h 438291"/>
                      <a:gd name="connsiteX128" fmla="*/ 105792 w 247755"/>
                      <a:gd name="connsiteY128" fmla="*/ 268173 h 438291"/>
                      <a:gd name="connsiteX129" fmla="*/ 109635 w 247755"/>
                      <a:gd name="connsiteY129" fmla="*/ 261257 h 438291"/>
                      <a:gd name="connsiteX130" fmla="*/ 113257 w 247755"/>
                      <a:gd name="connsiteY130" fmla="*/ 260022 h 438291"/>
                      <a:gd name="connsiteX131" fmla="*/ 106671 w 247755"/>
                      <a:gd name="connsiteY131" fmla="*/ 257333 h 438291"/>
                      <a:gd name="connsiteX132" fmla="*/ 106945 w 247755"/>
                      <a:gd name="connsiteY132" fmla="*/ 252366 h 438291"/>
                      <a:gd name="connsiteX133" fmla="*/ 111858 w 247755"/>
                      <a:gd name="connsiteY133" fmla="*/ 247618 h 438291"/>
                      <a:gd name="connsiteX134" fmla="*/ 111309 w 247755"/>
                      <a:gd name="connsiteY134" fmla="*/ 244380 h 438291"/>
                      <a:gd name="connsiteX135" fmla="*/ 113285 w 247755"/>
                      <a:gd name="connsiteY135" fmla="*/ 240428 h 438291"/>
                      <a:gd name="connsiteX136" fmla="*/ 112187 w 247755"/>
                      <a:gd name="connsiteY136" fmla="*/ 237327 h 438291"/>
                      <a:gd name="connsiteX137" fmla="*/ 103981 w 247755"/>
                      <a:gd name="connsiteY137" fmla="*/ 241498 h 438291"/>
                      <a:gd name="connsiteX138" fmla="*/ 97724 w 247755"/>
                      <a:gd name="connsiteY138" fmla="*/ 234802 h 438291"/>
                      <a:gd name="connsiteX139" fmla="*/ 90150 w 247755"/>
                      <a:gd name="connsiteY139" fmla="*/ 219599 h 438291"/>
                      <a:gd name="connsiteX140" fmla="*/ 97642 w 247755"/>
                      <a:gd name="connsiteY140" fmla="*/ 201212 h 438291"/>
                      <a:gd name="connsiteX141" fmla="*/ 101017 w 247755"/>
                      <a:gd name="connsiteY141" fmla="*/ 198303 h 438291"/>
                      <a:gd name="connsiteX142" fmla="*/ 104777 w 247755"/>
                      <a:gd name="connsiteY142" fmla="*/ 199208 h 438291"/>
                      <a:gd name="connsiteX143" fmla="*/ 106643 w 247755"/>
                      <a:gd name="connsiteY143" fmla="*/ 196162 h 438291"/>
                      <a:gd name="connsiteX144" fmla="*/ 93306 w 247755"/>
                      <a:gd name="connsiteY144" fmla="*/ 197178 h 438291"/>
                      <a:gd name="connsiteX145" fmla="*/ 79694 w 247755"/>
                      <a:gd name="connsiteY145" fmla="*/ 206563 h 438291"/>
                      <a:gd name="connsiteX146" fmla="*/ 68141 w 247755"/>
                      <a:gd name="connsiteY146" fmla="*/ 203407 h 438291"/>
                      <a:gd name="connsiteX147" fmla="*/ 66028 w 247755"/>
                      <a:gd name="connsiteY147" fmla="*/ 210488 h 438291"/>
                      <a:gd name="connsiteX148" fmla="*/ 54364 w 247755"/>
                      <a:gd name="connsiteY148" fmla="*/ 202886 h 438291"/>
                      <a:gd name="connsiteX149" fmla="*/ 50413 w 247755"/>
                      <a:gd name="connsiteY149" fmla="*/ 210159 h 438291"/>
                      <a:gd name="connsiteX150" fmla="*/ 45007 w 247755"/>
                      <a:gd name="connsiteY150" fmla="*/ 200581 h 438291"/>
                      <a:gd name="connsiteX151" fmla="*/ 45610 w 247755"/>
                      <a:gd name="connsiteY151" fmla="*/ 196739 h 438291"/>
                      <a:gd name="connsiteX152" fmla="*/ 48300 w 247755"/>
                      <a:gd name="connsiteY152" fmla="*/ 195614 h 438291"/>
                      <a:gd name="connsiteX153" fmla="*/ 49480 w 247755"/>
                      <a:gd name="connsiteY153" fmla="*/ 189603 h 438291"/>
                      <a:gd name="connsiteX154" fmla="*/ 50028 w 247755"/>
                      <a:gd name="connsiteY154" fmla="*/ 187929 h 438291"/>
                      <a:gd name="connsiteX155" fmla="*/ 53294 w 247755"/>
                      <a:gd name="connsiteY155" fmla="*/ 184033 h 438291"/>
                      <a:gd name="connsiteX156" fmla="*/ 53898 w 247755"/>
                      <a:gd name="connsiteY156" fmla="*/ 181920 h 438291"/>
                      <a:gd name="connsiteX157" fmla="*/ 59990 w 247755"/>
                      <a:gd name="connsiteY157" fmla="*/ 171244 h 438291"/>
                      <a:gd name="connsiteX158" fmla="*/ 59524 w 247755"/>
                      <a:gd name="connsiteY158" fmla="*/ 166030 h 438291"/>
                      <a:gd name="connsiteX159" fmla="*/ 53898 w 247755"/>
                      <a:gd name="connsiteY159" fmla="*/ 160761 h 438291"/>
                      <a:gd name="connsiteX160" fmla="*/ 52718 w 247755"/>
                      <a:gd name="connsiteY160" fmla="*/ 158895 h 438291"/>
                      <a:gd name="connsiteX161" fmla="*/ 53623 w 247755"/>
                      <a:gd name="connsiteY161" fmla="*/ 155135 h 438291"/>
                      <a:gd name="connsiteX162" fmla="*/ 52745 w 247755"/>
                      <a:gd name="connsiteY162" fmla="*/ 150140 h 438291"/>
                      <a:gd name="connsiteX163" fmla="*/ 53898 w 247755"/>
                      <a:gd name="connsiteY163" fmla="*/ 146079 h 438291"/>
                      <a:gd name="connsiteX164" fmla="*/ 64875 w 247755"/>
                      <a:gd name="connsiteY164" fmla="*/ 147808 h 438291"/>
                      <a:gd name="connsiteX165" fmla="*/ 67345 w 247755"/>
                      <a:gd name="connsiteY165" fmla="*/ 149345 h 438291"/>
                      <a:gd name="connsiteX166" fmla="*/ 64793 w 247755"/>
                      <a:gd name="connsiteY166" fmla="*/ 147451 h 438291"/>
                      <a:gd name="connsiteX167" fmla="*/ 58947 w 247755"/>
                      <a:gd name="connsiteY167" fmla="*/ 145393 h 438291"/>
                      <a:gd name="connsiteX168" fmla="*/ 57877 w 247755"/>
                      <a:gd name="connsiteY168" fmla="*/ 143884 h 438291"/>
                      <a:gd name="connsiteX169" fmla="*/ 56478 w 247755"/>
                      <a:gd name="connsiteY169" fmla="*/ 143088 h 438291"/>
                      <a:gd name="connsiteX170" fmla="*/ 53926 w 247755"/>
                      <a:gd name="connsiteY170" fmla="*/ 143939 h 438291"/>
                      <a:gd name="connsiteX171" fmla="*/ 53102 w 247755"/>
                      <a:gd name="connsiteY171" fmla="*/ 140343 h 438291"/>
                      <a:gd name="connsiteX172" fmla="*/ 56862 w 247755"/>
                      <a:gd name="connsiteY172" fmla="*/ 132852 h 438291"/>
                      <a:gd name="connsiteX173" fmla="*/ 52526 w 247755"/>
                      <a:gd name="connsiteY173" fmla="*/ 140563 h 438291"/>
                      <a:gd name="connsiteX174" fmla="*/ 48025 w 247755"/>
                      <a:gd name="connsiteY174" fmla="*/ 153489 h 438291"/>
                      <a:gd name="connsiteX175" fmla="*/ 39051 w 247755"/>
                      <a:gd name="connsiteY175" fmla="*/ 150827 h 438291"/>
                      <a:gd name="connsiteX176" fmla="*/ 38640 w 247755"/>
                      <a:gd name="connsiteY176" fmla="*/ 158621 h 438291"/>
                      <a:gd name="connsiteX177" fmla="*/ 44348 w 247755"/>
                      <a:gd name="connsiteY177" fmla="*/ 160843 h 438291"/>
                      <a:gd name="connsiteX178" fmla="*/ 46543 w 247755"/>
                      <a:gd name="connsiteY178" fmla="*/ 167869 h 438291"/>
                      <a:gd name="connsiteX179" fmla="*/ 45940 w 247755"/>
                      <a:gd name="connsiteY179" fmla="*/ 171656 h 438291"/>
                      <a:gd name="connsiteX180" fmla="*/ 41549 w 247755"/>
                      <a:gd name="connsiteY180" fmla="*/ 171711 h 438291"/>
                      <a:gd name="connsiteX181" fmla="*/ 37240 w 247755"/>
                      <a:gd name="connsiteY181" fmla="*/ 164438 h 438291"/>
                      <a:gd name="connsiteX182" fmla="*/ 33124 w 247755"/>
                      <a:gd name="connsiteY182" fmla="*/ 174894 h 438291"/>
                      <a:gd name="connsiteX183" fmla="*/ 28184 w 247755"/>
                      <a:gd name="connsiteY183" fmla="*/ 176513 h 438291"/>
                      <a:gd name="connsiteX184" fmla="*/ 32959 w 247755"/>
                      <a:gd name="connsiteY184" fmla="*/ 129311 h 438291"/>
                      <a:gd name="connsiteX185" fmla="*/ 36088 w 247755"/>
                      <a:gd name="connsiteY185" fmla="*/ 115261 h 438291"/>
                      <a:gd name="connsiteX186" fmla="*/ 31642 w 247755"/>
                      <a:gd name="connsiteY186" fmla="*/ 116386 h 438291"/>
                      <a:gd name="connsiteX187" fmla="*/ 24616 w 247755"/>
                      <a:gd name="connsiteY187" fmla="*/ 125277 h 438291"/>
                      <a:gd name="connsiteX188" fmla="*/ 13447 w 247755"/>
                      <a:gd name="connsiteY188" fmla="*/ 125853 h 438291"/>
                      <a:gd name="connsiteX189" fmla="*/ 13200 w 247755"/>
                      <a:gd name="connsiteY189" fmla="*/ 113010 h 438291"/>
                      <a:gd name="connsiteX190" fmla="*/ 17893 w 247755"/>
                      <a:gd name="connsiteY190" fmla="*/ 104311 h 438291"/>
                      <a:gd name="connsiteX191" fmla="*/ 25055 w 247755"/>
                      <a:gd name="connsiteY191" fmla="*/ 98164 h 438291"/>
                      <a:gd name="connsiteX192" fmla="*/ 26373 w 247755"/>
                      <a:gd name="connsiteY192" fmla="*/ 86583 h 438291"/>
                      <a:gd name="connsiteX193" fmla="*/ 21158 w 247755"/>
                      <a:gd name="connsiteY193" fmla="*/ 86281 h 438291"/>
                      <a:gd name="connsiteX194" fmla="*/ 17728 w 247755"/>
                      <a:gd name="connsiteY194" fmla="*/ 81560 h 438291"/>
                      <a:gd name="connsiteX195" fmla="*/ 10593 w 247755"/>
                      <a:gd name="connsiteY195" fmla="*/ 78295 h 438291"/>
                      <a:gd name="connsiteX196" fmla="*/ 0 w 247755"/>
                      <a:gd name="connsiteY196" fmla="*/ 65561 h 438291"/>
                      <a:gd name="connsiteX197" fmla="*/ 2442 w 247755"/>
                      <a:gd name="connsiteY197" fmla="*/ 60786 h 438291"/>
                      <a:gd name="connsiteX198" fmla="*/ 11306 w 247755"/>
                      <a:gd name="connsiteY198" fmla="*/ 55984 h 438291"/>
                      <a:gd name="connsiteX199" fmla="*/ 14682 w 247755"/>
                      <a:gd name="connsiteY199" fmla="*/ 59524 h 438291"/>
                      <a:gd name="connsiteX200" fmla="*/ 17591 w 247755"/>
                      <a:gd name="connsiteY200" fmla="*/ 68909 h 438291"/>
                      <a:gd name="connsiteX201" fmla="*/ 22421 w 247755"/>
                      <a:gd name="connsiteY201" fmla="*/ 73520 h 438291"/>
                      <a:gd name="connsiteX202" fmla="*/ 34633 w 247755"/>
                      <a:gd name="connsiteY202" fmla="*/ 70309 h 438291"/>
                      <a:gd name="connsiteX203" fmla="*/ 25796 w 247755"/>
                      <a:gd name="connsiteY203" fmla="*/ 68113 h 438291"/>
                      <a:gd name="connsiteX204" fmla="*/ 25165 w 247755"/>
                      <a:gd name="connsiteY204" fmla="*/ 61802 h 438291"/>
                      <a:gd name="connsiteX205" fmla="*/ 27525 w 247755"/>
                      <a:gd name="connsiteY205" fmla="*/ 58179 h 438291"/>
                      <a:gd name="connsiteX206" fmla="*/ 26235 w 247755"/>
                      <a:gd name="connsiteY206" fmla="*/ 46324 h 438291"/>
                      <a:gd name="connsiteX207" fmla="*/ 40094 w 247755"/>
                      <a:gd name="connsiteY207" fmla="*/ 39490 h 438291"/>
                      <a:gd name="connsiteX208" fmla="*/ 37762 w 247755"/>
                      <a:gd name="connsiteY208" fmla="*/ 33206 h 438291"/>
                      <a:gd name="connsiteX209" fmla="*/ 39792 w 247755"/>
                      <a:gd name="connsiteY209" fmla="*/ 29611 h 438291"/>
                      <a:gd name="connsiteX210" fmla="*/ 39929 w 247755"/>
                      <a:gd name="connsiteY210" fmla="*/ 23134 h 438291"/>
                      <a:gd name="connsiteX211" fmla="*/ 44430 w 247755"/>
                      <a:gd name="connsiteY211" fmla="*/ 18853 h 438291"/>
                      <a:gd name="connsiteX212" fmla="*/ 49315 w 247755"/>
                      <a:gd name="connsiteY212" fmla="*/ 2525 h 438291"/>
                      <a:gd name="connsiteX213" fmla="*/ 71571 w 247755"/>
                      <a:gd name="connsiteY213" fmla="*/ 5434 h 438291"/>
                      <a:gd name="connsiteX214" fmla="*/ 105765 w 247755"/>
                      <a:gd name="connsiteY214" fmla="*/ 0 h 438291"/>
                      <a:gd name="connsiteX215" fmla="*/ 106122 w 247755"/>
                      <a:gd name="connsiteY215" fmla="*/ 10758 h 438291"/>
                      <a:gd name="connsiteX216" fmla="*/ 104036 w 247755"/>
                      <a:gd name="connsiteY216" fmla="*/ 15423 h 438291"/>
                      <a:gd name="connsiteX217" fmla="*/ 80353 w 247755"/>
                      <a:gd name="connsiteY217" fmla="*/ 37350 h 438291"/>
                      <a:gd name="connsiteX218" fmla="*/ 78048 w 247755"/>
                      <a:gd name="connsiteY218" fmla="*/ 43360 h 438291"/>
                      <a:gd name="connsiteX219" fmla="*/ 81670 w 247755"/>
                      <a:gd name="connsiteY219" fmla="*/ 45857 h 438291"/>
                      <a:gd name="connsiteX220" fmla="*/ 81066 w 247755"/>
                      <a:gd name="connsiteY220" fmla="*/ 49699 h 438291"/>
                      <a:gd name="connsiteX221" fmla="*/ 75989 w 247755"/>
                      <a:gd name="connsiteY221" fmla="*/ 52828 h 438291"/>
                      <a:gd name="connsiteX222" fmla="*/ 75660 w 247755"/>
                      <a:gd name="connsiteY222" fmla="*/ 57164 h 438291"/>
                      <a:gd name="connsiteX223" fmla="*/ 72696 w 247755"/>
                      <a:gd name="connsiteY223" fmla="*/ 61198 h 438291"/>
                      <a:gd name="connsiteX224" fmla="*/ 66165 w 247755"/>
                      <a:gd name="connsiteY224" fmla="*/ 63311 h 438291"/>
                      <a:gd name="connsiteX225" fmla="*/ 73108 w 247755"/>
                      <a:gd name="connsiteY225" fmla="*/ 63586 h 438291"/>
                      <a:gd name="connsiteX226" fmla="*/ 77911 w 247755"/>
                      <a:gd name="connsiteY226" fmla="*/ 58371 h 438291"/>
                      <a:gd name="connsiteX227" fmla="*/ 96352 w 247755"/>
                      <a:gd name="connsiteY227" fmla="*/ 51126 h 438291"/>
                      <a:gd name="connsiteX228" fmla="*/ 114108 w 247755"/>
                      <a:gd name="connsiteY228" fmla="*/ 52279 h 438291"/>
                      <a:gd name="connsiteX229" fmla="*/ 134910 w 247755"/>
                      <a:gd name="connsiteY229" fmla="*/ 52279 h 438291"/>
                      <a:gd name="connsiteX230" fmla="*/ 140975 w 247755"/>
                      <a:gd name="connsiteY230" fmla="*/ 56039 h 438291"/>
                      <a:gd name="connsiteX231" fmla="*/ 143060 w 247755"/>
                      <a:gd name="connsiteY231" fmla="*/ 62954 h 438291"/>
                      <a:gd name="connsiteX232" fmla="*/ 134910 w 247755"/>
                      <a:gd name="connsiteY232" fmla="*/ 83399 h 438291"/>
                      <a:gd name="connsiteX233" fmla="*/ 131397 w 247755"/>
                      <a:gd name="connsiteY233" fmla="*/ 95117 h 438291"/>
                      <a:gd name="connsiteX234" fmla="*/ 125167 w 247755"/>
                      <a:gd name="connsiteY234" fmla="*/ 103323 h 438291"/>
                      <a:gd name="connsiteX235" fmla="*/ 120502 w 247755"/>
                      <a:gd name="connsiteY235" fmla="*/ 114218 h 438291"/>
                      <a:gd name="connsiteX236" fmla="*/ 106753 w 247755"/>
                      <a:gd name="connsiteY236" fmla="*/ 119185 h 438291"/>
                      <a:gd name="connsiteX237" fmla="*/ 104146 w 247755"/>
                      <a:gd name="connsiteY237" fmla="*/ 121078 h 438291"/>
                      <a:gd name="connsiteX238" fmla="*/ 100853 w 247755"/>
                      <a:gd name="connsiteY238" fmla="*/ 124838 h 438291"/>
                      <a:gd name="connsiteX239" fmla="*/ 112242 w 247755"/>
                      <a:gd name="connsiteY239" fmla="*/ 119899 h 438291"/>
                      <a:gd name="connsiteX240" fmla="*/ 117950 w 247755"/>
                      <a:gd name="connsiteY240" fmla="*/ 129147 h 438291"/>
                      <a:gd name="connsiteX241" fmla="*/ 96599 w 247755"/>
                      <a:gd name="connsiteY241" fmla="*/ 141688 h 438291"/>
                      <a:gd name="connsiteX242" fmla="*/ 83179 w 247755"/>
                      <a:gd name="connsiteY242" fmla="*/ 137078 h 438291"/>
                      <a:gd name="connsiteX243" fmla="*/ 84140 w 247755"/>
                      <a:gd name="connsiteY243" fmla="*/ 138203 h 438291"/>
                      <a:gd name="connsiteX244" fmla="*/ 93086 w 247755"/>
                      <a:gd name="connsiteY244" fmla="*/ 143307 h 438291"/>
                      <a:gd name="connsiteX245" fmla="*/ 95749 w 247755"/>
                      <a:gd name="connsiteY245" fmla="*/ 143746 h 438291"/>
                      <a:gd name="connsiteX246" fmla="*/ 105985 w 247755"/>
                      <a:gd name="connsiteY246" fmla="*/ 146244 h 438291"/>
                      <a:gd name="connsiteX247" fmla="*/ 115535 w 247755"/>
                      <a:gd name="connsiteY247" fmla="*/ 140234 h 438291"/>
                      <a:gd name="connsiteX248" fmla="*/ 120502 w 247755"/>
                      <a:gd name="connsiteY248" fmla="*/ 142868 h 438291"/>
                      <a:gd name="connsiteX249" fmla="*/ 122560 w 247755"/>
                      <a:gd name="connsiteY249" fmla="*/ 143966 h 438291"/>
                      <a:gd name="connsiteX250" fmla="*/ 126869 w 247755"/>
                      <a:gd name="connsiteY250" fmla="*/ 146271 h 438291"/>
                      <a:gd name="connsiteX251" fmla="*/ 136666 w 247755"/>
                      <a:gd name="connsiteY251" fmla="*/ 153351 h 438291"/>
                      <a:gd name="connsiteX252" fmla="*/ 148494 w 247755"/>
                      <a:gd name="connsiteY252" fmla="*/ 167045 h 438291"/>
                      <a:gd name="connsiteX253" fmla="*/ 153488 w 247755"/>
                      <a:gd name="connsiteY253" fmla="*/ 191552 h 438291"/>
                      <a:gd name="connsiteX254" fmla="*/ 156370 w 247755"/>
                      <a:gd name="connsiteY254" fmla="*/ 198248 h 438291"/>
                      <a:gd name="connsiteX255" fmla="*/ 156864 w 247755"/>
                      <a:gd name="connsiteY255" fmla="*/ 202529 h 438291"/>
                      <a:gd name="connsiteX256" fmla="*/ 159938 w 247755"/>
                      <a:gd name="connsiteY256" fmla="*/ 209555 h 438291"/>
                      <a:gd name="connsiteX257" fmla="*/ 160322 w 247755"/>
                      <a:gd name="connsiteY257" fmla="*/ 209856 h 438291"/>
                      <a:gd name="connsiteX258" fmla="*/ 160678 w 247755"/>
                      <a:gd name="connsiteY258" fmla="*/ 210131 h 438291"/>
                      <a:gd name="connsiteX259" fmla="*/ 160761 w 247755"/>
                      <a:gd name="connsiteY259" fmla="*/ 210131 h 438291"/>
                      <a:gd name="connsiteX260" fmla="*/ 160926 w 247755"/>
                      <a:gd name="connsiteY260" fmla="*/ 210268 h 438291"/>
                      <a:gd name="connsiteX261" fmla="*/ 161831 w 247755"/>
                      <a:gd name="connsiteY261" fmla="*/ 210762 h 438291"/>
                      <a:gd name="connsiteX262" fmla="*/ 161914 w 247755"/>
                      <a:gd name="connsiteY262" fmla="*/ 210899 h 438291"/>
                      <a:gd name="connsiteX263" fmla="*/ 161804 w 247755"/>
                      <a:gd name="connsiteY263" fmla="*/ 211064 h 438291"/>
                      <a:gd name="connsiteX264" fmla="*/ 161529 w 247755"/>
                      <a:gd name="connsiteY264" fmla="*/ 210954 h 438291"/>
                      <a:gd name="connsiteX265" fmla="*/ 161365 w 247755"/>
                      <a:gd name="connsiteY265" fmla="*/ 211146 h 438291"/>
                      <a:gd name="connsiteX266" fmla="*/ 161365 w 247755"/>
                      <a:gd name="connsiteY266" fmla="*/ 211338 h 438291"/>
                      <a:gd name="connsiteX267" fmla="*/ 161228 w 247755"/>
                      <a:gd name="connsiteY267" fmla="*/ 211531 h 438291"/>
                      <a:gd name="connsiteX268" fmla="*/ 161228 w 247755"/>
                      <a:gd name="connsiteY268" fmla="*/ 211805 h 438291"/>
                      <a:gd name="connsiteX269" fmla="*/ 161694 w 247755"/>
                      <a:gd name="connsiteY269" fmla="*/ 212820 h 438291"/>
                      <a:gd name="connsiteX270" fmla="*/ 162298 w 247755"/>
                      <a:gd name="connsiteY270" fmla="*/ 213452 h 438291"/>
                      <a:gd name="connsiteX271" fmla="*/ 162160 w 247755"/>
                      <a:gd name="connsiteY271" fmla="*/ 213616 h 438291"/>
                      <a:gd name="connsiteX272" fmla="*/ 162215 w 247755"/>
                      <a:gd name="connsiteY272" fmla="*/ 214110 h 438291"/>
                      <a:gd name="connsiteX273" fmla="*/ 162215 w 247755"/>
                      <a:gd name="connsiteY273" fmla="*/ 214412 h 438291"/>
                      <a:gd name="connsiteX274" fmla="*/ 162133 w 247755"/>
                      <a:gd name="connsiteY274" fmla="*/ 214522 h 438291"/>
                      <a:gd name="connsiteX275" fmla="*/ 161969 w 247755"/>
                      <a:gd name="connsiteY275" fmla="*/ 214631 h 438291"/>
                      <a:gd name="connsiteX276" fmla="*/ 161831 w 247755"/>
                      <a:gd name="connsiteY276" fmla="*/ 214769 h 438291"/>
                      <a:gd name="connsiteX277" fmla="*/ 161749 w 247755"/>
                      <a:gd name="connsiteY277" fmla="*/ 214988 h 438291"/>
                      <a:gd name="connsiteX278" fmla="*/ 161694 w 247755"/>
                      <a:gd name="connsiteY278" fmla="*/ 215263 h 438291"/>
                      <a:gd name="connsiteX279" fmla="*/ 161694 w 247755"/>
                      <a:gd name="connsiteY279" fmla="*/ 215537 h 438291"/>
                      <a:gd name="connsiteX280" fmla="*/ 161694 w 247755"/>
                      <a:gd name="connsiteY280" fmla="*/ 215702 h 438291"/>
                      <a:gd name="connsiteX281" fmla="*/ 161639 w 247755"/>
                      <a:gd name="connsiteY281" fmla="*/ 215976 h 438291"/>
                      <a:gd name="connsiteX282" fmla="*/ 161557 w 247755"/>
                      <a:gd name="connsiteY282" fmla="*/ 216223 h 438291"/>
                      <a:gd name="connsiteX283" fmla="*/ 161419 w 247755"/>
                      <a:gd name="connsiteY283" fmla="*/ 216415 h 438291"/>
                      <a:gd name="connsiteX284" fmla="*/ 161228 w 247755"/>
                      <a:gd name="connsiteY284" fmla="*/ 216635 h 438291"/>
                      <a:gd name="connsiteX285" fmla="*/ 160981 w 247755"/>
                      <a:gd name="connsiteY285" fmla="*/ 216800 h 438291"/>
                      <a:gd name="connsiteX286" fmla="*/ 160322 w 247755"/>
                      <a:gd name="connsiteY286" fmla="*/ 216663 h 438291"/>
                      <a:gd name="connsiteX287" fmla="*/ 160733 w 247755"/>
                      <a:gd name="connsiteY287" fmla="*/ 216882 h 438291"/>
                      <a:gd name="connsiteX288" fmla="*/ 161063 w 247755"/>
                      <a:gd name="connsiteY288" fmla="*/ 216882 h 438291"/>
                      <a:gd name="connsiteX289" fmla="*/ 161282 w 247755"/>
                      <a:gd name="connsiteY289" fmla="*/ 216827 h 438291"/>
                      <a:gd name="connsiteX290" fmla="*/ 162270 w 247755"/>
                      <a:gd name="connsiteY290" fmla="*/ 215812 h 438291"/>
                      <a:gd name="connsiteX291" fmla="*/ 162572 w 247755"/>
                      <a:gd name="connsiteY291" fmla="*/ 215812 h 438291"/>
                      <a:gd name="connsiteX292" fmla="*/ 162517 w 247755"/>
                      <a:gd name="connsiteY292" fmla="*/ 215565 h 438291"/>
                      <a:gd name="connsiteX293" fmla="*/ 162627 w 247755"/>
                      <a:gd name="connsiteY293" fmla="*/ 215071 h 438291"/>
                      <a:gd name="connsiteX294" fmla="*/ 162572 w 247755"/>
                      <a:gd name="connsiteY294" fmla="*/ 214549 h 438291"/>
                      <a:gd name="connsiteX295" fmla="*/ 162984 w 247755"/>
                      <a:gd name="connsiteY295" fmla="*/ 214385 h 438291"/>
                      <a:gd name="connsiteX296" fmla="*/ 163039 w 247755"/>
                      <a:gd name="connsiteY296" fmla="*/ 213918 h 438291"/>
                      <a:gd name="connsiteX297" fmla="*/ 163313 w 247755"/>
                      <a:gd name="connsiteY297" fmla="*/ 214055 h 438291"/>
                      <a:gd name="connsiteX298" fmla="*/ 163423 w 247755"/>
                      <a:gd name="connsiteY298" fmla="*/ 214138 h 438291"/>
                      <a:gd name="connsiteX299" fmla="*/ 173248 w 247755"/>
                      <a:gd name="connsiteY299" fmla="*/ 217925 h 438291"/>
                      <a:gd name="connsiteX300" fmla="*/ 179998 w 247755"/>
                      <a:gd name="connsiteY300" fmla="*/ 222782 h 438291"/>
                      <a:gd name="connsiteX301" fmla="*/ 190290 w 247755"/>
                      <a:gd name="connsiteY301" fmla="*/ 238205 h 438291"/>
                      <a:gd name="connsiteX302" fmla="*/ 192101 w 247755"/>
                      <a:gd name="connsiteY302" fmla="*/ 239989 h 438291"/>
                      <a:gd name="connsiteX303" fmla="*/ 190564 w 247755"/>
                      <a:gd name="connsiteY303" fmla="*/ 243941 h 438291"/>
                      <a:gd name="connsiteX304" fmla="*/ 191140 w 247755"/>
                      <a:gd name="connsiteY304" fmla="*/ 248249 h 438291"/>
                      <a:gd name="connsiteX305" fmla="*/ 196547 w 247755"/>
                      <a:gd name="connsiteY305" fmla="*/ 258101 h 438291"/>
                      <a:gd name="connsiteX306" fmla="*/ 199017 w 247755"/>
                      <a:gd name="connsiteY306" fmla="*/ 262520 h 438291"/>
                      <a:gd name="connsiteX307" fmla="*/ 193610 w 247755"/>
                      <a:gd name="connsiteY307" fmla="*/ 263782 h 438291"/>
                      <a:gd name="connsiteX308" fmla="*/ 189192 w 247755"/>
                      <a:gd name="connsiteY308" fmla="*/ 259419 h 438291"/>
                      <a:gd name="connsiteX309" fmla="*/ 184197 w 247755"/>
                      <a:gd name="connsiteY309" fmla="*/ 260077 h 438291"/>
                      <a:gd name="connsiteX310" fmla="*/ 175992 w 247755"/>
                      <a:gd name="connsiteY310" fmla="*/ 261779 h 438291"/>
                      <a:gd name="connsiteX311" fmla="*/ 187490 w 247755"/>
                      <a:gd name="connsiteY311" fmla="*/ 260818 h 438291"/>
                      <a:gd name="connsiteX312" fmla="*/ 197068 w 247755"/>
                      <a:gd name="connsiteY312" fmla="*/ 269737 h 438291"/>
                      <a:gd name="connsiteX313" fmla="*/ 201569 w 247755"/>
                      <a:gd name="connsiteY313" fmla="*/ 272838 h 438291"/>
                      <a:gd name="connsiteX314" fmla="*/ 204258 w 247755"/>
                      <a:gd name="connsiteY314" fmla="*/ 279150 h 438291"/>
                      <a:gd name="connsiteX315" fmla="*/ 206207 w 247755"/>
                      <a:gd name="connsiteY315" fmla="*/ 283788 h 438291"/>
                      <a:gd name="connsiteX316" fmla="*/ 206152 w 247755"/>
                      <a:gd name="connsiteY316" fmla="*/ 290237 h 438291"/>
                      <a:gd name="connsiteX317" fmla="*/ 204258 w 247755"/>
                      <a:gd name="connsiteY317" fmla="*/ 292624 h 438291"/>
                      <a:gd name="connsiteX318" fmla="*/ 199017 w 247755"/>
                      <a:gd name="connsiteY318" fmla="*/ 299074 h 438291"/>
                      <a:gd name="connsiteX319" fmla="*/ 204258 w 247755"/>
                      <a:gd name="connsiteY319" fmla="*/ 304699 h 438291"/>
                      <a:gd name="connsiteX320" fmla="*/ 208320 w 247755"/>
                      <a:gd name="connsiteY320" fmla="*/ 303849 h 438291"/>
                      <a:gd name="connsiteX321" fmla="*/ 213753 w 247755"/>
                      <a:gd name="connsiteY321" fmla="*/ 297153 h 438291"/>
                      <a:gd name="connsiteX322" fmla="*/ 227804 w 247755"/>
                      <a:gd name="connsiteY322" fmla="*/ 297674 h 438291"/>
                      <a:gd name="connsiteX323" fmla="*/ 237437 w 247755"/>
                      <a:gd name="connsiteY323" fmla="*/ 300802 h 438291"/>
                      <a:gd name="connsiteX324" fmla="*/ 245834 w 247755"/>
                      <a:gd name="connsiteY324" fmla="*/ 308075 h 438291"/>
                      <a:gd name="connsiteX325" fmla="*/ 247755 w 247755"/>
                      <a:gd name="connsiteY325" fmla="*/ 318311 h 438291"/>
                      <a:gd name="connsiteX326" fmla="*/ 242184 w 247755"/>
                      <a:gd name="connsiteY326" fmla="*/ 339607 h 438291"/>
                      <a:gd name="connsiteX327" fmla="*/ 235845 w 247755"/>
                      <a:gd name="connsiteY327" fmla="*/ 345562 h 438291"/>
                      <a:gd name="connsiteX328" fmla="*/ 229066 w 247755"/>
                      <a:gd name="connsiteY328" fmla="*/ 346605 h 438291"/>
                      <a:gd name="connsiteX329" fmla="*/ 232744 w 247755"/>
                      <a:gd name="connsiteY329" fmla="*/ 347401 h 438291"/>
                      <a:gd name="connsiteX330" fmla="*/ 233348 w 247755"/>
                      <a:gd name="connsiteY330" fmla="*/ 349925 h 438291"/>
                      <a:gd name="connsiteX331" fmla="*/ 229176 w 247755"/>
                      <a:gd name="connsiteY331" fmla="*/ 354097 h 438291"/>
                      <a:gd name="connsiteX332" fmla="*/ 223221 w 247755"/>
                      <a:gd name="connsiteY332" fmla="*/ 354261 h 438291"/>
                      <a:gd name="connsiteX333" fmla="*/ 221382 w 247755"/>
                      <a:gd name="connsiteY333" fmla="*/ 354261 h 438291"/>
                      <a:gd name="connsiteX334" fmla="*/ 223523 w 247755"/>
                      <a:gd name="connsiteY334" fmla="*/ 357417 h 438291"/>
                      <a:gd name="connsiteX335" fmla="*/ 223139 w 247755"/>
                      <a:gd name="connsiteY335" fmla="*/ 360217 h 438291"/>
                      <a:gd name="connsiteX336" fmla="*/ 213918 w 247755"/>
                      <a:gd name="connsiteY336" fmla="*/ 361451 h 438291"/>
                      <a:gd name="connsiteX337" fmla="*/ 220422 w 247755"/>
                      <a:gd name="connsiteY337" fmla="*/ 362878 h 438291"/>
                      <a:gd name="connsiteX338" fmla="*/ 220696 w 247755"/>
                      <a:gd name="connsiteY338" fmla="*/ 365733 h 438291"/>
                      <a:gd name="connsiteX339" fmla="*/ 220367 w 247755"/>
                      <a:gd name="connsiteY339" fmla="*/ 365733 h 438291"/>
                      <a:gd name="connsiteX340" fmla="*/ 214961 w 247755"/>
                      <a:gd name="connsiteY340" fmla="*/ 366144 h 438291"/>
                      <a:gd name="connsiteX341" fmla="*/ 211640 w 247755"/>
                      <a:gd name="connsiteY341" fmla="*/ 366144 h 438291"/>
                      <a:gd name="connsiteX342" fmla="*/ 207826 w 247755"/>
                      <a:gd name="connsiteY342" fmla="*/ 368861 h 4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Lst>
                    <a:rect l="l" t="t" r="r" b="b"/>
                    <a:pathLst>
                      <a:path w="247755" h="438291">
                        <a:moveTo>
                          <a:pt x="207908" y="369026"/>
                        </a:moveTo>
                        <a:lnTo>
                          <a:pt x="204340" y="368724"/>
                        </a:lnTo>
                        <a:lnTo>
                          <a:pt x="202804" y="368285"/>
                        </a:lnTo>
                        <a:lnTo>
                          <a:pt x="201075" y="367215"/>
                        </a:lnTo>
                        <a:lnTo>
                          <a:pt x="199455" y="367077"/>
                        </a:lnTo>
                        <a:lnTo>
                          <a:pt x="196876" y="367489"/>
                        </a:lnTo>
                        <a:lnTo>
                          <a:pt x="194269" y="367489"/>
                        </a:lnTo>
                        <a:cubicBezTo>
                          <a:pt x="194269" y="367489"/>
                          <a:pt x="193308" y="367297"/>
                          <a:pt x="193308" y="367297"/>
                        </a:cubicBezTo>
                        <a:lnTo>
                          <a:pt x="192183" y="368504"/>
                        </a:lnTo>
                        <a:lnTo>
                          <a:pt x="189411" y="368340"/>
                        </a:lnTo>
                        <a:lnTo>
                          <a:pt x="190015" y="369136"/>
                        </a:lnTo>
                        <a:lnTo>
                          <a:pt x="192814" y="368532"/>
                        </a:lnTo>
                        <a:lnTo>
                          <a:pt x="193391" y="367407"/>
                        </a:lnTo>
                        <a:lnTo>
                          <a:pt x="195888" y="368504"/>
                        </a:lnTo>
                        <a:lnTo>
                          <a:pt x="200224" y="367516"/>
                        </a:lnTo>
                        <a:lnTo>
                          <a:pt x="202996" y="368751"/>
                        </a:lnTo>
                        <a:lnTo>
                          <a:pt x="204313" y="369657"/>
                        </a:lnTo>
                        <a:lnTo>
                          <a:pt x="207908" y="369822"/>
                        </a:lnTo>
                        <a:lnTo>
                          <a:pt x="210076" y="369959"/>
                        </a:lnTo>
                        <a:lnTo>
                          <a:pt x="216443" y="369904"/>
                        </a:lnTo>
                        <a:lnTo>
                          <a:pt x="215016" y="373719"/>
                        </a:lnTo>
                        <a:lnTo>
                          <a:pt x="219983" y="370810"/>
                        </a:lnTo>
                        <a:lnTo>
                          <a:pt x="223249" y="373883"/>
                        </a:lnTo>
                        <a:lnTo>
                          <a:pt x="224538" y="375091"/>
                        </a:lnTo>
                        <a:lnTo>
                          <a:pt x="229066" y="373856"/>
                        </a:lnTo>
                        <a:lnTo>
                          <a:pt x="238260" y="374569"/>
                        </a:lnTo>
                        <a:lnTo>
                          <a:pt x="236696" y="384476"/>
                        </a:lnTo>
                        <a:lnTo>
                          <a:pt x="229066" y="388099"/>
                        </a:lnTo>
                        <a:lnTo>
                          <a:pt x="227173" y="388977"/>
                        </a:lnTo>
                        <a:lnTo>
                          <a:pt x="225307" y="391282"/>
                        </a:lnTo>
                        <a:lnTo>
                          <a:pt x="224703" y="394822"/>
                        </a:lnTo>
                        <a:lnTo>
                          <a:pt x="223276" y="394822"/>
                        </a:lnTo>
                        <a:cubicBezTo>
                          <a:pt x="223276" y="394822"/>
                          <a:pt x="221739" y="394822"/>
                          <a:pt x="221739" y="394822"/>
                        </a:cubicBezTo>
                        <a:lnTo>
                          <a:pt x="204313" y="402836"/>
                        </a:lnTo>
                        <a:lnTo>
                          <a:pt x="195476" y="400613"/>
                        </a:lnTo>
                        <a:lnTo>
                          <a:pt x="190235" y="399295"/>
                        </a:lnTo>
                        <a:lnTo>
                          <a:pt x="173220" y="403494"/>
                        </a:lnTo>
                        <a:lnTo>
                          <a:pt x="169159" y="398582"/>
                        </a:lnTo>
                        <a:lnTo>
                          <a:pt x="167594" y="400503"/>
                        </a:lnTo>
                        <a:lnTo>
                          <a:pt x="166469" y="399048"/>
                        </a:lnTo>
                        <a:lnTo>
                          <a:pt x="165097" y="400256"/>
                        </a:lnTo>
                        <a:lnTo>
                          <a:pt x="163478" y="398939"/>
                        </a:lnTo>
                        <a:lnTo>
                          <a:pt x="160926" y="399899"/>
                        </a:lnTo>
                        <a:lnTo>
                          <a:pt x="156425" y="396853"/>
                        </a:lnTo>
                        <a:lnTo>
                          <a:pt x="153873" y="395261"/>
                        </a:lnTo>
                        <a:lnTo>
                          <a:pt x="157084" y="400476"/>
                        </a:lnTo>
                        <a:lnTo>
                          <a:pt x="146792" y="403549"/>
                        </a:lnTo>
                        <a:lnTo>
                          <a:pt x="145338" y="404235"/>
                        </a:lnTo>
                        <a:lnTo>
                          <a:pt x="136858" y="404510"/>
                        </a:lnTo>
                        <a:lnTo>
                          <a:pt x="138313" y="407473"/>
                        </a:lnTo>
                        <a:lnTo>
                          <a:pt x="137215" y="409779"/>
                        </a:lnTo>
                        <a:lnTo>
                          <a:pt x="122615" y="409504"/>
                        </a:lnTo>
                        <a:lnTo>
                          <a:pt x="120557" y="408681"/>
                        </a:lnTo>
                        <a:lnTo>
                          <a:pt x="109881" y="404400"/>
                        </a:lnTo>
                        <a:lnTo>
                          <a:pt x="100579" y="406952"/>
                        </a:lnTo>
                        <a:lnTo>
                          <a:pt x="93389" y="413730"/>
                        </a:lnTo>
                        <a:lnTo>
                          <a:pt x="93334" y="420097"/>
                        </a:lnTo>
                        <a:lnTo>
                          <a:pt x="88421" y="427479"/>
                        </a:lnTo>
                        <a:lnTo>
                          <a:pt x="83729" y="427040"/>
                        </a:lnTo>
                        <a:lnTo>
                          <a:pt x="80984" y="423610"/>
                        </a:lnTo>
                        <a:lnTo>
                          <a:pt x="76703" y="423610"/>
                        </a:lnTo>
                        <a:cubicBezTo>
                          <a:pt x="76703" y="423610"/>
                          <a:pt x="75303" y="421579"/>
                          <a:pt x="75303" y="421579"/>
                        </a:cubicBezTo>
                        <a:lnTo>
                          <a:pt x="73437" y="418012"/>
                        </a:lnTo>
                        <a:lnTo>
                          <a:pt x="72504" y="415651"/>
                        </a:lnTo>
                        <a:lnTo>
                          <a:pt x="70528" y="420234"/>
                        </a:lnTo>
                        <a:lnTo>
                          <a:pt x="57301" y="422814"/>
                        </a:lnTo>
                        <a:lnTo>
                          <a:pt x="54913" y="426766"/>
                        </a:lnTo>
                        <a:lnTo>
                          <a:pt x="47531" y="429126"/>
                        </a:lnTo>
                        <a:lnTo>
                          <a:pt x="47092" y="435904"/>
                        </a:lnTo>
                        <a:lnTo>
                          <a:pt x="43799" y="438292"/>
                        </a:lnTo>
                        <a:lnTo>
                          <a:pt x="36197" y="432337"/>
                        </a:lnTo>
                        <a:lnTo>
                          <a:pt x="29419" y="434477"/>
                        </a:lnTo>
                        <a:lnTo>
                          <a:pt x="30022" y="430635"/>
                        </a:lnTo>
                        <a:lnTo>
                          <a:pt x="41137" y="425009"/>
                        </a:lnTo>
                        <a:lnTo>
                          <a:pt x="47531" y="417490"/>
                        </a:lnTo>
                        <a:lnTo>
                          <a:pt x="49562" y="411864"/>
                        </a:lnTo>
                        <a:lnTo>
                          <a:pt x="55078" y="409532"/>
                        </a:lnTo>
                        <a:lnTo>
                          <a:pt x="60786" y="403275"/>
                        </a:lnTo>
                        <a:lnTo>
                          <a:pt x="62899" y="394603"/>
                        </a:lnTo>
                        <a:lnTo>
                          <a:pt x="64326" y="390953"/>
                        </a:lnTo>
                        <a:lnTo>
                          <a:pt x="69870" y="390870"/>
                        </a:lnTo>
                        <a:lnTo>
                          <a:pt x="74261" y="382281"/>
                        </a:lnTo>
                        <a:lnTo>
                          <a:pt x="87159" y="380360"/>
                        </a:lnTo>
                        <a:lnTo>
                          <a:pt x="106616" y="382363"/>
                        </a:lnTo>
                        <a:lnTo>
                          <a:pt x="108537" y="376243"/>
                        </a:lnTo>
                        <a:lnTo>
                          <a:pt x="113971" y="369190"/>
                        </a:lnTo>
                        <a:lnTo>
                          <a:pt x="117785" y="368696"/>
                        </a:lnTo>
                        <a:lnTo>
                          <a:pt x="117950" y="365650"/>
                        </a:lnTo>
                        <a:lnTo>
                          <a:pt x="120584" y="361589"/>
                        </a:lnTo>
                        <a:lnTo>
                          <a:pt x="122039" y="359366"/>
                        </a:lnTo>
                        <a:lnTo>
                          <a:pt x="120584" y="360025"/>
                        </a:lnTo>
                        <a:lnTo>
                          <a:pt x="118169" y="361150"/>
                        </a:lnTo>
                        <a:lnTo>
                          <a:pt x="105930" y="367654"/>
                        </a:lnTo>
                        <a:lnTo>
                          <a:pt x="102719" y="371962"/>
                        </a:lnTo>
                        <a:lnTo>
                          <a:pt x="97230" y="373115"/>
                        </a:lnTo>
                        <a:lnTo>
                          <a:pt x="89601" y="369136"/>
                        </a:lnTo>
                        <a:lnTo>
                          <a:pt x="86253" y="367022"/>
                        </a:lnTo>
                        <a:lnTo>
                          <a:pt x="82274" y="362165"/>
                        </a:lnTo>
                        <a:lnTo>
                          <a:pt x="73739" y="365376"/>
                        </a:lnTo>
                        <a:lnTo>
                          <a:pt x="70693" y="364251"/>
                        </a:lnTo>
                        <a:lnTo>
                          <a:pt x="71407" y="361945"/>
                        </a:lnTo>
                        <a:lnTo>
                          <a:pt x="77389" y="358103"/>
                        </a:lnTo>
                        <a:lnTo>
                          <a:pt x="63613" y="356429"/>
                        </a:lnTo>
                        <a:lnTo>
                          <a:pt x="50056" y="362137"/>
                        </a:lnTo>
                        <a:lnTo>
                          <a:pt x="44814" y="357115"/>
                        </a:lnTo>
                        <a:lnTo>
                          <a:pt x="44924" y="351874"/>
                        </a:lnTo>
                        <a:lnTo>
                          <a:pt x="42893" y="348608"/>
                        </a:lnTo>
                        <a:lnTo>
                          <a:pt x="48464" y="343147"/>
                        </a:lnTo>
                        <a:lnTo>
                          <a:pt x="70721" y="332444"/>
                        </a:lnTo>
                        <a:lnTo>
                          <a:pt x="80957" y="317323"/>
                        </a:lnTo>
                        <a:lnTo>
                          <a:pt x="76511" y="315375"/>
                        </a:lnTo>
                        <a:lnTo>
                          <a:pt x="76319" y="308596"/>
                        </a:lnTo>
                        <a:lnTo>
                          <a:pt x="73602" y="301022"/>
                        </a:lnTo>
                        <a:lnTo>
                          <a:pt x="63558" y="304590"/>
                        </a:lnTo>
                        <a:lnTo>
                          <a:pt x="60018" y="303053"/>
                        </a:lnTo>
                        <a:lnTo>
                          <a:pt x="73849" y="285709"/>
                        </a:lnTo>
                        <a:lnTo>
                          <a:pt x="78734" y="283514"/>
                        </a:lnTo>
                        <a:lnTo>
                          <a:pt x="86253" y="280138"/>
                        </a:lnTo>
                        <a:lnTo>
                          <a:pt x="97669" y="278354"/>
                        </a:lnTo>
                        <a:lnTo>
                          <a:pt x="105381" y="282553"/>
                        </a:lnTo>
                        <a:lnTo>
                          <a:pt x="105106" y="281099"/>
                        </a:lnTo>
                        <a:lnTo>
                          <a:pt x="103268" y="277147"/>
                        </a:lnTo>
                        <a:lnTo>
                          <a:pt x="106616" y="274704"/>
                        </a:lnTo>
                        <a:lnTo>
                          <a:pt x="110458" y="280495"/>
                        </a:lnTo>
                        <a:lnTo>
                          <a:pt x="115645" y="280165"/>
                        </a:lnTo>
                        <a:lnTo>
                          <a:pt x="113449" y="279342"/>
                        </a:lnTo>
                        <a:lnTo>
                          <a:pt x="109909" y="277503"/>
                        </a:lnTo>
                        <a:lnTo>
                          <a:pt x="108098" y="274073"/>
                        </a:lnTo>
                        <a:lnTo>
                          <a:pt x="105792" y="268173"/>
                        </a:lnTo>
                        <a:lnTo>
                          <a:pt x="109635" y="261257"/>
                        </a:lnTo>
                        <a:lnTo>
                          <a:pt x="113257" y="260022"/>
                        </a:lnTo>
                        <a:lnTo>
                          <a:pt x="106671" y="257333"/>
                        </a:lnTo>
                        <a:lnTo>
                          <a:pt x="106945" y="252366"/>
                        </a:lnTo>
                        <a:lnTo>
                          <a:pt x="111858" y="247618"/>
                        </a:lnTo>
                        <a:lnTo>
                          <a:pt x="111309" y="244380"/>
                        </a:lnTo>
                        <a:lnTo>
                          <a:pt x="113285" y="240428"/>
                        </a:lnTo>
                        <a:lnTo>
                          <a:pt x="112187" y="237327"/>
                        </a:lnTo>
                        <a:lnTo>
                          <a:pt x="103981" y="241498"/>
                        </a:lnTo>
                        <a:lnTo>
                          <a:pt x="97724" y="234802"/>
                        </a:lnTo>
                        <a:lnTo>
                          <a:pt x="90150" y="219599"/>
                        </a:lnTo>
                        <a:lnTo>
                          <a:pt x="97642" y="201212"/>
                        </a:lnTo>
                        <a:lnTo>
                          <a:pt x="101017" y="198303"/>
                        </a:lnTo>
                        <a:lnTo>
                          <a:pt x="104777" y="199208"/>
                        </a:lnTo>
                        <a:lnTo>
                          <a:pt x="106643" y="196162"/>
                        </a:lnTo>
                        <a:lnTo>
                          <a:pt x="93306" y="197178"/>
                        </a:lnTo>
                        <a:lnTo>
                          <a:pt x="79694" y="206563"/>
                        </a:lnTo>
                        <a:lnTo>
                          <a:pt x="68141" y="203407"/>
                        </a:lnTo>
                        <a:lnTo>
                          <a:pt x="66028" y="210488"/>
                        </a:lnTo>
                        <a:lnTo>
                          <a:pt x="54364" y="202886"/>
                        </a:lnTo>
                        <a:lnTo>
                          <a:pt x="50413" y="210159"/>
                        </a:lnTo>
                        <a:lnTo>
                          <a:pt x="45007" y="200581"/>
                        </a:lnTo>
                        <a:lnTo>
                          <a:pt x="45610" y="196739"/>
                        </a:lnTo>
                        <a:lnTo>
                          <a:pt x="48300" y="195614"/>
                        </a:lnTo>
                        <a:lnTo>
                          <a:pt x="49480" y="189603"/>
                        </a:lnTo>
                        <a:lnTo>
                          <a:pt x="50028" y="187929"/>
                        </a:lnTo>
                        <a:lnTo>
                          <a:pt x="53294" y="184033"/>
                        </a:lnTo>
                        <a:lnTo>
                          <a:pt x="53898" y="181920"/>
                        </a:lnTo>
                        <a:lnTo>
                          <a:pt x="59990" y="171244"/>
                        </a:lnTo>
                        <a:lnTo>
                          <a:pt x="59524" y="166030"/>
                        </a:lnTo>
                        <a:lnTo>
                          <a:pt x="53898" y="160761"/>
                        </a:lnTo>
                        <a:lnTo>
                          <a:pt x="52718" y="158895"/>
                        </a:lnTo>
                        <a:lnTo>
                          <a:pt x="53623" y="155135"/>
                        </a:lnTo>
                        <a:lnTo>
                          <a:pt x="52745" y="150140"/>
                        </a:lnTo>
                        <a:lnTo>
                          <a:pt x="53898" y="146079"/>
                        </a:lnTo>
                        <a:lnTo>
                          <a:pt x="64875" y="147808"/>
                        </a:lnTo>
                        <a:lnTo>
                          <a:pt x="67345" y="149345"/>
                        </a:lnTo>
                        <a:lnTo>
                          <a:pt x="64793" y="147451"/>
                        </a:lnTo>
                        <a:lnTo>
                          <a:pt x="58947" y="145393"/>
                        </a:lnTo>
                        <a:lnTo>
                          <a:pt x="57877" y="143884"/>
                        </a:lnTo>
                        <a:lnTo>
                          <a:pt x="56478" y="143088"/>
                        </a:lnTo>
                        <a:lnTo>
                          <a:pt x="53926" y="143939"/>
                        </a:lnTo>
                        <a:lnTo>
                          <a:pt x="53102" y="140343"/>
                        </a:lnTo>
                        <a:lnTo>
                          <a:pt x="56862" y="132852"/>
                        </a:lnTo>
                        <a:lnTo>
                          <a:pt x="52526" y="140563"/>
                        </a:lnTo>
                        <a:lnTo>
                          <a:pt x="48025" y="153489"/>
                        </a:lnTo>
                        <a:lnTo>
                          <a:pt x="39051" y="150827"/>
                        </a:lnTo>
                        <a:lnTo>
                          <a:pt x="38640" y="158621"/>
                        </a:lnTo>
                        <a:lnTo>
                          <a:pt x="44348" y="160843"/>
                        </a:lnTo>
                        <a:lnTo>
                          <a:pt x="46543" y="167869"/>
                        </a:lnTo>
                        <a:lnTo>
                          <a:pt x="45940" y="171656"/>
                        </a:lnTo>
                        <a:lnTo>
                          <a:pt x="41549" y="171711"/>
                        </a:lnTo>
                        <a:lnTo>
                          <a:pt x="37240" y="164438"/>
                        </a:lnTo>
                        <a:lnTo>
                          <a:pt x="33124" y="174894"/>
                        </a:lnTo>
                        <a:lnTo>
                          <a:pt x="28184" y="176513"/>
                        </a:lnTo>
                        <a:lnTo>
                          <a:pt x="32959" y="129311"/>
                        </a:lnTo>
                        <a:lnTo>
                          <a:pt x="36088" y="115261"/>
                        </a:lnTo>
                        <a:lnTo>
                          <a:pt x="31642" y="116386"/>
                        </a:lnTo>
                        <a:lnTo>
                          <a:pt x="24616" y="125277"/>
                        </a:lnTo>
                        <a:lnTo>
                          <a:pt x="13447" y="125853"/>
                        </a:lnTo>
                        <a:lnTo>
                          <a:pt x="13200" y="113010"/>
                        </a:lnTo>
                        <a:lnTo>
                          <a:pt x="17893" y="104311"/>
                        </a:lnTo>
                        <a:lnTo>
                          <a:pt x="25055" y="98164"/>
                        </a:lnTo>
                        <a:lnTo>
                          <a:pt x="26373" y="86583"/>
                        </a:lnTo>
                        <a:lnTo>
                          <a:pt x="21158" y="86281"/>
                        </a:lnTo>
                        <a:lnTo>
                          <a:pt x="17728" y="81560"/>
                        </a:lnTo>
                        <a:lnTo>
                          <a:pt x="10593" y="78295"/>
                        </a:lnTo>
                        <a:lnTo>
                          <a:pt x="0" y="65561"/>
                        </a:lnTo>
                        <a:lnTo>
                          <a:pt x="2442" y="60786"/>
                        </a:lnTo>
                        <a:lnTo>
                          <a:pt x="11306" y="55984"/>
                        </a:lnTo>
                        <a:lnTo>
                          <a:pt x="14682" y="59524"/>
                        </a:lnTo>
                        <a:lnTo>
                          <a:pt x="17591" y="68909"/>
                        </a:lnTo>
                        <a:lnTo>
                          <a:pt x="22421" y="73520"/>
                        </a:lnTo>
                        <a:lnTo>
                          <a:pt x="34633" y="70309"/>
                        </a:lnTo>
                        <a:lnTo>
                          <a:pt x="25796" y="68113"/>
                        </a:lnTo>
                        <a:lnTo>
                          <a:pt x="25165" y="61802"/>
                        </a:lnTo>
                        <a:lnTo>
                          <a:pt x="27525" y="58179"/>
                        </a:lnTo>
                        <a:lnTo>
                          <a:pt x="26235" y="46324"/>
                        </a:lnTo>
                        <a:lnTo>
                          <a:pt x="40094" y="39490"/>
                        </a:lnTo>
                        <a:lnTo>
                          <a:pt x="37762" y="33206"/>
                        </a:lnTo>
                        <a:lnTo>
                          <a:pt x="39792" y="29611"/>
                        </a:lnTo>
                        <a:lnTo>
                          <a:pt x="39929" y="23134"/>
                        </a:lnTo>
                        <a:lnTo>
                          <a:pt x="44430" y="18853"/>
                        </a:lnTo>
                        <a:lnTo>
                          <a:pt x="49315" y="2525"/>
                        </a:lnTo>
                        <a:lnTo>
                          <a:pt x="71571" y="5434"/>
                        </a:lnTo>
                        <a:lnTo>
                          <a:pt x="105765" y="0"/>
                        </a:lnTo>
                        <a:lnTo>
                          <a:pt x="106122" y="10758"/>
                        </a:lnTo>
                        <a:lnTo>
                          <a:pt x="104036" y="15423"/>
                        </a:lnTo>
                        <a:lnTo>
                          <a:pt x="80353" y="37350"/>
                        </a:lnTo>
                        <a:lnTo>
                          <a:pt x="78048" y="43360"/>
                        </a:lnTo>
                        <a:lnTo>
                          <a:pt x="81670" y="45857"/>
                        </a:lnTo>
                        <a:lnTo>
                          <a:pt x="81066" y="49699"/>
                        </a:lnTo>
                        <a:lnTo>
                          <a:pt x="75989" y="52828"/>
                        </a:lnTo>
                        <a:lnTo>
                          <a:pt x="75660" y="57164"/>
                        </a:lnTo>
                        <a:lnTo>
                          <a:pt x="72696" y="61198"/>
                        </a:lnTo>
                        <a:lnTo>
                          <a:pt x="66165" y="63311"/>
                        </a:lnTo>
                        <a:lnTo>
                          <a:pt x="73108" y="63586"/>
                        </a:lnTo>
                        <a:lnTo>
                          <a:pt x="77911" y="58371"/>
                        </a:lnTo>
                        <a:lnTo>
                          <a:pt x="96352" y="51126"/>
                        </a:lnTo>
                        <a:lnTo>
                          <a:pt x="114108" y="52279"/>
                        </a:lnTo>
                        <a:lnTo>
                          <a:pt x="134910" y="52279"/>
                        </a:lnTo>
                        <a:lnTo>
                          <a:pt x="140975" y="56039"/>
                        </a:lnTo>
                        <a:lnTo>
                          <a:pt x="143060" y="62954"/>
                        </a:lnTo>
                        <a:lnTo>
                          <a:pt x="134910" y="83399"/>
                        </a:lnTo>
                        <a:lnTo>
                          <a:pt x="131397" y="95117"/>
                        </a:lnTo>
                        <a:lnTo>
                          <a:pt x="125167" y="103323"/>
                        </a:lnTo>
                        <a:lnTo>
                          <a:pt x="120502" y="114218"/>
                        </a:lnTo>
                        <a:lnTo>
                          <a:pt x="106753" y="119185"/>
                        </a:lnTo>
                        <a:lnTo>
                          <a:pt x="104146" y="121078"/>
                        </a:lnTo>
                        <a:lnTo>
                          <a:pt x="100853" y="124838"/>
                        </a:lnTo>
                        <a:lnTo>
                          <a:pt x="112242" y="119899"/>
                        </a:lnTo>
                        <a:lnTo>
                          <a:pt x="117950" y="129147"/>
                        </a:lnTo>
                        <a:lnTo>
                          <a:pt x="96599" y="141688"/>
                        </a:lnTo>
                        <a:lnTo>
                          <a:pt x="83179" y="137078"/>
                        </a:lnTo>
                        <a:lnTo>
                          <a:pt x="84140" y="138203"/>
                        </a:lnTo>
                        <a:lnTo>
                          <a:pt x="93086" y="143307"/>
                        </a:lnTo>
                        <a:lnTo>
                          <a:pt x="95749" y="143746"/>
                        </a:lnTo>
                        <a:lnTo>
                          <a:pt x="105985" y="146244"/>
                        </a:lnTo>
                        <a:lnTo>
                          <a:pt x="115535" y="140234"/>
                        </a:lnTo>
                        <a:lnTo>
                          <a:pt x="120502" y="142868"/>
                        </a:lnTo>
                        <a:lnTo>
                          <a:pt x="122560" y="143966"/>
                        </a:lnTo>
                        <a:lnTo>
                          <a:pt x="126869" y="146271"/>
                        </a:lnTo>
                        <a:lnTo>
                          <a:pt x="136666" y="153351"/>
                        </a:lnTo>
                        <a:lnTo>
                          <a:pt x="148494" y="167045"/>
                        </a:lnTo>
                        <a:lnTo>
                          <a:pt x="153488" y="191552"/>
                        </a:lnTo>
                        <a:lnTo>
                          <a:pt x="156370" y="198248"/>
                        </a:lnTo>
                        <a:lnTo>
                          <a:pt x="156864" y="202529"/>
                        </a:lnTo>
                        <a:lnTo>
                          <a:pt x="159938" y="209555"/>
                        </a:lnTo>
                        <a:lnTo>
                          <a:pt x="160322" y="209856"/>
                        </a:lnTo>
                        <a:lnTo>
                          <a:pt x="160678" y="210131"/>
                        </a:lnTo>
                        <a:lnTo>
                          <a:pt x="160761" y="210131"/>
                        </a:lnTo>
                        <a:cubicBezTo>
                          <a:pt x="160761" y="210131"/>
                          <a:pt x="160926" y="210268"/>
                          <a:pt x="160926" y="210268"/>
                        </a:cubicBezTo>
                        <a:lnTo>
                          <a:pt x="161831" y="210762"/>
                        </a:lnTo>
                        <a:lnTo>
                          <a:pt x="161914" y="210899"/>
                        </a:lnTo>
                        <a:lnTo>
                          <a:pt x="161804" y="211064"/>
                        </a:lnTo>
                        <a:lnTo>
                          <a:pt x="161529" y="210954"/>
                        </a:lnTo>
                        <a:lnTo>
                          <a:pt x="161365" y="211146"/>
                        </a:lnTo>
                        <a:lnTo>
                          <a:pt x="161365" y="211338"/>
                        </a:lnTo>
                        <a:cubicBezTo>
                          <a:pt x="161365" y="211338"/>
                          <a:pt x="161228" y="211531"/>
                          <a:pt x="161228" y="211531"/>
                        </a:cubicBezTo>
                        <a:lnTo>
                          <a:pt x="161228" y="211805"/>
                        </a:lnTo>
                        <a:lnTo>
                          <a:pt x="161694" y="212820"/>
                        </a:lnTo>
                        <a:lnTo>
                          <a:pt x="162298" y="213452"/>
                        </a:lnTo>
                        <a:lnTo>
                          <a:pt x="162160" y="213616"/>
                        </a:lnTo>
                        <a:lnTo>
                          <a:pt x="162215" y="214110"/>
                        </a:lnTo>
                        <a:lnTo>
                          <a:pt x="162215" y="214412"/>
                        </a:lnTo>
                        <a:lnTo>
                          <a:pt x="162133" y="214522"/>
                        </a:lnTo>
                        <a:lnTo>
                          <a:pt x="161969" y="214631"/>
                        </a:lnTo>
                        <a:lnTo>
                          <a:pt x="161831" y="214769"/>
                        </a:lnTo>
                        <a:lnTo>
                          <a:pt x="161749" y="214988"/>
                        </a:lnTo>
                        <a:lnTo>
                          <a:pt x="161694" y="215263"/>
                        </a:lnTo>
                        <a:lnTo>
                          <a:pt x="161694" y="215537"/>
                        </a:lnTo>
                        <a:cubicBezTo>
                          <a:pt x="161694" y="215537"/>
                          <a:pt x="161694" y="215702"/>
                          <a:pt x="161694" y="215702"/>
                        </a:cubicBezTo>
                        <a:lnTo>
                          <a:pt x="161639" y="215976"/>
                        </a:lnTo>
                        <a:lnTo>
                          <a:pt x="161557" y="216223"/>
                        </a:lnTo>
                        <a:lnTo>
                          <a:pt x="161419" y="216415"/>
                        </a:lnTo>
                        <a:lnTo>
                          <a:pt x="161228" y="216635"/>
                        </a:lnTo>
                        <a:lnTo>
                          <a:pt x="160981" y="216800"/>
                        </a:lnTo>
                        <a:lnTo>
                          <a:pt x="160322" y="216663"/>
                        </a:lnTo>
                        <a:lnTo>
                          <a:pt x="160733" y="216882"/>
                        </a:lnTo>
                        <a:lnTo>
                          <a:pt x="161063" y="216882"/>
                        </a:lnTo>
                        <a:cubicBezTo>
                          <a:pt x="161063" y="216882"/>
                          <a:pt x="161282" y="216827"/>
                          <a:pt x="161282" y="216827"/>
                        </a:cubicBezTo>
                        <a:lnTo>
                          <a:pt x="162270" y="215812"/>
                        </a:lnTo>
                        <a:lnTo>
                          <a:pt x="162572" y="215812"/>
                        </a:lnTo>
                        <a:lnTo>
                          <a:pt x="162517" y="215565"/>
                        </a:lnTo>
                        <a:lnTo>
                          <a:pt x="162627" y="215071"/>
                        </a:lnTo>
                        <a:lnTo>
                          <a:pt x="162572" y="214549"/>
                        </a:lnTo>
                        <a:lnTo>
                          <a:pt x="162984" y="214385"/>
                        </a:lnTo>
                        <a:lnTo>
                          <a:pt x="163039" y="213918"/>
                        </a:lnTo>
                        <a:lnTo>
                          <a:pt x="163313" y="214055"/>
                        </a:lnTo>
                        <a:lnTo>
                          <a:pt x="163423" y="214138"/>
                        </a:lnTo>
                        <a:lnTo>
                          <a:pt x="173248" y="217925"/>
                        </a:lnTo>
                        <a:lnTo>
                          <a:pt x="179998" y="222782"/>
                        </a:lnTo>
                        <a:lnTo>
                          <a:pt x="190290" y="238205"/>
                        </a:lnTo>
                        <a:lnTo>
                          <a:pt x="192101" y="239989"/>
                        </a:lnTo>
                        <a:lnTo>
                          <a:pt x="190564" y="243941"/>
                        </a:lnTo>
                        <a:lnTo>
                          <a:pt x="191140" y="248249"/>
                        </a:lnTo>
                        <a:lnTo>
                          <a:pt x="196547" y="258101"/>
                        </a:lnTo>
                        <a:lnTo>
                          <a:pt x="199017" y="262520"/>
                        </a:lnTo>
                        <a:lnTo>
                          <a:pt x="193610" y="263782"/>
                        </a:lnTo>
                        <a:lnTo>
                          <a:pt x="189192" y="259419"/>
                        </a:lnTo>
                        <a:lnTo>
                          <a:pt x="184197" y="260077"/>
                        </a:lnTo>
                        <a:lnTo>
                          <a:pt x="175992" y="261779"/>
                        </a:lnTo>
                        <a:lnTo>
                          <a:pt x="187490" y="260818"/>
                        </a:lnTo>
                        <a:lnTo>
                          <a:pt x="197068" y="269737"/>
                        </a:lnTo>
                        <a:lnTo>
                          <a:pt x="201569" y="272838"/>
                        </a:lnTo>
                        <a:lnTo>
                          <a:pt x="204258" y="279150"/>
                        </a:lnTo>
                        <a:lnTo>
                          <a:pt x="206207" y="283788"/>
                        </a:lnTo>
                        <a:lnTo>
                          <a:pt x="206152" y="290237"/>
                        </a:lnTo>
                        <a:lnTo>
                          <a:pt x="204258" y="292624"/>
                        </a:lnTo>
                        <a:lnTo>
                          <a:pt x="199017" y="299074"/>
                        </a:lnTo>
                        <a:lnTo>
                          <a:pt x="204258" y="304699"/>
                        </a:lnTo>
                        <a:lnTo>
                          <a:pt x="208320" y="303849"/>
                        </a:lnTo>
                        <a:lnTo>
                          <a:pt x="213753" y="297153"/>
                        </a:lnTo>
                        <a:lnTo>
                          <a:pt x="227804" y="297674"/>
                        </a:lnTo>
                        <a:lnTo>
                          <a:pt x="237437" y="300802"/>
                        </a:lnTo>
                        <a:lnTo>
                          <a:pt x="245834" y="308075"/>
                        </a:lnTo>
                        <a:lnTo>
                          <a:pt x="247755" y="318311"/>
                        </a:lnTo>
                        <a:lnTo>
                          <a:pt x="242184" y="339607"/>
                        </a:lnTo>
                        <a:lnTo>
                          <a:pt x="235845" y="345562"/>
                        </a:lnTo>
                        <a:lnTo>
                          <a:pt x="229066" y="346605"/>
                        </a:lnTo>
                        <a:lnTo>
                          <a:pt x="232744" y="347401"/>
                        </a:lnTo>
                        <a:lnTo>
                          <a:pt x="233348" y="349925"/>
                        </a:lnTo>
                        <a:lnTo>
                          <a:pt x="229176" y="354097"/>
                        </a:lnTo>
                        <a:lnTo>
                          <a:pt x="223221" y="354261"/>
                        </a:lnTo>
                        <a:lnTo>
                          <a:pt x="221382" y="354261"/>
                        </a:lnTo>
                        <a:cubicBezTo>
                          <a:pt x="221382" y="354261"/>
                          <a:pt x="223523" y="357417"/>
                          <a:pt x="223523" y="357417"/>
                        </a:cubicBezTo>
                        <a:lnTo>
                          <a:pt x="223139" y="360217"/>
                        </a:lnTo>
                        <a:lnTo>
                          <a:pt x="213918" y="361451"/>
                        </a:lnTo>
                        <a:lnTo>
                          <a:pt x="220422" y="362878"/>
                        </a:lnTo>
                        <a:lnTo>
                          <a:pt x="220696" y="365733"/>
                        </a:lnTo>
                        <a:lnTo>
                          <a:pt x="220367" y="365733"/>
                        </a:lnTo>
                        <a:lnTo>
                          <a:pt x="214961" y="366144"/>
                        </a:lnTo>
                        <a:lnTo>
                          <a:pt x="211640" y="366144"/>
                        </a:lnTo>
                        <a:cubicBezTo>
                          <a:pt x="211640" y="366144"/>
                          <a:pt x="207826" y="368861"/>
                          <a:pt x="207826" y="368861"/>
                        </a:cubicBez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2" name="Freeform: Shape 3501">
                    <a:extLst>
                      <a:ext uri="{FF2B5EF4-FFF2-40B4-BE49-F238E27FC236}">
                        <a16:creationId xmlns:a16="http://schemas.microsoft.com/office/drawing/2014/main" id="{BAE1A97E-D0E9-D4EB-DE91-A128A47816AE}"/>
                      </a:ext>
                    </a:extLst>
                  </p:cNvPr>
                  <p:cNvSpPr/>
                  <p:nvPr/>
                </p:nvSpPr>
                <p:spPr>
                  <a:xfrm>
                    <a:off x="-6525945" y="2919932"/>
                    <a:ext cx="78267" cy="61170"/>
                  </a:xfrm>
                  <a:custGeom>
                    <a:avLst/>
                    <a:gdLst>
                      <a:gd name="connsiteX0" fmla="*/ 63366 w 78267"/>
                      <a:gd name="connsiteY0" fmla="*/ 9523 h 61170"/>
                      <a:gd name="connsiteX1" fmla="*/ 63750 w 78267"/>
                      <a:gd name="connsiteY1" fmla="*/ 13227 h 61170"/>
                      <a:gd name="connsiteX2" fmla="*/ 71297 w 78267"/>
                      <a:gd name="connsiteY2" fmla="*/ 22887 h 61170"/>
                      <a:gd name="connsiteX3" fmla="*/ 66577 w 78267"/>
                      <a:gd name="connsiteY3" fmla="*/ 28321 h 61170"/>
                      <a:gd name="connsiteX4" fmla="*/ 65259 w 78267"/>
                      <a:gd name="connsiteY4" fmla="*/ 30407 h 61170"/>
                      <a:gd name="connsiteX5" fmla="*/ 66961 w 78267"/>
                      <a:gd name="connsiteY5" fmla="*/ 31120 h 61170"/>
                      <a:gd name="connsiteX6" fmla="*/ 76099 w 78267"/>
                      <a:gd name="connsiteY6" fmla="*/ 31285 h 61170"/>
                      <a:gd name="connsiteX7" fmla="*/ 78267 w 78267"/>
                      <a:gd name="connsiteY7" fmla="*/ 37871 h 61170"/>
                      <a:gd name="connsiteX8" fmla="*/ 77773 w 78267"/>
                      <a:gd name="connsiteY8" fmla="*/ 42701 h 61170"/>
                      <a:gd name="connsiteX9" fmla="*/ 76291 w 78267"/>
                      <a:gd name="connsiteY9" fmla="*/ 43250 h 61170"/>
                      <a:gd name="connsiteX10" fmla="*/ 74014 w 78267"/>
                      <a:gd name="connsiteY10" fmla="*/ 36966 h 61170"/>
                      <a:gd name="connsiteX11" fmla="*/ 73108 w 78267"/>
                      <a:gd name="connsiteY11" fmla="*/ 40012 h 61170"/>
                      <a:gd name="connsiteX12" fmla="*/ 75633 w 78267"/>
                      <a:gd name="connsiteY12" fmla="*/ 45967 h 61170"/>
                      <a:gd name="connsiteX13" fmla="*/ 74069 w 78267"/>
                      <a:gd name="connsiteY13" fmla="*/ 50221 h 61170"/>
                      <a:gd name="connsiteX14" fmla="*/ 67318 w 78267"/>
                      <a:gd name="connsiteY14" fmla="*/ 51648 h 61170"/>
                      <a:gd name="connsiteX15" fmla="*/ 64875 w 78267"/>
                      <a:gd name="connsiteY15" fmla="*/ 58371 h 61170"/>
                      <a:gd name="connsiteX16" fmla="*/ 61527 w 78267"/>
                      <a:gd name="connsiteY16" fmla="*/ 61171 h 61170"/>
                      <a:gd name="connsiteX17" fmla="*/ 54831 w 78267"/>
                      <a:gd name="connsiteY17" fmla="*/ 58014 h 61170"/>
                      <a:gd name="connsiteX18" fmla="*/ 45199 w 78267"/>
                      <a:gd name="connsiteY18" fmla="*/ 60923 h 61170"/>
                      <a:gd name="connsiteX19" fmla="*/ 43442 w 78267"/>
                      <a:gd name="connsiteY19" fmla="*/ 58591 h 61170"/>
                      <a:gd name="connsiteX20" fmla="*/ 43771 w 78267"/>
                      <a:gd name="connsiteY20" fmla="*/ 54145 h 61170"/>
                      <a:gd name="connsiteX21" fmla="*/ 39490 w 78267"/>
                      <a:gd name="connsiteY21" fmla="*/ 52471 h 61170"/>
                      <a:gd name="connsiteX22" fmla="*/ 37295 w 78267"/>
                      <a:gd name="connsiteY22" fmla="*/ 46571 h 61170"/>
                      <a:gd name="connsiteX23" fmla="*/ 32630 w 78267"/>
                      <a:gd name="connsiteY23" fmla="*/ 42729 h 61170"/>
                      <a:gd name="connsiteX24" fmla="*/ 27772 w 78267"/>
                      <a:gd name="connsiteY24" fmla="*/ 46186 h 61170"/>
                      <a:gd name="connsiteX25" fmla="*/ 28486 w 78267"/>
                      <a:gd name="connsiteY25" fmla="*/ 51264 h 61170"/>
                      <a:gd name="connsiteX26" fmla="*/ 24452 w 78267"/>
                      <a:gd name="connsiteY26" fmla="*/ 56532 h 61170"/>
                      <a:gd name="connsiteX27" fmla="*/ 15286 w 78267"/>
                      <a:gd name="connsiteY27" fmla="*/ 55819 h 61170"/>
                      <a:gd name="connsiteX28" fmla="*/ 8397 w 78267"/>
                      <a:gd name="connsiteY28" fmla="*/ 51730 h 61170"/>
                      <a:gd name="connsiteX29" fmla="*/ 851 w 78267"/>
                      <a:gd name="connsiteY29" fmla="*/ 42564 h 61170"/>
                      <a:gd name="connsiteX30" fmla="*/ 0 w 78267"/>
                      <a:gd name="connsiteY30" fmla="*/ 40808 h 61170"/>
                      <a:gd name="connsiteX31" fmla="*/ 3842 w 78267"/>
                      <a:gd name="connsiteY31" fmla="*/ 36362 h 61170"/>
                      <a:gd name="connsiteX32" fmla="*/ 12624 w 78267"/>
                      <a:gd name="connsiteY32" fmla="*/ 32492 h 61170"/>
                      <a:gd name="connsiteX33" fmla="*/ 9221 w 78267"/>
                      <a:gd name="connsiteY33" fmla="*/ 27800 h 61170"/>
                      <a:gd name="connsiteX34" fmla="*/ 15286 w 78267"/>
                      <a:gd name="connsiteY34" fmla="*/ 25028 h 61170"/>
                      <a:gd name="connsiteX35" fmla="*/ 25769 w 78267"/>
                      <a:gd name="connsiteY35" fmla="*/ 9056 h 61170"/>
                      <a:gd name="connsiteX36" fmla="*/ 28898 w 78267"/>
                      <a:gd name="connsiteY36" fmla="*/ 10264 h 61170"/>
                      <a:gd name="connsiteX37" fmla="*/ 31806 w 78267"/>
                      <a:gd name="connsiteY37" fmla="*/ 9660 h 61170"/>
                      <a:gd name="connsiteX38" fmla="*/ 33563 w 78267"/>
                      <a:gd name="connsiteY38" fmla="*/ 6614 h 61170"/>
                      <a:gd name="connsiteX39" fmla="*/ 35182 w 78267"/>
                      <a:gd name="connsiteY39" fmla="*/ 3183 h 61170"/>
                      <a:gd name="connsiteX40" fmla="*/ 48656 w 78267"/>
                      <a:gd name="connsiteY40" fmla="*/ 0 h 61170"/>
                      <a:gd name="connsiteX41" fmla="*/ 56615 w 78267"/>
                      <a:gd name="connsiteY41" fmla="*/ 1729 h 61170"/>
                      <a:gd name="connsiteX42" fmla="*/ 59880 w 78267"/>
                      <a:gd name="connsiteY42" fmla="*/ 2086 h 61170"/>
                      <a:gd name="connsiteX43" fmla="*/ 61664 w 78267"/>
                      <a:gd name="connsiteY43" fmla="*/ 6641 h 61170"/>
                      <a:gd name="connsiteX44" fmla="*/ 63421 w 78267"/>
                      <a:gd name="connsiteY44" fmla="*/ 9633 h 6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8267" h="61170">
                        <a:moveTo>
                          <a:pt x="63366" y="9523"/>
                        </a:moveTo>
                        <a:lnTo>
                          <a:pt x="63750" y="13227"/>
                        </a:lnTo>
                        <a:lnTo>
                          <a:pt x="71297" y="22887"/>
                        </a:lnTo>
                        <a:lnTo>
                          <a:pt x="66577" y="28321"/>
                        </a:lnTo>
                        <a:lnTo>
                          <a:pt x="65259" y="30407"/>
                        </a:lnTo>
                        <a:lnTo>
                          <a:pt x="66961" y="31120"/>
                        </a:lnTo>
                        <a:lnTo>
                          <a:pt x="76099" y="31285"/>
                        </a:lnTo>
                        <a:lnTo>
                          <a:pt x="78267" y="37871"/>
                        </a:lnTo>
                        <a:lnTo>
                          <a:pt x="77773" y="42701"/>
                        </a:lnTo>
                        <a:lnTo>
                          <a:pt x="76291" y="43250"/>
                        </a:lnTo>
                        <a:lnTo>
                          <a:pt x="74014" y="36966"/>
                        </a:lnTo>
                        <a:lnTo>
                          <a:pt x="73108" y="40012"/>
                        </a:lnTo>
                        <a:lnTo>
                          <a:pt x="75633" y="45967"/>
                        </a:lnTo>
                        <a:lnTo>
                          <a:pt x="74069" y="50221"/>
                        </a:lnTo>
                        <a:lnTo>
                          <a:pt x="67318" y="51648"/>
                        </a:lnTo>
                        <a:lnTo>
                          <a:pt x="64875" y="58371"/>
                        </a:lnTo>
                        <a:lnTo>
                          <a:pt x="61527" y="61171"/>
                        </a:lnTo>
                        <a:lnTo>
                          <a:pt x="54831" y="58014"/>
                        </a:lnTo>
                        <a:lnTo>
                          <a:pt x="45199" y="60923"/>
                        </a:lnTo>
                        <a:lnTo>
                          <a:pt x="43442" y="58591"/>
                        </a:lnTo>
                        <a:lnTo>
                          <a:pt x="43771" y="54145"/>
                        </a:lnTo>
                        <a:lnTo>
                          <a:pt x="39490" y="52471"/>
                        </a:lnTo>
                        <a:lnTo>
                          <a:pt x="37295" y="46571"/>
                        </a:lnTo>
                        <a:lnTo>
                          <a:pt x="32630" y="42729"/>
                        </a:lnTo>
                        <a:lnTo>
                          <a:pt x="27772" y="46186"/>
                        </a:lnTo>
                        <a:lnTo>
                          <a:pt x="28486" y="51264"/>
                        </a:lnTo>
                        <a:lnTo>
                          <a:pt x="24452" y="56532"/>
                        </a:lnTo>
                        <a:lnTo>
                          <a:pt x="15286" y="55819"/>
                        </a:lnTo>
                        <a:lnTo>
                          <a:pt x="8397" y="51730"/>
                        </a:lnTo>
                        <a:lnTo>
                          <a:pt x="851" y="42564"/>
                        </a:lnTo>
                        <a:lnTo>
                          <a:pt x="0" y="40808"/>
                        </a:lnTo>
                        <a:lnTo>
                          <a:pt x="3842" y="36362"/>
                        </a:lnTo>
                        <a:lnTo>
                          <a:pt x="12624" y="32492"/>
                        </a:lnTo>
                        <a:lnTo>
                          <a:pt x="9221" y="27800"/>
                        </a:lnTo>
                        <a:lnTo>
                          <a:pt x="15286" y="25028"/>
                        </a:lnTo>
                        <a:lnTo>
                          <a:pt x="25769" y="9056"/>
                        </a:lnTo>
                        <a:lnTo>
                          <a:pt x="28898" y="10264"/>
                        </a:lnTo>
                        <a:lnTo>
                          <a:pt x="31806" y="9660"/>
                        </a:lnTo>
                        <a:lnTo>
                          <a:pt x="33563" y="6614"/>
                        </a:lnTo>
                        <a:lnTo>
                          <a:pt x="35182" y="3183"/>
                        </a:lnTo>
                        <a:lnTo>
                          <a:pt x="48656" y="0"/>
                        </a:lnTo>
                        <a:lnTo>
                          <a:pt x="56615" y="1729"/>
                        </a:lnTo>
                        <a:lnTo>
                          <a:pt x="59880" y="2086"/>
                        </a:lnTo>
                        <a:lnTo>
                          <a:pt x="61664" y="6641"/>
                        </a:lnTo>
                        <a:lnTo>
                          <a:pt x="63421" y="963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3" name="Freeform: Shape 3502">
                    <a:extLst>
                      <a:ext uri="{FF2B5EF4-FFF2-40B4-BE49-F238E27FC236}">
                        <a16:creationId xmlns:a16="http://schemas.microsoft.com/office/drawing/2014/main" id="{D7A32450-36F2-A46B-5C6D-840BBB6E147F}"/>
                      </a:ext>
                    </a:extLst>
                  </p:cNvPr>
                  <p:cNvSpPr/>
                  <p:nvPr/>
                </p:nvSpPr>
                <p:spPr>
                  <a:xfrm>
                    <a:off x="-6335600" y="2609882"/>
                    <a:ext cx="25110" cy="53129"/>
                  </a:xfrm>
                  <a:custGeom>
                    <a:avLst/>
                    <a:gdLst>
                      <a:gd name="connsiteX0" fmla="*/ 19951 w 25110"/>
                      <a:gd name="connsiteY0" fmla="*/ 14078 h 53129"/>
                      <a:gd name="connsiteX1" fmla="*/ 15725 w 25110"/>
                      <a:gd name="connsiteY1" fmla="*/ 23354 h 53129"/>
                      <a:gd name="connsiteX2" fmla="*/ 17893 w 25110"/>
                      <a:gd name="connsiteY2" fmla="*/ 28568 h 53129"/>
                      <a:gd name="connsiteX3" fmla="*/ 15725 w 25110"/>
                      <a:gd name="connsiteY3" fmla="*/ 29858 h 53129"/>
                      <a:gd name="connsiteX4" fmla="*/ 10648 w 25110"/>
                      <a:gd name="connsiteY4" fmla="*/ 53130 h 53129"/>
                      <a:gd name="connsiteX5" fmla="*/ 8754 w 25110"/>
                      <a:gd name="connsiteY5" fmla="*/ 49370 h 53129"/>
                      <a:gd name="connsiteX6" fmla="*/ 10181 w 25110"/>
                      <a:gd name="connsiteY6" fmla="*/ 38201 h 53129"/>
                      <a:gd name="connsiteX7" fmla="*/ 4446 w 25110"/>
                      <a:gd name="connsiteY7" fmla="*/ 37707 h 53129"/>
                      <a:gd name="connsiteX8" fmla="*/ 0 w 25110"/>
                      <a:gd name="connsiteY8" fmla="*/ 32712 h 53129"/>
                      <a:gd name="connsiteX9" fmla="*/ 5379 w 25110"/>
                      <a:gd name="connsiteY9" fmla="*/ 25494 h 53129"/>
                      <a:gd name="connsiteX10" fmla="*/ 3568 w 25110"/>
                      <a:gd name="connsiteY10" fmla="*/ 17948 h 53129"/>
                      <a:gd name="connsiteX11" fmla="*/ 6751 w 25110"/>
                      <a:gd name="connsiteY11" fmla="*/ 13474 h 53129"/>
                      <a:gd name="connsiteX12" fmla="*/ 9083 w 25110"/>
                      <a:gd name="connsiteY12" fmla="*/ 13721 h 53129"/>
                      <a:gd name="connsiteX13" fmla="*/ 10675 w 25110"/>
                      <a:gd name="connsiteY13" fmla="*/ 20857 h 53129"/>
                      <a:gd name="connsiteX14" fmla="*/ 13749 w 25110"/>
                      <a:gd name="connsiteY14" fmla="*/ 19594 h 53129"/>
                      <a:gd name="connsiteX15" fmla="*/ 15752 w 25110"/>
                      <a:gd name="connsiteY15" fmla="*/ 6723 h 53129"/>
                      <a:gd name="connsiteX16" fmla="*/ 23518 w 25110"/>
                      <a:gd name="connsiteY16" fmla="*/ 0 h 53129"/>
                      <a:gd name="connsiteX17" fmla="*/ 25110 w 25110"/>
                      <a:gd name="connsiteY17" fmla="*/ 2195 h 53129"/>
                      <a:gd name="connsiteX18" fmla="*/ 23820 w 25110"/>
                      <a:gd name="connsiteY18" fmla="*/ 11279 h 53129"/>
                      <a:gd name="connsiteX19" fmla="*/ 19979 w 25110"/>
                      <a:gd name="connsiteY19" fmla="*/ 14051 h 53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10" h="53129">
                        <a:moveTo>
                          <a:pt x="19951" y="14078"/>
                        </a:moveTo>
                        <a:lnTo>
                          <a:pt x="15725" y="23354"/>
                        </a:lnTo>
                        <a:lnTo>
                          <a:pt x="17893" y="28568"/>
                        </a:lnTo>
                        <a:lnTo>
                          <a:pt x="15725" y="29858"/>
                        </a:lnTo>
                        <a:lnTo>
                          <a:pt x="10648" y="53130"/>
                        </a:lnTo>
                        <a:lnTo>
                          <a:pt x="8754" y="49370"/>
                        </a:lnTo>
                        <a:lnTo>
                          <a:pt x="10181" y="38201"/>
                        </a:lnTo>
                        <a:lnTo>
                          <a:pt x="4446" y="37707"/>
                        </a:lnTo>
                        <a:lnTo>
                          <a:pt x="0" y="32712"/>
                        </a:lnTo>
                        <a:lnTo>
                          <a:pt x="5379" y="25494"/>
                        </a:lnTo>
                        <a:lnTo>
                          <a:pt x="3568" y="17948"/>
                        </a:lnTo>
                        <a:lnTo>
                          <a:pt x="6751" y="13474"/>
                        </a:lnTo>
                        <a:lnTo>
                          <a:pt x="9083" y="13721"/>
                        </a:lnTo>
                        <a:lnTo>
                          <a:pt x="10675" y="20857"/>
                        </a:lnTo>
                        <a:lnTo>
                          <a:pt x="13749" y="19594"/>
                        </a:lnTo>
                        <a:lnTo>
                          <a:pt x="15752" y="6723"/>
                        </a:lnTo>
                        <a:lnTo>
                          <a:pt x="23518" y="0"/>
                        </a:lnTo>
                        <a:lnTo>
                          <a:pt x="25110" y="2195"/>
                        </a:lnTo>
                        <a:lnTo>
                          <a:pt x="23820" y="11279"/>
                        </a:lnTo>
                        <a:lnTo>
                          <a:pt x="19979" y="1405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4" name="Freeform: Shape 3503">
                    <a:extLst>
                      <a:ext uri="{FF2B5EF4-FFF2-40B4-BE49-F238E27FC236}">
                        <a16:creationId xmlns:a16="http://schemas.microsoft.com/office/drawing/2014/main" id="{D4406BD9-0871-88A1-6286-F08761154CB0}"/>
                      </a:ext>
                    </a:extLst>
                  </p:cNvPr>
                  <p:cNvSpPr/>
                  <p:nvPr/>
                </p:nvSpPr>
                <p:spPr>
                  <a:xfrm>
                    <a:off x="-6496197" y="2743639"/>
                    <a:ext cx="27415" cy="43332"/>
                  </a:xfrm>
                  <a:custGeom>
                    <a:avLst/>
                    <a:gdLst>
                      <a:gd name="connsiteX0" fmla="*/ 20088 w 27415"/>
                      <a:gd name="connsiteY0" fmla="*/ 30489 h 43332"/>
                      <a:gd name="connsiteX1" fmla="*/ 4281 w 27415"/>
                      <a:gd name="connsiteY1" fmla="*/ 43332 h 43332"/>
                      <a:gd name="connsiteX2" fmla="*/ 1784 w 27415"/>
                      <a:gd name="connsiteY2" fmla="*/ 40286 h 43332"/>
                      <a:gd name="connsiteX3" fmla="*/ 5516 w 27415"/>
                      <a:gd name="connsiteY3" fmla="*/ 33563 h 43332"/>
                      <a:gd name="connsiteX4" fmla="*/ 1866 w 27415"/>
                      <a:gd name="connsiteY4" fmla="*/ 30407 h 43332"/>
                      <a:gd name="connsiteX5" fmla="*/ 0 w 27415"/>
                      <a:gd name="connsiteY5" fmla="*/ 23601 h 43332"/>
                      <a:gd name="connsiteX6" fmla="*/ 1674 w 27415"/>
                      <a:gd name="connsiteY6" fmla="*/ 17454 h 43332"/>
                      <a:gd name="connsiteX7" fmla="*/ 22668 w 27415"/>
                      <a:gd name="connsiteY7" fmla="*/ 2936 h 43332"/>
                      <a:gd name="connsiteX8" fmla="*/ 25247 w 27415"/>
                      <a:gd name="connsiteY8" fmla="*/ 0 h 43332"/>
                      <a:gd name="connsiteX9" fmla="*/ 27416 w 27415"/>
                      <a:gd name="connsiteY9" fmla="*/ 2936 h 43332"/>
                      <a:gd name="connsiteX10" fmla="*/ 26922 w 27415"/>
                      <a:gd name="connsiteY10" fmla="*/ 9687 h 43332"/>
                      <a:gd name="connsiteX11" fmla="*/ 22531 w 27415"/>
                      <a:gd name="connsiteY11" fmla="*/ 17426 h 43332"/>
                      <a:gd name="connsiteX12" fmla="*/ 20116 w 27415"/>
                      <a:gd name="connsiteY12" fmla="*/ 30544 h 43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415" h="43332">
                        <a:moveTo>
                          <a:pt x="20088" y="30489"/>
                        </a:moveTo>
                        <a:lnTo>
                          <a:pt x="4281" y="43332"/>
                        </a:lnTo>
                        <a:lnTo>
                          <a:pt x="1784" y="40286"/>
                        </a:lnTo>
                        <a:lnTo>
                          <a:pt x="5516" y="33563"/>
                        </a:lnTo>
                        <a:lnTo>
                          <a:pt x="1866" y="30407"/>
                        </a:lnTo>
                        <a:lnTo>
                          <a:pt x="0" y="23601"/>
                        </a:lnTo>
                        <a:lnTo>
                          <a:pt x="1674" y="17454"/>
                        </a:lnTo>
                        <a:lnTo>
                          <a:pt x="22668" y="2936"/>
                        </a:lnTo>
                        <a:lnTo>
                          <a:pt x="25247" y="0"/>
                        </a:lnTo>
                        <a:lnTo>
                          <a:pt x="27416" y="2936"/>
                        </a:lnTo>
                        <a:lnTo>
                          <a:pt x="26922" y="9687"/>
                        </a:lnTo>
                        <a:lnTo>
                          <a:pt x="22531" y="17426"/>
                        </a:lnTo>
                        <a:lnTo>
                          <a:pt x="20116" y="3054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5" name="Freeform: Shape 3504">
                    <a:extLst>
                      <a:ext uri="{FF2B5EF4-FFF2-40B4-BE49-F238E27FC236}">
                        <a16:creationId xmlns:a16="http://schemas.microsoft.com/office/drawing/2014/main" id="{AF0D8290-3250-DC6D-23E0-AE170189185C}"/>
                      </a:ext>
                    </a:extLst>
                  </p:cNvPr>
                  <p:cNvSpPr/>
                  <p:nvPr/>
                </p:nvSpPr>
                <p:spPr>
                  <a:xfrm>
                    <a:off x="-6478523" y="2872840"/>
                    <a:ext cx="24122" cy="28458"/>
                  </a:xfrm>
                  <a:custGeom>
                    <a:avLst/>
                    <a:gdLst>
                      <a:gd name="connsiteX0" fmla="*/ 24122 w 24122"/>
                      <a:gd name="connsiteY0" fmla="*/ 2196 h 28458"/>
                      <a:gd name="connsiteX1" fmla="*/ 16658 w 24122"/>
                      <a:gd name="connsiteY1" fmla="*/ 17262 h 28458"/>
                      <a:gd name="connsiteX2" fmla="*/ 13117 w 24122"/>
                      <a:gd name="connsiteY2" fmla="*/ 19155 h 28458"/>
                      <a:gd name="connsiteX3" fmla="*/ 13913 w 24122"/>
                      <a:gd name="connsiteY3" fmla="*/ 25193 h 28458"/>
                      <a:gd name="connsiteX4" fmla="*/ 5845 w 24122"/>
                      <a:gd name="connsiteY4" fmla="*/ 28458 h 28458"/>
                      <a:gd name="connsiteX5" fmla="*/ 7684 w 24122"/>
                      <a:gd name="connsiteY5" fmla="*/ 19155 h 28458"/>
                      <a:gd name="connsiteX6" fmla="*/ 4994 w 24122"/>
                      <a:gd name="connsiteY6" fmla="*/ 19155 h 28458"/>
                      <a:gd name="connsiteX7" fmla="*/ 2909 w 24122"/>
                      <a:gd name="connsiteY7" fmla="*/ 23135 h 28458"/>
                      <a:gd name="connsiteX8" fmla="*/ 0 w 24122"/>
                      <a:gd name="connsiteY8" fmla="*/ 23574 h 28458"/>
                      <a:gd name="connsiteX9" fmla="*/ 3211 w 24122"/>
                      <a:gd name="connsiteY9" fmla="*/ 14463 h 28458"/>
                      <a:gd name="connsiteX10" fmla="*/ 9166 w 24122"/>
                      <a:gd name="connsiteY10" fmla="*/ 11938 h 28458"/>
                      <a:gd name="connsiteX11" fmla="*/ 12431 w 24122"/>
                      <a:gd name="connsiteY11" fmla="*/ 12651 h 28458"/>
                      <a:gd name="connsiteX12" fmla="*/ 20774 w 24122"/>
                      <a:gd name="connsiteY12" fmla="*/ 2196 h 28458"/>
                      <a:gd name="connsiteX13" fmla="*/ 23546 w 24122"/>
                      <a:gd name="connsiteY13" fmla="*/ 0 h 28458"/>
                      <a:gd name="connsiteX14" fmla="*/ 24122 w 24122"/>
                      <a:gd name="connsiteY14" fmla="*/ 2196 h 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122" h="28458">
                        <a:moveTo>
                          <a:pt x="24122" y="2196"/>
                        </a:moveTo>
                        <a:lnTo>
                          <a:pt x="16658" y="17262"/>
                        </a:lnTo>
                        <a:lnTo>
                          <a:pt x="13117" y="19155"/>
                        </a:lnTo>
                        <a:lnTo>
                          <a:pt x="13913" y="25193"/>
                        </a:lnTo>
                        <a:lnTo>
                          <a:pt x="5845" y="28458"/>
                        </a:lnTo>
                        <a:lnTo>
                          <a:pt x="7684" y="19155"/>
                        </a:lnTo>
                        <a:lnTo>
                          <a:pt x="4994" y="19155"/>
                        </a:lnTo>
                        <a:lnTo>
                          <a:pt x="2909" y="23135"/>
                        </a:lnTo>
                        <a:lnTo>
                          <a:pt x="0" y="23574"/>
                        </a:lnTo>
                        <a:lnTo>
                          <a:pt x="3211" y="14463"/>
                        </a:lnTo>
                        <a:lnTo>
                          <a:pt x="9166" y="11938"/>
                        </a:lnTo>
                        <a:lnTo>
                          <a:pt x="12431" y="12651"/>
                        </a:lnTo>
                        <a:lnTo>
                          <a:pt x="20774" y="2196"/>
                        </a:lnTo>
                        <a:lnTo>
                          <a:pt x="23546" y="0"/>
                        </a:lnTo>
                        <a:lnTo>
                          <a:pt x="24122" y="219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6" name="Freeform: Shape 3505">
                    <a:extLst>
                      <a:ext uri="{FF2B5EF4-FFF2-40B4-BE49-F238E27FC236}">
                        <a16:creationId xmlns:a16="http://schemas.microsoft.com/office/drawing/2014/main" id="{01273A02-5B4D-DD8A-25FF-4D54FDDDED2D}"/>
                      </a:ext>
                    </a:extLst>
                  </p:cNvPr>
                  <p:cNvSpPr/>
                  <p:nvPr/>
                </p:nvSpPr>
                <p:spPr>
                  <a:xfrm>
                    <a:off x="-6508271" y="2787492"/>
                    <a:ext cx="13639" cy="34166"/>
                  </a:xfrm>
                  <a:custGeom>
                    <a:avLst/>
                    <a:gdLst>
                      <a:gd name="connsiteX0" fmla="*/ 8837 w 13639"/>
                      <a:gd name="connsiteY0" fmla="*/ 34139 h 34166"/>
                      <a:gd name="connsiteX1" fmla="*/ 4885 w 13639"/>
                      <a:gd name="connsiteY1" fmla="*/ 34139 h 34166"/>
                      <a:gd name="connsiteX2" fmla="*/ 3101 w 13639"/>
                      <a:gd name="connsiteY2" fmla="*/ 27937 h 34166"/>
                      <a:gd name="connsiteX3" fmla="*/ 4857 w 13639"/>
                      <a:gd name="connsiteY3" fmla="*/ 11279 h 34166"/>
                      <a:gd name="connsiteX4" fmla="*/ 0 w 13639"/>
                      <a:gd name="connsiteY4" fmla="*/ 7245 h 34166"/>
                      <a:gd name="connsiteX5" fmla="*/ 2251 w 13639"/>
                      <a:gd name="connsiteY5" fmla="*/ 3760 h 34166"/>
                      <a:gd name="connsiteX6" fmla="*/ 7767 w 13639"/>
                      <a:gd name="connsiteY6" fmla="*/ 3238 h 34166"/>
                      <a:gd name="connsiteX7" fmla="*/ 10209 w 13639"/>
                      <a:gd name="connsiteY7" fmla="*/ 0 h 34166"/>
                      <a:gd name="connsiteX8" fmla="*/ 13639 w 13639"/>
                      <a:gd name="connsiteY8" fmla="*/ 2250 h 34166"/>
                      <a:gd name="connsiteX9" fmla="*/ 12349 w 13639"/>
                      <a:gd name="connsiteY9" fmla="*/ 7245 h 34166"/>
                      <a:gd name="connsiteX10" fmla="*/ 11032 w 13639"/>
                      <a:gd name="connsiteY10" fmla="*/ 7245 h 34166"/>
                      <a:gd name="connsiteX11" fmla="*/ 11526 w 13639"/>
                      <a:gd name="connsiteY11" fmla="*/ 11060 h 34166"/>
                      <a:gd name="connsiteX12" fmla="*/ 9578 w 13639"/>
                      <a:gd name="connsiteY12" fmla="*/ 16384 h 34166"/>
                      <a:gd name="connsiteX13" fmla="*/ 8837 w 13639"/>
                      <a:gd name="connsiteY13" fmla="*/ 34166 h 34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39" h="34166">
                        <a:moveTo>
                          <a:pt x="8837" y="34139"/>
                        </a:moveTo>
                        <a:lnTo>
                          <a:pt x="4885" y="34139"/>
                        </a:lnTo>
                        <a:lnTo>
                          <a:pt x="3101" y="27937"/>
                        </a:lnTo>
                        <a:lnTo>
                          <a:pt x="4857" y="11279"/>
                        </a:lnTo>
                        <a:lnTo>
                          <a:pt x="0" y="7245"/>
                        </a:lnTo>
                        <a:lnTo>
                          <a:pt x="2251" y="3760"/>
                        </a:lnTo>
                        <a:lnTo>
                          <a:pt x="7767" y="3238"/>
                        </a:lnTo>
                        <a:lnTo>
                          <a:pt x="10209" y="0"/>
                        </a:lnTo>
                        <a:lnTo>
                          <a:pt x="13639" y="2250"/>
                        </a:lnTo>
                        <a:lnTo>
                          <a:pt x="12349" y="7245"/>
                        </a:lnTo>
                        <a:lnTo>
                          <a:pt x="11032" y="7245"/>
                        </a:lnTo>
                        <a:lnTo>
                          <a:pt x="11526" y="11060"/>
                        </a:lnTo>
                        <a:lnTo>
                          <a:pt x="9578" y="16384"/>
                        </a:lnTo>
                        <a:lnTo>
                          <a:pt x="8837" y="3416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7" name="Freeform: Shape 3506">
                    <a:extLst>
                      <a:ext uri="{FF2B5EF4-FFF2-40B4-BE49-F238E27FC236}">
                        <a16:creationId xmlns:a16="http://schemas.microsoft.com/office/drawing/2014/main" id="{DDFC2FFF-C796-61A5-A293-617A2C3A0048}"/>
                      </a:ext>
                    </a:extLst>
                  </p:cNvPr>
                  <p:cNvSpPr/>
                  <p:nvPr/>
                </p:nvSpPr>
                <p:spPr>
                  <a:xfrm>
                    <a:off x="-6387083" y="2705054"/>
                    <a:ext cx="19072" cy="23710"/>
                  </a:xfrm>
                  <a:custGeom>
                    <a:avLst/>
                    <a:gdLst>
                      <a:gd name="connsiteX0" fmla="*/ 11636 w 19072"/>
                      <a:gd name="connsiteY0" fmla="*/ 10620 h 23710"/>
                      <a:gd name="connsiteX1" fmla="*/ 15341 w 19072"/>
                      <a:gd name="connsiteY1" fmla="*/ 12020 h 23710"/>
                      <a:gd name="connsiteX2" fmla="*/ 15286 w 19072"/>
                      <a:gd name="connsiteY2" fmla="*/ 7849 h 23710"/>
                      <a:gd name="connsiteX3" fmla="*/ 17207 w 19072"/>
                      <a:gd name="connsiteY3" fmla="*/ 5983 h 23710"/>
                      <a:gd name="connsiteX4" fmla="*/ 18936 w 19072"/>
                      <a:gd name="connsiteY4" fmla="*/ 10264 h 23710"/>
                      <a:gd name="connsiteX5" fmla="*/ 17810 w 19072"/>
                      <a:gd name="connsiteY5" fmla="*/ 12734 h 23710"/>
                      <a:gd name="connsiteX6" fmla="*/ 19073 w 19072"/>
                      <a:gd name="connsiteY6" fmla="*/ 15752 h 23710"/>
                      <a:gd name="connsiteX7" fmla="*/ 15478 w 19072"/>
                      <a:gd name="connsiteY7" fmla="*/ 18058 h 23710"/>
                      <a:gd name="connsiteX8" fmla="*/ 12130 w 19072"/>
                      <a:gd name="connsiteY8" fmla="*/ 13996 h 23710"/>
                      <a:gd name="connsiteX9" fmla="*/ 4501 w 19072"/>
                      <a:gd name="connsiteY9" fmla="*/ 13776 h 23710"/>
                      <a:gd name="connsiteX10" fmla="*/ 3430 w 19072"/>
                      <a:gd name="connsiteY10" fmla="*/ 15972 h 23710"/>
                      <a:gd name="connsiteX11" fmla="*/ 5516 w 19072"/>
                      <a:gd name="connsiteY11" fmla="*/ 19100 h 23710"/>
                      <a:gd name="connsiteX12" fmla="*/ 5049 w 19072"/>
                      <a:gd name="connsiteY12" fmla="*/ 23711 h 23710"/>
                      <a:gd name="connsiteX13" fmla="*/ 2497 w 19072"/>
                      <a:gd name="connsiteY13" fmla="*/ 22531 h 23710"/>
                      <a:gd name="connsiteX14" fmla="*/ 0 w 19072"/>
                      <a:gd name="connsiteY14" fmla="*/ 17673 h 23710"/>
                      <a:gd name="connsiteX15" fmla="*/ 1948 w 19072"/>
                      <a:gd name="connsiteY15" fmla="*/ 4775 h 23710"/>
                      <a:gd name="connsiteX16" fmla="*/ 4418 w 19072"/>
                      <a:gd name="connsiteY16" fmla="*/ 2552 h 23710"/>
                      <a:gd name="connsiteX17" fmla="*/ 9276 w 19072"/>
                      <a:gd name="connsiteY17" fmla="*/ 2552 h 23710"/>
                      <a:gd name="connsiteX18" fmla="*/ 9824 w 19072"/>
                      <a:gd name="connsiteY18" fmla="*/ 0 h 23710"/>
                      <a:gd name="connsiteX19" fmla="*/ 12541 w 19072"/>
                      <a:gd name="connsiteY19" fmla="*/ 494 h 23710"/>
                      <a:gd name="connsiteX20" fmla="*/ 12980 w 19072"/>
                      <a:gd name="connsiteY20" fmla="*/ 2552 h 23710"/>
                      <a:gd name="connsiteX21" fmla="*/ 11060 w 19072"/>
                      <a:gd name="connsiteY21" fmla="*/ 5187 h 23710"/>
                      <a:gd name="connsiteX22" fmla="*/ 11663 w 19072"/>
                      <a:gd name="connsiteY22" fmla="*/ 10620 h 2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072" h="23710">
                        <a:moveTo>
                          <a:pt x="11636" y="10620"/>
                        </a:moveTo>
                        <a:lnTo>
                          <a:pt x="15341" y="12020"/>
                        </a:lnTo>
                        <a:lnTo>
                          <a:pt x="15286" y="7849"/>
                        </a:lnTo>
                        <a:lnTo>
                          <a:pt x="17207" y="5983"/>
                        </a:lnTo>
                        <a:lnTo>
                          <a:pt x="18936" y="10264"/>
                        </a:lnTo>
                        <a:lnTo>
                          <a:pt x="17810" y="12734"/>
                        </a:lnTo>
                        <a:lnTo>
                          <a:pt x="19073" y="15752"/>
                        </a:lnTo>
                        <a:lnTo>
                          <a:pt x="15478" y="18058"/>
                        </a:lnTo>
                        <a:lnTo>
                          <a:pt x="12130" y="13996"/>
                        </a:lnTo>
                        <a:lnTo>
                          <a:pt x="4501" y="13776"/>
                        </a:lnTo>
                        <a:lnTo>
                          <a:pt x="3430" y="15972"/>
                        </a:lnTo>
                        <a:lnTo>
                          <a:pt x="5516" y="19100"/>
                        </a:lnTo>
                        <a:lnTo>
                          <a:pt x="5049" y="23711"/>
                        </a:lnTo>
                        <a:lnTo>
                          <a:pt x="2497" y="22531"/>
                        </a:lnTo>
                        <a:lnTo>
                          <a:pt x="0" y="17673"/>
                        </a:lnTo>
                        <a:lnTo>
                          <a:pt x="1948" y="4775"/>
                        </a:lnTo>
                        <a:lnTo>
                          <a:pt x="4418" y="2552"/>
                        </a:lnTo>
                        <a:lnTo>
                          <a:pt x="9276" y="2552"/>
                        </a:lnTo>
                        <a:lnTo>
                          <a:pt x="9824" y="0"/>
                        </a:lnTo>
                        <a:lnTo>
                          <a:pt x="12541" y="494"/>
                        </a:lnTo>
                        <a:lnTo>
                          <a:pt x="12980" y="2552"/>
                        </a:lnTo>
                        <a:lnTo>
                          <a:pt x="11060" y="5187"/>
                        </a:lnTo>
                        <a:lnTo>
                          <a:pt x="11663" y="1062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8" name="Freeform: Shape 3507">
                    <a:extLst>
                      <a:ext uri="{FF2B5EF4-FFF2-40B4-BE49-F238E27FC236}">
                        <a16:creationId xmlns:a16="http://schemas.microsoft.com/office/drawing/2014/main" id="{DC6DB47B-CABF-B6B4-A516-DC3357345751}"/>
                      </a:ext>
                    </a:extLst>
                  </p:cNvPr>
                  <p:cNvSpPr/>
                  <p:nvPr/>
                </p:nvSpPr>
                <p:spPr>
                  <a:xfrm>
                    <a:off x="-6422183" y="3011537"/>
                    <a:ext cx="14682" cy="14764"/>
                  </a:xfrm>
                  <a:custGeom>
                    <a:avLst/>
                    <a:gdLst>
                      <a:gd name="connsiteX0" fmla="*/ 11389 w 14682"/>
                      <a:gd name="connsiteY0" fmla="*/ 11005 h 14764"/>
                      <a:gd name="connsiteX1" fmla="*/ 8096 w 14682"/>
                      <a:gd name="connsiteY1" fmla="*/ 14764 h 14764"/>
                      <a:gd name="connsiteX2" fmla="*/ 5489 w 14682"/>
                      <a:gd name="connsiteY2" fmla="*/ 14353 h 14764"/>
                      <a:gd name="connsiteX3" fmla="*/ 3046 w 14682"/>
                      <a:gd name="connsiteY3" fmla="*/ 11005 h 14764"/>
                      <a:gd name="connsiteX4" fmla="*/ 0 w 14682"/>
                      <a:gd name="connsiteY4" fmla="*/ 6339 h 14764"/>
                      <a:gd name="connsiteX5" fmla="*/ 1592 w 14682"/>
                      <a:gd name="connsiteY5" fmla="*/ 1290 h 14764"/>
                      <a:gd name="connsiteX6" fmla="*/ 5790 w 14682"/>
                      <a:gd name="connsiteY6" fmla="*/ 0 h 14764"/>
                      <a:gd name="connsiteX7" fmla="*/ 14682 w 14682"/>
                      <a:gd name="connsiteY7" fmla="*/ 6285 h 14764"/>
                      <a:gd name="connsiteX8" fmla="*/ 11444 w 14682"/>
                      <a:gd name="connsiteY8" fmla="*/ 11005 h 1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82" h="14764">
                        <a:moveTo>
                          <a:pt x="11389" y="11005"/>
                        </a:moveTo>
                        <a:lnTo>
                          <a:pt x="8096" y="14764"/>
                        </a:lnTo>
                        <a:lnTo>
                          <a:pt x="5489" y="14353"/>
                        </a:lnTo>
                        <a:lnTo>
                          <a:pt x="3046" y="11005"/>
                        </a:lnTo>
                        <a:lnTo>
                          <a:pt x="0" y="6339"/>
                        </a:lnTo>
                        <a:lnTo>
                          <a:pt x="1592" y="1290"/>
                        </a:lnTo>
                        <a:lnTo>
                          <a:pt x="5790" y="0"/>
                        </a:lnTo>
                        <a:lnTo>
                          <a:pt x="14682" y="6285"/>
                        </a:lnTo>
                        <a:lnTo>
                          <a:pt x="11444" y="1100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09" name="Freeform: Shape 3508">
                    <a:extLst>
                      <a:ext uri="{FF2B5EF4-FFF2-40B4-BE49-F238E27FC236}">
                        <a16:creationId xmlns:a16="http://schemas.microsoft.com/office/drawing/2014/main" id="{F39B190C-9880-35DB-D4B0-7793761A96C1}"/>
                      </a:ext>
                    </a:extLst>
                  </p:cNvPr>
                  <p:cNvSpPr/>
                  <p:nvPr/>
                </p:nvSpPr>
                <p:spPr>
                  <a:xfrm>
                    <a:off x="-6331264" y="3138900"/>
                    <a:ext cx="11745" cy="8891"/>
                  </a:xfrm>
                  <a:custGeom>
                    <a:avLst/>
                    <a:gdLst>
                      <a:gd name="connsiteX0" fmla="*/ 9221 w 11745"/>
                      <a:gd name="connsiteY0" fmla="*/ 7711 h 8891"/>
                      <a:gd name="connsiteX1" fmla="*/ 6202 w 11745"/>
                      <a:gd name="connsiteY1" fmla="*/ 8891 h 8891"/>
                      <a:gd name="connsiteX2" fmla="*/ 686 w 11745"/>
                      <a:gd name="connsiteY2" fmla="*/ 4912 h 8891"/>
                      <a:gd name="connsiteX3" fmla="*/ 0 w 11745"/>
                      <a:gd name="connsiteY3" fmla="*/ 3705 h 8891"/>
                      <a:gd name="connsiteX4" fmla="*/ 6202 w 11745"/>
                      <a:gd name="connsiteY4" fmla="*/ 0 h 8891"/>
                      <a:gd name="connsiteX5" fmla="*/ 11746 w 11745"/>
                      <a:gd name="connsiteY5" fmla="*/ 3485 h 8891"/>
                      <a:gd name="connsiteX6" fmla="*/ 9193 w 11745"/>
                      <a:gd name="connsiteY6" fmla="*/ 7711 h 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5" h="8891">
                        <a:moveTo>
                          <a:pt x="9221" y="7711"/>
                        </a:moveTo>
                        <a:lnTo>
                          <a:pt x="6202" y="8891"/>
                        </a:lnTo>
                        <a:lnTo>
                          <a:pt x="686" y="4912"/>
                        </a:lnTo>
                        <a:lnTo>
                          <a:pt x="0" y="3705"/>
                        </a:lnTo>
                        <a:lnTo>
                          <a:pt x="6202" y="0"/>
                        </a:lnTo>
                        <a:lnTo>
                          <a:pt x="11746" y="3485"/>
                        </a:lnTo>
                        <a:lnTo>
                          <a:pt x="9193" y="771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0" name="Freeform: Shape 3509">
                    <a:extLst>
                      <a:ext uri="{FF2B5EF4-FFF2-40B4-BE49-F238E27FC236}">
                        <a16:creationId xmlns:a16="http://schemas.microsoft.com/office/drawing/2014/main" id="{5648F788-CCE8-6997-C0C1-433C6767D8CB}"/>
                      </a:ext>
                    </a:extLst>
                  </p:cNvPr>
                  <p:cNvSpPr/>
                  <p:nvPr/>
                </p:nvSpPr>
                <p:spPr>
                  <a:xfrm>
                    <a:off x="-6476575" y="2823937"/>
                    <a:ext cx="6366" cy="6695"/>
                  </a:xfrm>
                  <a:custGeom>
                    <a:avLst/>
                    <a:gdLst>
                      <a:gd name="connsiteX0" fmla="*/ 6367 w 6366"/>
                      <a:gd name="connsiteY0" fmla="*/ 2827 h 6695"/>
                      <a:gd name="connsiteX1" fmla="*/ 3952 w 6366"/>
                      <a:gd name="connsiteY1" fmla="*/ 6696 h 6695"/>
                      <a:gd name="connsiteX2" fmla="*/ 0 w 6366"/>
                      <a:gd name="connsiteY2" fmla="*/ 2799 h 6695"/>
                      <a:gd name="connsiteX3" fmla="*/ 3266 w 6366"/>
                      <a:gd name="connsiteY3" fmla="*/ 0 h 6695"/>
                      <a:gd name="connsiteX4" fmla="*/ 6339 w 6366"/>
                      <a:gd name="connsiteY4" fmla="*/ 2827 h 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6" h="6695">
                        <a:moveTo>
                          <a:pt x="6367" y="2827"/>
                        </a:moveTo>
                        <a:lnTo>
                          <a:pt x="3952" y="6696"/>
                        </a:lnTo>
                        <a:lnTo>
                          <a:pt x="0" y="2799"/>
                        </a:lnTo>
                        <a:lnTo>
                          <a:pt x="3266" y="0"/>
                        </a:lnTo>
                        <a:lnTo>
                          <a:pt x="6339" y="282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1" name="Freeform: Shape 3510">
                    <a:extLst>
                      <a:ext uri="{FF2B5EF4-FFF2-40B4-BE49-F238E27FC236}">
                        <a16:creationId xmlns:a16="http://schemas.microsoft.com/office/drawing/2014/main" id="{B8750836-1CE4-A79C-4BD8-423C0B2F3C18}"/>
                      </a:ext>
                    </a:extLst>
                  </p:cNvPr>
                  <p:cNvSpPr/>
                  <p:nvPr/>
                </p:nvSpPr>
                <p:spPr>
                  <a:xfrm>
                    <a:off x="-6482256" y="2844162"/>
                    <a:ext cx="5214" cy="5982"/>
                  </a:xfrm>
                  <a:custGeom>
                    <a:avLst/>
                    <a:gdLst>
                      <a:gd name="connsiteX0" fmla="*/ 4473 w 5214"/>
                      <a:gd name="connsiteY0" fmla="*/ 3458 h 5982"/>
                      <a:gd name="connsiteX1" fmla="*/ 494 w 5214"/>
                      <a:gd name="connsiteY1" fmla="*/ 5982 h 5982"/>
                      <a:gd name="connsiteX2" fmla="*/ 0 w 5214"/>
                      <a:gd name="connsiteY2" fmla="*/ 4583 h 5982"/>
                      <a:gd name="connsiteX3" fmla="*/ 3540 w 5214"/>
                      <a:gd name="connsiteY3" fmla="*/ 0 h 5982"/>
                      <a:gd name="connsiteX4" fmla="*/ 5214 w 5214"/>
                      <a:gd name="connsiteY4" fmla="*/ 55 h 5982"/>
                      <a:gd name="connsiteX5" fmla="*/ 4473 w 5214"/>
                      <a:gd name="connsiteY5" fmla="*/ 3458 h 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4" h="5982">
                        <a:moveTo>
                          <a:pt x="4473" y="3458"/>
                        </a:moveTo>
                        <a:lnTo>
                          <a:pt x="494" y="5982"/>
                        </a:lnTo>
                        <a:lnTo>
                          <a:pt x="0" y="4583"/>
                        </a:lnTo>
                        <a:lnTo>
                          <a:pt x="3540" y="0"/>
                        </a:lnTo>
                        <a:lnTo>
                          <a:pt x="5214" y="55"/>
                        </a:lnTo>
                        <a:lnTo>
                          <a:pt x="4473" y="345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2" name="Freeform: Shape 3511">
                    <a:extLst>
                      <a:ext uri="{FF2B5EF4-FFF2-40B4-BE49-F238E27FC236}">
                        <a16:creationId xmlns:a16="http://schemas.microsoft.com/office/drawing/2014/main" id="{504C9642-5D04-24B1-35D8-6713011DA618}"/>
                      </a:ext>
                    </a:extLst>
                  </p:cNvPr>
                  <p:cNvSpPr/>
                  <p:nvPr/>
                </p:nvSpPr>
                <p:spPr>
                  <a:xfrm>
                    <a:off x="-6492629" y="2851874"/>
                    <a:ext cx="5954" cy="4994"/>
                  </a:xfrm>
                  <a:custGeom>
                    <a:avLst/>
                    <a:gdLst>
                      <a:gd name="connsiteX0" fmla="*/ 3622 w 5954"/>
                      <a:gd name="connsiteY0" fmla="*/ 2744 h 4994"/>
                      <a:gd name="connsiteX1" fmla="*/ 3074 w 5954"/>
                      <a:gd name="connsiteY1" fmla="*/ 4995 h 4994"/>
                      <a:gd name="connsiteX2" fmla="*/ 549 w 5954"/>
                      <a:gd name="connsiteY2" fmla="*/ 4583 h 4994"/>
                      <a:gd name="connsiteX3" fmla="*/ 0 w 5954"/>
                      <a:gd name="connsiteY3" fmla="*/ 1839 h 4994"/>
                      <a:gd name="connsiteX4" fmla="*/ 4885 w 5954"/>
                      <a:gd name="connsiteY4" fmla="*/ 0 h 4994"/>
                      <a:gd name="connsiteX5" fmla="*/ 5955 w 5954"/>
                      <a:gd name="connsiteY5" fmla="*/ 1729 h 4994"/>
                      <a:gd name="connsiteX6" fmla="*/ 3595 w 5954"/>
                      <a:gd name="connsiteY6" fmla="*/ 2717 h 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4" h="4994">
                        <a:moveTo>
                          <a:pt x="3622" y="2744"/>
                        </a:moveTo>
                        <a:lnTo>
                          <a:pt x="3074" y="4995"/>
                        </a:lnTo>
                        <a:lnTo>
                          <a:pt x="549" y="4583"/>
                        </a:lnTo>
                        <a:lnTo>
                          <a:pt x="0" y="1839"/>
                        </a:lnTo>
                        <a:lnTo>
                          <a:pt x="4885" y="0"/>
                        </a:lnTo>
                        <a:lnTo>
                          <a:pt x="5955" y="1729"/>
                        </a:lnTo>
                        <a:lnTo>
                          <a:pt x="3595" y="271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3" name="Freeform: Shape 3512">
                    <a:extLst>
                      <a:ext uri="{FF2B5EF4-FFF2-40B4-BE49-F238E27FC236}">
                        <a16:creationId xmlns:a16="http://schemas.microsoft.com/office/drawing/2014/main" id="{29150140-A6F8-87B8-6278-B9213587831E}"/>
                      </a:ext>
                    </a:extLst>
                  </p:cNvPr>
                  <p:cNvSpPr/>
                  <p:nvPr/>
                </p:nvSpPr>
                <p:spPr>
                  <a:xfrm>
                    <a:off x="-6471443" y="2756839"/>
                    <a:ext cx="4253" cy="6696"/>
                  </a:xfrm>
                  <a:custGeom>
                    <a:avLst/>
                    <a:gdLst>
                      <a:gd name="connsiteX0" fmla="*/ 4254 w 4253"/>
                      <a:gd name="connsiteY0" fmla="*/ 2223 h 6696"/>
                      <a:gd name="connsiteX1" fmla="*/ 2333 w 4253"/>
                      <a:gd name="connsiteY1" fmla="*/ 6696 h 6696"/>
                      <a:gd name="connsiteX2" fmla="*/ 0 w 4253"/>
                      <a:gd name="connsiteY2" fmla="*/ 4391 h 6696"/>
                      <a:gd name="connsiteX3" fmla="*/ 3238 w 4253"/>
                      <a:gd name="connsiteY3" fmla="*/ 0 h 6696"/>
                      <a:gd name="connsiteX4" fmla="*/ 4254 w 4253"/>
                      <a:gd name="connsiteY4" fmla="*/ 2223 h 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6696">
                        <a:moveTo>
                          <a:pt x="4254" y="2223"/>
                        </a:moveTo>
                        <a:lnTo>
                          <a:pt x="2333" y="6696"/>
                        </a:lnTo>
                        <a:lnTo>
                          <a:pt x="0" y="4391"/>
                        </a:lnTo>
                        <a:lnTo>
                          <a:pt x="3238" y="0"/>
                        </a:lnTo>
                        <a:lnTo>
                          <a:pt x="4254" y="222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4" name="Freeform: Shape 3513">
                    <a:extLst>
                      <a:ext uri="{FF2B5EF4-FFF2-40B4-BE49-F238E27FC236}">
                        <a16:creationId xmlns:a16="http://schemas.microsoft.com/office/drawing/2014/main" id="{779E0C04-6989-CD01-B81A-6FF89AAE0E79}"/>
                      </a:ext>
                    </a:extLst>
                  </p:cNvPr>
                  <p:cNvSpPr/>
                  <p:nvPr/>
                </p:nvSpPr>
                <p:spPr>
                  <a:xfrm>
                    <a:off x="-6474544" y="3174356"/>
                    <a:ext cx="4253" cy="5324"/>
                  </a:xfrm>
                  <a:custGeom>
                    <a:avLst/>
                    <a:gdLst>
                      <a:gd name="connsiteX0" fmla="*/ 4226 w 4253"/>
                      <a:gd name="connsiteY0" fmla="*/ 2333 h 5324"/>
                      <a:gd name="connsiteX1" fmla="*/ 1015 w 4253"/>
                      <a:gd name="connsiteY1" fmla="*/ 5324 h 5324"/>
                      <a:gd name="connsiteX2" fmla="*/ 0 w 4253"/>
                      <a:gd name="connsiteY2" fmla="*/ 2799 h 5324"/>
                      <a:gd name="connsiteX3" fmla="*/ 2991 w 4253"/>
                      <a:gd name="connsiteY3" fmla="*/ 0 h 5324"/>
                      <a:gd name="connsiteX4" fmla="*/ 4254 w 4253"/>
                      <a:gd name="connsiteY4" fmla="*/ 2333 h 5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 h="5324">
                        <a:moveTo>
                          <a:pt x="4226" y="2333"/>
                        </a:moveTo>
                        <a:lnTo>
                          <a:pt x="1015" y="5324"/>
                        </a:lnTo>
                        <a:lnTo>
                          <a:pt x="0" y="2799"/>
                        </a:lnTo>
                        <a:lnTo>
                          <a:pt x="2991" y="0"/>
                        </a:lnTo>
                        <a:lnTo>
                          <a:pt x="4254" y="233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5" name="Freeform: Shape 3514">
                    <a:extLst>
                      <a:ext uri="{FF2B5EF4-FFF2-40B4-BE49-F238E27FC236}">
                        <a16:creationId xmlns:a16="http://schemas.microsoft.com/office/drawing/2014/main" id="{0AC4873E-0CB9-5B49-E02E-296CA4314339}"/>
                      </a:ext>
                    </a:extLst>
                  </p:cNvPr>
                  <p:cNvSpPr/>
                  <p:nvPr/>
                </p:nvSpPr>
                <p:spPr>
                  <a:xfrm>
                    <a:off x="-6471964" y="2873609"/>
                    <a:ext cx="3759" cy="6696"/>
                  </a:xfrm>
                  <a:custGeom>
                    <a:avLst/>
                    <a:gdLst>
                      <a:gd name="connsiteX0" fmla="*/ 3760 w 3759"/>
                      <a:gd name="connsiteY0" fmla="*/ 659 h 6696"/>
                      <a:gd name="connsiteX1" fmla="*/ 2744 w 3759"/>
                      <a:gd name="connsiteY1" fmla="*/ 6696 h 6696"/>
                      <a:gd name="connsiteX2" fmla="*/ 0 w 3759"/>
                      <a:gd name="connsiteY2" fmla="*/ 6339 h 6696"/>
                      <a:gd name="connsiteX3" fmla="*/ 2744 w 3759"/>
                      <a:gd name="connsiteY3" fmla="*/ 0 h 6696"/>
                      <a:gd name="connsiteX4" fmla="*/ 3760 w 3759"/>
                      <a:gd name="connsiteY4" fmla="*/ 631 h 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9" h="6696">
                        <a:moveTo>
                          <a:pt x="3760" y="659"/>
                        </a:moveTo>
                        <a:lnTo>
                          <a:pt x="2744" y="6696"/>
                        </a:lnTo>
                        <a:lnTo>
                          <a:pt x="0" y="6339"/>
                        </a:lnTo>
                        <a:lnTo>
                          <a:pt x="2744" y="0"/>
                        </a:lnTo>
                        <a:lnTo>
                          <a:pt x="3760" y="63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6" name="Freeform: Shape 3515">
                    <a:extLst>
                      <a:ext uri="{FF2B5EF4-FFF2-40B4-BE49-F238E27FC236}">
                        <a16:creationId xmlns:a16="http://schemas.microsoft.com/office/drawing/2014/main" id="{44BF50D6-A0A2-3DA2-4ADD-1E221DBDA600}"/>
                      </a:ext>
                    </a:extLst>
                  </p:cNvPr>
                  <p:cNvSpPr/>
                  <p:nvPr/>
                </p:nvSpPr>
                <p:spPr>
                  <a:xfrm>
                    <a:off x="-6470290" y="2828931"/>
                    <a:ext cx="4198" cy="6037"/>
                  </a:xfrm>
                  <a:custGeom>
                    <a:avLst/>
                    <a:gdLst>
                      <a:gd name="connsiteX0" fmla="*/ 4199 w 4198"/>
                      <a:gd name="connsiteY0" fmla="*/ 4720 h 6037"/>
                      <a:gd name="connsiteX1" fmla="*/ 2223 w 4198"/>
                      <a:gd name="connsiteY1" fmla="*/ 6038 h 6037"/>
                      <a:gd name="connsiteX2" fmla="*/ 0 w 4198"/>
                      <a:gd name="connsiteY2" fmla="*/ 4611 h 6037"/>
                      <a:gd name="connsiteX3" fmla="*/ 3266 w 4198"/>
                      <a:gd name="connsiteY3" fmla="*/ 0 h 6037"/>
                      <a:gd name="connsiteX4" fmla="*/ 4199 w 4198"/>
                      <a:gd name="connsiteY4" fmla="*/ 4720 h 6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8" h="6037">
                        <a:moveTo>
                          <a:pt x="4199" y="4720"/>
                        </a:moveTo>
                        <a:lnTo>
                          <a:pt x="2223" y="6038"/>
                        </a:lnTo>
                        <a:lnTo>
                          <a:pt x="0" y="4611"/>
                        </a:lnTo>
                        <a:lnTo>
                          <a:pt x="3266" y="0"/>
                        </a:lnTo>
                        <a:lnTo>
                          <a:pt x="4199" y="472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7" name="Freeform: Shape 3516">
                    <a:extLst>
                      <a:ext uri="{FF2B5EF4-FFF2-40B4-BE49-F238E27FC236}">
                        <a16:creationId xmlns:a16="http://schemas.microsoft.com/office/drawing/2014/main" id="{4C0EFE4A-4A8A-EF4F-6467-3CC5B2D61B7F}"/>
                      </a:ext>
                    </a:extLst>
                  </p:cNvPr>
                  <p:cNvSpPr/>
                  <p:nvPr/>
                </p:nvSpPr>
                <p:spPr>
                  <a:xfrm>
                    <a:off x="-6349843" y="2646930"/>
                    <a:ext cx="4089" cy="6421"/>
                  </a:xfrm>
                  <a:custGeom>
                    <a:avLst/>
                    <a:gdLst>
                      <a:gd name="connsiteX0" fmla="*/ 4089 w 4089"/>
                      <a:gd name="connsiteY0" fmla="*/ 2881 h 6421"/>
                      <a:gd name="connsiteX1" fmla="*/ 2772 w 4089"/>
                      <a:gd name="connsiteY1" fmla="*/ 6422 h 6421"/>
                      <a:gd name="connsiteX2" fmla="*/ 1400 w 4089"/>
                      <a:gd name="connsiteY2" fmla="*/ 5379 h 6421"/>
                      <a:gd name="connsiteX3" fmla="*/ 0 w 4089"/>
                      <a:gd name="connsiteY3" fmla="*/ 2991 h 6421"/>
                      <a:gd name="connsiteX4" fmla="*/ 1400 w 4089"/>
                      <a:gd name="connsiteY4" fmla="*/ 0 h 6421"/>
                      <a:gd name="connsiteX5" fmla="*/ 4089 w 4089"/>
                      <a:gd name="connsiteY5" fmla="*/ 2881 h 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9" h="6421">
                        <a:moveTo>
                          <a:pt x="4089" y="2881"/>
                        </a:moveTo>
                        <a:lnTo>
                          <a:pt x="2772" y="6422"/>
                        </a:lnTo>
                        <a:lnTo>
                          <a:pt x="1400" y="5379"/>
                        </a:lnTo>
                        <a:lnTo>
                          <a:pt x="0" y="2991"/>
                        </a:lnTo>
                        <a:lnTo>
                          <a:pt x="1400" y="0"/>
                        </a:lnTo>
                        <a:lnTo>
                          <a:pt x="4089" y="288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8" name="Freeform: Shape 3517">
                    <a:extLst>
                      <a:ext uri="{FF2B5EF4-FFF2-40B4-BE49-F238E27FC236}">
                        <a16:creationId xmlns:a16="http://schemas.microsoft.com/office/drawing/2014/main" id="{26BA32AD-C155-1665-F931-57E86B95075E}"/>
                      </a:ext>
                    </a:extLst>
                  </p:cNvPr>
                  <p:cNvSpPr/>
                  <p:nvPr/>
                </p:nvSpPr>
                <p:spPr>
                  <a:xfrm>
                    <a:off x="-6508656" y="2825995"/>
                    <a:ext cx="4638" cy="4665"/>
                  </a:xfrm>
                  <a:custGeom>
                    <a:avLst/>
                    <a:gdLst>
                      <a:gd name="connsiteX0" fmla="*/ 4638 w 4638"/>
                      <a:gd name="connsiteY0" fmla="*/ 1043 h 4665"/>
                      <a:gd name="connsiteX1" fmla="*/ 2744 w 4638"/>
                      <a:gd name="connsiteY1" fmla="*/ 4665 h 4665"/>
                      <a:gd name="connsiteX2" fmla="*/ 522 w 4638"/>
                      <a:gd name="connsiteY2" fmla="*/ 3567 h 4665"/>
                      <a:gd name="connsiteX3" fmla="*/ 0 w 4638"/>
                      <a:gd name="connsiteY3" fmla="*/ 0 h 4665"/>
                      <a:gd name="connsiteX4" fmla="*/ 4638 w 4638"/>
                      <a:gd name="connsiteY4" fmla="*/ 1043 h 4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 h="4665">
                        <a:moveTo>
                          <a:pt x="4638" y="1043"/>
                        </a:moveTo>
                        <a:lnTo>
                          <a:pt x="2744" y="4665"/>
                        </a:lnTo>
                        <a:lnTo>
                          <a:pt x="522" y="3567"/>
                        </a:lnTo>
                        <a:lnTo>
                          <a:pt x="0" y="0"/>
                        </a:lnTo>
                        <a:lnTo>
                          <a:pt x="4638" y="104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19" name="Freeform: Shape 3518">
                    <a:extLst>
                      <a:ext uri="{FF2B5EF4-FFF2-40B4-BE49-F238E27FC236}">
                        <a16:creationId xmlns:a16="http://schemas.microsoft.com/office/drawing/2014/main" id="{8EBC8BB5-C044-0B28-673F-A36393832C3E}"/>
                      </a:ext>
                    </a:extLst>
                  </p:cNvPr>
                  <p:cNvSpPr/>
                  <p:nvPr/>
                </p:nvSpPr>
                <p:spPr>
                  <a:xfrm>
                    <a:off x="-6369986" y="2701514"/>
                    <a:ext cx="3156" cy="7190"/>
                  </a:xfrm>
                  <a:custGeom>
                    <a:avLst/>
                    <a:gdLst>
                      <a:gd name="connsiteX0" fmla="*/ 2031 w 3156"/>
                      <a:gd name="connsiteY0" fmla="*/ 7190 h 7190"/>
                      <a:gd name="connsiteX1" fmla="*/ 823 w 3156"/>
                      <a:gd name="connsiteY1" fmla="*/ 7190 h 7190"/>
                      <a:gd name="connsiteX2" fmla="*/ 0 w 3156"/>
                      <a:gd name="connsiteY2" fmla="*/ 2360 h 7190"/>
                      <a:gd name="connsiteX3" fmla="*/ 1784 w 3156"/>
                      <a:gd name="connsiteY3" fmla="*/ 0 h 7190"/>
                      <a:gd name="connsiteX4" fmla="*/ 3156 w 3156"/>
                      <a:gd name="connsiteY4" fmla="*/ 7190 h 7190"/>
                      <a:gd name="connsiteX5" fmla="*/ 2058 w 3156"/>
                      <a:gd name="connsiteY5" fmla="*/ 7190 h 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6" h="7190">
                        <a:moveTo>
                          <a:pt x="2031" y="7190"/>
                        </a:moveTo>
                        <a:lnTo>
                          <a:pt x="823" y="7190"/>
                        </a:lnTo>
                        <a:lnTo>
                          <a:pt x="0" y="2360"/>
                        </a:lnTo>
                        <a:lnTo>
                          <a:pt x="1784" y="0"/>
                        </a:lnTo>
                        <a:lnTo>
                          <a:pt x="3156" y="7190"/>
                        </a:lnTo>
                        <a:lnTo>
                          <a:pt x="2058" y="719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0" name="Freeform: Shape 3519">
                    <a:extLst>
                      <a:ext uri="{FF2B5EF4-FFF2-40B4-BE49-F238E27FC236}">
                        <a16:creationId xmlns:a16="http://schemas.microsoft.com/office/drawing/2014/main" id="{00A696D9-26A3-B962-B3D8-17AEB8B66386}"/>
                      </a:ext>
                    </a:extLst>
                  </p:cNvPr>
                  <p:cNvSpPr/>
                  <p:nvPr/>
                </p:nvSpPr>
                <p:spPr>
                  <a:xfrm>
                    <a:off x="-6363867" y="2698413"/>
                    <a:ext cx="3759" cy="5735"/>
                  </a:xfrm>
                  <a:custGeom>
                    <a:avLst/>
                    <a:gdLst>
                      <a:gd name="connsiteX0" fmla="*/ 3760 w 3759"/>
                      <a:gd name="connsiteY0" fmla="*/ 5214 h 5735"/>
                      <a:gd name="connsiteX1" fmla="*/ 1098 w 3759"/>
                      <a:gd name="connsiteY1" fmla="*/ 5735 h 5735"/>
                      <a:gd name="connsiteX2" fmla="*/ 549 w 3759"/>
                      <a:gd name="connsiteY2" fmla="*/ 4693 h 5735"/>
                      <a:gd name="connsiteX3" fmla="*/ 0 w 3759"/>
                      <a:gd name="connsiteY3" fmla="*/ 1043 h 5735"/>
                      <a:gd name="connsiteX4" fmla="*/ 1070 w 3759"/>
                      <a:gd name="connsiteY4" fmla="*/ 0 h 5735"/>
                      <a:gd name="connsiteX5" fmla="*/ 1839 w 3759"/>
                      <a:gd name="connsiteY5" fmla="*/ 0 h 5735"/>
                      <a:gd name="connsiteX6" fmla="*/ 3705 w 3759"/>
                      <a:gd name="connsiteY6" fmla="*/ 5242 h 5735"/>
                      <a:gd name="connsiteX7" fmla="*/ 3705 w 3759"/>
                      <a:gd name="connsiteY7" fmla="*/ 5242 h 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9" h="5735">
                        <a:moveTo>
                          <a:pt x="3760" y="5214"/>
                        </a:moveTo>
                        <a:lnTo>
                          <a:pt x="1098" y="5735"/>
                        </a:lnTo>
                        <a:lnTo>
                          <a:pt x="549" y="4693"/>
                        </a:lnTo>
                        <a:lnTo>
                          <a:pt x="0" y="1043"/>
                        </a:lnTo>
                        <a:lnTo>
                          <a:pt x="1070" y="0"/>
                        </a:lnTo>
                        <a:lnTo>
                          <a:pt x="1839" y="0"/>
                        </a:lnTo>
                        <a:lnTo>
                          <a:pt x="3705" y="5242"/>
                        </a:lnTo>
                        <a:lnTo>
                          <a:pt x="3705" y="524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1" name="Freeform: Shape 3520">
                    <a:extLst>
                      <a:ext uri="{FF2B5EF4-FFF2-40B4-BE49-F238E27FC236}">
                        <a16:creationId xmlns:a16="http://schemas.microsoft.com/office/drawing/2014/main" id="{DB341407-CC1B-97BB-1D4A-9DC30A45F148}"/>
                      </a:ext>
                    </a:extLst>
                  </p:cNvPr>
                  <p:cNvSpPr/>
                  <p:nvPr/>
                </p:nvSpPr>
                <p:spPr>
                  <a:xfrm>
                    <a:off x="-6375530" y="2724044"/>
                    <a:ext cx="2964" cy="6833"/>
                  </a:xfrm>
                  <a:custGeom>
                    <a:avLst/>
                    <a:gdLst>
                      <a:gd name="connsiteX0" fmla="*/ 2964 w 2964"/>
                      <a:gd name="connsiteY0" fmla="*/ 1756 h 6833"/>
                      <a:gd name="connsiteX1" fmla="*/ 2607 w 2964"/>
                      <a:gd name="connsiteY1" fmla="*/ 6833 h 6833"/>
                      <a:gd name="connsiteX2" fmla="*/ 796 w 2964"/>
                      <a:gd name="connsiteY2" fmla="*/ 6230 h 6833"/>
                      <a:gd name="connsiteX3" fmla="*/ 0 w 2964"/>
                      <a:gd name="connsiteY3" fmla="*/ 3458 h 6833"/>
                      <a:gd name="connsiteX4" fmla="*/ 1290 w 2964"/>
                      <a:gd name="connsiteY4" fmla="*/ 0 h 6833"/>
                      <a:gd name="connsiteX5" fmla="*/ 2964 w 2964"/>
                      <a:gd name="connsiteY5" fmla="*/ 1756 h 6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4" h="6833">
                        <a:moveTo>
                          <a:pt x="2964" y="1756"/>
                        </a:moveTo>
                        <a:lnTo>
                          <a:pt x="2607" y="6833"/>
                        </a:lnTo>
                        <a:lnTo>
                          <a:pt x="796" y="6230"/>
                        </a:lnTo>
                        <a:lnTo>
                          <a:pt x="0" y="3458"/>
                        </a:lnTo>
                        <a:lnTo>
                          <a:pt x="1290" y="0"/>
                        </a:lnTo>
                        <a:lnTo>
                          <a:pt x="2964" y="175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2" name="Freeform: Shape 3521">
                    <a:extLst>
                      <a:ext uri="{FF2B5EF4-FFF2-40B4-BE49-F238E27FC236}">
                        <a16:creationId xmlns:a16="http://schemas.microsoft.com/office/drawing/2014/main" id="{E01A360C-3942-5ABD-4BCD-39C98FD193DB}"/>
                      </a:ext>
                    </a:extLst>
                  </p:cNvPr>
                  <p:cNvSpPr/>
                  <p:nvPr/>
                </p:nvSpPr>
                <p:spPr>
                  <a:xfrm>
                    <a:off x="-6336917" y="2682551"/>
                    <a:ext cx="4225" cy="4747"/>
                  </a:xfrm>
                  <a:custGeom>
                    <a:avLst/>
                    <a:gdLst>
                      <a:gd name="connsiteX0" fmla="*/ 3650 w 4225"/>
                      <a:gd name="connsiteY0" fmla="*/ 4254 h 4747"/>
                      <a:gd name="connsiteX1" fmla="*/ 0 w 4225"/>
                      <a:gd name="connsiteY1" fmla="*/ 4748 h 4747"/>
                      <a:gd name="connsiteX2" fmla="*/ 1455 w 4225"/>
                      <a:gd name="connsiteY2" fmla="*/ 0 h 4747"/>
                      <a:gd name="connsiteX3" fmla="*/ 4226 w 4225"/>
                      <a:gd name="connsiteY3" fmla="*/ 439 h 4747"/>
                      <a:gd name="connsiteX4" fmla="*/ 3650 w 4225"/>
                      <a:gd name="connsiteY4" fmla="*/ 4281 h 4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5" h="4747">
                        <a:moveTo>
                          <a:pt x="3650" y="4254"/>
                        </a:moveTo>
                        <a:lnTo>
                          <a:pt x="0" y="4748"/>
                        </a:lnTo>
                        <a:lnTo>
                          <a:pt x="1455" y="0"/>
                        </a:lnTo>
                        <a:lnTo>
                          <a:pt x="4226" y="439"/>
                        </a:lnTo>
                        <a:lnTo>
                          <a:pt x="3650" y="428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3" name="Freeform: Shape 3522">
                    <a:extLst>
                      <a:ext uri="{FF2B5EF4-FFF2-40B4-BE49-F238E27FC236}">
                        <a16:creationId xmlns:a16="http://schemas.microsoft.com/office/drawing/2014/main" id="{DB7F5A95-6E9F-1B0B-E797-240C967A3CCB}"/>
                      </a:ext>
                    </a:extLst>
                  </p:cNvPr>
                  <p:cNvSpPr/>
                  <p:nvPr/>
                </p:nvSpPr>
                <p:spPr>
                  <a:xfrm>
                    <a:off x="-6376380" y="2695531"/>
                    <a:ext cx="3430" cy="5763"/>
                  </a:xfrm>
                  <a:custGeom>
                    <a:avLst/>
                    <a:gdLst>
                      <a:gd name="connsiteX0" fmla="*/ 2744 w 3430"/>
                      <a:gd name="connsiteY0" fmla="*/ 27 h 5763"/>
                      <a:gd name="connsiteX1" fmla="*/ 3430 w 3430"/>
                      <a:gd name="connsiteY1" fmla="*/ 5763 h 5763"/>
                      <a:gd name="connsiteX2" fmla="*/ 0 w 3430"/>
                      <a:gd name="connsiteY2" fmla="*/ 5351 h 5763"/>
                      <a:gd name="connsiteX3" fmla="*/ 0 w 3430"/>
                      <a:gd name="connsiteY3" fmla="*/ 2442 h 5763"/>
                      <a:gd name="connsiteX4" fmla="*/ 2744 w 3430"/>
                      <a:gd name="connsiteY4" fmla="*/ 0 h 5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 h="5763">
                        <a:moveTo>
                          <a:pt x="2744" y="27"/>
                        </a:moveTo>
                        <a:lnTo>
                          <a:pt x="3430" y="5763"/>
                        </a:lnTo>
                        <a:lnTo>
                          <a:pt x="0" y="5351"/>
                        </a:lnTo>
                        <a:lnTo>
                          <a:pt x="0" y="2442"/>
                        </a:lnTo>
                        <a:lnTo>
                          <a:pt x="2744"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4" name="Freeform: Shape 3523">
                    <a:extLst>
                      <a:ext uri="{FF2B5EF4-FFF2-40B4-BE49-F238E27FC236}">
                        <a16:creationId xmlns:a16="http://schemas.microsoft.com/office/drawing/2014/main" id="{4545D17A-1404-1F05-1BAA-DEA124DF7AFE}"/>
                      </a:ext>
                    </a:extLst>
                  </p:cNvPr>
                  <p:cNvSpPr/>
                  <p:nvPr/>
                </p:nvSpPr>
                <p:spPr>
                  <a:xfrm>
                    <a:off x="-6418423" y="2708759"/>
                    <a:ext cx="3897" cy="4994"/>
                  </a:xfrm>
                  <a:custGeom>
                    <a:avLst/>
                    <a:gdLst>
                      <a:gd name="connsiteX0" fmla="*/ 3897 w 3897"/>
                      <a:gd name="connsiteY0" fmla="*/ 2991 h 4994"/>
                      <a:gd name="connsiteX1" fmla="*/ 2113 w 3897"/>
                      <a:gd name="connsiteY1" fmla="*/ 4995 h 4994"/>
                      <a:gd name="connsiteX2" fmla="*/ 0 w 3897"/>
                      <a:gd name="connsiteY2" fmla="*/ 4281 h 4994"/>
                      <a:gd name="connsiteX3" fmla="*/ 796 w 3897"/>
                      <a:gd name="connsiteY3" fmla="*/ 494 h 4994"/>
                      <a:gd name="connsiteX4" fmla="*/ 3376 w 3897"/>
                      <a:gd name="connsiteY4" fmla="*/ 0 h 4994"/>
                      <a:gd name="connsiteX5" fmla="*/ 3897 w 3897"/>
                      <a:gd name="connsiteY5" fmla="*/ 2991 h 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7" h="4994">
                        <a:moveTo>
                          <a:pt x="3897" y="2991"/>
                        </a:moveTo>
                        <a:lnTo>
                          <a:pt x="2113" y="4995"/>
                        </a:lnTo>
                        <a:lnTo>
                          <a:pt x="0" y="4281"/>
                        </a:lnTo>
                        <a:lnTo>
                          <a:pt x="796" y="494"/>
                        </a:lnTo>
                        <a:lnTo>
                          <a:pt x="3376" y="0"/>
                        </a:lnTo>
                        <a:lnTo>
                          <a:pt x="3897" y="299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5" name="Freeform: Shape 3524">
                    <a:extLst>
                      <a:ext uri="{FF2B5EF4-FFF2-40B4-BE49-F238E27FC236}">
                        <a16:creationId xmlns:a16="http://schemas.microsoft.com/office/drawing/2014/main" id="{3DBDF2F5-5083-8E03-35D3-EF35F6873653}"/>
                      </a:ext>
                    </a:extLst>
                  </p:cNvPr>
                  <p:cNvSpPr/>
                  <p:nvPr/>
                </p:nvSpPr>
                <p:spPr>
                  <a:xfrm>
                    <a:off x="-6364388" y="2708320"/>
                    <a:ext cx="3210" cy="4692"/>
                  </a:xfrm>
                  <a:custGeom>
                    <a:avLst/>
                    <a:gdLst>
                      <a:gd name="connsiteX0" fmla="*/ 1619 w 3210"/>
                      <a:gd name="connsiteY0" fmla="*/ 4693 h 4692"/>
                      <a:gd name="connsiteX1" fmla="*/ 0 w 3210"/>
                      <a:gd name="connsiteY1" fmla="*/ 4693 h 4692"/>
                      <a:gd name="connsiteX2" fmla="*/ 274 w 3210"/>
                      <a:gd name="connsiteY2" fmla="*/ 1043 h 4692"/>
                      <a:gd name="connsiteX3" fmla="*/ 1619 w 3210"/>
                      <a:gd name="connsiteY3" fmla="*/ 0 h 4692"/>
                      <a:gd name="connsiteX4" fmla="*/ 2662 w 3210"/>
                      <a:gd name="connsiteY4" fmla="*/ 0 h 4692"/>
                      <a:gd name="connsiteX5" fmla="*/ 3211 w 3210"/>
                      <a:gd name="connsiteY5" fmla="*/ 2086 h 4692"/>
                      <a:gd name="connsiteX6" fmla="*/ 1619 w 3210"/>
                      <a:gd name="connsiteY6" fmla="*/ 4693 h 4692"/>
                      <a:gd name="connsiteX7" fmla="*/ 1619 w 3210"/>
                      <a:gd name="connsiteY7" fmla="*/ 4693 h 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0" h="4692">
                        <a:moveTo>
                          <a:pt x="1619" y="4693"/>
                        </a:moveTo>
                        <a:lnTo>
                          <a:pt x="0" y="4693"/>
                        </a:lnTo>
                        <a:lnTo>
                          <a:pt x="274" y="1043"/>
                        </a:lnTo>
                        <a:lnTo>
                          <a:pt x="1619" y="0"/>
                        </a:lnTo>
                        <a:lnTo>
                          <a:pt x="2662" y="0"/>
                        </a:lnTo>
                        <a:lnTo>
                          <a:pt x="3211" y="2086"/>
                        </a:lnTo>
                        <a:lnTo>
                          <a:pt x="1619" y="4693"/>
                        </a:lnTo>
                        <a:lnTo>
                          <a:pt x="1619" y="469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6" name="Freeform: Shape 3525">
                    <a:extLst>
                      <a:ext uri="{FF2B5EF4-FFF2-40B4-BE49-F238E27FC236}">
                        <a16:creationId xmlns:a16="http://schemas.microsoft.com/office/drawing/2014/main" id="{F6E32CDA-211A-F1CF-C2E5-C54448A44DE9}"/>
                      </a:ext>
                    </a:extLst>
                  </p:cNvPr>
                  <p:cNvSpPr/>
                  <p:nvPr/>
                </p:nvSpPr>
                <p:spPr>
                  <a:xfrm>
                    <a:off x="-5704329" y="2917984"/>
                    <a:ext cx="89985" cy="48820"/>
                  </a:xfrm>
                  <a:custGeom>
                    <a:avLst/>
                    <a:gdLst>
                      <a:gd name="connsiteX0" fmla="*/ 6476 w 89985"/>
                      <a:gd name="connsiteY0" fmla="*/ 19621 h 48820"/>
                      <a:gd name="connsiteX1" fmla="*/ 39216 w 89985"/>
                      <a:gd name="connsiteY1" fmla="*/ 17454 h 48820"/>
                      <a:gd name="connsiteX2" fmla="*/ 41576 w 89985"/>
                      <a:gd name="connsiteY2" fmla="*/ 13667 h 48820"/>
                      <a:gd name="connsiteX3" fmla="*/ 43223 w 89985"/>
                      <a:gd name="connsiteY3" fmla="*/ 1729 h 48820"/>
                      <a:gd name="connsiteX4" fmla="*/ 46351 w 89985"/>
                      <a:gd name="connsiteY4" fmla="*/ 0 h 48820"/>
                      <a:gd name="connsiteX5" fmla="*/ 54310 w 89985"/>
                      <a:gd name="connsiteY5" fmla="*/ 5132 h 48820"/>
                      <a:gd name="connsiteX6" fmla="*/ 66933 w 89985"/>
                      <a:gd name="connsiteY6" fmla="*/ 12239 h 48820"/>
                      <a:gd name="connsiteX7" fmla="*/ 81889 w 89985"/>
                      <a:gd name="connsiteY7" fmla="*/ 10757 h 48820"/>
                      <a:gd name="connsiteX8" fmla="*/ 89986 w 89985"/>
                      <a:gd name="connsiteY8" fmla="*/ 23656 h 48820"/>
                      <a:gd name="connsiteX9" fmla="*/ 84963 w 89985"/>
                      <a:gd name="connsiteY9" fmla="*/ 36499 h 48820"/>
                      <a:gd name="connsiteX10" fmla="*/ 87872 w 89985"/>
                      <a:gd name="connsiteY10" fmla="*/ 46763 h 48820"/>
                      <a:gd name="connsiteX11" fmla="*/ 51620 w 89985"/>
                      <a:gd name="connsiteY11" fmla="*/ 48821 h 48820"/>
                      <a:gd name="connsiteX12" fmla="*/ 14984 w 89985"/>
                      <a:gd name="connsiteY12" fmla="*/ 44787 h 48820"/>
                      <a:gd name="connsiteX13" fmla="*/ 0 w 89985"/>
                      <a:gd name="connsiteY13" fmla="*/ 42756 h 48820"/>
                      <a:gd name="connsiteX14" fmla="*/ 11334 w 89985"/>
                      <a:gd name="connsiteY14" fmla="*/ 32959 h 48820"/>
                      <a:gd name="connsiteX15" fmla="*/ 6120 w 89985"/>
                      <a:gd name="connsiteY15" fmla="*/ 26757 h 48820"/>
                      <a:gd name="connsiteX16" fmla="*/ 6476 w 89985"/>
                      <a:gd name="connsiteY16" fmla="*/ 19621 h 4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985" h="48820">
                        <a:moveTo>
                          <a:pt x="6476" y="19621"/>
                        </a:moveTo>
                        <a:lnTo>
                          <a:pt x="39216" y="17454"/>
                        </a:lnTo>
                        <a:lnTo>
                          <a:pt x="41576" y="13667"/>
                        </a:lnTo>
                        <a:lnTo>
                          <a:pt x="43223" y="1729"/>
                        </a:lnTo>
                        <a:lnTo>
                          <a:pt x="46351" y="0"/>
                        </a:lnTo>
                        <a:lnTo>
                          <a:pt x="54310" y="5132"/>
                        </a:lnTo>
                        <a:lnTo>
                          <a:pt x="66933" y="12239"/>
                        </a:lnTo>
                        <a:lnTo>
                          <a:pt x="81889" y="10757"/>
                        </a:lnTo>
                        <a:lnTo>
                          <a:pt x="89986" y="23656"/>
                        </a:lnTo>
                        <a:lnTo>
                          <a:pt x="84963" y="36499"/>
                        </a:lnTo>
                        <a:lnTo>
                          <a:pt x="87872" y="46763"/>
                        </a:lnTo>
                        <a:lnTo>
                          <a:pt x="51620" y="48821"/>
                        </a:lnTo>
                        <a:lnTo>
                          <a:pt x="14984" y="44787"/>
                        </a:lnTo>
                        <a:lnTo>
                          <a:pt x="0" y="42756"/>
                        </a:lnTo>
                        <a:lnTo>
                          <a:pt x="11334" y="32959"/>
                        </a:lnTo>
                        <a:lnTo>
                          <a:pt x="6120" y="26757"/>
                        </a:lnTo>
                        <a:lnTo>
                          <a:pt x="6476" y="19621"/>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7" name="Freeform: Shape 3526">
                    <a:extLst>
                      <a:ext uri="{FF2B5EF4-FFF2-40B4-BE49-F238E27FC236}">
                        <a16:creationId xmlns:a16="http://schemas.microsoft.com/office/drawing/2014/main" id="{D69FAB95-1BDE-F64D-381B-1DF4F88C8261}"/>
                      </a:ext>
                    </a:extLst>
                  </p:cNvPr>
                  <p:cNvSpPr/>
                  <p:nvPr/>
                </p:nvSpPr>
                <p:spPr>
                  <a:xfrm>
                    <a:off x="-5702957" y="2947595"/>
                    <a:ext cx="4116" cy="4445"/>
                  </a:xfrm>
                  <a:custGeom>
                    <a:avLst/>
                    <a:gdLst>
                      <a:gd name="connsiteX0" fmla="*/ 0 w 4116"/>
                      <a:gd name="connsiteY0" fmla="*/ 2580 h 4445"/>
                      <a:gd name="connsiteX1" fmla="*/ 1729 w 4116"/>
                      <a:gd name="connsiteY1" fmla="*/ 0 h 4445"/>
                      <a:gd name="connsiteX2" fmla="*/ 3293 w 4116"/>
                      <a:gd name="connsiteY2" fmla="*/ 412 h 4445"/>
                      <a:gd name="connsiteX3" fmla="*/ 4116 w 4116"/>
                      <a:gd name="connsiteY3" fmla="*/ 3815 h 4445"/>
                      <a:gd name="connsiteX4" fmla="*/ 1043 w 4116"/>
                      <a:gd name="connsiteY4" fmla="*/ 4446 h 4445"/>
                      <a:gd name="connsiteX5" fmla="*/ 27 w 4116"/>
                      <a:gd name="connsiteY5" fmla="*/ 2580 h 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6" h="4445">
                        <a:moveTo>
                          <a:pt x="0" y="2580"/>
                        </a:moveTo>
                        <a:lnTo>
                          <a:pt x="1729" y="0"/>
                        </a:lnTo>
                        <a:lnTo>
                          <a:pt x="3293" y="412"/>
                        </a:lnTo>
                        <a:lnTo>
                          <a:pt x="4116" y="3815"/>
                        </a:lnTo>
                        <a:lnTo>
                          <a:pt x="1043" y="4446"/>
                        </a:lnTo>
                        <a:lnTo>
                          <a:pt x="27" y="258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8" name="Freeform: Shape 3527">
                    <a:extLst>
                      <a:ext uri="{FF2B5EF4-FFF2-40B4-BE49-F238E27FC236}">
                        <a16:creationId xmlns:a16="http://schemas.microsoft.com/office/drawing/2014/main" id="{54DD2D7E-80BC-3EAA-D878-1A5F7AE82104}"/>
                      </a:ext>
                    </a:extLst>
                  </p:cNvPr>
                  <p:cNvSpPr/>
                  <p:nvPr/>
                </p:nvSpPr>
                <p:spPr>
                  <a:xfrm>
                    <a:off x="-5959384" y="2031850"/>
                    <a:ext cx="383021" cy="882456"/>
                  </a:xfrm>
                  <a:custGeom>
                    <a:avLst/>
                    <a:gdLst>
                      <a:gd name="connsiteX0" fmla="*/ 330194 w 383021"/>
                      <a:gd name="connsiteY0" fmla="*/ 47806 h 882456"/>
                      <a:gd name="connsiteX1" fmla="*/ 350420 w 383021"/>
                      <a:gd name="connsiteY1" fmla="*/ 61390 h 882456"/>
                      <a:gd name="connsiteX2" fmla="*/ 353932 w 383021"/>
                      <a:gd name="connsiteY2" fmla="*/ 73575 h 882456"/>
                      <a:gd name="connsiteX3" fmla="*/ 357747 w 383021"/>
                      <a:gd name="connsiteY3" fmla="*/ 74563 h 882456"/>
                      <a:gd name="connsiteX4" fmla="*/ 366940 w 383021"/>
                      <a:gd name="connsiteY4" fmla="*/ 87653 h 882456"/>
                      <a:gd name="connsiteX5" fmla="*/ 367379 w 383021"/>
                      <a:gd name="connsiteY5" fmla="*/ 91522 h 882456"/>
                      <a:gd name="connsiteX6" fmla="*/ 363345 w 383021"/>
                      <a:gd name="connsiteY6" fmla="*/ 98959 h 882456"/>
                      <a:gd name="connsiteX7" fmla="*/ 364882 w 383021"/>
                      <a:gd name="connsiteY7" fmla="*/ 116989 h 882456"/>
                      <a:gd name="connsiteX8" fmla="*/ 361534 w 383021"/>
                      <a:gd name="connsiteY8" fmla="*/ 125442 h 882456"/>
                      <a:gd name="connsiteX9" fmla="*/ 370727 w 383021"/>
                      <a:gd name="connsiteY9" fmla="*/ 129970 h 882456"/>
                      <a:gd name="connsiteX10" fmla="*/ 370426 w 383021"/>
                      <a:gd name="connsiteY10" fmla="*/ 139136 h 882456"/>
                      <a:gd name="connsiteX11" fmla="*/ 366556 w 383021"/>
                      <a:gd name="connsiteY11" fmla="*/ 142511 h 882456"/>
                      <a:gd name="connsiteX12" fmla="*/ 365678 w 383021"/>
                      <a:gd name="connsiteY12" fmla="*/ 148027 h 882456"/>
                      <a:gd name="connsiteX13" fmla="*/ 377505 w 383021"/>
                      <a:gd name="connsiteY13" fmla="*/ 174510 h 882456"/>
                      <a:gd name="connsiteX14" fmla="*/ 374515 w 383021"/>
                      <a:gd name="connsiteY14" fmla="*/ 194378 h 882456"/>
                      <a:gd name="connsiteX15" fmla="*/ 368944 w 383021"/>
                      <a:gd name="connsiteY15" fmla="*/ 202474 h 882456"/>
                      <a:gd name="connsiteX16" fmla="*/ 368614 w 383021"/>
                      <a:gd name="connsiteY16" fmla="*/ 214933 h 882456"/>
                      <a:gd name="connsiteX17" fmla="*/ 370672 w 383021"/>
                      <a:gd name="connsiteY17" fmla="*/ 221300 h 882456"/>
                      <a:gd name="connsiteX18" fmla="*/ 375804 w 383021"/>
                      <a:gd name="connsiteY18" fmla="*/ 225444 h 882456"/>
                      <a:gd name="connsiteX19" fmla="*/ 381897 w 383021"/>
                      <a:gd name="connsiteY19" fmla="*/ 241773 h 882456"/>
                      <a:gd name="connsiteX20" fmla="*/ 383022 w 383021"/>
                      <a:gd name="connsiteY20" fmla="*/ 249292 h 882456"/>
                      <a:gd name="connsiteX21" fmla="*/ 368944 w 383021"/>
                      <a:gd name="connsiteY21" fmla="*/ 249292 h 882456"/>
                      <a:gd name="connsiteX22" fmla="*/ 352944 w 383021"/>
                      <a:gd name="connsiteY22" fmla="*/ 255110 h 882456"/>
                      <a:gd name="connsiteX23" fmla="*/ 343367 w 383021"/>
                      <a:gd name="connsiteY23" fmla="*/ 248469 h 882456"/>
                      <a:gd name="connsiteX24" fmla="*/ 341418 w 383021"/>
                      <a:gd name="connsiteY24" fmla="*/ 254781 h 882456"/>
                      <a:gd name="connsiteX25" fmla="*/ 331511 w 383021"/>
                      <a:gd name="connsiteY25" fmla="*/ 249127 h 882456"/>
                      <a:gd name="connsiteX26" fmla="*/ 329261 w 383021"/>
                      <a:gd name="connsiteY26" fmla="*/ 263645 h 882456"/>
                      <a:gd name="connsiteX27" fmla="*/ 324925 w 383021"/>
                      <a:gd name="connsiteY27" fmla="*/ 273826 h 882456"/>
                      <a:gd name="connsiteX28" fmla="*/ 318888 w 383021"/>
                      <a:gd name="connsiteY28" fmla="*/ 273414 h 882456"/>
                      <a:gd name="connsiteX29" fmla="*/ 315951 w 383021"/>
                      <a:gd name="connsiteY29" fmla="*/ 288096 h 882456"/>
                      <a:gd name="connsiteX30" fmla="*/ 310243 w 383021"/>
                      <a:gd name="connsiteY30" fmla="*/ 284666 h 882456"/>
                      <a:gd name="connsiteX31" fmla="*/ 305385 w 383021"/>
                      <a:gd name="connsiteY31" fmla="*/ 301790 h 882456"/>
                      <a:gd name="connsiteX32" fmla="*/ 294628 w 383021"/>
                      <a:gd name="connsiteY32" fmla="*/ 320754 h 882456"/>
                      <a:gd name="connsiteX33" fmla="*/ 297729 w 383021"/>
                      <a:gd name="connsiteY33" fmla="*/ 332828 h 882456"/>
                      <a:gd name="connsiteX34" fmla="*/ 303876 w 383021"/>
                      <a:gd name="connsiteY34" fmla="*/ 343174 h 882456"/>
                      <a:gd name="connsiteX35" fmla="*/ 303739 w 383021"/>
                      <a:gd name="connsiteY35" fmla="*/ 348169 h 882456"/>
                      <a:gd name="connsiteX36" fmla="*/ 291088 w 383021"/>
                      <a:gd name="connsiteY36" fmla="*/ 364113 h 882456"/>
                      <a:gd name="connsiteX37" fmla="*/ 277092 w 383021"/>
                      <a:gd name="connsiteY37" fmla="*/ 392160 h 882456"/>
                      <a:gd name="connsiteX38" fmla="*/ 261614 w 383021"/>
                      <a:gd name="connsiteY38" fmla="*/ 398939 h 882456"/>
                      <a:gd name="connsiteX39" fmla="*/ 253298 w 383021"/>
                      <a:gd name="connsiteY39" fmla="*/ 409559 h 882456"/>
                      <a:gd name="connsiteX40" fmla="*/ 252283 w 383021"/>
                      <a:gd name="connsiteY40" fmla="*/ 410849 h 882456"/>
                      <a:gd name="connsiteX41" fmla="*/ 250418 w 383021"/>
                      <a:gd name="connsiteY41" fmla="*/ 409559 h 882456"/>
                      <a:gd name="connsiteX42" fmla="*/ 246685 w 383021"/>
                      <a:gd name="connsiteY42" fmla="*/ 406924 h 882456"/>
                      <a:gd name="connsiteX43" fmla="*/ 245999 w 383021"/>
                      <a:gd name="connsiteY43" fmla="*/ 409559 h 882456"/>
                      <a:gd name="connsiteX44" fmla="*/ 245175 w 383021"/>
                      <a:gd name="connsiteY44" fmla="*/ 412550 h 882456"/>
                      <a:gd name="connsiteX45" fmla="*/ 239879 w 383021"/>
                      <a:gd name="connsiteY45" fmla="*/ 410574 h 882456"/>
                      <a:gd name="connsiteX46" fmla="*/ 238177 w 383021"/>
                      <a:gd name="connsiteY46" fmla="*/ 415679 h 882456"/>
                      <a:gd name="connsiteX47" fmla="*/ 236174 w 383021"/>
                      <a:gd name="connsiteY47" fmla="*/ 421826 h 882456"/>
                      <a:gd name="connsiteX48" fmla="*/ 231344 w 383021"/>
                      <a:gd name="connsiteY48" fmla="*/ 427177 h 882456"/>
                      <a:gd name="connsiteX49" fmla="*/ 223797 w 383021"/>
                      <a:gd name="connsiteY49" fmla="*/ 423939 h 882456"/>
                      <a:gd name="connsiteX50" fmla="*/ 224154 w 383021"/>
                      <a:gd name="connsiteY50" fmla="*/ 428934 h 882456"/>
                      <a:gd name="connsiteX51" fmla="*/ 217705 w 383021"/>
                      <a:gd name="connsiteY51" fmla="*/ 435794 h 882456"/>
                      <a:gd name="connsiteX52" fmla="*/ 213561 w 383021"/>
                      <a:gd name="connsiteY52" fmla="*/ 449982 h 882456"/>
                      <a:gd name="connsiteX53" fmla="*/ 207579 w 383021"/>
                      <a:gd name="connsiteY53" fmla="*/ 455361 h 882456"/>
                      <a:gd name="connsiteX54" fmla="*/ 203710 w 383021"/>
                      <a:gd name="connsiteY54" fmla="*/ 465845 h 882456"/>
                      <a:gd name="connsiteX55" fmla="*/ 186558 w 383021"/>
                      <a:gd name="connsiteY55" fmla="*/ 482310 h 882456"/>
                      <a:gd name="connsiteX56" fmla="*/ 189329 w 383021"/>
                      <a:gd name="connsiteY56" fmla="*/ 491229 h 882456"/>
                      <a:gd name="connsiteX57" fmla="*/ 187024 w 383021"/>
                      <a:gd name="connsiteY57" fmla="*/ 496361 h 882456"/>
                      <a:gd name="connsiteX58" fmla="*/ 183100 w 383021"/>
                      <a:gd name="connsiteY58" fmla="*/ 513760 h 882456"/>
                      <a:gd name="connsiteX59" fmla="*/ 186914 w 383021"/>
                      <a:gd name="connsiteY59" fmla="*/ 525451 h 882456"/>
                      <a:gd name="connsiteX60" fmla="*/ 185240 w 383021"/>
                      <a:gd name="connsiteY60" fmla="*/ 527509 h 882456"/>
                      <a:gd name="connsiteX61" fmla="*/ 180246 w 383021"/>
                      <a:gd name="connsiteY61" fmla="*/ 524408 h 882456"/>
                      <a:gd name="connsiteX62" fmla="*/ 175964 w 383021"/>
                      <a:gd name="connsiteY62" fmla="*/ 533354 h 882456"/>
                      <a:gd name="connsiteX63" fmla="*/ 177885 w 383021"/>
                      <a:gd name="connsiteY63" fmla="*/ 562334 h 882456"/>
                      <a:gd name="connsiteX64" fmla="*/ 183484 w 383021"/>
                      <a:gd name="connsiteY64" fmla="*/ 587472 h 882456"/>
                      <a:gd name="connsiteX65" fmla="*/ 189576 w 383021"/>
                      <a:gd name="connsiteY65" fmla="*/ 588981 h 882456"/>
                      <a:gd name="connsiteX66" fmla="*/ 192430 w 383021"/>
                      <a:gd name="connsiteY66" fmla="*/ 593729 h 882456"/>
                      <a:gd name="connsiteX67" fmla="*/ 200910 w 383021"/>
                      <a:gd name="connsiteY67" fmla="*/ 589914 h 882456"/>
                      <a:gd name="connsiteX68" fmla="*/ 204478 w 383021"/>
                      <a:gd name="connsiteY68" fmla="*/ 599300 h 882456"/>
                      <a:gd name="connsiteX69" fmla="*/ 211558 w 383021"/>
                      <a:gd name="connsiteY69" fmla="*/ 604953 h 882456"/>
                      <a:gd name="connsiteX70" fmla="*/ 215071 w 383021"/>
                      <a:gd name="connsiteY70" fmla="*/ 598175 h 882456"/>
                      <a:gd name="connsiteX71" fmla="*/ 220065 w 383021"/>
                      <a:gd name="connsiteY71" fmla="*/ 607972 h 882456"/>
                      <a:gd name="connsiteX72" fmla="*/ 217101 w 383021"/>
                      <a:gd name="connsiteY72" fmla="*/ 617604 h 882456"/>
                      <a:gd name="connsiteX73" fmla="*/ 221547 w 383021"/>
                      <a:gd name="connsiteY73" fmla="*/ 618098 h 882456"/>
                      <a:gd name="connsiteX74" fmla="*/ 224319 w 383021"/>
                      <a:gd name="connsiteY74" fmla="*/ 614311 h 882456"/>
                      <a:gd name="connsiteX75" fmla="*/ 229204 w 383021"/>
                      <a:gd name="connsiteY75" fmla="*/ 629020 h 882456"/>
                      <a:gd name="connsiteX76" fmla="*/ 235351 w 383021"/>
                      <a:gd name="connsiteY76" fmla="*/ 635936 h 882456"/>
                      <a:gd name="connsiteX77" fmla="*/ 234994 w 383021"/>
                      <a:gd name="connsiteY77" fmla="*/ 641836 h 882456"/>
                      <a:gd name="connsiteX78" fmla="*/ 226158 w 383021"/>
                      <a:gd name="connsiteY78" fmla="*/ 646200 h 882456"/>
                      <a:gd name="connsiteX79" fmla="*/ 224923 w 383021"/>
                      <a:gd name="connsiteY79" fmla="*/ 664257 h 882456"/>
                      <a:gd name="connsiteX80" fmla="*/ 226295 w 383021"/>
                      <a:gd name="connsiteY80" fmla="*/ 665163 h 882456"/>
                      <a:gd name="connsiteX81" fmla="*/ 229122 w 383021"/>
                      <a:gd name="connsiteY81" fmla="*/ 658522 h 882456"/>
                      <a:gd name="connsiteX82" fmla="*/ 229780 w 383021"/>
                      <a:gd name="connsiteY82" fmla="*/ 663379 h 882456"/>
                      <a:gd name="connsiteX83" fmla="*/ 217623 w 383021"/>
                      <a:gd name="connsiteY83" fmla="*/ 682040 h 882456"/>
                      <a:gd name="connsiteX84" fmla="*/ 209774 w 383021"/>
                      <a:gd name="connsiteY84" fmla="*/ 680257 h 882456"/>
                      <a:gd name="connsiteX85" fmla="*/ 197974 w 383021"/>
                      <a:gd name="connsiteY85" fmla="*/ 693292 h 882456"/>
                      <a:gd name="connsiteX86" fmla="*/ 189412 w 383021"/>
                      <a:gd name="connsiteY86" fmla="*/ 687035 h 882456"/>
                      <a:gd name="connsiteX87" fmla="*/ 189686 w 383021"/>
                      <a:gd name="connsiteY87" fmla="*/ 692057 h 882456"/>
                      <a:gd name="connsiteX88" fmla="*/ 187435 w 383021"/>
                      <a:gd name="connsiteY88" fmla="*/ 697765 h 882456"/>
                      <a:gd name="connsiteX89" fmla="*/ 178928 w 383021"/>
                      <a:gd name="connsiteY89" fmla="*/ 700235 h 882456"/>
                      <a:gd name="connsiteX90" fmla="*/ 178928 w 383021"/>
                      <a:gd name="connsiteY90" fmla="*/ 705120 h 882456"/>
                      <a:gd name="connsiteX91" fmla="*/ 174647 w 383021"/>
                      <a:gd name="connsiteY91" fmla="*/ 702924 h 882456"/>
                      <a:gd name="connsiteX92" fmla="*/ 165234 w 383021"/>
                      <a:gd name="connsiteY92" fmla="*/ 705422 h 882456"/>
                      <a:gd name="connsiteX93" fmla="*/ 169762 w 383021"/>
                      <a:gd name="connsiteY93" fmla="*/ 711349 h 882456"/>
                      <a:gd name="connsiteX94" fmla="*/ 171738 w 383021"/>
                      <a:gd name="connsiteY94" fmla="*/ 717606 h 882456"/>
                      <a:gd name="connsiteX95" fmla="*/ 170229 w 383021"/>
                      <a:gd name="connsiteY95" fmla="*/ 721421 h 882456"/>
                      <a:gd name="connsiteX96" fmla="*/ 172534 w 383021"/>
                      <a:gd name="connsiteY96" fmla="*/ 727486 h 882456"/>
                      <a:gd name="connsiteX97" fmla="*/ 162737 w 383021"/>
                      <a:gd name="connsiteY97" fmla="*/ 740741 h 882456"/>
                      <a:gd name="connsiteX98" fmla="*/ 166881 w 383021"/>
                      <a:gd name="connsiteY98" fmla="*/ 744199 h 882456"/>
                      <a:gd name="connsiteX99" fmla="*/ 164548 w 383021"/>
                      <a:gd name="connsiteY99" fmla="*/ 752596 h 882456"/>
                      <a:gd name="connsiteX100" fmla="*/ 164850 w 383021"/>
                      <a:gd name="connsiteY100" fmla="*/ 766757 h 882456"/>
                      <a:gd name="connsiteX101" fmla="*/ 157550 w 383021"/>
                      <a:gd name="connsiteY101" fmla="*/ 784952 h 882456"/>
                      <a:gd name="connsiteX102" fmla="*/ 159389 w 383021"/>
                      <a:gd name="connsiteY102" fmla="*/ 789260 h 882456"/>
                      <a:gd name="connsiteX103" fmla="*/ 156343 w 383021"/>
                      <a:gd name="connsiteY103" fmla="*/ 796313 h 882456"/>
                      <a:gd name="connsiteX104" fmla="*/ 153544 w 383021"/>
                      <a:gd name="connsiteY104" fmla="*/ 812093 h 882456"/>
                      <a:gd name="connsiteX105" fmla="*/ 145036 w 383021"/>
                      <a:gd name="connsiteY105" fmla="*/ 831138 h 882456"/>
                      <a:gd name="connsiteX106" fmla="*/ 143691 w 383021"/>
                      <a:gd name="connsiteY106" fmla="*/ 836489 h 882456"/>
                      <a:gd name="connsiteX107" fmla="*/ 136968 w 383021"/>
                      <a:gd name="connsiteY107" fmla="*/ 845079 h 882456"/>
                      <a:gd name="connsiteX108" fmla="*/ 131507 w 383021"/>
                      <a:gd name="connsiteY108" fmla="*/ 838712 h 882456"/>
                      <a:gd name="connsiteX109" fmla="*/ 123878 w 383021"/>
                      <a:gd name="connsiteY109" fmla="*/ 841786 h 882456"/>
                      <a:gd name="connsiteX110" fmla="*/ 106698 w 383021"/>
                      <a:gd name="connsiteY110" fmla="*/ 841100 h 882456"/>
                      <a:gd name="connsiteX111" fmla="*/ 104393 w 383021"/>
                      <a:gd name="connsiteY111" fmla="*/ 847906 h 882456"/>
                      <a:gd name="connsiteX112" fmla="*/ 100359 w 383021"/>
                      <a:gd name="connsiteY112" fmla="*/ 845244 h 882456"/>
                      <a:gd name="connsiteX113" fmla="*/ 91166 w 383021"/>
                      <a:gd name="connsiteY113" fmla="*/ 857319 h 882456"/>
                      <a:gd name="connsiteX114" fmla="*/ 90809 w 383021"/>
                      <a:gd name="connsiteY114" fmla="*/ 862505 h 882456"/>
                      <a:gd name="connsiteX115" fmla="*/ 93745 w 383021"/>
                      <a:gd name="connsiteY115" fmla="*/ 871726 h 882456"/>
                      <a:gd name="connsiteX116" fmla="*/ 90205 w 383021"/>
                      <a:gd name="connsiteY116" fmla="*/ 879081 h 882456"/>
                      <a:gd name="connsiteX117" fmla="*/ 75935 w 383021"/>
                      <a:gd name="connsiteY117" fmla="*/ 878834 h 882456"/>
                      <a:gd name="connsiteX118" fmla="*/ 64903 w 383021"/>
                      <a:gd name="connsiteY118" fmla="*/ 882456 h 882456"/>
                      <a:gd name="connsiteX119" fmla="*/ 55600 w 383021"/>
                      <a:gd name="connsiteY119" fmla="*/ 879383 h 882456"/>
                      <a:gd name="connsiteX120" fmla="*/ 52773 w 383021"/>
                      <a:gd name="connsiteY120" fmla="*/ 872522 h 882456"/>
                      <a:gd name="connsiteX121" fmla="*/ 55298 w 383021"/>
                      <a:gd name="connsiteY121" fmla="*/ 863932 h 882456"/>
                      <a:gd name="connsiteX122" fmla="*/ 41604 w 383021"/>
                      <a:gd name="connsiteY122" fmla="*/ 836572 h 882456"/>
                      <a:gd name="connsiteX123" fmla="*/ 48300 w 383021"/>
                      <a:gd name="connsiteY123" fmla="*/ 835611 h 882456"/>
                      <a:gd name="connsiteX124" fmla="*/ 46214 w 383021"/>
                      <a:gd name="connsiteY124" fmla="*/ 826445 h 882456"/>
                      <a:gd name="connsiteX125" fmla="*/ 51922 w 383021"/>
                      <a:gd name="connsiteY125" fmla="*/ 824689 h 882456"/>
                      <a:gd name="connsiteX126" fmla="*/ 52032 w 383021"/>
                      <a:gd name="connsiteY126" fmla="*/ 815605 h 882456"/>
                      <a:gd name="connsiteX127" fmla="*/ 47092 w 383021"/>
                      <a:gd name="connsiteY127" fmla="*/ 812833 h 882456"/>
                      <a:gd name="connsiteX128" fmla="*/ 42180 w 383021"/>
                      <a:gd name="connsiteY128" fmla="*/ 803668 h 882456"/>
                      <a:gd name="connsiteX129" fmla="*/ 36609 w 383021"/>
                      <a:gd name="connsiteY129" fmla="*/ 799112 h 882456"/>
                      <a:gd name="connsiteX130" fmla="*/ 32136 w 383021"/>
                      <a:gd name="connsiteY130" fmla="*/ 786378 h 882456"/>
                      <a:gd name="connsiteX131" fmla="*/ 29474 w 383021"/>
                      <a:gd name="connsiteY131" fmla="*/ 782262 h 882456"/>
                      <a:gd name="connsiteX132" fmla="*/ 28239 w 383021"/>
                      <a:gd name="connsiteY132" fmla="*/ 772794 h 882456"/>
                      <a:gd name="connsiteX133" fmla="*/ 23518 w 383021"/>
                      <a:gd name="connsiteY133" fmla="*/ 774633 h 882456"/>
                      <a:gd name="connsiteX134" fmla="*/ 23244 w 383021"/>
                      <a:gd name="connsiteY134" fmla="*/ 764534 h 882456"/>
                      <a:gd name="connsiteX135" fmla="*/ 21241 w 383021"/>
                      <a:gd name="connsiteY135" fmla="*/ 761405 h 882456"/>
                      <a:gd name="connsiteX136" fmla="*/ 18469 w 383021"/>
                      <a:gd name="connsiteY136" fmla="*/ 764205 h 882456"/>
                      <a:gd name="connsiteX137" fmla="*/ 17619 w 383021"/>
                      <a:gd name="connsiteY137" fmla="*/ 755670 h 882456"/>
                      <a:gd name="connsiteX138" fmla="*/ 13228 w 383021"/>
                      <a:gd name="connsiteY138" fmla="*/ 755423 h 882456"/>
                      <a:gd name="connsiteX139" fmla="*/ 15395 w 383021"/>
                      <a:gd name="connsiteY139" fmla="*/ 748288 h 882456"/>
                      <a:gd name="connsiteX140" fmla="*/ 10922 w 383021"/>
                      <a:gd name="connsiteY140" fmla="*/ 740659 h 882456"/>
                      <a:gd name="connsiteX141" fmla="*/ 7767 w 383021"/>
                      <a:gd name="connsiteY141" fmla="*/ 726059 h 882456"/>
                      <a:gd name="connsiteX142" fmla="*/ 2964 w 383021"/>
                      <a:gd name="connsiteY142" fmla="*/ 718155 h 882456"/>
                      <a:gd name="connsiteX143" fmla="*/ 2689 w 383021"/>
                      <a:gd name="connsiteY143" fmla="*/ 699494 h 882456"/>
                      <a:gd name="connsiteX144" fmla="*/ 0 w 383021"/>
                      <a:gd name="connsiteY144" fmla="*/ 685690 h 882456"/>
                      <a:gd name="connsiteX145" fmla="*/ 4528 w 383021"/>
                      <a:gd name="connsiteY145" fmla="*/ 679763 h 882456"/>
                      <a:gd name="connsiteX146" fmla="*/ 9660 w 383021"/>
                      <a:gd name="connsiteY146" fmla="*/ 684730 h 882456"/>
                      <a:gd name="connsiteX147" fmla="*/ 10319 w 383021"/>
                      <a:gd name="connsiteY147" fmla="*/ 690218 h 882456"/>
                      <a:gd name="connsiteX148" fmla="*/ 14792 w 383021"/>
                      <a:gd name="connsiteY148" fmla="*/ 689148 h 882456"/>
                      <a:gd name="connsiteX149" fmla="*/ 19046 w 383021"/>
                      <a:gd name="connsiteY149" fmla="*/ 673451 h 882456"/>
                      <a:gd name="connsiteX150" fmla="*/ 20418 w 383021"/>
                      <a:gd name="connsiteY150" fmla="*/ 670432 h 882456"/>
                      <a:gd name="connsiteX151" fmla="*/ 17372 w 383021"/>
                      <a:gd name="connsiteY151" fmla="*/ 650975 h 882456"/>
                      <a:gd name="connsiteX152" fmla="*/ 22777 w 383021"/>
                      <a:gd name="connsiteY152" fmla="*/ 644224 h 882456"/>
                      <a:gd name="connsiteX153" fmla="*/ 23382 w 383021"/>
                      <a:gd name="connsiteY153" fmla="*/ 638406 h 882456"/>
                      <a:gd name="connsiteX154" fmla="*/ 20802 w 383021"/>
                      <a:gd name="connsiteY154" fmla="*/ 635470 h 882456"/>
                      <a:gd name="connsiteX155" fmla="*/ 31505 w 383021"/>
                      <a:gd name="connsiteY155" fmla="*/ 631216 h 882456"/>
                      <a:gd name="connsiteX156" fmla="*/ 39490 w 383021"/>
                      <a:gd name="connsiteY156" fmla="*/ 620129 h 882456"/>
                      <a:gd name="connsiteX157" fmla="*/ 42784 w 383021"/>
                      <a:gd name="connsiteY157" fmla="*/ 596693 h 882456"/>
                      <a:gd name="connsiteX158" fmla="*/ 33426 w 383021"/>
                      <a:gd name="connsiteY158" fmla="*/ 566917 h 882456"/>
                      <a:gd name="connsiteX159" fmla="*/ 45199 w 383021"/>
                      <a:gd name="connsiteY159" fmla="*/ 562965 h 882456"/>
                      <a:gd name="connsiteX160" fmla="*/ 50248 w 383021"/>
                      <a:gd name="connsiteY160" fmla="*/ 549381 h 882456"/>
                      <a:gd name="connsiteX161" fmla="*/ 50358 w 383021"/>
                      <a:gd name="connsiteY161" fmla="*/ 543865 h 882456"/>
                      <a:gd name="connsiteX162" fmla="*/ 43607 w 383021"/>
                      <a:gd name="connsiteY162" fmla="*/ 533601 h 882456"/>
                      <a:gd name="connsiteX163" fmla="*/ 37350 w 383021"/>
                      <a:gd name="connsiteY163" fmla="*/ 531022 h 882456"/>
                      <a:gd name="connsiteX164" fmla="*/ 30105 w 383021"/>
                      <a:gd name="connsiteY164" fmla="*/ 521636 h 882456"/>
                      <a:gd name="connsiteX165" fmla="*/ 34332 w 383021"/>
                      <a:gd name="connsiteY165" fmla="*/ 487909 h 882456"/>
                      <a:gd name="connsiteX166" fmla="*/ 33014 w 383021"/>
                      <a:gd name="connsiteY166" fmla="*/ 483875 h 882456"/>
                      <a:gd name="connsiteX167" fmla="*/ 27333 w 383021"/>
                      <a:gd name="connsiteY167" fmla="*/ 465488 h 882456"/>
                      <a:gd name="connsiteX168" fmla="*/ 29144 w 383021"/>
                      <a:gd name="connsiteY168" fmla="*/ 457502 h 882456"/>
                      <a:gd name="connsiteX169" fmla="*/ 28211 w 383021"/>
                      <a:gd name="connsiteY169" fmla="*/ 447842 h 882456"/>
                      <a:gd name="connsiteX170" fmla="*/ 31285 w 383021"/>
                      <a:gd name="connsiteY170" fmla="*/ 440707 h 882456"/>
                      <a:gd name="connsiteX171" fmla="*/ 27059 w 383021"/>
                      <a:gd name="connsiteY171" fmla="*/ 429098 h 882456"/>
                      <a:gd name="connsiteX172" fmla="*/ 25989 w 383021"/>
                      <a:gd name="connsiteY172" fmla="*/ 422512 h 882456"/>
                      <a:gd name="connsiteX173" fmla="*/ 28706 w 383021"/>
                      <a:gd name="connsiteY173" fmla="*/ 415459 h 882456"/>
                      <a:gd name="connsiteX174" fmla="*/ 31038 w 383021"/>
                      <a:gd name="connsiteY174" fmla="*/ 409367 h 882456"/>
                      <a:gd name="connsiteX175" fmla="*/ 30874 w 383021"/>
                      <a:gd name="connsiteY175" fmla="*/ 406266 h 882456"/>
                      <a:gd name="connsiteX176" fmla="*/ 30654 w 383021"/>
                      <a:gd name="connsiteY176" fmla="*/ 401848 h 882456"/>
                      <a:gd name="connsiteX177" fmla="*/ 45720 w 383021"/>
                      <a:gd name="connsiteY177" fmla="*/ 376737 h 882456"/>
                      <a:gd name="connsiteX178" fmla="*/ 60759 w 383021"/>
                      <a:gd name="connsiteY178" fmla="*/ 368943 h 882456"/>
                      <a:gd name="connsiteX179" fmla="*/ 83948 w 383021"/>
                      <a:gd name="connsiteY179" fmla="*/ 372923 h 882456"/>
                      <a:gd name="connsiteX180" fmla="*/ 87626 w 383021"/>
                      <a:gd name="connsiteY180" fmla="*/ 363894 h 882456"/>
                      <a:gd name="connsiteX181" fmla="*/ 88422 w 383021"/>
                      <a:gd name="connsiteY181" fmla="*/ 361945 h 882456"/>
                      <a:gd name="connsiteX182" fmla="*/ 87132 w 383021"/>
                      <a:gd name="connsiteY182" fmla="*/ 345754 h 882456"/>
                      <a:gd name="connsiteX183" fmla="*/ 75633 w 383021"/>
                      <a:gd name="connsiteY183" fmla="*/ 333597 h 882456"/>
                      <a:gd name="connsiteX184" fmla="*/ 93910 w 383021"/>
                      <a:gd name="connsiteY184" fmla="*/ 298497 h 882456"/>
                      <a:gd name="connsiteX185" fmla="*/ 95474 w 383021"/>
                      <a:gd name="connsiteY185" fmla="*/ 289496 h 882456"/>
                      <a:gd name="connsiteX186" fmla="*/ 98959 w 383021"/>
                      <a:gd name="connsiteY186" fmla="*/ 285380 h 882456"/>
                      <a:gd name="connsiteX187" fmla="*/ 99399 w 383021"/>
                      <a:gd name="connsiteY187" fmla="*/ 266060 h 882456"/>
                      <a:gd name="connsiteX188" fmla="*/ 102335 w 383021"/>
                      <a:gd name="connsiteY188" fmla="*/ 249319 h 882456"/>
                      <a:gd name="connsiteX189" fmla="*/ 101072 w 383021"/>
                      <a:gd name="connsiteY189" fmla="*/ 238095 h 882456"/>
                      <a:gd name="connsiteX190" fmla="*/ 99893 w 383021"/>
                      <a:gd name="connsiteY190" fmla="*/ 228929 h 882456"/>
                      <a:gd name="connsiteX191" fmla="*/ 99536 w 383021"/>
                      <a:gd name="connsiteY191" fmla="*/ 226240 h 882456"/>
                      <a:gd name="connsiteX192" fmla="*/ 102857 w 383021"/>
                      <a:gd name="connsiteY192" fmla="*/ 225911 h 882456"/>
                      <a:gd name="connsiteX193" fmla="*/ 104339 w 383021"/>
                      <a:gd name="connsiteY193" fmla="*/ 225746 h 882456"/>
                      <a:gd name="connsiteX194" fmla="*/ 109964 w 383021"/>
                      <a:gd name="connsiteY194" fmla="*/ 225170 h 882456"/>
                      <a:gd name="connsiteX195" fmla="*/ 112269 w 383021"/>
                      <a:gd name="connsiteY195" fmla="*/ 224923 h 882456"/>
                      <a:gd name="connsiteX196" fmla="*/ 114766 w 383021"/>
                      <a:gd name="connsiteY196" fmla="*/ 224621 h 882456"/>
                      <a:gd name="connsiteX197" fmla="*/ 122725 w 383021"/>
                      <a:gd name="connsiteY197" fmla="*/ 218913 h 882456"/>
                      <a:gd name="connsiteX198" fmla="*/ 127912 w 383021"/>
                      <a:gd name="connsiteY198" fmla="*/ 215317 h 882456"/>
                      <a:gd name="connsiteX199" fmla="*/ 127116 w 383021"/>
                      <a:gd name="connsiteY199" fmla="*/ 210680 h 882456"/>
                      <a:gd name="connsiteX200" fmla="*/ 125524 w 383021"/>
                      <a:gd name="connsiteY200" fmla="*/ 200526 h 882456"/>
                      <a:gd name="connsiteX201" fmla="*/ 130245 w 383021"/>
                      <a:gd name="connsiteY201" fmla="*/ 194159 h 882456"/>
                      <a:gd name="connsiteX202" fmla="*/ 144515 w 383021"/>
                      <a:gd name="connsiteY202" fmla="*/ 168582 h 882456"/>
                      <a:gd name="connsiteX203" fmla="*/ 154037 w 383021"/>
                      <a:gd name="connsiteY203" fmla="*/ 158209 h 882456"/>
                      <a:gd name="connsiteX204" fmla="*/ 154504 w 383021"/>
                      <a:gd name="connsiteY204" fmla="*/ 146271 h 882456"/>
                      <a:gd name="connsiteX205" fmla="*/ 146546 w 383021"/>
                      <a:gd name="connsiteY205" fmla="*/ 127116 h 882456"/>
                      <a:gd name="connsiteX206" fmla="*/ 156453 w 383021"/>
                      <a:gd name="connsiteY206" fmla="*/ 118746 h 882456"/>
                      <a:gd name="connsiteX207" fmla="*/ 164493 w 383021"/>
                      <a:gd name="connsiteY207" fmla="*/ 93361 h 882456"/>
                      <a:gd name="connsiteX208" fmla="*/ 181014 w 383021"/>
                      <a:gd name="connsiteY208" fmla="*/ 76676 h 882456"/>
                      <a:gd name="connsiteX209" fmla="*/ 191717 w 383021"/>
                      <a:gd name="connsiteY209" fmla="*/ 81972 h 882456"/>
                      <a:gd name="connsiteX210" fmla="*/ 199044 w 383021"/>
                      <a:gd name="connsiteY210" fmla="*/ 86473 h 882456"/>
                      <a:gd name="connsiteX211" fmla="*/ 205328 w 383021"/>
                      <a:gd name="connsiteY211" fmla="*/ 72120 h 882456"/>
                      <a:gd name="connsiteX212" fmla="*/ 205685 w 383021"/>
                      <a:gd name="connsiteY212" fmla="*/ 42591 h 882456"/>
                      <a:gd name="connsiteX213" fmla="*/ 214878 w 383021"/>
                      <a:gd name="connsiteY213" fmla="*/ 39957 h 882456"/>
                      <a:gd name="connsiteX214" fmla="*/ 259144 w 383021"/>
                      <a:gd name="connsiteY214" fmla="*/ 55325 h 882456"/>
                      <a:gd name="connsiteX215" fmla="*/ 264303 w 383021"/>
                      <a:gd name="connsiteY215" fmla="*/ 48794 h 882456"/>
                      <a:gd name="connsiteX216" fmla="*/ 261943 w 383021"/>
                      <a:gd name="connsiteY216" fmla="*/ 40177 h 882456"/>
                      <a:gd name="connsiteX217" fmla="*/ 269792 w 383021"/>
                      <a:gd name="connsiteY217" fmla="*/ 20939 h 882456"/>
                      <a:gd name="connsiteX218" fmla="*/ 266828 w 383021"/>
                      <a:gd name="connsiteY218" fmla="*/ 2909 h 882456"/>
                      <a:gd name="connsiteX219" fmla="*/ 276955 w 383021"/>
                      <a:gd name="connsiteY219" fmla="*/ 0 h 882456"/>
                      <a:gd name="connsiteX220" fmla="*/ 283843 w 383021"/>
                      <a:gd name="connsiteY220" fmla="*/ 2991 h 882456"/>
                      <a:gd name="connsiteX221" fmla="*/ 288207 w 383021"/>
                      <a:gd name="connsiteY221" fmla="*/ 12761 h 882456"/>
                      <a:gd name="connsiteX222" fmla="*/ 305907 w 383021"/>
                      <a:gd name="connsiteY222" fmla="*/ 30901 h 882456"/>
                      <a:gd name="connsiteX223" fmla="*/ 321495 w 383021"/>
                      <a:gd name="connsiteY223" fmla="*/ 46763 h 882456"/>
                      <a:gd name="connsiteX224" fmla="*/ 330166 w 383021"/>
                      <a:gd name="connsiteY224" fmla="*/ 47586 h 88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383021" h="882456">
                        <a:moveTo>
                          <a:pt x="330194" y="47806"/>
                        </a:moveTo>
                        <a:lnTo>
                          <a:pt x="350420" y="61390"/>
                        </a:lnTo>
                        <a:lnTo>
                          <a:pt x="353932" y="73575"/>
                        </a:lnTo>
                        <a:lnTo>
                          <a:pt x="357747" y="74563"/>
                        </a:lnTo>
                        <a:lnTo>
                          <a:pt x="366940" y="87653"/>
                        </a:lnTo>
                        <a:lnTo>
                          <a:pt x="367379" y="91522"/>
                        </a:lnTo>
                        <a:lnTo>
                          <a:pt x="363345" y="98959"/>
                        </a:lnTo>
                        <a:lnTo>
                          <a:pt x="364882" y="116989"/>
                        </a:lnTo>
                        <a:lnTo>
                          <a:pt x="361534" y="125442"/>
                        </a:lnTo>
                        <a:lnTo>
                          <a:pt x="370727" y="129970"/>
                        </a:lnTo>
                        <a:lnTo>
                          <a:pt x="370426" y="139136"/>
                        </a:lnTo>
                        <a:lnTo>
                          <a:pt x="366556" y="142511"/>
                        </a:lnTo>
                        <a:lnTo>
                          <a:pt x="365678" y="148027"/>
                        </a:lnTo>
                        <a:lnTo>
                          <a:pt x="377505" y="174510"/>
                        </a:lnTo>
                        <a:lnTo>
                          <a:pt x="374515" y="194378"/>
                        </a:lnTo>
                        <a:lnTo>
                          <a:pt x="368944" y="202474"/>
                        </a:lnTo>
                        <a:lnTo>
                          <a:pt x="368614" y="214933"/>
                        </a:lnTo>
                        <a:lnTo>
                          <a:pt x="370672" y="221300"/>
                        </a:lnTo>
                        <a:lnTo>
                          <a:pt x="375804" y="225444"/>
                        </a:lnTo>
                        <a:lnTo>
                          <a:pt x="381897" y="241773"/>
                        </a:lnTo>
                        <a:lnTo>
                          <a:pt x="383022" y="249292"/>
                        </a:lnTo>
                        <a:lnTo>
                          <a:pt x="368944" y="249292"/>
                        </a:lnTo>
                        <a:cubicBezTo>
                          <a:pt x="368944" y="249292"/>
                          <a:pt x="352944" y="255110"/>
                          <a:pt x="352944" y="255110"/>
                        </a:cubicBezTo>
                        <a:lnTo>
                          <a:pt x="343367" y="248469"/>
                        </a:lnTo>
                        <a:lnTo>
                          <a:pt x="341418" y="254781"/>
                        </a:lnTo>
                        <a:lnTo>
                          <a:pt x="331511" y="249127"/>
                        </a:lnTo>
                        <a:lnTo>
                          <a:pt x="329261" y="263645"/>
                        </a:lnTo>
                        <a:lnTo>
                          <a:pt x="324925" y="273826"/>
                        </a:lnTo>
                        <a:lnTo>
                          <a:pt x="318888" y="273414"/>
                        </a:lnTo>
                        <a:lnTo>
                          <a:pt x="315951" y="288096"/>
                        </a:lnTo>
                        <a:lnTo>
                          <a:pt x="310243" y="284666"/>
                        </a:lnTo>
                        <a:lnTo>
                          <a:pt x="305385" y="301790"/>
                        </a:lnTo>
                        <a:lnTo>
                          <a:pt x="294628" y="320754"/>
                        </a:lnTo>
                        <a:lnTo>
                          <a:pt x="297729" y="332828"/>
                        </a:lnTo>
                        <a:lnTo>
                          <a:pt x="303876" y="343174"/>
                        </a:lnTo>
                        <a:lnTo>
                          <a:pt x="303739" y="348169"/>
                        </a:lnTo>
                        <a:lnTo>
                          <a:pt x="291088" y="364113"/>
                        </a:lnTo>
                        <a:lnTo>
                          <a:pt x="277092" y="392160"/>
                        </a:lnTo>
                        <a:lnTo>
                          <a:pt x="261614" y="398939"/>
                        </a:lnTo>
                        <a:lnTo>
                          <a:pt x="253298" y="409559"/>
                        </a:lnTo>
                        <a:lnTo>
                          <a:pt x="252283" y="410849"/>
                        </a:lnTo>
                        <a:lnTo>
                          <a:pt x="250418" y="409559"/>
                        </a:lnTo>
                        <a:lnTo>
                          <a:pt x="246685" y="406924"/>
                        </a:lnTo>
                        <a:lnTo>
                          <a:pt x="245999" y="409559"/>
                        </a:lnTo>
                        <a:lnTo>
                          <a:pt x="245175" y="412550"/>
                        </a:lnTo>
                        <a:lnTo>
                          <a:pt x="239879" y="410574"/>
                        </a:lnTo>
                        <a:lnTo>
                          <a:pt x="238177" y="415679"/>
                        </a:lnTo>
                        <a:lnTo>
                          <a:pt x="236174" y="421826"/>
                        </a:lnTo>
                        <a:lnTo>
                          <a:pt x="231344" y="427177"/>
                        </a:lnTo>
                        <a:lnTo>
                          <a:pt x="223797" y="423939"/>
                        </a:lnTo>
                        <a:lnTo>
                          <a:pt x="224154" y="428934"/>
                        </a:lnTo>
                        <a:lnTo>
                          <a:pt x="217705" y="435794"/>
                        </a:lnTo>
                        <a:lnTo>
                          <a:pt x="213561" y="449982"/>
                        </a:lnTo>
                        <a:lnTo>
                          <a:pt x="207579" y="455361"/>
                        </a:lnTo>
                        <a:lnTo>
                          <a:pt x="203710" y="465845"/>
                        </a:lnTo>
                        <a:lnTo>
                          <a:pt x="186558" y="482310"/>
                        </a:lnTo>
                        <a:lnTo>
                          <a:pt x="189329" y="491229"/>
                        </a:lnTo>
                        <a:lnTo>
                          <a:pt x="187024" y="496361"/>
                        </a:lnTo>
                        <a:lnTo>
                          <a:pt x="183100" y="513760"/>
                        </a:lnTo>
                        <a:lnTo>
                          <a:pt x="186914" y="525451"/>
                        </a:lnTo>
                        <a:lnTo>
                          <a:pt x="185240" y="527509"/>
                        </a:lnTo>
                        <a:lnTo>
                          <a:pt x="180246" y="524408"/>
                        </a:lnTo>
                        <a:lnTo>
                          <a:pt x="175964" y="533354"/>
                        </a:lnTo>
                        <a:lnTo>
                          <a:pt x="177885" y="562334"/>
                        </a:lnTo>
                        <a:lnTo>
                          <a:pt x="183484" y="587472"/>
                        </a:lnTo>
                        <a:lnTo>
                          <a:pt x="189576" y="588981"/>
                        </a:lnTo>
                        <a:lnTo>
                          <a:pt x="192430" y="593729"/>
                        </a:lnTo>
                        <a:lnTo>
                          <a:pt x="200910" y="589914"/>
                        </a:lnTo>
                        <a:lnTo>
                          <a:pt x="204478" y="599300"/>
                        </a:lnTo>
                        <a:lnTo>
                          <a:pt x="211558" y="604953"/>
                        </a:lnTo>
                        <a:lnTo>
                          <a:pt x="215071" y="598175"/>
                        </a:lnTo>
                        <a:lnTo>
                          <a:pt x="220065" y="607972"/>
                        </a:lnTo>
                        <a:lnTo>
                          <a:pt x="217101" y="617604"/>
                        </a:lnTo>
                        <a:lnTo>
                          <a:pt x="221547" y="618098"/>
                        </a:lnTo>
                        <a:lnTo>
                          <a:pt x="224319" y="614311"/>
                        </a:lnTo>
                        <a:lnTo>
                          <a:pt x="229204" y="629020"/>
                        </a:lnTo>
                        <a:lnTo>
                          <a:pt x="235351" y="635936"/>
                        </a:lnTo>
                        <a:lnTo>
                          <a:pt x="234994" y="641836"/>
                        </a:lnTo>
                        <a:lnTo>
                          <a:pt x="226158" y="646200"/>
                        </a:lnTo>
                        <a:lnTo>
                          <a:pt x="224923" y="664257"/>
                        </a:lnTo>
                        <a:lnTo>
                          <a:pt x="226295" y="665163"/>
                        </a:lnTo>
                        <a:lnTo>
                          <a:pt x="229122" y="658522"/>
                        </a:lnTo>
                        <a:lnTo>
                          <a:pt x="229780" y="663379"/>
                        </a:lnTo>
                        <a:lnTo>
                          <a:pt x="217623" y="682040"/>
                        </a:lnTo>
                        <a:lnTo>
                          <a:pt x="209774" y="680257"/>
                        </a:lnTo>
                        <a:lnTo>
                          <a:pt x="197974" y="693292"/>
                        </a:lnTo>
                        <a:lnTo>
                          <a:pt x="189412" y="687035"/>
                        </a:lnTo>
                        <a:lnTo>
                          <a:pt x="189686" y="692057"/>
                        </a:lnTo>
                        <a:lnTo>
                          <a:pt x="187435" y="697765"/>
                        </a:lnTo>
                        <a:lnTo>
                          <a:pt x="178928" y="700235"/>
                        </a:lnTo>
                        <a:lnTo>
                          <a:pt x="178928" y="705120"/>
                        </a:lnTo>
                        <a:cubicBezTo>
                          <a:pt x="178928" y="705120"/>
                          <a:pt x="174647" y="702924"/>
                          <a:pt x="174647" y="702924"/>
                        </a:cubicBezTo>
                        <a:lnTo>
                          <a:pt x="165234" y="705422"/>
                        </a:lnTo>
                        <a:lnTo>
                          <a:pt x="169762" y="711349"/>
                        </a:lnTo>
                        <a:lnTo>
                          <a:pt x="171738" y="717606"/>
                        </a:lnTo>
                        <a:lnTo>
                          <a:pt x="170229" y="721421"/>
                        </a:lnTo>
                        <a:lnTo>
                          <a:pt x="172534" y="727486"/>
                        </a:lnTo>
                        <a:lnTo>
                          <a:pt x="162737" y="740741"/>
                        </a:lnTo>
                        <a:lnTo>
                          <a:pt x="166881" y="744199"/>
                        </a:lnTo>
                        <a:lnTo>
                          <a:pt x="164548" y="752596"/>
                        </a:lnTo>
                        <a:lnTo>
                          <a:pt x="164850" y="766757"/>
                        </a:lnTo>
                        <a:lnTo>
                          <a:pt x="157550" y="784952"/>
                        </a:lnTo>
                        <a:lnTo>
                          <a:pt x="159389" y="789260"/>
                        </a:lnTo>
                        <a:lnTo>
                          <a:pt x="156343" y="796313"/>
                        </a:lnTo>
                        <a:lnTo>
                          <a:pt x="153544" y="812093"/>
                        </a:lnTo>
                        <a:lnTo>
                          <a:pt x="145036" y="831138"/>
                        </a:lnTo>
                        <a:lnTo>
                          <a:pt x="143691" y="836489"/>
                        </a:lnTo>
                        <a:lnTo>
                          <a:pt x="136968" y="845079"/>
                        </a:lnTo>
                        <a:lnTo>
                          <a:pt x="131507" y="838712"/>
                        </a:lnTo>
                        <a:lnTo>
                          <a:pt x="123878" y="841786"/>
                        </a:lnTo>
                        <a:lnTo>
                          <a:pt x="106698" y="841100"/>
                        </a:lnTo>
                        <a:lnTo>
                          <a:pt x="104393" y="847906"/>
                        </a:lnTo>
                        <a:lnTo>
                          <a:pt x="100359" y="845244"/>
                        </a:lnTo>
                        <a:lnTo>
                          <a:pt x="91166" y="857319"/>
                        </a:lnTo>
                        <a:lnTo>
                          <a:pt x="90809" y="862505"/>
                        </a:lnTo>
                        <a:lnTo>
                          <a:pt x="93745" y="871726"/>
                        </a:lnTo>
                        <a:lnTo>
                          <a:pt x="90205" y="879081"/>
                        </a:lnTo>
                        <a:lnTo>
                          <a:pt x="75935" y="878834"/>
                        </a:lnTo>
                        <a:lnTo>
                          <a:pt x="64903" y="882456"/>
                        </a:lnTo>
                        <a:lnTo>
                          <a:pt x="55600" y="879383"/>
                        </a:lnTo>
                        <a:lnTo>
                          <a:pt x="52773" y="872522"/>
                        </a:lnTo>
                        <a:lnTo>
                          <a:pt x="55298" y="863932"/>
                        </a:lnTo>
                        <a:lnTo>
                          <a:pt x="41604" y="836572"/>
                        </a:lnTo>
                        <a:lnTo>
                          <a:pt x="48300" y="835611"/>
                        </a:lnTo>
                        <a:lnTo>
                          <a:pt x="46214" y="826445"/>
                        </a:lnTo>
                        <a:lnTo>
                          <a:pt x="51922" y="824689"/>
                        </a:lnTo>
                        <a:lnTo>
                          <a:pt x="52032" y="815605"/>
                        </a:lnTo>
                        <a:lnTo>
                          <a:pt x="47092" y="812833"/>
                        </a:lnTo>
                        <a:lnTo>
                          <a:pt x="42180" y="803668"/>
                        </a:lnTo>
                        <a:lnTo>
                          <a:pt x="36609" y="799112"/>
                        </a:lnTo>
                        <a:lnTo>
                          <a:pt x="32136" y="786378"/>
                        </a:lnTo>
                        <a:lnTo>
                          <a:pt x="29474" y="782262"/>
                        </a:lnTo>
                        <a:lnTo>
                          <a:pt x="28239" y="772794"/>
                        </a:lnTo>
                        <a:lnTo>
                          <a:pt x="23518" y="774633"/>
                        </a:lnTo>
                        <a:lnTo>
                          <a:pt x="23244" y="764534"/>
                        </a:lnTo>
                        <a:lnTo>
                          <a:pt x="21241" y="761405"/>
                        </a:lnTo>
                        <a:lnTo>
                          <a:pt x="18469" y="764205"/>
                        </a:lnTo>
                        <a:lnTo>
                          <a:pt x="17619" y="755670"/>
                        </a:lnTo>
                        <a:lnTo>
                          <a:pt x="13228" y="755423"/>
                        </a:lnTo>
                        <a:lnTo>
                          <a:pt x="15395" y="748288"/>
                        </a:lnTo>
                        <a:lnTo>
                          <a:pt x="10922" y="740659"/>
                        </a:lnTo>
                        <a:lnTo>
                          <a:pt x="7767" y="726059"/>
                        </a:lnTo>
                        <a:lnTo>
                          <a:pt x="2964" y="718155"/>
                        </a:lnTo>
                        <a:lnTo>
                          <a:pt x="2689" y="699494"/>
                        </a:lnTo>
                        <a:lnTo>
                          <a:pt x="0" y="685690"/>
                        </a:lnTo>
                        <a:lnTo>
                          <a:pt x="4528" y="679763"/>
                        </a:lnTo>
                        <a:lnTo>
                          <a:pt x="9660" y="684730"/>
                        </a:lnTo>
                        <a:lnTo>
                          <a:pt x="10319" y="690218"/>
                        </a:lnTo>
                        <a:lnTo>
                          <a:pt x="14792" y="689148"/>
                        </a:lnTo>
                        <a:lnTo>
                          <a:pt x="19046" y="673451"/>
                        </a:lnTo>
                        <a:lnTo>
                          <a:pt x="20418" y="670432"/>
                        </a:lnTo>
                        <a:lnTo>
                          <a:pt x="17372" y="650975"/>
                        </a:lnTo>
                        <a:lnTo>
                          <a:pt x="22777" y="644224"/>
                        </a:lnTo>
                        <a:lnTo>
                          <a:pt x="23382" y="638406"/>
                        </a:lnTo>
                        <a:lnTo>
                          <a:pt x="20802" y="635470"/>
                        </a:lnTo>
                        <a:lnTo>
                          <a:pt x="31505" y="631216"/>
                        </a:lnTo>
                        <a:lnTo>
                          <a:pt x="39490" y="620129"/>
                        </a:lnTo>
                        <a:lnTo>
                          <a:pt x="42784" y="596693"/>
                        </a:lnTo>
                        <a:lnTo>
                          <a:pt x="33426" y="566917"/>
                        </a:lnTo>
                        <a:lnTo>
                          <a:pt x="45199" y="562965"/>
                        </a:lnTo>
                        <a:lnTo>
                          <a:pt x="50248" y="549381"/>
                        </a:lnTo>
                        <a:lnTo>
                          <a:pt x="50358" y="543865"/>
                        </a:lnTo>
                        <a:lnTo>
                          <a:pt x="43607" y="533601"/>
                        </a:lnTo>
                        <a:lnTo>
                          <a:pt x="37350" y="531022"/>
                        </a:lnTo>
                        <a:lnTo>
                          <a:pt x="30105" y="521636"/>
                        </a:lnTo>
                        <a:lnTo>
                          <a:pt x="34332" y="487909"/>
                        </a:lnTo>
                        <a:lnTo>
                          <a:pt x="33014" y="483875"/>
                        </a:lnTo>
                        <a:lnTo>
                          <a:pt x="27333" y="465488"/>
                        </a:lnTo>
                        <a:lnTo>
                          <a:pt x="29144" y="457502"/>
                        </a:lnTo>
                        <a:lnTo>
                          <a:pt x="28211" y="447842"/>
                        </a:lnTo>
                        <a:lnTo>
                          <a:pt x="31285" y="440707"/>
                        </a:lnTo>
                        <a:lnTo>
                          <a:pt x="27059" y="429098"/>
                        </a:lnTo>
                        <a:lnTo>
                          <a:pt x="25989" y="422512"/>
                        </a:lnTo>
                        <a:lnTo>
                          <a:pt x="28706" y="415459"/>
                        </a:lnTo>
                        <a:lnTo>
                          <a:pt x="31038" y="409367"/>
                        </a:lnTo>
                        <a:lnTo>
                          <a:pt x="30874" y="406266"/>
                        </a:lnTo>
                        <a:lnTo>
                          <a:pt x="30654" y="401848"/>
                        </a:lnTo>
                        <a:lnTo>
                          <a:pt x="45720" y="376737"/>
                        </a:lnTo>
                        <a:lnTo>
                          <a:pt x="60759" y="368943"/>
                        </a:lnTo>
                        <a:lnTo>
                          <a:pt x="83948" y="372923"/>
                        </a:lnTo>
                        <a:lnTo>
                          <a:pt x="87626" y="363894"/>
                        </a:lnTo>
                        <a:lnTo>
                          <a:pt x="88422" y="361945"/>
                        </a:lnTo>
                        <a:lnTo>
                          <a:pt x="87132" y="345754"/>
                        </a:lnTo>
                        <a:lnTo>
                          <a:pt x="75633" y="333597"/>
                        </a:lnTo>
                        <a:lnTo>
                          <a:pt x="93910" y="298497"/>
                        </a:lnTo>
                        <a:lnTo>
                          <a:pt x="95474" y="289496"/>
                        </a:lnTo>
                        <a:lnTo>
                          <a:pt x="98959" y="285380"/>
                        </a:lnTo>
                        <a:lnTo>
                          <a:pt x="99399" y="266060"/>
                        </a:lnTo>
                        <a:lnTo>
                          <a:pt x="102335" y="249319"/>
                        </a:lnTo>
                        <a:lnTo>
                          <a:pt x="101072" y="238095"/>
                        </a:lnTo>
                        <a:lnTo>
                          <a:pt x="99893" y="228929"/>
                        </a:lnTo>
                        <a:lnTo>
                          <a:pt x="99536" y="226240"/>
                        </a:lnTo>
                        <a:lnTo>
                          <a:pt x="102857" y="225911"/>
                        </a:lnTo>
                        <a:lnTo>
                          <a:pt x="104339" y="225746"/>
                        </a:lnTo>
                        <a:lnTo>
                          <a:pt x="109964" y="225170"/>
                        </a:lnTo>
                        <a:lnTo>
                          <a:pt x="112269" y="224923"/>
                        </a:lnTo>
                        <a:lnTo>
                          <a:pt x="114766" y="224621"/>
                        </a:lnTo>
                        <a:lnTo>
                          <a:pt x="122725" y="218913"/>
                        </a:lnTo>
                        <a:lnTo>
                          <a:pt x="127912" y="215317"/>
                        </a:lnTo>
                        <a:lnTo>
                          <a:pt x="127116" y="210680"/>
                        </a:lnTo>
                        <a:lnTo>
                          <a:pt x="125524" y="200526"/>
                        </a:lnTo>
                        <a:lnTo>
                          <a:pt x="130245" y="194159"/>
                        </a:lnTo>
                        <a:lnTo>
                          <a:pt x="144515" y="168582"/>
                        </a:lnTo>
                        <a:lnTo>
                          <a:pt x="154037" y="158209"/>
                        </a:lnTo>
                        <a:lnTo>
                          <a:pt x="154504" y="146271"/>
                        </a:lnTo>
                        <a:lnTo>
                          <a:pt x="146546" y="127116"/>
                        </a:lnTo>
                        <a:lnTo>
                          <a:pt x="156453" y="118746"/>
                        </a:lnTo>
                        <a:lnTo>
                          <a:pt x="164493" y="93361"/>
                        </a:lnTo>
                        <a:lnTo>
                          <a:pt x="181014" y="76676"/>
                        </a:lnTo>
                        <a:lnTo>
                          <a:pt x="191717" y="81972"/>
                        </a:lnTo>
                        <a:lnTo>
                          <a:pt x="199044" y="86473"/>
                        </a:lnTo>
                        <a:lnTo>
                          <a:pt x="205328" y="72120"/>
                        </a:lnTo>
                        <a:lnTo>
                          <a:pt x="205685" y="42591"/>
                        </a:lnTo>
                        <a:lnTo>
                          <a:pt x="214878" y="39957"/>
                        </a:lnTo>
                        <a:lnTo>
                          <a:pt x="259144" y="55325"/>
                        </a:lnTo>
                        <a:lnTo>
                          <a:pt x="264303" y="48794"/>
                        </a:lnTo>
                        <a:lnTo>
                          <a:pt x="261943" y="40177"/>
                        </a:lnTo>
                        <a:lnTo>
                          <a:pt x="269792" y="20939"/>
                        </a:lnTo>
                        <a:lnTo>
                          <a:pt x="266828" y="2909"/>
                        </a:lnTo>
                        <a:lnTo>
                          <a:pt x="276955" y="0"/>
                        </a:lnTo>
                        <a:lnTo>
                          <a:pt x="283843" y="2991"/>
                        </a:lnTo>
                        <a:lnTo>
                          <a:pt x="288207" y="12761"/>
                        </a:lnTo>
                        <a:lnTo>
                          <a:pt x="305907" y="30901"/>
                        </a:lnTo>
                        <a:lnTo>
                          <a:pt x="321495" y="46763"/>
                        </a:lnTo>
                        <a:lnTo>
                          <a:pt x="330166" y="4758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29" name="Freeform: Shape 3528">
                    <a:extLst>
                      <a:ext uri="{FF2B5EF4-FFF2-40B4-BE49-F238E27FC236}">
                        <a16:creationId xmlns:a16="http://schemas.microsoft.com/office/drawing/2014/main" id="{1AA6177D-E683-5EBE-5917-DA0EB8509A76}"/>
                      </a:ext>
                    </a:extLst>
                  </p:cNvPr>
                  <p:cNvSpPr/>
                  <p:nvPr/>
                </p:nvSpPr>
                <p:spPr>
                  <a:xfrm>
                    <a:off x="-5753946" y="2774155"/>
                    <a:ext cx="31257" cy="57410"/>
                  </a:xfrm>
                  <a:custGeom>
                    <a:avLst/>
                    <a:gdLst>
                      <a:gd name="connsiteX0" fmla="*/ 31258 w 31257"/>
                      <a:gd name="connsiteY0" fmla="*/ 1482 h 57410"/>
                      <a:gd name="connsiteX1" fmla="*/ 29391 w 31257"/>
                      <a:gd name="connsiteY1" fmla="*/ 7382 h 57410"/>
                      <a:gd name="connsiteX2" fmla="*/ 19759 w 31257"/>
                      <a:gd name="connsiteY2" fmla="*/ 17618 h 57410"/>
                      <a:gd name="connsiteX3" fmla="*/ 19347 w 31257"/>
                      <a:gd name="connsiteY3" fmla="*/ 26126 h 57410"/>
                      <a:gd name="connsiteX4" fmla="*/ 22998 w 31257"/>
                      <a:gd name="connsiteY4" fmla="*/ 30297 h 57410"/>
                      <a:gd name="connsiteX5" fmla="*/ 7300 w 31257"/>
                      <a:gd name="connsiteY5" fmla="*/ 47970 h 57410"/>
                      <a:gd name="connsiteX6" fmla="*/ 6230 w 31257"/>
                      <a:gd name="connsiteY6" fmla="*/ 54886 h 57410"/>
                      <a:gd name="connsiteX7" fmla="*/ 2882 w 31257"/>
                      <a:gd name="connsiteY7" fmla="*/ 57411 h 57410"/>
                      <a:gd name="connsiteX8" fmla="*/ 1509 w 31257"/>
                      <a:gd name="connsiteY8" fmla="*/ 56231 h 57410"/>
                      <a:gd name="connsiteX9" fmla="*/ 2607 w 31257"/>
                      <a:gd name="connsiteY9" fmla="*/ 47202 h 57410"/>
                      <a:gd name="connsiteX10" fmla="*/ 988 w 31257"/>
                      <a:gd name="connsiteY10" fmla="*/ 43909 h 57410"/>
                      <a:gd name="connsiteX11" fmla="*/ 0 w 31257"/>
                      <a:gd name="connsiteY11" fmla="*/ 38503 h 57410"/>
                      <a:gd name="connsiteX12" fmla="*/ 1674 w 31257"/>
                      <a:gd name="connsiteY12" fmla="*/ 32932 h 57410"/>
                      <a:gd name="connsiteX13" fmla="*/ 82 w 31257"/>
                      <a:gd name="connsiteY13" fmla="*/ 24507 h 57410"/>
                      <a:gd name="connsiteX14" fmla="*/ 9742 w 31257"/>
                      <a:gd name="connsiteY14" fmla="*/ 9331 h 57410"/>
                      <a:gd name="connsiteX15" fmla="*/ 17262 w 31257"/>
                      <a:gd name="connsiteY15" fmla="*/ 3156 h 57410"/>
                      <a:gd name="connsiteX16" fmla="*/ 20034 w 31257"/>
                      <a:gd name="connsiteY16" fmla="*/ 5049 h 57410"/>
                      <a:gd name="connsiteX17" fmla="*/ 30681 w 31257"/>
                      <a:gd name="connsiteY17" fmla="*/ 0 h 57410"/>
                      <a:gd name="connsiteX18" fmla="*/ 31258 w 31257"/>
                      <a:gd name="connsiteY18" fmla="*/ 1482 h 5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257" h="57410">
                        <a:moveTo>
                          <a:pt x="31258" y="1482"/>
                        </a:moveTo>
                        <a:lnTo>
                          <a:pt x="29391" y="7382"/>
                        </a:lnTo>
                        <a:lnTo>
                          <a:pt x="19759" y="17618"/>
                        </a:lnTo>
                        <a:lnTo>
                          <a:pt x="19347" y="26126"/>
                        </a:lnTo>
                        <a:lnTo>
                          <a:pt x="22998" y="30297"/>
                        </a:lnTo>
                        <a:lnTo>
                          <a:pt x="7300" y="47970"/>
                        </a:lnTo>
                        <a:lnTo>
                          <a:pt x="6230" y="54886"/>
                        </a:lnTo>
                        <a:lnTo>
                          <a:pt x="2882" y="57411"/>
                        </a:lnTo>
                        <a:lnTo>
                          <a:pt x="1509" y="56231"/>
                        </a:lnTo>
                        <a:lnTo>
                          <a:pt x="2607" y="47202"/>
                        </a:lnTo>
                        <a:lnTo>
                          <a:pt x="988" y="43909"/>
                        </a:lnTo>
                        <a:lnTo>
                          <a:pt x="0" y="38503"/>
                        </a:lnTo>
                        <a:lnTo>
                          <a:pt x="1674" y="32932"/>
                        </a:lnTo>
                        <a:lnTo>
                          <a:pt x="82" y="24507"/>
                        </a:lnTo>
                        <a:lnTo>
                          <a:pt x="9742" y="9331"/>
                        </a:lnTo>
                        <a:lnTo>
                          <a:pt x="17262" y="3156"/>
                        </a:lnTo>
                        <a:lnTo>
                          <a:pt x="20034" y="5049"/>
                        </a:lnTo>
                        <a:lnTo>
                          <a:pt x="30681" y="0"/>
                        </a:lnTo>
                        <a:lnTo>
                          <a:pt x="31258" y="148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0" name="Freeform: Shape 3529">
                    <a:extLst>
                      <a:ext uri="{FF2B5EF4-FFF2-40B4-BE49-F238E27FC236}">
                        <a16:creationId xmlns:a16="http://schemas.microsoft.com/office/drawing/2014/main" id="{3CD75F41-FAC7-DE7D-390C-E3747EE98FB9}"/>
                      </a:ext>
                    </a:extLst>
                  </p:cNvPr>
                  <p:cNvSpPr/>
                  <p:nvPr/>
                </p:nvSpPr>
                <p:spPr>
                  <a:xfrm>
                    <a:off x="-5805100" y="2808267"/>
                    <a:ext cx="21021" cy="61005"/>
                  </a:xfrm>
                  <a:custGeom>
                    <a:avLst/>
                    <a:gdLst>
                      <a:gd name="connsiteX0" fmla="*/ 3649 w 21021"/>
                      <a:gd name="connsiteY0" fmla="*/ 57740 h 61005"/>
                      <a:gd name="connsiteX1" fmla="*/ 1207 w 21021"/>
                      <a:gd name="connsiteY1" fmla="*/ 61006 h 61005"/>
                      <a:gd name="connsiteX2" fmla="*/ 0 w 21021"/>
                      <a:gd name="connsiteY2" fmla="*/ 44814 h 61005"/>
                      <a:gd name="connsiteX3" fmla="*/ 4610 w 21021"/>
                      <a:gd name="connsiteY3" fmla="*/ 31560 h 61005"/>
                      <a:gd name="connsiteX4" fmla="*/ 10071 w 21021"/>
                      <a:gd name="connsiteY4" fmla="*/ 24013 h 61005"/>
                      <a:gd name="connsiteX5" fmla="*/ 15890 w 21021"/>
                      <a:gd name="connsiteY5" fmla="*/ 9825 h 61005"/>
                      <a:gd name="connsiteX6" fmla="*/ 17646 w 21021"/>
                      <a:gd name="connsiteY6" fmla="*/ 2799 h 61005"/>
                      <a:gd name="connsiteX7" fmla="*/ 20253 w 21021"/>
                      <a:gd name="connsiteY7" fmla="*/ 0 h 61005"/>
                      <a:gd name="connsiteX8" fmla="*/ 21021 w 21021"/>
                      <a:gd name="connsiteY8" fmla="*/ 1839 h 61005"/>
                      <a:gd name="connsiteX9" fmla="*/ 19539 w 21021"/>
                      <a:gd name="connsiteY9" fmla="*/ 9825 h 61005"/>
                      <a:gd name="connsiteX10" fmla="*/ 7547 w 21021"/>
                      <a:gd name="connsiteY10" fmla="*/ 44814 h 61005"/>
                      <a:gd name="connsiteX11" fmla="*/ 3649 w 21021"/>
                      <a:gd name="connsiteY11" fmla="*/ 57712 h 6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021" h="61005">
                        <a:moveTo>
                          <a:pt x="3649" y="57740"/>
                        </a:moveTo>
                        <a:lnTo>
                          <a:pt x="1207" y="61006"/>
                        </a:lnTo>
                        <a:lnTo>
                          <a:pt x="0" y="44814"/>
                        </a:lnTo>
                        <a:lnTo>
                          <a:pt x="4610" y="31560"/>
                        </a:lnTo>
                        <a:lnTo>
                          <a:pt x="10071" y="24013"/>
                        </a:lnTo>
                        <a:lnTo>
                          <a:pt x="15890" y="9825"/>
                        </a:lnTo>
                        <a:lnTo>
                          <a:pt x="17646" y="2799"/>
                        </a:lnTo>
                        <a:lnTo>
                          <a:pt x="20253" y="0"/>
                        </a:lnTo>
                        <a:lnTo>
                          <a:pt x="21021" y="1839"/>
                        </a:lnTo>
                        <a:lnTo>
                          <a:pt x="19539" y="9825"/>
                        </a:lnTo>
                        <a:lnTo>
                          <a:pt x="7547" y="44814"/>
                        </a:lnTo>
                        <a:lnTo>
                          <a:pt x="3649" y="5771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1" name="Freeform: Shape 3530">
                    <a:extLst>
                      <a:ext uri="{FF2B5EF4-FFF2-40B4-BE49-F238E27FC236}">
                        <a16:creationId xmlns:a16="http://schemas.microsoft.com/office/drawing/2014/main" id="{89088C51-CAD1-50EF-C2F8-5E61E51BA037}"/>
                      </a:ext>
                    </a:extLst>
                  </p:cNvPr>
                  <p:cNvSpPr/>
                  <p:nvPr/>
                </p:nvSpPr>
                <p:spPr>
                  <a:xfrm>
                    <a:off x="-5624113" y="2295961"/>
                    <a:ext cx="6970" cy="11032"/>
                  </a:xfrm>
                  <a:custGeom>
                    <a:avLst/>
                    <a:gdLst>
                      <a:gd name="connsiteX0" fmla="*/ 6971 w 6970"/>
                      <a:gd name="connsiteY0" fmla="*/ 9276 h 11032"/>
                      <a:gd name="connsiteX1" fmla="*/ 5186 w 6970"/>
                      <a:gd name="connsiteY1" fmla="*/ 11032 h 11032"/>
                      <a:gd name="connsiteX2" fmla="*/ 3403 w 6970"/>
                      <a:gd name="connsiteY2" fmla="*/ 7437 h 11032"/>
                      <a:gd name="connsiteX3" fmla="*/ 0 w 6970"/>
                      <a:gd name="connsiteY3" fmla="*/ 6586 h 11032"/>
                      <a:gd name="connsiteX4" fmla="*/ 2387 w 6970"/>
                      <a:gd name="connsiteY4" fmla="*/ 0 h 11032"/>
                      <a:gd name="connsiteX5" fmla="*/ 5818 w 6970"/>
                      <a:gd name="connsiteY5" fmla="*/ 4281 h 11032"/>
                      <a:gd name="connsiteX6" fmla="*/ 6943 w 6970"/>
                      <a:gd name="connsiteY6" fmla="*/ 9276 h 1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0" h="11032">
                        <a:moveTo>
                          <a:pt x="6971" y="9276"/>
                        </a:moveTo>
                        <a:lnTo>
                          <a:pt x="5186" y="11032"/>
                        </a:lnTo>
                        <a:lnTo>
                          <a:pt x="3403" y="7437"/>
                        </a:lnTo>
                        <a:lnTo>
                          <a:pt x="0" y="6586"/>
                        </a:lnTo>
                        <a:lnTo>
                          <a:pt x="2387" y="0"/>
                        </a:lnTo>
                        <a:lnTo>
                          <a:pt x="5818" y="4281"/>
                        </a:lnTo>
                        <a:lnTo>
                          <a:pt x="6943" y="927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2" name="Freeform: Shape 3531">
                    <a:extLst>
                      <a:ext uri="{FF2B5EF4-FFF2-40B4-BE49-F238E27FC236}">
                        <a16:creationId xmlns:a16="http://schemas.microsoft.com/office/drawing/2014/main" id="{AA925A74-A51A-9771-2610-99E782A73349}"/>
                      </a:ext>
                    </a:extLst>
                  </p:cNvPr>
                  <p:cNvSpPr/>
                  <p:nvPr/>
                </p:nvSpPr>
                <p:spPr>
                  <a:xfrm>
                    <a:off x="-5614481" y="2285341"/>
                    <a:ext cx="4417" cy="8589"/>
                  </a:xfrm>
                  <a:custGeom>
                    <a:avLst/>
                    <a:gdLst>
                      <a:gd name="connsiteX0" fmla="*/ 4390 w 4417"/>
                      <a:gd name="connsiteY0" fmla="*/ 5022 h 8589"/>
                      <a:gd name="connsiteX1" fmla="*/ 3485 w 4417"/>
                      <a:gd name="connsiteY1" fmla="*/ 8590 h 8589"/>
                      <a:gd name="connsiteX2" fmla="*/ 0 w 4417"/>
                      <a:gd name="connsiteY2" fmla="*/ 3156 h 8589"/>
                      <a:gd name="connsiteX3" fmla="*/ 1455 w 4417"/>
                      <a:gd name="connsiteY3" fmla="*/ 0 h 8589"/>
                      <a:gd name="connsiteX4" fmla="*/ 4418 w 4417"/>
                      <a:gd name="connsiteY4" fmla="*/ 5022 h 8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7" h="8589">
                        <a:moveTo>
                          <a:pt x="4390" y="5022"/>
                        </a:moveTo>
                        <a:lnTo>
                          <a:pt x="3485" y="8590"/>
                        </a:lnTo>
                        <a:lnTo>
                          <a:pt x="0" y="3156"/>
                        </a:lnTo>
                        <a:lnTo>
                          <a:pt x="1455" y="0"/>
                        </a:lnTo>
                        <a:lnTo>
                          <a:pt x="4418" y="502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3" name="Freeform: Shape 3532">
                    <a:extLst>
                      <a:ext uri="{FF2B5EF4-FFF2-40B4-BE49-F238E27FC236}">
                        <a16:creationId xmlns:a16="http://schemas.microsoft.com/office/drawing/2014/main" id="{608217F0-1327-5F90-5853-5CA9081D73A2}"/>
                      </a:ext>
                    </a:extLst>
                  </p:cNvPr>
                  <p:cNvSpPr/>
                  <p:nvPr/>
                </p:nvSpPr>
                <p:spPr>
                  <a:xfrm>
                    <a:off x="-5767997" y="2520747"/>
                    <a:ext cx="4582" cy="6229"/>
                  </a:xfrm>
                  <a:custGeom>
                    <a:avLst/>
                    <a:gdLst>
                      <a:gd name="connsiteX0" fmla="*/ 4583 w 4582"/>
                      <a:gd name="connsiteY0" fmla="*/ 1372 h 6229"/>
                      <a:gd name="connsiteX1" fmla="*/ 1976 w 4582"/>
                      <a:gd name="connsiteY1" fmla="*/ 6230 h 6229"/>
                      <a:gd name="connsiteX2" fmla="*/ 0 w 4582"/>
                      <a:gd name="connsiteY2" fmla="*/ 2936 h 6229"/>
                      <a:gd name="connsiteX3" fmla="*/ 1125 w 4582"/>
                      <a:gd name="connsiteY3" fmla="*/ 0 h 6229"/>
                      <a:gd name="connsiteX4" fmla="*/ 4583 w 4582"/>
                      <a:gd name="connsiteY4" fmla="*/ 1372 h 6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2" h="6229">
                        <a:moveTo>
                          <a:pt x="4583" y="1372"/>
                        </a:moveTo>
                        <a:lnTo>
                          <a:pt x="1976" y="6230"/>
                        </a:lnTo>
                        <a:lnTo>
                          <a:pt x="0" y="2936"/>
                        </a:lnTo>
                        <a:lnTo>
                          <a:pt x="1125" y="0"/>
                        </a:lnTo>
                        <a:lnTo>
                          <a:pt x="4583" y="137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4" name="Freeform: Shape 3533">
                    <a:extLst>
                      <a:ext uri="{FF2B5EF4-FFF2-40B4-BE49-F238E27FC236}">
                        <a16:creationId xmlns:a16="http://schemas.microsoft.com/office/drawing/2014/main" id="{21BA5EC0-360F-C71F-58BE-D1C8778CBCE6}"/>
                      </a:ext>
                    </a:extLst>
                  </p:cNvPr>
                  <p:cNvSpPr/>
                  <p:nvPr/>
                </p:nvSpPr>
                <p:spPr>
                  <a:xfrm>
                    <a:off x="-5721180" y="2771164"/>
                    <a:ext cx="3650" cy="6503"/>
                  </a:xfrm>
                  <a:custGeom>
                    <a:avLst/>
                    <a:gdLst>
                      <a:gd name="connsiteX0" fmla="*/ 3650 w 3650"/>
                      <a:gd name="connsiteY0" fmla="*/ 5077 h 6503"/>
                      <a:gd name="connsiteX1" fmla="*/ 796 w 3650"/>
                      <a:gd name="connsiteY1" fmla="*/ 6504 h 6503"/>
                      <a:gd name="connsiteX2" fmla="*/ 0 w 3650"/>
                      <a:gd name="connsiteY2" fmla="*/ 3485 h 6503"/>
                      <a:gd name="connsiteX3" fmla="*/ 2580 w 3650"/>
                      <a:gd name="connsiteY3" fmla="*/ 0 h 6503"/>
                      <a:gd name="connsiteX4" fmla="*/ 3650 w 3650"/>
                      <a:gd name="connsiteY4" fmla="*/ 5077 h 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 h="6503">
                        <a:moveTo>
                          <a:pt x="3650" y="5077"/>
                        </a:moveTo>
                        <a:lnTo>
                          <a:pt x="796" y="6504"/>
                        </a:lnTo>
                        <a:lnTo>
                          <a:pt x="0" y="3485"/>
                        </a:lnTo>
                        <a:lnTo>
                          <a:pt x="2580" y="0"/>
                        </a:lnTo>
                        <a:lnTo>
                          <a:pt x="3650" y="507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5" name="Freeform: Shape 3534">
                    <a:extLst>
                      <a:ext uri="{FF2B5EF4-FFF2-40B4-BE49-F238E27FC236}">
                        <a16:creationId xmlns:a16="http://schemas.microsoft.com/office/drawing/2014/main" id="{8A152F55-4254-B8E8-E827-C4BBB003BE0D}"/>
                      </a:ext>
                    </a:extLst>
                  </p:cNvPr>
                  <p:cNvSpPr/>
                  <p:nvPr/>
                </p:nvSpPr>
                <p:spPr>
                  <a:xfrm>
                    <a:off x="-5910618" y="2907775"/>
                    <a:ext cx="3402" cy="6366"/>
                  </a:xfrm>
                  <a:custGeom>
                    <a:avLst/>
                    <a:gdLst>
                      <a:gd name="connsiteX0" fmla="*/ 3375 w 3402"/>
                      <a:gd name="connsiteY0" fmla="*/ 5297 h 6366"/>
                      <a:gd name="connsiteX1" fmla="*/ 1235 w 3402"/>
                      <a:gd name="connsiteY1" fmla="*/ 6367 h 6366"/>
                      <a:gd name="connsiteX2" fmla="*/ 0 w 3402"/>
                      <a:gd name="connsiteY2" fmla="*/ 3403 h 6366"/>
                      <a:gd name="connsiteX3" fmla="*/ 2936 w 3402"/>
                      <a:gd name="connsiteY3" fmla="*/ 0 h 6366"/>
                      <a:gd name="connsiteX4" fmla="*/ 3403 w 3402"/>
                      <a:gd name="connsiteY4" fmla="*/ 5297 h 6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 h="6366">
                        <a:moveTo>
                          <a:pt x="3375" y="5297"/>
                        </a:moveTo>
                        <a:lnTo>
                          <a:pt x="1235" y="6367"/>
                        </a:lnTo>
                        <a:lnTo>
                          <a:pt x="0" y="3403"/>
                        </a:lnTo>
                        <a:lnTo>
                          <a:pt x="2936" y="0"/>
                        </a:lnTo>
                        <a:lnTo>
                          <a:pt x="3403" y="5297"/>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6" name="Freeform: Shape 3535">
                    <a:extLst>
                      <a:ext uri="{FF2B5EF4-FFF2-40B4-BE49-F238E27FC236}">
                        <a16:creationId xmlns:a16="http://schemas.microsoft.com/office/drawing/2014/main" id="{56C7D6A6-D932-1953-547D-153A48254C6A}"/>
                      </a:ext>
                    </a:extLst>
                  </p:cNvPr>
                  <p:cNvSpPr/>
                  <p:nvPr/>
                </p:nvSpPr>
                <p:spPr>
                  <a:xfrm>
                    <a:off x="-5751861" y="2716415"/>
                    <a:ext cx="4226" cy="5543"/>
                  </a:xfrm>
                  <a:custGeom>
                    <a:avLst/>
                    <a:gdLst>
                      <a:gd name="connsiteX0" fmla="*/ 4226 w 4226"/>
                      <a:gd name="connsiteY0" fmla="*/ 4803 h 5543"/>
                      <a:gd name="connsiteX1" fmla="*/ 494 w 4226"/>
                      <a:gd name="connsiteY1" fmla="*/ 5543 h 5543"/>
                      <a:gd name="connsiteX2" fmla="*/ 0 w 4226"/>
                      <a:gd name="connsiteY2" fmla="*/ 3595 h 5543"/>
                      <a:gd name="connsiteX3" fmla="*/ 3485 w 4226"/>
                      <a:gd name="connsiteY3" fmla="*/ 0 h 5543"/>
                      <a:gd name="connsiteX4" fmla="*/ 4199 w 4226"/>
                      <a:gd name="connsiteY4" fmla="*/ 4803 h 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 h="5543">
                        <a:moveTo>
                          <a:pt x="4226" y="4803"/>
                        </a:moveTo>
                        <a:lnTo>
                          <a:pt x="494" y="5543"/>
                        </a:lnTo>
                        <a:lnTo>
                          <a:pt x="0" y="3595"/>
                        </a:lnTo>
                        <a:lnTo>
                          <a:pt x="3485" y="0"/>
                        </a:lnTo>
                        <a:lnTo>
                          <a:pt x="4199" y="480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7" name="Freeform: Shape 3536">
                    <a:extLst>
                      <a:ext uri="{FF2B5EF4-FFF2-40B4-BE49-F238E27FC236}">
                        <a16:creationId xmlns:a16="http://schemas.microsoft.com/office/drawing/2014/main" id="{57E0BEF9-438D-1497-EB85-9230703723E2}"/>
                      </a:ext>
                    </a:extLst>
                  </p:cNvPr>
                  <p:cNvSpPr/>
                  <p:nvPr/>
                </p:nvSpPr>
                <p:spPr>
                  <a:xfrm>
                    <a:off x="-5673786" y="2419400"/>
                    <a:ext cx="3073" cy="8123"/>
                  </a:xfrm>
                  <a:custGeom>
                    <a:avLst/>
                    <a:gdLst>
                      <a:gd name="connsiteX0" fmla="*/ 3074 w 3073"/>
                      <a:gd name="connsiteY0" fmla="*/ 3595 h 8123"/>
                      <a:gd name="connsiteX1" fmla="*/ 2223 w 3073"/>
                      <a:gd name="connsiteY1" fmla="*/ 8123 h 8123"/>
                      <a:gd name="connsiteX2" fmla="*/ 522 w 3073"/>
                      <a:gd name="connsiteY2" fmla="*/ 7959 h 8123"/>
                      <a:gd name="connsiteX3" fmla="*/ 0 w 3073"/>
                      <a:gd name="connsiteY3" fmla="*/ 2113 h 8123"/>
                      <a:gd name="connsiteX4" fmla="*/ 1537 w 3073"/>
                      <a:gd name="connsiteY4" fmla="*/ 0 h 8123"/>
                      <a:gd name="connsiteX5" fmla="*/ 3074 w 3073"/>
                      <a:gd name="connsiteY5" fmla="*/ 3595 h 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 h="8123">
                        <a:moveTo>
                          <a:pt x="3074" y="3595"/>
                        </a:moveTo>
                        <a:lnTo>
                          <a:pt x="2223" y="8123"/>
                        </a:lnTo>
                        <a:lnTo>
                          <a:pt x="522" y="7959"/>
                        </a:lnTo>
                        <a:lnTo>
                          <a:pt x="0" y="2113"/>
                        </a:lnTo>
                        <a:lnTo>
                          <a:pt x="1537" y="0"/>
                        </a:lnTo>
                        <a:lnTo>
                          <a:pt x="3074" y="359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8" name="Freeform: Shape 3537">
                    <a:extLst>
                      <a:ext uri="{FF2B5EF4-FFF2-40B4-BE49-F238E27FC236}">
                        <a16:creationId xmlns:a16="http://schemas.microsoft.com/office/drawing/2014/main" id="{DA612908-46D9-50A0-7CCF-75D6B3F104C5}"/>
                      </a:ext>
                    </a:extLst>
                  </p:cNvPr>
                  <p:cNvSpPr/>
                  <p:nvPr/>
                </p:nvSpPr>
                <p:spPr>
                  <a:xfrm>
                    <a:off x="-5722991" y="2749676"/>
                    <a:ext cx="4226" cy="4418"/>
                  </a:xfrm>
                  <a:custGeom>
                    <a:avLst/>
                    <a:gdLst>
                      <a:gd name="connsiteX0" fmla="*/ 3869 w 4226"/>
                      <a:gd name="connsiteY0" fmla="*/ 4418 h 4418"/>
                      <a:gd name="connsiteX1" fmla="*/ 878 w 4226"/>
                      <a:gd name="connsiteY1" fmla="*/ 4418 h 4418"/>
                      <a:gd name="connsiteX2" fmla="*/ 0 w 4226"/>
                      <a:gd name="connsiteY2" fmla="*/ 1564 h 4418"/>
                      <a:gd name="connsiteX3" fmla="*/ 631 w 4226"/>
                      <a:gd name="connsiteY3" fmla="*/ 0 h 4418"/>
                      <a:gd name="connsiteX4" fmla="*/ 4226 w 4226"/>
                      <a:gd name="connsiteY4" fmla="*/ 1756 h 4418"/>
                      <a:gd name="connsiteX5" fmla="*/ 3842 w 4226"/>
                      <a:gd name="connsiteY5" fmla="*/ 4418 h 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6" h="4418">
                        <a:moveTo>
                          <a:pt x="3869" y="4418"/>
                        </a:moveTo>
                        <a:lnTo>
                          <a:pt x="878" y="4418"/>
                        </a:lnTo>
                        <a:cubicBezTo>
                          <a:pt x="878" y="4418"/>
                          <a:pt x="0" y="1564"/>
                          <a:pt x="0" y="1564"/>
                        </a:cubicBezTo>
                        <a:lnTo>
                          <a:pt x="631" y="0"/>
                        </a:lnTo>
                        <a:lnTo>
                          <a:pt x="4226" y="1756"/>
                        </a:lnTo>
                        <a:lnTo>
                          <a:pt x="3842" y="441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39" name="Freeform: Shape 3538">
                    <a:extLst>
                      <a:ext uri="{FF2B5EF4-FFF2-40B4-BE49-F238E27FC236}">
                        <a16:creationId xmlns:a16="http://schemas.microsoft.com/office/drawing/2014/main" id="{E147206C-0560-31DB-1591-E259628AA96B}"/>
                      </a:ext>
                    </a:extLst>
                  </p:cNvPr>
                  <p:cNvSpPr/>
                  <p:nvPr/>
                </p:nvSpPr>
                <p:spPr>
                  <a:xfrm>
                    <a:off x="-5892698" y="3313108"/>
                    <a:ext cx="94074" cy="61170"/>
                  </a:xfrm>
                  <a:custGeom>
                    <a:avLst/>
                    <a:gdLst>
                      <a:gd name="connsiteX0" fmla="*/ 87406 w 94074"/>
                      <a:gd name="connsiteY0" fmla="*/ 6312 h 61170"/>
                      <a:gd name="connsiteX1" fmla="*/ 94075 w 94074"/>
                      <a:gd name="connsiteY1" fmla="*/ 16850 h 61170"/>
                      <a:gd name="connsiteX2" fmla="*/ 87489 w 94074"/>
                      <a:gd name="connsiteY2" fmla="*/ 14325 h 61170"/>
                      <a:gd name="connsiteX3" fmla="*/ 83619 w 94074"/>
                      <a:gd name="connsiteY3" fmla="*/ 16219 h 61170"/>
                      <a:gd name="connsiteX4" fmla="*/ 85375 w 94074"/>
                      <a:gd name="connsiteY4" fmla="*/ 20994 h 61170"/>
                      <a:gd name="connsiteX5" fmla="*/ 80600 w 94074"/>
                      <a:gd name="connsiteY5" fmla="*/ 20390 h 61170"/>
                      <a:gd name="connsiteX6" fmla="*/ 72779 w 94074"/>
                      <a:gd name="connsiteY6" fmla="*/ 25220 h 61170"/>
                      <a:gd name="connsiteX7" fmla="*/ 70364 w 94074"/>
                      <a:gd name="connsiteY7" fmla="*/ 26071 h 61170"/>
                      <a:gd name="connsiteX8" fmla="*/ 65754 w 94074"/>
                      <a:gd name="connsiteY8" fmla="*/ 29309 h 61170"/>
                      <a:gd name="connsiteX9" fmla="*/ 65534 w 94074"/>
                      <a:gd name="connsiteY9" fmla="*/ 33425 h 61170"/>
                      <a:gd name="connsiteX10" fmla="*/ 67565 w 94074"/>
                      <a:gd name="connsiteY10" fmla="*/ 34798 h 61170"/>
                      <a:gd name="connsiteX11" fmla="*/ 67866 w 94074"/>
                      <a:gd name="connsiteY11" fmla="*/ 38118 h 61170"/>
                      <a:gd name="connsiteX12" fmla="*/ 66303 w 94074"/>
                      <a:gd name="connsiteY12" fmla="*/ 43744 h 61170"/>
                      <a:gd name="connsiteX13" fmla="*/ 58975 w 94074"/>
                      <a:gd name="connsiteY13" fmla="*/ 45802 h 61170"/>
                      <a:gd name="connsiteX14" fmla="*/ 56835 w 94074"/>
                      <a:gd name="connsiteY14" fmla="*/ 47065 h 61170"/>
                      <a:gd name="connsiteX15" fmla="*/ 55463 w 94074"/>
                      <a:gd name="connsiteY15" fmla="*/ 48629 h 61170"/>
                      <a:gd name="connsiteX16" fmla="*/ 55764 w 94074"/>
                      <a:gd name="connsiteY16" fmla="*/ 54310 h 61170"/>
                      <a:gd name="connsiteX17" fmla="*/ 57658 w 94074"/>
                      <a:gd name="connsiteY17" fmla="*/ 58728 h 61170"/>
                      <a:gd name="connsiteX18" fmla="*/ 53734 w 94074"/>
                      <a:gd name="connsiteY18" fmla="*/ 61171 h 61170"/>
                      <a:gd name="connsiteX19" fmla="*/ 46407 w 94074"/>
                      <a:gd name="connsiteY19" fmla="*/ 57575 h 61170"/>
                      <a:gd name="connsiteX20" fmla="*/ 42455 w 94074"/>
                      <a:gd name="connsiteY20" fmla="*/ 59304 h 61170"/>
                      <a:gd name="connsiteX21" fmla="*/ 40232 w 94074"/>
                      <a:gd name="connsiteY21" fmla="*/ 57630 h 61170"/>
                      <a:gd name="connsiteX22" fmla="*/ 34441 w 94074"/>
                      <a:gd name="connsiteY22" fmla="*/ 50852 h 61170"/>
                      <a:gd name="connsiteX23" fmla="*/ 29062 w 94074"/>
                      <a:gd name="connsiteY23" fmla="*/ 58152 h 61170"/>
                      <a:gd name="connsiteX24" fmla="*/ 21132 w 94074"/>
                      <a:gd name="connsiteY24" fmla="*/ 58893 h 61170"/>
                      <a:gd name="connsiteX25" fmla="*/ 20912 w 94074"/>
                      <a:gd name="connsiteY25" fmla="*/ 58893 h 61170"/>
                      <a:gd name="connsiteX26" fmla="*/ 7383 w 94074"/>
                      <a:gd name="connsiteY26" fmla="*/ 60045 h 61170"/>
                      <a:gd name="connsiteX27" fmla="*/ 6175 w 94074"/>
                      <a:gd name="connsiteY27" fmla="*/ 57410 h 61170"/>
                      <a:gd name="connsiteX28" fmla="*/ 9468 w 94074"/>
                      <a:gd name="connsiteY28" fmla="*/ 54117 h 61170"/>
                      <a:gd name="connsiteX29" fmla="*/ 12926 w 94074"/>
                      <a:gd name="connsiteY29" fmla="*/ 54310 h 61170"/>
                      <a:gd name="connsiteX30" fmla="*/ 14655 w 94074"/>
                      <a:gd name="connsiteY30" fmla="*/ 52416 h 61170"/>
                      <a:gd name="connsiteX31" fmla="*/ 11060 w 94074"/>
                      <a:gd name="connsiteY31" fmla="*/ 47668 h 61170"/>
                      <a:gd name="connsiteX32" fmla="*/ 5763 w 94074"/>
                      <a:gd name="connsiteY32" fmla="*/ 45171 h 61170"/>
                      <a:gd name="connsiteX33" fmla="*/ 5763 w 94074"/>
                      <a:gd name="connsiteY33" fmla="*/ 44677 h 61170"/>
                      <a:gd name="connsiteX34" fmla="*/ 6532 w 94074"/>
                      <a:gd name="connsiteY34" fmla="*/ 38585 h 61170"/>
                      <a:gd name="connsiteX35" fmla="*/ 3430 w 94074"/>
                      <a:gd name="connsiteY35" fmla="*/ 37707 h 61170"/>
                      <a:gd name="connsiteX36" fmla="*/ 2827 w 94074"/>
                      <a:gd name="connsiteY36" fmla="*/ 34880 h 61170"/>
                      <a:gd name="connsiteX37" fmla="*/ 7135 w 94074"/>
                      <a:gd name="connsiteY37" fmla="*/ 30050 h 61170"/>
                      <a:gd name="connsiteX38" fmla="*/ 933 w 94074"/>
                      <a:gd name="connsiteY38" fmla="*/ 26867 h 61170"/>
                      <a:gd name="connsiteX39" fmla="*/ 0 w 94074"/>
                      <a:gd name="connsiteY39" fmla="*/ 23766 h 61170"/>
                      <a:gd name="connsiteX40" fmla="*/ 8315 w 94074"/>
                      <a:gd name="connsiteY40" fmla="*/ 18469 h 61170"/>
                      <a:gd name="connsiteX41" fmla="*/ 9194 w 94074"/>
                      <a:gd name="connsiteY41" fmla="*/ 14819 h 61170"/>
                      <a:gd name="connsiteX42" fmla="*/ 30407 w 94074"/>
                      <a:gd name="connsiteY42" fmla="*/ 18222 h 61170"/>
                      <a:gd name="connsiteX43" fmla="*/ 34249 w 94074"/>
                      <a:gd name="connsiteY43" fmla="*/ 21241 h 61170"/>
                      <a:gd name="connsiteX44" fmla="*/ 37460 w 94074"/>
                      <a:gd name="connsiteY44" fmla="*/ 17920 h 61170"/>
                      <a:gd name="connsiteX45" fmla="*/ 40177 w 94074"/>
                      <a:gd name="connsiteY45" fmla="*/ 15642 h 61170"/>
                      <a:gd name="connsiteX46" fmla="*/ 43991 w 94074"/>
                      <a:gd name="connsiteY46" fmla="*/ 11142 h 61170"/>
                      <a:gd name="connsiteX47" fmla="*/ 48959 w 94074"/>
                      <a:gd name="connsiteY47" fmla="*/ 9303 h 61170"/>
                      <a:gd name="connsiteX48" fmla="*/ 58866 w 94074"/>
                      <a:gd name="connsiteY48" fmla="*/ 9248 h 61170"/>
                      <a:gd name="connsiteX49" fmla="*/ 61692 w 94074"/>
                      <a:gd name="connsiteY49" fmla="*/ 10181 h 61170"/>
                      <a:gd name="connsiteX50" fmla="*/ 66138 w 94074"/>
                      <a:gd name="connsiteY50" fmla="*/ 6998 h 61170"/>
                      <a:gd name="connsiteX51" fmla="*/ 70172 w 94074"/>
                      <a:gd name="connsiteY51" fmla="*/ 6943 h 61170"/>
                      <a:gd name="connsiteX52" fmla="*/ 76895 w 94074"/>
                      <a:gd name="connsiteY52" fmla="*/ 8425 h 61170"/>
                      <a:gd name="connsiteX53" fmla="*/ 76347 w 94074"/>
                      <a:gd name="connsiteY53" fmla="*/ 1455 h 61170"/>
                      <a:gd name="connsiteX54" fmla="*/ 79804 w 94074"/>
                      <a:gd name="connsiteY54" fmla="*/ 0 h 61170"/>
                      <a:gd name="connsiteX55" fmla="*/ 85540 w 94074"/>
                      <a:gd name="connsiteY55" fmla="*/ 823 h 61170"/>
                      <a:gd name="connsiteX56" fmla="*/ 87351 w 94074"/>
                      <a:gd name="connsiteY56" fmla="*/ 6312 h 6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94074" h="61170">
                        <a:moveTo>
                          <a:pt x="87406" y="6312"/>
                        </a:moveTo>
                        <a:lnTo>
                          <a:pt x="94075" y="16850"/>
                        </a:lnTo>
                        <a:lnTo>
                          <a:pt x="87489" y="14325"/>
                        </a:lnTo>
                        <a:lnTo>
                          <a:pt x="83619" y="16219"/>
                        </a:lnTo>
                        <a:lnTo>
                          <a:pt x="85375" y="20994"/>
                        </a:lnTo>
                        <a:lnTo>
                          <a:pt x="80600" y="20390"/>
                        </a:lnTo>
                        <a:lnTo>
                          <a:pt x="72779" y="25220"/>
                        </a:lnTo>
                        <a:lnTo>
                          <a:pt x="70364" y="26071"/>
                        </a:lnTo>
                        <a:lnTo>
                          <a:pt x="65754" y="29309"/>
                        </a:lnTo>
                        <a:lnTo>
                          <a:pt x="65534" y="33425"/>
                        </a:lnTo>
                        <a:lnTo>
                          <a:pt x="67565" y="34798"/>
                        </a:lnTo>
                        <a:lnTo>
                          <a:pt x="67866" y="38118"/>
                        </a:lnTo>
                        <a:lnTo>
                          <a:pt x="66303" y="43744"/>
                        </a:lnTo>
                        <a:lnTo>
                          <a:pt x="58975" y="45802"/>
                        </a:lnTo>
                        <a:lnTo>
                          <a:pt x="56835" y="47065"/>
                        </a:lnTo>
                        <a:lnTo>
                          <a:pt x="55463" y="48629"/>
                        </a:lnTo>
                        <a:lnTo>
                          <a:pt x="55764" y="54310"/>
                        </a:lnTo>
                        <a:lnTo>
                          <a:pt x="57658" y="58728"/>
                        </a:lnTo>
                        <a:lnTo>
                          <a:pt x="53734" y="61171"/>
                        </a:lnTo>
                        <a:lnTo>
                          <a:pt x="46407" y="57575"/>
                        </a:lnTo>
                        <a:lnTo>
                          <a:pt x="42455" y="59304"/>
                        </a:lnTo>
                        <a:lnTo>
                          <a:pt x="40232" y="57630"/>
                        </a:lnTo>
                        <a:lnTo>
                          <a:pt x="34441" y="50852"/>
                        </a:lnTo>
                        <a:lnTo>
                          <a:pt x="29062" y="58152"/>
                        </a:lnTo>
                        <a:lnTo>
                          <a:pt x="21132" y="58893"/>
                        </a:lnTo>
                        <a:lnTo>
                          <a:pt x="20912" y="58893"/>
                        </a:lnTo>
                        <a:cubicBezTo>
                          <a:pt x="20912" y="58893"/>
                          <a:pt x="7383" y="60045"/>
                          <a:pt x="7383" y="60045"/>
                        </a:cubicBezTo>
                        <a:lnTo>
                          <a:pt x="6175" y="57410"/>
                        </a:lnTo>
                        <a:lnTo>
                          <a:pt x="9468" y="54117"/>
                        </a:lnTo>
                        <a:lnTo>
                          <a:pt x="12926" y="54310"/>
                        </a:lnTo>
                        <a:lnTo>
                          <a:pt x="14655" y="52416"/>
                        </a:lnTo>
                        <a:lnTo>
                          <a:pt x="11060" y="47668"/>
                        </a:lnTo>
                        <a:lnTo>
                          <a:pt x="5763" y="45171"/>
                        </a:lnTo>
                        <a:lnTo>
                          <a:pt x="5763" y="44677"/>
                        </a:lnTo>
                        <a:cubicBezTo>
                          <a:pt x="5763" y="44677"/>
                          <a:pt x="6532" y="38585"/>
                          <a:pt x="6532" y="38585"/>
                        </a:cubicBezTo>
                        <a:lnTo>
                          <a:pt x="3430" y="37707"/>
                        </a:lnTo>
                        <a:lnTo>
                          <a:pt x="2827" y="34880"/>
                        </a:lnTo>
                        <a:lnTo>
                          <a:pt x="7135" y="30050"/>
                        </a:lnTo>
                        <a:lnTo>
                          <a:pt x="933" y="26867"/>
                        </a:lnTo>
                        <a:lnTo>
                          <a:pt x="0" y="23766"/>
                        </a:lnTo>
                        <a:lnTo>
                          <a:pt x="8315" y="18469"/>
                        </a:lnTo>
                        <a:lnTo>
                          <a:pt x="9194" y="14819"/>
                        </a:lnTo>
                        <a:lnTo>
                          <a:pt x="30407" y="18222"/>
                        </a:lnTo>
                        <a:lnTo>
                          <a:pt x="34249" y="21241"/>
                        </a:lnTo>
                        <a:lnTo>
                          <a:pt x="37460" y="17920"/>
                        </a:lnTo>
                        <a:lnTo>
                          <a:pt x="40177" y="15642"/>
                        </a:lnTo>
                        <a:lnTo>
                          <a:pt x="43991" y="11142"/>
                        </a:lnTo>
                        <a:lnTo>
                          <a:pt x="48959" y="9303"/>
                        </a:lnTo>
                        <a:lnTo>
                          <a:pt x="58866" y="9248"/>
                        </a:lnTo>
                        <a:lnTo>
                          <a:pt x="61692" y="10181"/>
                        </a:lnTo>
                        <a:lnTo>
                          <a:pt x="66138" y="6998"/>
                        </a:lnTo>
                        <a:lnTo>
                          <a:pt x="70172" y="6943"/>
                        </a:lnTo>
                        <a:lnTo>
                          <a:pt x="76895" y="8425"/>
                        </a:lnTo>
                        <a:lnTo>
                          <a:pt x="76347" y="1455"/>
                        </a:lnTo>
                        <a:lnTo>
                          <a:pt x="79804" y="0"/>
                        </a:lnTo>
                        <a:lnTo>
                          <a:pt x="85540" y="823"/>
                        </a:lnTo>
                        <a:lnTo>
                          <a:pt x="87351" y="631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0" name="Freeform: Shape 3539">
                    <a:extLst>
                      <a:ext uri="{FF2B5EF4-FFF2-40B4-BE49-F238E27FC236}">
                        <a16:creationId xmlns:a16="http://schemas.microsoft.com/office/drawing/2014/main" id="{6DE7FA44-3674-CE45-46DE-CF4AA6F72754}"/>
                      </a:ext>
                    </a:extLst>
                  </p:cNvPr>
                  <p:cNvSpPr/>
                  <p:nvPr/>
                </p:nvSpPr>
                <p:spPr>
                  <a:xfrm>
                    <a:off x="-5791296" y="3191865"/>
                    <a:ext cx="168197" cy="83564"/>
                  </a:xfrm>
                  <a:custGeom>
                    <a:avLst/>
                    <a:gdLst>
                      <a:gd name="connsiteX0" fmla="*/ 82685 w 168197"/>
                      <a:gd name="connsiteY0" fmla="*/ 9193 h 83564"/>
                      <a:gd name="connsiteX1" fmla="*/ 86336 w 168197"/>
                      <a:gd name="connsiteY1" fmla="*/ 10236 h 83564"/>
                      <a:gd name="connsiteX2" fmla="*/ 86418 w 168197"/>
                      <a:gd name="connsiteY2" fmla="*/ 17810 h 83564"/>
                      <a:gd name="connsiteX3" fmla="*/ 89354 w 168197"/>
                      <a:gd name="connsiteY3" fmla="*/ 18497 h 83564"/>
                      <a:gd name="connsiteX4" fmla="*/ 95035 w 168197"/>
                      <a:gd name="connsiteY4" fmla="*/ 18771 h 83564"/>
                      <a:gd name="connsiteX5" fmla="*/ 97834 w 168197"/>
                      <a:gd name="connsiteY5" fmla="*/ 13035 h 83564"/>
                      <a:gd name="connsiteX6" fmla="*/ 105024 w 168197"/>
                      <a:gd name="connsiteY6" fmla="*/ 9441 h 83564"/>
                      <a:gd name="connsiteX7" fmla="*/ 109415 w 168197"/>
                      <a:gd name="connsiteY7" fmla="*/ 10346 h 83564"/>
                      <a:gd name="connsiteX8" fmla="*/ 110814 w 168197"/>
                      <a:gd name="connsiteY8" fmla="*/ 8864 h 83564"/>
                      <a:gd name="connsiteX9" fmla="*/ 120310 w 168197"/>
                      <a:gd name="connsiteY9" fmla="*/ 13612 h 83564"/>
                      <a:gd name="connsiteX10" fmla="*/ 125743 w 168197"/>
                      <a:gd name="connsiteY10" fmla="*/ 8891 h 83564"/>
                      <a:gd name="connsiteX11" fmla="*/ 133839 w 168197"/>
                      <a:gd name="connsiteY11" fmla="*/ 8151 h 83564"/>
                      <a:gd name="connsiteX12" fmla="*/ 148000 w 168197"/>
                      <a:gd name="connsiteY12" fmla="*/ 10758 h 83564"/>
                      <a:gd name="connsiteX13" fmla="*/ 153543 w 168197"/>
                      <a:gd name="connsiteY13" fmla="*/ 17783 h 83564"/>
                      <a:gd name="connsiteX14" fmla="*/ 168197 w 168197"/>
                      <a:gd name="connsiteY14" fmla="*/ 23711 h 83564"/>
                      <a:gd name="connsiteX15" fmla="*/ 162791 w 168197"/>
                      <a:gd name="connsiteY15" fmla="*/ 33837 h 83564"/>
                      <a:gd name="connsiteX16" fmla="*/ 161200 w 168197"/>
                      <a:gd name="connsiteY16" fmla="*/ 41329 h 83564"/>
                      <a:gd name="connsiteX17" fmla="*/ 156507 w 168197"/>
                      <a:gd name="connsiteY17" fmla="*/ 46900 h 83564"/>
                      <a:gd name="connsiteX18" fmla="*/ 156068 w 168197"/>
                      <a:gd name="connsiteY18" fmla="*/ 54255 h 83564"/>
                      <a:gd name="connsiteX19" fmla="*/ 155080 w 168197"/>
                      <a:gd name="connsiteY19" fmla="*/ 55353 h 83564"/>
                      <a:gd name="connsiteX20" fmla="*/ 144076 w 168197"/>
                      <a:gd name="connsiteY20" fmla="*/ 56478 h 83564"/>
                      <a:gd name="connsiteX21" fmla="*/ 139932 w 168197"/>
                      <a:gd name="connsiteY21" fmla="*/ 50193 h 83564"/>
                      <a:gd name="connsiteX22" fmla="*/ 134580 w 168197"/>
                      <a:gd name="connsiteY22" fmla="*/ 46653 h 83564"/>
                      <a:gd name="connsiteX23" fmla="*/ 125771 w 168197"/>
                      <a:gd name="connsiteY23" fmla="*/ 49727 h 83564"/>
                      <a:gd name="connsiteX24" fmla="*/ 115480 w 168197"/>
                      <a:gd name="connsiteY24" fmla="*/ 46681 h 83564"/>
                      <a:gd name="connsiteX25" fmla="*/ 108564 w 168197"/>
                      <a:gd name="connsiteY25" fmla="*/ 48327 h 83564"/>
                      <a:gd name="connsiteX26" fmla="*/ 106314 w 168197"/>
                      <a:gd name="connsiteY26" fmla="*/ 51538 h 83564"/>
                      <a:gd name="connsiteX27" fmla="*/ 101484 w 168197"/>
                      <a:gd name="connsiteY27" fmla="*/ 59414 h 83564"/>
                      <a:gd name="connsiteX28" fmla="*/ 94211 w 168197"/>
                      <a:gd name="connsiteY28" fmla="*/ 64656 h 83564"/>
                      <a:gd name="connsiteX29" fmla="*/ 90095 w 168197"/>
                      <a:gd name="connsiteY29" fmla="*/ 65644 h 83564"/>
                      <a:gd name="connsiteX30" fmla="*/ 81286 w 168197"/>
                      <a:gd name="connsiteY30" fmla="*/ 61665 h 83564"/>
                      <a:gd name="connsiteX31" fmla="*/ 76511 w 168197"/>
                      <a:gd name="connsiteY31" fmla="*/ 67592 h 83564"/>
                      <a:gd name="connsiteX32" fmla="*/ 63668 w 168197"/>
                      <a:gd name="connsiteY32" fmla="*/ 68607 h 83564"/>
                      <a:gd name="connsiteX33" fmla="*/ 61142 w 168197"/>
                      <a:gd name="connsiteY33" fmla="*/ 69513 h 83564"/>
                      <a:gd name="connsiteX34" fmla="*/ 56834 w 168197"/>
                      <a:gd name="connsiteY34" fmla="*/ 73739 h 83564"/>
                      <a:gd name="connsiteX35" fmla="*/ 56752 w 168197"/>
                      <a:gd name="connsiteY35" fmla="*/ 77499 h 83564"/>
                      <a:gd name="connsiteX36" fmla="*/ 58755 w 168197"/>
                      <a:gd name="connsiteY36" fmla="*/ 79996 h 83564"/>
                      <a:gd name="connsiteX37" fmla="*/ 43085 w 168197"/>
                      <a:gd name="connsiteY37" fmla="*/ 83564 h 83564"/>
                      <a:gd name="connsiteX38" fmla="*/ 30681 w 168197"/>
                      <a:gd name="connsiteY38" fmla="*/ 83454 h 83564"/>
                      <a:gd name="connsiteX39" fmla="*/ 25165 w 168197"/>
                      <a:gd name="connsiteY39" fmla="*/ 82603 h 83564"/>
                      <a:gd name="connsiteX40" fmla="*/ 11691 w 168197"/>
                      <a:gd name="connsiteY40" fmla="*/ 71489 h 83564"/>
                      <a:gd name="connsiteX41" fmla="*/ 9138 w 168197"/>
                      <a:gd name="connsiteY41" fmla="*/ 71736 h 83564"/>
                      <a:gd name="connsiteX42" fmla="*/ 6366 w 168197"/>
                      <a:gd name="connsiteY42" fmla="*/ 66824 h 83564"/>
                      <a:gd name="connsiteX43" fmla="*/ 3677 w 168197"/>
                      <a:gd name="connsiteY43" fmla="*/ 64464 h 83564"/>
                      <a:gd name="connsiteX44" fmla="*/ 0 w 168197"/>
                      <a:gd name="connsiteY44" fmla="*/ 52691 h 83564"/>
                      <a:gd name="connsiteX45" fmla="*/ 2936 w 168197"/>
                      <a:gd name="connsiteY45" fmla="*/ 48382 h 83564"/>
                      <a:gd name="connsiteX46" fmla="*/ 2634 w 168197"/>
                      <a:gd name="connsiteY46" fmla="*/ 44760 h 83564"/>
                      <a:gd name="connsiteX47" fmla="*/ 9440 w 168197"/>
                      <a:gd name="connsiteY47" fmla="*/ 34194 h 83564"/>
                      <a:gd name="connsiteX48" fmla="*/ 16054 w 168197"/>
                      <a:gd name="connsiteY48" fmla="*/ 36033 h 83564"/>
                      <a:gd name="connsiteX49" fmla="*/ 23408 w 168197"/>
                      <a:gd name="connsiteY49" fmla="*/ 34194 h 83564"/>
                      <a:gd name="connsiteX50" fmla="*/ 35813 w 168197"/>
                      <a:gd name="connsiteY50" fmla="*/ 25467 h 83564"/>
                      <a:gd name="connsiteX51" fmla="*/ 38804 w 168197"/>
                      <a:gd name="connsiteY51" fmla="*/ 15835 h 83564"/>
                      <a:gd name="connsiteX52" fmla="*/ 43304 w 168197"/>
                      <a:gd name="connsiteY52" fmla="*/ 13530 h 83564"/>
                      <a:gd name="connsiteX53" fmla="*/ 45665 w 168197"/>
                      <a:gd name="connsiteY53" fmla="*/ 9825 h 83564"/>
                      <a:gd name="connsiteX54" fmla="*/ 50742 w 168197"/>
                      <a:gd name="connsiteY54" fmla="*/ 5297 h 83564"/>
                      <a:gd name="connsiteX55" fmla="*/ 58838 w 168197"/>
                      <a:gd name="connsiteY55" fmla="*/ 4391 h 83564"/>
                      <a:gd name="connsiteX56" fmla="*/ 61390 w 168197"/>
                      <a:gd name="connsiteY56" fmla="*/ 5077 h 83564"/>
                      <a:gd name="connsiteX57" fmla="*/ 63091 w 168197"/>
                      <a:gd name="connsiteY57" fmla="*/ 9248 h 83564"/>
                      <a:gd name="connsiteX58" fmla="*/ 68031 w 168197"/>
                      <a:gd name="connsiteY58" fmla="*/ 8864 h 83564"/>
                      <a:gd name="connsiteX59" fmla="*/ 76977 w 168197"/>
                      <a:gd name="connsiteY59" fmla="*/ 0 h 83564"/>
                      <a:gd name="connsiteX60" fmla="*/ 82575 w 168197"/>
                      <a:gd name="connsiteY60" fmla="*/ 9193 h 8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68197" h="83564">
                        <a:moveTo>
                          <a:pt x="82685" y="9193"/>
                        </a:moveTo>
                        <a:lnTo>
                          <a:pt x="86336" y="10236"/>
                        </a:lnTo>
                        <a:lnTo>
                          <a:pt x="86418" y="17810"/>
                        </a:lnTo>
                        <a:lnTo>
                          <a:pt x="89354" y="18497"/>
                        </a:lnTo>
                        <a:lnTo>
                          <a:pt x="95035" y="18771"/>
                        </a:lnTo>
                        <a:lnTo>
                          <a:pt x="97834" y="13035"/>
                        </a:lnTo>
                        <a:lnTo>
                          <a:pt x="105024" y="9441"/>
                        </a:lnTo>
                        <a:lnTo>
                          <a:pt x="109415" y="10346"/>
                        </a:lnTo>
                        <a:lnTo>
                          <a:pt x="110814" y="8864"/>
                        </a:lnTo>
                        <a:lnTo>
                          <a:pt x="120310" y="13612"/>
                        </a:lnTo>
                        <a:lnTo>
                          <a:pt x="125743" y="8891"/>
                        </a:lnTo>
                        <a:lnTo>
                          <a:pt x="133839" y="8151"/>
                        </a:lnTo>
                        <a:lnTo>
                          <a:pt x="148000" y="10758"/>
                        </a:lnTo>
                        <a:lnTo>
                          <a:pt x="153543" y="17783"/>
                        </a:lnTo>
                        <a:lnTo>
                          <a:pt x="168197" y="23711"/>
                        </a:lnTo>
                        <a:lnTo>
                          <a:pt x="162791" y="33837"/>
                        </a:lnTo>
                        <a:lnTo>
                          <a:pt x="161200" y="41329"/>
                        </a:lnTo>
                        <a:lnTo>
                          <a:pt x="156507" y="46900"/>
                        </a:lnTo>
                        <a:lnTo>
                          <a:pt x="156068" y="54255"/>
                        </a:lnTo>
                        <a:lnTo>
                          <a:pt x="155080" y="55353"/>
                        </a:lnTo>
                        <a:lnTo>
                          <a:pt x="144076" y="56478"/>
                        </a:lnTo>
                        <a:lnTo>
                          <a:pt x="139932" y="50193"/>
                        </a:lnTo>
                        <a:lnTo>
                          <a:pt x="134580" y="46653"/>
                        </a:lnTo>
                        <a:lnTo>
                          <a:pt x="125771" y="49727"/>
                        </a:lnTo>
                        <a:lnTo>
                          <a:pt x="115480" y="46681"/>
                        </a:lnTo>
                        <a:lnTo>
                          <a:pt x="108564" y="48327"/>
                        </a:lnTo>
                        <a:lnTo>
                          <a:pt x="106314" y="51538"/>
                        </a:lnTo>
                        <a:lnTo>
                          <a:pt x="101484" y="59414"/>
                        </a:lnTo>
                        <a:lnTo>
                          <a:pt x="94211" y="64656"/>
                        </a:lnTo>
                        <a:lnTo>
                          <a:pt x="90095" y="65644"/>
                        </a:lnTo>
                        <a:lnTo>
                          <a:pt x="81286" y="61665"/>
                        </a:lnTo>
                        <a:lnTo>
                          <a:pt x="76511" y="67592"/>
                        </a:lnTo>
                        <a:lnTo>
                          <a:pt x="63668" y="68607"/>
                        </a:lnTo>
                        <a:lnTo>
                          <a:pt x="61142" y="69513"/>
                        </a:lnTo>
                        <a:lnTo>
                          <a:pt x="56834" y="73739"/>
                        </a:lnTo>
                        <a:lnTo>
                          <a:pt x="56752" y="77499"/>
                        </a:lnTo>
                        <a:lnTo>
                          <a:pt x="58755" y="79996"/>
                        </a:lnTo>
                        <a:lnTo>
                          <a:pt x="43085" y="83564"/>
                        </a:lnTo>
                        <a:lnTo>
                          <a:pt x="30681" y="83454"/>
                        </a:lnTo>
                        <a:lnTo>
                          <a:pt x="25165" y="82603"/>
                        </a:lnTo>
                        <a:lnTo>
                          <a:pt x="11691" y="71489"/>
                        </a:lnTo>
                        <a:lnTo>
                          <a:pt x="9138" y="71736"/>
                        </a:lnTo>
                        <a:lnTo>
                          <a:pt x="6366" y="66824"/>
                        </a:lnTo>
                        <a:lnTo>
                          <a:pt x="3677" y="64464"/>
                        </a:lnTo>
                        <a:lnTo>
                          <a:pt x="0" y="52691"/>
                        </a:lnTo>
                        <a:lnTo>
                          <a:pt x="2936" y="48382"/>
                        </a:lnTo>
                        <a:lnTo>
                          <a:pt x="2634" y="44760"/>
                        </a:lnTo>
                        <a:lnTo>
                          <a:pt x="9440" y="34194"/>
                        </a:lnTo>
                        <a:lnTo>
                          <a:pt x="16054" y="36033"/>
                        </a:lnTo>
                        <a:lnTo>
                          <a:pt x="23408" y="34194"/>
                        </a:lnTo>
                        <a:lnTo>
                          <a:pt x="35813" y="25467"/>
                        </a:lnTo>
                        <a:lnTo>
                          <a:pt x="38804" y="15835"/>
                        </a:lnTo>
                        <a:lnTo>
                          <a:pt x="43304" y="13530"/>
                        </a:lnTo>
                        <a:lnTo>
                          <a:pt x="45665" y="9825"/>
                        </a:lnTo>
                        <a:lnTo>
                          <a:pt x="50742" y="5297"/>
                        </a:lnTo>
                        <a:lnTo>
                          <a:pt x="58838" y="4391"/>
                        </a:lnTo>
                        <a:lnTo>
                          <a:pt x="61390" y="5077"/>
                        </a:lnTo>
                        <a:lnTo>
                          <a:pt x="63091" y="9248"/>
                        </a:lnTo>
                        <a:lnTo>
                          <a:pt x="68031" y="8864"/>
                        </a:lnTo>
                        <a:lnTo>
                          <a:pt x="76977" y="0"/>
                        </a:lnTo>
                        <a:lnTo>
                          <a:pt x="82575" y="9193"/>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1" name="Freeform: Shape 3540">
                    <a:extLst>
                      <a:ext uri="{FF2B5EF4-FFF2-40B4-BE49-F238E27FC236}">
                        <a16:creationId xmlns:a16="http://schemas.microsoft.com/office/drawing/2014/main" id="{EAB4DC47-F36D-FCC6-E43E-137691FAA797}"/>
                      </a:ext>
                    </a:extLst>
                  </p:cNvPr>
                  <p:cNvSpPr/>
                  <p:nvPr/>
                </p:nvSpPr>
                <p:spPr>
                  <a:xfrm>
                    <a:off x="-5921568" y="3434186"/>
                    <a:ext cx="2415" cy="3320"/>
                  </a:xfrm>
                  <a:custGeom>
                    <a:avLst/>
                    <a:gdLst>
                      <a:gd name="connsiteX0" fmla="*/ 2223 w 2415"/>
                      <a:gd name="connsiteY0" fmla="*/ 2662 h 3320"/>
                      <a:gd name="connsiteX1" fmla="*/ 0 w 2415"/>
                      <a:gd name="connsiteY1" fmla="*/ 3320 h 3320"/>
                      <a:gd name="connsiteX2" fmla="*/ 0 w 2415"/>
                      <a:gd name="connsiteY2" fmla="*/ 1235 h 3320"/>
                      <a:gd name="connsiteX3" fmla="*/ 2415 w 2415"/>
                      <a:gd name="connsiteY3" fmla="*/ 0 h 3320"/>
                      <a:gd name="connsiteX4" fmla="*/ 2223 w 2415"/>
                      <a:gd name="connsiteY4" fmla="*/ 2662 h 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5" h="3320">
                        <a:moveTo>
                          <a:pt x="2223" y="2662"/>
                        </a:moveTo>
                        <a:lnTo>
                          <a:pt x="0" y="3320"/>
                        </a:lnTo>
                        <a:lnTo>
                          <a:pt x="0" y="1235"/>
                        </a:lnTo>
                        <a:lnTo>
                          <a:pt x="2415" y="0"/>
                        </a:lnTo>
                        <a:lnTo>
                          <a:pt x="2223" y="266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2" name="Freeform: Shape 3541">
                    <a:extLst>
                      <a:ext uri="{FF2B5EF4-FFF2-40B4-BE49-F238E27FC236}">
                        <a16:creationId xmlns:a16="http://schemas.microsoft.com/office/drawing/2014/main" id="{884844F0-EBCF-A61D-A66F-1F26C17E91E4}"/>
                      </a:ext>
                    </a:extLst>
                  </p:cNvPr>
                  <p:cNvSpPr/>
                  <p:nvPr/>
                </p:nvSpPr>
                <p:spPr>
                  <a:xfrm>
                    <a:off x="-6143527" y="1854486"/>
                    <a:ext cx="766180" cy="918296"/>
                  </a:xfrm>
                  <a:custGeom>
                    <a:avLst/>
                    <a:gdLst>
                      <a:gd name="connsiteX0" fmla="*/ 616918 w 766180"/>
                      <a:gd name="connsiteY0" fmla="*/ 16082 h 918296"/>
                      <a:gd name="connsiteX1" fmla="*/ 597818 w 766180"/>
                      <a:gd name="connsiteY1" fmla="*/ 57493 h 918296"/>
                      <a:gd name="connsiteX2" fmla="*/ 595403 w 766180"/>
                      <a:gd name="connsiteY2" fmla="*/ 73876 h 918296"/>
                      <a:gd name="connsiteX3" fmla="*/ 598092 w 766180"/>
                      <a:gd name="connsiteY3" fmla="*/ 78432 h 918296"/>
                      <a:gd name="connsiteX4" fmla="*/ 635799 w 766180"/>
                      <a:gd name="connsiteY4" fmla="*/ 22558 h 918296"/>
                      <a:gd name="connsiteX5" fmla="*/ 639805 w 766180"/>
                      <a:gd name="connsiteY5" fmla="*/ 27388 h 918296"/>
                      <a:gd name="connsiteX6" fmla="*/ 640546 w 766180"/>
                      <a:gd name="connsiteY6" fmla="*/ 54310 h 918296"/>
                      <a:gd name="connsiteX7" fmla="*/ 646282 w 766180"/>
                      <a:gd name="connsiteY7" fmla="*/ 56176 h 918296"/>
                      <a:gd name="connsiteX8" fmla="*/ 658577 w 766180"/>
                      <a:gd name="connsiteY8" fmla="*/ 30050 h 918296"/>
                      <a:gd name="connsiteX9" fmla="*/ 661870 w 766180"/>
                      <a:gd name="connsiteY9" fmla="*/ 11114 h 918296"/>
                      <a:gd name="connsiteX10" fmla="*/ 676552 w 766180"/>
                      <a:gd name="connsiteY10" fmla="*/ 3485 h 918296"/>
                      <a:gd name="connsiteX11" fmla="*/ 688105 w 766180"/>
                      <a:gd name="connsiteY11" fmla="*/ 16027 h 918296"/>
                      <a:gd name="connsiteX12" fmla="*/ 684950 w 766180"/>
                      <a:gd name="connsiteY12" fmla="*/ 34167 h 918296"/>
                      <a:gd name="connsiteX13" fmla="*/ 687858 w 766180"/>
                      <a:gd name="connsiteY13" fmla="*/ 51236 h 918296"/>
                      <a:gd name="connsiteX14" fmla="*/ 692441 w 766180"/>
                      <a:gd name="connsiteY14" fmla="*/ 48300 h 918296"/>
                      <a:gd name="connsiteX15" fmla="*/ 702403 w 766180"/>
                      <a:gd name="connsiteY15" fmla="*/ 28541 h 918296"/>
                      <a:gd name="connsiteX16" fmla="*/ 709676 w 766180"/>
                      <a:gd name="connsiteY16" fmla="*/ 25906 h 918296"/>
                      <a:gd name="connsiteX17" fmla="*/ 722546 w 766180"/>
                      <a:gd name="connsiteY17" fmla="*/ 36307 h 918296"/>
                      <a:gd name="connsiteX18" fmla="*/ 741509 w 766180"/>
                      <a:gd name="connsiteY18" fmla="*/ 40835 h 918296"/>
                      <a:gd name="connsiteX19" fmla="*/ 763711 w 766180"/>
                      <a:gd name="connsiteY19" fmla="*/ 61143 h 918296"/>
                      <a:gd name="connsiteX20" fmla="*/ 765384 w 766180"/>
                      <a:gd name="connsiteY20" fmla="*/ 67400 h 918296"/>
                      <a:gd name="connsiteX21" fmla="*/ 762036 w 766180"/>
                      <a:gd name="connsiteY21" fmla="*/ 73108 h 918296"/>
                      <a:gd name="connsiteX22" fmla="*/ 723315 w 766180"/>
                      <a:gd name="connsiteY22" fmla="*/ 96407 h 918296"/>
                      <a:gd name="connsiteX23" fmla="*/ 733770 w 766180"/>
                      <a:gd name="connsiteY23" fmla="*/ 108702 h 918296"/>
                      <a:gd name="connsiteX24" fmla="*/ 764562 w 766180"/>
                      <a:gd name="connsiteY24" fmla="*/ 118993 h 918296"/>
                      <a:gd name="connsiteX25" fmla="*/ 766180 w 766180"/>
                      <a:gd name="connsiteY25" fmla="*/ 131754 h 918296"/>
                      <a:gd name="connsiteX26" fmla="*/ 763738 w 766180"/>
                      <a:gd name="connsiteY26" fmla="*/ 137023 h 918296"/>
                      <a:gd name="connsiteX27" fmla="*/ 754682 w 766180"/>
                      <a:gd name="connsiteY27" fmla="*/ 136886 h 918296"/>
                      <a:gd name="connsiteX28" fmla="*/ 744144 w 766180"/>
                      <a:gd name="connsiteY28" fmla="*/ 128021 h 918296"/>
                      <a:gd name="connsiteX29" fmla="*/ 743787 w 766180"/>
                      <a:gd name="connsiteY29" fmla="*/ 137489 h 918296"/>
                      <a:gd name="connsiteX30" fmla="*/ 739232 w 766180"/>
                      <a:gd name="connsiteY30" fmla="*/ 146326 h 918296"/>
                      <a:gd name="connsiteX31" fmla="*/ 720653 w 766180"/>
                      <a:gd name="connsiteY31" fmla="*/ 156809 h 918296"/>
                      <a:gd name="connsiteX32" fmla="*/ 714258 w 766180"/>
                      <a:gd name="connsiteY32" fmla="*/ 176486 h 918296"/>
                      <a:gd name="connsiteX33" fmla="*/ 707617 w 766180"/>
                      <a:gd name="connsiteY33" fmla="*/ 178187 h 918296"/>
                      <a:gd name="connsiteX34" fmla="*/ 704379 w 766180"/>
                      <a:gd name="connsiteY34" fmla="*/ 172040 h 918296"/>
                      <a:gd name="connsiteX35" fmla="*/ 706409 w 766180"/>
                      <a:gd name="connsiteY35" fmla="*/ 161831 h 918296"/>
                      <a:gd name="connsiteX36" fmla="*/ 718924 w 766180"/>
                      <a:gd name="connsiteY36" fmla="*/ 142017 h 918296"/>
                      <a:gd name="connsiteX37" fmla="*/ 713134 w 766180"/>
                      <a:gd name="connsiteY37" fmla="*/ 124756 h 918296"/>
                      <a:gd name="connsiteX38" fmla="*/ 702924 w 766180"/>
                      <a:gd name="connsiteY38" fmla="*/ 119267 h 918296"/>
                      <a:gd name="connsiteX39" fmla="*/ 691536 w 766180"/>
                      <a:gd name="connsiteY39" fmla="*/ 113010 h 918296"/>
                      <a:gd name="connsiteX40" fmla="*/ 678390 w 766180"/>
                      <a:gd name="connsiteY40" fmla="*/ 91413 h 918296"/>
                      <a:gd name="connsiteX41" fmla="*/ 669856 w 766180"/>
                      <a:gd name="connsiteY41" fmla="*/ 92236 h 918296"/>
                      <a:gd name="connsiteX42" fmla="*/ 652923 w 766180"/>
                      <a:gd name="connsiteY42" fmla="*/ 105491 h 918296"/>
                      <a:gd name="connsiteX43" fmla="*/ 635799 w 766180"/>
                      <a:gd name="connsiteY43" fmla="*/ 103762 h 918296"/>
                      <a:gd name="connsiteX44" fmla="*/ 620733 w 766180"/>
                      <a:gd name="connsiteY44" fmla="*/ 124152 h 918296"/>
                      <a:gd name="connsiteX45" fmla="*/ 618894 w 766180"/>
                      <a:gd name="connsiteY45" fmla="*/ 135404 h 918296"/>
                      <a:gd name="connsiteX46" fmla="*/ 615820 w 766180"/>
                      <a:gd name="connsiteY46" fmla="*/ 146738 h 918296"/>
                      <a:gd name="connsiteX47" fmla="*/ 616040 w 766180"/>
                      <a:gd name="connsiteY47" fmla="*/ 151979 h 918296"/>
                      <a:gd name="connsiteX48" fmla="*/ 614256 w 766180"/>
                      <a:gd name="connsiteY48" fmla="*/ 155025 h 918296"/>
                      <a:gd name="connsiteX49" fmla="*/ 612747 w 766180"/>
                      <a:gd name="connsiteY49" fmla="*/ 162764 h 918296"/>
                      <a:gd name="connsiteX50" fmla="*/ 613954 w 766180"/>
                      <a:gd name="connsiteY50" fmla="*/ 180136 h 918296"/>
                      <a:gd name="connsiteX51" fmla="*/ 611457 w 766180"/>
                      <a:gd name="connsiteY51" fmla="*/ 188478 h 918296"/>
                      <a:gd name="connsiteX52" fmla="*/ 598778 w 766180"/>
                      <a:gd name="connsiteY52" fmla="*/ 196107 h 918296"/>
                      <a:gd name="connsiteX53" fmla="*/ 594799 w 766180"/>
                      <a:gd name="connsiteY53" fmla="*/ 211393 h 918296"/>
                      <a:gd name="connsiteX54" fmla="*/ 588076 w 766180"/>
                      <a:gd name="connsiteY54" fmla="*/ 216498 h 918296"/>
                      <a:gd name="connsiteX55" fmla="*/ 560221 w 766180"/>
                      <a:gd name="connsiteY55" fmla="*/ 196190 h 918296"/>
                      <a:gd name="connsiteX56" fmla="*/ 556461 w 766180"/>
                      <a:gd name="connsiteY56" fmla="*/ 197480 h 918296"/>
                      <a:gd name="connsiteX57" fmla="*/ 552180 w 766180"/>
                      <a:gd name="connsiteY57" fmla="*/ 206289 h 918296"/>
                      <a:gd name="connsiteX58" fmla="*/ 539035 w 766180"/>
                      <a:gd name="connsiteY58" fmla="*/ 211860 h 918296"/>
                      <a:gd name="connsiteX59" fmla="*/ 515517 w 766180"/>
                      <a:gd name="connsiteY59" fmla="*/ 204642 h 918296"/>
                      <a:gd name="connsiteX60" fmla="*/ 503304 w 766180"/>
                      <a:gd name="connsiteY60" fmla="*/ 176431 h 918296"/>
                      <a:gd name="connsiteX61" fmla="*/ 494577 w 766180"/>
                      <a:gd name="connsiteY61" fmla="*/ 162792 h 918296"/>
                      <a:gd name="connsiteX62" fmla="*/ 492163 w 766180"/>
                      <a:gd name="connsiteY62" fmla="*/ 159471 h 918296"/>
                      <a:gd name="connsiteX63" fmla="*/ 490077 w 766180"/>
                      <a:gd name="connsiteY63" fmla="*/ 158867 h 918296"/>
                      <a:gd name="connsiteX64" fmla="*/ 482941 w 766180"/>
                      <a:gd name="connsiteY64" fmla="*/ 156864 h 918296"/>
                      <a:gd name="connsiteX65" fmla="*/ 475587 w 766180"/>
                      <a:gd name="connsiteY65" fmla="*/ 162792 h 918296"/>
                      <a:gd name="connsiteX66" fmla="*/ 474764 w 766180"/>
                      <a:gd name="connsiteY66" fmla="*/ 167265 h 918296"/>
                      <a:gd name="connsiteX67" fmla="*/ 476547 w 766180"/>
                      <a:gd name="connsiteY67" fmla="*/ 173083 h 918296"/>
                      <a:gd name="connsiteX68" fmla="*/ 474983 w 766180"/>
                      <a:gd name="connsiteY68" fmla="*/ 177309 h 918296"/>
                      <a:gd name="connsiteX69" fmla="*/ 466393 w 766180"/>
                      <a:gd name="connsiteY69" fmla="*/ 173796 h 918296"/>
                      <a:gd name="connsiteX70" fmla="*/ 461124 w 766180"/>
                      <a:gd name="connsiteY70" fmla="*/ 177501 h 918296"/>
                      <a:gd name="connsiteX71" fmla="*/ 450998 w 766180"/>
                      <a:gd name="connsiteY71" fmla="*/ 180410 h 918296"/>
                      <a:gd name="connsiteX72" fmla="*/ 453962 w 766180"/>
                      <a:gd name="connsiteY72" fmla="*/ 198440 h 918296"/>
                      <a:gd name="connsiteX73" fmla="*/ 446113 w 766180"/>
                      <a:gd name="connsiteY73" fmla="*/ 217678 h 918296"/>
                      <a:gd name="connsiteX74" fmla="*/ 448473 w 766180"/>
                      <a:gd name="connsiteY74" fmla="*/ 226295 h 918296"/>
                      <a:gd name="connsiteX75" fmla="*/ 443314 w 766180"/>
                      <a:gd name="connsiteY75" fmla="*/ 232826 h 918296"/>
                      <a:gd name="connsiteX76" fmla="*/ 399048 w 766180"/>
                      <a:gd name="connsiteY76" fmla="*/ 217458 h 918296"/>
                      <a:gd name="connsiteX77" fmla="*/ 389855 w 766180"/>
                      <a:gd name="connsiteY77" fmla="*/ 220093 h 918296"/>
                      <a:gd name="connsiteX78" fmla="*/ 389498 w 766180"/>
                      <a:gd name="connsiteY78" fmla="*/ 249621 h 918296"/>
                      <a:gd name="connsiteX79" fmla="*/ 383213 w 766180"/>
                      <a:gd name="connsiteY79" fmla="*/ 263974 h 918296"/>
                      <a:gd name="connsiteX80" fmla="*/ 375886 w 766180"/>
                      <a:gd name="connsiteY80" fmla="*/ 259473 h 918296"/>
                      <a:gd name="connsiteX81" fmla="*/ 365184 w 766180"/>
                      <a:gd name="connsiteY81" fmla="*/ 254177 h 918296"/>
                      <a:gd name="connsiteX82" fmla="*/ 348663 w 766180"/>
                      <a:gd name="connsiteY82" fmla="*/ 270862 h 918296"/>
                      <a:gd name="connsiteX83" fmla="*/ 340623 w 766180"/>
                      <a:gd name="connsiteY83" fmla="*/ 296247 h 918296"/>
                      <a:gd name="connsiteX84" fmla="*/ 330715 w 766180"/>
                      <a:gd name="connsiteY84" fmla="*/ 304617 h 918296"/>
                      <a:gd name="connsiteX85" fmla="*/ 338674 w 766180"/>
                      <a:gd name="connsiteY85" fmla="*/ 323772 h 918296"/>
                      <a:gd name="connsiteX86" fmla="*/ 338207 w 766180"/>
                      <a:gd name="connsiteY86" fmla="*/ 335710 h 918296"/>
                      <a:gd name="connsiteX87" fmla="*/ 328685 w 766180"/>
                      <a:gd name="connsiteY87" fmla="*/ 346083 h 918296"/>
                      <a:gd name="connsiteX88" fmla="*/ 314414 w 766180"/>
                      <a:gd name="connsiteY88" fmla="*/ 371660 h 918296"/>
                      <a:gd name="connsiteX89" fmla="*/ 309694 w 766180"/>
                      <a:gd name="connsiteY89" fmla="*/ 378027 h 918296"/>
                      <a:gd name="connsiteX90" fmla="*/ 311286 w 766180"/>
                      <a:gd name="connsiteY90" fmla="*/ 388181 h 918296"/>
                      <a:gd name="connsiteX91" fmla="*/ 312081 w 766180"/>
                      <a:gd name="connsiteY91" fmla="*/ 392819 h 918296"/>
                      <a:gd name="connsiteX92" fmla="*/ 306895 w 766180"/>
                      <a:gd name="connsiteY92" fmla="*/ 396414 h 918296"/>
                      <a:gd name="connsiteX93" fmla="*/ 298936 w 766180"/>
                      <a:gd name="connsiteY93" fmla="*/ 402122 h 918296"/>
                      <a:gd name="connsiteX94" fmla="*/ 296439 w 766180"/>
                      <a:gd name="connsiteY94" fmla="*/ 402424 h 918296"/>
                      <a:gd name="connsiteX95" fmla="*/ 294134 w 766180"/>
                      <a:gd name="connsiteY95" fmla="*/ 402671 h 918296"/>
                      <a:gd name="connsiteX96" fmla="*/ 288508 w 766180"/>
                      <a:gd name="connsiteY96" fmla="*/ 403247 h 918296"/>
                      <a:gd name="connsiteX97" fmla="*/ 287026 w 766180"/>
                      <a:gd name="connsiteY97" fmla="*/ 403412 h 918296"/>
                      <a:gd name="connsiteX98" fmla="*/ 283705 w 766180"/>
                      <a:gd name="connsiteY98" fmla="*/ 403741 h 918296"/>
                      <a:gd name="connsiteX99" fmla="*/ 284062 w 766180"/>
                      <a:gd name="connsiteY99" fmla="*/ 406430 h 918296"/>
                      <a:gd name="connsiteX100" fmla="*/ 285242 w 766180"/>
                      <a:gd name="connsiteY100" fmla="*/ 415596 h 918296"/>
                      <a:gd name="connsiteX101" fmla="*/ 286504 w 766180"/>
                      <a:gd name="connsiteY101" fmla="*/ 426821 h 918296"/>
                      <a:gd name="connsiteX102" fmla="*/ 283569 w 766180"/>
                      <a:gd name="connsiteY102" fmla="*/ 443561 h 918296"/>
                      <a:gd name="connsiteX103" fmla="*/ 283129 w 766180"/>
                      <a:gd name="connsiteY103" fmla="*/ 462881 h 918296"/>
                      <a:gd name="connsiteX104" fmla="*/ 279644 w 766180"/>
                      <a:gd name="connsiteY104" fmla="*/ 466997 h 918296"/>
                      <a:gd name="connsiteX105" fmla="*/ 278080 w 766180"/>
                      <a:gd name="connsiteY105" fmla="*/ 475998 h 918296"/>
                      <a:gd name="connsiteX106" fmla="*/ 259802 w 766180"/>
                      <a:gd name="connsiteY106" fmla="*/ 511098 h 918296"/>
                      <a:gd name="connsiteX107" fmla="*/ 271302 w 766180"/>
                      <a:gd name="connsiteY107" fmla="*/ 523255 h 918296"/>
                      <a:gd name="connsiteX108" fmla="*/ 272591 w 766180"/>
                      <a:gd name="connsiteY108" fmla="*/ 539447 h 918296"/>
                      <a:gd name="connsiteX109" fmla="*/ 271795 w 766180"/>
                      <a:gd name="connsiteY109" fmla="*/ 541395 h 918296"/>
                      <a:gd name="connsiteX110" fmla="*/ 268118 w 766180"/>
                      <a:gd name="connsiteY110" fmla="*/ 550424 h 918296"/>
                      <a:gd name="connsiteX111" fmla="*/ 244929 w 766180"/>
                      <a:gd name="connsiteY111" fmla="*/ 546445 h 918296"/>
                      <a:gd name="connsiteX112" fmla="*/ 229890 w 766180"/>
                      <a:gd name="connsiteY112" fmla="*/ 554238 h 918296"/>
                      <a:gd name="connsiteX113" fmla="*/ 214824 w 766180"/>
                      <a:gd name="connsiteY113" fmla="*/ 579349 h 918296"/>
                      <a:gd name="connsiteX114" fmla="*/ 215043 w 766180"/>
                      <a:gd name="connsiteY114" fmla="*/ 583767 h 918296"/>
                      <a:gd name="connsiteX115" fmla="*/ 215208 w 766180"/>
                      <a:gd name="connsiteY115" fmla="*/ 586868 h 918296"/>
                      <a:gd name="connsiteX116" fmla="*/ 212875 w 766180"/>
                      <a:gd name="connsiteY116" fmla="*/ 592960 h 918296"/>
                      <a:gd name="connsiteX117" fmla="*/ 210159 w 766180"/>
                      <a:gd name="connsiteY117" fmla="*/ 600013 h 918296"/>
                      <a:gd name="connsiteX118" fmla="*/ 211229 w 766180"/>
                      <a:gd name="connsiteY118" fmla="*/ 606600 h 918296"/>
                      <a:gd name="connsiteX119" fmla="*/ 215455 w 766180"/>
                      <a:gd name="connsiteY119" fmla="*/ 618208 h 918296"/>
                      <a:gd name="connsiteX120" fmla="*/ 212381 w 766180"/>
                      <a:gd name="connsiteY120" fmla="*/ 625343 h 918296"/>
                      <a:gd name="connsiteX121" fmla="*/ 213314 w 766180"/>
                      <a:gd name="connsiteY121" fmla="*/ 635003 h 918296"/>
                      <a:gd name="connsiteX122" fmla="*/ 211503 w 766180"/>
                      <a:gd name="connsiteY122" fmla="*/ 642989 h 918296"/>
                      <a:gd name="connsiteX123" fmla="*/ 217183 w 766180"/>
                      <a:gd name="connsiteY123" fmla="*/ 661376 h 918296"/>
                      <a:gd name="connsiteX124" fmla="*/ 218501 w 766180"/>
                      <a:gd name="connsiteY124" fmla="*/ 665410 h 918296"/>
                      <a:gd name="connsiteX125" fmla="*/ 214275 w 766180"/>
                      <a:gd name="connsiteY125" fmla="*/ 699137 h 918296"/>
                      <a:gd name="connsiteX126" fmla="*/ 221520 w 766180"/>
                      <a:gd name="connsiteY126" fmla="*/ 708523 h 918296"/>
                      <a:gd name="connsiteX127" fmla="*/ 227777 w 766180"/>
                      <a:gd name="connsiteY127" fmla="*/ 711102 h 918296"/>
                      <a:gd name="connsiteX128" fmla="*/ 234528 w 766180"/>
                      <a:gd name="connsiteY128" fmla="*/ 721366 h 918296"/>
                      <a:gd name="connsiteX129" fmla="*/ 234418 w 766180"/>
                      <a:gd name="connsiteY129" fmla="*/ 726882 h 918296"/>
                      <a:gd name="connsiteX130" fmla="*/ 229369 w 766180"/>
                      <a:gd name="connsiteY130" fmla="*/ 740466 h 918296"/>
                      <a:gd name="connsiteX131" fmla="*/ 217595 w 766180"/>
                      <a:gd name="connsiteY131" fmla="*/ 744418 h 918296"/>
                      <a:gd name="connsiteX132" fmla="*/ 226953 w 766180"/>
                      <a:gd name="connsiteY132" fmla="*/ 774194 h 918296"/>
                      <a:gd name="connsiteX133" fmla="*/ 223660 w 766180"/>
                      <a:gd name="connsiteY133" fmla="*/ 797630 h 918296"/>
                      <a:gd name="connsiteX134" fmla="*/ 215675 w 766180"/>
                      <a:gd name="connsiteY134" fmla="*/ 808717 h 918296"/>
                      <a:gd name="connsiteX135" fmla="*/ 204971 w 766180"/>
                      <a:gd name="connsiteY135" fmla="*/ 812971 h 918296"/>
                      <a:gd name="connsiteX136" fmla="*/ 207551 w 766180"/>
                      <a:gd name="connsiteY136" fmla="*/ 815907 h 918296"/>
                      <a:gd name="connsiteX137" fmla="*/ 206947 w 766180"/>
                      <a:gd name="connsiteY137" fmla="*/ 821725 h 918296"/>
                      <a:gd name="connsiteX138" fmla="*/ 201541 w 766180"/>
                      <a:gd name="connsiteY138" fmla="*/ 828476 h 918296"/>
                      <a:gd name="connsiteX139" fmla="*/ 204588 w 766180"/>
                      <a:gd name="connsiteY139" fmla="*/ 847933 h 918296"/>
                      <a:gd name="connsiteX140" fmla="*/ 203215 w 766180"/>
                      <a:gd name="connsiteY140" fmla="*/ 850952 h 918296"/>
                      <a:gd name="connsiteX141" fmla="*/ 198962 w 766180"/>
                      <a:gd name="connsiteY141" fmla="*/ 866649 h 918296"/>
                      <a:gd name="connsiteX142" fmla="*/ 194488 w 766180"/>
                      <a:gd name="connsiteY142" fmla="*/ 867720 h 918296"/>
                      <a:gd name="connsiteX143" fmla="*/ 193830 w 766180"/>
                      <a:gd name="connsiteY143" fmla="*/ 862231 h 918296"/>
                      <a:gd name="connsiteX144" fmla="*/ 191031 w 766180"/>
                      <a:gd name="connsiteY144" fmla="*/ 856495 h 918296"/>
                      <a:gd name="connsiteX145" fmla="*/ 190564 w 766180"/>
                      <a:gd name="connsiteY145" fmla="*/ 855535 h 918296"/>
                      <a:gd name="connsiteX146" fmla="*/ 184691 w 766180"/>
                      <a:gd name="connsiteY146" fmla="*/ 854876 h 918296"/>
                      <a:gd name="connsiteX147" fmla="*/ 180520 w 766180"/>
                      <a:gd name="connsiteY147" fmla="*/ 859569 h 918296"/>
                      <a:gd name="connsiteX148" fmla="*/ 176952 w 766180"/>
                      <a:gd name="connsiteY148" fmla="*/ 857730 h 918296"/>
                      <a:gd name="connsiteX149" fmla="*/ 170558 w 766180"/>
                      <a:gd name="connsiteY149" fmla="*/ 842390 h 918296"/>
                      <a:gd name="connsiteX150" fmla="*/ 171024 w 766180"/>
                      <a:gd name="connsiteY150" fmla="*/ 833471 h 918296"/>
                      <a:gd name="connsiteX151" fmla="*/ 167786 w 766180"/>
                      <a:gd name="connsiteY151" fmla="*/ 819475 h 918296"/>
                      <a:gd name="connsiteX152" fmla="*/ 169900 w 766180"/>
                      <a:gd name="connsiteY152" fmla="*/ 813739 h 918296"/>
                      <a:gd name="connsiteX153" fmla="*/ 173357 w 766180"/>
                      <a:gd name="connsiteY153" fmla="*/ 813657 h 918296"/>
                      <a:gd name="connsiteX154" fmla="*/ 173248 w 766180"/>
                      <a:gd name="connsiteY154" fmla="*/ 810830 h 918296"/>
                      <a:gd name="connsiteX155" fmla="*/ 171848 w 766180"/>
                      <a:gd name="connsiteY155" fmla="*/ 810501 h 918296"/>
                      <a:gd name="connsiteX156" fmla="*/ 169735 w 766180"/>
                      <a:gd name="connsiteY156" fmla="*/ 808827 h 918296"/>
                      <a:gd name="connsiteX157" fmla="*/ 165481 w 766180"/>
                      <a:gd name="connsiteY157" fmla="*/ 816044 h 918296"/>
                      <a:gd name="connsiteX158" fmla="*/ 167512 w 766180"/>
                      <a:gd name="connsiteY158" fmla="*/ 822795 h 918296"/>
                      <a:gd name="connsiteX159" fmla="*/ 168500 w 766180"/>
                      <a:gd name="connsiteY159" fmla="*/ 823920 h 918296"/>
                      <a:gd name="connsiteX160" fmla="*/ 168939 w 766180"/>
                      <a:gd name="connsiteY160" fmla="*/ 827598 h 918296"/>
                      <a:gd name="connsiteX161" fmla="*/ 167512 w 766180"/>
                      <a:gd name="connsiteY161" fmla="*/ 830205 h 918296"/>
                      <a:gd name="connsiteX162" fmla="*/ 166579 w 766180"/>
                      <a:gd name="connsiteY162" fmla="*/ 831852 h 918296"/>
                      <a:gd name="connsiteX163" fmla="*/ 163588 w 766180"/>
                      <a:gd name="connsiteY163" fmla="*/ 830973 h 918296"/>
                      <a:gd name="connsiteX164" fmla="*/ 163286 w 766180"/>
                      <a:gd name="connsiteY164" fmla="*/ 822356 h 918296"/>
                      <a:gd name="connsiteX165" fmla="*/ 161776 w 766180"/>
                      <a:gd name="connsiteY165" fmla="*/ 820737 h 918296"/>
                      <a:gd name="connsiteX166" fmla="*/ 160267 w 766180"/>
                      <a:gd name="connsiteY166" fmla="*/ 821698 h 918296"/>
                      <a:gd name="connsiteX167" fmla="*/ 162023 w 766180"/>
                      <a:gd name="connsiteY167" fmla="*/ 826445 h 918296"/>
                      <a:gd name="connsiteX168" fmla="*/ 161529 w 766180"/>
                      <a:gd name="connsiteY168" fmla="*/ 833443 h 918296"/>
                      <a:gd name="connsiteX169" fmla="*/ 164713 w 766180"/>
                      <a:gd name="connsiteY169" fmla="*/ 838877 h 918296"/>
                      <a:gd name="connsiteX170" fmla="*/ 164356 w 766180"/>
                      <a:gd name="connsiteY170" fmla="*/ 855233 h 918296"/>
                      <a:gd name="connsiteX171" fmla="*/ 160843 w 766180"/>
                      <a:gd name="connsiteY171" fmla="*/ 852297 h 918296"/>
                      <a:gd name="connsiteX172" fmla="*/ 155958 w 766180"/>
                      <a:gd name="connsiteY172" fmla="*/ 859734 h 918296"/>
                      <a:gd name="connsiteX173" fmla="*/ 148439 w 766180"/>
                      <a:gd name="connsiteY173" fmla="*/ 862588 h 918296"/>
                      <a:gd name="connsiteX174" fmla="*/ 146051 w 766180"/>
                      <a:gd name="connsiteY174" fmla="*/ 859075 h 918296"/>
                      <a:gd name="connsiteX175" fmla="*/ 138368 w 766180"/>
                      <a:gd name="connsiteY175" fmla="*/ 869778 h 918296"/>
                      <a:gd name="connsiteX176" fmla="*/ 133098 w 766180"/>
                      <a:gd name="connsiteY176" fmla="*/ 870711 h 918296"/>
                      <a:gd name="connsiteX177" fmla="*/ 132138 w 766180"/>
                      <a:gd name="connsiteY177" fmla="*/ 874580 h 918296"/>
                      <a:gd name="connsiteX178" fmla="*/ 127829 w 766180"/>
                      <a:gd name="connsiteY178" fmla="*/ 877105 h 918296"/>
                      <a:gd name="connsiteX179" fmla="*/ 115261 w 766180"/>
                      <a:gd name="connsiteY179" fmla="*/ 895135 h 918296"/>
                      <a:gd name="connsiteX180" fmla="*/ 97395 w 766180"/>
                      <a:gd name="connsiteY180" fmla="*/ 909927 h 918296"/>
                      <a:gd name="connsiteX181" fmla="*/ 81067 w 766180"/>
                      <a:gd name="connsiteY181" fmla="*/ 918297 h 918296"/>
                      <a:gd name="connsiteX182" fmla="*/ 67839 w 766180"/>
                      <a:gd name="connsiteY182" fmla="*/ 915388 h 918296"/>
                      <a:gd name="connsiteX183" fmla="*/ 63338 w 766180"/>
                      <a:gd name="connsiteY183" fmla="*/ 917336 h 918296"/>
                      <a:gd name="connsiteX184" fmla="*/ 52361 w 766180"/>
                      <a:gd name="connsiteY184" fmla="*/ 913110 h 918296"/>
                      <a:gd name="connsiteX185" fmla="*/ 52197 w 766180"/>
                      <a:gd name="connsiteY185" fmla="*/ 906853 h 918296"/>
                      <a:gd name="connsiteX186" fmla="*/ 46022 w 766180"/>
                      <a:gd name="connsiteY186" fmla="*/ 901612 h 918296"/>
                      <a:gd name="connsiteX187" fmla="*/ 24369 w 766180"/>
                      <a:gd name="connsiteY187" fmla="*/ 887286 h 918296"/>
                      <a:gd name="connsiteX188" fmla="*/ 19347 w 766180"/>
                      <a:gd name="connsiteY188" fmla="*/ 877517 h 918296"/>
                      <a:gd name="connsiteX189" fmla="*/ 22037 w 766180"/>
                      <a:gd name="connsiteY189" fmla="*/ 860090 h 918296"/>
                      <a:gd name="connsiteX190" fmla="*/ 26976 w 766180"/>
                      <a:gd name="connsiteY190" fmla="*/ 853175 h 918296"/>
                      <a:gd name="connsiteX191" fmla="*/ 27717 w 766180"/>
                      <a:gd name="connsiteY191" fmla="*/ 859761 h 918296"/>
                      <a:gd name="connsiteX192" fmla="*/ 30654 w 766180"/>
                      <a:gd name="connsiteY192" fmla="*/ 861161 h 918296"/>
                      <a:gd name="connsiteX193" fmla="*/ 31999 w 766180"/>
                      <a:gd name="connsiteY193" fmla="*/ 846177 h 918296"/>
                      <a:gd name="connsiteX194" fmla="*/ 35703 w 766180"/>
                      <a:gd name="connsiteY194" fmla="*/ 843487 h 918296"/>
                      <a:gd name="connsiteX195" fmla="*/ 30160 w 766180"/>
                      <a:gd name="connsiteY195" fmla="*/ 836764 h 918296"/>
                      <a:gd name="connsiteX196" fmla="*/ 28403 w 766180"/>
                      <a:gd name="connsiteY196" fmla="*/ 841566 h 918296"/>
                      <a:gd name="connsiteX197" fmla="*/ 21433 w 766180"/>
                      <a:gd name="connsiteY197" fmla="*/ 844805 h 918296"/>
                      <a:gd name="connsiteX198" fmla="*/ 17234 w 766180"/>
                      <a:gd name="connsiteY198" fmla="*/ 850513 h 918296"/>
                      <a:gd name="connsiteX199" fmla="*/ 14023 w 766180"/>
                      <a:gd name="connsiteY199" fmla="*/ 848839 h 918296"/>
                      <a:gd name="connsiteX200" fmla="*/ 9962 w 766180"/>
                      <a:gd name="connsiteY200" fmla="*/ 852406 h 918296"/>
                      <a:gd name="connsiteX201" fmla="*/ 9770 w 766180"/>
                      <a:gd name="connsiteY201" fmla="*/ 840359 h 918296"/>
                      <a:gd name="connsiteX202" fmla="*/ 12651 w 766180"/>
                      <a:gd name="connsiteY202" fmla="*/ 833855 h 918296"/>
                      <a:gd name="connsiteX203" fmla="*/ 12569 w 766180"/>
                      <a:gd name="connsiteY203" fmla="*/ 827488 h 918296"/>
                      <a:gd name="connsiteX204" fmla="*/ 18853 w 766180"/>
                      <a:gd name="connsiteY204" fmla="*/ 820435 h 918296"/>
                      <a:gd name="connsiteX205" fmla="*/ 18853 w 766180"/>
                      <a:gd name="connsiteY205" fmla="*/ 828394 h 918296"/>
                      <a:gd name="connsiteX206" fmla="*/ 17179 w 766180"/>
                      <a:gd name="connsiteY206" fmla="*/ 832839 h 918296"/>
                      <a:gd name="connsiteX207" fmla="*/ 19924 w 766180"/>
                      <a:gd name="connsiteY207" fmla="*/ 829519 h 918296"/>
                      <a:gd name="connsiteX208" fmla="*/ 21296 w 766180"/>
                      <a:gd name="connsiteY208" fmla="*/ 823454 h 918296"/>
                      <a:gd name="connsiteX209" fmla="*/ 27882 w 766180"/>
                      <a:gd name="connsiteY209" fmla="*/ 824277 h 918296"/>
                      <a:gd name="connsiteX210" fmla="*/ 24836 w 766180"/>
                      <a:gd name="connsiteY210" fmla="*/ 814343 h 918296"/>
                      <a:gd name="connsiteX211" fmla="*/ 34496 w 766180"/>
                      <a:gd name="connsiteY211" fmla="*/ 800100 h 918296"/>
                      <a:gd name="connsiteX212" fmla="*/ 34907 w 766180"/>
                      <a:gd name="connsiteY212" fmla="*/ 792965 h 918296"/>
                      <a:gd name="connsiteX213" fmla="*/ 24095 w 766180"/>
                      <a:gd name="connsiteY213" fmla="*/ 804930 h 918296"/>
                      <a:gd name="connsiteX214" fmla="*/ 16136 w 766180"/>
                      <a:gd name="connsiteY214" fmla="*/ 818597 h 918296"/>
                      <a:gd name="connsiteX215" fmla="*/ 10511 w 766180"/>
                      <a:gd name="connsiteY215" fmla="*/ 824030 h 918296"/>
                      <a:gd name="connsiteX216" fmla="*/ 8398 w 766180"/>
                      <a:gd name="connsiteY216" fmla="*/ 822576 h 918296"/>
                      <a:gd name="connsiteX217" fmla="*/ 7849 w 766180"/>
                      <a:gd name="connsiteY217" fmla="*/ 809925 h 918296"/>
                      <a:gd name="connsiteX218" fmla="*/ 24040 w 766180"/>
                      <a:gd name="connsiteY218" fmla="*/ 795736 h 918296"/>
                      <a:gd name="connsiteX219" fmla="*/ 21323 w 766180"/>
                      <a:gd name="connsiteY219" fmla="*/ 791263 h 918296"/>
                      <a:gd name="connsiteX220" fmla="*/ 15999 w 766180"/>
                      <a:gd name="connsiteY220" fmla="*/ 793376 h 918296"/>
                      <a:gd name="connsiteX221" fmla="*/ 11334 w 766180"/>
                      <a:gd name="connsiteY221" fmla="*/ 791044 h 918296"/>
                      <a:gd name="connsiteX222" fmla="*/ 9770 w 766180"/>
                      <a:gd name="connsiteY222" fmla="*/ 800512 h 918296"/>
                      <a:gd name="connsiteX223" fmla="*/ 4281 w 766180"/>
                      <a:gd name="connsiteY223" fmla="*/ 792636 h 918296"/>
                      <a:gd name="connsiteX224" fmla="*/ 0 w 766180"/>
                      <a:gd name="connsiteY224" fmla="*/ 774331 h 918296"/>
                      <a:gd name="connsiteX225" fmla="*/ 2827 w 766180"/>
                      <a:gd name="connsiteY225" fmla="*/ 771559 h 918296"/>
                      <a:gd name="connsiteX226" fmla="*/ 659 w 766180"/>
                      <a:gd name="connsiteY226" fmla="*/ 759375 h 918296"/>
                      <a:gd name="connsiteX227" fmla="*/ 7904 w 766180"/>
                      <a:gd name="connsiteY227" fmla="*/ 753474 h 918296"/>
                      <a:gd name="connsiteX228" fmla="*/ 3595 w 766180"/>
                      <a:gd name="connsiteY228" fmla="*/ 747245 h 918296"/>
                      <a:gd name="connsiteX229" fmla="*/ 10511 w 766180"/>
                      <a:gd name="connsiteY229" fmla="*/ 738381 h 918296"/>
                      <a:gd name="connsiteX230" fmla="*/ 2470 w 766180"/>
                      <a:gd name="connsiteY230" fmla="*/ 731575 h 918296"/>
                      <a:gd name="connsiteX231" fmla="*/ 3348 w 766180"/>
                      <a:gd name="connsiteY231" fmla="*/ 721888 h 918296"/>
                      <a:gd name="connsiteX232" fmla="*/ 7437 w 766180"/>
                      <a:gd name="connsiteY232" fmla="*/ 709703 h 918296"/>
                      <a:gd name="connsiteX233" fmla="*/ 3622 w 766180"/>
                      <a:gd name="connsiteY233" fmla="*/ 689395 h 918296"/>
                      <a:gd name="connsiteX234" fmla="*/ 10538 w 766180"/>
                      <a:gd name="connsiteY234" fmla="*/ 676936 h 918296"/>
                      <a:gd name="connsiteX235" fmla="*/ 18277 w 766180"/>
                      <a:gd name="connsiteY235" fmla="*/ 681052 h 918296"/>
                      <a:gd name="connsiteX236" fmla="*/ 16383 w 766180"/>
                      <a:gd name="connsiteY236" fmla="*/ 671200 h 918296"/>
                      <a:gd name="connsiteX237" fmla="*/ 19265 w 766180"/>
                      <a:gd name="connsiteY237" fmla="*/ 667276 h 918296"/>
                      <a:gd name="connsiteX238" fmla="*/ 19814 w 766180"/>
                      <a:gd name="connsiteY238" fmla="*/ 658412 h 918296"/>
                      <a:gd name="connsiteX239" fmla="*/ 43470 w 766180"/>
                      <a:gd name="connsiteY239" fmla="*/ 660360 h 918296"/>
                      <a:gd name="connsiteX240" fmla="*/ 43415 w 766180"/>
                      <a:gd name="connsiteY240" fmla="*/ 657012 h 918296"/>
                      <a:gd name="connsiteX241" fmla="*/ 37707 w 766180"/>
                      <a:gd name="connsiteY241" fmla="*/ 652951 h 918296"/>
                      <a:gd name="connsiteX242" fmla="*/ 40314 w 766180"/>
                      <a:gd name="connsiteY242" fmla="*/ 643154 h 918296"/>
                      <a:gd name="connsiteX243" fmla="*/ 52745 w 766180"/>
                      <a:gd name="connsiteY243" fmla="*/ 641205 h 918296"/>
                      <a:gd name="connsiteX244" fmla="*/ 61994 w 766180"/>
                      <a:gd name="connsiteY244" fmla="*/ 623587 h 918296"/>
                      <a:gd name="connsiteX245" fmla="*/ 78954 w 766180"/>
                      <a:gd name="connsiteY245" fmla="*/ 613323 h 918296"/>
                      <a:gd name="connsiteX246" fmla="*/ 95941 w 766180"/>
                      <a:gd name="connsiteY246" fmla="*/ 613845 h 918296"/>
                      <a:gd name="connsiteX247" fmla="*/ 94870 w 766180"/>
                      <a:gd name="connsiteY247" fmla="*/ 604185 h 918296"/>
                      <a:gd name="connsiteX248" fmla="*/ 111199 w 766180"/>
                      <a:gd name="connsiteY248" fmla="*/ 592906 h 918296"/>
                      <a:gd name="connsiteX249" fmla="*/ 114273 w 766180"/>
                      <a:gd name="connsiteY249" fmla="*/ 590792 h 918296"/>
                      <a:gd name="connsiteX250" fmla="*/ 103954 w 766180"/>
                      <a:gd name="connsiteY250" fmla="*/ 586813 h 918296"/>
                      <a:gd name="connsiteX251" fmla="*/ 107879 w 766180"/>
                      <a:gd name="connsiteY251" fmla="*/ 578114 h 918296"/>
                      <a:gd name="connsiteX252" fmla="*/ 107220 w 766180"/>
                      <a:gd name="connsiteY252" fmla="*/ 571500 h 918296"/>
                      <a:gd name="connsiteX253" fmla="*/ 111336 w 766180"/>
                      <a:gd name="connsiteY253" fmla="*/ 563871 h 918296"/>
                      <a:gd name="connsiteX254" fmla="*/ 115480 w 766180"/>
                      <a:gd name="connsiteY254" fmla="*/ 566423 h 918296"/>
                      <a:gd name="connsiteX255" fmla="*/ 118499 w 766180"/>
                      <a:gd name="connsiteY255" fmla="*/ 574930 h 918296"/>
                      <a:gd name="connsiteX256" fmla="*/ 124920 w 766180"/>
                      <a:gd name="connsiteY256" fmla="*/ 576851 h 918296"/>
                      <a:gd name="connsiteX257" fmla="*/ 128077 w 766180"/>
                      <a:gd name="connsiteY257" fmla="*/ 583849 h 918296"/>
                      <a:gd name="connsiteX258" fmla="*/ 142978 w 766180"/>
                      <a:gd name="connsiteY258" fmla="*/ 578004 h 918296"/>
                      <a:gd name="connsiteX259" fmla="*/ 147643 w 766180"/>
                      <a:gd name="connsiteY259" fmla="*/ 586786 h 918296"/>
                      <a:gd name="connsiteX260" fmla="*/ 150936 w 766180"/>
                      <a:gd name="connsiteY260" fmla="*/ 592878 h 918296"/>
                      <a:gd name="connsiteX261" fmla="*/ 152446 w 766180"/>
                      <a:gd name="connsiteY261" fmla="*/ 592878 h 918296"/>
                      <a:gd name="connsiteX262" fmla="*/ 158264 w 766180"/>
                      <a:gd name="connsiteY262" fmla="*/ 589612 h 918296"/>
                      <a:gd name="connsiteX263" fmla="*/ 176019 w 766180"/>
                      <a:gd name="connsiteY263" fmla="*/ 589804 h 918296"/>
                      <a:gd name="connsiteX264" fmla="*/ 179010 w 766180"/>
                      <a:gd name="connsiteY264" fmla="*/ 571445 h 918296"/>
                      <a:gd name="connsiteX265" fmla="*/ 155876 w 766180"/>
                      <a:gd name="connsiteY265" fmla="*/ 583685 h 918296"/>
                      <a:gd name="connsiteX266" fmla="*/ 150058 w 766180"/>
                      <a:gd name="connsiteY266" fmla="*/ 584700 h 918296"/>
                      <a:gd name="connsiteX267" fmla="*/ 140343 w 766180"/>
                      <a:gd name="connsiteY267" fmla="*/ 568865 h 918296"/>
                      <a:gd name="connsiteX268" fmla="*/ 142264 w 766180"/>
                      <a:gd name="connsiteY268" fmla="*/ 563514 h 918296"/>
                      <a:gd name="connsiteX269" fmla="*/ 149372 w 766180"/>
                      <a:gd name="connsiteY269" fmla="*/ 557833 h 918296"/>
                      <a:gd name="connsiteX270" fmla="*/ 149647 w 766180"/>
                      <a:gd name="connsiteY270" fmla="*/ 549244 h 918296"/>
                      <a:gd name="connsiteX271" fmla="*/ 154504 w 766180"/>
                      <a:gd name="connsiteY271" fmla="*/ 541313 h 918296"/>
                      <a:gd name="connsiteX272" fmla="*/ 155684 w 766180"/>
                      <a:gd name="connsiteY272" fmla="*/ 539364 h 918296"/>
                      <a:gd name="connsiteX273" fmla="*/ 157605 w 766180"/>
                      <a:gd name="connsiteY273" fmla="*/ 536208 h 918296"/>
                      <a:gd name="connsiteX274" fmla="*/ 158373 w 766180"/>
                      <a:gd name="connsiteY274" fmla="*/ 534287 h 918296"/>
                      <a:gd name="connsiteX275" fmla="*/ 163505 w 766180"/>
                      <a:gd name="connsiteY275" fmla="*/ 531159 h 918296"/>
                      <a:gd name="connsiteX276" fmla="*/ 165920 w 766180"/>
                      <a:gd name="connsiteY276" fmla="*/ 523530 h 918296"/>
                      <a:gd name="connsiteX277" fmla="*/ 184582 w 766180"/>
                      <a:gd name="connsiteY277" fmla="*/ 506844 h 918296"/>
                      <a:gd name="connsiteX278" fmla="*/ 175663 w 766180"/>
                      <a:gd name="connsiteY278" fmla="*/ 495263 h 918296"/>
                      <a:gd name="connsiteX279" fmla="*/ 176294 w 766180"/>
                      <a:gd name="connsiteY279" fmla="*/ 488787 h 918296"/>
                      <a:gd name="connsiteX280" fmla="*/ 195394 w 766180"/>
                      <a:gd name="connsiteY280" fmla="*/ 488183 h 918296"/>
                      <a:gd name="connsiteX281" fmla="*/ 200828 w 766180"/>
                      <a:gd name="connsiteY281" fmla="*/ 478633 h 918296"/>
                      <a:gd name="connsiteX282" fmla="*/ 207908 w 766180"/>
                      <a:gd name="connsiteY282" fmla="*/ 473830 h 918296"/>
                      <a:gd name="connsiteX283" fmla="*/ 208649 w 766180"/>
                      <a:gd name="connsiteY283" fmla="*/ 474407 h 918296"/>
                      <a:gd name="connsiteX284" fmla="*/ 208786 w 766180"/>
                      <a:gd name="connsiteY284" fmla="*/ 475669 h 918296"/>
                      <a:gd name="connsiteX285" fmla="*/ 207497 w 766180"/>
                      <a:gd name="connsiteY285" fmla="*/ 477480 h 918296"/>
                      <a:gd name="connsiteX286" fmla="*/ 211064 w 766180"/>
                      <a:gd name="connsiteY286" fmla="*/ 479895 h 918296"/>
                      <a:gd name="connsiteX287" fmla="*/ 213314 w 766180"/>
                      <a:gd name="connsiteY287" fmla="*/ 453111 h 918296"/>
                      <a:gd name="connsiteX288" fmla="*/ 225581 w 766180"/>
                      <a:gd name="connsiteY288" fmla="*/ 426601 h 918296"/>
                      <a:gd name="connsiteX289" fmla="*/ 223578 w 766180"/>
                      <a:gd name="connsiteY289" fmla="*/ 412248 h 918296"/>
                      <a:gd name="connsiteX290" fmla="*/ 224539 w 766180"/>
                      <a:gd name="connsiteY290" fmla="*/ 405168 h 918296"/>
                      <a:gd name="connsiteX291" fmla="*/ 230851 w 766180"/>
                      <a:gd name="connsiteY291" fmla="*/ 405360 h 918296"/>
                      <a:gd name="connsiteX292" fmla="*/ 239056 w 766180"/>
                      <a:gd name="connsiteY292" fmla="*/ 397813 h 918296"/>
                      <a:gd name="connsiteX293" fmla="*/ 242267 w 766180"/>
                      <a:gd name="connsiteY293" fmla="*/ 380140 h 918296"/>
                      <a:gd name="connsiteX294" fmla="*/ 248634 w 766180"/>
                      <a:gd name="connsiteY294" fmla="*/ 361177 h 918296"/>
                      <a:gd name="connsiteX295" fmla="*/ 270890 w 766180"/>
                      <a:gd name="connsiteY295" fmla="*/ 331127 h 918296"/>
                      <a:gd name="connsiteX296" fmla="*/ 279177 w 766180"/>
                      <a:gd name="connsiteY296" fmla="*/ 324019 h 918296"/>
                      <a:gd name="connsiteX297" fmla="*/ 291115 w 766180"/>
                      <a:gd name="connsiteY297" fmla="*/ 303108 h 918296"/>
                      <a:gd name="connsiteX298" fmla="*/ 302312 w 766180"/>
                      <a:gd name="connsiteY298" fmla="*/ 295808 h 918296"/>
                      <a:gd name="connsiteX299" fmla="*/ 306017 w 766180"/>
                      <a:gd name="connsiteY299" fmla="*/ 286807 h 918296"/>
                      <a:gd name="connsiteX300" fmla="*/ 304727 w 766180"/>
                      <a:gd name="connsiteY300" fmla="*/ 283266 h 918296"/>
                      <a:gd name="connsiteX301" fmla="*/ 295232 w 766180"/>
                      <a:gd name="connsiteY301" fmla="*/ 285572 h 918296"/>
                      <a:gd name="connsiteX302" fmla="*/ 293503 w 766180"/>
                      <a:gd name="connsiteY302" fmla="*/ 277915 h 918296"/>
                      <a:gd name="connsiteX303" fmla="*/ 295259 w 766180"/>
                      <a:gd name="connsiteY303" fmla="*/ 270917 h 918296"/>
                      <a:gd name="connsiteX304" fmla="*/ 310462 w 766180"/>
                      <a:gd name="connsiteY304" fmla="*/ 267761 h 918296"/>
                      <a:gd name="connsiteX305" fmla="*/ 312822 w 766180"/>
                      <a:gd name="connsiteY305" fmla="*/ 254726 h 918296"/>
                      <a:gd name="connsiteX306" fmla="*/ 325447 w 766180"/>
                      <a:gd name="connsiteY306" fmla="*/ 247426 h 918296"/>
                      <a:gd name="connsiteX307" fmla="*/ 333624 w 766180"/>
                      <a:gd name="connsiteY307" fmla="*/ 261120 h 918296"/>
                      <a:gd name="connsiteX308" fmla="*/ 335984 w 766180"/>
                      <a:gd name="connsiteY308" fmla="*/ 237711 h 918296"/>
                      <a:gd name="connsiteX309" fmla="*/ 334942 w 766180"/>
                      <a:gd name="connsiteY309" fmla="*/ 232415 h 918296"/>
                      <a:gd name="connsiteX310" fmla="*/ 327834 w 766180"/>
                      <a:gd name="connsiteY310" fmla="*/ 228298 h 918296"/>
                      <a:gd name="connsiteX311" fmla="*/ 304397 w 766180"/>
                      <a:gd name="connsiteY311" fmla="*/ 241361 h 918296"/>
                      <a:gd name="connsiteX312" fmla="*/ 293174 w 766180"/>
                      <a:gd name="connsiteY312" fmla="*/ 242843 h 918296"/>
                      <a:gd name="connsiteX313" fmla="*/ 289551 w 766180"/>
                      <a:gd name="connsiteY313" fmla="*/ 249374 h 918296"/>
                      <a:gd name="connsiteX314" fmla="*/ 285791 w 766180"/>
                      <a:gd name="connsiteY314" fmla="*/ 245038 h 918296"/>
                      <a:gd name="connsiteX315" fmla="*/ 273496 w 766180"/>
                      <a:gd name="connsiteY315" fmla="*/ 246109 h 918296"/>
                      <a:gd name="connsiteX316" fmla="*/ 258623 w 766180"/>
                      <a:gd name="connsiteY316" fmla="*/ 252887 h 918296"/>
                      <a:gd name="connsiteX317" fmla="*/ 256482 w 766180"/>
                      <a:gd name="connsiteY317" fmla="*/ 250499 h 918296"/>
                      <a:gd name="connsiteX318" fmla="*/ 256948 w 766180"/>
                      <a:gd name="connsiteY318" fmla="*/ 245642 h 918296"/>
                      <a:gd name="connsiteX319" fmla="*/ 264029 w 766180"/>
                      <a:gd name="connsiteY319" fmla="*/ 238507 h 918296"/>
                      <a:gd name="connsiteX320" fmla="*/ 277723 w 766180"/>
                      <a:gd name="connsiteY320" fmla="*/ 237327 h 918296"/>
                      <a:gd name="connsiteX321" fmla="*/ 305056 w 766180"/>
                      <a:gd name="connsiteY321" fmla="*/ 218967 h 918296"/>
                      <a:gd name="connsiteX322" fmla="*/ 311588 w 766180"/>
                      <a:gd name="connsiteY322" fmla="*/ 204834 h 918296"/>
                      <a:gd name="connsiteX323" fmla="*/ 315429 w 766180"/>
                      <a:gd name="connsiteY323" fmla="*/ 176815 h 918296"/>
                      <a:gd name="connsiteX324" fmla="*/ 328630 w 766180"/>
                      <a:gd name="connsiteY324" fmla="*/ 160843 h 918296"/>
                      <a:gd name="connsiteX325" fmla="*/ 329123 w 766180"/>
                      <a:gd name="connsiteY325" fmla="*/ 167183 h 918296"/>
                      <a:gd name="connsiteX326" fmla="*/ 323169 w 766180"/>
                      <a:gd name="connsiteY326" fmla="*/ 183648 h 918296"/>
                      <a:gd name="connsiteX327" fmla="*/ 327532 w 766180"/>
                      <a:gd name="connsiteY327" fmla="*/ 202447 h 918296"/>
                      <a:gd name="connsiteX328" fmla="*/ 339415 w 766180"/>
                      <a:gd name="connsiteY328" fmla="*/ 186173 h 918296"/>
                      <a:gd name="connsiteX329" fmla="*/ 349047 w 766180"/>
                      <a:gd name="connsiteY329" fmla="*/ 204148 h 918296"/>
                      <a:gd name="connsiteX330" fmla="*/ 368833 w 766180"/>
                      <a:gd name="connsiteY330" fmla="*/ 191744 h 918296"/>
                      <a:gd name="connsiteX331" fmla="*/ 370178 w 766180"/>
                      <a:gd name="connsiteY331" fmla="*/ 175855 h 918296"/>
                      <a:gd name="connsiteX332" fmla="*/ 361013 w 766180"/>
                      <a:gd name="connsiteY332" fmla="*/ 177693 h 918296"/>
                      <a:gd name="connsiteX333" fmla="*/ 356292 w 766180"/>
                      <a:gd name="connsiteY333" fmla="*/ 173961 h 918296"/>
                      <a:gd name="connsiteX334" fmla="*/ 359147 w 766180"/>
                      <a:gd name="connsiteY334" fmla="*/ 151732 h 918296"/>
                      <a:gd name="connsiteX335" fmla="*/ 367132 w 766180"/>
                      <a:gd name="connsiteY335" fmla="*/ 141990 h 918296"/>
                      <a:gd name="connsiteX336" fmla="*/ 378302 w 766180"/>
                      <a:gd name="connsiteY336" fmla="*/ 138093 h 918296"/>
                      <a:gd name="connsiteX337" fmla="*/ 397978 w 766180"/>
                      <a:gd name="connsiteY337" fmla="*/ 147835 h 918296"/>
                      <a:gd name="connsiteX338" fmla="*/ 393807 w 766180"/>
                      <a:gd name="connsiteY338" fmla="*/ 127939 h 918296"/>
                      <a:gd name="connsiteX339" fmla="*/ 411974 w 766180"/>
                      <a:gd name="connsiteY339" fmla="*/ 89876 h 918296"/>
                      <a:gd name="connsiteX340" fmla="*/ 421002 w 766180"/>
                      <a:gd name="connsiteY340" fmla="*/ 86171 h 918296"/>
                      <a:gd name="connsiteX341" fmla="*/ 429538 w 766180"/>
                      <a:gd name="connsiteY341" fmla="*/ 95227 h 918296"/>
                      <a:gd name="connsiteX342" fmla="*/ 437770 w 766180"/>
                      <a:gd name="connsiteY342" fmla="*/ 120722 h 918296"/>
                      <a:gd name="connsiteX343" fmla="*/ 451300 w 766180"/>
                      <a:gd name="connsiteY343" fmla="*/ 110211 h 918296"/>
                      <a:gd name="connsiteX344" fmla="*/ 454730 w 766180"/>
                      <a:gd name="connsiteY344" fmla="*/ 134855 h 918296"/>
                      <a:gd name="connsiteX345" fmla="*/ 465076 w 766180"/>
                      <a:gd name="connsiteY345" fmla="*/ 107165 h 918296"/>
                      <a:gd name="connsiteX346" fmla="*/ 461262 w 766180"/>
                      <a:gd name="connsiteY346" fmla="*/ 91797 h 918296"/>
                      <a:gd name="connsiteX347" fmla="*/ 462524 w 766180"/>
                      <a:gd name="connsiteY347" fmla="*/ 85622 h 918296"/>
                      <a:gd name="connsiteX348" fmla="*/ 468809 w 766180"/>
                      <a:gd name="connsiteY348" fmla="*/ 88915 h 918296"/>
                      <a:gd name="connsiteX349" fmla="*/ 475642 w 766180"/>
                      <a:gd name="connsiteY349" fmla="*/ 106534 h 918296"/>
                      <a:gd name="connsiteX350" fmla="*/ 484533 w 766180"/>
                      <a:gd name="connsiteY350" fmla="*/ 101566 h 918296"/>
                      <a:gd name="connsiteX351" fmla="*/ 496828 w 766180"/>
                      <a:gd name="connsiteY351" fmla="*/ 102253 h 918296"/>
                      <a:gd name="connsiteX352" fmla="*/ 487415 w 766180"/>
                      <a:gd name="connsiteY352" fmla="*/ 81066 h 918296"/>
                      <a:gd name="connsiteX353" fmla="*/ 496608 w 766180"/>
                      <a:gd name="connsiteY353" fmla="*/ 71215 h 918296"/>
                      <a:gd name="connsiteX354" fmla="*/ 514418 w 766180"/>
                      <a:gd name="connsiteY354" fmla="*/ 75331 h 918296"/>
                      <a:gd name="connsiteX355" fmla="*/ 543536 w 766180"/>
                      <a:gd name="connsiteY355" fmla="*/ 50660 h 918296"/>
                      <a:gd name="connsiteX356" fmla="*/ 551769 w 766180"/>
                      <a:gd name="connsiteY356" fmla="*/ 52443 h 918296"/>
                      <a:gd name="connsiteX357" fmla="*/ 557230 w 766180"/>
                      <a:gd name="connsiteY357" fmla="*/ 39792 h 918296"/>
                      <a:gd name="connsiteX358" fmla="*/ 569140 w 766180"/>
                      <a:gd name="connsiteY358" fmla="*/ 46296 h 918296"/>
                      <a:gd name="connsiteX359" fmla="*/ 573860 w 766180"/>
                      <a:gd name="connsiteY359" fmla="*/ 40259 h 918296"/>
                      <a:gd name="connsiteX360" fmla="*/ 576083 w 766180"/>
                      <a:gd name="connsiteY360" fmla="*/ 25742 h 918296"/>
                      <a:gd name="connsiteX361" fmla="*/ 581654 w 766180"/>
                      <a:gd name="connsiteY361" fmla="*/ 15313 h 918296"/>
                      <a:gd name="connsiteX362" fmla="*/ 597653 w 766180"/>
                      <a:gd name="connsiteY362" fmla="*/ 19210 h 918296"/>
                      <a:gd name="connsiteX363" fmla="*/ 607560 w 766180"/>
                      <a:gd name="connsiteY363" fmla="*/ 0 h 918296"/>
                      <a:gd name="connsiteX364" fmla="*/ 617330 w 766180"/>
                      <a:gd name="connsiteY364" fmla="*/ 3320 h 918296"/>
                      <a:gd name="connsiteX365" fmla="*/ 616918 w 766180"/>
                      <a:gd name="connsiteY365" fmla="*/ 16109 h 91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Lst>
                    <a:rect l="l" t="t" r="r" b="b"/>
                    <a:pathLst>
                      <a:path w="766180" h="918296">
                        <a:moveTo>
                          <a:pt x="616918" y="16082"/>
                        </a:moveTo>
                        <a:lnTo>
                          <a:pt x="597818" y="57493"/>
                        </a:lnTo>
                        <a:lnTo>
                          <a:pt x="595403" y="73876"/>
                        </a:lnTo>
                        <a:lnTo>
                          <a:pt x="598092" y="78432"/>
                        </a:lnTo>
                        <a:lnTo>
                          <a:pt x="635799" y="22558"/>
                        </a:lnTo>
                        <a:lnTo>
                          <a:pt x="639805" y="27388"/>
                        </a:lnTo>
                        <a:lnTo>
                          <a:pt x="640546" y="54310"/>
                        </a:lnTo>
                        <a:lnTo>
                          <a:pt x="646282" y="56176"/>
                        </a:lnTo>
                        <a:lnTo>
                          <a:pt x="658577" y="30050"/>
                        </a:lnTo>
                        <a:lnTo>
                          <a:pt x="661870" y="11114"/>
                        </a:lnTo>
                        <a:lnTo>
                          <a:pt x="676552" y="3485"/>
                        </a:lnTo>
                        <a:lnTo>
                          <a:pt x="688105" y="16027"/>
                        </a:lnTo>
                        <a:lnTo>
                          <a:pt x="684950" y="34167"/>
                        </a:lnTo>
                        <a:lnTo>
                          <a:pt x="687858" y="51236"/>
                        </a:lnTo>
                        <a:lnTo>
                          <a:pt x="692441" y="48300"/>
                        </a:lnTo>
                        <a:lnTo>
                          <a:pt x="702403" y="28541"/>
                        </a:lnTo>
                        <a:lnTo>
                          <a:pt x="709676" y="25906"/>
                        </a:lnTo>
                        <a:lnTo>
                          <a:pt x="722546" y="36307"/>
                        </a:lnTo>
                        <a:lnTo>
                          <a:pt x="741509" y="40835"/>
                        </a:lnTo>
                        <a:lnTo>
                          <a:pt x="763711" y="61143"/>
                        </a:lnTo>
                        <a:lnTo>
                          <a:pt x="765384" y="67400"/>
                        </a:lnTo>
                        <a:lnTo>
                          <a:pt x="762036" y="73108"/>
                        </a:lnTo>
                        <a:lnTo>
                          <a:pt x="723315" y="96407"/>
                        </a:lnTo>
                        <a:lnTo>
                          <a:pt x="733770" y="108702"/>
                        </a:lnTo>
                        <a:lnTo>
                          <a:pt x="764562" y="118993"/>
                        </a:lnTo>
                        <a:lnTo>
                          <a:pt x="766180" y="131754"/>
                        </a:lnTo>
                        <a:lnTo>
                          <a:pt x="763738" y="137023"/>
                        </a:lnTo>
                        <a:lnTo>
                          <a:pt x="754682" y="136886"/>
                        </a:lnTo>
                        <a:lnTo>
                          <a:pt x="744144" y="128021"/>
                        </a:lnTo>
                        <a:lnTo>
                          <a:pt x="743787" y="137489"/>
                        </a:lnTo>
                        <a:lnTo>
                          <a:pt x="739232" y="146326"/>
                        </a:lnTo>
                        <a:lnTo>
                          <a:pt x="720653" y="156809"/>
                        </a:lnTo>
                        <a:lnTo>
                          <a:pt x="714258" y="176486"/>
                        </a:lnTo>
                        <a:lnTo>
                          <a:pt x="707617" y="178187"/>
                        </a:lnTo>
                        <a:lnTo>
                          <a:pt x="704379" y="172040"/>
                        </a:lnTo>
                        <a:lnTo>
                          <a:pt x="706409" y="161831"/>
                        </a:lnTo>
                        <a:lnTo>
                          <a:pt x="718924" y="142017"/>
                        </a:lnTo>
                        <a:lnTo>
                          <a:pt x="713134" y="124756"/>
                        </a:lnTo>
                        <a:lnTo>
                          <a:pt x="702924" y="119267"/>
                        </a:lnTo>
                        <a:lnTo>
                          <a:pt x="691536" y="113010"/>
                        </a:lnTo>
                        <a:lnTo>
                          <a:pt x="678390" y="91413"/>
                        </a:lnTo>
                        <a:lnTo>
                          <a:pt x="669856" y="92236"/>
                        </a:lnTo>
                        <a:lnTo>
                          <a:pt x="652923" y="105491"/>
                        </a:lnTo>
                        <a:lnTo>
                          <a:pt x="635799" y="103762"/>
                        </a:lnTo>
                        <a:lnTo>
                          <a:pt x="620733" y="124152"/>
                        </a:lnTo>
                        <a:lnTo>
                          <a:pt x="618894" y="135404"/>
                        </a:lnTo>
                        <a:lnTo>
                          <a:pt x="615820" y="146738"/>
                        </a:lnTo>
                        <a:lnTo>
                          <a:pt x="616040" y="151979"/>
                        </a:lnTo>
                        <a:lnTo>
                          <a:pt x="614256" y="155025"/>
                        </a:lnTo>
                        <a:lnTo>
                          <a:pt x="612747" y="162764"/>
                        </a:lnTo>
                        <a:lnTo>
                          <a:pt x="613954" y="180136"/>
                        </a:lnTo>
                        <a:lnTo>
                          <a:pt x="611457" y="188478"/>
                        </a:lnTo>
                        <a:lnTo>
                          <a:pt x="598778" y="196107"/>
                        </a:lnTo>
                        <a:lnTo>
                          <a:pt x="594799" y="211393"/>
                        </a:lnTo>
                        <a:lnTo>
                          <a:pt x="588076" y="216498"/>
                        </a:lnTo>
                        <a:lnTo>
                          <a:pt x="560221" y="196190"/>
                        </a:lnTo>
                        <a:lnTo>
                          <a:pt x="556461" y="197480"/>
                        </a:lnTo>
                        <a:lnTo>
                          <a:pt x="552180" y="206289"/>
                        </a:lnTo>
                        <a:lnTo>
                          <a:pt x="539035" y="211860"/>
                        </a:lnTo>
                        <a:lnTo>
                          <a:pt x="515517" y="204642"/>
                        </a:lnTo>
                        <a:lnTo>
                          <a:pt x="503304" y="176431"/>
                        </a:lnTo>
                        <a:lnTo>
                          <a:pt x="494577" y="162792"/>
                        </a:lnTo>
                        <a:lnTo>
                          <a:pt x="492163" y="159471"/>
                        </a:lnTo>
                        <a:lnTo>
                          <a:pt x="490077" y="158867"/>
                        </a:lnTo>
                        <a:lnTo>
                          <a:pt x="482941" y="156864"/>
                        </a:lnTo>
                        <a:lnTo>
                          <a:pt x="475587" y="162792"/>
                        </a:lnTo>
                        <a:lnTo>
                          <a:pt x="474764" y="167265"/>
                        </a:lnTo>
                        <a:lnTo>
                          <a:pt x="476547" y="173083"/>
                        </a:lnTo>
                        <a:lnTo>
                          <a:pt x="474983" y="177309"/>
                        </a:lnTo>
                        <a:lnTo>
                          <a:pt x="466393" y="173796"/>
                        </a:lnTo>
                        <a:lnTo>
                          <a:pt x="461124" y="177501"/>
                        </a:lnTo>
                        <a:lnTo>
                          <a:pt x="450998" y="180410"/>
                        </a:lnTo>
                        <a:lnTo>
                          <a:pt x="453962" y="198440"/>
                        </a:lnTo>
                        <a:lnTo>
                          <a:pt x="446113" y="217678"/>
                        </a:lnTo>
                        <a:lnTo>
                          <a:pt x="448473" y="226295"/>
                        </a:lnTo>
                        <a:lnTo>
                          <a:pt x="443314" y="232826"/>
                        </a:lnTo>
                        <a:lnTo>
                          <a:pt x="399048" y="217458"/>
                        </a:lnTo>
                        <a:lnTo>
                          <a:pt x="389855" y="220093"/>
                        </a:lnTo>
                        <a:lnTo>
                          <a:pt x="389498" y="249621"/>
                        </a:lnTo>
                        <a:lnTo>
                          <a:pt x="383213" y="263974"/>
                        </a:lnTo>
                        <a:lnTo>
                          <a:pt x="375886" y="259473"/>
                        </a:lnTo>
                        <a:lnTo>
                          <a:pt x="365184" y="254177"/>
                        </a:lnTo>
                        <a:lnTo>
                          <a:pt x="348663" y="270862"/>
                        </a:lnTo>
                        <a:lnTo>
                          <a:pt x="340623" y="296247"/>
                        </a:lnTo>
                        <a:lnTo>
                          <a:pt x="330715" y="304617"/>
                        </a:lnTo>
                        <a:lnTo>
                          <a:pt x="338674" y="323772"/>
                        </a:lnTo>
                        <a:lnTo>
                          <a:pt x="338207" y="335710"/>
                        </a:lnTo>
                        <a:lnTo>
                          <a:pt x="328685" y="346083"/>
                        </a:lnTo>
                        <a:lnTo>
                          <a:pt x="314414" y="371660"/>
                        </a:lnTo>
                        <a:lnTo>
                          <a:pt x="309694" y="378027"/>
                        </a:lnTo>
                        <a:lnTo>
                          <a:pt x="311286" y="388181"/>
                        </a:lnTo>
                        <a:lnTo>
                          <a:pt x="312081" y="392819"/>
                        </a:lnTo>
                        <a:lnTo>
                          <a:pt x="306895" y="396414"/>
                        </a:lnTo>
                        <a:lnTo>
                          <a:pt x="298936" y="402122"/>
                        </a:lnTo>
                        <a:lnTo>
                          <a:pt x="296439" y="402424"/>
                        </a:lnTo>
                        <a:lnTo>
                          <a:pt x="294134" y="402671"/>
                        </a:lnTo>
                        <a:lnTo>
                          <a:pt x="288508" y="403247"/>
                        </a:lnTo>
                        <a:lnTo>
                          <a:pt x="287026" y="403412"/>
                        </a:lnTo>
                        <a:lnTo>
                          <a:pt x="283705" y="403741"/>
                        </a:lnTo>
                        <a:lnTo>
                          <a:pt x="284062" y="406430"/>
                        </a:lnTo>
                        <a:lnTo>
                          <a:pt x="285242" y="415596"/>
                        </a:lnTo>
                        <a:lnTo>
                          <a:pt x="286504" y="426821"/>
                        </a:lnTo>
                        <a:lnTo>
                          <a:pt x="283569" y="443561"/>
                        </a:lnTo>
                        <a:lnTo>
                          <a:pt x="283129" y="462881"/>
                        </a:lnTo>
                        <a:lnTo>
                          <a:pt x="279644" y="466997"/>
                        </a:lnTo>
                        <a:lnTo>
                          <a:pt x="278080" y="475998"/>
                        </a:lnTo>
                        <a:lnTo>
                          <a:pt x="259802" y="511098"/>
                        </a:lnTo>
                        <a:lnTo>
                          <a:pt x="271302" y="523255"/>
                        </a:lnTo>
                        <a:lnTo>
                          <a:pt x="272591" y="539447"/>
                        </a:lnTo>
                        <a:lnTo>
                          <a:pt x="271795" y="541395"/>
                        </a:lnTo>
                        <a:lnTo>
                          <a:pt x="268118" y="550424"/>
                        </a:lnTo>
                        <a:lnTo>
                          <a:pt x="244929" y="546445"/>
                        </a:lnTo>
                        <a:lnTo>
                          <a:pt x="229890" y="554238"/>
                        </a:lnTo>
                        <a:lnTo>
                          <a:pt x="214824" y="579349"/>
                        </a:lnTo>
                        <a:lnTo>
                          <a:pt x="215043" y="583767"/>
                        </a:lnTo>
                        <a:lnTo>
                          <a:pt x="215208" y="586868"/>
                        </a:lnTo>
                        <a:lnTo>
                          <a:pt x="212875" y="592960"/>
                        </a:lnTo>
                        <a:lnTo>
                          <a:pt x="210159" y="600013"/>
                        </a:lnTo>
                        <a:lnTo>
                          <a:pt x="211229" y="606600"/>
                        </a:lnTo>
                        <a:lnTo>
                          <a:pt x="215455" y="618208"/>
                        </a:lnTo>
                        <a:lnTo>
                          <a:pt x="212381" y="625343"/>
                        </a:lnTo>
                        <a:lnTo>
                          <a:pt x="213314" y="635003"/>
                        </a:lnTo>
                        <a:lnTo>
                          <a:pt x="211503" y="642989"/>
                        </a:lnTo>
                        <a:lnTo>
                          <a:pt x="217183" y="661376"/>
                        </a:lnTo>
                        <a:lnTo>
                          <a:pt x="218501" y="665410"/>
                        </a:lnTo>
                        <a:lnTo>
                          <a:pt x="214275" y="699137"/>
                        </a:lnTo>
                        <a:lnTo>
                          <a:pt x="221520" y="708523"/>
                        </a:lnTo>
                        <a:lnTo>
                          <a:pt x="227777" y="711102"/>
                        </a:lnTo>
                        <a:lnTo>
                          <a:pt x="234528" y="721366"/>
                        </a:lnTo>
                        <a:lnTo>
                          <a:pt x="234418" y="726882"/>
                        </a:lnTo>
                        <a:lnTo>
                          <a:pt x="229369" y="740466"/>
                        </a:lnTo>
                        <a:lnTo>
                          <a:pt x="217595" y="744418"/>
                        </a:lnTo>
                        <a:lnTo>
                          <a:pt x="226953" y="774194"/>
                        </a:lnTo>
                        <a:lnTo>
                          <a:pt x="223660" y="797630"/>
                        </a:lnTo>
                        <a:lnTo>
                          <a:pt x="215675" y="808717"/>
                        </a:lnTo>
                        <a:lnTo>
                          <a:pt x="204971" y="812971"/>
                        </a:lnTo>
                        <a:lnTo>
                          <a:pt x="207551" y="815907"/>
                        </a:lnTo>
                        <a:lnTo>
                          <a:pt x="206947" y="821725"/>
                        </a:lnTo>
                        <a:lnTo>
                          <a:pt x="201541" y="828476"/>
                        </a:lnTo>
                        <a:lnTo>
                          <a:pt x="204588" y="847933"/>
                        </a:lnTo>
                        <a:lnTo>
                          <a:pt x="203215" y="850952"/>
                        </a:lnTo>
                        <a:lnTo>
                          <a:pt x="198962" y="866649"/>
                        </a:lnTo>
                        <a:lnTo>
                          <a:pt x="194488" y="867720"/>
                        </a:lnTo>
                        <a:lnTo>
                          <a:pt x="193830" y="862231"/>
                        </a:lnTo>
                        <a:lnTo>
                          <a:pt x="191031" y="856495"/>
                        </a:lnTo>
                        <a:lnTo>
                          <a:pt x="190564" y="855535"/>
                        </a:lnTo>
                        <a:lnTo>
                          <a:pt x="184691" y="854876"/>
                        </a:lnTo>
                        <a:lnTo>
                          <a:pt x="180520" y="859569"/>
                        </a:lnTo>
                        <a:lnTo>
                          <a:pt x="176952" y="857730"/>
                        </a:lnTo>
                        <a:lnTo>
                          <a:pt x="170558" y="842390"/>
                        </a:lnTo>
                        <a:lnTo>
                          <a:pt x="171024" y="833471"/>
                        </a:lnTo>
                        <a:lnTo>
                          <a:pt x="167786" y="819475"/>
                        </a:lnTo>
                        <a:lnTo>
                          <a:pt x="169900" y="813739"/>
                        </a:lnTo>
                        <a:lnTo>
                          <a:pt x="173357" y="813657"/>
                        </a:lnTo>
                        <a:lnTo>
                          <a:pt x="173248" y="810830"/>
                        </a:lnTo>
                        <a:lnTo>
                          <a:pt x="171848" y="810501"/>
                        </a:lnTo>
                        <a:lnTo>
                          <a:pt x="169735" y="808827"/>
                        </a:lnTo>
                        <a:lnTo>
                          <a:pt x="165481" y="816044"/>
                        </a:lnTo>
                        <a:lnTo>
                          <a:pt x="167512" y="822795"/>
                        </a:lnTo>
                        <a:lnTo>
                          <a:pt x="168500" y="823920"/>
                        </a:lnTo>
                        <a:lnTo>
                          <a:pt x="168939" y="827598"/>
                        </a:lnTo>
                        <a:lnTo>
                          <a:pt x="167512" y="830205"/>
                        </a:lnTo>
                        <a:lnTo>
                          <a:pt x="166579" y="831852"/>
                        </a:lnTo>
                        <a:lnTo>
                          <a:pt x="163588" y="830973"/>
                        </a:lnTo>
                        <a:lnTo>
                          <a:pt x="163286" y="822356"/>
                        </a:lnTo>
                        <a:lnTo>
                          <a:pt x="161776" y="820737"/>
                        </a:lnTo>
                        <a:lnTo>
                          <a:pt x="160267" y="821698"/>
                        </a:lnTo>
                        <a:lnTo>
                          <a:pt x="162023" y="826445"/>
                        </a:lnTo>
                        <a:lnTo>
                          <a:pt x="161529" y="833443"/>
                        </a:lnTo>
                        <a:lnTo>
                          <a:pt x="164713" y="838877"/>
                        </a:lnTo>
                        <a:lnTo>
                          <a:pt x="164356" y="855233"/>
                        </a:lnTo>
                        <a:lnTo>
                          <a:pt x="160843" y="852297"/>
                        </a:lnTo>
                        <a:lnTo>
                          <a:pt x="155958" y="859734"/>
                        </a:lnTo>
                        <a:lnTo>
                          <a:pt x="148439" y="862588"/>
                        </a:lnTo>
                        <a:lnTo>
                          <a:pt x="146051" y="859075"/>
                        </a:lnTo>
                        <a:lnTo>
                          <a:pt x="138368" y="869778"/>
                        </a:lnTo>
                        <a:lnTo>
                          <a:pt x="133098" y="870711"/>
                        </a:lnTo>
                        <a:lnTo>
                          <a:pt x="132138" y="874580"/>
                        </a:lnTo>
                        <a:lnTo>
                          <a:pt x="127829" y="877105"/>
                        </a:lnTo>
                        <a:lnTo>
                          <a:pt x="115261" y="895135"/>
                        </a:lnTo>
                        <a:lnTo>
                          <a:pt x="97395" y="909927"/>
                        </a:lnTo>
                        <a:lnTo>
                          <a:pt x="81067" y="918297"/>
                        </a:lnTo>
                        <a:lnTo>
                          <a:pt x="67839" y="915388"/>
                        </a:lnTo>
                        <a:lnTo>
                          <a:pt x="63338" y="917336"/>
                        </a:lnTo>
                        <a:lnTo>
                          <a:pt x="52361" y="913110"/>
                        </a:lnTo>
                        <a:lnTo>
                          <a:pt x="52197" y="906853"/>
                        </a:lnTo>
                        <a:lnTo>
                          <a:pt x="46022" y="901612"/>
                        </a:lnTo>
                        <a:lnTo>
                          <a:pt x="24369" y="887286"/>
                        </a:lnTo>
                        <a:lnTo>
                          <a:pt x="19347" y="877517"/>
                        </a:lnTo>
                        <a:lnTo>
                          <a:pt x="22037" y="860090"/>
                        </a:lnTo>
                        <a:lnTo>
                          <a:pt x="26976" y="853175"/>
                        </a:lnTo>
                        <a:lnTo>
                          <a:pt x="27717" y="859761"/>
                        </a:lnTo>
                        <a:lnTo>
                          <a:pt x="30654" y="861161"/>
                        </a:lnTo>
                        <a:lnTo>
                          <a:pt x="31999" y="846177"/>
                        </a:lnTo>
                        <a:lnTo>
                          <a:pt x="35703" y="843487"/>
                        </a:lnTo>
                        <a:lnTo>
                          <a:pt x="30160" y="836764"/>
                        </a:lnTo>
                        <a:lnTo>
                          <a:pt x="28403" y="841566"/>
                        </a:lnTo>
                        <a:lnTo>
                          <a:pt x="21433" y="844805"/>
                        </a:lnTo>
                        <a:lnTo>
                          <a:pt x="17234" y="850513"/>
                        </a:lnTo>
                        <a:lnTo>
                          <a:pt x="14023" y="848839"/>
                        </a:lnTo>
                        <a:lnTo>
                          <a:pt x="9962" y="852406"/>
                        </a:lnTo>
                        <a:lnTo>
                          <a:pt x="9770" y="840359"/>
                        </a:lnTo>
                        <a:lnTo>
                          <a:pt x="12651" y="833855"/>
                        </a:lnTo>
                        <a:lnTo>
                          <a:pt x="12569" y="827488"/>
                        </a:lnTo>
                        <a:lnTo>
                          <a:pt x="18853" y="820435"/>
                        </a:lnTo>
                        <a:lnTo>
                          <a:pt x="18853" y="828394"/>
                        </a:lnTo>
                        <a:cubicBezTo>
                          <a:pt x="18853" y="828394"/>
                          <a:pt x="17179" y="832839"/>
                          <a:pt x="17179" y="832839"/>
                        </a:cubicBezTo>
                        <a:lnTo>
                          <a:pt x="19924" y="829519"/>
                        </a:lnTo>
                        <a:lnTo>
                          <a:pt x="21296" y="823454"/>
                        </a:lnTo>
                        <a:lnTo>
                          <a:pt x="27882" y="824277"/>
                        </a:lnTo>
                        <a:lnTo>
                          <a:pt x="24836" y="814343"/>
                        </a:lnTo>
                        <a:lnTo>
                          <a:pt x="34496" y="800100"/>
                        </a:lnTo>
                        <a:lnTo>
                          <a:pt x="34907" y="792965"/>
                        </a:lnTo>
                        <a:lnTo>
                          <a:pt x="24095" y="804930"/>
                        </a:lnTo>
                        <a:lnTo>
                          <a:pt x="16136" y="818597"/>
                        </a:lnTo>
                        <a:lnTo>
                          <a:pt x="10511" y="824030"/>
                        </a:lnTo>
                        <a:lnTo>
                          <a:pt x="8398" y="822576"/>
                        </a:lnTo>
                        <a:lnTo>
                          <a:pt x="7849" y="809925"/>
                        </a:lnTo>
                        <a:lnTo>
                          <a:pt x="24040" y="795736"/>
                        </a:lnTo>
                        <a:lnTo>
                          <a:pt x="21323" y="791263"/>
                        </a:lnTo>
                        <a:lnTo>
                          <a:pt x="15999" y="793376"/>
                        </a:lnTo>
                        <a:lnTo>
                          <a:pt x="11334" y="791044"/>
                        </a:lnTo>
                        <a:lnTo>
                          <a:pt x="9770" y="800512"/>
                        </a:lnTo>
                        <a:lnTo>
                          <a:pt x="4281" y="792636"/>
                        </a:lnTo>
                        <a:lnTo>
                          <a:pt x="0" y="774331"/>
                        </a:lnTo>
                        <a:lnTo>
                          <a:pt x="2827" y="771559"/>
                        </a:lnTo>
                        <a:lnTo>
                          <a:pt x="659" y="759375"/>
                        </a:lnTo>
                        <a:lnTo>
                          <a:pt x="7904" y="753474"/>
                        </a:lnTo>
                        <a:lnTo>
                          <a:pt x="3595" y="747245"/>
                        </a:lnTo>
                        <a:lnTo>
                          <a:pt x="10511" y="738381"/>
                        </a:lnTo>
                        <a:lnTo>
                          <a:pt x="2470" y="731575"/>
                        </a:lnTo>
                        <a:lnTo>
                          <a:pt x="3348" y="721888"/>
                        </a:lnTo>
                        <a:lnTo>
                          <a:pt x="7437" y="709703"/>
                        </a:lnTo>
                        <a:lnTo>
                          <a:pt x="3622" y="689395"/>
                        </a:lnTo>
                        <a:lnTo>
                          <a:pt x="10538" y="676936"/>
                        </a:lnTo>
                        <a:lnTo>
                          <a:pt x="18277" y="681052"/>
                        </a:lnTo>
                        <a:lnTo>
                          <a:pt x="16383" y="671200"/>
                        </a:lnTo>
                        <a:lnTo>
                          <a:pt x="19265" y="667276"/>
                        </a:lnTo>
                        <a:lnTo>
                          <a:pt x="19814" y="658412"/>
                        </a:lnTo>
                        <a:lnTo>
                          <a:pt x="43470" y="660360"/>
                        </a:lnTo>
                        <a:lnTo>
                          <a:pt x="43415" y="657012"/>
                        </a:lnTo>
                        <a:lnTo>
                          <a:pt x="37707" y="652951"/>
                        </a:lnTo>
                        <a:lnTo>
                          <a:pt x="40314" y="643154"/>
                        </a:lnTo>
                        <a:lnTo>
                          <a:pt x="52745" y="641205"/>
                        </a:lnTo>
                        <a:lnTo>
                          <a:pt x="61994" y="623587"/>
                        </a:lnTo>
                        <a:lnTo>
                          <a:pt x="78954" y="613323"/>
                        </a:lnTo>
                        <a:lnTo>
                          <a:pt x="95941" y="613845"/>
                        </a:lnTo>
                        <a:lnTo>
                          <a:pt x="94870" y="604185"/>
                        </a:lnTo>
                        <a:lnTo>
                          <a:pt x="111199" y="592906"/>
                        </a:lnTo>
                        <a:lnTo>
                          <a:pt x="114273" y="590792"/>
                        </a:lnTo>
                        <a:lnTo>
                          <a:pt x="103954" y="586813"/>
                        </a:lnTo>
                        <a:lnTo>
                          <a:pt x="107879" y="578114"/>
                        </a:lnTo>
                        <a:lnTo>
                          <a:pt x="107220" y="571500"/>
                        </a:lnTo>
                        <a:lnTo>
                          <a:pt x="111336" y="563871"/>
                        </a:lnTo>
                        <a:lnTo>
                          <a:pt x="115480" y="566423"/>
                        </a:lnTo>
                        <a:lnTo>
                          <a:pt x="118499" y="574930"/>
                        </a:lnTo>
                        <a:lnTo>
                          <a:pt x="124920" y="576851"/>
                        </a:lnTo>
                        <a:lnTo>
                          <a:pt x="128077" y="583849"/>
                        </a:lnTo>
                        <a:lnTo>
                          <a:pt x="142978" y="578004"/>
                        </a:lnTo>
                        <a:lnTo>
                          <a:pt x="147643" y="586786"/>
                        </a:lnTo>
                        <a:lnTo>
                          <a:pt x="150936" y="592878"/>
                        </a:lnTo>
                        <a:lnTo>
                          <a:pt x="152446" y="592878"/>
                        </a:lnTo>
                        <a:lnTo>
                          <a:pt x="158264" y="589612"/>
                        </a:lnTo>
                        <a:lnTo>
                          <a:pt x="176019" y="589804"/>
                        </a:lnTo>
                        <a:lnTo>
                          <a:pt x="179010" y="571445"/>
                        </a:lnTo>
                        <a:lnTo>
                          <a:pt x="155876" y="583685"/>
                        </a:lnTo>
                        <a:lnTo>
                          <a:pt x="150058" y="584700"/>
                        </a:lnTo>
                        <a:lnTo>
                          <a:pt x="140343" y="568865"/>
                        </a:lnTo>
                        <a:lnTo>
                          <a:pt x="142264" y="563514"/>
                        </a:lnTo>
                        <a:lnTo>
                          <a:pt x="149372" y="557833"/>
                        </a:lnTo>
                        <a:lnTo>
                          <a:pt x="149647" y="549244"/>
                        </a:lnTo>
                        <a:lnTo>
                          <a:pt x="154504" y="541313"/>
                        </a:lnTo>
                        <a:lnTo>
                          <a:pt x="155684" y="539364"/>
                        </a:lnTo>
                        <a:lnTo>
                          <a:pt x="157605" y="536208"/>
                        </a:lnTo>
                        <a:lnTo>
                          <a:pt x="158373" y="534287"/>
                        </a:lnTo>
                        <a:lnTo>
                          <a:pt x="163505" y="531159"/>
                        </a:lnTo>
                        <a:lnTo>
                          <a:pt x="165920" y="523530"/>
                        </a:lnTo>
                        <a:lnTo>
                          <a:pt x="184582" y="506844"/>
                        </a:lnTo>
                        <a:lnTo>
                          <a:pt x="175663" y="495263"/>
                        </a:lnTo>
                        <a:lnTo>
                          <a:pt x="176294" y="488787"/>
                        </a:lnTo>
                        <a:lnTo>
                          <a:pt x="195394" y="488183"/>
                        </a:lnTo>
                        <a:lnTo>
                          <a:pt x="200828" y="478633"/>
                        </a:lnTo>
                        <a:lnTo>
                          <a:pt x="207908" y="473830"/>
                        </a:lnTo>
                        <a:lnTo>
                          <a:pt x="208649" y="474407"/>
                        </a:lnTo>
                        <a:lnTo>
                          <a:pt x="208786" y="475669"/>
                        </a:lnTo>
                        <a:lnTo>
                          <a:pt x="207497" y="477480"/>
                        </a:lnTo>
                        <a:lnTo>
                          <a:pt x="211064" y="479895"/>
                        </a:lnTo>
                        <a:lnTo>
                          <a:pt x="213314" y="453111"/>
                        </a:lnTo>
                        <a:lnTo>
                          <a:pt x="225581" y="426601"/>
                        </a:lnTo>
                        <a:lnTo>
                          <a:pt x="223578" y="412248"/>
                        </a:lnTo>
                        <a:lnTo>
                          <a:pt x="224539" y="405168"/>
                        </a:lnTo>
                        <a:lnTo>
                          <a:pt x="230851" y="405360"/>
                        </a:lnTo>
                        <a:lnTo>
                          <a:pt x="239056" y="397813"/>
                        </a:lnTo>
                        <a:lnTo>
                          <a:pt x="242267" y="380140"/>
                        </a:lnTo>
                        <a:lnTo>
                          <a:pt x="248634" y="361177"/>
                        </a:lnTo>
                        <a:lnTo>
                          <a:pt x="270890" y="331127"/>
                        </a:lnTo>
                        <a:lnTo>
                          <a:pt x="279177" y="324019"/>
                        </a:lnTo>
                        <a:lnTo>
                          <a:pt x="291115" y="303108"/>
                        </a:lnTo>
                        <a:lnTo>
                          <a:pt x="302312" y="295808"/>
                        </a:lnTo>
                        <a:lnTo>
                          <a:pt x="306017" y="286807"/>
                        </a:lnTo>
                        <a:lnTo>
                          <a:pt x="304727" y="283266"/>
                        </a:lnTo>
                        <a:lnTo>
                          <a:pt x="295232" y="285572"/>
                        </a:lnTo>
                        <a:lnTo>
                          <a:pt x="293503" y="277915"/>
                        </a:lnTo>
                        <a:lnTo>
                          <a:pt x="295259" y="270917"/>
                        </a:lnTo>
                        <a:lnTo>
                          <a:pt x="310462" y="267761"/>
                        </a:lnTo>
                        <a:lnTo>
                          <a:pt x="312822" y="254726"/>
                        </a:lnTo>
                        <a:lnTo>
                          <a:pt x="325447" y="247426"/>
                        </a:lnTo>
                        <a:lnTo>
                          <a:pt x="333624" y="261120"/>
                        </a:lnTo>
                        <a:lnTo>
                          <a:pt x="335984" y="237711"/>
                        </a:lnTo>
                        <a:lnTo>
                          <a:pt x="334942" y="232415"/>
                        </a:lnTo>
                        <a:lnTo>
                          <a:pt x="327834" y="228298"/>
                        </a:lnTo>
                        <a:lnTo>
                          <a:pt x="304397" y="241361"/>
                        </a:lnTo>
                        <a:lnTo>
                          <a:pt x="293174" y="242843"/>
                        </a:lnTo>
                        <a:lnTo>
                          <a:pt x="289551" y="249374"/>
                        </a:lnTo>
                        <a:lnTo>
                          <a:pt x="285791" y="245038"/>
                        </a:lnTo>
                        <a:lnTo>
                          <a:pt x="273496" y="246109"/>
                        </a:lnTo>
                        <a:lnTo>
                          <a:pt x="258623" y="252887"/>
                        </a:lnTo>
                        <a:lnTo>
                          <a:pt x="256482" y="250499"/>
                        </a:lnTo>
                        <a:lnTo>
                          <a:pt x="256948" y="245642"/>
                        </a:lnTo>
                        <a:lnTo>
                          <a:pt x="264029" y="238507"/>
                        </a:lnTo>
                        <a:lnTo>
                          <a:pt x="277723" y="237327"/>
                        </a:lnTo>
                        <a:lnTo>
                          <a:pt x="305056" y="218967"/>
                        </a:lnTo>
                        <a:lnTo>
                          <a:pt x="311588" y="204834"/>
                        </a:lnTo>
                        <a:lnTo>
                          <a:pt x="315429" y="176815"/>
                        </a:lnTo>
                        <a:lnTo>
                          <a:pt x="328630" y="160843"/>
                        </a:lnTo>
                        <a:lnTo>
                          <a:pt x="329123" y="167183"/>
                        </a:lnTo>
                        <a:lnTo>
                          <a:pt x="323169" y="183648"/>
                        </a:lnTo>
                        <a:lnTo>
                          <a:pt x="327532" y="202447"/>
                        </a:lnTo>
                        <a:lnTo>
                          <a:pt x="339415" y="186173"/>
                        </a:lnTo>
                        <a:lnTo>
                          <a:pt x="349047" y="204148"/>
                        </a:lnTo>
                        <a:lnTo>
                          <a:pt x="368833" y="191744"/>
                        </a:lnTo>
                        <a:lnTo>
                          <a:pt x="370178" y="175855"/>
                        </a:lnTo>
                        <a:lnTo>
                          <a:pt x="361013" y="177693"/>
                        </a:lnTo>
                        <a:lnTo>
                          <a:pt x="356292" y="173961"/>
                        </a:lnTo>
                        <a:lnTo>
                          <a:pt x="359147" y="151732"/>
                        </a:lnTo>
                        <a:lnTo>
                          <a:pt x="367132" y="141990"/>
                        </a:lnTo>
                        <a:lnTo>
                          <a:pt x="378302" y="138093"/>
                        </a:lnTo>
                        <a:lnTo>
                          <a:pt x="397978" y="147835"/>
                        </a:lnTo>
                        <a:lnTo>
                          <a:pt x="393807" y="127939"/>
                        </a:lnTo>
                        <a:lnTo>
                          <a:pt x="411974" y="89876"/>
                        </a:lnTo>
                        <a:lnTo>
                          <a:pt x="421002" y="86171"/>
                        </a:lnTo>
                        <a:lnTo>
                          <a:pt x="429538" y="95227"/>
                        </a:lnTo>
                        <a:lnTo>
                          <a:pt x="437770" y="120722"/>
                        </a:lnTo>
                        <a:lnTo>
                          <a:pt x="451300" y="110211"/>
                        </a:lnTo>
                        <a:lnTo>
                          <a:pt x="454730" y="134855"/>
                        </a:lnTo>
                        <a:lnTo>
                          <a:pt x="465076" y="107165"/>
                        </a:lnTo>
                        <a:lnTo>
                          <a:pt x="461262" y="91797"/>
                        </a:lnTo>
                        <a:lnTo>
                          <a:pt x="462524" y="85622"/>
                        </a:lnTo>
                        <a:lnTo>
                          <a:pt x="468809" y="88915"/>
                        </a:lnTo>
                        <a:lnTo>
                          <a:pt x="475642" y="106534"/>
                        </a:lnTo>
                        <a:lnTo>
                          <a:pt x="484533" y="101566"/>
                        </a:lnTo>
                        <a:lnTo>
                          <a:pt x="496828" y="102253"/>
                        </a:lnTo>
                        <a:lnTo>
                          <a:pt x="487415" y="81066"/>
                        </a:lnTo>
                        <a:lnTo>
                          <a:pt x="496608" y="71215"/>
                        </a:lnTo>
                        <a:lnTo>
                          <a:pt x="514418" y="75331"/>
                        </a:lnTo>
                        <a:lnTo>
                          <a:pt x="543536" y="50660"/>
                        </a:lnTo>
                        <a:lnTo>
                          <a:pt x="551769" y="52443"/>
                        </a:lnTo>
                        <a:lnTo>
                          <a:pt x="557230" y="39792"/>
                        </a:lnTo>
                        <a:lnTo>
                          <a:pt x="569140" y="46296"/>
                        </a:lnTo>
                        <a:lnTo>
                          <a:pt x="573860" y="40259"/>
                        </a:lnTo>
                        <a:lnTo>
                          <a:pt x="576083" y="25742"/>
                        </a:lnTo>
                        <a:lnTo>
                          <a:pt x="581654" y="15313"/>
                        </a:lnTo>
                        <a:lnTo>
                          <a:pt x="597653" y="19210"/>
                        </a:lnTo>
                        <a:lnTo>
                          <a:pt x="607560" y="0"/>
                        </a:lnTo>
                        <a:lnTo>
                          <a:pt x="617330" y="3320"/>
                        </a:lnTo>
                        <a:lnTo>
                          <a:pt x="616918" y="16109"/>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3" name="Freeform: Shape 3542">
                    <a:extLst>
                      <a:ext uri="{FF2B5EF4-FFF2-40B4-BE49-F238E27FC236}">
                        <a16:creationId xmlns:a16="http://schemas.microsoft.com/office/drawing/2014/main" id="{B4BBD860-A44A-AD92-1BA8-AFA1A5935AE4}"/>
                      </a:ext>
                    </a:extLst>
                  </p:cNvPr>
                  <p:cNvSpPr/>
                  <p:nvPr/>
                </p:nvSpPr>
                <p:spPr>
                  <a:xfrm>
                    <a:off x="-6057273" y="2441574"/>
                    <a:ext cx="12211" cy="13200"/>
                  </a:xfrm>
                  <a:custGeom>
                    <a:avLst/>
                    <a:gdLst>
                      <a:gd name="connsiteX0" fmla="*/ 11608 w 12211"/>
                      <a:gd name="connsiteY0" fmla="*/ 10126 h 13200"/>
                      <a:gd name="connsiteX1" fmla="*/ 7464 w 12211"/>
                      <a:gd name="connsiteY1" fmla="*/ 13200 h 13200"/>
                      <a:gd name="connsiteX2" fmla="*/ 604 w 12211"/>
                      <a:gd name="connsiteY2" fmla="*/ 9825 h 13200"/>
                      <a:gd name="connsiteX3" fmla="*/ 0 w 12211"/>
                      <a:gd name="connsiteY3" fmla="*/ 5928 h 13200"/>
                      <a:gd name="connsiteX4" fmla="*/ 0 w 12211"/>
                      <a:gd name="connsiteY4" fmla="*/ 2250 h 13200"/>
                      <a:gd name="connsiteX5" fmla="*/ 5406 w 12211"/>
                      <a:gd name="connsiteY5" fmla="*/ 0 h 13200"/>
                      <a:gd name="connsiteX6" fmla="*/ 9083 w 12211"/>
                      <a:gd name="connsiteY6" fmla="*/ 631 h 13200"/>
                      <a:gd name="connsiteX7" fmla="*/ 12212 w 12211"/>
                      <a:gd name="connsiteY7" fmla="*/ 5928 h 13200"/>
                      <a:gd name="connsiteX8" fmla="*/ 11608 w 12211"/>
                      <a:gd name="connsiteY8" fmla="*/ 10126 h 1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1" h="13200">
                        <a:moveTo>
                          <a:pt x="11608" y="10126"/>
                        </a:moveTo>
                        <a:lnTo>
                          <a:pt x="7464" y="13200"/>
                        </a:lnTo>
                        <a:lnTo>
                          <a:pt x="604" y="9825"/>
                        </a:lnTo>
                        <a:lnTo>
                          <a:pt x="0" y="5928"/>
                        </a:lnTo>
                        <a:lnTo>
                          <a:pt x="0" y="2250"/>
                        </a:lnTo>
                        <a:lnTo>
                          <a:pt x="5406" y="0"/>
                        </a:lnTo>
                        <a:lnTo>
                          <a:pt x="9083" y="631"/>
                        </a:lnTo>
                        <a:lnTo>
                          <a:pt x="12212" y="5928"/>
                        </a:lnTo>
                        <a:lnTo>
                          <a:pt x="11608" y="1012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4" name="Freeform: Shape 3543">
                    <a:extLst>
                      <a:ext uri="{FF2B5EF4-FFF2-40B4-BE49-F238E27FC236}">
                        <a16:creationId xmlns:a16="http://schemas.microsoft.com/office/drawing/2014/main" id="{FF41C55D-A5C2-4D9D-A9AE-9CD473BDDB28}"/>
                      </a:ext>
                    </a:extLst>
                  </p:cNvPr>
                  <p:cNvSpPr/>
                  <p:nvPr/>
                </p:nvSpPr>
                <p:spPr>
                  <a:xfrm>
                    <a:off x="-6153434" y="2590150"/>
                    <a:ext cx="8534" cy="10894"/>
                  </a:xfrm>
                  <a:custGeom>
                    <a:avLst/>
                    <a:gdLst>
                      <a:gd name="connsiteX0" fmla="*/ 8535 w 8534"/>
                      <a:gd name="connsiteY0" fmla="*/ 4254 h 10894"/>
                      <a:gd name="connsiteX1" fmla="*/ 7519 w 8534"/>
                      <a:gd name="connsiteY1" fmla="*/ 6586 h 10894"/>
                      <a:gd name="connsiteX2" fmla="*/ 4885 w 8534"/>
                      <a:gd name="connsiteY2" fmla="*/ 5132 h 10894"/>
                      <a:gd name="connsiteX3" fmla="*/ 1564 w 8534"/>
                      <a:gd name="connsiteY3" fmla="*/ 10895 h 10894"/>
                      <a:gd name="connsiteX4" fmla="*/ 0 w 8534"/>
                      <a:gd name="connsiteY4" fmla="*/ 7684 h 10894"/>
                      <a:gd name="connsiteX5" fmla="*/ 878 w 8534"/>
                      <a:gd name="connsiteY5" fmla="*/ 3924 h 10894"/>
                      <a:gd name="connsiteX6" fmla="*/ 5324 w 8534"/>
                      <a:gd name="connsiteY6" fmla="*/ 2442 h 10894"/>
                      <a:gd name="connsiteX7" fmla="*/ 8205 w 8534"/>
                      <a:gd name="connsiteY7" fmla="*/ 0 h 10894"/>
                      <a:gd name="connsiteX8" fmla="*/ 8535 w 8534"/>
                      <a:gd name="connsiteY8" fmla="*/ 4254 h 1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34" h="10894">
                        <a:moveTo>
                          <a:pt x="8535" y="4254"/>
                        </a:moveTo>
                        <a:lnTo>
                          <a:pt x="7519" y="6586"/>
                        </a:lnTo>
                        <a:lnTo>
                          <a:pt x="4885" y="5132"/>
                        </a:lnTo>
                        <a:lnTo>
                          <a:pt x="1564" y="10895"/>
                        </a:lnTo>
                        <a:lnTo>
                          <a:pt x="0" y="7684"/>
                        </a:lnTo>
                        <a:lnTo>
                          <a:pt x="878" y="3924"/>
                        </a:lnTo>
                        <a:lnTo>
                          <a:pt x="5324" y="2442"/>
                        </a:lnTo>
                        <a:lnTo>
                          <a:pt x="8205" y="0"/>
                        </a:lnTo>
                        <a:lnTo>
                          <a:pt x="8535" y="425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5" name="Freeform: Shape 3544">
                    <a:extLst>
                      <a:ext uri="{FF2B5EF4-FFF2-40B4-BE49-F238E27FC236}">
                        <a16:creationId xmlns:a16="http://schemas.microsoft.com/office/drawing/2014/main" id="{EAE0CC68-EFDB-CD36-D122-48D8BF7D4C7F}"/>
                      </a:ext>
                    </a:extLst>
                  </p:cNvPr>
                  <p:cNvSpPr/>
                  <p:nvPr/>
                </p:nvSpPr>
                <p:spPr>
                  <a:xfrm>
                    <a:off x="-5940476" y="2287152"/>
                    <a:ext cx="6668" cy="11059"/>
                  </a:xfrm>
                  <a:custGeom>
                    <a:avLst/>
                    <a:gdLst>
                      <a:gd name="connsiteX0" fmla="*/ 6668 w 6668"/>
                      <a:gd name="connsiteY0" fmla="*/ 6367 h 11059"/>
                      <a:gd name="connsiteX1" fmla="*/ 4089 w 6668"/>
                      <a:gd name="connsiteY1" fmla="*/ 11060 h 11059"/>
                      <a:gd name="connsiteX2" fmla="*/ 0 w 6668"/>
                      <a:gd name="connsiteY2" fmla="*/ 6367 h 11059"/>
                      <a:gd name="connsiteX3" fmla="*/ 165 w 6668"/>
                      <a:gd name="connsiteY3" fmla="*/ 3293 h 11059"/>
                      <a:gd name="connsiteX4" fmla="*/ 5461 w 6668"/>
                      <a:gd name="connsiteY4" fmla="*/ 0 h 11059"/>
                      <a:gd name="connsiteX5" fmla="*/ 6668 w 6668"/>
                      <a:gd name="connsiteY5" fmla="*/ 6394 h 1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8" h="11059">
                        <a:moveTo>
                          <a:pt x="6668" y="6367"/>
                        </a:moveTo>
                        <a:lnTo>
                          <a:pt x="4089" y="11060"/>
                        </a:lnTo>
                        <a:lnTo>
                          <a:pt x="0" y="6367"/>
                        </a:lnTo>
                        <a:lnTo>
                          <a:pt x="165" y="3293"/>
                        </a:lnTo>
                        <a:lnTo>
                          <a:pt x="5461" y="0"/>
                        </a:lnTo>
                        <a:lnTo>
                          <a:pt x="6668" y="639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6" name="Freeform: Shape 3545">
                    <a:extLst>
                      <a:ext uri="{FF2B5EF4-FFF2-40B4-BE49-F238E27FC236}">
                        <a16:creationId xmlns:a16="http://schemas.microsoft.com/office/drawing/2014/main" id="{F1ABFC36-1AFC-4F0C-75B8-CFE6F33463EC}"/>
                      </a:ext>
                    </a:extLst>
                  </p:cNvPr>
                  <p:cNvSpPr/>
                  <p:nvPr/>
                </p:nvSpPr>
                <p:spPr>
                  <a:xfrm>
                    <a:off x="-5927413" y="2263853"/>
                    <a:ext cx="3814" cy="17645"/>
                  </a:xfrm>
                  <a:custGeom>
                    <a:avLst/>
                    <a:gdLst>
                      <a:gd name="connsiteX0" fmla="*/ 2937 w 3814"/>
                      <a:gd name="connsiteY0" fmla="*/ 16905 h 17645"/>
                      <a:gd name="connsiteX1" fmla="*/ 741 w 3814"/>
                      <a:gd name="connsiteY1" fmla="*/ 17646 h 17645"/>
                      <a:gd name="connsiteX2" fmla="*/ 0 w 3814"/>
                      <a:gd name="connsiteY2" fmla="*/ 768 h 17645"/>
                      <a:gd name="connsiteX3" fmla="*/ 1262 w 3814"/>
                      <a:gd name="connsiteY3" fmla="*/ 0 h 17645"/>
                      <a:gd name="connsiteX4" fmla="*/ 1838 w 3814"/>
                      <a:gd name="connsiteY4" fmla="*/ 6367 h 17645"/>
                      <a:gd name="connsiteX5" fmla="*/ 3814 w 3814"/>
                      <a:gd name="connsiteY5" fmla="*/ 13996 h 17645"/>
                      <a:gd name="connsiteX6" fmla="*/ 2964 w 3814"/>
                      <a:gd name="connsiteY6" fmla="*/ 16932 h 1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4" h="17645">
                        <a:moveTo>
                          <a:pt x="2937" y="16905"/>
                        </a:moveTo>
                        <a:lnTo>
                          <a:pt x="741" y="17646"/>
                        </a:lnTo>
                        <a:lnTo>
                          <a:pt x="0" y="768"/>
                        </a:lnTo>
                        <a:lnTo>
                          <a:pt x="1262" y="0"/>
                        </a:lnTo>
                        <a:lnTo>
                          <a:pt x="1838" y="6367"/>
                        </a:lnTo>
                        <a:lnTo>
                          <a:pt x="3814" y="13996"/>
                        </a:lnTo>
                        <a:lnTo>
                          <a:pt x="2964" y="16932"/>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7" name="Freeform: Shape 3546">
                    <a:extLst>
                      <a:ext uri="{FF2B5EF4-FFF2-40B4-BE49-F238E27FC236}">
                        <a16:creationId xmlns:a16="http://schemas.microsoft.com/office/drawing/2014/main" id="{D5A1A0B6-5AEE-9FF1-9D7D-3B483F62711D}"/>
                      </a:ext>
                    </a:extLst>
                  </p:cNvPr>
                  <p:cNvSpPr/>
                  <p:nvPr/>
                </p:nvSpPr>
                <p:spPr>
                  <a:xfrm>
                    <a:off x="-5971295" y="2352905"/>
                    <a:ext cx="4637" cy="7519"/>
                  </a:xfrm>
                  <a:custGeom>
                    <a:avLst/>
                    <a:gdLst>
                      <a:gd name="connsiteX0" fmla="*/ 4638 w 4637"/>
                      <a:gd name="connsiteY0" fmla="*/ 4144 h 7519"/>
                      <a:gd name="connsiteX1" fmla="*/ 2470 w 4637"/>
                      <a:gd name="connsiteY1" fmla="*/ 7519 h 7519"/>
                      <a:gd name="connsiteX2" fmla="*/ 0 w 4637"/>
                      <a:gd name="connsiteY2" fmla="*/ 2442 h 7519"/>
                      <a:gd name="connsiteX3" fmla="*/ 1153 w 4637"/>
                      <a:gd name="connsiteY3" fmla="*/ 0 h 7519"/>
                      <a:gd name="connsiteX4" fmla="*/ 4638 w 4637"/>
                      <a:gd name="connsiteY4" fmla="*/ 4144 h 7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7" h="7519">
                        <a:moveTo>
                          <a:pt x="4638" y="4144"/>
                        </a:moveTo>
                        <a:lnTo>
                          <a:pt x="2470" y="7519"/>
                        </a:lnTo>
                        <a:lnTo>
                          <a:pt x="0" y="2442"/>
                        </a:lnTo>
                        <a:lnTo>
                          <a:pt x="1153" y="0"/>
                        </a:lnTo>
                        <a:lnTo>
                          <a:pt x="4638" y="414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8" name="Freeform: Shape 3547">
                    <a:extLst>
                      <a:ext uri="{FF2B5EF4-FFF2-40B4-BE49-F238E27FC236}">
                        <a16:creationId xmlns:a16="http://schemas.microsoft.com/office/drawing/2014/main" id="{F283451F-E5B7-F70C-F21B-3DA4E667264F}"/>
                      </a:ext>
                    </a:extLst>
                  </p:cNvPr>
                  <p:cNvSpPr/>
                  <p:nvPr/>
                </p:nvSpPr>
                <p:spPr>
                  <a:xfrm>
                    <a:off x="-5925739" y="2251696"/>
                    <a:ext cx="4034" cy="8507"/>
                  </a:xfrm>
                  <a:custGeom>
                    <a:avLst/>
                    <a:gdLst>
                      <a:gd name="connsiteX0" fmla="*/ 4034 w 4034"/>
                      <a:gd name="connsiteY0" fmla="*/ 4336 h 8507"/>
                      <a:gd name="connsiteX1" fmla="*/ 1838 w 4034"/>
                      <a:gd name="connsiteY1" fmla="*/ 8507 h 8507"/>
                      <a:gd name="connsiteX2" fmla="*/ 0 w 4034"/>
                      <a:gd name="connsiteY2" fmla="*/ 5214 h 8507"/>
                      <a:gd name="connsiteX3" fmla="*/ 1564 w 4034"/>
                      <a:gd name="connsiteY3" fmla="*/ 0 h 8507"/>
                      <a:gd name="connsiteX4" fmla="*/ 4034 w 4034"/>
                      <a:gd name="connsiteY4" fmla="*/ 4336 h 8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 h="8507">
                        <a:moveTo>
                          <a:pt x="4034" y="4336"/>
                        </a:moveTo>
                        <a:lnTo>
                          <a:pt x="1838" y="8507"/>
                        </a:lnTo>
                        <a:lnTo>
                          <a:pt x="0" y="5214"/>
                        </a:lnTo>
                        <a:lnTo>
                          <a:pt x="1564" y="0"/>
                        </a:lnTo>
                        <a:lnTo>
                          <a:pt x="4034" y="4336"/>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49" name="Freeform: Shape 3548">
                    <a:extLst>
                      <a:ext uri="{FF2B5EF4-FFF2-40B4-BE49-F238E27FC236}">
                        <a16:creationId xmlns:a16="http://schemas.microsoft.com/office/drawing/2014/main" id="{D5FE695E-3AB8-0E48-03E1-C9114863CF44}"/>
                      </a:ext>
                    </a:extLst>
                  </p:cNvPr>
                  <p:cNvSpPr/>
                  <p:nvPr/>
                </p:nvSpPr>
                <p:spPr>
                  <a:xfrm>
                    <a:off x="-5943632" y="2280923"/>
                    <a:ext cx="3622" cy="8946"/>
                  </a:xfrm>
                  <a:custGeom>
                    <a:avLst/>
                    <a:gdLst>
                      <a:gd name="connsiteX0" fmla="*/ 3321 w 3622"/>
                      <a:gd name="connsiteY0" fmla="*/ 7958 h 8946"/>
                      <a:gd name="connsiteX1" fmla="*/ 2388 w 3622"/>
                      <a:gd name="connsiteY1" fmla="*/ 8946 h 8946"/>
                      <a:gd name="connsiteX2" fmla="*/ 0 w 3622"/>
                      <a:gd name="connsiteY2" fmla="*/ 4610 h 8946"/>
                      <a:gd name="connsiteX3" fmla="*/ 3623 w 3622"/>
                      <a:gd name="connsiteY3" fmla="*/ 0 h 8946"/>
                      <a:gd name="connsiteX4" fmla="*/ 3321 w 3622"/>
                      <a:gd name="connsiteY4" fmla="*/ 7958 h 8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 h="8946">
                        <a:moveTo>
                          <a:pt x="3321" y="7958"/>
                        </a:moveTo>
                        <a:lnTo>
                          <a:pt x="2388" y="8946"/>
                        </a:lnTo>
                        <a:lnTo>
                          <a:pt x="0" y="4610"/>
                        </a:lnTo>
                        <a:lnTo>
                          <a:pt x="3623" y="0"/>
                        </a:lnTo>
                        <a:lnTo>
                          <a:pt x="3321" y="7958"/>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0" name="Freeform: Shape 3549">
                    <a:extLst>
                      <a:ext uri="{FF2B5EF4-FFF2-40B4-BE49-F238E27FC236}">
                        <a16:creationId xmlns:a16="http://schemas.microsoft.com/office/drawing/2014/main" id="{AF5A956F-B7AF-DE90-F9EF-77905983C845}"/>
                      </a:ext>
                    </a:extLst>
                  </p:cNvPr>
                  <p:cNvSpPr/>
                  <p:nvPr/>
                </p:nvSpPr>
                <p:spPr>
                  <a:xfrm>
                    <a:off x="-6117209" y="2698769"/>
                    <a:ext cx="4088" cy="5296"/>
                  </a:xfrm>
                  <a:custGeom>
                    <a:avLst/>
                    <a:gdLst>
                      <a:gd name="connsiteX0" fmla="*/ 4089 w 4088"/>
                      <a:gd name="connsiteY0" fmla="*/ 1784 h 5296"/>
                      <a:gd name="connsiteX1" fmla="*/ 2635 w 4088"/>
                      <a:gd name="connsiteY1" fmla="*/ 5297 h 5296"/>
                      <a:gd name="connsiteX2" fmla="*/ 0 w 4088"/>
                      <a:gd name="connsiteY2" fmla="*/ 4775 h 5296"/>
                      <a:gd name="connsiteX3" fmla="*/ 686 w 4088"/>
                      <a:gd name="connsiteY3" fmla="*/ 0 h 5296"/>
                      <a:gd name="connsiteX4" fmla="*/ 4062 w 4088"/>
                      <a:gd name="connsiteY4" fmla="*/ 1784 h 5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 h="5296">
                        <a:moveTo>
                          <a:pt x="4089" y="1784"/>
                        </a:moveTo>
                        <a:lnTo>
                          <a:pt x="2635" y="5297"/>
                        </a:lnTo>
                        <a:lnTo>
                          <a:pt x="0" y="4775"/>
                        </a:lnTo>
                        <a:lnTo>
                          <a:pt x="686" y="0"/>
                        </a:lnTo>
                        <a:lnTo>
                          <a:pt x="4062" y="178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1" name="Freeform: Shape 3550">
                    <a:extLst>
                      <a:ext uri="{FF2B5EF4-FFF2-40B4-BE49-F238E27FC236}">
                        <a16:creationId xmlns:a16="http://schemas.microsoft.com/office/drawing/2014/main" id="{D79CAEE4-BBCC-F604-209F-E888D2D0E682}"/>
                      </a:ext>
                    </a:extLst>
                  </p:cNvPr>
                  <p:cNvSpPr/>
                  <p:nvPr/>
                </p:nvSpPr>
                <p:spPr>
                  <a:xfrm>
                    <a:off x="-6097203" y="2482628"/>
                    <a:ext cx="4528" cy="5021"/>
                  </a:xfrm>
                  <a:custGeom>
                    <a:avLst/>
                    <a:gdLst>
                      <a:gd name="connsiteX0" fmla="*/ 4528 w 4528"/>
                      <a:gd name="connsiteY0" fmla="*/ 1948 h 5021"/>
                      <a:gd name="connsiteX1" fmla="*/ 3705 w 4528"/>
                      <a:gd name="connsiteY1" fmla="*/ 5022 h 5021"/>
                      <a:gd name="connsiteX2" fmla="*/ 549 w 4528"/>
                      <a:gd name="connsiteY2" fmla="*/ 4583 h 5021"/>
                      <a:gd name="connsiteX3" fmla="*/ 0 w 4528"/>
                      <a:gd name="connsiteY3" fmla="*/ 3211 h 5021"/>
                      <a:gd name="connsiteX4" fmla="*/ 823 w 4528"/>
                      <a:gd name="connsiteY4" fmla="*/ 1482 h 5021"/>
                      <a:gd name="connsiteX5" fmla="*/ 3897 w 4528"/>
                      <a:gd name="connsiteY5" fmla="*/ 0 h 5021"/>
                      <a:gd name="connsiteX6" fmla="*/ 4501 w 4528"/>
                      <a:gd name="connsiteY6" fmla="*/ 1894 h 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8" h="5021">
                        <a:moveTo>
                          <a:pt x="4528" y="1948"/>
                        </a:moveTo>
                        <a:lnTo>
                          <a:pt x="3705" y="5022"/>
                        </a:lnTo>
                        <a:lnTo>
                          <a:pt x="549" y="4583"/>
                        </a:lnTo>
                        <a:lnTo>
                          <a:pt x="0" y="3211"/>
                        </a:lnTo>
                        <a:lnTo>
                          <a:pt x="823" y="1482"/>
                        </a:lnTo>
                        <a:lnTo>
                          <a:pt x="3897" y="0"/>
                        </a:lnTo>
                        <a:lnTo>
                          <a:pt x="4501" y="189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2" name="Freeform: Shape 3551">
                    <a:extLst>
                      <a:ext uri="{FF2B5EF4-FFF2-40B4-BE49-F238E27FC236}">
                        <a16:creationId xmlns:a16="http://schemas.microsoft.com/office/drawing/2014/main" id="{CDFB2FA6-B25D-6A91-B074-D6D6E19A3585}"/>
                      </a:ext>
                    </a:extLst>
                  </p:cNvPr>
                  <p:cNvSpPr/>
                  <p:nvPr/>
                </p:nvSpPr>
                <p:spPr>
                  <a:xfrm>
                    <a:off x="-6146381" y="2697727"/>
                    <a:ext cx="4006" cy="4775"/>
                  </a:xfrm>
                  <a:custGeom>
                    <a:avLst/>
                    <a:gdLst>
                      <a:gd name="connsiteX0" fmla="*/ 3979 w 4006"/>
                      <a:gd name="connsiteY0" fmla="*/ 165 h 4775"/>
                      <a:gd name="connsiteX1" fmla="*/ 3293 w 4006"/>
                      <a:gd name="connsiteY1" fmla="*/ 4775 h 4775"/>
                      <a:gd name="connsiteX2" fmla="*/ 1317 w 4006"/>
                      <a:gd name="connsiteY2" fmla="*/ 4583 h 4775"/>
                      <a:gd name="connsiteX3" fmla="*/ 0 w 4006"/>
                      <a:gd name="connsiteY3" fmla="*/ 0 h 4775"/>
                      <a:gd name="connsiteX4" fmla="*/ 4007 w 4006"/>
                      <a:gd name="connsiteY4" fmla="*/ 165 h 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 h="4775">
                        <a:moveTo>
                          <a:pt x="3979" y="165"/>
                        </a:moveTo>
                        <a:lnTo>
                          <a:pt x="3293" y="4775"/>
                        </a:lnTo>
                        <a:lnTo>
                          <a:pt x="1317" y="4583"/>
                        </a:lnTo>
                        <a:lnTo>
                          <a:pt x="0" y="0"/>
                        </a:lnTo>
                        <a:lnTo>
                          <a:pt x="4007" y="165"/>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3" name="Freeform: Shape 3552">
                    <a:extLst>
                      <a:ext uri="{FF2B5EF4-FFF2-40B4-BE49-F238E27FC236}">
                        <a16:creationId xmlns:a16="http://schemas.microsoft.com/office/drawing/2014/main" id="{A9E2A41E-5F04-98E6-F53B-818FCE1A14DB}"/>
                      </a:ext>
                    </a:extLst>
                  </p:cNvPr>
                  <p:cNvSpPr/>
                  <p:nvPr/>
                </p:nvSpPr>
                <p:spPr>
                  <a:xfrm>
                    <a:off x="-6145173" y="2553980"/>
                    <a:ext cx="2689" cy="6997"/>
                  </a:xfrm>
                  <a:custGeom>
                    <a:avLst/>
                    <a:gdLst>
                      <a:gd name="connsiteX0" fmla="*/ 2689 w 2689"/>
                      <a:gd name="connsiteY0" fmla="*/ 27 h 6997"/>
                      <a:gd name="connsiteX1" fmla="*/ 2195 w 2689"/>
                      <a:gd name="connsiteY1" fmla="*/ 6998 h 6997"/>
                      <a:gd name="connsiteX2" fmla="*/ 0 w 2689"/>
                      <a:gd name="connsiteY2" fmla="*/ 5434 h 6997"/>
                      <a:gd name="connsiteX3" fmla="*/ 219 w 2689"/>
                      <a:gd name="connsiteY3" fmla="*/ 0 h 6997"/>
                      <a:gd name="connsiteX4" fmla="*/ 2689 w 2689"/>
                      <a:gd name="connsiteY4" fmla="*/ 0 h 6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9" h="6997">
                        <a:moveTo>
                          <a:pt x="2689" y="27"/>
                        </a:moveTo>
                        <a:lnTo>
                          <a:pt x="2195" y="6998"/>
                        </a:lnTo>
                        <a:lnTo>
                          <a:pt x="0" y="5434"/>
                        </a:lnTo>
                        <a:lnTo>
                          <a:pt x="219" y="0"/>
                        </a:lnTo>
                        <a:lnTo>
                          <a:pt x="2689" y="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4" name="Freeform: Shape 3553">
                    <a:extLst>
                      <a:ext uri="{FF2B5EF4-FFF2-40B4-BE49-F238E27FC236}">
                        <a16:creationId xmlns:a16="http://schemas.microsoft.com/office/drawing/2014/main" id="{60C7D18A-D939-F36F-5F7F-79153ED00E24}"/>
                      </a:ext>
                    </a:extLst>
                  </p:cNvPr>
                  <p:cNvSpPr/>
                  <p:nvPr/>
                </p:nvSpPr>
                <p:spPr>
                  <a:xfrm>
                    <a:off x="-5930432" y="2271784"/>
                    <a:ext cx="1811" cy="4555"/>
                  </a:xfrm>
                  <a:custGeom>
                    <a:avLst/>
                    <a:gdLst>
                      <a:gd name="connsiteX0" fmla="*/ 1812 w 1811"/>
                      <a:gd name="connsiteY0" fmla="*/ 1647 h 4555"/>
                      <a:gd name="connsiteX1" fmla="*/ 1455 w 1811"/>
                      <a:gd name="connsiteY1" fmla="*/ 4555 h 4555"/>
                      <a:gd name="connsiteX2" fmla="*/ 0 w 1811"/>
                      <a:gd name="connsiteY2" fmla="*/ 2388 h 4555"/>
                      <a:gd name="connsiteX3" fmla="*/ 933 w 1811"/>
                      <a:gd name="connsiteY3" fmla="*/ 0 h 4555"/>
                      <a:gd name="connsiteX4" fmla="*/ 1784 w 1811"/>
                      <a:gd name="connsiteY4" fmla="*/ 1674 h 4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 h="4555">
                        <a:moveTo>
                          <a:pt x="1812" y="1647"/>
                        </a:moveTo>
                        <a:lnTo>
                          <a:pt x="1455" y="4555"/>
                        </a:lnTo>
                        <a:lnTo>
                          <a:pt x="0" y="2388"/>
                        </a:lnTo>
                        <a:lnTo>
                          <a:pt x="933" y="0"/>
                        </a:lnTo>
                        <a:lnTo>
                          <a:pt x="1784" y="1674"/>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55" name="Freeform: Shape 3554">
                    <a:extLst>
                      <a:ext uri="{FF2B5EF4-FFF2-40B4-BE49-F238E27FC236}">
                        <a16:creationId xmlns:a16="http://schemas.microsoft.com/office/drawing/2014/main" id="{D9A5A365-5902-BC2D-852C-B99B285568CB}"/>
                      </a:ext>
                    </a:extLst>
                  </p:cNvPr>
                  <p:cNvSpPr/>
                  <p:nvPr/>
                </p:nvSpPr>
                <p:spPr>
                  <a:xfrm>
                    <a:off x="-5929801" y="2276367"/>
                    <a:ext cx="1536" cy="4143"/>
                  </a:xfrm>
                  <a:custGeom>
                    <a:avLst/>
                    <a:gdLst>
                      <a:gd name="connsiteX0" fmla="*/ 1455 w 1536"/>
                      <a:gd name="connsiteY0" fmla="*/ 3622 h 4143"/>
                      <a:gd name="connsiteX1" fmla="*/ 686 w 1536"/>
                      <a:gd name="connsiteY1" fmla="*/ 4144 h 4143"/>
                      <a:gd name="connsiteX2" fmla="*/ 0 w 1536"/>
                      <a:gd name="connsiteY2" fmla="*/ 2086 h 4143"/>
                      <a:gd name="connsiteX3" fmla="*/ 741 w 1536"/>
                      <a:gd name="connsiteY3" fmla="*/ 0 h 4143"/>
                      <a:gd name="connsiteX4" fmla="*/ 1537 w 1536"/>
                      <a:gd name="connsiteY4" fmla="*/ 823 h 4143"/>
                      <a:gd name="connsiteX5" fmla="*/ 1455 w 1536"/>
                      <a:gd name="connsiteY5" fmla="*/ 3650 h 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6" h="4143">
                        <a:moveTo>
                          <a:pt x="1455" y="3622"/>
                        </a:moveTo>
                        <a:lnTo>
                          <a:pt x="686" y="4144"/>
                        </a:lnTo>
                        <a:lnTo>
                          <a:pt x="0" y="2086"/>
                        </a:lnTo>
                        <a:lnTo>
                          <a:pt x="741" y="0"/>
                        </a:lnTo>
                        <a:lnTo>
                          <a:pt x="1537" y="823"/>
                        </a:lnTo>
                        <a:lnTo>
                          <a:pt x="1455" y="3650"/>
                        </a:lnTo>
                      </a:path>
                    </a:pathLst>
                  </a:custGeom>
                  <a:grpFill/>
                  <a:ln w="7212"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grpSp>
      </p:grpSp>
      <p:sp>
        <p:nvSpPr>
          <p:cNvPr id="2" name="Content Placeholder 21">
            <a:extLst>
              <a:ext uri="{FF2B5EF4-FFF2-40B4-BE49-F238E27FC236}">
                <a16:creationId xmlns:a16="http://schemas.microsoft.com/office/drawing/2014/main" id="{F940515F-22D5-6860-A513-82EAE575BEFE}"/>
              </a:ext>
            </a:extLst>
          </p:cNvPr>
          <p:cNvSpPr txBox="1">
            <a:spLocks/>
          </p:cNvSpPr>
          <p:nvPr/>
        </p:nvSpPr>
        <p:spPr>
          <a:xfrm>
            <a:off x="1032046" y="5050252"/>
            <a:ext cx="9875521" cy="591792"/>
          </a:xfrm>
          <a:prstGeom prst="rect">
            <a:avLst/>
          </a:prstGeom>
          <a:gradFill flip="none" rotWithShape="1">
            <a:gsLst>
              <a:gs pos="100000">
                <a:schemeClr val="accent5"/>
              </a:gs>
              <a:gs pos="50000">
                <a:schemeClr val="accent3"/>
              </a:gs>
              <a:gs pos="0">
                <a:schemeClr val="accent1"/>
              </a:gs>
            </a:gsLst>
            <a:lin ang="2400000" scaled="0"/>
            <a:tileRect/>
          </a:gradFill>
          <a:ln>
            <a:noFill/>
          </a:ln>
        </p:spPr>
        <p:txBody>
          <a:bodyPr vert="horz" wrap="square" lIns="64800" tIns="64800" rIns="5119200" bIns="0" rtlCol="0" anchor="t">
            <a:noAutofit/>
          </a:bodyPr>
          <a:lstStyle>
            <a:defPPr>
              <a:defRPr lang="en-US"/>
            </a:defPPr>
            <a:lvl1pPr marL="10160" defTabSz="914354">
              <a:spcBef>
                <a:spcPts val="300"/>
              </a:spcBef>
              <a:spcAft>
                <a:spcPts val="200"/>
              </a:spcAft>
              <a:buClr>
                <a:srgbClr val="000000"/>
              </a:buClr>
              <a:defRPr sz="1000" kern="0">
                <a:solidFill>
                  <a:srgbClr val="231F20"/>
                </a:solidFill>
                <a:ea typeface="Lato"/>
                <a:cs typeface="Lato"/>
              </a:defRPr>
            </a:lvl1pPr>
            <a:lvl2pPr marL="342900" defTabSz="342900">
              <a:defRPr sz="1350"/>
            </a:lvl2pPr>
            <a:lvl3pPr marL="685800" defTabSz="342900">
              <a:defRPr sz="1350"/>
            </a:lvl3pPr>
            <a:lvl4pPr marL="1028700" defTabSz="342900">
              <a:defRPr sz="1350"/>
            </a:lvl4pPr>
            <a:lvl5pPr marL="1371600" defTabSz="342900">
              <a:defRPr sz="1350"/>
            </a:lvl5pPr>
            <a:lvl6pPr marL="1714500" defTabSz="342900">
              <a:defRPr sz="1350"/>
            </a:lvl6pPr>
            <a:lvl7pPr marL="2057400" defTabSz="342900">
              <a:defRPr sz="1350"/>
            </a:lvl7pPr>
            <a:lvl8pPr marL="2400300" defTabSz="342900">
              <a:defRPr sz="1350"/>
            </a:lvl8pPr>
            <a:lvl9pPr marL="2743200" defTabSz="342900">
              <a:defRPr sz="1350"/>
            </a:lvl9pPr>
          </a:lstStyle>
          <a:p>
            <a:pPr marL="10160" marR="0" lvl="0" indent="0" algn="l" defTabSz="914354" rtl="0" eaLnBrk="0" fontAlgn="base" latinLnBrk="0" hangingPunct="0">
              <a:lnSpc>
                <a:spcPct val="100000"/>
              </a:lnSpc>
              <a:spcBef>
                <a:spcPts val="300"/>
              </a:spcBef>
              <a:spcAft>
                <a:spcPts val="200"/>
              </a:spcAft>
              <a:buClr>
                <a:srgbClr val="000000"/>
              </a:buClr>
              <a:buSzTx/>
              <a:buFontTx/>
              <a:buNone/>
              <a:tabLst/>
              <a:defRPr/>
            </a:pPr>
            <a:endParaRPr kumimoji="0" lang="en-US" sz="900" b="0" i="0" u="none" strike="noStrike" kern="0" cap="none" spc="0" normalizeH="0" baseline="0" noProof="0" dirty="0">
              <a:ln>
                <a:noFill/>
              </a:ln>
              <a:solidFill>
                <a:srgbClr val="231F20"/>
              </a:solidFill>
              <a:effectLst/>
              <a:uLnTx/>
              <a:uFillTx/>
              <a:latin typeface="Calibri" panose="020F0502020204030204" pitchFamily="34" charset="0"/>
              <a:ea typeface="Lato"/>
              <a:cs typeface="Lato"/>
            </a:endParaRPr>
          </a:p>
        </p:txBody>
      </p:sp>
      <p:grpSp>
        <p:nvGrpSpPr>
          <p:cNvPr id="8" name="Group 7">
            <a:extLst>
              <a:ext uri="{FF2B5EF4-FFF2-40B4-BE49-F238E27FC236}">
                <a16:creationId xmlns:a16="http://schemas.microsoft.com/office/drawing/2014/main" id="{69DDDEE6-44AA-C40E-2A9B-09A545403FB9}"/>
              </a:ext>
            </a:extLst>
          </p:cNvPr>
          <p:cNvGrpSpPr/>
          <p:nvPr/>
        </p:nvGrpSpPr>
        <p:grpSpPr>
          <a:xfrm>
            <a:off x="2521422" y="5140408"/>
            <a:ext cx="7059473" cy="411480"/>
            <a:chOff x="1519205" y="5066846"/>
            <a:chExt cx="7843858" cy="457200"/>
          </a:xfrm>
        </p:grpSpPr>
        <p:sp>
          <p:nvSpPr>
            <p:cNvPr id="10" name="Content Placeholder 15">
              <a:extLst>
                <a:ext uri="{FF2B5EF4-FFF2-40B4-BE49-F238E27FC236}">
                  <a16:creationId xmlns:a16="http://schemas.microsoft.com/office/drawing/2014/main" id="{9012493C-3E2B-4D69-BF51-8BBDBA8D3839}"/>
                </a:ext>
              </a:extLst>
            </p:cNvPr>
            <p:cNvSpPr txBox="1">
              <a:spLocks/>
            </p:cNvSpPr>
            <p:nvPr/>
          </p:nvSpPr>
          <p:spPr>
            <a:xfrm>
              <a:off x="2138400" y="5187725"/>
              <a:ext cx="4137529" cy="215443"/>
            </a:xfrm>
            <a:prstGeom prst="rect">
              <a:avLst/>
            </a:prstGeom>
          </p:spPr>
          <p:txBody>
            <a:bodyPr vert="horz" wrap="none" lIns="0" tIns="0" rIns="0" bIns="0" rtlCol="0">
              <a:spAutoFit/>
            </a:bodyPr>
            <a:lstStyle>
              <a:defPPr marR="0" lvl="0" algn="l" rtl="0">
                <a:lnSpc>
                  <a:spcPct val="100000"/>
                </a:lnSpc>
                <a:spcBef>
                  <a:spcPts val="0"/>
                </a:spcBef>
                <a:spcAft>
                  <a:spcPts val="0"/>
                </a:spcAft>
              </a:defPPr>
              <a:lvl1pPr marL="0" marR="0" lvl="0" indent="0" algn="l" rtl="0">
                <a:lnSpc>
                  <a:spcPct val="100000"/>
                </a:lnSpc>
                <a:spcBef>
                  <a:spcPts val="600"/>
                </a:spcBef>
                <a:spcAft>
                  <a:spcPts val="600"/>
                </a:spcAft>
                <a:buClr>
                  <a:srgbClr val="000000"/>
                </a:buClr>
                <a:buFont typeface="Arial"/>
                <a:defRPr sz="1600" b="0" i="0" u="none" strike="noStrike" cap="none">
                  <a:solidFill>
                    <a:srgbClr val="000000"/>
                  </a:solidFill>
                  <a:latin typeface="+mn-lt"/>
                  <a:ea typeface="Lato" panose="020F0502020204030203" pitchFamily="34" charset="0"/>
                  <a:cs typeface="Lato" panose="020F0502020204030203" pitchFamily="34" charset="0"/>
                  <a:sym typeface="Arial"/>
                </a:defRPr>
              </a:lvl1pPr>
              <a:lvl2pPr marL="216000" marR="0" lvl="1" indent="-216000" algn="l" rtl="0">
                <a:lnSpc>
                  <a:spcPct val="100000"/>
                </a:lnSpc>
                <a:spcBef>
                  <a:spcPts val="600"/>
                </a:spcBef>
                <a:spcAft>
                  <a:spcPts val="300"/>
                </a:spcAft>
                <a:buClr>
                  <a:srgbClr val="000000"/>
                </a:buClr>
                <a:buFontTx/>
                <a:buBlip>
                  <a:blip>
                    <a:extLst>
                      <a:ext uri="{96DAC541-7B7A-43D3-8B79-37D633B846F1}">
                        <asvg:svgBlip xmlns:asvg="http://schemas.microsoft.com/office/drawing/2016/SVG/main" r:embed="rId3"/>
                      </a:ext>
                    </a:extLst>
                  </a:blip>
                </a:buBlip>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2pPr>
              <a:lvl3pPr marL="432000" marR="0" lvl="2"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3pPr>
              <a:lvl4pPr marL="648000" marR="0" lvl="3"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4pPr>
              <a:lvl5pPr marL="864000" marR="0" lvl="4" indent="-216000" algn="l" rtl="0">
                <a:lnSpc>
                  <a:spcPct val="100000"/>
                </a:lnSpc>
                <a:spcBef>
                  <a:spcPts val="600"/>
                </a:spcBef>
                <a:spcAft>
                  <a:spcPts val="300"/>
                </a:spcAft>
                <a:buClr>
                  <a:srgbClr val="000000"/>
                </a:buClr>
                <a:buFont typeface="Arial" panose="020B0604020202020204" pitchFamily="34" charset="0"/>
                <a:buChar char="–"/>
                <a:defRPr lang="en-US" sz="1400" b="0" i="0" u="none" strike="noStrike" kern="0" cap="none" dirty="0">
                  <a:solidFill>
                    <a:srgbClr val="000000"/>
                  </a:solidFill>
                  <a:latin typeface="+mn-lt"/>
                  <a:ea typeface="Lato" panose="020F0502020204030203" pitchFamily="34" charset="0"/>
                  <a:cs typeface="Lato" panose="020F0502020204030203" pitchFamily="34" charset="0"/>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0" fontAlgn="base" latinLnBrk="0" hangingPunct="0">
                <a:lnSpc>
                  <a:spcPct val="100000"/>
                </a:lnSpc>
                <a:spcBef>
                  <a:spcPts val="600"/>
                </a:spcBef>
                <a:spcAft>
                  <a:spcPts val="600"/>
                </a:spcAft>
                <a:buClr>
                  <a:srgbClr val="000000"/>
                </a:buClr>
                <a:buSzTx/>
                <a:buFont typeface="Arial"/>
                <a:buNone/>
                <a:tabLst/>
                <a:defRPr/>
              </a:pPr>
              <a:r>
                <a:rPr kumimoji="0" lang="en-US" sz="1260" b="1" i="0" u="none" strike="noStrike" kern="0" cap="none" spc="0" normalizeH="0" baseline="0" noProof="0" dirty="0">
                  <a:ln>
                    <a:noFill/>
                  </a:ln>
                  <a:solidFill>
                    <a:prstClr val="white"/>
                  </a:solidFill>
                  <a:effectLst/>
                  <a:uLnTx/>
                  <a:uFillTx/>
                  <a:latin typeface="Aptos" panose="02110004020202020204"/>
                  <a:ea typeface="Lato" panose="020F0502020204030203" pitchFamily="34" charset="0"/>
                  <a:cs typeface="Lato" panose="020F0502020204030203" pitchFamily="34" charset="0"/>
                  <a:sym typeface="Arial"/>
                </a:rPr>
                <a:t>~13,000 addressable patients per year in the US</a:t>
              </a:r>
              <a:r>
                <a:rPr kumimoji="0" lang="en-US" sz="1260" b="1" i="0" u="none" strike="noStrike" kern="0" cap="none" spc="0" normalizeH="0" baseline="30000" noProof="0" dirty="0">
                  <a:ln>
                    <a:noFill/>
                  </a:ln>
                  <a:solidFill>
                    <a:prstClr val="white"/>
                  </a:solidFill>
                  <a:effectLst/>
                  <a:uLnTx/>
                  <a:uFillTx/>
                  <a:latin typeface="Aptos" panose="02110004020202020204"/>
                  <a:ea typeface="Lato" panose="020F0502020204030203" pitchFamily="34" charset="0"/>
                  <a:cs typeface="Lato" panose="020F0502020204030203" pitchFamily="34" charset="0"/>
                  <a:sym typeface="Arial"/>
                </a:rPr>
                <a:t>1</a:t>
              </a:r>
            </a:p>
          </p:txBody>
        </p:sp>
        <p:sp>
          <p:nvSpPr>
            <p:cNvPr id="11" name="Content Placeholder 15">
              <a:extLst>
                <a:ext uri="{FF2B5EF4-FFF2-40B4-BE49-F238E27FC236}">
                  <a16:creationId xmlns:a16="http://schemas.microsoft.com/office/drawing/2014/main" id="{F59A366D-0577-DC0D-0C2A-4329FA1E557E}"/>
                </a:ext>
              </a:extLst>
            </p:cNvPr>
            <p:cNvSpPr txBox="1">
              <a:spLocks/>
            </p:cNvSpPr>
            <p:nvPr/>
          </p:nvSpPr>
          <p:spPr>
            <a:xfrm>
              <a:off x="7122421" y="5187725"/>
              <a:ext cx="2240642" cy="215443"/>
            </a:xfrm>
            <a:prstGeom prst="rect">
              <a:avLst/>
            </a:prstGeom>
          </p:spPr>
          <p:txBody>
            <a:bodyPr vert="horz" wrap="none" lIns="0" tIns="0" rIns="0" bIns="0" rtlCol="0">
              <a:spAutoFit/>
            </a:bodyPr>
            <a:lstStyle>
              <a:defPPr marR="0" lvl="0" algn="l" rtl="0">
                <a:lnSpc>
                  <a:spcPct val="100000"/>
                </a:lnSpc>
                <a:spcBef>
                  <a:spcPts val="0"/>
                </a:spcBef>
                <a:spcAft>
                  <a:spcPts val="0"/>
                </a:spcAft>
              </a:defPPr>
              <a:lvl1pPr marL="0" marR="0" lvl="0" indent="0" algn="l" rtl="0">
                <a:lnSpc>
                  <a:spcPct val="100000"/>
                </a:lnSpc>
                <a:spcBef>
                  <a:spcPts val="600"/>
                </a:spcBef>
                <a:spcAft>
                  <a:spcPts val="600"/>
                </a:spcAft>
                <a:buClr>
                  <a:srgbClr val="000000"/>
                </a:buClr>
                <a:buFont typeface="Arial"/>
                <a:defRPr sz="1600" b="0" i="0" u="none" strike="noStrike" cap="none">
                  <a:solidFill>
                    <a:srgbClr val="000000"/>
                  </a:solidFill>
                  <a:latin typeface="+mn-lt"/>
                  <a:ea typeface="Lato" panose="020F0502020204030203" pitchFamily="34" charset="0"/>
                  <a:cs typeface="Lato" panose="020F0502020204030203" pitchFamily="34" charset="0"/>
                  <a:sym typeface="Arial"/>
                </a:defRPr>
              </a:lvl1pPr>
              <a:lvl2pPr marL="216000" marR="0" lvl="1" indent="-216000" algn="l" rtl="0">
                <a:lnSpc>
                  <a:spcPct val="100000"/>
                </a:lnSpc>
                <a:spcBef>
                  <a:spcPts val="600"/>
                </a:spcBef>
                <a:spcAft>
                  <a:spcPts val="300"/>
                </a:spcAft>
                <a:buClr>
                  <a:srgbClr val="000000"/>
                </a:buClr>
                <a:buFontTx/>
                <a:buBlip>
                  <a:blip>
                    <a:extLst>
                      <a:ext uri="{96DAC541-7B7A-43D3-8B79-37D633B846F1}">
                        <asvg:svgBlip xmlns:asvg="http://schemas.microsoft.com/office/drawing/2016/SVG/main" r:embed="rId3"/>
                      </a:ext>
                    </a:extLst>
                  </a:blip>
                </a:buBlip>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2pPr>
              <a:lvl3pPr marL="432000" marR="0" lvl="2"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3pPr>
              <a:lvl4pPr marL="648000" marR="0" lvl="3" indent="-216000" algn="l" rtl="0">
                <a:lnSpc>
                  <a:spcPct val="100000"/>
                </a:lnSpc>
                <a:spcBef>
                  <a:spcPts val="600"/>
                </a:spcBef>
                <a:spcAft>
                  <a:spcPts val="300"/>
                </a:spcAft>
                <a:buClr>
                  <a:srgbClr val="000000"/>
                </a:buClr>
                <a:buFont typeface="Lato" panose="020F0502020204030203" pitchFamily="34" charset="0"/>
                <a:buChar char="•"/>
                <a:defRPr lang="en-US" sz="1400" b="0" i="0" u="none" strike="noStrike" kern="0" cap="none" dirty="0" smtClean="0">
                  <a:solidFill>
                    <a:srgbClr val="000000"/>
                  </a:solidFill>
                  <a:latin typeface="+mn-lt"/>
                  <a:ea typeface="Lato" panose="020F0502020204030203" pitchFamily="34" charset="0"/>
                  <a:cs typeface="Lato" panose="020F0502020204030203" pitchFamily="34" charset="0"/>
                  <a:sym typeface="Arial"/>
                </a:defRPr>
              </a:lvl4pPr>
              <a:lvl5pPr marL="864000" marR="0" lvl="4" indent="-216000" algn="l" rtl="0">
                <a:lnSpc>
                  <a:spcPct val="100000"/>
                </a:lnSpc>
                <a:spcBef>
                  <a:spcPts val="600"/>
                </a:spcBef>
                <a:spcAft>
                  <a:spcPts val="300"/>
                </a:spcAft>
                <a:buClr>
                  <a:srgbClr val="000000"/>
                </a:buClr>
                <a:buFont typeface="Arial" panose="020B0604020202020204" pitchFamily="34" charset="0"/>
                <a:buChar char="–"/>
                <a:defRPr lang="en-US" sz="1400" b="0" i="0" u="none" strike="noStrike" kern="0" cap="none" dirty="0">
                  <a:solidFill>
                    <a:srgbClr val="000000"/>
                  </a:solidFill>
                  <a:latin typeface="+mn-lt"/>
                  <a:ea typeface="Lato" panose="020F0502020204030203" pitchFamily="34" charset="0"/>
                  <a:cs typeface="Lato" panose="020F0502020204030203" pitchFamily="34" charset="0"/>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0" fontAlgn="base" latinLnBrk="0" hangingPunct="0">
                <a:lnSpc>
                  <a:spcPct val="100000"/>
                </a:lnSpc>
                <a:spcBef>
                  <a:spcPts val="600"/>
                </a:spcBef>
                <a:spcAft>
                  <a:spcPts val="600"/>
                </a:spcAft>
                <a:buClr>
                  <a:srgbClr val="000000"/>
                </a:buClr>
                <a:buSzTx/>
                <a:buFont typeface="Arial"/>
                <a:buNone/>
                <a:tabLst/>
                <a:defRPr/>
              </a:pPr>
              <a:r>
                <a:rPr kumimoji="0" lang="en-US" sz="1260" b="1" i="0" u="none" strike="noStrike" kern="0" cap="none" spc="0" normalizeH="0" baseline="0" noProof="0" dirty="0">
                  <a:ln>
                    <a:noFill/>
                  </a:ln>
                  <a:solidFill>
                    <a:prstClr val="white"/>
                  </a:solidFill>
                  <a:effectLst/>
                  <a:uLnTx/>
                  <a:uFillTx/>
                  <a:latin typeface="Aptos" panose="02110004020202020204"/>
                  <a:ea typeface="Lato" panose="020F0502020204030203" pitchFamily="34" charset="0"/>
                  <a:cs typeface="Lato" panose="020F0502020204030203" pitchFamily="34" charset="0"/>
                  <a:sym typeface="Arial"/>
                </a:rPr>
                <a:t>To begin in coming weeks</a:t>
              </a:r>
            </a:p>
          </p:txBody>
        </p:sp>
        <p:pic>
          <p:nvPicPr>
            <p:cNvPr id="17" name="Graphic 16">
              <a:extLst>
                <a:ext uri="{FF2B5EF4-FFF2-40B4-BE49-F238E27FC236}">
                  <a16:creationId xmlns:a16="http://schemas.microsoft.com/office/drawing/2014/main" id="{DBCE6058-CAD0-97B5-6EE7-DF6F5B925ECA}"/>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519205" y="5089340"/>
              <a:ext cx="436461" cy="412213"/>
            </a:xfrm>
            <a:prstGeom prst="rect">
              <a:avLst/>
            </a:prstGeom>
          </p:spPr>
        </p:pic>
        <p:pic>
          <p:nvPicPr>
            <p:cNvPr id="19" name="Graphic 18">
              <a:extLst>
                <a:ext uri="{FF2B5EF4-FFF2-40B4-BE49-F238E27FC236}">
                  <a16:creationId xmlns:a16="http://schemas.microsoft.com/office/drawing/2014/main" id="{36EF4576-A2C1-B116-B2EE-43109F0B7AE9}"/>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478439" y="5066846"/>
              <a:ext cx="457200" cy="457200"/>
            </a:xfrm>
            <a:prstGeom prst="rect">
              <a:avLst/>
            </a:prstGeom>
          </p:spPr>
        </p:pic>
      </p:grpSp>
      <p:pic>
        <p:nvPicPr>
          <p:cNvPr id="20" name="Picture 4" descr="logo U pitt 1[1]">
            <a:extLst>
              <a:ext uri="{FF2B5EF4-FFF2-40B4-BE49-F238E27FC236}">
                <a16:creationId xmlns:a16="http://schemas.microsoft.com/office/drawing/2014/main" id="{2BD37648-3926-4077-AEE0-AA95A58FB0D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28">
            <a:extLst>
              <a:ext uri="{FF2B5EF4-FFF2-40B4-BE49-F238E27FC236}">
                <a16:creationId xmlns:a16="http://schemas.microsoft.com/office/drawing/2014/main" id="{DE09D628-9E99-E2F3-89A2-3C0FF6F44BAB}"/>
              </a:ext>
            </a:extLst>
          </p:cNvPr>
          <p:cNvSpPr txBox="1"/>
          <p:nvPr/>
        </p:nvSpPr>
        <p:spPr>
          <a:xfrm>
            <a:off x="2418562" y="3654025"/>
            <a:ext cx="1521709" cy="443589"/>
          </a:xfrm>
          <a:prstGeom prst="rect">
            <a:avLst/>
          </a:prstGeom>
          <a:solidFill>
            <a:schemeClr val="bg1">
              <a:alpha val="70000"/>
            </a:schemeClr>
          </a:solidFill>
          <a:ln>
            <a:noFill/>
          </a:ln>
        </p:spPr>
        <p:txBody>
          <a:bodyPr wrap="none" lIns="0" tIns="0" rIns="0" bIns="0" rtlCol="0" anchor="ctr" anchorCtr="0">
            <a:noAutofit/>
          </a:bodyPr>
          <a:lstStyle/>
          <a:p>
            <a:pPr defTabSz="822940">
              <a:buClr>
                <a:srgbClr val="000000"/>
              </a:buClr>
              <a:defRPr/>
            </a:pPr>
            <a:r>
              <a:rPr lang="en-US" sz="1300" b="1" kern="0" dirty="0">
                <a:solidFill>
                  <a:schemeClr val="accent3"/>
                </a:solidFill>
                <a:latin typeface="Calibri" panose="020F0502020204030204" pitchFamily="34" charset="0"/>
                <a:cs typeface="Calibri" panose="020F0502020204030204" pitchFamily="34" charset="0"/>
                <a:sym typeface="Lato" panose="020F0502020204030203" pitchFamily="34" charset="0"/>
              </a:rPr>
              <a:t>Conducted at 45 sites</a:t>
            </a:r>
            <a:br>
              <a:rPr lang="en-US" sz="1300" b="1" kern="0" dirty="0">
                <a:solidFill>
                  <a:schemeClr val="accent3"/>
                </a:solidFill>
                <a:latin typeface="Calibri" panose="020F0502020204030204" pitchFamily="34" charset="0"/>
                <a:cs typeface="Calibri" panose="020F0502020204030204" pitchFamily="34" charset="0"/>
                <a:sym typeface="Lato" panose="020F0502020204030203" pitchFamily="34" charset="0"/>
              </a:rPr>
            </a:br>
            <a:r>
              <a:rPr lang="en-US" sz="1300" b="1" kern="0" dirty="0">
                <a:solidFill>
                  <a:schemeClr val="accent3"/>
                </a:solidFill>
                <a:latin typeface="Calibri" panose="020F0502020204030204" pitchFamily="34" charset="0"/>
                <a:cs typeface="Calibri" panose="020F0502020204030204" pitchFamily="34" charset="0"/>
                <a:sym typeface="Lato" panose="020F0502020204030203" pitchFamily="34" charset="0"/>
              </a:rPr>
              <a:t>in the US, EU and Korea</a:t>
            </a:r>
          </a:p>
        </p:txBody>
      </p:sp>
      <p:sp>
        <p:nvSpPr>
          <p:cNvPr id="31" name="Text Placeholder 9">
            <a:extLst>
              <a:ext uri="{FF2B5EF4-FFF2-40B4-BE49-F238E27FC236}">
                <a16:creationId xmlns:a16="http://schemas.microsoft.com/office/drawing/2014/main" id="{13B5FFEC-17F6-73E4-D24A-0C156B797FA0}"/>
              </a:ext>
            </a:extLst>
          </p:cNvPr>
          <p:cNvSpPr txBox="1">
            <a:spLocks/>
          </p:cNvSpPr>
          <p:nvPr/>
        </p:nvSpPr>
        <p:spPr>
          <a:xfrm>
            <a:off x="915868" y="5894700"/>
            <a:ext cx="8553600" cy="391454"/>
          </a:xfrm>
          <a:prstGeom prst="rect">
            <a:avLst/>
          </a:prstGeom>
        </p:spPr>
        <p:txBody>
          <a:bodyPr vert="horz" lIns="91440" tIns="45720" rIns="91440" bIns="45720" rtlCol="0" anchor="b">
            <a:spAutoFit/>
          </a:bodyPr>
          <a:lstStyle>
            <a:lvl1pPr marL="228600" indent="-228600" algn="l" defTabSz="914400" rtl="0" eaLnBrk="1" latinLnBrk="0" hangingPunct="1">
              <a:lnSpc>
                <a:spcPct val="90000"/>
              </a:lnSpc>
              <a:spcBef>
                <a:spcPts val="0"/>
              </a:spcBef>
              <a:spcAft>
                <a:spcPts val="0"/>
              </a:spcAft>
              <a:buFont typeface="Arial" panose="020B0604020202020204" pitchFamily="34" charset="0"/>
              <a:buChar char="•"/>
              <a:defRPr sz="7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r>
              <a:rPr lang="en-US" b="0" baseline="30000"/>
              <a:t>1</a:t>
            </a:r>
            <a:r>
              <a:rPr lang="en-US" b="0"/>
              <a:t>Decision Resources Group.</a:t>
            </a:r>
          </a:p>
          <a:p>
            <a:pPr fontAlgn="auto"/>
            <a:r>
              <a:rPr lang="en-US" b="0"/>
              <a:t>BOR, best overall response; CBR, clinical benefit rate; DoR, duration of response; ECOG, Eastern Cooperative Oncology Group; EU, European Union; </a:t>
            </a:r>
            <a:br>
              <a:rPr lang="en-US" b="0"/>
            </a:br>
            <a:r>
              <a:rPr lang="en-US" b="0"/>
              <a:t>IV, intravenous; ORR, objective response rate; PARP, poly(adensosine diphosphate-ribose) polymerase; PO, by mouth; US, United States.</a:t>
            </a:r>
            <a:endParaRPr lang="en-US" b="0" dirty="0"/>
          </a:p>
        </p:txBody>
      </p:sp>
      <p:sp>
        <p:nvSpPr>
          <p:cNvPr id="32" name="TextBox 31">
            <a:extLst>
              <a:ext uri="{FF2B5EF4-FFF2-40B4-BE49-F238E27FC236}">
                <a16:creationId xmlns:a16="http://schemas.microsoft.com/office/drawing/2014/main" id="{F72BBB7F-D9ED-C027-15C0-0D09EEBAAAFF}"/>
              </a:ext>
            </a:extLst>
          </p:cNvPr>
          <p:cNvSpPr txBox="1"/>
          <p:nvPr/>
        </p:nvSpPr>
        <p:spPr>
          <a:xfrm>
            <a:off x="147944" y="6538811"/>
            <a:ext cx="6440906" cy="30777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hlinkClick r:id="rId13"/>
              </a:rPr>
              <a:t>https://clinicaltrials.gov/study/NCT06906341</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ccessed April 2026</a:t>
            </a:r>
          </a:p>
        </p:txBody>
      </p:sp>
    </p:spTree>
    <p:extLst>
      <p:ext uri="{BB962C8B-B14F-4D97-AF65-F5344CB8AC3E}">
        <p14:creationId xmlns:p14="http://schemas.microsoft.com/office/powerpoint/2010/main" val="3686821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53AF98-CC82-D971-3AB8-941274EB38F4}"/>
            </a:ext>
          </a:extLst>
        </p:cNvPr>
        <p:cNvGrpSpPr/>
        <p:nvPr/>
      </p:nvGrpSpPr>
      <p:grpSpPr>
        <a:xfrm>
          <a:off x="0" y="0"/>
          <a:ext cx="0" cy="0"/>
          <a:chOff x="0" y="0"/>
          <a:chExt cx="0" cy="0"/>
        </a:xfrm>
      </p:grpSpPr>
      <p:sp>
        <p:nvSpPr>
          <p:cNvPr id="2" name="Rectangle 3">
            <a:extLst>
              <a:ext uri="{FF2B5EF4-FFF2-40B4-BE49-F238E27FC236}">
                <a16:creationId xmlns:a16="http://schemas.microsoft.com/office/drawing/2014/main" id="{9FB68717-11D8-3DFE-25C2-370E8B0213C1}"/>
              </a:ext>
            </a:extLst>
          </p:cNvPr>
          <p:cNvSpPr>
            <a:spLocks noChangeArrowheads="1"/>
          </p:cNvSpPr>
          <p:nvPr/>
        </p:nvSpPr>
        <p:spPr bwMode="auto">
          <a:xfrm>
            <a:off x="1114426" y="751090"/>
            <a:ext cx="10467974"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3360" b="1" i="0" u="none" strike="noStrike" kern="1200" cap="none" spc="0" normalizeH="0" baseline="0" noProof="0" dirty="0">
                <a:ln>
                  <a:noFill/>
                </a:ln>
                <a:solidFill>
                  <a:srgbClr val="0F9ED5">
                    <a:lumMod val="50000"/>
                  </a:srgbClr>
                </a:solidFill>
                <a:effectLst/>
                <a:uLnTx/>
                <a:uFillTx/>
                <a:latin typeface="Calibri" panose="020F0502020204030204" pitchFamily="34" charset="0"/>
                <a:ea typeface="MS PGothic" panose="020B0600070205080204" pitchFamily="34" charset="-128"/>
                <a:cs typeface="+mn-cs"/>
              </a:rPr>
              <a:t>Conclusion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3840" b="1"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 name="Rectangle 3">
            <a:extLst>
              <a:ext uri="{FF2B5EF4-FFF2-40B4-BE49-F238E27FC236}">
                <a16:creationId xmlns:a16="http://schemas.microsoft.com/office/drawing/2014/main" id="{5004F4A9-FE34-CAC4-6490-545394D1DA19}"/>
              </a:ext>
            </a:extLst>
          </p:cNvPr>
          <p:cNvSpPr>
            <a:spLocks noChangeArrowheads="1"/>
          </p:cNvSpPr>
          <p:nvPr/>
        </p:nvSpPr>
        <p:spPr bwMode="auto">
          <a:xfrm>
            <a:off x="1114426" y="1360488"/>
            <a:ext cx="10467974" cy="3342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548640" marR="0" lvl="0" indent="-54864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US" altLang="en-US" sz="2880" b="1" i="0" u="none" strike="noStrike" kern="1200" cap="none" spc="0" normalizeH="0" baseline="0" noProof="0" dirty="0">
                <a:ln>
                  <a:noFill/>
                </a:ln>
                <a:solidFill>
                  <a:srgbClr val="0F9ED5">
                    <a:lumMod val="50000"/>
                  </a:srgbClr>
                </a:solidFill>
                <a:effectLst/>
                <a:uLnTx/>
                <a:uFillTx/>
                <a:latin typeface="Calibri" panose="020F0502020204030204" pitchFamily="34" charset="0"/>
                <a:ea typeface="MS PGothic" panose="020B0600070205080204" pitchFamily="34" charset="-128"/>
                <a:cs typeface="+mn-cs"/>
              </a:rPr>
              <a:t>Progress made in the last decade surpasses what was achieved in the previous 4 decades.</a:t>
            </a:r>
          </a:p>
          <a:p>
            <a:pPr marL="548640" marR="0" lvl="0" indent="-54864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US" altLang="en-US" sz="2880" b="1" i="0" u="none" strike="noStrike" kern="1200" cap="none" spc="0" normalizeH="0" baseline="0" noProof="0" dirty="0">
                <a:ln>
                  <a:noFill/>
                </a:ln>
                <a:solidFill>
                  <a:srgbClr val="0F9ED5">
                    <a:lumMod val="50000"/>
                  </a:srgbClr>
                </a:solidFill>
                <a:effectLst/>
                <a:uLnTx/>
                <a:uFillTx/>
                <a:latin typeface="Calibri" panose="020F0502020204030204" pitchFamily="34" charset="0"/>
                <a:ea typeface="MS PGothic" panose="020B0600070205080204" pitchFamily="34" charset="-128"/>
                <a:cs typeface="+mn-cs"/>
              </a:rPr>
              <a:t>Better understanding re: biology of ovarian cancer</a:t>
            </a:r>
          </a:p>
          <a:p>
            <a:pPr marL="548640" marR="0" lvl="0" indent="-54864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US" altLang="en-US" sz="2880" b="1" i="0" u="none" strike="noStrike" kern="1200" cap="none" spc="0" normalizeH="0" baseline="0" noProof="0" dirty="0">
                <a:ln>
                  <a:noFill/>
                </a:ln>
                <a:solidFill>
                  <a:srgbClr val="0F9ED5">
                    <a:lumMod val="50000"/>
                  </a:srgbClr>
                </a:solidFill>
                <a:effectLst/>
                <a:uLnTx/>
                <a:uFillTx/>
                <a:latin typeface="Calibri" panose="020F0502020204030204" pitchFamily="34" charset="0"/>
                <a:ea typeface="MS PGothic" panose="020B0600070205080204" pitchFamily="34" charset="-128"/>
                <a:cs typeface="+mn-cs"/>
              </a:rPr>
              <a:t>Expanded systemic therapy options</a:t>
            </a:r>
          </a:p>
          <a:p>
            <a:pPr marL="548640" marR="0" lvl="0" indent="-54864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US" altLang="en-US" sz="2880" b="1" i="0" u="none" strike="noStrike" kern="1200" cap="none" spc="0" normalizeH="0" baseline="0" noProof="0" dirty="0">
                <a:ln>
                  <a:noFill/>
                </a:ln>
                <a:solidFill>
                  <a:srgbClr val="0F9ED5">
                    <a:lumMod val="50000"/>
                  </a:srgbClr>
                </a:solidFill>
                <a:effectLst/>
                <a:uLnTx/>
                <a:uFillTx/>
                <a:latin typeface="Calibri" panose="020F0502020204030204" pitchFamily="34" charset="0"/>
                <a:ea typeface="MS PGothic" panose="020B0600070205080204" pitchFamily="34" charset="-128"/>
                <a:cs typeface="+mn-cs"/>
              </a:rPr>
              <a:t>Key advances in targeted therapy options</a:t>
            </a:r>
          </a:p>
          <a:p>
            <a:pPr marL="548640" marR="0" lvl="0" indent="-54864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US" altLang="en-US" sz="2880" b="1" i="0" u="none" strike="noStrike" kern="1200" cap="none" spc="0" normalizeH="0" baseline="0" noProof="0" dirty="0">
                <a:ln>
                  <a:noFill/>
                </a:ln>
                <a:solidFill>
                  <a:srgbClr val="0F9ED5">
                    <a:lumMod val="50000"/>
                  </a:srgbClr>
                </a:solidFill>
                <a:effectLst/>
                <a:uLnTx/>
                <a:uFillTx/>
                <a:latin typeface="Calibri" panose="020F0502020204030204" pitchFamily="34" charset="0"/>
                <a:ea typeface="MS PGothic" panose="020B0600070205080204" pitchFamily="34" charset="-128"/>
                <a:cs typeface="+mn-cs"/>
              </a:rPr>
              <a:t>Immediate future looks promising for our patient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3840" b="1"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pic>
        <p:nvPicPr>
          <p:cNvPr id="3" name="Picture 4" descr="logo U pitt 1[1]">
            <a:extLst>
              <a:ext uri="{FF2B5EF4-FFF2-40B4-BE49-F238E27FC236}">
                <a16:creationId xmlns:a16="http://schemas.microsoft.com/office/drawing/2014/main" id="{622FB892-80AE-275C-7D13-A860CFC059E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24654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DD0D3-82DA-C587-BC51-1AE3EB14C39F}"/>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6BEFB0F0-69B3-59AD-82DA-992790C255F5}"/>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Angeles Alvarez Secord, MD, </a:t>
            </a:r>
            <a:r>
              <a:rPr kumimoji="0" lang="en-US" sz="2400" b="1" i="0" u="none" strike="noStrike" kern="1200" cap="none" spc="0" normalizeH="0" baseline="0" noProof="0" dirty="0" err="1">
                <a:ln>
                  <a:noFill/>
                </a:ln>
                <a:solidFill>
                  <a:srgbClr val="062060"/>
                </a:solidFill>
                <a:effectLst/>
                <a:uLnTx/>
                <a:uFillTx/>
                <a:latin typeface="Calibri"/>
                <a:ea typeface="MS PGothic" pitchFamily="34" charset="-128"/>
                <a:cs typeface="Calibri"/>
              </a:rPr>
              <a:t>MHSc</a:t>
            </a:r>
            <a:endPar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pic>
        <p:nvPicPr>
          <p:cNvPr id="5" name="Picture 4" descr="A person wearing a headset&#10;&#10;AI-generated content may be incorrect.">
            <a:extLst>
              <a:ext uri="{FF2B5EF4-FFF2-40B4-BE49-F238E27FC236}">
                <a16:creationId xmlns:a16="http://schemas.microsoft.com/office/drawing/2014/main" id="{2FD7A68D-CC57-30E7-C6CB-C775C7B7F8CE}"/>
              </a:ext>
            </a:extLst>
          </p:cNvPr>
          <p:cNvPicPr>
            <a:picLocks noChangeAspect="1"/>
          </p:cNvPicPr>
          <p:nvPr/>
        </p:nvPicPr>
        <p:blipFill rotWithShape="1">
          <a:blip r:embed="rId2"/>
          <a:srcRect l="27455" r="16295"/>
          <a:stretch>
            <a:fillRect/>
          </a:stretch>
        </p:blipFill>
        <p:spPr>
          <a:xfrm>
            <a:off x="2281846" y="2570971"/>
            <a:ext cx="2651761" cy="2651761"/>
          </a:xfrm>
          <a:prstGeom prst="ellipse">
            <a:avLst/>
          </a:prstGeom>
          <a:effectLst>
            <a:outerShdw blurRad="50800" dist="38100" dir="2700000" algn="tl" rotWithShape="0">
              <a:prstClr val="black">
                <a:alpha val="40000"/>
              </a:prstClr>
            </a:outerShdw>
          </a:effectLst>
        </p:spPr>
      </p:pic>
      <p:sp>
        <p:nvSpPr>
          <p:cNvPr id="6" name="Rectangle 5">
            <a:extLst>
              <a:ext uri="{FF2B5EF4-FFF2-40B4-BE49-F238E27FC236}">
                <a16:creationId xmlns:a16="http://schemas.microsoft.com/office/drawing/2014/main" id="{131DA143-081C-5230-9AFB-692E6CD45F03}"/>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3269E3E0-876B-4E5A-E430-803D4AD5652B}"/>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9" name="Title 1">
            <a:extLst>
              <a:ext uri="{FF2B5EF4-FFF2-40B4-BE49-F238E27FC236}">
                <a16:creationId xmlns:a16="http://schemas.microsoft.com/office/drawing/2014/main" id="{FF338E89-B1A5-C4A5-0B2F-162F6E767169}"/>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624CF498-61B7-32B1-86F5-35F6904B3643}"/>
              </a:ext>
            </a:extLst>
          </p:cNvPr>
          <p:cNvPicPr>
            <a:picLocks noChangeAspect="1"/>
          </p:cNvPicPr>
          <p:nvPr/>
        </p:nvPicPr>
        <p:blipFill>
          <a:blip r:embed="rId3"/>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425737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91BB1-FE9C-1D49-526B-DF162F4C7BB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902FFCE6-904B-CDC2-CF16-F713BAC93CB3}"/>
              </a:ext>
            </a:extLst>
          </p:cNvPr>
          <p:cNvSpPr txBox="1"/>
          <p:nvPr/>
        </p:nvSpPr>
        <p:spPr>
          <a:xfrm>
            <a:off x="974109" y="1052736"/>
            <a:ext cx="10074891" cy="7891391"/>
          </a:xfrm>
          <a:prstGeom prst="rect">
            <a:avLst/>
          </a:prstGeom>
          <a:noFill/>
        </p:spPr>
        <p:txBody>
          <a:bodyPr wrap="square">
            <a:spAutoFit/>
          </a:bodyPr>
          <a:lstStyle/>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Now that both are available, how are you sequencing relacorilant/</a:t>
            </a:r>
            <a:r>
              <a:rPr kumimoji="0" lang="en-US" sz="2800" b="1" i="1"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nab</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paclitaxel and pembrolizumab/chemotherapy relative to each other and targeted antibody-drug conjugates (</a:t>
            </a:r>
            <a:r>
              <a:rPr kumimoji="0" lang="en-US" sz="2800" b="1" i="0" u="none" strike="noStrike" kern="10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eg</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mirvetuximab soravtansine, trastuzumab deruxtecan) for patients eligible to receive those agents?</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What has been your experience in terms of the efficacy relacorilant/</a:t>
            </a:r>
            <a:r>
              <a:rPr kumimoji="0" lang="en-US" sz="2800" b="1" i="1"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nab</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paclitaxel? Is there any correlation between the efficacy of relacorilant/</a:t>
            </a:r>
            <a:r>
              <a:rPr kumimoji="0" lang="en-US" sz="2800" b="1" i="1"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nab</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paclitaxel and glucocorticoid receptor (GR) expression levels, and would you use GR expression levels to inform how you sequence this regimen? </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17668DCB-F04C-61AA-7648-1F1E427258F1}"/>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1707387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5E496-6DAF-12F9-0D9B-F397D0AB7E04}"/>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486ECBD-A6F7-234B-FD56-76DFF7D46E55}"/>
              </a:ext>
            </a:extLst>
          </p:cNvPr>
          <p:cNvSpPr txBox="1"/>
          <p:nvPr/>
        </p:nvSpPr>
        <p:spPr>
          <a:xfrm>
            <a:off x="974109" y="1052736"/>
            <a:ext cx="10074891" cy="5513945"/>
          </a:xfrm>
          <a:prstGeom prst="rect">
            <a:avLst/>
          </a:prstGeom>
          <a:noFill/>
        </p:spPr>
        <p:txBody>
          <a:bodyPr wrap="square">
            <a:spAutoFit/>
          </a:bodyPr>
          <a:lstStyle/>
          <a:p>
            <a:pPr lvl="0">
              <a:lnSpc>
                <a:spcPct val="115000"/>
              </a:lnSpc>
              <a:defRPr/>
            </a:pPr>
            <a:r>
              <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rPr>
              <a:t>How do you approach monitoring of CBCs for patients receiving relacorilant/</a:t>
            </a:r>
            <a:r>
              <a:rPr lang="en-US" sz="2800" i="1" kern="100" dirty="0">
                <a:solidFill>
                  <a:srgbClr val="000000"/>
                </a:solidFill>
                <a:latin typeface="Calibri" panose="020F0502020204030204" pitchFamily="34" charset="0"/>
                <a:ea typeface="Aptos" panose="020B0004020202020204" pitchFamily="34" charset="0"/>
                <a:cs typeface="Calibri" panose="020F0502020204030204" pitchFamily="34" charset="0"/>
              </a:rPr>
              <a:t>nab</a:t>
            </a:r>
            <a:r>
              <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rPr>
              <a:t> paclitaxel? How do you manage neutropenia based on grade? </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a:lnSpc>
                <a:spcPct val="115000"/>
              </a:lnSpc>
              <a:defRPr/>
            </a:pPr>
            <a:r>
              <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rPr>
              <a:t>How do you monitor for adrenal insufficiency in patients receiving relacorilant/</a:t>
            </a:r>
            <a:r>
              <a:rPr lang="en-US" sz="2800" i="1" kern="100" dirty="0">
                <a:solidFill>
                  <a:srgbClr val="000000"/>
                </a:solidFill>
                <a:latin typeface="Calibri" panose="020F0502020204030204" pitchFamily="34" charset="0"/>
                <a:ea typeface="Aptos" panose="020B0004020202020204" pitchFamily="34" charset="0"/>
                <a:cs typeface="Calibri" panose="020F0502020204030204" pitchFamily="34" charset="0"/>
              </a:rPr>
              <a:t>nab</a:t>
            </a:r>
            <a:r>
              <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rPr>
              <a:t> paclitaxel, and what is your threshold for administering glucocorticoid therapy? Do you administer supplemental glucocorticoids for patients who need to undergo surgical procedures? How do you think through the potential use of relacorilant/</a:t>
            </a:r>
            <a:r>
              <a:rPr lang="en-US" sz="2800" i="1" kern="100" dirty="0">
                <a:solidFill>
                  <a:srgbClr val="000000"/>
                </a:solidFill>
                <a:latin typeface="Calibri" panose="020F0502020204030204" pitchFamily="34" charset="0"/>
                <a:ea typeface="Aptos" panose="020B0004020202020204" pitchFamily="34" charset="0"/>
                <a:cs typeface="Calibri" panose="020F0502020204030204" pitchFamily="34" charset="0"/>
              </a:rPr>
              <a:t>nab</a:t>
            </a:r>
            <a:r>
              <a:rPr lang="en-US" sz="2800" kern="100" dirty="0">
                <a:solidFill>
                  <a:srgbClr val="000000"/>
                </a:solidFill>
                <a:latin typeface="Calibri" panose="020F0502020204030204" pitchFamily="34" charset="0"/>
                <a:ea typeface="Aptos" panose="020B0004020202020204" pitchFamily="34" charset="0"/>
                <a:cs typeface="Calibri" panose="020F0502020204030204" pitchFamily="34" charset="0"/>
              </a:rPr>
              <a:t> paclitaxel for patients who are taking systemic glucocorticoids for other conditions (eg, autoimmune disorders)? </a:t>
            </a: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CCDA1351-A2E6-298F-2BFE-8790DACA0E09}"/>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441161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56A493-7BC8-4A98-BCDA-1FC1E5D25EC7}"/>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5F85E83-9CD5-EE75-359D-A4C29F775DB6}"/>
              </a:ext>
            </a:extLst>
          </p:cNvPr>
          <p:cNvSpPr txBox="1"/>
          <p:nvPr/>
        </p:nvSpPr>
        <p:spPr>
          <a:xfrm>
            <a:off x="974109" y="1052736"/>
            <a:ext cx="10074891" cy="7891391"/>
          </a:xfrm>
          <a:prstGeom prst="rect">
            <a:avLst/>
          </a:prstGeom>
          <a:noFill/>
        </p:spPr>
        <p:txBody>
          <a:bodyPr wrap="square">
            <a:spAutoFit/>
          </a:bodyPr>
          <a:lstStyle/>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Would you employ relacorilant in combination with any other chemotherapeutic agent beyond </a:t>
            </a:r>
            <a:r>
              <a:rPr kumimoji="0" lang="en-US" sz="2800" b="1" i="1"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nab</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paclitaxel? Do you believe the ROSELLA trial suggests that the use of corticosteroids as a means of preventing adverse events from chemotherapy may have a detrimental effect on tumor response and patient outcomes? </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R="0" lvl="0">
              <a:lnSpc>
                <a:spcPct val="115000"/>
              </a:lnSpc>
            </a:pPr>
            <a:r>
              <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Do you believe that by using pembrolizumab/chemotherapy with or without bevacizumab, you are increasing the likelihood of long-term survival (cure?) in patients with advanced ovarian cancer? How do you decide whether to add bevacizumab or not when using this strategy?</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46588CC4-C731-CA94-41BA-FEF3BAFCC86A}"/>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1186487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3C3AF-CBDB-6079-F2B7-56A4D46119D2}"/>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7B36F17-E6E3-42B2-32D4-A7956C22D19B}"/>
              </a:ext>
            </a:extLst>
          </p:cNvPr>
          <p:cNvSpPr txBox="1"/>
          <p:nvPr/>
        </p:nvSpPr>
        <p:spPr>
          <a:xfrm>
            <a:off x="974109" y="1052736"/>
            <a:ext cx="10074891" cy="7395871"/>
          </a:xfrm>
          <a:prstGeom prst="rect">
            <a:avLst/>
          </a:prstGeom>
          <a:noFill/>
        </p:spPr>
        <p:txBody>
          <a:bodyPr wrap="square">
            <a:spAutoFit/>
          </a:bodyPr>
          <a:lstStyle/>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Given the overall survival advantage documented in all comers in KEYNOTE-B96, would you employ pembrolizumab/chemotherapy with or without bevacizumab for a patient with PD-L1-negative disease under any circumstances? </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What preexisting autoimmune conditions would cause you to withhold the use of immune checkpoint inhibition for patients with advanced ovarian cancer? Would you consider it for patients with a history of solid organ transplant?</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3C9BA9AB-D30E-BEBF-840B-1806B97B178D}"/>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1913859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E61C2-17EE-8045-28EA-28523848FE65}"/>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7ABED5AE-CA31-7D03-E829-625FA15B8A58}"/>
              </a:ext>
            </a:extLst>
          </p:cNvPr>
          <p:cNvSpPr txBox="1"/>
          <p:nvPr/>
        </p:nvSpPr>
        <p:spPr>
          <a:xfrm>
            <a:off x="974109" y="1052736"/>
            <a:ext cx="10074891" cy="4918269"/>
          </a:xfrm>
          <a:prstGeom prst="rect">
            <a:avLst/>
          </a:prstGeom>
          <a:noFill/>
        </p:spPr>
        <p:txBody>
          <a:bodyPr wrap="square">
            <a:spAutoFit/>
          </a:bodyPr>
          <a:lstStyle/>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Have you observed patients with MSI-high ovarian cancer? </a:t>
            </a:r>
            <a:b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b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How have you treated it, and what have you observed in terms of outcomes?</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25E1EB37-D313-B949-9E1D-255E8D72EFB1}"/>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34019743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699C7F-E667-BF62-1434-A7AE4F4BC1FC}"/>
            </a:ext>
          </a:extLst>
        </p:cNvPr>
        <p:cNvGrpSpPr/>
        <p:nvPr/>
      </p:nvGrpSpPr>
      <p:grpSpPr>
        <a:xfrm>
          <a:off x="0" y="0"/>
          <a:ext cx="0" cy="0"/>
          <a:chOff x="0" y="0"/>
          <a:chExt cx="0" cy="0"/>
        </a:xfrm>
      </p:grpSpPr>
      <p:pic>
        <p:nvPicPr>
          <p:cNvPr id="9" name="Picture 8" descr="A person wearing glasses and a headset&#10;&#10;AI-generated content may be incorrect.">
            <a:extLst>
              <a:ext uri="{FF2B5EF4-FFF2-40B4-BE49-F238E27FC236}">
                <a16:creationId xmlns:a16="http://schemas.microsoft.com/office/drawing/2014/main" id="{8C5FBBDF-31DB-83B1-511F-C1E859AF4443}"/>
              </a:ext>
            </a:extLst>
          </p:cNvPr>
          <p:cNvPicPr>
            <a:picLocks noChangeAspect="1"/>
          </p:cNvPicPr>
          <p:nvPr/>
        </p:nvPicPr>
        <p:blipFill rotWithShape="1">
          <a:blip r:embed="rId2"/>
          <a:srcRect l="19298" r="24452"/>
          <a:stretch>
            <a:fillRect/>
          </a:stretch>
        </p:blipFill>
        <p:spPr>
          <a:xfrm>
            <a:off x="2297368" y="2570972"/>
            <a:ext cx="2651760" cy="2651760"/>
          </a:xfrm>
          <a:prstGeom prst="ellipse">
            <a:avLst/>
          </a:prstGeom>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F393F1E5-0B55-D5DC-A2C7-813EED3B4751}"/>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613C2D8F-AABC-E30D-C907-276C76A73FDD}"/>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8" name="Title 1">
            <a:extLst>
              <a:ext uri="{FF2B5EF4-FFF2-40B4-BE49-F238E27FC236}">
                <a16:creationId xmlns:a16="http://schemas.microsoft.com/office/drawing/2014/main" id="{D2D40B61-F31D-DA5E-E961-663F9E0A3DDD}"/>
              </a:ext>
            </a:extLst>
          </p:cNvPr>
          <p:cNvSpPr txBox="1">
            <a:spLocks/>
          </p:cNvSpPr>
          <p:nvPr/>
        </p:nvSpPr>
        <p:spPr bwMode="auto">
          <a:xfrm>
            <a:off x="1432146"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Professor Jonathan A Ledermann</a:t>
            </a:r>
          </a:p>
        </p:txBody>
      </p:sp>
      <p:sp>
        <p:nvSpPr>
          <p:cNvPr id="5" name="Title 1">
            <a:extLst>
              <a:ext uri="{FF2B5EF4-FFF2-40B4-BE49-F238E27FC236}">
                <a16:creationId xmlns:a16="http://schemas.microsoft.com/office/drawing/2014/main" id="{513354B8-B860-994A-F349-363845E63018}"/>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81BAC729-CB05-81DA-1722-AB90F24ED1D0}"/>
              </a:ext>
            </a:extLst>
          </p:cNvPr>
          <p:cNvPicPr>
            <a:picLocks noChangeAspect="1"/>
          </p:cNvPicPr>
          <p:nvPr/>
        </p:nvPicPr>
        <p:blipFill>
          <a:blip r:embed="rId3"/>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sp>
        <p:nvSpPr>
          <p:cNvPr id="2" name="Oval 1">
            <a:extLst>
              <a:ext uri="{FF2B5EF4-FFF2-40B4-BE49-F238E27FC236}">
                <a16:creationId xmlns:a16="http://schemas.microsoft.com/office/drawing/2014/main" id="{F351E091-1E3B-1CFF-4810-3A3CE5178272}"/>
              </a:ext>
            </a:extLst>
          </p:cNvPr>
          <p:cNvSpPr/>
          <p:nvPr/>
        </p:nvSpPr>
        <p:spPr bwMode="auto">
          <a:xfrm>
            <a:off x="3792586" y="4444141"/>
            <a:ext cx="2655065" cy="2655065"/>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082558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8BF23-5452-9BD2-DB7D-C99532379284}"/>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1054B2F-6308-7E78-6EDE-A662D255C0C8}"/>
              </a:ext>
            </a:extLst>
          </p:cNvPr>
          <p:cNvSpPr txBox="1"/>
          <p:nvPr/>
        </p:nvSpPr>
        <p:spPr>
          <a:xfrm>
            <a:off x="974109" y="1052736"/>
            <a:ext cx="10074891" cy="6900351"/>
          </a:xfrm>
          <a:prstGeom prst="rect">
            <a:avLst/>
          </a:prstGeom>
          <a:noFill/>
        </p:spPr>
        <p:txBody>
          <a:bodyPr wrap="square">
            <a:spAutoFit/>
          </a:bodyPr>
          <a:lstStyle/>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Why do you theorize the KEYNOTE-B96 trial was positive when other immune checkpoint inhibitor studies in ovarian cancer have been less so? To what extent does the use of weekly paclitaxel have an impact?</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R="0" lvl="0">
              <a:lnSpc>
                <a:spcPct val="115000"/>
              </a:lnSpc>
            </a:pPr>
            <a:r>
              <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How often do you encounter patients with ovarian cancer and brain metastases, and how do you manage these cases? What about leptomeningeal disease? What has been your experience in terms of outcomes with these patients?</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B429D93D-7158-4EA4-5F5D-715E8F8CCFA2}"/>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1036738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4C682-4782-DA90-95C8-81F00EE96A7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950F9ED-9CB4-6F81-C4EF-94268A7ED977}"/>
              </a:ext>
            </a:extLst>
          </p:cNvPr>
          <p:cNvSpPr txBox="1"/>
          <p:nvPr/>
        </p:nvSpPr>
        <p:spPr>
          <a:xfrm>
            <a:off x="974109" y="1052736"/>
            <a:ext cx="10074891" cy="4422749"/>
          </a:xfrm>
          <a:prstGeom prst="rect">
            <a:avLst/>
          </a:prstGeom>
          <a:noFill/>
        </p:spPr>
        <p:txBody>
          <a:bodyPr wrap="square">
            <a:spAutoFit/>
          </a:bodyPr>
          <a:lstStyle/>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What degree of CNS activity has been observed with the various systemic therapies available for ovarian cancer? </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6FC91717-882B-55C7-272F-8B072D45C0E7}"/>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3986063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77327-256B-EACC-4D37-422CA586AA1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AC59BD1A-A4D7-E0AE-7BCB-B6F8865B64B3}"/>
              </a:ext>
            </a:extLst>
          </p:cNvPr>
          <p:cNvSpPr/>
          <p:nvPr/>
        </p:nvSpPr>
        <p:spPr bwMode="auto">
          <a:xfrm>
            <a:off x="740128" y="3890293"/>
            <a:ext cx="10828480" cy="83485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6EF7993-D824-972E-97C1-30D675ED7F49}"/>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7DCC2800-F571-1EC6-A896-989998827001}"/>
              </a:ext>
            </a:extLst>
          </p:cNvPr>
          <p:cNvSpPr>
            <a:spLocks noGrp="1"/>
          </p:cNvSpPr>
          <p:nvPr>
            <p:ph idx="1"/>
          </p:nvPr>
        </p:nvSpPr>
        <p:spPr>
          <a:xfrm>
            <a:off x="767407" y="1416053"/>
            <a:ext cx="10503845"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urrent Role of PARP Inhibitors in Advanced Ovarian Cancer (OC) </a:t>
            </a:r>
            <a:br>
              <a:rPr lang="en-US" sz="2500" dirty="0">
                <a:solidFill>
                  <a:schemeClr val="tx1"/>
                </a:solidFill>
              </a:rPr>
            </a:br>
            <a:r>
              <a:rPr lang="en-US" sz="2500" dirty="0">
                <a:solidFill>
                  <a:schemeClr val="tx1"/>
                </a:solidFill>
              </a:rPr>
              <a:t>— Prof Colombo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trategies Targeting Folate Receptor Alpha in Advanced OC </a:t>
            </a:r>
            <a:br>
              <a:rPr lang="en-US" sz="2500" dirty="0">
                <a:solidFill>
                  <a:schemeClr val="tx1"/>
                </a:solidFill>
              </a:rPr>
            </a:br>
            <a:r>
              <a:rPr lang="en-US" sz="2500" dirty="0">
                <a:solidFill>
                  <a:schemeClr val="tx1"/>
                </a:solidFill>
              </a:rPr>
              <a:t>— Dr Westin </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ther Novel Agents and Strategies for Advanced OC — Dr </a:t>
            </a:r>
            <a:r>
              <a:rPr lang="en-US" sz="2500" dirty="0" err="1">
                <a:solidFill>
                  <a:schemeClr val="tx1"/>
                </a:solidFill>
              </a:rPr>
              <a:t>Olawaiye</a:t>
            </a:r>
            <a:endParaRPr lang="en-US" sz="2500" dirty="0">
              <a:solidFill>
                <a:schemeClr val="tx1"/>
              </a:solidFill>
            </a:endParaRPr>
          </a:p>
          <a:p>
            <a:pPr marL="98425" indent="0">
              <a:lnSpc>
                <a:spcPct val="100000"/>
              </a:lnSpc>
              <a:spcBef>
                <a:spcPts val="1600"/>
              </a:spcBef>
              <a:spcAft>
                <a:spcPts val="0"/>
              </a:spcAft>
              <a:buNone/>
            </a:pPr>
            <a:r>
              <a:rPr lang="en-US" sz="2500" dirty="0">
                <a:solidFill>
                  <a:schemeClr val="bg1"/>
                </a:solidFill>
              </a:rPr>
              <a:t>Module 4: Diagnosis and Management of Adverse Events Associated with Commonly Employed Therapies for Advanced OC — Dr Konecny</a:t>
            </a:r>
          </a:p>
        </p:txBody>
      </p:sp>
    </p:spTree>
    <p:extLst>
      <p:ext uri="{BB962C8B-B14F-4D97-AF65-F5344CB8AC3E}">
        <p14:creationId xmlns:p14="http://schemas.microsoft.com/office/powerpoint/2010/main" val="18588731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showMasterSp="0">
  <p:cSld>
    <p:spTree>
      <p:nvGrpSpPr>
        <p:cNvPr id="1" name="Shape 645"/>
        <p:cNvGrpSpPr/>
        <p:nvPr/>
      </p:nvGrpSpPr>
      <p:grpSpPr>
        <a:xfrm>
          <a:off x="0" y="0"/>
          <a:ext cx="0" cy="0"/>
          <a:chOff x="0" y="0"/>
          <a:chExt cx="0" cy="0"/>
        </a:xfrm>
      </p:grpSpPr>
      <p:sp>
        <p:nvSpPr>
          <p:cNvPr id="646" name="Google Shape;646;p52"/>
          <p:cNvSpPr txBox="1">
            <a:spLocks noGrp="1"/>
          </p:cNvSpPr>
          <p:nvPr>
            <p:ph type="ctrTitle"/>
          </p:nvPr>
        </p:nvSpPr>
        <p:spPr>
          <a:xfrm>
            <a:off x="660787" y="1000369"/>
            <a:ext cx="10904295" cy="3438769"/>
          </a:xfrm>
          <a:prstGeom prst="rect">
            <a:avLst/>
          </a:prstGeom>
        </p:spPr>
        <p:txBody>
          <a:bodyPr spcFirstLastPara="1" wrap="square" lIns="91341" tIns="45657" rIns="91341" bIns="45657" anchor="b" anchorCtr="0">
            <a:noAutofit/>
          </a:bodyPr>
          <a:lstStyle/>
          <a:p>
            <a:pPr algn="l">
              <a:spcBef>
                <a:spcPts val="0"/>
              </a:spcBef>
              <a:spcAft>
                <a:spcPts val="0"/>
              </a:spcAft>
            </a:pPr>
            <a:r>
              <a:rPr lang="en-US" sz="4267" b="1" dirty="0">
                <a:solidFill>
                  <a:srgbClr val="7030A0"/>
                </a:solidFill>
                <a:latin typeface="Arial Narrow" panose="020B0606020202030204" pitchFamily="34" charset="0"/>
              </a:rPr>
              <a:t>Diagnosis and Management of Adverse Events Associated with Commonly Employed Therapies for Advanced Ovarian Cancer</a:t>
            </a:r>
            <a:br>
              <a:rPr lang="en-US" sz="4267" b="1" dirty="0">
                <a:solidFill>
                  <a:srgbClr val="7030A0"/>
                </a:solidFill>
                <a:latin typeface="Arial Narrow" panose="020B0606020202030204" pitchFamily="34" charset="0"/>
              </a:rPr>
            </a:br>
            <a:br>
              <a:rPr lang="en-US" sz="4267" b="1" dirty="0">
                <a:solidFill>
                  <a:srgbClr val="7030A0"/>
                </a:solidFill>
                <a:latin typeface="Arial Narrow" panose="020B0606020202030204" pitchFamily="34" charset="0"/>
              </a:rPr>
            </a:br>
            <a:r>
              <a:rPr lang="en-US" sz="2400" b="1" dirty="0">
                <a:solidFill>
                  <a:srgbClr val="7030A0"/>
                </a:solidFill>
                <a:latin typeface="Arial Narrow" panose="020B0606020202030204" pitchFamily="34" charset="0"/>
              </a:rPr>
              <a:t>Gottfried E. Konecny M.D.</a:t>
            </a:r>
            <a:br>
              <a:rPr lang="en-US" sz="2400" b="1" dirty="0">
                <a:solidFill>
                  <a:srgbClr val="7030A0"/>
                </a:solidFill>
                <a:latin typeface="Arial Narrow" panose="020B0606020202030204" pitchFamily="34" charset="0"/>
              </a:rPr>
            </a:br>
            <a:r>
              <a:rPr lang="en-US" sz="2400" b="1" dirty="0">
                <a:solidFill>
                  <a:srgbClr val="7030A0"/>
                </a:solidFill>
                <a:latin typeface="Arial Narrow" panose="020B0606020202030204" pitchFamily="34" charset="0"/>
              </a:rPr>
              <a:t>Professor of Medicine and Ob/Gyn</a:t>
            </a:r>
            <a:br>
              <a:rPr lang="en-US" sz="2400" b="1" dirty="0">
                <a:solidFill>
                  <a:srgbClr val="7030A0"/>
                </a:solidFill>
                <a:latin typeface="Arial Narrow" panose="020B0606020202030204" pitchFamily="34" charset="0"/>
              </a:rPr>
            </a:br>
            <a:r>
              <a:rPr lang="en-US" sz="2400" b="1" dirty="0">
                <a:solidFill>
                  <a:srgbClr val="7030A0"/>
                </a:solidFill>
                <a:latin typeface="Arial Narrow" panose="020B0606020202030204" pitchFamily="34" charset="0"/>
              </a:rPr>
              <a:t>University of California Los Angeles</a:t>
            </a:r>
            <a:endParaRPr sz="2400" b="1" dirty="0">
              <a:solidFill>
                <a:srgbClr val="7030A0"/>
              </a:solidFill>
              <a:latin typeface="Arial Narrow" panose="020B0606020202030204" pitchFamily="34" charset="0"/>
            </a:endParaRPr>
          </a:p>
        </p:txBody>
      </p:sp>
      <p:pic>
        <p:nvPicPr>
          <p:cNvPr id="2" name="Picture 1" descr="A black background with a black square&#10;&#10;Description automatically generated with medium confidence">
            <a:extLst>
              <a:ext uri="{FF2B5EF4-FFF2-40B4-BE49-F238E27FC236}">
                <a16:creationId xmlns:a16="http://schemas.microsoft.com/office/drawing/2014/main" id="{43119707-B406-5A5D-5BC4-DF577BD695A6}"/>
              </a:ext>
            </a:extLst>
          </p:cNvPr>
          <p:cNvPicPr>
            <a:picLocks noChangeAspect="1"/>
          </p:cNvPicPr>
          <p:nvPr/>
        </p:nvPicPr>
        <p:blipFill>
          <a:blip r:embed="rId3"/>
          <a:stretch>
            <a:fillRect/>
          </a:stretch>
        </p:blipFill>
        <p:spPr>
          <a:xfrm>
            <a:off x="5331077" y="5264971"/>
            <a:ext cx="6385748" cy="1138200"/>
          </a:xfrm>
          <a:prstGeom prst="rect">
            <a:avLst/>
          </a:prstGeom>
        </p:spPr>
      </p:pic>
      <p:pic>
        <p:nvPicPr>
          <p:cNvPr id="3" name="Picture 2" descr="University of California, Los Angeles - Wikipedia">
            <a:extLst>
              <a:ext uri="{FF2B5EF4-FFF2-40B4-BE49-F238E27FC236}">
                <a16:creationId xmlns:a16="http://schemas.microsoft.com/office/drawing/2014/main" id="{68A80A32-D8B1-112A-61CF-F483321ED4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5745" y="5091887"/>
            <a:ext cx="1311284" cy="131128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065619" y="208873"/>
            <a:ext cx="10060763" cy="691659"/>
          </a:xfrm>
        </p:spPr>
        <p:txBody>
          <a:bodyPr>
            <a:normAutofit/>
          </a:bodyPr>
          <a:lstStyle/>
          <a:p>
            <a:pPr algn="ctr"/>
            <a:r>
              <a:rPr lang="en-US" sz="3733" dirty="0">
                <a:solidFill>
                  <a:srgbClr val="7030A0"/>
                </a:solidFill>
                <a:latin typeface="Arial Narrow" panose="020B0606020202030204" pitchFamily="34" charset="0"/>
              </a:rPr>
              <a:t>PARP Inhibitors in Ovarian Cancer 2021</a:t>
            </a:r>
          </a:p>
        </p:txBody>
      </p:sp>
      <p:graphicFrame>
        <p:nvGraphicFramePr>
          <p:cNvPr id="5" name="Diagram 4">
            <a:extLst>
              <a:ext uri="{FF2B5EF4-FFF2-40B4-BE49-F238E27FC236}">
                <a16:creationId xmlns:a16="http://schemas.microsoft.com/office/drawing/2014/main" id="{9F445816-585F-E248-903D-00CED11F8720}"/>
              </a:ext>
            </a:extLst>
          </p:cNvPr>
          <p:cNvGraphicFramePr/>
          <p:nvPr/>
        </p:nvGraphicFramePr>
        <p:xfrm>
          <a:off x="2607537" y="1243523"/>
          <a:ext cx="8795755" cy="12950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BC15319-DD5A-564F-9A27-BA39408D82D8}"/>
              </a:ext>
            </a:extLst>
          </p:cNvPr>
          <p:cNvSpPr txBox="1"/>
          <p:nvPr/>
        </p:nvSpPr>
        <p:spPr>
          <a:xfrm>
            <a:off x="344158" y="2893213"/>
            <a:ext cx="926857" cy="584775"/>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BRCA</a:t>
            </a: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mutated</a:t>
            </a:r>
          </a:p>
        </p:txBody>
      </p:sp>
      <p:sp>
        <p:nvSpPr>
          <p:cNvPr id="7" name="TextBox 6">
            <a:extLst>
              <a:ext uri="{FF2B5EF4-FFF2-40B4-BE49-F238E27FC236}">
                <a16:creationId xmlns:a16="http://schemas.microsoft.com/office/drawing/2014/main" id="{17782719-FB57-4E44-9577-C8F84145ADC8}"/>
              </a:ext>
            </a:extLst>
          </p:cNvPr>
          <p:cNvSpPr txBox="1"/>
          <p:nvPr/>
        </p:nvSpPr>
        <p:spPr>
          <a:xfrm>
            <a:off x="321510" y="4368799"/>
            <a:ext cx="1186543" cy="33855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All Comers</a:t>
            </a:r>
          </a:p>
        </p:txBody>
      </p:sp>
      <p:sp>
        <p:nvSpPr>
          <p:cNvPr id="8" name="TextBox 7">
            <a:extLst>
              <a:ext uri="{FF2B5EF4-FFF2-40B4-BE49-F238E27FC236}">
                <a16:creationId xmlns:a16="http://schemas.microsoft.com/office/drawing/2014/main" id="{14AF671A-9A1A-0348-BC43-B95E4B729FF1}"/>
              </a:ext>
            </a:extLst>
          </p:cNvPr>
          <p:cNvSpPr txBox="1"/>
          <p:nvPr/>
        </p:nvSpPr>
        <p:spPr>
          <a:xfrm>
            <a:off x="2566703" y="3089646"/>
            <a:ext cx="1661032" cy="308867"/>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SOLO-1 (olaparib)</a:t>
            </a:r>
          </a:p>
        </p:txBody>
      </p:sp>
      <p:sp>
        <p:nvSpPr>
          <p:cNvPr id="9" name="TextBox 8">
            <a:extLst>
              <a:ext uri="{FF2B5EF4-FFF2-40B4-BE49-F238E27FC236}">
                <a16:creationId xmlns:a16="http://schemas.microsoft.com/office/drawing/2014/main" id="{DA613FE2-7D9D-6C47-B9F0-5081B186BB94}"/>
              </a:ext>
            </a:extLst>
          </p:cNvPr>
          <p:cNvSpPr txBox="1"/>
          <p:nvPr/>
        </p:nvSpPr>
        <p:spPr>
          <a:xfrm>
            <a:off x="2537221" y="4244142"/>
            <a:ext cx="2445926" cy="525400"/>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PRIMA (niraparib)</a:t>
            </a: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ATHENA-MONO (rucaparib)</a:t>
            </a:r>
          </a:p>
        </p:txBody>
      </p:sp>
      <p:sp>
        <p:nvSpPr>
          <p:cNvPr id="10" name="TextBox 9">
            <a:extLst>
              <a:ext uri="{FF2B5EF4-FFF2-40B4-BE49-F238E27FC236}">
                <a16:creationId xmlns:a16="http://schemas.microsoft.com/office/drawing/2014/main" id="{D6F27204-A80A-FA4D-B3F3-97424F9FD04B}"/>
              </a:ext>
            </a:extLst>
          </p:cNvPr>
          <p:cNvSpPr txBox="1"/>
          <p:nvPr/>
        </p:nvSpPr>
        <p:spPr>
          <a:xfrm>
            <a:off x="6908753" y="4229478"/>
            <a:ext cx="2496068" cy="74193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AVANOVA2 (niraparib+/-</a:t>
            </a:r>
            <a:r>
              <a:rPr kumimoji="0" lang="en-US" sz="1407"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a:cs typeface="Arial" panose="020B0604020202020204" pitchFamily="34" charset="0"/>
              </a:rPr>
              <a:t>bev</a:t>
            </a: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a:t>
            </a:r>
          </a:p>
          <a:p>
            <a:pPr marL="0" marR="0" lvl="0" indent="0" algn="l" defTabSz="804064" rtl="0" eaLnBrk="1" fontAlgn="auto" latinLnBrk="0" hangingPunct="1">
              <a:lnSpc>
                <a:spcPct val="100000"/>
              </a:lnSpc>
              <a:spcBef>
                <a:spcPts val="0"/>
              </a:spcBef>
              <a:spcAft>
                <a:spcPts val="0"/>
              </a:spcAft>
              <a:buClrTx/>
              <a:buSzTx/>
              <a:buFontTx/>
              <a:buNone/>
              <a:tabLst/>
              <a:defRPr/>
            </a:pPr>
            <a:endPar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endParaRPr>
          </a:p>
          <a:p>
            <a:pPr marL="0" marR="0" lvl="0" indent="0" algn="l" defTabSz="804064" rtl="0" eaLnBrk="1" fontAlgn="auto" latinLnBrk="0" hangingPunct="1">
              <a:lnSpc>
                <a:spcPct val="100000"/>
              </a:lnSpc>
              <a:spcBef>
                <a:spcPts val="0"/>
              </a:spcBef>
              <a:spcAft>
                <a:spcPts val="0"/>
              </a:spcAft>
              <a:buClrTx/>
              <a:buSzTx/>
              <a:buFontTx/>
              <a:buNone/>
              <a:tabLst/>
              <a:defRPr/>
            </a:pPr>
            <a:endPar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endParaRPr>
          </a:p>
        </p:txBody>
      </p:sp>
      <p:sp>
        <p:nvSpPr>
          <p:cNvPr id="12" name="TextBox 11">
            <a:extLst>
              <a:ext uri="{FF2B5EF4-FFF2-40B4-BE49-F238E27FC236}">
                <a16:creationId xmlns:a16="http://schemas.microsoft.com/office/drawing/2014/main" id="{9A75644E-C9AC-3745-A675-7927951F7AAC}"/>
              </a:ext>
            </a:extLst>
          </p:cNvPr>
          <p:cNvSpPr txBox="1"/>
          <p:nvPr/>
        </p:nvSpPr>
        <p:spPr>
          <a:xfrm>
            <a:off x="4922220" y="3093289"/>
            <a:ext cx="1661032" cy="308867"/>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SOLO-2 (olaparib)</a:t>
            </a:r>
          </a:p>
        </p:txBody>
      </p:sp>
      <p:sp>
        <p:nvSpPr>
          <p:cNvPr id="13" name="TextBox 12">
            <a:extLst>
              <a:ext uri="{FF2B5EF4-FFF2-40B4-BE49-F238E27FC236}">
                <a16:creationId xmlns:a16="http://schemas.microsoft.com/office/drawing/2014/main" id="{7ECA1707-5A35-E24E-8343-FA8604BABD56}"/>
              </a:ext>
            </a:extLst>
          </p:cNvPr>
          <p:cNvSpPr txBox="1"/>
          <p:nvPr/>
        </p:nvSpPr>
        <p:spPr>
          <a:xfrm>
            <a:off x="4859786" y="4244800"/>
            <a:ext cx="1778051" cy="74193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Study 19 (olaparib)</a:t>
            </a: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NOVA (niraparib)</a:t>
            </a: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ARIEL3 (rucaparib) </a:t>
            </a:r>
          </a:p>
        </p:txBody>
      </p:sp>
      <p:sp>
        <p:nvSpPr>
          <p:cNvPr id="15" name="TextBox 14">
            <a:extLst>
              <a:ext uri="{FF2B5EF4-FFF2-40B4-BE49-F238E27FC236}">
                <a16:creationId xmlns:a16="http://schemas.microsoft.com/office/drawing/2014/main" id="{09E128F0-ACB1-3940-B924-6D2352440D7F}"/>
              </a:ext>
            </a:extLst>
          </p:cNvPr>
          <p:cNvSpPr txBox="1"/>
          <p:nvPr/>
        </p:nvSpPr>
        <p:spPr>
          <a:xfrm>
            <a:off x="2063525" y="3081843"/>
            <a:ext cx="485259" cy="335926"/>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III</a:t>
            </a:r>
          </a:p>
        </p:txBody>
      </p:sp>
      <p:sp>
        <p:nvSpPr>
          <p:cNvPr id="17" name="TextBox 16">
            <a:extLst>
              <a:ext uri="{FF2B5EF4-FFF2-40B4-BE49-F238E27FC236}">
                <a16:creationId xmlns:a16="http://schemas.microsoft.com/office/drawing/2014/main" id="{0DA0AA67-8697-3144-BCE4-F3A58E48B939}"/>
              </a:ext>
            </a:extLst>
          </p:cNvPr>
          <p:cNvSpPr txBox="1"/>
          <p:nvPr/>
        </p:nvSpPr>
        <p:spPr>
          <a:xfrm>
            <a:off x="6964194" y="3397968"/>
            <a:ext cx="1888337" cy="74193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ARIEL 2 (rucaparib)</a:t>
            </a:r>
          </a:p>
          <a:p>
            <a:pPr marL="0" marR="0" lvl="0" indent="0" algn="l" defTabSz="804064" rtl="0" eaLnBrk="1" fontAlgn="auto" latinLnBrk="0" hangingPunct="1">
              <a:lnSpc>
                <a:spcPct val="100000"/>
              </a:lnSpc>
              <a:spcBef>
                <a:spcPts val="0"/>
              </a:spcBef>
              <a:spcAft>
                <a:spcPts val="0"/>
              </a:spcAft>
              <a:buClrTx/>
              <a:buSzTx/>
              <a:buFontTx/>
              <a:buNone/>
              <a:tabLst/>
              <a:defRPr/>
            </a:pPr>
            <a:endParaRPr kumimoji="0" lang="en-US" sz="1407" b="0" i="0" u="none" strike="noStrike" kern="1200" cap="none" spc="0" normalizeH="0" baseline="0" noProof="0" dirty="0">
              <a:ln>
                <a:noFill/>
              </a:ln>
              <a:solidFill>
                <a:prstClr val="black"/>
              </a:solidFill>
              <a:effectLst/>
              <a:highlight>
                <a:srgbClr val="C0C0C0"/>
              </a:highlight>
              <a:uLnTx/>
              <a:uFillTx/>
              <a:latin typeface="Arial" panose="020B0604020202020204" pitchFamily="34" charset="0"/>
              <a:ea typeface="ＭＳ Ｐゴシック"/>
              <a:cs typeface="Arial" panose="020B0604020202020204" pitchFamily="34" charset="0"/>
            </a:endParaRP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QUADRA (niraparib*)</a:t>
            </a:r>
          </a:p>
        </p:txBody>
      </p:sp>
      <p:sp>
        <p:nvSpPr>
          <p:cNvPr id="18" name="TextBox 17">
            <a:extLst>
              <a:ext uri="{FF2B5EF4-FFF2-40B4-BE49-F238E27FC236}">
                <a16:creationId xmlns:a16="http://schemas.microsoft.com/office/drawing/2014/main" id="{10DE227C-40FC-7844-8A82-6266CE5AD276}"/>
              </a:ext>
            </a:extLst>
          </p:cNvPr>
          <p:cNvSpPr txBox="1"/>
          <p:nvPr/>
        </p:nvSpPr>
        <p:spPr>
          <a:xfrm>
            <a:off x="2055202" y="3399650"/>
            <a:ext cx="516996" cy="335926"/>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II</a:t>
            </a:r>
          </a:p>
        </p:txBody>
      </p:sp>
      <p:sp>
        <p:nvSpPr>
          <p:cNvPr id="19" name="TextBox 18">
            <a:extLst>
              <a:ext uri="{FF2B5EF4-FFF2-40B4-BE49-F238E27FC236}">
                <a16:creationId xmlns:a16="http://schemas.microsoft.com/office/drawing/2014/main" id="{7A700197-CC4B-6542-B725-AA25A422B59C}"/>
              </a:ext>
            </a:extLst>
          </p:cNvPr>
          <p:cNvSpPr txBox="1"/>
          <p:nvPr/>
        </p:nvSpPr>
        <p:spPr>
          <a:xfrm>
            <a:off x="2092871" y="4211896"/>
            <a:ext cx="667928" cy="335926"/>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III</a:t>
            </a:r>
          </a:p>
        </p:txBody>
      </p:sp>
      <p:sp>
        <p:nvSpPr>
          <p:cNvPr id="20" name="TextBox 19">
            <a:extLst>
              <a:ext uri="{FF2B5EF4-FFF2-40B4-BE49-F238E27FC236}">
                <a16:creationId xmlns:a16="http://schemas.microsoft.com/office/drawing/2014/main" id="{C9498233-F70E-FC4B-967B-C68E32F337C1}"/>
              </a:ext>
            </a:extLst>
          </p:cNvPr>
          <p:cNvSpPr txBox="1"/>
          <p:nvPr/>
        </p:nvSpPr>
        <p:spPr>
          <a:xfrm>
            <a:off x="2114765" y="4948338"/>
            <a:ext cx="430788" cy="335926"/>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II</a:t>
            </a:r>
          </a:p>
        </p:txBody>
      </p:sp>
      <p:sp>
        <p:nvSpPr>
          <p:cNvPr id="23" name="TextBox 22">
            <a:extLst>
              <a:ext uri="{FF2B5EF4-FFF2-40B4-BE49-F238E27FC236}">
                <a16:creationId xmlns:a16="http://schemas.microsoft.com/office/drawing/2014/main" id="{B30F3C5C-09C4-454A-9829-89DAFB9DD818}"/>
              </a:ext>
            </a:extLst>
          </p:cNvPr>
          <p:cNvSpPr txBox="1"/>
          <p:nvPr/>
        </p:nvSpPr>
        <p:spPr>
          <a:xfrm>
            <a:off x="2002908" y="2821419"/>
            <a:ext cx="756938" cy="335926"/>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Phase</a:t>
            </a:r>
          </a:p>
        </p:txBody>
      </p:sp>
      <p:sp>
        <p:nvSpPr>
          <p:cNvPr id="27" name="TextBox 26">
            <a:extLst>
              <a:ext uri="{FF2B5EF4-FFF2-40B4-BE49-F238E27FC236}">
                <a16:creationId xmlns:a16="http://schemas.microsoft.com/office/drawing/2014/main" id="{70E07F20-2692-544A-86D0-7DDB7BBEB46C}"/>
              </a:ext>
            </a:extLst>
          </p:cNvPr>
          <p:cNvSpPr txBox="1"/>
          <p:nvPr/>
        </p:nvSpPr>
        <p:spPr>
          <a:xfrm>
            <a:off x="2537223" y="4981667"/>
            <a:ext cx="2086853" cy="308867"/>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OVARIO (niraparib/bev)</a:t>
            </a:r>
          </a:p>
        </p:txBody>
      </p:sp>
      <p:sp>
        <p:nvSpPr>
          <p:cNvPr id="30" name="TextBox 29">
            <a:extLst>
              <a:ext uri="{FF2B5EF4-FFF2-40B4-BE49-F238E27FC236}">
                <a16:creationId xmlns:a16="http://schemas.microsoft.com/office/drawing/2014/main" id="{C23FF08E-FD72-45AB-AB40-C0B922D87EDA}"/>
              </a:ext>
            </a:extLst>
          </p:cNvPr>
          <p:cNvSpPr txBox="1"/>
          <p:nvPr/>
        </p:nvSpPr>
        <p:spPr>
          <a:xfrm>
            <a:off x="6966847" y="2898344"/>
            <a:ext cx="4573947" cy="525400"/>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	   ARIEL 4 (rucaparib v chemo)</a:t>
            </a: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SOLO-3 (</a:t>
            </a:r>
            <a:r>
              <a:rPr kumimoji="0" lang="en-US" sz="1407"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a:cs typeface="Arial" panose="020B0604020202020204" pitchFamily="34" charset="0"/>
              </a:rPr>
              <a:t>olaparib</a:t>
            </a: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 vs chemo)</a:t>
            </a:r>
          </a:p>
        </p:txBody>
      </p:sp>
      <p:sp>
        <p:nvSpPr>
          <p:cNvPr id="4" name="TextBox 3">
            <a:extLst>
              <a:ext uri="{FF2B5EF4-FFF2-40B4-BE49-F238E27FC236}">
                <a16:creationId xmlns:a16="http://schemas.microsoft.com/office/drawing/2014/main" id="{E789EEF3-36D8-4A14-B2BD-918106CE1108}"/>
              </a:ext>
            </a:extLst>
          </p:cNvPr>
          <p:cNvSpPr txBox="1"/>
          <p:nvPr/>
        </p:nvSpPr>
        <p:spPr>
          <a:xfrm>
            <a:off x="181023" y="3770163"/>
            <a:ext cx="1882247" cy="33855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a:cs typeface="Arial" panose="020B0604020202020204" pitchFamily="34" charset="0"/>
              </a:rPr>
              <a:t>BRCA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 or HRD)</a:t>
            </a:r>
          </a:p>
        </p:txBody>
      </p:sp>
      <p:cxnSp>
        <p:nvCxnSpPr>
          <p:cNvPr id="35" name="Straight Connector 34">
            <a:extLst>
              <a:ext uri="{FF2B5EF4-FFF2-40B4-BE49-F238E27FC236}">
                <a16:creationId xmlns:a16="http://schemas.microsoft.com/office/drawing/2014/main" id="{A2E3C77E-9D6A-4334-A8E1-66038100FF09}"/>
              </a:ext>
            </a:extLst>
          </p:cNvPr>
          <p:cNvCxnSpPr>
            <a:cxnSpLocks/>
          </p:cNvCxnSpPr>
          <p:nvPr/>
        </p:nvCxnSpPr>
        <p:spPr>
          <a:xfrm>
            <a:off x="2077506" y="3421445"/>
            <a:ext cx="928719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86E6C3D-9538-4FEF-8EF8-EFE3747662E4}"/>
              </a:ext>
            </a:extLst>
          </p:cNvPr>
          <p:cNvCxnSpPr>
            <a:cxnSpLocks/>
          </p:cNvCxnSpPr>
          <p:nvPr/>
        </p:nvCxnSpPr>
        <p:spPr>
          <a:xfrm>
            <a:off x="2120513" y="4978693"/>
            <a:ext cx="9251995" cy="598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16A59A6-916C-48C7-9F5D-FF679C1C83D0}"/>
              </a:ext>
            </a:extLst>
          </p:cNvPr>
          <p:cNvSpPr txBox="1"/>
          <p:nvPr/>
        </p:nvSpPr>
        <p:spPr>
          <a:xfrm>
            <a:off x="9261559" y="3619582"/>
            <a:ext cx="1888337" cy="525400"/>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endPar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endParaRP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QUADRA (niraparib*)</a:t>
            </a:r>
          </a:p>
        </p:txBody>
      </p:sp>
      <p:sp>
        <p:nvSpPr>
          <p:cNvPr id="3" name="TextBox 2">
            <a:extLst>
              <a:ext uri="{FF2B5EF4-FFF2-40B4-BE49-F238E27FC236}">
                <a16:creationId xmlns:a16="http://schemas.microsoft.com/office/drawing/2014/main" id="{99368F29-9048-046F-6065-37561780AB82}"/>
              </a:ext>
            </a:extLst>
          </p:cNvPr>
          <p:cNvSpPr txBox="1"/>
          <p:nvPr/>
        </p:nvSpPr>
        <p:spPr>
          <a:xfrm>
            <a:off x="295221" y="1613331"/>
            <a:ext cx="1151277" cy="33855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prstClr val="black"/>
                </a:solidFill>
                <a:effectLst/>
                <a:uLnTx/>
                <a:uFillTx/>
                <a:latin typeface="Arial"/>
                <a:ea typeface="ＭＳ Ｐゴシック"/>
                <a:cs typeface="+mn-cs"/>
              </a:rPr>
              <a:t>Population</a:t>
            </a:r>
          </a:p>
        </p:txBody>
      </p:sp>
      <p:sp>
        <p:nvSpPr>
          <p:cNvPr id="16" name="TextBox 15">
            <a:extLst>
              <a:ext uri="{FF2B5EF4-FFF2-40B4-BE49-F238E27FC236}">
                <a16:creationId xmlns:a16="http://schemas.microsoft.com/office/drawing/2014/main" id="{14F3C1EA-9513-DC04-64B9-C48481309BFF}"/>
              </a:ext>
            </a:extLst>
          </p:cNvPr>
          <p:cNvSpPr txBox="1"/>
          <p:nvPr/>
        </p:nvSpPr>
        <p:spPr>
          <a:xfrm>
            <a:off x="2519603" y="3804342"/>
            <a:ext cx="6104075" cy="318100"/>
          </a:xfrm>
          <a:prstGeom prst="rect">
            <a:avLst/>
          </a:prstGeom>
          <a:noFill/>
        </p:spPr>
        <p:txBody>
          <a:bodyPr wrap="square">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PAOLA-1 (olaparib/</a:t>
            </a:r>
            <a:r>
              <a:rPr kumimoji="0" lang="en-US" sz="1467"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a:cs typeface="Arial" panose="020B0604020202020204" pitchFamily="34" charset="0"/>
              </a:rPr>
              <a:t>bev</a:t>
            </a: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 </a:t>
            </a:r>
          </a:p>
        </p:txBody>
      </p:sp>
      <p:sp>
        <p:nvSpPr>
          <p:cNvPr id="21" name="TextBox 20">
            <a:extLst>
              <a:ext uri="{FF2B5EF4-FFF2-40B4-BE49-F238E27FC236}">
                <a16:creationId xmlns:a16="http://schemas.microsoft.com/office/drawing/2014/main" id="{BE0DECA8-446B-F9FB-A421-E7A27C08FB65}"/>
              </a:ext>
            </a:extLst>
          </p:cNvPr>
          <p:cNvSpPr txBox="1"/>
          <p:nvPr/>
        </p:nvSpPr>
        <p:spPr>
          <a:xfrm>
            <a:off x="2038377" y="3761464"/>
            <a:ext cx="667928" cy="335926"/>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III</a:t>
            </a:r>
          </a:p>
        </p:txBody>
      </p:sp>
      <p:cxnSp>
        <p:nvCxnSpPr>
          <p:cNvPr id="22" name="Straight Connector 21">
            <a:extLst>
              <a:ext uri="{FF2B5EF4-FFF2-40B4-BE49-F238E27FC236}">
                <a16:creationId xmlns:a16="http://schemas.microsoft.com/office/drawing/2014/main" id="{C7474477-8CBD-AB00-0421-10DE952C538C}"/>
              </a:ext>
            </a:extLst>
          </p:cNvPr>
          <p:cNvCxnSpPr>
            <a:cxnSpLocks/>
          </p:cNvCxnSpPr>
          <p:nvPr/>
        </p:nvCxnSpPr>
        <p:spPr>
          <a:xfrm>
            <a:off x="2139285" y="3730005"/>
            <a:ext cx="928719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F246FF-7D71-895A-E70D-88F5C3E301A2}"/>
              </a:ext>
            </a:extLst>
          </p:cNvPr>
          <p:cNvCxnSpPr>
            <a:cxnSpLocks/>
          </p:cNvCxnSpPr>
          <p:nvPr/>
        </p:nvCxnSpPr>
        <p:spPr>
          <a:xfrm>
            <a:off x="2160549" y="4175927"/>
            <a:ext cx="9287199"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623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065619" y="208873"/>
            <a:ext cx="10060763" cy="691659"/>
          </a:xfrm>
        </p:spPr>
        <p:txBody>
          <a:bodyPr>
            <a:normAutofit/>
          </a:bodyPr>
          <a:lstStyle/>
          <a:p>
            <a:pPr algn="ctr"/>
            <a:r>
              <a:rPr lang="en-US" dirty="0"/>
              <a:t>PARP Inhibitors in Ovarian Cancer 2023</a:t>
            </a:r>
          </a:p>
        </p:txBody>
      </p:sp>
      <p:graphicFrame>
        <p:nvGraphicFramePr>
          <p:cNvPr id="5" name="Diagram 4">
            <a:extLst>
              <a:ext uri="{FF2B5EF4-FFF2-40B4-BE49-F238E27FC236}">
                <a16:creationId xmlns:a16="http://schemas.microsoft.com/office/drawing/2014/main" id="{9F445816-585F-E248-903D-00CED11F8720}"/>
              </a:ext>
            </a:extLst>
          </p:cNvPr>
          <p:cNvGraphicFramePr/>
          <p:nvPr/>
        </p:nvGraphicFramePr>
        <p:xfrm>
          <a:off x="2607537" y="1243523"/>
          <a:ext cx="8795755" cy="12950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BC15319-DD5A-564F-9A27-BA39408D82D8}"/>
              </a:ext>
            </a:extLst>
          </p:cNvPr>
          <p:cNvSpPr txBox="1"/>
          <p:nvPr/>
        </p:nvSpPr>
        <p:spPr>
          <a:xfrm>
            <a:off x="344158" y="2893213"/>
            <a:ext cx="926857" cy="584775"/>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BRCA</a:t>
            </a: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mutated</a:t>
            </a:r>
          </a:p>
        </p:txBody>
      </p:sp>
      <p:sp>
        <p:nvSpPr>
          <p:cNvPr id="7" name="TextBox 6">
            <a:extLst>
              <a:ext uri="{FF2B5EF4-FFF2-40B4-BE49-F238E27FC236}">
                <a16:creationId xmlns:a16="http://schemas.microsoft.com/office/drawing/2014/main" id="{17782719-FB57-4E44-9577-C8F84145ADC8}"/>
              </a:ext>
            </a:extLst>
          </p:cNvPr>
          <p:cNvSpPr txBox="1"/>
          <p:nvPr/>
        </p:nvSpPr>
        <p:spPr>
          <a:xfrm>
            <a:off x="321510" y="4368799"/>
            <a:ext cx="1186543" cy="33855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All Comers</a:t>
            </a:r>
          </a:p>
        </p:txBody>
      </p:sp>
      <p:sp>
        <p:nvSpPr>
          <p:cNvPr id="8" name="TextBox 7">
            <a:extLst>
              <a:ext uri="{FF2B5EF4-FFF2-40B4-BE49-F238E27FC236}">
                <a16:creationId xmlns:a16="http://schemas.microsoft.com/office/drawing/2014/main" id="{14AF671A-9A1A-0348-BC43-B95E4B729FF1}"/>
              </a:ext>
            </a:extLst>
          </p:cNvPr>
          <p:cNvSpPr txBox="1"/>
          <p:nvPr/>
        </p:nvSpPr>
        <p:spPr>
          <a:xfrm>
            <a:off x="2566703" y="3089646"/>
            <a:ext cx="1661032" cy="308867"/>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SOLO-1 (olaparib)</a:t>
            </a:r>
          </a:p>
        </p:txBody>
      </p:sp>
      <p:sp>
        <p:nvSpPr>
          <p:cNvPr id="9" name="TextBox 8">
            <a:extLst>
              <a:ext uri="{FF2B5EF4-FFF2-40B4-BE49-F238E27FC236}">
                <a16:creationId xmlns:a16="http://schemas.microsoft.com/office/drawing/2014/main" id="{DA613FE2-7D9D-6C47-B9F0-5081B186BB94}"/>
              </a:ext>
            </a:extLst>
          </p:cNvPr>
          <p:cNvSpPr txBox="1"/>
          <p:nvPr/>
        </p:nvSpPr>
        <p:spPr>
          <a:xfrm>
            <a:off x="2537221" y="4244142"/>
            <a:ext cx="2445926" cy="525400"/>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PRIMA (niraparib)</a:t>
            </a: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ATHENA-MONO (rucaparib)</a:t>
            </a:r>
          </a:p>
        </p:txBody>
      </p:sp>
      <p:sp>
        <p:nvSpPr>
          <p:cNvPr id="10" name="TextBox 9">
            <a:extLst>
              <a:ext uri="{FF2B5EF4-FFF2-40B4-BE49-F238E27FC236}">
                <a16:creationId xmlns:a16="http://schemas.microsoft.com/office/drawing/2014/main" id="{D6F27204-A80A-FA4D-B3F3-97424F9FD04B}"/>
              </a:ext>
            </a:extLst>
          </p:cNvPr>
          <p:cNvSpPr txBox="1"/>
          <p:nvPr/>
        </p:nvSpPr>
        <p:spPr>
          <a:xfrm>
            <a:off x="6908753" y="4229478"/>
            <a:ext cx="2496068" cy="74193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AVANOVA2 (niraparib+/-</a:t>
            </a:r>
            <a:r>
              <a:rPr kumimoji="0" lang="en-US" sz="1407" b="0" i="0" u="none" strike="sngStrike" kern="1200" cap="none" spc="0" normalizeH="0" baseline="0" noProof="0" dirty="0" err="1">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bev</a:t>
            </a: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a:t>
            </a:r>
          </a:p>
          <a:p>
            <a:pPr marL="0" marR="0" lvl="0" indent="0" algn="l" defTabSz="804064" rtl="0" eaLnBrk="1" fontAlgn="auto" latinLnBrk="0" hangingPunct="1">
              <a:lnSpc>
                <a:spcPct val="100000"/>
              </a:lnSpc>
              <a:spcBef>
                <a:spcPts val="0"/>
              </a:spcBef>
              <a:spcAft>
                <a:spcPts val="0"/>
              </a:spcAft>
              <a:buClrTx/>
              <a:buSzTx/>
              <a:buFontTx/>
              <a:buNone/>
              <a:tabLst/>
              <a:defRPr/>
            </a:pPr>
            <a:endPar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endParaRPr>
          </a:p>
          <a:p>
            <a:pPr marL="0" marR="0" lvl="0" indent="0" algn="l" defTabSz="804064" rtl="0" eaLnBrk="1" fontAlgn="auto" latinLnBrk="0" hangingPunct="1">
              <a:lnSpc>
                <a:spcPct val="100000"/>
              </a:lnSpc>
              <a:spcBef>
                <a:spcPts val="0"/>
              </a:spcBef>
              <a:spcAft>
                <a:spcPts val="0"/>
              </a:spcAft>
              <a:buClrTx/>
              <a:buSzTx/>
              <a:buFontTx/>
              <a:buNone/>
              <a:tabLst/>
              <a:defRPr/>
            </a:pPr>
            <a:endPar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endParaRPr>
          </a:p>
        </p:txBody>
      </p:sp>
      <p:sp>
        <p:nvSpPr>
          <p:cNvPr id="12" name="TextBox 11">
            <a:extLst>
              <a:ext uri="{FF2B5EF4-FFF2-40B4-BE49-F238E27FC236}">
                <a16:creationId xmlns:a16="http://schemas.microsoft.com/office/drawing/2014/main" id="{9A75644E-C9AC-3745-A675-7927951F7AAC}"/>
              </a:ext>
            </a:extLst>
          </p:cNvPr>
          <p:cNvSpPr txBox="1"/>
          <p:nvPr/>
        </p:nvSpPr>
        <p:spPr>
          <a:xfrm>
            <a:off x="4922220" y="3093289"/>
            <a:ext cx="1661032" cy="308867"/>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SOLO-2 (olaparib)</a:t>
            </a:r>
          </a:p>
        </p:txBody>
      </p:sp>
      <p:sp>
        <p:nvSpPr>
          <p:cNvPr id="13" name="TextBox 12">
            <a:extLst>
              <a:ext uri="{FF2B5EF4-FFF2-40B4-BE49-F238E27FC236}">
                <a16:creationId xmlns:a16="http://schemas.microsoft.com/office/drawing/2014/main" id="{7ECA1707-5A35-E24E-8343-FA8604BABD56}"/>
              </a:ext>
            </a:extLst>
          </p:cNvPr>
          <p:cNvSpPr txBox="1"/>
          <p:nvPr/>
        </p:nvSpPr>
        <p:spPr>
          <a:xfrm>
            <a:off x="4859786" y="4244800"/>
            <a:ext cx="1778051" cy="74193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Study 19 (olaparib)</a:t>
            </a: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NOVA (niraparib)</a:t>
            </a: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ARIEL3 (rucaparib) </a:t>
            </a:r>
          </a:p>
        </p:txBody>
      </p:sp>
      <p:sp>
        <p:nvSpPr>
          <p:cNvPr id="15" name="TextBox 14">
            <a:extLst>
              <a:ext uri="{FF2B5EF4-FFF2-40B4-BE49-F238E27FC236}">
                <a16:creationId xmlns:a16="http://schemas.microsoft.com/office/drawing/2014/main" id="{09E128F0-ACB1-3940-B924-6D2352440D7F}"/>
              </a:ext>
            </a:extLst>
          </p:cNvPr>
          <p:cNvSpPr txBox="1"/>
          <p:nvPr/>
        </p:nvSpPr>
        <p:spPr>
          <a:xfrm>
            <a:off x="2063525" y="3081843"/>
            <a:ext cx="485259" cy="335926"/>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III</a:t>
            </a:r>
          </a:p>
        </p:txBody>
      </p:sp>
      <p:sp>
        <p:nvSpPr>
          <p:cNvPr id="17" name="TextBox 16">
            <a:extLst>
              <a:ext uri="{FF2B5EF4-FFF2-40B4-BE49-F238E27FC236}">
                <a16:creationId xmlns:a16="http://schemas.microsoft.com/office/drawing/2014/main" id="{0DA0AA67-8697-3144-BCE4-F3A58E48B939}"/>
              </a:ext>
            </a:extLst>
          </p:cNvPr>
          <p:cNvSpPr txBox="1"/>
          <p:nvPr/>
        </p:nvSpPr>
        <p:spPr>
          <a:xfrm>
            <a:off x="6964194" y="3397968"/>
            <a:ext cx="1817805" cy="74193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ARIEL 2 (rucaparib)</a:t>
            </a:r>
          </a:p>
          <a:p>
            <a:pPr marL="0" marR="0" lvl="0" indent="0" algn="l" defTabSz="804064" rtl="0" eaLnBrk="1" fontAlgn="auto" latinLnBrk="0" hangingPunct="1">
              <a:lnSpc>
                <a:spcPct val="100000"/>
              </a:lnSpc>
              <a:spcBef>
                <a:spcPts val="0"/>
              </a:spcBef>
              <a:spcAft>
                <a:spcPts val="0"/>
              </a:spcAft>
              <a:buClrTx/>
              <a:buSzTx/>
              <a:buFontTx/>
              <a:buNone/>
              <a:tabLst/>
              <a:defRPr/>
            </a:pPr>
            <a:endParaRPr kumimoji="0" lang="en-US" sz="1407" b="0" i="0" u="none" strike="noStrike" kern="1200" cap="none" spc="0" normalizeH="0" baseline="0" noProof="0" dirty="0">
              <a:ln>
                <a:noFill/>
              </a:ln>
              <a:solidFill>
                <a:prstClr val="black"/>
              </a:solidFill>
              <a:effectLst/>
              <a:highlight>
                <a:srgbClr val="C0C0C0"/>
              </a:highlight>
              <a:uLnTx/>
              <a:uFillTx/>
              <a:latin typeface="Arial" panose="020B0604020202020204" pitchFamily="34" charset="0"/>
              <a:ea typeface="ＭＳ Ｐゴシック"/>
              <a:cs typeface="Arial" panose="020B0604020202020204" pitchFamily="34" charset="0"/>
            </a:endParaRP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QUADRA (niraparib)</a:t>
            </a:r>
          </a:p>
        </p:txBody>
      </p:sp>
      <p:sp>
        <p:nvSpPr>
          <p:cNvPr id="18" name="TextBox 17">
            <a:extLst>
              <a:ext uri="{FF2B5EF4-FFF2-40B4-BE49-F238E27FC236}">
                <a16:creationId xmlns:a16="http://schemas.microsoft.com/office/drawing/2014/main" id="{10DE227C-40FC-7844-8A82-6266CE5AD276}"/>
              </a:ext>
            </a:extLst>
          </p:cNvPr>
          <p:cNvSpPr txBox="1"/>
          <p:nvPr/>
        </p:nvSpPr>
        <p:spPr>
          <a:xfrm>
            <a:off x="2055202" y="3399650"/>
            <a:ext cx="516996" cy="335926"/>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II</a:t>
            </a:r>
          </a:p>
        </p:txBody>
      </p:sp>
      <p:sp>
        <p:nvSpPr>
          <p:cNvPr id="19" name="TextBox 18">
            <a:extLst>
              <a:ext uri="{FF2B5EF4-FFF2-40B4-BE49-F238E27FC236}">
                <a16:creationId xmlns:a16="http://schemas.microsoft.com/office/drawing/2014/main" id="{7A700197-CC4B-6542-B725-AA25A422B59C}"/>
              </a:ext>
            </a:extLst>
          </p:cNvPr>
          <p:cNvSpPr txBox="1"/>
          <p:nvPr/>
        </p:nvSpPr>
        <p:spPr>
          <a:xfrm>
            <a:off x="2092871" y="4211896"/>
            <a:ext cx="667928" cy="335926"/>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III</a:t>
            </a:r>
          </a:p>
        </p:txBody>
      </p:sp>
      <p:sp>
        <p:nvSpPr>
          <p:cNvPr id="20" name="TextBox 19">
            <a:extLst>
              <a:ext uri="{FF2B5EF4-FFF2-40B4-BE49-F238E27FC236}">
                <a16:creationId xmlns:a16="http://schemas.microsoft.com/office/drawing/2014/main" id="{C9498233-F70E-FC4B-967B-C68E32F337C1}"/>
              </a:ext>
            </a:extLst>
          </p:cNvPr>
          <p:cNvSpPr txBox="1"/>
          <p:nvPr/>
        </p:nvSpPr>
        <p:spPr>
          <a:xfrm>
            <a:off x="2114765" y="4948338"/>
            <a:ext cx="430788" cy="335926"/>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II</a:t>
            </a:r>
          </a:p>
        </p:txBody>
      </p:sp>
      <p:sp>
        <p:nvSpPr>
          <p:cNvPr id="23" name="TextBox 22">
            <a:extLst>
              <a:ext uri="{FF2B5EF4-FFF2-40B4-BE49-F238E27FC236}">
                <a16:creationId xmlns:a16="http://schemas.microsoft.com/office/drawing/2014/main" id="{B30F3C5C-09C4-454A-9829-89DAFB9DD818}"/>
              </a:ext>
            </a:extLst>
          </p:cNvPr>
          <p:cNvSpPr txBox="1"/>
          <p:nvPr/>
        </p:nvSpPr>
        <p:spPr>
          <a:xfrm>
            <a:off x="2002908" y="2821419"/>
            <a:ext cx="756938" cy="335926"/>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Phase</a:t>
            </a:r>
          </a:p>
        </p:txBody>
      </p:sp>
      <p:sp>
        <p:nvSpPr>
          <p:cNvPr id="27" name="TextBox 26">
            <a:extLst>
              <a:ext uri="{FF2B5EF4-FFF2-40B4-BE49-F238E27FC236}">
                <a16:creationId xmlns:a16="http://schemas.microsoft.com/office/drawing/2014/main" id="{70E07F20-2692-544A-86D0-7DDB7BBEB46C}"/>
              </a:ext>
            </a:extLst>
          </p:cNvPr>
          <p:cNvSpPr txBox="1"/>
          <p:nvPr/>
        </p:nvSpPr>
        <p:spPr>
          <a:xfrm>
            <a:off x="2537223" y="4981667"/>
            <a:ext cx="2086853" cy="308867"/>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OVARIO (niraparib/bev)</a:t>
            </a:r>
          </a:p>
        </p:txBody>
      </p:sp>
      <p:sp>
        <p:nvSpPr>
          <p:cNvPr id="30" name="TextBox 29">
            <a:extLst>
              <a:ext uri="{FF2B5EF4-FFF2-40B4-BE49-F238E27FC236}">
                <a16:creationId xmlns:a16="http://schemas.microsoft.com/office/drawing/2014/main" id="{C23FF08E-FD72-45AB-AB40-C0B922D87EDA}"/>
              </a:ext>
            </a:extLst>
          </p:cNvPr>
          <p:cNvSpPr txBox="1"/>
          <p:nvPr/>
        </p:nvSpPr>
        <p:spPr>
          <a:xfrm>
            <a:off x="6966847" y="2898344"/>
            <a:ext cx="4573947" cy="525400"/>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	   </a:t>
            </a: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ARIEL 4 (rucaparib v chemo)</a:t>
            </a: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SOLO-3 (</a:t>
            </a:r>
            <a:r>
              <a:rPr kumimoji="0" lang="en-US" sz="1407" b="0" i="0" u="none" strike="sngStrike" kern="1200" cap="none" spc="0" normalizeH="0" baseline="0" noProof="0" dirty="0" err="1">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olaparib</a:t>
            </a: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 vs chemo)</a:t>
            </a:r>
          </a:p>
        </p:txBody>
      </p:sp>
      <p:sp>
        <p:nvSpPr>
          <p:cNvPr id="4" name="TextBox 3">
            <a:extLst>
              <a:ext uri="{FF2B5EF4-FFF2-40B4-BE49-F238E27FC236}">
                <a16:creationId xmlns:a16="http://schemas.microsoft.com/office/drawing/2014/main" id="{E789EEF3-36D8-4A14-B2BD-918106CE1108}"/>
              </a:ext>
            </a:extLst>
          </p:cNvPr>
          <p:cNvSpPr txBox="1"/>
          <p:nvPr/>
        </p:nvSpPr>
        <p:spPr>
          <a:xfrm>
            <a:off x="181023" y="3770163"/>
            <a:ext cx="1882247" cy="33855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a:cs typeface="Arial" panose="020B0604020202020204" pitchFamily="34" charset="0"/>
              </a:rPr>
              <a:t>BRCA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 or HRD)</a:t>
            </a:r>
          </a:p>
        </p:txBody>
      </p:sp>
      <p:cxnSp>
        <p:nvCxnSpPr>
          <p:cNvPr id="35" name="Straight Connector 34">
            <a:extLst>
              <a:ext uri="{FF2B5EF4-FFF2-40B4-BE49-F238E27FC236}">
                <a16:creationId xmlns:a16="http://schemas.microsoft.com/office/drawing/2014/main" id="{A2E3C77E-9D6A-4334-A8E1-66038100FF09}"/>
              </a:ext>
            </a:extLst>
          </p:cNvPr>
          <p:cNvCxnSpPr>
            <a:cxnSpLocks/>
          </p:cNvCxnSpPr>
          <p:nvPr/>
        </p:nvCxnSpPr>
        <p:spPr>
          <a:xfrm>
            <a:off x="2077506" y="3421445"/>
            <a:ext cx="928719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86E6C3D-9538-4FEF-8EF8-EFE3747662E4}"/>
              </a:ext>
            </a:extLst>
          </p:cNvPr>
          <p:cNvCxnSpPr>
            <a:cxnSpLocks/>
          </p:cNvCxnSpPr>
          <p:nvPr/>
        </p:nvCxnSpPr>
        <p:spPr>
          <a:xfrm>
            <a:off x="2120513" y="4978693"/>
            <a:ext cx="9251995" cy="598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16A59A6-916C-48C7-9F5D-FF679C1C83D0}"/>
              </a:ext>
            </a:extLst>
          </p:cNvPr>
          <p:cNvSpPr txBox="1"/>
          <p:nvPr/>
        </p:nvSpPr>
        <p:spPr>
          <a:xfrm>
            <a:off x="9261559" y="3619582"/>
            <a:ext cx="1817805" cy="525400"/>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endParaRPr kumimoji="0" lang="en-US" sz="140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endParaRPr>
          </a:p>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07" b="0" i="0" u="none" strike="sngStrike" kern="1200" cap="none" spc="0" normalizeH="0" baseline="0" noProof="0" dirty="0">
                <a:ln>
                  <a:noFill/>
                </a:ln>
                <a:solidFill>
                  <a:prstClr val="black"/>
                </a:solidFill>
                <a:effectLst/>
                <a:highlight>
                  <a:srgbClr val="FFB50D"/>
                </a:highlight>
                <a:uLnTx/>
                <a:uFillTx/>
                <a:latin typeface="Arial" panose="020B0604020202020204" pitchFamily="34" charset="0"/>
                <a:ea typeface="ＭＳ Ｐゴシック"/>
                <a:cs typeface="Arial" panose="020B0604020202020204" pitchFamily="34" charset="0"/>
              </a:rPr>
              <a:t>QUADRA (niraparib)</a:t>
            </a:r>
          </a:p>
        </p:txBody>
      </p:sp>
      <p:sp>
        <p:nvSpPr>
          <p:cNvPr id="3" name="TextBox 2">
            <a:extLst>
              <a:ext uri="{FF2B5EF4-FFF2-40B4-BE49-F238E27FC236}">
                <a16:creationId xmlns:a16="http://schemas.microsoft.com/office/drawing/2014/main" id="{99368F29-9048-046F-6065-37561780AB82}"/>
              </a:ext>
            </a:extLst>
          </p:cNvPr>
          <p:cNvSpPr txBox="1"/>
          <p:nvPr/>
        </p:nvSpPr>
        <p:spPr>
          <a:xfrm>
            <a:off x="295221" y="1613331"/>
            <a:ext cx="1151277" cy="338554"/>
          </a:xfrm>
          <a:prstGeom prst="rect">
            <a:avLst/>
          </a:prstGeom>
          <a:noFill/>
        </p:spPr>
        <p:txBody>
          <a:bodyPr wrap="non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prstClr val="black"/>
                </a:solidFill>
                <a:effectLst/>
                <a:uLnTx/>
                <a:uFillTx/>
                <a:latin typeface="Arial"/>
                <a:ea typeface="ＭＳ Ｐゴシック"/>
                <a:cs typeface="+mn-cs"/>
              </a:rPr>
              <a:t>Population</a:t>
            </a:r>
          </a:p>
        </p:txBody>
      </p:sp>
      <p:sp>
        <p:nvSpPr>
          <p:cNvPr id="16" name="TextBox 15">
            <a:extLst>
              <a:ext uri="{FF2B5EF4-FFF2-40B4-BE49-F238E27FC236}">
                <a16:creationId xmlns:a16="http://schemas.microsoft.com/office/drawing/2014/main" id="{14F3C1EA-9513-DC04-64B9-C48481309BFF}"/>
              </a:ext>
            </a:extLst>
          </p:cNvPr>
          <p:cNvSpPr txBox="1"/>
          <p:nvPr/>
        </p:nvSpPr>
        <p:spPr>
          <a:xfrm>
            <a:off x="2519603" y="3804342"/>
            <a:ext cx="6104075" cy="318100"/>
          </a:xfrm>
          <a:prstGeom prst="rect">
            <a:avLst/>
          </a:prstGeom>
          <a:noFill/>
        </p:spPr>
        <p:txBody>
          <a:bodyPr wrap="square">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PAOLA-1 (olaparib/</a:t>
            </a:r>
            <a:r>
              <a:rPr kumimoji="0" lang="en-US" sz="1467"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a:cs typeface="Arial" panose="020B0604020202020204" pitchFamily="34" charset="0"/>
              </a:rPr>
              <a:t>bev</a:t>
            </a: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 </a:t>
            </a:r>
          </a:p>
        </p:txBody>
      </p:sp>
      <p:sp>
        <p:nvSpPr>
          <p:cNvPr id="21" name="TextBox 20">
            <a:extLst>
              <a:ext uri="{FF2B5EF4-FFF2-40B4-BE49-F238E27FC236}">
                <a16:creationId xmlns:a16="http://schemas.microsoft.com/office/drawing/2014/main" id="{BE0DECA8-446B-F9FB-A421-E7A27C08FB65}"/>
              </a:ext>
            </a:extLst>
          </p:cNvPr>
          <p:cNvSpPr txBox="1"/>
          <p:nvPr/>
        </p:nvSpPr>
        <p:spPr>
          <a:xfrm>
            <a:off x="2038377" y="3761464"/>
            <a:ext cx="667928" cy="335926"/>
          </a:xfrm>
          <a:prstGeom prst="rect">
            <a:avLst/>
          </a:prstGeom>
          <a:noFill/>
        </p:spPr>
        <p:txBody>
          <a:bodyPr wrap="square" rtlCol="0">
            <a:spAutoFit/>
          </a:bodyPr>
          <a:lstStyle/>
          <a:p>
            <a:pPr marL="0" marR="0" lvl="0" indent="0" algn="l" defTabSz="80406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III</a:t>
            </a:r>
          </a:p>
        </p:txBody>
      </p:sp>
      <p:cxnSp>
        <p:nvCxnSpPr>
          <p:cNvPr id="22" name="Straight Connector 21">
            <a:extLst>
              <a:ext uri="{FF2B5EF4-FFF2-40B4-BE49-F238E27FC236}">
                <a16:creationId xmlns:a16="http://schemas.microsoft.com/office/drawing/2014/main" id="{C7474477-8CBD-AB00-0421-10DE952C538C}"/>
              </a:ext>
            </a:extLst>
          </p:cNvPr>
          <p:cNvCxnSpPr>
            <a:cxnSpLocks/>
          </p:cNvCxnSpPr>
          <p:nvPr/>
        </p:nvCxnSpPr>
        <p:spPr>
          <a:xfrm>
            <a:off x="2139285" y="3730005"/>
            <a:ext cx="928719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F246FF-7D71-895A-E70D-88F5C3E301A2}"/>
              </a:ext>
            </a:extLst>
          </p:cNvPr>
          <p:cNvCxnSpPr>
            <a:cxnSpLocks/>
          </p:cNvCxnSpPr>
          <p:nvPr/>
        </p:nvCxnSpPr>
        <p:spPr>
          <a:xfrm>
            <a:off x="2160549" y="4175927"/>
            <a:ext cx="928719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19497C72-B46F-F9FA-A6D7-AFC9F7B48DD4}"/>
              </a:ext>
            </a:extLst>
          </p:cNvPr>
          <p:cNvSpPr txBox="1">
            <a:spLocks/>
          </p:cNvSpPr>
          <p:nvPr/>
        </p:nvSpPr>
        <p:spPr bwMode="auto">
          <a:xfrm>
            <a:off x="1268819" y="412073"/>
            <a:ext cx="10060763" cy="691659"/>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b" anchorCtr="0" compatLnSpc="1">
            <a:prstTxWarp prst="textNoShape">
              <a:avLst/>
            </a:prstTxWarp>
            <a:normAutofit/>
          </a:bodyPr>
          <a:lstStyle>
            <a:lvl1pPr algn="l" rtl="0" eaLnBrk="0" fontAlgn="base" hangingPunct="0">
              <a:lnSpc>
                <a:spcPct val="90000"/>
              </a:lnSpc>
              <a:spcBef>
                <a:spcPct val="0"/>
              </a:spcBef>
              <a:spcAft>
                <a:spcPct val="0"/>
              </a:spcAft>
              <a:defRPr sz="2400" b="1" i="0" baseline="0">
                <a:solidFill>
                  <a:schemeClr val="bg1"/>
                </a:solidFill>
                <a:latin typeface="Arial" panose="020B0604020202020204" pitchFamily="34" charset="0"/>
                <a:ea typeface="+mj-ea"/>
                <a:cs typeface="ＭＳ Ｐゴシック" charset="0"/>
              </a:defRPr>
            </a:lvl1pPr>
            <a:lvl2pPr algn="l" rtl="0" eaLnBrk="0" fontAlgn="base" hangingPunct="0">
              <a:spcBef>
                <a:spcPct val="0"/>
              </a:spcBef>
              <a:spcAft>
                <a:spcPct val="0"/>
              </a:spcAft>
              <a:defRPr sz="3200">
                <a:solidFill>
                  <a:schemeClr val="tx1"/>
                </a:solidFill>
                <a:latin typeface="Times" charset="0"/>
                <a:ea typeface="ＭＳ Ｐゴシック" charset="0"/>
                <a:cs typeface="ＭＳ Ｐゴシック" charset="0"/>
              </a:defRPr>
            </a:lvl2pPr>
            <a:lvl3pPr algn="l" rtl="0" eaLnBrk="0" fontAlgn="base" hangingPunct="0">
              <a:spcBef>
                <a:spcPct val="0"/>
              </a:spcBef>
              <a:spcAft>
                <a:spcPct val="0"/>
              </a:spcAft>
              <a:defRPr sz="3200">
                <a:solidFill>
                  <a:schemeClr val="tx1"/>
                </a:solidFill>
                <a:latin typeface="Times" charset="0"/>
                <a:ea typeface="ＭＳ Ｐゴシック" charset="0"/>
                <a:cs typeface="ＭＳ Ｐゴシック" charset="0"/>
              </a:defRPr>
            </a:lvl3pPr>
            <a:lvl4pPr algn="l" rtl="0" eaLnBrk="0" fontAlgn="base" hangingPunct="0">
              <a:spcBef>
                <a:spcPct val="0"/>
              </a:spcBef>
              <a:spcAft>
                <a:spcPct val="0"/>
              </a:spcAft>
              <a:defRPr sz="3200">
                <a:solidFill>
                  <a:schemeClr val="tx1"/>
                </a:solidFill>
                <a:latin typeface="Times" charset="0"/>
                <a:ea typeface="ＭＳ Ｐゴシック" charset="0"/>
                <a:cs typeface="ＭＳ Ｐゴシック" charset="0"/>
              </a:defRPr>
            </a:lvl4pPr>
            <a:lvl5pPr algn="l" rtl="0" eaLnBrk="0" fontAlgn="base" hangingPunct="0">
              <a:spcBef>
                <a:spcPct val="0"/>
              </a:spcBef>
              <a:spcAft>
                <a:spcPct val="0"/>
              </a:spcAft>
              <a:defRPr sz="3200">
                <a:solidFill>
                  <a:schemeClr val="tx1"/>
                </a:solidFill>
                <a:latin typeface="Times" charset="0"/>
                <a:ea typeface="ＭＳ Ｐゴシック" charset="0"/>
                <a:cs typeface="ＭＳ Ｐゴシック" charset="0"/>
              </a:defRPr>
            </a:lvl5pPr>
            <a:lvl6pPr marL="457189" algn="l" rtl="0" fontAlgn="base">
              <a:spcBef>
                <a:spcPct val="0"/>
              </a:spcBef>
              <a:spcAft>
                <a:spcPct val="0"/>
              </a:spcAft>
              <a:defRPr sz="3200">
                <a:solidFill>
                  <a:schemeClr val="tx1"/>
                </a:solidFill>
                <a:latin typeface="Arial" charset="0"/>
                <a:ea typeface="ＭＳ Ｐゴシック" charset="0"/>
              </a:defRPr>
            </a:lvl6pPr>
            <a:lvl7pPr marL="914377" algn="l" rtl="0" fontAlgn="base">
              <a:spcBef>
                <a:spcPct val="0"/>
              </a:spcBef>
              <a:spcAft>
                <a:spcPct val="0"/>
              </a:spcAft>
              <a:defRPr sz="3200">
                <a:solidFill>
                  <a:schemeClr val="tx1"/>
                </a:solidFill>
                <a:latin typeface="Arial" charset="0"/>
                <a:ea typeface="ＭＳ Ｐゴシック" charset="0"/>
              </a:defRPr>
            </a:lvl7pPr>
            <a:lvl8pPr marL="1371566" algn="l" rtl="0" fontAlgn="base">
              <a:spcBef>
                <a:spcPct val="0"/>
              </a:spcBef>
              <a:spcAft>
                <a:spcPct val="0"/>
              </a:spcAft>
              <a:defRPr sz="3200">
                <a:solidFill>
                  <a:schemeClr val="tx1"/>
                </a:solidFill>
                <a:latin typeface="Arial" charset="0"/>
                <a:ea typeface="ＭＳ Ｐゴシック" charset="0"/>
              </a:defRPr>
            </a:lvl8pPr>
            <a:lvl9pPr marL="1828754" algn="l" rtl="0" fontAlgn="base">
              <a:spcBef>
                <a:spcPct val="0"/>
              </a:spcBef>
              <a:spcAft>
                <a:spcPct val="0"/>
              </a:spcAft>
              <a:defRPr sz="3200">
                <a:solidFill>
                  <a:schemeClr val="tx1"/>
                </a:solidFill>
                <a:latin typeface="Arial" charset="0"/>
                <a:ea typeface="ＭＳ Ｐゴシック" charset="0"/>
              </a:defRPr>
            </a:lvl9pPr>
          </a:lstStyle>
          <a:p>
            <a:pPr marL="0" marR="0" lvl="0" indent="0" algn="ctr" defTabSz="1219170" rtl="0" eaLnBrk="0" fontAlgn="base" latinLnBrk="0" hangingPunct="0">
              <a:lnSpc>
                <a:spcPct val="90000"/>
              </a:lnSpc>
              <a:spcBef>
                <a:spcPct val="0"/>
              </a:spcBef>
              <a:spcAft>
                <a:spcPct val="0"/>
              </a:spcAft>
              <a:buClrTx/>
              <a:buSzTx/>
              <a:buFontTx/>
              <a:buNone/>
              <a:tabLst/>
              <a:defRPr/>
            </a:pPr>
            <a:r>
              <a:rPr kumimoji="0" lang="en-US" sz="3733" b="1" i="0" u="none" strike="noStrike" kern="0" cap="none" spc="0" normalizeH="0" baseline="0" noProof="0" dirty="0">
                <a:ln>
                  <a:noFill/>
                </a:ln>
                <a:solidFill>
                  <a:srgbClr val="7030A0"/>
                </a:solidFill>
                <a:effectLst/>
                <a:uLnTx/>
                <a:uFillTx/>
                <a:latin typeface="Arial Narrow" panose="020B0606020202030204" pitchFamily="34" charset="0"/>
                <a:ea typeface="ＭＳ Ｐゴシック"/>
              </a:rPr>
              <a:t>PARP Inhibitors in Ovarian Cancer 2026</a:t>
            </a:r>
          </a:p>
        </p:txBody>
      </p:sp>
    </p:spTree>
    <p:extLst>
      <p:ext uri="{BB962C8B-B14F-4D97-AF65-F5344CB8AC3E}">
        <p14:creationId xmlns:p14="http://schemas.microsoft.com/office/powerpoint/2010/main" val="5181287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2"/>
          <p:cNvSpPr/>
          <p:nvPr/>
        </p:nvSpPr>
        <p:spPr>
          <a:xfrm>
            <a:off x="482993" y="148492"/>
            <a:ext cx="8645377" cy="103632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PARP Inhibitor Toxicity Profile</a:t>
            </a:r>
            <a:endParaRPr kumimoji="0" lang="en-US" sz="3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5" name="Text 3"/>
          <p:cNvSpPr/>
          <p:nvPr/>
        </p:nvSpPr>
        <p:spPr>
          <a:xfrm>
            <a:off x="482992" y="1306732"/>
            <a:ext cx="11338560" cy="54864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267" b="1" i="0" u="none" strike="noStrike" kern="0" cap="none" spc="133"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Olaparib  and  Niraparib — Spectrum, Incidence &amp; Severity</a:t>
            </a:r>
            <a:endParaRPr kumimoji="0" lang="en-US" sz="2267" b="1"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6" name="Shape 4"/>
          <p:cNvSpPr/>
          <p:nvPr/>
        </p:nvSpPr>
        <p:spPr>
          <a:xfrm>
            <a:off x="426720" y="2292096"/>
            <a:ext cx="5486400" cy="48768"/>
          </a:xfrm>
          <a:prstGeom prst="rect">
            <a:avLst/>
          </a:prstGeom>
          <a:solidFill>
            <a:srgbClr val="14A097"/>
          </a:solidFill>
          <a:ln w="12700">
            <a:solidFill>
              <a:srgbClr val="14A097"/>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7" name="Shape 5"/>
          <p:cNvSpPr/>
          <p:nvPr/>
        </p:nvSpPr>
        <p:spPr>
          <a:xfrm>
            <a:off x="426720" y="2560320"/>
            <a:ext cx="2682240" cy="670560"/>
          </a:xfrm>
          <a:prstGeom prst="rect">
            <a:avLst/>
          </a:prstGeom>
          <a:solidFill>
            <a:srgbClr val="1B6CA8"/>
          </a:solidFill>
          <a:ln w="12700">
            <a:solidFill>
              <a:srgbClr val="1B6CA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8" name="Text 6"/>
          <p:cNvSpPr/>
          <p:nvPr/>
        </p:nvSpPr>
        <p:spPr>
          <a:xfrm>
            <a:off x="426720" y="2560320"/>
            <a:ext cx="2682240" cy="670560"/>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white"/>
                </a:solidFill>
                <a:effectLst/>
                <a:uLnTx/>
                <a:uFillTx/>
                <a:latin typeface="Arial Narrow" panose="020B0606020202030204" pitchFamily="34" charset="0"/>
                <a:ea typeface="Calibri" pitchFamily="34" charset="-122"/>
                <a:cs typeface="Calibri" pitchFamily="34" charset="-120"/>
              </a:rPr>
              <a:t>Olaparib</a:t>
            </a:r>
            <a:endParaRPr kumimoji="0" lang="en-US" sz="2667"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9" name="Shape 7"/>
          <p:cNvSpPr/>
          <p:nvPr/>
        </p:nvSpPr>
        <p:spPr>
          <a:xfrm>
            <a:off x="3291840" y="2560320"/>
            <a:ext cx="2682240" cy="670560"/>
          </a:xfrm>
          <a:prstGeom prst="rect">
            <a:avLst/>
          </a:prstGeom>
          <a:solidFill>
            <a:srgbClr val="8B2FC9"/>
          </a:solidFill>
          <a:ln w="12700">
            <a:solidFill>
              <a:srgbClr val="8B2FC9"/>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0" name="Text 8"/>
          <p:cNvSpPr/>
          <p:nvPr/>
        </p:nvSpPr>
        <p:spPr>
          <a:xfrm>
            <a:off x="3291840" y="2560320"/>
            <a:ext cx="2682240" cy="670560"/>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white"/>
                </a:solidFill>
                <a:effectLst/>
                <a:uLnTx/>
                <a:uFillTx/>
                <a:latin typeface="Arial Narrow" panose="020B0606020202030204" pitchFamily="34" charset="0"/>
                <a:ea typeface="Calibri" pitchFamily="34" charset="-122"/>
                <a:cs typeface="Calibri" pitchFamily="34" charset="-120"/>
              </a:rPr>
              <a:t>Niraparib</a:t>
            </a:r>
            <a:endParaRPr kumimoji="0" lang="en-US" sz="2667"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1" name="Shape 9"/>
          <p:cNvSpPr/>
          <p:nvPr/>
        </p:nvSpPr>
        <p:spPr>
          <a:xfrm>
            <a:off x="426720" y="3535680"/>
            <a:ext cx="5608320" cy="1645920"/>
          </a:xfrm>
          <a:prstGeom prst="rect">
            <a:avLst/>
          </a:prstGeom>
          <a:solidFill>
            <a:srgbClr val="1E3A5F"/>
          </a:solidFill>
          <a:ln w="12700">
            <a:solidFill>
              <a:srgbClr val="0D7377"/>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2" name="Text 10"/>
          <p:cNvSpPr/>
          <p:nvPr/>
        </p:nvSpPr>
        <p:spPr>
          <a:xfrm>
            <a:off x="670560" y="3621024"/>
            <a:ext cx="5120640" cy="1463040"/>
          </a:xfrm>
          <a:prstGeom prst="rect">
            <a:avLst/>
          </a:prstGeom>
          <a:noFill/>
          <a:ln/>
        </p:spPr>
        <p:txBody>
          <a:bodyPr wrap="square"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Arial Narrow" panose="020B0606020202030204" pitchFamily="34" charset="0"/>
                <a:ea typeface="Calibri" pitchFamily="34" charset="-122"/>
                <a:cs typeface="Calibri" pitchFamily="34" charset="-120"/>
              </a:rPr>
              <a:t>PARP inhibitors trap PARP-1/2 at DNA single-strand breaks, causing replication fork collapse. In BRCA1/2-deficient tumors, defective homologous recombination prevents repair → synthetic lethality.</a:t>
            </a:r>
            <a:endParaRPr kumimoji="0" lang="en-US" sz="32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3" name="Text 11"/>
          <p:cNvSpPr/>
          <p:nvPr/>
        </p:nvSpPr>
        <p:spPr>
          <a:xfrm>
            <a:off x="6705600" y="2438400"/>
            <a:ext cx="4876800" cy="48768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black"/>
                </a:solidFill>
                <a:effectLst/>
                <a:uLnTx/>
                <a:uFillTx/>
                <a:latin typeface="Arial Narrow" panose="020B0606020202030204" pitchFamily="34" charset="0"/>
                <a:ea typeface="Calibri" pitchFamily="34" charset="-122"/>
                <a:cs typeface="Calibri" pitchFamily="34" charset="-120"/>
              </a:rPr>
              <a:t>Toxicity Categories</a:t>
            </a:r>
            <a:endParaRPr kumimoji="0" lang="en-US" sz="3733"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4" name="Shape 12"/>
          <p:cNvSpPr/>
          <p:nvPr/>
        </p:nvSpPr>
        <p:spPr>
          <a:xfrm>
            <a:off x="6705600" y="3048000"/>
            <a:ext cx="304800" cy="426720"/>
          </a:xfrm>
          <a:prstGeom prst="rect">
            <a:avLst/>
          </a:prstGeom>
          <a:solidFill>
            <a:srgbClr val="D64045"/>
          </a:solidFill>
          <a:ln w="12700">
            <a:solidFill>
              <a:srgbClr val="D64045"/>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5" name="Text 13"/>
          <p:cNvSpPr/>
          <p:nvPr/>
        </p:nvSpPr>
        <p:spPr>
          <a:xfrm>
            <a:off x="7132320" y="3048000"/>
            <a:ext cx="4511040" cy="42672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Arial Narrow" panose="020B0606020202030204" pitchFamily="34" charset="0"/>
                <a:ea typeface="Calibri" pitchFamily="34" charset="-122"/>
                <a:cs typeface="Calibri" pitchFamily="34" charset="-120"/>
              </a:rPr>
              <a:t>Hematologic  </a:t>
            </a:r>
            <a:r>
              <a:rPr kumimoji="0" lang="en-US" sz="1867" b="0" i="1" u="none" strike="noStrike" kern="1200" cap="none" spc="0" normalizeH="0" baseline="0" noProof="0" dirty="0">
                <a:ln>
                  <a:noFill/>
                </a:ln>
                <a:solidFill>
                  <a:prstClr val="black"/>
                </a:solidFill>
                <a:effectLst/>
                <a:uLnTx/>
                <a:uFillTx/>
                <a:latin typeface="Arial Narrow" panose="020B0606020202030204" pitchFamily="34" charset="0"/>
                <a:ea typeface="Calibri" pitchFamily="34" charset="-122"/>
                <a:cs typeface="Calibri" pitchFamily="34" charset="-120"/>
              </a:rPr>
              <a:t>Most common; dose-limiting</a:t>
            </a:r>
            <a:endParaRPr kumimoji="0" lang="en-US" sz="26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6" name="Shape 14"/>
          <p:cNvSpPr/>
          <p:nvPr/>
        </p:nvSpPr>
        <p:spPr>
          <a:xfrm>
            <a:off x="6705600" y="3730752"/>
            <a:ext cx="304800" cy="426720"/>
          </a:xfrm>
          <a:prstGeom prst="rect">
            <a:avLst/>
          </a:prstGeom>
          <a:solidFill>
            <a:srgbClr val="E8A838"/>
          </a:solidFill>
          <a:ln w="12700">
            <a:solidFill>
              <a:srgbClr val="E8A83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7" name="Text 15"/>
          <p:cNvSpPr/>
          <p:nvPr/>
        </p:nvSpPr>
        <p:spPr>
          <a:xfrm>
            <a:off x="7132320" y="3730752"/>
            <a:ext cx="4511040" cy="42672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Arial Narrow" panose="020B0606020202030204" pitchFamily="34" charset="0"/>
                <a:ea typeface="Calibri" pitchFamily="34" charset="-122"/>
                <a:cs typeface="Calibri" pitchFamily="34" charset="-120"/>
              </a:rPr>
              <a:t>GI / Nausea  </a:t>
            </a:r>
            <a:r>
              <a:rPr kumimoji="0" lang="en-US" sz="1867" b="0" i="1" u="none" strike="noStrike" kern="1200" cap="none" spc="0" normalizeH="0" baseline="0" noProof="0" dirty="0">
                <a:ln>
                  <a:noFill/>
                </a:ln>
                <a:solidFill>
                  <a:prstClr val="black"/>
                </a:solidFill>
                <a:effectLst/>
                <a:uLnTx/>
                <a:uFillTx/>
                <a:latin typeface="Arial Narrow" panose="020B0606020202030204" pitchFamily="34" charset="0"/>
                <a:ea typeface="Calibri" pitchFamily="34" charset="-122"/>
                <a:cs typeface="Calibri" pitchFamily="34" charset="-120"/>
              </a:rPr>
              <a:t>Class effect; manageable</a:t>
            </a:r>
            <a:endParaRPr kumimoji="0" lang="en-US" sz="26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8" name="Shape 16"/>
          <p:cNvSpPr/>
          <p:nvPr/>
        </p:nvSpPr>
        <p:spPr>
          <a:xfrm>
            <a:off x="6705600" y="4413504"/>
            <a:ext cx="304800" cy="426720"/>
          </a:xfrm>
          <a:prstGeom prst="rect">
            <a:avLst/>
          </a:prstGeom>
          <a:solidFill>
            <a:srgbClr val="0D7377"/>
          </a:solidFill>
          <a:ln w="12700">
            <a:solidFill>
              <a:srgbClr val="0D7377"/>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9" name="Text 17"/>
          <p:cNvSpPr/>
          <p:nvPr/>
        </p:nvSpPr>
        <p:spPr>
          <a:xfrm>
            <a:off x="7132320" y="4413504"/>
            <a:ext cx="4511040" cy="42672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Arial Narrow" panose="020B0606020202030204" pitchFamily="34" charset="0"/>
                <a:ea typeface="Calibri" pitchFamily="34" charset="-122"/>
                <a:cs typeface="Calibri" pitchFamily="34" charset="-120"/>
              </a:rPr>
              <a:t>Fatigue  </a:t>
            </a:r>
            <a:r>
              <a:rPr kumimoji="0" lang="en-US" sz="1867" b="0" i="1" u="none" strike="noStrike" kern="1200" cap="none" spc="0" normalizeH="0" baseline="0" noProof="0" dirty="0">
                <a:ln>
                  <a:noFill/>
                </a:ln>
                <a:solidFill>
                  <a:prstClr val="black"/>
                </a:solidFill>
                <a:effectLst/>
                <a:uLnTx/>
                <a:uFillTx/>
                <a:latin typeface="Arial Narrow" panose="020B0606020202030204" pitchFamily="34" charset="0"/>
                <a:ea typeface="Calibri" pitchFamily="34" charset="-122"/>
                <a:cs typeface="Calibri" pitchFamily="34" charset="-120"/>
              </a:rPr>
              <a:t>Class effect; variable</a:t>
            </a:r>
            <a:endParaRPr kumimoji="0" lang="en-US" sz="26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0" name="Shape 18"/>
          <p:cNvSpPr/>
          <p:nvPr/>
        </p:nvSpPr>
        <p:spPr>
          <a:xfrm>
            <a:off x="6705600" y="5096256"/>
            <a:ext cx="304800" cy="426720"/>
          </a:xfrm>
          <a:prstGeom prst="rect">
            <a:avLst/>
          </a:prstGeom>
          <a:solidFill>
            <a:srgbClr val="8B2FC9"/>
          </a:solidFill>
          <a:ln w="12700">
            <a:solidFill>
              <a:srgbClr val="8B2FC9"/>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1" name="Text 19"/>
          <p:cNvSpPr/>
          <p:nvPr/>
        </p:nvSpPr>
        <p:spPr>
          <a:xfrm>
            <a:off x="7132320" y="5096256"/>
            <a:ext cx="4511040" cy="42672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Arial Narrow" panose="020B0606020202030204" pitchFamily="34" charset="0"/>
                <a:ea typeface="Calibri" pitchFamily="34" charset="-122"/>
                <a:cs typeface="Calibri" pitchFamily="34" charset="-120"/>
              </a:rPr>
              <a:t>Agent-Specific  </a:t>
            </a:r>
            <a:r>
              <a:rPr kumimoji="0" lang="en-US" sz="1867" b="0" i="1" u="none" strike="noStrike" kern="1200" cap="none" spc="0" normalizeH="0" baseline="0" noProof="0" dirty="0">
                <a:ln>
                  <a:noFill/>
                </a:ln>
                <a:solidFill>
                  <a:prstClr val="black"/>
                </a:solidFill>
                <a:effectLst/>
                <a:uLnTx/>
                <a:uFillTx/>
                <a:latin typeface="Arial Narrow" panose="020B0606020202030204" pitchFamily="34" charset="0"/>
                <a:ea typeface="Calibri" pitchFamily="34" charset="-122"/>
                <a:cs typeface="Calibri" pitchFamily="34" charset="-120"/>
              </a:rPr>
              <a:t>Distinct per drug</a:t>
            </a:r>
            <a:endParaRPr kumimoji="0" lang="en-US" sz="26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2" name="Shape 20"/>
          <p:cNvSpPr/>
          <p:nvPr/>
        </p:nvSpPr>
        <p:spPr>
          <a:xfrm>
            <a:off x="6705600" y="5779008"/>
            <a:ext cx="304800" cy="426720"/>
          </a:xfrm>
          <a:prstGeom prst="rect">
            <a:avLst/>
          </a:prstGeom>
          <a:solidFill>
            <a:srgbClr val="2C3E50"/>
          </a:solidFill>
          <a:ln w="12700">
            <a:solidFill>
              <a:srgbClr val="2C3E5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3" name="Text 21"/>
          <p:cNvSpPr/>
          <p:nvPr/>
        </p:nvSpPr>
        <p:spPr>
          <a:xfrm>
            <a:off x="7132320" y="5779008"/>
            <a:ext cx="4511040" cy="42672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Arial Narrow" panose="020B0606020202030204" pitchFamily="34" charset="0"/>
                <a:ea typeface="Calibri" pitchFamily="34" charset="-122"/>
                <a:cs typeface="Calibri" pitchFamily="34" charset="-120"/>
              </a:rPr>
              <a:t>Rare / Serious  </a:t>
            </a:r>
            <a:r>
              <a:rPr kumimoji="0" lang="en-US" sz="1867" b="0" i="1" u="none" strike="noStrike" kern="1200" cap="none" spc="0" normalizeH="0" baseline="0" noProof="0" dirty="0">
                <a:ln>
                  <a:noFill/>
                </a:ln>
                <a:solidFill>
                  <a:prstClr val="black"/>
                </a:solidFill>
                <a:effectLst/>
                <a:uLnTx/>
                <a:uFillTx/>
                <a:latin typeface="Arial Narrow" panose="020B0606020202030204" pitchFamily="34" charset="0"/>
                <a:ea typeface="Calibri" pitchFamily="34" charset="-122"/>
                <a:cs typeface="Calibri" pitchFamily="34" charset="-120"/>
              </a:rPr>
              <a:t>MDS/AML, pneumonitis</a:t>
            </a:r>
            <a:endParaRPr kumimoji="0" lang="en-US" sz="26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2"/>
          <p:cNvSpPr/>
          <p:nvPr/>
        </p:nvSpPr>
        <p:spPr>
          <a:xfrm>
            <a:off x="426720" y="0"/>
            <a:ext cx="8534400" cy="67056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Class-Wide Toxicities</a:t>
            </a:r>
            <a:endParaRPr kumimoji="0" lang="en-US" sz="3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5" name="Text 3"/>
          <p:cNvSpPr/>
          <p:nvPr/>
        </p:nvSpPr>
        <p:spPr>
          <a:xfrm>
            <a:off x="426719" y="755904"/>
            <a:ext cx="9413471" cy="36576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2060"/>
                </a:solidFill>
                <a:effectLst/>
                <a:uLnTx/>
                <a:uFillTx/>
                <a:latin typeface="Arial Narrow" panose="020B0606020202030204" pitchFamily="34" charset="0"/>
                <a:ea typeface="Calibri" pitchFamily="34" charset="-122"/>
                <a:cs typeface="Calibri" pitchFamily="34" charset="-120"/>
              </a:rPr>
              <a:t>Shared adverse effects seen with both olaparib and niraparib</a:t>
            </a:r>
            <a:endParaRPr kumimoji="0" lang="en-US" sz="32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aphicFrame>
        <p:nvGraphicFramePr>
          <p:cNvPr id="6" name="Chart 0"/>
          <p:cNvGraphicFramePr/>
          <p:nvPr/>
        </p:nvGraphicFramePr>
        <p:xfrm>
          <a:off x="426720" y="1365504"/>
          <a:ext cx="6705600" cy="4389120"/>
        </p:xfrm>
        <a:graphic>
          <a:graphicData uri="http://schemas.openxmlformats.org/drawingml/2006/chart">
            <c:chart xmlns:c="http://schemas.openxmlformats.org/drawingml/2006/chart" xmlns:r="http://schemas.openxmlformats.org/officeDocument/2006/relationships" r:id="rId3"/>
          </a:graphicData>
        </a:graphic>
      </p:graphicFrame>
      <p:sp>
        <p:nvSpPr>
          <p:cNvPr id="7" name="Shape 4"/>
          <p:cNvSpPr/>
          <p:nvPr/>
        </p:nvSpPr>
        <p:spPr>
          <a:xfrm>
            <a:off x="7437120" y="1365504"/>
            <a:ext cx="4328160" cy="1365504"/>
          </a:xfrm>
          <a:prstGeom prst="rect">
            <a:avLst/>
          </a:prstGeom>
          <a:solidFill>
            <a:srgbClr val="FFFFFF"/>
          </a:solidFill>
          <a:ln w="12700">
            <a:solidFill>
              <a:srgbClr val="E8ECF1"/>
            </a:solidFill>
            <a:prstDash val="solid"/>
          </a:ln>
          <a:effectLst>
            <a:outerShdw blurRad="50800" dist="25400" dir="8100000" algn="bl" rotWithShape="0">
              <a:srgbClr val="000000">
                <a:alpha val="8000"/>
              </a:srgbClr>
            </a:outerShdw>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8" name="Shape 5"/>
          <p:cNvSpPr/>
          <p:nvPr/>
        </p:nvSpPr>
        <p:spPr>
          <a:xfrm>
            <a:off x="7437120" y="1365504"/>
            <a:ext cx="73152" cy="1365504"/>
          </a:xfrm>
          <a:prstGeom prst="rect">
            <a:avLst/>
          </a:prstGeom>
          <a:solidFill>
            <a:srgbClr val="E8A838"/>
          </a:solidFill>
          <a:ln w="12700">
            <a:solidFill>
              <a:srgbClr val="E8A83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9" name="Text 6"/>
          <p:cNvSpPr/>
          <p:nvPr/>
        </p:nvSpPr>
        <p:spPr>
          <a:xfrm>
            <a:off x="7607808" y="1426464"/>
            <a:ext cx="402336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1A2B4A"/>
                </a:solidFill>
                <a:effectLst/>
                <a:uLnTx/>
                <a:uFillTx/>
                <a:latin typeface="Arial Narrow" panose="020B0606020202030204" pitchFamily="34" charset="0"/>
                <a:ea typeface="Calibri" pitchFamily="34" charset="-122"/>
                <a:cs typeface="Calibri" pitchFamily="34" charset="-120"/>
              </a:rPr>
              <a:t>Nausea / Vomiting</a:t>
            </a:r>
            <a:endParaRPr kumimoji="0" lang="en-US" sz="26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0" name="Text 7"/>
          <p:cNvSpPr/>
          <p:nvPr/>
        </p:nvSpPr>
        <p:spPr>
          <a:xfrm>
            <a:off x="7607808" y="1755648"/>
            <a:ext cx="402336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E8A838"/>
                </a:solidFill>
                <a:effectLst/>
                <a:uLnTx/>
                <a:uFillTx/>
                <a:latin typeface="Arial Narrow" panose="020B0606020202030204" pitchFamily="34" charset="0"/>
                <a:ea typeface="Calibri" pitchFamily="34" charset="-122"/>
                <a:cs typeface="Calibri" pitchFamily="34" charset="-120"/>
              </a:rPr>
              <a:t>G1-2: ~60-70%  </a:t>
            </a:r>
            <a:r>
              <a:rPr kumimoji="0" lang="en-US" sz="1867" b="1" i="0" u="none" strike="noStrike" kern="1200" cap="none" spc="0" normalizeH="0" baseline="0" noProof="0" dirty="0">
                <a:ln>
                  <a:noFill/>
                </a:ln>
                <a:solidFill>
                  <a:srgbClr val="D64045"/>
                </a:solidFill>
                <a:effectLst/>
                <a:uLnTx/>
                <a:uFillTx/>
                <a:latin typeface="Arial Narrow" panose="020B0606020202030204" pitchFamily="34" charset="0"/>
                <a:ea typeface="Calibri" pitchFamily="34" charset="-122"/>
                <a:cs typeface="Calibri" pitchFamily="34" charset="-120"/>
              </a:rPr>
              <a:t>G3-4: &lt;5%</a:t>
            </a:r>
            <a:endParaRPr kumimoji="0" lang="en-US" sz="18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1" name="Text 8"/>
          <p:cNvSpPr/>
          <p:nvPr/>
        </p:nvSpPr>
        <p:spPr>
          <a:xfrm>
            <a:off x="7607808" y="2023872"/>
            <a:ext cx="402336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Prophylactic antiemetics (ondansetron); take with food. Usually peaks in first weeks, attenuates over time.</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2" name="Shape 9"/>
          <p:cNvSpPr/>
          <p:nvPr/>
        </p:nvSpPr>
        <p:spPr>
          <a:xfrm>
            <a:off x="7437120" y="2852928"/>
            <a:ext cx="4328160" cy="1365504"/>
          </a:xfrm>
          <a:prstGeom prst="rect">
            <a:avLst/>
          </a:prstGeom>
          <a:solidFill>
            <a:srgbClr val="FFFFFF"/>
          </a:solidFill>
          <a:ln w="12700">
            <a:solidFill>
              <a:srgbClr val="E8ECF1"/>
            </a:solidFill>
            <a:prstDash val="solid"/>
          </a:ln>
          <a:effectLst>
            <a:outerShdw blurRad="50800" dist="25400" dir="8100000" algn="bl" rotWithShape="0">
              <a:srgbClr val="000000">
                <a:alpha val="8000"/>
              </a:srgbClr>
            </a:outerShdw>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3" name="Shape 10"/>
          <p:cNvSpPr/>
          <p:nvPr/>
        </p:nvSpPr>
        <p:spPr>
          <a:xfrm>
            <a:off x="7437120" y="2852928"/>
            <a:ext cx="73152" cy="1365504"/>
          </a:xfrm>
          <a:prstGeom prst="rect">
            <a:avLst/>
          </a:prstGeom>
          <a:solidFill>
            <a:srgbClr val="0D7377"/>
          </a:solidFill>
          <a:ln w="12700">
            <a:solidFill>
              <a:srgbClr val="0D7377"/>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4" name="Text 11"/>
          <p:cNvSpPr/>
          <p:nvPr/>
        </p:nvSpPr>
        <p:spPr>
          <a:xfrm>
            <a:off x="7607808" y="2913888"/>
            <a:ext cx="402336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1A2B4A"/>
                </a:solidFill>
                <a:effectLst/>
                <a:uLnTx/>
                <a:uFillTx/>
                <a:latin typeface="Arial Narrow" panose="020B0606020202030204" pitchFamily="34" charset="0"/>
                <a:ea typeface="Calibri" pitchFamily="34" charset="-122"/>
                <a:cs typeface="Calibri" pitchFamily="34" charset="-120"/>
              </a:rPr>
              <a:t>Fatigue / Asthenia</a:t>
            </a:r>
            <a:endParaRPr kumimoji="0" lang="en-US" sz="26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5" name="Text 12"/>
          <p:cNvSpPr/>
          <p:nvPr/>
        </p:nvSpPr>
        <p:spPr>
          <a:xfrm>
            <a:off x="7607808" y="3243072"/>
            <a:ext cx="402336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D7377"/>
                </a:solidFill>
                <a:effectLst/>
                <a:uLnTx/>
                <a:uFillTx/>
                <a:latin typeface="Arial Narrow" panose="020B0606020202030204" pitchFamily="34" charset="0"/>
                <a:ea typeface="Calibri" pitchFamily="34" charset="-122"/>
                <a:cs typeface="Calibri" pitchFamily="34" charset="-120"/>
              </a:rPr>
              <a:t>G1-2: ~55-60%  </a:t>
            </a:r>
            <a:r>
              <a:rPr kumimoji="0" lang="en-US" sz="1867" b="1" i="0" u="none" strike="noStrike" kern="1200" cap="none" spc="0" normalizeH="0" baseline="0" noProof="0" dirty="0">
                <a:ln>
                  <a:noFill/>
                </a:ln>
                <a:solidFill>
                  <a:srgbClr val="D64045"/>
                </a:solidFill>
                <a:effectLst/>
                <a:uLnTx/>
                <a:uFillTx/>
                <a:latin typeface="Arial Narrow" panose="020B0606020202030204" pitchFamily="34" charset="0"/>
                <a:ea typeface="Calibri" pitchFamily="34" charset="-122"/>
                <a:cs typeface="Calibri" pitchFamily="34" charset="-120"/>
              </a:rPr>
              <a:t>G3-4: 5-10%</a:t>
            </a:r>
            <a:endParaRPr kumimoji="0" lang="en-US" sz="18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6" name="Text 13"/>
          <p:cNvSpPr/>
          <p:nvPr/>
        </p:nvSpPr>
        <p:spPr>
          <a:xfrm>
            <a:off x="7607808" y="3511296"/>
            <a:ext cx="402336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Multifactorial. Rule out anemia. Activity pacing; dose reduction for G3.</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7" name="Shape 14"/>
          <p:cNvSpPr/>
          <p:nvPr/>
        </p:nvSpPr>
        <p:spPr>
          <a:xfrm>
            <a:off x="7437120" y="4340352"/>
            <a:ext cx="4328160" cy="1365504"/>
          </a:xfrm>
          <a:prstGeom prst="rect">
            <a:avLst/>
          </a:prstGeom>
          <a:solidFill>
            <a:srgbClr val="FFFFFF"/>
          </a:solidFill>
          <a:ln w="12700">
            <a:solidFill>
              <a:srgbClr val="E8ECF1"/>
            </a:solidFill>
            <a:prstDash val="solid"/>
          </a:ln>
          <a:effectLst>
            <a:outerShdw blurRad="50800" dist="25400" dir="8100000" algn="bl" rotWithShape="0">
              <a:srgbClr val="000000">
                <a:alpha val="8000"/>
              </a:srgbClr>
            </a:outerShdw>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8" name="Shape 15"/>
          <p:cNvSpPr/>
          <p:nvPr/>
        </p:nvSpPr>
        <p:spPr>
          <a:xfrm>
            <a:off x="7437120" y="4340352"/>
            <a:ext cx="73152" cy="1365504"/>
          </a:xfrm>
          <a:prstGeom prst="rect">
            <a:avLst/>
          </a:prstGeom>
          <a:solidFill>
            <a:srgbClr val="D64045"/>
          </a:solidFill>
          <a:ln w="12700">
            <a:solidFill>
              <a:srgbClr val="D64045"/>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9" name="Text 16"/>
          <p:cNvSpPr/>
          <p:nvPr/>
        </p:nvSpPr>
        <p:spPr>
          <a:xfrm>
            <a:off x="7607808" y="4401312"/>
            <a:ext cx="402336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1A2B4A"/>
                </a:solidFill>
                <a:effectLst/>
                <a:uLnTx/>
                <a:uFillTx/>
                <a:latin typeface="Arial Narrow" panose="020B0606020202030204" pitchFamily="34" charset="0"/>
                <a:ea typeface="Calibri" pitchFamily="34" charset="-122"/>
                <a:cs typeface="Calibri" pitchFamily="34" charset="-120"/>
              </a:rPr>
              <a:t>Anemia</a:t>
            </a:r>
            <a:endParaRPr kumimoji="0" lang="en-US" sz="26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0" name="Text 17"/>
          <p:cNvSpPr/>
          <p:nvPr/>
        </p:nvSpPr>
        <p:spPr>
          <a:xfrm>
            <a:off x="7607808" y="4730496"/>
            <a:ext cx="402336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D64045"/>
                </a:solidFill>
                <a:effectLst/>
                <a:uLnTx/>
                <a:uFillTx/>
                <a:latin typeface="Arial Narrow" panose="020B0606020202030204" pitchFamily="34" charset="0"/>
                <a:ea typeface="Calibri" pitchFamily="34" charset="-122"/>
                <a:cs typeface="Calibri" pitchFamily="34" charset="-120"/>
              </a:rPr>
              <a:t>G1-2: ~30-35%  G3-4: 15-25%</a:t>
            </a:r>
            <a:endParaRPr kumimoji="0" lang="en-US" sz="18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1" name="Text 18"/>
          <p:cNvSpPr/>
          <p:nvPr/>
        </p:nvSpPr>
        <p:spPr>
          <a:xfrm>
            <a:off x="7607808" y="4998720"/>
            <a:ext cx="402336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Monitor CBC q4wks × 1yr then monthly. Transfusion or ESA support; hold/reduce for G3-4.</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2" name="Text 19"/>
          <p:cNvSpPr/>
          <p:nvPr/>
        </p:nvSpPr>
        <p:spPr>
          <a:xfrm>
            <a:off x="351693" y="6309360"/>
            <a:ext cx="11338560" cy="30480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2060"/>
                </a:solidFill>
                <a:effectLst/>
                <a:uLnTx/>
                <a:uFillTx/>
                <a:latin typeface="Arial Narrow" panose="020B0606020202030204" pitchFamily="34" charset="0"/>
                <a:ea typeface="Calibri" pitchFamily="34" charset="-122"/>
                <a:cs typeface="Calibri" pitchFamily="34" charset="-120"/>
              </a:rPr>
              <a:t>Source: SOLO-1, NOVA, PRIMA trials. Incidence values are approximate all-grade rates.</a:t>
            </a:r>
            <a:endParaRPr kumimoji="0" lang="en-US"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63874C-DE27-F96C-B17B-7E91A08C496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l="24420" t="41590" r="40921" b="28073"/>
          <a:stretch>
            <a:fillRect/>
          </a:stretch>
        </p:blipFill>
        <p:spPr>
          <a:xfrm>
            <a:off x="2050758" y="1768001"/>
            <a:ext cx="7694669" cy="4490065"/>
          </a:xfrm>
          <a:prstGeom prst="rect">
            <a:avLst/>
          </a:prstGeom>
        </p:spPr>
      </p:pic>
      <p:sp>
        <p:nvSpPr>
          <p:cNvPr id="2" name="Text 0">
            <a:extLst>
              <a:ext uri="{FF2B5EF4-FFF2-40B4-BE49-F238E27FC236}">
                <a16:creationId xmlns:a16="http://schemas.microsoft.com/office/drawing/2014/main" id="{78AB3BF7-8437-471B-3E22-446D4B071569}"/>
              </a:ext>
            </a:extLst>
          </p:cNvPr>
          <p:cNvSpPr/>
          <p:nvPr/>
        </p:nvSpPr>
        <p:spPr>
          <a:xfrm>
            <a:off x="476739" y="332043"/>
            <a:ext cx="10728960" cy="914400"/>
          </a:xfrm>
          <a:prstGeom prst="rect">
            <a:avLst/>
          </a:prstGeom>
          <a:noFill/>
          <a:ln/>
        </p:spPr>
        <p:txBody>
          <a:bodyPr wrap="square"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Adverse Reactions From the Primary Analysis in</a:t>
            </a:r>
            <a:endParaRPr kumimoji="0" lang="en-US" sz="3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SOLO-1 Were Mostly Grades 1 and 2</a:t>
            </a:r>
            <a:endParaRPr kumimoji="0" lang="en-US" sz="3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 name="Text 178">
            <a:extLst>
              <a:ext uri="{FF2B5EF4-FFF2-40B4-BE49-F238E27FC236}">
                <a16:creationId xmlns:a16="http://schemas.microsoft.com/office/drawing/2014/main" id="{36F196D7-BA10-F7A4-BBBB-8BFF1090B74C}"/>
              </a:ext>
            </a:extLst>
          </p:cNvPr>
          <p:cNvSpPr/>
          <p:nvPr/>
        </p:nvSpPr>
        <p:spPr>
          <a:xfrm>
            <a:off x="228812" y="6525957"/>
            <a:ext cx="11338560" cy="182880"/>
          </a:xfrm>
          <a:prstGeom prst="rect">
            <a:avLst/>
          </a:prstGeom>
          <a:noFill/>
          <a:ln/>
        </p:spPr>
        <p:txBody>
          <a:bodyPr wrap="square"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2060"/>
                </a:solidFill>
                <a:effectLst/>
                <a:uLnTx/>
                <a:uFillTx/>
                <a:latin typeface="Calibri" pitchFamily="34" charset="0"/>
                <a:ea typeface="Calibri" pitchFamily="34" charset="-122"/>
                <a:cs typeface="Calibri" pitchFamily="34" charset="-120"/>
              </a:rPr>
              <a:t>Olaparib prescribing information. 2025.</a:t>
            </a:r>
            <a:endParaRPr kumimoji="0" lang="en-US" sz="1400" b="0" i="1"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AC90D451-E3BC-0C60-E2CA-F1C7D8F6369A}"/>
              </a:ext>
            </a:extLst>
          </p:cNvPr>
          <p:cNvSpPr txBox="1"/>
          <p:nvPr/>
        </p:nvSpPr>
        <p:spPr>
          <a:xfrm>
            <a:off x="2446573" y="1768001"/>
            <a:ext cx="2223398" cy="276999"/>
          </a:xfrm>
          <a:prstGeom prst="rect">
            <a:avLst/>
          </a:prstGeom>
          <a:solidFill>
            <a:schemeClr val="bg1"/>
          </a:solidFill>
        </p:spPr>
        <p:txBody>
          <a:bodyPr wrap="non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verse reactions</a:t>
            </a:r>
          </a:p>
        </p:txBody>
      </p:sp>
      <p:sp>
        <p:nvSpPr>
          <p:cNvPr id="6" name="TextBox 5">
            <a:extLst>
              <a:ext uri="{FF2B5EF4-FFF2-40B4-BE49-F238E27FC236}">
                <a16:creationId xmlns:a16="http://schemas.microsoft.com/office/drawing/2014/main" id="{560EF8D0-293A-D8E6-D85A-312AACAE56F3}"/>
              </a:ext>
            </a:extLst>
          </p:cNvPr>
          <p:cNvSpPr txBox="1"/>
          <p:nvPr/>
        </p:nvSpPr>
        <p:spPr>
          <a:xfrm>
            <a:off x="2468345" y="2617087"/>
            <a:ext cx="1406970" cy="276999"/>
          </a:xfrm>
          <a:prstGeom prst="rect">
            <a:avLst/>
          </a:prstGeom>
          <a:solidFill>
            <a:schemeClr val="bg1"/>
          </a:solidFill>
        </p:spPr>
        <p:txBody>
          <a:bodyPr wrap="non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tigue</a:t>
            </a:r>
          </a:p>
        </p:txBody>
      </p:sp>
      <p:sp>
        <p:nvSpPr>
          <p:cNvPr id="7" name="TextBox 6">
            <a:extLst>
              <a:ext uri="{FF2B5EF4-FFF2-40B4-BE49-F238E27FC236}">
                <a16:creationId xmlns:a16="http://schemas.microsoft.com/office/drawing/2014/main" id="{4C9E6BE4-B44B-C2E0-8FAB-EDF19987285E}"/>
              </a:ext>
            </a:extLst>
          </p:cNvPr>
          <p:cNvSpPr txBox="1"/>
          <p:nvPr/>
        </p:nvSpPr>
        <p:spPr>
          <a:xfrm>
            <a:off x="2468345" y="3059150"/>
            <a:ext cx="1406970" cy="276999"/>
          </a:xfrm>
          <a:prstGeom prst="rect">
            <a:avLst/>
          </a:prstGeom>
          <a:solidFill>
            <a:schemeClr val="bg1"/>
          </a:solidFill>
        </p:spPr>
        <p:txBody>
          <a:bodyPr wrap="non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dominal pain</a:t>
            </a:r>
          </a:p>
        </p:txBody>
      </p:sp>
      <p:sp>
        <p:nvSpPr>
          <p:cNvPr id="8" name="TextBox 7">
            <a:extLst>
              <a:ext uri="{FF2B5EF4-FFF2-40B4-BE49-F238E27FC236}">
                <a16:creationId xmlns:a16="http://schemas.microsoft.com/office/drawing/2014/main" id="{E6B75136-175E-4B40-1BF1-B18E21F3945A}"/>
              </a:ext>
            </a:extLst>
          </p:cNvPr>
          <p:cNvSpPr txBox="1"/>
          <p:nvPr/>
        </p:nvSpPr>
        <p:spPr>
          <a:xfrm>
            <a:off x="2468345" y="4324429"/>
            <a:ext cx="1406970" cy="276999"/>
          </a:xfrm>
          <a:prstGeom prst="rect">
            <a:avLst/>
          </a:prstGeom>
          <a:solidFill>
            <a:schemeClr val="bg1"/>
          </a:solidFill>
        </p:spPr>
        <p:txBody>
          <a:bodyPr wrap="non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rrhea</a:t>
            </a:r>
          </a:p>
        </p:txBody>
      </p:sp>
    </p:spTree>
    <p:extLst>
      <p:ext uri="{BB962C8B-B14F-4D97-AF65-F5344CB8AC3E}">
        <p14:creationId xmlns:p14="http://schemas.microsoft.com/office/powerpoint/2010/main" val="1064765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2"/>
          <p:cNvSpPr/>
          <p:nvPr/>
        </p:nvSpPr>
        <p:spPr>
          <a:xfrm>
            <a:off x="426720" y="121920"/>
            <a:ext cx="8534400" cy="67056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Agent-Specific &amp; Serious Toxicities</a:t>
            </a:r>
            <a:endParaRPr kumimoji="0" lang="en-US" sz="3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5" name="Text 3"/>
          <p:cNvSpPr/>
          <p:nvPr/>
        </p:nvSpPr>
        <p:spPr>
          <a:xfrm>
            <a:off x="426720" y="755904"/>
            <a:ext cx="9144000" cy="36576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2060"/>
                </a:solidFill>
                <a:effectLst/>
                <a:uLnTx/>
                <a:uFillTx/>
                <a:latin typeface="Arial Narrow" panose="020B0606020202030204" pitchFamily="34" charset="0"/>
                <a:ea typeface="Calibri" pitchFamily="34" charset="-122"/>
                <a:cs typeface="Calibri" pitchFamily="34" charset="-120"/>
              </a:rPr>
              <a:t>Distinguishing features and clinically important rare adverse events</a:t>
            </a:r>
            <a:endParaRPr kumimoji="0" lang="en-US" sz="2133"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sp>
        <p:nvSpPr>
          <p:cNvPr id="6" name="Shape 4"/>
          <p:cNvSpPr/>
          <p:nvPr/>
        </p:nvSpPr>
        <p:spPr>
          <a:xfrm>
            <a:off x="304800" y="1365504"/>
            <a:ext cx="5303520" cy="463296"/>
          </a:xfrm>
          <a:prstGeom prst="rect">
            <a:avLst/>
          </a:prstGeom>
          <a:solidFill>
            <a:srgbClr val="1B6CA8"/>
          </a:solidFill>
          <a:ln w="12700">
            <a:solidFill>
              <a:srgbClr val="1B6CA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7" name="Text 5"/>
          <p:cNvSpPr/>
          <p:nvPr/>
        </p:nvSpPr>
        <p:spPr>
          <a:xfrm>
            <a:off x="304800" y="1365504"/>
            <a:ext cx="5303520" cy="463296"/>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FFFFFF"/>
                </a:solidFill>
                <a:effectLst/>
                <a:uLnTx/>
                <a:uFillTx/>
                <a:latin typeface="Arial Narrow" panose="020B0606020202030204" pitchFamily="34" charset="0"/>
                <a:ea typeface="Calibri" pitchFamily="34" charset="-122"/>
                <a:cs typeface="Calibri" pitchFamily="34" charset="-120"/>
              </a:rPr>
              <a:t>Olaparib — Agent-Specific</a:t>
            </a:r>
            <a:endParaRPr kumimoji="0" lang="en-US" sz="26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8" name="Shape 6"/>
          <p:cNvSpPr/>
          <p:nvPr/>
        </p:nvSpPr>
        <p:spPr>
          <a:xfrm>
            <a:off x="304800" y="1926336"/>
            <a:ext cx="5303520" cy="707136"/>
          </a:xfrm>
          <a:prstGeom prst="rect">
            <a:avLst/>
          </a:prstGeom>
          <a:solidFill>
            <a:srgbClr val="FFFFFF"/>
          </a:solidFill>
          <a:ln w="12700">
            <a:solidFill>
              <a:srgbClr val="E8ECF1"/>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9" name="Text 7"/>
          <p:cNvSpPr/>
          <p:nvPr/>
        </p:nvSpPr>
        <p:spPr>
          <a:xfrm>
            <a:off x="426720" y="1962912"/>
            <a:ext cx="353568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B6CA8"/>
                </a:solidFill>
                <a:effectLst/>
                <a:uLnTx/>
                <a:uFillTx/>
                <a:latin typeface="Arial Narrow" panose="020B0606020202030204" pitchFamily="34" charset="0"/>
                <a:ea typeface="Calibri" pitchFamily="34" charset="-122"/>
                <a:cs typeface="Calibri" pitchFamily="34" charset="-120"/>
              </a:rPr>
              <a:t>Pneumonitis</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Rare; hold drug. CT chest. Corticosteroids if confirmed. Can be fatal.</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0" name="Shape 8"/>
          <p:cNvSpPr/>
          <p:nvPr/>
        </p:nvSpPr>
        <p:spPr>
          <a:xfrm>
            <a:off x="4023360" y="2072640"/>
            <a:ext cx="1463040" cy="341376"/>
          </a:xfrm>
          <a:prstGeom prst="rect">
            <a:avLst/>
          </a:prstGeom>
          <a:solidFill>
            <a:srgbClr val="D6E8FA"/>
          </a:solidFill>
          <a:ln w="12700">
            <a:solidFill>
              <a:srgbClr val="A8CEE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1" name="Text 9"/>
          <p:cNvSpPr/>
          <p:nvPr/>
        </p:nvSpPr>
        <p:spPr>
          <a:xfrm>
            <a:off x="4023360" y="2072640"/>
            <a:ext cx="1463040" cy="341376"/>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B6CA8"/>
                </a:solidFill>
                <a:effectLst/>
                <a:uLnTx/>
                <a:uFillTx/>
                <a:latin typeface="Arial Narrow" panose="020B0606020202030204" pitchFamily="34" charset="0"/>
                <a:ea typeface="Calibri" pitchFamily="34" charset="-122"/>
                <a:cs typeface="Calibri" pitchFamily="34" charset="-120"/>
              </a:rPr>
              <a:t>~1%</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2" name="Shape 10"/>
          <p:cNvSpPr/>
          <p:nvPr/>
        </p:nvSpPr>
        <p:spPr>
          <a:xfrm>
            <a:off x="304800" y="2657856"/>
            <a:ext cx="5303520" cy="707136"/>
          </a:xfrm>
          <a:prstGeom prst="rect">
            <a:avLst/>
          </a:prstGeom>
          <a:solidFill>
            <a:srgbClr val="EEF2F8"/>
          </a:solidFill>
          <a:ln w="12700">
            <a:solidFill>
              <a:srgbClr val="E8ECF1"/>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3" name="Text 11"/>
          <p:cNvSpPr/>
          <p:nvPr/>
        </p:nvSpPr>
        <p:spPr>
          <a:xfrm>
            <a:off x="426720" y="2694432"/>
            <a:ext cx="353568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B6CA8"/>
                </a:solidFill>
                <a:effectLst/>
                <a:uLnTx/>
                <a:uFillTx/>
                <a:latin typeface="Arial Narrow" panose="020B0606020202030204" pitchFamily="34" charset="0"/>
                <a:ea typeface="Calibri" pitchFamily="34" charset="-122"/>
                <a:cs typeface="Calibri" pitchFamily="34" charset="-120"/>
              </a:rPr>
              <a:t>Elevated Creatinine</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Non-progressive; monitor renal function. Mechanism unclear.</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4" name="Shape 12"/>
          <p:cNvSpPr/>
          <p:nvPr/>
        </p:nvSpPr>
        <p:spPr>
          <a:xfrm>
            <a:off x="4023360" y="2804160"/>
            <a:ext cx="1463040" cy="341376"/>
          </a:xfrm>
          <a:prstGeom prst="rect">
            <a:avLst/>
          </a:prstGeom>
          <a:solidFill>
            <a:srgbClr val="D6E8FA"/>
          </a:solidFill>
          <a:ln w="12700">
            <a:solidFill>
              <a:srgbClr val="A8CEE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5" name="Text 13"/>
          <p:cNvSpPr/>
          <p:nvPr/>
        </p:nvSpPr>
        <p:spPr>
          <a:xfrm>
            <a:off x="4023360" y="2804160"/>
            <a:ext cx="1463040" cy="341376"/>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B6CA8"/>
                </a:solidFill>
                <a:effectLst/>
                <a:uLnTx/>
                <a:uFillTx/>
                <a:latin typeface="Arial Narrow" panose="020B0606020202030204" pitchFamily="34" charset="0"/>
                <a:ea typeface="Calibri" pitchFamily="34" charset="-122"/>
                <a:cs typeface="Calibri" pitchFamily="34" charset="-120"/>
              </a:rPr>
              <a:t>~20%</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6" name="Shape 14"/>
          <p:cNvSpPr/>
          <p:nvPr/>
        </p:nvSpPr>
        <p:spPr>
          <a:xfrm>
            <a:off x="304800" y="3389376"/>
            <a:ext cx="5303520" cy="707136"/>
          </a:xfrm>
          <a:prstGeom prst="rect">
            <a:avLst/>
          </a:prstGeom>
          <a:solidFill>
            <a:srgbClr val="FFFFFF"/>
          </a:solidFill>
          <a:ln w="12700">
            <a:solidFill>
              <a:srgbClr val="E8ECF1"/>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7" name="Text 15"/>
          <p:cNvSpPr/>
          <p:nvPr/>
        </p:nvSpPr>
        <p:spPr>
          <a:xfrm>
            <a:off x="426720" y="3425952"/>
            <a:ext cx="353568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B6CA8"/>
                </a:solidFill>
                <a:effectLst/>
                <a:uLnTx/>
                <a:uFillTx/>
                <a:latin typeface="Arial Narrow" panose="020B0606020202030204" pitchFamily="34" charset="0"/>
                <a:ea typeface="Calibri" pitchFamily="34" charset="-122"/>
                <a:cs typeface="Calibri" pitchFamily="34" charset="-120"/>
              </a:rPr>
              <a:t>Headache</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Usually G1-2; analgesics PRN. Rarely requires dose modification.</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8" name="Shape 16"/>
          <p:cNvSpPr/>
          <p:nvPr/>
        </p:nvSpPr>
        <p:spPr>
          <a:xfrm>
            <a:off x="4023360" y="3535680"/>
            <a:ext cx="1463040" cy="341376"/>
          </a:xfrm>
          <a:prstGeom prst="rect">
            <a:avLst/>
          </a:prstGeom>
          <a:solidFill>
            <a:srgbClr val="D6E8FA"/>
          </a:solidFill>
          <a:ln w="12700">
            <a:solidFill>
              <a:srgbClr val="A8CEE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9" name="Text 17"/>
          <p:cNvSpPr/>
          <p:nvPr/>
        </p:nvSpPr>
        <p:spPr>
          <a:xfrm>
            <a:off x="4023360" y="3535680"/>
            <a:ext cx="1463040" cy="341376"/>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B6CA8"/>
                </a:solidFill>
                <a:effectLst/>
                <a:uLnTx/>
                <a:uFillTx/>
                <a:latin typeface="Arial Narrow" panose="020B0606020202030204" pitchFamily="34" charset="0"/>
                <a:ea typeface="Calibri" pitchFamily="34" charset="-122"/>
                <a:cs typeface="Calibri" pitchFamily="34" charset="-120"/>
              </a:rPr>
              <a:t>~24%</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0" name="Shape 18"/>
          <p:cNvSpPr/>
          <p:nvPr/>
        </p:nvSpPr>
        <p:spPr>
          <a:xfrm>
            <a:off x="304800" y="4120896"/>
            <a:ext cx="5303520" cy="707136"/>
          </a:xfrm>
          <a:prstGeom prst="rect">
            <a:avLst/>
          </a:prstGeom>
          <a:solidFill>
            <a:srgbClr val="EEF2F8"/>
          </a:solidFill>
          <a:ln w="12700">
            <a:solidFill>
              <a:srgbClr val="E8ECF1"/>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1" name="Text 19"/>
          <p:cNvSpPr/>
          <p:nvPr/>
        </p:nvSpPr>
        <p:spPr>
          <a:xfrm>
            <a:off x="426720" y="4157472"/>
            <a:ext cx="353568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B6CA8"/>
                </a:solidFill>
                <a:effectLst/>
                <a:uLnTx/>
                <a:uFillTx/>
                <a:latin typeface="Arial Narrow" panose="020B0606020202030204" pitchFamily="34" charset="0"/>
                <a:ea typeface="Calibri" pitchFamily="34" charset="-122"/>
                <a:cs typeface="Calibri" pitchFamily="34" charset="-120"/>
              </a:rPr>
              <a:t>MDS / AML</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Serious long-term risk. Monitor CBC; refer hematology if cytopenias persist &gt;4 wks.</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2" name="Shape 20"/>
          <p:cNvSpPr/>
          <p:nvPr/>
        </p:nvSpPr>
        <p:spPr>
          <a:xfrm>
            <a:off x="4023360" y="4267200"/>
            <a:ext cx="1463040" cy="341376"/>
          </a:xfrm>
          <a:prstGeom prst="rect">
            <a:avLst/>
          </a:prstGeom>
          <a:solidFill>
            <a:srgbClr val="D6E8FA"/>
          </a:solidFill>
          <a:ln w="12700">
            <a:solidFill>
              <a:srgbClr val="A8CEE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3" name="Text 21"/>
          <p:cNvSpPr/>
          <p:nvPr/>
        </p:nvSpPr>
        <p:spPr>
          <a:xfrm>
            <a:off x="4023360" y="4267200"/>
            <a:ext cx="1463040" cy="341376"/>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B6CA8"/>
                </a:solidFill>
                <a:effectLst/>
                <a:uLnTx/>
                <a:uFillTx/>
                <a:latin typeface="Arial Narrow" panose="020B0606020202030204" pitchFamily="34" charset="0"/>
                <a:ea typeface="Calibri" pitchFamily="34" charset="-122"/>
                <a:cs typeface="Calibri" pitchFamily="34" charset="-120"/>
              </a:rPr>
              <a:t>~1-1.5%</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4" name="Shape 22"/>
          <p:cNvSpPr/>
          <p:nvPr/>
        </p:nvSpPr>
        <p:spPr>
          <a:xfrm>
            <a:off x="304800" y="4852416"/>
            <a:ext cx="5303520" cy="707136"/>
          </a:xfrm>
          <a:prstGeom prst="rect">
            <a:avLst/>
          </a:prstGeom>
          <a:solidFill>
            <a:srgbClr val="FFFFFF"/>
          </a:solidFill>
          <a:ln w="12700">
            <a:solidFill>
              <a:srgbClr val="E8ECF1"/>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 name="Text 23"/>
          <p:cNvSpPr/>
          <p:nvPr/>
        </p:nvSpPr>
        <p:spPr>
          <a:xfrm>
            <a:off x="426720" y="4888992"/>
            <a:ext cx="353568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B6CA8"/>
                </a:solidFill>
                <a:effectLst/>
                <a:uLnTx/>
                <a:uFillTx/>
                <a:latin typeface="Arial Narrow" panose="020B0606020202030204" pitchFamily="34" charset="0"/>
                <a:ea typeface="Calibri" pitchFamily="34" charset="-122"/>
                <a:cs typeface="Calibri" pitchFamily="34" charset="-120"/>
              </a:rPr>
              <a:t>Embryo-fetal toxicity</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Teratogenic. Contraception required during + 6 months after treatment.</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6" name="Shape 24"/>
          <p:cNvSpPr/>
          <p:nvPr/>
        </p:nvSpPr>
        <p:spPr>
          <a:xfrm>
            <a:off x="4023360" y="4998720"/>
            <a:ext cx="1463040" cy="341376"/>
          </a:xfrm>
          <a:prstGeom prst="rect">
            <a:avLst/>
          </a:prstGeom>
          <a:solidFill>
            <a:srgbClr val="D6E8FA"/>
          </a:solidFill>
          <a:ln w="12700">
            <a:solidFill>
              <a:srgbClr val="A8CEE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7" name="Text 25"/>
          <p:cNvSpPr/>
          <p:nvPr/>
        </p:nvSpPr>
        <p:spPr>
          <a:xfrm>
            <a:off x="4023360" y="4998720"/>
            <a:ext cx="1463040" cy="341376"/>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B6CA8"/>
                </a:solidFill>
                <a:effectLst/>
                <a:uLnTx/>
                <a:uFillTx/>
                <a:latin typeface="Arial Narrow" panose="020B0606020202030204" pitchFamily="34" charset="0"/>
                <a:ea typeface="Calibri" pitchFamily="34" charset="-122"/>
                <a:cs typeface="Calibri" pitchFamily="34" charset="-120"/>
              </a:rPr>
              <a:t>N/A</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8" name="Shape 26"/>
          <p:cNvSpPr/>
          <p:nvPr/>
        </p:nvSpPr>
        <p:spPr>
          <a:xfrm>
            <a:off x="5974080" y="1365504"/>
            <a:ext cx="5913120" cy="463296"/>
          </a:xfrm>
          <a:prstGeom prst="rect">
            <a:avLst/>
          </a:prstGeom>
          <a:solidFill>
            <a:srgbClr val="8B2FC9"/>
          </a:solidFill>
          <a:ln w="12700">
            <a:solidFill>
              <a:srgbClr val="8B2FC9"/>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9" name="Text 27"/>
          <p:cNvSpPr/>
          <p:nvPr/>
        </p:nvSpPr>
        <p:spPr>
          <a:xfrm>
            <a:off x="5974080" y="1365504"/>
            <a:ext cx="5913120" cy="463296"/>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FFFFFF"/>
                </a:solidFill>
                <a:effectLst/>
                <a:uLnTx/>
                <a:uFillTx/>
                <a:latin typeface="Arial Narrow" panose="020B0606020202030204" pitchFamily="34" charset="0"/>
                <a:ea typeface="Calibri" pitchFamily="34" charset="-122"/>
                <a:cs typeface="Calibri" pitchFamily="34" charset="-120"/>
              </a:rPr>
              <a:t>Niraparib — Agent-Specific</a:t>
            </a:r>
            <a:endParaRPr kumimoji="0" lang="en-US" sz="26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30" name="Shape 28"/>
          <p:cNvSpPr/>
          <p:nvPr/>
        </p:nvSpPr>
        <p:spPr>
          <a:xfrm>
            <a:off x="5974080" y="1926336"/>
            <a:ext cx="5913120" cy="707136"/>
          </a:xfrm>
          <a:prstGeom prst="rect">
            <a:avLst/>
          </a:prstGeom>
          <a:solidFill>
            <a:srgbClr val="FFFFFF"/>
          </a:solidFill>
          <a:ln w="12700">
            <a:solidFill>
              <a:srgbClr val="E8ECF1"/>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31" name="Text 29"/>
          <p:cNvSpPr/>
          <p:nvPr/>
        </p:nvSpPr>
        <p:spPr>
          <a:xfrm>
            <a:off x="6096000" y="1962912"/>
            <a:ext cx="3962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Thrombocytopenia
</a:t>
            </a:r>
            <a:r>
              <a:rPr kumimoji="0" lang="en-US" sz="1467"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Most common dose-limiting toxicity. Individualized start dose by weight/platelet count. </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32" name="Shape 30"/>
          <p:cNvSpPr/>
          <p:nvPr/>
        </p:nvSpPr>
        <p:spPr>
          <a:xfrm>
            <a:off x="10180320" y="2023872"/>
            <a:ext cx="1584960" cy="512064"/>
          </a:xfrm>
          <a:prstGeom prst="rect">
            <a:avLst/>
          </a:prstGeom>
          <a:solidFill>
            <a:srgbClr val="EDE1FA"/>
          </a:solidFill>
          <a:ln w="12700">
            <a:solidFill>
              <a:srgbClr val="C9A8EF"/>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33" name="Text 31"/>
          <p:cNvSpPr/>
          <p:nvPr/>
        </p:nvSpPr>
        <p:spPr>
          <a:xfrm>
            <a:off x="10180320" y="2023872"/>
            <a:ext cx="1584960" cy="512064"/>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61%</a:t>
            </a:r>
            <a:endParaRPr kumimoji="0" lang="en-US" sz="14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G3-4: ~29%)</a:t>
            </a:r>
            <a:endParaRPr kumimoji="0" lang="en-US" sz="14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34" name="Shape 32"/>
          <p:cNvSpPr/>
          <p:nvPr/>
        </p:nvSpPr>
        <p:spPr>
          <a:xfrm>
            <a:off x="5974080" y="2657856"/>
            <a:ext cx="5913120" cy="707136"/>
          </a:xfrm>
          <a:prstGeom prst="rect">
            <a:avLst/>
          </a:prstGeom>
          <a:solidFill>
            <a:srgbClr val="F3EEFA"/>
          </a:solidFill>
          <a:ln w="12700">
            <a:solidFill>
              <a:srgbClr val="E8ECF1"/>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35" name="Text 33"/>
          <p:cNvSpPr/>
          <p:nvPr/>
        </p:nvSpPr>
        <p:spPr>
          <a:xfrm>
            <a:off x="6096000" y="2694432"/>
            <a:ext cx="3962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Hypertension
</a:t>
            </a:r>
            <a:r>
              <a:rPr kumimoji="0" lang="en-US" sz="1467"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Monitor BP weekly × 1 month, then regularly. RAAS inhibitors preferred. Dose interrupt for uncontrolled.</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36" name="Shape 34"/>
          <p:cNvSpPr/>
          <p:nvPr/>
        </p:nvSpPr>
        <p:spPr>
          <a:xfrm>
            <a:off x="10180320" y="2755392"/>
            <a:ext cx="1584960" cy="512064"/>
          </a:xfrm>
          <a:prstGeom prst="rect">
            <a:avLst/>
          </a:prstGeom>
          <a:solidFill>
            <a:srgbClr val="EDE1FA"/>
          </a:solidFill>
          <a:ln w="12700">
            <a:solidFill>
              <a:srgbClr val="C9A8EF"/>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37" name="Text 35"/>
          <p:cNvSpPr/>
          <p:nvPr/>
        </p:nvSpPr>
        <p:spPr>
          <a:xfrm>
            <a:off x="10180320" y="2755392"/>
            <a:ext cx="1584960" cy="512064"/>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20%</a:t>
            </a:r>
            <a:endParaRPr kumimoji="0" lang="en-US" sz="14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G3: ~9%)</a:t>
            </a:r>
            <a:endParaRPr kumimoji="0" lang="en-US" sz="14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38" name="Shape 36"/>
          <p:cNvSpPr/>
          <p:nvPr/>
        </p:nvSpPr>
        <p:spPr>
          <a:xfrm>
            <a:off x="5974080" y="3389376"/>
            <a:ext cx="5913120" cy="707136"/>
          </a:xfrm>
          <a:prstGeom prst="rect">
            <a:avLst/>
          </a:prstGeom>
          <a:solidFill>
            <a:srgbClr val="FFFFFF"/>
          </a:solidFill>
          <a:ln w="12700">
            <a:solidFill>
              <a:srgbClr val="E8ECF1"/>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39" name="Text 37"/>
          <p:cNvSpPr/>
          <p:nvPr/>
        </p:nvSpPr>
        <p:spPr>
          <a:xfrm>
            <a:off x="6096000" y="3425952"/>
            <a:ext cx="3962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Insomnia / Anxiety
</a:t>
            </a:r>
            <a:r>
              <a:rPr kumimoji="0" lang="en-US" sz="1467"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Unique to niraparib; thought to relate to monoamine oxidase inhibition (off-target). </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40" name="Shape 38"/>
          <p:cNvSpPr/>
          <p:nvPr/>
        </p:nvSpPr>
        <p:spPr>
          <a:xfrm>
            <a:off x="10180320" y="3486912"/>
            <a:ext cx="1584960" cy="512064"/>
          </a:xfrm>
          <a:prstGeom prst="rect">
            <a:avLst/>
          </a:prstGeom>
          <a:solidFill>
            <a:srgbClr val="EDE1FA"/>
          </a:solidFill>
          <a:ln w="12700">
            <a:solidFill>
              <a:srgbClr val="C9A8EF"/>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41" name="Text 39"/>
          <p:cNvSpPr/>
          <p:nvPr/>
        </p:nvSpPr>
        <p:spPr>
          <a:xfrm>
            <a:off x="10180320" y="3486912"/>
            <a:ext cx="1584960" cy="512064"/>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25%</a:t>
            </a:r>
            <a:endParaRPr kumimoji="0" lang="en-US" sz="14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42" name="Shape 40"/>
          <p:cNvSpPr/>
          <p:nvPr/>
        </p:nvSpPr>
        <p:spPr>
          <a:xfrm>
            <a:off x="5974080" y="4120896"/>
            <a:ext cx="5913120" cy="707136"/>
          </a:xfrm>
          <a:prstGeom prst="rect">
            <a:avLst/>
          </a:prstGeom>
          <a:solidFill>
            <a:srgbClr val="F3EEFA"/>
          </a:solidFill>
          <a:ln w="12700">
            <a:solidFill>
              <a:srgbClr val="E8ECF1"/>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43" name="Text 41"/>
          <p:cNvSpPr/>
          <p:nvPr/>
        </p:nvSpPr>
        <p:spPr>
          <a:xfrm>
            <a:off x="6096000" y="4157472"/>
            <a:ext cx="3962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Palpitations / Tachycardia
</a:t>
            </a:r>
            <a:r>
              <a:rPr kumimoji="0" lang="en-US" sz="1467"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Monitor HR. Usually benign; ECG if sustained. Rarely requires discontinuation.</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44" name="Shape 42"/>
          <p:cNvSpPr/>
          <p:nvPr/>
        </p:nvSpPr>
        <p:spPr>
          <a:xfrm>
            <a:off x="10180320" y="4218432"/>
            <a:ext cx="1584960" cy="512064"/>
          </a:xfrm>
          <a:prstGeom prst="rect">
            <a:avLst/>
          </a:prstGeom>
          <a:solidFill>
            <a:srgbClr val="EDE1FA"/>
          </a:solidFill>
          <a:ln w="12700">
            <a:solidFill>
              <a:srgbClr val="C9A8EF"/>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45" name="Text 43"/>
          <p:cNvSpPr/>
          <p:nvPr/>
        </p:nvSpPr>
        <p:spPr>
          <a:xfrm>
            <a:off x="10180320" y="4218432"/>
            <a:ext cx="1584960" cy="512064"/>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10%</a:t>
            </a:r>
            <a:endParaRPr kumimoji="0" lang="en-US" sz="14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46" name="Shape 44"/>
          <p:cNvSpPr/>
          <p:nvPr/>
        </p:nvSpPr>
        <p:spPr>
          <a:xfrm>
            <a:off x="5974080" y="4852416"/>
            <a:ext cx="5913120" cy="707136"/>
          </a:xfrm>
          <a:prstGeom prst="rect">
            <a:avLst/>
          </a:prstGeom>
          <a:solidFill>
            <a:srgbClr val="FFFFFF"/>
          </a:solidFill>
          <a:ln w="12700">
            <a:solidFill>
              <a:srgbClr val="E8ECF1"/>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47" name="Text 45"/>
          <p:cNvSpPr/>
          <p:nvPr/>
        </p:nvSpPr>
        <p:spPr>
          <a:xfrm>
            <a:off x="6096000" y="4888992"/>
            <a:ext cx="3962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MDS / AML
</a:t>
            </a:r>
            <a:r>
              <a:rPr kumimoji="0" lang="en-US" sz="1467" b="0" i="0" u="none" strike="noStrike" kern="1200" cap="none" spc="0" normalizeH="0" baseline="0" noProof="0" dirty="0">
                <a:ln>
                  <a:noFill/>
                </a:ln>
                <a:solidFill>
                  <a:srgbClr val="2C3E50"/>
                </a:solidFill>
                <a:effectLst/>
                <a:uLnTx/>
                <a:uFillTx/>
                <a:latin typeface="Arial Narrow" panose="020B0606020202030204" pitchFamily="34" charset="0"/>
                <a:ea typeface="Calibri" pitchFamily="34" charset="-122"/>
                <a:cs typeface="Calibri" pitchFamily="34" charset="-120"/>
              </a:rPr>
              <a:t>Class risk. CBC monitoring per protocol; persistent cytopenias trigger hematology referral.</a:t>
            </a: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48" name="Shape 46"/>
          <p:cNvSpPr/>
          <p:nvPr/>
        </p:nvSpPr>
        <p:spPr>
          <a:xfrm>
            <a:off x="10180320" y="4949952"/>
            <a:ext cx="1584960" cy="512064"/>
          </a:xfrm>
          <a:prstGeom prst="rect">
            <a:avLst/>
          </a:prstGeom>
          <a:solidFill>
            <a:srgbClr val="EDE1FA"/>
          </a:solidFill>
          <a:ln w="12700">
            <a:solidFill>
              <a:srgbClr val="C9A8EF"/>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267"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49" name="Text 47"/>
          <p:cNvSpPr/>
          <p:nvPr/>
        </p:nvSpPr>
        <p:spPr>
          <a:xfrm>
            <a:off x="10180320" y="4949952"/>
            <a:ext cx="1584960" cy="512064"/>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8B2FC9"/>
                </a:solidFill>
                <a:effectLst/>
                <a:uLnTx/>
                <a:uFillTx/>
                <a:latin typeface="Arial Narrow" panose="020B0606020202030204" pitchFamily="34" charset="0"/>
                <a:ea typeface="Calibri" pitchFamily="34" charset="-122"/>
                <a:cs typeface="Calibri" pitchFamily="34" charset="-120"/>
              </a:rPr>
              <a:t>~1%</a:t>
            </a:r>
            <a:endParaRPr kumimoji="0" lang="en-US" sz="14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9C682-4C3F-D585-F580-AE60D0A366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E36947-90FA-F97D-4C83-7FB80C48667C}"/>
              </a:ext>
            </a:extLst>
          </p:cNvPr>
          <p:cNvSpPr txBox="1"/>
          <p:nvPr/>
        </p:nvSpPr>
        <p:spPr>
          <a:xfrm>
            <a:off x="445008" y="507673"/>
            <a:ext cx="11301984" cy="731520"/>
          </a:xfrm>
          <a:prstGeom prst="rect">
            <a:avLst/>
          </a:prstGeom>
          <a:solidFill>
            <a:srgbClr val="6390BD">
              <a:alpha val="60000"/>
            </a:srgb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ve The Date</a:t>
            </a:r>
          </a:p>
        </p:txBody>
      </p:sp>
      <p:sp>
        <p:nvSpPr>
          <p:cNvPr id="5" name="TextBox 4">
            <a:extLst>
              <a:ext uri="{FF2B5EF4-FFF2-40B4-BE49-F238E27FC236}">
                <a16:creationId xmlns:a16="http://schemas.microsoft.com/office/drawing/2014/main" id="{C2D2715D-1827-90E7-0DC8-5BD7591AB403}"/>
              </a:ext>
            </a:extLst>
          </p:cNvPr>
          <p:cNvSpPr txBox="1"/>
          <p:nvPr/>
        </p:nvSpPr>
        <p:spPr>
          <a:xfrm>
            <a:off x="445008" y="2988969"/>
            <a:ext cx="11301984" cy="1655064"/>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A </a:t>
            </a:r>
            <a:r>
              <a:rPr kumimoji="0" lang="en-US" sz="3100" b="1" i="1" u="none" strike="noStrike" kern="1200" cap="none" spc="0" normalizeH="0" baseline="0" noProof="0" dirty="0" err="1">
                <a:ln>
                  <a:noFill/>
                </a:ln>
                <a:solidFill>
                  <a:srgbClr val="3A558A"/>
                </a:solidFill>
                <a:effectLst/>
                <a:uLnTx/>
                <a:uFillTx/>
                <a:latin typeface="Arial" panose="020B0604020202020204"/>
                <a:ea typeface="ＭＳ Ｐゴシック" charset="0"/>
                <a:cs typeface="+mn-cs"/>
              </a:rPr>
              <a:t>Multitumor</a:t>
            </a: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 CME/MOC-, NCPD- and ACPE-Accredited Educational Conference Developed in Partnership with Florida Cancer Specialists &amp; Research Institute</a:t>
            </a:r>
          </a:p>
        </p:txBody>
      </p:sp>
      <p:sp>
        <p:nvSpPr>
          <p:cNvPr id="7" name="TextBox 6">
            <a:extLst>
              <a:ext uri="{FF2B5EF4-FFF2-40B4-BE49-F238E27FC236}">
                <a16:creationId xmlns:a16="http://schemas.microsoft.com/office/drawing/2014/main" id="{7539E87A-463A-E44C-889E-07A90EA2B741}"/>
              </a:ext>
            </a:extLst>
          </p:cNvPr>
          <p:cNvSpPr txBox="1"/>
          <p:nvPr/>
        </p:nvSpPr>
        <p:spPr>
          <a:xfrm>
            <a:off x="445008" y="4688671"/>
            <a:ext cx="11301984" cy="111659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9300"/>
                </a:solidFill>
                <a:effectLst/>
                <a:uLnTx/>
                <a:uFillTx/>
                <a:latin typeface="Verdana" panose="020B0604030504040204" pitchFamily="34" charset="0"/>
                <a:ea typeface="Verdana" panose="020B0604030504040204" pitchFamily="34" charset="0"/>
                <a:cs typeface="Verdana" panose="020B0604030504040204" pitchFamily="34" charset="0"/>
              </a:rPr>
              <a:t>Friday to Sunday, April 24 to 26, 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656"/>
                </a:solidFill>
                <a:effectLst/>
                <a:uLnTx/>
                <a:uFillTx/>
                <a:latin typeface="Arial" panose="020B0604020202020204"/>
                <a:ea typeface="ＭＳ Ｐゴシック" charset="0"/>
                <a:cs typeface="+mn-cs"/>
              </a:rPr>
              <a:t>The Ritz-Carlton Orlando, Grande Lakes | Orlando, Florida</a:t>
            </a:r>
          </a:p>
        </p:txBody>
      </p:sp>
      <p:sp>
        <p:nvSpPr>
          <p:cNvPr id="9" name="TextBox 8">
            <a:extLst>
              <a:ext uri="{FF2B5EF4-FFF2-40B4-BE49-F238E27FC236}">
                <a16:creationId xmlns:a16="http://schemas.microsoft.com/office/drawing/2014/main" id="{9AAFF801-8DF8-62EE-87E1-5F5A94E82C9C}"/>
              </a:ext>
            </a:extLst>
          </p:cNvPr>
          <p:cNvSpPr txBox="1"/>
          <p:nvPr/>
        </p:nvSpPr>
        <p:spPr>
          <a:xfrm>
            <a:off x="457200" y="5867400"/>
            <a:ext cx="11277600" cy="736928"/>
          </a:xfrm>
          <a:prstGeom prst="rect">
            <a:avLst/>
          </a:prstGeom>
          <a:solidFill>
            <a:srgbClr val="001F6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ＭＳ Ｐゴシック" charset="0"/>
                <a:cs typeface="+mn-cs"/>
              </a:rPr>
              <a:t>Moderated by Neil Love, MD</a:t>
            </a:r>
          </a:p>
        </p:txBody>
      </p:sp>
      <p:pic>
        <p:nvPicPr>
          <p:cNvPr id="3" name="Picture 2">
            <a:extLst>
              <a:ext uri="{FF2B5EF4-FFF2-40B4-BE49-F238E27FC236}">
                <a16:creationId xmlns:a16="http://schemas.microsoft.com/office/drawing/2014/main" id="{F632EB10-9D79-815F-ACD6-B2B0D2797197}"/>
              </a:ext>
            </a:extLst>
          </p:cNvPr>
          <p:cNvPicPr>
            <a:picLocks noChangeAspect="1"/>
          </p:cNvPicPr>
          <p:nvPr/>
        </p:nvPicPr>
        <p:blipFill>
          <a:blip r:embed="rId3"/>
          <a:srcRect/>
          <a:stretch/>
        </p:blipFill>
        <p:spPr>
          <a:xfrm>
            <a:off x="457200" y="1239193"/>
            <a:ext cx="11301984" cy="1755646"/>
          </a:xfrm>
          <a:prstGeom prst="rect">
            <a:avLst/>
          </a:prstGeom>
        </p:spPr>
      </p:pic>
    </p:spTree>
    <p:extLst>
      <p:ext uri="{BB962C8B-B14F-4D97-AF65-F5344CB8AC3E}">
        <p14:creationId xmlns:p14="http://schemas.microsoft.com/office/powerpoint/2010/main" val="18757348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61430" y="144552"/>
            <a:ext cx="11616788" cy="739696"/>
          </a:xfrm>
        </p:spPr>
        <p:txBody>
          <a:bodyPr anchor="ctr"/>
          <a:lstStyle/>
          <a:p>
            <a:r>
              <a:rPr lang="en-US" sz="3733" b="1" dirty="0">
                <a:solidFill>
                  <a:srgbClr val="7030A0"/>
                </a:solidFill>
                <a:latin typeface="Arial Narrow" panose="020B0606020202030204" pitchFamily="34" charset="0"/>
              </a:rPr>
              <a:t>MDS/AML in Ovarian Cancer </a:t>
            </a:r>
            <a:r>
              <a:rPr lang="en-US" sz="3733" b="1" dirty="0" err="1">
                <a:solidFill>
                  <a:srgbClr val="7030A0"/>
                </a:solidFill>
                <a:latin typeface="Arial Narrow" panose="020B0606020202030204" pitchFamily="34" charset="0"/>
              </a:rPr>
              <a:t>PARPi</a:t>
            </a:r>
            <a:r>
              <a:rPr lang="en-US" sz="3733" b="1" dirty="0">
                <a:solidFill>
                  <a:srgbClr val="7030A0"/>
                </a:solidFill>
                <a:latin typeface="Arial Narrow" panose="020B0606020202030204" pitchFamily="34" charset="0"/>
              </a:rPr>
              <a:t> Maintenance Trials</a:t>
            </a:r>
          </a:p>
        </p:txBody>
      </p:sp>
      <p:graphicFrame>
        <p:nvGraphicFramePr>
          <p:cNvPr id="4" name="Content Placeholder 3"/>
          <p:cNvGraphicFramePr>
            <a:graphicFrameLocks noGrp="1"/>
          </p:cNvGraphicFramePr>
          <p:nvPr>
            <p:ph idx="1"/>
          </p:nvPr>
        </p:nvGraphicFramePr>
        <p:xfrm>
          <a:off x="795741" y="1007479"/>
          <a:ext cx="10602217" cy="5115801"/>
        </p:xfrm>
        <a:graphic>
          <a:graphicData uri="http://schemas.openxmlformats.org/drawingml/2006/table">
            <a:tbl>
              <a:tblPr firstRow="1" bandRow="1">
                <a:tableStyleId>{284E427A-3D55-4303-BF80-6455036E1DE7}</a:tableStyleId>
              </a:tblPr>
              <a:tblGrid>
                <a:gridCol w="1888707">
                  <a:extLst>
                    <a:ext uri="{9D8B030D-6E8A-4147-A177-3AD203B41FA5}">
                      <a16:colId xmlns:a16="http://schemas.microsoft.com/office/drawing/2014/main" val="459264233"/>
                    </a:ext>
                  </a:extLst>
                </a:gridCol>
                <a:gridCol w="1180443">
                  <a:extLst>
                    <a:ext uri="{9D8B030D-6E8A-4147-A177-3AD203B41FA5}">
                      <a16:colId xmlns:a16="http://schemas.microsoft.com/office/drawing/2014/main" val="522216183"/>
                    </a:ext>
                  </a:extLst>
                </a:gridCol>
                <a:gridCol w="1337833">
                  <a:extLst>
                    <a:ext uri="{9D8B030D-6E8A-4147-A177-3AD203B41FA5}">
                      <a16:colId xmlns:a16="http://schemas.microsoft.com/office/drawing/2014/main" val="3526620999"/>
                    </a:ext>
                  </a:extLst>
                </a:gridCol>
                <a:gridCol w="2496512">
                  <a:extLst>
                    <a:ext uri="{9D8B030D-6E8A-4147-A177-3AD203B41FA5}">
                      <a16:colId xmlns:a16="http://schemas.microsoft.com/office/drawing/2014/main" val="2194250338"/>
                    </a:ext>
                  </a:extLst>
                </a:gridCol>
                <a:gridCol w="1674387">
                  <a:extLst>
                    <a:ext uri="{9D8B030D-6E8A-4147-A177-3AD203B41FA5}">
                      <a16:colId xmlns:a16="http://schemas.microsoft.com/office/drawing/2014/main" val="648731678"/>
                    </a:ext>
                  </a:extLst>
                </a:gridCol>
                <a:gridCol w="2024335">
                  <a:extLst>
                    <a:ext uri="{9D8B030D-6E8A-4147-A177-3AD203B41FA5}">
                      <a16:colId xmlns:a16="http://schemas.microsoft.com/office/drawing/2014/main" val="2920401657"/>
                    </a:ext>
                  </a:extLst>
                </a:gridCol>
              </a:tblGrid>
              <a:tr h="292101">
                <a:tc>
                  <a:txBody>
                    <a:bodyPr/>
                    <a:lstStyle/>
                    <a:p>
                      <a:pPr algn="ctr"/>
                      <a:endParaRPr lang="en-US" sz="1500" b="0" dirty="0">
                        <a:latin typeface="Arial Narrow" panose="020B0606020202030204" pitchFamily="34" charset="0"/>
                      </a:endParaRPr>
                    </a:p>
                  </a:txBody>
                  <a:tcPr marL="68580" marR="68580" marT="34291" marB="34291"/>
                </a:tc>
                <a:tc>
                  <a:txBody>
                    <a:bodyPr/>
                    <a:lstStyle/>
                    <a:p>
                      <a:pPr algn="ctr"/>
                      <a:endParaRPr lang="en-US" sz="1500" b="0" dirty="0">
                        <a:latin typeface="Arial Narrow" panose="020B0606020202030204" pitchFamily="34" charset="0"/>
                      </a:endParaRPr>
                    </a:p>
                  </a:txBody>
                  <a:tcPr marL="68580" marR="68580" marT="34291" marB="34291"/>
                </a:tc>
                <a:tc>
                  <a:txBody>
                    <a:bodyPr/>
                    <a:lstStyle/>
                    <a:p>
                      <a:pPr algn="ctr"/>
                      <a:endParaRPr lang="en-US" sz="1500" b="0" dirty="0">
                        <a:latin typeface="Arial Narrow" panose="020B0606020202030204" pitchFamily="34" charset="0"/>
                      </a:endParaRPr>
                    </a:p>
                  </a:txBody>
                  <a:tcPr marL="68580" marR="68580" marT="34291" marB="34291"/>
                </a:tc>
                <a:tc>
                  <a:txBody>
                    <a:bodyPr/>
                    <a:lstStyle/>
                    <a:p>
                      <a:pPr algn="ctr"/>
                      <a:r>
                        <a:rPr lang="en-US" sz="1500" b="0" dirty="0" err="1">
                          <a:latin typeface="Arial Narrow" panose="020B0606020202030204" pitchFamily="34" charset="0"/>
                        </a:rPr>
                        <a:t>PARPi</a:t>
                      </a:r>
                      <a:r>
                        <a:rPr lang="en-US" sz="1500" b="0" baseline="0" dirty="0">
                          <a:latin typeface="Arial Narrow" panose="020B0606020202030204" pitchFamily="34" charset="0"/>
                        </a:rPr>
                        <a:t> </a:t>
                      </a:r>
                      <a:endParaRPr lang="en-US" sz="1500" b="0" dirty="0">
                        <a:latin typeface="Arial Narrow" panose="020B0606020202030204" pitchFamily="34" charset="0"/>
                      </a:endParaRPr>
                    </a:p>
                  </a:txBody>
                  <a:tcPr marL="68580" marR="68580" marT="34291" marB="34291"/>
                </a:tc>
                <a:tc gridSpan="2">
                  <a:txBody>
                    <a:bodyPr/>
                    <a:lstStyle/>
                    <a:p>
                      <a:pPr algn="ctr"/>
                      <a:r>
                        <a:rPr lang="en-US" sz="1500" b="0" dirty="0">
                          <a:latin typeface="Arial Narrow" panose="020B0606020202030204" pitchFamily="34" charset="0"/>
                        </a:rPr>
                        <a:t>MDS/AML</a:t>
                      </a:r>
                      <a:r>
                        <a:rPr lang="en-US" sz="1500" b="0" baseline="0" dirty="0">
                          <a:latin typeface="Arial Narrow" panose="020B0606020202030204" pitchFamily="34" charset="0"/>
                        </a:rPr>
                        <a:t> Events by arm</a:t>
                      </a:r>
                      <a:endParaRPr lang="en-US" sz="1500" b="0" dirty="0">
                        <a:latin typeface="Arial Narrow" panose="020B0606020202030204" pitchFamily="34" charset="0"/>
                      </a:endParaRPr>
                    </a:p>
                  </a:txBody>
                  <a:tcPr marL="68580" marR="68580" marT="34291" marB="34291"/>
                </a:tc>
                <a:tc hMerge="1">
                  <a:txBody>
                    <a:bodyPr/>
                    <a:lstStyle/>
                    <a:p>
                      <a:endParaRPr lang="en-US" dirty="0"/>
                    </a:p>
                  </a:txBody>
                  <a:tcPr/>
                </a:tc>
                <a:extLst>
                  <a:ext uri="{0D108BD9-81ED-4DB2-BD59-A6C34878D82A}">
                    <a16:rowId xmlns:a16="http://schemas.microsoft.com/office/drawing/2014/main" val="3468154188"/>
                  </a:ext>
                </a:extLst>
              </a:tr>
              <a:tr h="292101">
                <a:tc>
                  <a:txBody>
                    <a:bodyPr/>
                    <a:lstStyle/>
                    <a:p>
                      <a:pPr algn="ctr"/>
                      <a:r>
                        <a:rPr lang="en-US" sz="1500" b="0" dirty="0">
                          <a:latin typeface="Arial Narrow" panose="020B0606020202030204" pitchFamily="34" charset="0"/>
                        </a:rPr>
                        <a:t>Trial</a:t>
                      </a:r>
                    </a:p>
                  </a:txBody>
                  <a:tcPr marL="68580" marR="68580" marT="34291" marB="34291"/>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lang="en-US" sz="1500" b="0" baseline="0" dirty="0">
                          <a:latin typeface="Arial Narrow" panose="020B0606020202030204" pitchFamily="34" charset="0"/>
                        </a:rPr>
                        <a:t>Setting</a:t>
                      </a:r>
                      <a:endParaRPr lang="en-US" sz="1500" b="0" dirty="0">
                        <a:latin typeface="Arial Narrow" panose="020B0606020202030204" pitchFamily="34" charset="0"/>
                      </a:endParaRPr>
                    </a:p>
                  </a:txBody>
                  <a:tcPr marL="68580" marR="68580" marT="34291" marB="34291"/>
                </a:tc>
                <a:tc>
                  <a:txBody>
                    <a:bodyPr/>
                    <a:lstStyle/>
                    <a:p>
                      <a:pPr algn="ctr"/>
                      <a:r>
                        <a:rPr lang="en-US" sz="1500" b="0" dirty="0">
                          <a:latin typeface="Arial Narrow" panose="020B0606020202030204" pitchFamily="34" charset="0"/>
                        </a:rPr>
                        <a:t>Agent</a:t>
                      </a:r>
                    </a:p>
                  </a:txBody>
                  <a:tcPr marL="68580" marR="68580" marT="34291" marB="34291"/>
                </a:tc>
                <a:tc>
                  <a:txBody>
                    <a:bodyPr/>
                    <a:lstStyle/>
                    <a:p>
                      <a:pPr algn="ctr"/>
                      <a:r>
                        <a:rPr lang="en-US" sz="1500" b="0" dirty="0">
                          <a:latin typeface="Arial Narrow" panose="020B0606020202030204" pitchFamily="34" charset="0"/>
                        </a:rPr>
                        <a:t>Duration</a:t>
                      </a:r>
                    </a:p>
                  </a:txBody>
                  <a:tcPr marL="68580" marR="68580" marT="34291" marB="34291"/>
                </a:tc>
                <a:tc>
                  <a:txBody>
                    <a:bodyPr/>
                    <a:lstStyle/>
                    <a:p>
                      <a:pPr algn="r"/>
                      <a:r>
                        <a:rPr lang="en-US" sz="1500" b="0" dirty="0" err="1">
                          <a:latin typeface="Arial Narrow" panose="020B0606020202030204" pitchFamily="34" charset="0"/>
                        </a:rPr>
                        <a:t>PARPi</a:t>
                      </a:r>
                      <a:r>
                        <a:rPr lang="en-US" sz="1500" b="0" dirty="0">
                          <a:latin typeface="Arial Narrow" panose="020B0606020202030204" pitchFamily="34" charset="0"/>
                        </a:rPr>
                        <a:t>, n</a:t>
                      </a:r>
                      <a:r>
                        <a:rPr lang="en-US" sz="1500" b="0" baseline="0" dirty="0">
                          <a:latin typeface="Arial Narrow" panose="020B0606020202030204" pitchFamily="34" charset="0"/>
                        </a:rPr>
                        <a:t> (%)</a:t>
                      </a:r>
                      <a:endParaRPr lang="en-US" sz="1500" b="0" dirty="0">
                        <a:latin typeface="Arial Narrow" panose="020B0606020202030204" pitchFamily="34" charset="0"/>
                      </a:endParaRPr>
                    </a:p>
                  </a:txBody>
                  <a:tcPr marL="68580" marR="68580" marT="34291" marB="34291"/>
                </a:tc>
                <a:tc>
                  <a:txBody>
                    <a:bodyPr/>
                    <a:lstStyle/>
                    <a:p>
                      <a:pPr algn="r"/>
                      <a:r>
                        <a:rPr lang="en-US" sz="1500" b="0" dirty="0">
                          <a:latin typeface="Arial Narrow" panose="020B0606020202030204" pitchFamily="34" charset="0"/>
                        </a:rPr>
                        <a:t>Comparator</a:t>
                      </a:r>
                      <a:r>
                        <a:rPr lang="en-US" sz="1500" b="0" baseline="0" dirty="0">
                          <a:latin typeface="Arial Narrow" panose="020B0606020202030204" pitchFamily="34" charset="0"/>
                        </a:rPr>
                        <a:t>, n (%)</a:t>
                      </a:r>
                      <a:endParaRPr lang="en-US" sz="1500" b="0" dirty="0">
                        <a:latin typeface="Arial Narrow" panose="020B0606020202030204" pitchFamily="34" charset="0"/>
                      </a:endParaRPr>
                    </a:p>
                  </a:txBody>
                  <a:tcPr marL="68580" marR="68580" marT="34291" marB="34291"/>
                </a:tc>
                <a:extLst>
                  <a:ext uri="{0D108BD9-81ED-4DB2-BD59-A6C34878D82A}">
                    <a16:rowId xmlns:a16="http://schemas.microsoft.com/office/drawing/2014/main" val="692311666"/>
                  </a:ext>
                </a:extLst>
              </a:tr>
              <a:tr h="292101">
                <a:tc>
                  <a:txBody>
                    <a:bodyPr/>
                    <a:lstStyle/>
                    <a:p>
                      <a:pPr algn="l"/>
                      <a:r>
                        <a:rPr lang="en-US" sz="1500" b="0" dirty="0">
                          <a:latin typeface="Arial Narrow" panose="020B0606020202030204" pitchFamily="34" charset="0"/>
                        </a:rPr>
                        <a:t>SOLO1</a:t>
                      </a:r>
                      <a:r>
                        <a:rPr lang="en-US" sz="1500" b="0" baseline="30000" dirty="0">
                          <a:latin typeface="Arial Narrow" panose="020B0606020202030204" pitchFamily="34" charset="0"/>
                        </a:rPr>
                        <a:t>4</a:t>
                      </a:r>
                    </a:p>
                  </a:txBody>
                  <a:tcPr marL="68580" marR="68580" marT="34291" marB="34291"/>
                </a:tc>
                <a:tc>
                  <a:txBody>
                    <a:bodyPr/>
                    <a:lstStyle/>
                    <a:p>
                      <a:pPr algn="ctr"/>
                      <a:r>
                        <a:rPr lang="en-US" sz="1500" b="0" dirty="0">
                          <a:latin typeface="Arial Narrow" panose="020B0606020202030204" pitchFamily="34" charset="0"/>
                        </a:rPr>
                        <a:t>1L </a:t>
                      </a:r>
                      <a:r>
                        <a:rPr lang="en-US" sz="1500" b="0" dirty="0" err="1">
                          <a:latin typeface="Arial Narrow" panose="020B0606020202030204" pitchFamily="34" charset="0"/>
                        </a:rPr>
                        <a:t>maint</a:t>
                      </a:r>
                      <a:endParaRPr lang="en-US" sz="1500" b="0" dirty="0">
                        <a:latin typeface="Arial Narrow" panose="020B0606020202030204" pitchFamily="34" charset="0"/>
                      </a:endParaRPr>
                    </a:p>
                  </a:txBody>
                  <a:tcPr marL="68580" marR="68580" marT="34291" marB="34291"/>
                </a:tc>
                <a:tc>
                  <a:txBody>
                    <a:bodyPr/>
                    <a:lstStyle/>
                    <a:p>
                      <a:pPr algn="ctr"/>
                      <a:r>
                        <a:rPr lang="en-US" sz="1500" b="0" dirty="0">
                          <a:latin typeface="Arial Narrow" panose="020B0606020202030204" pitchFamily="34" charset="0"/>
                        </a:rPr>
                        <a:t>Olaparib</a:t>
                      </a:r>
                    </a:p>
                  </a:txBody>
                  <a:tcPr marL="68580" marR="68580" marT="34291" marB="34291"/>
                </a:tc>
                <a:tc>
                  <a:txBody>
                    <a:bodyPr/>
                    <a:lstStyle/>
                    <a:p>
                      <a:pPr algn="ctr"/>
                      <a:r>
                        <a:rPr lang="en-US" sz="1500" b="0" dirty="0">
                          <a:latin typeface="Arial Narrow" panose="020B0606020202030204" pitchFamily="34" charset="0"/>
                        </a:rPr>
                        <a:t>2 years</a:t>
                      </a:r>
                    </a:p>
                  </a:txBody>
                  <a:tcPr marL="68580" marR="68580" marT="34291" marB="34291"/>
                </a:tc>
                <a:tc>
                  <a:txBody>
                    <a:bodyPr/>
                    <a:lstStyle/>
                    <a:p>
                      <a:pPr algn="r"/>
                      <a:r>
                        <a:rPr lang="en-US" sz="1500" b="0" dirty="0">
                          <a:latin typeface="Arial Narrow" panose="020B0606020202030204" pitchFamily="34" charset="0"/>
                        </a:rPr>
                        <a:t>3/260    (1.5)</a:t>
                      </a:r>
                    </a:p>
                  </a:txBody>
                  <a:tcPr marL="68580" marR="68580" marT="34291" marB="34291"/>
                </a:tc>
                <a:tc>
                  <a:txBody>
                    <a:bodyPr/>
                    <a:lstStyle/>
                    <a:p>
                      <a:pPr algn="r"/>
                      <a:r>
                        <a:rPr lang="en-US" sz="1500" b="0" dirty="0">
                          <a:latin typeface="Arial Narrow" panose="020B0606020202030204" pitchFamily="34" charset="0"/>
                        </a:rPr>
                        <a:t>1/130  (0.8)</a:t>
                      </a:r>
                    </a:p>
                  </a:txBody>
                  <a:tcPr marL="68580" marR="68580" marT="34291" marB="34291"/>
                </a:tc>
                <a:extLst>
                  <a:ext uri="{0D108BD9-81ED-4DB2-BD59-A6C34878D82A}">
                    <a16:rowId xmlns:a16="http://schemas.microsoft.com/office/drawing/2014/main" val="944920421"/>
                  </a:ext>
                </a:extLst>
              </a:tr>
              <a:tr h="292101">
                <a:tc>
                  <a:txBody>
                    <a:bodyPr/>
                    <a:lstStyle/>
                    <a:p>
                      <a:pPr algn="l"/>
                      <a:r>
                        <a:rPr lang="en-US" sz="1500" b="0" dirty="0">
                          <a:latin typeface="Arial Narrow" panose="020B0606020202030204" pitchFamily="34" charset="0"/>
                        </a:rPr>
                        <a:t>PRIMA</a:t>
                      </a:r>
                      <a:r>
                        <a:rPr lang="en-US" sz="1500" b="0" baseline="30000" dirty="0">
                          <a:latin typeface="Arial Narrow" panose="020B0606020202030204" pitchFamily="34" charset="0"/>
                        </a:rPr>
                        <a:t>6</a:t>
                      </a:r>
                    </a:p>
                  </a:txBody>
                  <a:tcPr marL="68580" marR="68580" marT="34291" marB="34291"/>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lang="en-US" sz="1500" b="0" dirty="0">
                          <a:latin typeface="Arial Narrow" panose="020B0606020202030204" pitchFamily="34" charset="0"/>
                        </a:rPr>
                        <a:t>1L </a:t>
                      </a:r>
                      <a:r>
                        <a:rPr lang="en-US" sz="1500" b="0" dirty="0" err="1">
                          <a:latin typeface="Arial Narrow" panose="020B0606020202030204" pitchFamily="34" charset="0"/>
                        </a:rPr>
                        <a:t>maint</a:t>
                      </a:r>
                      <a:endParaRPr lang="en-US" sz="1500" b="0" dirty="0">
                        <a:latin typeface="Arial Narrow" panose="020B0606020202030204" pitchFamily="34" charset="0"/>
                      </a:endParaRPr>
                    </a:p>
                  </a:txBody>
                  <a:tcPr marL="68580" marR="68580" marT="34291" marB="34291"/>
                </a:tc>
                <a:tc>
                  <a:txBody>
                    <a:bodyPr/>
                    <a:lstStyle/>
                    <a:p>
                      <a:pPr algn="ctr"/>
                      <a:r>
                        <a:rPr lang="en-US" sz="1500" b="0" dirty="0">
                          <a:latin typeface="Arial Narrow" panose="020B0606020202030204" pitchFamily="34" charset="0"/>
                        </a:rPr>
                        <a:t>Niraparib</a:t>
                      </a:r>
                    </a:p>
                  </a:txBody>
                  <a:tcPr marL="68580" marR="68580" marT="34291" marB="34291"/>
                </a:tc>
                <a:tc>
                  <a:txBody>
                    <a:bodyPr/>
                    <a:lstStyle/>
                    <a:p>
                      <a:pPr algn="ctr"/>
                      <a:r>
                        <a:rPr lang="en-US" sz="1500" b="0" dirty="0">
                          <a:latin typeface="Arial Narrow" panose="020B0606020202030204" pitchFamily="34" charset="0"/>
                        </a:rPr>
                        <a:t>3 years</a:t>
                      </a:r>
                    </a:p>
                  </a:txBody>
                  <a:tcPr marL="68580" marR="68580" marT="34291" marB="34291"/>
                </a:tc>
                <a:tc>
                  <a:txBody>
                    <a:bodyPr/>
                    <a:lstStyle/>
                    <a:p>
                      <a:pPr algn="r"/>
                      <a:r>
                        <a:rPr lang="en-US" sz="1500" b="0" dirty="0">
                          <a:latin typeface="Arial Narrow" panose="020B0606020202030204" pitchFamily="34" charset="0"/>
                        </a:rPr>
                        <a:t>1/484     (&lt;1)</a:t>
                      </a:r>
                    </a:p>
                  </a:txBody>
                  <a:tcPr marL="68580" marR="68580" marT="34291" marB="34291"/>
                </a:tc>
                <a:tc>
                  <a:txBody>
                    <a:bodyPr/>
                    <a:lstStyle/>
                    <a:p>
                      <a:pPr algn="r"/>
                      <a:r>
                        <a:rPr lang="en-US" sz="1500" b="0" dirty="0">
                          <a:latin typeface="Arial Narrow" panose="020B0606020202030204" pitchFamily="34" charset="0"/>
                        </a:rPr>
                        <a:t>0/244</a:t>
                      </a:r>
                    </a:p>
                  </a:txBody>
                  <a:tcPr marL="68580" marR="68580" marT="34291" marB="34291"/>
                </a:tc>
                <a:extLst>
                  <a:ext uri="{0D108BD9-81ED-4DB2-BD59-A6C34878D82A}">
                    <a16:rowId xmlns:a16="http://schemas.microsoft.com/office/drawing/2014/main" val="101244379"/>
                  </a:ext>
                </a:extLst>
              </a:tr>
              <a:tr h="292101">
                <a:tc>
                  <a:txBody>
                    <a:bodyPr/>
                    <a:lstStyle/>
                    <a:p>
                      <a:pPr algn="l"/>
                      <a:r>
                        <a:rPr lang="en-US" sz="1500" b="0" dirty="0">
                          <a:latin typeface="Arial Narrow" panose="020B0606020202030204" pitchFamily="34" charset="0"/>
                        </a:rPr>
                        <a:t>PAOLA1</a:t>
                      </a:r>
                      <a:r>
                        <a:rPr lang="en-US" sz="1500" b="0" baseline="30000" dirty="0">
                          <a:latin typeface="Arial Narrow" panose="020B0606020202030204" pitchFamily="34" charset="0"/>
                        </a:rPr>
                        <a:t>5</a:t>
                      </a:r>
                    </a:p>
                  </a:txBody>
                  <a:tcPr marL="68580" marR="68580" marT="34291" marB="34291"/>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lang="en-US" sz="1500" b="0" dirty="0">
                          <a:latin typeface="Arial Narrow" panose="020B0606020202030204" pitchFamily="34" charset="0"/>
                        </a:rPr>
                        <a:t>1L </a:t>
                      </a:r>
                      <a:r>
                        <a:rPr lang="en-US" sz="1500" b="0" dirty="0" err="1">
                          <a:latin typeface="Arial Narrow" panose="020B0606020202030204" pitchFamily="34" charset="0"/>
                        </a:rPr>
                        <a:t>maint</a:t>
                      </a:r>
                      <a:endParaRPr lang="en-US" sz="1500" b="0" dirty="0">
                        <a:latin typeface="Arial Narrow" panose="020B0606020202030204" pitchFamily="34" charset="0"/>
                      </a:endParaRPr>
                    </a:p>
                  </a:txBody>
                  <a:tcPr marL="68580" marR="68580" marT="34291" marB="34291"/>
                </a:tc>
                <a:tc>
                  <a:txBody>
                    <a:bodyPr/>
                    <a:lstStyle/>
                    <a:p>
                      <a:pPr algn="ctr"/>
                      <a:r>
                        <a:rPr lang="en-US" sz="1500" b="0" dirty="0">
                          <a:latin typeface="Arial Narrow" panose="020B0606020202030204" pitchFamily="34" charset="0"/>
                        </a:rPr>
                        <a:t>Olaparib</a:t>
                      </a:r>
                    </a:p>
                  </a:txBody>
                  <a:tcPr marL="68580" marR="68580" marT="34291" marB="34291"/>
                </a:tc>
                <a:tc>
                  <a:txBody>
                    <a:bodyPr/>
                    <a:lstStyle/>
                    <a:p>
                      <a:pPr algn="ctr"/>
                      <a:r>
                        <a:rPr lang="en-US" sz="1500" b="0" dirty="0">
                          <a:latin typeface="Arial Narrow" panose="020B0606020202030204" pitchFamily="34" charset="0"/>
                        </a:rPr>
                        <a:t>2 years</a:t>
                      </a:r>
                    </a:p>
                  </a:txBody>
                  <a:tcPr marL="68580" marR="68580" marT="34291" marB="34291"/>
                </a:tc>
                <a:tc>
                  <a:txBody>
                    <a:bodyPr/>
                    <a:lstStyle/>
                    <a:p>
                      <a:pPr algn="r"/>
                      <a:r>
                        <a:rPr lang="en-US" sz="1500" b="0" dirty="0">
                          <a:latin typeface="Arial Narrow" panose="020B0606020202030204" pitchFamily="34" charset="0"/>
                        </a:rPr>
                        <a:t>6/535       (1)</a:t>
                      </a:r>
                    </a:p>
                  </a:txBody>
                  <a:tcPr marL="68580" marR="68580" marT="34291" marB="34291"/>
                </a:tc>
                <a:tc>
                  <a:txBody>
                    <a:bodyPr/>
                    <a:lstStyle/>
                    <a:p>
                      <a:pPr algn="r"/>
                      <a:r>
                        <a:rPr lang="en-US" sz="1500" b="0" dirty="0">
                          <a:latin typeface="Arial Narrow" panose="020B0606020202030204" pitchFamily="34" charset="0"/>
                        </a:rPr>
                        <a:t>1/267  (0.4)</a:t>
                      </a:r>
                    </a:p>
                  </a:txBody>
                  <a:tcPr marL="68580" marR="68580" marT="34291" marB="34291"/>
                </a:tc>
                <a:extLst>
                  <a:ext uri="{0D108BD9-81ED-4DB2-BD59-A6C34878D82A}">
                    <a16:rowId xmlns:a16="http://schemas.microsoft.com/office/drawing/2014/main" val="1273950601"/>
                  </a:ext>
                </a:extLst>
              </a:tr>
              <a:tr h="468416">
                <a:tc>
                  <a: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1500" b="0" dirty="0">
                          <a:latin typeface="Arial Narrow" panose="020B0606020202030204" pitchFamily="34" charset="0"/>
                        </a:rPr>
                        <a:t>ATHENA MONO</a:t>
                      </a:r>
                      <a:r>
                        <a:rPr lang="en-US" sz="1500" b="0" baseline="30000" dirty="0">
                          <a:latin typeface="Arial Narrow" panose="020B0606020202030204" pitchFamily="34" charset="0"/>
                        </a:rPr>
                        <a:t>9</a:t>
                      </a:r>
                    </a:p>
                  </a:txBody>
                  <a:tcPr marL="68580" marR="68580" marT="34291" marB="34291"/>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lang="en-US" sz="1500" b="0" dirty="0">
                          <a:latin typeface="Arial Narrow" panose="020B0606020202030204" pitchFamily="34" charset="0"/>
                        </a:rPr>
                        <a:t>1L </a:t>
                      </a:r>
                      <a:r>
                        <a:rPr lang="en-US" sz="1500" b="0" dirty="0" err="1">
                          <a:latin typeface="Arial Narrow" panose="020B0606020202030204" pitchFamily="34" charset="0"/>
                        </a:rPr>
                        <a:t>maint</a:t>
                      </a:r>
                      <a:endParaRPr lang="en-US" sz="1500" b="0" dirty="0">
                        <a:latin typeface="Arial Narrow" panose="020B0606020202030204" pitchFamily="34" charset="0"/>
                      </a:endParaRPr>
                    </a:p>
                  </a:txBody>
                  <a:tcPr marL="68580" marR="68580" marT="34291" marB="34291"/>
                </a:tc>
                <a:tc>
                  <a:txBody>
                    <a:bodyPr/>
                    <a:lstStyle/>
                    <a:p>
                      <a:pPr algn="ctr"/>
                      <a:r>
                        <a:rPr lang="en-US" sz="1500" b="0" dirty="0">
                          <a:latin typeface="Arial Narrow" panose="020B0606020202030204" pitchFamily="34" charset="0"/>
                        </a:rPr>
                        <a:t>Rucaparib</a:t>
                      </a:r>
                    </a:p>
                  </a:txBody>
                  <a:tcPr marL="68580" marR="68580" marT="34291" marB="34291"/>
                </a:tc>
                <a:tc>
                  <a:txBody>
                    <a:bodyPr/>
                    <a:lstStyle/>
                    <a:p>
                      <a:pPr algn="ctr"/>
                      <a:r>
                        <a:rPr lang="en-US" sz="1500" b="0" dirty="0">
                          <a:latin typeface="Arial Narrow" panose="020B0606020202030204" pitchFamily="34" charset="0"/>
                        </a:rPr>
                        <a:t>2 years</a:t>
                      </a:r>
                    </a:p>
                  </a:txBody>
                  <a:tcPr marL="68580" marR="68580" marT="34291" marB="34291"/>
                </a:tc>
                <a:tc>
                  <a:txBody>
                    <a:bodyPr/>
                    <a:lstStyle/>
                    <a:p>
                      <a:pPr algn="r"/>
                      <a:r>
                        <a:rPr lang="en-US" sz="1500" b="0" dirty="0">
                          <a:latin typeface="Arial Narrow" panose="020B0606020202030204" pitchFamily="34" charset="0"/>
                        </a:rPr>
                        <a:t>2/425    (0.5)</a:t>
                      </a:r>
                    </a:p>
                  </a:txBody>
                  <a:tcPr marL="68580" marR="68580" marT="34291" marB="34291"/>
                </a:tc>
                <a:tc>
                  <a:txBody>
                    <a:bodyPr/>
                    <a:lstStyle/>
                    <a:p>
                      <a:pPr algn="r"/>
                      <a:r>
                        <a:rPr lang="en-US" sz="1500" b="0" dirty="0">
                          <a:latin typeface="Arial Narrow" panose="020B0606020202030204" pitchFamily="34" charset="0"/>
                        </a:rPr>
                        <a:t>0/110</a:t>
                      </a:r>
                    </a:p>
                  </a:txBody>
                  <a:tcPr marL="68580" marR="68580" marT="34291" marB="34291"/>
                </a:tc>
                <a:extLst>
                  <a:ext uri="{0D108BD9-81ED-4DB2-BD59-A6C34878D82A}">
                    <a16:rowId xmlns:a16="http://schemas.microsoft.com/office/drawing/2014/main" val="1053001525"/>
                  </a:ext>
                </a:extLst>
              </a:tr>
              <a:tr h="292101">
                <a:tc>
                  <a:txBody>
                    <a:bodyPr/>
                    <a:lstStyle/>
                    <a:p>
                      <a:pPr algn="l"/>
                      <a:r>
                        <a:rPr lang="en-US" sz="1500" b="0" dirty="0">
                          <a:latin typeface="Arial Narrow" panose="020B0606020202030204" pitchFamily="34" charset="0"/>
                        </a:rPr>
                        <a:t>Study19</a:t>
                      </a:r>
                      <a:r>
                        <a:rPr lang="en-US" sz="1500" b="0" baseline="30000" dirty="0">
                          <a:latin typeface="Arial Narrow" panose="020B0606020202030204" pitchFamily="34" charset="0"/>
                        </a:rPr>
                        <a:t>8</a:t>
                      </a:r>
                    </a:p>
                  </a:txBody>
                  <a:tcPr marL="68580" marR="68580" marT="34291" marB="34291"/>
                </a:tc>
                <a:tc>
                  <a:txBody>
                    <a:bodyPr/>
                    <a:lstStyle/>
                    <a:p>
                      <a:pPr algn="ctr"/>
                      <a:r>
                        <a:rPr lang="en-US" sz="1500" b="0" dirty="0">
                          <a:latin typeface="Arial Narrow" panose="020B0606020202030204" pitchFamily="34" charset="0"/>
                        </a:rPr>
                        <a:t>PS </a:t>
                      </a:r>
                      <a:r>
                        <a:rPr lang="en-US" sz="1500" b="0" dirty="0" err="1">
                          <a:latin typeface="Arial Narrow" panose="020B0606020202030204" pitchFamily="34" charset="0"/>
                        </a:rPr>
                        <a:t>maint</a:t>
                      </a:r>
                      <a:endParaRPr lang="en-US" sz="1500" b="0" dirty="0">
                        <a:latin typeface="Arial Narrow" panose="020B0606020202030204" pitchFamily="34" charset="0"/>
                      </a:endParaRPr>
                    </a:p>
                  </a:txBody>
                  <a:tcPr marL="68580" marR="68580" marT="34291" marB="34291"/>
                </a:tc>
                <a:tc>
                  <a:txBody>
                    <a:bodyPr/>
                    <a:lstStyle/>
                    <a:p>
                      <a:pPr algn="ctr"/>
                      <a:r>
                        <a:rPr lang="en-US" sz="1500" b="0" dirty="0">
                          <a:latin typeface="Arial Narrow" panose="020B0606020202030204" pitchFamily="34" charset="0"/>
                        </a:rPr>
                        <a:t>Olaparib</a:t>
                      </a:r>
                    </a:p>
                  </a:txBody>
                  <a:tcPr marL="68580" marR="68580" marT="34291" marB="34291"/>
                </a:tc>
                <a:tc>
                  <a:txBody>
                    <a:bodyPr/>
                    <a:lstStyle/>
                    <a:p>
                      <a:pPr algn="ctr"/>
                      <a:r>
                        <a:rPr lang="en-US" sz="1500" b="0" dirty="0">
                          <a:latin typeface="Arial Narrow" panose="020B0606020202030204" pitchFamily="34" charset="0"/>
                        </a:rPr>
                        <a:t>18% &gt;3yrs</a:t>
                      </a:r>
                    </a:p>
                  </a:txBody>
                  <a:tcPr marL="68580" marR="68580" marT="34291" marB="34291"/>
                </a:tc>
                <a:tc>
                  <a:txBody>
                    <a:bodyPr/>
                    <a:lstStyle/>
                    <a:p>
                      <a:pPr algn="r"/>
                      <a:r>
                        <a:rPr lang="en-US" sz="1500" b="0" dirty="0">
                          <a:latin typeface="Arial Narrow" panose="020B0606020202030204" pitchFamily="34" charset="0"/>
                        </a:rPr>
                        <a:t>2/136    (1.5)</a:t>
                      </a:r>
                    </a:p>
                  </a:txBody>
                  <a:tcPr marL="68580" marR="68580" marT="34291" marB="34291"/>
                </a:tc>
                <a:tc>
                  <a:txBody>
                    <a:bodyPr/>
                    <a:lstStyle/>
                    <a:p>
                      <a:pPr algn="r"/>
                      <a:r>
                        <a:rPr lang="en-US" sz="1500" b="0" dirty="0">
                          <a:latin typeface="Arial Narrow" panose="020B0606020202030204" pitchFamily="34" charset="0"/>
                        </a:rPr>
                        <a:t>1/129  (&lt;1)</a:t>
                      </a:r>
                    </a:p>
                  </a:txBody>
                  <a:tcPr marL="68580" marR="68580" marT="34291" marB="34291"/>
                </a:tc>
                <a:extLst>
                  <a:ext uri="{0D108BD9-81ED-4DB2-BD59-A6C34878D82A}">
                    <a16:rowId xmlns:a16="http://schemas.microsoft.com/office/drawing/2014/main" val="2505069178"/>
                  </a:ext>
                </a:extLst>
              </a:tr>
              <a:tr h="292101">
                <a:tc>
                  <a:txBody>
                    <a:bodyPr/>
                    <a:lstStyle/>
                    <a:p>
                      <a:pPr algn="l"/>
                      <a:r>
                        <a:rPr lang="en-US" sz="1500" b="0" dirty="0">
                          <a:latin typeface="Arial Narrow" panose="020B0606020202030204" pitchFamily="34" charset="0"/>
                        </a:rPr>
                        <a:t>SOLO2</a:t>
                      </a:r>
                      <a:r>
                        <a:rPr lang="en-US" sz="1500" b="0" baseline="30000" dirty="0">
                          <a:latin typeface="Arial Narrow" panose="020B0606020202030204" pitchFamily="34" charset="0"/>
                        </a:rPr>
                        <a:t>2</a:t>
                      </a:r>
                    </a:p>
                  </a:txBody>
                  <a:tcPr marL="68580" marR="68580" marT="34291" marB="34291"/>
                </a:tc>
                <a:tc>
                  <a:txBody>
                    <a:bodyPr/>
                    <a:lstStyle/>
                    <a:p>
                      <a:pPr algn="ctr"/>
                      <a:r>
                        <a:rPr lang="en-US" sz="1500" b="0" dirty="0">
                          <a:latin typeface="Arial Narrow" panose="020B0606020202030204" pitchFamily="34" charset="0"/>
                        </a:rPr>
                        <a:t>PS </a:t>
                      </a:r>
                      <a:r>
                        <a:rPr lang="en-US" sz="1500" b="0" dirty="0" err="1">
                          <a:latin typeface="Arial Narrow" panose="020B0606020202030204" pitchFamily="34" charset="0"/>
                        </a:rPr>
                        <a:t>maint</a:t>
                      </a:r>
                      <a:endParaRPr lang="en-US" sz="1500" b="0" dirty="0">
                        <a:latin typeface="Arial Narrow" panose="020B0606020202030204" pitchFamily="34" charset="0"/>
                      </a:endParaRPr>
                    </a:p>
                  </a:txBody>
                  <a:tcPr marL="68580" marR="68580" marT="34291" marB="34291"/>
                </a:tc>
                <a:tc>
                  <a:txBody>
                    <a:bodyPr/>
                    <a:lstStyle/>
                    <a:p>
                      <a:pPr algn="ctr"/>
                      <a:r>
                        <a:rPr lang="en-US" sz="1500" b="0" dirty="0">
                          <a:latin typeface="Arial Narrow" panose="020B0606020202030204" pitchFamily="34" charset="0"/>
                        </a:rPr>
                        <a:t>Olaparib</a:t>
                      </a:r>
                    </a:p>
                  </a:txBody>
                  <a:tcPr marL="68580" marR="68580" marT="34291" marB="34291"/>
                </a:tc>
                <a:tc>
                  <a:txBody>
                    <a:bodyPr/>
                    <a:lstStyle/>
                    <a:p>
                      <a:pPr algn="ctr"/>
                      <a:r>
                        <a:rPr lang="en-US" sz="1500" b="0" dirty="0">
                          <a:latin typeface="Arial Narrow" panose="020B0606020202030204" pitchFamily="34" charset="0"/>
                        </a:rPr>
                        <a:t>mean 29.1 </a:t>
                      </a:r>
                      <a:r>
                        <a:rPr lang="en-US" sz="1500" b="0" dirty="0" err="1">
                          <a:latin typeface="Arial Narrow" panose="020B0606020202030204" pitchFamily="34" charset="0"/>
                        </a:rPr>
                        <a:t>mos</a:t>
                      </a:r>
                      <a:endParaRPr lang="en-US" sz="1500" b="0" dirty="0">
                        <a:latin typeface="Arial Narrow" panose="020B0606020202030204" pitchFamily="34" charset="0"/>
                      </a:endParaRPr>
                    </a:p>
                  </a:txBody>
                  <a:tcPr marL="68580" marR="68580" marT="34291" marB="34291"/>
                </a:tc>
                <a:tc>
                  <a:txBody>
                    <a:bodyPr/>
                    <a:lstStyle/>
                    <a:p>
                      <a:pPr algn="r"/>
                      <a:r>
                        <a:rPr lang="en-US" sz="1500" b="0" dirty="0">
                          <a:highlight>
                            <a:srgbClr val="FFFF00"/>
                          </a:highlight>
                          <a:latin typeface="Arial Narrow" panose="020B0606020202030204" pitchFamily="34" charset="0"/>
                        </a:rPr>
                        <a:t>16/195     (8)</a:t>
                      </a:r>
                    </a:p>
                  </a:txBody>
                  <a:tcPr marL="68580" marR="68580" marT="34291" marB="34291"/>
                </a:tc>
                <a:tc>
                  <a:txBody>
                    <a:bodyPr/>
                    <a:lstStyle/>
                    <a:p>
                      <a:pPr algn="r"/>
                      <a:r>
                        <a:rPr lang="en-US" sz="1500" b="0" dirty="0">
                          <a:highlight>
                            <a:srgbClr val="FFFF00"/>
                          </a:highlight>
                          <a:latin typeface="Arial Narrow" panose="020B0606020202030204" pitchFamily="34" charset="0"/>
                        </a:rPr>
                        <a:t>4/99      (4)</a:t>
                      </a:r>
                    </a:p>
                  </a:txBody>
                  <a:tcPr marL="68580" marR="68580" marT="34291" marB="34291"/>
                </a:tc>
                <a:extLst>
                  <a:ext uri="{0D108BD9-81ED-4DB2-BD59-A6C34878D82A}">
                    <a16:rowId xmlns:a16="http://schemas.microsoft.com/office/drawing/2014/main" val="1875100603"/>
                  </a:ext>
                </a:extLst>
              </a:tr>
              <a:tr h="292101">
                <a:tc>
                  <a:txBody>
                    <a:bodyPr/>
                    <a:lstStyle/>
                    <a:p>
                      <a:pPr algn="l"/>
                      <a:r>
                        <a:rPr lang="en-US" sz="1500" b="0" dirty="0">
                          <a:latin typeface="Arial Narrow" panose="020B0606020202030204" pitchFamily="34" charset="0"/>
                        </a:rPr>
                        <a:t>NOVA</a:t>
                      </a:r>
                      <a:r>
                        <a:rPr lang="en-US" sz="1500" b="0" baseline="30000" dirty="0">
                          <a:latin typeface="Arial Narrow" panose="020B0606020202030204" pitchFamily="34" charset="0"/>
                        </a:rPr>
                        <a:t>3</a:t>
                      </a:r>
                    </a:p>
                  </a:txBody>
                  <a:tcPr marL="68580" marR="68580" marT="34291" marB="34291">
                    <a:solidFill>
                      <a:schemeClr val="bg1">
                        <a:lumMod val="85000"/>
                      </a:schemeClr>
                    </a:solidFill>
                  </a:tcPr>
                </a:tc>
                <a:tc>
                  <a:txBody>
                    <a:bodyPr/>
                    <a:lstStyle/>
                    <a:p>
                      <a:pPr algn="ctr"/>
                      <a:r>
                        <a:rPr lang="en-US" sz="1500" b="0" dirty="0">
                          <a:latin typeface="Arial Narrow" panose="020B0606020202030204" pitchFamily="34" charset="0"/>
                        </a:rPr>
                        <a:t>PS </a:t>
                      </a:r>
                      <a:r>
                        <a:rPr lang="en-US" sz="1500" b="0" dirty="0" err="1">
                          <a:latin typeface="Arial Narrow" panose="020B0606020202030204" pitchFamily="34" charset="0"/>
                        </a:rPr>
                        <a:t>maint</a:t>
                      </a:r>
                      <a:endParaRPr lang="en-US" sz="1500" b="0" dirty="0">
                        <a:latin typeface="Arial Narrow" panose="020B0606020202030204" pitchFamily="34" charset="0"/>
                      </a:endParaRPr>
                    </a:p>
                  </a:txBody>
                  <a:tcPr marL="68580" marR="68580" marT="34291" marB="34291">
                    <a:solidFill>
                      <a:schemeClr val="bg1">
                        <a:lumMod val="85000"/>
                      </a:schemeClr>
                    </a:solidFill>
                  </a:tcPr>
                </a:tc>
                <a:tc>
                  <a:txBody>
                    <a:bodyPr/>
                    <a:lstStyle/>
                    <a:p>
                      <a:pPr algn="ctr"/>
                      <a:r>
                        <a:rPr lang="en-US" sz="1500" b="0" dirty="0">
                          <a:latin typeface="Arial Narrow" panose="020B0606020202030204" pitchFamily="34" charset="0"/>
                        </a:rPr>
                        <a:t>Niraparib</a:t>
                      </a:r>
                    </a:p>
                  </a:txBody>
                  <a:tcPr marL="68580" marR="68580" marT="34291" marB="34291">
                    <a:solidFill>
                      <a:schemeClr val="bg1">
                        <a:lumMod val="8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85000"/>
                      </a:schemeClr>
                    </a:solidFill>
                  </a:tcPr>
                </a:tc>
                <a:tc>
                  <a:txBody>
                    <a:bodyPr/>
                    <a:lstStyle/>
                    <a:p>
                      <a:pPr algn="r"/>
                      <a:r>
                        <a:rPr lang="en-US" sz="1500" b="0" dirty="0">
                          <a:latin typeface="Arial Narrow" panose="020B0606020202030204" pitchFamily="34" charset="0"/>
                        </a:rPr>
                        <a:t>13/367  (3.5)</a:t>
                      </a:r>
                    </a:p>
                  </a:txBody>
                  <a:tcPr marL="68580" marR="68580" marT="34291" marB="34291">
                    <a:solidFill>
                      <a:schemeClr val="bg1">
                        <a:lumMod val="85000"/>
                      </a:schemeClr>
                    </a:solidFill>
                  </a:tcPr>
                </a:tc>
                <a:tc>
                  <a:txBody>
                    <a:bodyPr/>
                    <a:lstStyle/>
                    <a:p>
                      <a:pPr algn="r"/>
                      <a:r>
                        <a:rPr lang="en-US" sz="1500" b="0" dirty="0">
                          <a:latin typeface="Arial Narrow" panose="020B0606020202030204" pitchFamily="34" charset="0"/>
                        </a:rPr>
                        <a:t>3/179 (1.7)</a:t>
                      </a:r>
                    </a:p>
                  </a:txBody>
                  <a:tcPr marL="68580" marR="68580" marT="34291" marB="34291">
                    <a:solidFill>
                      <a:schemeClr val="bg1">
                        <a:lumMod val="85000"/>
                      </a:schemeClr>
                    </a:solidFill>
                  </a:tcPr>
                </a:tc>
                <a:extLst>
                  <a:ext uri="{0D108BD9-81ED-4DB2-BD59-A6C34878D82A}">
                    <a16:rowId xmlns:a16="http://schemas.microsoft.com/office/drawing/2014/main" val="740256959"/>
                  </a:ext>
                </a:extLst>
              </a:tr>
              <a:tr h="292101">
                <a:tc>
                  <a:txBody>
                    <a:bodyPr/>
                    <a:lstStyle/>
                    <a:p>
                      <a:pPr algn="l"/>
                      <a:r>
                        <a:rPr lang="en-US" sz="1500" b="0" dirty="0">
                          <a:latin typeface="Arial Narrow" panose="020B0606020202030204" pitchFamily="34" charset="0"/>
                        </a:rPr>
                        <a:t>    </a:t>
                      </a:r>
                      <a:r>
                        <a:rPr lang="en-US" sz="1500" b="0" dirty="0" err="1">
                          <a:latin typeface="Arial Narrow" panose="020B0606020202030204" pitchFamily="34" charset="0"/>
                        </a:rPr>
                        <a:t>gBRCAm</a:t>
                      </a:r>
                      <a:endParaRPr lang="en-US" sz="1500" b="0" dirty="0">
                        <a:latin typeface="Arial Narrow" panose="020B0606020202030204" pitchFamily="34" charset="0"/>
                      </a:endParaRPr>
                    </a:p>
                  </a:txBody>
                  <a:tcPr marL="68580" marR="68580" marT="34291" marB="34291">
                    <a:solidFill>
                      <a:schemeClr val="bg1">
                        <a:lumMod val="8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8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8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85000"/>
                      </a:schemeClr>
                    </a:solidFill>
                  </a:tcPr>
                </a:tc>
                <a:tc>
                  <a:txBody>
                    <a:bodyPr/>
                    <a:lstStyle/>
                    <a:p>
                      <a:pPr algn="r"/>
                      <a:r>
                        <a:rPr lang="en-US" sz="1500" b="0" dirty="0">
                          <a:latin typeface="Arial Narrow" panose="020B0606020202030204" pitchFamily="34" charset="0"/>
                        </a:rPr>
                        <a:t>  </a:t>
                      </a:r>
                      <a:r>
                        <a:rPr lang="en-US" sz="1500" b="0" dirty="0">
                          <a:highlight>
                            <a:srgbClr val="FFFF00"/>
                          </a:highlight>
                          <a:latin typeface="Arial Narrow" panose="020B0606020202030204" pitchFamily="34" charset="0"/>
                        </a:rPr>
                        <a:t>9/136   (6.6)</a:t>
                      </a:r>
                    </a:p>
                  </a:txBody>
                  <a:tcPr marL="68580" marR="68580" marT="34291" marB="34291">
                    <a:solidFill>
                      <a:schemeClr val="bg1">
                        <a:lumMod val="8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dirty="0">
                          <a:latin typeface="Arial Narrow" panose="020B0606020202030204" pitchFamily="34" charset="0"/>
                        </a:rPr>
                        <a:t>  </a:t>
                      </a:r>
                      <a:r>
                        <a:rPr lang="en-US" sz="1500" b="0" dirty="0">
                          <a:highlight>
                            <a:srgbClr val="FFFF00"/>
                          </a:highlight>
                          <a:latin typeface="Arial Narrow" panose="020B0606020202030204" pitchFamily="34" charset="0"/>
                        </a:rPr>
                        <a:t>2/65   (3.1)</a:t>
                      </a:r>
                    </a:p>
                  </a:txBody>
                  <a:tcPr marL="68580" marR="68580" marT="34291" marB="34291">
                    <a:solidFill>
                      <a:schemeClr val="bg1">
                        <a:lumMod val="85000"/>
                      </a:schemeClr>
                    </a:solidFill>
                  </a:tcPr>
                </a:tc>
                <a:extLst>
                  <a:ext uri="{0D108BD9-81ED-4DB2-BD59-A6C34878D82A}">
                    <a16:rowId xmlns:a16="http://schemas.microsoft.com/office/drawing/2014/main" val="276253776"/>
                  </a:ext>
                </a:extLst>
              </a:tr>
              <a:tr h="292101">
                <a:tc>
                  <a:txBody>
                    <a:bodyPr/>
                    <a:lstStyle/>
                    <a:p>
                      <a:pPr algn="l"/>
                      <a:r>
                        <a:rPr lang="en-US" sz="1500" b="0" dirty="0">
                          <a:latin typeface="Arial Narrow" panose="020B0606020202030204" pitchFamily="34" charset="0"/>
                        </a:rPr>
                        <a:t>    non-</a:t>
                      </a:r>
                      <a:r>
                        <a:rPr lang="en-US" sz="1500" b="0" dirty="0" err="1">
                          <a:latin typeface="Arial Narrow" panose="020B0606020202030204" pitchFamily="34" charset="0"/>
                        </a:rPr>
                        <a:t>gBRCAm</a:t>
                      </a:r>
                      <a:endParaRPr lang="en-US" sz="1500" b="0" dirty="0">
                        <a:latin typeface="Arial Narrow" panose="020B0606020202030204" pitchFamily="34" charset="0"/>
                      </a:endParaRPr>
                    </a:p>
                  </a:txBody>
                  <a:tcPr marL="68580" marR="68580" marT="34291" marB="34291">
                    <a:solidFill>
                      <a:schemeClr val="bg1">
                        <a:lumMod val="8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8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8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8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dirty="0">
                          <a:latin typeface="Arial Narrow" panose="020B0606020202030204" pitchFamily="34" charset="0"/>
                        </a:rPr>
                        <a:t>   4/231   (1.7)</a:t>
                      </a:r>
                    </a:p>
                  </a:txBody>
                  <a:tcPr marL="68580" marR="68580" marT="34291" marB="34291">
                    <a:solidFill>
                      <a:schemeClr val="bg1">
                        <a:lumMod val="85000"/>
                      </a:schemeClr>
                    </a:solidFill>
                  </a:tcPr>
                </a:tc>
                <a:tc>
                  <a:txBody>
                    <a:bodyPr/>
                    <a:lstStyle/>
                    <a:p>
                      <a:pPr algn="r"/>
                      <a:r>
                        <a:rPr lang="en-US" sz="1500" b="0" dirty="0">
                          <a:latin typeface="Arial Narrow" panose="020B0606020202030204" pitchFamily="34" charset="0"/>
                        </a:rPr>
                        <a:t>   1/114 (0.9)</a:t>
                      </a:r>
                    </a:p>
                  </a:txBody>
                  <a:tcPr marL="68580" marR="68580" marT="34291" marB="34291">
                    <a:solidFill>
                      <a:schemeClr val="bg1">
                        <a:lumMod val="85000"/>
                      </a:schemeClr>
                    </a:solidFill>
                  </a:tcPr>
                </a:tc>
                <a:extLst>
                  <a:ext uri="{0D108BD9-81ED-4DB2-BD59-A6C34878D82A}">
                    <a16:rowId xmlns:a16="http://schemas.microsoft.com/office/drawing/2014/main" val="490493519"/>
                  </a:ext>
                </a:extLst>
              </a:tr>
              <a:tr h="292101">
                <a:tc>
                  <a:txBody>
                    <a:bodyPr/>
                    <a:lstStyle/>
                    <a:p>
                      <a:pPr algn="l"/>
                      <a:r>
                        <a:rPr lang="en-US" sz="1500" b="0" dirty="0">
                          <a:latin typeface="Arial Narrow" panose="020B0606020202030204" pitchFamily="34" charset="0"/>
                        </a:rPr>
                        <a:t>ARIEL3</a:t>
                      </a:r>
                      <a:r>
                        <a:rPr lang="en-US" sz="1500" b="0" baseline="30000" dirty="0">
                          <a:latin typeface="Arial Narrow" panose="020B0606020202030204" pitchFamily="34" charset="0"/>
                        </a:rPr>
                        <a:t>7</a:t>
                      </a:r>
                    </a:p>
                  </a:txBody>
                  <a:tcPr marL="68580" marR="68580" marT="34291" marB="34291">
                    <a:solidFill>
                      <a:schemeClr val="bg1">
                        <a:lumMod val="65000"/>
                      </a:schemeClr>
                    </a:solidFill>
                  </a:tcPr>
                </a:tc>
                <a:tc>
                  <a:txBody>
                    <a:bodyPr/>
                    <a:lstStyle/>
                    <a:p>
                      <a:pPr algn="ctr"/>
                      <a:r>
                        <a:rPr lang="en-US" sz="1500" b="0" dirty="0">
                          <a:latin typeface="Arial Narrow" panose="020B0606020202030204" pitchFamily="34" charset="0"/>
                        </a:rPr>
                        <a:t>PS </a:t>
                      </a:r>
                      <a:r>
                        <a:rPr lang="en-US" sz="1500" b="0" dirty="0" err="1">
                          <a:latin typeface="Arial Narrow" panose="020B0606020202030204" pitchFamily="34" charset="0"/>
                        </a:rPr>
                        <a:t>maint</a:t>
                      </a: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ctr"/>
                      <a:r>
                        <a:rPr lang="en-US" sz="1500" b="0" dirty="0">
                          <a:latin typeface="Arial Narrow" panose="020B0606020202030204" pitchFamily="34" charset="0"/>
                        </a:rPr>
                        <a:t>Rucaparib</a:t>
                      </a:r>
                    </a:p>
                  </a:txBody>
                  <a:tcPr marL="68580" marR="68580" marT="34291" marB="34291">
                    <a:solidFill>
                      <a:schemeClr val="bg1">
                        <a:lumMod val="65000"/>
                      </a:schemeClr>
                    </a:solidFill>
                  </a:tcPr>
                </a:tc>
                <a:tc>
                  <a:txBody>
                    <a:bodyPr/>
                    <a:lstStyle/>
                    <a:p>
                      <a:pPr algn="ctr"/>
                      <a:r>
                        <a:rPr lang="en-US" sz="1500" b="0" dirty="0">
                          <a:latin typeface="Arial Narrow" panose="020B0606020202030204" pitchFamily="34" charset="0"/>
                        </a:rPr>
                        <a:t>median 8.3 </a:t>
                      </a:r>
                      <a:r>
                        <a:rPr lang="en-US" sz="1500" b="0" dirty="0" err="1">
                          <a:latin typeface="Arial Narrow" panose="020B0606020202030204" pitchFamily="34" charset="0"/>
                        </a:rPr>
                        <a:t>mos</a:t>
                      </a: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r"/>
                      <a:r>
                        <a:rPr lang="en-US" sz="1500" b="0" dirty="0">
                          <a:latin typeface="Arial Narrow" panose="020B0606020202030204" pitchFamily="34" charset="0"/>
                        </a:rPr>
                        <a:t>14/375 (3.8)</a:t>
                      </a:r>
                    </a:p>
                  </a:txBody>
                  <a:tcPr marL="68580" marR="68580" marT="34291" marB="34291">
                    <a:solidFill>
                      <a:schemeClr val="bg1">
                        <a:lumMod val="65000"/>
                      </a:schemeClr>
                    </a:solidFill>
                  </a:tcPr>
                </a:tc>
                <a:tc>
                  <a:txBody>
                    <a:bodyPr/>
                    <a:lstStyle/>
                    <a:p>
                      <a:pPr algn="r"/>
                      <a:r>
                        <a:rPr lang="en-US" sz="1500" b="0" dirty="0">
                          <a:latin typeface="Arial Narrow" panose="020B0606020202030204" pitchFamily="34" charset="0"/>
                        </a:rPr>
                        <a:t>6/189 (3.2)</a:t>
                      </a:r>
                    </a:p>
                  </a:txBody>
                  <a:tcPr marL="68580" marR="68580" marT="34291" marB="34291">
                    <a:solidFill>
                      <a:schemeClr val="bg1">
                        <a:lumMod val="65000"/>
                      </a:schemeClr>
                    </a:solidFill>
                  </a:tcPr>
                </a:tc>
                <a:extLst>
                  <a:ext uri="{0D108BD9-81ED-4DB2-BD59-A6C34878D82A}">
                    <a16:rowId xmlns:a16="http://schemas.microsoft.com/office/drawing/2014/main" val="2090527600"/>
                  </a:ext>
                </a:extLst>
              </a:tr>
              <a:tr h="292101">
                <a:tc>
                  <a:txBody>
                    <a:bodyPr/>
                    <a:lstStyle/>
                    <a:p>
                      <a:pPr algn="l"/>
                      <a:r>
                        <a:rPr lang="en-US" sz="1500" b="0" dirty="0">
                          <a:latin typeface="Arial Narrow" panose="020B0606020202030204" pitchFamily="34" charset="0"/>
                        </a:rPr>
                        <a:t>    </a:t>
                      </a:r>
                      <a:r>
                        <a:rPr lang="en-US" sz="1500" b="0" dirty="0" err="1">
                          <a:latin typeface="Arial Narrow" panose="020B0606020202030204" pitchFamily="34" charset="0"/>
                        </a:rPr>
                        <a:t>PARPi</a:t>
                      </a:r>
                      <a:r>
                        <a:rPr lang="en-US" sz="1500" b="0" dirty="0">
                          <a:latin typeface="Arial Narrow" panose="020B0606020202030204" pitchFamily="34" charset="0"/>
                        </a:rPr>
                        <a:t> </a:t>
                      </a:r>
                      <a:r>
                        <a:rPr lang="en-US" sz="1500" b="0" u="sng" dirty="0">
                          <a:latin typeface="Arial Narrow" panose="020B0606020202030204" pitchFamily="34" charset="0"/>
                        </a:rPr>
                        <a:t>&gt;</a:t>
                      </a:r>
                      <a:r>
                        <a:rPr lang="en-US" sz="1500" b="0" dirty="0">
                          <a:latin typeface="Arial Narrow" panose="020B0606020202030204" pitchFamily="34" charset="0"/>
                        </a:rPr>
                        <a:t>24m</a:t>
                      </a:r>
                      <a:r>
                        <a:rPr lang="en-US" sz="1500" b="0" baseline="30000" dirty="0">
                          <a:latin typeface="Arial Narrow" panose="020B0606020202030204" pitchFamily="34" charset="0"/>
                        </a:rPr>
                        <a:t>10</a:t>
                      </a:r>
                      <a:endParaRPr lang="en-US" sz="1500" b="0" baseline="0" dirty="0">
                        <a:latin typeface="Arial Narrow" panose="020B0606020202030204" pitchFamily="34" charset="0"/>
                      </a:endParaRPr>
                    </a:p>
                  </a:txBody>
                  <a:tcPr marL="68580" marR="68580" marT="34291" marB="34291">
                    <a:solidFill>
                      <a:schemeClr val="bg1">
                        <a:lumMod val="6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lang="en-US" sz="1500" b="0" dirty="0">
                          <a:latin typeface="Arial Narrow" panose="020B0606020202030204" pitchFamily="34" charset="0"/>
                        </a:rPr>
                        <a:t>     </a:t>
                      </a:r>
                      <a:r>
                        <a:rPr lang="en-US" sz="1500" b="0" dirty="0">
                          <a:highlight>
                            <a:srgbClr val="00FFFF"/>
                          </a:highlight>
                          <a:latin typeface="Arial Narrow" panose="020B0606020202030204" pitchFamily="34" charset="0"/>
                        </a:rPr>
                        <a:t>9/79  (11.4)</a:t>
                      </a:r>
                    </a:p>
                  </a:txBody>
                  <a:tcPr marL="68580" marR="68580" marT="34291" marB="34291">
                    <a:solidFill>
                      <a:schemeClr val="bg1">
                        <a:lumMod val="65000"/>
                      </a:schemeClr>
                    </a:solidFill>
                  </a:tcPr>
                </a:tc>
                <a:tc>
                  <a:txBody>
                    <a:bodyPr/>
                    <a:lstStyle/>
                    <a:p>
                      <a:pPr algn="r"/>
                      <a:r>
                        <a:rPr lang="en-US" sz="1500" b="0" dirty="0">
                          <a:latin typeface="Arial Narrow" panose="020B0606020202030204" pitchFamily="34" charset="0"/>
                        </a:rPr>
                        <a:t>     </a:t>
                      </a:r>
                    </a:p>
                  </a:txBody>
                  <a:tcPr marL="68580" marR="68580" marT="34291" marB="34291">
                    <a:solidFill>
                      <a:schemeClr val="bg1">
                        <a:lumMod val="65000"/>
                      </a:schemeClr>
                    </a:solidFill>
                  </a:tcPr>
                </a:tc>
                <a:extLst>
                  <a:ext uri="{0D108BD9-81ED-4DB2-BD59-A6C34878D82A}">
                    <a16:rowId xmlns:a16="http://schemas.microsoft.com/office/drawing/2014/main" val="3437772951"/>
                  </a:ext>
                </a:extLst>
              </a:tr>
              <a:tr h="292101">
                <a:tc>
                  <a:txBody>
                    <a:bodyPr/>
                    <a:lstStyle/>
                    <a:p>
                      <a:pPr algn="l"/>
                      <a:r>
                        <a:rPr lang="en-US" sz="1500" b="0" dirty="0">
                          <a:latin typeface="Arial Narrow" panose="020B0606020202030204" pitchFamily="34" charset="0"/>
                        </a:rPr>
                        <a:t>    non-</a:t>
                      </a:r>
                      <a:r>
                        <a:rPr lang="en-US" sz="1500" b="0" dirty="0" err="1">
                          <a:latin typeface="Arial Narrow" panose="020B0606020202030204" pitchFamily="34" charset="0"/>
                        </a:rPr>
                        <a:t>gBRCAm</a:t>
                      </a:r>
                      <a:endParaRPr lang="en-US" sz="1500" b="0" baseline="30000" dirty="0">
                        <a:latin typeface="Arial Narrow" panose="020B0606020202030204" pitchFamily="34" charset="0"/>
                      </a:endParaRPr>
                    </a:p>
                  </a:txBody>
                  <a:tcPr marL="68580" marR="68580" marT="34291" marB="34291">
                    <a:solidFill>
                      <a:schemeClr val="bg1">
                        <a:lumMod val="6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r"/>
                      <a:r>
                        <a:rPr lang="en-US" sz="1500" b="0" dirty="0">
                          <a:latin typeface="Arial Narrow" panose="020B0606020202030204" pitchFamily="34" charset="0"/>
                        </a:rPr>
                        <a:t>     5/245    (2.0)</a:t>
                      </a:r>
                    </a:p>
                  </a:txBody>
                  <a:tcPr marL="68580" marR="68580" marT="34291" marB="34291">
                    <a:solidFill>
                      <a:schemeClr val="bg1">
                        <a:lumMod val="65000"/>
                      </a:schemeClr>
                    </a:solidFill>
                  </a:tcPr>
                </a:tc>
                <a:tc>
                  <a:txBody>
                    <a:bodyPr/>
                    <a:lstStyle/>
                    <a:p>
                      <a:pPr algn="r"/>
                      <a:r>
                        <a:rPr lang="en-US" sz="1500" b="0" dirty="0">
                          <a:latin typeface="Arial Narrow" panose="020B0606020202030204" pitchFamily="34" charset="0"/>
                        </a:rPr>
                        <a:t>     1/123 (0.8)</a:t>
                      </a:r>
                    </a:p>
                  </a:txBody>
                  <a:tcPr marL="68580" marR="68580" marT="34291" marB="34291">
                    <a:solidFill>
                      <a:schemeClr val="bg1">
                        <a:lumMod val="65000"/>
                      </a:schemeClr>
                    </a:solidFill>
                  </a:tcPr>
                </a:tc>
                <a:extLst>
                  <a:ext uri="{0D108BD9-81ED-4DB2-BD59-A6C34878D82A}">
                    <a16:rowId xmlns:a16="http://schemas.microsoft.com/office/drawing/2014/main" val="2843322652"/>
                  </a:ext>
                </a:extLst>
              </a:tr>
              <a:tr h="292101">
                <a:tc>
                  <a:txBody>
                    <a:bodyPr/>
                    <a:lstStyle/>
                    <a:p>
                      <a:pPr algn="l"/>
                      <a:r>
                        <a:rPr lang="en-US" sz="1500" b="0" dirty="0">
                          <a:latin typeface="Arial Narrow" panose="020B0606020202030204" pitchFamily="34" charset="0"/>
                        </a:rPr>
                        <a:t>    </a:t>
                      </a:r>
                      <a:r>
                        <a:rPr lang="en-US" sz="1500" b="0" dirty="0" err="1">
                          <a:latin typeface="Arial Narrow" panose="020B0606020202030204" pitchFamily="34" charset="0"/>
                        </a:rPr>
                        <a:t>gBRCAm</a:t>
                      </a: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r"/>
                      <a:r>
                        <a:rPr lang="en-US" sz="1500" b="0" dirty="0">
                          <a:latin typeface="Arial Narrow" panose="020B0606020202030204" pitchFamily="34" charset="0"/>
                        </a:rPr>
                        <a:t>     </a:t>
                      </a:r>
                      <a:r>
                        <a:rPr lang="en-US" sz="1500" b="0" dirty="0">
                          <a:highlight>
                            <a:srgbClr val="FFFF00"/>
                          </a:highlight>
                          <a:latin typeface="Arial Narrow" panose="020B0606020202030204" pitchFamily="34" charset="0"/>
                        </a:rPr>
                        <a:t>9/130  (6.9)</a:t>
                      </a:r>
                    </a:p>
                  </a:txBody>
                  <a:tcPr marL="68580" marR="68580" marT="34291" marB="34291">
                    <a:solidFill>
                      <a:schemeClr val="bg1">
                        <a:lumMod val="65000"/>
                      </a:schemeClr>
                    </a:solidFill>
                  </a:tcPr>
                </a:tc>
                <a:tc>
                  <a:txBody>
                    <a:bodyPr/>
                    <a:lstStyle/>
                    <a:p>
                      <a:pPr algn="r"/>
                      <a:r>
                        <a:rPr lang="en-US" sz="1500" b="0" dirty="0">
                          <a:latin typeface="Arial Narrow" panose="020B0606020202030204" pitchFamily="34" charset="0"/>
                        </a:rPr>
                        <a:t>     </a:t>
                      </a:r>
                      <a:r>
                        <a:rPr lang="en-US" sz="1500" b="0" dirty="0">
                          <a:highlight>
                            <a:srgbClr val="FFFF00"/>
                          </a:highlight>
                          <a:latin typeface="Arial Narrow" panose="020B0606020202030204" pitchFamily="34" charset="0"/>
                        </a:rPr>
                        <a:t>3/63   (4.8)</a:t>
                      </a:r>
                    </a:p>
                  </a:txBody>
                  <a:tcPr marL="68580" marR="68580" marT="34291" marB="34291">
                    <a:solidFill>
                      <a:schemeClr val="bg1">
                        <a:lumMod val="65000"/>
                      </a:schemeClr>
                    </a:solidFill>
                  </a:tcPr>
                </a:tc>
                <a:extLst>
                  <a:ext uri="{0D108BD9-81ED-4DB2-BD59-A6C34878D82A}">
                    <a16:rowId xmlns:a16="http://schemas.microsoft.com/office/drawing/2014/main" val="1322304578"/>
                  </a:ext>
                </a:extLst>
              </a:tr>
              <a:tr h="486837">
                <a:tc gridSpan="2">
                  <a:txBody>
                    <a:bodyPr/>
                    <a:lstStyle/>
                    <a:p>
                      <a:pPr algn="l"/>
                      <a:r>
                        <a:rPr lang="en-US" sz="1500" b="0" dirty="0">
                          <a:latin typeface="Arial Narrow" panose="020B0606020202030204" pitchFamily="34" charset="0"/>
                        </a:rPr>
                        <a:t>         </a:t>
                      </a:r>
                      <a:r>
                        <a:rPr lang="en-US" sz="1500" b="0" dirty="0" err="1">
                          <a:latin typeface="Arial Narrow" panose="020B0606020202030204" pitchFamily="34" charset="0"/>
                        </a:rPr>
                        <a:t>PARPi</a:t>
                      </a:r>
                      <a:r>
                        <a:rPr lang="en-US" sz="1500" b="0" dirty="0">
                          <a:latin typeface="Arial Narrow" panose="020B0606020202030204" pitchFamily="34" charset="0"/>
                        </a:rPr>
                        <a:t> </a:t>
                      </a:r>
                      <a:r>
                        <a:rPr lang="en-US" sz="1500" b="0" u="sng" dirty="0">
                          <a:latin typeface="Arial Narrow" panose="020B0606020202030204" pitchFamily="34" charset="0"/>
                        </a:rPr>
                        <a:t>&gt;</a:t>
                      </a:r>
                      <a:r>
                        <a:rPr lang="en-US" sz="1500" b="0" dirty="0">
                          <a:latin typeface="Arial Narrow" panose="020B0606020202030204" pitchFamily="34" charset="0"/>
                        </a:rPr>
                        <a:t>24 </a:t>
                      </a:r>
                      <a:r>
                        <a:rPr lang="en-US" sz="1500" b="0" dirty="0" err="1">
                          <a:latin typeface="Arial Narrow" panose="020B0606020202030204" pitchFamily="34" charset="0"/>
                        </a:rPr>
                        <a:t>mos</a:t>
                      </a:r>
                      <a:endParaRPr lang="en-US" sz="1500" b="0" dirty="0">
                        <a:latin typeface="Arial Narrow" panose="020B0606020202030204" pitchFamily="34" charset="0"/>
                      </a:endParaRPr>
                    </a:p>
                  </a:txBody>
                  <a:tcPr marL="68580" marR="68580" marT="34291" marB="34291">
                    <a:solidFill>
                      <a:schemeClr val="bg1">
                        <a:lumMod val="65000"/>
                      </a:schemeClr>
                    </a:solidFill>
                  </a:tcPr>
                </a:tc>
                <a:tc hMerge="1">
                  <a:txBody>
                    <a:bodyPr/>
                    <a:lstStyle/>
                    <a:p>
                      <a:endParaRPr lang="en-US" sz="1600" b="1" dirty="0"/>
                    </a:p>
                  </a:txBody>
                  <a:tcPr marL="68580" marR="68580" marT="34290" marB="34290"/>
                </a:tc>
                <a:tc>
                  <a:txBody>
                    <a:bodyPr/>
                    <a:lstStyle/>
                    <a:p>
                      <a:pPr algn="ct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ctr"/>
                      <a:endParaRPr lang="en-US" sz="1500" b="0" dirty="0">
                        <a:latin typeface="Arial Narrow" panose="020B0606020202030204" pitchFamily="34" charset="0"/>
                      </a:endParaRPr>
                    </a:p>
                  </a:txBody>
                  <a:tcPr marL="68580" marR="68580" marT="34291" marB="34291">
                    <a:solidFill>
                      <a:schemeClr val="bg1">
                        <a:lumMod val="65000"/>
                      </a:schemeClr>
                    </a:solidFill>
                  </a:tcPr>
                </a:tc>
                <a:tc>
                  <a:txBody>
                    <a:bodyPr/>
                    <a:lstStyle/>
                    <a:p>
                      <a:pPr algn="r"/>
                      <a:r>
                        <a:rPr lang="en-US" sz="1500" b="0" dirty="0">
                          <a:latin typeface="Arial Narrow" panose="020B0606020202030204" pitchFamily="34" charset="0"/>
                        </a:rPr>
                        <a:t>        </a:t>
                      </a:r>
                      <a:r>
                        <a:rPr lang="en-US" sz="1500" b="0" dirty="0">
                          <a:highlight>
                            <a:srgbClr val="00FFFF"/>
                          </a:highlight>
                          <a:latin typeface="Arial Narrow" panose="020B0606020202030204" pitchFamily="34" charset="0"/>
                        </a:rPr>
                        <a:t>7/46  (15.2)</a:t>
                      </a:r>
                    </a:p>
                  </a:txBody>
                  <a:tcPr marL="68580" marR="68580" marT="34291" marB="34291">
                    <a:solidFill>
                      <a:schemeClr val="bg1">
                        <a:lumMod val="65000"/>
                      </a:schemeClr>
                    </a:solidFill>
                  </a:tcPr>
                </a:tc>
                <a:tc>
                  <a:txBody>
                    <a:bodyPr/>
                    <a:lstStyle/>
                    <a:p>
                      <a:pPr algn="r"/>
                      <a:r>
                        <a:rPr lang="en-US" sz="1500" b="0" dirty="0">
                          <a:latin typeface="Arial Narrow" panose="020B0606020202030204" pitchFamily="34" charset="0"/>
                        </a:rPr>
                        <a:t>         </a:t>
                      </a:r>
                      <a:endParaRPr lang="en-US" sz="1500" b="0" dirty="0">
                        <a:highlight>
                          <a:srgbClr val="00FFFF"/>
                        </a:highlight>
                        <a:latin typeface="Arial Narrow" panose="020B0606020202030204" pitchFamily="34" charset="0"/>
                      </a:endParaRPr>
                    </a:p>
                  </a:txBody>
                  <a:tcPr marL="68580" marR="68580" marT="34291" marB="34291">
                    <a:solidFill>
                      <a:schemeClr val="bg1">
                        <a:lumMod val="65000"/>
                      </a:schemeClr>
                    </a:solidFill>
                  </a:tcPr>
                </a:tc>
                <a:extLst>
                  <a:ext uri="{0D108BD9-81ED-4DB2-BD59-A6C34878D82A}">
                    <a16:rowId xmlns:a16="http://schemas.microsoft.com/office/drawing/2014/main" val="3258515431"/>
                  </a:ext>
                </a:extLst>
              </a:tr>
            </a:tbl>
          </a:graphicData>
        </a:graphic>
      </p:graphicFrame>
      <p:sp>
        <p:nvSpPr>
          <p:cNvPr id="2" name="Rectangle 1">
            <a:extLst>
              <a:ext uri="{FF2B5EF4-FFF2-40B4-BE49-F238E27FC236}">
                <a16:creationId xmlns:a16="http://schemas.microsoft.com/office/drawing/2014/main" id="{D3287C97-805B-429F-9E09-3EECA81B215B}"/>
              </a:ext>
            </a:extLst>
          </p:cNvPr>
          <p:cNvSpPr/>
          <p:nvPr/>
        </p:nvSpPr>
        <p:spPr>
          <a:xfrm>
            <a:off x="795741" y="6114232"/>
            <a:ext cx="10231363" cy="420756"/>
          </a:xfrm>
          <a:prstGeom prst="rect">
            <a:avLst/>
          </a:prstGeom>
        </p:spPr>
        <p:txBody>
          <a:bodyPr wrap="square">
            <a:spAutoFit/>
          </a:bodyPr>
          <a:lstStyle/>
          <a:p>
            <a:pPr marL="0" marR="0" lvl="0" indent="0" algn="l" defTabSz="91435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rPr>
              <a:t>2</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Poveda A, et al. Lancet Oncol 2021, </a:t>
            </a:r>
            <a:r>
              <a:rPr kumimoji="0" lang="en-US" sz="1067"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rPr>
              <a:t>3</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Matulonis U. et al. SGO 2021, </a:t>
            </a:r>
            <a:r>
              <a:rPr kumimoji="0" lang="en-US" sz="1067"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rPr>
              <a:t>4</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DiSilvestro P, et al. J Clin Oncol 2022, </a:t>
            </a:r>
            <a:r>
              <a:rPr kumimoji="0" lang="en-US" sz="1067"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rPr>
              <a:t>5</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Ray-Coquard I et al. NEJM Dec 2019, </a:t>
            </a:r>
            <a:r>
              <a:rPr kumimoji="0" lang="en-US" sz="1067"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rPr>
              <a:t>6</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Gonzalez-Martin A et al. NEJM 2019, </a:t>
            </a:r>
            <a:r>
              <a:rPr kumimoji="0" lang="en-US" sz="1067"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rPr>
              <a:t>7</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Coleman RL et al. IGCS 2022, </a:t>
            </a:r>
            <a:r>
              <a:rPr kumimoji="0" lang="en-US" sz="1067"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rPr>
              <a:t>8</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Lederman J et al. Lancet 2016 17: 1579-89, </a:t>
            </a:r>
            <a:r>
              <a:rPr kumimoji="0" lang="en-US" sz="1067"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rPr>
              <a:t>9</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Monk B et al. J Clin Oncol 2022, </a:t>
            </a:r>
            <a:r>
              <a:rPr kumimoji="0" lang="en-US" sz="1067"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rPr>
              <a:t>10</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O’Malley et al. Gyn </a:t>
            </a:r>
            <a:r>
              <a:rPr kumimoji="0" lang="en-US" sz="1067"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rPr>
              <a:t>Onc</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10/2022 </a:t>
            </a:r>
          </a:p>
        </p:txBody>
      </p:sp>
    </p:spTree>
    <p:extLst>
      <p:ext uri="{BB962C8B-B14F-4D97-AF65-F5344CB8AC3E}">
        <p14:creationId xmlns:p14="http://schemas.microsoft.com/office/powerpoint/2010/main" val="33214758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4837-5F49-13BD-1DBF-1C482C6188F2}"/>
              </a:ext>
            </a:extLst>
          </p:cNvPr>
          <p:cNvSpPr>
            <a:spLocks noGrp="1"/>
          </p:cNvSpPr>
          <p:nvPr>
            <p:ph type="title"/>
          </p:nvPr>
        </p:nvSpPr>
        <p:spPr>
          <a:xfrm>
            <a:off x="197305" y="383553"/>
            <a:ext cx="11678265" cy="706311"/>
          </a:xfrm>
        </p:spPr>
        <p:txBody>
          <a:bodyPr>
            <a:noAutofit/>
          </a:bodyPr>
          <a:lstStyle/>
          <a:p>
            <a:pPr algn="l"/>
            <a:r>
              <a:rPr lang="en-US" sz="3731" b="1" dirty="0">
                <a:solidFill>
                  <a:srgbClr val="7030A0"/>
                </a:solidFill>
                <a:latin typeface="Arial Narrow" panose="020B0606020202030204" pitchFamily="34" charset="0"/>
              </a:rPr>
              <a:t>Common toxicities observed with select ADCs</a:t>
            </a:r>
            <a:br>
              <a:rPr lang="en-US" sz="3731" b="1" dirty="0">
                <a:solidFill>
                  <a:srgbClr val="7030A0"/>
                </a:solidFill>
                <a:latin typeface="Arial Narrow" panose="020B0606020202030204" pitchFamily="34" charset="0"/>
              </a:rPr>
            </a:br>
            <a:r>
              <a:rPr lang="en-US" sz="3731" b="1" dirty="0">
                <a:solidFill>
                  <a:srgbClr val="7030A0"/>
                </a:solidFill>
                <a:latin typeface="Arial Narrow" panose="020B0606020202030204" pitchFamily="34" charset="0"/>
              </a:rPr>
              <a:t>Differentiated Safety Profiles Require Intentional Mitigation</a:t>
            </a:r>
          </a:p>
        </p:txBody>
      </p:sp>
      <p:pic>
        <p:nvPicPr>
          <p:cNvPr id="6" name="Picture 5">
            <a:extLst>
              <a:ext uri="{FF2B5EF4-FFF2-40B4-BE49-F238E27FC236}">
                <a16:creationId xmlns:a16="http://schemas.microsoft.com/office/drawing/2014/main" id="{024FB32C-5E20-82A9-3D08-9255107E301B}"/>
              </a:ext>
            </a:extLst>
          </p:cNvPr>
          <p:cNvPicPr>
            <a:picLocks noChangeAspect="1"/>
          </p:cNvPicPr>
          <p:nvPr/>
        </p:nvPicPr>
        <p:blipFill rotWithShape="1">
          <a:blip r:embed="rId2"/>
          <a:srcRect r="18706" b="33033"/>
          <a:stretch/>
        </p:blipFill>
        <p:spPr>
          <a:xfrm>
            <a:off x="464961" y="1601317"/>
            <a:ext cx="10269735" cy="4363471"/>
          </a:xfrm>
          <a:prstGeom prst="rect">
            <a:avLst/>
          </a:prstGeom>
        </p:spPr>
      </p:pic>
      <p:sp>
        <p:nvSpPr>
          <p:cNvPr id="10" name="Rectangle 9">
            <a:extLst>
              <a:ext uri="{FF2B5EF4-FFF2-40B4-BE49-F238E27FC236}">
                <a16:creationId xmlns:a16="http://schemas.microsoft.com/office/drawing/2014/main" id="{DDA70CF9-DD20-AC2B-8EA6-494236367CEE}"/>
              </a:ext>
            </a:extLst>
          </p:cNvPr>
          <p:cNvSpPr/>
          <p:nvPr/>
        </p:nvSpPr>
        <p:spPr>
          <a:xfrm>
            <a:off x="8902445" y="1851864"/>
            <a:ext cx="1606249" cy="602344"/>
          </a:xfrm>
          <a:prstGeom prst="rect">
            <a:avLst/>
          </a:prstGeom>
          <a:solidFill>
            <a:srgbClr val="996633"/>
          </a:solidFill>
          <a:ln w="12700" cap="flat" cmpd="sng" algn="ctr">
            <a:solidFill>
              <a:srgbClr val="ED7D31">
                <a:lumMod val="75000"/>
              </a:srgbClr>
            </a:solidFill>
            <a:prstDash val="solid"/>
            <a:miter lim="800000"/>
          </a:ln>
          <a:effectLst/>
        </p:spPr>
        <p:txBody>
          <a:bodyPr rtlCol="0" anchor="ctr"/>
          <a:lstStyle/>
          <a:p>
            <a:pPr marL="0" marR="0" lvl="0" indent="0" algn="ctr" defTabSz="1218042" rtl="0" eaLnBrk="1" fontAlgn="auto" latinLnBrk="0" hangingPunct="1">
              <a:lnSpc>
                <a:spcPct val="100000"/>
              </a:lnSpc>
              <a:spcBef>
                <a:spcPts val="0"/>
              </a:spcBef>
              <a:spcAft>
                <a:spcPts val="0"/>
              </a:spcAft>
              <a:buClrTx/>
              <a:buSzTx/>
              <a:buFontTx/>
              <a:buNone/>
              <a:tabLst/>
              <a:defRPr/>
            </a:pPr>
            <a:r>
              <a:rPr kumimoji="0" lang="en-US" sz="1865" b="1" i="0" u="none" strike="noStrike" kern="0" cap="none" spc="0" normalizeH="0" baseline="0" noProof="0" dirty="0">
                <a:ln>
                  <a:noFill/>
                </a:ln>
                <a:solidFill>
                  <a:prstClr val="white"/>
                </a:solidFill>
                <a:effectLst/>
                <a:uLnTx/>
                <a:uFillTx/>
                <a:latin typeface="Arial Narrow" panose="020B0606020202030204" pitchFamily="34" charset="0"/>
                <a:ea typeface="ＭＳ Ｐゴシック"/>
                <a:cs typeface="+mn-cs"/>
              </a:rPr>
              <a:t>Pulmonary</a:t>
            </a:r>
          </a:p>
          <a:p>
            <a:pPr marL="0" marR="0" lvl="0" indent="0" algn="ctr" defTabSz="1218042" rtl="0" eaLnBrk="1" fontAlgn="auto" latinLnBrk="0" hangingPunct="1">
              <a:lnSpc>
                <a:spcPct val="100000"/>
              </a:lnSpc>
              <a:spcBef>
                <a:spcPts val="0"/>
              </a:spcBef>
              <a:spcAft>
                <a:spcPts val="0"/>
              </a:spcAft>
              <a:buClrTx/>
              <a:buSzTx/>
              <a:buFontTx/>
              <a:buNone/>
              <a:tabLst/>
              <a:defRPr/>
            </a:pPr>
            <a:r>
              <a:rPr kumimoji="0" lang="en-US" sz="1865" b="1" i="0" u="none" strike="noStrike" kern="0" cap="none" spc="0" normalizeH="0" baseline="0" noProof="0" dirty="0">
                <a:ln>
                  <a:noFill/>
                </a:ln>
                <a:solidFill>
                  <a:prstClr val="white"/>
                </a:solidFill>
                <a:effectLst/>
                <a:uLnTx/>
                <a:uFillTx/>
                <a:latin typeface="Arial Narrow" panose="020B0606020202030204" pitchFamily="34" charset="0"/>
                <a:ea typeface="ＭＳ Ｐゴシック"/>
                <a:cs typeface="+mn-cs"/>
              </a:rPr>
              <a:t>toxicity</a:t>
            </a:r>
          </a:p>
        </p:txBody>
      </p:sp>
      <p:sp>
        <p:nvSpPr>
          <p:cNvPr id="11" name="TextBox 10">
            <a:extLst>
              <a:ext uri="{FF2B5EF4-FFF2-40B4-BE49-F238E27FC236}">
                <a16:creationId xmlns:a16="http://schemas.microsoft.com/office/drawing/2014/main" id="{E7B14403-2ACD-18DE-7667-056A1AC39A1B}"/>
              </a:ext>
            </a:extLst>
          </p:cNvPr>
          <p:cNvSpPr txBox="1"/>
          <p:nvPr/>
        </p:nvSpPr>
        <p:spPr>
          <a:xfrm>
            <a:off x="8945166" y="2814057"/>
            <a:ext cx="1468672" cy="420243"/>
          </a:xfrm>
          <a:prstGeom prst="rect">
            <a:avLst/>
          </a:prstGeom>
          <a:solidFill>
            <a:schemeClr val="bg1">
              <a:lumMod val="95000"/>
            </a:schemeClr>
          </a:solidFill>
        </p:spPr>
        <p:txBody>
          <a:bodyPr wrap="none" rtlCol="0">
            <a:spAutoFit/>
          </a:bodyPr>
          <a:lstStyle/>
          <a:p>
            <a:pPr marL="0" marR="0" lvl="0" indent="0" algn="l" defTabSz="1218042" rtl="0" eaLnBrk="1" fontAlgn="base" latinLnBrk="0" hangingPunct="1">
              <a:lnSpc>
                <a:spcPct val="100000"/>
              </a:lnSpc>
              <a:spcBef>
                <a:spcPct val="0"/>
              </a:spcBef>
              <a:spcAft>
                <a:spcPct val="0"/>
              </a:spcAft>
              <a:buClrTx/>
              <a:buSzTx/>
              <a:buFontTx/>
              <a:buNone/>
              <a:tabLst/>
              <a:defRPr/>
            </a:pPr>
            <a:r>
              <a:rPr kumimoji="0" lang="en-US" sz="2131" b="0" i="0" u="none" strike="noStrike" kern="1200" cap="none" spc="0" normalizeH="0" baseline="0" noProof="0" dirty="0">
                <a:ln>
                  <a:noFill/>
                </a:ln>
                <a:solidFill>
                  <a:srgbClr val="000000"/>
                </a:solidFill>
                <a:effectLst/>
                <a:uLnTx/>
                <a:uFillTx/>
                <a:latin typeface="Arial Narrow" panose="020B0606020202030204" pitchFamily="34" charset="0"/>
                <a:ea typeface="ＭＳ Ｐゴシック" charset="0"/>
                <a:cs typeface="+mn-cs"/>
              </a:rPr>
              <a:t>Inflammation</a:t>
            </a:r>
          </a:p>
        </p:txBody>
      </p:sp>
      <p:sp>
        <p:nvSpPr>
          <p:cNvPr id="12" name="TextBox 11">
            <a:extLst>
              <a:ext uri="{FF2B5EF4-FFF2-40B4-BE49-F238E27FC236}">
                <a16:creationId xmlns:a16="http://schemas.microsoft.com/office/drawing/2014/main" id="{132ECA5B-FAC0-652F-973D-01CD658BCDD7}"/>
              </a:ext>
            </a:extLst>
          </p:cNvPr>
          <p:cNvSpPr txBox="1"/>
          <p:nvPr/>
        </p:nvSpPr>
        <p:spPr>
          <a:xfrm>
            <a:off x="9145533" y="3219477"/>
            <a:ext cx="970137" cy="420243"/>
          </a:xfrm>
          <a:prstGeom prst="rect">
            <a:avLst/>
          </a:prstGeom>
          <a:solidFill>
            <a:schemeClr val="bg1">
              <a:lumMod val="95000"/>
            </a:schemeClr>
          </a:solidFill>
        </p:spPr>
        <p:txBody>
          <a:bodyPr wrap="none" rtlCol="0">
            <a:spAutoFit/>
          </a:bodyPr>
          <a:lstStyle/>
          <a:p>
            <a:pPr marL="0" marR="0" lvl="0" indent="0" algn="l" defTabSz="1218042" rtl="0" eaLnBrk="1" fontAlgn="base" latinLnBrk="0" hangingPunct="1">
              <a:lnSpc>
                <a:spcPct val="100000"/>
              </a:lnSpc>
              <a:spcBef>
                <a:spcPct val="0"/>
              </a:spcBef>
              <a:spcAft>
                <a:spcPct val="0"/>
              </a:spcAft>
              <a:buClrTx/>
              <a:buSzTx/>
              <a:buFontTx/>
              <a:buNone/>
              <a:tabLst/>
              <a:defRPr/>
            </a:pPr>
            <a:r>
              <a:rPr kumimoji="0" lang="en-US" sz="2131" b="0" i="0" u="none" strike="noStrike" kern="1200" cap="none" spc="0" normalizeH="0" baseline="0" noProof="0" dirty="0">
                <a:ln>
                  <a:noFill/>
                </a:ln>
                <a:solidFill>
                  <a:srgbClr val="000000"/>
                </a:solidFill>
                <a:effectLst/>
                <a:uLnTx/>
                <a:uFillTx/>
                <a:latin typeface="Arial Narrow" panose="020B0606020202030204" pitchFamily="34" charset="0"/>
                <a:ea typeface="ＭＳ Ｐゴシック" charset="0"/>
                <a:cs typeface="+mn-cs"/>
              </a:rPr>
              <a:t>Fibrosis</a:t>
            </a:r>
          </a:p>
        </p:txBody>
      </p:sp>
      <p:sp>
        <p:nvSpPr>
          <p:cNvPr id="5" name="Rectangle 4">
            <a:extLst>
              <a:ext uri="{FF2B5EF4-FFF2-40B4-BE49-F238E27FC236}">
                <a16:creationId xmlns:a16="http://schemas.microsoft.com/office/drawing/2014/main" id="{0D311EEC-DE4D-3976-C3F7-907B9789AE85}"/>
              </a:ext>
            </a:extLst>
          </p:cNvPr>
          <p:cNvSpPr/>
          <p:nvPr/>
        </p:nvSpPr>
        <p:spPr bwMode="auto">
          <a:xfrm>
            <a:off x="6677830" y="1601317"/>
            <a:ext cx="4651396" cy="5181540"/>
          </a:xfrm>
          <a:prstGeom prst="rect">
            <a:avLst/>
          </a:prstGeom>
          <a:solidFill>
            <a:schemeClr val="bg1"/>
          </a:solidFill>
          <a:ln w="9525" cap="flat" cmpd="sng" algn="ctr">
            <a:noFill/>
            <a:prstDash val="solid"/>
            <a:round/>
            <a:headEnd type="none" w="med" len="med"/>
            <a:tailEnd type="none" w="med" len="med"/>
          </a:ln>
          <a:effectLst/>
        </p:spPr>
        <p:txBody>
          <a:bodyPr vert="horz" wrap="square" lIns="121807" tIns="60904" rIns="121807" bIns="60904" numCol="1" rtlCol="0" anchor="t" anchorCtr="0" compatLnSpc="1">
            <a:prstTxWarp prst="textNoShape">
              <a:avLst/>
            </a:prstTxWarp>
          </a:bodyPr>
          <a:lstStyle/>
          <a:p>
            <a:pPr marL="0" marR="0" lvl="0" indent="0" algn="l" defTabSz="1218042" rtl="0" eaLnBrk="0" fontAlgn="base" latinLnBrk="0" hangingPunct="0">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srgbClr val="000000"/>
              </a:solidFill>
              <a:effectLst/>
              <a:uLnTx/>
              <a:uFillTx/>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69921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6E89A49-756C-0B24-AAB8-4CF5ED88C2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055BF5-ECAE-573B-E817-0BB3743DEAD2}"/>
              </a:ext>
            </a:extLst>
          </p:cNvPr>
          <p:cNvSpPr>
            <a:spLocks noGrp="1"/>
          </p:cNvSpPr>
          <p:nvPr>
            <p:ph type="title"/>
          </p:nvPr>
        </p:nvSpPr>
        <p:spPr>
          <a:xfrm>
            <a:off x="197305" y="383553"/>
            <a:ext cx="11678265" cy="706311"/>
          </a:xfrm>
        </p:spPr>
        <p:txBody>
          <a:bodyPr>
            <a:noAutofit/>
          </a:bodyPr>
          <a:lstStyle/>
          <a:p>
            <a:pPr algn="l"/>
            <a:r>
              <a:rPr lang="en-US" sz="3731" b="1" dirty="0">
                <a:solidFill>
                  <a:srgbClr val="7030A0"/>
                </a:solidFill>
                <a:latin typeface="Arial Narrow" panose="020B0606020202030204" pitchFamily="34" charset="0"/>
              </a:rPr>
              <a:t>Common toxicities observed with select ADCs</a:t>
            </a:r>
            <a:br>
              <a:rPr lang="en-US" sz="3731" b="1" dirty="0">
                <a:solidFill>
                  <a:srgbClr val="7030A0"/>
                </a:solidFill>
                <a:latin typeface="Arial Narrow" panose="020B0606020202030204" pitchFamily="34" charset="0"/>
              </a:rPr>
            </a:br>
            <a:r>
              <a:rPr lang="en-US" sz="3731" b="1" dirty="0">
                <a:solidFill>
                  <a:srgbClr val="7030A0"/>
                </a:solidFill>
                <a:latin typeface="Arial Narrow" panose="020B0606020202030204" pitchFamily="34" charset="0"/>
              </a:rPr>
              <a:t>Differentiated Safety Profiles Require Intentional Mitigation</a:t>
            </a:r>
          </a:p>
        </p:txBody>
      </p:sp>
      <p:pic>
        <p:nvPicPr>
          <p:cNvPr id="6" name="Picture 5">
            <a:extLst>
              <a:ext uri="{FF2B5EF4-FFF2-40B4-BE49-F238E27FC236}">
                <a16:creationId xmlns:a16="http://schemas.microsoft.com/office/drawing/2014/main" id="{ED0208D8-F40D-E774-C365-11F2BB784AD7}"/>
              </a:ext>
            </a:extLst>
          </p:cNvPr>
          <p:cNvPicPr>
            <a:picLocks noChangeAspect="1"/>
          </p:cNvPicPr>
          <p:nvPr/>
        </p:nvPicPr>
        <p:blipFill rotWithShape="1">
          <a:blip r:embed="rId2"/>
          <a:srcRect r="18706" b="33033"/>
          <a:stretch/>
        </p:blipFill>
        <p:spPr>
          <a:xfrm>
            <a:off x="464961" y="1601317"/>
            <a:ext cx="10269735" cy="4363471"/>
          </a:xfrm>
          <a:prstGeom prst="rect">
            <a:avLst/>
          </a:prstGeom>
        </p:spPr>
      </p:pic>
      <p:sp>
        <p:nvSpPr>
          <p:cNvPr id="10" name="Rectangle 9">
            <a:extLst>
              <a:ext uri="{FF2B5EF4-FFF2-40B4-BE49-F238E27FC236}">
                <a16:creationId xmlns:a16="http://schemas.microsoft.com/office/drawing/2014/main" id="{9249FA7A-86B3-3263-51A2-D3CB8403A575}"/>
              </a:ext>
            </a:extLst>
          </p:cNvPr>
          <p:cNvSpPr/>
          <p:nvPr/>
        </p:nvSpPr>
        <p:spPr>
          <a:xfrm>
            <a:off x="8902445" y="1851864"/>
            <a:ext cx="1606249" cy="602344"/>
          </a:xfrm>
          <a:prstGeom prst="rect">
            <a:avLst/>
          </a:prstGeom>
          <a:solidFill>
            <a:srgbClr val="996633"/>
          </a:solidFill>
          <a:ln w="12700" cap="flat" cmpd="sng" algn="ctr">
            <a:solidFill>
              <a:srgbClr val="ED7D31">
                <a:lumMod val="75000"/>
              </a:srgbClr>
            </a:solidFill>
            <a:prstDash val="solid"/>
            <a:miter lim="800000"/>
          </a:ln>
          <a:effectLst/>
        </p:spPr>
        <p:txBody>
          <a:bodyPr rtlCol="0" anchor="ctr"/>
          <a:lstStyle/>
          <a:p>
            <a:pPr marL="0" marR="0" lvl="0" indent="0" algn="ctr" defTabSz="1218042" rtl="0" eaLnBrk="1" fontAlgn="auto" latinLnBrk="0" hangingPunct="1">
              <a:lnSpc>
                <a:spcPct val="100000"/>
              </a:lnSpc>
              <a:spcBef>
                <a:spcPts val="0"/>
              </a:spcBef>
              <a:spcAft>
                <a:spcPts val="0"/>
              </a:spcAft>
              <a:buClrTx/>
              <a:buSzTx/>
              <a:buFontTx/>
              <a:buNone/>
              <a:tabLst/>
              <a:defRPr/>
            </a:pPr>
            <a:r>
              <a:rPr kumimoji="0" lang="en-US" sz="1865" b="1" i="0" u="none" strike="noStrike" kern="0" cap="none" spc="0" normalizeH="0" baseline="0" noProof="0" dirty="0">
                <a:ln>
                  <a:noFill/>
                </a:ln>
                <a:solidFill>
                  <a:prstClr val="white"/>
                </a:solidFill>
                <a:effectLst/>
                <a:uLnTx/>
                <a:uFillTx/>
                <a:latin typeface="Arial Narrow" panose="020B0606020202030204" pitchFamily="34" charset="0"/>
                <a:ea typeface="ＭＳ Ｐゴシック"/>
                <a:cs typeface="+mn-cs"/>
              </a:rPr>
              <a:t>Pulmonary</a:t>
            </a:r>
          </a:p>
          <a:p>
            <a:pPr marL="0" marR="0" lvl="0" indent="0" algn="ctr" defTabSz="1218042" rtl="0" eaLnBrk="1" fontAlgn="auto" latinLnBrk="0" hangingPunct="1">
              <a:lnSpc>
                <a:spcPct val="100000"/>
              </a:lnSpc>
              <a:spcBef>
                <a:spcPts val="0"/>
              </a:spcBef>
              <a:spcAft>
                <a:spcPts val="0"/>
              </a:spcAft>
              <a:buClrTx/>
              <a:buSzTx/>
              <a:buFontTx/>
              <a:buNone/>
              <a:tabLst/>
              <a:defRPr/>
            </a:pPr>
            <a:r>
              <a:rPr kumimoji="0" lang="en-US" sz="1865" b="1" i="0" u="none" strike="noStrike" kern="0" cap="none" spc="0" normalizeH="0" baseline="0" noProof="0" dirty="0">
                <a:ln>
                  <a:noFill/>
                </a:ln>
                <a:solidFill>
                  <a:prstClr val="white"/>
                </a:solidFill>
                <a:effectLst/>
                <a:uLnTx/>
                <a:uFillTx/>
                <a:latin typeface="Arial Narrow" panose="020B0606020202030204" pitchFamily="34" charset="0"/>
                <a:ea typeface="ＭＳ Ｐゴシック"/>
                <a:cs typeface="+mn-cs"/>
              </a:rPr>
              <a:t>toxicity</a:t>
            </a:r>
          </a:p>
        </p:txBody>
      </p:sp>
      <p:sp>
        <p:nvSpPr>
          <p:cNvPr id="11" name="TextBox 10">
            <a:extLst>
              <a:ext uri="{FF2B5EF4-FFF2-40B4-BE49-F238E27FC236}">
                <a16:creationId xmlns:a16="http://schemas.microsoft.com/office/drawing/2014/main" id="{96F42A5F-D993-FFF5-D9B0-2416D1FFCC4A}"/>
              </a:ext>
            </a:extLst>
          </p:cNvPr>
          <p:cNvSpPr txBox="1"/>
          <p:nvPr/>
        </p:nvSpPr>
        <p:spPr>
          <a:xfrm>
            <a:off x="8945166" y="2814057"/>
            <a:ext cx="1468672" cy="420243"/>
          </a:xfrm>
          <a:prstGeom prst="rect">
            <a:avLst/>
          </a:prstGeom>
          <a:solidFill>
            <a:schemeClr val="bg1">
              <a:lumMod val="95000"/>
            </a:schemeClr>
          </a:solidFill>
        </p:spPr>
        <p:txBody>
          <a:bodyPr wrap="none" rtlCol="0">
            <a:spAutoFit/>
          </a:bodyPr>
          <a:lstStyle/>
          <a:p>
            <a:pPr marL="0" marR="0" lvl="0" indent="0" algn="l" defTabSz="1218042" rtl="0" eaLnBrk="1" fontAlgn="base" latinLnBrk="0" hangingPunct="1">
              <a:lnSpc>
                <a:spcPct val="100000"/>
              </a:lnSpc>
              <a:spcBef>
                <a:spcPct val="0"/>
              </a:spcBef>
              <a:spcAft>
                <a:spcPct val="0"/>
              </a:spcAft>
              <a:buClrTx/>
              <a:buSzTx/>
              <a:buFontTx/>
              <a:buNone/>
              <a:tabLst/>
              <a:defRPr/>
            </a:pPr>
            <a:r>
              <a:rPr kumimoji="0" lang="en-US" sz="2131" b="0" i="0" u="none" strike="noStrike" kern="1200" cap="none" spc="0" normalizeH="0" baseline="0" noProof="0" dirty="0">
                <a:ln>
                  <a:noFill/>
                </a:ln>
                <a:solidFill>
                  <a:srgbClr val="000000"/>
                </a:solidFill>
                <a:effectLst/>
                <a:uLnTx/>
                <a:uFillTx/>
                <a:latin typeface="Arial Narrow" panose="020B0606020202030204" pitchFamily="34" charset="0"/>
                <a:ea typeface="ＭＳ Ｐゴシック" charset="0"/>
                <a:cs typeface="+mn-cs"/>
              </a:rPr>
              <a:t>Inflammation</a:t>
            </a:r>
          </a:p>
        </p:txBody>
      </p:sp>
      <p:sp>
        <p:nvSpPr>
          <p:cNvPr id="12" name="TextBox 11">
            <a:extLst>
              <a:ext uri="{FF2B5EF4-FFF2-40B4-BE49-F238E27FC236}">
                <a16:creationId xmlns:a16="http://schemas.microsoft.com/office/drawing/2014/main" id="{721B3D07-9D27-230C-8DDE-8A5157236A47}"/>
              </a:ext>
            </a:extLst>
          </p:cNvPr>
          <p:cNvSpPr txBox="1"/>
          <p:nvPr/>
        </p:nvSpPr>
        <p:spPr>
          <a:xfrm>
            <a:off x="9145533" y="3219477"/>
            <a:ext cx="970137" cy="420243"/>
          </a:xfrm>
          <a:prstGeom prst="rect">
            <a:avLst/>
          </a:prstGeom>
          <a:solidFill>
            <a:schemeClr val="bg1">
              <a:lumMod val="95000"/>
            </a:schemeClr>
          </a:solidFill>
        </p:spPr>
        <p:txBody>
          <a:bodyPr wrap="none" rtlCol="0">
            <a:spAutoFit/>
          </a:bodyPr>
          <a:lstStyle/>
          <a:p>
            <a:pPr marL="0" marR="0" lvl="0" indent="0" algn="l" defTabSz="1218042" rtl="0" eaLnBrk="1" fontAlgn="base" latinLnBrk="0" hangingPunct="1">
              <a:lnSpc>
                <a:spcPct val="100000"/>
              </a:lnSpc>
              <a:spcBef>
                <a:spcPct val="0"/>
              </a:spcBef>
              <a:spcAft>
                <a:spcPct val="0"/>
              </a:spcAft>
              <a:buClrTx/>
              <a:buSzTx/>
              <a:buFontTx/>
              <a:buNone/>
              <a:tabLst/>
              <a:defRPr/>
            </a:pPr>
            <a:r>
              <a:rPr kumimoji="0" lang="en-US" sz="2131" b="0" i="0" u="none" strike="noStrike" kern="1200" cap="none" spc="0" normalizeH="0" baseline="0" noProof="0" dirty="0">
                <a:ln>
                  <a:noFill/>
                </a:ln>
                <a:solidFill>
                  <a:srgbClr val="000000"/>
                </a:solidFill>
                <a:effectLst/>
                <a:uLnTx/>
                <a:uFillTx/>
                <a:latin typeface="Arial Narrow" panose="020B0606020202030204" pitchFamily="34" charset="0"/>
                <a:ea typeface="ＭＳ Ｐゴシック" charset="0"/>
                <a:cs typeface="+mn-cs"/>
              </a:rPr>
              <a:t>Fibrosis</a:t>
            </a:r>
          </a:p>
        </p:txBody>
      </p:sp>
    </p:spTree>
    <p:extLst>
      <p:ext uri="{BB962C8B-B14F-4D97-AF65-F5344CB8AC3E}">
        <p14:creationId xmlns:p14="http://schemas.microsoft.com/office/powerpoint/2010/main" val="7835311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4837-5F49-13BD-1DBF-1C482C6188F2}"/>
              </a:ext>
            </a:extLst>
          </p:cNvPr>
          <p:cNvSpPr>
            <a:spLocks noGrp="1"/>
          </p:cNvSpPr>
          <p:nvPr>
            <p:ph type="title"/>
          </p:nvPr>
        </p:nvSpPr>
        <p:spPr>
          <a:xfrm>
            <a:off x="504831" y="250210"/>
            <a:ext cx="9804812" cy="926471"/>
          </a:xfrm>
        </p:spPr>
        <p:txBody>
          <a:bodyPr>
            <a:normAutofit fontScale="90000"/>
          </a:bodyPr>
          <a:lstStyle/>
          <a:p>
            <a:pPr algn="l"/>
            <a:r>
              <a:rPr lang="en-US" sz="3731" b="1" dirty="0">
                <a:solidFill>
                  <a:srgbClr val="7030A0"/>
                </a:solidFill>
                <a:latin typeface="Arial Narrow" panose="020B0606020202030204" pitchFamily="34" charset="0"/>
              </a:rPr>
              <a:t>Mechanisms of Ocular ADC Toxicity</a:t>
            </a:r>
            <a:br>
              <a:rPr lang="en-US" sz="3731" b="1" dirty="0">
                <a:solidFill>
                  <a:srgbClr val="7030A0"/>
                </a:solidFill>
                <a:latin typeface="Arial Narrow" panose="020B0606020202030204" pitchFamily="34" charset="0"/>
              </a:rPr>
            </a:br>
            <a:endParaRPr lang="en-US" sz="3731" b="1" dirty="0">
              <a:solidFill>
                <a:srgbClr val="7030A0"/>
              </a:solidFill>
              <a:latin typeface="Arial Narrow" panose="020B0606020202030204" pitchFamily="34" charset="0"/>
            </a:endParaRPr>
          </a:p>
        </p:txBody>
      </p:sp>
      <p:pic>
        <p:nvPicPr>
          <p:cNvPr id="6" name="Picture 5" descr="A diagram of cell division&#10;&#10;Description automatically generated">
            <a:extLst>
              <a:ext uri="{FF2B5EF4-FFF2-40B4-BE49-F238E27FC236}">
                <a16:creationId xmlns:a16="http://schemas.microsoft.com/office/drawing/2014/main" id="{75CBC482-7BA6-1925-E308-EABE1F0EEC0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b="30425"/>
          <a:stretch/>
        </p:blipFill>
        <p:spPr>
          <a:xfrm>
            <a:off x="667358" y="1176681"/>
            <a:ext cx="10857283" cy="4814304"/>
          </a:xfrm>
          <a:prstGeom prst="rect">
            <a:avLst/>
          </a:prstGeom>
        </p:spPr>
      </p:pic>
    </p:spTree>
    <p:extLst>
      <p:ext uri="{BB962C8B-B14F-4D97-AF65-F5344CB8AC3E}">
        <p14:creationId xmlns:p14="http://schemas.microsoft.com/office/powerpoint/2010/main" val="3185263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EE8EF5E-5C4A-1CD0-5920-1575EADBBC24}"/>
              </a:ext>
            </a:extLst>
          </p:cNvPr>
          <p:cNvPicPr>
            <a:picLocks noChangeAspect="1"/>
          </p:cNvPicPr>
          <p:nvPr/>
        </p:nvPicPr>
        <p:blipFill>
          <a:blip r:embed="rId2"/>
          <a:stretch>
            <a:fillRect/>
          </a:stretch>
        </p:blipFill>
        <p:spPr>
          <a:xfrm>
            <a:off x="126430" y="1879134"/>
            <a:ext cx="11945329" cy="3061983"/>
          </a:xfrm>
          <a:prstGeom prst="rect">
            <a:avLst/>
          </a:prstGeom>
        </p:spPr>
      </p:pic>
      <p:sp>
        <p:nvSpPr>
          <p:cNvPr id="2" name="Title 1">
            <a:extLst>
              <a:ext uri="{FF2B5EF4-FFF2-40B4-BE49-F238E27FC236}">
                <a16:creationId xmlns:a16="http://schemas.microsoft.com/office/drawing/2014/main" id="{AE303B8F-35C6-4369-0F50-56B9722296F5}"/>
              </a:ext>
            </a:extLst>
          </p:cNvPr>
          <p:cNvSpPr txBox="1">
            <a:spLocks/>
          </p:cNvSpPr>
          <p:nvPr/>
        </p:nvSpPr>
        <p:spPr>
          <a:xfrm>
            <a:off x="504831" y="250210"/>
            <a:ext cx="9804812" cy="926471"/>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731" b="1" i="0" u="none" strike="noStrike" kern="1200" cap="none" spc="0" normalizeH="0" baseline="0" noProof="0" dirty="0">
                <a:ln>
                  <a:noFill/>
                </a:ln>
                <a:solidFill>
                  <a:srgbClr val="7030A0"/>
                </a:solidFill>
                <a:effectLst/>
                <a:uLnTx/>
                <a:uFillTx/>
                <a:latin typeface="Arial Narrow" panose="020B0606020202030204" pitchFamily="34" charset="0"/>
                <a:ea typeface="+mj-ea"/>
                <a:cs typeface="+mj-cs"/>
              </a:rPr>
              <a:t>Mitigation of Ocular ADC Toxicity</a:t>
            </a:r>
            <a:br>
              <a:rPr kumimoji="0" lang="en-US" sz="3731" b="1" i="0" u="none" strike="noStrike" kern="1200" cap="none" spc="0" normalizeH="0" baseline="0" noProof="0" dirty="0">
                <a:ln>
                  <a:noFill/>
                </a:ln>
                <a:solidFill>
                  <a:srgbClr val="7030A0"/>
                </a:solidFill>
                <a:effectLst/>
                <a:uLnTx/>
                <a:uFillTx/>
                <a:latin typeface="Arial Narrow" panose="020B0606020202030204" pitchFamily="34" charset="0"/>
                <a:ea typeface="+mj-ea"/>
                <a:cs typeface="+mj-cs"/>
              </a:rPr>
            </a:br>
            <a:endParaRPr kumimoji="0" lang="en-US" sz="3731" b="1" i="0" u="none" strike="noStrike" kern="1200" cap="none" spc="0" normalizeH="0" baseline="0" noProof="0" dirty="0">
              <a:ln>
                <a:noFill/>
              </a:ln>
              <a:solidFill>
                <a:srgbClr val="7030A0"/>
              </a:solidFill>
              <a:effectLst/>
              <a:uLnTx/>
              <a:uFillTx/>
              <a:latin typeface="Arial Narrow" panose="020B0606020202030204" pitchFamily="34" charset="0"/>
              <a:ea typeface="+mj-ea"/>
              <a:cs typeface="+mj-cs"/>
            </a:endParaRPr>
          </a:p>
        </p:txBody>
      </p:sp>
      <p:sp>
        <p:nvSpPr>
          <p:cNvPr id="5" name="TextBox 4">
            <a:extLst>
              <a:ext uri="{FF2B5EF4-FFF2-40B4-BE49-F238E27FC236}">
                <a16:creationId xmlns:a16="http://schemas.microsoft.com/office/drawing/2014/main" id="{AB93C93C-C468-B4E0-7D04-29BED179ACF2}"/>
              </a:ext>
            </a:extLst>
          </p:cNvPr>
          <p:cNvSpPr txBox="1"/>
          <p:nvPr/>
        </p:nvSpPr>
        <p:spPr>
          <a:xfrm>
            <a:off x="805416" y="4059405"/>
            <a:ext cx="1831458" cy="268046"/>
          </a:xfrm>
          <a:prstGeom prst="rect">
            <a:avLst/>
          </a:prstGeom>
          <a:solidFill>
            <a:srgbClr val="ECF5D9"/>
          </a:solidFill>
        </p:spPr>
        <p:txBody>
          <a:bodyPr wrap="square" lIns="0" tIns="0" rIns="0" bIns="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Ophthalmic examination</a:t>
            </a:r>
          </a:p>
        </p:txBody>
      </p:sp>
    </p:spTree>
    <p:extLst>
      <p:ext uri="{BB962C8B-B14F-4D97-AF65-F5344CB8AC3E}">
        <p14:creationId xmlns:p14="http://schemas.microsoft.com/office/powerpoint/2010/main" val="675086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hape 0"/>
          <p:cNvSpPr/>
          <p:nvPr/>
        </p:nvSpPr>
        <p:spPr>
          <a:xfrm>
            <a:off x="621792" y="414528"/>
            <a:ext cx="658368" cy="658368"/>
          </a:xfrm>
          <a:prstGeom prst="ellipse">
            <a:avLst/>
          </a:prstGeom>
          <a:solidFill>
            <a:srgbClr val="EEEEEE"/>
          </a:solidFill>
          <a:ln w="6350">
            <a:solidFill>
              <a:srgbClr val="CCCC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 name="Image 0" descr="preencoded.png"/>
          <p:cNvPicPr>
            <a:picLocks noChangeAspect="1"/>
          </p:cNvPicPr>
          <p:nvPr/>
        </p:nvPicPr>
        <p:blipFill>
          <a:blip r:embed="rId3"/>
          <a:stretch>
            <a:fillRect/>
          </a:stretch>
        </p:blipFill>
        <p:spPr>
          <a:xfrm>
            <a:off x="670560" y="463296"/>
            <a:ext cx="560832" cy="560832"/>
          </a:xfrm>
          <a:prstGeom prst="rect">
            <a:avLst/>
          </a:prstGeom>
        </p:spPr>
      </p:pic>
      <p:sp>
        <p:nvSpPr>
          <p:cNvPr id="4" name="Text 1"/>
          <p:cNvSpPr/>
          <p:nvPr/>
        </p:nvSpPr>
        <p:spPr>
          <a:xfrm>
            <a:off x="1560576" y="341376"/>
            <a:ext cx="10180320" cy="48768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533" b="1" i="0" u="none" strike="noStrike" kern="1200" cap="none" spc="0" normalizeH="0" baseline="0" noProof="0" dirty="0">
                <a:ln>
                  <a:noFill/>
                </a:ln>
                <a:solidFill>
                  <a:srgbClr val="111111"/>
                </a:solidFill>
                <a:effectLst/>
                <a:uLnTx/>
                <a:uFillTx/>
                <a:latin typeface="Calibri" pitchFamily="34" charset="0"/>
                <a:ea typeface="Calibri" pitchFamily="34" charset="-122"/>
                <a:cs typeface="Calibri" pitchFamily="34" charset="-120"/>
              </a:rPr>
              <a:t>Ophthalmic examination</a:t>
            </a:r>
            <a:endParaRPr kumimoji="0" lang="en-US" sz="25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 2"/>
          <p:cNvSpPr/>
          <p:nvPr/>
        </p:nvSpPr>
        <p:spPr>
          <a:xfrm>
            <a:off x="1560576" y="829056"/>
            <a:ext cx="10180320" cy="926592"/>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444444"/>
                </a:solidFill>
                <a:effectLst/>
                <a:uLnTx/>
                <a:uFillTx/>
                <a:latin typeface="Calibri" pitchFamily="34" charset="0"/>
                <a:ea typeface="Calibri" pitchFamily="34" charset="-122"/>
                <a:cs typeface="Calibri" pitchFamily="34" charset="-120"/>
              </a:rPr>
              <a:t>Visual acuity, slit lamp exam</a:t>
            </a:r>
            <a:endParaRPr kumimoji="0" lang="en-US" sz="1733"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444444"/>
                </a:solidFill>
                <a:effectLst/>
                <a:uLnTx/>
                <a:uFillTx/>
                <a:latin typeface="Calibri" pitchFamily="34" charset="0"/>
                <a:ea typeface="Calibri" pitchFamily="34" charset="-122"/>
                <a:cs typeface="Calibri" pitchFamily="34" charset="-120"/>
              </a:rPr>
              <a:t>Mandatory prior to initiation, every other cycle until cycle 8</a:t>
            </a:r>
            <a:endParaRPr kumimoji="0" lang="en-US" sz="1733"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444444"/>
                </a:solidFill>
                <a:effectLst/>
                <a:uLnTx/>
                <a:uFillTx/>
                <a:latin typeface="Calibri" pitchFamily="34" charset="0"/>
                <a:ea typeface="Calibri" pitchFamily="34" charset="-122"/>
                <a:cs typeface="Calibri" pitchFamily="34" charset="-120"/>
              </a:rPr>
              <a:t>Then as clinically indicated</a:t>
            </a:r>
            <a:endParaRPr kumimoji="0" lang="en-US" sz="17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hape 3"/>
          <p:cNvSpPr/>
          <p:nvPr/>
        </p:nvSpPr>
        <p:spPr>
          <a:xfrm>
            <a:off x="487680" y="1914144"/>
            <a:ext cx="11216640" cy="0"/>
          </a:xfrm>
          <a:prstGeom prst="line">
            <a:avLst/>
          </a:prstGeom>
          <a:noFill/>
          <a:ln w="9525">
            <a:solidFill>
              <a:srgbClr val="E8E8E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hape 4"/>
          <p:cNvSpPr/>
          <p:nvPr/>
        </p:nvSpPr>
        <p:spPr>
          <a:xfrm>
            <a:off x="621792" y="2121408"/>
            <a:ext cx="658368" cy="658368"/>
          </a:xfrm>
          <a:prstGeom prst="ellipse">
            <a:avLst/>
          </a:prstGeom>
          <a:solidFill>
            <a:srgbClr val="EEEEEE"/>
          </a:solidFill>
          <a:ln w="6350">
            <a:solidFill>
              <a:srgbClr val="CCCC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 name="Image 1" descr="preencoded.png"/>
          <p:cNvPicPr>
            <a:picLocks noChangeAspect="1"/>
          </p:cNvPicPr>
          <p:nvPr/>
        </p:nvPicPr>
        <p:blipFill>
          <a:blip r:embed="rId4"/>
          <a:stretch>
            <a:fillRect/>
          </a:stretch>
        </p:blipFill>
        <p:spPr>
          <a:xfrm>
            <a:off x="670560" y="2170176"/>
            <a:ext cx="560832" cy="560832"/>
          </a:xfrm>
          <a:prstGeom prst="rect">
            <a:avLst/>
          </a:prstGeom>
        </p:spPr>
      </p:pic>
      <p:sp>
        <p:nvSpPr>
          <p:cNvPr id="9" name="Text 5"/>
          <p:cNvSpPr/>
          <p:nvPr/>
        </p:nvSpPr>
        <p:spPr>
          <a:xfrm>
            <a:off x="1560576" y="2048256"/>
            <a:ext cx="10180320" cy="46329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533" b="1" i="0" u="none" strike="noStrike" kern="1200" cap="none" spc="0" normalizeH="0" baseline="0" noProof="0" dirty="0">
                <a:ln>
                  <a:noFill/>
                </a:ln>
                <a:solidFill>
                  <a:srgbClr val="111111"/>
                </a:solidFill>
                <a:effectLst/>
                <a:uLnTx/>
                <a:uFillTx/>
                <a:latin typeface="Calibri" pitchFamily="34" charset="0"/>
                <a:ea typeface="Calibri" pitchFamily="34" charset="-122"/>
                <a:cs typeface="Calibri" pitchFamily="34" charset="-120"/>
              </a:rPr>
              <a:t>Lubricating eye drops</a:t>
            </a:r>
            <a:endParaRPr kumimoji="0" lang="en-US" sz="25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 6"/>
          <p:cNvSpPr/>
          <p:nvPr/>
        </p:nvSpPr>
        <p:spPr>
          <a:xfrm>
            <a:off x="1560576" y="2511552"/>
            <a:ext cx="10180320" cy="536448"/>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444444"/>
                </a:solidFill>
                <a:effectLst/>
                <a:uLnTx/>
                <a:uFillTx/>
                <a:latin typeface="Calibri" pitchFamily="34" charset="0"/>
                <a:ea typeface="Calibri" pitchFamily="34" charset="-122"/>
                <a:cs typeface="Calibri" pitchFamily="34" charset="-120"/>
              </a:rPr>
              <a:t>Throughout the treatment</a:t>
            </a:r>
            <a:endParaRPr kumimoji="0" lang="en-US" sz="1733"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444444"/>
                </a:solidFill>
                <a:effectLst/>
                <a:uLnTx/>
                <a:uFillTx/>
                <a:latin typeface="Calibri" pitchFamily="34" charset="0"/>
                <a:ea typeface="Calibri" pitchFamily="34" charset="-122"/>
                <a:cs typeface="Calibri" pitchFamily="34" charset="-120"/>
              </a:rPr>
              <a:t>At least four times daily</a:t>
            </a:r>
            <a:endParaRPr kumimoji="0" lang="en-US" sz="17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Shape 7"/>
          <p:cNvSpPr/>
          <p:nvPr/>
        </p:nvSpPr>
        <p:spPr>
          <a:xfrm>
            <a:off x="487680" y="3157728"/>
            <a:ext cx="11216640" cy="0"/>
          </a:xfrm>
          <a:prstGeom prst="line">
            <a:avLst/>
          </a:prstGeom>
          <a:noFill/>
          <a:ln w="9525">
            <a:solidFill>
              <a:srgbClr val="E8E8E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Shape 8"/>
          <p:cNvSpPr/>
          <p:nvPr/>
        </p:nvSpPr>
        <p:spPr>
          <a:xfrm>
            <a:off x="621792" y="3364992"/>
            <a:ext cx="658368" cy="658368"/>
          </a:xfrm>
          <a:prstGeom prst="ellipse">
            <a:avLst/>
          </a:prstGeom>
          <a:solidFill>
            <a:srgbClr val="EEEEEE"/>
          </a:solidFill>
          <a:ln w="6350">
            <a:solidFill>
              <a:srgbClr val="CCCC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Image 2" descr="preencoded.png"/>
          <p:cNvPicPr>
            <a:picLocks noChangeAspect="1"/>
          </p:cNvPicPr>
          <p:nvPr/>
        </p:nvPicPr>
        <p:blipFill>
          <a:blip r:embed="rId4"/>
          <a:stretch>
            <a:fillRect/>
          </a:stretch>
        </p:blipFill>
        <p:spPr>
          <a:xfrm>
            <a:off x="670560" y="3413760"/>
            <a:ext cx="560832" cy="560832"/>
          </a:xfrm>
          <a:prstGeom prst="rect">
            <a:avLst/>
          </a:prstGeom>
        </p:spPr>
      </p:pic>
      <p:sp>
        <p:nvSpPr>
          <p:cNvPr id="14" name="Text 9"/>
          <p:cNvSpPr/>
          <p:nvPr/>
        </p:nvSpPr>
        <p:spPr>
          <a:xfrm>
            <a:off x="1560576" y="3291840"/>
            <a:ext cx="10180320" cy="46329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533" b="1" i="0" u="none" strike="noStrike" kern="1200" cap="none" spc="0" normalizeH="0" baseline="0" noProof="0" dirty="0">
                <a:ln>
                  <a:noFill/>
                </a:ln>
                <a:solidFill>
                  <a:srgbClr val="111111"/>
                </a:solidFill>
                <a:effectLst/>
                <a:uLnTx/>
                <a:uFillTx/>
                <a:latin typeface="Calibri" pitchFamily="34" charset="0"/>
                <a:ea typeface="Calibri" pitchFamily="34" charset="-122"/>
                <a:cs typeface="Calibri" pitchFamily="34" charset="-120"/>
              </a:rPr>
              <a:t>Corticosteroid eye drops</a:t>
            </a:r>
            <a:endParaRPr kumimoji="0" lang="en-US" sz="25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Text 10"/>
          <p:cNvSpPr/>
          <p:nvPr/>
        </p:nvSpPr>
        <p:spPr>
          <a:xfrm>
            <a:off x="1560576" y="3767328"/>
            <a:ext cx="1018032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444444"/>
                </a:solidFill>
                <a:effectLst/>
                <a:uLnTx/>
                <a:uFillTx/>
                <a:latin typeface="Calibri" pitchFamily="34" charset="0"/>
                <a:ea typeface="Calibri" pitchFamily="34" charset="-122"/>
                <a:cs typeface="Calibri" pitchFamily="34" charset="-120"/>
              </a:rPr>
              <a:t>Prednisolone 1% or equivalent</a:t>
            </a:r>
            <a:endParaRPr kumimoji="0" lang="en-US" sz="17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Text 11"/>
          <p:cNvSpPr/>
          <p:nvPr/>
        </p:nvSpPr>
        <p:spPr>
          <a:xfrm>
            <a:off x="1560576" y="4108704"/>
            <a:ext cx="10180320" cy="316992"/>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333333"/>
                </a:solidFill>
                <a:effectLst/>
                <a:uLnTx/>
                <a:uFillTx/>
                <a:latin typeface="Calibri" pitchFamily="34" charset="0"/>
                <a:ea typeface="Calibri" pitchFamily="34" charset="-122"/>
                <a:cs typeface="Calibri" pitchFamily="34" charset="-120"/>
              </a:rPr>
              <a:t>Primary prophylaxis</a:t>
            </a:r>
            <a:endParaRPr kumimoji="0" lang="en-US" sz="17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 12"/>
          <p:cNvSpPr/>
          <p:nvPr/>
        </p:nvSpPr>
        <p:spPr>
          <a:xfrm>
            <a:off x="1560576" y="4413504"/>
            <a:ext cx="10180320" cy="316992"/>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733" b="1" i="0" u="sng" strike="noStrike" kern="1200" cap="none" spc="0" normalizeH="0" baseline="0" noProof="0" dirty="0">
                <a:ln>
                  <a:noFill/>
                </a:ln>
                <a:solidFill>
                  <a:srgbClr val="444444"/>
                </a:solidFill>
                <a:effectLst/>
                <a:uLnTx/>
                <a:uFillTx/>
                <a:latin typeface="Calibri" pitchFamily="34" charset="0"/>
                <a:ea typeface="Calibri" pitchFamily="34" charset="-122"/>
                <a:cs typeface="Calibri" pitchFamily="34" charset="-120"/>
              </a:rPr>
              <a:t>Day prior to infusion until day 4:</a:t>
            </a:r>
            <a:r>
              <a:rPr kumimoji="0" lang="en-US" sz="1733" b="0" i="0" u="sng" strike="noStrike" kern="1200" cap="none" spc="0" normalizeH="0" baseline="0" noProof="0" dirty="0">
                <a:ln>
                  <a:noFill/>
                </a:ln>
                <a:solidFill>
                  <a:srgbClr val="444444"/>
                </a:solidFill>
                <a:effectLst/>
                <a:uLnTx/>
                <a:uFillTx/>
                <a:latin typeface="Calibri" pitchFamily="34" charset="0"/>
                <a:ea typeface="Calibri" pitchFamily="34" charset="-122"/>
                <a:cs typeface="Calibri" pitchFamily="34" charset="-120"/>
              </a:rPr>
              <a:t> one drop in each eye, 6 times daily</a:t>
            </a:r>
            <a:endParaRPr kumimoji="0" lang="en-US" sz="17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 13"/>
          <p:cNvSpPr/>
          <p:nvPr/>
        </p:nvSpPr>
        <p:spPr>
          <a:xfrm>
            <a:off x="1560576" y="4730496"/>
            <a:ext cx="10180320" cy="316992"/>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733" b="1" i="0" u="sng" strike="noStrike" kern="1200" cap="none" spc="0" normalizeH="0" baseline="0" noProof="0" dirty="0">
                <a:ln>
                  <a:noFill/>
                </a:ln>
                <a:solidFill>
                  <a:srgbClr val="444444"/>
                </a:solidFill>
                <a:effectLst/>
                <a:uLnTx/>
                <a:uFillTx/>
                <a:latin typeface="Calibri" pitchFamily="34" charset="0"/>
                <a:ea typeface="Calibri" pitchFamily="34" charset="-122"/>
                <a:cs typeface="Calibri" pitchFamily="34" charset="-120"/>
              </a:rPr>
              <a:t>Days 5 to 8:</a:t>
            </a:r>
            <a:r>
              <a:rPr kumimoji="0" lang="en-US" sz="1733" b="0" i="0" u="sng" strike="noStrike" kern="1200" cap="none" spc="0" normalizeH="0" baseline="0" noProof="0" dirty="0">
                <a:ln>
                  <a:noFill/>
                </a:ln>
                <a:solidFill>
                  <a:srgbClr val="444444"/>
                </a:solidFill>
                <a:effectLst/>
                <a:uLnTx/>
                <a:uFillTx/>
                <a:latin typeface="Calibri" pitchFamily="34" charset="0"/>
                <a:ea typeface="Calibri" pitchFamily="34" charset="-122"/>
                <a:cs typeface="Calibri" pitchFamily="34" charset="-120"/>
              </a:rPr>
              <a:t> one drop in each eye, 4 times daily</a:t>
            </a:r>
            <a:endParaRPr kumimoji="0" lang="en-US" sz="17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Shape 14"/>
          <p:cNvSpPr/>
          <p:nvPr/>
        </p:nvSpPr>
        <p:spPr>
          <a:xfrm>
            <a:off x="487680" y="5425440"/>
            <a:ext cx="11216640" cy="0"/>
          </a:xfrm>
          <a:prstGeom prst="line">
            <a:avLst/>
          </a:prstGeom>
          <a:noFill/>
          <a:ln w="9525">
            <a:solidFill>
              <a:srgbClr val="E8E8E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Shape 15"/>
          <p:cNvSpPr/>
          <p:nvPr/>
        </p:nvSpPr>
        <p:spPr>
          <a:xfrm>
            <a:off x="621792" y="5608320"/>
            <a:ext cx="658368" cy="658368"/>
          </a:xfrm>
          <a:prstGeom prst="ellipse">
            <a:avLst/>
          </a:prstGeom>
          <a:solidFill>
            <a:srgbClr val="FFEEEE"/>
          </a:solidFill>
          <a:ln w="6350">
            <a:solidFill>
              <a:srgbClr val="FFCC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1" name="Image 3" descr="preencoded.png"/>
          <p:cNvPicPr>
            <a:picLocks noChangeAspect="1"/>
          </p:cNvPicPr>
          <p:nvPr/>
        </p:nvPicPr>
        <p:blipFill>
          <a:blip r:embed="rId5"/>
          <a:stretch>
            <a:fillRect/>
          </a:stretch>
        </p:blipFill>
        <p:spPr>
          <a:xfrm>
            <a:off x="670560" y="5657088"/>
            <a:ext cx="560832" cy="560832"/>
          </a:xfrm>
          <a:prstGeom prst="rect">
            <a:avLst/>
          </a:prstGeom>
        </p:spPr>
      </p:pic>
      <p:sp>
        <p:nvSpPr>
          <p:cNvPr id="22" name="Text 16"/>
          <p:cNvSpPr/>
          <p:nvPr/>
        </p:nvSpPr>
        <p:spPr>
          <a:xfrm>
            <a:off x="1560576" y="5559552"/>
            <a:ext cx="10180320" cy="46329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533" b="1" i="0" u="none" strike="noStrike" kern="1200" cap="none" spc="0" normalizeH="0" baseline="0" noProof="0" dirty="0">
                <a:ln>
                  <a:noFill/>
                </a:ln>
                <a:solidFill>
                  <a:srgbClr val="111111"/>
                </a:solidFill>
                <a:effectLst/>
                <a:uLnTx/>
                <a:uFillTx/>
                <a:latin typeface="Calibri" pitchFamily="34" charset="0"/>
                <a:ea typeface="Calibri" pitchFamily="34" charset="-122"/>
                <a:cs typeface="Calibri" pitchFamily="34" charset="-120"/>
              </a:rPr>
              <a:t>Avoid contact lenses</a:t>
            </a:r>
            <a:endParaRPr kumimoji="0" lang="en-US" sz="25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 17"/>
          <p:cNvSpPr/>
          <p:nvPr/>
        </p:nvSpPr>
        <p:spPr>
          <a:xfrm>
            <a:off x="1560576" y="6022848"/>
            <a:ext cx="1018032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444444"/>
                </a:solidFill>
                <a:effectLst/>
                <a:uLnTx/>
                <a:uFillTx/>
                <a:latin typeface="Calibri" pitchFamily="34" charset="0"/>
                <a:ea typeface="Calibri" pitchFamily="34" charset="-122"/>
                <a:cs typeface="Calibri" pitchFamily="34" charset="-120"/>
              </a:rPr>
              <a:t>Throughout the treatment</a:t>
            </a:r>
            <a:endParaRPr kumimoji="0" lang="en-US" sz="17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27C6675-AB5B-D5DE-E929-A900B8EC2739}"/>
              </a:ext>
            </a:extLst>
          </p:cNvPr>
          <p:cNvSpPr txBox="1">
            <a:spLocks/>
          </p:cNvSpPr>
          <p:nvPr/>
        </p:nvSpPr>
        <p:spPr>
          <a:xfrm>
            <a:off x="504831" y="250210"/>
            <a:ext cx="9804812" cy="926471"/>
          </a:xfrm>
          <a:prstGeom prst="rect">
            <a:avLst/>
          </a:prstGeom>
          <a:noFill/>
        </p:spPr>
        <p:txBody>
          <a:bodyPr/>
          <a:lstStyle>
            <a:lvl1pPr algn="ctr" rtl="0" eaLnBrk="1" fontAlgn="base" hangingPunct="1">
              <a:spcBef>
                <a:spcPct val="0"/>
              </a:spcBef>
              <a:spcAft>
                <a:spcPct val="0"/>
              </a:spcAft>
              <a:defRPr sz="3600" i="0">
                <a:solidFill>
                  <a:srgbClr val="003465"/>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l" defTabSz="1218042" rtl="0" eaLnBrk="1" fontAlgn="base" latinLnBrk="0" hangingPunct="1">
              <a:lnSpc>
                <a:spcPct val="100000"/>
              </a:lnSpc>
              <a:spcBef>
                <a:spcPct val="0"/>
              </a:spcBef>
              <a:spcAft>
                <a:spcPct val="0"/>
              </a:spcAft>
              <a:buClrTx/>
              <a:buSzTx/>
              <a:buFontTx/>
              <a:buNone/>
              <a:tabLst/>
              <a:defRPr/>
            </a:pPr>
            <a:r>
              <a:rPr kumimoji="0" lang="en-US" sz="3731" b="1" i="0" u="none" strike="noStrike" kern="0" cap="none" spc="0" normalizeH="0" baseline="0" noProof="0" dirty="0">
                <a:ln>
                  <a:noFill/>
                </a:ln>
                <a:solidFill>
                  <a:srgbClr val="7030A0"/>
                </a:solidFill>
                <a:effectLst/>
                <a:uLnTx/>
                <a:uFillTx/>
                <a:latin typeface="Arial Narrow" panose="020B0606020202030204" pitchFamily="34" charset="0"/>
                <a:ea typeface="ＭＳ Ｐゴシック"/>
                <a:cs typeface="+mj-cs"/>
              </a:rPr>
              <a:t>Mechanisms of Pulmonary ADC Toxicity</a:t>
            </a:r>
            <a:br>
              <a:rPr kumimoji="0" lang="en-US" sz="3731" b="1" i="0" u="none" strike="noStrike" kern="0" cap="none" spc="0" normalizeH="0" baseline="0" noProof="0" dirty="0">
                <a:ln>
                  <a:noFill/>
                </a:ln>
                <a:solidFill>
                  <a:srgbClr val="7030A0"/>
                </a:solidFill>
                <a:effectLst/>
                <a:uLnTx/>
                <a:uFillTx/>
                <a:latin typeface="Arial Narrow" panose="020B0606020202030204" pitchFamily="34" charset="0"/>
                <a:ea typeface="ＭＳ Ｐゴシック"/>
                <a:cs typeface="+mj-cs"/>
              </a:rPr>
            </a:br>
            <a:endParaRPr kumimoji="0" lang="en-US" sz="3731" b="1" i="0" u="none" strike="noStrike" kern="0" cap="none" spc="0" normalizeH="0" baseline="0" noProof="0" dirty="0">
              <a:ln>
                <a:noFill/>
              </a:ln>
              <a:solidFill>
                <a:srgbClr val="7030A0"/>
              </a:solidFill>
              <a:effectLst/>
              <a:uLnTx/>
              <a:uFillTx/>
              <a:latin typeface="Arial Narrow" panose="020B0606020202030204" pitchFamily="34" charset="0"/>
              <a:ea typeface="ＭＳ Ｐゴシック"/>
              <a:cs typeface="+mj-cs"/>
            </a:endParaRPr>
          </a:p>
        </p:txBody>
      </p:sp>
      <p:sp>
        <p:nvSpPr>
          <p:cNvPr id="12" name="TextBox 11">
            <a:extLst>
              <a:ext uri="{FF2B5EF4-FFF2-40B4-BE49-F238E27FC236}">
                <a16:creationId xmlns:a16="http://schemas.microsoft.com/office/drawing/2014/main" id="{7B1DD90D-144D-F400-4A55-700190223F8A}"/>
              </a:ext>
            </a:extLst>
          </p:cNvPr>
          <p:cNvSpPr txBox="1"/>
          <p:nvPr/>
        </p:nvSpPr>
        <p:spPr>
          <a:xfrm>
            <a:off x="852851" y="1555549"/>
            <a:ext cx="5055755" cy="4036426"/>
          </a:xfrm>
          <a:prstGeom prst="rect">
            <a:avLst/>
          </a:prstGeom>
          <a:noFill/>
        </p:spPr>
        <p:txBody>
          <a:bodyPr wrap="square" rtlCol="0">
            <a:spAutoFit/>
          </a:bodyPr>
          <a:lstStyle/>
          <a:p>
            <a:pPr marL="0" marR="0" lvl="0" indent="0" algn="l" defTabSz="913532" rtl="0" eaLnBrk="1" fontAlgn="auto" latinLnBrk="0" hangingPunct="1">
              <a:lnSpc>
                <a:spcPct val="100000"/>
              </a:lnSpc>
              <a:spcBef>
                <a:spcPts val="1332"/>
              </a:spcBef>
              <a:spcAft>
                <a:spcPts val="0"/>
              </a:spcAft>
              <a:buClrTx/>
              <a:buSzTx/>
              <a:buFontTx/>
              <a:buNone/>
              <a:tabLst/>
              <a:defRPr/>
            </a:pPr>
            <a:r>
              <a:rPr kumimoji="0" lang="en-US" sz="3197" b="1" i="0" u="none" strike="noStrike" kern="1200" cap="none" spc="0" normalizeH="0" baseline="0" noProof="0" dirty="0">
                <a:ln>
                  <a:noFill/>
                </a:ln>
                <a:solidFill>
                  <a:srgbClr val="7030A0"/>
                </a:solidFill>
                <a:effectLst/>
                <a:uLnTx/>
                <a:uFillTx/>
                <a:latin typeface="Arial Narrow" panose="020B0606020202030204" pitchFamily="34" charset="0"/>
                <a:ea typeface="ＭＳ Ｐゴシック" charset="0"/>
                <a:cs typeface="Arial" panose="020B0604020202020204" pitchFamily="34" charset="0"/>
              </a:rPr>
              <a:t>Can be </a:t>
            </a:r>
            <a:r>
              <a:rPr kumimoji="0" lang="en-US" sz="3197" b="1" i="1" u="sng" strike="noStrike" kern="1200" cap="none" spc="0" normalizeH="0" baseline="0" noProof="0" dirty="0">
                <a:ln>
                  <a:noFill/>
                </a:ln>
                <a:solidFill>
                  <a:srgbClr val="7030A0"/>
                </a:solidFill>
                <a:effectLst/>
                <a:uLnTx/>
                <a:uFillTx/>
                <a:latin typeface="Arial Narrow" panose="020B0606020202030204" pitchFamily="34" charset="0"/>
                <a:ea typeface="ＭＳ Ｐゴシック" charset="0"/>
                <a:cs typeface="Arial" panose="020B0604020202020204" pitchFamily="34" charset="0"/>
              </a:rPr>
              <a:t>on-target</a:t>
            </a:r>
            <a:r>
              <a:rPr kumimoji="0" lang="en-US" sz="3197" b="1" i="0" u="sng" strike="noStrike" kern="1200" cap="none" spc="0" normalizeH="0" baseline="0" noProof="0" dirty="0">
                <a:ln>
                  <a:noFill/>
                </a:ln>
                <a:solidFill>
                  <a:srgbClr val="7030A0"/>
                </a:solidFill>
                <a:effectLst/>
                <a:uLnTx/>
                <a:uFillTx/>
                <a:latin typeface="Arial Narrow" panose="020B0606020202030204" pitchFamily="34" charset="0"/>
                <a:ea typeface="ＭＳ Ｐゴシック" charset="0"/>
                <a:cs typeface="Arial" panose="020B0604020202020204" pitchFamily="34" charset="0"/>
              </a:rPr>
              <a:t> effect</a:t>
            </a:r>
          </a:p>
          <a:p>
            <a:pPr marL="0" marR="0" lvl="0" indent="0" algn="l" defTabSz="913532" rtl="0" eaLnBrk="1" fontAlgn="auto" latinLnBrk="0" hangingPunct="1">
              <a:lnSpc>
                <a:spcPct val="100000"/>
              </a:lnSpc>
              <a:spcBef>
                <a:spcPts val="1332"/>
              </a:spcBef>
              <a:spcAft>
                <a:spcPts val="0"/>
              </a:spcAft>
              <a:buClrTx/>
              <a:buSzTx/>
              <a:buFontTx/>
              <a:buNone/>
              <a:tabLst/>
              <a:defRPr/>
            </a:pPr>
            <a:endParaRPr kumimoji="0" lang="en-US" sz="3197" b="1" i="0" u="none" strike="noStrike" kern="1200" cap="none" spc="0" normalizeH="0" baseline="0" noProof="0" dirty="0">
              <a:ln>
                <a:noFill/>
              </a:ln>
              <a:solidFill>
                <a:srgbClr val="7030A0"/>
              </a:solidFill>
              <a:effectLst/>
              <a:uLnTx/>
              <a:uFillTx/>
              <a:latin typeface="Arial Narrow" panose="020B0606020202030204" pitchFamily="34" charset="0"/>
              <a:ea typeface="ＭＳ Ｐゴシック" charset="0"/>
              <a:cs typeface="Arial" panose="020B0604020202020204" pitchFamily="34" charset="0"/>
            </a:endParaRPr>
          </a:p>
          <a:p>
            <a:pPr marL="0" marR="0" lvl="0" indent="0" algn="l" defTabSz="913532" rtl="0" eaLnBrk="1" fontAlgn="auto" latinLnBrk="0" hangingPunct="1">
              <a:lnSpc>
                <a:spcPct val="100000"/>
              </a:lnSpc>
              <a:spcBef>
                <a:spcPts val="1332"/>
              </a:spcBef>
              <a:spcAft>
                <a:spcPts val="0"/>
              </a:spcAft>
              <a:buClrTx/>
              <a:buSzTx/>
              <a:buFontTx/>
              <a:buNone/>
              <a:tabLst/>
              <a:defRPr/>
            </a:pPr>
            <a:r>
              <a:rPr kumimoji="0" lang="en-US" sz="3197" b="1" i="1" u="sng" strike="noStrike" kern="1200" cap="none" spc="0" normalizeH="0" baseline="0" noProof="0" dirty="0">
                <a:ln>
                  <a:noFill/>
                </a:ln>
                <a:solidFill>
                  <a:srgbClr val="7030A0"/>
                </a:solidFill>
                <a:effectLst/>
                <a:uLnTx/>
                <a:uFillTx/>
                <a:latin typeface="Arial Narrow" panose="020B0606020202030204" pitchFamily="34" charset="0"/>
                <a:ea typeface="ＭＳ Ｐゴシック" charset="0"/>
                <a:cs typeface="Arial" panose="020B0604020202020204" pitchFamily="34" charset="0"/>
              </a:rPr>
              <a:t>Off-target effect</a:t>
            </a:r>
            <a:r>
              <a:rPr kumimoji="0" lang="en-US" sz="3197" b="1" i="1" u="none" strike="noStrike" kern="1200" cap="none" spc="0" normalizeH="0" baseline="0" noProof="0" dirty="0">
                <a:ln>
                  <a:noFill/>
                </a:ln>
                <a:solidFill>
                  <a:srgbClr val="7030A0"/>
                </a:solidFill>
                <a:effectLst/>
                <a:uLnTx/>
                <a:uFillTx/>
                <a:latin typeface="Arial Narrow" panose="020B0606020202030204" pitchFamily="34" charset="0"/>
                <a:ea typeface="ＭＳ Ｐゴシック" charset="0"/>
                <a:cs typeface="Arial" panose="020B0604020202020204" pitchFamily="34" charset="0"/>
              </a:rPr>
              <a:t> by </a:t>
            </a:r>
            <a:r>
              <a:rPr kumimoji="0" lang="en-US" sz="3197" b="1" i="0" u="none" strike="noStrike" kern="1200" cap="none" spc="0" normalizeH="0" baseline="0" noProof="0" dirty="0">
                <a:ln>
                  <a:noFill/>
                </a:ln>
                <a:solidFill>
                  <a:srgbClr val="7030A0"/>
                </a:solidFill>
                <a:effectLst/>
                <a:uLnTx/>
                <a:uFillTx/>
                <a:latin typeface="Arial Narrow" panose="020B0606020202030204" pitchFamily="34" charset="0"/>
                <a:ea typeface="ＭＳ Ｐゴシック" charset="0"/>
                <a:cs typeface="Arial" panose="020B0604020202020204" pitchFamily="34" charset="0"/>
              </a:rPr>
              <a:t>accumulation of ADC in alveolar macrophages </a:t>
            </a:r>
            <a:br>
              <a:rPr kumimoji="0" lang="en-US" sz="3197" b="1" i="0" u="none" strike="noStrike" kern="1200" cap="none" spc="0" normalizeH="0" baseline="0" noProof="0" dirty="0">
                <a:ln>
                  <a:noFill/>
                </a:ln>
                <a:solidFill>
                  <a:srgbClr val="7030A0"/>
                </a:solidFill>
                <a:effectLst/>
                <a:uLnTx/>
                <a:uFillTx/>
                <a:latin typeface="Arial Narrow" panose="020B0606020202030204" pitchFamily="34" charset="0"/>
                <a:ea typeface="ＭＳ Ｐゴシック" charset="0"/>
                <a:cs typeface="Arial" panose="020B0604020202020204" pitchFamily="34" charset="0"/>
              </a:rPr>
            </a:br>
            <a:r>
              <a:rPr kumimoji="0" lang="en-US" sz="3197" b="1" i="0" u="none" strike="noStrike" kern="1200" cap="none" spc="0" normalizeH="0" baseline="0" noProof="0" dirty="0" err="1">
                <a:ln>
                  <a:noFill/>
                </a:ln>
                <a:solidFill>
                  <a:srgbClr val="FF0000"/>
                </a:solidFill>
                <a:effectLst/>
                <a:uLnTx/>
                <a:uFillTx/>
                <a:latin typeface="Arial Narrow" panose="020B0606020202030204" pitchFamily="34" charset="0"/>
                <a:ea typeface="ＭＳ Ｐゴシック" charset="0"/>
                <a:cs typeface="Arial" panose="020B0604020202020204" pitchFamily="34" charset="0"/>
              </a:rPr>
              <a:t>FcγR</a:t>
            </a:r>
            <a:r>
              <a:rPr kumimoji="0" lang="en-US" sz="3197" b="1" i="0" u="none" strike="noStrike" kern="1200" cap="none" spc="0" normalizeH="0" baseline="0" noProof="0" dirty="0">
                <a:ln>
                  <a:noFill/>
                </a:ln>
                <a:solidFill>
                  <a:srgbClr val="FF0000"/>
                </a:solidFill>
                <a:effectLst/>
                <a:uLnTx/>
                <a:uFillTx/>
                <a:latin typeface="Arial Narrow" panose="020B0606020202030204" pitchFamily="34" charset="0"/>
                <a:ea typeface="ＭＳ Ｐゴシック" charset="0"/>
                <a:cs typeface="Arial" panose="020B0604020202020204" pitchFamily="34" charset="0"/>
              </a:rPr>
              <a:t> driven mechanism</a:t>
            </a:r>
            <a:endParaRPr kumimoji="0" lang="en-US" sz="3197" b="1" i="0" u="none" strike="noStrike" kern="1200" cap="none" spc="0" normalizeH="0" baseline="0" noProof="0" dirty="0">
              <a:ln>
                <a:noFill/>
              </a:ln>
              <a:solidFill>
                <a:srgbClr val="7030A0"/>
              </a:solidFill>
              <a:effectLst/>
              <a:uLnTx/>
              <a:uFillTx/>
              <a:latin typeface="Arial Narrow" panose="020B0606020202030204" pitchFamily="34" charset="0"/>
              <a:ea typeface="ＭＳ Ｐゴシック" charset="0"/>
              <a:cs typeface="Arial" panose="020B0604020202020204" pitchFamily="34" charset="0"/>
            </a:endParaRPr>
          </a:p>
          <a:p>
            <a:pPr marL="0" marR="0" lvl="0" indent="0" algn="l" defTabSz="913532" rtl="0" eaLnBrk="1" fontAlgn="auto" latinLnBrk="0" hangingPunct="1">
              <a:lnSpc>
                <a:spcPct val="100000"/>
              </a:lnSpc>
              <a:spcBef>
                <a:spcPts val="1332"/>
              </a:spcBef>
              <a:spcAft>
                <a:spcPts val="0"/>
              </a:spcAft>
              <a:buClrTx/>
              <a:buSzTx/>
              <a:buFontTx/>
              <a:buNone/>
              <a:tabLst/>
              <a:defRPr/>
            </a:pPr>
            <a:endParaRPr kumimoji="0" lang="en-US" sz="3197" b="1" i="0" u="none" strike="noStrike" kern="1200" cap="none" spc="0" normalizeH="0" baseline="0" noProof="0" dirty="0">
              <a:ln>
                <a:noFill/>
              </a:ln>
              <a:solidFill>
                <a:srgbClr val="7030A0"/>
              </a:solidFill>
              <a:effectLst/>
              <a:uLnTx/>
              <a:uFillTx/>
              <a:latin typeface="Arial Narrow" panose="020B0606020202030204" pitchFamily="34" charset="0"/>
              <a:ea typeface="ＭＳ Ｐゴシック" charset="0"/>
              <a:cs typeface="Arial" panose="020B0604020202020204" pitchFamily="34" charset="0"/>
            </a:endParaRPr>
          </a:p>
        </p:txBody>
      </p:sp>
      <p:grpSp>
        <p:nvGrpSpPr>
          <p:cNvPr id="16" name="Group 15">
            <a:extLst>
              <a:ext uri="{FF2B5EF4-FFF2-40B4-BE49-F238E27FC236}">
                <a16:creationId xmlns:a16="http://schemas.microsoft.com/office/drawing/2014/main" id="{4C2BA2F4-2479-0A61-74AF-93CBD1BCC40A}"/>
              </a:ext>
            </a:extLst>
          </p:cNvPr>
          <p:cNvGrpSpPr/>
          <p:nvPr/>
        </p:nvGrpSpPr>
        <p:grpSpPr>
          <a:xfrm>
            <a:off x="6283396" y="1180093"/>
            <a:ext cx="5119560" cy="5157364"/>
            <a:chOff x="4526783" y="893667"/>
            <a:chExt cx="4064558" cy="4003852"/>
          </a:xfrm>
        </p:grpSpPr>
        <p:pic>
          <p:nvPicPr>
            <p:cNvPr id="14" name="Picture 13">
              <a:extLst>
                <a:ext uri="{FF2B5EF4-FFF2-40B4-BE49-F238E27FC236}">
                  <a16:creationId xmlns:a16="http://schemas.microsoft.com/office/drawing/2014/main" id="{B082C821-ABC2-1F13-611D-7AF8297745A7}"/>
                </a:ext>
              </a:extLst>
            </p:cNvPr>
            <p:cNvPicPr>
              <a:picLocks noChangeAspect="1"/>
            </p:cNvPicPr>
            <p:nvPr/>
          </p:nvPicPr>
          <p:blipFill>
            <a:blip r:embed="rId3"/>
            <a:srcRect l="18170" t="16458" r="2798" b="9729"/>
            <a:stretch/>
          </p:blipFill>
          <p:spPr>
            <a:xfrm>
              <a:off x="4526783" y="1542754"/>
              <a:ext cx="3964414" cy="3354765"/>
            </a:xfrm>
            <a:prstGeom prst="rect">
              <a:avLst/>
            </a:prstGeom>
          </p:spPr>
        </p:pic>
        <p:pic>
          <p:nvPicPr>
            <p:cNvPr id="13" name="Picture 12">
              <a:extLst>
                <a:ext uri="{FF2B5EF4-FFF2-40B4-BE49-F238E27FC236}">
                  <a16:creationId xmlns:a16="http://schemas.microsoft.com/office/drawing/2014/main" id="{2E20D857-7DF5-2137-0C13-5EEFFF4B358A}"/>
                </a:ext>
              </a:extLst>
            </p:cNvPr>
            <p:cNvPicPr>
              <a:picLocks noChangeAspect="1"/>
            </p:cNvPicPr>
            <p:nvPr/>
          </p:nvPicPr>
          <p:blipFill>
            <a:blip r:embed="rId4"/>
            <a:srcRect l="43882" t="9865" b="60162"/>
            <a:stretch/>
          </p:blipFill>
          <p:spPr>
            <a:xfrm>
              <a:off x="4526783" y="893667"/>
              <a:ext cx="4064558" cy="952084"/>
            </a:xfrm>
            <a:prstGeom prst="rect">
              <a:avLst/>
            </a:prstGeom>
          </p:spPr>
        </p:pic>
      </p:grpSp>
      <p:sp>
        <p:nvSpPr>
          <p:cNvPr id="15" name="TextBox 14">
            <a:extLst>
              <a:ext uri="{FF2B5EF4-FFF2-40B4-BE49-F238E27FC236}">
                <a16:creationId xmlns:a16="http://schemas.microsoft.com/office/drawing/2014/main" id="{7C854B92-C90C-9177-8981-E9A83442A2D9}"/>
              </a:ext>
            </a:extLst>
          </p:cNvPr>
          <p:cNvSpPr txBox="1"/>
          <p:nvPr/>
        </p:nvSpPr>
        <p:spPr>
          <a:xfrm>
            <a:off x="690682" y="6227567"/>
            <a:ext cx="4584503" cy="338426"/>
          </a:xfrm>
          <a:prstGeom prst="rect">
            <a:avLst/>
          </a:prstGeom>
          <a:noFill/>
        </p:spPr>
        <p:txBody>
          <a:bodyPr wrap="square">
            <a:spAutoFit/>
          </a:bodyPr>
          <a:lstStyle/>
          <a:p>
            <a:pPr marL="0" marR="0" lvl="0" indent="0" algn="l" defTabSz="1218042" rtl="0" eaLnBrk="1" fontAlgn="base" latinLnBrk="0" hangingPunct="1">
              <a:lnSpc>
                <a:spcPct val="100000"/>
              </a:lnSpc>
              <a:spcBef>
                <a:spcPct val="0"/>
              </a:spcBef>
              <a:spcAft>
                <a:spcPct val="0"/>
              </a:spcAft>
              <a:buClrTx/>
              <a:buSzTx/>
              <a:buFontTx/>
              <a:buNone/>
              <a:tabLst/>
              <a:defRPr/>
            </a:pPr>
            <a:r>
              <a:rPr kumimoji="0" lang="fr-FR" sz="1599"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Wei Q, et al. Cancer </a:t>
            </a:r>
            <a:r>
              <a:rPr kumimoji="0" lang="fr-FR" sz="1599" b="0" i="0" u="none" strike="noStrike" kern="1200" cap="none" spc="0" normalizeH="0" baseline="0" noProof="0" dirty="0" err="1">
                <a:ln>
                  <a:noFill/>
                </a:ln>
                <a:solidFill>
                  <a:prstClr val="black"/>
                </a:solidFill>
                <a:effectLst/>
                <a:uLnTx/>
                <a:uFillTx/>
                <a:latin typeface="Arial Narrow" panose="020B0606020202030204" pitchFamily="34" charset="0"/>
                <a:ea typeface="ＭＳ Ｐゴシック" charset="0"/>
                <a:cs typeface="+mn-cs"/>
              </a:rPr>
              <a:t>Res</a:t>
            </a:r>
            <a:r>
              <a:rPr kumimoji="0" lang="fr-FR" sz="1599"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 2025 </a:t>
            </a:r>
            <a:r>
              <a:rPr kumimoji="0" lang="fr-FR" sz="1599" b="0" i="0" u="none" strike="noStrike" kern="1200" cap="none" spc="0" normalizeH="0" baseline="0" noProof="0" dirty="0" err="1">
                <a:ln>
                  <a:noFill/>
                </a:ln>
                <a:solidFill>
                  <a:prstClr val="black"/>
                </a:solidFill>
                <a:effectLst/>
                <a:uLnTx/>
                <a:uFillTx/>
                <a:latin typeface="Arial Narrow" panose="020B0606020202030204" pitchFamily="34" charset="0"/>
                <a:ea typeface="ＭＳ Ｐゴシック" charset="0"/>
                <a:cs typeface="+mn-cs"/>
              </a:rPr>
              <a:t>doi</a:t>
            </a:r>
            <a:r>
              <a:rPr kumimoji="0" lang="fr-FR" sz="1599"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 10.1158/0008-5472</a:t>
            </a:r>
            <a:endParaRPr kumimoji="0" lang="en-US" sz="1599"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endParaRPr>
          </a:p>
        </p:txBody>
      </p:sp>
    </p:spTree>
    <p:extLst>
      <p:ext uri="{BB962C8B-B14F-4D97-AF65-F5344CB8AC3E}">
        <p14:creationId xmlns:p14="http://schemas.microsoft.com/office/powerpoint/2010/main" val="14018457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3077CDD-72A1-5D02-2DF1-D8E1127BF39F}"/>
              </a:ext>
            </a:extLst>
          </p:cNvPr>
          <p:cNvGrpSpPr/>
          <p:nvPr/>
        </p:nvGrpSpPr>
        <p:grpSpPr>
          <a:xfrm>
            <a:off x="6499600" y="1639609"/>
            <a:ext cx="4967893" cy="4532591"/>
            <a:chOff x="2035171" y="1090246"/>
            <a:chExt cx="3734800" cy="3193596"/>
          </a:xfrm>
        </p:grpSpPr>
        <p:pic>
          <p:nvPicPr>
            <p:cNvPr id="7" name="Picture 6">
              <a:extLst>
                <a:ext uri="{FF2B5EF4-FFF2-40B4-BE49-F238E27FC236}">
                  <a16:creationId xmlns:a16="http://schemas.microsoft.com/office/drawing/2014/main" id="{FD1BA8CB-B5C0-498F-FF07-250853D34D1C}"/>
                </a:ext>
              </a:extLst>
            </p:cNvPr>
            <p:cNvPicPr>
              <a:picLocks noChangeAspect="1"/>
            </p:cNvPicPr>
            <p:nvPr/>
          </p:nvPicPr>
          <p:blipFill>
            <a:blip r:embed="rId2"/>
            <a:stretch>
              <a:fillRect/>
            </a:stretch>
          </p:blipFill>
          <p:spPr>
            <a:xfrm>
              <a:off x="2035171" y="1090246"/>
              <a:ext cx="3734800" cy="3193596"/>
            </a:xfrm>
            <a:prstGeom prst="rect">
              <a:avLst/>
            </a:prstGeom>
          </p:spPr>
        </p:pic>
        <p:sp>
          <p:nvSpPr>
            <p:cNvPr id="12" name="Rectangle 11">
              <a:extLst>
                <a:ext uri="{FF2B5EF4-FFF2-40B4-BE49-F238E27FC236}">
                  <a16:creationId xmlns:a16="http://schemas.microsoft.com/office/drawing/2014/main" id="{CF46AE6D-011A-18D9-E14D-4F7DEDE61D83}"/>
                </a:ext>
              </a:extLst>
            </p:cNvPr>
            <p:cNvSpPr/>
            <p:nvPr/>
          </p:nvSpPr>
          <p:spPr bwMode="auto">
            <a:xfrm>
              <a:off x="2189725" y="1090246"/>
              <a:ext cx="431220" cy="5325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121807" tIns="60904" rIns="121807" bIns="60904" numCol="1" rtlCol="0" anchor="t" anchorCtr="0" compatLnSpc="1">
              <a:prstTxWarp prst="textNoShape">
                <a:avLst/>
              </a:prstTxWarp>
            </a:bodyPr>
            <a:lstStyle/>
            <a:p>
              <a:pPr marL="0" marR="0" lvl="0" indent="0" algn="l" defTabSz="1218042" rtl="0" eaLnBrk="0" fontAlgn="base" latinLnBrk="0" hangingPunct="0">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black"/>
                </a:solidFill>
                <a:effectLst/>
                <a:uLnTx/>
                <a:uFillTx/>
                <a:latin typeface="Arial" pitchFamily="-72" charset="0"/>
                <a:ea typeface="ＭＳ Ｐゴシック" pitchFamily="-72" charset="-128"/>
                <a:cs typeface="ＭＳ Ｐゴシック" pitchFamily="-72" charset="-128"/>
              </a:endParaRPr>
            </a:p>
          </p:txBody>
        </p:sp>
      </p:grpSp>
      <p:sp>
        <p:nvSpPr>
          <p:cNvPr id="5" name="TextBox 4">
            <a:extLst>
              <a:ext uri="{FF2B5EF4-FFF2-40B4-BE49-F238E27FC236}">
                <a16:creationId xmlns:a16="http://schemas.microsoft.com/office/drawing/2014/main" id="{9D9A2C10-0099-2E1A-6EDC-17BEC9049AAC}"/>
              </a:ext>
            </a:extLst>
          </p:cNvPr>
          <p:cNvSpPr txBox="1"/>
          <p:nvPr/>
        </p:nvSpPr>
        <p:spPr>
          <a:xfrm>
            <a:off x="194151" y="6370503"/>
            <a:ext cx="4417187" cy="338426"/>
          </a:xfrm>
          <a:prstGeom prst="rect">
            <a:avLst/>
          </a:prstGeom>
          <a:noFill/>
        </p:spPr>
        <p:txBody>
          <a:bodyPr wrap="square">
            <a:spAutoFit/>
          </a:bodyPr>
          <a:lstStyle/>
          <a:p>
            <a:pPr marL="0" marR="0" lvl="0" indent="0" algn="l" defTabSz="1218042" rtl="0" eaLnBrk="1" fontAlgn="base" latinLnBrk="0" hangingPunct="1">
              <a:lnSpc>
                <a:spcPct val="100000"/>
              </a:lnSpc>
              <a:spcBef>
                <a:spcPct val="0"/>
              </a:spcBef>
              <a:spcAft>
                <a:spcPct val="0"/>
              </a:spcAft>
              <a:buClrTx/>
              <a:buSzTx/>
              <a:buFontTx/>
              <a:buNone/>
              <a:tabLst/>
              <a:defRPr/>
            </a:pPr>
            <a:r>
              <a:rPr kumimoji="0" lang="fr-FR" sz="1599" b="0" i="0" u="none" strike="noStrike" kern="1200" cap="none" spc="0" normalizeH="0" baseline="0" noProof="0" dirty="0" err="1">
                <a:ln>
                  <a:noFill/>
                </a:ln>
                <a:solidFill>
                  <a:prstClr val="black"/>
                </a:solidFill>
                <a:effectLst/>
                <a:uLnTx/>
                <a:uFillTx/>
                <a:latin typeface="Arial Narrow" panose="020B0606020202030204" pitchFamily="34" charset="0"/>
                <a:ea typeface="ＭＳ Ｐゴシック" charset="0"/>
                <a:cs typeface="+mn-cs"/>
              </a:rPr>
              <a:t>Tsao</a:t>
            </a:r>
            <a:r>
              <a:rPr kumimoji="0" lang="fr-FR" sz="1599"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 LC, et al. Nat Commun 2025;16(1):3167</a:t>
            </a:r>
            <a:endParaRPr kumimoji="0" lang="en-US" sz="1599"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endParaRPr>
          </a:p>
        </p:txBody>
      </p:sp>
      <p:sp>
        <p:nvSpPr>
          <p:cNvPr id="10" name="Title 1">
            <a:extLst>
              <a:ext uri="{FF2B5EF4-FFF2-40B4-BE49-F238E27FC236}">
                <a16:creationId xmlns:a16="http://schemas.microsoft.com/office/drawing/2014/main" id="{A8129F4A-1512-C424-F0B9-8433EC928CDD}"/>
              </a:ext>
            </a:extLst>
          </p:cNvPr>
          <p:cNvSpPr txBox="1">
            <a:spLocks/>
          </p:cNvSpPr>
          <p:nvPr/>
        </p:nvSpPr>
        <p:spPr>
          <a:xfrm>
            <a:off x="194151" y="318284"/>
            <a:ext cx="11760196" cy="1488747"/>
          </a:xfrm>
        </p:spPr>
        <p:txBody>
          <a:bodyPr>
            <a:noAutofit/>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l" defTabSz="1218042" rtl="0" eaLnBrk="1" fontAlgn="base" latinLnBrk="0" hangingPunct="1">
              <a:lnSpc>
                <a:spcPct val="100000"/>
              </a:lnSpc>
              <a:spcBef>
                <a:spcPct val="0"/>
              </a:spcBef>
              <a:spcAft>
                <a:spcPct val="0"/>
              </a:spcAft>
              <a:buClrTx/>
              <a:buSzTx/>
              <a:buFontTx/>
              <a:buNone/>
              <a:tabLst/>
              <a:defRPr/>
            </a:pPr>
            <a:r>
              <a:rPr kumimoji="0" lang="en-US" sz="3731" b="1" i="0" u="none" strike="noStrike" kern="0" cap="none" spc="0" normalizeH="0" baseline="0" noProof="0" dirty="0">
                <a:ln>
                  <a:noFill/>
                </a:ln>
                <a:solidFill>
                  <a:srgbClr val="7030A0"/>
                </a:solidFill>
                <a:effectLst/>
                <a:uLnTx/>
                <a:uFillTx/>
                <a:latin typeface="Arial Narrow" panose="020B0606020202030204" pitchFamily="34" charset="0"/>
                <a:ea typeface="+mj-ea"/>
                <a:cs typeface="+mj-cs"/>
              </a:rPr>
              <a:t>Extracellular Protease Cathepsins can Cleave ADC Linker</a:t>
            </a:r>
          </a:p>
          <a:p>
            <a:pPr marL="0" marR="0" lvl="0" indent="0" algn="l" defTabSz="1218042" rtl="0" eaLnBrk="1" fontAlgn="base" latinLnBrk="0" hangingPunct="1">
              <a:lnSpc>
                <a:spcPct val="100000"/>
              </a:lnSpc>
              <a:spcBef>
                <a:spcPct val="0"/>
              </a:spcBef>
              <a:spcAft>
                <a:spcPct val="0"/>
              </a:spcAft>
              <a:buClrTx/>
              <a:buSzTx/>
              <a:buFontTx/>
              <a:buNone/>
              <a:tabLst/>
              <a:defRPr/>
            </a:pPr>
            <a:r>
              <a:rPr kumimoji="0" lang="en-US" sz="3731" b="1" i="0" u="none" strike="noStrike" kern="0" cap="none" spc="0" normalizeH="0" baseline="0" noProof="0" dirty="0">
                <a:ln>
                  <a:noFill/>
                </a:ln>
                <a:solidFill>
                  <a:srgbClr val="7030A0"/>
                </a:solidFill>
                <a:effectLst/>
                <a:uLnTx/>
                <a:uFillTx/>
                <a:latin typeface="Arial Narrow" panose="020B0606020202030204" pitchFamily="34" charset="0"/>
                <a:ea typeface="+mj-ea"/>
                <a:cs typeface="+mj-cs"/>
              </a:rPr>
              <a:t>Off-target Cytotoxicity</a:t>
            </a:r>
            <a:br>
              <a:rPr kumimoji="0" lang="en-US" sz="3731" b="1" i="0" u="none" strike="noStrike" kern="0" cap="none" spc="0" normalizeH="0" baseline="0" noProof="0" dirty="0">
                <a:ln>
                  <a:noFill/>
                </a:ln>
                <a:solidFill>
                  <a:srgbClr val="7030A0"/>
                </a:solidFill>
                <a:effectLst/>
                <a:uLnTx/>
                <a:uFillTx/>
                <a:latin typeface="Arial Narrow" panose="020B0606020202030204" pitchFamily="34" charset="0"/>
                <a:ea typeface="+mj-ea"/>
                <a:cs typeface="+mj-cs"/>
              </a:rPr>
            </a:br>
            <a:endParaRPr kumimoji="0" lang="en-US" sz="3731" b="1" i="0" u="none" strike="noStrike" kern="0" cap="none" spc="0" normalizeH="0" baseline="30000" noProof="0" dirty="0">
              <a:ln>
                <a:noFill/>
              </a:ln>
              <a:solidFill>
                <a:srgbClr val="7030A0"/>
              </a:solidFill>
              <a:effectLst/>
              <a:uLnTx/>
              <a:uFillTx/>
              <a:latin typeface="Arial Narrow" panose="020B0606020202030204" pitchFamily="34" charset="0"/>
              <a:ea typeface="+mj-ea"/>
              <a:cs typeface="+mj-cs"/>
            </a:endParaRPr>
          </a:p>
        </p:txBody>
      </p:sp>
      <p:pic>
        <p:nvPicPr>
          <p:cNvPr id="8" name="Picture 7">
            <a:extLst>
              <a:ext uri="{FF2B5EF4-FFF2-40B4-BE49-F238E27FC236}">
                <a16:creationId xmlns:a16="http://schemas.microsoft.com/office/drawing/2014/main" id="{331715FC-DC0D-2D96-7357-BF7BE0165CA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132609" y="1807031"/>
            <a:ext cx="4559793" cy="4184876"/>
          </a:xfrm>
          <a:prstGeom prst="rect">
            <a:avLst/>
          </a:prstGeom>
        </p:spPr>
      </p:pic>
    </p:spTree>
    <p:extLst>
      <p:ext uri="{BB962C8B-B14F-4D97-AF65-F5344CB8AC3E}">
        <p14:creationId xmlns:p14="http://schemas.microsoft.com/office/powerpoint/2010/main" val="297843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0"/>
          <p:cNvSpPr/>
          <p:nvPr/>
        </p:nvSpPr>
        <p:spPr>
          <a:xfrm>
            <a:off x="731519" y="48143"/>
            <a:ext cx="4770511" cy="926592"/>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ILD Management</a:t>
            </a:r>
            <a:endParaRPr kumimoji="0" lang="en-US" sz="3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6" name="Text 4"/>
          <p:cNvSpPr/>
          <p:nvPr/>
        </p:nvSpPr>
        <p:spPr>
          <a:xfrm>
            <a:off x="1174799" y="999744"/>
            <a:ext cx="3535680" cy="536448"/>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Trastuzumab</a:t>
            </a:r>
            <a:endParaRPr kumimoji="0" lang="en-US" sz="1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deruxtecan</a:t>
            </a:r>
            <a:endParaRPr kumimoji="0" lang="en-US" sz="1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7" name="Text 5"/>
          <p:cNvSpPr/>
          <p:nvPr/>
        </p:nvSpPr>
        <p:spPr>
          <a:xfrm>
            <a:off x="7392719" y="999744"/>
            <a:ext cx="3535680" cy="536448"/>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Mirvetuximab</a:t>
            </a:r>
            <a:endParaRPr kumimoji="0" lang="en-US" sz="1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soravtansine</a:t>
            </a:r>
            <a:endParaRPr kumimoji="0" lang="en-US" sz="1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8" name="Shape 6"/>
          <p:cNvSpPr/>
          <p:nvPr/>
        </p:nvSpPr>
        <p:spPr>
          <a:xfrm>
            <a:off x="2942639" y="1536192"/>
            <a:ext cx="0" cy="146304"/>
          </a:xfrm>
          <a:prstGeom prst="line">
            <a:avLst/>
          </a:prstGeom>
          <a:noFill/>
          <a:ln w="1524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9" name="Shape 7"/>
          <p:cNvSpPr/>
          <p:nvPr/>
        </p:nvSpPr>
        <p:spPr>
          <a:xfrm rot="10800000">
            <a:off x="2869487" y="1670304"/>
            <a:ext cx="146304" cy="121920"/>
          </a:xfrm>
          <a:prstGeom prst="triangle">
            <a:avLst/>
          </a:prstGeom>
          <a:solidFill>
            <a:srgbClr val="888888"/>
          </a:solidFill>
          <a:ln w="1270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0" name="Shape 8"/>
          <p:cNvSpPr/>
          <p:nvPr/>
        </p:nvSpPr>
        <p:spPr>
          <a:xfrm>
            <a:off x="9160559" y="1536192"/>
            <a:ext cx="0" cy="146304"/>
          </a:xfrm>
          <a:prstGeom prst="line">
            <a:avLst/>
          </a:prstGeom>
          <a:noFill/>
          <a:ln w="1524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1" name="Shape 9"/>
          <p:cNvSpPr/>
          <p:nvPr/>
        </p:nvSpPr>
        <p:spPr>
          <a:xfrm rot="10800000">
            <a:off x="9087407" y="1670304"/>
            <a:ext cx="146304" cy="121920"/>
          </a:xfrm>
          <a:prstGeom prst="triangle">
            <a:avLst/>
          </a:prstGeom>
          <a:solidFill>
            <a:srgbClr val="888888"/>
          </a:solidFill>
          <a:ln w="1270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2" name="Shape 10"/>
          <p:cNvSpPr/>
          <p:nvPr/>
        </p:nvSpPr>
        <p:spPr>
          <a:xfrm>
            <a:off x="1174799" y="1682496"/>
            <a:ext cx="3535680" cy="1243584"/>
          </a:xfrm>
          <a:prstGeom prst="roundRect">
            <a:avLst>
              <a:gd name="adj" fmla="val 5882"/>
            </a:avLst>
          </a:prstGeom>
          <a:solidFill>
            <a:srgbClr val="D8D0E8"/>
          </a:solidFill>
          <a:ln w="15240">
            <a:solidFill>
              <a:srgbClr val="B0A0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3" name="Text 11"/>
          <p:cNvSpPr/>
          <p:nvPr/>
        </p:nvSpPr>
        <p:spPr>
          <a:xfrm>
            <a:off x="1260143" y="1767840"/>
            <a:ext cx="3364992" cy="292608"/>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Hold therapy</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4" name="Text 12"/>
          <p:cNvSpPr/>
          <p:nvPr/>
        </p:nvSpPr>
        <p:spPr>
          <a:xfrm>
            <a:off x="1260143" y="2060448"/>
            <a:ext cx="3364992" cy="816864"/>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Consider steroid therapy</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Resume T-Dxd if ILD resolves completely</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5" name="Text 13"/>
          <p:cNvSpPr/>
          <p:nvPr/>
        </p:nvSpPr>
        <p:spPr>
          <a:xfrm>
            <a:off x="5058736" y="2060448"/>
            <a:ext cx="2316480" cy="487680"/>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Grade 1</a:t>
            </a:r>
            <a:endParaRPr kumimoji="0" lang="en-US" sz="1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asymptomatic)</a:t>
            </a:r>
            <a:endParaRPr kumimoji="0" lang="en-US" sz="1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6" name="Shape 14"/>
          <p:cNvSpPr/>
          <p:nvPr/>
        </p:nvSpPr>
        <p:spPr>
          <a:xfrm>
            <a:off x="7392719" y="1682496"/>
            <a:ext cx="3535680" cy="1243584"/>
          </a:xfrm>
          <a:prstGeom prst="roundRect">
            <a:avLst>
              <a:gd name="adj" fmla="val 5882"/>
            </a:avLst>
          </a:prstGeom>
          <a:solidFill>
            <a:srgbClr val="D8D0E8"/>
          </a:solidFill>
          <a:ln w="15240">
            <a:solidFill>
              <a:srgbClr val="B0A0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7" name="Text 15"/>
          <p:cNvSpPr/>
          <p:nvPr/>
        </p:nvSpPr>
        <p:spPr>
          <a:xfrm>
            <a:off x="7478063" y="1767840"/>
            <a:ext cx="3364992" cy="292608"/>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Continue MIRV</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8" name="Text 16"/>
          <p:cNvSpPr/>
          <p:nvPr/>
        </p:nvSpPr>
        <p:spPr>
          <a:xfrm>
            <a:off x="7478063" y="2060448"/>
            <a:ext cx="3364992" cy="816864"/>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with close monitoring</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9" name="Shape 17"/>
          <p:cNvSpPr/>
          <p:nvPr/>
        </p:nvSpPr>
        <p:spPr>
          <a:xfrm>
            <a:off x="2942639" y="2926081"/>
            <a:ext cx="0" cy="124359"/>
          </a:xfrm>
          <a:prstGeom prst="line">
            <a:avLst/>
          </a:prstGeom>
          <a:noFill/>
          <a:ln w="1524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0" name="Shape 18"/>
          <p:cNvSpPr/>
          <p:nvPr/>
        </p:nvSpPr>
        <p:spPr>
          <a:xfrm rot="10800000">
            <a:off x="2869487" y="3038247"/>
            <a:ext cx="146304" cy="121920"/>
          </a:xfrm>
          <a:prstGeom prst="triangle">
            <a:avLst/>
          </a:prstGeom>
          <a:solidFill>
            <a:srgbClr val="888888"/>
          </a:solidFill>
          <a:ln w="1270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1" name="Shape 19"/>
          <p:cNvSpPr/>
          <p:nvPr/>
        </p:nvSpPr>
        <p:spPr>
          <a:xfrm>
            <a:off x="9160559" y="2926081"/>
            <a:ext cx="0" cy="124359"/>
          </a:xfrm>
          <a:prstGeom prst="line">
            <a:avLst/>
          </a:prstGeom>
          <a:noFill/>
          <a:ln w="1524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2" name="Shape 20"/>
          <p:cNvSpPr/>
          <p:nvPr/>
        </p:nvSpPr>
        <p:spPr>
          <a:xfrm rot="10800000">
            <a:off x="9087407" y="3038247"/>
            <a:ext cx="146304" cy="121920"/>
          </a:xfrm>
          <a:prstGeom prst="triangle">
            <a:avLst/>
          </a:prstGeom>
          <a:solidFill>
            <a:srgbClr val="888888"/>
          </a:solidFill>
          <a:ln w="1270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3" name="Shape 21"/>
          <p:cNvSpPr/>
          <p:nvPr/>
        </p:nvSpPr>
        <p:spPr>
          <a:xfrm>
            <a:off x="1174799" y="3072384"/>
            <a:ext cx="3535680" cy="1097280"/>
          </a:xfrm>
          <a:prstGeom prst="roundRect">
            <a:avLst>
              <a:gd name="adj" fmla="val 6667"/>
            </a:avLst>
          </a:prstGeom>
          <a:solidFill>
            <a:srgbClr val="D6E8F4"/>
          </a:solidFill>
          <a:ln w="15240">
            <a:solidFill>
              <a:srgbClr val="AABC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4" name="Text 22"/>
          <p:cNvSpPr/>
          <p:nvPr/>
        </p:nvSpPr>
        <p:spPr>
          <a:xfrm>
            <a:off x="1260143" y="3157728"/>
            <a:ext cx="3364992" cy="438912"/>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Permanently discontinue</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therapy</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5" name="Text 23"/>
          <p:cNvSpPr/>
          <p:nvPr/>
        </p:nvSpPr>
        <p:spPr>
          <a:xfrm>
            <a:off x="1260143" y="3596640"/>
            <a:ext cx="3364992" cy="524256"/>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Steroid therapy</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6" name="Text 24"/>
          <p:cNvSpPr/>
          <p:nvPr/>
        </p:nvSpPr>
        <p:spPr>
          <a:xfrm>
            <a:off x="5058736" y="3377184"/>
            <a:ext cx="2316480" cy="487680"/>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Grade 2</a:t>
            </a:r>
            <a:endParaRPr kumimoji="0" lang="en-US" sz="1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7" name="Shape 25"/>
          <p:cNvSpPr/>
          <p:nvPr/>
        </p:nvSpPr>
        <p:spPr>
          <a:xfrm>
            <a:off x="7392719" y="3072384"/>
            <a:ext cx="3535680" cy="1097280"/>
          </a:xfrm>
          <a:prstGeom prst="roundRect">
            <a:avLst>
              <a:gd name="adj" fmla="val 6667"/>
            </a:avLst>
          </a:prstGeom>
          <a:solidFill>
            <a:srgbClr val="D6E8F4"/>
          </a:solidFill>
          <a:ln w="15240">
            <a:solidFill>
              <a:srgbClr val="AABC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8" name="Text 26"/>
          <p:cNvSpPr/>
          <p:nvPr/>
        </p:nvSpPr>
        <p:spPr>
          <a:xfrm>
            <a:off x="7478063" y="3157728"/>
            <a:ext cx="3364992" cy="292608"/>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Hold therapy until ≤ grade 1</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9" name="Text 27"/>
          <p:cNvSpPr/>
          <p:nvPr/>
        </p:nvSpPr>
        <p:spPr>
          <a:xfrm>
            <a:off x="7478063" y="3450336"/>
            <a:ext cx="3364992" cy="670560"/>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consider MIRV dose level adjustment)</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Consider steroid therapy</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0" name="Shape 28"/>
          <p:cNvSpPr/>
          <p:nvPr/>
        </p:nvSpPr>
        <p:spPr>
          <a:xfrm>
            <a:off x="2942639" y="4169665"/>
            <a:ext cx="0" cy="124359"/>
          </a:xfrm>
          <a:prstGeom prst="line">
            <a:avLst/>
          </a:prstGeom>
          <a:noFill/>
          <a:ln w="1524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1" name="Shape 29"/>
          <p:cNvSpPr/>
          <p:nvPr/>
        </p:nvSpPr>
        <p:spPr>
          <a:xfrm rot="10800000">
            <a:off x="2869487" y="4281831"/>
            <a:ext cx="146304" cy="121920"/>
          </a:xfrm>
          <a:prstGeom prst="triangle">
            <a:avLst/>
          </a:prstGeom>
          <a:solidFill>
            <a:srgbClr val="888888"/>
          </a:solidFill>
          <a:ln w="1270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2" name="Shape 30"/>
          <p:cNvSpPr/>
          <p:nvPr/>
        </p:nvSpPr>
        <p:spPr>
          <a:xfrm>
            <a:off x="9160559" y="4169665"/>
            <a:ext cx="0" cy="124359"/>
          </a:xfrm>
          <a:prstGeom prst="line">
            <a:avLst/>
          </a:prstGeom>
          <a:noFill/>
          <a:ln w="1524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3" name="Shape 31"/>
          <p:cNvSpPr/>
          <p:nvPr/>
        </p:nvSpPr>
        <p:spPr>
          <a:xfrm rot="10800000">
            <a:off x="9087407" y="4281831"/>
            <a:ext cx="146304" cy="121920"/>
          </a:xfrm>
          <a:prstGeom prst="triangle">
            <a:avLst/>
          </a:prstGeom>
          <a:solidFill>
            <a:srgbClr val="888888"/>
          </a:solidFill>
          <a:ln w="1270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4" name="Shape 32"/>
          <p:cNvSpPr/>
          <p:nvPr/>
        </p:nvSpPr>
        <p:spPr>
          <a:xfrm>
            <a:off x="1174799" y="4315968"/>
            <a:ext cx="3535680" cy="1072896"/>
          </a:xfrm>
          <a:prstGeom prst="roundRect">
            <a:avLst>
              <a:gd name="adj" fmla="val 6818"/>
            </a:avLst>
          </a:prstGeom>
          <a:solidFill>
            <a:srgbClr val="D6E8F4"/>
          </a:solidFill>
          <a:ln w="15240">
            <a:solidFill>
              <a:srgbClr val="AABC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5" name="Text 33"/>
          <p:cNvSpPr/>
          <p:nvPr/>
        </p:nvSpPr>
        <p:spPr>
          <a:xfrm>
            <a:off x="1260143" y="4401312"/>
            <a:ext cx="3364992" cy="438912"/>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Permanently discontinue</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therapy</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6" name="Text 34"/>
          <p:cNvSpPr/>
          <p:nvPr/>
        </p:nvSpPr>
        <p:spPr>
          <a:xfrm>
            <a:off x="1260143" y="4840224"/>
            <a:ext cx="3364992" cy="499872"/>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Steroid therapy</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high dose)</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7" name="Text 35"/>
          <p:cNvSpPr/>
          <p:nvPr/>
        </p:nvSpPr>
        <p:spPr>
          <a:xfrm>
            <a:off x="5058736" y="4608576"/>
            <a:ext cx="2316480" cy="487680"/>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Grade 3</a:t>
            </a:r>
            <a:endParaRPr kumimoji="0" lang="en-US" sz="1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8" name="Shape 36"/>
          <p:cNvSpPr/>
          <p:nvPr/>
        </p:nvSpPr>
        <p:spPr>
          <a:xfrm>
            <a:off x="7392719" y="4315968"/>
            <a:ext cx="3535680" cy="1072896"/>
          </a:xfrm>
          <a:prstGeom prst="roundRect">
            <a:avLst>
              <a:gd name="adj" fmla="val 6818"/>
            </a:avLst>
          </a:prstGeom>
          <a:solidFill>
            <a:srgbClr val="D6E8F4"/>
          </a:solidFill>
          <a:ln w="15240">
            <a:solidFill>
              <a:srgbClr val="AABC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9" name="Text 37"/>
          <p:cNvSpPr/>
          <p:nvPr/>
        </p:nvSpPr>
        <p:spPr>
          <a:xfrm>
            <a:off x="7478063" y="4401312"/>
            <a:ext cx="3364992" cy="438912"/>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Permanently discontinue</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therapy</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40" name="Text 38"/>
          <p:cNvSpPr/>
          <p:nvPr/>
        </p:nvSpPr>
        <p:spPr>
          <a:xfrm>
            <a:off x="7478063" y="4840224"/>
            <a:ext cx="3364992" cy="499872"/>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Consider steroid therapy</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41" name="Shape 39"/>
          <p:cNvSpPr/>
          <p:nvPr/>
        </p:nvSpPr>
        <p:spPr>
          <a:xfrm>
            <a:off x="2942639" y="5388865"/>
            <a:ext cx="0" cy="124359"/>
          </a:xfrm>
          <a:prstGeom prst="line">
            <a:avLst/>
          </a:prstGeom>
          <a:noFill/>
          <a:ln w="1524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42" name="Shape 40"/>
          <p:cNvSpPr/>
          <p:nvPr/>
        </p:nvSpPr>
        <p:spPr>
          <a:xfrm rot="10800000">
            <a:off x="2869487" y="5501031"/>
            <a:ext cx="146304" cy="121920"/>
          </a:xfrm>
          <a:prstGeom prst="triangle">
            <a:avLst/>
          </a:prstGeom>
          <a:solidFill>
            <a:srgbClr val="888888"/>
          </a:solidFill>
          <a:ln w="1270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43" name="Shape 41"/>
          <p:cNvSpPr/>
          <p:nvPr/>
        </p:nvSpPr>
        <p:spPr>
          <a:xfrm>
            <a:off x="9160559" y="5388865"/>
            <a:ext cx="0" cy="124359"/>
          </a:xfrm>
          <a:prstGeom prst="line">
            <a:avLst/>
          </a:prstGeom>
          <a:noFill/>
          <a:ln w="1524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44" name="Shape 42"/>
          <p:cNvSpPr/>
          <p:nvPr/>
        </p:nvSpPr>
        <p:spPr>
          <a:xfrm rot="10800000">
            <a:off x="9087407" y="5501031"/>
            <a:ext cx="146304" cy="121920"/>
          </a:xfrm>
          <a:prstGeom prst="triangle">
            <a:avLst/>
          </a:prstGeom>
          <a:solidFill>
            <a:srgbClr val="888888"/>
          </a:solidFill>
          <a:ln w="12700">
            <a:solidFill>
              <a:srgbClr val="888888"/>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45" name="Shape 43"/>
          <p:cNvSpPr/>
          <p:nvPr/>
        </p:nvSpPr>
        <p:spPr>
          <a:xfrm>
            <a:off x="1174799" y="5535168"/>
            <a:ext cx="3535680" cy="1133856"/>
          </a:xfrm>
          <a:prstGeom prst="roundRect">
            <a:avLst>
              <a:gd name="adj" fmla="val 6452"/>
            </a:avLst>
          </a:prstGeom>
          <a:solidFill>
            <a:srgbClr val="D6E8F4"/>
          </a:solidFill>
          <a:ln w="15240">
            <a:solidFill>
              <a:srgbClr val="AABC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46" name="Text 44"/>
          <p:cNvSpPr/>
          <p:nvPr/>
        </p:nvSpPr>
        <p:spPr>
          <a:xfrm>
            <a:off x="1260143" y="5620512"/>
            <a:ext cx="3364992" cy="438912"/>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Permanently discontinue</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therapy</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47" name="Text 45"/>
          <p:cNvSpPr/>
          <p:nvPr/>
        </p:nvSpPr>
        <p:spPr>
          <a:xfrm>
            <a:off x="1260143" y="6059424"/>
            <a:ext cx="3364992" cy="560832"/>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Steroid therapy</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high dose)</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48" name="Text 46"/>
          <p:cNvSpPr/>
          <p:nvPr/>
        </p:nvSpPr>
        <p:spPr>
          <a:xfrm>
            <a:off x="5058736" y="5858256"/>
            <a:ext cx="2316480" cy="487680"/>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Grade 4</a:t>
            </a:r>
            <a:endParaRPr kumimoji="0" lang="en-US" sz="1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49" name="Shape 47"/>
          <p:cNvSpPr/>
          <p:nvPr/>
        </p:nvSpPr>
        <p:spPr>
          <a:xfrm>
            <a:off x="7392719" y="5535168"/>
            <a:ext cx="3535680" cy="1133856"/>
          </a:xfrm>
          <a:prstGeom prst="roundRect">
            <a:avLst>
              <a:gd name="adj" fmla="val 6452"/>
            </a:avLst>
          </a:prstGeom>
          <a:solidFill>
            <a:srgbClr val="D6E8F4"/>
          </a:solidFill>
          <a:ln w="15240">
            <a:solidFill>
              <a:srgbClr val="AABCCC"/>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50" name="Text 48"/>
          <p:cNvSpPr/>
          <p:nvPr/>
        </p:nvSpPr>
        <p:spPr>
          <a:xfrm>
            <a:off x="7478063" y="5620512"/>
            <a:ext cx="3364992" cy="438912"/>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Permanently discontinue</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therapy</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51" name="Text 49"/>
          <p:cNvSpPr/>
          <p:nvPr/>
        </p:nvSpPr>
        <p:spPr>
          <a:xfrm>
            <a:off x="7478063" y="6059424"/>
            <a:ext cx="3364992" cy="560832"/>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Consider steroid therapy</a:t>
            </a:r>
            <a:endParaRPr kumimoji="0" lang="en-US" sz="14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pic>
        <p:nvPicPr>
          <p:cNvPr id="52" name="Image 0" descr="preencoded.png">
            <a:extLst>
              <a:ext uri="{FF2B5EF4-FFF2-40B4-BE49-F238E27FC236}">
                <a16:creationId xmlns:a16="http://schemas.microsoft.com/office/drawing/2014/main" id="{3734BA67-2854-E4C6-283F-A3707DC96EAA}"/>
              </a:ext>
            </a:extLst>
          </p:cNvPr>
          <p:cNvPicPr>
            <a:picLocks noChangeAspect="1"/>
          </p:cNvPicPr>
          <p:nvPr/>
        </p:nvPicPr>
        <p:blipFill>
          <a:blip r:embed="rId3"/>
          <a:srcRect l="39644" r="36325" b="74039"/>
          <a:stretch>
            <a:fillRect/>
          </a:stretch>
        </p:blipFill>
        <p:spPr>
          <a:xfrm>
            <a:off x="5588000" y="236573"/>
            <a:ext cx="1494301" cy="1677572"/>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CF07BB-78E8-B9E8-4DB4-C9F3DAC02E81}"/>
              </a:ext>
            </a:extLst>
          </p:cNvPr>
          <p:cNvSpPr>
            <a:spLocks noGrp="1"/>
          </p:cNvSpPr>
          <p:nvPr>
            <p:ph type="title"/>
          </p:nvPr>
        </p:nvSpPr>
        <p:spPr>
          <a:xfrm>
            <a:off x="863120" y="172721"/>
            <a:ext cx="10184333" cy="1000369"/>
          </a:xfrm>
        </p:spPr>
        <p:txBody>
          <a:bodyPr vert="horz" lIns="121920" tIns="60960" rIns="121920" bIns="60960" rtlCol="0" anchor="ctr">
            <a:normAutofit/>
          </a:bodyPr>
          <a:lstStyle/>
          <a:p>
            <a:pPr algn="l">
              <a:lnSpc>
                <a:spcPct val="90000"/>
              </a:lnSpc>
            </a:pPr>
            <a:r>
              <a:rPr lang="en-US" sz="4000" b="1" dirty="0">
                <a:solidFill>
                  <a:srgbClr val="7030A0"/>
                </a:solidFill>
                <a:latin typeface="Arial Narrow" panose="020B0606020202030204" pitchFamily="34" charset="0"/>
              </a:rPr>
              <a:t>What is an Immune Related Side Effect?</a:t>
            </a:r>
          </a:p>
        </p:txBody>
      </p:sp>
      <p:sp>
        <p:nvSpPr>
          <p:cNvPr id="6" name="Content Placeholder 2">
            <a:extLst>
              <a:ext uri="{FF2B5EF4-FFF2-40B4-BE49-F238E27FC236}">
                <a16:creationId xmlns:a16="http://schemas.microsoft.com/office/drawing/2014/main" id="{D734FB9B-76D2-5C66-8AD2-272733B6E1F2}"/>
              </a:ext>
            </a:extLst>
          </p:cNvPr>
          <p:cNvSpPr>
            <a:spLocks noGrp="1"/>
          </p:cNvSpPr>
          <p:nvPr>
            <p:ph sz="half" idx="1"/>
          </p:nvPr>
        </p:nvSpPr>
        <p:spPr>
          <a:xfrm>
            <a:off x="5864668" y="1727582"/>
            <a:ext cx="4156512" cy="3769836"/>
          </a:xfrm>
        </p:spPr>
        <p:txBody>
          <a:bodyPr vert="horz" lIns="121920" tIns="60960" rIns="121920" bIns="60960" rtlCol="0" anchor="ctr">
            <a:normAutofit/>
          </a:bodyPr>
          <a:lstStyle/>
          <a:p>
            <a:pPr indent="-304792">
              <a:lnSpc>
                <a:spcPct val="90000"/>
              </a:lnSpc>
            </a:pPr>
            <a:r>
              <a:rPr lang="en-US" sz="2667" dirty="0">
                <a:solidFill>
                  <a:srgbClr val="7030A0"/>
                </a:solidFill>
                <a:latin typeface="Arial Narrow" panose="020B0606020202030204" pitchFamily="34" charset="0"/>
              </a:rPr>
              <a:t>Inflammatory or autoimmune in nature due to proliferation of T cells and proinflammatory cells or release cytokines in organs or normal tissue.  </a:t>
            </a:r>
          </a:p>
          <a:p>
            <a:pPr indent="-304792">
              <a:lnSpc>
                <a:spcPct val="90000"/>
              </a:lnSpc>
            </a:pPr>
            <a:r>
              <a:rPr lang="en-US" sz="2667" dirty="0">
                <a:solidFill>
                  <a:srgbClr val="7030A0"/>
                </a:solidFill>
                <a:latin typeface="Arial Narrow" panose="020B0606020202030204" pitchFamily="34" charset="0"/>
              </a:rPr>
              <a:t>There is reduction in self tolerance </a:t>
            </a:r>
          </a:p>
          <a:p>
            <a:pPr indent="-304792">
              <a:lnSpc>
                <a:spcPct val="90000"/>
              </a:lnSpc>
            </a:pPr>
            <a:r>
              <a:rPr lang="en-US" sz="2667" b="1" dirty="0">
                <a:solidFill>
                  <a:srgbClr val="7030A0"/>
                </a:solidFill>
                <a:latin typeface="Arial Narrow" panose="020B0606020202030204" pitchFamily="34" charset="0"/>
              </a:rPr>
              <a:t>Can target any organ!</a:t>
            </a:r>
            <a:endParaRPr lang="en-US" sz="2667" dirty="0">
              <a:solidFill>
                <a:srgbClr val="7030A0"/>
              </a:solidFill>
              <a:latin typeface="Arial Narrow" panose="020B0606020202030204" pitchFamily="34" charset="0"/>
            </a:endParaRPr>
          </a:p>
          <a:p>
            <a:pPr indent="-304792">
              <a:lnSpc>
                <a:spcPct val="90000"/>
              </a:lnSpc>
            </a:pPr>
            <a:endParaRPr lang="en-US" sz="2667" dirty="0">
              <a:solidFill>
                <a:srgbClr val="7030A0"/>
              </a:solidFill>
              <a:latin typeface="Arial Narrow" panose="020B0606020202030204" pitchFamily="34" charset="0"/>
            </a:endParaRPr>
          </a:p>
          <a:p>
            <a:pPr indent="-304792">
              <a:lnSpc>
                <a:spcPct val="90000"/>
              </a:lnSpc>
            </a:pPr>
            <a:endParaRPr lang="en-US" sz="2667" dirty="0">
              <a:solidFill>
                <a:srgbClr val="7030A0"/>
              </a:solidFill>
              <a:latin typeface="Arial Narrow" panose="020B0606020202030204" pitchFamily="34" charset="0"/>
            </a:endParaRPr>
          </a:p>
        </p:txBody>
      </p:sp>
      <p:pic>
        <p:nvPicPr>
          <p:cNvPr id="7" name="Picture 7">
            <a:extLst>
              <a:ext uri="{FF2B5EF4-FFF2-40B4-BE49-F238E27FC236}">
                <a16:creationId xmlns:a16="http://schemas.microsoft.com/office/drawing/2014/main" id="{3E25BA91-BD8A-A1B9-0A4B-4F1EE2422B7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1279" r="1043" b="2"/>
          <a:stretch>
            <a:fillRect/>
          </a:stretch>
        </p:blipFill>
        <p:spPr bwMode="auto">
          <a:xfrm>
            <a:off x="944125" y="1345808"/>
            <a:ext cx="4432859" cy="4986989"/>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646D0CF0-81E5-2825-9079-FCB3179DD003}"/>
              </a:ext>
            </a:extLst>
          </p:cNvPr>
          <p:cNvSpPr txBox="1"/>
          <p:nvPr/>
        </p:nvSpPr>
        <p:spPr>
          <a:xfrm>
            <a:off x="2219546" y="1353528"/>
            <a:ext cx="1034017" cy="236148"/>
          </a:xfrm>
          <a:prstGeom prst="rect">
            <a:avLst/>
          </a:prstGeom>
          <a:solidFill>
            <a:srgbClr val="E5E5E5"/>
          </a:solidFill>
        </p:spPr>
        <p:txBody>
          <a:bodyPr wrap="square" lIns="0" tIns="0" rIns="0" bIns="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err="1">
                <a:ln>
                  <a:noFill/>
                </a:ln>
                <a:solidFill>
                  <a:prstClr val="black"/>
                </a:solidFill>
                <a:effectLst/>
                <a:uLnTx/>
                <a:uFillTx/>
                <a:latin typeface="Calibri" panose="020F0502020204030204"/>
                <a:ea typeface="+mn-ea"/>
                <a:cs typeface="+mn-cs"/>
              </a:rPr>
              <a:t>Hypophysitis</a:t>
            </a: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1361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E158A-48E0-6CB8-BE34-A8B88B29C934}"/>
            </a:ext>
          </a:extLst>
        </p:cNvPr>
        <p:cNvGrpSpPr/>
        <p:nvPr/>
      </p:nvGrpSpPr>
      <p:grpSpPr>
        <a:xfrm>
          <a:off x="0" y="0"/>
          <a:ext cx="0" cy="0"/>
          <a:chOff x="0" y="0"/>
          <a:chExt cx="0" cy="0"/>
        </a:xfrm>
      </p:grpSpPr>
      <p:sp>
        <p:nvSpPr>
          <p:cNvPr id="18" name="Rectangle 6">
            <a:extLst>
              <a:ext uri="{FF2B5EF4-FFF2-40B4-BE49-F238E27FC236}">
                <a16:creationId xmlns:a16="http://schemas.microsoft.com/office/drawing/2014/main" id="{90912EC1-3E55-B5B9-6CD8-7DD4355545F5}"/>
              </a:ext>
            </a:extLst>
          </p:cNvPr>
          <p:cNvSpPr>
            <a:spLocks noChangeArrowheads="1"/>
          </p:cNvSpPr>
          <p:nvPr/>
        </p:nvSpPr>
        <p:spPr bwMode="auto">
          <a:xfrm>
            <a:off x="623392" y="1143000"/>
            <a:ext cx="7495843"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lease refer to the printed handout provided with your meeting syllabus, and scan the corresponding QR code to</a:t>
            </a:r>
          </a:p>
        </p:txBody>
      </p:sp>
      <p:sp>
        <p:nvSpPr>
          <p:cNvPr id="20" name="Rectangle 13">
            <a:extLst>
              <a:ext uri="{FF2B5EF4-FFF2-40B4-BE49-F238E27FC236}">
                <a16:creationId xmlns:a16="http://schemas.microsoft.com/office/drawing/2014/main" id="{AB2B80CA-480D-84B4-C713-E7D32B8BD69D}"/>
              </a:ext>
            </a:extLst>
          </p:cNvPr>
          <p:cNvSpPr>
            <a:spLocks noChangeArrowheads="1"/>
          </p:cNvSpPr>
          <p:nvPr/>
        </p:nvSpPr>
        <p:spPr bwMode="auto">
          <a:xfrm>
            <a:off x="1639459" y="2168932"/>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and Download Program Slides.</a:t>
            </a:r>
          </a:p>
        </p:txBody>
      </p:sp>
      <p:sp>
        <p:nvSpPr>
          <p:cNvPr id="23" name="Rectangle 13">
            <a:extLst>
              <a:ext uri="{FF2B5EF4-FFF2-40B4-BE49-F238E27FC236}">
                <a16:creationId xmlns:a16="http://schemas.microsoft.com/office/drawing/2014/main" id="{23C7F068-072B-D9B9-087D-34010174676B}"/>
              </a:ext>
            </a:extLst>
          </p:cNvPr>
          <p:cNvSpPr>
            <a:spLocks noChangeArrowheads="1"/>
          </p:cNvSpPr>
          <p:nvPr/>
        </p:nvSpPr>
        <p:spPr bwMode="auto">
          <a:xfrm>
            <a:off x="1639459" y="3202779"/>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t>
            </a:r>
            <a:b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b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a:extLst>
              <a:ext uri="{FF2B5EF4-FFF2-40B4-BE49-F238E27FC236}">
                <a16:creationId xmlns:a16="http://schemas.microsoft.com/office/drawing/2014/main" id="{44C8861B-93DA-7535-EDDC-07D9D19E6E87}"/>
              </a:ext>
            </a:extLst>
          </p:cNvPr>
          <p:cNvSpPr>
            <a:spLocks noChangeArrowheads="1"/>
          </p:cNvSpPr>
          <p:nvPr/>
        </p:nvSpPr>
        <p:spPr bwMode="auto">
          <a:xfrm>
            <a:off x="1639459" y="4302420"/>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We will aim to address as many questions as possible during the program.</a:t>
            </a:r>
          </a:p>
        </p:txBody>
      </p:sp>
      <p:pic>
        <p:nvPicPr>
          <p:cNvPr id="27" name="Picture 26" descr="ASCO-GI-16_iPad-icons_v1fr-slides.png">
            <a:extLst>
              <a:ext uri="{FF2B5EF4-FFF2-40B4-BE49-F238E27FC236}">
                <a16:creationId xmlns:a16="http://schemas.microsoft.com/office/drawing/2014/main" id="{F25C0282-46E1-6C6F-9561-3367CCA5DB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619" y="2122706"/>
            <a:ext cx="1005840" cy="769902"/>
          </a:xfrm>
          <a:prstGeom prst="rect">
            <a:avLst/>
          </a:prstGeom>
        </p:spPr>
      </p:pic>
      <p:pic>
        <p:nvPicPr>
          <p:cNvPr id="28" name="Picture 27" descr="ASCO-GI-16_iPad-icons_v1fr-questions.png">
            <a:extLst>
              <a:ext uri="{FF2B5EF4-FFF2-40B4-BE49-F238E27FC236}">
                <a16:creationId xmlns:a16="http://schemas.microsoft.com/office/drawing/2014/main" id="{28CC9950-DCDE-6CCA-EF23-D8E0CB655D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619" y="4272982"/>
            <a:ext cx="1005840" cy="776111"/>
          </a:xfrm>
          <a:prstGeom prst="rect">
            <a:avLst/>
          </a:prstGeom>
        </p:spPr>
      </p:pic>
      <p:pic>
        <p:nvPicPr>
          <p:cNvPr id="29" name="Picture 28" descr="ASCO-GI-16_iPad-icons_v1fr-survey.png">
            <a:extLst>
              <a:ext uri="{FF2B5EF4-FFF2-40B4-BE49-F238E27FC236}">
                <a16:creationId xmlns:a16="http://schemas.microsoft.com/office/drawing/2014/main" id="{1E0F8757-3CBA-BFF7-9D18-F41A55E5D2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3619" y="3188308"/>
            <a:ext cx="1005840" cy="774684"/>
          </a:xfrm>
          <a:prstGeom prst="rect">
            <a:avLst/>
          </a:prstGeom>
        </p:spPr>
      </p:pic>
      <p:sp>
        <p:nvSpPr>
          <p:cNvPr id="3" name="Title 2">
            <a:extLst>
              <a:ext uri="{FF2B5EF4-FFF2-40B4-BE49-F238E27FC236}">
                <a16:creationId xmlns:a16="http://schemas.microsoft.com/office/drawing/2014/main" id="{D3CA5A3E-0891-DCEA-A3C6-958555BD280D}"/>
              </a:ext>
            </a:extLst>
          </p:cNvPr>
          <p:cNvSpPr>
            <a:spLocks noGrp="1"/>
          </p:cNvSpPr>
          <p:nvPr>
            <p:ph type="title"/>
          </p:nvPr>
        </p:nvSpPr>
        <p:spPr>
          <a:xfrm>
            <a:off x="914639" y="0"/>
            <a:ext cx="10362724" cy="1143000"/>
          </a:xfrm>
        </p:spPr>
        <p:txBody>
          <a:bodyPr/>
          <a:lstStyle/>
          <a:p>
            <a:r>
              <a:rPr lang="en-US" dirty="0"/>
              <a:t>Clinicians in the Meeting Room</a:t>
            </a:r>
          </a:p>
        </p:txBody>
      </p:sp>
      <p:pic>
        <p:nvPicPr>
          <p:cNvPr id="2" name="Picture 1" descr="ASCO-GI-16_iPad-icons_v1fr-cme.png">
            <a:extLst>
              <a:ext uri="{FF2B5EF4-FFF2-40B4-BE49-F238E27FC236}">
                <a16:creationId xmlns:a16="http://schemas.microsoft.com/office/drawing/2014/main" id="{638B5321-BCC9-2699-A886-7AE6A34595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3619" y="5330821"/>
            <a:ext cx="1005840" cy="765179"/>
          </a:xfrm>
          <a:prstGeom prst="rect">
            <a:avLst/>
          </a:prstGeom>
        </p:spPr>
      </p:pic>
      <p:sp>
        <p:nvSpPr>
          <p:cNvPr id="4" name="Rectangle 13">
            <a:extLst>
              <a:ext uri="{FF2B5EF4-FFF2-40B4-BE49-F238E27FC236}">
                <a16:creationId xmlns:a16="http://schemas.microsoft.com/office/drawing/2014/main" id="{AE03C6F2-539D-E762-39EE-C5DEF29DDEF2}"/>
              </a:ext>
            </a:extLst>
          </p:cNvPr>
          <p:cNvSpPr>
            <a:spLocks noChangeArrowheads="1"/>
          </p:cNvSpPr>
          <p:nvPr/>
        </p:nvSpPr>
        <p:spPr bwMode="auto">
          <a:xfrm>
            <a:off x="1639459" y="5362122"/>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Complete the course evaluation.</a:t>
            </a:r>
          </a:p>
        </p:txBody>
      </p:sp>
      <p:pic>
        <p:nvPicPr>
          <p:cNvPr id="6" name="Picture 5">
            <a:extLst>
              <a:ext uri="{FF2B5EF4-FFF2-40B4-BE49-F238E27FC236}">
                <a16:creationId xmlns:a16="http://schemas.microsoft.com/office/drawing/2014/main" id="{D13C8172-68C7-B7EF-0AAC-7E8BD65FE8B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256240" y="1113952"/>
            <a:ext cx="3567943" cy="461691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36298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2"/>
          <p:cNvSpPr/>
          <p:nvPr/>
        </p:nvSpPr>
        <p:spPr>
          <a:xfrm>
            <a:off x="6908801" y="243840"/>
            <a:ext cx="4595447" cy="844061"/>
          </a:xfrm>
          <a:prstGeom prst="roundRect">
            <a:avLst>
              <a:gd name="adj" fmla="val 14286"/>
            </a:avLst>
          </a:prstGeom>
          <a:solidFill>
            <a:srgbClr val="0A7A6E"/>
          </a:solidFill>
          <a:ln w="12700">
            <a:solidFill>
              <a:srgbClr val="0A7A6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5" name="Text 3"/>
          <p:cNvSpPr/>
          <p:nvPr/>
        </p:nvSpPr>
        <p:spPr>
          <a:xfrm>
            <a:off x="7119192" y="448291"/>
            <a:ext cx="4220305" cy="426720"/>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PEMBROLIZUMAB</a:t>
            </a:r>
            <a:endParaRPr kumimoji="0" lang="en-US" sz="3733"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6" name="Text 4"/>
          <p:cNvSpPr/>
          <p:nvPr/>
        </p:nvSpPr>
        <p:spPr>
          <a:xfrm>
            <a:off x="365760" y="402336"/>
            <a:ext cx="8534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Common Side Effects</a:t>
            </a:r>
            <a:endParaRPr kumimoji="0" lang="en-US" sz="3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7" name="Text 5"/>
          <p:cNvSpPr/>
          <p:nvPr/>
        </p:nvSpPr>
        <p:spPr>
          <a:xfrm>
            <a:off x="365760" y="1133856"/>
            <a:ext cx="6096000" cy="292608"/>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Occurring in ≥10% of Patients</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8" name="Shape 6"/>
          <p:cNvSpPr/>
          <p:nvPr/>
        </p:nvSpPr>
        <p:spPr>
          <a:xfrm>
            <a:off x="268224" y="1804416"/>
            <a:ext cx="5730240" cy="1158240"/>
          </a:xfrm>
          <a:prstGeom prst="rect">
            <a:avLst/>
          </a:prstGeom>
          <a:solidFill>
            <a:srgbClr val="E6F4F2"/>
          </a:solidFill>
          <a:ln w="12700">
            <a:solidFill>
              <a:srgbClr val="B2D5D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9" name="Shape 7"/>
          <p:cNvSpPr/>
          <p:nvPr/>
        </p:nvSpPr>
        <p:spPr>
          <a:xfrm>
            <a:off x="268224" y="1804416"/>
            <a:ext cx="85344" cy="1158240"/>
          </a:xfrm>
          <a:prstGeom prst="rect">
            <a:avLst/>
          </a:prstGeom>
          <a:solidFill>
            <a:srgbClr val="0A7A6E"/>
          </a:solidFill>
          <a:ln w="12700">
            <a:solidFill>
              <a:srgbClr val="0A7A6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10" name="Text 8"/>
          <p:cNvSpPr/>
          <p:nvPr/>
        </p:nvSpPr>
        <p:spPr>
          <a:xfrm>
            <a:off x="451104" y="1901952"/>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Fatigue</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1" name="Text 9"/>
          <p:cNvSpPr/>
          <p:nvPr/>
        </p:nvSpPr>
        <p:spPr>
          <a:xfrm>
            <a:off x="451104" y="2267712"/>
            <a:ext cx="5486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Most frequent; occurs in ~40% of patients. May impact daily function.</a:t>
            </a:r>
            <a:endPar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2" name="Shape 10"/>
          <p:cNvSpPr/>
          <p:nvPr/>
        </p:nvSpPr>
        <p:spPr>
          <a:xfrm>
            <a:off x="6364224" y="1804416"/>
            <a:ext cx="5730240" cy="1158240"/>
          </a:xfrm>
          <a:prstGeom prst="rect">
            <a:avLst/>
          </a:prstGeom>
          <a:solidFill>
            <a:srgbClr val="E6F4F2"/>
          </a:solidFill>
          <a:ln w="12700">
            <a:solidFill>
              <a:srgbClr val="B2D5D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13" name="Shape 11"/>
          <p:cNvSpPr/>
          <p:nvPr/>
        </p:nvSpPr>
        <p:spPr>
          <a:xfrm>
            <a:off x="6364224" y="1804416"/>
            <a:ext cx="85344" cy="1158240"/>
          </a:xfrm>
          <a:prstGeom prst="rect">
            <a:avLst/>
          </a:prstGeom>
          <a:solidFill>
            <a:srgbClr val="0A7A6E"/>
          </a:solidFill>
          <a:ln w="12700">
            <a:solidFill>
              <a:srgbClr val="0A7A6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14" name="Text 12"/>
          <p:cNvSpPr/>
          <p:nvPr/>
        </p:nvSpPr>
        <p:spPr>
          <a:xfrm>
            <a:off x="6547104" y="1901952"/>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Nausea</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5" name="Text 13"/>
          <p:cNvSpPr/>
          <p:nvPr/>
        </p:nvSpPr>
        <p:spPr>
          <a:xfrm>
            <a:off x="6547104" y="2267712"/>
            <a:ext cx="5486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GI disturbance common early in treatment. Usually manageable.</a:t>
            </a:r>
            <a:endPar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6" name="Shape 14"/>
          <p:cNvSpPr/>
          <p:nvPr/>
        </p:nvSpPr>
        <p:spPr>
          <a:xfrm>
            <a:off x="268224" y="3316224"/>
            <a:ext cx="5730240" cy="1158240"/>
          </a:xfrm>
          <a:prstGeom prst="rect">
            <a:avLst/>
          </a:prstGeom>
          <a:solidFill>
            <a:srgbClr val="E6F4F2"/>
          </a:solidFill>
          <a:ln w="12700">
            <a:solidFill>
              <a:srgbClr val="B2D5D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17" name="Shape 15"/>
          <p:cNvSpPr/>
          <p:nvPr/>
        </p:nvSpPr>
        <p:spPr>
          <a:xfrm>
            <a:off x="268224" y="3316224"/>
            <a:ext cx="85344" cy="1158240"/>
          </a:xfrm>
          <a:prstGeom prst="rect">
            <a:avLst/>
          </a:prstGeom>
          <a:solidFill>
            <a:srgbClr val="0A7A6E"/>
          </a:solidFill>
          <a:ln w="12700">
            <a:solidFill>
              <a:srgbClr val="0A7A6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18" name="Text 16"/>
          <p:cNvSpPr/>
          <p:nvPr/>
        </p:nvSpPr>
        <p:spPr>
          <a:xfrm>
            <a:off x="451104" y="3413760"/>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Diarrhea</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9" name="Text 17"/>
          <p:cNvSpPr/>
          <p:nvPr/>
        </p:nvSpPr>
        <p:spPr>
          <a:xfrm>
            <a:off x="451104" y="3779520"/>
            <a:ext cx="5486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Mild-to-moderate loose stools; monitor for immune-related colitis.</a:t>
            </a:r>
            <a:endPar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0" name="Shape 18"/>
          <p:cNvSpPr/>
          <p:nvPr/>
        </p:nvSpPr>
        <p:spPr>
          <a:xfrm>
            <a:off x="6364224" y="3316224"/>
            <a:ext cx="5730240" cy="1158240"/>
          </a:xfrm>
          <a:prstGeom prst="rect">
            <a:avLst/>
          </a:prstGeom>
          <a:solidFill>
            <a:srgbClr val="E6F4F2"/>
          </a:solidFill>
          <a:ln w="12700">
            <a:solidFill>
              <a:srgbClr val="B2D5D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21" name="Shape 19"/>
          <p:cNvSpPr/>
          <p:nvPr/>
        </p:nvSpPr>
        <p:spPr>
          <a:xfrm>
            <a:off x="6364224" y="3316224"/>
            <a:ext cx="85344" cy="1158240"/>
          </a:xfrm>
          <a:prstGeom prst="rect">
            <a:avLst/>
          </a:prstGeom>
          <a:solidFill>
            <a:srgbClr val="0A7A6E"/>
          </a:solidFill>
          <a:ln w="12700">
            <a:solidFill>
              <a:srgbClr val="0A7A6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22" name="Text 20"/>
          <p:cNvSpPr/>
          <p:nvPr/>
        </p:nvSpPr>
        <p:spPr>
          <a:xfrm>
            <a:off x="6547104" y="3413760"/>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Pyrexia</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3" name="Text 21"/>
          <p:cNvSpPr/>
          <p:nvPr/>
        </p:nvSpPr>
        <p:spPr>
          <a:xfrm>
            <a:off x="6547104" y="3779520"/>
            <a:ext cx="5486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Low-grade fever often signals immune activation; monitor closely.</a:t>
            </a:r>
            <a:endPar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4" name="Shape 22"/>
          <p:cNvSpPr/>
          <p:nvPr/>
        </p:nvSpPr>
        <p:spPr>
          <a:xfrm>
            <a:off x="268224" y="4828032"/>
            <a:ext cx="5730240" cy="1158240"/>
          </a:xfrm>
          <a:prstGeom prst="rect">
            <a:avLst/>
          </a:prstGeom>
          <a:solidFill>
            <a:srgbClr val="E6F4F2"/>
          </a:solidFill>
          <a:ln w="12700">
            <a:solidFill>
              <a:srgbClr val="B2D5D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25" name="Shape 23"/>
          <p:cNvSpPr/>
          <p:nvPr/>
        </p:nvSpPr>
        <p:spPr>
          <a:xfrm>
            <a:off x="268224" y="4828032"/>
            <a:ext cx="85344" cy="1158240"/>
          </a:xfrm>
          <a:prstGeom prst="rect">
            <a:avLst/>
          </a:prstGeom>
          <a:solidFill>
            <a:srgbClr val="0A7A6E"/>
          </a:solidFill>
          <a:ln w="12700">
            <a:solidFill>
              <a:srgbClr val="0A7A6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26" name="Text 24"/>
          <p:cNvSpPr/>
          <p:nvPr/>
        </p:nvSpPr>
        <p:spPr>
          <a:xfrm>
            <a:off x="451104" y="4925568"/>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Pruritus / Rash</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7" name="Text 25"/>
          <p:cNvSpPr/>
          <p:nvPr/>
        </p:nvSpPr>
        <p:spPr>
          <a:xfrm>
            <a:off x="451104" y="5291328"/>
            <a:ext cx="5486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Skin reactions in ~20%; can range from mild itch to erythematous rash.</a:t>
            </a:r>
            <a:endPar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8" name="Shape 26"/>
          <p:cNvSpPr/>
          <p:nvPr/>
        </p:nvSpPr>
        <p:spPr>
          <a:xfrm>
            <a:off x="6364224" y="4828032"/>
            <a:ext cx="5730240" cy="1158240"/>
          </a:xfrm>
          <a:prstGeom prst="rect">
            <a:avLst/>
          </a:prstGeom>
          <a:solidFill>
            <a:srgbClr val="E6F4F2"/>
          </a:solidFill>
          <a:ln w="12700">
            <a:solidFill>
              <a:srgbClr val="B2D5D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29" name="Shape 27"/>
          <p:cNvSpPr/>
          <p:nvPr/>
        </p:nvSpPr>
        <p:spPr>
          <a:xfrm>
            <a:off x="6364224" y="4828032"/>
            <a:ext cx="85344" cy="1158240"/>
          </a:xfrm>
          <a:prstGeom prst="rect">
            <a:avLst/>
          </a:prstGeom>
          <a:solidFill>
            <a:srgbClr val="0A7A6E"/>
          </a:solidFill>
          <a:ln w="12700">
            <a:solidFill>
              <a:srgbClr val="0A7A6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30" name="Text 28"/>
          <p:cNvSpPr/>
          <p:nvPr/>
        </p:nvSpPr>
        <p:spPr>
          <a:xfrm>
            <a:off x="6547104" y="4925568"/>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Musculoskeletal Pain</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1" name="Text 29"/>
          <p:cNvSpPr/>
          <p:nvPr/>
        </p:nvSpPr>
        <p:spPr>
          <a:xfrm>
            <a:off x="6547104" y="5291328"/>
            <a:ext cx="54864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Arthralgia, myalgia, and back pain reported in ~15% of patients.</a:t>
            </a:r>
            <a:endParaRPr kumimoji="0" lang="en-US" sz="21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4"/>
          <p:cNvSpPr/>
          <p:nvPr/>
        </p:nvSpPr>
        <p:spPr>
          <a:xfrm>
            <a:off x="353568" y="292608"/>
            <a:ext cx="9753600" cy="63398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Rare but Serious Side Effects</a:t>
            </a:r>
            <a:endParaRPr kumimoji="0" lang="en-US" sz="3733"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7" name="Text 5"/>
          <p:cNvSpPr/>
          <p:nvPr/>
        </p:nvSpPr>
        <p:spPr>
          <a:xfrm>
            <a:off x="365760" y="1304544"/>
            <a:ext cx="10972800" cy="292608"/>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0" i="1"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Immune-Related Adverse Events (irAEs) — Requires Prompt Clinical Attention</a:t>
            </a:r>
            <a:endParaRPr kumimoji="0" lang="en-US" sz="26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8" name="Shape 6"/>
          <p:cNvSpPr/>
          <p:nvPr/>
        </p:nvSpPr>
        <p:spPr>
          <a:xfrm>
            <a:off x="268224" y="1804416"/>
            <a:ext cx="5730240" cy="1158240"/>
          </a:xfrm>
          <a:prstGeom prst="rect">
            <a:avLst/>
          </a:prstGeom>
          <a:solidFill>
            <a:srgbClr val="FDF3E7"/>
          </a:solidFill>
          <a:ln w="12700">
            <a:solidFill>
              <a:srgbClr val="F0CFA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9" name="Shape 7"/>
          <p:cNvSpPr/>
          <p:nvPr/>
        </p:nvSpPr>
        <p:spPr>
          <a:xfrm>
            <a:off x="268224" y="1804416"/>
            <a:ext cx="85344" cy="1158240"/>
          </a:xfrm>
          <a:prstGeom prst="rect">
            <a:avLst/>
          </a:prstGeom>
          <a:solidFill>
            <a:srgbClr val="D4621A"/>
          </a:solidFill>
          <a:ln w="12700">
            <a:solidFill>
              <a:srgbClr val="D4621A"/>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10" name="Text 8"/>
          <p:cNvSpPr/>
          <p:nvPr/>
        </p:nvSpPr>
        <p:spPr>
          <a:xfrm>
            <a:off x="451104" y="1865376"/>
            <a:ext cx="1828800" cy="21945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PULMONARY</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1" name="Text 9"/>
          <p:cNvSpPr/>
          <p:nvPr/>
        </p:nvSpPr>
        <p:spPr>
          <a:xfrm>
            <a:off x="451104" y="2072640"/>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Pneumonitis</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2" name="Text 10"/>
          <p:cNvSpPr/>
          <p:nvPr/>
        </p:nvSpPr>
        <p:spPr>
          <a:xfrm>
            <a:off x="451104" y="2414016"/>
            <a:ext cx="5486400" cy="51206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Immune-mediated lung inflammation (&lt;5%). Can be life-threatening; monitor for cough/dyspnea.</a:t>
            </a:r>
            <a:endPar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3" name="Shape 11"/>
          <p:cNvSpPr/>
          <p:nvPr/>
        </p:nvSpPr>
        <p:spPr>
          <a:xfrm>
            <a:off x="6364224" y="1804416"/>
            <a:ext cx="5730240" cy="1158240"/>
          </a:xfrm>
          <a:prstGeom prst="rect">
            <a:avLst/>
          </a:prstGeom>
          <a:solidFill>
            <a:srgbClr val="FDF3E7"/>
          </a:solidFill>
          <a:ln w="12700">
            <a:solidFill>
              <a:srgbClr val="F0CFA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14" name="Shape 12"/>
          <p:cNvSpPr/>
          <p:nvPr/>
        </p:nvSpPr>
        <p:spPr>
          <a:xfrm>
            <a:off x="6364224" y="1804416"/>
            <a:ext cx="85344" cy="1158240"/>
          </a:xfrm>
          <a:prstGeom prst="rect">
            <a:avLst/>
          </a:prstGeom>
          <a:solidFill>
            <a:srgbClr val="D4621A"/>
          </a:solidFill>
          <a:ln w="12700">
            <a:solidFill>
              <a:srgbClr val="D4621A"/>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15" name="Text 13"/>
          <p:cNvSpPr/>
          <p:nvPr/>
        </p:nvSpPr>
        <p:spPr>
          <a:xfrm>
            <a:off x="6547104" y="1865376"/>
            <a:ext cx="1828800" cy="21945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GI</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6" name="Text 14"/>
          <p:cNvSpPr/>
          <p:nvPr/>
        </p:nvSpPr>
        <p:spPr>
          <a:xfrm>
            <a:off x="6547104" y="2072640"/>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Colitis</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7" name="Text 15"/>
          <p:cNvSpPr/>
          <p:nvPr/>
        </p:nvSpPr>
        <p:spPr>
          <a:xfrm>
            <a:off x="6547104" y="2414016"/>
            <a:ext cx="5486400" cy="51206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Severe immune-related diarrhea/colitis (&lt;2%). May require corticosteroids or treatment discontinuation.</a:t>
            </a:r>
            <a:endPar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18" name="Shape 16"/>
          <p:cNvSpPr/>
          <p:nvPr/>
        </p:nvSpPr>
        <p:spPr>
          <a:xfrm>
            <a:off x="268224" y="3316224"/>
            <a:ext cx="5730240" cy="1158240"/>
          </a:xfrm>
          <a:prstGeom prst="rect">
            <a:avLst/>
          </a:prstGeom>
          <a:solidFill>
            <a:srgbClr val="FDF3E7"/>
          </a:solidFill>
          <a:ln w="12700">
            <a:solidFill>
              <a:srgbClr val="F0CFA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19" name="Shape 17"/>
          <p:cNvSpPr/>
          <p:nvPr/>
        </p:nvSpPr>
        <p:spPr>
          <a:xfrm>
            <a:off x="268224" y="3316224"/>
            <a:ext cx="85344" cy="1158240"/>
          </a:xfrm>
          <a:prstGeom prst="rect">
            <a:avLst/>
          </a:prstGeom>
          <a:solidFill>
            <a:srgbClr val="D4621A"/>
          </a:solidFill>
          <a:ln w="12700">
            <a:solidFill>
              <a:srgbClr val="D4621A"/>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20" name="Text 18"/>
          <p:cNvSpPr/>
          <p:nvPr/>
        </p:nvSpPr>
        <p:spPr>
          <a:xfrm>
            <a:off x="451104" y="3377184"/>
            <a:ext cx="1828800" cy="21945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HEPATIC</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1" name="Text 19"/>
          <p:cNvSpPr/>
          <p:nvPr/>
        </p:nvSpPr>
        <p:spPr>
          <a:xfrm>
            <a:off x="451104" y="3584448"/>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Hepatitis</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2" name="Text 20"/>
          <p:cNvSpPr/>
          <p:nvPr/>
        </p:nvSpPr>
        <p:spPr>
          <a:xfrm>
            <a:off x="451104" y="3925824"/>
            <a:ext cx="5486400" cy="51206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Elevated LFTs and immune-mediated hepatitis (&lt;1–2%). Monitor liver enzymes regularly.</a:t>
            </a:r>
            <a:endPar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3" name="Shape 21"/>
          <p:cNvSpPr/>
          <p:nvPr/>
        </p:nvSpPr>
        <p:spPr>
          <a:xfrm>
            <a:off x="6364224" y="3316224"/>
            <a:ext cx="5730240" cy="1158240"/>
          </a:xfrm>
          <a:prstGeom prst="rect">
            <a:avLst/>
          </a:prstGeom>
          <a:solidFill>
            <a:srgbClr val="FDF3E7"/>
          </a:solidFill>
          <a:ln w="12700">
            <a:solidFill>
              <a:srgbClr val="F0CFA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24" name="Shape 22"/>
          <p:cNvSpPr/>
          <p:nvPr/>
        </p:nvSpPr>
        <p:spPr>
          <a:xfrm>
            <a:off x="6364224" y="3316224"/>
            <a:ext cx="85344" cy="1158240"/>
          </a:xfrm>
          <a:prstGeom prst="rect">
            <a:avLst/>
          </a:prstGeom>
          <a:solidFill>
            <a:srgbClr val="D4621A"/>
          </a:solidFill>
          <a:ln w="12700">
            <a:solidFill>
              <a:srgbClr val="D4621A"/>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25" name="Text 23"/>
          <p:cNvSpPr/>
          <p:nvPr/>
        </p:nvSpPr>
        <p:spPr>
          <a:xfrm>
            <a:off x="6547104" y="3377184"/>
            <a:ext cx="1828800" cy="21945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ENDOCRINE</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6" name="Text 24"/>
          <p:cNvSpPr/>
          <p:nvPr/>
        </p:nvSpPr>
        <p:spPr>
          <a:xfrm>
            <a:off x="6547104" y="3584448"/>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Endocrinopathies</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7" name="Text 25"/>
          <p:cNvSpPr/>
          <p:nvPr/>
        </p:nvSpPr>
        <p:spPr>
          <a:xfrm>
            <a:off x="6547104" y="3925824"/>
            <a:ext cx="5486400" cy="51206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Hypophysitis, thyroiditis, adrenal insufficiency. Can be permanent; requires hormone replacement.</a:t>
            </a:r>
            <a:endPar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28" name="Shape 26"/>
          <p:cNvSpPr/>
          <p:nvPr/>
        </p:nvSpPr>
        <p:spPr>
          <a:xfrm>
            <a:off x="268224" y="4828032"/>
            <a:ext cx="5730240" cy="1158240"/>
          </a:xfrm>
          <a:prstGeom prst="rect">
            <a:avLst/>
          </a:prstGeom>
          <a:solidFill>
            <a:srgbClr val="FDF3E7"/>
          </a:solidFill>
          <a:ln w="12700">
            <a:solidFill>
              <a:srgbClr val="F0CFA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29" name="Shape 27"/>
          <p:cNvSpPr/>
          <p:nvPr/>
        </p:nvSpPr>
        <p:spPr>
          <a:xfrm>
            <a:off x="268224" y="4828032"/>
            <a:ext cx="85344" cy="1158240"/>
          </a:xfrm>
          <a:prstGeom prst="rect">
            <a:avLst/>
          </a:prstGeom>
          <a:solidFill>
            <a:srgbClr val="D4621A"/>
          </a:solidFill>
          <a:ln w="12700">
            <a:solidFill>
              <a:srgbClr val="D4621A"/>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30" name="Text 28"/>
          <p:cNvSpPr/>
          <p:nvPr/>
        </p:nvSpPr>
        <p:spPr>
          <a:xfrm>
            <a:off x="451104" y="4888992"/>
            <a:ext cx="1828800" cy="21945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RENAL</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1" name="Text 29"/>
          <p:cNvSpPr/>
          <p:nvPr/>
        </p:nvSpPr>
        <p:spPr>
          <a:xfrm>
            <a:off x="451104" y="5096256"/>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Nephritis</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2" name="Text 30"/>
          <p:cNvSpPr/>
          <p:nvPr/>
        </p:nvSpPr>
        <p:spPr>
          <a:xfrm>
            <a:off x="451104" y="5437632"/>
            <a:ext cx="5486400" cy="51206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Immune-mediated kidney injury (&lt;1%). Monitor creatinine; may require steroid therapy.</a:t>
            </a:r>
            <a:endPar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3" name="Shape 31"/>
          <p:cNvSpPr/>
          <p:nvPr/>
        </p:nvSpPr>
        <p:spPr>
          <a:xfrm>
            <a:off x="6364224" y="4828032"/>
            <a:ext cx="5730240" cy="1158240"/>
          </a:xfrm>
          <a:prstGeom prst="rect">
            <a:avLst/>
          </a:prstGeom>
          <a:solidFill>
            <a:srgbClr val="FDF3E7"/>
          </a:solidFill>
          <a:ln w="12700">
            <a:solidFill>
              <a:srgbClr val="F0CFA0"/>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34" name="Shape 32"/>
          <p:cNvSpPr/>
          <p:nvPr/>
        </p:nvSpPr>
        <p:spPr>
          <a:xfrm>
            <a:off x="6364224" y="4828032"/>
            <a:ext cx="85344" cy="1158240"/>
          </a:xfrm>
          <a:prstGeom prst="rect">
            <a:avLst/>
          </a:prstGeom>
          <a:solidFill>
            <a:srgbClr val="D4621A"/>
          </a:solidFill>
          <a:ln w="12700">
            <a:solidFill>
              <a:srgbClr val="D4621A"/>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35" name="Text 33"/>
          <p:cNvSpPr/>
          <p:nvPr/>
        </p:nvSpPr>
        <p:spPr>
          <a:xfrm>
            <a:off x="6547104" y="4888992"/>
            <a:ext cx="1828800" cy="21945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CARDIAC</a:t>
            </a:r>
            <a:endParaRPr kumimoji="0" lang="en-US" sz="16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6" name="Text 34"/>
          <p:cNvSpPr/>
          <p:nvPr/>
        </p:nvSpPr>
        <p:spPr>
          <a:xfrm>
            <a:off x="6547104" y="5096256"/>
            <a:ext cx="5486400" cy="341376"/>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Myocarditis</a:t>
            </a:r>
            <a:endParaRPr kumimoji="0" lang="en-US" sz="3200"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37" name="Text 35"/>
          <p:cNvSpPr/>
          <p:nvPr/>
        </p:nvSpPr>
        <p:spPr>
          <a:xfrm>
            <a:off x="6547104" y="5437632"/>
            <a:ext cx="5486400" cy="51206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Calibri" pitchFamily="34" charset="-122"/>
                <a:cs typeface="Calibri" pitchFamily="34" charset="-120"/>
              </a:rPr>
              <a:t>Rare but potentially fatal (&lt;0.1%). Presents with chest pain, arrhythmia, or heart failure.</a:t>
            </a:r>
            <a:endParaRPr kumimoji="0" lang="en-US" sz="1867" b="0" i="0" u="none" strike="noStrike" kern="1200" cap="none" spc="0" normalizeH="0" baseline="0" noProof="0" dirty="0">
              <a:ln>
                <a:noFill/>
              </a:ln>
              <a:solidFill>
                <a:srgbClr val="7030A0"/>
              </a:solidFill>
              <a:effectLst/>
              <a:uLnTx/>
              <a:uFillTx/>
              <a:latin typeface="Arial Narrow" panose="020B0606020202030204" pitchFamily="34" charset="0"/>
              <a:ea typeface="+mn-ea"/>
              <a:cs typeface="+mn-cs"/>
            </a:endParaRPr>
          </a:p>
        </p:txBody>
      </p:sp>
      <p:sp>
        <p:nvSpPr>
          <p:cNvPr id="44" name="Text 3">
            <a:extLst>
              <a:ext uri="{FF2B5EF4-FFF2-40B4-BE49-F238E27FC236}">
                <a16:creationId xmlns:a16="http://schemas.microsoft.com/office/drawing/2014/main" id="{EBF79F4B-AEA0-DEF3-36D4-B08165FBDFBF}"/>
              </a:ext>
            </a:extLst>
          </p:cNvPr>
          <p:cNvSpPr/>
          <p:nvPr/>
        </p:nvSpPr>
        <p:spPr>
          <a:xfrm>
            <a:off x="7096370" y="603504"/>
            <a:ext cx="4220305" cy="426720"/>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PEMBROLIZUMAB</a:t>
            </a:r>
            <a:endParaRPr kumimoji="0" lang="en-US" sz="3733"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45" name="Shape 2">
            <a:extLst>
              <a:ext uri="{FF2B5EF4-FFF2-40B4-BE49-F238E27FC236}">
                <a16:creationId xmlns:a16="http://schemas.microsoft.com/office/drawing/2014/main" id="{8521966A-545C-093C-3E6F-4A79D44EE04A}"/>
              </a:ext>
            </a:extLst>
          </p:cNvPr>
          <p:cNvSpPr/>
          <p:nvPr/>
        </p:nvSpPr>
        <p:spPr>
          <a:xfrm>
            <a:off x="6908801" y="243840"/>
            <a:ext cx="4595447" cy="844061"/>
          </a:xfrm>
          <a:prstGeom prst="roundRect">
            <a:avLst>
              <a:gd name="adj" fmla="val 14286"/>
            </a:avLst>
          </a:prstGeom>
          <a:solidFill>
            <a:srgbClr val="0A7A6E"/>
          </a:solidFill>
          <a:ln w="12700">
            <a:solidFill>
              <a:srgbClr val="0A7A6E"/>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7030A0"/>
              </a:solidFill>
              <a:effectLst/>
              <a:uLnTx/>
              <a:uFillTx/>
              <a:latin typeface="Arial Narrow" panose="020B0606020202030204" pitchFamily="34" charset="0"/>
              <a:ea typeface="+mn-ea"/>
              <a:cs typeface="+mn-cs"/>
            </a:endParaRPr>
          </a:p>
        </p:txBody>
      </p:sp>
      <p:sp>
        <p:nvSpPr>
          <p:cNvPr id="46" name="Text 3">
            <a:extLst>
              <a:ext uri="{FF2B5EF4-FFF2-40B4-BE49-F238E27FC236}">
                <a16:creationId xmlns:a16="http://schemas.microsoft.com/office/drawing/2014/main" id="{C7409C8E-37D8-7D99-7B72-780C29FFE7BE}"/>
              </a:ext>
            </a:extLst>
          </p:cNvPr>
          <p:cNvSpPr/>
          <p:nvPr/>
        </p:nvSpPr>
        <p:spPr>
          <a:xfrm>
            <a:off x="7119192" y="448291"/>
            <a:ext cx="4220305" cy="426720"/>
          </a:xfrm>
          <a:prstGeom prst="rect">
            <a:avLst/>
          </a:prstGeom>
          <a:noFill/>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PEMBROLIZUMAB</a:t>
            </a:r>
            <a:endParaRPr kumimoji="0" lang="en-US" sz="3733"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111" y="187570"/>
            <a:ext cx="10007820" cy="931593"/>
          </a:xfrm>
        </p:spPr>
        <p:txBody>
          <a:bodyPr/>
          <a:lstStyle/>
          <a:p>
            <a:r>
              <a:rPr lang="en-US" sz="3733" b="1" dirty="0">
                <a:solidFill>
                  <a:srgbClr val="7030A0"/>
                </a:solidFill>
                <a:latin typeface="Arial Narrow" panose="020B0606020202030204" pitchFamily="34" charset="0"/>
              </a:rPr>
              <a:t>Treatment of IRAEs: Use of Steroids</a:t>
            </a:r>
          </a:p>
        </p:txBody>
      </p:sp>
      <p:sp>
        <p:nvSpPr>
          <p:cNvPr id="3" name="Content Placeholder 2"/>
          <p:cNvSpPr>
            <a:spLocks noGrp="1"/>
          </p:cNvSpPr>
          <p:nvPr>
            <p:ph idx="1"/>
          </p:nvPr>
        </p:nvSpPr>
        <p:spPr>
          <a:xfrm>
            <a:off x="583971" y="1277815"/>
            <a:ext cx="11189124" cy="5392615"/>
          </a:xfrm>
        </p:spPr>
        <p:txBody>
          <a:bodyPr>
            <a:normAutofit/>
          </a:bodyPr>
          <a:lstStyle/>
          <a:p>
            <a:r>
              <a:rPr lang="en-US" sz="2400" dirty="0">
                <a:latin typeface="Arial Narrow" panose="020B0606020202030204" pitchFamily="34" charset="0"/>
              </a:rPr>
              <a:t>Does not diminish treatment efficacy</a:t>
            </a:r>
            <a:endParaRPr lang="en-US" sz="2400" dirty="0">
              <a:solidFill>
                <a:schemeClr val="accent3"/>
              </a:solidFill>
              <a:latin typeface="Arial Narrow" panose="020B0606020202030204" pitchFamily="34" charset="0"/>
            </a:endParaRPr>
          </a:p>
          <a:p>
            <a:r>
              <a:rPr lang="en-US" sz="2400" dirty="0">
                <a:latin typeface="Arial Narrow" panose="020B0606020202030204" pitchFamily="34" charset="0"/>
              </a:rPr>
              <a:t>There should be rapid response with steroids in treating IRAEs</a:t>
            </a:r>
          </a:p>
          <a:p>
            <a:r>
              <a:rPr lang="en-US" sz="2400" dirty="0">
                <a:latin typeface="Arial Narrow" panose="020B0606020202030204" pitchFamily="34" charset="0"/>
              </a:rPr>
              <a:t>If </a:t>
            </a:r>
            <a:r>
              <a:rPr lang="en-US" sz="2400" dirty="0" err="1">
                <a:latin typeface="Arial Narrow" panose="020B0606020202030204" pitchFamily="34" charset="0"/>
              </a:rPr>
              <a:t>pt</a:t>
            </a:r>
            <a:r>
              <a:rPr lang="en-US" sz="2400" dirty="0">
                <a:latin typeface="Arial Narrow" panose="020B0606020202030204" pitchFamily="34" charset="0"/>
              </a:rPr>
              <a:t> not responding, approx. 3-5 days, consider second immunosuppressant.</a:t>
            </a:r>
          </a:p>
          <a:p>
            <a:r>
              <a:rPr lang="en-US" sz="2400" dirty="0">
                <a:latin typeface="Arial Narrow" panose="020B0606020202030204" pitchFamily="34" charset="0"/>
              </a:rPr>
              <a:t>Infliximab 5mg/kg plus high dose steroids with colitis</a:t>
            </a:r>
            <a:endParaRPr lang="en-US" sz="2400" dirty="0">
              <a:solidFill>
                <a:schemeClr val="accent3"/>
              </a:solidFill>
              <a:latin typeface="Arial Narrow" panose="020B0606020202030204" pitchFamily="34" charset="0"/>
            </a:endParaRPr>
          </a:p>
          <a:p>
            <a:r>
              <a:rPr lang="en-US" sz="2400" dirty="0">
                <a:latin typeface="Arial Narrow" panose="020B0606020202030204" pitchFamily="34" charset="0"/>
              </a:rPr>
              <a:t>Consider Pneumocystis prophylaxis with </a:t>
            </a:r>
            <a:r>
              <a:rPr lang="en-US" sz="2400" dirty="0">
                <a:latin typeface="Arial Narrow" panose="020B0606020202030204" pitchFamily="34" charset="0"/>
                <a:hlinkClick r:id="rId2"/>
              </a:rPr>
              <a:t>trimethoprim-sulfamethoxazole</a:t>
            </a:r>
            <a:r>
              <a:rPr lang="en-US" sz="2400" dirty="0">
                <a:latin typeface="Arial Narrow" panose="020B0606020202030204" pitchFamily="34" charset="0"/>
              </a:rPr>
              <a:t>, </a:t>
            </a:r>
            <a:r>
              <a:rPr lang="en-US" sz="2400" dirty="0">
                <a:latin typeface="Arial Narrow" panose="020B0606020202030204" pitchFamily="34" charset="0"/>
                <a:hlinkClick r:id="rId3"/>
              </a:rPr>
              <a:t>atovaquone</a:t>
            </a:r>
            <a:r>
              <a:rPr lang="en-US" sz="2400" dirty="0">
                <a:latin typeface="Arial Narrow" panose="020B0606020202030204" pitchFamily="34" charset="0"/>
              </a:rPr>
              <a:t>, or </a:t>
            </a:r>
            <a:r>
              <a:rPr lang="en-US" sz="2400" dirty="0">
                <a:latin typeface="Arial Narrow" panose="020B0606020202030204" pitchFamily="34" charset="0"/>
                <a:hlinkClick r:id="rId4"/>
              </a:rPr>
              <a:t>pentamidine</a:t>
            </a:r>
            <a:r>
              <a:rPr lang="en-US" sz="2400" dirty="0">
                <a:latin typeface="Arial Narrow" panose="020B0606020202030204" pitchFamily="34" charset="0"/>
              </a:rPr>
              <a:t> for patients treated with 20 mg of </a:t>
            </a:r>
            <a:r>
              <a:rPr lang="en-US" sz="2400" dirty="0">
                <a:latin typeface="Arial Narrow" panose="020B0606020202030204" pitchFamily="34" charset="0"/>
                <a:hlinkClick r:id="rId5"/>
              </a:rPr>
              <a:t>prednisone</a:t>
            </a:r>
            <a:r>
              <a:rPr lang="en-US" sz="2400" dirty="0">
                <a:latin typeface="Arial Narrow" panose="020B0606020202030204" pitchFamily="34" charset="0"/>
              </a:rPr>
              <a:t> equivalent daily for 4 weeks or more </a:t>
            </a:r>
            <a:endParaRPr lang="en-US" sz="2400" dirty="0">
              <a:solidFill>
                <a:schemeClr val="accent3"/>
              </a:solidFill>
              <a:latin typeface="Arial Narrow" panose="020B0606020202030204" pitchFamily="34" charset="0"/>
            </a:endParaRPr>
          </a:p>
          <a:p>
            <a:r>
              <a:rPr lang="en-US" sz="2400" dirty="0">
                <a:latin typeface="Arial Narrow" panose="020B0606020202030204" pitchFamily="34" charset="0"/>
              </a:rPr>
              <a:t>Consider antifungal prophylaxis.  </a:t>
            </a:r>
          </a:p>
          <a:p>
            <a:r>
              <a:rPr lang="en-US" sz="2400" dirty="0">
                <a:latin typeface="Arial Narrow" panose="020B0606020202030204" pitchFamily="34" charset="0"/>
              </a:rPr>
              <a:t>After a full steroid dose treatment course of generally 2-4 weeks, steroids must be reduced gradually over a period of at least 1 month to avoid recurrence of the IRAE</a:t>
            </a:r>
            <a:endParaRPr lang="en-US" sz="2400" dirty="0">
              <a:solidFill>
                <a:srgbClr val="FFC000"/>
              </a:solidFill>
              <a:latin typeface="Arial Narrow" panose="020B0606020202030204" pitchFamily="34" charset="0"/>
            </a:endParaRPr>
          </a:p>
          <a:p>
            <a:r>
              <a:rPr lang="en-US" altLang="en-US" sz="2400" dirty="0">
                <a:latin typeface="Arial Narrow" panose="020B0606020202030204" pitchFamily="34" charset="0"/>
              </a:rPr>
              <a:t>Replacement steroid for adrenal insufficiency and </a:t>
            </a:r>
            <a:r>
              <a:rPr lang="en-US" altLang="en-US" sz="2400" dirty="0" err="1">
                <a:latin typeface="Arial Narrow" panose="020B0606020202030204" pitchFamily="34" charset="0"/>
              </a:rPr>
              <a:t>hypophysitis</a:t>
            </a:r>
            <a:r>
              <a:rPr lang="en-US" altLang="en-US" sz="2400" dirty="0">
                <a:latin typeface="Arial Narrow" panose="020B0606020202030204" pitchFamily="34" charset="0"/>
              </a:rPr>
              <a:t> are likely lifelong. They will need to be increased if undergoing stress like surgery.  </a:t>
            </a:r>
            <a:r>
              <a:rPr lang="en-US" sz="2400" dirty="0">
                <a:latin typeface="Arial Narrow" panose="020B0606020202030204" pitchFamily="34" charset="0"/>
              </a:rPr>
              <a:t>Patients can continue immunotherapy if prednisone or equivalent is less than 10 mg a day.</a:t>
            </a:r>
          </a:p>
          <a:p>
            <a:endParaRPr lang="en-US" sz="2400" dirty="0">
              <a:latin typeface="Arial Narrow" panose="020B0606020202030204" pitchFamily="34" charset="0"/>
            </a:endParaRPr>
          </a:p>
          <a:p>
            <a:endParaRPr lang="en-US" sz="2400" dirty="0">
              <a:latin typeface="Arial Narrow" panose="020B0606020202030204" pitchFamily="34" charset="0"/>
            </a:endParaRPr>
          </a:p>
          <a:p>
            <a:endParaRPr lang="en-US" sz="2400" i="1" dirty="0">
              <a:latin typeface="Arial Narrow" panose="020B0606020202030204" pitchFamily="34" charset="0"/>
            </a:endParaRPr>
          </a:p>
          <a:p>
            <a:endParaRPr lang="en-US" sz="2400" dirty="0">
              <a:latin typeface="Arial Narrow" panose="020B0606020202030204" pitchFamily="34" charset="0"/>
            </a:endParaRPr>
          </a:p>
        </p:txBody>
      </p:sp>
    </p:spTree>
    <p:extLst>
      <p:ext uri="{BB962C8B-B14F-4D97-AF65-F5344CB8AC3E}">
        <p14:creationId xmlns:p14="http://schemas.microsoft.com/office/powerpoint/2010/main" val="3384458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AF588E-3033-50C9-6E04-5FFF384875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3F726D-3AFE-20E3-2486-A5249B224EEC}"/>
              </a:ext>
            </a:extLst>
          </p:cNvPr>
          <p:cNvSpPr>
            <a:spLocks noGrp="1"/>
          </p:cNvSpPr>
          <p:nvPr>
            <p:ph type="title"/>
          </p:nvPr>
        </p:nvSpPr>
        <p:spPr>
          <a:xfrm>
            <a:off x="912286" y="5366"/>
            <a:ext cx="10358967" cy="1261872"/>
          </a:xfrm>
        </p:spPr>
        <p:txBody>
          <a:bodyPr/>
          <a:lstStyle/>
          <a:p>
            <a:r>
              <a:rPr lang="en-US" dirty="0"/>
              <a:t>Second Opinion</a:t>
            </a:r>
          </a:p>
        </p:txBody>
      </p:sp>
      <p:sp>
        <p:nvSpPr>
          <p:cNvPr id="3" name="Text Box 7">
            <a:extLst>
              <a:ext uri="{FF2B5EF4-FFF2-40B4-BE49-F238E27FC236}">
                <a16:creationId xmlns:a16="http://schemas.microsoft.com/office/drawing/2014/main" id="{7816BF38-F8BA-00B9-76E8-4E155F8F161C}"/>
              </a:ext>
            </a:extLst>
          </p:cNvPr>
          <p:cNvSpPr txBox="1">
            <a:spLocks noChangeArrowheads="1"/>
          </p:cNvSpPr>
          <p:nvPr/>
        </p:nvSpPr>
        <p:spPr bwMode="auto">
          <a:xfrm>
            <a:off x="1752600" y="1494258"/>
            <a:ext cx="43434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Jonathan A Lederman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CL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ndon, United Kingdom</a:t>
            </a:r>
          </a:p>
        </p:txBody>
      </p:sp>
      <p:pic>
        <p:nvPicPr>
          <p:cNvPr id="5" name="Picture 4">
            <a:extLst>
              <a:ext uri="{FF2B5EF4-FFF2-40B4-BE49-F238E27FC236}">
                <a16:creationId xmlns:a16="http://schemas.microsoft.com/office/drawing/2014/main" id="{1A21FD4B-4D80-5D03-5ACC-B5A11DD2EE5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0961" y="1494258"/>
            <a:ext cx="1261872" cy="1261872"/>
          </a:xfrm>
          <a:prstGeom prst="rect">
            <a:avLst/>
          </a:prstGeom>
        </p:spPr>
      </p:pic>
      <p:sp>
        <p:nvSpPr>
          <p:cNvPr id="10" name="Text Box 9">
            <a:extLst>
              <a:ext uri="{FF2B5EF4-FFF2-40B4-BE49-F238E27FC236}">
                <a16:creationId xmlns:a16="http://schemas.microsoft.com/office/drawing/2014/main" id="{05AD4627-B11E-5F58-009F-CD5460DDB2EE}"/>
              </a:ext>
            </a:extLst>
          </p:cNvPr>
          <p:cNvSpPr txBox="1">
            <a:spLocks noChangeArrowheads="1"/>
          </p:cNvSpPr>
          <p:nvPr/>
        </p:nvSpPr>
        <p:spPr bwMode="auto">
          <a:xfrm>
            <a:off x="7280351" y="1494258"/>
            <a:ext cx="4326696"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Angeles Alvarez Secord, MD, </a:t>
            </a:r>
            <a:r>
              <a:rPr kumimoji="0" lang="en-US" sz="1600" b="1" i="0" u="none" strike="noStrike" kern="1200" cap="none" spc="0" normalizeH="0" baseline="0" noProof="0" dirty="0" err="1">
                <a:ln>
                  <a:noFill/>
                </a:ln>
                <a:solidFill>
                  <a:srgbClr val="000000"/>
                </a:solidFill>
                <a:effectLst/>
                <a:uLnTx/>
                <a:uFillTx/>
                <a:latin typeface="Calibri"/>
                <a:ea typeface="MS PGothic" charset="0"/>
              </a:rPr>
              <a:t>MHSc</a:t>
            </a:r>
            <a:endParaRPr kumimoji="0" lang="en-US" sz="1600" b="1" i="0" u="none" strike="noStrike" kern="1200" cap="none" spc="0" normalizeH="0" baseline="0" noProof="0" dirty="0">
              <a:ln>
                <a:noFill/>
              </a:ln>
              <a:solidFill>
                <a:srgbClr val="000000"/>
              </a:solidFill>
              <a:effectLst/>
              <a:uLnTx/>
              <a:uFillTx/>
              <a:latin typeface="Calibri"/>
              <a:ea typeface="MS PGothic"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of Gynecologic Oncology Clinical Trial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Director, Clinical Research, Gynecologic Oncolog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uke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Gynecologic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Obstetrics and Gyne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uke University School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11" name="Picture 10">
            <a:extLst>
              <a:ext uri="{FF2B5EF4-FFF2-40B4-BE49-F238E27FC236}">
                <a16:creationId xmlns:a16="http://schemas.microsoft.com/office/drawing/2014/main" id="{50E770DD-27AE-318B-2EAC-7B7C7EA7A14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958712" y="1494258"/>
            <a:ext cx="1261872" cy="1261872"/>
          </a:xfrm>
          <a:prstGeom prst="rect">
            <a:avLst/>
          </a:prstGeom>
        </p:spPr>
      </p:pic>
      <p:sp>
        <p:nvSpPr>
          <p:cNvPr id="9" name="Text Box 7">
            <a:extLst>
              <a:ext uri="{FF2B5EF4-FFF2-40B4-BE49-F238E27FC236}">
                <a16:creationId xmlns:a16="http://schemas.microsoft.com/office/drawing/2014/main" id="{AAF40DB0-786C-59D4-C091-105CF2A73619}"/>
              </a:ext>
            </a:extLst>
          </p:cNvPr>
          <p:cNvSpPr txBox="1">
            <a:spLocks noChangeArrowheads="1"/>
          </p:cNvSpPr>
          <p:nvPr/>
        </p:nvSpPr>
        <p:spPr bwMode="auto">
          <a:xfrm>
            <a:off x="1752600" y="4216170"/>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rsula Matulonis,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ief, Division of Gynecologic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rock-Wilson Family Chai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na-Farber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rvard Medical Schoo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pic>
        <p:nvPicPr>
          <p:cNvPr id="8" name="Picture 7">
            <a:extLst>
              <a:ext uri="{FF2B5EF4-FFF2-40B4-BE49-F238E27FC236}">
                <a16:creationId xmlns:a16="http://schemas.microsoft.com/office/drawing/2014/main" id="{6CB7CD42-FE46-CEB2-A3F1-F082BC17529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30961" y="4216170"/>
            <a:ext cx="1261872" cy="1261872"/>
          </a:xfrm>
          <a:prstGeom prst="rect">
            <a:avLst/>
          </a:prstGeom>
        </p:spPr>
      </p:pic>
      <p:sp>
        <p:nvSpPr>
          <p:cNvPr id="12" name="Text Box 9">
            <a:extLst>
              <a:ext uri="{FF2B5EF4-FFF2-40B4-BE49-F238E27FC236}">
                <a16:creationId xmlns:a16="http://schemas.microsoft.com/office/drawing/2014/main" id="{90E2E91D-10D6-FDD3-5CA7-1FE0EA7D3482}"/>
              </a:ext>
            </a:extLst>
          </p:cNvPr>
          <p:cNvSpPr txBox="1">
            <a:spLocks noChangeArrowheads="1"/>
          </p:cNvSpPr>
          <p:nvPr/>
        </p:nvSpPr>
        <p:spPr bwMode="auto">
          <a:xfrm>
            <a:off x="7280351" y="4216170"/>
            <a:ext cx="4326696"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3" name="Picture 12">
            <a:extLst>
              <a:ext uri="{FF2B5EF4-FFF2-40B4-BE49-F238E27FC236}">
                <a16:creationId xmlns:a16="http://schemas.microsoft.com/office/drawing/2014/main" id="{68D1EEE7-2CEB-0F08-60E2-144AFB49B91C}"/>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958712" y="4216170"/>
            <a:ext cx="1261872" cy="1261872"/>
          </a:xfrm>
          <a:prstGeom prst="rect">
            <a:avLst/>
          </a:prstGeom>
        </p:spPr>
      </p:pic>
    </p:spTree>
    <p:custDataLst>
      <p:tags r:id="rId1"/>
    </p:custDataLst>
    <p:extLst>
      <p:ext uri="{BB962C8B-B14F-4D97-AF65-F5344CB8AC3E}">
        <p14:creationId xmlns:p14="http://schemas.microsoft.com/office/powerpoint/2010/main" val="26095176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CAF93A-6CDB-0413-2AFE-7E8B5A7FEFF2}"/>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BF4FCDFF-FE69-8A42-5EB5-388754EF4BD2}"/>
              </a:ext>
            </a:extLst>
          </p:cNvPr>
          <p:cNvSpPr>
            <a:spLocks noGrp="1" noChangeArrowheads="1"/>
          </p:cNvSpPr>
          <p:nvPr>
            <p:ph type="title"/>
          </p:nvPr>
        </p:nvSpPr>
        <p:spPr>
          <a:xfrm>
            <a:off x="-26623" y="237003"/>
            <a:ext cx="12192000" cy="1143000"/>
          </a:xfrm>
        </p:spPr>
        <p:txBody>
          <a:bodyPr wrap="square" anchor="ctr">
            <a:noAutofit/>
          </a:bodyPr>
          <a:lstStyle/>
          <a:p>
            <a:r>
              <a:rPr lang="en-US" sz="3600" dirty="0"/>
              <a:t>Expert Second Opinion: Investigators Provide Perspectives </a:t>
            </a:r>
            <a:br>
              <a:rPr lang="en-US" sz="3600" dirty="0"/>
            </a:br>
            <a:r>
              <a:rPr lang="en-US" sz="3600" dirty="0"/>
              <a:t>on the Best-Practice Management of Ovarian Cancer</a:t>
            </a:r>
          </a:p>
        </p:txBody>
      </p:sp>
      <p:sp>
        <p:nvSpPr>
          <p:cNvPr id="12" name="Text Box 3">
            <a:extLst>
              <a:ext uri="{FF2B5EF4-FFF2-40B4-BE49-F238E27FC236}">
                <a16:creationId xmlns:a16="http://schemas.microsoft.com/office/drawing/2014/main" id="{DF500838-ADAC-E1A7-A199-927C7A4FE0CC}"/>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hannon N Westin, MD, MPH, FASCO, FACOG</a:t>
            </a:r>
          </a:p>
        </p:txBody>
      </p:sp>
      <p:sp>
        <p:nvSpPr>
          <p:cNvPr id="13" name="Text Box 7">
            <a:extLst>
              <a:ext uri="{FF2B5EF4-FFF2-40B4-BE49-F238E27FC236}">
                <a16:creationId xmlns:a16="http://schemas.microsoft.com/office/drawing/2014/main" id="{65185144-E25B-C149-340F-CECE9BC372B2}"/>
              </a:ext>
            </a:extLst>
          </p:cNvPr>
          <p:cNvSpPr txBox="1">
            <a:spLocks noChangeArrowheads="1"/>
          </p:cNvSpPr>
          <p:nvPr/>
        </p:nvSpPr>
        <p:spPr bwMode="auto">
          <a:xfrm>
            <a:off x="4652364" y="362669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CF5A4660-22F4-2405-2BC6-FFB621C74B98}"/>
              </a:ext>
            </a:extLst>
          </p:cNvPr>
          <p:cNvSpPr txBox="1">
            <a:spLocks noChangeArrowheads="1"/>
          </p:cNvSpPr>
          <p:nvPr/>
        </p:nvSpPr>
        <p:spPr bwMode="auto">
          <a:xfrm>
            <a:off x="0" y="251460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April 12,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1:30 PM – 3:00 PM AS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B01B22E4-9B0B-979F-3FF0-70E583E9F262}"/>
              </a:ext>
            </a:extLst>
          </p:cNvPr>
          <p:cNvSpPr txBox="1">
            <a:spLocks noChangeArrowheads="1"/>
          </p:cNvSpPr>
          <p:nvPr/>
        </p:nvSpPr>
        <p:spPr bwMode="auto">
          <a:xfrm>
            <a:off x="0" y="1447800"/>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n Independent CME Symposium During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SGO 2026 Annual Meeting on Women’s Cancer®</a:t>
            </a:r>
          </a:p>
        </p:txBody>
      </p:sp>
      <p:sp>
        <p:nvSpPr>
          <p:cNvPr id="9" name="Text Box 6">
            <a:extLst>
              <a:ext uri="{FF2B5EF4-FFF2-40B4-BE49-F238E27FC236}">
                <a16:creationId xmlns:a16="http://schemas.microsoft.com/office/drawing/2014/main" id="{2BC53DE0-05FF-3BA9-7CE2-069CB9348BC1}"/>
              </a:ext>
            </a:extLst>
          </p:cNvPr>
          <p:cNvSpPr txBox="1">
            <a:spLocks noChangeArrowheads="1"/>
          </p:cNvSpPr>
          <p:nvPr/>
        </p:nvSpPr>
        <p:spPr bwMode="auto">
          <a:xfrm>
            <a:off x="157372" y="423258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icoletta Colombo,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Gottfried E Konecny,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lexander B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lawaiye</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597176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6517" y="2857500"/>
            <a:ext cx="10358967" cy="1143000"/>
          </a:xfrm>
        </p:spPr>
        <p:txBody>
          <a:bodyPr/>
          <a:lstStyle/>
          <a:p>
            <a:pPr>
              <a:lnSpc>
                <a:spcPct val="100000"/>
              </a:lnSpc>
            </a:pPr>
            <a:r>
              <a:rPr lang="en-US" sz="2900" dirty="0"/>
              <a:t>Thank you for joining us!</a:t>
            </a:r>
            <a:br>
              <a:rPr lang="en-US" sz="2900" dirty="0"/>
            </a:br>
            <a:r>
              <a:rPr lang="en-US" sz="2900" dirty="0"/>
              <a:t>Your feedback is very important to us. </a:t>
            </a:r>
            <a:br>
              <a:rPr lang="en-US" sz="2900" dirty="0"/>
            </a:br>
            <a:br>
              <a:rPr lang="en-US" sz="2900" dirty="0"/>
            </a:br>
            <a:r>
              <a:rPr lang="en-US" sz="2900" dirty="0"/>
              <a:t>Please complete the </a:t>
            </a:r>
            <a:r>
              <a:rPr lang="en-US" sz="2900" dirty="0" err="1"/>
              <a:t>postmeeting</a:t>
            </a:r>
            <a:r>
              <a:rPr lang="en-US" sz="2900" dirty="0"/>
              <a:t> survey currently available via the corresponding QR code on the printed handout for attendees in the room and on Zoom for those attending virtually. The survey will remain open up to 5 minutes after the meeting ends.</a:t>
            </a:r>
            <a:r>
              <a:rPr lang="en-US" sz="2900" i="1" dirty="0"/>
              <a:t> </a:t>
            </a:r>
            <a:br>
              <a:rPr lang="en-US" sz="2900" i="1" dirty="0"/>
            </a:br>
            <a:br>
              <a:rPr lang="en-US" sz="2900" i="1" dirty="0"/>
            </a:br>
            <a:r>
              <a:rPr lang="en-US" sz="2900" i="1" u="sng" dirty="0"/>
              <a:t>How to Obtain CME Credit</a:t>
            </a:r>
            <a:br>
              <a:rPr lang="en-US" sz="2900" i="1" dirty="0"/>
            </a:br>
            <a:r>
              <a:rPr lang="en-US" sz="2900" i="1" dirty="0"/>
              <a:t>In-person attendees: Please refer to the program syllabus for the CME credit link or QR code. Online/Zoom attendees: </a:t>
            </a:r>
            <a:br>
              <a:rPr lang="en-US" sz="2900" i="1" dirty="0"/>
            </a:br>
            <a:r>
              <a:rPr lang="en-US" sz="2900" i="1" dirty="0"/>
              <a:t>The CME credit link is posted in the chat room.</a:t>
            </a:r>
          </a:p>
        </p:txBody>
      </p:sp>
    </p:spTree>
    <p:extLst>
      <p:ext uri="{BB962C8B-B14F-4D97-AF65-F5344CB8AC3E}">
        <p14:creationId xmlns:p14="http://schemas.microsoft.com/office/powerpoint/2010/main" val="3608390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2748566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DB0842FB-B899-BC74-EC69-3C731EC2FBA3}"/>
              </a:ext>
            </a:extLst>
          </p:cNvPr>
          <p:cNvPicPr>
            <a:picLocks noChangeAspect="1"/>
          </p:cNvPicPr>
          <p:nvPr/>
        </p:nvPicPr>
        <p:blipFill>
          <a:blip r:embed="rId3" cstate="print">
            <a:extLst>
              <a:ext uri="{28A0092B-C50C-407E-A947-70E740481C1C}">
                <a14:useLocalDpi xmlns:a14="http://schemas.microsoft.com/office/drawing/2010/main" val="0"/>
              </a:ext>
            </a:extLst>
          </a:blip>
          <a:srcRect l="13606" t="4082" r="8648" b="18367"/>
          <a:stretch>
            <a:fillRect/>
          </a:stretch>
        </p:blipFill>
        <p:spPr>
          <a:xfrm>
            <a:off x="7536160" y="1268760"/>
            <a:ext cx="4114800" cy="27363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599946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C3DF7-F187-0DED-A24F-914E1CEC605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A912906A-5FCF-7CDB-58E8-263383CBAD2B}"/>
              </a:ext>
            </a:extLst>
          </p:cNvPr>
          <p:cNvSpPr>
            <a:spLocks noGrp="1" noChangeArrowheads="1"/>
          </p:cNvSpPr>
          <p:nvPr>
            <p:ph type="title"/>
          </p:nvPr>
        </p:nvSpPr>
        <p:spPr>
          <a:xfrm>
            <a:off x="-26623" y="237003"/>
            <a:ext cx="12192000" cy="1143000"/>
          </a:xfrm>
        </p:spPr>
        <p:txBody>
          <a:bodyPr wrap="square" anchor="ctr">
            <a:noAutofit/>
          </a:bodyPr>
          <a:lstStyle/>
          <a:p>
            <a:r>
              <a:rPr lang="en-US" sz="3600" dirty="0"/>
              <a:t>Expert Second Opinion: Investigators Provide Perspectives </a:t>
            </a:r>
            <a:br>
              <a:rPr lang="en-US" sz="3600" dirty="0"/>
            </a:br>
            <a:r>
              <a:rPr lang="en-US" sz="3600" dirty="0"/>
              <a:t>on the Best-Practice Management of Ovarian Cancer</a:t>
            </a:r>
          </a:p>
        </p:txBody>
      </p:sp>
      <p:sp>
        <p:nvSpPr>
          <p:cNvPr id="12" name="Text Box 3">
            <a:extLst>
              <a:ext uri="{FF2B5EF4-FFF2-40B4-BE49-F238E27FC236}">
                <a16:creationId xmlns:a16="http://schemas.microsoft.com/office/drawing/2014/main" id="{5B2962B8-88A6-A79D-2159-D76F104B40A6}"/>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hannon N Westin, MD, MPH, FASCO, FACOG</a:t>
            </a:r>
          </a:p>
        </p:txBody>
      </p:sp>
      <p:sp>
        <p:nvSpPr>
          <p:cNvPr id="13" name="Text Box 7">
            <a:extLst>
              <a:ext uri="{FF2B5EF4-FFF2-40B4-BE49-F238E27FC236}">
                <a16:creationId xmlns:a16="http://schemas.microsoft.com/office/drawing/2014/main" id="{28A4F198-470F-E641-3A1E-0130C134B1AE}"/>
              </a:ext>
            </a:extLst>
          </p:cNvPr>
          <p:cNvSpPr txBox="1">
            <a:spLocks noChangeArrowheads="1"/>
          </p:cNvSpPr>
          <p:nvPr/>
        </p:nvSpPr>
        <p:spPr bwMode="auto">
          <a:xfrm>
            <a:off x="4652364" y="362669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B580085-F725-29EB-988B-787CA6CA03E5}"/>
              </a:ext>
            </a:extLst>
          </p:cNvPr>
          <p:cNvSpPr txBox="1">
            <a:spLocks noChangeArrowheads="1"/>
          </p:cNvSpPr>
          <p:nvPr/>
        </p:nvSpPr>
        <p:spPr bwMode="auto">
          <a:xfrm>
            <a:off x="0" y="251460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April 12,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1:30 PM – 3:00 PM AS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386D9DA7-3983-5872-A0F5-873BDB52BFA2}"/>
              </a:ext>
            </a:extLst>
          </p:cNvPr>
          <p:cNvSpPr txBox="1">
            <a:spLocks noChangeArrowheads="1"/>
          </p:cNvSpPr>
          <p:nvPr/>
        </p:nvSpPr>
        <p:spPr bwMode="auto">
          <a:xfrm>
            <a:off x="0" y="1447800"/>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lvl="0">
              <a:lnSpc>
                <a:spcPts val="3220"/>
              </a:lnSpc>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n Independent CME Symposium During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lang="en-US" sz="2800" b="0" i="1" dirty="0">
                <a:solidFill>
                  <a:srgbClr val="015593"/>
                </a:solidFill>
              </a:rPr>
              <a:t>SGO 2026 Annual </a:t>
            </a: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Meeting on Women’s Cancer®</a:t>
            </a:r>
          </a:p>
        </p:txBody>
      </p:sp>
      <p:sp>
        <p:nvSpPr>
          <p:cNvPr id="9" name="Text Box 6">
            <a:extLst>
              <a:ext uri="{FF2B5EF4-FFF2-40B4-BE49-F238E27FC236}">
                <a16:creationId xmlns:a16="http://schemas.microsoft.com/office/drawing/2014/main" id="{33211F1D-85BB-D4CF-767E-66E0291FB086}"/>
              </a:ext>
            </a:extLst>
          </p:cNvPr>
          <p:cNvSpPr txBox="1">
            <a:spLocks noChangeArrowheads="1"/>
          </p:cNvSpPr>
          <p:nvPr/>
        </p:nvSpPr>
        <p:spPr bwMode="auto">
          <a:xfrm>
            <a:off x="157372" y="423258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icoletta Colombo,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Gottfried E Konecny,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lexander B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lawaiye</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369601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261872"/>
          </a:xfrm>
        </p:spPr>
        <p:txBody>
          <a:bodyPr/>
          <a:lstStyle/>
          <a:p>
            <a:r>
              <a:rPr lang="en-US" dirty="0"/>
              <a:t>Second Opinion</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752600" y="1494258"/>
            <a:ext cx="43434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Jonathan A Lederman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CL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ndon, United Kingdom</a:t>
            </a: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0961" y="1494258"/>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7280351" y="1494258"/>
            <a:ext cx="4326696"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Angeles Alvarez Secord, MD, </a:t>
            </a:r>
            <a:r>
              <a:rPr kumimoji="0" lang="en-US" sz="1600" b="1" i="0" u="none" strike="noStrike" kern="1200" cap="none" spc="0" normalizeH="0" baseline="0" noProof="0" dirty="0" err="1">
                <a:ln>
                  <a:noFill/>
                </a:ln>
                <a:solidFill>
                  <a:srgbClr val="000000"/>
                </a:solidFill>
                <a:effectLst/>
                <a:uLnTx/>
                <a:uFillTx/>
                <a:latin typeface="Calibri"/>
                <a:ea typeface="MS PGothic" charset="0"/>
              </a:rPr>
              <a:t>MHSc</a:t>
            </a:r>
            <a:endParaRPr kumimoji="0" lang="en-US" sz="1600" b="1" i="0" u="none" strike="noStrike" kern="1200" cap="none" spc="0" normalizeH="0" baseline="0" noProof="0" dirty="0">
              <a:ln>
                <a:noFill/>
              </a:ln>
              <a:solidFill>
                <a:srgbClr val="000000"/>
              </a:solidFill>
              <a:effectLst/>
              <a:uLnTx/>
              <a:uFillTx/>
              <a:latin typeface="Calibri"/>
              <a:ea typeface="MS PGothic"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of Gynecologic Oncology Clinical Trial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Director, Clinical Research, Gynecologic Oncolog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uke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Gynecologic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Obstetrics and Gyne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uke University School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11" name="Picture 10">
            <a:extLst>
              <a:ext uri="{FF2B5EF4-FFF2-40B4-BE49-F238E27FC236}">
                <a16:creationId xmlns:a16="http://schemas.microsoft.com/office/drawing/2014/main" id="{89480FE5-B669-AEDB-44BC-0FC80DD30DB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958712" y="1494258"/>
            <a:ext cx="1261872" cy="1261872"/>
          </a:xfrm>
          <a:prstGeom prst="rect">
            <a:avLst/>
          </a:prstGeom>
        </p:spPr>
      </p:pic>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1752600" y="4216170"/>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rsula Matulonis,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ief, Division of Gynecologic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rock-Wilson Family Chai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na-Farber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rvard Medical Schoo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pic>
        <p:nvPicPr>
          <p:cNvPr id="8" name="Picture 7">
            <a:extLst>
              <a:ext uri="{FF2B5EF4-FFF2-40B4-BE49-F238E27FC236}">
                <a16:creationId xmlns:a16="http://schemas.microsoft.com/office/drawing/2014/main" id="{159E2326-274A-73FC-BF0C-F6E3A0EE294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30961" y="4216170"/>
            <a:ext cx="1261872" cy="1261872"/>
          </a:xfrm>
          <a:prstGeom prst="rect">
            <a:avLst/>
          </a:prstGeom>
        </p:spPr>
      </p:pic>
      <p:sp>
        <p:nvSpPr>
          <p:cNvPr id="12" name="Text Box 9">
            <a:extLst>
              <a:ext uri="{FF2B5EF4-FFF2-40B4-BE49-F238E27FC236}">
                <a16:creationId xmlns:a16="http://schemas.microsoft.com/office/drawing/2014/main" id="{441728CD-2D3F-D688-1E25-AC52D3DB3776}"/>
              </a:ext>
            </a:extLst>
          </p:cNvPr>
          <p:cNvSpPr txBox="1">
            <a:spLocks noChangeArrowheads="1"/>
          </p:cNvSpPr>
          <p:nvPr/>
        </p:nvSpPr>
        <p:spPr bwMode="auto">
          <a:xfrm>
            <a:off x="7280351" y="4216170"/>
            <a:ext cx="4326696"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3" name="Picture 12">
            <a:extLst>
              <a:ext uri="{FF2B5EF4-FFF2-40B4-BE49-F238E27FC236}">
                <a16:creationId xmlns:a16="http://schemas.microsoft.com/office/drawing/2014/main" id="{9115F577-BE88-BF84-D927-870CA3C8F09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958712" y="4216170"/>
            <a:ext cx="1261872" cy="1261872"/>
          </a:xfrm>
          <a:prstGeom prst="rect">
            <a:avLst/>
          </a:prstGeom>
        </p:spPr>
      </p:pic>
    </p:spTree>
    <p:custDataLst>
      <p:tags r:id="rId1"/>
    </p:custDataLst>
    <p:extLst>
      <p:ext uri="{BB962C8B-B14F-4D97-AF65-F5344CB8AC3E}">
        <p14:creationId xmlns:p14="http://schemas.microsoft.com/office/powerpoint/2010/main" val="2521637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D5616-704B-A139-A791-08E7B581F9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EFC1AB-5F92-5346-EE9B-27A647A110DD}"/>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FA44683-7CBE-DAD2-6FBD-75BA452AB39B}"/>
              </a:ext>
            </a:extLst>
          </p:cNvPr>
          <p:cNvSpPr>
            <a:spLocks noGrp="1"/>
          </p:cNvSpPr>
          <p:nvPr>
            <p:ph idx="1"/>
          </p:nvPr>
        </p:nvSpPr>
        <p:spPr>
          <a:xfrm>
            <a:off x="767407" y="1416053"/>
            <a:ext cx="10503845"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urrent Role of PARP Inhibitors in Advanced Ovarian Cancer (OC) </a:t>
            </a:r>
            <a:br>
              <a:rPr lang="en-US" sz="2500" dirty="0">
                <a:solidFill>
                  <a:schemeClr val="tx1"/>
                </a:solidFill>
              </a:rPr>
            </a:br>
            <a:r>
              <a:rPr lang="en-US" sz="2500" dirty="0">
                <a:solidFill>
                  <a:schemeClr val="tx1"/>
                </a:solidFill>
              </a:rPr>
              <a:t>— Prof Colombo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trategies Targeting Folate Receptor Alpha in Advanced OC </a:t>
            </a:r>
            <a:br>
              <a:rPr lang="en-US" sz="2500" dirty="0">
                <a:solidFill>
                  <a:schemeClr val="tx1"/>
                </a:solidFill>
              </a:rPr>
            </a:br>
            <a:r>
              <a:rPr lang="en-US" sz="2500" dirty="0">
                <a:solidFill>
                  <a:schemeClr val="tx1"/>
                </a:solidFill>
              </a:rPr>
              <a:t>— Dr Westin </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ther Novel Agents and Strategies for Advanced OC — Dr </a:t>
            </a:r>
            <a:r>
              <a:rPr lang="en-US" sz="2500" dirty="0" err="1">
                <a:solidFill>
                  <a:schemeClr val="tx1"/>
                </a:solidFill>
              </a:rPr>
              <a:t>Olawaiye</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Diagnosis and Management of Adverse Events Associated with Commonly Employed Therapies for Advanced OC — Dr Konecny</a:t>
            </a:r>
          </a:p>
        </p:txBody>
      </p:sp>
    </p:spTree>
    <p:extLst>
      <p:ext uri="{BB962C8B-B14F-4D97-AF65-F5344CB8AC3E}">
        <p14:creationId xmlns:p14="http://schemas.microsoft.com/office/powerpoint/2010/main" val="4174998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56B81-CB78-7EEB-D61C-42838E584D5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14DF60D-35BB-39B2-CD27-C67A82E301DB}"/>
              </a:ext>
            </a:extLst>
          </p:cNvPr>
          <p:cNvSpPr/>
          <p:nvPr/>
        </p:nvSpPr>
        <p:spPr bwMode="auto">
          <a:xfrm>
            <a:off x="740128" y="1370013"/>
            <a:ext cx="10828480" cy="83485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F91E851-A008-3BD1-4814-905FF3263906}"/>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43FF326D-42B7-58FD-9EA7-F8BFFC1F5B2F}"/>
              </a:ext>
            </a:extLst>
          </p:cNvPr>
          <p:cNvSpPr>
            <a:spLocks noGrp="1"/>
          </p:cNvSpPr>
          <p:nvPr>
            <p:ph idx="1"/>
          </p:nvPr>
        </p:nvSpPr>
        <p:spPr>
          <a:xfrm>
            <a:off x="767407" y="1416053"/>
            <a:ext cx="10503845" cy="4799013"/>
          </a:xfrm>
        </p:spPr>
        <p:txBody>
          <a:bodyPr/>
          <a:lstStyle/>
          <a:p>
            <a:pPr marL="98425" indent="0">
              <a:lnSpc>
                <a:spcPct val="100000"/>
              </a:lnSpc>
              <a:spcBef>
                <a:spcPts val="1600"/>
              </a:spcBef>
              <a:spcAft>
                <a:spcPts val="0"/>
              </a:spcAft>
              <a:buNone/>
            </a:pPr>
            <a:r>
              <a:rPr lang="en-US" sz="2500" dirty="0">
                <a:solidFill>
                  <a:schemeClr val="bg1"/>
                </a:solidFill>
              </a:rPr>
              <a:t>Module 1: Current Role of PARP Inhibitors in Advanced Ovarian Cancer (OC) </a:t>
            </a:r>
            <a:br>
              <a:rPr lang="en-US" sz="2500" dirty="0">
                <a:solidFill>
                  <a:schemeClr val="bg1"/>
                </a:solidFill>
              </a:rPr>
            </a:br>
            <a:r>
              <a:rPr lang="en-US" sz="2500" dirty="0">
                <a:solidFill>
                  <a:schemeClr val="bg1"/>
                </a:solidFill>
              </a:rPr>
              <a:t>— Prof Colombo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trategies Targeting Folate Receptor Alpha in Advanced OC </a:t>
            </a:r>
            <a:br>
              <a:rPr lang="en-US" sz="2500" dirty="0">
                <a:solidFill>
                  <a:schemeClr val="tx1"/>
                </a:solidFill>
              </a:rPr>
            </a:br>
            <a:r>
              <a:rPr lang="en-US" sz="2500" dirty="0">
                <a:solidFill>
                  <a:schemeClr val="tx1"/>
                </a:solidFill>
              </a:rPr>
              <a:t>— Dr Westin </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ther Novel Agents and Strategies for Advanced OC — Dr </a:t>
            </a:r>
            <a:r>
              <a:rPr lang="en-US" sz="2500" dirty="0" err="1">
                <a:solidFill>
                  <a:schemeClr val="tx1"/>
                </a:solidFill>
              </a:rPr>
              <a:t>Olawaiye</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Diagnosis and Management of Adverse Events Associated with Commonly Employed Therapies for Advanced OC — Dr Konecny</a:t>
            </a:r>
          </a:p>
        </p:txBody>
      </p:sp>
    </p:spTree>
    <p:extLst>
      <p:ext uri="{BB962C8B-B14F-4D97-AF65-F5344CB8AC3E}">
        <p14:creationId xmlns:p14="http://schemas.microsoft.com/office/powerpoint/2010/main" val="11622635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824517"/>
          </a:xfrm>
        </p:spPr>
        <p:txBody>
          <a:bodyPr/>
          <a:lstStyle/>
          <a:p>
            <a:r>
              <a:rPr lang="en-US" dirty="0"/>
              <a:t>Faculty</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873023" y="1359511"/>
            <a:ext cx="43434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Nicoletta Colombo,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Gynecologic Oncology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European Institute of Oncology IRCC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ilan, Italy</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51384" y="1359511"/>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7673960" y="3429000"/>
            <a:ext cx="4326696" cy="1296144"/>
          </a:xfrm>
          <a:prstGeom prst="rect">
            <a:avLst/>
          </a:prstGeom>
          <a:noFill/>
          <a:ln w="9525">
            <a:noFill/>
            <a:miter lim="800000"/>
            <a:headEnd/>
            <a:tailEnd/>
          </a:ln>
        </p:spPr>
        <p:txBody>
          <a:bodyPr lIns="91440" tIns="0" rIns="0" bIns="0">
            <a:prstTxWarp prst="textNoShape">
              <a:avLst/>
            </a:prstTxWarp>
          </a:bodyPr>
          <a:lstStyle/>
          <a:p>
            <a:pPr lvl="0">
              <a:spcBef>
                <a:spcPts val="0"/>
              </a:spcBef>
              <a:spcAft>
                <a:spcPts val="0"/>
              </a:spcAft>
              <a:buClr>
                <a:srgbClr val="000000"/>
              </a:buClr>
              <a:buSzPct val="100000"/>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lang="en-US" sz="1600" dirty="0">
                <a:solidFill>
                  <a:srgbClr val="000000"/>
                </a:solidFill>
                <a:latin typeface="Calibri" pitchFamily="-72" charset="0"/>
              </a:rPr>
              <a:t>Shannon N Westin, MD, MPH, FASCO, FACOG</a:t>
            </a:r>
          </a:p>
          <a:p>
            <a:pPr lvl="0">
              <a:spcBef>
                <a:spcPts val="0"/>
              </a:spcBef>
              <a:spcAft>
                <a:spcPts val="0"/>
              </a:spcAft>
              <a:buClr>
                <a:srgbClr val="000000"/>
              </a:buClr>
              <a:buSzPct val="100000"/>
              <a:defRPr/>
            </a:pPr>
            <a:r>
              <a:rPr lang="en-US" sz="1600" b="0" dirty="0">
                <a:solidFill>
                  <a:srgbClr val="000000"/>
                </a:solidFill>
                <a:latin typeface="Calibri" pitchFamily="-72" charset="0"/>
              </a:rPr>
              <a:t>Professor</a:t>
            </a:r>
          </a:p>
          <a:p>
            <a:pPr lvl="0">
              <a:spcBef>
                <a:spcPts val="0"/>
              </a:spcBef>
              <a:spcAft>
                <a:spcPts val="0"/>
              </a:spcAft>
              <a:buClr>
                <a:srgbClr val="000000"/>
              </a:buClr>
              <a:buSzPct val="100000"/>
              <a:defRPr/>
            </a:pPr>
            <a:r>
              <a:rPr lang="en-US" sz="1600" b="0" dirty="0">
                <a:solidFill>
                  <a:srgbClr val="000000"/>
                </a:solidFill>
                <a:latin typeface="Calibri" pitchFamily="-72" charset="0"/>
              </a:rPr>
              <a:t>Medical Director, Gynecologic Oncology Center</a:t>
            </a:r>
          </a:p>
          <a:p>
            <a:pPr lvl="0">
              <a:spcBef>
                <a:spcPts val="0"/>
              </a:spcBef>
              <a:spcAft>
                <a:spcPts val="0"/>
              </a:spcAft>
              <a:buClr>
                <a:srgbClr val="000000"/>
              </a:buClr>
              <a:buSzPct val="100000"/>
              <a:defRPr/>
            </a:pPr>
            <a:r>
              <a:rPr lang="en-US" sz="1600" b="0" dirty="0">
                <a:solidFill>
                  <a:srgbClr val="000000"/>
                </a:solidFill>
                <a:latin typeface="Calibri" pitchFamily="-72" charset="0"/>
              </a:rPr>
              <a:t>Director, Early Drug Development</a:t>
            </a:r>
          </a:p>
          <a:p>
            <a:pPr lvl="0">
              <a:spcBef>
                <a:spcPts val="0"/>
              </a:spcBef>
              <a:spcAft>
                <a:spcPts val="0"/>
              </a:spcAft>
              <a:buClr>
                <a:srgbClr val="000000"/>
              </a:buClr>
              <a:buSzPct val="100000"/>
              <a:defRPr/>
            </a:pPr>
            <a:r>
              <a:rPr lang="en-US" sz="1600" b="0" dirty="0">
                <a:solidFill>
                  <a:srgbClr val="000000"/>
                </a:solidFill>
                <a:latin typeface="Calibri" pitchFamily="-72" charset="0"/>
              </a:rPr>
              <a:t>Department of Gynecologic Oncology and Reproductive Medicine</a:t>
            </a:r>
          </a:p>
          <a:p>
            <a:pPr lvl="0">
              <a:spcBef>
                <a:spcPts val="0"/>
              </a:spcBef>
              <a:spcAft>
                <a:spcPts val="0"/>
              </a:spcAft>
              <a:buClr>
                <a:srgbClr val="000000"/>
              </a:buClr>
              <a:buSzPct val="100000"/>
              <a:defRPr/>
            </a:pPr>
            <a:r>
              <a:rPr lang="en-US" sz="1600" b="0" dirty="0">
                <a:solidFill>
                  <a:srgbClr val="000000"/>
                </a:solidFill>
                <a:latin typeface="Calibri" pitchFamily="-72" charset="0"/>
              </a:rPr>
              <a:t>The University of Texas</a:t>
            </a:r>
          </a:p>
          <a:p>
            <a:pPr lvl="0">
              <a:spcBef>
                <a:spcPts val="0"/>
              </a:spcBef>
              <a:spcAft>
                <a:spcPts val="0"/>
              </a:spcAft>
              <a:buClr>
                <a:srgbClr val="000000"/>
              </a:buClr>
              <a:buSzPct val="100000"/>
              <a:defRPr/>
            </a:pPr>
            <a:r>
              <a:rPr lang="en-US" sz="1600" b="0" dirty="0">
                <a:solidFill>
                  <a:srgbClr val="000000"/>
                </a:solidFill>
                <a:latin typeface="Calibri" pitchFamily="-72" charset="0"/>
              </a:rPr>
              <a:t>MD Anderson Cancer Center</a:t>
            </a:r>
          </a:p>
          <a:p>
            <a:pPr lvl="0">
              <a:spcBef>
                <a:spcPts val="0"/>
              </a:spcBef>
              <a:spcAft>
                <a:spcPts val="0"/>
              </a:spcAft>
              <a:buClr>
                <a:srgbClr val="000000"/>
              </a:buClr>
              <a:buSzPct val="100000"/>
              <a:defRPr/>
            </a:pPr>
            <a:r>
              <a:rPr lang="en-US" sz="1600" b="0" dirty="0">
                <a:solidFill>
                  <a:srgbClr val="000000"/>
                </a:solidFill>
                <a:latin typeface="Calibri" pitchFamily="-72" charset="0"/>
              </a:rPr>
              <a:t>Houston, Texas</a:t>
            </a:r>
          </a:p>
        </p:txBody>
      </p:sp>
      <p:pic>
        <p:nvPicPr>
          <p:cNvPr id="11" name="Picture 10">
            <a:extLst>
              <a:ext uri="{FF2B5EF4-FFF2-40B4-BE49-F238E27FC236}">
                <a16:creationId xmlns:a16="http://schemas.microsoft.com/office/drawing/2014/main" id="{89480FE5-B669-AEDB-44BC-0FC80DD30DB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52321" y="3429000"/>
            <a:ext cx="1261872" cy="1261872"/>
          </a:xfrm>
          <a:prstGeom prst="rect">
            <a:avLst/>
          </a:prstGeom>
        </p:spPr>
      </p:pic>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1873023" y="3429000"/>
            <a:ext cx="4847456"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Gottfried E Konecny,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 and Ob/Gyn</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Medical Gynecologic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vision of Hematology and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avid Geffen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California, Los Angele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Los Angeles, California</a:t>
            </a:r>
          </a:p>
        </p:txBody>
      </p:sp>
      <p:pic>
        <p:nvPicPr>
          <p:cNvPr id="8" name="Picture 7">
            <a:extLst>
              <a:ext uri="{FF2B5EF4-FFF2-40B4-BE49-F238E27FC236}">
                <a16:creationId xmlns:a16="http://schemas.microsoft.com/office/drawing/2014/main" id="{159E2326-274A-73FC-BF0C-F6E3A0EE294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1384" y="3429000"/>
            <a:ext cx="1261872" cy="1261872"/>
          </a:xfrm>
          <a:prstGeom prst="rect">
            <a:avLst/>
          </a:prstGeom>
        </p:spPr>
      </p:pic>
      <p:sp>
        <p:nvSpPr>
          <p:cNvPr id="4" name="Text Box 7">
            <a:extLst>
              <a:ext uri="{FF2B5EF4-FFF2-40B4-BE49-F238E27FC236}">
                <a16:creationId xmlns:a16="http://schemas.microsoft.com/office/drawing/2014/main" id="{E88CA173-F972-12A1-0421-0D6F8458F66E}"/>
              </a:ext>
            </a:extLst>
          </p:cNvPr>
          <p:cNvSpPr txBox="1">
            <a:spLocks noChangeArrowheads="1"/>
          </p:cNvSpPr>
          <p:nvPr/>
        </p:nvSpPr>
        <p:spPr bwMode="auto">
          <a:xfrm>
            <a:off x="7673960" y="1359511"/>
            <a:ext cx="4326696"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Alexander B </a:t>
            </a:r>
            <a:r>
              <a:rPr lang="en-US" sz="1600" dirty="0" err="1">
                <a:solidFill>
                  <a:srgbClr val="000000"/>
                </a:solidFill>
                <a:latin typeface="Calibri" panose="020F0502020204030204" pitchFamily="34" charset="0"/>
                <a:ea typeface="ＭＳ Ｐゴシック" charset="0"/>
                <a:cs typeface="Calibri" panose="020F0502020204030204" pitchFamily="34" charset="0"/>
              </a:rPr>
              <a:t>Olawaiye</a:t>
            </a:r>
            <a:r>
              <a:rPr lang="en-US" sz="1600" dirty="0">
                <a:solidFill>
                  <a:srgbClr val="000000"/>
                </a:solidFill>
                <a:latin typeface="Calibri" panose="020F0502020204030204" pitchFamily="34" charset="0"/>
                <a:ea typeface="ＭＳ Ｐゴシック" charset="0"/>
                <a:cs typeface="Calibri" panose="020F0502020204030204" pitchFamily="34" charset="0"/>
              </a:rPr>
              <a:t>,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epartment of Obstetrics, Gynecology and Reproductive Science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Pittsburgh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ittsburgh, Pennsylvania</a:t>
            </a:r>
          </a:p>
        </p:txBody>
      </p:sp>
      <p:pic>
        <p:nvPicPr>
          <p:cNvPr id="6" name="Picture 5">
            <a:extLst>
              <a:ext uri="{FF2B5EF4-FFF2-40B4-BE49-F238E27FC236}">
                <a16:creationId xmlns:a16="http://schemas.microsoft.com/office/drawing/2014/main" id="{AECE9CC0-3D00-CC1F-E6DE-829ADF50D3E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52321" y="1359511"/>
            <a:ext cx="1261872" cy="1261872"/>
          </a:xfrm>
          <a:prstGeom prst="rect">
            <a:avLst/>
          </a:prstGeom>
        </p:spPr>
      </p:pic>
    </p:spTree>
    <p:custDataLst>
      <p:tags r:id="rId1"/>
    </p:custDataLst>
    <p:extLst>
      <p:ext uri="{BB962C8B-B14F-4D97-AF65-F5344CB8AC3E}">
        <p14:creationId xmlns:p14="http://schemas.microsoft.com/office/powerpoint/2010/main" val="1264697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7580C623-7340-B1C1-2CB5-93BA20BAAB45}"/>
              </a:ext>
            </a:extLst>
          </p:cNvPr>
          <p:cNvSpPr>
            <a:spLocks noGrp="1"/>
          </p:cNvSpPr>
          <p:nvPr>
            <p:ph type="ctrTitle"/>
          </p:nvPr>
        </p:nvSpPr>
        <p:spPr>
          <a:xfrm>
            <a:off x="2958999" y="4568696"/>
            <a:ext cx="6035052" cy="616373"/>
          </a:xfrm>
        </p:spPr>
        <p:txBody>
          <a:bodyPr>
            <a:normAutofit fontScale="90000"/>
          </a:bodyPr>
          <a:lstStyle/>
          <a:p>
            <a:pPr algn="ctr"/>
            <a:r>
              <a:rPr lang="en-US" sz="2400" b="1" dirty="0">
                <a:solidFill>
                  <a:schemeClr val="tx1"/>
                </a:solidFill>
              </a:rPr>
              <a:t>Nicoletta Colombo</a:t>
            </a:r>
            <a:br>
              <a:rPr lang="en-US" sz="2400" dirty="0">
                <a:solidFill>
                  <a:schemeClr val="tx1"/>
                </a:solidFill>
              </a:rPr>
            </a:br>
            <a:r>
              <a:rPr lang="en-US" sz="2400" dirty="0">
                <a:solidFill>
                  <a:schemeClr val="tx1"/>
                </a:solidFill>
              </a:rPr>
              <a:t>European Institute of Oncology, Milan, Italy </a:t>
            </a:r>
          </a:p>
        </p:txBody>
      </p:sp>
      <p:sp>
        <p:nvSpPr>
          <p:cNvPr id="7" name="Sottotitolo 6">
            <a:extLst>
              <a:ext uri="{FF2B5EF4-FFF2-40B4-BE49-F238E27FC236}">
                <a16:creationId xmlns:a16="http://schemas.microsoft.com/office/drawing/2014/main" id="{A98E15AA-DAE0-09AD-7184-4FDB5D4D1863}"/>
              </a:ext>
            </a:extLst>
          </p:cNvPr>
          <p:cNvSpPr>
            <a:spLocks noGrp="1"/>
          </p:cNvSpPr>
          <p:nvPr>
            <p:ph type="body" sz="quarter" idx="10"/>
          </p:nvPr>
        </p:nvSpPr>
        <p:spPr>
          <a:xfrm>
            <a:off x="592046" y="1672931"/>
            <a:ext cx="10544681" cy="922867"/>
          </a:xfrm>
          <a:prstGeom prst="rect">
            <a:avLst/>
          </a:prstGeom>
        </p:spPr>
        <p:txBody>
          <a:bodyPr>
            <a:noAutofit/>
          </a:bodyPr>
          <a:lstStyle/>
          <a:p>
            <a:pPr marL="0" indent="0" algn="ctr">
              <a:buNone/>
            </a:pPr>
            <a:r>
              <a:rPr lang="en-US" sz="5000" dirty="0">
                <a:solidFill>
                  <a:srgbClr val="004D72"/>
                </a:solidFill>
              </a:rPr>
              <a:t>Current Role of PARP Inhibitors </a:t>
            </a:r>
            <a:br>
              <a:rPr lang="en-US" sz="5000" dirty="0">
                <a:solidFill>
                  <a:srgbClr val="004D72"/>
                </a:solidFill>
              </a:rPr>
            </a:br>
            <a:r>
              <a:rPr lang="en-US" sz="5000" dirty="0">
                <a:solidFill>
                  <a:srgbClr val="004D72"/>
                </a:solidFill>
              </a:rPr>
              <a:t>in Advanced Ovarian Cancer (OC)</a:t>
            </a:r>
          </a:p>
        </p:txBody>
      </p:sp>
    </p:spTree>
    <p:extLst>
      <p:ext uri="{BB962C8B-B14F-4D97-AF65-F5344CB8AC3E}">
        <p14:creationId xmlns:p14="http://schemas.microsoft.com/office/powerpoint/2010/main" val="467308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15B39B-AB8C-0323-171C-50E8FBFDF8E7}"/>
              </a:ext>
            </a:extLst>
          </p:cNvPr>
          <p:cNvSpPr>
            <a:spLocks noGrp="1"/>
          </p:cNvSpPr>
          <p:nvPr>
            <p:ph type="title"/>
          </p:nvPr>
        </p:nvSpPr>
        <p:spPr/>
        <p:txBody>
          <a:bodyPr/>
          <a:lstStyle/>
          <a:p>
            <a:r>
              <a:rPr lang="en-US" dirty="0"/>
              <a:t>Evolution of First-Line Chemotherapy &amp; Maintenance for advanced ovarian cancer</a:t>
            </a:r>
          </a:p>
        </p:txBody>
      </p:sp>
      <p:sp>
        <p:nvSpPr>
          <p:cNvPr id="6" name="Eingebuchteter Richtungspfeil 5">
            <a:extLst>
              <a:ext uri="{FF2B5EF4-FFF2-40B4-BE49-F238E27FC236}">
                <a16:creationId xmlns:a16="http://schemas.microsoft.com/office/drawing/2014/main" id="{268330C6-3080-1D75-CCBA-7DFFFFEB84E9}"/>
              </a:ext>
            </a:extLst>
          </p:cNvPr>
          <p:cNvSpPr/>
          <p:nvPr/>
        </p:nvSpPr>
        <p:spPr>
          <a:xfrm>
            <a:off x="3326076" y="3681899"/>
            <a:ext cx="2016785" cy="369332"/>
          </a:xfrm>
          <a:prstGeom prst="chevron">
            <a:avLst/>
          </a:prstGeom>
          <a:solidFill>
            <a:schemeClr val="accent2"/>
          </a:solidFill>
        </p:spPr>
        <p:txBody>
          <a:bodyPr wrap="squar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7" name="Eingebuchteter Richtungspfeil 6">
            <a:extLst>
              <a:ext uri="{FF2B5EF4-FFF2-40B4-BE49-F238E27FC236}">
                <a16:creationId xmlns:a16="http://schemas.microsoft.com/office/drawing/2014/main" id="{D8943AE2-F073-D896-D996-230DE07BC491}"/>
              </a:ext>
            </a:extLst>
          </p:cNvPr>
          <p:cNvSpPr/>
          <p:nvPr/>
        </p:nvSpPr>
        <p:spPr>
          <a:xfrm>
            <a:off x="2127164" y="3688087"/>
            <a:ext cx="1403441" cy="369332"/>
          </a:xfrm>
          <a:prstGeom prst="chevron">
            <a:avLst/>
          </a:prstGeom>
          <a:solidFill>
            <a:srgbClr val="98426B"/>
          </a:solidFill>
        </p:spPr>
        <p:txBody>
          <a:bodyPr wrap="squar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8" name="Eingebuchteter Richtungspfeil 7">
            <a:extLst>
              <a:ext uri="{FF2B5EF4-FFF2-40B4-BE49-F238E27FC236}">
                <a16:creationId xmlns:a16="http://schemas.microsoft.com/office/drawing/2014/main" id="{98344D55-978F-94B9-DB59-0F0599BD9C21}"/>
              </a:ext>
            </a:extLst>
          </p:cNvPr>
          <p:cNvSpPr/>
          <p:nvPr/>
        </p:nvSpPr>
        <p:spPr>
          <a:xfrm>
            <a:off x="5106789" y="3681899"/>
            <a:ext cx="1333177" cy="369332"/>
          </a:xfrm>
          <a:prstGeom prst="chevron">
            <a:avLst/>
          </a:prstGeom>
          <a:solidFill>
            <a:srgbClr val="377977"/>
          </a:solidFill>
        </p:spPr>
        <p:txBody>
          <a:bodyPr wrap="squar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9" name="Eingebuchteter Richtungspfeil 8">
            <a:extLst>
              <a:ext uri="{FF2B5EF4-FFF2-40B4-BE49-F238E27FC236}">
                <a16:creationId xmlns:a16="http://schemas.microsoft.com/office/drawing/2014/main" id="{DDC955AC-E2C5-A5DA-43EF-B8767773C280}"/>
              </a:ext>
            </a:extLst>
          </p:cNvPr>
          <p:cNvSpPr/>
          <p:nvPr/>
        </p:nvSpPr>
        <p:spPr>
          <a:xfrm>
            <a:off x="6205349" y="3681208"/>
            <a:ext cx="2345129" cy="369332"/>
          </a:xfrm>
          <a:prstGeom prst="chevron">
            <a:avLst/>
          </a:prstGeom>
          <a:solidFill>
            <a:srgbClr val="2A6837"/>
          </a:solidFill>
        </p:spPr>
        <p:txBody>
          <a:bodyPr wrap="squar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0" name="Richtungspfeil 9">
            <a:extLst>
              <a:ext uri="{FF2B5EF4-FFF2-40B4-BE49-F238E27FC236}">
                <a16:creationId xmlns:a16="http://schemas.microsoft.com/office/drawing/2014/main" id="{E67F04B8-B94F-929B-9DE0-1FC90FD05957}"/>
              </a:ext>
            </a:extLst>
          </p:cNvPr>
          <p:cNvSpPr/>
          <p:nvPr/>
        </p:nvSpPr>
        <p:spPr>
          <a:xfrm>
            <a:off x="415112" y="3682356"/>
            <a:ext cx="1918881" cy="369332"/>
          </a:xfrm>
          <a:prstGeom prst="homePlate">
            <a:avLst/>
          </a:prstGeom>
          <a:solidFill>
            <a:srgbClr val="D2AFC3"/>
          </a:solidFill>
        </p:spPr>
        <p:txBody>
          <a:bodyPr wrap="squar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1" name="Eingebuchteter Richtungspfeil 10">
            <a:extLst>
              <a:ext uri="{FF2B5EF4-FFF2-40B4-BE49-F238E27FC236}">
                <a16:creationId xmlns:a16="http://schemas.microsoft.com/office/drawing/2014/main" id="{74BDA51F-E792-92C6-3C4A-56CE940CDAA1}"/>
              </a:ext>
            </a:extLst>
          </p:cNvPr>
          <p:cNvSpPr/>
          <p:nvPr/>
        </p:nvSpPr>
        <p:spPr>
          <a:xfrm>
            <a:off x="8306013" y="3688087"/>
            <a:ext cx="1180097" cy="369332"/>
          </a:xfrm>
          <a:prstGeom prst="chevron">
            <a:avLst/>
          </a:prstGeom>
          <a:solidFill>
            <a:srgbClr val="38507C"/>
          </a:solidFill>
        </p:spPr>
        <p:txBody>
          <a:bodyPr wrap="squar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2" name="Eingebuchteter Richtungspfeil 11">
            <a:extLst>
              <a:ext uri="{FF2B5EF4-FFF2-40B4-BE49-F238E27FC236}">
                <a16:creationId xmlns:a16="http://schemas.microsoft.com/office/drawing/2014/main" id="{01FD5E03-F887-1E24-70F2-CB355FBA5B31}"/>
              </a:ext>
            </a:extLst>
          </p:cNvPr>
          <p:cNvSpPr/>
          <p:nvPr/>
        </p:nvSpPr>
        <p:spPr>
          <a:xfrm>
            <a:off x="9261120" y="3688086"/>
            <a:ext cx="2727681" cy="369332"/>
          </a:xfrm>
          <a:prstGeom prst="chevron">
            <a:avLst/>
          </a:prstGeom>
          <a:solidFill>
            <a:srgbClr val="324067"/>
          </a:solidFill>
        </p:spPr>
        <p:txBody>
          <a:bodyPr wrap="squar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3" name="Textfeld 12">
            <a:extLst>
              <a:ext uri="{FF2B5EF4-FFF2-40B4-BE49-F238E27FC236}">
                <a16:creationId xmlns:a16="http://schemas.microsoft.com/office/drawing/2014/main" id="{82C10BEA-D740-DBD9-0F4A-092D97676721}"/>
              </a:ext>
            </a:extLst>
          </p:cNvPr>
          <p:cNvSpPr txBox="1"/>
          <p:nvPr/>
        </p:nvSpPr>
        <p:spPr>
          <a:xfrm>
            <a:off x="486250" y="3699383"/>
            <a:ext cx="607859"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Arial Narrow"/>
              </a:rPr>
              <a:t>1996</a:t>
            </a:r>
          </a:p>
        </p:txBody>
      </p:sp>
      <p:sp>
        <p:nvSpPr>
          <p:cNvPr id="14" name="Textfeld 13">
            <a:extLst>
              <a:ext uri="{FF2B5EF4-FFF2-40B4-BE49-F238E27FC236}">
                <a16:creationId xmlns:a16="http://schemas.microsoft.com/office/drawing/2014/main" id="{4ABDA780-B582-256B-8AE6-2D50742C2395}"/>
              </a:ext>
            </a:extLst>
          </p:cNvPr>
          <p:cNvSpPr txBox="1"/>
          <p:nvPr/>
        </p:nvSpPr>
        <p:spPr>
          <a:xfrm>
            <a:off x="1498405" y="3699383"/>
            <a:ext cx="607859"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Arial Narrow"/>
              </a:rPr>
              <a:t>2000</a:t>
            </a:r>
          </a:p>
        </p:txBody>
      </p:sp>
      <p:sp>
        <p:nvSpPr>
          <p:cNvPr id="15" name="Textfeld 14">
            <a:extLst>
              <a:ext uri="{FF2B5EF4-FFF2-40B4-BE49-F238E27FC236}">
                <a16:creationId xmlns:a16="http://schemas.microsoft.com/office/drawing/2014/main" id="{B621516E-3229-3921-BE7A-8C1EE6B47F79}"/>
              </a:ext>
            </a:extLst>
          </p:cNvPr>
          <p:cNvSpPr txBox="1"/>
          <p:nvPr/>
        </p:nvSpPr>
        <p:spPr>
          <a:xfrm>
            <a:off x="486251" y="2289906"/>
            <a:ext cx="1417375" cy="1169551"/>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INTRODUCTION </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OF </a:t>
            </a: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TAXANES</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Cisplatin/Paclitaxel</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Vs</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Cisplatin/</a:t>
            </a:r>
            <a:r>
              <a:rPr kumimoji="0" lang="en-US" sz="1400" b="0" i="0" u="none" strike="noStrike" kern="1200" cap="none" spc="0" normalizeH="0" baseline="0" noProof="0" dirty="0" err="1">
                <a:ln>
                  <a:noFill/>
                </a:ln>
                <a:solidFill>
                  <a:prstClr val="black"/>
                </a:solidFill>
                <a:effectLst/>
                <a:uLnTx/>
                <a:uFillTx/>
                <a:latin typeface="Arial Narrow"/>
                <a:ea typeface="MS PGothic" panose="020B0600070205080204" pitchFamily="34" charset="-128"/>
                <a:cs typeface="Arial Narrow"/>
              </a:rPr>
              <a:t>Cyclo</a:t>
            </a:r>
            <a:endPar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16" name="Textfeld 15">
            <a:extLst>
              <a:ext uri="{FF2B5EF4-FFF2-40B4-BE49-F238E27FC236}">
                <a16:creationId xmlns:a16="http://schemas.microsoft.com/office/drawing/2014/main" id="{67463E04-16C9-A73C-27C8-984276EDF0BF}"/>
              </a:ext>
            </a:extLst>
          </p:cNvPr>
          <p:cNvSpPr txBox="1"/>
          <p:nvPr/>
        </p:nvSpPr>
        <p:spPr>
          <a:xfrm>
            <a:off x="1806999" y="2289906"/>
            <a:ext cx="1797672" cy="1169551"/>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WHICH PLATINUM?</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OG158 &amp; AGO OVAR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Cisplatin</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Vs</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Carboplatin</a:t>
            </a:r>
          </a:p>
        </p:txBody>
      </p:sp>
      <p:sp>
        <p:nvSpPr>
          <p:cNvPr id="17" name="Textfeld 16">
            <a:extLst>
              <a:ext uri="{FF2B5EF4-FFF2-40B4-BE49-F238E27FC236}">
                <a16:creationId xmlns:a16="http://schemas.microsoft.com/office/drawing/2014/main" id="{713BEF8E-F500-C026-BE3C-CFD13390CE8D}"/>
              </a:ext>
            </a:extLst>
          </p:cNvPr>
          <p:cNvSpPr txBox="1"/>
          <p:nvPr/>
        </p:nvSpPr>
        <p:spPr>
          <a:xfrm>
            <a:off x="2558673" y="3685221"/>
            <a:ext cx="607859"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Arial Narrow"/>
              </a:rPr>
              <a:t>2003</a:t>
            </a:r>
          </a:p>
        </p:txBody>
      </p:sp>
      <p:sp>
        <p:nvSpPr>
          <p:cNvPr id="18" name="Textfeld 17">
            <a:extLst>
              <a:ext uri="{FF2B5EF4-FFF2-40B4-BE49-F238E27FC236}">
                <a16:creationId xmlns:a16="http://schemas.microsoft.com/office/drawing/2014/main" id="{F4439F7D-1A0E-D21E-899B-5D8017407213}"/>
              </a:ext>
            </a:extLst>
          </p:cNvPr>
          <p:cNvSpPr txBox="1"/>
          <p:nvPr/>
        </p:nvSpPr>
        <p:spPr>
          <a:xfrm>
            <a:off x="3459537" y="2289906"/>
            <a:ext cx="1978087" cy="1169551"/>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ADDING </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THIRD DRUGS</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Arial Narrow"/>
                <a:ea typeface="MS PGothic" panose="020B0600070205080204" pitchFamily="34" charset="-128"/>
                <a:cs typeface="Arial Narrow"/>
              </a:rPr>
              <a:t>Anthracyclins</a:t>
            </a: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 Gemcitabine, Topotecan</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e.g. GOG 182</a:t>
            </a:r>
          </a:p>
        </p:txBody>
      </p:sp>
      <p:sp>
        <p:nvSpPr>
          <p:cNvPr id="19" name="Textfeld 18">
            <a:extLst>
              <a:ext uri="{FF2B5EF4-FFF2-40B4-BE49-F238E27FC236}">
                <a16:creationId xmlns:a16="http://schemas.microsoft.com/office/drawing/2014/main" id="{2EC8CC83-82E0-685E-E3A9-C0A7A895EF3A}"/>
              </a:ext>
            </a:extLst>
          </p:cNvPr>
          <p:cNvSpPr txBox="1"/>
          <p:nvPr/>
        </p:nvSpPr>
        <p:spPr>
          <a:xfrm>
            <a:off x="3636441" y="3681208"/>
            <a:ext cx="607859"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Arial Narrow"/>
              </a:rPr>
              <a:t>2004</a:t>
            </a:r>
          </a:p>
        </p:txBody>
      </p:sp>
      <p:sp>
        <p:nvSpPr>
          <p:cNvPr id="20" name="Textfeld 19">
            <a:extLst>
              <a:ext uri="{FF2B5EF4-FFF2-40B4-BE49-F238E27FC236}">
                <a16:creationId xmlns:a16="http://schemas.microsoft.com/office/drawing/2014/main" id="{7E5D0B3E-52D0-04DD-88D7-071F42ED2740}"/>
              </a:ext>
            </a:extLst>
          </p:cNvPr>
          <p:cNvSpPr txBox="1"/>
          <p:nvPr/>
        </p:nvSpPr>
        <p:spPr>
          <a:xfrm>
            <a:off x="4554635" y="3697140"/>
            <a:ext cx="607859"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Arial Narrow"/>
              </a:rPr>
              <a:t>2006</a:t>
            </a:r>
          </a:p>
        </p:txBody>
      </p:sp>
      <p:sp>
        <p:nvSpPr>
          <p:cNvPr id="21" name="Textfeld 20">
            <a:extLst>
              <a:ext uri="{FF2B5EF4-FFF2-40B4-BE49-F238E27FC236}">
                <a16:creationId xmlns:a16="http://schemas.microsoft.com/office/drawing/2014/main" id="{3714E456-F65A-FC6A-C18E-ED63BC503910}"/>
              </a:ext>
            </a:extLst>
          </p:cNvPr>
          <p:cNvSpPr txBox="1"/>
          <p:nvPr/>
        </p:nvSpPr>
        <p:spPr>
          <a:xfrm>
            <a:off x="5490893" y="3688087"/>
            <a:ext cx="597471"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Arial Narrow"/>
              </a:rPr>
              <a:t>2011</a:t>
            </a:r>
          </a:p>
        </p:txBody>
      </p:sp>
      <p:sp>
        <p:nvSpPr>
          <p:cNvPr id="23" name="Textfeld 22">
            <a:extLst>
              <a:ext uri="{FF2B5EF4-FFF2-40B4-BE49-F238E27FC236}">
                <a16:creationId xmlns:a16="http://schemas.microsoft.com/office/drawing/2014/main" id="{93C6867B-7993-EE63-A0A2-F12602CC1384}"/>
              </a:ext>
            </a:extLst>
          </p:cNvPr>
          <p:cNvSpPr txBox="1"/>
          <p:nvPr/>
        </p:nvSpPr>
        <p:spPr>
          <a:xfrm>
            <a:off x="4971510" y="4276038"/>
            <a:ext cx="1332335" cy="738664"/>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BEVACIZUMAB</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MAINTENANCE</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OG 218, ICON7</a:t>
            </a:r>
          </a:p>
        </p:txBody>
      </p:sp>
      <p:sp>
        <p:nvSpPr>
          <p:cNvPr id="24" name="Textfeld 23">
            <a:extLst>
              <a:ext uri="{FF2B5EF4-FFF2-40B4-BE49-F238E27FC236}">
                <a16:creationId xmlns:a16="http://schemas.microsoft.com/office/drawing/2014/main" id="{903CEBB5-B8A2-69F9-AA05-65CEB762DF83}"/>
              </a:ext>
            </a:extLst>
          </p:cNvPr>
          <p:cNvSpPr txBox="1"/>
          <p:nvPr/>
        </p:nvSpPr>
        <p:spPr>
          <a:xfrm>
            <a:off x="6479076" y="2289906"/>
            <a:ext cx="1797673" cy="1169551"/>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DOSE DENSE</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PACLITAXEL</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JGOG3016, MITO-7, GOG262, ICON-8; ICON-8B, EWOC-1</a:t>
            </a:r>
          </a:p>
        </p:txBody>
      </p:sp>
      <p:sp>
        <p:nvSpPr>
          <p:cNvPr id="25" name="Textfeld 24">
            <a:extLst>
              <a:ext uri="{FF2B5EF4-FFF2-40B4-BE49-F238E27FC236}">
                <a16:creationId xmlns:a16="http://schemas.microsoft.com/office/drawing/2014/main" id="{5B9B1E0A-E55F-8CCD-6663-F53F6709C34B}"/>
              </a:ext>
            </a:extLst>
          </p:cNvPr>
          <p:cNvSpPr txBox="1"/>
          <p:nvPr/>
        </p:nvSpPr>
        <p:spPr>
          <a:xfrm>
            <a:off x="7935822" y="4280364"/>
            <a:ext cx="597471"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Arial Narrow"/>
              </a:rPr>
              <a:t>2011</a:t>
            </a:r>
          </a:p>
        </p:txBody>
      </p:sp>
      <p:sp>
        <p:nvSpPr>
          <p:cNvPr id="26" name="Textfeld 25">
            <a:extLst>
              <a:ext uri="{FF2B5EF4-FFF2-40B4-BE49-F238E27FC236}">
                <a16:creationId xmlns:a16="http://schemas.microsoft.com/office/drawing/2014/main" id="{14E52804-42BD-D8CC-8A43-ACD2B9F1A496}"/>
              </a:ext>
            </a:extLst>
          </p:cNvPr>
          <p:cNvSpPr txBox="1"/>
          <p:nvPr/>
        </p:nvSpPr>
        <p:spPr>
          <a:xfrm>
            <a:off x="6512405" y="3688087"/>
            <a:ext cx="607859"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Arial Narrow"/>
              </a:rPr>
              <a:t>2013</a:t>
            </a:r>
          </a:p>
        </p:txBody>
      </p:sp>
      <p:sp>
        <p:nvSpPr>
          <p:cNvPr id="27" name="Textfeld 26">
            <a:extLst>
              <a:ext uri="{FF2B5EF4-FFF2-40B4-BE49-F238E27FC236}">
                <a16:creationId xmlns:a16="http://schemas.microsoft.com/office/drawing/2014/main" id="{41CE8A72-7070-F76D-EABD-DF4F0322E18B}"/>
              </a:ext>
            </a:extLst>
          </p:cNvPr>
          <p:cNvSpPr txBox="1"/>
          <p:nvPr/>
        </p:nvSpPr>
        <p:spPr>
          <a:xfrm>
            <a:off x="9603078" y="3679141"/>
            <a:ext cx="1014460" cy="369332"/>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Arial Narrow"/>
              </a:rPr>
              <a:t>2020s</a:t>
            </a:r>
          </a:p>
        </p:txBody>
      </p:sp>
      <p:sp>
        <p:nvSpPr>
          <p:cNvPr id="28" name="Textfeld 27">
            <a:extLst>
              <a:ext uri="{FF2B5EF4-FFF2-40B4-BE49-F238E27FC236}">
                <a16:creationId xmlns:a16="http://schemas.microsoft.com/office/drawing/2014/main" id="{464D7400-E43C-86A2-3523-B245F9C42F29}"/>
              </a:ext>
            </a:extLst>
          </p:cNvPr>
          <p:cNvSpPr txBox="1"/>
          <p:nvPr/>
        </p:nvSpPr>
        <p:spPr>
          <a:xfrm>
            <a:off x="8601869" y="3688087"/>
            <a:ext cx="607859"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Arial Narrow"/>
              </a:rPr>
              <a:t>2019</a:t>
            </a:r>
          </a:p>
        </p:txBody>
      </p:sp>
      <p:sp>
        <p:nvSpPr>
          <p:cNvPr id="29" name="Textfeld 28">
            <a:extLst>
              <a:ext uri="{FF2B5EF4-FFF2-40B4-BE49-F238E27FC236}">
                <a16:creationId xmlns:a16="http://schemas.microsoft.com/office/drawing/2014/main" id="{7AB44FE0-BB0E-AA14-A7AB-0D8711D97E98}"/>
              </a:ext>
            </a:extLst>
          </p:cNvPr>
          <p:cNvSpPr txBox="1"/>
          <p:nvPr/>
        </p:nvSpPr>
        <p:spPr>
          <a:xfrm>
            <a:off x="7649803" y="3675701"/>
            <a:ext cx="902811"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Arial Narrow"/>
              </a:rPr>
              <a:t>2020s…</a:t>
            </a:r>
          </a:p>
        </p:txBody>
      </p:sp>
      <p:sp>
        <p:nvSpPr>
          <p:cNvPr id="30" name="Textfeld 29">
            <a:extLst>
              <a:ext uri="{FF2B5EF4-FFF2-40B4-BE49-F238E27FC236}">
                <a16:creationId xmlns:a16="http://schemas.microsoft.com/office/drawing/2014/main" id="{E58099CB-6CF9-97A7-D60E-E56712744C8B}"/>
              </a:ext>
            </a:extLst>
          </p:cNvPr>
          <p:cNvSpPr txBox="1"/>
          <p:nvPr/>
        </p:nvSpPr>
        <p:spPr>
          <a:xfrm>
            <a:off x="7851326" y="4276038"/>
            <a:ext cx="1984357" cy="738664"/>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Arial Narrow"/>
                <a:ea typeface="MS PGothic" panose="020B0600070205080204" pitchFamily="34" charset="-128"/>
                <a:cs typeface="Arial Narrow"/>
              </a:rPr>
              <a:t>PARPi</a:t>
            </a: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 MAINTENANCE</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 Bevacizumab</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SOLO2, PAOLA-1, PRIMA</a:t>
            </a:r>
          </a:p>
        </p:txBody>
      </p:sp>
      <p:sp>
        <p:nvSpPr>
          <p:cNvPr id="32" name="Textfeld 31">
            <a:extLst>
              <a:ext uri="{FF2B5EF4-FFF2-40B4-BE49-F238E27FC236}">
                <a16:creationId xmlns:a16="http://schemas.microsoft.com/office/drawing/2014/main" id="{D84E838E-7BFD-E14C-B552-9ABDB88A30FD}"/>
              </a:ext>
            </a:extLst>
          </p:cNvPr>
          <p:cNvSpPr txBox="1"/>
          <p:nvPr/>
        </p:nvSpPr>
        <p:spPr>
          <a:xfrm>
            <a:off x="9763425" y="4276038"/>
            <a:ext cx="2130356" cy="1384995"/>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IMMUNOTHERAPY-COMBINATIONS</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CHT/BEV/</a:t>
            </a:r>
            <a:r>
              <a:rPr kumimoji="0" lang="en-US" sz="1400" b="0" i="0" u="none" strike="noStrike" kern="1200" cap="none" spc="0" normalizeH="0" baseline="0" noProof="0" dirty="0" err="1">
                <a:ln>
                  <a:noFill/>
                </a:ln>
                <a:solidFill>
                  <a:prstClr val="black"/>
                </a:solidFill>
                <a:effectLst/>
                <a:uLnTx/>
                <a:uFillTx/>
                <a:latin typeface="Arial Narrow"/>
                <a:ea typeface="MS PGothic" panose="020B0600070205080204" pitchFamily="34" charset="-128"/>
                <a:cs typeface="Arial Narrow"/>
              </a:rPr>
              <a:t>PARPi</a:t>
            </a: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JAVELIN100, IMAgyn050, DUO-O, ATHENA COMBO, KEYLINK 001, FIRST </a:t>
            </a:r>
          </a:p>
        </p:txBody>
      </p:sp>
      <p:sp>
        <p:nvSpPr>
          <p:cNvPr id="34" name="Textfeld 33">
            <a:extLst>
              <a:ext uri="{FF2B5EF4-FFF2-40B4-BE49-F238E27FC236}">
                <a16:creationId xmlns:a16="http://schemas.microsoft.com/office/drawing/2014/main" id="{F2AA4795-2F1B-DBA8-6DB4-882593073814}"/>
              </a:ext>
            </a:extLst>
          </p:cNvPr>
          <p:cNvSpPr txBox="1"/>
          <p:nvPr/>
        </p:nvSpPr>
        <p:spPr>
          <a:xfrm>
            <a:off x="172185" y="5403801"/>
            <a:ext cx="2994348" cy="307777"/>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INTRAPERITONEAL CHEMO / HIPEC?</a:t>
            </a:r>
          </a:p>
        </p:txBody>
      </p:sp>
      <p:sp>
        <p:nvSpPr>
          <p:cNvPr id="35" name="Textfeld 34">
            <a:extLst>
              <a:ext uri="{FF2B5EF4-FFF2-40B4-BE49-F238E27FC236}">
                <a16:creationId xmlns:a16="http://schemas.microsoft.com/office/drawing/2014/main" id="{01303DCB-714F-D036-5C5F-3D3A4397FBEB}"/>
              </a:ext>
            </a:extLst>
          </p:cNvPr>
          <p:cNvSpPr txBox="1"/>
          <p:nvPr/>
        </p:nvSpPr>
        <p:spPr>
          <a:xfrm>
            <a:off x="329532" y="5680172"/>
            <a:ext cx="976549" cy="523220"/>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SWOG922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OG-114</a:t>
            </a: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36" name="Textfeld 35">
            <a:extLst>
              <a:ext uri="{FF2B5EF4-FFF2-40B4-BE49-F238E27FC236}">
                <a16:creationId xmlns:a16="http://schemas.microsoft.com/office/drawing/2014/main" id="{1F697313-C6F7-0ED2-184F-D0E49E3294E8}"/>
              </a:ext>
            </a:extLst>
          </p:cNvPr>
          <p:cNvSpPr txBox="1"/>
          <p:nvPr/>
        </p:nvSpPr>
        <p:spPr>
          <a:xfrm>
            <a:off x="1426904" y="5680172"/>
            <a:ext cx="976549" cy="523220"/>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SWOG8501</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OG104</a:t>
            </a: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37" name="Textfeld 36">
            <a:extLst>
              <a:ext uri="{FF2B5EF4-FFF2-40B4-BE49-F238E27FC236}">
                <a16:creationId xmlns:a16="http://schemas.microsoft.com/office/drawing/2014/main" id="{453FD7D3-7EC2-D9CF-6456-6C08E295ACF0}"/>
              </a:ext>
            </a:extLst>
          </p:cNvPr>
          <p:cNvSpPr txBox="1"/>
          <p:nvPr/>
        </p:nvSpPr>
        <p:spPr>
          <a:xfrm>
            <a:off x="4448581" y="5680173"/>
            <a:ext cx="771365" cy="307777"/>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OG172</a:t>
            </a: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39" name="Textfeld 38">
            <a:extLst>
              <a:ext uri="{FF2B5EF4-FFF2-40B4-BE49-F238E27FC236}">
                <a16:creationId xmlns:a16="http://schemas.microsoft.com/office/drawing/2014/main" id="{66E6C81E-7EA2-0853-CF66-92E0C94B73DF}"/>
              </a:ext>
            </a:extLst>
          </p:cNvPr>
          <p:cNvSpPr txBox="1"/>
          <p:nvPr/>
        </p:nvSpPr>
        <p:spPr>
          <a:xfrm>
            <a:off x="6030942" y="5680173"/>
            <a:ext cx="771365" cy="307777"/>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OG252</a:t>
            </a: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40" name="Textfeld 39">
            <a:extLst>
              <a:ext uri="{FF2B5EF4-FFF2-40B4-BE49-F238E27FC236}">
                <a16:creationId xmlns:a16="http://schemas.microsoft.com/office/drawing/2014/main" id="{FBE07F62-F40A-AD49-4E84-45590F558011}"/>
              </a:ext>
            </a:extLst>
          </p:cNvPr>
          <p:cNvSpPr txBox="1"/>
          <p:nvPr/>
        </p:nvSpPr>
        <p:spPr>
          <a:xfrm>
            <a:off x="6982406" y="5680173"/>
            <a:ext cx="976549" cy="307777"/>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OVHIPEC-1</a:t>
            </a: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41" name="Textfeld 40">
            <a:extLst>
              <a:ext uri="{FF2B5EF4-FFF2-40B4-BE49-F238E27FC236}">
                <a16:creationId xmlns:a16="http://schemas.microsoft.com/office/drawing/2014/main" id="{FF69D44B-491F-671F-1B0F-A3FED4860895}"/>
              </a:ext>
            </a:extLst>
          </p:cNvPr>
          <p:cNvSpPr txBox="1"/>
          <p:nvPr/>
        </p:nvSpPr>
        <p:spPr>
          <a:xfrm>
            <a:off x="3586152" y="4306668"/>
            <a:ext cx="1385357" cy="738664"/>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PACLITAXEL</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MAINTENANCE</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OG 178</a:t>
            </a:r>
          </a:p>
        </p:txBody>
      </p:sp>
      <p:sp>
        <p:nvSpPr>
          <p:cNvPr id="42" name="CasellaDiTesto 41">
            <a:extLst>
              <a:ext uri="{FF2B5EF4-FFF2-40B4-BE49-F238E27FC236}">
                <a16:creationId xmlns:a16="http://schemas.microsoft.com/office/drawing/2014/main" id="{903F2A68-DB4E-4265-B683-90D8FBA25F6F}"/>
              </a:ext>
            </a:extLst>
          </p:cNvPr>
          <p:cNvSpPr txBox="1"/>
          <p:nvPr/>
        </p:nvSpPr>
        <p:spPr>
          <a:xfrm>
            <a:off x="344048" y="1340551"/>
            <a:ext cx="11847952" cy="1077218"/>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811953"/>
                </a:solidFill>
                <a:effectLst/>
                <a:uLnTx/>
                <a:uFillTx/>
                <a:latin typeface="Calibri" panose="020F0502020204030204"/>
                <a:ea typeface="+mn-ea"/>
                <a:cs typeface="+mn-cs"/>
              </a:rPr>
              <a:t>Chemotherapy (drugs, route of administration, schedule, maintenance), Maintenance, Targeted Therapies</a:t>
            </a:r>
          </a:p>
        </p:txBody>
      </p:sp>
    </p:spTree>
    <p:extLst>
      <p:ext uri="{BB962C8B-B14F-4D97-AF65-F5344CB8AC3E}">
        <p14:creationId xmlns:p14="http://schemas.microsoft.com/office/powerpoint/2010/main" val="13755945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5" name="Picture 54" descr="new double strand break_V2.png"/>
          <p:cNvPicPr>
            <a:picLocks noChangeAspect="1"/>
          </p:cNvPicPr>
          <p:nvPr/>
        </p:nvPicPr>
        <p:blipFill rotWithShape="1">
          <a:blip r:embed="rId4">
            <a:alphaModFix amt="74000"/>
            <a:extLst>
              <a:ext uri="{28A0092B-C50C-407E-A947-70E740481C1C}">
                <a14:useLocalDpi xmlns:a14="http://schemas.microsoft.com/office/drawing/2010/main"/>
              </a:ext>
            </a:extLst>
          </a:blip>
          <a:srcRect/>
          <a:stretch/>
        </p:blipFill>
        <p:spPr>
          <a:xfrm>
            <a:off x="7521240" y="1752952"/>
            <a:ext cx="4084965" cy="1618091"/>
          </a:xfrm>
          <a:prstGeom prst="rect">
            <a:avLst/>
          </a:prstGeom>
        </p:spPr>
      </p:pic>
      <p:pic>
        <p:nvPicPr>
          <p:cNvPr id="39" name="Picture 38" descr="FINAL DNA style 3 coloured_5 slide_V2.png"/>
          <p:cNvPicPr>
            <a:picLocks noChangeAspect="1"/>
          </p:cNvPicPr>
          <p:nvPr/>
        </p:nvPicPr>
        <p:blipFill rotWithShape="1">
          <a:blip r:embed="rId5">
            <a:alphaModFix amt="65000"/>
            <a:extLst>
              <a:ext uri="{28A0092B-C50C-407E-A947-70E740481C1C}">
                <a14:useLocalDpi xmlns:a14="http://schemas.microsoft.com/office/drawing/2010/main"/>
              </a:ext>
            </a:extLst>
          </a:blip>
          <a:srcRect l="12243" r="16043"/>
          <a:stretch/>
        </p:blipFill>
        <p:spPr>
          <a:xfrm>
            <a:off x="435952" y="1730599"/>
            <a:ext cx="4444485" cy="1307964"/>
          </a:xfrm>
          <a:prstGeom prst="rect">
            <a:avLst/>
          </a:prstGeom>
        </p:spPr>
      </p:pic>
      <p:sp>
        <p:nvSpPr>
          <p:cNvPr id="49" name="Rounded Rectangle 38">
            <a:extLst>
              <a:ext uri="{FF2B5EF4-FFF2-40B4-BE49-F238E27FC236}">
                <a16:creationId xmlns:a16="http://schemas.microsoft.com/office/drawing/2014/main" id="{C8FF4FBF-E534-4EBD-9F5C-9DC2F064177D}"/>
              </a:ext>
            </a:extLst>
          </p:cNvPr>
          <p:cNvSpPr/>
          <p:nvPr/>
        </p:nvSpPr>
        <p:spPr>
          <a:xfrm>
            <a:off x="2419811" y="4400050"/>
            <a:ext cx="3838469" cy="56189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3C0F53"/>
              </a:solidFill>
              <a:effectLst/>
              <a:uLnTx/>
              <a:uFillTx/>
              <a:latin typeface="Arial"/>
              <a:ea typeface="+mn-ea"/>
              <a:cs typeface="Arial Narrow"/>
            </a:endParaRPr>
          </a:p>
        </p:txBody>
      </p:sp>
      <p:sp>
        <p:nvSpPr>
          <p:cNvPr id="4" name="Freeform 3"/>
          <p:cNvSpPr/>
          <p:nvPr/>
        </p:nvSpPr>
        <p:spPr>
          <a:xfrm>
            <a:off x="4339045" y="4091815"/>
            <a:ext cx="5160136" cy="330333"/>
          </a:xfrm>
          <a:custGeom>
            <a:avLst/>
            <a:gdLst>
              <a:gd name="connsiteX0" fmla="*/ 4202767 w 4202767"/>
              <a:gd name="connsiteY0" fmla="*/ 0 h 828012"/>
              <a:gd name="connsiteX1" fmla="*/ 4202767 w 4202767"/>
              <a:gd name="connsiteY1" fmla="*/ 371904 h 828012"/>
              <a:gd name="connsiteX2" fmla="*/ 7016 w 4202767"/>
              <a:gd name="connsiteY2" fmla="*/ 392955 h 828012"/>
              <a:gd name="connsiteX3" fmla="*/ 0 w 4202767"/>
              <a:gd name="connsiteY3" fmla="*/ 828012 h 828012"/>
              <a:gd name="connsiteX0" fmla="*/ 4202767 w 4209783"/>
              <a:gd name="connsiteY0" fmla="*/ 0 h 828012"/>
              <a:gd name="connsiteX1" fmla="*/ 4209783 w 4209783"/>
              <a:gd name="connsiteY1" fmla="*/ 406989 h 828012"/>
              <a:gd name="connsiteX2" fmla="*/ 7016 w 4209783"/>
              <a:gd name="connsiteY2" fmla="*/ 392955 h 828012"/>
              <a:gd name="connsiteX3" fmla="*/ 0 w 4209783"/>
              <a:gd name="connsiteY3" fmla="*/ 828012 h 828012"/>
              <a:gd name="connsiteX0" fmla="*/ 4202768 w 4209784"/>
              <a:gd name="connsiteY0" fmla="*/ 0 h 828012"/>
              <a:gd name="connsiteX1" fmla="*/ 4209784 w 4209784"/>
              <a:gd name="connsiteY1" fmla="*/ 406989 h 828012"/>
              <a:gd name="connsiteX2" fmla="*/ 0 w 4209784"/>
              <a:gd name="connsiteY2" fmla="*/ 406989 h 828012"/>
              <a:gd name="connsiteX3" fmla="*/ 1 w 4209784"/>
              <a:gd name="connsiteY3" fmla="*/ 828012 h 828012"/>
              <a:gd name="connsiteX0" fmla="*/ 4209274 w 4209784"/>
              <a:gd name="connsiteY0" fmla="*/ 0 h 601813"/>
              <a:gd name="connsiteX1" fmla="*/ 4209784 w 4209784"/>
              <a:gd name="connsiteY1" fmla="*/ 180790 h 601813"/>
              <a:gd name="connsiteX2" fmla="*/ 0 w 4209784"/>
              <a:gd name="connsiteY2" fmla="*/ 180790 h 601813"/>
              <a:gd name="connsiteX3" fmla="*/ 1 w 4209784"/>
              <a:gd name="connsiteY3" fmla="*/ 601813 h 601813"/>
              <a:gd name="connsiteX0" fmla="*/ 4212481 w 4212481"/>
              <a:gd name="connsiteY0" fmla="*/ 8056 h 421024"/>
              <a:gd name="connsiteX1" fmla="*/ 4209784 w 4212481"/>
              <a:gd name="connsiteY1" fmla="*/ 1 h 421024"/>
              <a:gd name="connsiteX2" fmla="*/ 0 w 4212481"/>
              <a:gd name="connsiteY2" fmla="*/ 1 h 421024"/>
              <a:gd name="connsiteX3" fmla="*/ 1 w 4212481"/>
              <a:gd name="connsiteY3" fmla="*/ 421024 h 421024"/>
            </a:gdLst>
            <a:ahLst/>
            <a:cxnLst>
              <a:cxn ang="0">
                <a:pos x="connsiteX0" y="connsiteY0"/>
              </a:cxn>
              <a:cxn ang="0">
                <a:pos x="connsiteX1" y="connsiteY1"/>
              </a:cxn>
              <a:cxn ang="0">
                <a:pos x="connsiteX2" y="connsiteY2"/>
              </a:cxn>
              <a:cxn ang="0">
                <a:pos x="connsiteX3" y="connsiteY3"/>
              </a:cxn>
            </a:cxnLst>
            <a:rect l="l" t="t" r="r" b="b"/>
            <a:pathLst>
              <a:path w="4212481" h="421024">
                <a:moveTo>
                  <a:pt x="4212481" y="8056"/>
                </a:moveTo>
                <a:lnTo>
                  <a:pt x="4209784" y="1"/>
                </a:lnTo>
                <a:lnTo>
                  <a:pt x="0" y="1"/>
                </a:lnTo>
                <a:cubicBezTo>
                  <a:pt x="0" y="140342"/>
                  <a:pt x="1" y="280683"/>
                  <a:pt x="1" y="421024"/>
                </a:cubicBezTo>
              </a:path>
            </a:pathLst>
          </a:custGeom>
          <a:noFill/>
          <a:ln w="12700" cap="flat" cmpd="sng" algn="ctr">
            <a:solidFill>
              <a:srgbClr val="830051"/>
            </a:solidFill>
            <a:prstDash val="solid"/>
            <a:round/>
            <a:headEnd type="none" w="med" len="med"/>
            <a:tailEnd type="triangl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000000"/>
              </a:solidFill>
              <a:effectLst/>
              <a:uLnTx/>
              <a:uFillTx/>
              <a:latin typeface="Arial" charset="0"/>
              <a:ea typeface="MS PGothic" panose="020B0600070205080204" pitchFamily="34" charset="-128"/>
              <a:cs typeface="+mn-cs"/>
            </a:endParaRPr>
          </a:p>
        </p:txBody>
      </p:sp>
      <p:sp>
        <p:nvSpPr>
          <p:cNvPr id="2" name="Title 1"/>
          <p:cNvSpPr>
            <a:spLocks noGrp="1"/>
          </p:cNvSpPr>
          <p:nvPr>
            <p:ph type="title"/>
          </p:nvPr>
        </p:nvSpPr>
        <p:spPr>
          <a:xfrm>
            <a:off x="352947" y="322518"/>
            <a:ext cx="9468396" cy="987055"/>
          </a:xfrm>
        </p:spPr>
        <p:txBody>
          <a:bodyPr>
            <a:noAutofit/>
          </a:bodyPr>
          <a:lstStyle/>
          <a:p>
            <a:pPr lvl="0">
              <a:defRPr/>
            </a:pPr>
            <a:r>
              <a:rPr lang="en-US" dirty="0"/>
              <a:t>PARP-inhibition induces intolerable levels of </a:t>
            </a:r>
            <a:br>
              <a:rPr lang="en-US" dirty="0"/>
            </a:br>
            <a:r>
              <a:rPr lang="en-US" dirty="0"/>
              <a:t>DNA-DSB</a:t>
            </a:r>
            <a:r>
              <a:rPr lang="en-US" cap="none" dirty="0"/>
              <a:t>s</a:t>
            </a:r>
            <a:r>
              <a:rPr lang="en-US" dirty="0"/>
              <a:t> in HRR Deficient cells – Synthetic lethality</a:t>
            </a:r>
          </a:p>
        </p:txBody>
      </p:sp>
      <p:sp>
        <p:nvSpPr>
          <p:cNvPr id="7" name="Textplatzhalter 6">
            <a:extLst>
              <a:ext uri="{FF2B5EF4-FFF2-40B4-BE49-F238E27FC236}">
                <a16:creationId xmlns:a16="http://schemas.microsoft.com/office/drawing/2014/main" id="{2D28E902-A6E3-0254-5FA6-DB884CF92290}"/>
              </a:ext>
            </a:extLst>
          </p:cNvPr>
          <p:cNvSpPr>
            <a:spLocks noGrp="1"/>
          </p:cNvSpPr>
          <p:nvPr>
            <p:ph type="body" sz="quarter" idx="18"/>
          </p:nvPr>
        </p:nvSpPr>
        <p:spPr>
          <a:xfrm>
            <a:off x="4515770" y="6500299"/>
            <a:ext cx="7536180" cy="223139"/>
          </a:xfrm>
        </p:spPr>
        <p:txBody>
          <a:bodyPr/>
          <a:lstStyle/>
          <a:p>
            <a:r>
              <a:rPr lang="en-US" dirty="0">
                <a:solidFill>
                  <a:srgbClr val="091B6D"/>
                </a:solidFill>
              </a:rPr>
              <a:t>O’Connor MJ. </a:t>
            </a:r>
            <a:r>
              <a:rPr lang="en-US" i="1" dirty="0">
                <a:solidFill>
                  <a:srgbClr val="091B6D"/>
                </a:solidFill>
              </a:rPr>
              <a:t>Mol Cell</a:t>
            </a:r>
            <a:r>
              <a:rPr lang="en-US" b="1" dirty="0">
                <a:solidFill>
                  <a:srgbClr val="091B6D"/>
                </a:solidFill>
              </a:rPr>
              <a:t>. </a:t>
            </a:r>
            <a:r>
              <a:rPr lang="en-US" dirty="0">
                <a:solidFill>
                  <a:srgbClr val="091B6D"/>
                </a:solidFill>
              </a:rPr>
              <a:t>2015;60(4):547-560. </a:t>
            </a:r>
          </a:p>
        </p:txBody>
      </p:sp>
      <p:grpSp>
        <p:nvGrpSpPr>
          <p:cNvPr id="51" name="Group 50">
            <a:extLst>
              <a:ext uri="{FF2B5EF4-FFF2-40B4-BE49-F238E27FC236}">
                <a16:creationId xmlns:a16="http://schemas.microsoft.com/office/drawing/2014/main" id="{9C803309-FC61-4071-AE4D-C1B96CD4E614}"/>
              </a:ext>
            </a:extLst>
          </p:cNvPr>
          <p:cNvGrpSpPr/>
          <p:nvPr/>
        </p:nvGrpSpPr>
        <p:grpSpPr>
          <a:xfrm>
            <a:off x="4117929" y="5653549"/>
            <a:ext cx="449599" cy="490231"/>
            <a:chOff x="4290819" y="3575629"/>
            <a:chExt cx="537303" cy="537303"/>
          </a:xfrm>
        </p:grpSpPr>
        <p:cxnSp>
          <p:nvCxnSpPr>
            <p:cNvPr id="52" name="Straight Connector 51">
              <a:extLst>
                <a:ext uri="{FF2B5EF4-FFF2-40B4-BE49-F238E27FC236}">
                  <a16:creationId xmlns:a16="http://schemas.microsoft.com/office/drawing/2014/main" id="{6CC5E822-EAC0-474B-BBB9-C2786D3CDCD7}"/>
                </a:ext>
              </a:extLst>
            </p:cNvPr>
            <p:cNvCxnSpPr/>
            <p:nvPr/>
          </p:nvCxnSpPr>
          <p:spPr bwMode="auto">
            <a:xfrm>
              <a:off x="4290819" y="3575629"/>
              <a:ext cx="537303" cy="537303"/>
            </a:xfrm>
            <a:prstGeom prst="line">
              <a:avLst/>
            </a:prstGeom>
            <a:solidFill>
              <a:schemeClr val="accent1"/>
            </a:solidFill>
            <a:ln w="88900" cap="sq" cmpd="sng" algn="ctr">
              <a:solidFill>
                <a:srgbClr val="FFFFFF"/>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99A5ABEB-84F4-4FB3-8321-DB89AAB87CAC}"/>
                </a:ext>
              </a:extLst>
            </p:cNvPr>
            <p:cNvCxnSpPr/>
            <p:nvPr/>
          </p:nvCxnSpPr>
          <p:spPr bwMode="auto">
            <a:xfrm flipH="1">
              <a:off x="4290819" y="3575629"/>
              <a:ext cx="537303" cy="537303"/>
            </a:xfrm>
            <a:prstGeom prst="line">
              <a:avLst/>
            </a:prstGeom>
            <a:solidFill>
              <a:schemeClr val="accent1"/>
            </a:solidFill>
            <a:ln w="88900" cap="sq" cmpd="sng" algn="ctr">
              <a:solidFill>
                <a:srgbClr val="FFFFFF"/>
              </a:solidFill>
              <a:prstDash val="solid"/>
              <a:round/>
              <a:headEnd type="none" w="med" len="med"/>
              <a:tailEnd type="none" w="med" len="med"/>
            </a:ln>
            <a:effectLst/>
          </p:spPr>
        </p:cxnSp>
      </p:grpSp>
      <p:cxnSp>
        <p:nvCxnSpPr>
          <p:cNvPr id="33" name="Straight Arrow Connector 32">
            <a:extLst>
              <a:ext uri="{FF2B5EF4-FFF2-40B4-BE49-F238E27FC236}">
                <a16:creationId xmlns:a16="http://schemas.microsoft.com/office/drawing/2014/main" id="{5117D9AD-29F2-7E4E-B517-6D709BC67171}"/>
              </a:ext>
            </a:extLst>
          </p:cNvPr>
          <p:cNvCxnSpPr/>
          <p:nvPr/>
        </p:nvCxnSpPr>
        <p:spPr>
          <a:xfrm>
            <a:off x="5271781" y="2995861"/>
            <a:ext cx="1956512" cy="0"/>
          </a:xfrm>
          <a:prstGeom prst="straightConnector1">
            <a:avLst/>
          </a:prstGeom>
          <a:ln w="19050" cmpd="sng">
            <a:solidFill>
              <a:schemeClr val="accent6">
                <a:lumMod val="60000"/>
                <a:lumOff val="4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5A133E18-DE45-2544-9C1C-67978DD7807D}"/>
              </a:ext>
            </a:extLst>
          </p:cNvPr>
          <p:cNvSpPr txBox="1"/>
          <p:nvPr/>
        </p:nvSpPr>
        <p:spPr>
          <a:xfrm>
            <a:off x="5008633" y="2001068"/>
            <a:ext cx="2449768" cy="830997"/>
          </a:xfrm>
          <a:prstGeom prst="rect">
            <a:avLst/>
          </a:prstGeom>
          <a:noFill/>
          <a:ln>
            <a:noFill/>
          </a:ln>
        </p:spPr>
        <p:txBody>
          <a:bodyPr wrap="square" rtlCol="0" anchor="ctr">
            <a:spAutoFit/>
          </a:bodyPr>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C0F53"/>
                </a:solidFill>
                <a:effectLst/>
                <a:uLnTx/>
                <a:uFillTx/>
                <a:latin typeface="Arial"/>
                <a:ea typeface="MS PGothic" panose="020B0600070205080204" pitchFamily="34" charset="-128"/>
                <a:cs typeface="Arial" pitchFamily="34" charset="0"/>
              </a:rPr>
              <a:t>Replication Fork Collapse Causing Increase in DSBs</a:t>
            </a:r>
          </a:p>
        </p:txBody>
      </p:sp>
      <p:cxnSp>
        <p:nvCxnSpPr>
          <p:cNvPr id="45" name="Straight Connector 44"/>
          <p:cNvCxnSpPr/>
          <p:nvPr/>
        </p:nvCxnSpPr>
        <p:spPr bwMode="auto">
          <a:xfrm flipV="1">
            <a:off x="1977481" y="2876425"/>
            <a:ext cx="0" cy="238872"/>
          </a:xfrm>
          <a:prstGeom prst="line">
            <a:avLst/>
          </a:prstGeom>
          <a:solidFill>
            <a:schemeClr val="accent1"/>
          </a:solidFill>
          <a:ln w="12700" cap="flat" cmpd="sng" algn="ctr">
            <a:solidFill>
              <a:srgbClr val="830051"/>
            </a:solidFill>
            <a:prstDash val="solid"/>
            <a:round/>
            <a:headEnd type="none" w="med" len="med"/>
            <a:tailEnd type="oval" w="med" len="med"/>
          </a:ln>
          <a:effectLst/>
        </p:spPr>
      </p:cxnSp>
      <p:sp>
        <p:nvSpPr>
          <p:cNvPr id="47" name="TextBox 46">
            <a:extLst>
              <a:ext uri="{FF2B5EF4-FFF2-40B4-BE49-F238E27FC236}">
                <a16:creationId xmlns:a16="http://schemas.microsoft.com/office/drawing/2014/main" id="{5A133E18-DE45-2544-9C1C-67978DD7807D}"/>
              </a:ext>
            </a:extLst>
          </p:cNvPr>
          <p:cNvSpPr txBox="1"/>
          <p:nvPr/>
        </p:nvSpPr>
        <p:spPr>
          <a:xfrm>
            <a:off x="995824" y="3251505"/>
            <a:ext cx="2426485" cy="272415"/>
          </a:xfrm>
          <a:prstGeom prst="roundRect">
            <a:avLst/>
          </a:prstGeom>
          <a:noFill/>
          <a:ln w="12700" cmpd="sng">
            <a:noFill/>
          </a:ln>
        </p:spPr>
        <p:txBody>
          <a:bodyPr wrap="square" tIns="0" bIns="0" rtlCol="0" anchor="ctr">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30051"/>
                </a:solidFill>
                <a:effectLst/>
                <a:uLnTx/>
                <a:uFillTx/>
                <a:latin typeface="Arial"/>
                <a:ea typeface="MS PGothic" panose="020B0600070205080204" pitchFamily="34" charset="-128"/>
                <a:cs typeface="Arial"/>
              </a:rPr>
              <a:t>Single-strand breaks</a:t>
            </a:r>
          </a:p>
        </p:txBody>
      </p:sp>
      <p:sp>
        <p:nvSpPr>
          <p:cNvPr id="48" name="TextBox 47">
            <a:extLst>
              <a:ext uri="{FF2B5EF4-FFF2-40B4-BE49-F238E27FC236}">
                <a16:creationId xmlns:a16="http://schemas.microsoft.com/office/drawing/2014/main" id="{5A133E18-DE45-2544-9C1C-67978DD7807D}"/>
              </a:ext>
            </a:extLst>
          </p:cNvPr>
          <p:cNvSpPr txBox="1"/>
          <p:nvPr/>
        </p:nvSpPr>
        <p:spPr>
          <a:xfrm>
            <a:off x="8283860" y="3523921"/>
            <a:ext cx="2426485" cy="272415"/>
          </a:xfrm>
          <a:prstGeom prst="roundRect">
            <a:avLst/>
          </a:prstGeom>
          <a:noFill/>
          <a:ln w="12700" cmpd="sng">
            <a:noFill/>
          </a:ln>
        </p:spPr>
        <p:txBody>
          <a:bodyPr wrap="square" tIns="0" bIns="0" rtlCol="0" anchor="ctr">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30051"/>
                </a:solidFill>
                <a:effectLst/>
                <a:uLnTx/>
                <a:uFillTx/>
                <a:latin typeface="Arial"/>
                <a:ea typeface="MS PGothic" panose="020B0600070205080204" pitchFamily="34" charset="-128"/>
                <a:cs typeface="Arial"/>
              </a:rPr>
              <a:t>Double-strand breaks</a:t>
            </a:r>
          </a:p>
        </p:txBody>
      </p:sp>
      <p:cxnSp>
        <p:nvCxnSpPr>
          <p:cNvPr id="56" name="Straight Connector 55"/>
          <p:cNvCxnSpPr>
            <a:cxnSpLocks/>
          </p:cNvCxnSpPr>
          <p:nvPr/>
        </p:nvCxnSpPr>
        <p:spPr bwMode="auto">
          <a:xfrm flipV="1">
            <a:off x="9499181" y="2017187"/>
            <a:ext cx="0" cy="1506735"/>
          </a:xfrm>
          <a:prstGeom prst="line">
            <a:avLst/>
          </a:prstGeom>
          <a:solidFill>
            <a:schemeClr val="accent1"/>
          </a:solidFill>
          <a:ln w="12700" cap="flat" cmpd="sng" algn="ctr">
            <a:solidFill>
              <a:srgbClr val="830051"/>
            </a:solidFill>
            <a:prstDash val="solid"/>
            <a:round/>
            <a:headEnd type="none" w="med" len="med"/>
            <a:tailEnd type="oval" w="med" len="med"/>
          </a:ln>
          <a:effectLst/>
        </p:spPr>
      </p:cxnSp>
      <p:cxnSp>
        <p:nvCxnSpPr>
          <p:cNvPr id="27" name="Straight Arrow Connector 26">
            <a:extLst>
              <a:ext uri="{FF2B5EF4-FFF2-40B4-BE49-F238E27FC236}">
                <a16:creationId xmlns:a16="http://schemas.microsoft.com/office/drawing/2014/main" id="{914AE233-F4C7-9441-B0F5-B3AA79822B2C}"/>
              </a:ext>
            </a:extLst>
          </p:cNvPr>
          <p:cNvCxnSpPr/>
          <p:nvPr/>
        </p:nvCxnSpPr>
        <p:spPr>
          <a:xfrm>
            <a:off x="9499181" y="4570244"/>
            <a:ext cx="0" cy="731520"/>
          </a:xfrm>
          <a:prstGeom prst="straightConnector1">
            <a:avLst/>
          </a:prstGeom>
          <a:noFill/>
          <a:ln w="12700" cap="flat" cmpd="sng" algn="ctr">
            <a:solidFill>
              <a:srgbClr val="830051"/>
            </a:solidFill>
            <a:prstDash val="solid"/>
            <a:round/>
            <a:headEnd type="none" w="med" len="med"/>
            <a:tailEnd type="triangle" w="med" len="med"/>
          </a:ln>
          <a:effectLst/>
        </p:spPr>
      </p:cxnSp>
      <p:sp>
        <p:nvSpPr>
          <p:cNvPr id="28" name="Rounded Rectangle 27">
            <a:extLst>
              <a:ext uri="{FF2B5EF4-FFF2-40B4-BE49-F238E27FC236}">
                <a16:creationId xmlns:a16="http://schemas.microsoft.com/office/drawing/2014/main" id="{C3314F2B-3220-EB4B-85BE-E3D1E46BBEED}"/>
              </a:ext>
            </a:extLst>
          </p:cNvPr>
          <p:cNvSpPr/>
          <p:nvPr/>
        </p:nvSpPr>
        <p:spPr>
          <a:xfrm>
            <a:off x="8666207" y="4438317"/>
            <a:ext cx="1714213" cy="415528"/>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3C0F53"/>
              </a:solidFill>
              <a:effectLst/>
              <a:uLnTx/>
              <a:uFillTx/>
              <a:latin typeface="Arial"/>
              <a:ea typeface="+mn-ea"/>
              <a:cs typeface="Arial Narrow"/>
            </a:endParaRPr>
          </a:p>
        </p:txBody>
      </p:sp>
      <p:sp>
        <p:nvSpPr>
          <p:cNvPr id="31" name="TextBox 30">
            <a:extLst>
              <a:ext uri="{FF2B5EF4-FFF2-40B4-BE49-F238E27FC236}">
                <a16:creationId xmlns:a16="http://schemas.microsoft.com/office/drawing/2014/main" id="{80F6F05B-9426-1C44-B0C5-83A12273AB21}"/>
              </a:ext>
            </a:extLst>
          </p:cNvPr>
          <p:cNvSpPr txBox="1"/>
          <p:nvPr/>
        </p:nvSpPr>
        <p:spPr>
          <a:xfrm>
            <a:off x="7978595" y="4403632"/>
            <a:ext cx="3052438" cy="379656"/>
          </a:xfrm>
          <a:prstGeom prst="rect">
            <a:avLst/>
          </a:prstGeom>
          <a:noFill/>
        </p:spPr>
        <p:txBody>
          <a:bodyPr wrap="non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3C0F53"/>
                </a:solidFill>
                <a:effectLst/>
                <a:uLnTx/>
                <a:uFillTx/>
                <a:latin typeface="Arial"/>
                <a:ea typeface="MS PGothic" panose="020B0600070205080204" pitchFamily="34" charset="-128"/>
                <a:cs typeface="Arial Narrow"/>
              </a:rPr>
              <a:t>HRR deficient cancer cell</a:t>
            </a:r>
          </a:p>
        </p:txBody>
      </p:sp>
      <p:sp>
        <p:nvSpPr>
          <p:cNvPr id="36" name="Text Box 38">
            <a:extLst>
              <a:ext uri="{FF2B5EF4-FFF2-40B4-BE49-F238E27FC236}">
                <a16:creationId xmlns:a16="http://schemas.microsoft.com/office/drawing/2014/main" id="{BA3CE9B6-5743-5F4E-81E4-1C7262187E38}"/>
              </a:ext>
            </a:extLst>
          </p:cNvPr>
          <p:cNvSpPr txBox="1">
            <a:spLocks noChangeArrowheads="1"/>
          </p:cNvSpPr>
          <p:nvPr/>
        </p:nvSpPr>
        <p:spPr bwMode="auto">
          <a:xfrm>
            <a:off x="7685807" y="5410961"/>
            <a:ext cx="3626748" cy="461665"/>
          </a:xfrm>
          <a:prstGeom prst="rect">
            <a:avLst/>
          </a:prstGeom>
          <a:noFill/>
          <a:ln w="9525">
            <a:noFill/>
            <a:miter lim="800000"/>
            <a:headEnd/>
            <a:tailEnd/>
          </a:ln>
        </p:spPr>
        <p:txBody>
          <a:bodyPr wrap="square">
            <a:spAutoFit/>
          </a:bodyPr>
          <a:lstStyle/>
          <a:p>
            <a:pPr marL="0" marR="0" lvl="0" indent="0" algn="ctr" defTabSz="609539"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3C0F53"/>
                </a:solidFill>
                <a:effectLst/>
                <a:uLnTx/>
                <a:uFillTx/>
                <a:latin typeface="Arial"/>
                <a:ea typeface="MS PGothic" panose="020B0600070205080204" pitchFamily="34" charset="-128"/>
                <a:cs typeface="Arial Narrow"/>
              </a:rPr>
              <a:t>Reliance on error prone pathways leads to DNA damage accumulation and cell death</a:t>
            </a:r>
          </a:p>
        </p:txBody>
      </p:sp>
      <p:cxnSp>
        <p:nvCxnSpPr>
          <p:cNvPr id="37" name="Straight Connector 36"/>
          <p:cNvCxnSpPr/>
          <p:nvPr/>
        </p:nvCxnSpPr>
        <p:spPr bwMode="auto">
          <a:xfrm>
            <a:off x="9499181" y="3854450"/>
            <a:ext cx="0" cy="567697"/>
          </a:xfrm>
          <a:prstGeom prst="line">
            <a:avLst/>
          </a:prstGeom>
          <a:solidFill>
            <a:schemeClr val="accent1"/>
          </a:solidFill>
          <a:ln w="12700" cap="flat" cmpd="sng" algn="ctr">
            <a:solidFill>
              <a:srgbClr val="830051"/>
            </a:solidFill>
            <a:prstDash val="solid"/>
            <a:round/>
            <a:headEnd type="none" w="med" len="med"/>
            <a:tailEnd type="triangle" w="med" len="med"/>
          </a:ln>
          <a:effectLst/>
        </p:spPr>
      </p:cxnSp>
      <p:grpSp>
        <p:nvGrpSpPr>
          <p:cNvPr id="44" name="Group 43"/>
          <p:cNvGrpSpPr/>
          <p:nvPr/>
        </p:nvGrpSpPr>
        <p:grpSpPr>
          <a:xfrm>
            <a:off x="1438044" y="1990315"/>
            <a:ext cx="1156291" cy="855024"/>
            <a:chOff x="2791260" y="4080606"/>
            <a:chExt cx="867218" cy="641268"/>
          </a:xfrm>
        </p:grpSpPr>
        <p:pic>
          <p:nvPicPr>
            <p:cNvPr id="46" name="Picture 45" descr="new parp molecule.png"/>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2791260" y="4100756"/>
              <a:ext cx="460780" cy="451708"/>
            </a:xfrm>
            <a:prstGeom prst="rect">
              <a:avLst/>
            </a:prstGeom>
          </p:spPr>
        </p:pic>
        <p:pic>
          <p:nvPicPr>
            <p:cNvPr id="60" name="Picture 59" descr="new parp molecule.png"/>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2914591" y="4249755"/>
              <a:ext cx="460780" cy="451708"/>
            </a:xfrm>
            <a:prstGeom prst="rect">
              <a:avLst/>
            </a:prstGeom>
          </p:spPr>
        </p:pic>
        <p:pic>
          <p:nvPicPr>
            <p:cNvPr id="61" name="Picture 60" descr="new parp molecule.png"/>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3004329" y="4080606"/>
              <a:ext cx="654148" cy="641268"/>
            </a:xfrm>
            <a:prstGeom prst="rect">
              <a:avLst/>
            </a:prstGeom>
            <a:effectLst>
              <a:outerShdw blurRad="50800" dist="38100" dir="2700000" algn="tl" rotWithShape="0">
                <a:prstClr val="black">
                  <a:alpha val="40000"/>
                </a:prstClr>
              </a:outerShdw>
            </a:effectLst>
          </p:spPr>
        </p:pic>
        <p:sp>
          <p:nvSpPr>
            <p:cNvPr id="62" name="TextBox 61">
              <a:extLst>
                <a:ext uri="{FF2B5EF4-FFF2-40B4-BE49-F238E27FC236}">
                  <a16:creationId xmlns:a16="http://schemas.microsoft.com/office/drawing/2014/main" id="{65D0A776-EA59-48EC-A799-7CCB01B3270B}"/>
                </a:ext>
              </a:extLst>
            </p:cNvPr>
            <p:cNvSpPr txBox="1"/>
            <p:nvPr/>
          </p:nvSpPr>
          <p:spPr>
            <a:xfrm>
              <a:off x="3035200" y="4304343"/>
              <a:ext cx="623278" cy="230833"/>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outerShdw blurRad="50800" dist="38100" dir="2700000" algn="tl" rotWithShape="0">
                      <a:srgbClr val="000000">
                        <a:alpha val="43000"/>
                      </a:srgbClr>
                    </a:outerShdw>
                  </a:effectLst>
                  <a:uLnTx/>
                  <a:uFillTx/>
                  <a:latin typeface="Arial"/>
                  <a:ea typeface="MS PGothic" panose="020B0600070205080204" pitchFamily="34" charset="-128"/>
                  <a:cs typeface="+mn-cs"/>
                </a:rPr>
                <a:t>PARP</a:t>
              </a:r>
            </a:p>
          </p:txBody>
        </p:sp>
      </p:grpSp>
      <p:grpSp>
        <p:nvGrpSpPr>
          <p:cNvPr id="63" name="Group 62"/>
          <p:cNvGrpSpPr/>
          <p:nvPr/>
        </p:nvGrpSpPr>
        <p:grpSpPr>
          <a:xfrm>
            <a:off x="1841252" y="1677839"/>
            <a:ext cx="1067184" cy="721836"/>
            <a:chOff x="2901482" y="2825926"/>
            <a:chExt cx="800388" cy="541377"/>
          </a:xfrm>
        </p:grpSpPr>
        <p:pic>
          <p:nvPicPr>
            <p:cNvPr id="64" name="Picture 63" descr="new parp molecule.png"/>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65" name="TextBox 64">
              <a:extLst>
                <a:ext uri="{FF2B5EF4-FFF2-40B4-BE49-F238E27FC236}">
                  <a16:creationId xmlns:a16="http://schemas.microsoft.com/office/drawing/2014/main" id="{65D0A776-EA59-48EC-A799-7CCB01B3270B}"/>
                </a:ext>
              </a:extLst>
            </p:cNvPr>
            <p:cNvSpPr txBox="1"/>
            <p:nvPr/>
          </p:nvSpPr>
          <p:spPr>
            <a:xfrm>
              <a:off x="2901482" y="2985092"/>
              <a:ext cx="800388" cy="230833"/>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outerShdw blurRad="50800" dist="38100" dir="2700000" algn="tl" rotWithShape="0">
                      <a:srgbClr val="000000">
                        <a:alpha val="43000"/>
                      </a:srgbClr>
                    </a:outerShdw>
                  </a:effectLst>
                  <a:uLnTx/>
                  <a:uFillTx/>
                  <a:latin typeface="Arial"/>
                  <a:ea typeface="MS PGothic" panose="020B0600070205080204" pitchFamily="34" charset="-128"/>
                  <a:cs typeface="+mn-cs"/>
                </a:rPr>
                <a:t>olaparib</a:t>
              </a:r>
            </a:p>
          </p:txBody>
        </p:sp>
      </p:grpSp>
      <p:sp>
        <p:nvSpPr>
          <p:cNvPr id="57" name="Text Box 5">
            <a:extLst>
              <a:ext uri="{FF2B5EF4-FFF2-40B4-BE49-F238E27FC236}">
                <a16:creationId xmlns:a16="http://schemas.microsoft.com/office/drawing/2014/main" id="{6678E143-26DC-C54B-9C5B-89D25EF4FB66}"/>
              </a:ext>
            </a:extLst>
          </p:cNvPr>
          <p:cNvSpPr txBox="1">
            <a:spLocks noChangeArrowheads="1"/>
          </p:cNvSpPr>
          <p:nvPr/>
        </p:nvSpPr>
        <p:spPr bwMode="auto">
          <a:xfrm>
            <a:off x="2611323" y="5378431"/>
            <a:ext cx="3491755" cy="646331"/>
          </a:xfrm>
          <a:prstGeom prst="rect">
            <a:avLst/>
          </a:prstGeom>
          <a:noFill/>
          <a:ln w="9525">
            <a:noFill/>
            <a:miter lim="800000"/>
            <a:headEnd/>
            <a:tailEnd/>
          </a:ln>
        </p:spPr>
        <p:txBody>
          <a:bodyPr wrap="square">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C0F53"/>
                </a:solidFill>
                <a:effectLst/>
                <a:uLnTx/>
                <a:uFillTx/>
                <a:latin typeface="Arial"/>
                <a:ea typeface="MS PGothic" panose="020B0600070205080204" pitchFamily="34" charset="-128"/>
                <a:cs typeface="Arial" pitchFamily="34" charset="0"/>
              </a:rPr>
              <a:t>PARP Release </a:t>
            </a:r>
          </a:p>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C0F53"/>
                </a:solidFill>
                <a:effectLst/>
                <a:uLnTx/>
                <a:uFillTx/>
                <a:latin typeface="Arial"/>
                <a:ea typeface="MS PGothic" panose="020B0600070205080204" pitchFamily="34" charset="-128"/>
                <a:cs typeface="Arial" pitchFamily="34" charset="0"/>
              </a:rPr>
              <a:t>Following Replication Fork Resolution; </a:t>
            </a:r>
          </a:p>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C0F53"/>
                </a:solidFill>
                <a:effectLst/>
                <a:uLnTx/>
                <a:uFillTx/>
                <a:latin typeface="Arial"/>
                <a:ea typeface="MS PGothic" panose="020B0600070205080204" pitchFamily="34" charset="-128"/>
                <a:cs typeface="Arial" pitchFamily="34" charset="0"/>
              </a:rPr>
              <a:t>Any DSBs Are Repaired</a:t>
            </a:r>
          </a:p>
        </p:txBody>
      </p:sp>
      <p:cxnSp>
        <p:nvCxnSpPr>
          <p:cNvPr id="42" name="Straight Arrow Connector 41">
            <a:extLst>
              <a:ext uri="{FF2B5EF4-FFF2-40B4-BE49-F238E27FC236}">
                <a16:creationId xmlns:a16="http://schemas.microsoft.com/office/drawing/2014/main" id="{914AE233-F4C7-9441-B0F5-B3AA79822B2C}"/>
              </a:ext>
            </a:extLst>
          </p:cNvPr>
          <p:cNvCxnSpPr/>
          <p:nvPr/>
        </p:nvCxnSpPr>
        <p:spPr>
          <a:xfrm>
            <a:off x="4339553" y="4570244"/>
            <a:ext cx="0" cy="731520"/>
          </a:xfrm>
          <a:prstGeom prst="straightConnector1">
            <a:avLst/>
          </a:prstGeom>
          <a:noFill/>
          <a:ln w="12700" cap="flat" cmpd="sng" algn="ctr">
            <a:solidFill>
              <a:srgbClr val="830051"/>
            </a:solidFill>
            <a:prstDash val="solid"/>
            <a:round/>
            <a:headEnd type="none" w="med" len="med"/>
            <a:tailEnd type="triangle" w="med" len="med"/>
          </a:ln>
          <a:effectLst/>
        </p:spPr>
      </p:cxnSp>
      <p:sp>
        <p:nvSpPr>
          <p:cNvPr id="54" name="Rounded Rectangle 53">
            <a:extLst>
              <a:ext uri="{FF2B5EF4-FFF2-40B4-BE49-F238E27FC236}">
                <a16:creationId xmlns:a16="http://schemas.microsoft.com/office/drawing/2014/main" id="{C3314F2B-3220-EB4B-85BE-E3D1E46BBEED}"/>
              </a:ext>
            </a:extLst>
          </p:cNvPr>
          <p:cNvSpPr/>
          <p:nvPr/>
        </p:nvSpPr>
        <p:spPr>
          <a:xfrm>
            <a:off x="3710420" y="4438317"/>
            <a:ext cx="1714213" cy="415528"/>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3C0F53"/>
              </a:solidFill>
              <a:effectLst/>
              <a:uLnTx/>
              <a:uFillTx/>
              <a:latin typeface="Arial"/>
              <a:ea typeface="+mn-ea"/>
              <a:cs typeface="Arial Narrow"/>
            </a:endParaRPr>
          </a:p>
        </p:txBody>
      </p:sp>
      <p:sp>
        <p:nvSpPr>
          <p:cNvPr id="40" name="TextBox 39">
            <a:extLst>
              <a:ext uri="{FF2B5EF4-FFF2-40B4-BE49-F238E27FC236}">
                <a16:creationId xmlns:a16="http://schemas.microsoft.com/office/drawing/2014/main" id="{8C6C693B-CB52-874E-BB61-30FE7257F663}"/>
              </a:ext>
            </a:extLst>
          </p:cNvPr>
          <p:cNvSpPr txBox="1"/>
          <p:nvPr/>
        </p:nvSpPr>
        <p:spPr>
          <a:xfrm>
            <a:off x="3607408" y="4403632"/>
            <a:ext cx="1471877" cy="379656"/>
          </a:xfrm>
          <a:prstGeom prst="rect">
            <a:avLst/>
          </a:prstGeom>
          <a:noFill/>
        </p:spPr>
        <p:txBody>
          <a:bodyPr wrap="non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3C0F53"/>
                </a:solidFill>
                <a:effectLst/>
                <a:uLnTx/>
                <a:uFillTx/>
                <a:latin typeface="Arial"/>
                <a:ea typeface="MS PGothic" panose="020B0600070205080204" pitchFamily="34" charset="-128"/>
                <a:cs typeface="Arial Narrow"/>
              </a:rPr>
              <a:t>Normal cell</a:t>
            </a:r>
          </a:p>
        </p:txBody>
      </p:sp>
      <p:grpSp>
        <p:nvGrpSpPr>
          <p:cNvPr id="9" name="Group 8"/>
          <p:cNvGrpSpPr/>
          <p:nvPr/>
        </p:nvGrpSpPr>
        <p:grpSpPr>
          <a:xfrm>
            <a:off x="9508977" y="1321822"/>
            <a:ext cx="959728" cy="762030"/>
            <a:chOff x="4173672" y="3607866"/>
            <a:chExt cx="1102795" cy="875627"/>
          </a:xfrm>
        </p:grpSpPr>
        <p:grpSp>
          <p:nvGrpSpPr>
            <p:cNvPr id="59" name="Group 58"/>
            <p:cNvGrpSpPr/>
            <p:nvPr/>
          </p:nvGrpSpPr>
          <p:grpSpPr>
            <a:xfrm>
              <a:off x="4173672" y="3842225"/>
              <a:ext cx="867218" cy="641268"/>
              <a:chOff x="2791260" y="4080606"/>
              <a:chExt cx="867218" cy="641268"/>
            </a:xfrm>
          </p:grpSpPr>
          <p:pic>
            <p:nvPicPr>
              <p:cNvPr id="66" name="Picture 65" descr="new parp molecule.png"/>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2791260" y="4100756"/>
                <a:ext cx="460780" cy="451708"/>
              </a:xfrm>
              <a:prstGeom prst="rect">
                <a:avLst/>
              </a:prstGeom>
            </p:spPr>
          </p:pic>
          <p:pic>
            <p:nvPicPr>
              <p:cNvPr id="67" name="Picture 66" descr="new parp molecule.png"/>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2914591" y="4249755"/>
                <a:ext cx="460780" cy="451708"/>
              </a:xfrm>
              <a:prstGeom prst="rect">
                <a:avLst/>
              </a:prstGeom>
            </p:spPr>
          </p:pic>
          <p:pic>
            <p:nvPicPr>
              <p:cNvPr id="68" name="Picture 67" descr="new parp molecule.png"/>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3004329" y="4080606"/>
                <a:ext cx="654148" cy="641268"/>
              </a:xfrm>
              <a:prstGeom prst="rect">
                <a:avLst/>
              </a:prstGeom>
              <a:effectLst>
                <a:outerShdw blurRad="50800" dist="38100" dir="2700000" algn="tl" rotWithShape="0">
                  <a:prstClr val="black">
                    <a:alpha val="40000"/>
                  </a:prstClr>
                </a:outerShdw>
              </a:effectLst>
            </p:spPr>
          </p:pic>
          <p:sp>
            <p:nvSpPr>
              <p:cNvPr id="69" name="TextBox 68">
                <a:extLst>
                  <a:ext uri="{FF2B5EF4-FFF2-40B4-BE49-F238E27FC236}">
                    <a16:creationId xmlns:a16="http://schemas.microsoft.com/office/drawing/2014/main" id="{65D0A776-EA59-48EC-A799-7CCB01B3270B}"/>
                  </a:ext>
                </a:extLst>
              </p:cNvPr>
              <p:cNvSpPr txBox="1"/>
              <p:nvPr/>
            </p:nvSpPr>
            <p:spPr>
              <a:xfrm>
                <a:off x="3035198" y="4304344"/>
                <a:ext cx="623280" cy="247560"/>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outerShdw blurRad="50800" dist="38100" dir="2700000" algn="tl" rotWithShape="0">
                        <a:srgbClr val="000000">
                          <a:alpha val="43000"/>
                        </a:srgbClr>
                      </a:outerShdw>
                    </a:effectLst>
                    <a:uLnTx/>
                    <a:uFillTx/>
                    <a:latin typeface="Arial"/>
                    <a:ea typeface="MS PGothic" panose="020B0600070205080204" pitchFamily="34" charset="-128"/>
                    <a:cs typeface="+mn-cs"/>
                  </a:rPr>
                  <a:t>PARP</a:t>
                </a:r>
              </a:p>
            </p:txBody>
          </p:sp>
        </p:grpSp>
        <p:grpSp>
          <p:nvGrpSpPr>
            <p:cNvPr id="70" name="Group 69"/>
            <p:cNvGrpSpPr/>
            <p:nvPr/>
          </p:nvGrpSpPr>
          <p:grpSpPr>
            <a:xfrm>
              <a:off x="4476079" y="3607866"/>
              <a:ext cx="800388" cy="541377"/>
              <a:chOff x="2901482" y="2825926"/>
              <a:chExt cx="800388" cy="541377"/>
            </a:xfrm>
          </p:grpSpPr>
          <p:pic>
            <p:nvPicPr>
              <p:cNvPr id="71" name="Picture 70" descr="new parp molecule.png"/>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72" name="TextBox 71">
                <a:extLst>
                  <a:ext uri="{FF2B5EF4-FFF2-40B4-BE49-F238E27FC236}">
                    <a16:creationId xmlns:a16="http://schemas.microsoft.com/office/drawing/2014/main" id="{65D0A776-EA59-48EC-A799-7CCB01B3270B}"/>
                  </a:ext>
                </a:extLst>
              </p:cNvPr>
              <p:cNvSpPr txBox="1"/>
              <p:nvPr/>
            </p:nvSpPr>
            <p:spPr>
              <a:xfrm>
                <a:off x="2901482" y="2985092"/>
                <a:ext cx="800388" cy="247561"/>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outerShdw blurRad="50800" dist="38100" dir="2700000" algn="tl" rotWithShape="0">
                        <a:srgbClr val="000000">
                          <a:alpha val="43000"/>
                        </a:srgbClr>
                      </a:outerShdw>
                    </a:effectLst>
                    <a:uLnTx/>
                    <a:uFillTx/>
                    <a:latin typeface="Arial"/>
                    <a:ea typeface="MS PGothic" panose="020B0600070205080204" pitchFamily="34" charset="-128"/>
                    <a:cs typeface="+mn-cs"/>
                  </a:rPr>
                  <a:t>olaparib</a:t>
                </a:r>
              </a:p>
            </p:txBody>
          </p:sp>
        </p:grpSp>
      </p:grpSp>
      <p:cxnSp>
        <p:nvCxnSpPr>
          <p:cNvPr id="50" name="Straight Arrow Connector 49">
            <a:extLst>
              <a:ext uri="{FF2B5EF4-FFF2-40B4-BE49-F238E27FC236}">
                <a16:creationId xmlns:a16="http://schemas.microsoft.com/office/drawing/2014/main" id="{7D70F289-2629-43C8-9E5C-D98F4ECB7EFA}"/>
              </a:ext>
            </a:extLst>
          </p:cNvPr>
          <p:cNvCxnSpPr>
            <a:cxnSpLocks/>
          </p:cNvCxnSpPr>
          <p:nvPr/>
        </p:nvCxnSpPr>
        <p:spPr>
          <a:xfrm>
            <a:off x="2419811" y="3644993"/>
            <a:ext cx="757500" cy="755057"/>
          </a:xfrm>
          <a:prstGeom prst="straightConnector1">
            <a:avLst/>
          </a:prstGeom>
          <a:noFill/>
          <a:ln w="12700" cap="flat" cmpd="sng" algn="ctr">
            <a:solidFill>
              <a:srgbClr val="830051"/>
            </a:solidFill>
            <a:prstDash val="solid"/>
            <a:round/>
            <a:headEnd type="none" w="med" len="med"/>
            <a:tailEnd type="triangle" w="med" len="med"/>
          </a:ln>
          <a:effectLst/>
        </p:spPr>
      </p:cxnSp>
      <p:sp>
        <p:nvSpPr>
          <p:cNvPr id="8" name="Rectangle 7">
            <a:extLst>
              <a:ext uri="{FF2B5EF4-FFF2-40B4-BE49-F238E27FC236}">
                <a16:creationId xmlns:a16="http://schemas.microsoft.com/office/drawing/2014/main" id="{BC39167A-2994-4958-99B5-885306CF7840}"/>
              </a:ext>
            </a:extLst>
          </p:cNvPr>
          <p:cNvSpPr/>
          <p:nvPr/>
        </p:nvSpPr>
        <p:spPr>
          <a:xfrm>
            <a:off x="9563725" y="4794020"/>
            <a:ext cx="2170545" cy="502573"/>
          </a:xfrm>
          <a:prstGeom prst="rect">
            <a:avLst/>
          </a:prstGeom>
        </p:spPr>
        <p:txBody>
          <a:bodyPr wrap="square">
            <a:spAutoFit/>
          </a:bodyPr>
          <a:lstStyle/>
          <a:p>
            <a:pPr marL="0" marR="0" lvl="0" indent="0" algn="l" defTabSz="457178" rtl="0" eaLnBrk="0" fontAlgn="base" latinLnBrk="0" hangingPunct="0">
              <a:lnSpc>
                <a:spcPct val="100000"/>
              </a:lnSpc>
              <a:spcBef>
                <a:spcPct val="0"/>
              </a:spcBef>
              <a:spcAft>
                <a:spcPct val="0"/>
              </a:spcAft>
              <a:buClrTx/>
              <a:buSzTx/>
              <a:buFontTx/>
              <a:buNone/>
              <a:tabLst/>
              <a:defRPr/>
            </a:pPr>
            <a:r>
              <a:rPr kumimoji="0" lang="en-US" sz="1333" b="0" i="0" u="none" strike="noStrike" kern="1200" cap="none" spc="0" normalizeH="0" baseline="0" noProof="0" dirty="0" err="1">
                <a:ln>
                  <a:noFill/>
                </a:ln>
                <a:solidFill>
                  <a:prstClr val="black"/>
                </a:solidFill>
                <a:effectLst/>
                <a:uLnTx/>
                <a:uFillTx/>
                <a:latin typeface="Arial"/>
                <a:ea typeface="MS PGothic" panose="020B0600070205080204" pitchFamily="34" charset="-128"/>
                <a:cs typeface="Arial" pitchFamily="34" charset="0"/>
              </a:rPr>
              <a:t>eg</a:t>
            </a:r>
            <a:r>
              <a:rPr kumimoji="0" lang="en-US" sz="1333"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itchFamily="34" charset="0"/>
              </a:rPr>
              <a:t>, with nonfunctioning</a:t>
            </a:r>
          </a:p>
          <a:p>
            <a:pPr marL="0" marR="0" lvl="0" indent="0" algn="l" defTabSz="457178" rtl="0" eaLnBrk="0" fontAlgn="base" latinLnBrk="0" hangingPunct="0">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itchFamily="34" charset="0"/>
              </a:rPr>
              <a:t>BRCA protein</a:t>
            </a:r>
          </a:p>
        </p:txBody>
      </p:sp>
      <p:sp>
        <p:nvSpPr>
          <p:cNvPr id="11" name="Textfeld 10">
            <a:extLst>
              <a:ext uri="{FF2B5EF4-FFF2-40B4-BE49-F238E27FC236}">
                <a16:creationId xmlns:a16="http://schemas.microsoft.com/office/drawing/2014/main" id="{B013F8C5-AE11-398F-4E6B-FC8EBFEB3C93}"/>
              </a:ext>
            </a:extLst>
          </p:cNvPr>
          <p:cNvSpPr txBox="1"/>
          <p:nvPr/>
        </p:nvSpPr>
        <p:spPr>
          <a:xfrm>
            <a:off x="565690" y="5552188"/>
            <a:ext cx="1744708" cy="646331"/>
          </a:xfrm>
          <a:prstGeom prst="rect">
            <a:avLst/>
          </a:prstGeom>
          <a:noFill/>
        </p:spPr>
        <p:txBody>
          <a:bodyPr wrap="square">
            <a:spAutoFit/>
          </a:bodyPr>
          <a:lstStyle/>
          <a:p>
            <a:pPr marL="0" marR="0" lvl="0" indent="0" algn="l" defTabSz="457189" rtl="0" eaLnBrk="0" fontAlgn="base" latinLnBrk="0" hangingPunct="0">
              <a:lnSpc>
                <a:spcPct val="100000"/>
              </a:lnSpc>
              <a:spcBef>
                <a:spcPct val="20000"/>
              </a:spcBef>
              <a:spcAft>
                <a:spcPct val="0"/>
              </a:spcAft>
              <a:buClr>
                <a:srgbClr val="000000"/>
              </a:buClr>
              <a:buSzPct val="35000"/>
              <a:buFontTx/>
              <a:buNone/>
              <a:tabLst/>
              <a:defRPr/>
            </a:pPr>
            <a:r>
              <a:rPr kumimoji="0" lang="en-US" sz="900" b="0" i="0" u="none" strike="noStrike" kern="1200" cap="none" spc="0" normalizeH="0" baseline="0" noProof="0" dirty="0">
                <a:ln>
                  <a:noFill/>
                </a:ln>
                <a:solidFill>
                  <a:srgbClr val="091B6D"/>
                </a:solidFill>
                <a:effectLst/>
                <a:uLnTx/>
                <a:uFillTx/>
                <a:latin typeface="Arial Narrow"/>
                <a:ea typeface="MS PGothic" pitchFamily="34" charset="-128"/>
                <a:cs typeface="Arial Narrow"/>
              </a:rPr>
              <a:t>DSB=double-strand breaks;  HR=homologous recombination; HRD=HR deficient; PARP= poly ADP ribose polymerase .</a:t>
            </a:r>
          </a:p>
        </p:txBody>
      </p:sp>
      <p:sp>
        <p:nvSpPr>
          <p:cNvPr id="13" name="TextBox 27">
            <a:extLst>
              <a:ext uri="{FF2B5EF4-FFF2-40B4-BE49-F238E27FC236}">
                <a16:creationId xmlns:a16="http://schemas.microsoft.com/office/drawing/2014/main" id="{68E4482E-BD30-3C4F-E8B8-F7CCE72811C9}"/>
              </a:ext>
            </a:extLst>
          </p:cNvPr>
          <p:cNvSpPr txBox="1"/>
          <p:nvPr/>
        </p:nvSpPr>
        <p:spPr>
          <a:xfrm>
            <a:off x="4719392" y="4728312"/>
            <a:ext cx="498592" cy="769441"/>
          </a:xfrm>
          <a:prstGeom prst="rect">
            <a:avLst/>
          </a:prstGeom>
          <a:noFill/>
        </p:spPr>
        <p:txBody>
          <a:bodyPr wrap="square" rtlCol="0">
            <a:spAutoFit/>
          </a:bodyPr>
          <a:lstStyle/>
          <a:p>
            <a:pPr marL="0" marR="0" lvl="0" indent="0" algn="l" defTabSz="609555" rtl="0" eaLnBrk="0" fontAlgn="base" latinLnBrk="0" hangingPunct="0">
              <a:lnSpc>
                <a:spcPct val="100000"/>
              </a:lnSpc>
              <a:spcBef>
                <a:spcPct val="0"/>
              </a:spcBef>
              <a:spcAft>
                <a:spcPct val="0"/>
              </a:spcAft>
              <a:buClrTx/>
              <a:buSzTx/>
              <a:buFontTx/>
              <a:buNone/>
              <a:tabLst/>
              <a:defRPr/>
            </a:pPr>
            <a:r>
              <a:rPr kumimoji="0" lang="en-US" sz="4400" b="1" i="0" u="none" strike="noStrike" kern="0" cap="none" spc="0" normalizeH="0" baseline="0" noProof="0" dirty="0">
                <a:ln>
                  <a:noFill/>
                </a:ln>
                <a:solidFill>
                  <a:srgbClr val="00B050"/>
                </a:solidFill>
                <a:effectLst/>
                <a:uLnTx/>
                <a:uFillTx/>
                <a:latin typeface="Zapf Dingbats"/>
                <a:ea typeface="Zapf Dingbats"/>
                <a:cs typeface="Zapf Dingbats"/>
                <a:sym typeface="Zapf Dingbats"/>
              </a:rPr>
              <a:t>✓</a:t>
            </a:r>
            <a:endParaRPr kumimoji="0" lang="en-US" sz="4400" b="1" i="0" u="none" strike="noStrike" kern="0" cap="none" spc="0" normalizeH="0" baseline="0" noProof="0" dirty="0">
              <a:ln>
                <a:noFill/>
              </a:ln>
              <a:solidFill>
                <a:srgbClr val="00B050"/>
              </a:solidFill>
              <a:effectLst/>
              <a:uLnTx/>
              <a:uFillTx/>
              <a:latin typeface="Arial"/>
              <a:ea typeface="MS PGothic" panose="020B0600070205080204" pitchFamily="34" charset="-128"/>
              <a:cs typeface="+mn-cs"/>
            </a:endParaRPr>
          </a:p>
        </p:txBody>
      </p:sp>
      <p:sp>
        <p:nvSpPr>
          <p:cNvPr id="15" name="TextBox 27">
            <a:extLst>
              <a:ext uri="{FF2B5EF4-FFF2-40B4-BE49-F238E27FC236}">
                <a16:creationId xmlns:a16="http://schemas.microsoft.com/office/drawing/2014/main" id="{078988BE-5FE2-50BA-98B2-BE739D9FD16A}"/>
              </a:ext>
            </a:extLst>
          </p:cNvPr>
          <p:cNvSpPr txBox="1"/>
          <p:nvPr/>
        </p:nvSpPr>
        <p:spPr>
          <a:xfrm>
            <a:off x="8780168" y="4767832"/>
            <a:ext cx="498592" cy="769441"/>
          </a:xfrm>
          <a:prstGeom prst="rect">
            <a:avLst/>
          </a:prstGeom>
          <a:noFill/>
        </p:spPr>
        <p:txBody>
          <a:bodyPr wrap="square" rtlCol="0">
            <a:spAutoFit/>
          </a:bodyPr>
          <a:lstStyle/>
          <a:p>
            <a:pPr marL="0" marR="0" lvl="0" indent="0" algn="l" defTabSz="609555" rtl="0" eaLnBrk="0" fontAlgn="base" latinLnBrk="0" hangingPunct="0">
              <a:lnSpc>
                <a:spcPct val="100000"/>
              </a:lnSpc>
              <a:spcBef>
                <a:spcPct val="0"/>
              </a:spcBef>
              <a:spcAft>
                <a:spcPct val="0"/>
              </a:spcAft>
              <a:buClrTx/>
              <a:buSzTx/>
              <a:buFontTx/>
              <a:buNone/>
              <a:tabLst/>
              <a:defRPr/>
            </a:pPr>
            <a:r>
              <a:rPr kumimoji="0" lang="en-US" sz="4400" b="1" i="0" u="none" strike="noStrike" kern="0" cap="none" spc="0" normalizeH="0" baseline="0" noProof="0" dirty="0">
                <a:ln>
                  <a:noFill/>
                </a:ln>
                <a:solidFill>
                  <a:srgbClr val="FF0000"/>
                </a:solidFill>
                <a:effectLst/>
                <a:uLnTx/>
                <a:uFillTx/>
                <a:latin typeface="Zapf Dingbats"/>
                <a:ea typeface="Zapf Dingbats"/>
                <a:cs typeface="Zapf Dingbats"/>
                <a:sym typeface="Zapf Dingbats"/>
              </a:rPr>
              <a:t>✗</a:t>
            </a:r>
            <a:endParaRPr kumimoji="0" lang="en-US" sz="4400" b="1" i="0" u="none" strike="noStrike" kern="0" cap="none" spc="0" normalizeH="0" baseline="0" noProof="0" dirty="0">
              <a:ln>
                <a:noFill/>
              </a:ln>
              <a:solidFill>
                <a:srgbClr val="FF0000"/>
              </a:solidFill>
              <a:effectLst/>
              <a:uLnTx/>
              <a:uFillTx/>
              <a:latin typeface="Arial"/>
              <a:ea typeface="MS PGothic" panose="020B0600070205080204" pitchFamily="34" charset="-128"/>
              <a:cs typeface="+mn-cs"/>
            </a:endParaRPr>
          </a:p>
        </p:txBody>
      </p:sp>
    </p:spTree>
    <p:custDataLst>
      <p:tags r:id="rId1"/>
    </p:custDataLst>
    <p:extLst>
      <p:ext uri="{BB962C8B-B14F-4D97-AF65-F5344CB8AC3E}">
        <p14:creationId xmlns:p14="http://schemas.microsoft.com/office/powerpoint/2010/main" val="2486658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41C587-44E5-374F-42C7-41F9D8037B41}"/>
              </a:ext>
            </a:extLst>
          </p:cNvPr>
          <p:cNvSpPr>
            <a:spLocks noGrp="1"/>
          </p:cNvSpPr>
          <p:nvPr>
            <p:ph type="title"/>
          </p:nvPr>
        </p:nvSpPr>
        <p:spPr>
          <a:xfrm>
            <a:off x="608400" y="126534"/>
            <a:ext cx="8028000" cy="553999"/>
          </a:xfrm>
        </p:spPr>
        <p:txBody>
          <a:bodyPr/>
          <a:lstStyle/>
          <a:p>
            <a:r>
              <a:rPr lang="en-US" dirty="0"/>
              <a:t>HRD is a Phenotype with many causes</a:t>
            </a:r>
          </a:p>
        </p:txBody>
      </p:sp>
      <p:sp>
        <p:nvSpPr>
          <p:cNvPr id="3" name="Textplatzhalter 2">
            <a:extLst>
              <a:ext uri="{FF2B5EF4-FFF2-40B4-BE49-F238E27FC236}">
                <a16:creationId xmlns:a16="http://schemas.microsoft.com/office/drawing/2014/main" id="{B6F4580E-EC23-0A88-86A3-8150720378E5}"/>
              </a:ext>
            </a:extLst>
          </p:cNvPr>
          <p:cNvSpPr>
            <a:spLocks noGrp="1"/>
          </p:cNvSpPr>
          <p:nvPr>
            <p:ph type="body" sz="quarter" idx="10"/>
          </p:nvPr>
        </p:nvSpPr>
        <p:spPr>
          <a:xfrm>
            <a:off x="608400" y="654415"/>
            <a:ext cx="9466019" cy="488795"/>
          </a:xfrm>
        </p:spPr>
        <p:txBody>
          <a:bodyPr/>
          <a:lstStyle/>
          <a:p>
            <a:r>
              <a:rPr lang="en-US" dirty="0"/>
              <a:t>HRD is present in ∼ 50% of HGSOC</a:t>
            </a:r>
          </a:p>
        </p:txBody>
      </p:sp>
      <p:sp>
        <p:nvSpPr>
          <p:cNvPr id="5" name="Textplatzhalter 4">
            <a:extLst>
              <a:ext uri="{FF2B5EF4-FFF2-40B4-BE49-F238E27FC236}">
                <a16:creationId xmlns:a16="http://schemas.microsoft.com/office/drawing/2014/main" id="{69B51C58-ABA6-904E-8E6C-F1C83DA72469}"/>
              </a:ext>
            </a:extLst>
          </p:cNvPr>
          <p:cNvSpPr>
            <a:spLocks noGrp="1"/>
          </p:cNvSpPr>
          <p:nvPr>
            <p:ph type="body" sz="quarter" idx="18"/>
          </p:nvPr>
        </p:nvSpPr>
        <p:spPr>
          <a:xfrm>
            <a:off x="4435360" y="6508327"/>
            <a:ext cx="7536180" cy="223139"/>
          </a:xfrm>
        </p:spPr>
        <p:txBody>
          <a:bodyPr/>
          <a:lstStyle/>
          <a:p>
            <a:r>
              <a:rPr lang="en-US" dirty="0"/>
              <a:t>Konstantinopoulos PA, et al. Cancer </a:t>
            </a:r>
            <a:r>
              <a:rPr lang="en-US" dirty="0" err="1"/>
              <a:t>Discov</a:t>
            </a:r>
            <a:r>
              <a:rPr lang="en-US" dirty="0"/>
              <a:t>. 2015;5(11):1137-1154</a:t>
            </a:r>
          </a:p>
        </p:txBody>
      </p:sp>
      <p:pic>
        <p:nvPicPr>
          <p:cNvPr id="8" name="Picture 4" descr="Pie.png">
            <a:extLst>
              <a:ext uri="{FF2B5EF4-FFF2-40B4-BE49-F238E27FC236}">
                <a16:creationId xmlns:a16="http://schemas.microsoft.com/office/drawing/2014/main" id="{5C48D44E-A316-C53B-4009-6152E26F6E68}"/>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rcRect/>
          <a:stretch/>
        </p:blipFill>
        <p:spPr>
          <a:xfrm>
            <a:off x="1267691" y="1474624"/>
            <a:ext cx="8770168" cy="4876167"/>
          </a:xfrm>
          <a:prstGeom prst="rect">
            <a:avLst/>
          </a:prstGeom>
        </p:spPr>
      </p:pic>
      <p:pic>
        <p:nvPicPr>
          <p:cNvPr id="6" name="Immagine 4">
            <a:extLst>
              <a:ext uri="{FF2B5EF4-FFF2-40B4-BE49-F238E27FC236}">
                <a16:creationId xmlns:a16="http://schemas.microsoft.com/office/drawing/2014/main" id="{A9006468-DF6D-4B47-BC98-13A20A4971B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097605" y="126533"/>
            <a:ext cx="2094396" cy="2086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asellaDiTesto 8">
            <a:extLst>
              <a:ext uri="{FF2B5EF4-FFF2-40B4-BE49-F238E27FC236}">
                <a16:creationId xmlns:a16="http://schemas.microsoft.com/office/drawing/2014/main" id="{326E50D7-6780-4EE2-B89B-442E22E321C5}"/>
              </a:ext>
            </a:extLst>
          </p:cNvPr>
          <p:cNvSpPr txBox="1"/>
          <p:nvPr/>
        </p:nvSpPr>
        <p:spPr>
          <a:xfrm>
            <a:off x="7370581" y="732313"/>
            <a:ext cx="3580783" cy="584775"/>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0000"/>
                </a:solidFill>
                <a:effectLst/>
                <a:uLnTx/>
                <a:uFillTx/>
                <a:latin typeface="Arial Narrow"/>
                <a:ea typeface="+mn-ea"/>
                <a:cs typeface="+mn-cs"/>
              </a:rPr>
              <a:t>HRD as a target</a:t>
            </a:r>
          </a:p>
        </p:txBody>
      </p:sp>
    </p:spTree>
    <p:extLst>
      <p:ext uri="{BB962C8B-B14F-4D97-AF65-F5344CB8AC3E}">
        <p14:creationId xmlns:p14="http://schemas.microsoft.com/office/powerpoint/2010/main" val="1515347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ítulo 6">
            <a:extLst>
              <a:ext uri="{FF2B5EF4-FFF2-40B4-BE49-F238E27FC236}">
                <a16:creationId xmlns:a16="http://schemas.microsoft.com/office/drawing/2014/main" id="{A615064B-54EE-9743-8CFD-E6633E435DCD}"/>
              </a:ext>
            </a:extLst>
          </p:cNvPr>
          <p:cNvSpPr>
            <a:spLocks noGrp="1"/>
          </p:cNvSpPr>
          <p:nvPr>
            <p:ph type="title"/>
          </p:nvPr>
        </p:nvSpPr>
        <p:spPr>
          <a:xfrm>
            <a:off x="3806613" y="2642318"/>
            <a:ext cx="7159637" cy="1281036"/>
          </a:xfrm>
        </p:spPr>
        <p:txBody>
          <a:bodyPr vert="horz" lIns="91440" tIns="45720" rIns="91440" bIns="45720" rtlCol="0" anchor="ctr">
            <a:normAutofit/>
          </a:bodyPr>
          <a:lstStyle/>
          <a:p>
            <a:br>
              <a:rPr lang="en-US" sz="4000" dirty="0">
                <a:solidFill>
                  <a:schemeClr val="accent1">
                    <a:lumMod val="75000"/>
                  </a:schemeClr>
                </a:solidFill>
                <a:latin typeface="+mn-lt"/>
              </a:rPr>
            </a:br>
            <a:r>
              <a:rPr lang="en-US" sz="4000" dirty="0">
                <a:solidFill>
                  <a:schemeClr val="accent1">
                    <a:lumMod val="75000"/>
                  </a:schemeClr>
                </a:solidFill>
                <a:latin typeface="+mn-lt"/>
              </a:rPr>
              <a:t>How to detect HRD?</a:t>
            </a:r>
            <a:endParaRPr lang="en-US" sz="4800" dirty="0">
              <a:solidFill>
                <a:schemeClr val="accent1">
                  <a:lumMod val="75000"/>
                </a:schemeClr>
              </a:solidFill>
              <a:latin typeface="+mn-lt"/>
            </a:endParaRPr>
          </a:p>
        </p:txBody>
      </p:sp>
      <p:pic>
        <p:nvPicPr>
          <p:cNvPr id="7170" name="Picture 2" descr="punto-di-domanda-cartoon-1 | CrossFit Rovigo">
            <a:extLst>
              <a:ext uri="{FF2B5EF4-FFF2-40B4-BE49-F238E27FC236}">
                <a16:creationId xmlns:a16="http://schemas.microsoft.com/office/drawing/2014/main" id="{80BD15F9-07DA-4614-9E5C-539C6FCECC37}"/>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p:blipFill>
        <p:spPr bwMode="auto">
          <a:xfrm>
            <a:off x="636887" y="494186"/>
            <a:ext cx="2253595" cy="2508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43911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8066E36D-941D-4563-B50B-EE0191BA5E94}"/>
              </a:ext>
            </a:extLst>
          </p:cNvPr>
          <p:cNvSpPr/>
          <p:nvPr/>
        </p:nvSpPr>
        <p:spPr>
          <a:xfrm>
            <a:off x="371552" y="1611086"/>
            <a:ext cx="9769976" cy="4291553"/>
          </a:xfrm>
          <a:prstGeom prst="roundRect">
            <a:avLst>
              <a:gd name="adj" fmla="val 0"/>
            </a:avLst>
          </a:prstGeom>
          <a:gradFill>
            <a:gsLst>
              <a:gs pos="0">
                <a:schemeClr val="bg1">
                  <a:lumMod val="95000"/>
                  <a:alpha val="80000"/>
                </a:schemeClr>
              </a:gs>
              <a:gs pos="100000">
                <a:schemeClr val="bg1">
                  <a:lumMod val="85000"/>
                  <a:alpha val="80000"/>
                </a:schemeClr>
              </a:gs>
            </a:gsLst>
            <a:lin ang="5400000" scaled="0"/>
          </a:gradFill>
          <a:ln w="190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ctr" defTabSz="914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22C5D"/>
              </a:solidFill>
              <a:effectLst/>
              <a:uLnTx/>
              <a:uFillTx/>
              <a:latin typeface="Arial Narrow"/>
              <a:ea typeface="+mn-ea"/>
              <a:cs typeface="+mn-cs"/>
            </a:endParaRPr>
          </a:p>
        </p:txBody>
      </p:sp>
      <p:sp>
        <p:nvSpPr>
          <p:cNvPr id="3" name="Title 2">
            <a:extLst>
              <a:ext uri="{FF2B5EF4-FFF2-40B4-BE49-F238E27FC236}">
                <a16:creationId xmlns:a16="http://schemas.microsoft.com/office/drawing/2014/main" id="{4E916382-15FD-4DE6-AE24-AC4E26061CB8}"/>
              </a:ext>
            </a:extLst>
          </p:cNvPr>
          <p:cNvSpPr>
            <a:spLocks noGrp="1"/>
          </p:cNvSpPr>
          <p:nvPr>
            <p:ph type="title"/>
          </p:nvPr>
        </p:nvSpPr>
        <p:spPr/>
        <p:txBody>
          <a:bodyPr>
            <a:normAutofit/>
          </a:bodyPr>
          <a:lstStyle/>
          <a:p>
            <a:pPr defTabSz="609559">
              <a:defRPr/>
            </a:pPr>
            <a:r>
              <a:rPr lang="en-US" sz="3200" dirty="0">
                <a:ea typeface="MS PGothic" pitchFamily="34" charset="-128"/>
              </a:rPr>
              <a:t>Types of biomarkers that measure HRD</a:t>
            </a:r>
            <a:endParaRPr lang="en-US" sz="3200" dirty="0">
              <a:solidFill>
                <a:srgbClr val="0E3186"/>
              </a:solidFill>
              <a:ea typeface="MS PGothic" pitchFamily="34" charset="-128"/>
            </a:endParaRPr>
          </a:p>
        </p:txBody>
      </p:sp>
      <p:pic>
        <p:nvPicPr>
          <p:cNvPr id="14" name="Picture 13" descr="A car parked on the side of a road&#10;&#10;Description generated with very high confidence">
            <a:extLst>
              <a:ext uri="{FF2B5EF4-FFF2-40B4-BE49-F238E27FC236}">
                <a16:creationId xmlns:a16="http://schemas.microsoft.com/office/drawing/2014/main" id="{5FC66152-0771-4693-93BC-D0ED2583636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062280" y="3225449"/>
            <a:ext cx="3637269" cy="2482064"/>
          </a:xfrm>
          <a:prstGeom prst="roundRect">
            <a:avLst>
              <a:gd name="adj" fmla="val 13381"/>
            </a:avLst>
          </a:prstGeom>
          <a:ln w="12700">
            <a:noFill/>
          </a:ln>
        </p:spPr>
      </p:pic>
      <p:sp>
        <p:nvSpPr>
          <p:cNvPr id="16" name="Rectangle: Rounded Corners 15">
            <a:extLst>
              <a:ext uri="{FF2B5EF4-FFF2-40B4-BE49-F238E27FC236}">
                <a16:creationId xmlns:a16="http://schemas.microsoft.com/office/drawing/2014/main" id="{6D6C673F-2DF6-40C9-B7C5-5A266D623835}"/>
              </a:ext>
            </a:extLst>
          </p:cNvPr>
          <p:cNvSpPr/>
          <p:nvPr/>
        </p:nvSpPr>
        <p:spPr>
          <a:xfrm>
            <a:off x="1504921" y="3039693"/>
            <a:ext cx="3487955" cy="2668531"/>
          </a:xfrm>
          <a:prstGeom prst="roundRect">
            <a:avLst>
              <a:gd name="adj" fmla="val 9605"/>
            </a:avLst>
          </a:prstGeom>
          <a:solidFill>
            <a:schemeClr val="accent1"/>
          </a:solidFill>
        </p:spPr>
        <p:txBody>
          <a:bodyPr/>
          <a:lstStyle/>
          <a:p>
            <a:pPr marL="0" marR="0" lvl="0" indent="0" algn="ctr" defTabSz="914314" rtl="0" eaLnBrk="1" fontAlgn="auto" latinLnBrk="0" hangingPunct="1">
              <a:lnSpc>
                <a:spcPct val="100000"/>
              </a:lnSpc>
              <a:spcBef>
                <a:spcPts val="0"/>
              </a:spcBef>
              <a:spcAft>
                <a:spcPts val="300"/>
              </a:spcAft>
              <a:buClr>
                <a:srgbClr val="FFFFFF"/>
              </a:buClr>
              <a:buSzTx/>
              <a:buFontTx/>
              <a:buNone/>
              <a:tabLst/>
              <a:defRPr/>
            </a:pPr>
            <a:r>
              <a:rPr kumimoji="0" lang="en-US" sz="3200" b="1" i="1" u="none" strike="noStrike" kern="1200" cap="none" spc="0" normalizeH="0" baseline="0" noProof="0" dirty="0">
                <a:ln>
                  <a:noFill/>
                </a:ln>
                <a:solidFill>
                  <a:srgbClr val="FFFFFF"/>
                </a:solidFill>
                <a:effectLst/>
                <a:uLnTx/>
                <a:uFillTx/>
                <a:latin typeface="Arial Narrow" panose="020B0604020202020204" pitchFamily="34" charset="0"/>
                <a:ea typeface="ＭＳ Ｐゴシック" panose="020B0600070205080204" pitchFamily="34" charset="-128"/>
                <a:cs typeface="Arial Narrow" panose="020B0604020202020204" pitchFamily="34" charset="0"/>
              </a:rPr>
              <a:t>Cause</a:t>
            </a:r>
          </a:p>
          <a:p>
            <a:pPr marL="287987" marR="0" lvl="0" indent="-287987" algn="l" defTabSz="914314" rtl="0" eaLnBrk="1" fontAlgn="auto" latinLnBrk="0" hangingPunct="1">
              <a:lnSpc>
                <a:spcPct val="100000"/>
              </a:lnSpc>
              <a:spcBef>
                <a:spcPts val="0"/>
              </a:spcBef>
              <a:spcAft>
                <a:spcPts val="300"/>
              </a:spcAft>
              <a:buClr>
                <a:srgbClr val="FFFFFF"/>
              </a:buClr>
              <a:buSzTx/>
              <a:buFont typeface="Arial Narrow" panose="020B060602020203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Narrow" panose="020B0604020202020204" pitchFamily="34" charset="0"/>
                <a:ea typeface="ＭＳ Ｐゴシック" panose="020B0600070205080204" pitchFamily="34" charset="-128"/>
                <a:cs typeface="Arial Narrow" panose="020B0604020202020204" pitchFamily="34" charset="0"/>
              </a:rPr>
              <a:t>Brake failure?</a:t>
            </a:r>
          </a:p>
          <a:p>
            <a:pPr marL="287987" marR="0" lvl="0" indent="-287987" algn="l" defTabSz="914314" rtl="0" eaLnBrk="1" fontAlgn="auto" latinLnBrk="0" hangingPunct="1">
              <a:lnSpc>
                <a:spcPct val="100000"/>
              </a:lnSpc>
              <a:spcBef>
                <a:spcPts val="0"/>
              </a:spcBef>
              <a:spcAft>
                <a:spcPts val="300"/>
              </a:spcAft>
              <a:buClr>
                <a:srgbClr val="FFFFFF"/>
              </a:buClr>
              <a:buSzTx/>
              <a:buFont typeface="Arial Narrow" panose="020B060602020203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Narrow" panose="020B0604020202020204" pitchFamily="34" charset="0"/>
                <a:ea typeface="ＭＳ Ｐゴシック" panose="020B0600070205080204" pitchFamily="34" charset="-128"/>
                <a:cs typeface="Arial Narrow" panose="020B0604020202020204" pitchFamily="34" charset="0"/>
              </a:rPr>
              <a:t>Distracted driver?</a:t>
            </a:r>
          </a:p>
          <a:p>
            <a:pPr marL="287987" marR="0" lvl="0" indent="-287987" algn="l" defTabSz="914314" rtl="0" eaLnBrk="1" fontAlgn="auto" latinLnBrk="0" hangingPunct="1">
              <a:lnSpc>
                <a:spcPct val="100000"/>
              </a:lnSpc>
              <a:spcBef>
                <a:spcPts val="0"/>
              </a:spcBef>
              <a:spcAft>
                <a:spcPts val="300"/>
              </a:spcAft>
              <a:buClr>
                <a:srgbClr val="FFFFFF"/>
              </a:buClr>
              <a:buSzTx/>
              <a:buFont typeface="Arial Narrow" panose="020B060602020203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Narrow" panose="020B0604020202020204" pitchFamily="34" charset="0"/>
                <a:ea typeface="ＭＳ Ｐゴシック" panose="020B0600070205080204" pitchFamily="34" charset="-128"/>
                <a:cs typeface="Arial Narrow" panose="020B0604020202020204" pitchFamily="34" charset="0"/>
              </a:rPr>
              <a:t>Traffic light failure?</a:t>
            </a:r>
          </a:p>
          <a:p>
            <a:pPr marL="287987" marR="0" lvl="0" indent="-287987" algn="l" defTabSz="914314" rtl="0" eaLnBrk="1" fontAlgn="auto" latinLnBrk="0" hangingPunct="1">
              <a:lnSpc>
                <a:spcPct val="100000"/>
              </a:lnSpc>
              <a:spcBef>
                <a:spcPts val="0"/>
              </a:spcBef>
              <a:spcAft>
                <a:spcPts val="300"/>
              </a:spcAft>
              <a:buClr>
                <a:srgbClr val="FFFFFF"/>
              </a:buClr>
              <a:buSzTx/>
              <a:buFont typeface="Arial Narrow" panose="020B060602020203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Narrow" panose="020B0604020202020204" pitchFamily="34" charset="0"/>
                <a:ea typeface="ＭＳ Ｐゴシック" panose="020B0600070205080204" pitchFamily="34" charset="-128"/>
                <a:cs typeface="Arial Narrow" panose="020B0604020202020204" pitchFamily="34" charset="0"/>
              </a:rPr>
              <a:t>Bad weather conditions?</a:t>
            </a:r>
          </a:p>
          <a:p>
            <a:pPr marL="287987" marR="0" lvl="0" indent="-287987" algn="l" defTabSz="914314" rtl="0" eaLnBrk="1" fontAlgn="auto" latinLnBrk="0" hangingPunct="1">
              <a:lnSpc>
                <a:spcPct val="100000"/>
              </a:lnSpc>
              <a:spcBef>
                <a:spcPts val="0"/>
              </a:spcBef>
              <a:spcAft>
                <a:spcPts val="300"/>
              </a:spcAft>
              <a:buClr>
                <a:srgbClr val="FFFFFF"/>
              </a:buClr>
              <a:buSzTx/>
              <a:buFont typeface="Arial Narrow" panose="020B060602020203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Narrow" panose="020B0604020202020204" pitchFamily="34" charset="0"/>
                <a:ea typeface="ＭＳ Ｐゴシック" panose="020B0600070205080204" pitchFamily="34" charset="-128"/>
                <a:cs typeface="Arial Narrow" panose="020B0604020202020204" pitchFamily="34" charset="0"/>
              </a:rPr>
              <a:t>Driver medical emergency?</a:t>
            </a:r>
          </a:p>
          <a:p>
            <a:pPr marL="287987" marR="0" lvl="0" indent="-287987" algn="l" defTabSz="914314" rtl="0" eaLnBrk="1" fontAlgn="auto" latinLnBrk="0" hangingPunct="1">
              <a:lnSpc>
                <a:spcPct val="100000"/>
              </a:lnSpc>
              <a:spcBef>
                <a:spcPts val="0"/>
              </a:spcBef>
              <a:spcAft>
                <a:spcPts val="300"/>
              </a:spcAft>
              <a:buClr>
                <a:srgbClr val="FFFFFF"/>
              </a:buClr>
              <a:buSzTx/>
              <a:buFont typeface="Arial Narrow" panose="020B060602020203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Narrow" panose="020B0604020202020204" pitchFamily="34" charset="0"/>
                <a:ea typeface="ＭＳ Ｐゴシック" panose="020B0600070205080204" pitchFamily="34" charset="-128"/>
                <a:cs typeface="Arial Narrow" panose="020B0604020202020204" pitchFamily="34" charset="0"/>
              </a:rPr>
              <a:t>Human error (e.g. speeding)?</a:t>
            </a:r>
          </a:p>
          <a:p>
            <a:pPr marL="287987" marR="0" lvl="0" indent="-287987" algn="l" defTabSz="914314" rtl="0" eaLnBrk="1" fontAlgn="auto" latinLnBrk="0" hangingPunct="1">
              <a:lnSpc>
                <a:spcPct val="100000"/>
              </a:lnSpc>
              <a:spcBef>
                <a:spcPts val="0"/>
              </a:spcBef>
              <a:spcAft>
                <a:spcPts val="300"/>
              </a:spcAft>
              <a:buClr>
                <a:srgbClr val="FFFFFF"/>
              </a:buClr>
              <a:buSzTx/>
              <a:buFont typeface="Arial Narrow" panose="020B060602020203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Narrow" panose="020B0604020202020204" pitchFamily="34" charset="0"/>
                <a:ea typeface="ＭＳ Ｐゴシック" panose="020B0600070205080204" pitchFamily="34" charset="-128"/>
                <a:cs typeface="Arial Narrow" panose="020B0604020202020204" pitchFamily="34" charset="0"/>
              </a:rPr>
              <a:t>AI error in self-driving vehicle?</a:t>
            </a:r>
          </a:p>
        </p:txBody>
      </p:sp>
      <p:grpSp>
        <p:nvGrpSpPr>
          <p:cNvPr id="757767" name="Group 3">
            <a:extLst>
              <a:ext uri="{FF2B5EF4-FFF2-40B4-BE49-F238E27FC236}">
                <a16:creationId xmlns:a16="http://schemas.microsoft.com/office/drawing/2014/main" id="{75903E53-6F79-4291-AA5A-EC1A3414C72C}"/>
              </a:ext>
            </a:extLst>
          </p:cNvPr>
          <p:cNvGrpSpPr>
            <a:grpSpLocks/>
          </p:cNvGrpSpPr>
          <p:nvPr/>
        </p:nvGrpSpPr>
        <p:grpSpPr bwMode="auto">
          <a:xfrm>
            <a:off x="748862" y="971690"/>
            <a:ext cx="4989993" cy="1873588"/>
            <a:chOff x="371475" y="1156049"/>
            <a:chExt cx="5584825" cy="2305840"/>
          </a:xfrm>
        </p:grpSpPr>
        <p:sp>
          <p:nvSpPr>
            <p:cNvPr id="13" name="Rectangle: Rounded Corners 245">
              <a:extLst>
                <a:ext uri="{FF2B5EF4-FFF2-40B4-BE49-F238E27FC236}">
                  <a16:creationId xmlns:a16="http://schemas.microsoft.com/office/drawing/2014/main" id="{ED723B19-0AF5-C24B-AFBA-1C4163744940}"/>
                </a:ext>
              </a:extLst>
            </p:cNvPr>
            <p:cNvSpPr/>
            <p:nvPr/>
          </p:nvSpPr>
          <p:spPr>
            <a:xfrm>
              <a:off x="371475" y="1480391"/>
              <a:ext cx="5571931" cy="1981498"/>
            </a:xfrm>
            <a:prstGeom prst="roundRect">
              <a:avLst>
                <a:gd name="adj" fmla="val 0"/>
              </a:avLst>
            </a:prstGeom>
            <a:solidFill>
              <a:schemeClr val="bg1"/>
            </a:solidFill>
            <a:ln w="190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215995" anchor="ctr"/>
            <a:lstStyle/>
            <a:p>
              <a:pPr marL="0" marR="0" lvl="0" indent="0" algn="ctr" defTabSz="1219118"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11" normalizeH="0" baseline="0" noProof="0" dirty="0">
                  <a:ln>
                    <a:noFill/>
                  </a:ln>
                  <a:solidFill>
                    <a:srgbClr val="595959"/>
                  </a:solidFill>
                  <a:effectLst/>
                  <a:uLnTx/>
                  <a:uFillTx/>
                  <a:latin typeface="Arial Narrow"/>
                  <a:ea typeface="+mn-ea"/>
                  <a:cs typeface="Arial"/>
                </a:rPr>
                <a:t>BRCA </a:t>
              </a:r>
              <a:r>
                <a:rPr kumimoji="0" lang="en-US" sz="3200" b="1" i="0" u="none" strike="noStrike" kern="1200" cap="none" spc="-11" normalizeH="0" baseline="0" noProof="0" dirty="0">
                  <a:ln>
                    <a:noFill/>
                  </a:ln>
                  <a:solidFill>
                    <a:srgbClr val="595959"/>
                  </a:solidFill>
                  <a:effectLst/>
                  <a:uLnTx/>
                  <a:uFillTx/>
                  <a:latin typeface="Arial Narrow"/>
                  <a:ea typeface="+mn-ea"/>
                  <a:cs typeface="Arial"/>
                </a:rPr>
                <a:t>test</a:t>
              </a:r>
            </a:p>
            <a:p>
              <a:pPr marL="0" marR="0" lvl="0" indent="0" algn="ctr" defTabSz="1219118"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11" normalizeH="0" baseline="0" noProof="0" dirty="0">
                  <a:ln>
                    <a:noFill/>
                  </a:ln>
                  <a:solidFill>
                    <a:srgbClr val="595959"/>
                  </a:solidFill>
                  <a:effectLst/>
                  <a:uLnTx/>
                  <a:uFillTx/>
                  <a:latin typeface="Arial Narrow"/>
                  <a:ea typeface="+mn-ea"/>
                  <a:cs typeface="Arial"/>
                </a:rPr>
                <a:t> </a:t>
              </a:r>
              <a:r>
                <a:rPr kumimoji="0" lang="en-US" sz="3200" b="1" i="0" u="none" strike="noStrike" kern="1200" cap="none" spc="-5" normalizeH="0" baseline="0" noProof="0" dirty="0">
                  <a:ln>
                    <a:noFill/>
                  </a:ln>
                  <a:solidFill>
                    <a:srgbClr val="595959"/>
                  </a:solidFill>
                  <a:effectLst/>
                  <a:uLnTx/>
                  <a:uFillTx/>
                  <a:latin typeface="Arial Narrow"/>
                  <a:ea typeface="+mn-ea"/>
                  <a:cs typeface="Arial"/>
                </a:rPr>
                <a:t>HRR gene</a:t>
              </a:r>
              <a:r>
                <a:rPr kumimoji="0" lang="en-US" sz="3200" b="1" i="0" u="none" strike="noStrike" kern="1200" cap="none" spc="0" normalizeH="0" baseline="0" noProof="0" dirty="0">
                  <a:ln>
                    <a:noFill/>
                  </a:ln>
                  <a:solidFill>
                    <a:srgbClr val="595959"/>
                  </a:solidFill>
                  <a:effectLst/>
                  <a:uLnTx/>
                  <a:uFillTx/>
                  <a:latin typeface="Arial Narrow"/>
                  <a:ea typeface="+mn-ea"/>
                  <a:cs typeface="Arial"/>
                </a:rPr>
                <a:t> </a:t>
              </a:r>
              <a:r>
                <a:rPr kumimoji="0" lang="en-US" sz="3200" b="1" i="0" u="none" strike="noStrike" kern="1200" cap="none" spc="-5" normalizeH="0" baseline="0" noProof="0" dirty="0">
                  <a:ln>
                    <a:noFill/>
                  </a:ln>
                  <a:solidFill>
                    <a:srgbClr val="595959"/>
                  </a:solidFill>
                  <a:effectLst/>
                  <a:uLnTx/>
                  <a:uFillTx/>
                  <a:latin typeface="Arial Narrow"/>
                  <a:ea typeface="+mn-ea"/>
                  <a:cs typeface="Arial"/>
                </a:rPr>
                <a:t>panel test</a:t>
              </a:r>
              <a:endParaRPr kumimoji="0" lang="en-US" sz="3200" b="0" i="0" u="none" strike="noStrike" kern="1200" cap="none" spc="0" normalizeH="0" baseline="0" noProof="0" dirty="0">
                <a:ln>
                  <a:noFill/>
                </a:ln>
                <a:solidFill>
                  <a:srgbClr val="595959"/>
                </a:solidFill>
                <a:effectLst/>
                <a:uLnTx/>
                <a:uFillTx/>
                <a:latin typeface="Arial"/>
                <a:ea typeface="+mn-ea"/>
                <a:cs typeface="+mn-cs"/>
              </a:endParaRPr>
            </a:p>
          </p:txBody>
        </p:sp>
        <p:sp>
          <p:nvSpPr>
            <p:cNvPr id="17" name="Rectangle: Rounded Corners 248">
              <a:extLst>
                <a:ext uri="{FF2B5EF4-FFF2-40B4-BE49-F238E27FC236}">
                  <a16:creationId xmlns:a16="http://schemas.microsoft.com/office/drawing/2014/main" id="{15B2E539-330B-DE49-832E-75D1D583F1AC}"/>
                </a:ext>
              </a:extLst>
            </p:cNvPr>
            <p:cNvSpPr/>
            <p:nvPr/>
          </p:nvSpPr>
          <p:spPr>
            <a:xfrm>
              <a:off x="382758" y="1156049"/>
              <a:ext cx="5573542" cy="584879"/>
            </a:xfrm>
            <a:prstGeom prst="roundRect">
              <a:avLst>
                <a:gd name="adj" fmla="val 50000"/>
              </a:avLst>
            </a:prstGeom>
            <a:solidFill>
              <a:schemeClr val="accent1"/>
            </a:solidFill>
            <a:ln w="19050">
              <a:solidFill>
                <a:schemeClr val="accent1"/>
              </a:solidFill>
            </a:ln>
          </p:spPr>
          <p:style>
            <a:lnRef idx="0">
              <a:scrgbClr r="0" g="0" b="0"/>
            </a:lnRef>
            <a:fillRef idx="0">
              <a:scrgbClr r="0" g="0" b="0"/>
            </a:fillRef>
            <a:effectRef idx="0">
              <a:scrgbClr r="0" g="0" b="0"/>
            </a:effectRef>
            <a:fontRef idx="minor">
              <a:schemeClr val="lt1"/>
            </a:fontRef>
          </p:style>
          <p:txBody>
            <a:bodyPr lIns="71999" rIns="71999" anchor="ctr"/>
            <a:lstStyle/>
            <a:p>
              <a:pPr marL="0" marR="0" lvl="0" indent="0" algn="ctr" defTabSz="1219118" rtl="0" eaLnBrk="1" fontAlgn="auto" latinLnBrk="0" hangingPunct="1">
                <a:lnSpc>
                  <a:spcPct val="100000"/>
                </a:lnSpc>
                <a:spcBef>
                  <a:spcPts val="95"/>
                </a:spcBef>
                <a:spcAft>
                  <a:spcPts val="0"/>
                </a:spcAft>
                <a:buClrTx/>
                <a:buSzTx/>
                <a:buFontTx/>
                <a:buNone/>
                <a:tabLst/>
                <a:defRPr/>
              </a:pPr>
              <a:r>
                <a:rPr kumimoji="0" lang="en-US" sz="3200" b="1" i="0" u="none" strike="noStrike" kern="1200" cap="none" spc="-5" normalizeH="0" baseline="0" noProof="0" dirty="0">
                  <a:ln>
                    <a:noFill/>
                  </a:ln>
                  <a:solidFill>
                    <a:srgbClr val="FFFFFF"/>
                  </a:solidFill>
                  <a:effectLst/>
                  <a:uLnTx/>
                  <a:uFillTx/>
                  <a:latin typeface="Arial Narrow"/>
                  <a:ea typeface="+mn-ea"/>
                  <a:cs typeface="Arial"/>
                </a:rPr>
                <a:t>Look </a:t>
              </a:r>
              <a:r>
                <a:rPr kumimoji="0" lang="en-US" sz="3200" b="1" i="0" u="none" strike="noStrike" kern="1200" cap="none" spc="-11" normalizeH="0" baseline="0" noProof="0" dirty="0">
                  <a:ln>
                    <a:noFill/>
                  </a:ln>
                  <a:solidFill>
                    <a:srgbClr val="FFFFFF"/>
                  </a:solidFill>
                  <a:effectLst/>
                  <a:uLnTx/>
                  <a:uFillTx/>
                  <a:latin typeface="Arial Narrow"/>
                  <a:ea typeface="+mn-ea"/>
                  <a:cs typeface="Arial"/>
                </a:rPr>
                <a:t>for the </a:t>
              </a:r>
              <a:r>
                <a:rPr kumimoji="0" lang="en-US" sz="3200" b="1" i="1" u="none" strike="noStrike" kern="1200" cap="none" spc="-5" normalizeH="0" baseline="0" noProof="0" dirty="0">
                  <a:ln>
                    <a:noFill/>
                  </a:ln>
                  <a:solidFill>
                    <a:srgbClr val="FFFFFF"/>
                  </a:solidFill>
                  <a:effectLst/>
                  <a:uLnTx/>
                  <a:uFillTx/>
                  <a:latin typeface="Arial Narrow"/>
                  <a:ea typeface="+mn-ea"/>
                  <a:cs typeface="Arial"/>
                </a:rPr>
                <a:t>cause </a:t>
              </a:r>
              <a:r>
                <a:rPr kumimoji="0" lang="en-US" sz="3200" b="1" i="0" u="none" strike="noStrike" kern="1200" cap="none" spc="-5" normalizeH="0" baseline="0" noProof="0" dirty="0">
                  <a:ln>
                    <a:noFill/>
                  </a:ln>
                  <a:solidFill>
                    <a:srgbClr val="FFFFFF"/>
                  </a:solidFill>
                  <a:effectLst/>
                  <a:uLnTx/>
                  <a:uFillTx/>
                  <a:latin typeface="Arial Narrow"/>
                  <a:ea typeface="+mn-ea"/>
                  <a:cs typeface="Arial"/>
                </a:rPr>
                <a:t>of</a:t>
              </a:r>
              <a:r>
                <a:rPr kumimoji="0" lang="en-US" sz="3200" b="1" i="0" u="none" strike="noStrike" kern="1200" cap="none" spc="-55" normalizeH="0" baseline="0" noProof="0" dirty="0">
                  <a:ln>
                    <a:noFill/>
                  </a:ln>
                  <a:solidFill>
                    <a:srgbClr val="FFFFFF"/>
                  </a:solidFill>
                  <a:effectLst/>
                  <a:uLnTx/>
                  <a:uFillTx/>
                  <a:latin typeface="Arial Narrow"/>
                  <a:ea typeface="+mn-ea"/>
                  <a:cs typeface="Arial"/>
                </a:rPr>
                <a:t> </a:t>
              </a:r>
              <a:r>
                <a:rPr kumimoji="0" lang="en-US" sz="3200" b="1" i="0" u="none" strike="noStrike" kern="1200" cap="none" spc="-5" normalizeH="0" baseline="0" noProof="0" dirty="0">
                  <a:ln>
                    <a:noFill/>
                  </a:ln>
                  <a:solidFill>
                    <a:srgbClr val="FFFFFF"/>
                  </a:solidFill>
                  <a:effectLst/>
                  <a:uLnTx/>
                  <a:uFillTx/>
                  <a:latin typeface="Arial Narrow"/>
                  <a:ea typeface="+mn-ea"/>
                  <a:cs typeface="Arial"/>
                </a:rPr>
                <a:t>HRD</a:t>
              </a:r>
              <a:endParaRPr kumimoji="0" lang="en-US" sz="3200" b="0" i="0" u="none" strike="noStrike" kern="0" cap="none" spc="0" normalizeH="0" baseline="0" noProof="0" dirty="0">
                <a:ln>
                  <a:noFill/>
                </a:ln>
                <a:solidFill>
                  <a:prstClr val="black"/>
                </a:solidFill>
                <a:effectLst/>
                <a:uLnTx/>
                <a:uFillTx/>
                <a:latin typeface="Arial Narrow"/>
                <a:ea typeface="+mn-ea"/>
                <a:cs typeface="+mn-cs"/>
              </a:endParaRPr>
            </a:p>
          </p:txBody>
        </p:sp>
      </p:grpSp>
      <p:sp>
        <p:nvSpPr>
          <p:cNvPr id="21" name="Rectangle: Rounded Corners 245">
            <a:extLst>
              <a:ext uri="{FF2B5EF4-FFF2-40B4-BE49-F238E27FC236}">
                <a16:creationId xmlns:a16="http://schemas.microsoft.com/office/drawing/2014/main" id="{B5EE5140-D2A9-4156-AFF3-EFC2250A2EB4}"/>
              </a:ext>
            </a:extLst>
          </p:cNvPr>
          <p:cNvSpPr/>
          <p:nvPr/>
        </p:nvSpPr>
        <p:spPr>
          <a:xfrm>
            <a:off x="6467551" y="1235233"/>
            <a:ext cx="4989992" cy="1610047"/>
          </a:xfrm>
          <a:prstGeom prst="roundRect">
            <a:avLst>
              <a:gd name="adj" fmla="val 0"/>
            </a:avLst>
          </a:prstGeom>
          <a:solidFill>
            <a:schemeClr val="bg1"/>
          </a:solidFill>
          <a:ln w="190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215995" bIns="46799" anchor="ctr"/>
          <a:lstStyle>
            <a:lvl1pPr defTabSz="1343025">
              <a:defRPr sz="2400">
                <a:solidFill>
                  <a:schemeClr val="tx1"/>
                </a:solidFill>
                <a:latin typeface="Times New Roman" panose="02020603050405020304" pitchFamily="18" charset="0"/>
                <a:ea typeface="ＭＳ Ｐゴシック" panose="020B0600070205080204" pitchFamily="34" charset="-128"/>
              </a:defRPr>
            </a:lvl1pPr>
            <a:lvl2pPr defTabSz="1343025">
              <a:defRPr sz="2400">
                <a:solidFill>
                  <a:schemeClr val="tx1"/>
                </a:solidFill>
                <a:latin typeface="Times New Roman" panose="02020603050405020304" pitchFamily="18" charset="0"/>
                <a:ea typeface="ＭＳ Ｐゴシック" panose="020B0600070205080204" pitchFamily="34" charset="-128"/>
              </a:defRPr>
            </a:lvl2pPr>
            <a:lvl3pPr defTabSz="1343025">
              <a:defRPr sz="2400">
                <a:solidFill>
                  <a:schemeClr val="tx1"/>
                </a:solidFill>
                <a:latin typeface="Times New Roman" panose="02020603050405020304" pitchFamily="18" charset="0"/>
                <a:ea typeface="ＭＳ Ｐゴシック" panose="020B0600070205080204" pitchFamily="34" charset="-128"/>
              </a:defRPr>
            </a:lvl3pPr>
            <a:lvl4pPr defTabSz="1343025">
              <a:defRPr sz="2400">
                <a:solidFill>
                  <a:schemeClr val="tx1"/>
                </a:solidFill>
                <a:latin typeface="Times New Roman" panose="02020603050405020304" pitchFamily="18" charset="0"/>
                <a:ea typeface="ＭＳ Ｐゴシック" panose="020B0600070205080204" pitchFamily="34" charset="-128"/>
              </a:defRPr>
            </a:lvl4pPr>
            <a:lvl5pPr defTabSz="1343025">
              <a:defRPr sz="2400">
                <a:solidFill>
                  <a:schemeClr val="tx1"/>
                </a:solidFill>
                <a:latin typeface="Times New Roman" panose="02020603050405020304" pitchFamily="18" charset="0"/>
                <a:ea typeface="ＭＳ Ｐゴシック" panose="020B0600070205080204" pitchFamily="34" charset="-128"/>
              </a:defRPr>
            </a:lvl5pPr>
            <a:lvl6pPr marL="1531938" indent="-211138" defTabSz="1343025"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1989138" indent="-211138" defTabSz="1343025"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2446338" indent="-211138" defTabSz="1343025"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2903538" indent="-211138" defTabSz="1343025"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marL="0" marR="0" lvl="0" indent="0" algn="ctr" defTabSz="1218332" rtl="0" eaLnBrk="1" fontAlgn="base" latinLnBrk="0" hangingPunct="1">
              <a:lnSpc>
                <a:spcPct val="100000"/>
              </a:lnSpc>
              <a:spcBef>
                <a:spcPct val="0"/>
              </a:spcBef>
              <a:spcAft>
                <a:spcPts val="295"/>
              </a:spcAft>
              <a:buClrTx/>
              <a:buSzTx/>
              <a:buFontTx/>
              <a:buNone/>
              <a:tabLst/>
              <a:defRPr/>
            </a:pPr>
            <a:r>
              <a:rPr kumimoji="0" lang="en-US" sz="1996" b="1" i="0" u="none" strike="noStrike" kern="1200" cap="none" spc="0" normalizeH="0" baseline="0" noProof="0" dirty="0">
                <a:ln>
                  <a:noFill/>
                </a:ln>
                <a:solidFill>
                  <a:srgbClr val="595959"/>
                </a:solidFill>
                <a:effectLst/>
                <a:uLnTx/>
                <a:uFillTx/>
                <a:latin typeface="Arial Narrow" panose="020B0606020202030204" pitchFamily="34" charset="0"/>
                <a:ea typeface="ＭＳ Ｐゴシック" panose="020B0600070205080204" pitchFamily="34" charset="-128"/>
                <a:cs typeface="Arial" panose="020B0604020202020204" pitchFamily="34" charset="0"/>
              </a:rPr>
              <a:t>Genomic instability test:</a:t>
            </a:r>
          </a:p>
          <a:p>
            <a:pPr marL="0" marR="0" lvl="0" indent="0" algn="ctr" defTabSz="1218332" rtl="0" eaLnBrk="1" fontAlgn="base" latinLnBrk="0" hangingPunct="1">
              <a:lnSpc>
                <a:spcPct val="100000"/>
              </a:lnSpc>
              <a:spcBef>
                <a:spcPct val="0"/>
              </a:spcBef>
              <a:spcAft>
                <a:spcPts val="295"/>
              </a:spcAft>
              <a:buClrTx/>
              <a:buSzTx/>
              <a:buFontTx/>
              <a:buNone/>
              <a:tabLst/>
              <a:defRPr/>
            </a:pPr>
            <a:r>
              <a:rPr kumimoji="0" lang="en-US" sz="1543" b="0" i="0" u="none" strike="noStrike" kern="1200" cap="none" spc="0" normalizeH="0" baseline="0" noProof="0" dirty="0">
                <a:ln>
                  <a:noFill/>
                </a:ln>
                <a:solidFill>
                  <a:srgbClr val="595959"/>
                </a:solidFill>
                <a:effectLst/>
                <a:uLnTx/>
                <a:uFillTx/>
                <a:latin typeface="Arial Narrow" panose="020B0606020202030204" pitchFamily="34" charset="0"/>
                <a:ea typeface="ＭＳ Ｐゴシック" panose="020B0600070205080204" pitchFamily="34" charset="-128"/>
                <a:cs typeface="Arial" panose="020B0604020202020204" pitchFamily="34" charset="0"/>
              </a:rPr>
              <a:t>Loss of heterozygosity (LOH)</a:t>
            </a:r>
          </a:p>
          <a:p>
            <a:pPr marL="0" marR="0" lvl="0" indent="0" algn="ctr" defTabSz="1218332" rtl="0" eaLnBrk="1" fontAlgn="base" latinLnBrk="0" hangingPunct="1">
              <a:lnSpc>
                <a:spcPct val="100000"/>
              </a:lnSpc>
              <a:spcBef>
                <a:spcPct val="0"/>
              </a:spcBef>
              <a:spcAft>
                <a:spcPts val="295"/>
              </a:spcAft>
              <a:buClrTx/>
              <a:buSzTx/>
              <a:buFontTx/>
              <a:buNone/>
              <a:tabLst/>
              <a:defRPr/>
            </a:pPr>
            <a:r>
              <a:rPr kumimoji="0" lang="en-US" sz="1543" b="0" i="0" u="none" strike="noStrike" kern="1200" cap="none" spc="0" normalizeH="0" baseline="0" noProof="0" dirty="0">
                <a:ln>
                  <a:noFill/>
                </a:ln>
                <a:solidFill>
                  <a:srgbClr val="595959"/>
                </a:solidFill>
                <a:effectLst/>
                <a:uLnTx/>
                <a:uFillTx/>
                <a:latin typeface="Arial Narrow" panose="020B0606020202030204" pitchFamily="34" charset="0"/>
                <a:ea typeface="ＭＳ Ｐゴシック" panose="020B0600070205080204" pitchFamily="34" charset="-128"/>
                <a:cs typeface="Arial" panose="020B0604020202020204" pitchFamily="34" charset="0"/>
              </a:rPr>
              <a:t>Telomeric allelic imbalance (TAI)</a:t>
            </a:r>
          </a:p>
          <a:p>
            <a:pPr marL="0" marR="0" lvl="0" indent="0" algn="ctr" defTabSz="1218332" rtl="0" eaLnBrk="1" fontAlgn="base" latinLnBrk="0" hangingPunct="1">
              <a:lnSpc>
                <a:spcPct val="100000"/>
              </a:lnSpc>
              <a:spcBef>
                <a:spcPct val="0"/>
              </a:spcBef>
              <a:spcAft>
                <a:spcPts val="295"/>
              </a:spcAft>
              <a:buClrTx/>
              <a:buSzTx/>
              <a:buFontTx/>
              <a:buNone/>
              <a:tabLst/>
              <a:defRPr/>
            </a:pPr>
            <a:r>
              <a:rPr kumimoji="0" lang="en-US" sz="1543" b="0" i="0" u="none" strike="noStrike" kern="1200" cap="none" spc="0" normalizeH="0" baseline="0" noProof="0" dirty="0">
                <a:ln>
                  <a:noFill/>
                </a:ln>
                <a:solidFill>
                  <a:srgbClr val="595959"/>
                </a:solidFill>
                <a:effectLst/>
                <a:uLnTx/>
                <a:uFillTx/>
                <a:latin typeface="Arial Narrow" panose="020B0606020202030204" pitchFamily="34" charset="0"/>
                <a:ea typeface="ＭＳ Ｐゴシック" panose="020B0600070205080204" pitchFamily="34" charset="-128"/>
                <a:cs typeface="Arial" panose="020B0604020202020204" pitchFamily="34" charset="0"/>
              </a:rPr>
              <a:t>Large-scale state transitions (LST)</a:t>
            </a:r>
            <a:endParaRPr kumimoji="0" lang="en-US" sz="1724" b="0" i="0" u="none" strike="noStrike" kern="1200" cap="none" spc="0" normalizeH="0" baseline="0" noProof="0" dirty="0">
              <a:ln>
                <a:noFill/>
              </a:ln>
              <a:solidFill>
                <a:srgbClr val="595959"/>
              </a:solidFill>
              <a:effectLst/>
              <a:uLnTx/>
              <a:uFillTx/>
              <a:latin typeface="Arial" panose="020B0604020202020204" pitchFamily="34" charset="0"/>
              <a:ea typeface="ＭＳ Ｐゴシック" panose="020B0600070205080204" pitchFamily="34" charset="-128"/>
              <a:cs typeface="+mn-cs"/>
            </a:endParaRPr>
          </a:p>
        </p:txBody>
      </p:sp>
      <p:sp>
        <p:nvSpPr>
          <p:cNvPr id="22" name="Rectangle: Rounded Corners 248">
            <a:extLst>
              <a:ext uri="{FF2B5EF4-FFF2-40B4-BE49-F238E27FC236}">
                <a16:creationId xmlns:a16="http://schemas.microsoft.com/office/drawing/2014/main" id="{D5974EB2-82F8-4301-888C-4CBE46560477}"/>
              </a:ext>
            </a:extLst>
          </p:cNvPr>
          <p:cNvSpPr/>
          <p:nvPr/>
        </p:nvSpPr>
        <p:spPr>
          <a:xfrm>
            <a:off x="6476191" y="971692"/>
            <a:ext cx="4981352" cy="521321"/>
          </a:xfrm>
          <a:prstGeom prst="roundRect">
            <a:avLst>
              <a:gd name="adj" fmla="val 50000"/>
            </a:avLst>
          </a:prstGeom>
          <a:solidFill>
            <a:schemeClr val="accent2"/>
          </a:solidFill>
          <a:ln w="19050">
            <a:solidFill>
              <a:schemeClr val="accent2"/>
            </a:solidFill>
          </a:ln>
        </p:spPr>
        <p:style>
          <a:lnRef idx="0">
            <a:scrgbClr r="0" g="0" b="0"/>
          </a:lnRef>
          <a:fillRef idx="0">
            <a:scrgbClr r="0" g="0" b="0"/>
          </a:fillRef>
          <a:effectRef idx="0">
            <a:scrgbClr r="0" g="0" b="0"/>
          </a:effectRef>
          <a:fontRef idx="minor">
            <a:schemeClr val="lt1"/>
          </a:fontRef>
        </p:style>
        <p:txBody>
          <a:bodyPr lIns="71999" rIns="71999" anchor="ctr"/>
          <a:lstStyle/>
          <a:p>
            <a:pPr marL="0" marR="0" lvl="0" indent="0" algn="ctr" defTabSz="1219118" rtl="0" eaLnBrk="1" fontAlgn="auto" latinLnBrk="0" hangingPunct="1">
              <a:lnSpc>
                <a:spcPct val="100000"/>
              </a:lnSpc>
              <a:spcBef>
                <a:spcPts val="95"/>
              </a:spcBef>
              <a:spcAft>
                <a:spcPts val="0"/>
              </a:spcAft>
              <a:buClrTx/>
              <a:buSzTx/>
              <a:buFontTx/>
              <a:buNone/>
              <a:tabLst/>
              <a:defRPr/>
            </a:pPr>
            <a:r>
              <a:rPr kumimoji="0" lang="en-US" sz="3200" b="1" i="0" u="none" strike="noStrike" kern="1200" cap="none" spc="-5" normalizeH="0" baseline="0" noProof="0" dirty="0">
                <a:ln>
                  <a:noFill/>
                </a:ln>
                <a:solidFill>
                  <a:srgbClr val="FFFFFF"/>
                </a:solidFill>
                <a:effectLst/>
                <a:uLnTx/>
                <a:uFillTx/>
                <a:latin typeface="Arial Narrow"/>
                <a:ea typeface="+mn-ea"/>
                <a:cs typeface="Arial"/>
              </a:rPr>
              <a:t>Look </a:t>
            </a:r>
            <a:r>
              <a:rPr kumimoji="0" lang="en-US" sz="3200" b="1" i="0" u="none" strike="noStrike" kern="1200" cap="none" spc="-11" normalizeH="0" baseline="0" noProof="0" dirty="0">
                <a:ln>
                  <a:noFill/>
                </a:ln>
                <a:solidFill>
                  <a:srgbClr val="FFFFFF"/>
                </a:solidFill>
                <a:effectLst/>
                <a:uLnTx/>
                <a:uFillTx/>
                <a:latin typeface="Arial Narrow"/>
                <a:ea typeface="+mn-ea"/>
                <a:cs typeface="Arial"/>
              </a:rPr>
              <a:t>for the </a:t>
            </a:r>
            <a:r>
              <a:rPr kumimoji="0" lang="en-US" sz="3200" b="1" i="1" u="none" strike="noStrike" kern="1200" cap="none" spc="-5" normalizeH="0" baseline="0" noProof="0" dirty="0">
                <a:ln>
                  <a:noFill/>
                </a:ln>
                <a:solidFill>
                  <a:srgbClr val="FFFFFF"/>
                </a:solidFill>
                <a:effectLst/>
                <a:uLnTx/>
                <a:uFillTx/>
                <a:latin typeface="Arial Narrow"/>
                <a:ea typeface="+mn-ea"/>
                <a:cs typeface="Arial"/>
              </a:rPr>
              <a:t>effect </a:t>
            </a:r>
            <a:r>
              <a:rPr kumimoji="0" lang="en-US" sz="3200" b="1" i="0" u="none" strike="noStrike" kern="1200" cap="none" spc="-5" normalizeH="0" baseline="0" noProof="0" dirty="0">
                <a:ln>
                  <a:noFill/>
                </a:ln>
                <a:solidFill>
                  <a:srgbClr val="FFFFFF"/>
                </a:solidFill>
                <a:effectLst/>
                <a:uLnTx/>
                <a:uFillTx/>
                <a:latin typeface="Arial Narrow"/>
                <a:ea typeface="+mn-ea"/>
                <a:cs typeface="Arial"/>
              </a:rPr>
              <a:t>of</a:t>
            </a:r>
            <a:r>
              <a:rPr kumimoji="0" lang="en-US" sz="3200" b="1" i="0" u="none" strike="noStrike" kern="1200" cap="none" spc="-55" normalizeH="0" baseline="0" noProof="0" dirty="0">
                <a:ln>
                  <a:noFill/>
                </a:ln>
                <a:solidFill>
                  <a:srgbClr val="FFFFFF"/>
                </a:solidFill>
                <a:effectLst/>
                <a:uLnTx/>
                <a:uFillTx/>
                <a:latin typeface="Arial Narrow"/>
                <a:ea typeface="+mn-ea"/>
                <a:cs typeface="Arial"/>
              </a:rPr>
              <a:t> </a:t>
            </a:r>
            <a:r>
              <a:rPr kumimoji="0" lang="en-US" sz="3200" b="1" i="0" u="none" strike="noStrike" kern="1200" cap="none" spc="-5" normalizeH="0" baseline="0" noProof="0" dirty="0">
                <a:ln>
                  <a:noFill/>
                </a:ln>
                <a:solidFill>
                  <a:srgbClr val="FFFFFF"/>
                </a:solidFill>
                <a:effectLst/>
                <a:uLnTx/>
                <a:uFillTx/>
                <a:latin typeface="Arial Narrow"/>
                <a:ea typeface="+mn-ea"/>
                <a:cs typeface="Arial"/>
              </a:rPr>
              <a:t>HRD</a:t>
            </a:r>
            <a:endParaRPr kumimoji="0" lang="en-US" sz="3200" b="0" i="0" u="none" strike="noStrike" kern="0" cap="none" spc="0" normalizeH="0" baseline="0" noProof="0" dirty="0">
              <a:ln>
                <a:noFill/>
              </a:ln>
              <a:solidFill>
                <a:srgbClr val="FFFFFF"/>
              </a:solidFill>
              <a:effectLst/>
              <a:uLnTx/>
              <a:uFillTx/>
              <a:latin typeface="Arial Narrow"/>
              <a:ea typeface="+mn-ea"/>
              <a:cs typeface="+mn-cs"/>
            </a:endParaRPr>
          </a:p>
        </p:txBody>
      </p:sp>
      <p:sp>
        <p:nvSpPr>
          <p:cNvPr id="5" name="TextBox 4">
            <a:extLst>
              <a:ext uri="{FF2B5EF4-FFF2-40B4-BE49-F238E27FC236}">
                <a16:creationId xmlns:a16="http://schemas.microsoft.com/office/drawing/2014/main" id="{D3F45B2E-063D-4A95-9D97-41FD3282185D}"/>
              </a:ext>
            </a:extLst>
          </p:cNvPr>
          <p:cNvSpPr txBox="1"/>
          <p:nvPr/>
        </p:nvSpPr>
        <p:spPr>
          <a:xfrm>
            <a:off x="8279213" y="3039692"/>
            <a:ext cx="1342187" cy="462277"/>
          </a:xfrm>
          <a:prstGeom prst="roundRect">
            <a:avLst>
              <a:gd name="adj" fmla="val 50000"/>
            </a:avLst>
          </a:prstGeom>
          <a:solidFill>
            <a:schemeClr val="accent2"/>
          </a:solidFill>
        </p:spPr>
        <p:txBody>
          <a:bodyPr anchor="ctr"/>
          <a:lstStyle/>
          <a:p>
            <a:pPr marL="0" marR="0" lvl="0" indent="0" algn="ctr" defTabSz="457179"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srgbClr val="FFFFFF"/>
                </a:solidFill>
                <a:effectLst/>
                <a:uLnTx/>
                <a:uFillTx/>
                <a:latin typeface="Arial Narrow" panose="020B0606020202030204" pitchFamily="34" charset="0"/>
                <a:ea typeface="ＭＳ Ｐゴシック" panose="020B0600070205080204" pitchFamily="34" charset="-128"/>
                <a:cs typeface="+mn-cs"/>
              </a:rPr>
              <a:t>Effect</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7" name="Rectangle: Rounded Corners 56">
            <a:extLst>
              <a:ext uri="{FF2B5EF4-FFF2-40B4-BE49-F238E27FC236}">
                <a16:creationId xmlns:a16="http://schemas.microsoft.com/office/drawing/2014/main" id="{15E32C75-CCA9-4E18-A12F-918BF3919256}"/>
              </a:ext>
            </a:extLst>
          </p:cNvPr>
          <p:cNvSpPr/>
          <p:nvPr/>
        </p:nvSpPr>
        <p:spPr>
          <a:xfrm>
            <a:off x="371476" y="1128956"/>
            <a:ext cx="11449051" cy="5175131"/>
          </a:xfrm>
          <a:prstGeom prst="roundRect">
            <a:avLst>
              <a:gd name="adj" fmla="val 0"/>
            </a:avLst>
          </a:prstGeom>
          <a:gradFill>
            <a:gsLst>
              <a:gs pos="0">
                <a:schemeClr val="bg1">
                  <a:lumMod val="95000"/>
                  <a:alpha val="80000"/>
                </a:schemeClr>
              </a:gs>
              <a:gs pos="100000">
                <a:schemeClr val="bg1">
                  <a:lumMod val="85000"/>
                  <a:alpha val="80000"/>
                </a:schemeClr>
              </a:gs>
            </a:gsLst>
            <a:lin ang="5400000" scaled="0"/>
          </a:gradFill>
          <a:ln w="190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22C5D"/>
              </a:solidFill>
              <a:effectLst/>
              <a:uLnTx/>
              <a:uFillTx/>
              <a:latin typeface="Arial Narrow" panose="020B0606020202030204" pitchFamily="34" charset="0"/>
              <a:ea typeface="+mn-ea"/>
              <a:cs typeface="+mn-cs"/>
            </a:endParaRPr>
          </a:p>
        </p:txBody>
      </p:sp>
      <p:sp>
        <p:nvSpPr>
          <p:cNvPr id="18" name="Freeform 17">
            <a:extLst>
              <a:ext uri="{FF2B5EF4-FFF2-40B4-BE49-F238E27FC236}">
                <a16:creationId xmlns:a16="http://schemas.microsoft.com/office/drawing/2014/main" id="{76C698DD-D29B-D949-908B-86EA04E87A38}"/>
              </a:ext>
            </a:extLst>
          </p:cNvPr>
          <p:cNvSpPr/>
          <p:nvPr/>
        </p:nvSpPr>
        <p:spPr>
          <a:xfrm>
            <a:off x="7881259" y="2116186"/>
            <a:ext cx="1428207" cy="505097"/>
          </a:xfrm>
          <a:custGeom>
            <a:avLst/>
            <a:gdLst>
              <a:gd name="connsiteX0" fmla="*/ 0 w 1428206"/>
              <a:gd name="connsiteY0" fmla="*/ 0 h 505097"/>
              <a:gd name="connsiteX1" fmla="*/ 1428206 w 1428206"/>
              <a:gd name="connsiteY1" fmla="*/ 0 h 505097"/>
              <a:gd name="connsiteX2" fmla="*/ 1428206 w 1428206"/>
              <a:gd name="connsiteY2" fmla="*/ 104503 h 505097"/>
              <a:gd name="connsiteX3" fmla="*/ 1428206 w 1428206"/>
              <a:gd name="connsiteY3" fmla="*/ 505097 h 505097"/>
            </a:gdLst>
            <a:ahLst/>
            <a:cxnLst>
              <a:cxn ang="0">
                <a:pos x="connsiteX0" y="connsiteY0"/>
              </a:cxn>
              <a:cxn ang="0">
                <a:pos x="connsiteX1" y="connsiteY1"/>
              </a:cxn>
              <a:cxn ang="0">
                <a:pos x="connsiteX2" y="connsiteY2"/>
              </a:cxn>
              <a:cxn ang="0">
                <a:pos x="connsiteX3" y="connsiteY3"/>
              </a:cxn>
            </a:cxnLst>
            <a:rect l="l" t="t" r="r" b="b"/>
            <a:pathLst>
              <a:path w="1428206" h="505097">
                <a:moveTo>
                  <a:pt x="0" y="0"/>
                </a:moveTo>
                <a:lnTo>
                  <a:pt x="1428206" y="0"/>
                </a:lnTo>
                <a:lnTo>
                  <a:pt x="1428206" y="104503"/>
                </a:lnTo>
                <a:lnTo>
                  <a:pt x="1428206" y="505097"/>
                </a:lnTo>
              </a:path>
            </a:pathLst>
          </a:cu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 name="Freeform 59">
            <a:extLst>
              <a:ext uri="{FF2B5EF4-FFF2-40B4-BE49-F238E27FC236}">
                <a16:creationId xmlns:a16="http://schemas.microsoft.com/office/drawing/2014/main" id="{F865A07F-C272-FC48-B8AC-C54EB8F36AA5}"/>
              </a:ext>
            </a:extLst>
          </p:cNvPr>
          <p:cNvSpPr/>
          <p:nvPr/>
        </p:nvSpPr>
        <p:spPr>
          <a:xfrm flipH="1">
            <a:off x="2605441" y="2116186"/>
            <a:ext cx="1706091" cy="505097"/>
          </a:xfrm>
          <a:custGeom>
            <a:avLst/>
            <a:gdLst>
              <a:gd name="connsiteX0" fmla="*/ 0 w 1428206"/>
              <a:gd name="connsiteY0" fmla="*/ 0 h 505097"/>
              <a:gd name="connsiteX1" fmla="*/ 1428206 w 1428206"/>
              <a:gd name="connsiteY1" fmla="*/ 0 h 505097"/>
              <a:gd name="connsiteX2" fmla="*/ 1428206 w 1428206"/>
              <a:gd name="connsiteY2" fmla="*/ 104503 h 505097"/>
              <a:gd name="connsiteX3" fmla="*/ 1428206 w 1428206"/>
              <a:gd name="connsiteY3" fmla="*/ 505097 h 505097"/>
            </a:gdLst>
            <a:ahLst/>
            <a:cxnLst>
              <a:cxn ang="0">
                <a:pos x="connsiteX0" y="connsiteY0"/>
              </a:cxn>
              <a:cxn ang="0">
                <a:pos x="connsiteX1" y="connsiteY1"/>
              </a:cxn>
              <a:cxn ang="0">
                <a:pos x="connsiteX2" y="connsiteY2"/>
              </a:cxn>
              <a:cxn ang="0">
                <a:pos x="connsiteX3" y="connsiteY3"/>
              </a:cxn>
            </a:cxnLst>
            <a:rect l="l" t="t" r="r" b="b"/>
            <a:pathLst>
              <a:path w="1428206" h="505097">
                <a:moveTo>
                  <a:pt x="0" y="0"/>
                </a:moveTo>
                <a:lnTo>
                  <a:pt x="1428206" y="0"/>
                </a:lnTo>
                <a:lnTo>
                  <a:pt x="1428206" y="104503"/>
                </a:lnTo>
                <a:lnTo>
                  <a:pt x="1428206" y="505097"/>
                </a:lnTo>
              </a:path>
            </a:pathLst>
          </a:cu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12BB2B19-A236-3B47-B25E-BD575537D3F0}"/>
              </a:ext>
            </a:extLst>
          </p:cNvPr>
          <p:cNvSpPr/>
          <p:nvPr/>
        </p:nvSpPr>
        <p:spPr>
          <a:xfrm>
            <a:off x="4625621" y="2743877"/>
            <a:ext cx="6390723" cy="3378251"/>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0AD8919C-F240-FC45-A452-5524115C6940}"/>
              </a:ext>
            </a:extLst>
          </p:cNvPr>
          <p:cNvSpPr/>
          <p:nvPr/>
        </p:nvSpPr>
        <p:spPr>
          <a:xfrm>
            <a:off x="1281531" y="2743877"/>
            <a:ext cx="2609239" cy="3378251"/>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B8DD384B-5CCF-8F45-BBDD-6915BB8F3091}"/>
              </a:ext>
            </a:extLst>
          </p:cNvPr>
          <p:cNvSpPr>
            <a:spLocks noGrp="1"/>
          </p:cNvSpPr>
          <p:nvPr>
            <p:ph type="title"/>
          </p:nvPr>
        </p:nvSpPr>
        <p:spPr>
          <a:xfrm>
            <a:off x="592283" y="132517"/>
            <a:ext cx="10880055" cy="828675"/>
          </a:xfrm>
        </p:spPr>
        <p:txBody>
          <a:bodyPr>
            <a:noAutofit/>
          </a:bodyPr>
          <a:lstStyle/>
          <a:p>
            <a:r>
              <a:rPr lang="en-US" sz="2400" dirty="0"/>
              <a:t>Clinically validated methods to detect HRD in newly diagnosed ovarian cancer require </a:t>
            </a:r>
            <a:r>
              <a:rPr lang="en-US" sz="2400" i="1" dirty="0"/>
              <a:t>BRCA </a:t>
            </a:r>
            <a:r>
              <a:rPr lang="en-US" sz="2400" dirty="0"/>
              <a:t>mutations testing </a:t>
            </a:r>
            <a:r>
              <a:rPr lang="en-US" sz="2400" u="sng" dirty="0"/>
              <a:t>and</a:t>
            </a:r>
            <a:r>
              <a:rPr lang="en-US" sz="2400" dirty="0"/>
              <a:t> scoring of genomic instability</a:t>
            </a:r>
          </a:p>
        </p:txBody>
      </p:sp>
      <p:sp>
        <p:nvSpPr>
          <p:cNvPr id="30" name="Text Placeholder 29">
            <a:extLst>
              <a:ext uri="{FF2B5EF4-FFF2-40B4-BE49-F238E27FC236}">
                <a16:creationId xmlns:a16="http://schemas.microsoft.com/office/drawing/2014/main" id="{D2D5255E-5145-4E0C-AF81-12C55075A99A}"/>
              </a:ext>
            </a:extLst>
          </p:cNvPr>
          <p:cNvSpPr>
            <a:spLocks noGrp="1"/>
          </p:cNvSpPr>
          <p:nvPr>
            <p:ph type="body" sz="quarter" idx="14"/>
          </p:nvPr>
        </p:nvSpPr>
        <p:spPr>
          <a:xfrm>
            <a:off x="3068139" y="6276138"/>
            <a:ext cx="12191999" cy="278332"/>
          </a:xfrm>
        </p:spPr>
        <p:txBody>
          <a:bodyPr>
            <a:normAutofit fontScale="55000" lnSpcReduction="20000"/>
          </a:bodyPr>
          <a:lstStyle/>
          <a:p>
            <a:pPr marL="0" indent="0">
              <a:buNone/>
            </a:pPr>
            <a:r>
              <a:rPr lang="en-US" i="1" dirty="0"/>
              <a:t>BRCA</a:t>
            </a:r>
            <a:r>
              <a:rPr lang="en-US" dirty="0"/>
              <a:t>, breast cancer gene; DNA, deoxyribonucleic acid; FFPE, formalin fixed paraffin embedded; HRD, homologous recombination deficiency; LOH, loss of heterozygosity; LST, large-scale state transitions; TAI, telomeric allelic imbalance</a:t>
            </a:r>
            <a:br>
              <a:rPr lang="en-US" dirty="0"/>
            </a:br>
            <a:r>
              <a:rPr lang="en-US" dirty="0"/>
              <a:t>Myriad </a:t>
            </a:r>
            <a:r>
              <a:rPr lang="en-US" dirty="0" err="1"/>
              <a:t>myChoice</a:t>
            </a:r>
            <a:r>
              <a:rPr lang="en-US" baseline="30000" dirty="0"/>
              <a:t>®</a:t>
            </a:r>
            <a:r>
              <a:rPr lang="en-US" dirty="0"/>
              <a:t> HRD Technical Specifications. Available at: https://myriad-web.s3.amazonaws.com/</a:t>
            </a:r>
            <a:r>
              <a:rPr lang="en-US" dirty="0" err="1"/>
              <a:t>myChoice</a:t>
            </a:r>
            <a:r>
              <a:rPr lang="en-US" dirty="0"/>
              <a:t>/downloads/</a:t>
            </a:r>
            <a:r>
              <a:rPr lang="en-US" dirty="0" err="1"/>
              <a:t>myChoiceHRDTechSpecs.pdf</a:t>
            </a:r>
            <a:r>
              <a:rPr lang="en-US" dirty="0"/>
              <a:t>. Accessed 18 August 2020</a:t>
            </a:r>
          </a:p>
        </p:txBody>
      </p:sp>
      <p:sp>
        <p:nvSpPr>
          <p:cNvPr id="24" name="TextBox 23">
            <a:extLst>
              <a:ext uri="{FF2B5EF4-FFF2-40B4-BE49-F238E27FC236}">
                <a16:creationId xmlns:a16="http://schemas.microsoft.com/office/drawing/2014/main" id="{44EB4A54-20D8-4B48-B308-2C8FE3961E07}"/>
              </a:ext>
            </a:extLst>
          </p:cNvPr>
          <p:cNvSpPr txBox="1"/>
          <p:nvPr/>
        </p:nvSpPr>
        <p:spPr>
          <a:xfrm flipH="1">
            <a:off x="1276764" y="2514072"/>
            <a:ext cx="2614009" cy="429768"/>
          </a:xfrm>
          <a:prstGeom prst="roundRect">
            <a:avLst>
              <a:gd name="adj" fmla="val 50000"/>
            </a:avLst>
          </a:prstGeom>
          <a:solidFill>
            <a:schemeClr val="accent1"/>
          </a:solidFill>
        </p:spPr>
        <p:txBody>
          <a:bodyPr wrap="square" tIns="0" bIns="0" rtlCol="0" anchor="ctr">
            <a:no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effectLst/>
                <a:uLnTx/>
                <a:uFillTx/>
                <a:latin typeface="Arial Narrow" panose="020B0606020202030204" pitchFamily="34" charset="0"/>
                <a:ea typeface="+mn-ea"/>
                <a:cs typeface="+mn-cs"/>
              </a:rPr>
              <a:t>Tumour</a:t>
            </a:r>
            <a:r>
              <a:rPr kumimoji="0" lang="en-US" sz="18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 </a:t>
            </a:r>
            <a:r>
              <a:rPr kumimoji="0" lang="en-US" sz="1800" b="1" i="1"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BRCA</a:t>
            </a:r>
            <a:r>
              <a:rPr kumimoji="0" lang="en-US" sz="18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 mutation</a:t>
            </a:r>
          </a:p>
        </p:txBody>
      </p:sp>
      <p:sp>
        <p:nvSpPr>
          <p:cNvPr id="25" name="TextBox 24">
            <a:extLst>
              <a:ext uri="{FF2B5EF4-FFF2-40B4-BE49-F238E27FC236}">
                <a16:creationId xmlns:a16="http://schemas.microsoft.com/office/drawing/2014/main" id="{8D910919-68D8-4871-B1C4-E33A2D4EFD4D}"/>
              </a:ext>
            </a:extLst>
          </p:cNvPr>
          <p:cNvSpPr txBox="1"/>
          <p:nvPr/>
        </p:nvSpPr>
        <p:spPr>
          <a:xfrm flipH="1">
            <a:off x="4625620" y="2514072"/>
            <a:ext cx="6390723" cy="429768"/>
          </a:xfrm>
          <a:prstGeom prst="roundRect">
            <a:avLst>
              <a:gd name="adj" fmla="val 50000"/>
            </a:avLst>
          </a:prstGeom>
          <a:solidFill>
            <a:schemeClr val="accent1"/>
          </a:solidFill>
        </p:spPr>
        <p:txBody>
          <a:bodyPr wrap="square" tIns="0" bIns="0" rtlCol="0" anchor="ctr">
            <a:noAutofit/>
          </a:body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Genomic instability</a:t>
            </a:r>
          </a:p>
        </p:txBody>
      </p:sp>
      <p:sp>
        <p:nvSpPr>
          <p:cNvPr id="37" name="TextBox 36">
            <a:extLst>
              <a:ext uri="{FF2B5EF4-FFF2-40B4-BE49-F238E27FC236}">
                <a16:creationId xmlns:a16="http://schemas.microsoft.com/office/drawing/2014/main" id="{47271DEA-8C5D-9646-81FF-1E2B5F197E00}"/>
              </a:ext>
            </a:extLst>
          </p:cNvPr>
          <p:cNvSpPr txBox="1"/>
          <p:nvPr/>
        </p:nvSpPr>
        <p:spPr>
          <a:xfrm>
            <a:off x="5349146" y="4431368"/>
            <a:ext cx="1707756" cy="507831"/>
          </a:xfrm>
          <a:prstGeom prst="rect">
            <a:avLst/>
          </a:prstGeom>
          <a:noFill/>
        </p:spPr>
        <p:txBody>
          <a:bodyPr wrap="square" lIns="0" tIns="0" rIns="0" bIns="0" rtlCol="0" anchor="t" anchorCtr="0">
            <a:spAutoFit/>
          </a:bodyPr>
          <a:lstStyle/>
          <a:p>
            <a:pPr marL="0" marR="0" lvl="0" indent="0" algn="ctr" defTabSz="457167" rtl="0" eaLnBrk="1" fontAlgn="auto" latinLnBrk="0" hangingPunct="1">
              <a:lnSpc>
                <a:spcPct val="100000"/>
              </a:lnSpc>
              <a:spcBef>
                <a:spcPts val="0"/>
              </a:spcBef>
              <a:spcAft>
                <a:spcPts val="0"/>
              </a:spcAft>
              <a:buClrTx/>
              <a:buSzTx/>
              <a:buFontTx/>
              <a:buNone/>
              <a:tabLst/>
              <a:defRPr/>
            </a:pPr>
            <a:r>
              <a:rPr kumimoji="0" lang="en-US" sz="1100" b="1"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t>Loss of heterozygosity </a:t>
            </a:r>
            <a:br>
              <a:rPr kumimoji="0" lang="en-US" sz="1100" b="1"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br>
            <a:r>
              <a:rPr kumimoji="0" lang="en-US" sz="1100" b="1"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t>(LOH)</a:t>
            </a:r>
          </a:p>
          <a:p>
            <a:pPr marL="0" marR="0" lvl="0" indent="0" algn="ctr" defTabSz="457167" rtl="0" eaLnBrk="1" fontAlgn="auto" latinLnBrk="0" hangingPunct="1">
              <a:lnSpc>
                <a:spcPct val="100000"/>
              </a:lnSpc>
              <a:spcBef>
                <a:spcPts val="0"/>
              </a:spcBef>
              <a:spcAft>
                <a:spcPts val="0"/>
              </a:spcAft>
              <a:buClrTx/>
              <a:buSzTx/>
              <a:buFontTx/>
              <a:buNone/>
              <a:tabLst/>
              <a:defRPr/>
            </a:pPr>
            <a:r>
              <a:rPr kumimoji="0" lang="en-US" sz="1100" b="0"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t>Presence of a single allele</a:t>
            </a:r>
          </a:p>
        </p:txBody>
      </p:sp>
      <p:sp>
        <p:nvSpPr>
          <p:cNvPr id="38" name="TextBox 37">
            <a:extLst>
              <a:ext uri="{FF2B5EF4-FFF2-40B4-BE49-F238E27FC236}">
                <a16:creationId xmlns:a16="http://schemas.microsoft.com/office/drawing/2014/main" id="{8238FCE8-E85D-6444-A59F-1D876866CF6B}"/>
              </a:ext>
            </a:extLst>
          </p:cNvPr>
          <p:cNvSpPr txBox="1"/>
          <p:nvPr/>
        </p:nvSpPr>
        <p:spPr>
          <a:xfrm>
            <a:off x="7190062" y="4431369"/>
            <a:ext cx="1707756" cy="846386"/>
          </a:xfrm>
          <a:prstGeom prst="rect">
            <a:avLst/>
          </a:prstGeom>
          <a:noFill/>
        </p:spPr>
        <p:txBody>
          <a:bodyPr wrap="square" lIns="0" tIns="0" rIns="0" bIns="0" rtlCol="0" anchor="t" anchorCtr="0">
            <a:spAutoFit/>
          </a:bodyPr>
          <a:lstStyle/>
          <a:p>
            <a:pPr marL="0" marR="0" lvl="0" indent="0" algn="ctr" defTabSz="457167" rtl="0" eaLnBrk="1" fontAlgn="auto" latinLnBrk="0" hangingPunct="1">
              <a:lnSpc>
                <a:spcPct val="100000"/>
              </a:lnSpc>
              <a:spcBef>
                <a:spcPts val="0"/>
              </a:spcBef>
              <a:spcAft>
                <a:spcPts val="0"/>
              </a:spcAft>
              <a:buClrTx/>
              <a:buSzTx/>
              <a:buFontTx/>
              <a:buNone/>
              <a:tabLst/>
              <a:defRPr/>
            </a:pPr>
            <a:r>
              <a:rPr kumimoji="0" lang="en-US" sz="1100" b="1"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t>Telomeric allelic imbalance </a:t>
            </a:r>
            <a:br>
              <a:rPr kumimoji="0" lang="en-US" sz="1100" b="1"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br>
            <a:r>
              <a:rPr kumimoji="0" lang="en-US" sz="1100" b="1"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t>(TAI)</a:t>
            </a:r>
            <a:br>
              <a:rPr kumimoji="0" lang="en-US" sz="1100" b="1"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br>
            <a:r>
              <a:rPr kumimoji="0" lang="en-US" sz="1100" b="0"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t>A discrepancy in the 1:1 allele ratio at the end of the chromosome (telomere)</a:t>
            </a:r>
          </a:p>
        </p:txBody>
      </p:sp>
      <p:sp>
        <p:nvSpPr>
          <p:cNvPr id="39" name="TextBox 38">
            <a:extLst>
              <a:ext uri="{FF2B5EF4-FFF2-40B4-BE49-F238E27FC236}">
                <a16:creationId xmlns:a16="http://schemas.microsoft.com/office/drawing/2014/main" id="{9BF19D14-661E-2949-B1E7-4FBBD540D36C}"/>
              </a:ext>
            </a:extLst>
          </p:cNvPr>
          <p:cNvSpPr txBox="1"/>
          <p:nvPr/>
        </p:nvSpPr>
        <p:spPr>
          <a:xfrm>
            <a:off x="9164139" y="4431368"/>
            <a:ext cx="1651316" cy="1015663"/>
          </a:xfrm>
          <a:prstGeom prst="rect">
            <a:avLst/>
          </a:prstGeom>
          <a:noFill/>
        </p:spPr>
        <p:txBody>
          <a:bodyPr wrap="square" lIns="0" tIns="0" rIns="0" bIns="0" rtlCol="0" anchor="t" anchorCtr="0">
            <a:spAutoFit/>
          </a:bodyPr>
          <a:lstStyle/>
          <a:p>
            <a:pPr marL="0" marR="0" lvl="0" indent="0" algn="ctr" defTabSz="457167" rtl="0" eaLnBrk="1" fontAlgn="auto" latinLnBrk="0" hangingPunct="1">
              <a:lnSpc>
                <a:spcPct val="100000"/>
              </a:lnSpc>
              <a:spcBef>
                <a:spcPts val="0"/>
              </a:spcBef>
              <a:spcAft>
                <a:spcPts val="0"/>
              </a:spcAft>
              <a:buClrTx/>
              <a:buSzTx/>
              <a:buFontTx/>
              <a:buNone/>
              <a:tabLst/>
              <a:defRPr/>
            </a:pPr>
            <a:r>
              <a:rPr kumimoji="0" lang="en-US" sz="1100" b="1"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t>Large-scale state transitions</a:t>
            </a:r>
            <a:br>
              <a:rPr kumimoji="0" lang="en-US" sz="1100" b="1"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br>
            <a:r>
              <a:rPr kumimoji="0" lang="en-US" sz="1100" b="1"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t>(LST)</a:t>
            </a:r>
          </a:p>
          <a:p>
            <a:pPr marL="0" marR="0" lvl="0" indent="0" algn="ctr" defTabSz="457167" rtl="0" eaLnBrk="1" fontAlgn="auto" latinLnBrk="0" hangingPunct="1">
              <a:lnSpc>
                <a:spcPct val="100000"/>
              </a:lnSpc>
              <a:spcBef>
                <a:spcPts val="0"/>
              </a:spcBef>
              <a:spcAft>
                <a:spcPts val="0"/>
              </a:spcAft>
              <a:buClrTx/>
              <a:buSzTx/>
              <a:buFontTx/>
              <a:buNone/>
              <a:tabLst/>
              <a:defRPr/>
            </a:pPr>
            <a:r>
              <a:rPr kumimoji="0" lang="en-US" sz="1100" b="0" i="0" u="none" strike="noStrike" kern="600" cap="none" spc="11" normalizeH="0" baseline="0" noProof="0" dirty="0">
                <a:ln>
                  <a:noFill/>
                </a:ln>
                <a:solidFill>
                  <a:srgbClr val="595959"/>
                </a:solidFill>
                <a:effectLst/>
                <a:uLnTx/>
                <a:uFillTx/>
                <a:latin typeface="Arial Narrow" panose="020B0606020202030204" pitchFamily="34" charset="0"/>
                <a:ea typeface="+mn-ea"/>
                <a:cs typeface="Arial" panose="020B0604020202020204" pitchFamily="34" charset="0"/>
              </a:rPr>
              <a:t>Transition points between regions of abnormal and normal DNA or between two different regions of abnormality</a:t>
            </a:r>
          </a:p>
        </p:txBody>
      </p:sp>
      <p:grpSp>
        <p:nvGrpSpPr>
          <p:cNvPr id="40" name="Graphic 48">
            <a:extLst>
              <a:ext uri="{FF2B5EF4-FFF2-40B4-BE49-F238E27FC236}">
                <a16:creationId xmlns:a16="http://schemas.microsoft.com/office/drawing/2014/main" id="{B172FC78-0BA4-D147-B755-85FE8A2982F4}"/>
              </a:ext>
            </a:extLst>
          </p:cNvPr>
          <p:cNvGrpSpPr/>
          <p:nvPr/>
        </p:nvGrpSpPr>
        <p:grpSpPr>
          <a:xfrm>
            <a:off x="5780699" y="3119367"/>
            <a:ext cx="739104" cy="1055767"/>
            <a:chOff x="3847562" y="2968852"/>
            <a:chExt cx="409575" cy="1209675"/>
          </a:xfrm>
        </p:grpSpPr>
        <p:sp>
          <p:nvSpPr>
            <p:cNvPr id="43" name="Freeform: Shape 50">
              <a:extLst>
                <a:ext uri="{FF2B5EF4-FFF2-40B4-BE49-F238E27FC236}">
                  <a16:creationId xmlns:a16="http://schemas.microsoft.com/office/drawing/2014/main" id="{B5288648-20E2-F34F-B0AE-E0D1A8AC4E99}"/>
                </a:ext>
              </a:extLst>
            </p:cNvPr>
            <p:cNvSpPr/>
            <p:nvPr/>
          </p:nvSpPr>
          <p:spPr>
            <a:xfrm>
              <a:off x="4151409" y="2968852"/>
              <a:ext cx="85725" cy="400050"/>
            </a:xfrm>
            <a:custGeom>
              <a:avLst/>
              <a:gdLst>
                <a:gd name="connsiteX0" fmla="*/ 0 w 85725"/>
                <a:gd name="connsiteY0" fmla="*/ 200025 h 400050"/>
                <a:gd name="connsiteX1" fmla="*/ 43815 w 85725"/>
                <a:gd name="connsiteY1" fmla="*/ 0 h 400050"/>
                <a:gd name="connsiteX2" fmla="*/ 87630 w 85725"/>
                <a:gd name="connsiteY2" fmla="*/ 200025 h 400050"/>
                <a:gd name="connsiteX3" fmla="*/ 43815 w 85725"/>
                <a:gd name="connsiteY3" fmla="*/ 400050 h 400050"/>
                <a:gd name="connsiteX4" fmla="*/ 0 w 85725"/>
                <a:gd name="connsiteY4" fmla="*/ 200025 h 400050"/>
                <a:gd name="connsiteX5" fmla="*/ 0 w 85725"/>
                <a:gd name="connsiteY5" fmla="*/ 200025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400050">
                  <a:moveTo>
                    <a:pt x="0" y="200025"/>
                  </a:moveTo>
                  <a:cubicBezTo>
                    <a:pt x="0" y="89535"/>
                    <a:pt x="20003" y="0"/>
                    <a:pt x="43815" y="0"/>
                  </a:cubicBezTo>
                  <a:cubicBezTo>
                    <a:pt x="67628" y="0"/>
                    <a:pt x="87630" y="89535"/>
                    <a:pt x="87630" y="200025"/>
                  </a:cubicBezTo>
                  <a:cubicBezTo>
                    <a:pt x="87630" y="310515"/>
                    <a:pt x="67628" y="400050"/>
                    <a:pt x="43815" y="400050"/>
                  </a:cubicBezTo>
                  <a:cubicBezTo>
                    <a:pt x="20003" y="400050"/>
                    <a:pt x="0" y="310515"/>
                    <a:pt x="0" y="200025"/>
                  </a:cubicBezTo>
                  <a:lnTo>
                    <a:pt x="0" y="200025"/>
                  </a:lnTo>
                  <a:close/>
                </a:path>
              </a:pathLst>
            </a:custGeom>
            <a:solidFill>
              <a:srgbClr val="08887D"/>
            </a:solidFill>
            <a:ln w="9525" cap="flat">
              <a:noFill/>
              <a:prstDash val="solid"/>
              <a:miter/>
            </a:ln>
          </p:spPr>
          <p:txBody>
            <a:bodyPr rtlCol="0" anchor="ct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7424A"/>
                </a:solidFill>
                <a:effectLst/>
                <a:uLnTx/>
                <a:uFillTx/>
                <a:latin typeface="Arial Narrow" panose="020B0606020202030204" pitchFamily="34" charset="0"/>
                <a:ea typeface="+mn-ea"/>
                <a:cs typeface="+mn-cs"/>
              </a:endParaRPr>
            </a:p>
          </p:txBody>
        </p:sp>
        <p:sp>
          <p:nvSpPr>
            <p:cNvPr id="44" name="Freeform: Shape 51">
              <a:extLst>
                <a:ext uri="{FF2B5EF4-FFF2-40B4-BE49-F238E27FC236}">
                  <a16:creationId xmlns:a16="http://schemas.microsoft.com/office/drawing/2014/main" id="{E389AADE-6F2E-3246-ABBF-0BDD2C323AB4}"/>
                </a:ext>
              </a:extLst>
            </p:cNvPr>
            <p:cNvSpPr/>
            <p:nvPr/>
          </p:nvSpPr>
          <p:spPr>
            <a:xfrm>
              <a:off x="4151409" y="3368902"/>
              <a:ext cx="85725" cy="809625"/>
            </a:xfrm>
            <a:custGeom>
              <a:avLst/>
              <a:gdLst>
                <a:gd name="connsiteX0" fmla="*/ 0 w 85725"/>
                <a:gd name="connsiteY0" fmla="*/ 406717 h 809625"/>
                <a:gd name="connsiteX1" fmla="*/ 44767 w 85725"/>
                <a:gd name="connsiteY1" fmla="*/ 0 h 809625"/>
                <a:gd name="connsiteX2" fmla="*/ 88583 w 85725"/>
                <a:gd name="connsiteY2" fmla="*/ 406717 h 809625"/>
                <a:gd name="connsiteX3" fmla="*/ 44767 w 85725"/>
                <a:gd name="connsiteY3" fmla="*/ 813435 h 809625"/>
                <a:gd name="connsiteX4" fmla="*/ 0 w 85725"/>
                <a:gd name="connsiteY4" fmla="*/ 406717 h 809625"/>
                <a:gd name="connsiteX5" fmla="*/ 0 w 85725"/>
                <a:gd name="connsiteY5" fmla="*/ 406717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809625">
                  <a:moveTo>
                    <a:pt x="0" y="406717"/>
                  </a:moveTo>
                  <a:cubicBezTo>
                    <a:pt x="0" y="181927"/>
                    <a:pt x="20003" y="0"/>
                    <a:pt x="44767" y="0"/>
                  </a:cubicBezTo>
                  <a:cubicBezTo>
                    <a:pt x="69533" y="0"/>
                    <a:pt x="88583" y="181927"/>
                    <a:pt x="88583" y="406717"/>
                  </a:cubicBezTo>
                  <a:cubicBezTo>
                    <a:pt x="88583" y="631508"/>
                    <a:pt x="68580" y="813435"/>
                    <a:pt x="44767" y="813435"/>
                  </a:cubicBezTo>
                  <a:cubicBezTo>
                    <a:pt x="20955" y="813435"/>
                    <a:pt x="0" y="630555"/>
                    <a:pt x="0" y="406717"/>
                  </a:cubicBezTo>
                  <a:lnTo>
                    <a:pt x="0" y="406717"/>
                  </a:lnTo>
                  <a:close/>
                </a:path>
              </a:pathLst>
            </a:custGeom>
            <a:solidFill>
              <a:srgbClr val="08887D"/>
            </a:solidFill>
            <a:ln w="9525" cap="flat">
              <a:noFill/>
              <a:prstDash val="solid"/>
              <a:miter/>
            </a:ln>
          </p:spPr>
          <p:txBody>
            <a:bodyPr rtlCol="0" anchor="ct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7424A"/>
                </a:solidFill>
                <a:effectLst/>
                <a:uLnTx/>
                <a:uFillTx/>
                <a:latin typeface="Arial Narrow" panose="020B0606020202030204" pitchFamily="34" charset="0"/>
                <a:ea typeface="+mn-ea"/>
                <a:cs typeface="+mn-cs"/>
              </a:endParaRPr>
            </a:p>
          </p:txBody>
        </p:sp>
        <p:sp>
          <p:nvSpPr>
            <p:cNvPr id="45" name="Freeform: Shape 52">
              <a:extLst>
                <a:ext uri="{FF2B5EF4-FFF2-40B4-BE49-F238E27FC236}">
                  <a16:creationId xmlns:a16="http://schemas.microsoft.com/office/drawing/2014/main" id="{054338AE-2A2D-0C40-A61C-ADA04077F1E4}"/>
                </a:ext>
              </a:extLst>
            </p:cNvPr>
            <p:cNvSpPr/>
            <p:nvPr/>
          </p:nvSpPr>
          <p:spPr>
            <a:xfrm>
              <a:off x="4139027" y="3319372"/>
              <a:ext cx="104775" cy="104775"/>
            </a:xfrm>
            <a:custGeom>
              <a:avLst/>
              <a:gdLst>
                <a:gd name="connsiteX0" fmla="*/ 0 w 104775"/>
                <a:gd name="connsiteY0" fmla="*/ 52388 h 104775"/>
                <a:gd name="connsiteX1" fmla="*/ 56197 w 104775"/>
                <a:gd name="connsiteY1" fmla="*/ 0 h 104775"/>
                <a:gd name="connsiteX2" fmla="*/ 112395 w 104775"/>
                <a:gd name="connsiteY2" fmla="*/ 52388 h 104775"/>
                <a:gd name="connsiteX3" fmla="*/ 56197 w 104775"/>
                <a:gd name="connsiteY3" fmla="*/ 104775 h 104775"/>
                <a:gd name="connsiteX4" fmla="*/ 0 w 104775"/>
                <a:gd name="connsiteY4" fmla="*/ 52388 h 104775"/>
                <a:gd name="connsiteX5" fmla="*/ 0 w 104775"/>
                <a:gd name="connsiteY5" fmla="*/ 5238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0" y="52388"/>
                  </a:moveTo>
                  <a:cubicBezTo>
                    <a:pt x="0" y="23813"/>
                    <a:pt x="25717" y="0"/>
                    <a:pt x="56197" y="0"/>
                  </a:cubicBezTo>
                  <a:cubicBezTo>
                    <a:pt x="86678" y="0"/>
                    <a:pt x="112395" y="23813"/>
                    <a:pt x="112395" y="52388"/>
                  </a:cubicBezTo>
                  <a:cubicBezTo>
                    <a:pt x="112395" y="80963"/>
                    <a:pt x="86678" y="104775"/>
                    <a:pt x="56197" y="104775"/>
                  </a:cubicBezTo>
                  <a:cubicBezTo>
                    <a:pt x="25717" y="104775"/>
                    <a:pt x="0" y="81915"/>
                    <a:pt x="0" y="52388"/>
                  </a:cubicBezTo>
                  <a:lnTo>
                    <a:pt x="0" y="52388"/>
                  </a:lnTo>
                  <a:close/>
                </a:path>
              </a:pathLst>
            </a:custGeom>
            <a:solidFill>
              <a:srgbClr val="38434B"/>
            </a:solidFill>
            <a:ln w="9525" cap="flat">
              <a:noFill/>
              <a:prstDash val="solid"/>
              <a:miter/>
            </a:ln>
          </p:spPr>
          <p:txBody>
            <a:bodyPr rtlCol="0" anchor="ct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7424A"/>
                </a:solidFill>
                <a:effectLst/>
                <a:uLnTx/>
                <a:uFillTx/>
                <a:latin typeface="Arial Narrow" panose="020B0606020202030204" pitchFamily="34" charset="0"/>
                <a:ea typeface="+mn-ea"/>
                <a:cs typeface="+mn-cs"/>
              </a:endParaRPr>
            </a:p>
          </p:txBody>
        </p:sp>
        <p:sp>
          <p:nvSpPr>
            <p:cNvPr id="46" name="Freeform: Shape 53">
              <a:extLst>
                <a:ext uri="{FF2B5EF4-FFF2-40B4-BE49-F238E27FC236}">
                  <a16:creationId xmlns:a16="http://schemas.microsoft.com/office/drawing/2014/main" id="{29D630B9-C5FF-F54B-A9DD-8C21D7E490BB}"/>
                </a:ext>
              </a:extLst>
            </p:cNvPr>
            <p:cNvSpPr/>
            <p:nvPr/>
          </p:nvSpPr>
          <p:spPr>
            <a:xfrm>
              <a:off x="4154267" y="2968852"/>
              <a:ext cx="85725" cy="400050"/>
            </a:xfrm>
            <a:custGeom>
              <a:avLst/>
              <a:gdLst>
                <a:gd name="connsiteX0" fmla="*/ 0 w 85725"/>
                <a:gd name="connsiteY0" fmla="*/ 200025 h 400050"/>
                <a:gd name="connsiteX1" fmla="*/ 43815 w 85725"/>
                <a:gd name="connsiteY1" fmla="*/ 0 h 400050"/>
                <a:gd name="connsiteX2" fmla="*/ 87630 w 85725"/>
                <a:gd name="connsiteY2" fmla="*/ 200025 h 400050"/>
                <a:gd name="connsiteX3" fmla="*/ 43815 w 85725"/>
                <a:gd name="connsiteY3" fmla="*/ 400050 h 400050"/>
                <a:gd name="connsiteX4" fmla="*/ 0 w 85725"/>
                <a:gd name="connsiteY4" fmla="*/ 200025 h 400050"/>
                <a:gd name="connsiteX5" fmla="*/ 0 w 85725"/>
                <a:gd name="connsiteY5" fmla="*/ 200025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400050">
                  <a:moveTo>
                    <a:pt x="0" y="200025"/>
                  </a:moveTo>
                  <a:cubicBezTo>
                    <a:pt x="0" y="89535"/>
                    <a:pt x="20002" y="0"/>
                    <a:pt x="43815" y="0"/>
                  </a:cubicBezTo>
                  <a:cubicBezTo>
                    <a:pt x="67627" y="0"/>
                    <a:pt x="87630" y="89535"/>
                    <a:pt x="87630" y="200025"/>
                  </a:cubicBezTo>
                  <a:cubicBezTo>
                    <a:pt x="87630" y="310515"/>
                    <a:pt x="67627" y="400050"/>
                    <a:pt x="43815" y="400050"/>
                  </a:cubicBezTo>
                  <a:cubicBezTo>
                    <a:pt x="20002" y="400050"/>
                    <a:pt x="0" y="310515"/>
                    <a:pt x="0" y="200025"/>
                  </a:cubicBezTo>
                  <a:lnTo>
                    <a:pt x="0" y="200025"/>
                  </a:lnTo>
                  <a:close/>
                </a:path>
              </a:pathLst>
            </a:custGeom>
            <a:solidFill>
              <a:srgbClr val="08887D"/>
            </a:solidFill>
            <a:ln w="9525" cap="flat">
              <a:noFill/>
              <a:prstDash val="solid"/>
              <a:miter/>
            </a:ln>
          </p:spPr>
          <p:txBody>
            <a:bodyPr rtlCol="0" anchor="ct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7424A"/>
                </a:solidFill>
                <a:effectLst/>
                <a:uLnTx/>
                <a:uFillTx/>
                <a:latin typeface="Arial Narrow" panose="020B0606020202030204" pitchFamily="34" charset="0"/>
                <a:ea typeface="+mn-ea"/>
                <a:cs typeface="+mn-cs"/>
              </a:endParaRPr>
            </a:p>
          </p:txBody>
        </p:sp>
        <p:sp>
          <p:nvSpPr>
            <p:cNvPr id="47" name="Freeform: Shape 54">
              <a:extLst>
                <a:ext uri="{FF2B5EF4-FFF2-40B4-BE49-F238E27FC236}">
                  <a16:creationId xmlns:a16="http://schemas.microsoft.com/office/drawing/2014/main" id="{CE674E16-128C-1540-8719-CB90DFB408CC}"/>
                </a:ext>
              </a:extLst>
            </p:cNvPr>
            <p:cNvSpPr/>
            <p:nvPr/>
          </p:nvSpPr>
          <p:spPr>
            <a:xfrm>
              <a:off x="4154267" y="3368902"/>
              <a:ext cx="85725" cy="809625"/>
            </a:xfrm>
            <a:custGeom>
              <a:avLst/>
              <a:gdLst>
                <a:gd name="connsiteX0" fmla="*/ 0 w 85725"/>
                <a:gd name="connsiteY0" fmla="*/ 406717 h 809625"/>
                <a:gd name="connsiteX1" fmla="*/ 43815 w 85725"/>
                <a:gd name="connsiteY1" fmla="*/ 0 h 809625"/>
                <a:gd name="connsiteX2" fmla="*/ 87630 w 85725"/>
                <a:gd name="connsiteY2" fmla="*/ 406717 h 809625"/>
                <a:gd name="connsiteX3" fmla="*/ 43815 w 85725"/>
                <a:gd name="connsiteY3" fmla="*/ 813435 h 809625"/>
                <a:gd name="connsiteX4" fmla="*/ 0 w 85725"/>
                <a:gd name="connsiteY4" fmla="*/ 406717 h 809625"/>
                <a:gd name="connsiteX5" fmla="*/ 0 w 85725"/>
                <a:gd name="connsiteY5" fmla="*/ 406717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809625">
                  <a:moveTo>
                    <a:pt x="0" y="406717"/>
                  </a:moveTo>
                  <a:cubicBezTo>
                    <a:pt x="0" y="181927"/>
                    <a:pt x="20002" y="0"/>
                    <a:pt x="43815" y="0"/>
                  </a:cubicBezTo>
                  <a:cubicBezTo>
                    <a:pt x="67627" y="0"/>
                    <a:pt x="87630" y="181927"/>
                    <a:pt x="87630" y="406717"/>
                  </a:cubicBezTo>
                  <a:cubicBezTo>
                    <a:pt x="87630" y="631508"/>
                    <a:pt x="67627" y="813435"/>
                    <a:pt x="43815" y="813435"/>
                  </a:cubicBezTo>
                  <a:cubicBezTo>
                    <a:pt x="20002" y="813435"/>
                    <a:pt x="0" y="630555"/>
                    <a:pt x="0" y="406717"/>
                  </a:cubicBezTo>
                  <a:lnTo>
                    <a:pt x="0" y="406717"/>
                  </a:lnTo>
                  <a:close/>
                </a:path>
              </a:pathLst>
            </a:custGeom>
            <a:solidFill>
              <a:srgbClr val="08887D"/>
            </a:solidFill>
            <a:ln w="9525" cap="flat">
              <a:noFill/>
              <a:prstDash val="solid"/>
              <a:miter/>
            </a:ln>
          </p:spPr>
          <p:txBody>
            <a:bodyPr rtlCol="0" anchor="ct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7424A"/>
                </a:solidFill>
                <a:effectLst/>
                <a:uLnTx/>
                <a:uFillTx/>
                <a:latin typeface="Arial Narrow" panose="020B0606020202030204" pitchFamily="34" charset="0"/>
                <a:ea typeface="+mn-ea"/>
                <a:cs typeface="+mn-cs"/>
              </a:endParaRPr>
            </a:p>
          </p:txBody>
        </p:sp>
        <p:sp>
          <p:nvSpPr>
            <p:cNvPr id="48" name="Freeform: Shape 55">
              <a:extLst>
                <a:ext uri="{FF2B5EF4-FFF2-40B4-BE49-F238E27FC236}">
                  <a16:creationId xmlns:a16="http://schemas.microsoft.com/office/drawing/2014/main" id="{A94471D3-5D97-C94C-99A4-E8C1573F423E}"/>
                </a:ext>
              </a:extLst>
            </p:cNvPr>
            <p:cNvSpPr/>
            <p:nvPr/>
          </p:nvSpPr>
          <p:spPr>
            <a:xfrm>
              <a:off x="4141884" y="3319372"/>
              <a:ext cx="104775" cy="104775"/>
            </a:xfrm>
            <a:custGeom>
              <a:avLst/>
              <a:gdLst>
                <a:gd name="connsiteX0" fmla="*/ 0 w 104775"/>
                <a:gd name="connsiteY0" fmla="*/ 52388 h 104775"/>
                <a:gd name="connsiteX1" fmla="*/ 56197 w 104775"/>
                <a:gd name="connsiteY1" fmla="*/ 0 h 104775"/>
                <a:gd name="connsiteX2" fmla="*/ 112395 w 104775"/>
                <a:gd name="connsiteY2" fmla="*/ 52388 h 104775"/>
                <a:gd name="connsiteX3" fmla="*/ 56197 w 104775"/>
                <a:gd name="connsiteY3" fmla="*/ 104775 h 104775"/>
                <a:gd name="connsiteX4" fmla="*/ 0 w 104775"/>
                <a:gd name="connsiteY4" fmla="*/ 52388 h 104775"/>
                <a:gd name="connsiteX5" fmla="*/ 0 w 104775"/>
                <a:gd name="connsiteY5" fmla="*/ 5238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0" y="52388"/>
                  </a:moveTo>
                  <a:cubicBezTo>
                    <a:pt x="0" y="23813"/>
                    <a:pt x="25717" y="0"/>
                    <a:pt x="56197" y="0"/>
                  </a:cubicBezTo>
                  <a:cubicBezTo>
                    <a:pt x="86678" y="0"/>
                    <a:pt x="112395" y="23813"/>
                    <a:pt x="112395" y="52388"/>
                  </a:cubicBezTo>
                  <a:cubicBezTo>
                    <a:pt x="112395" y="80963"/>
                    <a:pt x="86678" y="104775"/>
                    <a:pt x="56197" y="104775"/>
                  </a:cubicBezTo>
                  <a:cubicBezTo>
                    <a:pt x="25717" y="104775"/>
                    <a:pt x="0" y="81915"/>
                    <a:pt x="0" y="52388"/>
                  </a:cubicBezTo>
                  <a:lnTo>
                    <a:pt x="0" y="52388"/>
                  </a:lnTo>
                  <a:close/>
                </a:path>
              </a:pathLst>
            </a:custGeom>
            <a:solidFill>
              <a:srgbClr val="38434B"/>
            </a:solidFill>
            <a:ln w="9525" cap="flat">
              <a:noFill/>
              <a:prstDash val="solid"/>
              <a:miter/>
            </a:ln>
          </p:spPr>
          <p:txBody>
            <a:bodyPr rtlCol="0" anchor="ct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7424A"/>
                </a:solidFill>
                <a:effectLst/>
                <a:uLnTx/>
                <a:uFillTx/>
                <a:latin typeface="Arial Narrow" panose="020B0606020202030204" pitchFamily="34" charset="0"/>
                <a:ea typeface="+mn-ea"/>
                <a:cs typeface="+mn-cs"/>
              </a:endParaRPr>
            </a:p>
          </p:txBody>
        </p:sp>
        <p:sp>
          <p:nvSpPr>
            <p:cNvPr id="49" name="Freeform: Shape 56">
              <a:extLst>
                <a:ext uri="{FF2B5EF4-FFF2-40B4-BE49-F238E27FC236}">
                  <a16:creationId xmlns:a16="http://schemas.microsoft.com/office/drawing/2014/main" id="{E9D5B47D-0376-E940-83AA-781A20460E01}"/>
                </a:ext>
              </a:extLst>
            </p:cNvPr>
            <p:cNvSpPr/>
            <p:nvPr/>
          </p:nvSpPr>
          <p:spPr>
            <a:xfrm>
              <a:off x="3847562" y="3346995"/>
              <a:ext cx="171450" cy="161925"/>
            </a:xfrm>
            <a:custGeom>
              <a:avLst/>
              <a:gdLst>
                <a:gd name="connsiteX0" fmla="*/ 91440 w 171450"/>
                <a:gd name="connsiteY0" fmla="*/ 21907 h 161925"/>
                <a:gd name="connsiteX1" fmla="*/ 124778 w 171450"/>
                <a:gd name="connsiteY1" fmla="*/ 166688 h 161925"/>
                <a:gd name="connsiteX2" fmla="*/ 175260 w 171450"/>
                <a:gd name="connsiteY2" fmla="*/ 87630 h 161925"/>
                <a:gd name="connsiteX3" fmla="*/ 87630 w 171450"/>
                <a:gd name="connsiteY3" fmla="*/ 0 h 161925"/>
                <a:gd name="connsiteX4" fmla="*/ 0 w 171450"/>
                <a:gd name="connsiteY4" fmla="*/ 87630 h 161925"/>
                <a:gd name="connsiteX5" fmla="*/ 57150 w 171450"/>
                <a:gd name="connsiteY5" fmla="*/ 169545 h 161925"/>
                <a:gd name="connsiteX6" fmla="*/ 91440 w 171450"/>
                <a:gd name="connsiteY6" fmla="*/ 2190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450" h="161925">
                  <a:moveTo>
                    <a:pt x="91440" y="21907"/>
                  </a:moveTo>
                  <a:cubicBezTo>
                    <a:pt x="104775" y="21907"/>
                    <a:pt x="117158" y="78105"/>
                    <a:pt x="124778" y="166688"/>
                  </a:cubicBezTo>
                  <a:cubicBezTo>
                    <a:pt x="154305" y="152400"/>
                    <a:pt x="175260" y="122872"/>
                    <a:pt x="175260" y="87630"/>
                  </a:cubicBezTo>
                  <a:cubicBezTo>
                    <a:pt x="175260" y="39052"/>
                    <a:pt x="136208" y="0"/>
                    <a:pt x="87630" y="0"/>
                  </a:cubicBezTo>
                  <a:cubicBezTo>
                    <a:pt x="39053" y="0"/>
                    <a:pt x="0" y="39052"/>
                    <a:pt x="0" y="87630"/>
                  </a:cubicBezTo>
                  <a:cubicBezTo>
                    <a:pt x="0" y="124777"/>
                    <a:pt x="23813" y="157163"/>
                    <a:pt x="57150" y="169545"/>
                  </a:cubicBezTo>
                  <a:cubicBezTo>
                    <a:pt x="64770" y="79057"/>
                    <a:pt x="77153" y="21907"/>
                    <a:pt x="91440" y="21907"/>
                  </a:cubicBezTo>
                  <a:close/>
                </a:path>
              </a:pathLst>
            </a:custGeom>
            <a:noFill/>
            <a:ln w="9525" cap="flat">
              <a:noFill/>
              <a:prstDash val="solid"/>
              <a:miter/>
            </a:ln>
          </p:spPr>
          <p:txBody>
            <a:bodyPr rtlCol="0" anchor="ct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7424A"/>
                </a:solidFill>
                <a:effectLst/>
                <a:uLnTx/>
                <a:uFillTx/>
                <a:latin typeface="Arial Narrow" panose="020B0606020202030204" pitchFamily="34" charset="0"/>
                <a:ea typeface="+mn-ea"/>
                <a:cs typeface="+mn-cs"/>
              </a:endParaRPr>
            </a:p>
          </p:txBody>
        </p:sp>
        <p:sp>
          <p:nvSpPr>
            <p:cNvPr id="50" name="Freeform: Shape 57">
              <a:extLst>
                <a:ext uri="{FF2B5EF4-FFF2-40B4-BE49-F238E27FC236}">
                  <a16:creationId xmlns:a16="http://schemas.microsoft.com/office/drawing/2014/main" id="{5F38F225-D8AD-4A47-8405-4FC60E8FE4BD}"/>
                </a:ext>
              </a:extLst>
            </p:cNvPr>
            <p:cNvSpPr/>
            <p:nvPr/>
          </p:nvSpPr>
          <p:spPr>
            <a:xfrm>
              <a:off x="3894235" y="2968852"/>
              <a:ext cx="85725" cy="400050"/>
            </a:xfrm>
            <a:custGeom>
              <a:avLst/>
              <a:gdLst>
                <a:gd name="connsiteX0" fmla="*/ 0 w 85725"/>
                <a:gd name="connsiteY0" fmla="*/ 200025 h 400050"/>
                <a:gd name="connsiteX1" fmla="*/ 44768 w 85725"/>
                <a:gd name="connsiteY1" fmla="*/ 0 h 400050"/>
                <a:gd name="connsiteX2" fmla="*/ 88583 w 85725"/>
                <a:gd name="connsiteY2" fmla="*/ 200025 h 400050"/>
                <a:gd name="connsiteX3" fmla="*/ 44768 w 85725"/>
                <a:gd name="connsiteY3" fmla="*/ 400050 h 400050"/>
                <a:gd name="connsiteX4" fmla="*/ 0 w 85725"/>
                <a:gd name="connsiteY4" fmla="*/ 200025 h 400050"/>
                <a:gd name="connsiteX5" fmla="*/ 0 w 85725"/>
                <a:gd name="connsiteY5" fmla="*/ 200025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400050">
                  <a:moveTo>
                    <a:pt x="0" y="200025"/>
                  </a:moveTo>
                  <a:cubicBezTo>
                    <a:pt x="0" y="89535"/>
                    <a:pt x="20003" y="0"/>
                    <a:pt x="44768" y="0"/>
                  </a:cubicBezTo>
                  <a:cubicBezTo>
                    <a:pt x="69533" y="0"/>
                    <a:pt x="88583" y="89535"/>
                    <a:pt x="88583" y="200025"/>
                  </a:cubicBezTo>
                  <a:cubicBezTo>
                    <a:pt x="88583" y="310515"/>
                    <a:pt x="68580" y="400050"/>
                    <a:pt x="44768" y="400050"/>
                  </a:cubicBezTo>
                  <a:cubicBezTo>
                    <a:pt x="20955" y="400050"/>
                    <a:pt x="0" y="310515"/>
                    <a:pt x="0" y="200025"/>
                  </a:cubicBezTo>
                  <a:lnTo>
                    <a:pt x="0" y="200025"/>
                  </a:lnTo>
                  <a:close/>
                </a:path>
              </a:pathLst>
            </a:custGeom>
            <a:solidFill>
              <a:srgbClr val="A2C7C0"/>
            </a:solidFill>
            <a:ln w="9525" cap="flat">
              <a:noFill/>
              <a:prstDash val="solid"/>
              <a:miter/>
            </a:ln>
          </p:spPr>
          <p:txBody>
            <a:bodyPr rtlCol="0" anchor="ct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7424A"/>
                </a:solidFill>
                <a:effectLst/>
                <a:uLnTx/>
                <a:uFillTx/>
                <a:latin typeface="Arial Narrow" panose="020B0606020202030204" pitchFamily="34" charset="0"/>
                <a:ea typeface="+mn-ea"/>
                <a:cs typeface="+mn-cs"/>
              </a:endParaRPr>
            </a:p>
          </p:txBody>
        </p:sp>
        <p:sp>
          <p:nvSpPr>
            <p:cNvPr id="51" name="Freeform: Shape 58">
              <a:extLst>
                <a:ext uri="{FF2B5EF4-FFF2-40B4-BE49-F238E27FC236}">
                  <a16:creationId xmlns:a16="http://schemas.microsoft.com/office/drawing/2014/main" id="{453BFB54-28FE-C34E-A94B-40065F1B25F9}"/>
                </a:ext>
              </a:extLst>
            </p:cNvPr>
            <p:cNvSpPr/>
            <p:nvPr/>
          </p:nvSpPr>
          <p:spPr>
            <a:xfrm>
              <a:off x="3895187" y="3583215"/>
              <a:ext cx="85725" cy="590550"/>
            </a:xfrm>
            <a:custGeom>
              <a:avLst/>
              <a:gdLst>
                <a:gd name="connsiteX0" fmla="*/ 4763 w 85725"/>
                <a:gd name="connsiteY0" fmla="*/ 1905 h 590550"/>
                <a:gd name="connsiteX1" fmla="*/ 0 w 85725"/>
                <a:gd name="connsiteY1" fmla="*/ 192405 h 590550"/>
                <a:gd name="connsiteX2" fmla="*/ 43815 w 85725"/>
                <a:gd name="connsiteY2" fmla="*/ 599123 h 590550"/>
                <a:gd name="connsiteX3" fmla="*/ 87630 w 85725"/>
                <a:gd name="connsiteY3" fmla="*/ 192405 h 590550"/>
                <a:gd name="connsiteX4" fmla="*/ 82868 w 85725"/>
                <a:gd name="connsiteY4" fmla="*/ 0 h 590550"/>
                <a:gd name="connsiteX5" fmla="*/ 40005 w 85725"/>
                <a:gd name="connsiteY5" fmla="*/ 5715 h 590550"/>
                <a:gd name="connsiteX6" fmla="*/ 4763 w 85725"/>
                <a:gd name="connsiteY6" fmla="*/ 1905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 h="590550">
                  <a:moveTo>
                    <a:pt x="4763" y="1905"/>
                  </a:moveTo>
                  <a:cubicBezTo>
                    <a:pt x="1905" y="59055"/>
                    <a:pt x="0" y="123825"/>
                    <a:pt x="0" y="192405"/>
                  </a:cubicBezTo>
                  <a:cubicBezTo>
                    <a:pt x="0" y="417195"/>
                    <a:pt x="20003" y="599123"/>
                    <a:pt x="43815" y="599123"/>
                  </a:cubicBezTo>
                  <a:cubicBezTo>
                    <a:pt x="67628" y="599123"/>
                    <a:pt x="87630" y="417195"/>
                    <a:pt x="87630" y="192405"/>
                  </a:cubicBezTo>
                  <a:cubicBezTo>
                    <a:pt x="87630" y="122873"/>
                    <a:pt x="85725" y="57150"/>
                    <a:pt x="82868" y="0"/>
                  </a:cubicBezTo>
                  <a:cubicBezTo>
                    <a:pt x="69533" y="3810"/>
                    <a:pt x="55245" y="5715"/>
                    <a:pt x="40005" y="5715"/>
                  </a:cubicBezTo>
                  <a:cubicBezTo>
                    <a:pt x="27623" y="5715"/>
                    <a:pt x="16192" y="4763"/>
                    <a:pt x="4763" y="1905"/>
                  </a:cubicBezTo>
                  <a:close/>
                </a:path>
              </a:pathLst>
            </a:custGeom>
            <a:solidFill>
              <a:srgbClr val="A2C7C0"/>
            </a:solidFill>
            <a:ln w="9525" cap="flat">
              <a:noFill/>
              <a:prstDash val="solid"/>
              <a:miter/>
            </a:ln>
          </p:spPr>
          <p:txBody>
            <a:bodyPr rtlCol="0" anchor="ct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7424A"/>
                </a:solidFill>
                <a:effectLst/>
                <a:uLnTx/>
                <a:uFillTx/>
                <a:latin typeface="Arial Narrow" panose="020B0606020202030204" pitchFamily="34" charset="0"/>
                <a:ea typeface="+mn-ea"/>
                <a:cs typeface="+mn-cs"/>
              </a:endParaRPr>
            </a:p>
          </p:txBody>
        </p:sp>
        <p:sp>
          <p:nvSpPr>
            <p:cNvPr id="52" name="Freeform: Shape 59">
              <a:extLst>
                <a:ext uri="{FF2B5EF4-FFF2-40B4-BE49-F238E27FC236}">
                  <a16:creationId xmlns:a16="http://schemas.microsoft.com/office/drawing/2014/main" id="{5EE35440-EB9A-9A43-ACB1-72D41DDF3FBC}"/>
                </a:ext>
              </a:extLst>
            </p:cNvPr>
            <p:cNvSpPr/>
            <p:nvPr/>
          </p:nvSpPr>
          <p:spPr>
            <a:xfrm>
              <a:off x="3904712" y="3368902"/>
              <a:ext cx="66675" cy="152400"/>
            </a:xfrm>
            <a:custGeom>
              <a:avLst/>
              <a:gdLst>
                <a:gd name="connsiteX0" fmla="*/ 67628 w 66675"/>
                <a:gd name="connsiteY0" fmla="*/ 144780 h 152400"/>
                <a:gd name="connsiteX1" fmla="*/ 34290 w 66675"/>
                <a:gd name="connsiteY1" fmla="*/ 0 h 152400"/>
                <a:gd name="connsiteX2" fmla="*/ 0 w 66675"/>
                <a:gd name="connsiteY2" fmla="*/ 147638 h 152400"/>
                <a:gd name="connsiteX3" fmla="*/ 30480 w 66675"/>
                <a:gd name="connsiteY3" fmla="*/ 153352 h 152400"/>
                <a:gd name="connsiteX4" fmla="*/ 67628 w 66675"/>
                <a:gd name="connsiteY4" fmla="*/ 14478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152400">
                  <a:moveTo>
                    <a:pt x="67628" y="144780"/>
                  </a:moveTo>
                  <a:cubicBezTo>
                    <a:pt x="59055" y="56198"/>
                    <a:pt x="47625" y="0"/>
                    <a:pt x="34290" y="0"/>
                  </a:cubicBezTo>
                  <a:cubicBezTo>
                    <a:pt x="20003" y="0"/>
                    <a:pt x="7620" y="57150"/>
                    <a:pt x="0" y="147638"/>
                  </a:cubicBezTo>
                  <a:cubicBezTo>
                    <a:pt x="9525" y="151448"/>
                    <a:pt x="20003" y="153352"/>
                    <a:pt x="30480" y="153352"/>
                  </a:cubicBezTo>
                  <a:cubicBezTo>
                    <a:pt x="43815" y="153352"/>
                    <a:pt x="56197" y="149543"/>
                    <a:pt x="67628" y="144780"/>
                  </a:cubicBezTo>
                  <a:close/>
                </a:path>
              </a:pathLst>
            </a:custGeom>
            <a:solidFill>
              <a:srgbClr val="A2C7C0"/>
            </a:solidFill>
            <a:ln w="9525" cap="flat">
              <a:noFill/>
              <a:prstDash val="solid"/>
              <a:miter/>
            </a:ln>
          </p:spPr>
          <p:txBody>
            <a:bodyPr rtlCol="0" anchor="ct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7424A"/>
                </a:solidFill>
                <a:effectLst/>
                <a:uLnTx/>
                <a:uFillTx/>
                <a:latin typeface="Arial Narrow" panose="020B0606020202030204" pitchFamily="34" charset="0"/>
                <a:ea typeface="+mn-ea"/>
                <a:cs typeface="+mn-cs"/>
              </a:endParaRPr>
            </a:p>
          </p:txBody>
        </p:sp>
        <p:sp>
          <p:nvSpPr>
            <p:cNvPr id="53" name="Freeform: Shape 60">
              <a:extLst>
                <a:ext uri="{FF2B5EF4-FFF2-40B4-BE49-F238E27FC236}">
                  <a16:creationId xmlns:a16="http://schemas.microsoft.com/office/drawing/2014/main" id="{17D615CC-2161-7D40-90AD-856257460822}"/>
                </a:ext>
              </a:extLst>
            </p:cNvPr>
            <p:cNvSpPr/>
            <p:nvPr/>
          </p:nvSpPr>
          <p:spPr>
            <a:xfrm>
              <a:off x="3881852" y="3319372"/>
              <a:ext cx="104775" cy="104775"/>
            </a:xfrm>
            <a:custGeom>
              <a:avLst/>
              <a:gdLst>
                <a:gd name="connsiteX0" fmla="*/ 0 w 104775"/>
                <a:gd name="connsiteY0" fmla="*/ 52388 h 104775"/>
                <a:gd name="connsiteX1" fmla="*/ 56198 w 104775"/>
                <a:gd name="connsiteY1" fmla="*/ 0 h 104775"/>
                <a:gd name="connsiteX2" fmla="*/ 112395 w 104775"/>
                <a:gd name="connsiteY2" fmla="*/ 52388 h 104775"/>
                <a:gd name="connsiteX3" fmla="*/ 56198 w 104775"/>
                <a:gd name="connsiteY3" fmla="*/ 104775 h 104775"/>
                <a:gd name="connsiteX4" fmla="*/ 0 w 104775"/>
                <a:gd name="connsiteY4" fmla="*/ 52388 h 104775"/>
                <a:gd name="connsiteX5" fmla="*/ 0 w 104775"/>
                <a:gd name="connsiteY5" fmla="*/ 5238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0" y="52388"/>
                  </a:moveTo>
                  <a:cubicBezTo>
                    <a:pt x="0" y="23813"/>
                    <a:pt x="25718" y="0"/>
                    <a:pt x="56198" y="0"/>
                  </a:cubicBezTo>
                  <a:cubicBezTo>
                    <a:pt x="86678" y="0"/>
                    <a:pt x="112395" y="23813"/>
                    <a:pt x="112395" y="52388"/>
                  </a:cubicBezTo>
                  <a:cubicBezTo>
                    <a:pt x="112395" y="80963"/>
                    <a:pt x="86678" y="104775"/>
                    <a:pt x="56198" y="104775"/>
                  </a:cubicBezTo>
                  <a:cubicBezTo>
                    <a:pt x="25718" y="104775"/>
                    <a:pt x="0" y="81915"/>
                    <a:pt x="0" y="52388"/>
                  </a:cubicBezTo>
                  <a:lnTo>
                    <a:pt x="0" y="52388"/>
                  </a:lnTo>
                  <a:close/>
                </a:path>
              </a:pathLst>
            </a:custGeom>
            <a:solidFill>
              <a:srgbClr val="38434B"/>
            </a:solidFill>
            <a:ln w="9525" cap="flat">
              <a:noFill/>
              <a:prstDash val="solid"/>
              <a:miter/>
            </a:ln>
          </p:spPr>
          <p:txBody>
            <a:bodyPr rtlCol="0" anchor="ct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7424A"/>
                </a:solidFill>
                <a:effectLst/>
                <a:uLnTx/>
                <a:uFillTx/>
                <a:latin typeface="Arial Narrow" panose="020B0606020202030204" pitchFamily="34" charset="0"/>
                <a:ea typeface="+mn-ea"/>
                <a:cs typeface="+mn-cs"/>
              </a:endParaRPr>
            </a:p>
          </p:txBody>
        </p:sp>
      </p:grpSp>
      <p:pic>
        <p:nvPicPr>
          <p:cNvPr id="41" name="Graphic 40">
            <a:extLst>
              <a:ext uri="{FF2B5EF4-FFF2-40B4-BE49-F238E27FC236}">
                <a16:creationId xmlns:a16="http://schemas.microsoft.com/office/drawing/2014/main" id="{B4ACF50B-5AAF-0740-930A-83A891AAAED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627372" y="3119367"/>
            <a:ext cx="670349" cy="1055765"/>
          </a:xfrm>
          <a:prstGeom prst="rect">
            <a:avLst/>
          </a:prstGeom>
        </p:spPr>
      </p:pic>
      <p:pic>
        <p:nvPicPr>
          <p:cNvPr id="42" name="Graphic 41">
            <a:extLst>
              <a:ext uri="{FF2B5EF4-FFF2-40B4-BE49-F238E27FC236}">
                <a16:creationId xmlns:a16="http://schemas.microsoft.com/office/drawing/2014/main" id="{E7A9EF44-1BFF-FA49-A852-5A2BAAB7B0E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591208" y="3119368"/>
            <a:ext cx="678765" cy="1251017"/>
          </a:xfrm>
          <a:prstGeom prst="rect">
            <a:avLst/>
          </a:prstGeom>
        </p:spPr>
      </p:pic>
      <p:sp>
        <p:nvSpPr>
          <p:cNvPr id="3" name="TextBox 2">
            <a:extLst>
              <a:ext uri="{FF2B5EF4-FFF2-40B4-BE49-F238E27FC236}">
                <a16:creationId xmlns:a16="http://schemas.microsoft.com/office/drawing/2014/main" id="{C449703C-CED6-E54B-AB9F-1C9C6E4CD13C}"/>
              </a:ext>
            </a:extLst>
          </p:cNvPr>
          <p:cNvSpPr txBox="1"/>
          <p:nvPr/>
        </p:nvSpPr>
        <p:spPr>
          <a:xfrm>
            <a:off x="1269500" y="3785442"/>
            <a:ext cx="2621269" cy="584775"/>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95959"/>
                </a:solidFill>
                <a:effectLst/>
                <a:uLnTx/>
                <a:uFillTx/>
                <a:latin typeface="Arial Narrow" panose="020B0606020202030204" pitchFamily="34" charset="0"/>
                <a:ea typeface="+mn-ea"/>
                <a:cs typeface="+mn-cs"/>
              </a:rPr>
              <a:t>Presence of </a:t>
            </a:r>
            <a:br>
              <a:rPr kumimoji="0" lang="en-US" sz="1600" b="1" i="0" u="none" strike="noStrike" kern="1200" cap="none" spc="0" normalizeH="0" baseline="0" noProof="0" dirty="0">
                <a:ln>
                  <a:noFill/>
                </a:ln>
                <a:solidFill>
                  <a:srgbClr val="595959"/>
                </a:solidFill>
                <a:effectLst/>
                <a:uLnTx/>
                <a:uFillTx/>
                <a:latin typeface="Arial Narrow" panose="020B0606020202030204" pitchFamily="34" charset="0"/>
                <a:ea typeface="+mn-ea"/>
                <a:cs typeface="+mn-cs"/>
              </a:rPr>
            </a:br>
            <a:r>
              <a:rPr kumimoji="0" lang="en-US" sz="1600" b="1" i="1" u="none" strike="noStrike" kern="1200" cap="none" spc="0" normalizeH="0" baseline="0" noProof="0" dirty="0">
                <a:ln>
                  <a:noFill/>
                </a:ln>
                <a:solidFill>
                  <a:srgbClr val="595959"/>
                </a:solidFill>
                <a:effectLst/>
                <a:uLnTx/>
                <a:uFillTx/>
                <a:latin typeface="Arial Narrow" panose="020B0606020202030204" pitchFamily="34" charset="0"/>
                <a:ea typeface="+mn-ea"/>
                <a:cs typeface="+mn-cs"/>
              </a:rPr>
              <a:t>BRCA</a:t>
            </a:r>
            <a:r>
              <a:rPr kumimoji="0" lang="en-US" sz="1600" b="1" i="0" u="none" strike="noStrike" kern="1200" cap="none" spc="0" normalizeH="0" baseline="0" noProof="0" dirty="0">
                <a:ln>
                  <a:noFill/>
                </a:ln>
                <a:solidFill>
                  <a:srgbClr val="595959"/>
                </a:solidFill>
                <a:effectLst/>
                <a:uLnTx/>
                <a:uFillTx/>
                <a:latin typeface="Arial Narrow" panose="020B0606020202030204" pitchFamily="34" charset="0"/>
                <a:ea typeface="+mn-ea"/>
                <a:cs typeface="+mn-cs"/>
              </a:rPr>
              <a:t> mutation</a:t>
            </a:r>
          </a:p>
        </p:txBody>
      </p:sp>
      <p:sp>
        <p:nvSpPr>
          <p:cNvPr id="63" name="TextBox 62">
            <a:extLst>
              <a:ext uri="{FF2B5EF4-FFF2-40B4-BE49-F238E27FC236}">
                <a16:creationId xmlns:a16="http://schemas.microsoft.com/office/drawing/2014/main" id="{14099F63-E516-FE4D-A59C-FF876E2E0AAE}"/>
              </a:ext>
            </a:extLst>
          </p:cNvPr>
          <p:cNvSpPr txBox="1"/>
          <p:nvPr/>
        </p:nvSpPr>
        <p:spPr>
          <a:xfrm>
            <a:off x="7128775" y="5662660"/>
            <a:ext cx="1830324" cy="321811"/>
          </a:xfrm>
          <a:prstGeom prst="roundRect">
            <a:avLst>
              <a:gd name="adj" fmla="val 50000"/>
            </a:avLst>
          </a:prstGeom>
          <a:solidFill>
            <a:schemeClr val="accent2"/>
          </a:solidFill>
        </p:spPr>
        <p:txBody>
          <a:bodyPr wrap="square" rtlCol="0" anchor="ctr">
            <a:no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Score out of 100</a:t>
            </a:r>
          </a:p>
        </p:txBody>
      </p:sp>
      <p:sp>
        <p:nvSpPr>
          <p:cNvPr id="56" name="TextBox 55">
            <a:extLst>
              <a:ext uri="{FF2B5EF4-FFF2-40B4-BE49-F238E27FC236}">
                <a16:creationId xmlns:a16="http://schemas.microsoft.com/office/drawing/2014/main" id="{F97F6490-99D9-104F-89E1-AE03F50C87B0}"/>
              </a:ext>
            </a:extLst>
          </p:cNvPr>
          <p:cNvSpPr txBox="1"/>
          <p:nvPr/>
        </p:nvSpPr>
        <p:spPr>
          <a:xfrm flipH="1">
            <a:off x="4463276" y="3204619"/>
            <a:ext cx="1025035" cy="1015663"/>
          </a:xfrm>
          <a:prstGeom prst="rect">
            <a:avLst/>
          </a:prstGeom>
          <a:noFill/>
        </p:spPr>
        <p:txBody>
          <a:bodyPr wrap="square" rtlCol="0" anchor="ctr">
            <a:spAutoFit/>
          </a:bodyPr>
          <a:lstStyle/>
          <a:p>
            <a:pPr marL="0" marR="0" lvl="0" indent="0" algn="r" defTabSz="609539"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Narrow" panose="020B0606020202030204" pitchFamily="34" charset="0"/>
                <a:ea typeface="+mn-ea"/>
                <a:cs typeface="+mn-cs"/>
              </a:rPr>
              <a:t>Example:</a:t>
            </a:r>
            <a:r>
              <a:rPr kumimoji="0" lang="en-US" sz="1200" b="0" i="0" u="none" strike="noStrike" kern="1200" cap="none" spc="0" normalizeH="0" baseline="0" noProof="0" dirty="0">
                <a:ln>
                  <a:noFill/>
                </a:ln>
                <a:solidFill>
                  <a:srgbClr val="595959"/>
                </a:solidFill>
                <a:effectLst/>
                <a:uLnTx/>
                <a:uFillTx/>
                <a:latin typeface="Arial Narrow" panose="020B0606020202030204" pitchFamily="34" charset="0"/>
                <a:ea typeface="+mn-ea"/>
                <a:cs typeface="+mn-cs"/>
              </a:rPr>
              <a:t> Myriad </a:t>
            </a:r>
            <a:r>
              <a:rPr kumimoji="0" lang="en-US" sz="1200" b="0" i="0" u="none" strike="noStrike" kern="1200" cap="none" spc="0" normalizeH="0" baseline="0" noProof="0" dirty="0" err="1">
                <a:ln>
                  <a:noFill/>
                </a:ln>
                <a:solidFill>
                  <a:srgbClr val="595959"/>
                </a:solidFill>
                <a:effectLst/>
                <a:uLnTx/>
                <a:uFillTx/>
                <a:latin typeface="Arial Narrow" panose="020B0606020202030204" pitchFamily="34" charset="0"/>
                <a:ea typeface="+mn-ea"/>
                <a:cs typeface="+mn-cs"/>
              </a:rPr>
              <a:t>myChoice</a:t>
            </a:r>
            <a:r>
              <a:rPr kumimoji="0" lang="en-US" sz="1200" b="0" i="0" u="none" strike="noStrike" kern="1200" cap="none" spc="0" normalizeH="0" baseline="30000" noProof="0" dirty="0">
                <a:ln>
                  <a:noFill/>
                </a:ln>
                <a:solidFill>
                  <a:srgbClr val="595959"/>
                </a:solidFill>
                <a:effectLst/>
                <a:uLnTx/>
                <a:uFillTx/>
                <a:latin typeface="Arial Narrow" panose="020B0606020202030204" pitchFamily="34" charset="0"/>
                <a:ea typeface="+mn-ea"/>
                <a:cs typeface="+mn-cs"/>
              </a:rPr>
              <a:t>®</a:t>
            </a:r>
            <a:r>
              <a:rPr kumimoji="0" lang="en-US" sz="1200" b="0" i="0" u="none" strike="noStrike" kern="1200" cap="none" spc="0" normalizeH="0" baseline="0" noProof="0" dirty="0">
                <a:ln>
                  <a:noFill/>
                </a:ln>
                <a:solidFill>
                  <a:srgbClr val="595959"/>
                </a:solidFill>
                <a:effectLst/>
                <a:uLnTx/>
                <a:uFillTx/>
                <a:latin typeface="Arial Narrow" panose="020B0606020202030204" pitchFamily="34" charset="0"/>
                <a:ea typeface="+mn-ea"/>
                <a:cs typeface="+mn-cs"/>
              </a:rPr>
              <a:t> genomic instability</a:t>
            </a:r>
          </a:p>
        </p:txBody>
      </p:sp>
      <p:sp>
        <p:nvSpPr>
          <p:cNvPr id="58" name="Rectangle: Rounded Corners 57">
            <a:extLst>
              <a:ext uri="{FF2B5EF4-FFF2-40B4-BE49-F238E27FC236}">
                <a16:creationId xmlns:a16="http://schemas.microsoft.com/office/drawing/2014/main" id="{42E83ED8-35B1-400D-8469-993C9BEFB3DA}"/>
              </a:ext>
            </a:extLst>
          </p:cNvPr>
          <p:cNvSpPr/>
          <p:nvPr/>
        </p:nvSpPr>
        <p:spPr>
          <a:xfrm>
            <a:off x="515940" y="1036156"/>
            <a:ext cx="11160125" cy="865584"/>
          </a:xfrm>
          <a:prstGeom prst="roundRect">
            <a:avLst>
              <a:gd name="adj" fmla="val 50000"/>
            </a:avLst>
          </a:prstGeom>
          <a:solidFill>
            <a:schemeClr val="accent1"/>
          </a:solidFill>
          <a:ln w="57150">
            <a:noFill/>
          </a:ln>
        </p:spPr>
        <p:style>
          <a:lnRef idx="0">
            <a:scrgbClr r="0" g="0" b="0"/>
          </a:lnRef>
          <a:fillRef idx="0">
            <a:scrgbClr r="0" g="0" b="0"/>
          </a:fillRef>
          <a:effectRef idx="0">
            <a:scrgbClr r="0" g="0" b="0"/>
          </a:effectRef>
          <a:fontRef idx="minor">
            <a:schemeClr val="lt1"/>
          </a:fontRef>
        </p:style>
        <p:txBody>
          <a:bodyPr wrap="square" lIns="108000" tIns="0" rIns="108000" bIns="0" rtlCol="0" anchor="ctr">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Analysis is performed on DNA isolated from FFPE </a:t>
            </a:r>
            <a:r>
              <a:rPr kumimoji="0" lang="en-US" sz="2000" b="0" i="0" u="none" strike="noStrike" kern="1200" cap="none" spc="0" normalizeH="0" baseline="0" noProof="0" dirty="0" err="1">
                <a:ln>
                  <a:noFill/>
                </a:ln>
                <a:solidFill>
                  <a:srgbClr val="FFFFFF"/>
                </a:solidFill>
                <a:effectLst/>
                <a:uLnTx/>
                <a:uFillTx/>
                <a:latin typeface="Arial Narrow" panose="020B0606020202030204" pitchFamily="34" charset="0"/>
                <a:ea typeface="+mn-ea"/>
                <a:cs typeface="+mn-cs"/>
              </a:rPr>
              <a:t>tumour</a:t>
            </a:r>
            <a:r>
              <a:rPr kumimoji="0" lang="en-US" sz="20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 tissue and assesses two factors to determine HRD status</a:t>
            </a:r>
          </a:p>
        </p:txBody>
      </p:sp>
      <p:sp>
        <p:nvSpPr>
          <p:cNvPr id="9" name="Rectangle: Rounded Corners 8">
            <a:extLst>
              <a:ext uri="{FF2B5EF4-FFF2-40B4-BE49-F238E27FC236}">
                <a16:creationId xmlns:a16="http://schemas.microsoft.com/office/drawing/2014/main" id="{DE2615C4-16F6-4889-B866-D47B489CA580}"/>
              </a:ext>
            </a:extLst>
          </p:cNvPr>
          <p:cNvSpPr/>
          <p:nvPr/>
        </p:nvSpPr>
        <p:spPr>
          <a:xfrm>
            <a:off x="4026718" y="1915462"/>
            <a:ext cx="4135772" cy="431823"/>
          </a:xfrm>
          <a:prstGeom prst="roundRect">
            <a:avLst>
              <a:gd name="adj" fmla="val 5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Testing in newly diagnosed ovarian cancer</a:t>
            </a:r>
          </a:p>
        </p:txBody>
      </p:sp>
      <p:sp>
        <p:nvSpPr>
          <p:cNvPr id="61" name="Triangle 60">
            <a:extLst>
              <a:ext uri="{FF2B5EF4-FFF2-40B4-BE49-F238E27FC236}">
                <a16:creationId xmlns:a16="http://schemas.microsoft.com/office/drawing/2014/main" id="{F2B8BEE5-6A31-B346-845A-A4E87C8AC1F5}"/>
              </a:ext>
            </a:extLst>
          </p:cNvPr>
          <p:cNvSpPr/>
          <p:nvPr/>
        </p:nvSpPr>
        <p:spPr>
          <a:xfrm rot="10800000">
            <a:off x="7729613" y="5383259"/>
            <a:ext cx="628651" cy="2794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4" name="Triangle 63">
            <a:extLst>
              <a:ext uri="{FF2B5EF4-FFF2-40B4-BE49-F238E27FC236}">
                <a16:creationId xmlns:a16="http://schemas.microsoft.com/office/drawing/2014/main" id="{CA0DEB2B-DC5E-6744-BB1B-3C05927FDC32}"/>
              </a:ext>
            </a:extLst>
          </p:cNvPr>
          <p:cNvSpPr/>
          <p:nvPr/>
        </p:nvSpPr>
        <p:spPr>
          <a:xfrm rot="10800000">
            <a:off x="2265808" y="4488275"/>
            <a:ext cx="628651" cy="2794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5" name="TextBox 64">
            <a:extLst>
              <a:ext uri="{FF2B5EF4-FFF2-40B4-BE49-F238E27FC236}">
                <a16:creationId xmlns:a16="http://schemas.microsoft.com/office/drawing/2014/main" id="{DCF57107-33D1-ED49-AC75-FED7872C2E8C}"/>
              </a:ext>
            </a:extLst>
          </p:cNvPr>
          <p:cNvSpPr txBox="1"/>
          <p:nvPr/>
        </p:nvSpPr>
        <p:spPr>
          <a:xfrm>
            <a:off x="1762604" y="4885737"/>
            <a:ext cx="771477" cy="331411"/>
          </a:xfrm>
          <a:prstGeom prst="roundRect">
            <a:avLst>
              <a:gd name="adj" fmla="val 50000"/>
            </a:avLst>
          </a:prstGeom>
          <a:solidFill>
            <a:schemeClr val="accent2"/>
          </a:solidFill>
        </p:spPr>
        <p:txBody>
          <a:bodyPr wrap="square" rtlCol="0" anchor="ctr">
            <a:no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Yes</a:t>
            </a:r>
          </a:p>
        </p:txBody>
      </p:sp>
      <p:sp>
        <p:nvSpPr>
          <p:cNvPr id="66" name="TextBox 65">
            <a:extLst>
              <a:ext uri="{FF2B5EF4-FFF2-40B4-BE49-F238E27FC236}">
                <a16:creationId xmlns:a16="http://schemas.microsoft.com/office/drawing/2014/main" id="{EBFCFC4F-1C0C-2846-8554-ED18AA1F750F}"/>
              </a:ext>
            </a:extLst>
          </p:cNvPr>
          <p:cNvSpPr txBox="1"/>
          <p:nvPr/>
        </p:nvSpPr>
        <p:spPr>
          <a:xfrm>
            <a:off x="2650976" y="4885737"/>
            <a:ext cx="771477" cy="331411"/>
          </a:xfrm>
          <a:prstGeom prst="roundRect">
            <a:avLst>
              <a:gd name="adj" fmla="val 50000"/>
            </a:avLst>
          </a:prstGeom>
          <a:solidFill>
            <a:schemeClr val="accent5"/>
          </a:solidFill>
        </p:spPr>
        <p:txBody>
          <a:bodyPr wrap="square" rtlCol="0" anchor="ctr">
            <a:no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No</a:t>
            </a:r>
          </a:p>
        </p:txBody>
      </p:sp>
      <p:grpSp>
        <p:nvGrpSpPr>
          <p:cNvPr id="19" name="Group 18">
            <a:extLst>
              <a:ext uri="{FF2B5EF4-FFF2-40B4-BE49-F238E27FC236}">
                <a16:creationId xmlns:a16="http://schemas.microsoft.com/office/drawing/2014/main" id="{4764155E-F40C-8646-8291-147A3E6B9AAA}"/>
              </a:ext>
            </a:extLst>
          </p:cNvPr>
          <p:cNvGrpSpPr/>
          <p:nvPr/>
        </p:nvGrpSpPr>
        <p:grpSpPr>
          <a:xfrm>
            <a:off x="1366895" y="3238049"/>
            <a:ext cx="2362356" cy="452751"/>
            <a:chOff x="2172894" y="1764726"/>
            <a:chExt cx="8126675" cy="1557496"/>
          </a:xfrm>
        </p:grpSpPr>
        <p:pic>
          <p:nvPicPr>
            <p:cNvPr id="67" name="Picture 66" descr="A picture containing drawing&#10;&#10;Description automatically generated">
              <a:extLst>
                <a:ext uri="{FF2B5EF4-FFF2-40B4-BE49-F238E27FC236}">
                  <a16:creationId xmlns:a16="http://schemas.microsoft.com/office/drawing/2014/main" id="{B79677F5-C0F6-0B43-BCB3-6C1041C62A8B}"/>
                </a:ext>
              </a:extLst>
            </p:cNvPr>
            <p:cNvPicPr>
              <a:picLocks noChangeAspect="1"/>
            </p:cNvPicPr>
            <p:nvPr/>
          </p:nvPicPr>
          <p:blipFill>
            <a:blip r:embed="rId5"/>
            <a:stretch>
              <a:fillRect/>
            </a:stretch>
          </p:blipFill>
          <p:spPr>
            <a:xfrm>
              <a:off x="2172894" y="2002276"/>
              <a:ext cx="8126675" cy="1319946"/>
            </a:xfrm>
            <a:prstGeom prst="rect">
              <a:avLst/>
            </a:prstGeom>
          </p:spPr>
        </p:pic>
        <p:pic>
          <p:nvPicPr>
            <p:cNvPr id="69" name="Picture 68" descr="A picture containing airplane&#10;&#10;Description automatically generated">
              <a:extLst>
                <a:ext uri="{FF2B5EF4-FFF2-40B4-BE49-F238E27FC236}">
                  <a16:creationId xmlns:a16="http://schemas.microsoft.com/office/drawing/2014/main" id="{0A3BF464-22EC-0E45-B47E-E65F0D1A591D}"/>
                </a:ext>
              </a:extLst>
            </p:cNvPr>
            <p:cNvPicPr>
              <a:picLocks noChangeAspect="1"/>
            </p:cNvPicPr>
            <p:nvPr/>
          </p:nvPicPr>
          <p:blipFill>
            <a:blip r:embed="rId6"/>
            <a:stretch>
              <a:fillRect/>
            </a:stretch>
          </p:blipFill>
          <p:spPr>
            <a:xfrm>
              <a:off x="5153717" y="1764726"/>
              <a:ext cx="737619" cy="734569"/>
            </a:xfrm>
            <a:prstGeom prst="rect">
              <a:avLst/>
            </a:prstGeom>
          </p:spPr>
        </p:pic>
      </p:grpSp>
    </p:spTree>
    <p:extLst>
      <p:ext uri="{BB962C8B-B14F-4D97-AF65-F5344CB8AC3E}">
        <p14:creationId xmlns:p14="http://schemas.microsoft.com/office/powerpoint/2010/main" val="441898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CA97772A-1631-4C35-B5E3-4917DE7DECC0}"/>
              </a:ext>
            </a:extLst>
          </p:cNvPr>
          <p:cNvSpPr>
            <a:spLocks noGrp="1"/>
          </p:cNvSpPr>
          <p:nvPr>
            <p:ph type="title"/>
          </p:nvPr>
        </p:nvSpPr>
        <p:spPr/>
        <p:txBody>
          <a:bodyPr/>
          <a:lstStyle/>
          <a:p>
            <a:r>
              <a:rPr lang="en-US" sz="3200" dirty="0"/>
              <a:t>Patient identification and testing modalities</a:t>
            </a:r>
            <a:endParaRPr lang="en-US" sz="3200" i="1" dirty="0"/>
          </a:p>
        </p:txBody>
      </p:sp>
      <p:sp>
        <p:nvSpPr>
          <p:cNvPr id="7" name="Text Placeholder 17">
            <a:extLst>
              <a:ext uri="{FF2B5EF4-FFF2-40B4-BE49-F238E27FC236}">
                <a16:creationId xmlns:a16="http://schemas.microsoft.com/office/drawing/2014/main" id="{267C002E-EC0B-4C62-ABC8-46F9D34AE2FE}"/>
              </a:ext>
            </a:extLst>
          </p:cNvPr>
          <p:cNvSpPr txBox="1">
            <a:spLocks/>
          </p:cNvSpPr>
          <p:nvPr/>
        </p:nvSpPr>
        <p:spPr>
          <a:xfrm>
            <a:off x="1000851" y="6399187"/>
            <a:ext cx="9295676" cy="333660"/>
          </a:xfrm>
          <a:prstGeom prst="rect">
            <a:avLst/>
          </a:prstGeom>
        </p:spPr>
        <p:txBody>
          <a:bodyPr/>
          <a:lstStyle>
            <a:lvl1pPr marL="342900" indent="-342900" algn="l" rtl="0" eaLnBrk="0" fontAlgn="base" hangingPunct="0">
              <a:spcBef>
                <a:spcPct val="20000"/>
              </a:spcBef>
              <a:spcAft>
                <a:spcPct val="0"/>
              </a:spcAft>
              <a:buClr>
                <a:srgbClr val="B41860"/>
              </a:buClr>
              <a:buFont typeface="Arial" panose="020B0604020202020204" pitchFamily="34" charset="0"/>
              <a:buChar char="•"/>
              <a:defRPr sz="3200" kern="1200">
                <a:solidFill>
                  <a:srgbClr val="2C426C"/>
                </a:solidFill>
                <a:latin typeface="+mn-lt"/>
                <a:ea typeface="+mn-ea"/>
                <a:cs typeface="+mn-cs"/>
              </a:defRPr>
            </a:lvl1pPr>
            <a:lvl2pPr marL="742950" indent="-285750" algn="l" rtl="0" eaLnBrk="0" fontAlgn="base" hangingPunct="0">
              <a:spcBef>
                <a:spcPct val="20000"/>
              </a:spcBef>
              <a:spcAft>
                <a:spcPct val="0"/>
              </a:spcAft>
              <a:buClr>
                <a:srgbClr val="B41860"/>
              </a:buClr>
              <a:buFont typeface="Arial" panose="020B0604020202020204" pitchFamily="34" charset="0"/>
              <a:buChar char="–"/>
              <a:defRPr sz="2800" kern="1200">
                <a:solidFill>
                  <a:srgbClr val="499CE1"/>
                </a:solidFill>
                <a:latin typeface="+mn-lt"/>
                <a:ea typeface="+mn-ea"/>
                <a:cs typeface="+mn-cs"/>
              </a:defRPr>
            </a:lvl2pPr>
            <a:lvl3pPr marL="1143000" indent="-228600" algn="l" rtl="0" eaLnBrk="0" fontAlgn="base" hangingPunct="0">
              <a:spcBef>
                <a:spcPct val="20000"/>
              </a:spcBef>
              <a:spcAft>
                <a:spcPct val="0"/>
              </a:spcAft>
              <a:buClr>
                <a:srgbClr val="B41860"/>
              </a:buClr>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B41860"/>
              </a:buClr>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B41860"/>
              </a:buClr>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377" rtl="0" eaLnBrk="0" fontAlgn="base" latinLnBrk="0" hangingPunct="0">
              <a:lnSpc>
                <a:spcPct val="100000"/>
              </a:lnSpc>
              <a:spcBef>
                <a:spcPct val="20000"/>
              </a:spcBef>
              <a:spcAft>
                <a:spcPct val="0"/>
              </a:spcAft>
              <a:buClr>
                <a:srgbClr val="B41860"/>
              </a:buClr>
              <a:buSzTx/>
              <a:buFont typeface="Arial" panose="020B0604020202020204" pitchFamily="34" charset="0"/>
              <a:buNone/>
              <a:tabLst/>
              <a:defRPr/>
            </a:pPr>
            <a:r>
              <a:rPr kumimoji="0" lang="en-US" sz="1100" b="0" i="0" u="none" strike="noStrike" kern="1200" cap="none" spc="0" normalizeH="0" baseline="0" noProof="0" dirty="0">
                <a:ln>
                  <a:noFill/>
                </a:ln>
                <a:solidFill>
                  <a:srgbClr val="2C426C"/>
                </a:solidFill>
                <a:effectLst/>
                <a:uLnTx/>
                <a:uFillTx/>
                <a:latin typeface="Century Gothic" panose="020F0302020204030204"/>
                <a:ea typeface="+mn-ea"/>
                <a:cs typeface="+mn-cs"/>
              </a:rPr>
              <a:t>1. Neff RT </a:t>
            </a:r>
            <a:r>
              <a:rPr kumimoji="0" lang="en-US" sz="1100" b="0" i="1" u="none" strike="noStrike" kern="1200" cap="none" spc="0" normalizeH="0" baseline="0" noProof="0" dirty="0">
                <a:ln>
                  <a:noFill/>
                </a:ln>
                <a:solidFill>
                  <a:srgbClr val="2C426C"/>
                </a:solidFill>
                <a:effectLst/>
                <a:uLnTx/>
                <a:uFillTx/>
                <a:latin typeface="Century Gothic" panose="020F0302020204030204"/>
                <a:ea typeface="+mn-ea"/>
                <a:cs typeface="+mn-cs"/>
              </a:rPr>
              <a:t>et al. Ther Adv Med Oncol</a:t>
            </a:r>
            <a:r>
              <a:rPr kumimoji="0" lang="en-US" sz="1100" b="0" i="0" u="none" strike="noStrike" kern="1200" cap="none" spc="0" normalizeH="0" baseline="0" noProof="0" dirty="0">
                <a:ln>
                  <a:noFill/>
                </a:ln>
                <a:solidFill>
                  <a:srgbClr val="2C426C"/>
                </a:solidFill>
                <a:effectLst/>
                <a:uLnTx/>
                <a:uFillTx/>
                <a:latin typeface="Century Gothic" panose="020F0302020204030204"/>
                <a:ea typeface="+mn-ea"/>
                <a:cs typeface="+mn-cs"/>
              </a:rPr>
              <a:t>. 2017;9(8):519-31. 2. Pennington KP, </a:t>
            </a:r>
            <a:r>
              <a:rPr kumimoji="0" lang="en-US" sz="1100" b="0" i="1" u="none" strike="noStrike" kern="1200" cap="none" spc="0" normalizeH="0" baseline="0" noProof="0" dirty="0">
                <a:ln>
                  <a:noFill/>
                </a:ln>
                <a:solidFill>
                  <a:srgbClr val="2C426C"/>
                </a:solidFill>
                <a:effectLst/>
                <a:uLnTx/>
                <a:uFillTx/>
                <a:latin typeface="Century Gothic" panose="020F0302020204030204"/>
                <a:ea typeface="+mn-ea"/>
                <a:cs typeface="+mn-cs"/>
              </a:rPr>
              <a:t>et al. Clin Cancer Res</a:t>
            </a:r>
            <a:r>
              <a:rPr kumimoji="0" lang="en-US" sz="1100" b="0" i="0" u="none" strike="noStrike" kern="1200" cap="none" spc="0" normalizeH="0" baseline="0" noProof="0" dirty="0">
                <a:ln>
                  <a:noFill/>
                </a:ln>
                <a:solidFill>
                  <a:srgbClr val="2C426C"/>
                </a:solidFill>
                <a:effectLst/>
                <a:uLnTx/>
                <a:uFillTx/>
                <a:latin typeface="Century Gothic" panose="020F0302020204030204"/>
                <a:ea typeface="+mn-ea"/>
                <a:cs typeface="+mn-cs"/>
              </a:rPr>
              <a:t>. 2014;20(3):764-75. 3. Konstantinopoulos PA, </a:t>
            </a:r>
            <a:r>
              <a:rPr kumimoji="0" lang="en-US" sz="1100" b="0" i="1" u="none" strike="noStrike" kern="1200" cap="none" spc="0" normalizeH="0" baseline="0" noProof="0" dirty="0">
                <a:ln>
                  <a:noFill/>
                </a:ln>
                <a:solidFill>
                  <a:srgbClr val="2C426C"/>
                </a:solidFill>
                <a:effectLst/>
                <a:uLnTx/>
                <a:uFillTx/>
                <a:latin typeface="Century Gothic" panose="020F0302020204030204"/>
                <a:ea typeface="+mn-ea"/>
                <a:cs typeface="+mn-cs"/>
              </a:rPr>
              <a:t>et al. Cancer </a:t>
            </a:r>
            <a:r>
              <a:rPr kumimoji="0" lang="en-US" sz="1100" b="0" i="1" u="none" strike="noStrike" kern="1200" cap="none" spc="0" normalizeH="0" baseline="0" noProof="0" dirty="0" err="1">
                <a:ln>
                  <a:noFill/>
                </a:ln>
                <a:solidFill>
                  <a:srgbClr val="2C426C"/>
                </a:solidFill>
                <a:effectLst/>
                <a:uLnTx/>
                <a:uFillTx/>
                <a:latin typeface="Century Gothic" panose="020F0302020204030204"/>
                <a:ea typeface="+mn-ea"/>
                <a:cs typeface="+mn-cs"/>
              </a:rPr>
              <a:t>Discov</a:t>
            </a:r>
            <a:r>
              <a:rPr kumimoji="0" lang="en-US" sz="1100" b="0" i="0" u="none" strike="noStrike" kern="1200" cap="none" spc="0" normalizeH="0" baseline="0" noProof="0" dirty="0">
                <a:ln>
                  <a:noFill/>
                </a:ln>
                <a:solidFill>
                  <a:srgbClr val="2C426C"/>
                </a:solidFill>
                <a:effectLst/>
                <a:uLnTx/>
                <a:uFillTx/>
                <a:latin typeface="Century Gothic" panose="020F0302020204030204"/>
                <a:ea typeface="+mn-ea"/>
                <a:cs typeface="+mn-cs"/>
              </a:rPr>
              <a:t>. 2015;5(11):1137-54. 4. Cancer Genome Atlas Research Network. </a:t>
            </a:r>
            <a:r>
              <a:rPr kumimoji="0" lang="en-US" sz="1100" b="0" i="1" u="none" strike="noStrike" kern="1200" cap="none" spc="0" normalizeH="0" baseline="0" noProof="0" dirty="0">
                <a:ln>
                  <a:noFill/>
                </a:ln>
                <a:solidFill>
                  <a:srgbClr val="2C426C"/>
                </a:solidFill>
                <a:effectLst/>
                <a:uLnTx/>
                <a:uFillTx/>
                <a:latin typeface="Century Gothic" panose="020F0302020204030204"/>
                <a:ea typeface="+mn-ea"/>
                <a:cs typeface="+mn-cs"/>
              </a:rPr>
              <a:t>Nature</a:t>
            </a:r>
            <a:r>
              <a:rPr kumimoji="0" lang="en-US" sz="1100" b="0" i="0" u="none" strike="noStrike" kern="1200" cap="none" spc="0" normalizeH="0" baseline="0" noProof="0" dirty="0">
                <a:ln>
                  <a:noFill/>
                </a:ln>
                <a:solidFill>
                  <a:srgbClr val="2C426C"/>
                </a:solidFill>
                <a:effectLst/>
                <a:uLnTx/>
                <a:uFillTx/>
                <a:latin typeface="Century Gothic" panose="020F0302020204030204"/>
                <a:ea typeface="+mn-ea"/>
                <a:cs typeface="+mn-cs"/>
              </a:rPr>
              <a:t>. 2011;474(7353):609-15.</a:t>
            </a:r>
          </a:p>
        </p:txBody>
      </p:sp>
      <p:sp>
        <p:nvSpPr>
          <p:cNvPr id="8" name="TextBox 3">
            <a:extLst>
              <a:ext uri="{FF2B5EF4-FFF2-40B4-BE49-F238E27FC236}">
                <a16:creationId xmlns:a16="http://schemas.microsoft.com/office/drawing/2014/main" id="{65BDF11C-BD70-413E-9D7D-94D50D2ABAC6}"/>
              </a:ext>
            </a:extLst>
          </p:cNvPr>
          <p:cNvSpPr txBox="1"/>
          <p:nvPr/>
        </p:nvSpPr>
        <p:spPr>
          <a:xfrm>
            <a:off x="6838748" y="1680932"/>
            <a:ext cx="4308723" cy="307777"/>
          </a:xfrm>
          <a:prstGeom prst="rect">
            <a:avLst/>
          </a:prstGeom>
          <a:noFill/>
        </p:spPr>
        <p:txBody>
          <a:bodyPr wrap="square" rtlCol="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a:ea typeface="+mn-ea"/>
                <a:cs typeface="+mn-cs"/>
              </a:rPr>
              <a:t>Approximate percent of women “positive” by testing modality</a:t>
            </a:r>
          </a:p>
        </p:txBody>
      </p:sp>
      <p:grpSp>
        <p:nvGrpSpPr>
          <p:cNvPr id="9" name="Group 31">
            <a:extLst>
              <a:ext uri="{FF2B5EF4-FFF2-40B4-BE49-F238E27FC236}">
                <a16:creationId xmlns:a16="http://schemas.microsoft.com/office/drawing/2014/main" id="{34127757-F289-47B4-82C1-1CE6F5DB041A}"/>
              </a:ext>
            </a:extLst>
          </p:cNvPr>
          <p:cNvGrpSpPr/>
          <p:nvPr/>
        </p:nvGrpSpPr>
        <p:grpSpPr>
          <a:xfrm>
            <a:off x="609602" y="2014047"/>
            <a:ext cx="10537871" cy="3898811"/>
            <a:chOff x="609600" y="1651634"/>
            <a:chExt cx="10540615" cy="3899827"/>
          </a:xfrm>
        </p:grpSpPr>
        <p:pic>
          <p:nvPicPr>
            <p:cNvPr id="10" name="Picture 4">
              <a:extLst>
                <a:ext uri="{FF2B5EF4-FFF2-40B4-BE49-F238E27FC236}">
                  <a16:creationId xmlns:a16="http://schemas.microsoft.com/office/drawing/2014/main" id="{C1712291-10F9-413B-AA97-FDC3D5449878}"/>
                </a:ext>
              </a:extLst>
            </p:cNvPr>
            <p:cNvPicPr>
              <a:picLocks noChangeAspect="1"/>
            </p:cNvPicPr>
            <p:nvPr/>
          </p:nvPicPr>
          <p:blipFill>
            <a:blip r:embed="rId2" cstate="email">
              <a:alphaModFix amt="50000"/>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026762" y="1651634"/>
              <a:ext cx="7553245" cy="704088"/>
            </a:xfrm>
            <a:prstGeom prst="rect">
              <a:avLst/>
            </a:prstGeom>
          </p:spPr>
        </p:pic>
        <p:pic>
          <p:nvPicPr>
            <p:cNvPr id="11" name="Picture 5">
              <a:extLst>
                <a:ext uri="{FF2B5EF4-FFF2-40B4-BE49-F238E27FC236}">
                  <a16:creationId xmlns:a16="http://schemas.microsoft.com/office/drawing/2014/main" id="{F17D48E7-B0D3-429F-85A7-359490C2EBE9}"/>
                </a:ext>
              </a:extLst>
            </p:cNvPr>
            <p:cNvPicPr>
              <a:picLocks noChangeAspect="1"/>
            </p:cNvPicPr>
            <p:nvPr/>
          </p:nvPicPr>
          <p:blipFill rotWithShape="1">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022787" y="1651635"/>
              <a:ext cx="1512160" cy="707971"/>
            </a:xfrm>
            <a:prstGeom prst="rect">
              <a:avLst/>
            </a:prstGeom>
          </p:spPr>
        </p:pic>
        <p:pic>
          <p:nvPicPr>
            <p:cNvPr id="12" name="Picture 6">
              <a:extLst>
                <a:ext uri="{FF2B5EF4-FFF2-40B4-BE49-F238E27FC236}">
                  <a16:creationId xmlns:a16="http://schemas.microsoft.com/office/drawing/2014/main" id="{F8F973F5-0DB2-4E62-81C7-CC0D0C8B31C4}"/>
                </a:ext>
              </a:extLst>
            </p:cNvPr>
            <p:cNvPicPr>
              <a:picLocks noChangeAspect="1"/>
            </p:cNvPicPr>
            <p:nvPr/>
          </p:nvPicPr>
          <p:blipFill>
            <a:blip r:embed="rId2" cstate="email">
              <a:alphaModFix amt="50000"/>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022787" y="2396805"/>
              <a:ext cx="7553245" cy="704088"/>
            </a:xfrm>
            <a:prstGeom prst="rect">
              <a:avLst/>
            </a:prstGeom>
          </p:spPr>
        </p:pic>
        <p:pic>
          <p:nvPicPr>
            <p:cNvPr id="13" name="Picture 7">
              <a:extLst>
                <a:ext uri="{FF2B5EF4-FFF2-40B4-BE49-F238E27FC236}">
                  <a16:creationId xmlns:a16="http://schemas.microsoft.com/office/drawing/2014/main" id="{CD0EA35A-B816-4703-AF3A-F54A0A7DB3F6}"/>
                </a:ext>
              </a:extLst>
            </p:cNvPr>
            <p:cNvPicPr>
              <a:picLocks noChangeAspect="1"/>
            </p:cNvPicPr>
            <p:nvPr/>
          </p:nvPicPr>
          <p:blipFill>
            <a:blip r:embed="rId2" cstate="email">
              <a:alphaModFix amt="50000"/>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026762" y="3186995"/>
              <a:ext cx="7553245" cy="704088"/>
            </a:xfrm>
            <a:prstGeom prst="rect">
              <a:avLst/>
            </a:prstGeom>
          </p:spPr>
        </p:pic>
        <p:pic>
          <p:nvPicPr>
            <p:cNvPr id="14" name="Picture 8">
              <a:extLst>
                <a:ext uri="{FF2B5EF4-FFF2-40B4-BE49-F238E27FC236}">
                  <a16:creationId xmlns:a16="http://schemas.microsoft.com/office/drawing/2014/main" id="{E5497AB4-56E2-4216-A9A9-79B914F0A747}"/>
                </a:ext>
              </a:extLst>
            </p:cNvPr>
            <p:cNvPicPr>
              <a:picLocks noChangeAspect="1"/>
            </p:cNvPicPr>
            <p:nvPr/>
          </p:nvPicPr>
          <p:blipFill>
            <a:blip r:embed="rId2" cstate="email">
              <a:alphaModFix amt="50000"/>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035137" y="3953601"/>
              <a:ext cx="7553245" cy="704088"/>
            </a:xfrm>
            <a:prstGeom prst="rect">
              <a:avLst/>
            </a:prstGeom>
          </p:spPr>
        </p:pic>
        <p:pic>
          <p:nvPicPr>
            <p:cNvPr id="15" name="Picture 9">
              <a:extLst>
                <a:ext uri="{FF2B5EF4-FFF2-40B4-BE49-F238E27FC236}">
                  <a16:creationId xmlns:a16="http://schemas.microsoft.com/office/drawing/2014/main" id="{FAFD29CE-7BB4-448E-8644-1B0BD93A4D05}"/>
                </a:ext>
              </a:extLst>
            </p:cNvPr>
            <p:cNvPicPr>
              <a:picLocks noChangeAspect="1"/>
            </p:cNvPicPr>
            <p:nvPr/>
          </p:nvPicPr>
          <p:blipFill>
            <a:blip r:embed="rId2" cstate="email">
              <a:alphaModFix amt="50000"/>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035137" y="4744201"/>
              <a:ext cx="7553245" cy="704088"/>
            </a:xfrm>
            <a:prstGeom prst="rect">
              <a:avLst/>
            </a:prstGeom>
          </p:spPr>
        </p:pic>
        <p:pic>
          <p:nvPicPr>
            <p:cNvPr id="16" name="Picture 10">
              <a:extLst>
                <a:ext uri="{FF2B5EF4-FFF2-40B4-BE49-F238E27FC236}">
                  <a16:creationId xmlns:a16="http://schemas.microsoft.com/office/drawing/2014/main" id="{B95E71AB-BEEC-4E00-A17B-F15CA9DEF877}"/>
                </a:ext>
              </a:extLst>
            </p:cNvPr>
            <p:cNvPicPr>
              <a:picLocks noChangeAspect="1"/>
            </p:cNvPicPr>
            <p:nvPr/>
          </p:nvPicPr>
          <p:blipFill rotWithShape="1">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p:blipFill>
          <p:spPr>
            <a:xfrm>
              <a:off x="3022788" y="4744201"/>
              <a:ext cx="3732576" cy="704088"/>
            </a:xfrm>
            <a:prstGeom prst="rect">
              <a:avLst/>
            </a:prstGeom>
          </p:spPr>
        </p:pic>
        <p:pic>
          <p:nvPicPr>
            <p:cNvPr id="17" name="Picture 11">
              <a:extLst>
                <a:ext uri="{FF2B5EF4-FFF2-40B4-BE49-F238E27FC236}">
                  <a16:creationId xmlns:a16="http://schemas.microsoft.com/office/drawing/2014/main" id="{CD8B7C67-BDEA-4B72-8EDD-6A08D5E640D7}"/>
                </a:ext>
              </a:extLst>
            </p:cNvPr>
            <p:cNvPicPr>
              <a:picLocks noChangeAspect="1"/>
            </p:cNvPicPr>
            <p:nvPr/>
          </p:nvPicPr>
          <p:blipFill rotWithShape="1">
            <a:blip r:embed="rId5" cstate="email">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022787" y="2396805"/>
              <a:ext cx="1655948" cy="707971"/>
            </a:xfrm>
            <a:prstGeom prst="rect">
              <a:avLst/>
            </a:prstGeom>
          </p:spPr>
        </p:pic>
        <p:pic>
          <p:nvPicPr>
            <p:cNvPr id="18" name="Picture 12">
              <a:extLst>
                <a:ext uri="{FF2B5EF4-FFF2-40B4-BE49-F238E27FC236}">
                  <a16:creationId xmlns:a16="http://schemas.microsoft.com/office/drawing/2014/main" id="{3815920B-3B86-40D1-957F-AA40F394979E}"/>
                </a:ext>
              </a:extLst>
            </p:cNvPr>
            <p:cNvPicPr>
              <a:picLocks noChangeAspect="1"/>
            </p:cNvPicPr>
            <p:nvPr/>
          </p:nvPicPr>
          <p:blipFill rotWithShape="1">
            <a:blip r:embed="rId6" cstate="email">
              <a:duotone>
                <a:schemeClr val="accent4">
                  <a:shade val="45000"/>
                  <a:satMod val="135000"/>
                </a:schemeClr>
                <a:prstClr val="white"/>
              </a:duotone>
              <a:extLst>
                <a:ext uri="{28A0092B-C50C-407E-A947-70E740481C1C}">
                  <a14:useLocalDpi xmlns:a14="http://schemas.microsoft.com/office/drawing/2010/main"/>
                </a:ext>
              </a:extLst>
            </a:blip>
            <a:srcRect/>
            <a:stretch/>
          </p:blipFill>
          <p:spPr>
            <a:xfrm>
              <a:off x="3022787" y="3952471"/>
              <a:ext cx="2650225" cy="704088"/>
            </a:xfrm>
            <a:prstGeom prst="rect">
              <a:avLst/>
            </a:prstGeom>
          </p:spPr>
        </p:pic>
        <p:pic>
          <p:nvPicPr>
            <p:cNvPr id="19" name="Picture 13">
              <a:extLst>
                <a:ext uri="{FF2B5EF4-FFF2-40B4-BE49-F238E27FC236}">
                  <a16:creationId xmlns:a16="http://schemas.microsoft.com/office/drawing/2014/main" id="{9FB3CABA-072B-47E5-BC44-099E34561A50}"/>
                </a:ext>
              </a:extLst>
            </p:cNvPr>
            <p:cNvPicPr>
              <a:picLocks noChangeAspect="1"/>
            </p:cNvPicPr>
            <p:nvPr/>
          </p:nvPicPr>
          <p:blipFill rotWithShape="1">
            <a:blip r:embed="rId5" cstate="email">
              <a:duotone>
                <a:schemeClr val="accent4">
                  <a:shade val="45000"/>
                  <a:satMod val="135000"/>
                </a:schemeClr>
                <a:prstClr val="white"/>
              </a:duotone>
              <a:extLst>
                <a:ext uri="{28A0092B-C50C-407E-A947-70E740481C1C}">
                  <a14:useLocalDpi xmlns:a14="http://schemas.microsoft.com/office/drawing/2010/main"/>
                </a:ext>
              </a:extLst>
            </a:blip>
            <a:srcRect/>
            <a:stretch/>
          </p:blipFill>
          <p:spPr>
            <a:xfrm>
              <a:off x="3022787" y="3180389"/>
              <a:ext cx="1655948" cy="707971"/>
            </a:xfrm>
            <a:prstGeom prst="rect">
              <a:avLst/>
            </a:prstGeom>
          </p:spPr>
        </p:pic>
        <p:sp>
          <p:nvSpPr>
            <p:cNvPr id="20" name="TextBox 14">
              <a:extLst>
                <a:ext uri="{FF2B5EF4-FFF2-40B4-BE49-F238E27FC236}">
                  <a16:creationId xmlns:a16="http://schemas.microsoft.com/office/drawing/2014/main" id="{DCEA9E87-4697-4964-AF7E-84490ECD6A82}"/>
                </a:ext>
              </a:extLst>
            </p:cNvPr>
            <p:cNvSpPr txBox="1"/>
            <p:nvPr/>
          </p:nvSpPr>
          <p:spPr>
            <a:xfrm>
              <a:off x="9750363" y="1681813"/>
              <a:ext cx="1399852" cy="707942"/>
            </a:xfrm>
            <a:prstGeom prst="rect">
              <a:avLst/>
            </a:prstGeom>
            <a:noFill/>
          </p:spPr>
          <p:txBody>
            <a:bodyPr wrap="square" rtlCol="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US" sz="3999" b="1" i="0" u="none" strike="noStrike" kern="1200" cap="none" spc="0" normalizeH="0" baseline="0" noProof="0" dirty="0">
                  <a:ln>
                    <a:noFill/>
                  </a:ln>
                  <a:solidFill>
                    <a:srgbClr val="830051"/>
                  </a:solidFill>
                  <a:effectLst/>
                  <a:uLnTx/>
                  <a:uFillTx/>
                  <a:latin typeface="Arial Narrow"/>
                  <a:ea typeface="+mn-ea"/>
                  <a:cs typeface="+mn-cs"/>
                </a:rPr>
                <a:t>15%</a:t>
              </a:r>
            </a:p>
          </p:txBody>
        </p:sp>
        <p:sp>
          <p:nvSpPr>
            <p:cNvPr id="21" name="TextBox 15">
              <a:extLst>
                <a:ext uri="{FF2B5EF4-FFF2-40B4-BE49-F238E27FC236}">
                  <a16:creationId xmlns:a16="http://schemas.microsoft.com/office/drawing/2014/main" id="{5983A96B-2CD5-4EA9-9116-DF31F97A74C5}"/>
                </a:ext>
              </a:extLst>
            </p:cNvPr>
            <p:cNvSpPr txBox="1"/>
            <p:nvPr/>
          </p:nvSpPr>
          <p:spPr>
            <a:xfrm>
              <a:off x="9750363" y="2426981"/>
              <a:ext cx="1399852" cy="707942"/>
            </a:xfrm>
            <a:prstGeom prst="rect">
              <a:avLst/>
            </a:prstGeom>
            <a:noFill/>
          </p:spPr>
          <p:txBody>
            <a:bodyPr wrap="square" rtlCol="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US" sz="3999" b="1" i="0" u="none" strike="noStrike" kern="1200" cap="none" spc="0" normalizeH="0" baseline="0" noProof="0" dirty="0">
                  <a:ln>
                    <a:noFill/>
                  </a:ln>
                  <a:solidFill>
                    <a:srgbClr val="830051"/>
                  </a:solidFill>
                  <a:effectLst/>
                  <a:uLnTx/>
                  <a:uFillTx/>
                  <a:latin typeface="Arial Narrow"/>
                  <a:ea typeface="+mn-ea"/>
                  <a:cs typeface="+mn-cs"/>
                </a:rPr>
                <a:t>23%</a:t>
              </a:r>
            </a:p>
          </p:txBody>
        </p:sp>
        <p:sp>
          <p:nvSpPr>
            <p:cNvPr id="22" name="TextBox 16">
              <a:extLst>
                <a:ext uri="{FF2B5EF4-FFF2-40B4-BE49-F238E27FC236}">
                  <a16:creationId xmlns:a16="http://schemas.microsoft.com/office/drawing/2014/main" id="{00182FE7-1BB1-4A7B-875C-384FCB7C8CB2}"/>
                </a:ext>
              </a:extLst>
            </p:cNvPr>
            <p:cNvSpPr txBox="1"/>
            <p:nvPr/>
          </p:nvSpPr>
          <p:spPr>
            <a:xfrm>
              <a:off x="9750363" y="3210567"/>
              <a:ext cx="1399852" cy="707942"/>
            </a:xfrm>
            <a:prstGeom prst="rect">
              <a:avLst/>
            </a:prstGeom>
            <a:noFill/>
          </p:spPr>
          <p:txBody>
            <a:bodyPr wrap="square" rtlCol="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US" sz="3999" b="1" i="0" u="none" strike="noStrike" kern="1200" cap="none" spc="0" normalizeH="0" baseline="0" noProof="0" dirty="0">
                  <a:ln>
                    <a:noFill/>
                  </a:ln>
                  <a:solidFill>
                    <a:srgbClr val="3C0F53">
                      <a:lumMod val="90000"/>
                      <a:lumOff val="10000"/>
                    </a:srgbClr>
                  </a:solidFill>
                  <a:effectLst/>
                  <a:uLnTx/>
                  <a:uFillTx/>
                  <a:latin typeface="Arial Narrow"/>
                  <a:ea typeface="+mn-ea"/>
                  <a:cs typeface="+mn-cs"/>
                </a:rPr>
                <a:t>22%</a:t>
              </a:r>
            </a:p>
          </p:txBody>
        </p:sp>
        <p:sp>
          <p:nvSpPr>
            <p:cNvPr id="23" name="TextBox 17">
              <a:extLst>
                <a:ext uri="{FF2B5EF4-FFF2-40B4-BE49-F238E27FC236}">
                  <a16:creationId xmlns:a16="http://schemas.microsoft.com/office/drawing/2014/main" id="{63F9E7A2-9E32-4947-B8D1-131EF906EBD5}"/>
                </a:ext>
              </a:extLst>
            </p:cNvPr>
            <p:cNvSpPr txBox="1"/>
            <p:nvPr/>
          </p:nvSpPr>
          <p:spPr>
            <a:xfrm>
              <a:off x="9750363" y="3993109"/>
              <a:ext cx="1399852" cy="707942"/>
            </a:xfrm>
            <a:prstGeom prst="rect">
              <a:avLst/>
            </a:prstGeom>
            <a:noFill/>
          </p:spPr>
          <p:txBody>
            <a:bodyPr wrap="square" rtlCol="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US" sz="3999" b="1" i="0" u="none" strike="noStrike" kern="1200" cap="none" spc="0" normalizeH="0" baseline="0" noProof="0" dirty="0">
                  <a:ln>
                    <a:noFill/>
                  </a:ln>
                  <a:solidFill>
                    <a:srgbClr val="3C0F53">
                      <a:lumMod val="90000"/>
                      <a:lumOff val="10000"/>
                    </a:srgbClr>
                  </a:solidFill>
                  <a:effectLst/>
                  <a:uLnTx/>
                  <a:uFillTx/>
                  <a:latin typeface="Arial Narrow"/>
                  <a:ea typeface="+mn-ea"/>
                  <a:cs typeface="+mn-cs"/>
                </a:rPr>
                <a:t>35%</a:t>
              </a:r>
            </a:p>
          </p:txBody>
        </p:sp>
        <p:sp>
          <p:nvSpPr>
            <p:cNvPr id="24" name="TextBox 18">
              <a:extLst>
                <a:ext uri="{FF2B5EF4-FFF2-40B4-BE49-F238E27FC236}">
                  <a16:creationId xmlns:a16="http://schemas.microsoft.com/office/drawing/2014/main" id="{5AE64758-2BD5-410D-A8A8-D6F5E4DBD491}"/>
                </a:ext>
              </a:extLst>
            </p:cNvPr>
            <p:cNvSpPr txBox="1"/>
            <p:nvPr/>
          </p:nvSpPr>
          <p:spPr>
            <a:xfrm>
              <a:off x="9750363" y="4783708"/>
              <a:ext cx="1399852" cy="707942"/>
            </a:xfrm>
            <a:prstGeom prst="rect">
              <a:avLst/>
            </a:prstGeom>
            <a:noFill/>
          </p:spPr>
          <p:txBody>
            <a:bodyPr wrap="square" rtlCol="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US" sz="3999" b="1" i="0" u="none" strike="noStrike" kern="1200" cap="none" spc="0" normalizeH="0" baseline="0" noProof="0" dirty="0">
                  <a:ln>
                    <a:noFill/>
                  </a:ln>
                  <a:solidFill>
                    <a:srgbClr val="3C0F53">
                      <a:lumMod val="90000"/>
                      <a:lumOff val="10000"/>
                    </a:srgbClr>
                  </a:solidFill>
                  <a:effectLst/>
                  <a:uLnTx/>
                  <a:uFillTx/>
                  <a:latin typeface="Arial Narrow"/>
                  <a:ea typeface="+mn-ea"/>
                  <a:cs typeface="+mn-cs"/>
                </a:rPr>
                <a:t>50%</a:t>
              </a:r>
            </a:p>
          </p:txBody>
        </p:sp>
        <p:sp>
          <p:nvSpPr>
            <p:cNvPr id="25" name="TextBox 19">
              <a:extLst>
                <a:ext uri="{FF2B5EF4-FFF2-40B4-BE49-F238E27FC236}">
                  <a16:creationId xmlns:a16="http://schemas.microsoft.com/office/drawing/2014/main" id="{38CA3534-0AC1-4DE8-8082-8D0DCFC04C93}"/>
                </a:ext>
              </a:extLst>
            </p:cNvPr>
            <p:cNvSpPr txBox="1"/>
            <p:nvPr/>
          </p:nvSpPr>
          <p:spPr>
            <a:xfrm>
              <a:off x="1823825" y="1766284"/>
              <a:ext cx="1237437" cy="523356"/>
            </a:xfrm>
            <a:prstGeom prst="rect">
              <a:avLst/>
            </a:prstGeom>
            <a:noFill/>
          </p:spPr>
          <p:txBody>
            <a:bodyPr wrap="square" rtlCol="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30051"/>
                  </a:solidFill>
                  <a:effectLst/>
                  <a:uLnTx/>
                  <a:uFillTx/>
                  <a:latin typeface="Arial Narrow"/>
                  <a:ea typeface="+mn-ea"/>
                  <a:cs typeface="+mn-cs"/>
                </a:rPr>
                <a:t>BRCA</a:t>
              </a:r>
              <a:r>
                <a:rPr kumimoji="0" lang="en-US" sz="1400" b="1" i="1" u="none" strike="noStrike" kern="1200" cap="none" spc="0" normalizeH="0" baseline="0" noProof="0" dirty="0">
                  <a:ln>
                    <a:noFill/>
                  </a:ln>
                  <a:solidFill>
                    <a:srgbClr val="830051"/>
                  </a:solidFill>
                  <a:effectLst/>
                  <a:uLnTx/>
                  <a:uFillTx/>
                  <a:latin typeface="Arial Narrow"/>
                  <a:ea typeface="+mn-ea"/>
                  <a:cs typeface="+mn-cs"/>
                </a:rPr>
                <a:t> </a:t>
              </a:r>
              <a:r>
                <a:rPr kumimoji="0" lang="en-US" sz="1400" b="1" i="0" u="none" strike="noStrike" kern="1200" cap="none" spc="0" normalizeH="0" baseline="0" noProof="0" dirty="0">
                  <a:ln>
                    <a:noFill/>
                  </a:ln>
                  <a:solidFill>
                    <a:srgbClr val="830051"/>
                  </a:solidFill>
                  <a:effectLst/>
                  <a:uLnTx/>
                  <a:uFillTx/>
                  <a:latin typeface="Arial Narrow"/>
                  <a:ea typeface="+mn-ea"/>
                  <a:cs typeface="+mn-cs"/>
                </a:rPr>
                <a:t>mutations</a:t>
              </a:r>
              <a:r>
                <a:rPr kumimoji="0" lang="en-US" sz="1400" b="1" i="0" u="none" strike="noStrike" kern="1200" cap="none" spc="0" normalizeH="0" baseline="30000" noProof="0" dirty="0">
                  <a:ln>
                    <a:noFill/>
                  </a:ln>
                  <a:solidFill>
                    <a:srgbClr val="830051"/>
                  </a:solidFill>
                  <a:effectLst/>
                  <a:uLnTx/>
                  <a:uFillTx/>
                  <a:latin typeface="Arial Narrow"/>
                  <a:ea typeface="+mn-ea"/>
                  <a:cs typeface="+mn-cs"/>
                </a:rPr>
                <a:t>1</a:t>
              </a:r>
              <a:endParaRPr kumimoji="0" lang="en-US" sz="1400" b="1" i="0" u="none" strike="noStrike" kern="1200" cap="none" spc="0" normalizeH="0" baseline="0" noProof="0" dirty="0">
                <a:ln>
                  <a:noFill/>
                </a:ln>
                <a:solidFill>
                  <a:srgbClr val="830051"/>
                </a:solidFill>
                <a:effectLst/>
                <a:uLnTx/>
                <a:uFillTx/>
                <a:latin typeface="Arial Narrow"/>
                <a:ea typeface="+mn-ea"/>
                <a:cs typeface="+mn-cs"/>
              </a:endParaRPr>
            </a:p>
          </p:txBody>
        </p:sp>
        <p:sp>
          <p:nvSpPr>
            <p:cNvPr id="26" name="TextBox 20">
              <a:extLst>
                <a:ext uri="{FF2B5EF4-FFF2-40B4-BE49-F238E27FC236}">
                  <a16:creationId xmlns:a16="http://schemas.microsoft.com/office/drawing/2014/main" id="{F5F67549-7D77-4B61-B1FC-77268DD9696D}"/>
                </a:ext>
              </a:extLst>
            </p:cNvPr>
            <p:cNvSpPr txBox="1"/>
            <p:nvPr/>
          </p:nvSpPr>
          <p:spPr>
            <a:xfrm>
              <a:off x="1744825" y="2509214"/>
              <a:ext cx="1316437" cy="307857"/>
            </a:xfrm>
            <a:prstGeom prst="rect">
              <a:avLst/>
            </a:prstGeom>
            <a:noFill/>
          </p:spPr>
          <p:txBody>
            <a:bodyPr wrap="square" rtlCol="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30051"/>
                  </a:solidFill>
                  <a:effectLst/>
                  <a:uLnTx/>
                  <a:uFillTx/>
                  <a:latin typeface="Arial Narrow"/>
                  <a:ea typeface="+mn-ea"/>
                  <a:cs typeface="+mn-cs"/>
                </a:rPr>
                <a:t>HRR mutations</a:t>
              </a:r>
              <a:r>
                <a:rPr kumimoji="0" lang="en-US" sz="1400" b="1" i="0" u="none" strike="noStrike" kern="1200" cap="none" spc="0" normalizeH="0" baseline="30000" noProof="0" dirty="0">
                  <a:ln>
                    <a:noFill/>
                  </a:ln>
                  <a:solidFill>
                    <a:srgbClr val="830051"/>
                  </a:solidFill>
                  <a:effectLst/>
                  <a:uLnTx/>
                  <a:uFillTx/>
                  <a:latin typeface="Arial Narrow"/>
                  <a:ea typeface="+mn-ea"/>
                  <a:cs typeface="+mn-cs"/>
                </a:rPr>
                <a:t>2</a:t>
              </a:r>
            </a:p>
          </p:txBody>
        </p:sp>
        <p:sp>
          <p:nvSpPr>
            <p:cNvPr id="27" name="TextBox 21">
              <a:extLst>
                <a:ext uri="{FF2B5EF4-FFF2-40B4-BE49-F238E27FC236}">
                  <a16:creationId xmlns:a16="http://schemas.microsoft.com/office/drawing/2014/main" id="{0E8143CA-E20A-4D26-A314-D75EFA966802}"/>
                </a:ext>
              </a:extLst>
            </p:cNvPr>
            <p:cNvSpPr txBox="1"/>
            <p:nvPr/>
          </p:nvSpPr>
          <p:spPr>
            <a:xfrm>
              <a:off x="1884833" y="4868182"/>
              <a:ext cx="1237437" cy="523356"/>
            </a:xfrm>
            <a:prstGeom prst="rect">
              <a:avLst/>
            </a:prstGeom>
            <a:noFill/>
          </p:spPr>
          <p:txBody>
            <a:bodyPr wrap="square" rtlCol="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C0F53"/>
                  </a:solidFill>
                  <a:effectLst/>
                  <a:uLnTx/>
                  <a:uFillTx/>
                  <a:latin typeface="Arial Narrow"/>
                  <a:ea typeface="+mn-ea"/>
                  <a:cs typeface="+mn-cs"/>
                </a:rPr>
                <a:t>Genomic Instability</a:t>
              </a:r>
              <a:r>
                <a:rPr kumimoji="0" lang="en-US" sz="1400" b="1" i="0" u="none" strike="noStrike" kern="1200" cap="none" spc="0" normalizeH="0" baseline="30000" noProof="0" dirty="0">
                  <a:ln>
                    <a:noFill/>
                  </a:ln>
                  <a:solidFill>
                    <a:srgbClr val="3C0F53"/>
                  </a:solidFill>
                  <a:effectLst/>
                  <a:uLnTx/>
                  <a:uFillTx/>
                  <a:latin typeface="Arial Narrow"/>
                  <a:ea typeface="+mn-ea"/>
                  <a:cs typeface="+mn-cs"/>
                </a:rPr>
                <a:t>4</a:t>
              </a:r>
              <a:endParaRPr kumimoji="0" lang="en-US" sz="1400" b="1" i="0" u="none" strike="noStrike" kern="1200" cap="none" spc="0" normalizeH="0" baseline="0" noProof="0" dirty="0">
                <a:ln>
                  <a:noFill/>
                </a:ln>
                <a:solidFill>
                  <a:srgbClr val="3C0F53"/>
                </a:solidFill>
                <a:effectLst/>
                <a:uLnTx/>
                <a:uFillTx/>
                <a:latin typeface="Arial Narrow"/>
                <a:ea typeface="+mn-ea"/>
                <a:cs typeface="+mn-cs"/>
              </a:endParaRPr>
            </a:p>
          </p:txBody>
        </p:sp>
        <p:sp>
          <p:nvSpPr>
            <p:cNvPr id="28" name="TextBox 22">
              <a:extLst>
                <a:ext uri="{FF2B5EF4-FFF2-40B4-BE49-F238E27FC236}">
                  <a16:creationId xmlns:a16="http://schemas.microsoft.com/office/drawing/2014/main" id="{BD9FE76D-3DED-4544-B59D-A185C42E8512}"/>
                </a:ext>
              </a:extLst>
            </p:cNvPr>
            <p:cNvSpPr txBox="1"/>
            <p:nvPr/>
          </p:nvSpPr>
          <p:spPr>
            <a:xfrm>
              <a:off x="1919956" y="3295039"/>
              <a:ext cx="1237437" cy="523356"/>
            </a:xfrm>
            <a:prstGeom prst="rect">
              <a:avLst/>
            </a:prstGeom>
            <a:noFill/>
          </p:spPr>
          <p:txBody>
            <a:bodyPr wrap="square" rtlCol="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C0F53"/>
                  </a:solidFill>
                  <a:effectLst/>
                  <a:uLnTx/>
                  <a:uFillTx/>
                  <a:latin typeface="Arial Narrow"/>
                  <a:ea typeface="+mn-ea"/>
                  <a:cs typeface="+mn-cs"/>
                </a:rPr>
                <a:t>BRCA</a:t>
              </a:r>
              <a:r>
                <a:rPr kumimoji="0" lang="en-US" sz="1400" b="1" i="1" u="none" strike="noStrike" kern="1200" cap="none" spc="0" normalizeH="0" baseline="0" noProof="0" dirty="0">
                  <a:ln>
                    <a:noFill/>
                  </a:ln>
                  <a:solidFill>
                    <a:srgbClr val="3C0F53"/>
                  </a:solidFill>
                  <a:effectLst/>
                  <a:uLnTx/>
                  <a:uFillTx/>
                  <a:latin typeface="Arial Narrow"/>
                  <a:ea typeface="+mn-ea"/>
                  <a:cs typeface="+mn-cs"/>
                </a:rPr>
                <a:t> </a:t>
              </a:r>
              <a:r>
                <a:rPr kumimoji="0" lang="en-US" sz="1400" b="1" i="0" u="none" strike="noStrike" kern="1200" cap="none" spc="0" normalizeH="0" baseline="0" noProof="0" dirty="0">
                  <a:ln>
                    <a:noFill/>
                  </a:ln>
                  <a:solidFill>
                    <a:srgbClr val="3C0F53"/>
                  </a:solidFill>
                  <a:effectLst/>
                  <a:uLnTx/>
                  <a:uFillTx/>
                  <a:latin typeface="Arial Narrow"/>
                  <a:ea typeface="+mn-ea"/>
                  <a:cs typeface="+mn-cs"/>
                </a:rPr>
                <a:t>mutations</a:t>
              </a:r>
              <a:r>
                <a:rPr kumimoji="0" lang="en-US" sz="1400" b="1" i="0" u="none" strike="noStrike" kern="1200" cap="none" spc="0" normalizeH="0" baseline="30000" noProof="0" dirty="0">
                  <a:ln>
                    <a:noFill/>
                  </a:ln>
                  <a:solidFill>
                    <a:srgbClr val="3C0F53"/>
                  </a:solidFill>
                  <a:effectLst/>
                  <a:uLnTx/>
                  <a:uFillTx/>
                  <a:latin typeface="Arial Narrow"/>
                  <a:ea typeface="+mn-ea"/>
                  <a:cs typeface="+mn-cs"/>
                </a:rPr>
                <a:t>2</a:t>
              </a:r>
              <a:endParaRPr kumimoji="0" lang="en-US" sz="1400" b="1" i="0" u="none" strike="noStrike" kern="1200" cap="none" spc="0" normalizeH="0" baseline="0" noProof="0" dirty="0">
                <a:ln>
                  <a:noFill/>
                </a:ln>
                <a:solidFill>
                  <a:srgbClr val="3C0F53"/>
                </a:solidFill>
                <a:effectLst/>
                <a:uLnTx/>
                <a:uFillTx/>
                <a:latin typeface="Arial Narrow"/>
                <a:ea typeface="+mn-ea"/>
                <a:cs typeface="+mn-cs"/>
              </a:endParaRPr>
            </a:p>
          </p:txBody>
        </p:sp>
        <p:sp>
          <p:nvSpPr>
            <p:cNvPr id="29" name="TextBox 23">
              <a:extLst>
                <a:ext uri="{FF2B5EF4-FFF2-40B4-BE49-F238E27FC236}">
                  <a16:creationId xmlns:a16="http://schemas.microsoft.com/office/drawing/2014/main" id="{1BD2C1C9-4AF9-41B3-949A-D57F3845959F}"/>
                </a:ext>
              </a:extLst>
            </p:cNvPr>
            <p:cNvSpPr txBox="1"/>
            <p:nvPr/>
          </p:nvSpPr>
          <p:spPr>
            <a:xfrm>
              <a:off x="1823825" y="4095501"/>
              <a:ext cx="1237437" cy="523356"/>
            </a:xfrm>
            <a:prstGeom prst="rect">
              <a:avLst/>
            </a:prstGeom>
            <a:noFill/>
          </p:spPr>
          <p:txBody>
            <a:bodyPr wrap="square" rtlCol="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C0F53"/>
                  </a:solidFill>
                  <a:effectLst/>
                  <a:uLnTx/>
                  <a:uFillTx/>
                  <a:latin typeface="Arial Narrow"/>
                  <a:ea typeface="+mn-ea"/>
                  <a:cs typeface="+mn-cs"/>
                </a:rPr>
                <a:t>HRR mutations</a:t>
              </a:r>
              <a:r>
                <a:rPr kumimoji="0" lang="en-US" sz="1400" b="1" i="0" u="none" strike="noStrike" kern="1200" cap="none" spc="0" normalizeH="0" baseline="30000" noProof="0" dirty="0">
                  <a:ln>
                    <a:noFill/>
                  </a:ln>
                  <a:solidFill>
                    <a:srgbClr val="3C0F53"/>
                  </a:solidFill>
                  <a:effectLst/>
                  <a:uLnTx/>
                  <a:uFillTx/>
                  <a:latin typeface="Arial Narrow"/>
                  <a:ea typeface="+mn-ea"/>
                  <a:cs typeface="+mn-cs"/>
                </a:rPr>
                <a:t>3,b</a:t>
              </a:r>
              <a:endParaRPr kumimoji="0" lang="en-US" sz="1400" b="1" i="0" u="none" strike="noStrike" kern="1200" cap="none" spc="0" normalizeH="0" baseline="0" noProof="0" dirty="0">
                <a:ln>
                  <a:noFill/>
                </a:ln>
                <a:solidFill>
                  <a:srgbClr val="3C0F53"/>
                </a:solidFill>
                <a:effectLst/>
                <a:uLnTx/>
                <a:uFillTx/>
                <a:latin typeface="Arial Narrow"/>
                <a:ea typeface="+mn-ea"/>
                <a:cs typeface="+mn-cs"/>
              </a:endParaRPr>
            </a:p>
          </p:txBody>
        </p:sp>
        <p:sp>
          <p:nvSpPr>
            <p:cNvPr id="30" name="TextBox 24">
              <a:extLst>
                <a:ext uri="{FF2B5EF4-FFF2-40B4-BE49-F238E27FC236}">
                  <a16:creationId xmlns:a16="http://schemas.microsoft.com/office/drawing/2014/main" id="{D385E202-E0D5-47BA-9621-51E7A9666E65}"/>
                </a:ext>
              </a:extLst>
            </p:cNvPr>
            <p:cNvSpPr txBox="1"/>
            <p:nvPr/>
          </p:nvSpPr>
          <p:spPr>
            <a:xfrm>
              <a:off x="665764" y="2117251"/>
              <a:ext cx="1512160" cy="677156"/>
            </a:xfrm>
            <a:prstGeom prst="rect">
              <a:avLst/>
            </a:prstGeom>
            <a:noFill/>
          </p:spPr>
          <p:txBody>
            <a:bodyPr wrap="square" rtlCol="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US" sz="2399" b="1" i="0" u="none" strike="noStrike" kern="1200" cap="none" spc="0" normalizeH="0" baseline="0" noProof="0" dirty="0" err="1">
                  <a:ln>
                    <a:noFill/>
                  </a:ln>
                  <a:solidFill>
                    <a:srgbClr val="830051"/>
                  </a:solidFill>
                  <a:effectLst/>
                  <a:uLnTx/>
                  <a:uFillTx/>
                  <a:latin typeface="Arial Narrow"/>
                  <a:ea typeface="+mn-ea"/>
                  <a:cs typeface="+mn-cs"/>
                </a:rPr>
                <a:t>Blood</a:t>
              </a:r>
              <a:r>
                <a:rPr kumimoji="0" lang="en-US" sz="2399" b="1" i="0" u="none" strike="noStrike" kern="1200" cap="none" spc="0" normalizeH="0" baseline="30000" noProof="0" dirty="0" err="1">
                  <a:ln>
                    <a:noFill/>
                  </a:ln>
                  <a:solidFill>
                    <a:srgbClr val="830051"/>
                  </a:solidFill>
                  <a:effectLst/>
                  <a:uLnTx/>
                  <a:uFillTx/>
                  <a:latin typeface="Arial Narrow"/>
                  <a:ea typeface="+mn-ea"/>
                  <a:cs typeface="+mn-cs"/>
                </a:rPr>
                <a:t>a</a:t>
              </a:r>
              <a:endParaRPr kumimoji="0" lang="en-US" sz="2399" b="1" i="0" u="none" strike="noStrike" kern="1200" cap="none" spc="0" normalizeH="0" baseline="30000" noProof="0" dirty="0">
                <a:ln>
                  <a:noFill/>
                </a:ln>
                <a:solidFill>
                  <a:srgbClr val="830051"/>
                </a:solidFill>
                <a:effectLst/>
                <a:uLnTx/>
                <a:uFillTx/>
                <a:latin typeface="Arial Narrow"/>
                <a:ea typeface="+mn-ea"/>
                <a:cs typeface="+mn-cs"/>
              </a:endParaRPr>
            </a:p>
            <a:p>
              <a:pPr marL="0" marR="0" lvl="0" indent="0" algn="l" defTabSz="91408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30051"/>
                  </a:solidFill>
                  <a:effectLst/>
                  <a:uLnTx/>
                  <a:uFillTx/>
                  <a:latin typeface="Arial Narrow"/>
                  <a:ea typeface="+mn-ea"/>
                  <a:cs typeface="+mn-cs"/>
                </a:rPr>
                <a:t>Germline</a:t>
              </a:r>
              <a:endParaRPr kumimoji="0" lang="en-US" sz="1200" b="1" i="0" u="none" strike="noStrike" kern="1200" cap="none" spc="0" normalizeH="0" baseline="0" noProof="0" dirty="0">
                <a:ln>
                  <a:noFill/>
                </a:ln>
                <a:solidFill>
                  <a:srgbClr val="830051"/>
                </a:solidFill>
                <a:effectLst/>
                <a:uLnTx/>
                <a:uFillTx/>
                <a:latin typeface="Arial Narrow"/>
                <a:ea typeface="+mn-ea"/>
                <a:cs typeface="+mn-cs"/>
              </a:endParaRPr>
            </a:p>
          </p:txBody>
        </p:sp>
        <p:sp>
          <p:nvSpPr>
            <p:cNvPr id="31" name="TextBox 25">
              <a:extLst>
                <a:ext uri="{FF2B5EF4-FFF2-40B4-BE49-F238E27FC236}">
                  <a16:creationId xmlns:a16="http://schemas.microsoft.com/office/drawing/2014/main" id="{9E91F082-5AAF-4D9A-939A-B4FCEE930BE7}"/>
                </a:ext>
              </a:extLst>
            </p:cNvPr>
            <p:cNvSpPr txBox="1"/>
            <p:nvPr/>
          </p:nvSpPr>
          <p:spPr>
            <a:xfrm>
              <a:off x="665764" y="3881932"/>
              <a:ext cx="1550634" cy="892656"/>
            </a:xfrm>
            <a:prstGeom prst="rect">
              <a:avLst/>
            </a:prstGeom>
            <a:noFill/>
          </p:spPr>
          <p:txBody>
            <a:bodyPr wrap="square" rtlCol="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US" sz="2399" b="1" i="0" u="none" strike="noStrike" kern="1200" cap="none" spc="0" normalizeH="0" baseline="0" noProof="0" dirty="0">
                  <a:ln>
                    <a:noFill/>
                  </a:ln>
                  <a:solidFill>
                    <a:srgbClr val="542C68"/>
                  </a:solidFill>
                  <a:effectLst/>
                  <a:uLnTx/>
                  <a:uFillTx/>
                  <a:latin typeface="Arial Narrow"/>
                  <a:ea typeface="+mn-ea"/>
                  <a:cs typeface="+mn-cs"/>
                </a:rPr>
                <a:t>Tumor</a:t>
              </a:r>
            </a:p>
            <a:p>
              <a:pPr marL="0" marR="0" lvl="0" indent="0" algn="l" defTabSz="91408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C0F53"/>
                  </a:solidFill>
                  <a:effectLst/>
                  <a:uLnTx/>
                  <a:uFillTx/>
                  <a:latin typeface="Arial Narrow"/>
                  <a:ea typeface="+mn-ea"/>
                  <a:cs typeface="+mn-cs"/>
                </a:rPr>
                <a:t>Germline &amp; Somatic</a:t>
              </a:r>
            </a:p>
          </p:txBody>
        </p:sp>
        <p:cxnSp>
          <p:nvCxnSpPr>
            <p:cNvPr id="32" name="Straight Connector 26">
              <a:extLst>
                <a:ext uri="{FF2B5EF4-FFF2-40B4-BE49-F238E27FC236}">
                  <a16:creationId xmlns:a16="http://schemas.microsoft.com/office/drawing/2014/main" id="{FA1B34D5-0DCC-41E1-8798-1682DB5D61F3}"/>
                </a:ext>
              </a:extLst>
            </p:cNvPr>
            <p:cNvCxnSpPr>
              <a:cxnSpLocks/>
            </p:cNvCxnSpPr>
            <p:nvPr/>
          </p:nvCxnSpPr>
          <p:spPr>
            <a:xfrm>
              <a:off x="609600" y="3113463"/>
              <a:ext cx="10419184" cy="0"/>
            </a:xfrm>
            <a:prstGeom prst="line">
              <a:avLst/>
            </a:prstGeom>
            <a:ln>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sp>
          <p:nvSpPr>
            <p:cNvPr id="33" name="TextBox 27">
              <a:extLst>
                <a:ext uri="{FF2B5EF4-FFF2-40B4-BE49-F238E27FC236}">
                  <a16:creationId xmlns:a16="http://schemas.microsoft.com/office/drawing/2014/main" id="{025ACBB9-FC9C-4BF9-A9D7-03D604001439}"/>
                </a:ext>
              </a:extLst>
            </p:cNvPr>
            <p:cNvSpPr txBox="1"/>
            <p:nvPr/>
          </p:nvSpPr>
          <p:spPr>
            <a:xfrm>
              <a:off x="619543" y="4935352"/>
              <a:ext cx="1402096" cy="461785"/>
            </a:xfrm>
            <a:prstGeom prst="rect">
              <a:avLst/>
            </a:prstGeom>
            <a:noFill/>
          </p:spPr>
          <p:txBody>
            <a:bodyPr wrap="square" rtlCol="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C0F53"/>
                  </a:solidFill>
                  <a:effectLst/>
                  <a:uLnTx/>
                  <a:uFillTx/>
                  <a:latin typeface="Arial Narrow"/>
                  <a:ea typeface="+mn-ea"/>
                  <a:cs typeface="+mn-cs"/>
                </a:rPr>
                <a:t>Assessing </a:t>
              </a:r>
              <a:r>
                <a:rPr kumimoji="0" lang="en-US" sz="1200" b="1" i="1" u="none" strike="noStrike" kern="1200" cap="none" spc="0" normalizeH="0" baseline="0" noProof="0" dirty="0">
                  <a:ln>
                    <a:noFill/>
                  </a:ln>
                  <a:solidFill>
                    <a:srgbClr val="3C0F53"/>
                  </a:solidFill>
                  <a:effectLst/>
                  <a:uLnTx/>
                  <a:uFillTx/>
                  <a:latin typeface="Arial Narrow"/>
                  <a:ea typeface="+mn-ea"/>
                  <a:cs typeface="+mn-cs"/>
                </a:rPr>
                <a:t>Effects</a:t>
              </a:r>
              <a:r>
                <a:rPr kumimoji="0" lang="en-US" sz="1200" b="1" i="0" u="none" strike="noStrike" kern="1200" cap="none" spc="0" normalizeH="0" baseline="0" noProof="0" dirty="0">
                  <a:ln>
                    <a:noFill/>
                  </a:ln>
                  <a:solidFill>
                    <a:srgbClr val="3C0F53"/>
                  </a:solidFill>
                  <a:effectLst/>
                  <a:uLnTx/>
                  <a:uFillTx/>
                  <a:latin typeface="Arial Narrow"/>
                  <a:ea typeface="+mn-ea"/>
                  <a:cs typeface="+mn-cs"/>
                </a:rPr>
                <a:t> </a:t>
              </a:r>
              <a:r>
                <a:rPr kumimoji="0" lang="en-US" sz="1200" b="0" i="0" u="none" strike="noStrike" kern="1200" cap="none" spc="0" normalizeH="0" baseline="0" noProof="0" dirty="0">
                  <a:ln>
                    <a:noFill/>
                  </a:ln>
                  <a:solidFill>
                    <a:srgbClr val="3C0F53"/>
                  </a:solidFill>
                  <a:effectLst/>
                  <a:uLnTx/>
                  <a:uFillTx/>
                  <a:latin typeface="Arial Narrow"/>
                  <a:ea typeface="+mn-ea"/>
                  <a:cs typeface="+mn-cs"/>
                </a:rPr>
                <a:t>of HR deficiency</a:t>
              </a:r>
            </a:p>
          </p:txBody>
        </p:sp>
        <p:sp>
          <p:nvSpPr>
            <p:cNvPr id="34" name="Rectangle: Rounded Corners 28">
              <a:extLst>
                <a:ext uri="{FF2B5EF4-FFF2-40B4-BE49-F238E27FC236}">
                  <a16:creationId xmlns:a16="http://schemas.microsoft.com/office/drawing/2014/main" id="{89B099F8-1D70-4E00-A53A-4EFD320282F7}"/>
                </a:ext>
              </a:extLst>
            </p:cNvPr>
            <p:cNvSpPr/>
            <p:nvPr/>
          </p:nvSpPr>
          <p:spPr>
            <a:xfrm>
              <a:off x="2021638" y="4713446"/>
              <a:ext cx="9128577" cy="838014"/>
            </a:xfrm>
            <a:prstGeom prst="roundRect">
              <a:avLst>
                <a:gd name="adj" fmla="val 26799"/>
              </a:avLst>
            </a:prstGeom>
            <a:noFill/>
            <a:ln w="19050">
              <a:solidFill>
                <a:schemeClr val="accent2"/>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08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0AB00"/>
                </a:solidFill>
                <a:effectLst/>
                <a:uLnTx/>
                <a:uFillTx/>
                <a:latin typeface="Arial Narrow"/>
                <a:ea typeface="+mn-ea"/>
                <a:cs typeface="+mn-cs"/>
              </a:endParaRPr>
            </a:p>
          </p:txBody>
        </p:sp>
      </p:grpSp>
    </p:spTree>
    <p:extLst>
      <p:ext uri="{BB962C8B-B14F-4D97-AF65-F5344CB8AC3E}">
        <p14:creationId xmlns:p14="http://schemas.microsoft.com/office/powerpoint/2010/main" val="26298671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Marcador de contenido 4" descr="Preguntas-2.jpg">
            <a:extLst>
              <a:ext uri="{FF2B5EF4-FFF2-40B4-BE49-F238E27FC236}">
                <a16:creationId xmlns:a16="http://schemas.microsoft.com/office/drawing/2014/main" id="{633E6059-4BDC-5242-BBBF-763643F15539}"/>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96171" y="2434201"/>
            <a:ext cx="3523424" cy="2498915"/>
          </a:xfrm>
          <a:prstGeom prst="rect">
            <a:avLst/>
          </a:prstGeom>
        </p:spPr>
      </p:pic>
      <p:sp>
        <p:nvSpPr>
          <p:cNvPr id="7" name="Título 6">
            <a:extLst>
              <a:ext uri="{FF2B5EF4-FFF2-40B4-BE49-F238E27FC236}">
                <a16:creationId xmlns:a16="http://schemas.microsoft.com/office/drawing/2014/main" id="{A615064B-54EE-9743-8CFD-E6633E435DCD}"/>
              </a:ext>
            </a:extLst>
          </p:cNvPr>
          <p:cNvSpPr>
            <a:spLocks noGrp="1"/>
          </p:cNvSpPr>
          <p:nvPr>
            <p:ph type="title"/>
          </p:nvPr>
        </p:nvSpPr>
        <p:spPr>
          <a:xfrm>
            <a:off x="3509997" y="2292353"/>
            <a:ext cx="7965464" cy="1281036"/>
          </a:xfrm>
        </p:spPr>
        <p:txBody>
          <a:bodyPr vert="horz" lIns="91440" tIns="45720" rIns="91440" bIns="45720" rtlCol="0" anchor="ctr">
            <a:normAutofit/>
          </a:bodyPr>
          <a:lstStyle/>
          <a:p>
            <a:r>
              <a:rPr lang="en-US" sz="3600" dirty="0">
                <a:solidFill>
                  <a:schemeClr val="accent1">
                    <a:lumMod val="75000"/>
                  </a:schemeClr>
                </a:solidFill>
              </a:rPr>
              <a:t>Why testing for </a:t>
            </a:r>
            <a:r>
              <a:rPr lang="en-US" sz="3600" dirty="0" err="1">
                <a:solidFill>
                  <a:schemeClr val="accent1">
                    <a:lumMod val="75000"/>
                  </a:schemeClr>
                </a:solidFill>
              </a:rPr>
              <a:t>BRCAm</a:t>
            </a:r>
            <a:r>
              <a:rPr lang="en-US" sz="3600" dirty="0">
                <a:solidFill>
                  <a:schemeClr val="accent1">
                    <a:lumMod val="75000"/>
                  </a:schemeClr>
                </a:solidFill>
              </a:rPr>
              <a:t> and HRD?</a:t>
            </a:r>
          </a:p>
        </p:txBody>
      </p:sp>
    </p:spTree>
    <p:extLst>
      <p:ext uri="{BB962C8B-B14F-4D97-AF65-F5344CB8AC3E}">
        <p14:creationId xmlns:p14="http://schemas.microsoft.com/office/powerpoint/2010/main" val="42690473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72557CF-D376-D12A-6F71-12641AF373C3}"/>
            </a:ext>
          </a:extLst>
        </p:cNvPr>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673E40ED-57BB-2E77-19FA-73A115F7EC04}"/>
              </a:ext>
            </a:extLst>
          </p:cNvPr>
          <p:cNvGraphicFramePr>
            <a:graphicFrameLocks noGrp="1"/>
          </p:cNvGraphicFramePr>
          <p:nvPr/>
        </p:nvGraphicFramePr>
        <p:xfrm>
          <a:off x="3577624" y="4520695"/>
          <a:ext cx="2842902" cy="1332312"/>
        </p:xfrm>
        <a:graphic>
          <a:graphicData uri="http://schemas.openxmlformats.org/drawingml/2006/table">
            <a:tbl>
              <a:tblPr firstRow="1" bandRow="1">
                <a:tableStyleId>{073A0DAA-6AF3-43AB-8588-CEC1D06C72B9}</a:tableStyleId>
              </a:tblPr>
              <a:tblGrid>
                <a:gridCol w="1277279">
                  <a:extLst>
                    <a:ext uri="{9D8B030D-6E8A-4147-A177-3AD203B41FA5}">
                      <a16:colId xmlns:a16="http://schemas.microsoft.com/office/drawing/2014/main" val="2148471966"/>
                    </a:ext>
                  </a:extLst>
                </a:gridCol>
                <a:gridCol w="1565623">
                  <a:extLst>
                    <a:ext uri="{9D8B030D-6E8A-4147-A177-3AD203B41FA5}">
                      <a16:colId xmlns:a16="http://schemas.microsoft.com/office/drawing/2014/main" val="2508215086"/>
                    </a:ext>
                  </a:extLst>
                </a:gridCol>
              </a:tblGrid>
              <a:tr h="364608">
                <a:tc>
                  <a:txBody>
                    <a:bodyPr/>
                    <a:lstStyle/>
                    <a:p>
                      <a:pPr algn="ctr">
                        <a:lnSpc>
                          <a:spcPct val="90000"/>
                        </a:lnSpc>
                      </a:pPr>
                      <a:r>
                        <a:rPr lang="en-US" sz="1100" dirty="0">
                          <a:latin typeface="Arial" panose="020B0604020202020204" pitchFamily="34" charset="0"/>
                          <a:cs typeface="Arial" panose="020B0604020202020204" pitchFamily="34" charset="0"/>
                        </a:rPr>
                        <a:t>Niraparib</a:t>
                      </a:r>
                      <a:br>
                        <a:rPr lang="en-US" sz="1100" dirty="0">
                          <a:latin typeface="Arial" panose="020B0604020202020204" pitchFamily="34" charset="0"/>
                          <a:cs typeface="Arial" panose="020B0604020202020204" pitchFamily="34" charset="0"/>
                        </a:rPr>
                      </a:br>
                      <a:r>
                        <a:rPr lang="en-US" sz="1100" kern="1200" dirty="0">
                          <a:latin typeface="Arial" panose="020B0604020202020204" pitchFamily="34" charset="0"/>
                          <a:cs typeface="Arial" panose="020B0604020202020204" pitchFamily="34" charset="0"/>
                        </a:rPr>
                        <a:t>(n=152)</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AC00"/>
                    </a:solidFill>
                  </a:tcPr>
                </a:tc>
                <a:tc>
                  <a:txBody>
                    <a:bodyPr/>
                    <a:lstStyle/>
                    <a:p>
                      <a:pPr algn="ctr">
                        <a:lnSpc>
                          <a:spcPct val="90000"/>
                        </a:lnSpc>
                      </a:pPr>
                      <a:r>
                        <a:rPr lang="en-US" sz="1100" dirty="0">
                          <a:latin typeface="Arial" panose="020B0604020202020204" pitchFamily="34" charset="0"/>
                          <a:cs typeface="Arial" panose="020B0604020202020204" pitchFamily="34" charset="0"/>
                        </a:rPr>
                        <a:t>Placebo</a:t>
                      </a:r>
                      <a:br>
                        <a:rPr lang="en-US" sz="1100" dirty="0">
                          <a:latin typeface="Arial" panose="020B0604020202020204" pitchFamily="34" charset="0"/>
                          <a:cs typeface="Arial" panose="020B0604020202020204" pitchFamily="34" charset="0"/>
                        </a:rPr>
                      </a:br>
                      <a:r>
                        <a:rPr lang="en-US" sz="1100" kern="1200" dirty="0">
                          <a:latin typeface="Arial" panose="020B0604020202020204" pitchFamily="34" charset="0"/>
                          <a:cs typeface="Arial" panose="020B0604020202020204" pitchFamily="34" charset="0"/>
                        </a:rPr>
                        <a:t>(n=71)</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F7F7F"/>
                    </a:solidFill>
                  </a:tcPr>
                </a:tc>
                <a:extLst>
                  <a:ext uri="{0D108BD9-81ED-4DB2-BD59-A6C34878D82A}">
                    <a16:rowId xmlns:a16="http://schemas.microsoft.com/office/drawing/2014/main" val="2597931480"/>
                  </a:ext>
                </a:extLst>
              </a:tr>
              <a:tr h="234560">
                <a:tc>
                  <a:txBody>
                    <a:bodyPr/>
                    <a:lstStyle/>
                    <a:p>
                      <a:pPr marL="0" algn="ctr" defTabSz="685800" rtl="0" eaLnBrk="1" latinLnBrk="0" hangingPunct="1"/>
                      <a:r>
                        <a:rPr lang="en-US" sz="1100" kern="1200" dirty="0">
                          <a:solidFill>
                            <a:schemeClr val="tx1"/>
                          </a:solidFill>
                          <a:latin typeface="Arial" panose="020B0604020202020204" pitchFamily="34" charset="0"/>
                          <a:cs typeface="Arial" panose="020B0604020202020204" pitchFamily="34" charset="0"/>
                        </a:rPr>
                        <a:t>49 (32.2)</a:t>
                      </a:r>
                      <a:endParaRPr lang="en-US" sz="1100" b="0" kern="1200" dirty="0">
                        <a:solidFill>
                          <a:schemeClr val="tx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685800" rtl="0" eaLnBrk="1" latinLnBrk="0" hangingPunct="1"/>
                      <a:r>
                        <a:rPr lang="en-US" sz="1100" kern="1200" dirty="0">
                          <a:solidFill>
                            <a:schemeClr val="tx1"/>
                          </a:solidFill>
                          <a:latin typeface="Arial" panose="020B0604020202020204" pitchFamily="34" charset="0"/>
                          <a:cs typeface="Arial" panose="020B0604020202020204" pitchFamily="34" charset="0"/>
                        </a:rPr>
                        <a:t>40 (56.3)</a:t>
                      </a:r>
                      <a:endParaRPr lang="en-US" sz="1100" b="0" kern="1200" dirty="0">
                        <a:solidFill>
                          <a:schemeClr val="tx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6981589"/>
                  </a:ext>
                </a:extLst>
              </a:tr>
              <a:tr h="234560">
                <a:tc>
                  <a:txBody>
                    <a:bodyPr/>
                    <a:lstStyle/>
                    <a:p>
                      <a:pPr marL="0" algn="ctr" defTabSz="685800" rtl="0" eaLnBrk="1" latinLnBrk="0" hangingPunct="1"/>
                      <a:r>
                        <a:rPr lang="en-US" sz="1100" b="1" kern="1200" dirty="0">
                          <a:solidFill>
                            <a:schemeClr val="tx1"/>
                          </a:solidFill>
                          <a:latin typeface="Arial" panose="020B0604020202020204" pitchFamily="34" charset="0"/>
                          <a:cs typeface="Arial" panose="020B0604020202020204" pitchFamily="34" charset="0"/>
                        </a:rPr>
                        <a:t>22.1</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685800" rtl="0" eaLnBrk="1" latinLnBrk="0" hangingPunct="1"/>
                      <a:r>
                        <a:rPr lang="en-US" sz="1100" b="1" kern="1200" dirty="0">
                          <a:solidFill>
                            <a:schemeClr val="tx1"/>
                          </a:solidFill>
                          <a:latin typeface="Arial" panose="020B0604020202020204" pitchFamily="34" charset="0"/>
                          <a:cs typeface="Arial" panose="020B0604020202020204" pitchFamily="34" charset="0"/>
                        </a:rPr>
                        <a:t>10.9</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146387"/>
                  </a:ext>
                </a:extLst>
              </a:tr>
              <a:tr h="234560">
                <a:tc gridSpan="2">
                  <a:txBody>
                    <a:bodyPr/>
                    <a:lstStyle/>
                    <a:p>
                      <a:pPr marL="0" algn="ctr" defTabSz="685800" rtl="0" eaLnBrk="1" latinLnBrk="0" hangingPunct="1"/>
                      <a:r>
                        <a:rPr lang="en-US" sz="1100" b="1" kern="1200" dirty="0">
                          <a:solidFill>
                            <a:schemeClr val="tx1"/>
                          </a:solidFill>
                          <a:latin typeface="Arial" panose="020B0604020202020204" pitchFamily="34" charset="0"/>
                          <a:ea typeface="+mn-ea"/>
                          <a:cs typeface="Arial" panose="020B0604020202020204" pitchFamily="34" charset="0"/>
                        </a:rPr>
                        <a:t>11.2 months</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algn="ctr" defTabSz="685800" rtl="0" eaLnBrk="1" latinLnBrk="0" hangingPunct="1"/>
                      <a:endParaRPr lang="en-GB" sz="1200" b="0" kern="1200">
                        <a:solidFill>
                          <a:schemeClr val="tx1"/>
                        </a:solidFill>
                        <a:latin typeface="Arial Narrow" panose="020B0606020202030204" pitchFamily="34" charset="0"/>
                        <a:ea typeface="+mn-ea"/>
                        <a:cs typeface="+mn-cs"/>
                      </a:endParaRPr>
                    </a:p>
                  </a:txBody>
                  <a:tcPr marL="36000" marR="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65021570"/>
                  </a:ext>
                </a:extLst>
              </a:tr>
              <a:tr h="23456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Arial" panose="020B0604020202020204" pitchFamily="34" charset="0"/>
                          <a:cs typeface="Arial" panose="020B0604020202020204" pitchFamily="34" charset="0"/>
                        </a:rPr>
                        <a:t>0.40 (0.27-0.62),</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GB" sz="900" b="0">
                        <a:solidFill>
                          <a:schemeClr val="tx1">
                            <a:lumMod val="50000"/>
                            <a:lumOff val="50000"/>
                          </a:schemeClr>
                        </a:solidFill>
                      </a:endParaRPr>
                    </a:p>
                  </a:txBody>
                  <a:tcPr marT="60960" marB="60960" anchor="ctr">
                    <a:lnL w="12700" cmpd="sng">
                      <a:noFill/>
                    </a:lnL>
                    <a:lnT w="12700" cmpd="sng">
                      <a:noFill/>
                    </a:lnT>
                  </a:tcPr>
                </a:tc>
                <a:extLst>
                  <a:ext uri="{0D108BD9-81ED-4DB2-BD59-A6C34878D82A}">
                    <a16:rowId xmlns:a16="http://schemas.microsoft.com/office/drawing/2014/main" val="2102812147"/>
                  </a:ext>
                </a:extLst>
              </a:tr>
            </a:tbl>
          </a:graphicData>
        </a:graphic>
      </p:graphicFrame>
      <p:sp>
        <p:nvSpPr>
          <p:cNvPr id="32" name="Rectangle: Rounded Corners 248">
            <a:extLst>
              <a:ext uri="{FF2B5EF4-FFF2-40B4-BE49-F238E27FC236}">
                <a16:creationId xmlns:a16="http://schemas.microsoft.com/office/drawing/2014/main" id="{366D91C7-7C37-BD62-1297-858C63D2ADCC}"/>
              </a:ext>
            </a:extLst>
          </p:cNvPr>
          <p:cNvSpPr/>
          <p:nvPr/>
        </p:nvSpPr>
        <p:spPr>
          <a:xfrm>
            <a:off x="294302" y="1585968"/>
            <a:ext cx="3012231" cy="360000"/>
          </a:xfrm>
          <a:prstGeom prst="rect">
            <a:avLst/>
          </a:prstGeom>
          <a:solidFill>
            <a:srgbClr val="D90DC1"/>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lIns="72000" rIns="72000"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SOLO1</a:t>
            </a:r>
            <a:r>
              <a:rPr kumimoji="0" lang="en-US" sz="1800" b="1" i="0" u="none" strike="noStrike" kern="1200" cap="none" spc="0" normalizeH="0" baseline="30000" noProof="0" dirty="0">
                <a:ln>
                  <a:noFill/>
                </a:ln>
                <a:solidFill>
                  <a:srgbClr val="FFFFFF"/>
                </a:solidFill>
                <a:effectLst/>
                <a:uLnTx/>
                <a:uFillTx/>
                <a:latin typeface="Arial"/>
                <a:ea typeface="+mn-ea"/>
                <a:cs typeface="+mn-cs"/>
              </a:rPr>
              <a:t>1</a:t>
            </a:r>
            <a:endParaRPr kumimoji="0" lang="en-US" sz="1800" b="0" i="0" u="none" strike="noStrike" kern="1200" cap="none" spc="0" normalizeH="0" baseline="30000" noProof="0" dirty="0">
              <a:ln>
                <a:noFill/>
              </a:ln>
              <a:solidFill>
                <a:srgbClr val="FFFFFF"/>
              </a:solidFill>
              <a:effectLst/>
              <a:uLnTx/>
              <a:uFillTx/>
              <a:latin typeface="Proxima Nova Rg"/>
              <a:ea typeface="+mn-ea"/>
              <a:cs typeface="+mn-cs"/>
            </a:endParaRPr>
          </a:p>
        </p:txBody>
      </p:sp>
      <p:graphicFrame>
        <p:nvGraphicFramePr>
          <p:cNvPr id="620" name="Table 619">
            <a:extLst>
              <a:ext uri="{FF2B5EF4-FFF2-40B4-BE49-F238E27FC236}">
                <a16:creationId xmlns:a16="http://schemas.microsoft.com/office/drawing/2014/main" id="{7A84EC0C-1DFB-83D4-624E-3F54950BC747}"/>
              </a:ext>
            </a:extLst>
          </p:cNvPr>
          <p:cNvGraphicFramePr>
            <a:graphicFrameLocks noGrp="1"/>
          </p:cNvGraphicFramePr>
          <p:nvPr/>
        </p:nvGraphicFramePr>
        <p:xfrm>
          <a:off x="181789" y="4520695"/>
          <a:ext cx="3323411" cy="1332312"/>
        </p:xfrm>
        <a:graphic>
          <a:graphicData uri="http://schemas.openxmlformats.org/drawingml/2006/table">
            <a:tbl>
              <a:tblPr firstRow="1" bandRow="1">
                <a:tableStyleId>{073A0DAA-6AF3-43AB-8588-CEC1D06C72B9}</a:tableStyleId>
              </a:tblPr>
              <a:tblGrid>
                <a:gridCol w="1521504">
                  <a:extLst>
                    <a:ext uri="{9D8B030D-6E8A-4147-A177-3AD203B41FA5}">
                      <a16:colId xmlns:a16="http://schemas.microsoft.com/office/drawing/2014/main" val="2857306709"/>
                    </a:ext>
                  </a:extLst>
                </a:gridCol>
                <a:gridCol w="859771">
                  <a:extLst>
                    <a:ext uri="{9D8B030D-6E8A-4147-A177-3AD203B41FA5}">
                      <a16:colId xmlns:a16="http://schemas.microsoft.com/office/drawing/2014/main" val="2148471966"/>
                    </a:ext>
                  </a:extLst>
                </a:gridCol>
                <a:gridCol w="942136">
                  <a:extLst>
                    <a:ext uri="{9D8B030D-6E8A-4147-A177-3AD203B41FA5}">
                      <a16:colId xmlns:a16="http://schemas.microsoft.com/office/drawing/2014/main" val="2508215086"/>
                    </a:ext>
                  </a:extLst>
                </a:gridCol>
              </a:tblGrid>
              <a:tr h="364608">
                <a:tc>
                  <a:txBody>
                    <a:bodyPr/>
                    <a:lstStyle/>
                    <a:p>
                      <a:endParaRPr lang="en-US" sz="1100" b="0" i="0" dirty="0">
                        <a:solidFill>
                          <a:schemeClr val="tx1"/>
                        </a:solidFill>
                        <a:latin typeface="Arial" panose="020B0604020202020204" pitchFamily="34" charset="0"/>
                        <a:cs typeface="Arial" panose="020B0604020202020204" pitchFamily="34" charset="0"/>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r>
                        <a:rPr lang="en-US" sz="1100" dirty="0">
                          <a:latin typeface="Arial" panose="020B0604020202020204" pitchFamily="34" charset="0"/>
                          <a:cs typeface="Arial" panose="020B0604020202020204" pitchFamily="34" charset="0"/>
                        </a:rPr>
                        <a:t>Olaparib</a:t>
                      </a:r>
                      <a:br>
                        <a:rPr lang="en-US" sz="1100" dirty="0">
                          <a:latin typeface="Arial" panose="020B0604020202020204" pitchFamily="34" charset="0"/>
                          <a:cs typeface="Arial" panose="020B0604020202020204" pitchFamily="34" charset="0"/>
                        </a:rPr>
                      </a:br>
                      <a:r>
                        <a:rPr lang="en-US" sz="1100" kern="1200" dirty="0">
                          <a:latin typeface="Arial" panose="020B0604020202020204" pitchFamily="34" charset="0"/>
                          <a:cs typeface="Arial" panose="020B0604020202020204" pitchFamily="34" charset="0"/>
                        </a:rPr>
                        <a:t>(n=260)</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0DC1"/>
                    </a:solidFill>
                  </a:tcPr>
                </a:tc>
                <a:tc>
                  <a:txBody>
                    <a:bodyPr/>
                    <a:lstStyle/>
                    <a:p>
                      <a:pPr algn="ctr">
                        <a:lnSpc>
                          <a:spcPct val="90000"/>
                        </a:lnSpc>
                      </a:pPr>
                      <a:r>
                        <a:rPr lang="en-US" sz="1100" dirty="0">
                          <a:latin typeface="Arial" panose="020B0604020202020204" pitchFamily="34" charset="0"/>
                          <a:cs typeface="Arial" panose="020B0604020202020204" pitchFamily="34" charset="0"/>
                        </a:rPr>
                        <a:t>Placebo</a:t>
                      </a:r>
                      <a:br>
                        <a:rPr lang="en-US" sz="1100" dirty="0">
                          <a:latin typeface="Arial" panose="020B0604020202020204" pitchFamily="34" charset="0"/>
                          <a:cs typeface="Arial" panose="020B0604020202020204" pitchFamily="34" charset="0"/>
                        </a:rPr>
                      </a:br>
                      <a:r>
                        <a:rPr lang="en-US" sz="1100" kern="1200" dirty="0">
                          <a:latin typeface="Arial" panose="020B0604020202020204" pitchFamily="34" charset="0"/>
                          <a:cs typeface="Arial" panose="020B0604020202020204" pitchFamily="34" charset="0"/>
                        </a:rPr>
                        <a:t>(n=131)</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F7F7F"/>
                    </a:solidFill>
                  </a:tcPr>
                </a:tc>
                <a:extLst>
                  <a:ext uri="{0D108BD9-81ED-4DB2-BD59-A6C34878D82A}">
                    <a16:rowId xmlns:a16="http://schemas.microsoft.com/office/drawing/2014/main" val="2597931480"/>
                  </a:ext>
                </a:extLst>
              </a:tr>
              <a:tr h="234560">
                <a:tc>
                  <a:txBody>
                    <a:bodyPr/>
                    <a:lstStyle/>
                    <a:p>
                      <a:r>
                        <a:rPr lang="en-US" sz="1100" b="1" i="0" baseline="0" dirty="0">
                          <a:solidFill>
                            <a:schemeClr val="tx1"/>
                          </a:solidFill>
                          <a:latin typeface="Arial" panose="020B0604020202020204" pitchFamily="34" charset="0"/>
                          <a:cs typeface="Arial" panose="020B0604020202020204" pitchFamily="34" charset="0"/>
                        </a:rPr>
                        <a:t>Events</a:t>
                      </a:r>
                      <a:r>
                        <a:rPr lang="en-US" sz="1100" b="0" i="0" baseline="0" dirty="0">
                          <a:solidFill>
                            <a:schemeClr val="tx1"/>
                          </a:solidFill>
                          <a:latin typeface="Arial" panose="020B0604020202020204" pitchFamily="34" charset="0"/>
                          <a:cs typeface="Arial" panose="020B0604020202020204" pitchFamily="34" charset="0"/>
                        </a:rPr>
                        <a:t>, n (%)</a:t>
                      </a:r>
                      <a:endParaRPr lang="en-US" sz="1100" b="0" i="0" dirty="0">
                        <a:solidFill>
                          <a:schemeClr val="tx1"/>
                        </a:solidFill>
                        <a:latin typeface="Arial" panose="020B0604020202020204" pitchFamily="34" charset="0"/>
                        <a:cs typeface="Arial" panose="020B0604020202020204" pitchFamily="34" charset="0"/>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685800" rtl="0" eaLnBrk="1" latinLnBrk="0" hangingPunct="1"/>
                      <a:r>
                        <a:rPr lang="en-US" sz="1100" b="0" kern="1200" dirty="0">
                          <a:solidFill>
                            <a:schemeClr val="tx1"/>
                          </a:solidFill>
                          <a:latin typeface="Arial" panose="020B0604020202020204" pitchFamily="34" charset="0"/>
                          <a:ea typeface="+mn-ea"/>
                          <a:cs typeface="Arial" panose="020B0604020202020204" pitchFamily="34" charset="0"/>
                        </a:rPr>
                        <a:t>118 (45)</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685800" rtl="0" eaLnBrk="1" latinLnBrk="0" hangingPunct="1"/>
                      <a:r>
                        <a:rPr lang="en-US" sz="1100" b="0" kern="1200" dirty="0">
                          <a:solidFill>
                            <a:schemeClr val="tx1"/>
                          </a:solidFill>
                          <a:latin typeface="Arial" panose="020B0604020202020204" pitchFamily="34" charset="0"/>
                          <a:ea typeface="+mn-ea"/>
                          <a:cs typeface="Arial" panose="020B0604020202020204" pitchFamily="34" charset="0"/>
                        </a:rPr>
                        <a:t>100 (76)</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6981589"/>
                  </a:ext>
                </a:extLst>
              </a:tr>
              <a:tr h="234560">
                <a:tc>
                  <a:txBody>
                    <a:bodyPr/>
                    <a:lstStyle/>
                    <a:p>
                      <a:r>
                        <a:rPr lang="en-US" sz="1100" b="1" i="0" dirty="0">
                          <a:solidFill>
                            <a:schemeClr val="tx1"/>
                          </a:solidFill>
                          <a:latin typeface="Arial" panose="020B0604020202020204" pitchFamily="34" charset="0"/>
                          <a:cs typeface="Arial" panose="020B0604020202020204" pitchFamily="34" charset="0"/>
                        </a:rPr>
                        <a:t>Median PFS</a:t>
                      </a:r>
                      <a:r>
                        <a:rPr lang="en-US" sz="1100" b="0" i="0" baseline="0" dirty="0">
                          <a:solidFill>
                            <a:schemeClr val="tx1"/>
                          </a:solidFill>
                          <a:latin typeface="Arial" panose="020B0604020202020204" pitchFamily="34" charset="0"/>
                          <a:cs typeface="Arial" panose="020B0604020202020204" pitchFamily="34" charset="0"/>
                        </a:rPr>
                        <a:t>, </a:t>
                      </a:r>
                      <a:r>
                        <a:rPr lang="en-US" sz="1100" b="0" i="0" kern="1200" dirty="0">
                          <a:solidFill>
                            <a:schemeClr val="tx1"/>
                          </a:solidFill>
                          <a:latin typeface="Arial" panose="020B0604020202020204" pitchFamily="34" charset="0"/>
                          <a:ea typeface="+mn-ea"/>
                          <a:cs typeface="Arial" panose="020B0604020202020204" pitchFamily="34" charset="0"/>
                        </a:rPr>
                        <a:t>months</a:t>
                      </a:r>
                    </a:p>
                  </a:txBody>
                  <a:tcPr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685800" rtl="0" eaLnBrk="1" latinLnBrk="0" hangingPunct="1"/>
                      <a:r>
                        <a:rPr lang="en-US" sz="1100" b="1" kern="1200" dirty="0">
                          <a:solidFill>
                            <a:schemeClr val="tx1"/>
                          </a:solidFill>
                          <a:latin typeface="Arial" panose="020B0604020202020204" pitchFamily="34" charset="0"/>
                          <a:ea typeface="+mn-ea"/>
                          <a:cs typeface="Arial" panose="020B0604020202020204" pitchFamily="34" charset="0"/>
                        </a:rPr>
                        <a:t>56.0</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685800" rtl="0" eaLnBrk="1" latinLnBrk="0" hangingPunct="1"/>
                      <a:r>
                        <a:rPr lang="en-US" sz="1100" b="1" kern="1200" dirty="0">
                          <a:solidFill>
                            <a:schemeClr val="tx1"/>
                          </a:solidFill>
                          <a:latin typeface="Arial" panose="020B0604020202020204" pitchFamily="34" charset="0"/>
                          <a:ea typeface="+mn-ea"/>
                          <a:cs typeface="Arial" panose="020B0604020202020204" pitchFamily="34" charset="0"/>
                        </a:rPr>
                        <a:t>13.8</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146387"/>
                  </a:ext>
                </a:extLst>
              </a:tr>
              <a:tr h="23456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dirty="0" err="1">
                          <a:solidFill>
                            <a:schemeClr val="tx1"/>
                          </a:solidFill>
                          <a:latin typeface="Arial" panose="020B0604020202020204" pitchFamily="34" charset="0"/>
                          <a:ea typeface="+mn-ea"/>
                          <a:cs typeface="Arial" panose="020B0604020202020204" pitchFamily="34" charset="0"/>
                        </a:rPr>
                        <a:t>Δ</a:t>
                      </a:r>
                      <a:r>
                        <a:rPr lang="en-US" sz="1100" b="1" kern="1200" dirty="0">
                          <a:solidFill>
                            <a:schemeClr val="tx1"/>
                          </a:solidFill>
                          <a:latin typeface="Arial" panose="020B0604020202020204" pitchFamily="34" charset="0"/>
                          <a:ea typeface="+mn-ea"/>
                          <a:cs typeface="Arial" panose="020B0604020202020204" pitchFamily="34" charset="0"/>
                        </a:rPr>
                        <a:t> Median PFS</a:t>
                      </a:r>
                    </a:p>
                  </a:txBody>
                  <a:tcPr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algn="ctr" defTabSz="685800" rtl="0" eaLnBrk="1" latinLnBrk="0" hangingPunct="1"/>
                      <a:r>
                        <a:rPr lang="en-US" sz="1100" b="1" kern="1200" dirty="0">
                          <a:solidFill>
                            <a:schemeClr val="tx1"/>
                          </a:solidFill>
                          <a:latin typeface="Arial" panose="020B0604020202020204" pitchFamily="34" charset="0"/>
                          <a:ea typeface="+mn-ea"/>
                          <a:cs typeface="Arial" panose="020B0604020202020204" pitchFamily="34" charset="0"/>
                        </a:rPr>
                        <a:t>42.2 months</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algn="ctr" defTabSz="685800" rtl="0" eaLnBrk="1" latinLnBrk="0" hangingPunct="1"/>
                      <a:endParaRPr lang="en-GB" sz="1200" b="0" kern="1200">
                        <a:solidFill>
                          <a:schemeClr val="tx1"/>
                        </a:solidFill>
                        <a:latin typeface="Arial Narrow" panose="020B0606020202030204" pitchFamily="34" charset="0"/>
                        <a:ea typeface="+mn-ea"/>
                        <a:cs typeface="+mn-cs"/>
                      </a:endParaRPr>
                    </a:p>
                  </a:txBody>
                  <a:tcPr marL="36000" marR="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65021570"/>
                  </a:ext>
                </a:extLst>
              </a:tr>
              <a:tr h="23456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i="0" kern="1200" dirty="0">
                          <a:solidFill>
                            <a:schemeClr val="tx1"/>
                          </a:solidFill>
                          <a:latin typeface="Arial" panose="020B0604020202020204" pitchFamily="34" charset="0"/>
                          <a:ea typeface="+mn-ea"/>
                          <a:cs typeface="Arial" panose="020B0604020202020204" pitchFamily="34" charset="0"/>
                        </a:rPr>
                        <a:t>HR (95% CI)</a:t>
                      </a:r>
                    </a:p>
                  </a:txBody>
                  <a:tcPr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tx1"/>
                          </a:solidFill>
                          <a:latin typeface="Arial" panose="020B0604020202020204" pitchFamily="34" charset="0"/>
                          <a:ea typeface="+mn-ea"/>
                          <a:cs typeface="Arial" panose="020B0604020202020204" pitchFamily="34" charset="0"/>
                        </a:rPr>
                        <a:t>0.33 (0.25-0.43)</a:t>
                      </a:r>
                      <a:endParaRPr lang="en-US" sz="1100" kern="1200" dirty="0">
                        <a:solidFill>
                          <a:schemeClr val="tx1"/>
                        </a:solidFill>
                        <a:latin typeface="Arial" panose="020B0604020202020204" pitchFamily="34" charset="0"/>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GB" sz="900" b="0">
                        <a:solidFill>
                          <a:schemeClr val="tx1">
                            <a:lumMod val="50000"/>
                            <a:lumOff val="50000"/>
                          </a:schemeClr>
                        </a:solidFill>
                      </a:endParaRPr>
                    </a:p>
                  </a:txBody>
                  <a:tcPr marT="60960" marB="60960" anchor="ctr">
                    <a:lnL w="12700" cmpd="sng">
                      <a:noFill/>
                    </a:lnL>
                    <a:lnT w="12700" cmpd="sng">
                      <a:noFill/>
                    </a:lnT>
                  </a:tcPr>
                </a:tc>
                <a:extLst>
                  <a:ext uri="{0D108BD9-81ED-4DB2-BD59-A6C34878D82A}">
                    <a16:rowId xmlns:a16="http://schemas.microsoft.com/office/drawing/2014/main" val="2102812147"/>
                  </a:ext>
                </a:extLst>
              </a:tr>
            </a:tbl>
          </a:graphicData>
        </a:graphic>
      </p:graphicFrame>
      <p:graphicFrame>
        <p:nvGraphicFramePr>
          <p:cNvPr id="622" name="Table 621">
            <a:extLst>
              <a:ext uri="{FF2B5EF4-FFF2-40B4-BE49-F238E27FC236}">
                <a16:creationId xmlns:a16="http://schemas.microsoft.com/office/drawing/2014/main" id="{D483E99E-18DD-F5A6-F7D4-E2DF6EA9E658}"/>
              </a:ext>
            </a:extLst>
          </p:cNvPr>
          <p:cNvGraphicFramePr>
            <a:graphicFrameLocks noGrp="1"/>
          </p:cNvGraphicFramePr>
          <p:nvPr/>
        </p:nvGraphicFramePr>
        <p:xfrm>
          <a:off x="9232965" y="4529748"/>
          <a:ext cx="2876108" cy="1332312"/>
        </p:xfrm>
        <a:graphic>
          <a:graphicData uri="http://schemas.openxmlformats.org/drawingml/2006/table">
            <a:tbl>
              <a:tblPr firstRow="1" bandRow="1">
                <a:tableStyleId>{073A0DAA-6AF3-43AB-8588-CEC1D06C72B9}</a:tableStyleId>
              </a:tblPr>
              <a:tblGrid>
                <a:gridCol w="1379500">
                  <a:extLst>
                    <a:ext uri="{9D8B030D-6E8A-4147-A177-3AD203B41FA5}">
                      <a16:colId xmlns:a16="http://schemas.microsoft.com/office/drawing/2014/main" val="2148471966"/>
                    </a:ext>
                  </a:extLst>
                </a:gridCol>
                <a:gridCol w="1496608">
                  <a:extLst>
                    <a:ext uri="{9D8B030D-6E8A-4147-A177-3AD203B41FA5}">
                      <a16:colId xmlns:a16="http://schemas.microsoft.com/office/drawing/2014/main" val="2508215086"/>
                    </a:ext>
                  </a:extLst>
                </a:gridCol>
              </a:tblGrid>
              <a:tr h="364608">
                <a:tc>
                  <a:txBody>
                    <a:bodyPr/>
                    <a:lstStyle/>
                    <a:p>
                      <a:pPr algn="ctr">
                        <a:lnSpc>
                          <a:spcPct val="90000"/>
                        </a:lnSpc>
                      </a:pPr>
                      <a:r>
                        <a:rPr lang="en-US" sz="1100" dirty="0">
                          <a:latin typeface="Arial" panose="020B0604020202020204" pitchFamily="34" charset="0"/>
                          <a:cs typeface="Arial" panose="020B0604020202020204" pitchFamily="34" charset="0"/>
                        </a:rPr>
                        <a:t>Olaparib + Bev</a:t>
                      </a:r>
                    </a:p>
                    <a:p>
                      <a:pPr algn="ctr">
                        <a:lnSpc>
                          <a:spcPct val="90000"/>
                        </a:lnSpc>
                      </a:pPr>
                      <a:r>
                        <a:rPr lang="en-US" sz="1100" b="1" kern="1200" dirty="0">
                          <a:solidFill>
                            <a:schemeClr val="bg1"/>
                          </a:solidFill>
                          <a:latin typeface="Arial" panose="020B0604020202020204" pitchFamily="34" charset="0"/>
                          <a:ea typeface="+mn-ea"/>
                          <a:cs typeface="Arial" panose="020B0604020202020204" pitchFamily="34" charset="0"/>
                        </a:rPr>
                        <a:t>(n=157)</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31053"/>
                    </a:solidFill>
                  </a:tcPr>
                </a:tc>
                <a:tc>
                  <a:txBody>
                    <a:bodyPr/>
                    <a:lstStyle/>
                    <a:p>
                      <a:pPr algn="ctr">
                        <a:lnSpc>
                          <a:spcPct val="90000"/>
                        </a:lnSpc>
                      </a:pPr>
                      <a:r>
                        <a:rPr lang="en-US" sz="1100" dirty="0">
                          <a:latin typeface="Arial" panose="020B0604020202020204" pitchFamily="34" charset="0"/>
                          <a:cs typeface="Arial" panose="020B0604020202020204" pitchFamily="34" charset="0"/>
                        </a:rPr>
                        <a:t>Placebo + Bev</a:t>
                      </a:r>
                      <a:br>
                        <a:rPr lang="en-US" sz="1100" dirty="0">
                          <a:latin typeface="Arial" panose="020B0604020202020204" pitchFamily="34" charset="0"/>
                          <a:cs typeface="Arial" panose="020B0604020202020204" pitchFamily="34" charset="0"/>
                        </a:rPr>
                      </a:br>
                      <a:r>
                        <a:rPr lang="en-US" sz="1100" kern="1200" dirty="0">
                          <a:latin typeface="Arial" panose="020B0604020202020204" pitchFamily="34" charset="0"/>
                          <a:cs typeface="Arial" panose="020B0604020202020204" pitchFamily="34" charset="0"/>
                        </a:rPr>
                        <a:t>(n=80)</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F7F7F"/>
                    </a:solidFill>
                  </a:tcPr>
                </a:tc>
                <a:extLst>
                  <a:ext uri="{0D108BD9-81ED-4DB2-BD59-A6C34878D82A}">
                    <a16:rowId xmlns:a16="http://schemas.microsoft.com/office/drawing/2014/main" val="2597931480"/>
                  </a:ext>
                </a:extLst>
              </a:tr>
              <a:tr h="234560">
                <a:tc>
                  <a:txBody>
                    <a:bodyPr/>
                    <a:lstStyle/>
                    <a:p>
                      <a:pPr marL="0" algn="ctr" defTabSz="685800" rtl="0" eaLnBrk="1" latinLnBrk="0" hangingPunct="1"/>
                      <a:r>
                        <a:rPr lang="en-US" sz="1100" kern="1200" dirty="0">
                          <a:solidFill>
                            <a:schemeClr val="tx1"/>
                          </a:solidFill>
                          <a:latin typeface="Arial" panose="020B0604020202020204" pitchFamily="34" charset="0"/>
                          <a:cs typeface="Arial" panose="020B0604020202020204" pitchFamily="34" charset="0"/>
                        </a:rPr>
                        <a:t>41 (26)</a:t>
                      </a:r>
                      <a:endParaRPr lang="en-US" sz="1100" b="0" kern="1200" dirty="0">
                        <a:solidFill>
                          <a:schemeClr val="tx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685800" rtl="0" eaLnBrk="1" latinLnBrk="0" hangingPunct="1"/>
                      <a:r>
                        <a:rPr lang="en-US" sz="1100" kern="1200" dirty="0">
                          <a:solidFill>
                            <a:schemeClr val="tx1"/>
                          </a:solidFill>
                          <a:latin typeface="Arial" panose="020B0604020202020204" pitchFamily="34" charset="0"/>
                          <a:cs typeface="Arial" panose="020B0604020202020204" pitchFamily="34" charset="0"/>
                        </a:rPr>
                        <a:t>49 (61)</a:t>
                      </a:r>
                      <a:endParaRPr lang="en-US" sz="1100" b="0" kern="1200" dirty="0">
                        <a:solidFill>
                          <a:schemeClr val="tx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6981589"/>
                  </a:ext>
                </a:extLst>
              </a:tr>
              <a:tr h="234560">
                <a:tc>
                  <a:txBody>
                    <a:bodyPr/>
                    <a:lstStyle/>
                    <a:p>
                      <a:pPr marL="0" algn="ctr" defTabSz="685800" rtl="0" eaLnBrk="1" latinLnBrk="0" hangingPunct="1"/>
                      <a:r>
                        <a:rPr lang="en-US" sz="1100" b="1" kern="1200" dirty="0">
                          <a:solidFill>
                            <a:schemeClr val="tx1"/>
                          </a:solidFill>
                          <a:latin typeface="Arial" panose="020B0604020202020204" pitchFamily="34" charset="0"/>
                          <a:ea typeface="+mn-ea"/>
                          <a:cs typeface="Arial" panose="020B0604020202020204" pitchFamily="34" charset="0"/>
                        </a:rPr>
                        <a:t>37.2</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685800" rtl="0" eaLnBrk="1" latinLnBrk="0" hangingPunct="1"/>
                      <a:r>
                        <a:rPr lang="en-US" sz="1100" b="1" kern="1200" dirty="0">
                          <a:solidFill>
                            <a:schemeClr val="tx1"/>
                          </a:solidFill>
                          <a:latin typeface="Arial" panose="020B0604020202020204" pitchFamily="34" charset="0"/>
                          <a:ea typeface="+mn-ea"/>
                          <a:cs typeface="Arial" panose="020B0604020202020204" pitchFamily="34" charset="0"/>
                        </a:rPr>
                        <a:t>21.7</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146387"/>
                  </a:ext>
                </a:extLst>
              </a:tr>
              <a:tr h="234560">
                <a:tc gridSpan="2">
                  <a:txBody>
                    <a:bodyPr/>
                    <a:lstStyle/>
                    <a:p>
                      <a:pPr marL="0" algn="ctr" defTabSz="685800" rtl="0" eaLnBrk="1" latinLnBrk="0" hangingPunct="1"/>
                      <a:r>
                        <a:rPr lang="en-US" sz="1100" b="1" kern="1200" dirty="0">
                          <a:solidFill>
                            <a:schemeClr val="tx1"/>
                          </a:solidFill>
                          <a:latin typeface="Arial" panose="020B0604020202020204" pitchFamily="34" charset="0"/>
                          <a:ea typeface="+mn-ea"/>
                          <a:cs typeface="Arial" panose="020B0604020202020204" pitchFamily="34" charset="0"/>
                        </a:rPr>
                        <a:t>15.5 months</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algn="ctr" defTabSz="685800" rtl="0" eaLnBrk="1" latinLnBrk="0" hangingPunct="1"/>
                      <a:endParaRPr lang="en-GB" sz="1200" b="0" kern="1200">
                        <a:solidFill>
                          <a:schemeClr val="tx1"/>
                        </a:solidFill>
                        <a:latin typeface="Arial Narrow" panose="020B0606020202030204" pitchFamily="34" charset="0"/>
                        <a:ea typeface="+mn-ea"/>
                        <a:cs typeface="+mn-cs"/>
                      </a:endParaRPr>
                    </a:p>
                  </a:txBody>
                  <a:tcPr marL="36000" marR="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65021570"/>
                  </a:ext>
                </a:extLst>
              </a:tr>
              <a:tr h="23456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Arial" panose="020B0604020202020204" pitchFamily="34" charset="0"/>
                          <a:cs typeface="Arial" panose="020B0604020202020204" pitchFamily="34" charset="0"/>
                        </a:rPr>
                        <a:t>0.31 (0.20-0.47),</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GB" sz="900" b="0">
                        <a:solidFill>
                          <a:schemeClr val="tx1">
                            <a:lumMod val="50000"/>
                            <a:lumOff val="50000"/>
                          </a:schemeClr>
                        </a:solidFill>
                      </a:endParaRPr>
                    </a:p>
                  </a:txBody>
                  <a:tcPr marT="60960" marB="60960" anchor="ctr">
                    <a:lnL w="12700" cmpd="sng">
                      <a:noFill/>
                    </a:lnL>
                    <a:lnT w="12700" cmpd="sng">
                      <a:noFill/>
                    </a:lnT>
                  </a:tcPr>
                </a:tc>
                <a:extLst>
                  <a:ext uri="{0D108BD9-81ED-4DB2-BD59-A6C34878D82A}">
                    <a16:rowId xmlns:a16="http://schemas.microsoft.com/office/drawing/2014/main" val="2102812147"/>
                  </a:ext>
                </a:extLst>
              </a:tr>
            </a:tbl>
          </a:graphicData>
        </a:graphic>
      </p:graphicFrame>
      <p:grpSp>
        <p:nvGrpSpPr>
          <p:cNvPr id="532" name="Group 531">
            <a:extLst>
              <a:ext uri="{FF2B5EF4-FFF2-40B4-BE49-F238E27FC236}">
                <a16:creationId xmlns:a16="http://schemas.microsoft.com/office/drawing/2014/main" id="{3FC7E49C-30EF-E3E3-2AAC-03089B32E01E}"/>
              </a:ext>
            </a:extLst>
          </p:cNvPr>
          <p:cNvGrpSpPr/>
          <p:nvPr/>
        </p:nvGrpSpPr>
        <p:grpSpPr>
          <a:xfrm>
            <a:off x="-74418" y="2249610"/>
            <a:ext cx="3428311" cy="2028661"/>
            <a:chOff x="-47259" y="2050442"/>
            <a:chExt cx="3428310" cy="2028661"/>
          </a:xfrm>
        </p:grpSpPr>
        <p:sp>
          <p:nvSpPr>
            <p:cNvPr id="65" name="TextBox 64">
              <a:extLst>
                <a:ext uri="{FF2B5EF4-FFF2-40B4-BE49-F238E27FC236}">
                  <a16:creationId xmlns:a16="http://schemas.microsoft.com/office/drawing/2014/main" id="{450C01DF-D45A-BFF2-6C60-79F717D8E978}"/>
                </a:ext>
              </a:extLst>
            </p:cNvPr>
            <p:cNvSpPr txBox="1"/>
            <p:nvPr/>
          </p:nvSpPr>
          <p:spPr>
            <a:xfrm>
              <a:off x="513464"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60</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31</a:t>
              </a:r>
            </a:p>
          </p:txBody>
        </p:sp>
        <p:sp>
          <p:nvSpPr>
            <p:cNvPr id="66" name="TextBox 65">
              <a:extLst>
                <a:ext uri="{FF2B5EF4-FFF2-40B4-BE49-F238E27FC236}">
                  <a16:creationId xmlns:a16="http://schemas.microsoft.com/office/drawing/2014/main" id="{EE21B3D7-6890-9A0F-2287-921794B1D43B}"/>
                </a:ext>
              </a:extLst>
            </p:cNvPr>
            <p:cNvSpPr txBox="1"/>
            <p:nvPr/>
          </p:nvSpPr>
          <p:spPr>
            <a:xfrm>
              <a:off x="723346"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29</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03</a:t>
              </a:r>
            </a:p>
          </p:txBody>
        </p:sp>
        <p:sp>
          <p:nvSpPr>
            <p:cNvPr id="67" name="TextBox 66">
              <a:extLst>
                <a:ext uri="{FF2B5EF4-FFF2-40B4-BE49-F238E27FC236}">
                  <a16:creationId xmlns:a16="http://schemas.microsoft.com/office/drawing/2014/main" id="{2B6C4C11-4332-E313-3481-DF48CDB860A7}"/>
                </a:ext>
              </a:extLst>
            </p:cNvPr>
            <p:cNvSpPr txBox="1"/>
            <p:nvPr/>
          </p:nvSpPr>
          <p:spPr>
            <a:xfrm>
              <a:off x="933226"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12</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65</a:t>
              </a:r>
            </a:p>
          </p:txBody>
        </p:sp>
        <p:sp>
          <p:nvSpPr>
            <p:cNvPr id="68" name="TextBox 67">
              <a:extLst>
                <a:ext uri="{FF2B5EF4-FFF2-40B4-BE49-F238E27FC236}">
                  <a16:creationId xmlns:a16="http://schemas.microsoft.com/office/drawing/2014/main" id="{03EFD9B8-885C-9B8A-4F25-A37E9437EBEE}"/>
                </a:ext>
              </a:extLst>
            </p:cNvPr>
            <p:cNvSpPr txBox="1"/>
            <p:nvPr/>
          </p:nvSpPr>
          <p:spPr>
            <a:xfrm>
              <a:off x="1143103"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94</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53</a:t>
              </a:r>
            </a:p>
          </p:txBody>
        </p:sp>
        <p:sp>
          <p:nvSpPr>
            <p:cNvPr id="69" name="TextBox 68">
              <a:extLst>
                <a:ext uri="{FF2B5EF4-FFF2-40B4-BE49-F238E27FC236}">
                  <a16:creationId xmlns:a16="http://schemas.microsoft.com/office/drawing/2014/main" id="{AB6799D3-616C-54E6-254D-73C2A86A0BDF}"/>
                </a:ext>
              </a:extLst>
            </p:cNvPr>
            <p:cNvSpPr txBox="1"/>
            <p:nvPr/>
          </p:nvSpPr>
          <p:spPr>
            <a:xfrm>
              <a:off x="1352985"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73</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41</a:t>
              </a:r>
            </a:p>
          </p:txBody>
        </p:sp>
        <p:sp>
          <p:nvSpPr>
            <p:cNvPr id="70" name="TextBox 69">
              <a:extLst>
                <a:ext uri="{FF2B5EF4-FFF2-40B4-BE49-F238E27FC236}">
                  <a16:creationId xmlns:a16="http://schemas.microsoft.com/office/drawing/2014/main" id="{E8189918-EF06-8FF3-1B16-E4485DEB8CD9}"/>
                </a:ext>
              </a:extLst>
            </p:cNvPr>
            <p:cNvSpPr txBox="1"/>
            <p:nvPr/>
          </p:nvSpPr>
          <p:spPr>
            <a:xfrm>
              <a:off x="1562863"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40</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38</a:t>
              </a:r>
            </a:p>
          </p:txBody>
        </p:sp>
        <p:sp>
          <p:nvSpPr>
            <p:cNvPr id="71" name="TextBox 70">
              <a:extLst>
                <a:ext uri="{FF2B5EF4-FFF2-40B4-BE49-F238E27FC236}">
                  <a16:creationId xmlns:a16="http://schemas.microsoft.com/office/drawing/2014/main" id="{FFE04BE6-1A79-FF99-8AE8-AB4515714E79}"/>
                </a:ext>
              </a:extLst>
            </p:cNvPr>
            <p:cNvSpPr txBox="1"/>
            <p:nvPr/>
          </p:nvSpPr>
          <p:spPr>
            <a:xfrm>
              <a:off x="1772745"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29</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30</a:t>
              </a:r>
            </a:p>
          </p:txBody>
        </p:sp>
        <p:sp>
          <p:nvSpPr>
            <p:cNvPr id="72" name="TextBox 71">
              <a:extLst>
                <a:ext uri="{FF2B5EF4-FFF2-40B4-BE49-F238E27FC236}">
                  <a16:creationId xmlns:a16="http://schemas.microsoft.com/office/drawing/2014/main" id="{B0C6C97C-F9CB-7472-4065-CD2F61C97E0A}"/>
                </a:ext>
              </a:extLst>
            </p:cNvPr>
            <p:cNvSpPr txBox="1"/>
            <p:nvPr/>
          </p:nvSpPr>
          <p:spPr>
            <a:xfrm>
              <a:off x="1982625"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15</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4</a:t>
              </a:r>
            </a:p>
          </p:txBody>
        </p:sp>
        <p:sp>
          <p:nvSpPr>
            <p:cNvPr id="73" name="TextBox 72">
              <a:extLst>
                <a:ext uri="{FF2B5EF4-FFF2-40B4-BE49-F238E27FC236}">
                  <a16:creationId xmlns:a16="http://schemas.microsoft.com/office/drawing/2014/main" id="{B9B20D07-F582-FFB1-2321-3C17354F8578}"/>
                </a:ext>
              </a:extLst>
            </p:cNvPr>
            <p:cNvSpPr txBox="1"/>
            <p:nvPr/>
          </p:nvSpPr>
          <p:spPr>
            <a:xfrm>
              <a:off x="2192505"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01</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3</a:t>
              </a:r>
            </a:p>
          </p:txBody>
        </p:sp>
        <p:sp>
          <p:nvSpPr>
            <p:cNvPr id="74" name="TextBox 73">
              <a:extLst>
                <a:ext uri="{FF2B5EF4-FFF2-40B4-BE49-F238E27FC236}">
                  <a16:creationId xmlns:a16="http://schemas.microsoft.com/office/drawing/2014/main" id="{3EFAC6A5-0833-30FA-76B4-49F2118EE2F7}"/>
                </a:ext>
              </a:extLst>
            </p:cNvPr>
            <p:cNvSpPr txBox="1"/>
            <p:nvPr/>
          </p:nvSpPr>
          <p:spPr>
            <a:xfrm>
              <a:off x="2402385"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91</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2</a:t>
              </a:r>
            </a:p>
          </p:txBody>
        </p:sp>
        <p:sp>
          <p:nvSpPr>
            <p:cNvPr id="75" name="TextBox 74">
              <a:extLst>
                <a:ext uri="{FF2B5EF4-FFF2-40B4-BE49-F238E27FC236}">
                  <a16:creationId xmlns:a16="http://schemas.microsoft.com/office/drawing/2014/main" id="{DE1D96A4-45C3-EF1D-AD0E-64AE349D0454}"/>
                </a:ext>
              </a:extLst>
            </p:cNvPr>
            <p:cNvSpPr txBox="1"/>
            <p:nvPr/>
          </p:nvSpPr>
          <p:spPr>
            <a:xfrm>
              <a:off x="2612264"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58</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6</a:t>
              </a:r>
            </a:p>
          </p:txBody>
        </p:sp>
        <p:sp>
          <p:nvSpPr>
            <p:cNvPr id="76" name="TextBox 75">
              <a:extLst>
                <a:ext uri="{FF2B5EF4-FFF2-40B4-BE49-F238E27FC236}">
                  <a16:creationId xmlns:a16="http://schemas.microsoft.com/office/drawing/2014/main" id="{ED029EA3-8CA8-7FD0-6C49-BFC9CE8ACEA6}"/>
                </a:ext>
              </a:extLst>
            </p:cNvPr>
            <p:cNvSpPr txBox="1"/>
            <p:nvPr/>
          </p:nvSpPr>
          <p:spPr>
            <a:xfrm>
              <a:off x="2822144"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30</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3</a:t>
              </a:r>
            </a:p>
          </p:txBody>
        </p:sp>
        <p:sp>
          <p:nvSpPr>
            <p:cNvPr id="77" name="TextBox 76">
              <a:extLst>
                <a:ext uri="{FF2B5EF4-FFF2-40B4-BE49-F238E27FC236}">
                  <a16:creationId xmlns:a16="http://schemas.microsoft.com/office/drawing/2014/main" id="{EC31C9CF-A3AB-20CD-A31B-2533D6ACADB9}"/>
                </a:ext>
              </a:extLst>
            </p:cNvPr>
            <p:cNvSpPr txBox="1"/>
            <p:nvPr/>
          </p:nvSpPr>
          <p:spPr>
            <a:xfrm>
              <a:off x="3032024"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a:t>
              </a:r>
            </a:p>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a:t>
              </a:r>
            </a:p>
          </p:txBody>
        </p:sp>
        <p:sp>
          <p:nvSpPr>
            <p:cNvPr id="78" name="TextBox 77">
              <a:extLst>
                <a:ext uri="{FF2B5EF4-FFF2-40B4-BE49-F238E27FC236}">
                  <a16:creationId xmlns:a16="http://schemas.microsoft.com/office/drawing/2014/main" id="{6B362051-723D-E856-5F6D-F0058C171345}"/>
                </a:ext>
              </a:extLst>
            </p:cNvPr>
            <p:cNvSpPr txBox="1"/>
            <p:nvPr/>
          </p:nvSpPr>
          <p:spPr>
            <a:xfrm>
              <a:off x="3241902" y="3892556"/>
              <a:ext cx="139145" cy="184666"/>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a:t>
              </a:r>
            </a:p>
            <a:p>
              <a:pPr marL="0" marR="0" lvl="0" indent="0" algn="ctr" defTabSz="51835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79" name="Rectangle 38">
              <a:extLst>
                <a:ext uri="{FF2B5EF4-FFF2-40B4-BE49-F238E27FC236}">
                  <a16:creationId xmlns:a16="http://schemas.microsoft.com/office/drawing/2014/main" id="{8EDC2A64-5FB7-6087-A587-66D58E4B5FA4}"/>
                </a:ext>
              </a:extLst>
            </p:cNvPr>
            <p:cNvSpPr>
              <a:spLocks noChangeArrowheads="1"/>
            </p:cNvSpPr>
            <p:nvPr/>
          </p:nvSpPr>
          <p:spPr bwMode="auto">
            <a:xfrm>
              <a:off x="-47259" y="3802104"/>
              <a:ext cx="55623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00" tIns="0" rIns="48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080"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at risk</a:t>
              </a:r>
            </a:p>
            <a:p>
              <a:pPr marL="0" marR="0" lvl="0" indent="0" algn="r" defTabSz="1219080"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aparib</a:t>
              </a:r>
              <a:b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acebo</a:t>
              </a:r>
            </a:p>
          </p:txBody>
        </p:sp>
        <p:sp>
          <p:nvSpPr>
            <p:cNvPr id="448" name="Rectangle 110">
              <a:extLst>
                <a:ext uri="{FF2B5EF4-FFF2-40B4-BE49-F238E27FC236}">
                  <a16:creationId xmlns:a16="http://schemas.microsoft.com/office/drawing/2014/main" id="{A8E1E2D1-1767-34F9-3460-FD73E88013DD}"/>
                </a:ext>
              </a:extLst>
            </p:cNvPr>
            <p:cNvSpPr>
              <a:spLocks noChangeArrowheads="1"/>
            </p:cNvSpPr>
            <p:nvPr/>
          </p:nvSpPr>
          <p:spPr bwMode="auto">
            <a:xfrm>
              <a:off x="1022609" y="3713503"/>
              <a:ext cx="166146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48000" tIns="0" rIns="48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ths since </a:t>
              </a:r>
              <a:r>
                <a:rPr kumimoji="0" lang="en-US" sz="9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andomisation</a:t>
              </a:r>
              <a:endPar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9" name="Line 18">
              <a:extLst>
                <a:ext uri="{FF2B5EF4-FFF2-40B4-BE49-F238E27FC236}">
                  <a16:creationId xmlns:a16="http://schemas.microsoft.com/office/drawing/2014/main" id="{19FADA18-6C90-868B-6CE6-8C5AC0C38698}"/>
                </a:ext>
              </a:extLst>
            </p:cNvPr>
            <p:cNvSpPr>
              <a:spLocks noChangeShapeType="1"/>
            </p:cNvSpPr>
            <p:nvPr/>
          </p:nvSpPr>
          <p:spPr bwMode="auto">
            <a:xfrm>
              <a:off x="679486"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0" name="Line 19">
              <a:extLst>
                <a:ext uri="{FF2B5EF4-FFF2-40B4-BE49-F238E27FC236}">
                  <a16:creationId xmlns:a16="http://schemas.microsoft.com/office/drawing/2014/main" id="{B147A141-C070-B98E-FB62-9E1AA977105C}"/>
                </a:ext>
              </a:extLst>
            </p:cNvPr>
            <p:cNvSpPr>
              <a:spLocks noChangeShapeType="1"/>
            </p:cNvSpPr>
            <p:nvPr/>
          </p:nvSpPr>
          <p:spPr bwMode="auto">
            <a:xfrm>
              <a:off x="785506"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1" name="Line 20">
              <a:extLst>
                <a:ext uri="{FF2B5EF4-FFF2-40B4-BE49-F238E27FC236}">
                  <a16:creationId xmlns:a16="http://schemas.microsoft.com/office/drawing/2014/main" id="{BAE8AE76-FCF2-0F6F-10F5-FC899FBD0410}"/>
                </a:ext>
              </a:extLst>
            </p:cNvPr>
            <p:cNvSpPr>
              <a:spLocks noChangeShapeType="1"/>
            </p:cNvSpPr>
            <p:nvPr/>
          </p:nvSpPr>
          <p:spPr bwMode="auto">
            <a:xfrm>
              <a:off x="887668"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2" name="Line 21">
              <a:extLst>
                <a:ext uri="{FF2B5EF4-FFF2-40B4-BE49-F238E27FC236}">
                  <a16:creationId xmlns:a16="http://schemas.microsoft.com/office/drawing/2014/main" id="{321965D5-5761-8B8A-A804-BE6711808EEA}"/>
                </a:ext>
              </a:extLst>
            </p:cNvPr>
            <p:cNvSpPr>
              <a:spLocks noChangeShapeType="1"/>
            </p:cNvSpPr>
            <p:nvPr/>
          </p:nvSpPr>
          <p:spPr bwMode="auto">
            <a:xfrm>
              <a:off x="994971"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3" name="Line 22">
              <a:extLst>
                <a:ext uri="{FF2B5EF4-FFF2-40B4-BE49-F238E27FC236}">
                  <a16:creationId xmlns:a16="http://schemas.microsoft.com/office/drawing/2014/main" id="{8E968A3F-2525-C110-F653-BA7B50D2F153}"/>
                </a:ext>
              </a:extLst>
            </p:cNvPr>
            <p:cNvSpPr>
              <a:spLocks noChangeShapeType="1"/>
            </p:cNvSpPr>
            <p:nvPr/>
          </p:nvSpPr>
          <p:spPr bwMode="auto">
            <a:xfrm>
              <a:off x="1098417"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4" name="Line 23">
              <a:extLst>
                <a:ext uri="{FF2B5EF4-FFF2-40B4-BE49-F238E27FC236}">
                  <a16:creationId xmlns:a16="http://schemas.microsoft.com/office/drawing/2014/main" id="{C157623D-4FB2-D8A3-832F-A618296DA097}"/>
                </a:ext>
              </a:extLst>
            </p:cNvPr>
            <p:cNvSpPr>
              <a:spLocks noChangeShapeType="1"/>
            </p:cNvSpPr>
            <p:nvPr/>
          </p:nvSpPr>
          <p:spPr bwMode="auto">
            <a:xfrm>
              <a:off x="1201865"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5" name="Line 24">
              <a:extLst>
                <a:ext uri="{FF2B5EF4-FFF2-40B4-BE49-F238E27FC236}">
                  <a16:creationId xmlns:a16="http://schemas.microsoft.com/office/drawing/2014/main" id="{21242A11-3C58-1296-F210-8ECF144D695D}"/>
                </a:ext>
              </a:extLst>
            </p:cNvPr>
            <p:cNvSpPr>
              <a:spLocks noChangeShapeType="1"/>
            </p:cNvSpPr>
            <p:nvPr/>
          </p:nvSpPr>
          <p:spPr bwMode="auto">
            <a:xfrm>
              <a:off x="1310453"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6" name="Line 25">
              <a:extLst>
                <a:ext uri="{FF2B5EF4-FFF2-40B4-BE49-F238E27FC236}">
                  <a16:creationId xmlns:a16="http://schemas.microsoft.com/office/drawing/2014/main" id="{5B356035-C2A0-86CE-C60C-D01E1763F7EA}"/>
                </a:ext>
              </a:extLst>
            </p:cNvPr>
            <p:cNvSpPr>
              <a:spLocks noChangeShapeType="1"/>
            </p:cNvSpPr>
            <p:nvPr/>
          </p:nvSpPr>
          <p:spPr bwMode="auto">
            <a:xfrm>
              <a:off x="1419041"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7" name="Line 26">
              <a:extLst>
                <a:ext uri="{FF2B5EF4-FFF2-40B4-BE49-F238E27FC236}">
                  <a16:creationId xmlns:a16="http://schemas.microsoft.com/office/drawing/2014/main" id="{C3BD52D0-107B-9A50-8D14-7A613C91DABF}"/>
                </a:ext>
              </a:extLst>
            </p:cNvPr>
            <p:cNvSpPr>
              <a:spLocks noChangeShapeType="1"/>
            </p:cNvSpPr>
            <p:nvPr/>
          </p:nvSpPr>
          <p:spPr bwMode="auto">
            <a:xfrm>
              <a:off x="1519918"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8" name="Line 27">
              <a:extLst>
                <a:ext uri="{FF2B5EF4-FFF2-40B4-BE49-F238E27FC236}">
                  <a16:creationId xmlns:a16="http://schemas.microsoft.com/office/drawing/2014/main" id="{76259860-DA86-B23C-B779-1308657D4253}"/>
                </a:ext>
              </a:extLst>
            </p:cNvPr>
            <p:cNvSpPr>
              <a:spLocks noChangeShapeType="1"/>
            </p:cNvSpPr>
            <p:nvPr/>
          </p:nvSpPr>
          <p:spPr bwMode="auto">
            <a:xfrm>
              <a:off x="1627221"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9" name="Line 28">
              <a:extLst>
                <a:ext uri="{FF2B5EF4-FFF2-40B4-BE49-F238E27FC236}">
                  <a16:creationId xmlns:a16="http://schemas.microsoft.com/office/drawing/2014/main" id="{4FCDFF98-D6C9-8F41-3020-6D4368126A41}"/>
                </a:ext>
              </a:extLst>
            </p:cNvPr>
            <p:cNvSpPr>
              <a:spLocks noChangeShapeType="1"/>
            </p:cNvSpPr>
            <p:nvPr/>
          </p:nvSpPr>
          <p:spPr bwMode="auto">
            <a:xfrm>
              <a:off x="1730669"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0" name="Line 29">
              <a:extLst>
                <a:ext uri="{FF2B5EF4-FFF2-40B4-BE49-F238E27FC236}">
                  <a16:creationId xmlns:a16="http://schemas.microsoft.com/office/drawing/2014/main" id="{B1561E36-6991-8047-5494-E6953B2317B1}"/>
                </a:ext>
              </a:extLst>
            </p:cNvPr>
            <p:cNvSpPr>
              <a:spLocks noChangeShapeType="1"/>
            </p:cNvSpPr>
            <p:nvPr/>
          </p:nvSpPr>
          <p:spPr bwMode="auto">
            <a:xfrm>
              <a:off x="1837970"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1" name="Line 30">
              <a:extLst>
                <a:ext uri="{FF2B5EF4-FFF2-40B4-BE49-F238E27FC236}">
                  <a16:creationId xmlns:a16="http://schemas.microsoft.com/office/drawing/2014/main" id="{BE91A267-C1EC-BC16-A5AF-3179DB7131AB}"/>
                </a:ext>
              </a:extLst>
            </p:cNvPr>
            <p:cNvSpPr>
              <a:spLocks noChangeShapeType="1"/>
            </p:cNvSpPr>
            <p:nvPr/>
          </p:nvSpPr>
          <p:spPr bwMode="auto">
            <a:xfrm>
              <a:off x="1941418"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62" name="Straight Connector 461">
              <a:extLst>
                <a:ext uri="{FF2B5EF4-FFF2-40B4-BE49-F238E27FC236}">
                  <a16:creationId xmlns:a16="http://schemas.microsoft.com/office/drawing/2014/main" id="{1FB7A275-7BE9-0F53-6251-F08BB70D55F6}"/>
                </a:ext>
              </a:extLst>
            </p:cNvPr>
            <p:cNvCxnSpPr>
              <a:cxnSpLocks/>
            </p:cNvCxnSpPr>
            <p:nvPr/>
          </p:nvCxnSpPr>
          <p:spPr bwMode="auto">
            <a:xfrm flipH="1">
              <a:off x="574754" y="3559055"/>
              <a:ext cx="2731778"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463" name="TextBox 462">
              <a:extLst>
                <a:ext uri="{FF2B5EF4-FFF2-40B4-BE49-F238E27FC236}">
                  <a16:creationId xmlns:a16="http://schemas.microsoft.com/office/drawing/2014/main" id="{7E1BBC8C-AEA0-C800-4B25-54FA080EAD6C}"/>
                </a:ext>
              </a:extLst>
            </p:cNvPr>
            <p:cNvSpPr txBox="1"/>
            <p:nvPr/>
          </p:nvSpPr>
          <p:spPr>
            <a:xfrm>
              <a:off x="346468" y="3497370"/>
              <a:ext cx="170281" cy="138499"/>
            </a:xfrm>
            <a:prstGeom prst="rect">
              <a:avLst/>
            </a:prstGeom>
            <a:noFill/>
          </p:spPr>
          <p:txBody>
            <a:bodyPr wrap="square" lIns="0" tIns="0" rIns="0" bIns="0" rtlCol="0" anchor="ctr">
              <a:spAutoFit/>
            </a:bodyPr>
            <a:lstStyle/>
            <a:p>
              <a:pPr marL="0" marR="0" lvl="0" indent="0" algn="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a:t>
              </a:r>
            </a:p>
          </p:txBody>
        </p:sp>
        <p:sp>
          <p:nvSpPr>
            <p:cNvPr id="464" name="TextBox 463">
              <a:extLst>
                <a:ext uri="{FF2B5EF4-FFF2-40B4-BE49-F238E27FC236}">
                  <a16:creationId xmlns:a16="http://schemas.microsoft.com/office/drawing/2014/main" id="{2C5AAF7D-D166-C821-0FCD-3B1C199BE2DF}"/>
                </a:ext>
              </a:extLst>
            </p:cNvPr>
            <p:cNvSpPr txBox="1"/>
            <p:nvPr/>
          </p:nvSpPr>
          <p:spPr>
            <a:xfrm>
              <a:off x="498377" y="3600448"/>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a:t>
              </a:r>
            </a:p>
          </p:txBody>
        </p:sp>
        <p:sp>
          <p:nvSpPr>
            <p:cNvPr id="465" name="TextBox 464">
              <a:extLst>
                <a:ext uri="{FF2B5EF4-FFF2-40B4-BE49-F238E27FC236}">
                  <a16:creationId xmlns:a16="http://schemas.microsoft.com/office/drawing/2014/main" id="{8507F071-7B6F-0734-CF06-B30C31279713}"/>
                </a:ext>
              </a:extLst>
            </p:cNvPr>
            <p:cNvSpPr txBox="1"/>
            <p:nvPr/>
          </p:nvSpPr>
          <p:spPr>
            <a:xfrm>
              <a:off x="713153" y="3600448"/>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6</a:t>
              </a:r>
            </a:p>
          </p:txBody>
        </p:sp>
        <p:sp>
          <p:nvSpPr>
            <p:cNvPr id="466" name="TextBox 465">
              <a:extLst>
                <a:ext uri="{FF2B5EF4-FFF2-40B4-BE49-F238E27FC236}">
                  <a16:creationId xmlns:a16="http://schemas.microsoft.com/office/drawing/2014/main" id="{60F4A4D9-AAE8-7840-BBA4-23C020F8EC2A}"/>
                </a:ext>
              </a:extLst>
            </p:cNvPr>
            <p:cNvSpPr txBox="1"/>
            <p:nvPr/>
          </p:nvSpPr>
          <p:spPr>
            <a:xfrm>
              <a:off x="917921" y="3600448"/>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2</a:t>
              </a:r>
            </a:p>
          </p:txBody>
        </p:sp>
        <p:sp>
          <p:nvSpPr>
            <p:cNvPr id="467" name="TextBox 466">
              <a:extLst>
                <a:ext uri="{FF2B5EF4-FFF2-40B4-BE49-F238E27FC236}">
                  <a16:creationId xmlns:a16="http://schemas.microsoft.com/office/drawing/2014/main" id="{ACB8966A-532E-7A25-E147-F3478DB9878F}"/>
                </a:ext>
              </a:extLst>
            </p:cNvPr>
            <p:cNvSpPr txBox="1"/>
            <p:nvPr/>
          </p:nvSpPr>
          <p:spPr>
            <a:xfrm>
              <a:off x="1130431" y="3600448"/>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8</a:t>
              </a:r>
            </a:p>
          </p:txBody>
        </p:sp>
        <p:sp>
          <p:nvSpPr>
            <p:cNvPr id="468" name="TextBox 467">
              <a:extLst>
                <a:ext uri="{FF2B5EF4-FFF2-40B4-BE49-F238E27FC236}">
                  <a16:creationId xmlns:a16="http://schemas.microsoft.com/office/drawing/2014/main" id="{03C05820-0D89-0D21-208B-BA8FE83EB5E9}"/>
                </a:ext>
              </a:extLst>
            </p:cNvPr>
            <p:cNvSpPr txBox="1"/>
            <p:nvPr/>
          </p:nvSpPr>
          <p:spPr>
            <a:xfrm>
              <a:off x="1342942" y="3600448"/>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4</a:t>
              </a:r>
            </a:p>
          </p:txBody>
        </p:sp>
        <p:sp>
          <p:nvSpPr>
            <p:cNvPr id="469" name="TextBox 468">
              <a:extLst>
                <a:ext uri="{FF2B5EF4-FFF2-40B4-BE49-F238E27FC236}">
                  <a16:creationId xmlns:a16="http://schemas.microsoft.com/office/drawing/2014/main" id="{4EB7D386-CC8C-F7A8-998D-25AB22EAD952}"/>
                </a:ext>
              </a:extLst>
            </p:cNvPr>
            <p:cNvSpPr txBox="1"/>
            <p:nvPr/>
          </p:nvSpPr>
          <p:spPr>
            <a:xfrm>
              <a:off x="1557787" y="3600448"/>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30</a:t>
              </a:r>
            </a:p>
          </p:txBody>
        </p:sp>
        <p:sp>
          <p:nvSpPr>
            <p:cNvPr id="470" name="TextBox 469">
              <a:extLst>
                <a:ext uri="{FF2B5EF4-FFF2-40B4-BE49-F238E27FC236}">
                  <a16:creationId xmlns:a16="http://schemas.microsoft.com/office/drawing/2014/main" id="{F520D70D-A0A8-65F8-6639-420EFEE31E0A}"/>
                </a:ext>
              </a:extLst>
            </p:cNvPr>
            <p:cNvSpPr txBox="1"/>
            <p:nvPr/>
          </p:nvSpPr>
          <p:spPr>
            <a:xfrm>
              <a:off x="1770106" y="3600448"/>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36</a:t>
              </a:r>
            </a:p>
          </p:txBody>
        </p:sp>
        <p:sp>
          <p:nvSpPr>
            <p:cNvPr id="471" name="TextBox 470">
              <a:extLst>
                <a:ext uri="{FF2B5EF4-FFF2-40B4-BE49-F238E27FC236}">
                  <a16:creationId xmlns:a16="http://schemas.microsoft.com/office/drawing/2014/main" id="{1CF0CA12-5FE2-33CC-F3C9-10AD54286B91}"/>
                </a:ext>
              </a:extLst>
            </p:cNvPr>
            <p:cNvSpPr txBox="1"/>
            <p:nvPr/>
          </p:nvSpPr>
          <p:spPr>
            <a:xfrm>
              <a:off x="1978757" y="3600448"/>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42</a:t>
              </a:r>
            </a:p>
          </p:txBody>
        </p:sp>
        <p:sp>
          <p:nvSpPr>
            <p:cNvPr id="472" name="Line 31">
              <a:extLst>
                <a:ext uri="{FF2B5EF4-FFF2-40B4-BE49-F238E27FC236}">
                  <a16:creationId xmlns:a16="http://schemas.microsoft.com/office/drawing/2014/main" id="{E0440DFF-971B-DB71-0A1D-447A41BF8DC6}"/>
                </a:ext>
              </a:extLst>
            </p:cNvPr>
            <p:cNvSpPr>
              <a:spLocks noChangeShapeType="1"/>
            </p:cNvSpPr>
            <p:nvPr/>
          </p:nvSpPr>
          <p:spPr bwMode="auto">
            <a:xfrm>
              <a:off x="2046794"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3" name="Line 32">
              <a:extLst>
                <a:ext uri="{FF2B5EF4-FFF2-40B4-BE49-F238E27FC236}">
                  <a16:creationId xmlns:a16="http://schemas.microsoft.com/office/drawing/2014/main" id="{1F02A78C-E9A6-BB7F-2EA6-6644B2343EA1}"/>
                </a:ext>
              </a:extLst>
            </p:cNvPr>
            <p:cNvSpPr>
              <a:spLocks noChangeShapeType="1"/>
            </p:cNvSpPr>
            <p:nvPr/>
          </p:nvSpPr>
          <p:spPr bwMode="auto">
            <a:xfrm>
              <a:off x="2152813"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4" name="Line 33">
              <a:extLst>
                <a:ext uri="{FF2B5EF4-FFF2-40B4-BE49-F238E27FC236}">
                  <a16:creationId xmlns:a16="http://schemas.microsoft.com/office/drawing/2014/main" id="{B1CE80EB-3137-2225-216B-C7F47B98A5B2}"/>
                </a:ext>
              </a:extLst>
            </p:cNvPr>
            <p:cNvSpPr>
              <a:spLocks noChangeShapeType="1"/>
            </p:cNvSpPr>
            <p:nvPr/>
          </p:nvSpPr>
          <p:spPr bwMode="auto">
            <a:xfrm>
              <a:off x="2256259"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5" name="Line 34">
              <a:extLst>
                <a:ext uri="{FF2B5EF4-FFF2-40B4-BE49-F238E27FC236}">
                  <a16:creationId xmlns:a16="http://schemas.microsoft.com/office/drawing/2014/main" id="{2866411F-FEC9-BC5E-B59C-936E6DBBB68D}"/>
                </a:ext>
              </a:extLst>
            </p:cNvPr>
            <p:cNvSpPr>
              <a:spLocks noChangeShapeType="1"/>
            </p:cNvSpPr>
            <p:nvPr/>
          </p:nvSpPr>
          <p:spPr bwMode="auto">
            <a:xfrm>
              <a:off x="2362277"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6" name="Line 35">
              <a:extLst>
                <a:ext uri="{FF2B5EF4-FFF2-40B4-BE49-F238E27FC236}">
                  <a16:creationId xmlns:a16="http://schemas.microsoft.com/office/drawing/2014/main" id="{5FC6F305-38D7-D98E-FD08-B93446993E91}"/>
                </a:ext>
              </a:extLst>
            </p:cNvPr>
            <p:cNvSpPr>
              <a:spLocks noChangeShapeType="1"/>
            </p:cNvSpPr>
            <p:nvPr/>
          </p:nvSpPr>
          <p:spPr bwMode="auto">
            <a:xfrm>
              <a:off x="2470865"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7" name="Line 36">
              <a:extLst>
                <a:ext uri="{FF2B5EF4-FFF2-40B4-BE49-F238E27FC236}">
                  <a16:creationId xmlns:a16="http://schemas.microsoft.com/office/drawing/2014/main" id="{EFCF5C01-3FF4-6CC0-D776-B80A5EECBA0E}"/>
                </a:ext>
              </a:extLst>
            </p:cNvPr>
            <p:cNvSpPr>
              <a:spLocks noChangeShapeType="1"/>
            </p:cNvSpPr>
            <p:nvPr/>
          </p:nvSpPr>
          <p:spPr bwMode="auto">
            <a:xfrm>
              <a:off x="2573027"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8" name="Line 37">
              <a:extLst>
                <a:ext uri="{FF2B5EF4-FFF2-40B4-BE49-F238E27FC236}">
                  <a16:creationId xmlns:a16="http://schemas.microsoft.com/office/drawing/2014/main" id="{CBA3347D-A1D8-5BCA-C30D-18AD2F83D415}"/>
                </a:ext>
              </a:extLst>
            </p:cNvPr>
            <p:cNvSpPr>
              <a:spLocks noChangeShapeType="1"/>
            </p:cNvSpPr>
            <p:nvPr/>
          </p:nvSpPr>
          <p:spPr bwMode="auto">
            <a:xfrm>
              <a:off x="2676154" y="3559055"/>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9" name="TextBox 478">
              <a:extLst>
                <a:ext uri="{FF2B5EF4-FFF2-40B4-BE49-F238E27FC236}">
                  <a16:creationId xmlns:a16="http://schemas.microsoft.com/office/drawing/2014/main" id="{07EC151C-4518-029F-8B18-F55AA3F0F8AF}"/>
                </a:ext>
              </a:extLst>
            </p:cNvPr>
            <p:cNvSpPr txBox="1"/>
            <p:nvPr/>
          </p:nvSpPr>
          <p:spPr>
            <a:xfrm>
              <a:off x="2187405" y="3600448"/>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48</a:t>
              </a:r>
            </a:p>
          </p:txBody>
        </p:sp>
        <p:sp>
          <p:nvSpPr>
            <p:cNvPr id="480" name="TextBox 479">
              <a:extLst>
                <a:ext uri="{FF2B5EF4-FFF2-40B4-BE49-F238E27FC236}">
                  <a16:creationId xmlns:a16="http://schemas.microsoft.com/office/drawing/2014/main" id="{F0D01EF6-9033-8D80-B5CD-BA8D08054865}"/>
                </a:ext>
              </a:extLst>
            </p:cNvPr>
            <p:cNvSpPr txBox="1"/>
            <p:nvPr/>
          </p:nvSpPr>
          <p:spPr>
            <a:xfrm>
              <a:off x="2399725" y="3600448"/>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54</a:t>
              </a:r>
            </a:p>
          </p:txBody>
        </p:sp>
        <p:sp>
          <p:nvSpPr>
            <p:cNvPr id="481" name="TextBox 480">
              <a:extLst>
                <a:ext uri="{FF2B5EF4-FFF2-40B4-BE49-F238E27FC236}">
                  <a16:creationId xmlns:a16="http://schemas.microsoft.com/office/drawing/2014/main" id="{4B400237-69FE-9944-3BBA-B469217BFEF0}"/>
                </a:ext>
              </a:extLst>
            </p:cNvPr>
            <p:cNvSpPr txBox="1"/>
            <p:nvPr/>
          </p:nvSpPr>
          <p:spPr>
            <a:xfrm>
              <a:off x="2610448" y="3600448"/>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60</a:t>
              </a:r>
            </a:p>
          </p:txBody>
        </p:sp>
        <p:sp>
          <p:nvSpPr>
            <p:cNvPr id="482" name="Line 7">
              <a:extLst>
                <a:ext uri="{FF2B5EF4-FFF2-40B4-BE49-F238E27FC236}">
                  <a16:creationId xmlns:a16="http://schemas.microsoft.com/office/drawing/2014/main" id="{1A91A624-01A6-1A2F-18F7-C0E241E0A213}"/>
                </a:ext>
              </a:extLst>
            </p:cNvPr>
            <p:cNvSpPr>
              <a:spLocks noChangeShapeType="1"/>
            </p:cNvSpPr>
            <p:nvPr/>
          </p:nvSpPr>
          <p:spPr bwMode="auto">
            <a:xfrm>
              <a:off x="565779" y="2119245"/>
              <a:ext cx="1748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3" name="Line 8">
              <a:extLst>
                <a:ext uri="{FF2B5EF4-FFF2-40B4-BE49-F238E27FC236}">
                  <a16:creationId xmlns:a16="http://schemas.microsoft.com/office/drawing/2014/main" id="{430FCF92-65BC-0733-9452-2CB6A9C96C31}"/>
                </a:ext>
              </a:extLst>
            </p:cNvPr>
            <p:cNvSpPr>
              <a:spLocks noChangeShapeType="1"/>
            </p:cNvSpPr>
            <p:nvPr/>
          </p:nvSpPr>
          <p:spPr bwMode="auto">
            <a:xfrm>
              <a:off x="565779" y="2258413"/>
              <a:ext cx="1748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4" name="Line 9">
              <a:extLst>
                <a:ext uri="{FF2B5EF4-FFF2-40B4-BE49-F238E27FC236}">
                  <a16:creationId xmlns:a16="http://schemas.microsoft.com/office/drawing/2014/main" id="{F8A3528A-F3DC-6174-F555-75DF589422FE}"/>
                </a:ext>
              </a:extLst>
            </p:cNvPr>
            <p:cNvSpPr>
              <a:spLocks noChangeShapeType="1"/>
            </p:cNvSpPr>
            <p:nvPr/>
          </p:nvSpPr>
          <p:spPr bwMode="auto">
            <a:xfrm>
              <a:off x="565779" y="2405828"/>
              <a:ext cx="1748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5" name="Line 10">
              <a:extLst>
                <a:ext uri="{FF2B5EF4-FFF2-40B4-BE49-F238E27FC236}">
                  <a16:creationId xmlns:a16="http://schemas.microsoft.com/office/drawing/2014/main" id="{A514677E-2024-C2E7-6E15-7013C161A838}"/>
                </a:ext>
              </a:extLst>
            </p:cNvPr>
            <p:cNvSpPr>
              <a:spLocks noChangeShapeType="1"/>
            </p:cNvSpPr>
            <p:nvPr/>
          </p:nvSpPr>
          <p:spPr bwMode="auto">
            <a:xfrm>
              <a:off x="565779" y="2546025"/>
              <a:ext cx="1748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6" name="Line 11">
              <a:extLst>
                <a:ext uri="{FF2B5EF4-FFF2-40B4-BE49-F238E27FC236}">
                  <a16:creationId xmlns:a16="http://schemas.microsoft.com/office/drawing/2014/main" id="{BF437696-CEF4-C32B-FC19-751C300A2A7E}"/>
                </a:ext>
              </a:extLst>
            </p:cNvPr>
            <p:cNvSpPr>
              <a:spLocks noChangeShapeType="1"/>
            </p:cNvSpPr>
            <p:nvPr/>
          </p:nvSpPr>
          <p:spPr bwMode="auto">
            <a:xfrm>
              <a:off x="565779" y="2693439"/>
              <a:ext cx="1748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7" name="Line 12">
              <a:extLst>
                <a:ext uri="{FF2B5EF4-FFF2-40B4-BE49-F238E27FC236}">
                  <a16:creationId xmlns:a16="http://schemas.microsoft.com/office/drawing/2014/main" id="{5A35C466-1BF5-EC55-6DE7-4A6351812F36}"/>
                </a:ext>
              </a:extLst>
            </p:cNvPr>
            <p:cNvSpPr>
              <a:spLocks noChangeShapeType="1"/>
            </p:cNvSpPr>
            <p:nvPr/>
          </p:nvSpPr>
          <p:spPr bwMode="auto">
            <a:xfrm>
              <a:off x="565779" y="2978988"/>
              <a:ext cx="1748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8" name="Line 13">
              <a:extLst>
                <a:ext uri="{FF2B5EF4-FFF2-40B4-BE49-F238E27FC236}">
                  <a16:creationId xmlns:a16="http://schemas.microsoft.com/office/drawing/2014/main" id="{9F849CC2-B3D5-7E65-B100-FFFA38778021}"/>
                </a:ext>
              </a:extLst>
            </p:cNvPr>
            <p:cNvSpPr>
              <a:spLocks noChangeShapeType="1"/>
            </p:cNvSpPr>
            <p:nvPr/>
          </p:nvSpPr>
          <p:spPr bwMode="auto">
            <a:xfrm>
              <a:off x="565779" y="3125371"/>
              <a:ext cx="1748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9" name="Line 14">
              <a:extLst>
                <a:ext uri="{FF2B5EF4-FFF2-40B4-BE49-F238E27FC236}">
                  <a16:creationId xmlns:a16="http://schemas.microsoft.com/office/drawing/2014/main" id="{64A1ECCF-8AA9-CA24-F7FC-B51991B6EAB9}"/>
                </a:ext>
              </a:extLst>
            </p:cNvPr>
            <p:cNvSpPr>
              <a:spLocks noChangeShapeType="1"/>
            </p:cNvSpPr>
            <p:nvPr/>
          </p:nvSpPr>
          <p:spPr bwMode="auto">
            <a:xfrm>
              <a:off x="565779" y="3267630"/>
              <a:ext cx="1748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0" name="Line 15">
              <a:extLst>
                <a:ext uri="{FF2B5EF4-FFF2-40B4-BE49-F238E27FC236}">
                  <a16:creationId xmlns:a16="http://schemas.microsoft.com/office/drawing/2014/main" id="{5598A635-316B-93C1-2199-6CF481BFC15D}"/>
                </a:ext>
              </a:extLst>
            </p:cNvPr>
            <p:cNvSpPr>
              <a:spLocks noChangeShapeType="1"/>
            </p:cNvSpPr>
            <p:nvPr/>
          </p:nvSpPr>
          <p:spPr bwMode="auto">
            <a:xfrm>
              <a:off x="565779" y="3408860"/>
              <a:ext cx="1748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1" name="Line 16">
              <a:extLst>
                <a:ext uri="{FF2B5EF4-FFF2-40B4-BE49-F238E27FC236}">
                  <a16:creationId xmlns:a16="http://schemas.microsoft.com/office/drawing/2014/main" id="{981E27C8-8C0C-F398-3B23-87269A2B7809}"/>
                </a:ext>
              </a:extLst>
            </p:cNvPr>
            <p:cNvSpPr>
              <a:spLocks noChangeShapeType="1"/>
            </p:cNvSpPr>
            <p:nvPr/>
          </p:nvSpPr>
          <p:spPr bwMode="auto">
            <a:xfrm>
              <a:off x="565779" y="3558776"/>
              <a:ext cx="1748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2" name="Line 17">
              <a:extLst>
                <a:ext uri="{FF2B5EF4-FFF2-40B4-BE49-F238E27FC236}">
                  <a16:creationId xmlns:a16="http://schemas.microsoft.com/office/drawing/2014/main" id="{DF092870-E65E-4BC6-597E-6E6555BCD151}"/>
                </a:ext>
              </a:extLst>
            </p:cNvPr>
            <p:cNvSpPr>
              <a:spLocks noChangeShapeType="1"/>
            </p:cNvSpPr>
            <p:nvPr/>
          </p:nvSpPr>
          <p:spPr bwMode="auto">
            <a:xfrm>
              <a:off x="584626" y="3560377"/>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93" name="Straight Connector 492">
              <a:extLst>
                <a:ext uri="{FF2B5EF4-FFF2-40B4-BE49-F238E27FC236}">
                  <a16:creationId xmlns:a16="http://schemas.microsoft.com/office/drawing/2014/main" id="{0984CF64-1F90-80FA-FF53-30659A1BDD65}"/>
                </a:ext>
              </a:extLst>
            </p:cNvPr>
            <p:cNvCxnSpPr>
              <a:cxnSpLocks/>
            </p:cNvCxnSpPr>
            <p:nvPr/>
          </p:nvCxnSpPr>
          <p:spPr bwMode="auto">
            <a:xfrm>
              <a:off x="584285" y="2119246"/>
              <a:ext cx="0" cy="1441131"/>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494" name="TextBox 493">
              <a:extLst>
                <a:ext uri="{FF2B5EF4-FFF2-40B4-BE49-F238E27FC236}">
                  <a16:creationId xmlns:a16="http://schemas.microsoft.com/office/drawing/2014/main" id="{EAC07AA8-5FBE-A4AD-8742-7FD8E878E611}"/>
                </a:ext>
              </a:extLst>
            </p:cNvPr>
            <p:cNvSpPr txBox="1"/>
            <p:nvPr/>
          </p:nvSpPr>
          <p:spPr>
            <a:xfrm>
              <a:off x="143369" y="2050442"/>
              <a:ext cx="386759" cy="138499"/>
            </a:xfrm>
            <a:prstGeom prst="rect">
              <a:avLst/>
            </a:prstGeom>
            <a:noFill/>
          </p:spPr>
          <p:txBody>
            <a:bodyPr wrap="square" lIns="0" tIns="0" rIns="0" bIns="0" rtlCol="0" anchor="ctr">
              <a:spAutoFit/>
            </a:bodyPr>
            <a:lstStyle/>
            <a:p>
              <a:pPr marL="0" marR="0" lvl="0" indent="0" algn="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00</a:t>
              </a:r>
            </a:p>
          </p:txBody>
        </p:sp>
        <p:sp>
          <p:nvSpPr>
            <p:cNvPr id="495" name="TextBox 494">
              <a:extLst>
                <a:ext uri="{FF2B5EF4-FFF2-40B4-BE49-F238E27FC236}">
                  <a16:creationId xmlns:a16="http://schemas.microsoft.com/office/drawing/2014/main" id="{72FE6627-EA29-2254-5D11-6443D658FB0D}"/>
                </a:ext>
              </a:extLst>
            </p:cNvPr>
            <p:cNvSpPr txBox="1"/>
            <p:nvPr/>
          </p:nvSpPr>
          <p:spPr>
            <a:xfrm>
              <a:off x="359848" y="2184146"/>
              <a:ext cx="170281" cy="138499"/>
            </a:xfrm>
            <a:prstGeom prst="rect">
              <a:avLst/>
            </a:prstGeom>
            <a:noFill/>
          </p:spPr>
          <p:txBody>
            <a:bodyPr wrap="square" lIns="0" tIns="0" rIns="0" bIns="0" rtlCol="0" anchor="ctr">
              <a:spAutoFit/>
            </a:bodyPr>
            <a:lstStyle/>
            <a:p>
              <a:pPr marL="0" marR="0" lvl="0" indent="0" algn="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90</a:t>
              </a:r>
            </a:p>
          </p:txBody>
        </p:sp>
        <p:sp>
          <p:nvSpPr>
            <p:cNvPr id="496" name="TextBox 495">
              <a:extLst>
                <a:ext uri="{FF2B5EF4-FFF2-40B4-BE49-F238E27FC236}">
                  <a16:creationId xmlns:a16="http://schemas.microsoft.com/office/drawing/2014/main" id="{5C641133-843C-1D9A-9E1F-DD76439C3FD7}"/>
                </a:ext>
              </a:extLst>
            </p:cNvPr>
            <p:cNvSpPr txBox="1"/>
            <p:nvPr/>
          </p:nvSpPr>
          <p:spPr>
            <a:xfrm>
              <a:off x="359848" y="2327734"/>
              <a:ext cx="170281" cy="138499"/>
            </a:xfrm>
            <a:prstGeom prst="rect">
              <a:avLst/>
            </a:prstGeom>
            <a:noFill/>
          </p:spPr>
          <p:txBody>
            <a:bodyPr wrap="square" lIns="0" tIns="0" rIns="0" bIns="0" rtlCol="0" anchor="ctr">
              <a:spAutoFit/>
            </a:bodyPr>
            <a:lstStyle/>
            <a:p>
              <a:pPr marL="0" marR="0" lvl="0" indent="0" algn="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80</a:t>
              </a:r>
            </a:p>
          </p:txBody>
        </p:sp>
        <p:sp>
          <p:nvSpPr>
            <p:cNvPr id="497" name="TextBox 496">
              <a:extLst>
                <a:ext uri="{FF2B5EF4-FFF2-40B4-BE49-F238E27FC236}">
                  <a16:creationId xmlns:a16="http://schemas.microsoft.com/office/drawing/2014/main" id="{593C94B0-164E-BCA1-F04D-AB146455FBDE}"/>
                </a:ext>
              </a:extLst>
            </p:cNvPr>
            <p:cNvSpPr txBox="1"/>
            <p:nvPr/>
          </p:nvSpPr>
          <p:spPr>
            <a:xfrm>
              <a:off x="359848" y="2477170"/>
              <a:ext cx="170281" cy="138499"/>
            </a:xfrm>
            <a:prstGeom prst="rect">
              <a:avLst/>
            </a:prstGeom>
            <a:noFill/>
          </p:spPr>
          <p:txBody>
            <a:bodyPr wrap="square" lIns="0" tIns="0" rIns="0" bIns="0" rtlCol="0" anchor="ctr">
              <a:spAutoFit/>
            </a:bodyPr>
            <a:lstStyle/>
            <a:p>
              <a:pPr marL="0" marR="0" lvl="0" indent="0" algn="r" defTabSz="518358" rtl="0" eaLnBrk="1" fontAlgn="auto" latinLnBrk="0" hangingPunct="1">
                <a:lnSpc>
                  <a:spcPct val="100000"/>
                </a:lnSpc>
                <a:spcBef>
                  <a:spcPts val="0"/>
                </a:spcBef>
                <a:spcAft>
                  <a:spcPts val="0"/>
                </a:spcAft>
                <a:buClrTx/>
                <a:buSzTx/>
                <a:buFontTx/>
                <a:buNone/>
                <a:tabLst>
                  <a:tab pos="90484" algn="l"/>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70</a:t>
              </a:r>
            </a:p>
          </p:txBody>
        </p:sp>
        <p:sp>
          <p:nvSpPr>
            <p:cNvPr id="498" name="TextBox 497">
              <a:extLst>
                <a:ext uri="{FF2B5EF4-FFF2-40B4-BE49-F238E27FC236}">
                  <a16:creationId xmlns:a16="http://schemas.microsoft.com/office/drawing/2014/main" id="{0D675B39-E0DD-E091-EAC4-E22991BF7F84}"/>
                </a:ext>
              </a:extLst>
            </p:cNvPr>
            <p:cNvSpPr txBox="1"/>
            <p:nvPr/>
          </p:nvSpPr>
          <p:spPr>
            <a:xfrm>
              <a:off x="359848" y="2622577"/>
              <a:ext cx="170281" cy="138499"/>
            </a:xfrm>
            <a:prstGeom prst="rect">
              <a:avLst/>
            </a:prstGeom>
            <a:noFill/>
          </p:spPr>
          <p:txBody>
            <a:bodyPr wrap="square" lIns="0" tIns="0" rIns="0" bIns="0" rtlCol="0" anchor="ctr">
              <a:spAutoFit/>
            </a:bodyPr>
            <a:lstStyle/>
            <a:p>
              <a:pPr marL="0" marR="0" lvl="0" indent="0" algn="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60</a:t>
              </a:r>
            </a:p>
          </p:txBody>
        </p:sp>
        <p:sp>
          <p:nvSpPr>
            <p:cNvPr id="499" name="TextBox 498">
              <a:extLst>
                <a:ext uri="{FF2B5EF4-FFF2-40B4-BE49-F238E27FC236}">
                  <a16:creationId xmlns:a16="http://schemas.microsoft.com/office/drawing/2014/main" id="{A611414A-29D8-7C1D-58E1-05E9F15D73AE}"/>
                </a:ext>
              </a:extLst>
            </p:cNvPr>
            <p:cNvSpPr txBox="1"/>
            <p:nvPr/>
          </p:nvSpPr>
          <p:spPr>
            <a:xfrm>
              <a:off x="359848" y="2765569"/>
              <a:ext cx="170281" cy="138499"/>
            </a:xfrm>
            <a:prstGeom prst="rect">
              <a:avLst/>
            </a:prstGeom>
            <a:noFill/>
          </p:spPr>
          <p:txBody>
            <a:bodyPr wrap="square" lIns="0" tIns="0" rIns="0" bIns="0" rtlCol="0" anchor="ctr">
              <a:spAutoFit/>
            </a:bodyPr>
            <a:lstStyle/>
            <a:p>
              <a:pPr marL="0" marR="0" lvl="0" indent="0" algn="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50</a:t>
              </a:r>
            </a:p>
          </p:txBody>
        </p:sp>
        <p:sp>
          <p:nvSpPr>
            <p:cNvPr id="500" name="TextBox 499">
              <a:extLst>
                <a:ext uri="{FF2B5EF4-FFF2-40B4-BE49-F238E27FC236}">
                  <a16:creationId xmlns:a16="http://schemas.microsoft.com/office/drawing/2014/main" id="{F7F636A4-D379-85F2-40FC-9A387818D93F}"/>
                </a:ext>
              </a:extLst>
            </p:cNvPr>
            <p:cNvSpPr txBox="1"/>
            <p:nvPr/>
          </p:nvSpPr>
          <p:spPr>
            <a:xfrm>
              <a:off x="359848" y="2913938"/>
              <a:ext cx="170281" cy="138499"/>
            </a:xfrm>
            <a:prstGeom prst="rect">
              <a:avLst/>
            </a:prstGeom>
            <a:noFill/>
          </p:spPr>
          <p:txBody>
            <a:bodyPr wrap="square" lIns="0" tIns="0" rIns="0" bIns="0" rtlCol="0" anchor="ctr">
              <a:spAutoFit/>
            </a:bodyPr>
            <a:lstStyle/>
            <a:p>
              <a:pPr marL="0" marR="0" lvl="0" indent="0" algn="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40</a:t>
              </a:r>
            </a:p>
          </p:txBody>
        </p:sp>
        <p:sp>
          <p:nvSpPr>
            <p:cNvPr id="501" name="TextBox 500">
              <a:extLst>
                <a:ext uri="{FF2B5EF4-FFF2-40B4-BE49-F238E27FC236}">
                  <a16:creationId xmlns:a16="http://schemas.microsoft.com/office/drawing/2014/main" id="{EE4F1325-DDD8-92E0-2177-0EA1EA6C423C}"/>
                </a:ext>
              </a:extLst>
            </p:cNvPr>
            <p:cNvSpPr txBox="1"/>
            <p:nvPr/>
          </p:nvSpPr>
          <p:spPr>
            <a:xfrm>
              <a:off x="359848" y="3060470"/>
              <a:ext cx="170281" cy="138499"/>
            </a:xfrm>
            <a:prstGeom prst="rect">
              <a:avLst/>
            </a:prstGeom>
            <a:noFill/>
          </p:spPr>
          <p:txBody>
            <a:bodyPr wrap="square" lIns="0" tIns="0" rIns="0" bIns="0" rtlCol="0" anchor="ctr">
              <a:spAutoFit/>
            </a:bodyPr>
            <a:lstStyle/>
            <a:p>
              <a:pPr marL="0" marR="0" lvl="0" indent="0" algn="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30</a:t>
              </a:r>
            </a:p>
          </p:txBody>
        </p:sp>
        <p:sp>
          <p:nvSpPr>
            <p:cNvPr id="502" name="TextBox 501">
              <a:extLst>
                <a:ext uri="{FF2B5EF4-FFF2-40B4-BE49-F238E27FC236}">
                  <a16:creationId xmlns:a16="http://schemas.microsoft.com/office/drawing/2014/main" id="{50169005-3571-2BB7-4D25-F79550788308}"/>
                </a:ext>
              </a:extLst>
            </p:cNvPr>
            <p:cNvSpPr txBox="1"/>
            <p:nvPr/>
          </p:nvSpPr>
          <p:spPr>
            <a:xfrm>
              <a:off x="359848" y="3208805"/>
              <a:ext cx="170281" cy="138499"/>
            </a:xfrm>
            <a:prstGeom prst="rect">
              <a:avLst/>
            </a:prstGeom>
            <a:noFill/>
          </p:spPr>
          <p:txBody>
            <a:bodyPr wrap="square" lIns="0" tIns="0" rIns="0" bIns="0" rtlCol="0" anchor="ctr">
              <a:spAutoFit/>
            </a:bodyPr>
            <a:lstStyle/>
            <a:p>
              <a:pPr marL="0" marR="0" lvl="0" indent="0" algn="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0</a:t>
              </a:r>
            </a:p>
          </p:txBody>
        </p:sp>
        <p:sp>
          <p:nvSpPr>
            <p:cNvPr id="503" name="TextBox 502">
              <a:extLst>
                <a:ext uri="{FF2B5EF4-FFF2-40B4-BE49-F238E27FC236}">
                  <a16:creationId xmlns:a16="http://schemas.microsoft.com/office/drawing/2014/main" id="{17F23DC2-07BE-C817-4343-76F90CAEB2BF}"/>
                </a:ext>
              </a:extLst>
            </p:cNvPr>
            <p:cNvSpPr txBox="1"/>
            <p:nvPr/>
          </p:nvSpPr>
          <p:spPr>
            <a:xfrm>
              <a:off x="359848" y="3349167"/>
              <a:ext cx="170281" cy="138499"/>
            </a:xfrm>
            <a:prstGeom prst="rect">
              <a:avLst/>
            </a:prstGeom>
            <a:noFill/>
          </p:spPr>
          <p:txBody>
            <a:bodyPr wrap="square" lIns="0" tIns="0" rIns="0" bIns="0" rtlCol="0" anchor="ctr">
              <a:spAutoFit/>
            </a:bodyPr>
            <a:lstStyle/>
            <a:p>
              <a:pPr marL="0" marR="0" lvl="0" indent="0" algn="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0</a:t>
              </a:r>
            </a:p>
          </p:txBody>
        </p:sp>
        <p:sp>
          <p:nvSpPr>
            <p:cNvPr id="504" name="Rectangle 110">
              <a:extLst>
                <a:ext uri="{FF2B5EF4-FFF2-40B4-BE49-F238E27FC236}">
                  <a16:creationId xmlns:a16="http://schemas.microsoft.com/office/drawing/2014/main" id="{01D62893-F92E-9386-3B21-E7FD097A1913}"/>
                </a:ext>
              </a:extLst>
            </p:cNvPr>
            <p:cNvSpPr>
              <a:spLocks noChangeArrowheads="1"/>
            </p:cNvSpPr>
            <p:nvPr/>
          </p:nvSpPr>
          <p:spPr bwMode="auto">
            <a:xfrm rot="16200000">
              <a:off x="-25746" y="2794202"/>
              <a:ext cx="58104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48000" tIns="0" rIns="48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a:t>
              </a:r>
            </a:p>
          </p:txBody>
        </p:sp>
        <p:sp>
          <p:nvSpPr>
            <p:cNvPr id="505" name="Line 32">
              <a:extLst>
                <a:ext uri="{FF2B5EF4-FFF2-40B4-BE49-F238E27FC236}">
                  <a16:creationId xmlns:a16="http://schemas.microsoft.com/office/drawing/2014/main" id="{8B74005C-A925-0694-D323-216BC0AFF8A3}"/>
                </a:ext>
              </a:extLst>
            </p:cNvPr>
            <p:cNvSpPr>
              <a:spLocks noChangeShapeType="1"/>
            </p:cNvSpPr>
            <p:nvPr/>
          </p:nvSpPr>
          <p:spPr bwMode="auto">
            <a:xfrm>
              <a:off x="2783192" y="3559073"/>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6" name="Line 33">
              <a:extLst>
                <a:ext uri="{FF2B5EF4-FFF2-40B4-BE49-F238E27FC236}">
                  <a16:creationId xmlns:a16="http://schemas.microsoft.com/office/drawing/2014/main" id="{FAEAE6E3-8DB8-3595-1EBF-EE7779B984FB}"/>
                </a:ext>
              </a:extLst>
            </p:cNvPr>
            <p:cNvSpPr>
              <a:spLocks noChangeShapeType="1"/>
            </p:cNvSpPr>
            <p:nvPr/>
          </p:nvSpPr>
          <p:spPr bwMode="auto">
            <a:xfrm>
              <a:off x="2886638" y="3559073"/>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7" name="Line 34">
              <a:extLst>
                <a:ext uri="{FF2B5EF4-FFF2-40B4-BE49-F238E27FC236}">
                  <a16:creationId xmlns:a16="http://schemas.microsoft.com/office/drawing/2014/main" id="{1BEF71D2-4922-0E89-26B1-665C7428C0ED}"/>
                </a:ext>
              </a:extLst>
            </p:cNvPr>
            <p:cNvSpPr>
              <a:spLocks noChangeShapeType="1"/>
            </p:cNvSpPr>
            <p:nvPr/>
          </p:nvSpPr>
          <p:spPr bwMode="auto">
            <a:xfrm>
              <a:off x="2992657" y="3559073"/>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8" name="Line 35">
              <a:extLst>
                <a:ext uri="{FF2B5EF4-FFF2-40B4-BE49-F238E27FC236}">
                  <a16:creationId xmlns:a16="http://schemas.microsoft.com/office/drawing/2014/main" id="{70C6FEE5-D3CA-0650-3379-4E7B66FE16DD}"/>
                </a:ext>
              </a:extLst>
            </p:cNvPr>
            <p:cNvSpPr>
              <a:spLocks noChangeShapeType="1"/>
            </p:cNvSpPr>
            <p:nvPr/>
          </p:nvSpPr>
          <p:spPr bwMode="auto">
            <a:xfrm>
              <a:off x="3101244" y="3559073"/>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9" name="Line 36">
              <a:extLst>
                <a:ext uri="{FF2B5EF4-FFF2-40B4-BE49-F238E27FC236}">
                  <a16:creationId xmlns:a16="http://schemas.microsoft.com/office/drawing/2014/main" id="{6EF64FF5-4CF2-907A-5B49-20C54A8EC3D6}"/>
                </a:ext>
              </a:extLst>
            </p:cNvPr>
            <p:cNvSpPr>
              <a:spLocks noChangeShapeType="1"/>
            </p:cNvSpPr>
            <p:nvPr/>
          </p:nvSpPr>
          <p:spPr bwMode="auto">
            <a:xfrm>
              <a:off x="3203406" y="3559073"/>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0" name="Line 37">
              <a:extLst>
                <a:ext uri="{FF2B5EF4-FFF2-40B4-BE49-F238E27FC236}">
                  <a16:creationId xmlns:a16="http://schemas.microsoft.com/office/drawing/2014/main" id="{D58BEE2C-C56A-2F21-5B9F-C5688BFE6C15}"/>
                </a:ext>
              </a:extLst>
            </p:cNvPr>
            <p:cNvSpPr>
              <a:spLocks noChangeShapeType="1"/>
            </p:cNvSpPr>
            <p:nvPr/>
          </p:nvSpPr>
          <p:spPr bwMode="auto">
            <a:xfrm>
              <a:off x="3306533" y="3559073"/>
              <a:ext cx="0" cy="2805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1" name="TextBox 510">
              <a:extLst>
                <a:ext uri="{FF2B5EF4-FFF2-40B4-BE49-F238E27FC236}">
                  <a16:creationId xmlns:a16="http://schemas.microsoft.com/office/drawing/2014/main" id="{6C853E4F-2D26-829E-6B96-CDB6026B2A2D}"/>
                </a:ext>
              </a:extLst>
            </p:cNvPr>
            <p:cNvSpPr txBox="1"/>
            <p:nvPr/>
          </p:nvSpPr>
          <p:spPr>
            <a:xfrm>
              <a:off x="2817784" y="3600466"/>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66</a:t>
              </a:r>
            </a:p>
          </p:txBody>
        </p:sp>
        <p:sp>
          <p:nvSpPr>
            <p:cNvPr id="512" name="TextBox 511">
              <a:extLst>
                <a:ext uri="{FF2B5EF4-FFF2-40B4-BE49-F238E27FC236}">
                  <a16:creationId xmlns:a16="http://schemas.microsoft.com/office/drawing/2014/main" id="{62154C38-E897-9AEF-6E70-9F19D141F47B}"/>
                </a:ext>
              </a:extLst>
            </p:cNvPr>
            <p:cNvSpPr txBox="1"/>
            <p:nvPr/>
          </p:nvSpPr>
          <p:spPr>
            <a:xfrm>
              <a:off x="3030102" y="3600466"/>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72</a:t>
              </a:r>
            </a:p>
          </p:txBody>
        </p:sp>
        <p:sp>
          <p:nvSpPr>
            <p:cNvPr id="513" name="TextBox 512">
              <a:extLst>
                <a:ext uri="{FF2B5EF4-FFF2-40B4-BE49-F238E27FC236}">
                  <a16:creationId xmlns:a16="http://schemas.microsoft.com/office/drawing/2014/main" id="{DC5E2668-D4A9-C893-1BEE-1B2EC7735E6E}"/>
                </a:ext>
              </a:extLst>
            </p:cNvPr>
            <p:cNvSpPr txBox="1"/>
            <p:nvPr/>
          </p:nvSpPr>
          <p:spPr>
            <a:xfrm>
              <a:off x="3240828" y="3600466"/>
              <a:ext cx="140223" cy="138499"/>
            </a:xfrm>
            <a:prstGeom prst="rect">
              <a:avLst/>
            </a:prstGeom>
            <a:noFill/>
          </p:spPr>
          <p:txBody>
            <a:bodyPr wrap="square" lIns="0" tIns="0" rIns="0" bIns="0" rtlCol="0">
              <a:spAutoFit/>
            </a:bodyPr>
            <a:lstStyle/>
            <a:p>
              <a:pPr marL="0" marR="0" lvl="0" indent="0" algn="ctr" defTabSz="518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78</a:t>
              </a:r>
            </a:p>
          </p:txBody>
        </p:sp>
        <p:sp>
          <p:nvSpPr>
            <p:cNvPr id="514" name="Freeform 128">
              <a:extLst>
                <a:ext uri="{FF2B5EF4-FFF2-40B4-BE49-F238E27FC236}">
                  <a16:creationId xmlns:a16="http://schemas.microsoft.com/office/drawing/2014/main" id="{733AC986-1418-FA9A-3810-44A47D4ADC8B}"/>
                </a:ext>
              </a:extLst>
            </p:cNvPr>
            <p:cNvSpPr>
              <a:spLocks/>
            </p:cNvSpPr>
            <p:nvPr/>
          </p:nvSpPr>
          <p:spPr bwMode="auto">
            <a:xfrm>
              <a:off x="587086" y="2115063"/>
              <a:ext cx="2408175" cy="1163795"/>
            </a:xfrm>
            <a:custGeom>
              <a:avLst/>
              <a:gdLst>
                <a:gd name="T0" fmla="*/ 3160 w 3585"/>
                <a:gd name="T1" fmla="*/ 1580 h 1580"/>
                <a:gd name="T2" fmla="*/ 2740 w 3585"/>
                <a:gd name="T3" fmla="*/ 1554 h 1580"/>
                <a:gd name="T4" fmla="*/ 2475 w 3585"/>
                <a:gd name="T5" fmla="*/ 1538 h 1580"/>
                <a:gd name="T6" fmla="*/ 2146 w 3585"/>
                <a:gd name="T7" fmla="*/ 1521 h 1580"/>
                <a:gd name="T8" fmla="*/ 2007 w 3585"/>
                <a:gd name="T9" fmla="*/ 1464 h 1580"/>
                <a:gd name="T10" fmla="*/ 1729 w 3585"/>
                <a:gd name="T11" fmla="*/ 1432 h 1580"/>
                <a:gd name="T12" fmla="*/ 1695 w 3585"/>
                <a:gd name="T13" fmla="*/ 1411 h 1580"/>
                <a:gd name="T14" fmla="*/ 1595 w 3585"/>
                <a:gd name="T15" fmla="*/ 1395 h 1580"/>
                <a:gd name="T16" fmla="*/ 1588 w 3585"/>
                <a:gd name="T17" fmla="*/ 1386 h 1580"/>
                <a:gd name="T18" fmla="*/ 1578 w 3585"/>
                <a:gd name="T19" fmla="*/ 1378 h 1580"/>
                <a:gd name="T20" fmla="*/ 1561 w 3585"/>
                <a:gd name="T21" fmla="*/ 1346 h 1580"/>
                <a:gd name="T22" fmla="*/ 1433 w 3585"/>
                <a:gd name="T23" fmla="*/ 1332 h 1580"/>
                <a:gd name="T24" fmla="*/ 1287 w 3585"/>
                <a:gd name="T25" fmla="*/ 1315 h 1580"/>
                <a:gd name="T26" fmla="*/ 1278 w 3585"/>
                <a:gd name="T27" fmla="*/ 1298 h 1580"/>
                <a:gd name="T28" fmla="*/ 1143 w 3585"/>
                <a:gd name="T29" fmla="*/ 1281 h 1580"/>
                <a:gd name="T30" fmla="*/ 1133 w 3585"/>
                <a:gd name="T31" fmla="*/ 1263 h 1580"/>
                <a:gd name="T32" fmla="*/ 1112 w 3585"/>
                <a:gd name="T33" fmla="*/ 1219 h 1580"/>
                <a:gd name="T34" fmla="*/ 1005 w 3585"/>
                <a:gd name="T35" fmla="*/ 1198 h 1580"/>
                <a:gd name="T36" fmla="*/ 992 w 3585"/>
                <a:gd name="T37" fmla="*/ 1174 h 1580"/>
                <a:gd name="T38" fmla="*/ 945 w 3585"/>
                <a:gd name="T39" fmla="*/ 1151 h 1580"/>
                <a:gd name="T40" fmla="*/ 861 w 3585"/>
                <a:gd name="T41" fmla="*/ 1138 h 1580"/>
                <a:gd name="T42" fmla="*/ 843 w 3585"/>
                <a:gd name="T43" fmla="*/ 1123 h 1580"/>
                <a:gd name="T44" fmla="*/ 795 w 3585"/>
                <a:gd name="T45" fmla="*/ 1105 h 1580"/>
                <a:gd name="T46" fmla="*/ 758 w 3585"/>
                <a:gd name="T47" fmla="*/ 1091 h 1580"/>
                <a:gd name="T48" fmla="*/ 744 w 3585"/>
                <a:gd name="T49" fmla="*/ 1075 h 1580"/>
                <a:gd name="T50" fmla="*/ 718 w 3585"/>
                <a:gd name="T51" fmla="*/ 1061 h 1580"/>
                <a:gd name="T52" fmla="*/ 714 w 3585"/>
                <a:gd name="T53" fmla="*/ 1026 h 1580"/>
                <a:gd name="T54" fmla="*/ 710 w 3585"/>
                <a:gd name="T55" fmla="*/ 980 h 1580"/>
                <a:gd name="T56" fmla="*/ 616 w 3585"/>
                <a:gd name="T57" fmla="*/ 953 h 1580"/>
                <a:gd name="T58" fmla="*/ 604 w 3585"/>
                <a:gd name="T59" fmla="*/ 933 h 1580"/>
                <a:gd name="T60" fmla="*/ 597 w 3585"/>
                <a:gd name="T61" fmla="*/ 920 h 1580"/>
                <a:gd name="T62" fmla="*/ 585 w 3585"/>
                <a:gd name="T63" fmla="*/ 893 h 1580"/>
                <a:gd name="T64" fmla="*/ 581 w 3585"/>
                <a:gd name="T65" fmla="*/ 872 h 1580"/>
                <a:gd name="T66" fmla="*/ 572 w 3585"/>
                <a:gd name="T67" fmla="*/ 838 h 1580"/>
                <a:gd name="T68" fmla="*/ 568 w 3585"/>
                <a:gd name="T69" fmla="*/ 787 h 1580"/>
                <a:gd name="T70" fmla="*/ 562 w 3585"/>
                <a:gd name="T71" fmla="*/ 764 h 1580"/>
                <a:gd name="T72" fmla="*/ 478 w 3585"/>
                <a:gd name="T73" fmla="*/ 718 h 1580"/>
                <a:gd name="T74" fmla="*/ 453 w 3585"/>
                <a:gd name="T75" fmla="*/ 689 h 1580"/>
                <a:gd name="T76" fmla="*/ 448 w 3585"/>
                <a:gd name="T77" fmla="*/ 673 h 1580"/>
                <a:gd name="T78" fmla="*/ 434 w 3585"/>
                <a:gd name="T79" fmla="*/ 656 h 1580"/>
                <a:gd name="T80" fmla="*/ 430 w 3585"/>
                <a:gd name="T81" fmla="*/ 615 h 1580"/>
                <a:gd name="T82" fmla="*/ 423 w 3585"/>
                <a:gd name="T83" fmla="*/ 503 h 1580"/>
                <a:gd name="T84" fmla="*/ 401 w 3585"/>
                <a:gd name="T85" fmla="*/ 455 h 1580"/>
                <a:gd name="T86" fmla="*/ 382 w 3585"/>
                <a:gd name="T87" fmla="*/ 407 h 1580"/>
                <a:gd name="T88" fmla="*/ 332 w 3585"/>
                <a:gd name="T89" fmla="*/ 394 h 1580"/>
                <a:gd name="T90" fmla="*/ 293 w 3585"/>
                <a:gd name="T91" fmla="*/ 379 h 1580"/>
                <a:gd name="T92" fmla="*/ 285 w 3585"/>
                <a:gd name="T93" fmla="*/ 337 h 1580"/>
                <a:gd name="T94" fmla="*/ 281 w 3585"/>
                <a:gd name="T95" fmla="*/ 287 h 1580"/>
                <a:gd name="T96" fmla="*/ 270 w 3585"/>
                <a:gd name="T97" fmla="*/ 244 h 1580"/>
                <a:gd name="T98" fmla="*/ 252 w 3585"/>
                <a:gd name="T99" fmla="*/ 212 h 1580"/>
                <a:gd name="T100" fmla="*/ 235 w 3585"/>
                <a:gd name="T101" fmla="*/ 197 h 1580"/>
                <a:gd name="T102" fmla="*/ 214 w 3585"/>
                <a:gd name="T103" fmla="*/ 180 h 1580"/>
                <a:gd name="T104" fmla="*/ 144 w 3585"/>
                <a:gd name="T105" fmla="*/ 165 h 1580"/>
                <a:gd name="T106" fmla="*/ 138 w 3585"/>
                <a:gd name="T107" fmla="*/ 127 h 1580"/>
                <a:gd name="T108" fmla="*/ 132 w 3585"/>
                <a:gd name="T109" fmla="*/ 102 h 1580"/>
                <a:gd name="T110" fmla="*/ 128 w 3585"/>
                <a:gd name="T111" fmla="*/ 74 h 1580"/>
                <a:gd name="T112" fmla="*/ 123 w 3585"/>
                <a:gd name="T113" fmla="*/ 26 h 1580"/>
                <a:gd name="T114" fmla="*/ 117 w 3585"/>
                <a:gd name="T115" fmla="*/ 12 h 1580"/>
                <a:gd name="T116" fmla="*/ 111 w 3585"/>
                <a:gd name="T117" fmla="*/ 0 h 1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85" h="1580">
                  <a:moveTo>
                    <a:pt x="3585" y="1580"/>
                  </a:moveTo>
                  <a:cubicBezTo>
                    <a:pt x="3160" y="1580"/>
                    <a:pt x="3160" y="1580"/>
                    <a:pt x="3160" y="1580"/>
                  </a:cubicBezTo>
                  <a:cubicBezTo>
                    <a:pt x="3160" y="1554"/>
                    <a:pt x="3160" y="1554"/>
                    <a:pt x="3160" y="1554"/>
                  </a:cubicBezTo>
                  <a:cubicBezTo>
                    <a:pt x="2740" y="1554"/>
                    <a:pt x="2740" y="1554"/>
                    <a:pt x="2740" y="1554"/>
                  </a:cubicBezTo>
                  <a:cubicBezTo>
                    <a:pt x="2740" y="1538"/>
                    <a:pt x="2740" y="1538"/>
                    <a:pt x="2740" y="1538"/>
                  </a:cubicBezTo>
                  <a:cubicBezTo>
                    <a:pt x="2475" y="1538"/>
                    <a:pt x="2475" y="1538"/>
                    <a:pt x="2475" y="1538"/>
                  </a:cubicBezTo>
                  <a:cubicBezTo>
                    <a:pt x="2475" y="1521"/>
                    <a:pt x="2475" y="1521"/>
                    <a:pt x="2475" y="1521"/>
                  </a:cubicBezTo>
                  <a:cubicBezTo>
                    <a:pt x="2146" y="1521"/>
                    <a:pt x="2146" y="1521"/>
                    <a:pt x="2146" y="1521"/>
                  </a:cubicBezTo>
                  <a:cubicBezTo>
                    <a:pt x="2146" y="1464"/>
                    <a:pt x="2146" y="1464"/>
                    <a:pt x="2146" y="1464"/>
                  </a:cubicBezTo>
                  <a:cubicBezTo>
                    <a:pt x="2007" y="1464"/>
                    <a:pt x="2007" y="1464"/>
                    <a:pt x="2007" y="1464"/>
                  </a:cubicBezTo>
                  <a:cubicBezTo>
                    <a:pt x="2007" y="1432"/>
                    <a:pt x="2007" y="1432"/>
                    <a:pt x="2007" y="1432"/>
                  </a:cubicBezTo>
                  <a:cubicBezTo>
                    <a:pt x="1729" y="1432"/>
                    <a:pt x="1729" y="1432"/>
                    <a:pt x="1729" y="1432"/>
                  </a:cubicBezTo>
                  <a:cubicBezTo>
                    <a:pt x="1729" y="1411"/>
                    <a:pt x="1729" y="1411"/>
                    <a:pt x="1729" y="1411"/>
                  </a:cubicBezTo>
                  <a:cubicBezTo>
                    <a:pt x="1695" y="1411"/>
                    <a:pt x="1695" y="1411"/>
                    <a:pt x="1695" y="1411"/>
                  </a:cubicBezTo>
                  <a:cubicBezTo>
                    <a:pt x="1695" y="1395"/>
                    <a:pt x="1695" y="1395"/>
                    <a:pt x="1695" y="1395"/>
                  </a:cubicBezTo>
                  <a:cubicBezTo>
                    <a:pt x="1595" y="1395"/>
                    <a:pt x="1595" y="1395"/>
                    <a:pt x="1595" y="1395"/>
                  </a:cubicBezTo>
                  <a:cubicBezTo>
                    <a:pt x="1595" y="1386"/>
                    <a:pt x="1595" y="1386"/>
                    <a:pt x="1595" y="1386"/>
                  </a:cubicBezTo>
                  <a:cubicBezTo>
                    <a:pt x="1588" y="1386"/>
                    <a:pt x="1588" y="1386"/>
                    <a:pt x="1588" y="1386"/>
                  </a:cubicBezTo>
                  <a:cubicBezTo>
                    <a:pt x="1588" y="1378"/>
                    <a:pt x="1588" y="1378"/>
                    <a:pt x="1588" y="1378"/>
                  </a:cubicBezTo>
                  <a:cubicBezTo>
                    <a:pt x="1578" y="1378"/>
                    <a:pt x="1578" y="1378"/>
                    <a:pt x="1578" y="1378"/>
                  </a:cubicBezTo>
                  <a:cubicBezTo>
                    <a:pt x="1578" y="1346"/>
                    <a:pt x="1578" y="1346"/>
                    <a:pt x="1578" y="1346"/>
                  </a:cubicBezTo>
                  <a:cubicBezTo>
                    <a:pt x="1561" y="1346"/>
                    <a:pt x="1561" y="1346"/>
                    <a:pt x="1561" y="1346"/>
                  </a:cubicBezTo>
                  <a:cubicBezTo>
                    <a:pt x="1561" y="1332"/>
                    <a:pt x="1561" y="1332"/>
                    <a:pt x="1561" y="1332"/>
                  </a:cubicBezTo>
                  <a:cubicBezTo>
                    <a:pt x="1433" y="1332"/>
                    <a:pt x="1433" y="1332"/>
                    <a:pt x="1433" y="1332"/>
                  </a:cubicBezTo>
                  <a:cubicBezTo>
                    <a:pt x="1433" y="1315"/>
                    <a:pt x="1433" y="1315"/>
                    <a:pt x="1433" y="1315"/>
                  </a:cubicBezTo>
                  <a:cubicBezTo>
                    <a:pt x="1287" y="1315"/>
                    <a:pt x="1287" y="1315"/>
                    <a:pt x="1287" y="1315"/>
                  </a:cubicBezTo>
                  <a:cubicBezTo>
                    <a:pt x="1287" y="1298"/>
                    <a:pt x="1287" y="1298"/>
                    <a:pt x="1287" y="1298"/>
                  </a:cubicBezTo>
                  <a:cubicBezTo>
                    <a:pt x="1278" y="1298"/>
                    <a:pt x="1278" y="1298"/>
                    <a:pt x="1278" y="1298"/>
                  </a:cubicBezTo>
                  <a:cubicBezTo>
                    <a:pt x="1278" y="1281"/>
                    <a:pt x="1278" y="1281"/>
                    <a:pt x="1278" y="1281"/>
                  </a:cubicBezTo>
                  <a:cubicBezTo>
                    <a:pt x="1143" y="1281"/>
                    <a:pt x="1143" y="1281"/>
                    <a:pt x="1143" y="1281"/>
                  </a:cubicBezTo>
                  <a:cubicBezTo>
                    <a:pt x="1143" y="1263"/>
                    <a:pt x="1143" y="1263"/>
                    <a:pt x="1143" y="1263"/>
                  </a:cubicBezTo>
                  <a:cubicBezTo>
                    <a:pt x="1143" y="1263"/>
                    <a:pt x="1133" y="1264"/>
                    <a:pt x="1133" y="1263"/>
                  </a:cubicBezTo>
                  <a:cubicBezTo>
                    <a:pt x="1133" y="1262"/>
                    <a:pt x="1133" y="1219"/>
                    <a:pt x="1133" y="1219"/>
                  </a:cubicBezTo>
                  <a:cubicBezTo>
                    <a:pt x="1112" y="1219"/>
                    <a:pt x="1112" y="1219"/>
                    <a:pt x="1112" y="1219"/>
                  </a:cubicBezTo>
                  <a:cubicBezTo>
                    <a:pt x="1112" y="1198"/>
                    <a:pt x="1112" y="1198"/>
                    <a:pt x="1112" y="1198"/>
                  </a:cubicBezTo>
                  <a:cubicBezTo>
                    <a:pt x="1005" y="1198"/>
                    <a:pt x="1005" y="1198"/>
                    <a:pt x="1005" y="1198"/>
                  </a:cubicBezTo>
                  <a:cubicBezTo>
                    <a:pt x="1005" y="1174"/>
                    <a:pt x="1005" y="1174"/>
                    <a:pt x="1005" y="1174"/>
                  </a:cubicBezTo>
                  <a:cubicBezTo>
                    <a:pt x="992" y="1174"/>
                    <a:pt x="992" y="1174"/>
                    <a:pt x="992" y="1174"/>
                  </a:cubicBezTo>
                  <a:cubicBezTo>
                    <a:pt x="992" y="1151"/>
                    <a:pt x="992" y="1151"/>
                    <a:pt x="992" y="1151"/>
                  </a:cubicBezTo>
                  <a:cubicBezTo>
                    <a:pt x="945" y="1151"/>
                    <a:pt x="945" y="1151"/>
                    <a:pt x="945" y="1151"/>
                  </a:cubicBezTo>
                  <a:cubicBezTo>
                    <a:pt x="945" y="1138"/>
                    <a:pt x="945" y="1138"/>
                    <a:pt x="945" y="1138"/>
                  </a:cubicBezTo>
                  <a:cubicBezTo>
                    <a:pt x="861" y="1138"/>
                    <a:pt x="861" y="1138"/>
                    <a:pt x="861" y="1138"/>
                  </a:cubicBezTo>
                  <a:cubicBezTo>
                    <a:pt x="861" y="1123"/>
                    <a:pt x="861" y="1123"/>
                    <a:pt x="861" y="1123"/>
                  </a:cubicBezTo>
                  <a:cubicBezTo>
                    <a:pt x="843" y="1123"/>
                    <a:pt x="843" y="1123"/>
                    <a:pt x="843" y="1123"/>
                  </a:cubicBezTo>
                  <a:cubicBezTo>
                    <a:pt x="843" y="1105"/>
                    <a:pt x="843" y="1105"/>
                    <a:pt x="843" y="1105"/>
                  </a:cubicBezTo>
                  <a:cubicBezTo>
                    <a:pt x="795" y="1105"/>
                    <a:pt x="795" y="1105"/>
                    <a:pt x="795" y="1105"/>
                  </a:cubicBezTo>
                  <a:cubicBezTo>
                    <a:pt x="795" y="1091"/>
                    <a:pt x="795" y="1091"/>
                    <a:pt x="795" y="1091"/>
                  </a:cubicBezTo>
                  <a:cubicBezTo>
                    <a:pt x="758" y="1091"/>
                    <a:pt x="758" y="1091"/>
                    <a:pt x="758" y="1091"/>
                  </a:cubicBezTo>
                  <a:cubicBezTo>
                    <a:pt x="758" y="1075"/>
                    <a:pt x="758" y="1075"/>
                    <a:pt x="758" y="1075"/>
                  </a:cubicBezTo>
                  <a:cubicBezTo>
                    <a:pt x="744" y="1075"/>
                    <a:pt x="744" y="1075"/>
                    <a:pt x="744" y="1075"/>
                  </a:cubicBezTo>
                  <a:cubicBezTo>
                    <a:pt x="744" y="1061"/>
                    <a:pt x="744" y="1061"/>
                    <a:pt x="744" y="1061"/>
                  </a:cubicBezTo>
                  <a:cubicBezTo>
                    <a:pt x="718" y="1061"/>
                    <a:pt x="718" y="1061"/>
                    <a:pt x="718" y="1061"/>
                  </a:cubicBezTo>
                  <a:cubicBezTo>
                    <a:pt x="718" y="1026"/>
                    <a:pt x="718" y="1026"/>
                    <a:pt x="718" y="1026"/>
                  </a:cubicBezTo>
                  <a:cubicBezTo>
                    <a:pt x="714" y="1026"/>
                    <a:pt x="714" y="1026"/>
                    <a:pt x="714" y="1026"/>
                  </a:cubicBezTo>
                  <a:cubicBezTo>
                    <a:pt x="714" y="980"/>
                    <a:pt x="714" y="980"/>
                    <a:pt x="714" y="980"/>
                  </a:cubicBezTo>
                  <a:cubicBezTo>
                    <a:pt x="710" y="980"/>
                    <a:pt x="710" y="980"/>
                    <a:pt x="710" y="980"/>
                  </a:cubicBezTo>
                  <a:cubicBezTo>
                    <a:pt x="710" y="953"/>
                    <a:pt x="710" y="953"/>
                    <a:pt x="710" y="953"/>
                  </a:cubicBezTo>
                  <a:cubicBezTo>
                    <a:pt x="616" y="953"/>
                    <a:pt x="616" y="953"/>
                    <a:pt x="616" y="953"/>
                  </a:cubicBezTo>
                  <a:cubicBezTo>
                    <a:pt x="616" y="933"/>
                    <a:pt x="616" y="933"/>
                    <a:pt x="616" y="933"/>
                  </a:cubicBezTo>
                  <a:cubicBezTo>
                    <a:pt x="604" y="933"/>
                    <a:pt x="604" y="933"/>
                    <a:pt x="604" y="933"/>
                  </a:cubicBezTo>
                  <a:cubicBezTo>
                    <a:pt x="604" y="920"/>
                    <a:pt x="604" y="920"/>
                    <a:pt x="604" y="920"/>
                  </a:cubicBezTo>
                  <a:cubicBezTo>
                    <a:pt x="597" y="920"/>
                    <a:pt x="597" y="920"/>
                    <a:pt x="597" y="920"/>
                  </a:cubicBezTo>
                  <a:cubicBezTo>
                    <a:pt x="597" y="893"/>
                    <a:pt x="597" y="893"/>
                    <a:pt x="597" y="893"/>
                  </a:cubicBezTo>
                  <a:cubicBezTo>
                    <a:pt x="585" y="893"/>
                    <a:pt x="585" y="893"/>
                    <a:pt x="585" y="893"/>
                  </a:cubicBezTo>
                  <a:cubicBezTo>
                    <a:pt x="585" y="872"/>
                    <a:pt x="585" y="872"/>
                    <a:pt x="585" y="872"/>
                  </a:cubicBezTo>
                  <a:cubicBezTo>
                    <a:pt x="581" y="872"/>
                    <a:pt x="581" y="872"/>
                    <a:pt x="581" y="872"/>
                  </a:cubicBezTo>
                  <a:cubicBezTo>
                    <a:pt x="581" y="838"/>
                    <a:pt x="581" y="838"/>
                    <a:pt x="581" y="838"/>
                  </a:cubicBezTo>
                  <a:cubicBezTo>
                    <a:pt x="572" y="838"/>
                    <a:pt x="572" y="838"/>
                    <a:pt x="572" y="838"/>
                  </a:cubicBezTo>
                  <a:cubicBezTo>
                    <a:pt x="572" y="787"/>
                    <a:pt x="572" y="787"/>
                    <a:pt x="572" y="787"/>
                  </a:cubicBezTo>
                  <a:cubicBezTo>
                    <a:pt x="568" y="787"/>
                    <a:pt x="568" y="787"/>
                    <a:pt x="568" y="787"/>
                  </a:cubicBezTo>
                  <a:cubicBezTo>
                    <a:pt x="568" y="764"/>
                    <a:pt x="568" y="764"/>
                    <a:pt x="568" y="764"/>
                  </a:cubicBezTo>
                  <a:cubicBezTo>
                    <a:pt x="562" y="764"/>
                    <a:pt x="562" y="764"/>
                    <a:pt x="562" y="764"/>
                  </a:cubicBezTo>
                  <a:cubicBezTo>
                    <a:pt x="562" y="718"/>
                    <a:pt x="562" y="718"/>
                    <a:pt x="562" y="718"/>
                  </a:cubicBezTo>
                  <a:cubicBezTo>
                    <a:pt x="478" y="718"/>
                    <a:pt x="478" y="718"/>
                    <a:pt x="478" y="718"/>
                  </a:cubicBezTo>
                  <a:cubicBezTo>
                    <a:pt x="478" y="689"/>
                    <a:pt x="478" y="689"/>
                    <a:pt x="478" y="689"/>
                  </a:cubicBezTo>
                  <a:cubicBezTo>
                    <a:pt x="453" y="689"/>
                    <a:pt x="453" y="689"/>
                    <a:pt x="453" y="689"/>
                  </a:cubicBezTo>
                  <a:cubicBezTo>
                    <a:pt x="453" y="673"/>
                    <a:pt x="453" y="673"/>
                    <a:pt x="453" y="673"/>
                  </a:cubicBezTo>
                  <a:cubicBezTo>
                    <a:pt x="448" y="673"/>
                    <a:pt x="448" y="673"/>
                    <a:pt x="448" y="673"/>
                  </a:cubicBezTo>
                  <a:cubicBezTo>
                    <a:pt x="448" y="656"/>
                    <a:pt x="448" y="656"/>
                    <a:pt x="448" y="656"/>
                  </a:cubicBezTo>
                  <a:cubicBezTo>
                    <a:pt x="434" y="656"/>
                    <a:pt x="434" y="656"/>
                    <a:pt x="434" y="656"/>
                  </a:cubicBezTo>
                  <a:cubicBezTo>
                    <a:pt x="434" y="615"/>
                    <a:pt x="434" y="615"/>
                    <a:pt x="434" y="615"/>
                  </a:cubicBezTo>
                  <a:cubicBezTo>
                    <a:pt x="430" y="615"/>
                    <a:pt x="430" y="615"/>
                    <a:pt x="430" y="615"/>
                  </a:cubicBezTo>
                  <a:cubicBezTo>
                    <a:pt x="430" y="503"/>
                    <a:pt x="430" y="503"/>
                    <a:pt x="430" y="503"/>
                  </a:cubicBezTo>
                  <a:cubicBezTo>
                    <a:pt x="423" y="503"/>
                    <a:pt x="423" y="503"/>
                    <a:pt x="423" y="503"/>
                  </a:cubicBezTo>
                  <a:cubicBezTo>
                    <a:pt x="423" y="455"/>
                    <a:pt x="423" y="455"/>
                    <a:pt x="423" y="455"/>
                  </a:cubicBezTo>
                  <a:cubicBezTo>
                    <a:pt x="401" y="455"/>
                    <a:pt x="401" y="455"/>
                    <a:pt x="401" y="455"/>
                  </a:cubicBezTo>
                  <a:cubicBezTo>
                    <a:pt x="401" y="407"/>
                    <a:pt x="401" y="407"/>
                    <a:pt x="401" y="407"/>
                  </a:cubicBezTo>
                  <a:cubicBezTo>
                    <a:pt x="382" y="407"/>
                    <a:pt x="382" y="407"/>
                    <a:pt x="382" y="407"/>
                  </a:cubicBezTo>
                  <a:cubicBezTo>
                    <a:pt x="382" y="394"/>
                    <a:pt x="382" y="394"/>
                    <a:pt x="382" y="394"/>
                  </a:cubicBezTo>
                  <a:cubicBezTo>
                    <a:pt x="332" y="394"/>
                    <a:pt x="332" y="394"/>
                    <a:pt x="332" y="394"/>
                  </a:cubicBezTo>
                  <a:cubicBezTo>
                    <a:pt x="332" y="379"/>
                    <a:pt x="332" y="379"/>
                    <a:pt x="332" y="379"/>
                  </a:cubicBezTo>
                  <a:cubicBezTo>
                    <a:pt x="293" y="379"/>
                    <a:pt x="293" y="379"/>
                    <a:pt x="293" y="379"/>
                  </a:cubicBezTo>
                  <a:cubicBezTo>
                    <a:pt x="293" y="337"/>
                    <a:pt x="293" y="337"/>
                    <a:pt x="293" y="337"/>
                  </a:cubicBezTo>
                  <a:cubicBezTo>
                    <a:pt x="285" y="337"/>
                    <a:pt x="285" y="337"/>
                    <a:pt x="285" y="337"/>
                  </a:cubicBezTo>
                  <a:cubicBezTo>
                    <a:pt x="285" y="287"/>
                    <a:pt x="285" y="287"/>
                    <a:pt x="285" y="287"/>
                  </a:cubicBezTo>
                  <a:cubicBezTo>
                    <a:pt x="281" y="287"/>
                    <a:pt x="281" y="287"/>
                    <a:pt x="281" y="287"/>
                  </a:cubicBezTo>
                  <a:cubicBezTo>
                    <a:pt x="281" y="244"/>
                    <a:pt x="281" y="244"/>
                    <a:pt x="281" y="244"/>
                  </a:cubicBezTo>
                  <a:cubicBezTo>
                    <a:pt x="270" y="244"/>
                    <a:pt x="270" y="244"/>
                    <a:pt x="270" y="244"/>
                  </a:cubicBezTo>
                  <a:cubicBezTo>
                    <a:pt x="270" y="212"/>
                    <a:pt x="270" y="212"/>
                    <a:pt x="270" y="212"/>
                  </a:cubicBezTo>
                  <a:cubicBezTo>
                    <a:pt x="252" y="212"/>
                    <a:pt x="252" y="212"/>
                    <a:pt x="252" y="212"/>
                  </a:cubicBezTo>
                  <a:cubicBezTo>
                    <a:pt x="252" y="197"/>
                    <a:pt x="252" y="197"/>
                    <a:pt x="252" y="197"/>
                  </a:cubicBezTo>
                  <a:cubicBezTo>
                    <a:pt x="235" y="197"/>
                    <a:pt x="235" y="197"/>
                    <a:pt x="235" y="197"/>
                  </a:cubicBezTo>
                  <a:cubicBezTo>
                    <a:pt x="235" y="180"/>
                    <a:pt x="235" y="180"/>
                    <a:pt x="235" y="180"/>
                  </a:cubicBezTo>
                  <a:cubicBezTo>
                    <a:pt x="214" y="180"/>
                    <a:pt x="214" y="180"/>
                    <a:pt x="214" y="180"/>
                  </a:cubicBezTo>
                  <a:cubicBezTo>
                    <a:pt x="214" y="165"/>
                    <a:pt x="214" y="165"/>
                    <a:pt x="214" y="165"/>
                  </a:cubicBezTo>
                  <a:cubicBezTo>
                    <a:pt x="144" y="165"/>
                    <a:pt x="144" y="165"/>
                    <a:pt x="144" y="165"/>
                  </a:cubicBezTo>
                  <a:cubicBezTo>
                    <a:pt x="144" y="127"/>
                    <a:pt x="144" y="127"/>
                    <a:pt x="144" y="127"/>
                  </a:cubicBezTo>
                  <a:cubicBezTo>
                    <a:pt x="138" y="127"/>
                    <a:pt x="138" y="127"/>
                    <a:pt x="138" y="127"/>
                  </a:cubicBezTo>
                  <a:cubicBezTo>
                    <a:pt x="138" y="102"/>
                    <a:pt x="138" y="102"/>
                    <a:pt x="138" y="102"/>
                  </a:cubicBezTo>
                  <a:cubicBezTo>
                    <a:pt x="132" y="102"/>
                    <a:pt x="132" y="102"/>
                    <a:pt x="132" y="102"/>
                  </a:cubicBezTo>
                  <a:cubicBezTo>
                    <a:pt x="132" y="74"/>
                    <a:pt x="132" y="74"/>
                    <a:pt x="132" y="74"/>
                  </a:cubicBezTo>
                  <a:cubicBezTo>
                    <a:pt x="128" y="74"/>
                    <a:pt x="128" y="74"/>
                    <a:pt x="128" y="74"/>
                  </a:cubicBezTo>
                  <a:cubicBezTo>
                    <a:pt x="128" y="26"/>
                    <a:pt x="128" y="26"/>
                    <a:pt x="128" y="26"/>
                  </a:cubicBezTo>
                  <a:cubicBezTo>
                    <a:pt x="123" y="26"/>
                    <a:pt x="123" y="26"/>
                    <a:pt x="123" y="26"/>
                  </a:cubicBezTo>
                  <a:cubicBezTo>
                    <a:pt x="123" y="12"/>
                    <a:pt x="123" y="12"/>
                    <a:pt x="123" y="12"/>
                  </a:cubicBezTo>
                  <a:cubicBezTo>
                    <a:pt x="117" y="12"/>
                    <a:pt x="117" y="12"/>
                    <a:pt x="117" y="12"/>
                  </a:cubicBezTo>
                  <a:cubicBezTo>
                    <a:pt x="111" y="12"/>
                    <a:pt x="111" y="12"/>
                    <a:pt x="111" y="12"/>
                  </a:cubicBezTo>
                  <a:cubicBezTo>
                    <a:pt x="111" y="0"/>
                    <a:pt x="111" y="0"/>
                    <a:pt x="111" y="0"/>
                  </a:cubicBezTo>
                  <a:cubicBezTo>
                    <a:pt x="0" y="0"/>
                    <a:pt x="0" y="0"/>
                    <a:pt x="0" y="0"/>
                  </a:cubicBezTo>
                </a:path>
              </a:pathLst>
            </a:custGeom>
            <a:solidFill>
              <a:srgbClr val="FFFFFF"/>
            </a:solidFill>
            <a:ln w="12700" cap="flat">
              <a:solidFill>
                <a:schemeClr val="tx1"/>
              </a:solidFill>
              <a:prstDash val="solid"/>
              <a:miter lim="800000"/>
              <a:headEnd/>
              <a:tailEnd/>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15" name="Freeform 31">
              <a:extLst>
                <a:ext uri="{FF2B5EF4-FFF2-40B4-BE49-F238E27FC236}">
                  <a16:creationId xmlns:a16="http://schemas.microsoft.com/office/drawing/2014/main" id="{300358BB-B156-6DFA-2F56-B309D8B4608F}"/>
                </a:ext>
              </a:extLst>
            </p:cNvPr>
            <p:cNvSpPr>
              <a:spLocks/>
            </p:cNvSpPr>
            <p:nvPr/>
          </p:nvSpPr>
          <p:spPr bwMode="auto">
            <a:xfrm>
              <a:off x="587937" y="2114127"/>
              <a:ext cx="2602191" cy="761843"/>
            </a:xfrm>
            <a:custGeom>
              <a:avLst/>
              <a:gdLst>
                <a:gd name="T0" fmla="*/ 2384 w 3058"/>
                <a:gd name="T1" fmla="*/ 800 h 815"/>
                <a:gd name="T2" fmla="*/ 2290 w 3058"/>
                <a:gd name="T3" fmla="*/ 778 h 815"/>
                <a:gd name="T4" fmla="*/ 2147 w 3058"/>
                <a:gd name="T5" fmla="*/ 763 h 815"/>
                <a:gd name="T6" fmla="*/ 1927 w 3058"/>
                <a:gd name="T7" fmla="*/ 736 h 815"/>
                <a:gd name="T8" fmla="*/ 1822 w 3058"/>
                <a:gd name="T9" fmla="*/ 711 h 815"/>
                <a:gd name="T10" fmla="*/ 1803 w 3058"/>
                <a:gd name="T11" fmla="*/ 698 h 815"/>
                <a:gd name="T12" fmla="*/ 1784 w 3058"/>
                <a:gd name="T13" fmla="*/ 687 h 815"/>
                <a:gd name="T14" fmla="*/ 1691 w 3058"/>
                <a:gd name="T15" fmla="*/ 667 h 815"/>
                <a:gd name="T16" fmla="*/ 1664 w 3058"/>
                <a:gd name="T17" fmla="*/ 647 h 815"/>
                <a:gd name="T18" fmla="*/ 1592 w 3058"/>
                <a:gd name="T19" fmla="*/ 637 h 815"/>
                <a:gd name="T20" fmla="*/ 1481 w 3058"/>
                <a:gd name="T21" fmla="*/ 628 h 815"/>
                <a:gd name="T22" fmla="*/ 1461 w 3058"/>
                <a:gd name="T23" fmla="*/ 615 h 815"/>
                <a:gd name="T24" fmla="*/ 1382 w 3058"/>
                <a:gd name="T25" fmla="*/ 602 h 815"/>
                <a:gd name="T26" fmla="*/ 1262 w 3058"/>
                <a:gd name="T27" fmla="*/ 582 h 815"/>
                <a:gd name="T28" fmla="*/ 1242 w 3058"/>
                <a:gd name="T29" fmla="*/ 573 h 815"/>
                <a:gd name="T30" fmla="*/ 1203 w 3058"/>
                <a:gd name="T31" fmla="*/ 553 h 815"/>
                <a:gd name="T32" fmla="*/ 1174 w 3058"/>
                <a:gd name="T33" fmla="*/ 542 h 815"/>
                <a:gd name="T34" fmla="*/ 1140 w 3058"/>
                <a:gd name="T35" fmla="*/ 530 h 815"/>
                <a:gd name="T36" fmla="*/ 1129 w 3058"/>
                <a:gd name="T37" fmla="*/ 518 h 815"/>
                <a:gd name="T38" fmla="*/ 1104 w 3058"/>
                <a:gd name="T39" fmla="*/ 497 h 815"/>
                <a:gd name="T40" fmla="*/ 1074 w 3058"/>
                <a:gd name="T41" fmla="*/ 483 h 815"/>
                <a:gd name="T42" fmla="*/ 1040 w 3058"/>
                <a:gd name="T43" fmla="*/ 470 h 815"/>
                <a:gd name="T44" fmla="*/ 1013 w 3058"/>
                <a:gd name="T45" fmla="*/ 451 h 815"/>
                <a:gd name="T46" fmla="*/ 996 w 3058"/>
                <a:gd name="T47" fmla="*/ 424 h 815"/>
                <a:gd name="T48" fmla="*/ 957 w 3058"/>
                <a:gd name="T49" fmla="*/ 408 h 815"/>
                <a:gd name="T50" fmla="*/ 926 w 3058"/>
                <a:gd name="T51" fmla="*/ 397 h 815"/>
                <a:gd name="T52" fmla="*/ 901 w 3058"/>
                <a:gd name="T53" fmla="*/ 384 h 815"/>
                <a:gd name="T54" fmla="*/ 897 w 3058"/>
                <a:gd name="T55" fmla="*/ 368 h 815"/>
                <a:gd name="T56" fmla="*/ 830 w 3058"/>
                <a:gd name="T57" fmla="*/ 349 h 815"/>
                <a:gd name="T58" fmla="*/ 766 w 3058"/>
                <a:gd name="T59" fmla="*/ 323 h 815"/>
                <a:gd name="T60" fmla="*/ 732 w 3058"/>
                <a:gd name="T61" fmla="*/ 312 h 815"/>
                <a:gd name="T62" fmla="*/ 686 w 3058"/>
                <a:gd name="T63" fmla="*/ 300 h 815"/>
                <a:gd name="T64" fmla="*/ 680 w 3058"/>
                <a:gd name="T65" fmla="*/ 288 h 815"/>
                <a:gd name="T66" fmla="*/ 653 w 3058"/>
                <a:gd name="T67" fmla="*/ 272 h 815"/>
                <a:gd name="T68" fmla="*/ 597 w 3058"/>
                <a:gd name="T69" fmla="*/ 260 h 815"/>
                <a:gd name="T70" fmla="*/ 571 w 3058"/>
                <a:gd name="T71" fmla="*/ 254 h 815"/>
                <a:gd name="T72" fmla="*/ 563 w 3058"/>
                <a:gd name="T73" fmla="*/ 242 h 815"/>
                <a:gd name="T74" fmla="*/ 537 w 3058"/>
                <a:gd name="T75" fmla="*/ 218 h 815"/>
                <a:gd name="T76" fmla="*/ 504 w 3058"/>
                <a:gd name="T77" fmla="*/ 205 h 815"/>
                <a:gd name="T78" fmla="*/ 483 w 3058"/>
                <a:gd name="T79" fmla="*/ 190 h 815"/>
                <a:gd name="T80" fmla="*/ 461 w 3058"/>
                <a:gd name="T81" fmla="*/ 183 h 815"/>
                <a:gd name="T82" fmla="*/ 448 w 3058"/>
                <a:gd name="T83" fmla="*/ 164 h 815"/>
                <a:gd name="T84" fmla="*/ 433 w 3058"/>
                <a:gd name="T85" fmla="*/ 151 h 815"/>
                <a:gd name="T86" fmla="*/ 358 w 3058"/>
                <a:gd name="T87" fmla="*/ 140 h 815"/>
                <a:gd name="T88" fmla="*/ 328 w 3058"/>
                <a:gd name="T89" fmla="*/ 112 h 815"/>
                <a:gd name="T90" fmla="*/ 297 w 3058"/>
                <a:gd name="T91" fmla="*/ 97 h 815"/>
                <a:gd name="T92" fmla="*/ 227 w 3058"/>
                <a:gd name="T93" fmla="*/ 90 h 815"/>
                <a:gd name="T94" fmla="*/ 218 w 3058"/>
                <a:gd name="T95" fmla="*/ 73 h 815"/>
                <a:gd name="T96" fmla="*/ 189 w 3058"/>
                <a:gd name="T97" fmla="*/ 56 h 815"/>
                <a:gd name="T98" fmla="*/ 153 w 3058"/>
                <a:gd name="T99" fmla="*/ 43 h 815"/>
                <a:gd name="T100" fmla="*/ 95 w 3058"/>
                <a:gd name="T101" fmla="*/ 22 h 815"/>
                <a:gd name="T102" fmla="*/ 18 w 3058"/>
                <a:gd name="T103" fmla="*/ 7 h 815"/>
                <a:gd name="T104" fmla="*/ 0 w 3058"/>
                <a:gd name="T105" fmla="*/ 0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8" h="815">
                  <a:moveTo>
                    <a:pt x="3058" y="815"/>
                  </a:moveTo>
                  <a:lnTo>
                    <a:pt x="2597" y="815"/>
                  </a:lnTo>
                  <a:lnTo>
                    <a:pt x="2597" y="800"/>
                  </a:lnTo>
                  <a:lnTo>
                    <a:pt x="2384" y="800"/>
                  </a:lnTo>
                  <a:lnTo>
                    <a:pt x="2384" y="791"/>
                  </a:lnTo>
                  <a:lnTo>
                    <a:pt x="2364" y="791"/>
                  </a:lnTo>
                  <a:lnTo>
                    <a:pt x="2364" y="778"/>
                  </a:lnTo>
                  <a:lnTo>
                    <a:pt x="2290" y="778"/>
                  </a:lnTo>
                  <a:lnTo>
                    <a:pt x="2290" y="771"/>
                  </a:lnTo>
                  <a:lnTo>
                    <a:pt x="2277" y="771"/>
                  </a:lnTo>
                  <a:lnTo>
                    <a:pt x="2277" y="763"/>
                  </a:lnTo>
                  <a:lnTo>
                    <a:pt x="2147" y="763"/>
                  </a:lnTo>
                  <a:lnTo>
                    <a:pt x="2147" y="744"/>
                  </a:lnTo>
                  <a:lnTo>
                    <a:pt x="2063" y="744"/>
                  </a:lnTo>
                  <a:lnTo>
                    <a:pt x="2063" y="736"/>
                  </a:lnTo>
                  <a:lnTo>
                    <a:pt x="1927" y="736"/>
                  </a:lnTo>
                  <a:lnTo>
                    <a:pt x="1927" y="720"/>
                  </a:lnTo>
                  <a:lnTo>
                    <a:pt x="1833" y="720"/>
                  </a:lnTo>
                  <a:lnTo>
                    <a:pt x="1833" y="711"/>
                  </a:lnTo>
                  <a:lnTo>
                    <a:pt x="1822" y="711"/>
                  </a:lnTo>
                  <a:lnTo>
                    <a:pt x="1822" y="706"/>
                  </a:lnTo>
                  <a:lnTo>
                    <a:pt x="1814" y="706"/>
                  </a:lnTo>
                  <a:lnTo>
                    <a:pt x="1814" y="698"/>
                  </a:lnTo>
                  <a:lnTo>
                    <a:pt x="1803" y="698"/>
                  </a:lnTo>
                  <a:lnTo>
                    <a:pt x="1803" y="691"/>
                  </a:lnTo>
                  <a:lnTo>
                    <a:pt x="1788" y="691"/>
                  </a:lnTo>
                  <a:lnTo>
                    <a:pt x="1788" y="687"/>
                  </a:lnTo>
                  <a:lnTo>
                    <a:pt x="1784" y="687"/>
                  </a:lnTo>
                  <a:lnTo>
                    <a:pt x="1784" y="682"/>
                  </a:lnTo>
                  <a:lnTo>
                    <a:pt x="1712" y="682"/>
                  </a:lnTo>
                  <a:lnTo>
                    <a:pt x="1712" y="667"/>
                  </a:lnTo>
                  <a:lnTo>
                    <a:pt x="1691" y="667"/>
                  </a:lnTo>
                  <a:lnTo>
                    <a:pt x="1691" y="654"/>
                  </a:lnTo>
                  <a:lnTo>
                    <a:pt x="1670" y="654"/>
                  </a:lnTo>
                  <a:lnTo>
                    <a:pt x="1670" y="647"/>
                  </a:lnTo>
                  <a:lnTo>
                    <a:pt x="1664" y="647"/>
                  </a:lnTo>
                  <a:lnTo>
                    <a:pt x="1664" y="645"/>
                  </a:lnTo>
                  <a:lnTo>
                    <a:pt x="1626" y="645"/>
                  </a:lnTo>
                  <a:lnTo>
                    <a:pt x="1626" y="637"/>
                  </a:lnTo>
                  <a:lnTo>
                    <a:pt x="1592" y="637"/>
                  </a:lnTo>
                  <a:lnTo>
                    <a:pt x="1592" y="632"/>
                  </a:lnTo>
                  <a:lnTo>
                    <a:pt x="1484" y="632"/>
                  </a:lnTo>
                  <a:lnTo>
                    <a:pt x="1484" y="628"/>
                  </a:lnTo>
                  <a:lnTo>
                    <a:pt x="1481" y="628"/>
                  </a:lnTo>
                  <a:lnTo>
                    <a:pt x="1481" y="623"/>
                  </a:lnTo>
                  <a:lnTo>
                    <a:pt x="1478" y="623"/>
                  </a:lnTo>
                  <a:lnTo>
                    <a:pt x="1478" y="615"/>
                  </a:lnTo>
                  <a:lnTo>
                    <a:pt x="1461" y="615"/>
                  </a:lnTo>
                  <a:lnTo>
                    <a:pt x="1461" y="610"/>
                  </a:lnTo>
                  <a:lnTo>
                    <a:pt x="1451" y="610"/>
                  </a:lnTo>
                  <a:lnTo>
                    <a:pt x="1451" y="602"/>
                  </a:lnTo>
                  <a:lnTo>
                    <a:pt x="1382" y="602"/>
                  </a:lnTo>
                  <a:lnTo>
                    <a:pt x="1382" y="590"/>
                  </a:lnTo>
                  <a:lnTo>
                    <a:pt x="1343" y="590"/>
                  </a:lnTo>
                  <a:lnTo>
                    <a:pt x="1343" y="582"/>
                  </a:lnTo>
                  <a:lnTo>
                    <a:pt x="1262" y="582"/>
                  </a:lnTo>
                  <a:lnTo>
                    <a:pt x="1262" y="576"/>
                  </a:lnTo>
                  <a:lnTo>
                    <a:pt x="1260" y="576"/>
                  </a:lnTo>
                  <a:lnTo>
                    <a:pt x="1260" y="573"/>
                  </a:lnTo>
                  <a:lnTo>
                    <a:pt x="1242" y="573"/>
                  </a:lnTo>
                  <a:lnTo>
                    <a:pt x="1242" y="559"/>
                  </a:lnTo>
                  <a:lnTo>
                    <a:pt x="1222" y="559"/>
                  </a:lnTo>
                  <a:lnTo>
                    <a:pt x="1222" y="553"/>
                  </a:lnTo>
                  <a:lnTo>
                    <a:pt x="1203" y="553"/>
                  </a:lnTo>
                  <a:lnTo>
                    <a:pt x="1203" y="548"/>
                  </a:lnTo>
                  <a:lnTo>
                    <a:pt x="1178" y="548"/>
                  </a:lnTo>
                  <a:lnTo>
                    <a:pt x="1178" y="542"/>
                  </a:lnTo>
                  <a:lnTo>
                    <a:pt x="1174" y="542"/>
                  </a:lnTo>
                  <a:lnTo>
                    <a:pt x="1174" y="538"/>
                  </a:lnTo>
                  <a:lnTo>
                    <a:pt x="1171" y="538"/>
                  </a:lnTo>
                  <a:lnTo>
                    <a:pt x="1171" y="530"/>
                  </a:lnTo>
                  <a:lnTo>
                    <a:pt x="1140" y="530"/>
                  </a:lnTo>
                  <a:lnTo>
                    <a:pt x="1140" y="525"/>
                  </a:lnTo>
                  <a:lnTo>
                    <a:pt x="1134" y="525"/>
                  </a:lnTo>
                  <a:lnTo>
                    <a:pt x="1134" y="518"/>
                  </a:lnTo>
                  <a:lnTo>
                    <a:pt x="1129" y="518"/>
                  </a:lnTo>
                  <a:lnTo>
                    <a:pt x="1129" y="510"/>
                  </a:lnTo>
                  <a:lnTo>
                    <a:pt x="1118" y="510"/>
                  </a:lnTo>
                  <a:lnTo>
                    <a:pt x="1118" y="497"/>
                  </a:lnTo>
                  <a:lnTo>
                    <a:pt x="1104" y="497"/>
                  </a:lnTo>
                  <a:lnTo>
                    <a:pt x="1104" y="490"/>
                  </a:lnTo>
                  <a:lnTo>
                    <a:pt x="1096" y="490"/>
                  </a:lnTo>
                  <a:lnTo>
                    <a:pt x="1096" y="483"/>
                  </a:lnTo>
                  <a:lnTo>
                    <a:pt x="1074" y="483"/>
                  </a:lnTo>
                  <a:lnTo>
                    <a:pt x="1074" y="473"/>
                  </a:lnTo>
                  <a:lnTo>
                    <a:pt x="1071" y="473"/>
                  </a:lnTo>
                  <a:lnTo>
                    <a:pt x="1071" y="470"/>
                  </a:lnTo>
                  <a:lnTo>
                    <a:pt x="1040" y="470"/>
                  </a:lnTo>
                  <a:lnTo>
                    <a:pt x="1040" y="459"/>
                  </a:lnTo>
                  <a:lnTo>
                    <a:pt x="1023" y="459"/>
                  </a:lnTo>
                  <a:lnTo>
                    <a:pt x="1023" y="451"/>
                  </a:lnTo>
                  <a:lnTo>
                    <a:pt x="1013" y="451"/>
                  </a:lnTo>
                  <a:lnTo>
                    <a:pt x="1013" y="433"/>
                  </a:lnTo>
                  <a:lnTo>
                    <a:pt x="1002" y="433"/>
                  </a:lnTo>
                  <a:lnTo>
                    <a:pt x="1002" y="424"/>
                  </a:lnTo>
                  <a:lnTo>
                    <a:pt x="996" y="424"/>
                  </a:lnTo>
                  <a:lnTo>
                    <a:pt x="996" y="413"/>
                  </a:lnTo>
                  <a:lnTo>
                    <a:pt x="992" y="413"/>
                  </a:lnTo>
                  <a:lnTo>
                    <a:pt x="992" y="408"/>
                  </a:lnTo>
                  <a:lnTo>
                    <a:pt x="957" y="408"/>
                  </a:lnTo>
                  <a:lnTo>
                    <a:pt x="957" y="403"/>
                  </a:lnTo>
                  <a:lnTo>
                    <a:pt x="930" y="403"/>
                  </a:lnTo>
                  <a:lnTo>
                    <a:pt x="930" y="397"/>
                  </a:lnTo>
                  <a:lnTo>
                    <a:pt x="926" y="397"/>
                  </a:lnTo>
                  <a:lnTo>
                    <a:pt x="926" y="395"/>
                  </a:lnTo>
                  <a:lnTo>
                    <a:pt x="904" y="395"/>
                  </a:lnTo>
                  <a:lnTo>
                    <a:pt x="904" y="384"/>
                  </a:lnTo>
                  <a:lnTo>
                    <a:pt x="901" y="384"/>
                  </a:lnTo>
                  <a:lnTo>
                    <a:pt x="901" y="377"/>
                  </a:lnTo>
                  <a:lnTo>
                    <a:pt x="899" y="377"/>
                  </a:lnTo>
                  <a:lnTo>
                    <a:pt x="899" y="368"/>
                  </a:lnTo>
                  <a:lnTo>
                    <a:pt x="897" y="368"/>
                  </a:lnTo>
                  <a:lnTo>
                    <a:pt x="897" y="355"/>
                  </a:lnTo>
                  <a:lnTo>
                    <a:pt x="888" y="355"/>
                  </a:lnTo>
                  <a:lnTo>
                    <a:pt x="888" y="349"/>
                  </a:lnTo>
                  <a:lnTo>
                    <a:pt x="830" y="349"/>
                  </a:lnTo>
                  <a:lnTo>
                    <a:pt x="830" y="345"/>
                  </a:lnTo>
                  <a:lnTo>
                    <a:pt x="788" y="345"/>
                  </a:lnTo>
                  <a:lnTo>
                    <a:pt x="788" y="323"/>
                  </a:lnTo>
                  <a:lnTo>
                    <a:pt x="766" y="323"/>
                  </a:lnTo>
                  <a:lnTo>
                    <a:pt x="766" y="318"/>
                  </a:lnTo>
                  <a:lnTo>
                    <a:pt x="752" y="318"/>
                  </a:lnTo>
                  <a:lnTo>
                    <a:pt x="752" y="312"/>
                  </a:lnTo>
                  <a:lnTo>
                    <a:pt x="732" y="312"/>
                  </a:lnTo>
                  <a:lnTo>
                    <a:pt x="732" y="305"/>
                  </a:lnTo>
                  <a:lnTo>
                    <a:pt x="721" y="305"/>
                  </a:lnTo>
                  <a:lnTo>
                    <a:pt x="721" y="300"/>
                  </a:lnTo>
                  <a:lnTo>
                    <a:pt x="686" y="300"/>
                  </a:lnTo>
                  <a:lnTo>
                    <a:pt x="686" y="292"/>
                  </a:lnTo>
                  <a:lnTo>
                    <a:pt x="682" y="292"/>
                  </a:lnTo>
                  <a:lnTo>
                    <a:pt x="682" y="288"/>
                  </a:lnTo>
                  <a:lnTo>
                    <a:pt x="680" y="288"/>
                  </a:lnTo>
                  <a:lnTo>
                    <a:pt x="680" y="281"/>
                  </a:lnTo>
                  <a:lnTo>
                    <a:pt x="668" y="281"/>
                  </a:lnTo>
                  <a:lnTo>
                    <a:pt x="668" y="272"/>
                  </a:lnTo>
                  <a:lnTo>
                    <a:pt x="653" y="272"/>
                  </a:lnTo>
                  <a:lnTo>
                    <a:pt x="653" y="267"/>
                  </a:lnTo>
                  <a:lnTo>
                    <a:pt x="618" y="267"/>
                  </a:lnTo>
                  <a:lnTo>
                    <a:pt x="618" y="260"/>
                  </a:lnTo>
                  <a:lnTo>
                    <a:pt x="597" y="260"/>
                  </a:lnTo>
                  <a:lnTo>
                    <a:pt x="597" y="255"/>
                  </a:lnTo>
                  <a:lnTo>
                    <a:pt x="592" y="255"/>
                  </a:lnTo>
                  <a:lnTo>
                    <a:pt x="592" y="254"/>
                  </a:lnTo>
                  <a:lnTo>
                    <a:pt x="571" y="254"/>
                  </a:lnTo>
                  <a:lnTo>
                    <a:pt x="571" y="249"/>
                  </a:lnTo>
                  <a:lnTo>
                    <a:pt x="566" y="249"/>
                  </a:lnTo>
                  <a:lnTo>
                    <a:pt x="566" y="242"/>
                  </a:lnTo>
                  <a:lnTo>
                    <a:pt x="563" y="242"/>
                  </a:lnTo>
                  <a:lnTo>
                    <a:pt x="563" y="223"/>
                  </a:lnTo>
                  <a:lnTo>
                    <a:pt x="544" y="223"/>
                  </a:lnTo>
                  <a:lnTo>
                    <a:pt x="544" y="218"/>
                  </a:lnTo>
                  <a:lnTo>
                    <a:pt x="537" y="218"/>
                  </a:lnTo>
                  <a:lnTo>
                    <a:pt x="537" y="209"/>
                  </a:lnTo>
                  <a:lnTo>
                    <a:pt x="511" y="209"/>
                  </a:lnTo>
                  <a:lnTo>
                    <a:pt x="511" y="205"/>
                  </a:lnTo>
                  <a:lnTo>
                    <a:pt x="504" y="205"/>
                  </a:lnTo>
                  <a:lnTo>
                    <a:pt x="504" y="196"/>
                  </a:lnTo>
                  <a:lnTo>
                    <a:pt x="492" y="196"/>
                  </a:lnTo>
                  <a:lnTo>
                    <a:pt x="492" y="190"/>
                  </a:lnTo>
                  <a:lnTo>
                    <a:pt x="483" y="190"/>
                  </a:lnTo>
                  <a:lnTo>
                    <a:pt x="483" y="186"/>
                  </a:lnTo>
                  <a:lnTo>
                    <a:pt x="479" y="186"/>
                  </a:lnTo>
                  <a:lnTo>
                    <a:pt x="479" y="183"/>
                  </a:lnTo>
                  <a:lnTo>
                    <a:pt x="461" y="183"/>
                  </a:lnTo>
                  <a:lnTo>
                    <a:pt x="461" y="171"/>
                  </a:lnTo>
                  <a:lnTo>
                    <a:pt x="451" y="171"/>
                  </a:lnTo>
                  <a:lnTo>
                    <a:pt x="451" y="164"/>
                  </a:lnTo>
                  <a:lnTo>
                    <a:pt x="448" y="164"/>
                  </a:lnTo>
                  <a:lnTo>
                    <a:pt x="448" y="156"/>
                  </a:lnTo>
                  <a:lnTo>
                    <a:pt x="444" y="156"/>
                  </a:lnTo>
                  <a:lnTo>
                    <a:pt x="444" y="151"/>
                  </a:lnTo>
                  <a:lnTo>
                    <a:pt x="433" y="151"/>
                  </a:lnTo>
                  <a:lnTo>
                    <a:pt x="433" y="145"/>
                  </a:lnTo>
                  <a:lnTo>
                    <a:pt x="386" y="145"/>
                  </a:lnTo>
                  <a:lnTo>
                    <a:pt x="386" y="140"/>
                  </a:lnTo>
                  <a:lnTo>
                    <a:pt x="358" y="140"/>
                  </a:lnTo>
                  <a:lnTo>
                    <a:pt x="358" y="135"/>
                  </a:lnTo>
                  <a:lnTo>
                    <a:pt x="338" y="135"/>
                  </a:lnTo>
                  <a:lnTo>
                    <a:pt x="338" y="112"/>
                  </a:lnTo>
                  <a:lnTo>
                    <a:pt x="328" y="112"/>
                  </a:lnTo>
                  <a:lnTo>
                    <a:pt x="328" y="102"/>
                  </a:lnTo>
                  <a:lnTo>
                    <a:pt x="300" y="102"/>
                  </a:lnTo>
                  <a:lnTo>
                    <a:pt x="300" y="97"/>
                  </a:lnTo>
                  <a:lnTo>
                    <a:pt x="297" y="97"/>
                  </a:lnTo>
                  <a:lnTo>
                    <a:pt x="297" y="93"/>
                  </a:lnTo>
                  <a:lnTo>
                    <a:pt x="245" y="93"/>
                  </a:lnTo>
                  <a:lnTo>
                    <a:pt x="245" y="90"/>
                  </a:lnTo>
                  <a:lnTo>
                    <a:pt x="227" y="90"/>
                  </a:lnTo>
                  <a:lnTo>
                    <a:pt x="227" y="78"/>
                  </a:lnTo>
                  <a:lnTo>
                    <a:pt x="223" y="78"/>
                  </a:lnTo>
                  <a:lnTo>
                    <a:pt x="223" y="73"/>
                  </a:lnTo>
                  <a:lnTo>
                    <a:pt x="218" y="73"/>
                  </a:lnTo>
                  <a:lnTo>
                    <a:pt x="218" y="64"/>
                  </a:lnTo>
                  <a:lnTo>
                    <a:pt x="193" y="64"/>
                  </a:lnTo>
                  <a:lnTo>
                    <a:pt x="193" y="56"/>
                  </a:lnTo>
                  <a:lnTo>
                    <a:pt x="189" y="56"/>
                  </a:lnTo>
                  <a:lnTo>
                    <a:pt x="189" y="52"/>
                  </a:lnTo>
                  <a:lnTo>
                    <a:pt x="170" y="52"/>
                  </a:lnTo>
                  <a:lnTo>
                    <a:pt x="170" y="43"/>
                  </a:lnTo>
                  <a:lnTo>
                    <a:pt x="153" y="43"/>
                  </a:lnTo>
                  <a:lnTo>
                    <a:pt x="153" y="38"/>
                  </a:lnTo>
                  <a:lnTo>
                    <a:pt x="110" y="38"/>
                  </a:lnTo>
                  <a:lnTo>
                    <a:pt x="110" y="22"/>
                  </a:lnTo>
                  <a:lnTo>
                    <a:pt x="95" y="22"/>
                  </a:lnTo>
                  <a:lnTo>
                    <a:pt x="95" y="11"/>
                  </a:lnTo>
                  <a:lnTo>
                    <a:pt x="92" y="11"/>
                  </a:lnTo>
                  <a:lnTo>
                    <a:pt x="92" y="7"/>
                  </a:lnTo>
                  <a:lnTo>
                    <a:pt x="18" y="7"/>
                  </a:lnTo>
                  <a:lnTo>
                    <a:pt x="18" y="3"/>
                  </a:lnTo>
                  <a:lnTo>
                    <a:pt x="14" y="3"/>
                  </a:lnTo>
                  <a:lnTo>
                    <a:pt x="14" y="0"/>
                  </a:lnTo>
                  <a:lnTo>
                    <a:pt x="0" y="0"/>
                  </a:lnTo>
                </a:path>
              </a:pathLst>
            </a:custGeom>
            <a:solidFill>
              <a:srgbClr val="FFFFFF"/>
            </a:solidFill>
            <a:ln w="12700" cap="flat">
              <a:solidFill>
                <a:srgbClr val="D90DC1"/>
              </a:solidFill>
              <a:prstDash val="solid"/>
              <a:miter lim="800000"/>
              <a:headEnd/>
              <a:tailEnd/>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95" name="Oval 123">
              <a:extLst>
                <a:ext uri="{FF2B5EF4-FFF2-40B4-BE49-F238E27FC236}">
                  <a16:creationId xmlns:a16="http://schemas.microsoft.com/office/drawing/2014/main" id="{CF8AA623-824F-B3B4-86D0-C30B3710F8EA}"/>
                </a:ext>
              </a:extLst>
            </p:cNvPr>
            <p:cNvSpPr>
              <a:spLocks noChangeArrowheads="1"/>
            </p:cNvSpPr>
            <p:nvPr/>
          </p:nvSpPr>
          <p:spPr bwMode="auto">
            <a:xfrm>
              <a:off x="678136" y="2132823"/>
              <a:ext cx="19393" cy="29996"/>
            </a:xfrm>
            <a:prstGeom prst="ellipse">
              <a:avLst/>
            </a:prstGeom>
            <a:solidFill>
              <a:schemeClr val="tx2"/>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96" name="Oval 124">
              <a:extLst>
                <a:ext uri="{FF2B5EF4-FFF2-40B4-BE49-F238E27FC236}">
                  <a16:creationId xmlns:a16="http://schemas.microsoft.com/office/drawing/2014/main" id="{D9DD0102-4A54-4E13-1F18-B38817A44971}"/>
                </a:ext>
              </a:extLst>
            </p:cNvPr>
            <p:cNvSpPr>
              <a:spLocks noChangeArrowheads="1"/>
            </p:cNvSpPr>
            <p:nvPr/>
          </p:nvSpPr>
          <p:spPr bwMode="auto">
            <a:xfrm>
              <a:off x="667075" y="2132823"/>
              <a:ext cx="19393" cy="29996"/>
            </a:xfrm>
            <a:prstGeom prst="ellipse">
              <a:avLst/>
            </a:prstGeom>
            <a:solidFill>
              <a:schemeClr val="tx2"/>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97" name="Oval 125">
              <a:extLst>
                <a:ext uri="{FF2B5EF4-FFF2-40B4-BE49-F238E27FC236}">
                  <a16:creationId xmlns:a16="http://schemas.microsoft.com/office/drawing/2014/main" id="{3ABA74B5-E12F-DA08-A2FF-AE369A468442}"/>
                </a:ext>
              </a:extLst>
            </p:cNvPr>
            <p:cNvSpPr>
              <a:spLocks noChangeArrowheads="1"/>
            </p:cNvSpPr>
            <p:nvPr/>
          </p:nvSpPr>
          <p:spPr bwMode="auto">
            <a:xfrm>
              <a:off x="663671" y="2118801"/>
              <a:ext cx="19393" cy="29996"/>
            </a:xfrm>
            <a:prstGeom prst="ellipse">
              <a:avLst/>
            </a:prstGeom>
            <a:solidFill>
              <a:schemeClr val="tx2"/>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98" name="Oval 126">
              <a:extLst>
                <a:ext uri="{FF2B5EF4-FFF2-40B4-BE49-F238E27FC236}">
                  <a16:creationId xmlns:a16="http://schemas.microsoft.com/office/drawing/2014/main" id="{A44FE448-7097-9514-E94C-D8A2E3BABFB2}"/>
                </a:ext>
              </a:extLst>
            </p:cNvPr>
            <p:cNvSpPr>
              <a:spLocks noChangeArrowheads="1"/>
            </p:cNvSpPr>
            <p:nvPr/>
          </p:nvSpPr>
          <p:spPr bwMode="auto">
            <a:xfrm>
              <a:off x="658565" y="2115063"/>
              <a:ext cx="19393" cy="29996"/>
            </a:xfrm>
            <a:prstGeom prst="ellipse">
              <a:avLst/>
            </a:prstGeom>
            <a:solidFill>
              <a:schemeClr val="tx2"/>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99" name="Oval 127">
              <a:extLst>
                <a:ext uri="{FF2B5EF4-FFF2-40B4-BE49-F238E27FC236}">
                  <a16:creationId xmlns:a16="http://schemas.microsoft.com/office/drawing/2014/main" id="{14135465-D115-5B6C-8FFF-E81B5F0CCAEB}"/>
                </a:ext>
              </a:extLst>
            </p:cNvPr>
            <p:cNvSpPr>
              <a:spLocks noChangeArrowheads="1"/>
            </p:cNvSpPr>
            <p:nvPr/>
          </p:nvSpPr>
          <p:spPr bwMode="auto">
            <a:xfrm>
              <a:off x="576078" y="2101412"/>
              <a:ext cx="19393" cy="29996"/>
            </a:xfrm>
            <a:prstGeom prst="ellipse">
              <a:avLst/>
            </a:prstGeom>
            <a:solidFill>
              <a:schemeClr val="tx2"/>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0" name="Oval 34">
              <a:extLst>
                <a:ext uri="{FF2B5EF4-FFF2-40B4-BE49-F238E27FC236}">
                  <a16:creationId xmlns:a16="http://schemas.microsoft.com/office/drawing/2014/main" id="{0B58ED29-0273-7618-E519-74228AF88C48}"/>
                </a:ext>
              </a:extLst>
            </p:cNvPr>
            <p:cNvSpPr>
              <a:spLocks noChangeArrowheads="1"/>
            </p:cNvSpPr>
            <p:nvPr/>
          </p:nvSpPr>
          <p:spPr bwMode="auto">
            <a:xfrm>
              <a:off x="2979094" y="3261099"/>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1" name="Oval 35">
              <a:extLst>
                <a:ext uri="{FF2B5EF4-FFF2-40B4-BE49-F238E27FC236}">
                  <a16:creationId xmlns:a16="http://schemas.microsoft.com/office/drawing/2014/main" id="{60107D67-A109-BAD6-E4D9-771AF1001BCB}"/>
                </a:ext>
              </a:extLst>
            </p:cNvPr>
            <p:cNvSpPr>
              <a:spLocks noChangeArrowheads="1"/>
            </p:cNvSpPr>
            <p:nvPr/>
          </p:nvSpPr>
          <p:spPr bwMode="auto">
            <a:xfrm>
              <a:off x="2968031" y="3261099"/>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2" name="Oval 36">
              <a:extLst>
                <a:ext uri="{FF2B5EF4-FFF2-40B4-BE49-F238E27FC236}">
                  <a16:creationId xmlns:a16="http://schemas.microsoft.com/office/drawing/2014/main" id="{1DC6690D-0BA7-9A1B-EFC9-F06F7EBE1A17}"/>
                </a:ext>
              </a:extLst>
            </p:cNvPr>
            <p:cNvSpPr>
              <a:spLocks noChangeArrowheads="1"/>
            </p:cNvSpPr>
            <p:nvPr/>
          </p:nvSpPr>
          <p:spPr bwMode="auto">
            <a:xfrm>
              <a:off x="2858259" y="3261099"/>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3" name="Oval 37">
              <a:extLst>
                <a:ext uri="{FF2B5EF4-FFF2-40B4-BE49-F238E27FC236}">
                  <a16:creationId xmlns:a16="http://schemas.microsoft.com/office/drawing/2014/main" id="{2DDB960D-ED85-1AA8-B795-47661E193288}"/>
                </a:ext>
              </a:extLst>
            </p:cNvPr>
            <p:cNvSpPr>
              <a:spLocks noChangeArrowheads="1"/>
            </p:cNvSpPr>
            <p:nvPr/>
          </p:nvSpPr>
          <p:spPr bwMode="auto">
            <a:xfrm>
              <a:off x="2796991" y="3261099"/>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4" name="Oval 38">
              <a:extLst>
                <a:ext uri="{FF2B5EF4-FFF2-40B4-BE49-F238E27FC236}">
                  <a16:creationId xmlns:a16="http://schemas.microsoft.com/office/drawing/2014/main" id="{2104C41C-F929-016F-1284-DCFF10716F45}"/>
                </a:ext>
              </a:extLst>
            </p:cNvPr>
            <p:cNvSpPr>
              <a:spLocks noChangeArrowheads="1"/>
            </p:cNvSpPr>
            <p:nvPr/>
          </p:nvSpPr>
          <p:spPr bwMode="auto">
            <a:xfrm>
              <a:off x="2781674" y="3261099"/>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5" name="Oval 39">
              <a:extLst>
                <a:ext uri="{FF2B5EF4-FFF2-40B4-BE49-F238E27FC236}">
                  <a16:creationId xmlns:a16="http://schemas.microsoft.com/office/drawing/2014/main" id="{F389E0B1-6667-C59F-1650-2D3783231B59}"/>
                </a:ext>
              </a:extLst>
            </p:cNvPr>
            <p:cNvSpPr>
              <a:spLocks noChangeArrowheads="1"/>
            </p:cNvSpPr>
            <p:nvPr/>
          </p:nvSpPr>
          <p:spPr bwMode="auto">
            <a:xfrm>
              <a:off x="2773165" y="3261099"/>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6" name="Oval 40">
              <a:extLst>
                <a:ext uri="{FF2B5EF4-FFF2-40B4-BE49-F238E27FC236}">
                  <a16:creationId xmlns:a16="http://schemas.microsoft.com/office/drawing/2014/main" id="{519EE305-5A78-CA5B-9075-C3E4F7628D2D}"/>
                </a:ext>
              </a:extLst>
            </p:cNvPr>
            <p:cNvSpPr>
              <a:spLocks noChangeArrowheads="1"/>
            </p:cNvSpPr>
            <p:nvPr/>
          </p:nvSpPr>
          <p:spPr bwMode="auto">
            <a:xfrm>
              <a:off x="2691474" y="3242403"/>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7" name="Oval 41">
              <a:extLst>
                <a:ext uri="{FF2B5EF4-FFF2-40B4-BE49-F238E27FC236}">
                  <a16:creationId xmlns:a16="http://schemas.microsoft.com/office/drawing/2014/main" id="{2D0F262F-6E2E-E59E-DCDA-089DA9A36F6A}"/>
                </a:ext>
              </a:extLst>
            </p:cNvPr>
            <p:cNvSpPr>
              <a:spLocks noChangeArrowheads="1"/>
            </p:cNvSpPr>
            <p:nvPr/>
          </p:nvSpPr>
          <p:spPr bwMode="auto">
            <a:xfrm>
              <a:off x="2644671" y="3242403"/>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8" name="Oval 42">
              <a:extLst>
                <a:ext uri="{FF2B5EF4-FFF2-40B4-BE49-F238E27FC236}">
                  <a16:creationId xmlns:a16="http://schemas.microsoft.com/office/drawing/2014/main" id="{9ADF2991-9E03-1A06-E0CE-691E9A80DD5D}"/>
                </a:ext>
              </a:extLst>
            </p:cNvPr>
            <p:cNvSpPr>
              <a:spLocks noChangeArrowheads="1"/>
            </p:cNvSpPr>
            <p:nvPr/>
          </p:nvSpPr>
          <p:spPr bwMode="auto">
            <a:xfrm>
              <a:off x="2628504" y="3242403"/>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9" name="Oval 43">
              <a:extLst>
                <a:ext uri="{FF2B5EF4-FFF2-40B4-BE49-F238E27FC236}">
                  <a16:creationId xmlns:a16="http://schemas.microsoft.com/office/drawing/2014/main" id="{99CC6C5E-AA66-244C-A75B-EACB2B8B2E7F}"/>
                </a:ext>
              </a:extLst>
            </p:cNvPr>
            <p:cNvSpPr>
              <a:spLocks noChangeArrowheads="1"/>
            </p:cNvSpPr>
            <p:nvPr/>
          </p:nvSpPr>
          <p:spPr bwMode="auto">
            <a:xfrm>
              <a:off x="2592764" y="3242403"/>
              <a:ext cx="19393" cy="29996"/>
            </a:xfrm>
            <a:prstGeom prst="ellipse">
              <a:avLst/>
            </a:prstGeom>
            <a:solidFill>
              <a:schemeClr val="accent6">
                <a:lumMod val="60000"/>
                <a:lumOff val="40000"/>
              </a:schemeClr>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10" name="Oval 44">
              <a:extLst>
                <a:ext uri="{FF2B5EF4-FFF2-40B4-BE49-F238E27FC236}">
                  <a16:creationId xmlns:a16="http://schemas.microsoft.com/office/drawing/2014/main" id="{B63C975B-FC88-053E-5717-DA8F070AF85F}"/>
                </a:ext>
              </a:extLst>
            </p:cNvPr>
            <p:cNvSpPr>
              <a:spLocks noChangeArrowheads="1"/>
            </p:cNvSpPr>
            <p:nvPr/>
          </p:nvSpPr>
          <p:spPr bwMode="auto">
            <a:xfrm>
              <a:off x="2587658" y="3242403"/>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11" name="Oval 45">
              <a:extLst>
                <a:ext uri="{FF2B5EF4-FFF2-40B4-BE49-F238E27FC236}">
                  <a16:creationId xmlns:a16="http://schemas.microsoft.com/office/drawing/2014/main" id="{B742433B-2C4D-242C-AFE3-B7C71872F206}"/>
                </a:ext>
              </a:extLst>
            </p:cNvPr>
            <p:cNvSpPr>
              <a:spLocks noChangeArrowheads="1"/>
            </p:cNvSpPr>
            <p:nvPr/>
          </p:nvSpPr>
          <p:spPr bwMode="auto">
            <a:xfrm>
              <a:off x="2452358" y="3242403"/>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12" name="Oval 129">
              <a:extLst>
                <a:ext uri="{FF2B5EF4-FFF2-40B4-BE49-F238E27FC236}">
                  <a16:creationId xmlns:a16="http://schemas.microsoft.com/office/drawing/2014/main" id="{8F65A657-BB9E-2148-EED3-C6DE9BCB8D9A}"/>
                </a:ext>
              </a:extLst>
            </p:cNvPr>
            <p:cNvSpPr>
              <a:spLocks noChangeArrowheads="1"/>
            </p:cNvSpPr>
            <p:nvPr/>
          </p:nvSpPr>
          <p:spPr bwMode="auto">
            <a:xfrm>
              <a:off x="2021780" y="3217163"/>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13" name="Oval 130">
              <a:extLst>
                <a:ext uri="{FF2B5EF4-FFF2-40B4-BE49-F238E27FC236}">
                  <a16:creationId xmlns:a16="http://schemas.microsoft.com/office/drawing/2014/main" id="{93A85C0A-3BF8-BC0A-516E-FA98AD19120E}"/>
                </a:ext>
              </a:extLst>
            </p:cNvPr>
            <p:cNvSpPr>
              <a:spLocks noChangeArrowheads="1"/>
            </p:cNvSpPr>
            <p:nvPr/>
          </p:nvSpPr>
          <p:spPr bwMode="auto">
            <a:xfrm>
              <a:off x="1691613" y="3124620"/>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14" name="Oval 131">
              <a:extLst>
                <a:ext uri="{FF2B5EF4-FFF2-40B4-BE49-F238E27FC236}">
                  <a16:creationId xmlns:a16="http://schemas.microsoft.com/office/drawing/2014/main" id="{11283F72-409A-AB70-ECF4-87A723870375}"/>
                </a:ext>
              </a:extLst>
            </p:cNvPr>
            <p:cNvSpPr>
              <a:spLocks noChangeArrowheads="1"/>
            </p:cNvSpPr>
            <p:nvPr/>
          </p:nvSpPr>
          <p:spPr bwMode="auto">
            <a:xfrm>
              <a:off x="1641407" y="3124620"/>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15" name="Oval 132">
              <a:extLst>
                <a:ext uri="{FF2B5EF4-FFF2-40B4-BE49-F238E27FC236}">
                  <a16:creationId xmlns:a16="http://schemas.microsoft.com/office/drawing/2014/main" id="{3B1E27E6-5BE6-65BD-3F54-D660D83C2B6A}"/>
                </a:ext>
              </a:extLst>
            </p:cNvPr>
            <p:cNvSpPr>
              <a:spLocks noChangeArrowheads="1"/>
            </p:cNvSpPr>
            <p:nvPr/>
          </p:nvSpPr>
          <p:spPr bwMode="auto">
            <a:xfrm>
              <a:off x="1396334" y="3040491"/>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18" name="Oval 135">
              <a:extLst>
                <a:ext uri="{FF2B5EF4-FFF2-40B4-BE49-F238E27FC236}">
                  <a16:creationId xmlns:a16="http://schemas.microsoft.com/office/drawing/2014/main" id="{9FC50F21-C955-26C5-8FA1-B4544739D8F6}"/>
                </a:ext>
              </a:extLst>
            </p:cNvPr>
            <p:cNvSpPr>
              <a:spLocks noChangeArrowheads="1"/>
            </p:cNvSpPr>
            <p:nvPr/>
          </p:nvSpPr>
          <p:spPr bwMode="auto">
            <a:xfrm>
              <a:off x="845773" y="2432887"/>
              <a:ext cx="19393" cy="29996"/>
            </a:xfrm>
            <a:prstGeom prst="ellipse">
              <a:avLst/>
            </a:prstGeom>
            <a:solidFill>
              <a:schemeClr val="tx2"/>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19" name="Oval 136">
              <a:extLst>
                <a:ext uri="{FF2B5EF4-FFF2-40B4-BE49-F238E27FC236}">
                  <a16:creationId xmlns:a16="http://schemas.microsoft.com/office/drawing/2014/main" id="{0C528C38-585E-D836-98AB-F25FC47BE1FA}"/>
                </a:ext>
              </a:extLst>
            </p:cNvPr>
            <p:cNvSpPr>
              <a:spLocks noChangeArrowheads="1"/>
            </p:cNvSpPr>
            <p:nvPr/>
          </p:nvSpPr>
          <p:spPr bwMode="auto">
            <a:xfrm>
              <a:off x="772592" y="2375865"/>
              <a:ext cx="19393" cy="29996"/>
            </a:xfrm>
            <a:prstGeom prst="ellipse">
              <a:avLst/>
            </a:prstGeom>
            <a:solidFill>
              <a:schemeClr val="tx1"/>
            </a:solidFill>
            <a:ln>
              <a:noFill/>
            </a:ln>
          </p:spPr>
          <p:txBody>
            <a:bodyPr vert="horz" wrap="square" lIns="69116" tIns="34559" rIns="69116" bIns="34559" numCol="1" anchor="t" anchorCtr="0" compatLnSpc="1">
              <a:prstTxWarp prst="textNoShape">
                <a:avLst/>
              </a:prstTxWarp>
            </a:bodyPr>
            <a:lstStyle/>
            <a:p>
              <a:pPr marL="0" marR="0" lvl="0" indent="0" algn="l" defTabSz="34558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533" name="Group 532">
            <a:extLst>
              <a:ext uri="{FF2B5EF4-FFF2-40B4-BE49-F238E27FC236}">
                <a16:creationId xmlns:a16="http://schemas.microsoft.com/office/drawing/2014/main" id="{92AD8C6F-9C69-C32F-9D7F-70EE2919989C}"/>
              </a:ext>
            </a:extLst>
          </p:cNvPr>
          <p:cNvGrpSpPr/>
          <p:nvPr/>
        </p:nvGrpSpPr>
        <p:grpSpPr>
          <a:xfrm>
            <a:off x="3346903" y="1593595"/>
            <a:ext cx="2876427" cy="2738154"/>
            <a:chOff x="3383113" y="1394428"/>
            <a:chExt cx="2876427" cy="2738152"/>
          </a:xfrm>
        </p:grpSpPr>
        <p:sp>
          <p:nvSpPr>
            <p:cNvPr id="30" name="Rectangle: Rounded Corners 248">
              <a:extLst>
                <a:ext uri="{FF2B5EF4-FFF2-40B4-BE49-F238E27FC236}">
                  <a16:creationId xmlns:a16="http://schemas.microsoft.com/office/drawing/2014/main" id="{53357537-5B8E-EF8F-5D3D-7294C447F796}"/>
                </a:ext>
              </a:extLst>
            </p:cNvPr>
            <p:cNvSpPr/>
            <p:nvPr/>
          </p:nvSpPr>
          <p:spPr>
            <a:xfrm>
              <a:off x="3432386" y="1394428"/>
              <a:ext cx="2827153" cy="360000"/>
            </a:xfrm>
            <a:prstGeom prst="rect">
              <a:avLst/>
            </a:prstGeom>
            <a:solidFill>
              <a:srgbClr val="EFAC00"/>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lIns="72000" rIns="72000"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PRIMA</a:t>
              </a:r>
              <a:r>
                <a:rPr kumimoji="0" lang="en-US" sz="1800" b="1" i="0" u="none" strike="noStrike" kern="1200" cap="none" spc="0" normalizeH="0" baseline="30000" noProof="0" dirty="0">
                  <a:ln>
                    <a:noFill/>
                  </a:ln>
                  <a:solidFill>
                    <a:srgbClr val="FFFFFF"/>
                  </a:solidFill>
                  <a:effectLst/>
                  <a:uLnTx/>
                  <a:uFillTx/>
                  <a:latin typeface="Arial"/>
                  <a:ea typeface="+mn-ea"/>
                  <a:cs typeface="+mn-cs"/>
                </a:rPr>
                <a:t>2,3</a:t>
              </a:r>
              <a:endParaRPr kumimoji="0" lang="en-US" sz="1800" b="0" i="0" u="none" strike="noStrike" kern="1200" cap="none" spc="0" normalizeH="0" baseline="30000" noProof="0" dirty="0">
                <a:ln>
                  <a:noFill/>
                </a:ln>
                <a:solidFill>
                  <a:srgbClr val="FFFFFF"/>
                </a:solidFill>
                <a:effectLst/>
                <a:uLnTx/>
                <a:uFillTx/>
                <a:latin typeface="Proxima Nova Rg"/>
                <a:ea typeface="+mn-ea"/>
                <a:cs typeface="+mn-cs"/>
              </a:endParaRPr>
            </a:p>
          </p:txBody>
        </p:sp>
        <p:grpSp>
          <p:nvGrpSpPr>
            <p:cNvPr id="10" name="Group 9">
              <a:extLst>
                <a:ext uri="{FF2B5EF4-FFF2-40B4-BE49-F238E27FC236}">
                  <a16:creationId xmlns:a16="http://schemas.microsoft.com/office/drawing/2014/main" id="{0AFEEB4C-64EF-71D1-6433-03FBD44AA7C9}"/>
                </a:ext>
              </a:extLst>
            </p:cNvPr>
            <p:cNvGrpSpPr/>
            <p:nvPr/>
          </p:nvGrpSpPr>
          <p:grpSpPr>
            <a:xfrm>
              <a:off x="3383113" y="3856046"/>
              <a:ext cx="2855771" cy="276534"/>
              <a:chOff x="441136" y="4761739"/>
              <a:chExt cx="2949520" cy="371867"/>
            </a:xfrm>
          </p:grpSpPr>
          <p:sp>
            <p:nvSpPr>
              <p:cNvPr id="11" name="TextBox 10">
                <a:extLst>
                  <a:ext uri="{FF2B5EF4-FFF2-40B4-BE49-F238E27FC236}">
                    <a16:creationId xmlns:a16="http://schemas.microsoft.com/office/drawing/2014/main" id="{6C8F2438-B62E-5404-4DC0-9BBD12B46A72}"/>
                  </a:ext>
                </a:extLst>
              </p:cNvPr>
              <p:cNvSpPr txBox="1"/>
              <p:nvPr/>
            </p:nvSpPr>
            <p:spPr>
              <a:xfrm>
                <a:off x="783345"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52</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71</a:t>
                </a:r>
              </a:p>
            </p:txBody>
          </p:sp>
          <p:sp>
            <p:nvSpPr>
              <p:cNvPr id="12" name="TextBox 11">
                <a:extLst>
                  <a:ext uri="{FF2B5EF4-FFF2-40B4-BE49-F238E27FC236}">
                    <a16:creationId xmlns:a16="http://schemas.microsoft.com/office/drawing/2014/main" id="{A692DCEF-D3E1-8A9B-F956-818529E1E484}"/>
                  </a:ext>
                </a:extLst>
              </p:cNvPr>
              <p:cNvSpPr txBox="1"/>
              <p:nvPr/>
            </p:nvSpPr>
            <p:spPr>
              <a:xfrm>
                <a:off x="957861"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48</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65</a:t>
                </a:r>
              </a:p>
            </p:txBody>
          </p:sp>
          <p:sp>
            <p:nvSpPr>
              <p:cNvPr id="13" name="TextBox 12">
                <a:extLst>
                  <a:ext uri="{FF2B5EF4-FFF2-40B4-BE49-F238E27FC236}">
                    <a16:creationId xmlns:a16="http://schemas.microsoft.com/office/drawing/2014/main" id="{6CD2B198-83DC-72B9-ED01-2B8AA2FC32E1}"/>
                  </a:ext>
                </a:extLst>
              </p:cNvPr>
              <p:cNvSpPr txBox="1"/>
              <p:nvPr/>
            </p:nvSpPr>
            <p:spPr>
              <a:xfrm>
                <a:off x="1132382"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40</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57</a:t>
                </a:r>
              </a:p>
            </p:txBody>
          </p:sp>
          <p:sp>
            <p:nvSpPr>
              <p:cNvPr id="14" name="TextBox 13">
                <a:extLst>
                  <a:ext uri="{FF2B5EF4-FFF2-40B4-BE49-F238E27FC236}">
                    <a16:creationId xmlns:a16="http://schemas.microsoft.com/office/drawing/2014/main" id="{94019B08-4086-C9AF-88E8-3F8F3679E72C}"/>
                  </a:ext>
                </a:extLst>
              </p:cNvPr>
              <p:cNvSpPr txBox="1"/>
              <p:nvPr/>
            </p:nvSpPr>
            <p:spPr>
              <a:xfrm>
                <a:off x="1306901"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27</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44</a:t>
                </a:r>
              </a:p>
            </p:txBody>
          </p:sp>
          <p:sp>
            <p:nvSpPr>
              <p:cNvPr id="15" name="TextBox 14">
                <a:extLst>
                  <a:ext uri="{FF2B5EF4-FFF2-40B4-BE49-F238E27FC236}">
                    <a16:creationId xmlns:a16="http://schemas.microsoft.com/office/drawing/2014/main" id="{8C876172-5421-EE88-758A-43069DC1F714}"/>
                  </a:ext>
                </a:extLst>
              </p:cNvPr>
              <p:cNvSpPr txBox="1"/>
              <p:nvPr/>
            </p:nvSpPr>
            <p:spPr>
              <a:xfrm>
                <a:off x="1481421"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25</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41</a:t>
                </a:r>
              </a:p>
            </p:txBody>
          </p:sp>
          <p:sp>
            <p:nvSpPr>
              <p:cNvPr id="16" name="TextBox 15">
                <a:extLst>
                  <a:ext uri="{FF2B5EF4-FFF2-40B4-BE49-F238E27FC236}">
                    <a16:creationId xmlns:a16="http://schemas.microsoft.com/office/drawing/2014/main" id="{1F7F498D-4B1A-8DFA-CDB2-2307039559B6}"/>
                  </a:ext>
                </a:extLst>
              </p:cNvPr>
              <p:cNvSpPr txBox="1"/>
              <p:nvPr/>
            </p:nvSpPr>
            <p:spPr>
              <a:xfrm>
                <a:off x="1655936"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13</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34</a:t>
                </a:r>
              </a:p>
            </p:txBody>
          </p:sp>
          <p:sp>
            <p:nvSpPr>
              <p:cNvPr id="17" name="TextBox 16">
                <a:extLst>
                  <a:ext uri="{FF2B5EF4-FFF2-40B4-BE49-F238E27FC236}">
                    <a16:creationId xmlns:a16="http://schemas.microsoft.com/office/drawing/2014/main" id="{C2A4736F-C2E5-A27D-5DD9-714F5D18B051}"/>
                  </a:ext>
                </a:extLst>
              </p:cNvPr>
              <p:cNvSpPr txBox="1"/>
              <p:nvPr/>
            </p:nvSpPr>
            <p:spPr>
              <a:xfrm>
                <a:off x="1830456"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77</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1</a:t>
                </a:r>
              </a:p>
            </p:txBody>
          </p:sp>
          <p:sp>
            <p:nvSpPr>
              <p:cNvPr id="18" name="TextBox 17">
                <a:extLst>
                  <a:ext uri="{FF2B5EF4-FFF2-40B4-BE49-F238E27FC236}">
                    <a16:creationId xmlns:a16="http://schemas.microsoft.com/office/drawing/2014/main" id="{02326B13-0140-5240-169C-8D58D3DF4E39}"/>
                  </a:ext>
                </a:extLst>
              </p:cNvPr>
              <p:cNvSpPr txBox="1"/>
              <p:nvPr/>
            </p:nvSpPr>
            <p:spPr>
              <a:xfrm>
                <a:off x="2004975"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55</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4</a:t>
                </a:r>
              </a:p>
            </p:txBody>
          </p:sp>
          <p:sp>
            <p:nvSpPr>
              <p:cNvPr id="19" name="TextBox 18">
                <a:extLst>
                  <a:ext uri="{FF2B5EF4-FFF2-40B4-BE49-F238E27FC236}">
                    <a16:creationId xmlns:a16="http://schemas.microsoft.com/office/drawing/2014/main" id="{4CFE7F19-E486-E9D0-CA34-D07FC4FB3B2C}"/>
                  </a:ext>
                </a:extLst>
              </p:cNvPr>
              <p:cNvSpPr txBox="1"/>
              <p:nvPr/>
            </p:nvSpPr>
            <p:spPr>
              <a:xfrm>
                <a:off x="2179496"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48</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4</a:t>
                </a:r>
              </a:p>
            </p:txBody>
          </p:sp>
          <p:sp>
            <p:nvSpPr>
              <p:cNvPr id="20" name="TextBox 19">
                <a:extLst>
                  <a:ext uri="{FF2B5EF4-FFF2-40B4-BE49-F238E27FC236}">
                    <a16:creationId xmlns:a16="http://schemas.microsoft.com/office/drawing/2014/main" id="{B90B300D-0404-47CF-1B85-75BFD144139C}"/>
                  </a:ext>
                </a:extLst>
              </p:cNvPr>
              <p:cNvSpPr txBox="1"/>
              <p:nvPr/>
            </p:nvSpPr>
            <p:spPr>
              <a:xfrm>
                <a:off x="2354013"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9</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7</a:t>
                </a:r>
              </a:p>
            </p:txBody>
          </p:sp>
          <p:sp>
            <p:nvSpPr>
              <p:cNvPr id="21" name="TextBox 20">
                <a:extLst>
                  <a:ext uri="{FF2B5EF4-FFF2-40B4-BE49-F238E27FC236}">
                    <a16:creationId xmlns:a16="http://schemas.microsoft.com/office/drawing/2014/main" id="{6283A884-8335-4E5E-A3C3-3141192B40BD}"/>
                  </a:ext>
                </a:extLst>
              </p:cNvPr>
              <p:cNvSpPr txBox="1"/>
              <p:nvPr/>
            </p:nvSpPr>
            <p:spPr>
              <a:xfrm>
                <a:off x="2528531"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5</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a:t>
                </a:r>
              </a:p>
            </p:txBody>
          </p:sp>
          <p:sp>
            <p:nvSpPr>
              <p:cNvPr id="22" name="TextBox 21">
                <a:extLst>
                  <a:ext uri="{FF2B5EF4-FFF2-40B4-BE49-F238E27FC236}">
                    <a16:creationId xmlns:a16="http://schemas.microsoft.com/office/drawing/2014/main" id="{2ABA519C-C841-31B0-DD16-4AF268702EDD}"/>
                  </a:ext>
                </a:extLst>
              </p:cNvPr>
              <p:cNvSpPr txBox="1"/>
              <p:nvPr/>
            </p:nvSpPr>
            <p:spPr>
              <a:xfrm>
                <a:off x="2703050"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4</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a:t>
                </a:r>
              </a:p>
            </p:txBody>
          </p:sp>
          <p:sp>
            <p:nvSpPr>
              <p:cNvPr id="23" name="TextBox 22">
                <a:extLst>
                  <a:ext uri="{FF2B5EF4-FFF2-40B4-BE49-F238E27FC236}">
                    <a16:creationId xmlns:a16="http://schemas.microsoft.com/office/drawing/2014/main" id="{4CF1052A-1473-EEF3-0C56-55FBBFA30886}"/>
                  </a:ext>
                </a:extLst>
              </p:cNvPr>
              <p:cNvSpPr txBox="1"/>
              <p:nvPr/>
            </p:nvSpPr>
            <p:spPr>
              <a:xfrm>
                <a:off x="2877570"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0</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a:t>
                </a:r>
              </a:p>
            </p:txBody>
          </p:sp>
          <p:sp>
            <p:nvSpPr>
              <p:cNvPr id="24" name="TextBox 23">
                <a:extLst>
                  <a:ext uri="{FF2B5EF4-FFF2-40B4-BE49-F238E27FC236}">
                    <a16:creationId xmlns:a16="http://schemas.microsoft.com/office/drawing/2014/main" id="{2CF159D4-D9EB-08F6-0F27-4DA5EBE54630}"/>
                  </a:ext>
                </a:extLst>
              </p:cNvPr>
              <p:cNvSpPr txBox="1"/>
              <p:nvPr/>
            </p:nvSpPr>
            <p:spPr>
              <a:xfrm>
                <a:off x="3052088" y="4885276"/>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4</a:t>
                </a:r>
              </a:p>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a:t>
                </a:r>
              </a:p>
            </p:txBody>
          </p:sp>
          <p:sp>
            <p:nvSpPr>
              <p:cNvPr id="25" name="TextBox 24">
                <a:extLst>
                  <a:ext uri="{FF2B5EF4-FFF2-40B4-BE49-F238E27FC236}">
                    <a16:creationId xmlns:a16="http://schemas.microsoft.com/office/drawing/2014/main" id="{736BDCBC-2BFF-ED9C-54F0-CE2C55A37991}"/>
                  </a:ext>
                </a:extLst>
              </p:cNvPr>
              <p:cNvSpPr txBox="1"/>
              <p:nvPr/>
            </p:nvSpPr>
            <p:spPr>
              <a:xfrm>
                <a:off x="441136" y="4761739"/>
                <a:ext cx="567495" cy="124164"/>
              </a:xfrm>
              <a:prstGeom prst="rect">
                <a:avLst/>
              </a:prstGeom>
              <a:noFill/>
            </p:spPr>
            <p:txBody>
              <a:bodyPr wrap="square" lIns="0" tIns="0" rIns="0" bIns="0" rtlCol="0" anchor="ctr">
                <a:spAutoFit/>
              </a:bodyPr>
              <a:lstStyle/>
              <a:p>
                <a:pPr marL="0" marR="0" lvl="0" indent="0" algn="l" defTabSz="914286"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No. at risk</a:t>
                </a:r>
              </a:p>
            </p:txBody>
          </p:sp>
          <p:sp>
            <p:nvSpPr>
              <p:cNvPr id="26" name="TextBox 25">
                <a:extLst>
                  <a:ext uri="{FF2B5EF4-FFF2-40B4-BE49-F238E27FC236}">
                    <a16:creationId xmlns:a16="http://schemas.microsoft.com/office/drawing/2014/main" id="{B7E0ABEA-9549-1117-E4C7-1E00F23D6F06}"/>
                  </a:ext>
                </a:extLst>
              </p:cNvPr>
              <p:cNvSpPr txBox="1"/>
              <p:nvPr/>
            </p:nvSpPr>
            <p:spPr>
              <a:xfrm>
                <a:off x="446538" y="4885276"/>
                <a:ext cx="348186" cy="248328"/>
              </a:xfrm>
              <a:prstGeom prst="rect">
                <a:avLst/>
              </a:prstGeom>
              <a:noFill/>
            </p:spPr>
            <p:txBody>
              <a:bodyPr wrap="square" lIns="0" tIns="0" rIns="0" bIns="0" rtlCol="0">
                <a:spAutoFit/>
              </a:bodyPr>
              <a:lstStyle/>
              <a:p>
                <a:pPr marL="0" marR="0" lvl="0" indent="0" algn="l"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Niraparib</a:t>
                </a:r>
              </a:p>
              <a:p>
                <a:pPr marL="0" marR="0" lvl="0" indent="0" algn="l"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lacebo</a:t>
                </a:r>
              </a:p>
            </p:txBody>
          </p:sp>
          <p:sp>
            <p:nvSpPr>
              <p:cNvPr id="27" name="TextBox 26">
                <a:extLst>
                  <a:ext uri="{FF2B5EF4-FFF2-40B4-BE49-F238E27FC236}">
                    <a16:creationId xmlns:a16="http://schemas.microsoft.com/office/drawing/2014/main" id="{E8A013DA-187E-BC5D-1E36-6EA89841A658}"/>
                  </a:ext>
                </a:extLst>
              </p:cNvPr>
              <p:cNvSpPr txBox="1"/>
              <p:nvPr/>
            </p:nvSpPr>
            <p:spPr>
              <a:xfrm>
                <a:off x="3219627" y="4885278"/>
                <a:ext cx="171029" cy="248328"/>
              </a:xfrm>
              <a:prstGeom prst="rect">
                <a:avLst/>
              </a:prstGeom>
              <a:noFill/>
            </p:spPr>
            <p:txBody>
              <a:bodyPr wrap="square" lIns="0" tIns="0" rIns="0" bIns="0" rtlCol="0">
                <a:spAutoFit/>
              </a:bodyPr>
              <a:lstStyle/>
              <a:p>
                <a:pPr marL="0" marR="0" lvl="0" indent="0" algn="ctr" defTabSz="914286"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0</a:t>
                </a:r>
                <a:b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0</a:t>
                </a:r>
              </a:p>
            </p:txBody>
          </p:sp>
        </p:grpSp>
        <p:sp>
          <p:nvSpPr>
            <p:cNvPr id="82" name="TextBox 81">
              <a:extLst>
                <a:ext uri="{FF2B5EF4-FFF2-40B4-BE49-F238E27FC236}">
                  <a16:creationId xmlns:a16="http://schemas.microsoft.com/office/drawing/2014/main" id="{1022B0AF-6E38-1EFE-D74C-017F61BEE1A9}"/>
                </a:ext>
              </a:extLst>
            </p:cNvPr>
            <p:cNvSpPr txBox="1"/>
            <p:nvPr/>
          </p:nvSpPr>
          <p:spPr>
            <a:xfrm>
              <a:off x="3753308" y="3636341"/>
              <a:ext cx="84587"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0</a:t>
              </a:r>
            </a:p>
          </p:txBody>
        </p:sp>
        <p:sp>
          <p:nvSpPr>
            <p:cNvPr id="83" name="TextBox 82">
              <a:extLst>
                <a:ext uri="{FF2B5EF4-FFF2-40B4-BE49-F238E27FC236}">
                  <a16:creationId xmlns:a16="http://schemas.microsoft.com/office/drawing/2014/main" id="{B071136C-4F7D-5B14-64D9-7DDDA3E0F6E1}"/>
                </a:ext>
              </a:extLst>
            </p:cNvPr>
            <p:cNvSpPr txBox="1"/>
            <p:nvPr/>
          </p:nvSpPr>
          <p:spPr>
            <a:xfrm>
              <a:off x="3878625"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a:t>
              </a:r>
            </a:p>
          </p:txBody>
        </p:sp>
        <p:sp>
          <p:nvSpPr>
            <p:cNvPr id="84" name="TextBox 83">
              <a:extLst>
                <a:ext uri="{FF2B5EF4-FFF2-40B4-BE49-F238E27FC236}">
                  <a16:creationId xmlns:a16="http://schemas.microsoft.com/office/drawing/2014/main" id="{2A5FA552-794B-0407-B0F5-1255EB2C01B9}"/>
                </a:ext>
              </a:extLst>
            </p:cNvPr>
            <p:cNvSpPr txBox="1"/>
            <p:nvPr/>
          </p:nvSpPr>
          <p:spPr>
            <a:xfrm>
              <a:off x="4051338"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4</a:t>
              </a:r>
            </a:p>
          </p:txBody>
        </p:sp>
        <p:sp>
          <p:nvSpPr>
            <p:cNvPr id="85" name="TextBox 84">
              <a:extLst>
                <a:ext uri="{FF2B5EF4-FFF2-40B4-BE49-F238E27FC236}">
                  <a16:creationId xmlns:a16="http://schemas.microsoft.com/office/drawing/2014/main" id="{48D17216-BE14-B3B1-226E-15A94C007DB1}"/>
                </a:ext>
              </a:extLst>
            </p:cNvPr>
            <p:cNvSpPr txBox="1"/>
            <p:nvPr/>
          </p:nvSpPr>
          <p:spPr>
            <a:xfrm>
              <a:off x="4218232"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6</a:t>
              </a:r>
            </a:p>
          </p:txBody>
        </p:sp>
        <p:sp>
          <p:nvSpPr>
            <p:cNvPr id="86" name="TextBox 85">
              <a:extLst>
                <a:ext uri="{FF2B5EF4-FFF2-40B4-BE49-F238E27FC236}">
                  <a16:creationId xmlns:a16="http://schemas.microsoft.com/office/drawing/2014/main" id="{23683230-AFEE-687F-FAC7-96F21E3541BD}"/>
                </a:ext>
              </a:extLst>
            </p:cNvPr>
            <p:cNvSpPr txBox="1"/>
            <p:nvPr/>
          </p:nvSpPr>
          <p:spPr>
            <a:xfrm>
              <a:off x="4387276"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8</a:t>
              </a:r>
            </a:p>
          </p:txBody>
        </p:sp>
        <p:sp>
          <p:nvSpPr>
            <p:cNvPr id="87" name="TextBox 86">
              <a:extLst>
                <a:ext uri="{FF2B5EF4-FFF2-40B4-BE49-F238E27FC236}">
                  <a16:creationId xmlns:a16="http://schemas.microsoft.com/office/drawing/2014/main" id="{92D26692-F3B3-5328-B9B1-F1A318378D69}"/>
                </a:ext>
              </a:extLst>
            </p:cNvPr>
            <p:cNvSpPr txBox="1"/>
            <p:nvPr/>
          </p:nvSpPr>
          <p:spPr>
            <a:xfrm>
              <a:off x="4556361"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0</a:t>
              </a:r>
            </a:p>
          </p:txBody>
        </p:sp>
        <p:sp>
          <p:nvSpPr>
            <p:cNvPr id="88" name="TextBox 87">
              <a:extLst>
                <a:ext uri="{FF2B5EF4-FFF2-40B4-BE49-F238E27FC236}">
                  <a16:creationId xmlns:a16="http://schemas.microsoft.com/office/drawing/2014/main" id="{30B5AC20-BDE9-81B6-E666-9C536BB92C98}"/>
                </a:ext>
              </a:extLst>
            </p:cNvPr>
            <p:cNvSpPr txBox="1"/>
            <p:nvPr/>
          </p:nvSpPr>
          <p:spPr>
            <a:xfrm>
              <a:off x="4724820"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2</a:t>
              </a:r>
            </a:p>
          </p:txBody>
        </p:sp>
        <p:sp>
          <p:nvSpPr>
            <p:cNvPr id="89" name="TextBox 88">
              <a:extLst>
                <a:ext uri="{FF2B5EF4-FFF2-40B4-BE49-F238E27FC236}">
                  <a16:creationId xmlns:a16="http://schemas.microsoft.com/office/drawing/2014/main" id="{6DB0457E-1C9A-280F-04F2-15DAB2382376}"/>
                </a:ext>
              </a:extLst>
            </p:cNvPr>
            <p:cNvSpPr txBox="1"/>
            <p:nvPr/>
          </p:nvSpPr>
          <p:spPr>
            <a:xfrm>
              <a:off x="4895945"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4</a:t>
              </a:r>
            </a:p>
          </p:txBody>
        </p:sp>
        <p:sp>
          <p:nvSpPr>
            <p:cNvPr id="90" name="TextBox 89">
              <a:extLst>
                <a:ext uri="{FF2B5EF4-FFF2-40B4-BE49-F238E27FC236}">
                  <a16:creationId xmlns:a16="http://schemas.microsoft.com/office/drawing/2014/main" id="{0D927564-6E99-346C-25D3-6D7D5B1E74A9}"/>
                </a:ext>
              </a:extLst>
            </p:cNvPr>
            <p:cNvSpPr txBox="1"/>
            <p:nvPr/>
          </p:nvSpPr>
          <p:spPr>
            <a:xfrm>
              <a:off x="5064633"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6</a:t>
              </a:r>
            </a:p>
          </p:txBody>
        </p:sp>
        <p:sp>
          <p:nvSpPr>
            <p:cNvPr id="91" name="TextBox 90">
              <a:extLst>
                <a:ext uri="{FF2B5EF4-FFF2-40B4-BE49-F238E27FC236}">
                  <a16:creationId xmlns:a16="http://schemas.microsoft.com/office/drawing/2014/main" id="{F24AAD14-4A00-F7BF-0773-A01D2ADC0921}"/>
                </a:ext>
              </a:extLst>
            </p:cNvPr>
            <p:cNvSpPr txBox="1"/>
            <p:nvPr/>
          </p:nvSpPr>
          <p:spPr>
            <a:xfrm>
              <a:off x="5231855"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8</a:t>
              </a:r>
            </a:p>
          </p:txBody>
        </p:sp>
        <p:sp>
          <p:nvSpPr>
            <p:cNvPr id="92" name="TextBox 91">
              <a:extLst>
                <a:ext uri="{FF2B5EF4-FFF2-40B4-BE49-F238E27FC236}">
                  <a16:creationId xmlns:a16="http://schemas.microsoft.com/office/drawing/2014/main" id="{94F1B60F-4434-2B6E-1007-CD5F2A541149}"/>
                </a:ext>
              </a:extLst>
            </p:cNvPr>
            <p:cNvSpPr txBox="1"/>
            <p:nvPr/>
          </p:nvSpPr>
          <p:spPr>
            <a:xfrm>
              <a:off x="5400856"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0</a:t>
              </a:r>
            </a:p>
          </p:txBody>
        </p:sp>
        <p:sp>
          <p:nvSpPr>
            <p:cNvPr id="93" name="TextBox 92">
              <a:extLst>
                <a:ext uri="{FF2B5EF4-FFF2-40B4-BE49-F238E27FC236}">
                  <a16:creationId xmlns:a16="http://schemas.microsoft.com/office/drawing/2014/main" id="{15AF9C56-51CF-AD55-C92A-DB794C6980F6}"/>
                </a:ext>
              </a:extLst>
            </p:cNvPr>
            <p:cNvSpPr txBox="1"/>
            <p:nvPr/>
          </p:nvSpPr>
          <p:spPr>
            <a:xfrm>
              <a:off x="5568667"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2</a:t>
              </a:r>
            </a:p>
          </p:txBody>
        </p:sp>
        <p:sp>
          <p:nvSpPr>
            <p:cNvPr id="94" name="TextBox 93">
              <a:extLst>
                <a:ext uri="{FF2B5EF4-FFF2-40B4-BE49-F238E27FC236}">
                  <a16:creationId xmlns:a16="http://schemas.microsoft.com/office/drawing/2014/main" id="{06D4BDE0-2338-378F-D784-4DE91BB185EF}"/>
                </a:ext>
              </a:extLst>
            </p:cNvPr>
            <p:cNvSpPr txBox="1"/>
            <p:nvPr/>
          </p:nvSpPr>
          <p:spPr>
            <a:xfrm>
              <a:off x="5738851"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4</a:t>
              </a:r>
            </a:p>
          </p:txBody>
        </p:sp>
        <p:sp>
          <p:nvSpPr>
            <p:cNvPr id="95" name="TextBox 94">
              <a:extLst>
                <a:ext uri="{FF2B5EF4-FFF2-40B4-BE49-F238E27FC236}">
                  <a16:creationId xmlns:a16="http://schemas.microsoft.com/office/drawing/2014/main" id="{2A7C3CBF-C366-2DF4-BB51-AFCAEBDDCEC7}"/>
                </a:ext>
              </a:extLst>
            </p:cNvPr>
            <p:cNvSpPr txBox="1"/>
            <p:nvPr/>
          </p:nvSpPr>
          <p:spPr>
            <a:xfrm>
              <a:off x="5907823" y="3636341"/>
              <a:ext cx="165593"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6</a:t>
              </a:r>
            </a:p>
          </p:txBody>
        </p:sp>
        <p:sp>
          <p:nvSpPr>
            <p:cNvPr id="97" name="TextBox 96">
              <a:extLst>
                <a:ext uri="{FF2B5EF4-FFF2-40B4-BE49-F238E27FC236}">
                  <a16:creationId xmlns:a16="http://schemas.microsoft.com/office/drawing/2014/main" id="{29CCA9DB-EE87-BF7F-F413-DC3C22CD6C40}"/>
                </a:ext>
              </a:extLst>
            </p:cNvPr>
            <p:cNvSpPr txBox="1"/>
            <p:nvPr/>
          </p:nvSpPr>
          <p:spPr>
            <a:xfrm>
              <a:off x="3665234" y="3709831"/>
              <a:ext cx="2594306" cy="230832"/>
            </a:xfrm>
            <a:prstGeom prst="rect">
              <a:avLst/>
            </a:prstGeom>
            <a:noFill/>
          </p:spPr>
          <p:txBody>
            <a:bodyPr wrap="square" rtlCol="0" anchor="ctr">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Months since </a:t>
              </a:r>
              <a:r>
                <a:rPr kumimoji="0" lang="en-US" sz="900" b="1"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randomisation</a:t>
              </a:r>
              <a:endPar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98" name="TextBox 97">
              <a:extLst>
                <a:ext uri="{FF2B5EF4-FFF2-40B4-BE49-F238E27FC236}">
                  <a16:creationId xmlns:a16="http://schemas.microsoft.com/office/drawing/2014/main" id="{AA5B24D0-D177-F1BE-04AA-F97FCE4A6E6A}"/>
                </a:ext>
              </a:extLst>
            </p:cNvPr>
            <p:cNvSpPr txBox="1"/>
            <p:nvPr/>
          </p:nvSpPr>
          <p:spPr>
            <a:xfrm>
              <a:off x="3577622" y="2117291"/>
              <a:ext cx="154133" cy="138499"/>
            </a:xfrm>
            <a:prstGeom prst="rect">
              <a:avLst/>
            </a:prstGeom>
            <a:noFill/>
          </p:spPr>
          <p:txBody>
            <a:bodyPr wrap="square" lIns="0" tIns="0" rIns="0" bIns="0" rtlCol="0" anchor="ctr">
              <a:spAutoFit/>
            </a:bodyPr>
            <a:lstStyle/>
            <a:p>
              <a:pPr marL="0" marR="0" lvl="0" indent="0" algn="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90</a:t>
              </a:r>
            </a:p>
          </p:txBody>
        </p:sp>
        <p:sp>
          <p:nvSpPr>
            <p:cNvPr id="99" name="TextBox 98">
              <a:extLst>
                <a:ext uri="{FF2B5EF4-FFF2-40B4-BE49-F238E27FC236}">
                  <a16:creationId xmlns:a16="http://schemas.microsoft.com/office/drawing/2014/main" id="{398B69A8-1A65-4086-9589-9971F5CD3040}"/>
                </a:ext>
              </a:extLst>
            </p:cNvPr>
            <p:cNvSpPr txBox="1"/>
            <p:nvPr/>
          </p:nvSpPr>
          <p:spPr>
            <a:xfrm>
              <a:off x="3577622" y="2275604"/>
              <a:ext cx="154133" cy="138499"/>
            </a:xfrm>
            <a:prstGeom prst="rect">
              <a:avLst/>
            </a:prstGeom>
            <a:noFill/>
          </p:spPr>
          <p:txBody>
            <a:bodyPr wrap="square" lIns="0" tIns="0" rIns="0" bIns="0" rtlCol="0" anchor="ctr">
              <a:spAutoFit/>
            </a:bodyPr>
            <a:lstStyle/>
            <a:p>
              <a:pPr marL="0" marR="0" lvl="0" indent="0" algn="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80</a:t>
              </a:r>
            </a:p>
          </p:txBody>
        </p:sp>
        <p:sp>
          <p:nvSpPr>
            <p:cNvPr id="100" name="TextBox 99">
              <a:extLst>
                <a:ext uri="{FF2B5EF4-FFF2-40B4-BE49-F238E27FC236}">
                  <a16:creationId xmlns:a16="http://schemas.microsoft.com/office/drawing/2014/main" id="{8CDC77AB-A6C1-B57F-D284-BF10674F39FC}"/>
                </a:ext>
              </a:extLst>
            </p:cNvPr>
            <p:cNvSpPr txBox="1"/>
            <p:nvPr/>
          </p:nvSpPr>
          <p:spPr>
            <a:xfrm>
              <a:off x="3577622" y="2430559"/>
              <a:ext cx="154133" cy="138499"/>
            </a:xfrm>
            <a:prstGeom prst="rect">
              <a:avLst/>
            </a:prstGeom>
            <a:noFill/>
          </p:spPr>
          <p:txBody>
            <a:bodyPr wrap="square" lIns="0" tIns="0" rIns="0" bIns="0" rtlCol="0" anchor="ctr">
              <a:spAutoFit/>
            </a:bodyPr>
            <a:lstStyle/>
            <a:p>
              <a:pPr marL="0" marR="0" lvl="0" indent="0" algn="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70</a:t>
              </a:r>
            </a:p>
          </p:txBody>
        </p:sp>
        <p:sp>
          <p:nvSpPr>
            <p:cNvPr id="101" name="TextBox 100">
              <a:extLst>
                <a:ext uri="{FF2B5EF4-FFF2-40B4-BE49-F238E27FC236}">
                  <a16:creationId xmlns:a16="http://schemas.microsoft.com/office/drawing/2014/main" id="{608D9CA3-CFAB-F91A-DA1A-1549EC131DFB}"/>
                </a:ext>
              </a:extLst>
            </p:cNvPr>
            <p:cNvSpPr txBox="1"/>
            <p:nvPr/>
          </p:nvSpPr>
          <p:spPr>
            <a:xfrm>
              <a:off x="3577622" y="2585423"/>
              <a:ext cx="154133" cy="138499"/>
            </a:xfrm>
            <a:prstGeom prst="rect">
              <a:avLst/>
            </a:prstGeom>
            <a:noFill/>
          </p:spPr>
          <p:txBody>
            <a:bodyPr wrap="square" lIns="0" tIns="0" rIns="0" bIns="0" rtlCol="0" anchor="ctr">
              <a:spAutoFit/>
            </a:bodyPr>
            <a:lstStyle/>
            <a:p>
              <a:pPr marL="0" marR="0" lvl="0" indent="0" algn="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60</a:t>
              </a:r>
            </a:p>
          </p:txBody>
        </p:sp>
        <p:sp>
          <p:nvSpPr>
            <p:cNvPr id="102" name="TextBox 101">
              <a:extLst>
                <a:ext uri="{FF2B5EF4-FFF2-40B4-BE49-F238E27FC236}">
                  <a16:creationId xmlns:a16="http://schemas.microsoft.com/office/drawing/2014/main" id="{7DBFF9EB-B4EB-EA13-7CA4-94952B4378AD}"/>
                </a:ext>
              </a:extLst>
            </p:cNvPr>
            <p:cNvSpPr txBox="1"/>
            <p:nvPr/>
          </p:nvSpPr>
          <p:spPr>
            <a:xfrm>
              <a:off x="3577622" y="2742623"/>
              <a:ext cx="154133" cy="138499"/>
            </a:xfrm>
            <a:prstGeom prst="rect">
              <a:avLst/>
            </a:prstGeom>
            <a:noFill/>
          </p:spPr>
          <p:txBody>
            <a:bodyPr wrap="square" lIns="0" tIns="0" rIns="0" bIns="0" rtlCol="0" anchor="ctr">
              <a:spAutoFit/>
            </a:bodyPr>
            <a:lstStyle/>
            <a:p>
              <a:pPr marL="0" marR="0" lvl="0" indent="0" algn="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50</a:t>
              </a:r>
            </a:p>
          </p:txBody>
        </p:sp>
        <p:sp>
          <p:nvSpPr>
            <p:cNvPr id="103" name="TextBox 102">
              <a:extLst>
                <a:ext uri="{FF2B5EF4-FFF2-40B4-BE49-F238E27FC236}">
                  <a16:creationId xmlns:a16="http://schemas.microsoft.com/office/drawing/2014/main" id="{14466680-A7F6-7ED7-E430-45DD3F7B5714}"/>
                </a:ext>
              </a:extLst>
            </p:cNvPr>
            <p:cNvSpPr txBox="1"/>
            <p:nvPr/>
          </p:nvSpPr>
          <p:spPr>
            <a:xfrm>
              <a:off x="3577622" y="2894098"/>
              <a:ext cx="154133" cy="138499"/>
            </a:xfrm>
            <a:prstGeom prst="rect">
              <a:avLst/>
            </a:prstGeom>
            <a:noFill/>
          </p:spPr>
          <p:txBody>
            <a:bodyPr wrap="square" lIns="0" tIns="0" rIns="0" bIns="0" rtlCol="0" anchor="ctr">
              <a:spAutoFit/>
            </a:bodyPr>
            <a:lstStyle/>
            <a:p>
              <a:pPr marL="0" marR="0" lvl="0" indent="0" algn="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40</a:t>
              </a:r>
            </a:p>
          </p:txBody>
        </p:sp>
        <p:sp>
          <p:nvSpPr>
            <p:cNvPr id="104" name="TextBox 103">
              <a:extLst>
                <a:ext uri="{FF2B5EF4-FFF2-40B4-BE49-F238E27FC236}">
                  <a16:creationId xmlns:a16="http://schemas.microsoft.com/office/drawing/2014/main" id="{C199738D-EAA6-A51F-0290-9791C043A7D6}"/>
                </a:ext>
              </a:extLst>
            </p:cNvPr>
            <p:cNvSpPr txBox="1"/>
            <p:nvPr/>
          </p:nvSpPr>
          <p:spPr>
            <a:xfrm>
              <a:off x="3577622" y="3050396"/>
              <a:ext cx="154133" cy="138499"/>
            </a:xfrm>
            <a:prstGeom prst="rect">
              <a:avLst/>
            </a:prstGeom>
            <a:noFill/>
          </p:spPr>
          <p:txBody>
            <a:bodyPr wrap="square" lIns="0" tIns="0" rIns="0" bIns="0" rtlCol="0" anchor="ctr">
              <a:spAutoFit/>
            </a:bodyPr>
            <a:lstStyle/>
            <a:p>
              <a:pPr marL="0" marR="0" lvl="0" indent="0" algn="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30</a:t>
              </a:r>
            </a:p>
          </p:txBody>
        </p:sp>
        <p:sp>
          <p:nvSpPr>
            <p:cNvPr id="105" name="TextBox 104">
              <a:extLst>
                <a:ext uri="{FF2B5EF4-FFF2-40B4-BE49-F238E27FC236}">
                  <a16:creationId xmlns:a16="http://schemas.microsoft.com/office/drawing/2014/main" id="{8B825E5A-5219-A079-09DA-DF5C9F5F9AE4}"/>
                </a:ext>
              </a:extLst>
            </p:cNvPr>
            <p:cNvSpPr txBox="1"/>
            <p:nvPr/>
          </p:nvSpPr>
          <p:spPr>
            <a:xfrm>
              <a:off x="3577622" y="3204132"/>
              <a:ext cx="154133" cy="138499"/>
            </a:xfrm>
            <a:prstGeom prst="rect">
              <a:avLst/>
            </a:prstGeom>
            <a:noFill/>
          </p:spPr>
          <p:txBody>
            <a:bodyPr wrap="square" lIns="0" tIns="0" rIns="0" bIns="0" rtlCol="0" anchor="ctr">
              <a:spAutoFit/>
            </a:bodyPr>
            <a:lstStyle/>
            <a:p>
              <a:pPr marL="0" marR="0" lvl="0" indent="0" algn="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0</a:t>
              </a:r>
            </a:p>
          </p:txBody>
        </p:sp>
        <p:sp>
          <p:nvSpPr>
            <p:cNvPr id="106" name="TextBox 105">
              <a:extLst>
                <a:ext uri="{FF2B5EF4-FFF2-40B4-BE49-F238E27FC236}">
                  <a16:creationId xmlns:a16="http://schemas.microsoft.com/office/drawing/2014/main" id="{F6270324-B596-D6F9-FF2B-D632CC33032A}"/>
                </a:ext>
              </a:extLst>
            </p:cNvPr>
            <p:cNvSpPr txBox="1"/>
            <p:nvPr/>
          </p:nvSpPr>
          <p:spPr>
            <a:xfrm>
              <a:off x="3577622" y="3362960"/>
              <a:ext cx="154133" cy="138499"/>
            </a:xfrm>
            <a:prstGeom prst="rect">
              <a:avLst/>
            </a:prstGeom>
            <a:noFill/>
          </p:spPr>
          <p:txBody>
            <a:bodyPr wrap="square" lIns="0" tIns="0" rIns="0" bIns="0" rtlCol="0" anchor="ctr">
              <a:spAutoFit/>
            </a:bodyPr>
            <a:lstStyle/>
            <a:p>
              <a:pPr marL="0" marR="0" lvl="0" indent="0" algn="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0</a:t>
              </a:r>
            </a:p>
          </p:txBody>
        </p:sp>
        <p:sp>
          <p:nvSpPr>
            <p:cNvPr id="107" name="TextBox 106">
              <a:extLst>
                <a:ext uri="{FF2B5EF4-FFF2-40B4-BE49-F238E27FC236}">
                  <a16:creationId xmlns:a16="http://schemas.microsoft.com/office/drawing/2014/main" id="{F414199E-76F2-EB7B-2947-83C7F1C4DE66}"/>
                </a:ext>
              </a:extLst>
            </p:cNvPr>
            <p:cNvSpPr txBox="1"/>
            <p:nvPr/>
          </p:nvSpPr>
          <p:spPr>
            <a:xfrm>
              <a:off x="3577622" y="3520030"/>
              <a:ext cx="154133" cy="138499"/>
            </a:xfrm>
            <a:prstGeom prst="rect">
              <a:avLst/>
            </a:prstGeom>
            <a:noFill/>
          </p:spPr>
          <p:txBody>
            <a:bodyPr wrap="square" lIns="0" tIns="0" rIns="0" bIns="0" rtlCol="0" anchor="ctr">
              <a:spAutoFit/>
            </a:bodyPr>
            <a:lstStyle/>
            <a:p>
              <a:pPr marL="0" marR="0" lvl="0" indent="0" algn="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0</a:t>
              </a:r>
            </a:p>
          </p:txBody>
        </p:sp>
        <p:sp>
          <p:nvSpPr>
            <p:cNvPr id="108" name="Line 51">
              <a:extLst>
                <a:ext uri="{FF2B5EF4-FFF2-40B4-BE49-F238E27FC236}">
                  <a16:creationId xmlns:a16="http://schemas.microsoft.com/office/drawing/2014/main" id="{9A1D702A-73AD-E12C-EDBE-D3B9924DFA1C}"/>
                </a:ext>
              </a:extLst>
            </p:cNvPr>
            <p:cNvSpPr>
              <a:spLocks noChangeShapeType="1"/>
            </p:cNvSpPr>
            <p:nvPr/>
          </p:nvSpPr>
          <p:spPr bwMode="auto">
            <a:xfrm flipH="1">
              <a:off x="3753307" y="2032141"/>
              <a:ext cx="38853"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09" name="Line 52">
              <a:extLst>
                <a:ext uri="{FF2B5EF4-FFF2-40B4-BE49-F238E27FC236}">
                  <a16:creationId xmlns:a16="http://schemas.microsoft.com/office/drawing/2014/main" id="{EC5149C2-34DD-6F47-B8C7-F97B11D2E7C1}"/>
                </a:ext>
              </a:extLst>
            </p:cNvPr>
            <p:cNvSpPr>
              <a:spLocks noChangeShapeType="1"/>
            </p:cNvSpPr>
            <p:nvPr/>
          </p:nvSpPr>
          <p:spPr bwMode="auto">
            <a:xfrm flipH="1">
              <a:off x="3753307" y="2655190"/>
              <a:ext cx="38853"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0" name="Line 53">
              <a:extLst>
                <a:ext uri="{FF2B5EF4-FFF2-40B4-BE49-F238E27FC236}">
                  <a16:creationId xmlns:a16="http://schemas.microsoft.com/office/drawing/2014/main" id="{EB717230-8F39-E0A0-7A08-3925CAE2C346}"/>
                </a:ext>
              </a:extLst>
            </p:cNvPr>
            <p:cNvSpPr>
              <a:spLocks noChangeShapeType="1"/>
            </p:cNvSpPr>
            <p:nvPr/>
          </p:nvSpPr>
          <p:spPr bwMode="auto">
            <a:xfrm flipH="1">
              <a:off x="3753307" y="2966714"/>
              <a:ext cx="38853"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1" name="Line 54">
              <a:extLst>
                <a:ext uri="{FF2B5EF4-FFF2-40B4-BE49-F238E27FC236}">
                  <a16:creationId xmlns:a16="http://schemas.microsoft.com/office/drawing/2014/main" id="{F13F0781-D7ED-7357-B95F-1E1FADF39DAC}"/>
                </a:ext>
              </a:extLst>
            </p:cNvPr>
            <p:cNvSpPr>
              <a:spLocks noChangeShapeType="1"/>
            </p:cNvSpPr>
            <p:nvPr/>
          </p:nvSpPr>
          <p:spPr bwMode="auto">
            <a:xfrm flipH="1">
              <a:off x="3753307" y="3276913"/>
              <a:ext cx="38853"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2" name="Line 55">
              <a:extLst>
                <a:ext uri="{FF2B5EF4-FFF2-40B4-BE49-F238E27FC236}">
                  <a16:creationId xmlns:a16="http://schemas.microsoft.com/office/drawing/2014/main" id="{DA6B171A-65D7-013E-80B7-6E4EFAD04D02}"/>
                </a:ext>
              </a:extLst>
            </p:cNvPr>
            <p:cNvSpPr>
              <a:spLocks noChangeShapeType="1"/>
            </p:cNvSpPr>
            <p:nvPr/>
          </p:nvSpPr>
          <p:spPr bwMode="auto">
            <a:xfrm flipH="1">
              <a:off x="3753307" y="2188568"/>
              <a:ext cx="38853"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3" name="Line 56">
              <a:extLst>
                <a:ext uri="{FF2B5EF4-FFF2-40B4-BE49-F238E27FC236}">
                  <a16:creationId xmlns:a16="http://schemas.microsoft.com/office/drawing/2014/main" id="{765714B5-237B-A8E5-89B4-AAE31C19FEB3}"/>
                </a:ext>
              </a:extLst>
            </p:cNvPr>
            <p:cNvSpPr>
              <a:spLocks noChangeShapeType="1"/>
            </p:cNvSpPr>
            <p:nvPr/>
          </p:nvSpPr>
          <p:spPr bwMode="auto">
            <a:xfrm flipH="1">
              <a:off x="3753307" y="2343666"/>
              <a:ext cx="38853"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4" name="Line 57">
              <a:extLst>
                <a:ext uri="{FF2B5EF4-FFF2-40B4-BE49-F238E27FC236}">
                  <a16:creationId xmlns:a16="http://schemas.microsoft.com/office/drawing/2014/main" id="{0E5A7C8C-6BB6-A4ED-9785-9D8A89809877}"/>
                </a:ext>
              </a:extLst>
            </p:cNvPr>
            <p:cNvSpPr>
              <a:spLocks noChangeShapeType="1"/>
            </p:cNvSpPr>
            <p:nvPr/>
          </p:nvSpPr>
          <p:spPr bwMode="auto">
            <a:xfrm flipH="1">
              <a:off x="3753307" y="2498765"/>
              <a:ext cx="38853"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5" name="Line 58">
              <a:extLst>
                <a:ext uri="{FF2B5EF4-FFF2-40B4-BE49-F238E27FC236}">
                  <a16:creationId xmlns:a16="http://schemas.microsoft.com/office/drawing/2014/main" id="{B0ADC6ED-34F3-91D2-FEE8-DFE8642913FF}"/>
                </a:ext>
              </a:extLst>
            </p:cNvPr>
            <p:cNvSpPr>
              <a:spLocks noChangeShapeType="1"/>
            </p:cNvSpPr>
            <p:nvPr/>
          </p:nvSpPr>
          <p:spPr bwMode="auto">
            <a:xfrm flipH="1">
              <a:off x="3753307" y="2810290"/>
              <a:ext cx="38853"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6" name="Line 59">
              <a:extLst>
                <a:ext uri="{FF2B5EF4-FFF2-40B4-BE49-F238E27FC236}">
                  <a16:creationId xmlns:a16="http://schemas.microsoft.com/office/drawing/2014/main" id="{BD067EBF-6B43-8181-7D59-276CA6B5AC2B}"/>
                </a:ext>
              </a:extLst>
            </p:cNvPr>
            <p:cNvSpPr>
              <a:spLocks noChangeShapeType="1"/>
            </p:cNvSpPr>
            <p:nvPr/>
          </p:nvSpPr>
          <p:spPr bwMode="auto">
            <a:xfrm flipH="1">
              <a:off x="3753307" y="3123141"/>
              <a:ext cx="38853"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7" name="Line 60">
              <a:extLst>
                <a:ext uri="{FF2B5EF4-FFF2-40B4-BE49-F238E27FC236}">
                  <a16:creationId xmlns:a16="http://schemas.microsoft.com/office/drawing/2014/main" id="{555F21CF-A6B1-C605-E444-8450C3891F87}"/>
                </a:ext>
              </a:extLst>
            </p:cNvPr>
            <p:cNvSpPr>
              <a:spLocks noChangeShapeType="1"/>
            </p:cNvSpPr>
            <p:nvPr/>
          </p:nvSpPr>
          <p:spPr bwMode="auto">
            <a:xfrm flipH="1">
              <a:off x="3753307" y="3433339"/>
              <a:ext cx="38853"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8" name="Line 60">
              <a:extLst>
                <a:ext uri="{FF2B5EF4-FFF2-40B4-BE49-F238E27FC236}">
                  <a16:creationId xmlns:a16="http://schemas.microsoft.com/office/drawing/2014/main" id="{9C641949-A1FF-EF44-1686-1C0EFCB66583}"/>
                </a:ext>
              </a:extLst>
            </p:cNvPr>
            <p:cNvSpPr>
              <a:spLocks noChangeShapeType="1"/>
            </p:cNvSpPr>
            <p:nvPr/>
          </p:nvSpPr>
          <p:spPr bwMode="auto">
            <a:xfrm flipH="1">
              <a:off x="3753307" y="3588698"/>
              <a:ext cx="38853"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9" name="Line 49">
              <a:extLst>
                <a:ext uri="{FF2B5EF4-FFF2-40B4-BE49-F238E27FC236}">
                  <a16:creationId xmlns:a16="http://schemas.microsoft.com/office/drawing/2014/main" id="{F1F85625-FB0F-1B50-343C-E792B452ECD1}"/>
                </a:ext>
              </a:extLst>
            </p:cNvPr>
            <p:cNvSpPr>
              <a:spLocks noChangeShapeType="1"/>
            </p:cNvSpPr>
            <p:nvPr/>
          </p:nvSpPr>
          <p:spPr bwMode="auto">
            <a:xfrm flipV="1">
              <a:off x="3794033" y="2030816"/>
              <a:ext cx="0" cy="155762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0" name="Line 50">
              <a:extLst>
                <a:ext uri="{FF2B5EF4-FFF2-40B4-BE49-F238E27FC236}">
                  <a16:creationId xmlns:a16="http://schemas.microsoft.com/office/drawing/2014/main" id="{501A82B6-86F9-3956-2137-F0CAEF25AAF6}"/>
                </a:ext>
              </a:extLst>
            </p:cNvPr>
            <p:cNvSpPr>
              <a:spLocks noChangeShapeType="1"/>
            </p:cNvSpPr>
            <p:nvPr/>
          </p:nvSpPr>
          <p:spPr bwMode="auto">
            <a:xfrm>
              <a:off x="3794033" y="3588578"/>
              <a:ext cx="2367540"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1" name="Line 61">
              <a:extLst>
                <a:ext uri="{FF2B5EF4-FFF2-40B4-BE49-F238E27FC236}">
                  <a16:creationId xmlns:a16="http://schemas.microsoft.com/office/drawing/2014/main" id="{61E97166-7CC5-D3FE-2E6B-649F15AFC90C}"/>
                </a:ext>
              </a:extLst>
            </p:cNvPr>
            <p:cNvSpPr>
              <a:spLocks noChangeShapeType="1"/>
            </p:cNvSpPr>
            <p:nvPr/>
          </p:nvSpPr>
          <p:spPr bwMode="auto">
            <a:xfrm>
              <a:off x="3794033" y="3588578"/>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2" name="Line 65">
              <a:extLst>
                <a:ext uri="{FF2B5EF4-FFF2-40B4-BE49-F238E27FC236}">
                  <a16:creationId xmlns:a16="http://schemas.microsoft.com/office/drawing/2014/main" id="{385FA9DC-9D4B-DD85-A4F2-3EDF621856DF}"/>
                </a:ext>
              </a:extLst>
            </p:cNvPr>
            <p:cNvSpPr>
              <a:spLocks noChangeShapeType="1"/>
            </p:cNvSpPr>
            <p:nvPr/>
          </p:nvSpPr>
          <p:spPr bwMode="auto">
            <a:xfrm>
              <a:off x="3963141" y="3588578"/>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3" name="Line 65">
              <a:extLst>
                <a:ext uri="{FF2B5EF4-FFF2-40B4-BE49-F238E27FC236}">
                  <a16:creationId xmlns:a16="http://schemas.microsoft.com/office/drawing/2014/main" id="{3A4E53B9-8378-1427-5589-F7AD271B03A0}"/>
                </a:ext>
              </a:extLst>
            </p:cNvPr>
            <p:cNvSpPr>
              <a:spLocks noChangeShapeType="1"/>
            </p:cNvSpPr>
            <p:nvPr/>
          </p:nvSpPr>
          <p:spPr bwMode="auto">
            <a:xfrm>
              <a:off x="4132251" y="3593492"/>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4" name="Line 65">
              <a:extLst>
                <a:ext uri="{FF2B5EF4-FFF2-40B4-BE49-F238E27FC236}">
                  <a16:creationId xmlns:a16="http://schemas.microsoft.com/office/drawing/2014/main" id="{F3FDBC53-AB26-C5DF-5AA1-F42DBACA4901}"/>
                </a:ext>
              </a:extLst>
            </p:cNvPr>
            <p:cNvSpPr>
              <a:spLocks noChangeShapeType="1"/>
            </p:cNvSpPr>
            <p:nvPr/>
          </p:nvSpPr>
          <p:spPr bwMode="auto">
            <a:xfrm>
              <a:off x="4301361" y="3593492"/>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5" name="Line 65">
              <a:extLst>
                <a:ext uri="{FF2B5EF4-FFF2-40B4-BE49-F238E27FC236}">
                  <a16:creationId xmlns:a16="http://schemas.microsoft.com/office/drawing/2014/main" id="{F6639A42-C929-44F7-F9A8-0863E8A096B1}"/>
                </a:ext>
              </a:extLst>
            </p:cNvPr>
            <p:cNvSpPr>
              <a:spLocks noChangeShapeType="1"/>
            </p:cNvSpPr>
            <p:nvPr/>
          </p:nvSpPr>
          <p:spPr bwMode="auto">
            <a:xfrm>
              <a:off x="4470471" y="3593492"/>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6" name="Line 65">
              <a:extLst>
                <a:ext uri="{FF2B5EF4-FFF2-40B4-BE49-F238E27FC236}">
                  <a16:creationId xmlns:a16="http://schemas.microsoft.com/office/drawing/2014/main" id="{21975F29-C9A0-2227-E6CD-9E573A001A1F}"/>
                </a:ext>
              </a:extLst>
            </p:cNvPr>
            <p:cNvSpPr>
              <a:spLocks noChangeShapeType="1"/>
            </p:cNvSpPr>
            <p:nvPr/>
          </p:nvSpPr>
          <p:spPr bwMode="auto">
            <a:xfrm>
              <a:off x="4639581" y="3593492"/>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7" name="Line 65">
              <a:extLst>
                <a:ext uri="{FF2B5EF4-FFF2-40B4-BE49-F238E27FC236}">
                  <a16:creationId xmlns:a16="http://schemas.microsoft.com/office/drawing/2014/main" id="{22397E88-2C34-32F2-C9D2-B25326F96A95}"/>
                </a:ext>
              </a:extLst>
            </p:cNvPr>
            <p:cNvSpPr>
              <a:spLocks noChangeShapeType="1"/>
            </p:cNvSpPr>
            <p:nvPr/>
          </p:nvSpPr>
          <p:spPr bwMode="auto">
            <a:xfrm>
              <a:off x="4808691" y="3593492"/>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8" name="Line 65">
              <a:extLst>
                <a:ext uri="{FF2B5EF4-FFF2-40B4-BE49-F238E27FC236}">
                  <a16:creationId xmlns:a16="http://schemas.microsoft.com/office/drawing/2014/main" id="{9E825898-FE47-29FA-A76E-FB041B26C47A}"/>
                </a:ext>
              </a:extLst>
            </p:cNvPr>
            <p:cNvSpPr>
              <a:spLocks noChangeShapeType="1"/>
            </p:cNvSpPr>
            <p:nvPr/>
          </p:nvSpPr>
          <p:spPr bwMode="auto">
            <a:xfrm>
              <a:off x="4977801" y="3593492"/>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9" name="Line 65">
              <a:extLst>
                <a:ext uri="{FF2B5EF4-FFF2-40B4-BE49-F238E27FC236}">
                  <a16:creationId xmlns:a16="http://schemas.microsoft.com/office/drawing/2014/main" id="{217CE087-3891-DF4C-EBC0-000C7B208685}"/>
                </a:ext>
              </a:extLst>
            </p:cNvPr>
            <p:cNvSpPr>
              <a:spLocks noChangeShapeType="1"/>
            </p:cNvSpPr>
            <p:nvPr/>
          </p:nvSpPr>
          <p:spPr bwMode="auto">
            <a:xfrm>
              <a:off x="5146911" y="3593492"/>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30" name="Line 65">
              <a:extLst>
                <a:ext uri="{FF2B5EF4-FFF2-40B4-BE49-F238E27FC236}">
                  <a16:creationId xmlns:a16="http://schemas.microsoft.com/office/drawing/2014/main" id="{EA9A498F-F4CE-D321-079F-8A6978992595}"/>
                </a:ext>
              </a:extLst>
            </p:cNvPr>
            <p:cNvSpPr>
              <a:spLocks noChangeShapeType="1"/>
            </p:cNvSpPr>
            <p:nvPr/>
          </p:nvSpPr>
          <p:spPr bwMode="auto">
            <a:xfrm>
              <a:off x="5316020" y="3593492"/>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31" name="Line 65">
              <a:extLst>
                <a:ext uri="{FF2B5EF4-FFF2-40B4-BE49-F238E27FC236}">
                  <a16:creationId xmlns:a16="http://schemas.microsoft.com/office/drawing/2014/main" id="{2CFC7344-1E59-6474-E626-DAC252F028BC}"/>
                </a:ext>
              </a:extLst>
            </p:cNvPr>
            <p:cNvSpPr>
              <a:spLocks noChangeShapeType="1"/>
            </p:cNvSpPr>
            <p:nvPr/>
          </p:nvSpPr>
          <p:spPr bwMode="auto">
            <a:xfrm>
              <a:off x="5485131" y="3593492"/>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32" name="Line 65">
              <a:extLst>
                <a:ext uri="{FF2B5EF4-FFF2-40B4-BE49-F238E27FC236}">
                  <a16:creationId xmlns:a16="http://schemas.microsoft.com/office/drawing/2014/main" id="{28C9BF0A-0C0E-D39C-9585-4BC9B0F5A4F7}"/>
                </a:ext>
              </a:extLst>
            </p:cNvPr>
            <p:cNvSpPr>
              <a:spLocks noChangeShapeType="1"/>
            </p:cNvSpPr>
            <p:nvPr/>
          </p:nvSpPr>
          <p:spPr bwMode="auto">
            <a:xfrm>
              <a:off x="5654241" y="3593492"/>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33" name="Line 65">
              <a:extLst>
                <a:ext uri="{FF2B5EF4-FFF2-40B4-BE49-F238E27FC236}">
                  <a16:creationId xmlns:a16="http://schemas.microsoft.com/office/drawing/2014/main" id="{86C04EF9-5FEA-BD3B-2F89-2EFA3AA4FCD4}"/>
                </a:ext>
              </a:extLst>
            </p:cNvPr>
            <p:cNvSpPr>
              <a:spLocks noChangeShapeType="1"/>
            </p:cNvSpPr>
            <p:nvPr/>
          </p:nvSpPr>
          <p:spPr bwMode="auto">
            <a:xfrm>
              <a:off x="5823351" y="3593492"/>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36" name="Freeform: Shape 6">
              <a:extLst>
                <a:ext uri="{FF2B5EF4-FFF2-40B4-BE49-F238E27FC236}">
                  <a16:creationId xmlns:a16="http://schemas.microsoft.com/office/drawing/2014/main" id="{A8A08DDB-D470-60A6-1AEB-8FBB483C8439}"/>
                </a:ext>
              </a:extLst>
            </p:cNvPr>
            <p:cNvSpPr/>
            <p:nvPr/>
          </p:nvSpPr>
          <p:spPr>
            <a:xfrm>
              <a:off x="3799800" y="2033732"/>
              <a:ext cx="2345808" cy="794712"/>
            </a:xfrm>
            <a:custGeom>
              <a:avLst/>
              <a:gdLst>
                <a:gd name="connsiteX0" fmla="*/ 0 w 2422803"/>
                <a:gd name="connsiteY0" fmla="*/ 0 h 1068684"/>
                <a:gd name="connsiteX1" fmla="*/ 189549 w 2422803"/>
                <a:gd name="connsiteY1" fmla="*/ 0 h 1068684"/>
                <a:gd name="connsiteX2" fmla="*/ 189549 w 2422803"/>
                <a:gd name="connsiteY2" fmla="*/ 36844 h 1068684"/>
                <a:gd name="connsiteX3" fmla="*/ 256736 w 2422803"/>
                <a:gd name="connsiteY3" fmla="*/ 36844 h 1068684"/>
                <a:gd name="connsiteX4" fmla="*/ 256736 w 2422803"/>
                <a:gd name="connsiteY4" fmla="*/ 84782 h 1068684"/>
                <a:gd name="connsiteX5" fmla="*/ 478860 w 2422803"/>
                <a:gd name="connsiteY5" fmla="*/ 84782 h 1068684"/>
                <a:gd name="connsiteX6" fmla="*/ 478860 w 2422803"/>
                <a:gd name="connsiteY6" fmla="*/ 171397 h 1068684"/>
                <a:gd name="connsiteX7" fmla="*/ 513471 w 2422803"/>
                <a:gd name="connsiteY7" fmla="*/ 171397 h 1068684"/>
                <a:gd name="connsiteX8" fmla="*/ 513471 w 2422803"/>
                <a:gd name="connsiteY8" fmla="*/ 198979 h 1068684"/>
                <a:gd name="connsiteX9" fmla="*/ 601120 w 2422803"/>
                <a:gd name="connsiteY9" fmla="*/ 198979 h 1068684"/>
                <a:gd name="connsiteX10" fmla="*/ 601120 w 2422803"/>
                <a:gd name="connsiteY10" fmla="*/ 215569 h 1068684"/>
                <a:gd name="connsiteX11" fmla="*/ 645911 w 2422803"/>
                <a:gd name="connsiteY11" fmla="*/ 215569 h 1068684"/>
                <a:gd name="connsiteX12" fmla="*/ 645911 w 2422803"/>
                <a:gd name="connsiteY12" fmla="*/ 235823 h 1068684"/>
                <a:gd name="connsiteX13" fmla="*/ 721344 w 2422803"/>
                <a:gd name="connsiteY13" fmla="*/ 235823 h 1068684"/>
                <a:gd name="connsiteX14" fmla="*/ 721344 w 2422803"/>
                <a:gd name="connsiteY14" fmla="*/ 331699 h 1068684"/>
                <a:gd name="connsiteX15" fmla="*/ 780387 w 2422803"/>
                <a:gd name="connsiteY15" fmla="*/ 331699 h 1068684"/>
                <a:gd name="connsiteX16" fmla="*/ 780387 w 2422803"/>
                <a:gd name="connsiteY16" fmla="*/ 350122 h 1068684"/>
                <a:gd name="connsiteX17" fmla="*/ 843604 w 2422803"/>
                <a:gd name="connsiteY17" fmla="*/ 350122 h 1068684"/>
                <a:gd name="connsiteX18" fmla="*/ 843604 w 2422803"/>
                <a:gd name="connsiteY18" fmla="*/ 368544 h 1068684"/>
                <a:gd name="connsiteX19" fmla="*/ 957720 w 2422803"/>
                <a:gd name="connsiteY19" fmla="*/ 368544 h 1068684"/>
                <a:gd name="connsiteX20" fmla="*/ 957720 w 2422803"/>
                <a:gd name="connsiteY20" fmla="*/ 467982 h 1068684"/>
                <a:gd name="connsiteX21" fmla="*/ 986223 w 2422803"/>
                <a:gd name="connsiteY21" fmla="*/ 467982 h 1068684"/>
                <a:gd name="connsiteX22" fmla="*/ 986223 w 2422803"/>
                <a:gd name="connsiteY22" fmla="*/ 497498 h 1068684"/>
                <a:gd name="connsiteX23" fmla="*/ 1010655 w 2422803"/>
                <a:gd name="connsiteY23" fmla="*/ 497498 h 1068684"/>
                <a:gd name="connsiteX24" fmla="*/ 1010655 w 2422803"/>
                <a:gd name="connsiteY24" fmla="*/ 521416 h 1068684"/>
                <a:gd name="connsiteX25" fmla="*/ 1187988 w 2422803"/>
                <a:gd name="connsiteY25" fmla="*/ 521416 h 1068684"/>
                <a:gd name="connsiteX26" fmla="*/ 1187988 w 2422803"/>
                <a:gd name="connsiteY26" fmla="*/ 593273 h 1068684"/>
                <a:gd name="connsiteX27" fmla="*/ 1220564 w 2422803"/>
                <a:gd name="connsiteY27" fmla="*/ 593273 h 1068684"/>
                <a:gd name="connsiteX28" fmla="*/ 1220564 w 2422803"/>
                <a:gd name="connsiteY28" fmla="*/ 644875 h 1068684"/>
                <a:gd name="connsiteX29" fmla="*/ 1287852 w 2422803"/>
                <a:gd name="connsiteY29" fmla="*/ 644875 h 1068684"/>
                <a:gd name="connsiteX30" fmla="*/ 1287852 w 2422803"/>
                <a:gd name="connsiteY30" fmla="*/ 725993 h 1068684"/>
                <a:gd name="connsiteX31" fmla="*/ 1328572 w 2422803"/>
                <a:gd name="connsiteY31" fmla="*/ 725993 h 1068684"/>
                <a:gd name="connsiteX32" fmla="*/ 1328572 w 2422803"/>
                <a:gd name="connsiteY32" fmla="*/ 748079 h 1068684"/>
                <a:gd name="connsiteX33" fmla="*/ 1444724 w 2422803"/>
                <a:gd name="connsiteY33" fmla="*/ 748079 h 1068684"/>
                <a:gd name="connsiteX34" fmla="*/ 1444724 w 2422803"/>
                <a:gd name="connsiteY34" fmla="*/ 784924 h 1068684"/>
                <a:gd name="connsiteX35" fmla="*/ 1685172 w 2422803"/>
                <a:gd name="connsiteY35" fmla="*/ 784924 h 1068684"/>
                <a:gd name="connsiteX36" fmla="*/ 1685172 w 2422803"/>
                <a:gd name="connsiteY36" fmla="*/ 858612 h 1068684"/>
                <a:gd name="connsiteX37" fmla="*/ 1713675 w 2422803"/>
                <a:gd name="connsiteY37" fmla="*/ 858612 h 1068684"/>
                <a:gd name="connsiteX38" fmla="*/ 1713675 w 2422803"/>
                <a:gd name="connsiteY38" fmla="*/ 912046 h 1068684"/>
                <a:gd name="connsiteX39" fmla="*/ 1913404 w 2422803"/>
                <a:gd name="connsiteY39" fmla="*/ 912046 h 1068684"/>
                <a:gd name="connsiteX40" fmla="*/ 1913404 w 2422803"/>
                <a:gd name="connsiteY40" fmla="*/ 980239 h 1068684"/>
                <a:gd name="connsiteX41" fmla="*/ 1933764 w 2422803"/>
                <a:gd name="connsiteY41" fmla="*/ 980239 h 1068684"/>
                <a:gd name="connsiteX42" fmla="*/ 1933764 w 2422803"/>
                <a:gd name="connsiteY42" fmla="*/ 1068685 h 1068684"/>
                <a:gd name="connsiteX43" fmla="*/ 2422803 w 2422803"/>
                <a:gd name="connsiteY43" fmla="*/ 1068685 h 106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422803" h="1068684">
                  <a:moveTo>
                    <a:pt x="0" y="0"/>
                  </a:moveTo>
                  <a:lnTo>
                    <a:pt x="189549" y="0"/>
                  </a:lnTo>
                  <a:lnTo>
                    <a:pt x="189549" y="36844"/>
                  </a:lnTo>
                  <a:lnTo>
                    <a:pt x="256736" y="36844"/>
                  </a:lnTo>
                  <a:lnTo>
                    <a:pt x="256736" y="84782"/>
                  </a:lnTo>
                  <a:lnTo>
                    <a:pt x="478860" y="84782"/>
                  </a:lnTo>
                  <a:lnTo>
                    <a:pt x="478860" y="171397"/>
                  </a:lnTo>
                  <a:lnTo>
                    <a:pt x="513471" y="171397"/>
                  </a:lnTo>
                  <a:lnTo>
                    <a:pt x="513471" y="198979"/>
                  </a:lnTo>
                  <a:lnTo>
                    <a:pt x="601120" y="198979"/>
                  </a:lnTo>
                  <a:lnTo>
                    <a:pt x="601120" y="215569"/>
                  </a:lnTo>
                  <a:lnTo>
                    <a:pt x="645911" y="215569"/>
                  </a:lnTo>
                  <a:lnTo>
                    <a:pt x="645911" y="235823"/>
                  </a:lnTo>
                  <a:lnTo>
                    <a:pt x="721344" y="235823"/>
                  </a:lnTo>
                  <a:lnTo>
                    <a:pt x="721344" y="331699"/>
                  </a:lnTo>
                  <a:lnTo>
                    <a:pt x="780387" y="331699"/>
                  </a:lnTo>
                  <a:lnTo>
                    <a:pt x="780387" y="350122"/>
                  </a:lnTo>
                  <a:lnTo>
                    <a:pt x="843604" y="350122"/>
                  </a:lnTo>
                  <a:lnTo>
                    <a:pt x="843604" y="368544"/>
                  </a:lnTo>
                  <a:lnTo>
                    <a:pt x="957720" y="368544"/>
                  </a:lnTo>
                  <a:lnTo>
                    <a:pt x="957720" y="467982"/>
                  </a:lnTo>
                  <a:lnTo>
                    <a:pt x="986223" y="467982"/>
                  </a:lnTo>
                  <a:lnTo>
                    <a:pt x="986223" y="497498"/>
                  </a:lnTo>
                  <a:lnTo>
                    <a:pt x="1010655" y="497498"/>
                  </a:lnTo>
                  <a:lnTo>
                    <a:pt x="1010655" y="521416"/>
                  </a:lnTo>
                  <a:lnTo>
                    <a:pt x="1187988" y="521416"/>
                  </a:lnTo>
                  <a:lnTo>
                    <a:pt x="1187988" y="593273"/>
                  </a:lnTo>
                  <a:lnTo>
                    <a:pt x="1220564" y="593273"/>
                  </a:lnTo>
                  <a:lnTo>
                    <a:pt x="1220564" y="644875"/>
                  </a:lnTo>
                  <a:lnTo>
                    <a:pt x="1287852" y="644875"/>
                  </a:lnTo>
                  <a:lnTo>
                    <a:pt x="1287852" y="725993"/>
                  </a:lnTo>
                  <a:lnTo>
                    <a:pt x="1328572" y="725993"/>
                  </a:lnTo>
                  <a:lnTo>
                    <a:pt x="1328572" y="748079"/>
                  </a:lnTo>
                  <a:lnTo>
                    <a:pt x="1444724" y="748079"/>
                  </a:lnTo>
                  <a:lnTo>
                    <a:pt x="1444724" y="784924"/>
                  </a:lnTo>
                  <a:lnTo>
                    <a:pt x="1685172" y="784924"/>
                  </a:lnTo>
                  <a:lnTo>
                    <a:pt x="1685172" y="858612"/>
                  </a:lnTo>
                  <a:lnTo>
                    <a:pt x="1713675" y="858612"/>
                  </a:lnTo>
                  <a:lnTo>
                    <a:pt x="1713675" y="912046"/>
                  </a:lnTo>
                  <a:lnTo>
                    <a:pt x="1913404" y="912046"/>
                  </a:lnTo>
                  <a:lnTo>
                    <a:pt x="1913404" y="980239"/>
                  </a:lnTo>
                  <a:lnTo>
                    <a:pt x="1933764" y="980239"/>
                  </a:lnTo>
                  <a:lnTo>
                    <a:pt x="1933764" y="1068685"/>
                  </a:lnTo>
                  <a:lnTo>
                    <a:pt x="2422803" y="1068685"/>
                  </a:lnTo>
                </a:path>
              </a:pathLst>
            </a:custGeom>
            <a:noFill/>
            <a:ln w="15240" cap="rnd">
              <a:solidFill>
                <a:srgbClr val="EFAC00"/>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 name="Freeform: Shape 8">
              <a:extLst>
                <a:ext uri="{FF2B5EF4-FFF2-40B4-BE49-F238E27FC236}">
                  <a16:creationId xmlns:a16="http://schemas.microsoft.com/office/drawing/2014/main" id="{5E0DF0B3-4FE9-D164-D76D-E8647BBC5D5F}"/>
                </a:ext>
              </a:extLst>
            </p:cNvPr>
            <p:cNvSpPr/>
            <p:nvPr/>
          </p:nvSpPr>
          <p:spPr>
            <a:xfrm>
              <a:off x="3809657" y="2033732"/>
              <a:ext cx="2306383" cy="1195778"/>
            </a:xfrm>
            <a:custGeom>
              <a:avLst/>
              <a:gdLst>
                <a:gd name="connsiteX0" fmla="*/ -203 w 2382083"/>
                <a:gd name="connsiteY0" fmla="*/ -282 h 1608014"/>
                <a:gd name="connsiteX1" fmla="*/ 93452 w 2382083"/>
                <a:gd name="connsiteY1" fmla="*/ -282 h 1608014"/>
                <a:gd name="connsiteX2" fmla="*/ 93452 w 2382083"/>
                <a:gd name="connsiteY2" fmla="*/ 33204 h 1608014"/>
                <a:gd name="connsiteX3" fmla="*/ 119920 w 2382083"/>
                <a:gd name="connsiteY3" fmla="*/ 31270 h 1608014"/>
                <a:gd name="connsiteX4" fmla="*/ 144351 w 2382083"/>
                <a:gd name="connsiteY4" fmla="*/ 31270 h 1608014"/>
                <a:gd name="connsiteX5" fmla="*/ 144351 w 2382083"/>
                <a:gd name="connsiteY5" fmla="*/ 64756 h 1608014"/>
                <a:gd name="connsiteX6" fmla="*/ 160639 w 2382083"/>
                <a:gd name="connsiteY6" fmla="*/ 64756 h 1608014"/>
                <a:gd name="connsiteX7" fmla="*/ 160639 w 2382083"/>
                <a:gd name="connsiteY7" fmla="*/ 90709 h 1608014"/>
                <a:gd name="connsiteX8" fmla="*/ 233934 w 2382083"/>
                <a:gd name="connsiteY8" fmla="*/ 90709 h 1608014"/>
                <a:gd name="connsiteX9" fmla="*/ 233934 w 2382083"/>
                <a:gd name="connsiteY9" fmla="*/ 218850 h 1608014"/>
                <a:gd name="connsiteX10" fmla="*/ 260402 w 2382083"/>
                <a:gd name="connsiteY10" fmla="*/ 218850 h 1608014"/>
                <a:gd name="connsiteX11" fmla="*/ 260402 w 2382083"/>
                <a:gd name="connsiteY11" fmla="*/ 276457 h 1608014"/>
                <a:gd name="connsiteX12" fmla="*/ 335732 w 2382083"/>
                <a:gd name="connsiteY12" fmla="*/ 276457 h 1608014"/>
                <a:gd name="connsiteX13" fmla="*/ 335732 w 2382083"/>
                <a:gd name="connsiteY13" fmla="*/ 309841 h 1608014"/>
                <a:gd name="connsiteX14" fmla="*/ 400883 w 2382083"/>
                <a:gd name="connsiteY14" fmla="*/ 309841 h 1608014"/>
                <a:gd name="connsiteX15" fmla="*/ 400883 w 2382083"/>
                <a:gd name="connsiteY15" fmla="*/ 333963 h 1608014"/>
                <a:gd name="connsiteX16" fmla="*/ 429387 w 2382083"/>
                <a:gd name="connsiteY16" fmla="*/ 333963 h 1608014"/>
                <a:gd name="connsiteX17" fmla="*/ 429387 w 2382083"/>
                <a:gd name="connsiteY17" fmla="*/ 402664 h 1608014"/>
                <a:gd name="connsiteX18" fmla="*/ 478250 w 2382083"/>
                <a:gd name="connsiteY18" fmla="*/ 402664 h 1608014"/>
                <a:gd name="connsiteX19" fmla="*/ 478250 w 2382083"/>
                <a:gd name="connsiteY19" fmla="*/ 649683 h 1608014"/>
                <a:gd name="connsiteX20" fmla="*/ 647236 w 2382083"/>
                <a:gd name="connsiteY20" fmla="*/ 649683 h 1608014"/>
                <a:gd name="connsiteX21" fmla="*/ 647236 w 2382083"/>
                <a:gd name="connsiteY21" fmla="*/ 720216 h 1608014"/>
                <a:gd name="connsiteX22" fmla="*/ 692027 w 2382083"/>
                <a:gd name="connsiteY22" fmla="*/ 720216 h 1608014"/>
                <a:gd name="connsiteX23" fmla="*/ 692027 w 2382083"/>
                <a:gd name="connsiteY23" fmla="*/ 820774 h 1608014"/>
                <a:gd name="connsiteX24" fmla="*/ 730711 w 2382083"/>
                <a:gd name="connsiteY24" fmla="*/ 820774 h 1608014"/>
                <a:gd name="connsiteX25" fmla="*/ 730711 w 2382083"/>
                <a:gd name="connsiteY25" fmla="*/ 919195 h 1608014"/>
                <a:gd name="connsiteX26" fmla="*/ 887480 w 2382083"/>
                <a:gd name="connsiteY26" fmla="*/ 919195 h 1608014"/>
                <a:gd name="connsiteX27" fmla="*/ 887480 w 2382083"/>
                <a:gd name="connsiteY27" fmla="*/ 948914 h 1608014"/>
                <a:gd name="connsiteX28" fmla="*/ 936343 w 2382083"/>
                <a:gd name="connsiteY28" fmla="*/ 948914 h 1608014"/>
                <a:gd name="connsiteX29" fmla="*/ 936343 w 2382083"/>
                <a:gd name="connsiteY29" fmla="*/ 1052933 h 1608014"/>
                <a:gd name="connsiteX30" fmla="*/ 960775 w 2382083"/>
                <a:gd name="connsiteY30" fmla="*/ 1052933 h 1608014"/>
                <a:gd name="connsiteX31" fmla="*/ 960775 w 2382083"/>
                <a:gd name="connsiteY31" fmla="*/ 1127232 h 1608014"/>
                <a:gd name="connsiteX32" fmla="*/ 997422 w 2382083"/>
                <a:gd name="connsiteY32" fmla="*/ 1127232 h 1608014"/>
                <a:gd name="connsiteX33" fmla="*/ 997422 w 2382083"/>
                <a:gd name="connsiteY33" fmla="*/ 1171811 h 1608014"/>
                <a:gd name="connsiteX34" fmla="*/ 1178624 w 2382083"/>
                <a:gd name="connsiteY34" fmla="*/ 1171811 h 1608014"/>
                <a:gd name="connsiteX35" fmla="*/ 1178624 w 2382083"/>
                <a:gd name="connsiteY35" fmla="*/ 1212523 h 1608014"/>
                <a:gd name="connsiteX36" fmla="*/ 1445336 w 2382083"/>
                <a:gd name="connsiteY36" fmla="*/ 1212523 h 1608014"/>
                <a:gd name="connsiteX37" fmla="*/ 1445336 w 2382083"/>
                <a:gd name="connsiteY37" fmla="*/ 1293947 h 1608014"/>
                <a:gd name="connsiteX38" fmla="*/ 1673364 w 2382083"/>
                <a:gd name="connsiteY38" fmla="*/ 1293947 h 1608014"/>
                <a:gd name="connsiteX39" fmla="*/ 1673364 w 2382083"/>
                <a:gd name="connsiteY39" fmla="*/ 1607733 h 1608014"/>
                <a:gd name="connsiteX40" fmla="*/ 2381881 w 2382083"/>
                <a:gd name="connsiteY40" fmla="*/ 1607733 h 160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82083" h="1608014">
                  <a:moveTo>
                    <a:pt x="-203" y="-282"/>
                  </a:moveTo>
                  <a:lnTo>
                    <a:pt x="93452" y="-282"/>
                  </a:lnTo>
                  <a:lnTo>
                    <a:pt x="93452" y="33204"/>
                  </a:lnTo>
                  <a:cubicBezTo>
                    <a:pt x="102186" y="31708"/>
                    <a:pt x="111053" y="31056"/>
                    <a:pt x="119920" y="31270"/>
                  </a:cubicBezTo>
                  <a:lnTo>
                    <a:pt x="144351" y="31270"/>
                  </a:lnTo>
                  <a:lnTo>
                    <a:pt x="144351" y="64756"/>
                  </a:lnTo>
                  <a:lnTo>
                    <a:pt x="160639" y="64756"/>
                  </a:lnTo>
                  <a:lnTo>
                    <a:pt x="160639" y="90709"/>
                  </a:lnTo>
                  <a:lnTo>
                    <a:pt x="233934" y="90709"/>
                  </a:lnTo>
                  <a:lnTo>
                    <a:pt x="233934" y="218850"/>
                  </a:lnTo>
                  <a:lnTo>
                    <a:pt x="260402" y="218850"/>
                  </a:lnTo>
                  <a:lnTo>
                    <a:pt x="260402" y="276457"/>
                  </a:lnTo>
                  <a:lnTo>
                    <a:pt x="335732" y="276457"/>
                  </a:lnTo>
                  <a:lnTo>
                    <a:pt x="335732" y="309841"/>
                  </a:lnTo>
                  <a:lnTo>
                    <a:pt x="400883" y="309841"/>
                  </a:lnTo>
                  <a:lnTo>
                    <a:pt x="400883" y="333963"/>
                  </a:lnTo>
                  <a:lnTo>
                    <a:pt x="429387" y="333963"/>
                  </a:lnTo>
                  <a:lnTo>
                    <a:pt x="429387" y="402664"/>
                  </a:lnTo>
                  <a:lnTo>
                    <a:pt x="478250" y="402664"/>
                  </a:lnTo>
                  <a:lnTo>
                    <a:pt x="478250" y="649683"/>
                  </a:lnTo>
                  <a:lnTo>
                    <a:pt x="647236" y="649683"/>
                  </a:lnTo>
                  <a:lnTo>
                    <a:pt x="647236" y="720216"/>
                  </a:lnTo>
                  <a:lnTo>
                    <a:pt x="692027" y="720216"/>
                  </a:lnTo>
                  <a:lnTo>
                    <a:pt x="692027" y="820774"/>
                  </a:lnTo>
                  <a:lnTo>
                    <a:pt x="730711" y="820774"/>
                  </a:lnTo>
                  <a:lnTo>
                    <a:pt x="730711" y="919195"/>
                  </a:lnTo>
                  <a:lnTo>
                    <a:pt x="887480" y="919195"/>
                  </a:lnTo>
                  <a:lnTo>
                    <a:pt x="887480" y="948914"/>
                  </a:lnTo>
                  <a:lnTo>
                    <a:pt x="936343" y="948914"/>
                  </a:lnTo>
                  <a:lnTo>
                    <a:pt x="936343" y="1052933"/>
                  </a:lnTo>
                  <a:lnTo>
                    <a:pt x="960775" y="1052933"/>
                  </a:lnTo>
                  <a:lnTo>
                    <a:pt x="960775" y="1127232"/>
                  </a:lnTo>
                  <a:lnTo>
                    <a:pt x="997422" y="1127232"/>
                  </a:lnTo>
                  <a:lnTo>
                    <a:pt x="997422" y="1171811"/>
                  </a:lnTo>
                  <a:lnTo>
                    <a:pt x="1178624" y="1171811"/>
                  </a:lnTo>
                  <a:lnTo>
                    <a:pt x="1178624" y="1212523"/>
                  </a:lnTo>
                  <a:lnTo>
                    <a:pt x="1445336" y="1212523"/>
                  </a:lnTo>
                  <a:lnTo>
                    <a:pt x="1445336" y="1293947"/>
                  </a:lnTo>
                  <a:lnTo>
                    <a:pt x="1673364" y="1293947"/>
                  </a:lnTo>
                  <a:lnTo>
                    <a:pt x="1673364" y="1607733"/>
                  </a:lnTo>
                  <a:lnTo>
                    <a:pt x="2381881" y="1607733"/>
                  </a:lnTo>
                </a:path>
              </a:pathLst>
            </a:custGeom>
            <a:noFill/>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0" name="Freeform: Shape 479">
              <a:extLst>
                <a:ext uri="{FF2B5EF4-FFF2-40B4-BE49-F238E27FC236}">
                  <a16:creationId xmlns:a16="http://schemas.microsoft.com/office/drawing/2014/main" id="{A98E213B-6E81-4C34-C8ED-CD1CB066D7B5}"/>
                </a:ext>
              </a:extLst>
            </p:cNvPr>
            <p:cNvSpPr/>
            <p:nvPr/>
          </p:nvSpPr>
          <p:spPr>
            <a:xfrm>
              <a:off x="5895259" y="3218384"/>
              <a:ext cx="9856" cy="22403"/>
            </a:xfrm>
            <a:custGeom>
              <a:avLst/>
              <a:gdLst>
                <a:gd name="connsiteX0" fmla="*/ 0 w 10179"/>
                <a:gd name="connsiteY0" fmla="*/ 0 h 30126"/>
                <a:gd name="connsiteX1" fmla="*/ 0 w 10179"/>
                <a:gd name="connsiteY1" fmla="*/ 30127 h 30126"/>
              </a:gdLst>
              <a:ahLst/>
              <a:cxnLst>
                <a:cxn ang="0">
                  <a:pos x="connsiteX0" y="connsiteY0"/>
                </a:cxn>
                <a:cxn ang="0">
                  <a:pos x="connsiteX1" y="connsiteY1"/>
                </a:cxn>
              </a:cxnLst>
              <a:rect l="l" t="t" r="r" b="b"/>
              <a:pathLst>
                <a:path w="10179" h="30126">
                  <a:moveTo>
                    <a:pt x="0" y="0"/>
                  </a:moveTo>
                  <a:lnTo>
                    <a:pt x="0" y="30127"/>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1" name="Freeform: Shape 480">
              <a:extLst>
                <a:ext uri="{FF2B5EF4-FFF2-40B4-BE49-F238E27FC236}">
                  <a16:creationId xmlns:a16="http://schemas.microsoft.com/office/drawing/2014/main" id="{24B82397-0213-ED15-64E2-D54543EDFE92}"/>
                </a:ext>
              </a:extLst>
            </p:cNvPr>
            <p:cNvSpPr/>
            <p:nvPr/>
          </p:nvSpPr>
          <p:spPr>
            <a:xfrm>
              <a:off x="5471929" y="3218384"/>
              <a:ext cx="9856" cy="22403"/>
            </a:xfrm>
            <a:custGeom>
              <a:avLst/>
              <a:gdLst>
                <a:gd name="connsiteX0" fmla="*/ 0 w 10179"/>
                <a:gd name="connsiteY0" fmla="*/ 0 h 30126"/>
                <a:gd name="connsiteX1" fmla="*/ 0 w 10179"/>
                <a:gd name="connsiteY1" fmla="*/ 30127 h 30126"/>
              </a:gdLst>
              <a:ahLst/>
              <a:cxnLst>
                <a:cxn ang="0">
                  <a:pos x="connsiteX0" y="connsiteY0"/>
                </a:cxn>
                <a:cxn ang="0">
                  <a:pos x="connsiteX1" y="connsiteY1"/>
                </a:cxn>
              </a:cxnLst>
              <a:rect l="l" t="t" r="r" b="b"/>
              <a:pathLst>
                <a:path w="10179" h="30126">
                  <a:moveTo>
                    <a:pt x="0" y="0"/>
                  </a:moveTo>
                  <a:lnTo>
                    <a:pt x="0" y="30127"/>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2" name="Freeform: Shape 481">
              <a:extLst>
                <a:ext uri="{FF2B5EF4-FFF2-40B4-BE49-F238E27FC236}">
                  <a16:creationId xmlns:a16="http://schemas.microsoft.com/office/drawing/2014/main" id="{0F8E2BD3-15AB-0826-43EC-B72AD3A1846C}"/>
                </a:ext>
              </a:extLst>
            </p:cNvPr>
            <p:cNvSpPr/>
            <p:nvPr/>
          </p:nvSpPr>
          <p:spPr>
            <a:xfrm>
              <a:off x="5430040" y="2983073"/>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3" name="Freeform: Shape 482">
              <a:extLst>
                <a:ext uri="{FF2B5EF4-FFF2-40B4-BE49-F238E27FC236}">
                  <a16:creationId xmlns:a16="http://schemas.microsoft.com/office/drawing/2014/main" id="{80C1D406-6945-2AE4-8C6F-6F3B21A72B0A}"/>
                </a:ext>
              </a:extLst>
            </p:cNvPr>
            <p:cNvSpPr/>
            <p:nvPr/>
          </p:nvSpPr>
          <p:spPr>
            <a:xfrm>
              <a:off x="5282983" y="2983073"/>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4" name="Freeform: Shape 483">
              <a:extLst>
                <a:ext uri="{FF2B5EF4-FFF2-40B4-BE49-F238E27FC236}">
                  <a16:creationId xmlns:a16="http://schemas.microsoft.com/office/drawing/2014/main" id="{A7BE6280-6FF9-4B35-38CA-229023E1FA53}"/>
                </a:ext>
              </a:extLst>
            </p:cNvPr>
            <p:cNvSpPr/>
            <p:nvPr/>
          </p:nvSpPr>
          <p:spPr>
            <a:xfrm>
              <a:off x="5244148" y="2983073"/>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 name="Freeform: Shape 484">
              <a:extLst>
                <a:ext uri="{FF2B5EF4-FFF2-40B4-BE49-F238E27FC236}">
                  <a16:creationId xmlns:a16="http://schemas.microsoft.com/office/drawing/2014/main" id="{E28F35B3-45DD-2184-0D7C-46F3C4D135CA}"/>
                </a:ext>
              </a:extLst>
            </p:cNvPr>
            <p:cNvSpPr/>
            <p:nvPr/>
          </p:nvSpPr>
          <p:spPr>
            <a:xfrm>
              <a:off x="4877592" y="2893309"/>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 name="Freeform: Shape 485">
              <a:extLst>
                <a:ext uri="{FF2B5EF4-FFF2-40B4-BE49-F238E27FC236}">
                  <a16:creationId xmlns:a16="http://schemas.microsoft.com/office/drawing/2014/main" id="{8326DF95-504B-4C52-6B44-5E3DAAD467FC}"/>
                </a:ext>
              </a:extLst>
            </p:cNvPr>
            <p:cNvSpPr/>
            <p:nvPr/>
          </p:nvSpPr>
          <p:spPr>
            <a:xfrm>
              <a:off x="4036353" y="2182683"/>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 name="Freeform: Shape 486">
              <a:extLst>
                <a:ext uri="{FF2B5EF4-FFF2-40B4-BE49-F238E27FC236}">
                  <a16:creationId xmlns:a16="http://schemas.microsoft.com/office/drawing/2014/main" id="{69FB251F-A163-32C6-084C-C64579ABA02D}"/>
                </a:ext>
              </a:extLst>
            </p:cNvPr>
            <p:cNvSpPr/>
            <p:nvPr/>
          </p:nvSpPr>
          <p:spPr>
            <a:xfrm>
              <a:off x="3799800" y="2021547"/>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 name="Freeform: Shape 487">
              <a:extLst>
                <a:ext uri="{FF2B5EF4-FFF2-40B4-BE49-F238E27FC236}">
                  <a16:creationId xmlns:a16="http://schemas.microsoft.com/office/drawing/2014/main" id="{BEAC3D71-E03C-7CBB-033D-03A95AE218A9}"/>
                </a:ext>
              </a:extLst>
            </p:cNvPr>
            <p:cNvSpPr/>
            <p:nvPr/>
          </p:nvSpPr>
          <p:spPr>
            <a:xfrm>
              <a:off x="3964697" y="2067489"/>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 name="Freeform: Shape 488">
              <a:extLst>
                <a:ext uri="{FF2B5EF4-FFF2-40B4-BE49-F238E27FC236}">
                  <a16:creationId xmlns:a16="http://schemas.microsoft.com/office/drawing/2014/main" id="{CB090F86-FECA-25B1-CDB0-5FBF1C5A560F}"/>
                </a:ext>
              </a:extLst>
            </p:cNvPr>
            <p:cNvSpPr/>
            <p:nvPr/>
          </p:nvSpPr>
          <p:spPr>
            <a:xfrm>
              <a:off x="4405866" y="2507760"/>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 name="Freeform: Shape 490">
              <a:extLst>
                <a:ext uri="{FF2B5EF4-FFF2-40B4-BE49-F238E27FC236}">
                  <a16:creationId xmlns:a16="http://schemas.microsoft.com/office/drawing/2014/main" id="{D8EC8D00-A58D-230D-15F8-3B6E734D018C}"/>
                </a:ext>
              </a:extLst>
            </p:cNvPr>
            <p:cNvSpPr/>
            <p:nvPr/>
          </p:nvSpPr>
          <p:spPr>
            <a:xfrm>
              <a:off x="4621327" y="2706438"/>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1" name="Freeform: Shape 491">
              <a:extLst>
                <a:ext uri="{FF2B5EF4-FFF2-40B4-BE49-F238E27FC236}">
                  <a16:creationId xmlns:a16="http://schemas.microsoft.com/office/drawing/2014/main" id="{3B0AB21A-2CE4-7495-0F58-761A05924CD6}"/>
                </a:ext>
              </a:extLst>
            </p:cNvPr>
            <p:cNvSpPr/>
            <p:nvPr/>
          </p:nvSpPr>
          <p:spPr>
            <a:xfrm>
              <a:off x="4775972" y="2893309"/>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 name="Freeform: Shape 492">
              <a:extLst>
                <a:ext uri="{FF2B5EF4-FFF2-40B4-BE49-F238E27FC236}">
                  <a16:creationId xmlns:a16="http://schemas.microsoft.com/office/drawing/2014/main" id="{4FB6EC17-13B8-3DD7-4A3F-2498829B9AFE}"/>
                </a:ext>
              </a:extLst>
            </p:cNvPr>
            <p:cNvSpPr/>
            <p:nvPr/>
          </p:nvSpPr>
          <p:spPr>
            <a:xfrm>
              <a:off x="4951514" y="2893309"/>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 name="Freeform: Shape 493">
              <a:extLst>
                <a:ext uri="{FF2B5EF4-FFF2-40B4-BE49-F238E27FC236}">
                  <a16:creationId xmlns:a16="http://schemas.microsoft.com/office/drawing/2014/main" id="{8E11635F-D00D-6290-2B67-2B6F32CF10D2}"/>
                </a:ext>
              </a:extLst>
            </p:cNvPr>
            <p:cNvSpPr/>
            <p:nvPr/>
          </p:nvSpPr>
          <p:spPr>
            <a:xfrm>
              <a:off x="5210834" y="2929715"/>
              <a:ext cx="9856" cy="22327"/>
            </a:xfrm>
            <a:custGeom>
              <a:avLst/>
              <a:gdLst>
                <a:gd name="connsiteX0" fmla="*/ 0 w 10179"/>
                <a:gd name="connsiteY0" fmla="*/ 0 h 30024"/>
                <a:gd name="connsiteX1" fmla="*/ 0 w 10179"/>
                <a:gd name="connsiteY1" fmla="*/ 30025 h 30024"/>
              </a:gdLst>
              <a:ahLst/>
              <a:cxnLst>
                <a:cxn ang="0">
                  <a:pos x="connsiteX0" y="connsiteY0"/>
                </a:cxn>
                <a:cxn ang="0">
                  <a:pos x="connsiteX1" y="connsiteY1"/>
                </a:cxn>
              </a:cxnLst>
              <a:rect l="l" t="t" r="r" b="b"/>
              <a:pathLst>
                <a:path w="10179" h="30024">
                  <a:moveTo>
                    <a:pt x="0" y="0"/>
                  </a:moveTo>
                  <a:lnTo>
                    <a:pt x="0" y="30025"/>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 name="Freeform: Shape 494">
              <a:extLst>
                <a:ext uri="{FF2B5EF4-FFF2-40B4-BE49-F238E27FC236}">
                  <a16:creationId xmlns:a16="http://schemas.microsoft.com/office/drawing/2014/main" id="{DAD51720-4DDD-C06A-3421-40AF8C7B0883}"/>
                </a:ext>
              </a:extLst>
            </p:cNvPr>
            <p:cNvSpPr/>
            <p:nvPr/>
          </p:nvSpPr>
          <p:spPr>
            <a:xfrm>
              <a:off x="5412199" y="2996243"/>
              <a:ext cx="29076" cy="7568"/>
            </a:xfrm>
            <a:custGeom>
              <a:avLst/>
              <a:gdLst>
                <a:gd name="connsiteX0" fmla="*/ 30030 w 30030"/>
                <a:gd name="connsiteY0" fmla="*/ 0 h 10177"/>
                <a:gd name="connsiteX1" fmla="*/ 0 w 30030"/>
                <a:gd name="connsiteY1" fmla="*/ 0 h 10177"/>
              </a:gdLst>
              <a:ahLst/>
              <a:cxnLst>
                <a:cxn ang="0">
                  <a:pos x="connsiteX0" y="connsiteY0"/>
                </a:cxn>
                <a:cxn ang="0">
                  <a:pos x="connsiteX1" y="connsiteY1"/>
                </a:cxn>
              </a:cxnLst>
              <a:rect l="l" t="t" r="r" b="b"/>
              <a:pathLst>
                <a:path w="30030" h="10177">
                  <a:moveTo>
                    <a:pt x="30030" y="0"/>
                  </a:moveTo>
                  <a:lnTo>
                    <a:pt x="0" y="0"/>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5" name="Freeform: Shape 495">
              <a:extLst>
                <a:ext uri="{FF2B5EF4-FFF2-40B4-BE49-F238E27FC236}">
                  <a16:creationId xmlns:a16="http://schemas.microsoft.com/office/drawing/2014/main" id="{6CE7CE9B-4A4E-2EBD-171B-C2B5B754A991}"/>
                </a:ext>
              </a:extLst>
            </p:cNvPr>
            <p:cNvSpPr/>
            <p:nvPr/>
          </p:nvSpPr>
          <p:spPr>
            <a:xfrm>
              <a:off x="5196247" y="2940841"/>
              <a:ext cx="29174" cy="7568"/>
            </a:xfrm>
            <a:custGeom>
              <a:avLst/>
              <a:gdLst>
                <a:gd name="connsiteX0" fmla="*/ 30132 w 30132"/>
                <a:gd name="connsiteY0" fmla="*/ 0 h 10177"/>
                <a:gd name="connsiteX1" fmla="*/ 0 w 30132"/>
                <a:gd name="connsiteY1" fmla="*/ 0 h 10177"/>
              </a:gdLst>
              <a:ahLst/>
              <a:cxnLst>
                <a:cxn ang="0">
                  <a:pos x="connsiteX0" y="connsiteY0"/>
                </a:cxn>
                <a:cxn ang="0">
                  <a:pos x="connsiteX1" y="connsiteY1"/>
                </a:cxn>
              </a:cxnLst>
              <a:rect l="l" t="t" r="r" b="b"/>
              <a:pathLst>
                <a:path w="30132" h="10177">
                  <a:moveTo>
                    <a:pt x="30132" y="0"/>
                  </a:moveTo>
                  <a:lnTo>
                    <a:pt x="0" y="0"/>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6" name="Freeform: Shape 496">
              <a:extLst>
                <a:ext uri="{FF2B5EF4-FFF2-40B4-BE49-F238E27FC236}">
                  <a16:creationId xmlns:a16="http://schemas.microsoft.com/office/drawing/2014/main" id="{96BC7E75-D7A5-B3C2-6E21-9E782BCED10C}"/>
                </a:ext>
              </a:extLst>
            </p:cNvPr>
            <p:cNvSpPr/>
            <p:nvPr/>
          </p:nvSpPr>
          <p:spPr>
            <a:xfrm>
              <a:off x="4936926" y="2904435"/>
              <a:ext cx="29076" cy="7568"/>
            </a:xfrm>
            <a:custGeom>
              <a:avLst/>
              <a:gdLst>
                <a:gd name="connsiteX0" fmla="*/ 30031 w 30030"/>
                <a:gd name="connsiteY0" fmla="*/ 0 h 10177"/>
                <a:gd name="connsiteX1" fmla="*/ 0 w 30030"/>
                <a:gd name="connsiteY1" fmla="*/ 0 h 10177"/>
              </a:gdLst>
              <a:ahLst/>
              <a:cxnLst>
                <a:cxn ang="0">
                  <a:pos x="connsiteX0" y="connsiteY0"/>
                </a:cxn>
                <a:cxn ang="0">
                  <a:pos x="connsiteX1" y="connsiteY1"/>
                </a:cxn>
              </a:cxnLst>
              <a:rect l="l" t="t" r="r" b="b"/>
              <a:pathLst>
                <a:path w="30030" h="10177">
                  <a:moveTo>
                    <a:pt x="30031" y="0"/>
                  </a:moveTo>
                  <a:lnTo>
                    <a:pt x="0" y="0"/>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7" name="Freeform: Shape 497">
              <a:extLst>
                <a:ext uri="{FF2B5EF4-FFF2-40B4-BE49-F238E27FC236}">
                  <a16:creationId xmlns:a16="http://schemas.microsoft.com/office/drawing/2014/main" id="{94DCF3C7-DC8A-2078-54FB-AE7E6C3EDE13}"/>
                </a:ext>
              </a:extLst>
            </p:cNvPr>
            <p:cNvSpPr/>
            <p:nvPr/>
          </p:nvSpPr>
          <p:spPr>
            <a:xfrm>
              <a:off x="4760991" y="2904435"/>
              <a:ext cx="29174" cy="7568"/>
            </a:xfrm>
            <a:custGeom>
              <a:avLst/>
              <a:gdLst>
                <a:gd name="connsiteX0" fmla="*/ 30132 w 30132"/>
                <a:gd name="connsiteY0" fmla="*/ 0 h 10177"/>
                <a:gd name="connsiteX1" fmla="*/ 0 w 30132"/>
                <a:gd name="connsiteY1" fmla="*/ 0 h 10177"/>
              </a:gdLst>
              <a:ahLst/>
              <a:cxnLst>
                <a:cxn ang="0">
                  <a:pos x="connsiteX0" y="connsiteY0"/>
                </a:cxn>
                <a:cxn ang="0">
                  <a:pos x="connsiteX1" y="connsiteY1"/>
                </a:cxn>
              </a:cxnLst>
              <a:rect l="l" t="t" r="r" b="b"/>
              <a:pathLst>
                <a:path w="30132" h="10177">
                  <a:moveTo>
                    <a:pt x="30132" y="0"/>
                  </a:moveTo>
                  <a:lnTo>
                    <a:pt x="0" y="0"/>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8" name="Freeform: Shape 498">
              <a:extLst>
                <a:ext uri="{FF2B5EF4-FFF2-40B4-BE49-F238E27FC236}">
                  <a16:creationId xmlns:a16="http://schemas.microsoft.com/office/drawing/2014/main" id="{9DF09845-B820-DB5C-0529-8AFDED2E4057}"/>
                </a:ext>
              </a:extLst>
            </p:cNvPr>
            <p:cNvSpPr/>
            <p:nvPr/>
          </p:nvSpPr>
          <p:spPr>
            <a:xfrm>
              <a:off x="4724522" y="2834122"/>
              <a:ext cx="29076" cy="7568"/>
            </a:xfrm>
            <a:custGeom>
              <a:avLst/>
              <a:gdLst>
                <a:gd name="connsiteX0" fmla="*/ 30031 w 30030"/>
                <a:gd name="connsiteY0" fmla="*/ 0 h 10177"/>
                <a:gd name="connsiteX1" fmla="*/ 0 w 30030"/>
                <a:gd name="connsiteY1" fmla="*/ 0 h 10177"/>
              </a:gdLst>
              <a:ahLst/>
              <a:cxnLst>
                <a:cxn ang="0">
                  <a:pos x="connsiteX0" y="connsiteY0"/>
                </a:cxn>
                <a:cxn ang="0">
                  <a:pos x="connsiteX1" y="connsiteY1"/>
                </a:cxn>
              </a:cxnLst>
              <a:rect l="l" t="t" r="r" b="b"/>
              <a:pathLst>
                <a:path w="30030" h="10177">
                  <a:moveTo>
                    <a:pt x="30031" y="0"/>
                  </a:moveTo>
                  <a:lnTo>
                    <a:pt x="0" y="0"/>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9" name="Freeform: Shape 499">
              <a:extLst>
                <a:ext uri="{FF2B5EF4-FFF2-40B4-BE49-F238E27FC236}">
                  <a16:creationId xmlns:a16="http://schemas.microsoft.com/office/drawing/2014/main" id="{44D804F6-C0B9-D85A-3A05-27C38B349FF0}"/>
                </a:ext>
              </a:extLst>
            </p:cNvPr>
            <p:cNvSpPr/>
            <p:nvPr/>
          </p:nvSpPr>
          <p:spPr>
            <a:xfrm>
              <a:off x="4258218" y="2392564"/>
              <a:ext cx="29076" cy="7568"/>
            </a:xfrm>
            <a:custGeom>
              <a:avLst/>
              <a:gdLst>
                <a:gd name="connsiteX0" fmla="*/ 30031 w 30030"/>
                <a:gd name="connsiteY0" fmla="*/ 0 h 10177"/>
                <a:gd name="connsiteX1" fmla="*/ 0 w 30030"/>
                <a:gd name="connsiteY1" fmla="*/ 0 h 10177"/>
              </a:gdLst>
              <a:ahLst/>
              <a:cxnLst>
                <a:cxn ang="0">
                  <a:pos x="connsiteX0" y="connsiteY0"/>
                </a:cxn>
                <a:cxn ang="0">
                  <a:pos x="connsiteX1" y="connsiteY1"/>
                </a:cxn>
              </a:cxnLst>
              <a:rect l="l" t="t" r="r" b="b"/>
              <a:pathLst>
                <a:path w="30030" h="10177">
                  <a:moveTo>
                    <a:pt x="30031" y="0"/>
                  </a:moveTo>
                  <a:lnTo>
                    <a:pt x="0" y="0"/>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0" name="Freeform: Shape 500">
              <a:extLst>
                <a:ext uri="{FF2B5EF4-FFF2-40B4-BE49-F238E27FC236}">
                  <a16:creationId xmlns:a16="http://schemas.microsoft.com/office/drawing/2014/main" id="{3E0D95C3-60A0-E8BB-1F0A-54EFA3D20B1C}"/>
                </a:ext>
              </a:extLst>
            </p:cNvPr>
            <p:cNvSpPr/>
            <p:nvPr/>
          </p:nvSpPr>
          <p:spPr>
            <a:xfrm>
              <a:off x="4018118" y="2191237"/>
              <a:ext cx="29076" cy="7568"/>
            </a:xfrm>
            <a:custGeom>
              <a:avLst/>
              <a:gdLst>
                <a:gd name="connsiteX0" fmla="*/ 30031 w 30030"/>
                <a:gd name="connsiteY0" fmla="*/ 0 h 10177"/>
                <a:gd name="connsiteX1" fmla="*/ 0 w 30030"/>
                <a:gd name="connsiteY1" fmla="*/ 0 h 10177"/>
              </a:gdLst>
              <a:ahLst/>
              <a:cxnLst>
                <a:cxn ang="0">
                  <a:pos x="connsiteX0" y="connsiteY0"/>
                </a:cxn>
                <a:cxn ang="0">
                  <a:pos x="connsiteX1" y="connsiteY1"/>
                </a:cxn>
              </a:cxnLst>
              <a:rect l="l" t="t" r="r" b="b"/>
              <a:pathLst>
                <a:path w="30030" h="10177">
                  <a:moveTo>
                    <a:pt x="30031" y="0"/>
                  </a:moveTo>
                  <a:lnTo>
                    <a:pt x="0" y="0"/>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1" name="Freeform: Shape 501">
              <a:extLst>
                <a:ext uri="{FF2B5EF4-FFF2-40B4-BE49-F238E27FC236}">
                  <a16:creationId xmlns:a16="http://schemas.microsoft.com/office/drawing/2014/main" id="{F674B83E-4AC5-C3C4-EE03-936DCD9D7737}"/>
                </a:ext>
              </a:extLst>
            </p:cNvPr>
            <p:cNvSpPr/>
            <p:nvPr/>
          </p:nvSpPr>
          <p:spPr>
            <a:xfrm>
              <a:off x="3950208" y="2076799"/>
              <a:ext cx="29076" cy="7568"/>
            </a:xfrm>
            <a:custGeom>
              <a:avLst/>
              <a:gdLst>
                <a:gd name="connsiteX0" fmla="*/ 30031 w 30030"/>
                <a:gd name="connsiteY0" fmla="*/ 0 h 10177"/>
                <a:gd name="connsiteX1" fmla="*/ 0 w 30030"/>
                <a:gd name="connsiteY1" fmla="*/ 0 h 10177"/>
              </a:gdLst>
              <a:ahLst/>
              <a:cxnLst>
                <a:cxn ang="0">
                  <a:pos x="connsiteX0" y="connsiteY0"/>
                </a:cxn>
                <a:cxn ang="0">
                  <a:pos x="connsiteX1" y="connsiteY1"/>
                </a:cxn>
              </a:cxnLst>
              <a:rect l="l" t="t" r="r" b="b"/>
              <a:pathLst>
                <a:path w="30030" h="10177">
                  <a:moveTo>
                    <a:pt x="30031" y="0"/>
                  </a:moveTo>
                  <a:lnTo>
                    <a:pt x="0" y="0"/>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2" name="Freeform: Shape 502">
              <a:extLst>
                <a:ext uri="{FF2B5EF4-FFF2-40B4-BE49-F238E27FC236}">
                  <a16:creationId xmlns:a16="http://schemas.microsoft.com/office/drawing/2014/main" id="{0CFB32DD-BB7F-AC75-D847-C09E3617A26A}"/>
                </a:ext>
              </a:extLst>
            </p:cNvPr>
            <p:cNvSpPr/>
            <p:nvPr/>
          </p:nvSpPr>
          <p:spPr>
            <a:xfrm>
              <a:off x="4258218" y="2454628"/>
              <a:ext cx="29076" cy="7568"/>
            </a:xfrm>
            <a:custGeom>
              <a:avLst/>
              <a:gdLst>
                <a:gd name="connsiteX0" fmla="*/ 30031 w 30030"/>
                <a:gd name="connsiteY0" fmla="*/ 0 h 10177"/>
                <a:gd name="connsiteX1" fmla="*/ 0 w 30030"/>
                <a:gd name="connsiteY1" fmla="*/ 0 h 10177"/>
              </a:gdLst>
              <a:ahLst/>
              <a:cxnLst>
                <a:cxn ang="0">
                  <a:pos x="connsiteX0" y="connsiteY0"/>
                </a:cxn>
                <a:cxn ang="0">
                  <a:pos x="connsiteX1" y="connsiteY1"/>
                </a:cxn>
              </a:cxnLst>
              <a:rect l="l" t="t" r="r" b="b"/>
              <a:pathLst>
                <a:path w="30030" h="10177">
                  <a:moveTo>
                    <a:pt x="30031" y="0"/>
                  </a:moveTo>
                  <a:lnTo>
                    <a:pt x="0" y="0"/>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3" name="Freeform: Shape 503">
              <a:extLst>
                <a:ext uri="{FF2B5EF4-FFF2-40B4-BE49-F238E27FC236}">
                  <a16:creationId xmlns:a16="http://schemas.microsoft.com/office/drawing/2014/main" id="{40A741BB-0D3A-FBF3-5B55-AD5AD3B2A2FF}"/>
                </a:ext>
              </a:extLst>
            </p:cNvPr>
            <p:cNvSpPr/>
            <p:nvPr/>
          </p:nvSpPr>
          <p:spPr>
            <a:xfrm>
              <a:off x="4724522" y="2817168"/>
              <a:ext cx="29076" cy="7568"/>
            </a:xfrm>
            <a:custGeom>
              <a:avLst/>
              <a:gdLst>
                <a:gd name="connsiteX0" fmla="*/ 30031 w 30030"/>
                <a:gd name="connsiteY0" fmla="*/ 0 h 10177"/>
                <a:gd name="connsiteX1" fmla="*/ 0 w 30030"/>
                <a:gd name="connsiteY1" fmla="*/ 0 h 10177"/>
              </a:gdLst>
              <a:ahLst/>
              <a:cxnLst>
                <a:cxn ang="0">
                  <a:pos x="connsiteX0" y="connsiteY0"/>
                </a:cxn>
                <a:cxn ang="0">
                  <a:pos x="connsiteX1" y="connsiteY1"/>
                </a:cxn>
              </a:cxnLst>
              <a:rect l="l" t="t" r="r" b="b"/>
              <a:pathLst>
                <a:path w="30030" h="10177">
                  <a:moveTo>
                    <a:pt x="30031" y="0"/>
                  </a:moveTo>
                  <a:lnTo>
                    <a:pt x="0" y="0"/>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4" name="Freeform: Shape 504">
              <a:extLst>
                <a:ext uri="{FF2B5EF4-FFF2-40B4-BE49-F238E27FC236}">
                  <a16:creationId xmlns:a16="http://schemas.microsoft.com/office/drawing/2014/main" id="{F44B01C4-6738-2AEA-53B9-DAA2014BB55A}"/>
                </a:ext>
              </a:extLst>
            </p:cNvPr>
            <p:cNvSpPr/>
            <p:nvPr/>
          </p:nvSpPr>
          <p:spPr>
            <a:xfrm>
              <a:off x="4724522" y="2860006"/>
              <a:ext cx="29076" cy="7568"/>
            </a:xfrm>
            <a:custGeom>
              <a:avLst/>
              <a:gdLst>
                <a:gd name="connsiteX0" fmla="*/ 30031 w 30030"/>
                <a:gd name="connsiteY0" fmla="*/ 0 h 10177"/>
                <a:gd name="connsiteX1" fmla="*/ 0 w 30030"/>
                <a:gd name="connsiteY1" fmla="*/ 0 h 10177"/>
              </a:gdLst>
              <a:ahLst/>
              <a:cxnLst>
                <a:cxn ang="0">
                  <a:pos x="connsiteX0" y="connsiteY0"/>
                </a:cxn>
                <a:cxn ang="0">
                  <a:pos x="connsiteX1" y="connsiteY1"/>
                </a:cxn>
              </a:cxnLst>
              <a:rect l="l" t="t" r="r" b="b"/>
              <a:pathLst>
                <a:path w="30030" h="10177">
                  <a:moveTo>
                    <a:pt x="30031" y="0"/>
                  </a:moveTo>
                  <a:lnTo>
                    <a:pt x="0" y="0"/>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 name="TextBox 80">
              <a:extLst>
                <a:ext uri="{FF2B5EF4-FFF2-40B4-BE49-F238E27FC236}">
                  <a16:creationId xmlns:a16="http://schemas.microsoft.com/office/drawing/2014/main" id="{7191A876-277F-564D-2607-80315D9F13C6}"/>
                </a:ext>
              </a:extLst>
            </p:cNvPr>
            <p:cNvSpPr txBox="1"/>
            <p:nvPr/>
          </p:nvSpPr>
          <p:spPr>
            <a:xfrm>
              <a:off x="3432386" y="1974627"/>
              <a:ext cx="282595" cy="138499"/>
            </a:xfrm>
            <a:prstGeom prst="rect">
              <a:avLst/>
            </a:prstGeom>
            <a:noFill/>
          </p:spPr>
          <p:txBody>
            <a:bodyPr wrap="square" lIns="0" tIns="0" rIns="0" bIns="0" rtlCol="0" anchor="ctr">
              <a:spAutoFit/>
            </a:bodyPr>
            <a:lstStyle/>
            <a:p>
              <a:pPr marL="0" marR="0" lvl="0" indent="0" algn="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00</a:t>
              </a:r>
            </a:p>
          </p:txBody>
        </p:sp>
        <p:sp>
          <p:nvSpPr>
            <p:cNvPr id="623" name="TextBox 622">
              <a:extLst>
                <a:ext uri="{FF2B5EF4-FFF2-40B4-BE49-F238E27FC236}">
                  <a16:creationId xmlns:a16="http://schemas.microsoft.com/office/drawing/2014/main" id="{DC643BAA-0E95-E6A8-9341-5132D37E8B28}"/>
                </a:ext>
              </a:extLst>
            </p:cNvPr>
            <p:cNvSpPr txBox="1"/>
            <p:nvPr/>
          </p:nvSpPr>
          <p:spPr>
            <a:xfrm rot="16200000">
              <a:off x="2783869" y="2756918"/>
              <a:ext cx="1375285" cy="153888"/>
            </a:xfrm>
            <a:prstGeom prst="rect">
              <a:avLst/>
            </a:prstGeom>
            <a:noFill/>
          </p:spPr>
          <p:txBody>
            <a:bodyPr wrap="square" lIns="0" tIns="0" rIns="0" bIns="0" rtlCol="0"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a:t>
              </a:r>
            </a:p>
          </p:txBody>
        </p:sp>
      </p:grpSp>
      <p:sp>
        <p:nvSpPr>
          <p:cNvPr id="627" name="Rectangle: Rounded Corners 248">
            <a:extLst>
              <a:ext uri="{FF2B5EF4-FFF2-40B4-BE49-F238E27FC236}">
                <a16:creationId xmlns:a16="http://schemas.microsoft.com/office/drawing/2014/main" id="{1B5C8329-3DE4-C9EF-73FA-3F64DE099CF4}"/>
              </a:ext>
            </a:extLst>
          </p:cNvPr>
          <p:cNvSpPr/>
          <p:nvPr/>
        </p:nvSpPr>
        <p:spPr>
          <a:xfrm>
            <a:off x="6350518" y="1595027"/>
            <a:ext cx="2575852" cy="360000"/>
          </a:xfrm>
          <a:prstGeom prst="rect">
            <a:avLst/>
          </a:prstGeom>
          <a:solidFill>
            <a:srgbClr val="C4D600"/>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lIns="72000" rIns="72000"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ATHENA-MONO</a:t>
            </a:r>
            <a:r>
              <a:rPr kumimoji="0" lang="en-US" sz="1800" b="1" i="0" u="none" strike="noStrike" kern="1200" cap="none" spc="0" normalizeH="0" baseline="30000" noProof="0" dirty="0">
                <a:ln>
                  <a:noFill/>
                </a:ln>
                <a:solidFill>
                  <a:prstClr val="black"/>
                </a:solidFill>
                <a:effectLst/>
                <a:uLnTx/>
                <a:uFillTx/>
                <a:latin typeface="Arial"/>
                <a:ea typeface="+mn-ea"/>
                <a:cs typeface="+mn-cs"/>
              </a:rPr>
              <a:t>4</a:t>
            </a:r>
            <a:endParaRPr kumimoji="0" lang="en-US" sz="1800" b="0" i="0" u="none" strike="noStrike" kern="1200" cap="none" spc="0" normalizeH="0" baseline="30000" noProof="0" dirty="0">
              <a:ln>
                <a:noFill/>
              </a:ln>
              <a:solidFill>
                <a:prstClr val="black"/>
              </a:solidFill>
              <a:effectLst/>
              <a:uLnTx/>
              <a:uFillTx/>
              <a:latin typeface="Proxima Nova Rg"/>
              <a:ea typeface="+mn-ea"/>
              <a:cs typeface="+mn-cs"/>
            </a:endParaRPr>
          </a:p>
        </p:txBody>
      </p:sp>
      <p:graphicFrame>
        <p:nvGraphicFramePr>
          <p:cNvPr id="628" name="Table 627">
            <a:extLst>
              <a:ext uri="{FF2B5EF4-FFF2-40B4-BE49-F238E27FC236}">
                <a16:creationId xmlns:a16="http://schemas.microsoft.com/office/drawing/2014/main" id="{71914EB4-3C22-C54B-53E3-32FCA8073932}"/>
              </a:ext>
            </a:extLst>
          </p:cNvPr>
          <p:cNvGraphicFramePr>
            <a:graphicFrameLocks noGrp="1"/>
          </p:cNvGraphicFramePr>
          <p:nvPr/>
        </p:nvGraphicFramePr>
        <p:xfrm>
          <a:off x="6526267" y="4520695"/>
          <a:ext cx="2618944" cy="1332312"/>
        </p:xfrm>
        <a:graphic>
          <a:graphicData uri="http://schemas.openxmlformats.org/drawingml/2006/table">
            <a:tbl>
              <a:tblPr firstRow="1" bandRow="1">
                <a:tableStyleId>{073A0DAA-6AF3-43AB-8588-CEC1D06C72B9}</a:tableStyleId>
              </a:tblPr>
              <a:tblGrid>
                <a:gridCol w="1185011">
                  <a:extLst>
                    <a:ext uri="{9D8B030D-6E8A-4147-A177-3AD203B41FA5}">
                      <a16:colId xmlns:a16="http://schemas.microsoft.com/office/drawing/2014/main" val="2148471966"/>
                    </a:ext>
                  </a:extLst>
                </a:gridCol>
                <a:gridCol w="1433933">
                  <a:extLst>
                    <a:ext uri="{9D8B030D-6E8A-4147-A177-3AD203B41FA5}">
                      <a16:colId xmlns:a16="http://schemas.microsoft.com/office/drawing/2014/main" val="2508215086"/>
                    </a:ext>
                  </a:extLst>
                </a:gridCol>
              </a:tblGrid>
              <a:tr h="364608">
                <a:tc>
                  <a:txBody>
                    <a:bodyPr/>
                    <a:lstStyle/>
                    <a:p>
                      <a:pPr algn="ctr">
                        <a:lnSpc>
                          <a:spcPct val="90000"/>
                        </a:lnSpc>
                      </a:pPr>
                      <a:r>
                        <a:rPr lang="en-US" sz="1100" dirty="0">
                          <a:solidFill>
                            <a:schemeClr val="tx1"/>
                          </a:solidFill>
                          <a:latin typeface="Arial" panose="020B0604020202020204" pitchFamily="34" charset="0"/>
                          <a:cs typeface="Arial" panose="020B0604020202020204" pitchFamily="34" charset="0"/>
                        </a:rPr>
                        <a:t>Rucaparib</a:t>
                      </a:r>
                    </a:p>
                    <a:p>
                      <a:pPr algn="ctr">
                        <a:lnSpc>
                          <a:spcPct val="90000"/>
                        </a:lnSpc>
                      </a:pPr>
                      <a:r>
                        <a:rPr lang="en-US" sz="1100" b="1" kern="1200" dirty="0">
                          <a:solidFill>
                            <a:schemeClr val="tx1"/>
                          </a:solidFill>
                          <a:latin typeface="Arial" panose="020B0604020202020204" pitchFamily="34" charset="0"/>
                          <a:ea typeface="+mn-ea"/>
                          <a:cs typeface="Arial" panose="020B0604020202020204" pitchFamily="34" charset="0"/>
                        </a:rPr>
                        <a:t>(n=91)</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4D600"/>
                    </a:solidFill>
                  </a:tcPr>
                </a:tc>
                <a:tc>
                  <a:txBody>
                    <a:bodyPr/>
                    <a:lstStyle/>
                    <a:p>
                      <a:pPr algn="ctr">
                        <a:lnSpc>
                          <a:spcPct val="90000"/>
                        </a:lnSpc>
                      </a:pPr>
                      <a:r>
                        <a:rPr lang="en-US" sz="1100" dirty="0">
                          <a:latin typeface="Arial" panose="020B0604020202020204" pitchFamily="34" charset="0"/>
                          <a:cs typeface="Arial" panose="020B0604020202020204" pitchFamily="34" charset="0"/>
                        </a:rPr>
                        <a:t>Placebo </a:t>
                      </a:r>
                    </a:p>
                    <a:p>
                      <a:pPr algn="ctr">
                        <a:lnSpc>
                          <a:spcPct val="90000"/>
                        </a:lnSpc>
                      </a:pPr>
                      <a:r>
                        <a:rPr lang="en-US" sz="1100" kern="1200" dirty="0">
                          <a:latin typeface="Arial" panose="020B0604020202020204" pitchFamily="34" charset="0"/>
                          <a:cs typeface="Arial" panose="020B0604020202020204" pitchFamily="34" charset="0"/>
                        </a:rPr>
                        <a:t>(n=24)</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F7F7F"/>
                    </a:solidFill>
                  </a:tcPr>
                </a:tc>
                <a:extLst>
                  <a:ext uri="{0D108BD9-81ED-4DB2-BD59-A6C34878D82A}">
                    <a16:rowId xmlns:a16="http://schemas.microsoft.com/office/drawing/2014/main" val="2597931480"/>
                  </a:ext>
                </a:extLst>
              </a:tr>
              <a:tr h="234560">
                <a:tc>
                  <a:txBody>
                    <a:bodyPr/>
                    <a:lstStyle/>
                    <a:p>
                      <a:pPr marL="0" algn="ctr" defTabSz="685800" rtl="0" eaLnBrk="1" latinLnBrk="0" hangingPunct="1"/>
                      <a:endParaRPr lang="en-US" sz="1100" b="0" kern="1200" dirty="0">
                        <a:solidFill>
                          <a:schemeClr val="tx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685800" rtl="0" eaLnBrk="1" latinLnBrk="0" hangingPunct="1"/>
                      <a:endParaRPr lang="en-US" sz="1100" b="0" kern="1200" dirty="0">
                        <a:solidFill>
                          <a:schemeClr val="tx1"/>
                        </a:solidFill>
                        <a:latin typeface="Arial" panose="020B0604020202020204" pitchFamily="34" charset="0"/>
                        <a:ea typeface="+mn-ea"/>
                        <a:cs typeface="Arial" panose="020B0604020202020204" pitchFamily="34" charset="0"/>
                      </a:endParaRP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6981589"/>
                  </a:ext>
                </a:extLst>
              </a:tr>
              <a:tr h="234560">
                <a:tc>
                  <a:txBody>
                    <a:bodyPr/>
                    <a:lstStyle/>
                    <a:p>
                      <a:pPr marL="0" algn="ctr" defTabSz="685800" rtl="0" eaLnBrk="1" latinLnBrk="0" hangingPunct="1"/>
                      <a:r>
                        <a:rPr lang="en-US" sz="1100" b="1" kern="1200" dirty="0">
                          <a:solidFill>
                            <a:schemeClr val="tx1"/>
                          </a:solidFill>
                          <a:latin typeface="Arial" panose="020B0604020202020204" pitchFamily="34" charset="0"/>
                          <a:ea typeface="+mn-ea"/>
                          <a:cs typeface="Arial" panose="020B0604020202020204" pitchFamily="34" charset="0"/>
                        </a:rPr>
                        <a:t>NR</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685800" rtl="0" eaLnBrk="1" latinLnBrk="0" hangingPunct="1"/>
                      <a:r>
                        <a:rPr lang="en-US" sz="1100" b="1" kern="1200" dirty="0">
                          <a:solidFill>
                            <a:schemeClr val="tx1"/>
                          </a:solidFill>
                          <a:latin typeface="Arial" panose="020B0604020202020204" pitchFamily="34" charset="0"/>
                          <a:ea typeface="+mn-ea"/>
                          <a:cs typeface="Arial" panose="020B0604020202020204" pitchFamily="34" charset="0"/>
                        </a:rPr>
                        <a:t>14.7</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146387"/>
                  </a:ext>
                </a:extLst>
              </a:tr>
              <a:tr h="234560">
                <a:tc gridSpan="2">
                  <a:txBody>
                    <a:bodyPr/>
                    <a:lstStyle/>
                    <a:p>
                      <a:pPr marL="0" algn="ctr" defTabSz="685800" rtl="0" eaLnBrk="1" latinLnBrk="0" hangingPunct="1"/>
                      <a:r>
                        <a:rPr lang="en-US" sz="1100" b="1" kern="1200" dirty="0">
                          <a:solidFill>
                            <a:schemeClr val="tx1"/>
                          </a:solidFill>
                          <a:latin typeface="Arial" panose="020B0604020202020204" pitchFamily="34" charset="0"/>
                          <a:ea typeface="+mn-ea"/>
                          <a:cs typeface="Arial" panose="020B0604020202020204" pitchFamily="34" charset="0"/>
                        </a:rPr>
                        <a:t>N/A</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algn="ctr" defTabSz="685800" rtl="0" eaLnBrk="1" latinLnBrk="0" hangingPunct="1"/>
                      <a:endParaRPr lang="en-GB" sz="1200" b="0" kern="1200">
                        <a:solidFill>
                          <a:schemeClr val="tx1"/>
                        </a:solidFill>
                        <a:latin typeface="Arial Narrow" panose="020B0606020202030204" pitchFamily="34" charset="0"/>
                        <a:ea typeface="+mn-ea"/>
                        <a:cs typeface="+mn-cs"/>
                      </a:endParaRPr>
                    </a:p>
                  </a:txBody>
                  <a:tcPr marL="36000" marR="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65021570"/>
                  </a:ext>
                </a:extLst>
              </a:tr>
              <a:tr h="23456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Arial" panose="020B0604020202020204" pitchFamily="34" charset="0"/>
                          <a:cs typeface="Arial" panose="020B0604020202020204" pitchFamily="34" charset="0"/>
                        </a:rPr>
                        <a:t>0.40 (0.21-0.75),</a:t>
                      </a:r>
                    </a:p>
                  </a:txBody>
                  <a:tcPr marL="36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GB" sz="900" b="0">
                        <a:solidFill>
                          <a:schemeClr val="tx1">
                            <a:lumMod val="50000"/>
                            <a:lumOff val="50000"/>
                          </a:schemeClr>
                        </a:solidFill>
                      </a:endParaRPr>
                    </a:p>
                  </a:txBody>
                  <a:tcPr marT="60960" marB="60960" anchor="ctr">
                    <a:lnL w="12700" cmpd="sng">
                      <a:noFill/>
                    </a:lnL>
                    <a:lnT w="12700" cmpd="sng">
                      <a:noFill/>
                    </a:lnT>
                  </a:tcPr>
                </a:tc>
                <a:extLst>
                  <a:ext uri="{0D108BD9-81ED-4DB2-BD59-A6C34878D82A}">
                    <a16:rowId xmlns:a16="http://schemas.microsoft.com/office/drawing/2014/main" val="2102812147"/>
                  </a:ext>
                </a:extLst>
              </a:tr>
            </a:tbl>
          </a:graphicData>
        </a:graphic>
      </p:graphicFrame>
      <p:sp>
        <p:nvSpPr>
          <p:cNvPr id="625" name="Text Placeholder 6">
            <a:extLst>
              <a:ext uri="{FF2B5EF4-FFF2-40B4-BE49-F238E27FC236}">
                <a16:creationId xmlns:a16="http://schemas.microsoft.com/office/drawing/2014/main" id="{77304B22-E1A2-5307-A0E4-C17879898F84}"/>
              </a:ext>
            </a:extLst>
          </p:cNvPr>
          <p:cNvSpPr txBox="1">
            <a:spLocks/>
          </p:cNvSpPr>
          <p:nvPr/>
        </p:nvSpPr>
        <p:spPr>
          <a:xfrm>
            <a:off x="262459" y="6467789"/>
            <a:ext cx="12192000" cy="4476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Text Placeholder 6">
            <a:extLst>
              <a:ext uri="{FF2B5EF4-FFF2-40B4-BE49-F238E27FC236}">
                <a16:creationId xmlns:a16="http://schemas.microsoft.com/office/drawing/2014/main" id="{B8F0064F-12B6-3CE2-E552-C1C6731E575C}"/>
              </a:ext>
            </a:extLst>
          </p:cNvPr>
          <p:cNvSpPr txBox="1">
            <a:spLocks/>
          </p:cNvSpPr>
          <p:nvPr/>
        </p:nvSpPr>
        <p:spPr>
          <a:xfrm>
            <a:off x="0" y="5957181"/>
            <a:ext cx="12192000" cy="900820"/>
          </a:xfrm>
          <a:prstGeom prst="rect">
            <a:avLst/>
          </a:prstGeom>
          <a:solidFill>
            <a:schemeClr val="bg1"/>
          </a:solidFill>
        </p:spPr>
        <p:txBody>
          <a:bodyPr wrap="square" anchor="b">
            <a:noAutofit/>
          </a:bodyPr>
          <a:lstStyle>
            <a:defPPr>
              <a:defRPr lang="en-US"/>
            </a:defPPr>
            <a:lvl1pPr>
              <a:defRPr sz="1000">
                <a:solidFill>
                  <a:schemeClr val="bg1"/>
                </a:solidFill>
                <a:latin typeface="Arial" panose="020B0604020202020204" pitchFamily="34" charset="0"/>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ease note that head-to-head studies were not conducted between these products. These data are for information purposes only and no comparative claims of non-inferiority or superiority in terms of efficacy or safety are implied or intended</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v, bevacizumab;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C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reast cancer susceptibility gene; </a:t>
            </a:r>
            <a:r>
              <a:rPr kumimoji="0" lang="en-US" sz="10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RCA</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C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utated; CI, confidence interval; HR, hazard ratio; N/A, not available; NR, not reached; PARP, poly(ADP-ribose) polymerase; </a:t>
            </a:r>
            <a:b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FS, progression-free survival. 1. Bradley W, et al. Presented at: SGO 2021. Abstract 10520; 2. González-Martín A,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Engl J Med</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9;381(25):2391-2402; </a:t>
            </a:r>
            <a:b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 González-Martín A, et al. Presented at: ESMO 2019. Presentation 4627; 4. Monk BJ,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 Clin Onco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2;40(34):3952-3964; 5. Ray-Coquard I,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Engl J Med</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9;381:2416-2428</a:t>
            </a:r>
          </a:p>
        </p:txBody>
      </p:sp>
      <p:grpSp>
        <p:nvGrpSpPr>
          <p:cNvPr id="524" name="Group 523">
            <a:extLst>
              <a:ext uri="{FF2B5EF4-FFF2-40B4-BE49-F238E27FC236}">
                <a16:creationId xmlns:a16="http://schemas.microsoft.com/office/drawing/2014/main" id="{A39821BB-62C6-A534-B3AC-3B9CC7E2A1A6}"/>
              </a:ext>
            </a:extLst>
          </p:cNvPr>
          <p:cNvGrpSpPr/>
          <p:nvPr/>
        </p:nvGrpSpPr>
        <p:grpSpPr>
          <a:xfrm>
            <a:off x="9064770" y="2185341"/>
            <a:ext cx="3129605" cy="2163831"/>
            <a:chOff x="9082875" y="1922805"/>
            <a:chExt cx="3129605" cy="2163829"/>
          </a:xfrm>
        </p:grpSpPr>
        <p:grpSp>
          <p:nvGrpSpPr>
            <p:cNvPr id="2" name="Group 1">
              <a:extLst>
                <a:ext uri="{FF2B5EF4-FFF2-40B4-BE49-F238E27FC236}">
                  <a16:creationId xmlns:a16="http://schemas.microsoft.com/office/drawing/2014/main" id="{678EFF15-AF22-7D9F-0EA4-D02E9FB55E7B}"/>
                </a:ext>
              </a:extLst>
            </p:cNvPr>
            <p:cNvGrpSpPr/>
            <p:nvPr/>
          </p:nvGrpSpPr>
          <p:grpSpPr>
            <a:xfrm>
              <a:off x="9082875" y="1922805"/>
              <a:ext cx="3055205" cy="2163829"/>
              <a:chOff x="6276294" y="1986180"/>
              <a:chExt cx="3055205" cy="2163829"/>
            </a:xfrm>
          </p:grpSpPr>
          <p:sp>
            <p:nvSpPr>
              <p:cNvPr id="34" name="TextBox 33">
                <a:extLst>
                  <a:ext uri="{FF2B5EF4-FFF2-40B4-BE49-F238E27FC236}">
                    <a16:creationId xmlns:a16="http://schemas.microsoft.com/office/drawing/2014/main" id="{CA6BEA12-E391-D5EA-89C4-EF7566F1C565}"/>
                  </a:ext>
                </a:extLst>
              </p:cNvPr>
              <p:cNvSpPr txBox="1"/>
              <p:nvPr/>
            </p:nvSpPr>
            <p:spPr>
              <a:xfrm>
                <a:off x="6276294" y="3958350"/>
                <a:ext cx="394639" cy="92333"/>
              </a:xfrm>
              <a:prstGeom prst="rect">
                <a:avLst/>
              </a:prstGeom>
              <a:noFill/>
            </p:spPr>
            <p:txBody>
              <a:bodyPr wrap="square" lIns="0" tIns="0" rIns="0" bIns="0" rtlCol="0">
                <a:spAutoFit/>
              </a:bodyPr>
              <a:lstStyle/>
              <a:p>
                <a:pPr marL="0" marR="0" lvl="0" indent="0" algn="l"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aparib</a:t>
                </a:r>
              </a:p>
            </p:txBody>
          </p:sp>
          <p:sp>
            <p:nvSpPr>
              <p:cNvPr id="35" name="TextBox 34">
                <a:extLst>
                  <a:ext uri="{FF2B5EF4-FFF2-40B4-BE49-F238E27FC236}">
                    <a16:creationId xmlns:a16="http://schemas.microsoft.com/office/drawing/2014/main" id="{FEFAADEA-684F-F8BE-7A77-53FAEB2FDC4F}"/>
                  </a:ext>
                </a:extLst>
              </p:cNvPr>
              <p:cNvSpPr txBox="1"/>
              <p:nvPr/>
            </p:nvSpPr>
            <p:spPr>
              <a:xfrm>
                <a:off x="6657317" y="3958605"/>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7</a:t>
                </a:r>
              </a:p>
            </p:txBody>
          </p:sp>
          <p:sp>
            <p:nvSpPr>
              <p:cNvPr id="37" name="TextBox 36">
                <a:extLst>
                  <a:ext uri="{FF2B5EF4-FFF2-40B4-BE49-F238E27FC236}">
                    <a16:creationId xmlns:a16="http://schemas.microsoft.com/office/drawing/2014/main" id="{27748150-5C1C-E3CD-60C6-03BA36664A4E}"/>
                  </a:ext>
                </a:extLst>
              </p:cNvPr>
              <p:cNvSpPr txBox="1"/>
              <p:nvPr/>
            </p:nvSpPr>
            <p:spPr>
              <a:xfrm>
                <a:off x="6831703" y="3954398"/>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4</a:t>
                </a:r>
              </a:p>
            </p:txBody>
          </p:sp>
          <p:sp>
            <p:nvSpPr>
              <p:cNvPr id="39" name="TextBox 38">
                <a:extLst>
                  <a:ext uri="{FF2B5EF4-FFF2-40B4-BE49-F238E27FC236}">
                    <a16:creationId xmlns:a16="http://schemas.microsoft.com/office/drawing/2014/main" id="{AE272C47-DD24-4B47-99C1-C98F7FC4E2B9}"/>
                  </a:ext>
                </a:extLst>
              </p:cNvPr>
              <p:cNvSpPr txBox="1"/>
              <p:nvPr/>
            </p:nvSpPr>
            <p:spPr>
              <a:xfrm>
                <a:off x="7000619" y="3954398"/>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0</a:t>
                </a:r>
              </a:p>
            </p:txBody>
          </p:sp>
          <p:sp>
            <p:nvSpPr>
              <p:cNvPr id="41" name="TextBox 40">
                <a:extLst>
                  <a:ext uri="{FF2B5EF4-FFF2-40B4-BE49-F238E27FC236}">
                    <a16:creationId xmlns:a16="http://schemas.microsoft.com/office/drawing/2014/main" id="{C917CC31-88DD-71BF-A5D9-9C7EA735DDA3}"/>
                  </a:ext>
                </a:extLst>
              </p:cNvPr>
              <p:cNvSpPr txBox="1"/>
              <p:nvPr/>
            </p:nvSpPr>
            <p:spPr>
              <a:xfrm>
                <a:off x="7170429" y="395736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8</a:t>
                </a:r>
              </a:p>
            </p:txBody>
          </p:sp>
          <p:sp>
            <p:nvSpPr>
              <p:cNvPr id="43" name="TextBox 42">
                <a:extLst>
                  <a:ext uri="{FF2B5EF4-FFF2-40B4-BE49-F238E27FC236}">
                    <a16:creationId xmlns:a16="http://schemas.microsoft.com/office/drawing/2014/main" id="{04924F4C-E6E2-DA32-89B8-2B4680A42F33}"/>
                  </a:ext>
                </a:extLst>
              </p:cNvPr>
              <p:cNvSpPr txBox="1"/>
              <p:nvPr/>
            </p:nvSpPr>
            <p:spPr>
              <a:xfrm>
                <a:off x="7344458" y="395736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4</a:t>
                </a:r>
              </a:p>
            </p:txBody>
          </p:sp>
          <p:sp>
            <p:nvSpPr>
              <p:cNvPr id="45" name="TextBox 44">
                <a:extLst>
                  <a:ext uri="{FF2B5EF4-FFF2-40B4-BE49-F238E27FC236}">
                    <a16:creationId xmlns:a16="http://schemas.microsoft.com/office/drawing/2014/main" id="{1116B353-D3B5-5F11-11B4-611930A38060}"/>
                  </a:ext>
                </a:extLst>
              </p:cNvPr>
              <p:cNvSpPr txBox="1"/>
              <p:nvPr/>
            </p:nvSpPr>
            <p:spPr>
              <a:xfrm>
                <a:off x="7518486" y="395736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38</a:t>
                </a:r>
              </a:p>
            </p:txBody>
          </p:sp>
          <p:sp>
            <p:nvSpPr>
              <p:cNvPr id="47" name="TextBox 46">
                <a:extLst>
                  <a:ext uri="{FF2B5EF4-FFF2-40B4-BE49-F238E27FC236}">
                    <a16:creationId xmlns:a16="http://schemas.microsoft.com/office/drawing/2014/main" id="{E05D4C62-08FF-5752-1277-1FE39CBD1A41}"/>
                  </a:ext>
                </a:extLst>
              </p:cNvPr>
              <p:cNvSpPr txBox="1"/>
              <p:nvPr/>
            </p:nvSpPr>
            <p:spPr>
              <a:xfrm>
                <a:off x="7691991" y="396032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7</a:t>
                </a:r>
              </a:p>
            </p:txBody>
          </p:sp>
          <p:sp>
            <p:nvSpPr>
              <p:cNvPr id="49" name="TextBox 48">
                <a:extLst>
                  <a:ext uri="{FF2B5EF4-FFF2-40B4-BE49-F238E27FC236}">
                    <a16:creationId xmlns:a16="http://schemas.microsoft.com/office/drawing/2014/main" id="{14EFF8BE-528C-CFD6-CEAA-82240E53BBCA}"/>
                  </a:ext>
                </a:extLst>
              </p:cNvPr>
              <p:cNvSpPr txBox="1"/>
              <p:nvPr/>
            </p:nvSpPr>
            <p:spPr>
              <a:xfrm>
                <a:off x="7864715" y="395736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0</a:t>
                </a:r>
              </a:p>
            </p:txBody>
          </p:sp>
          <p:sp>
            <p:nvSpPr>
              <p:cNvPr id="51" name="TextBox 50">
                <a:extLst>
                  <a:ext uri="{FF2B5EF4-FFF2-40B4-BE49-F238E27FC236}">
                    <a16:creationId xmlns:a16="http://schemas.microsoft.com/office/drawing/2014/main" id="{F1090E10-5100-7AFA-226C-41D8FC7157E6}"/>
                  </a:ext>
                </a:extLst>
              </p:cNvPr>
              <p:cNvSpPr txBox="1"/>
              <p:nvPr/>
            </p:nvSpPr>
            <p:spPr>
              <a:xfrm>
                <a:off x="8034563" y="395736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6</a:t>
                </a:r>
              </a:p>
            </p:txBody>
          </p:sp>
          <p:sp>
            <p:nvSpPr>
              <p:cNvPr id="53" name="TextBox 52">
                <a:extLst>
                  <a:ext uri="{FF2B5EF4-FFF2-40B4-BE49-F238E27FC236}">
                    <a16:creationId xmlns:a16="http://schemas.microsoft.com/office/drawing/2014/main" id="{3F79BB8D-8055-876D-D4DB-BBDCA6CF5A0B}"/>
                  </a:ext>
                </a:extLst>
              </p:cNvPr>
              <p:cNvSpPr txBox="1"/>
              <p:nvPr/>
            </p:nvSpPr>
            <p:spPr>
              <a:xfrm>
                <a:off x="8206923" y="396032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8</a:t>
                </a:r>
              </a:p>
            </p:txBody>
          </p:sp>
          <p:sp>
            <p:nvSpPr>
              <p:cNvPr id="55" name="TextBox 54">
                <a:extLst>
                  <a:ext uri="{FF2B5EF4-FFF2-40B4-BE49-F238E27FC236}">
                    <a16:creationId xmlns:a16="http://schemas.microsoft.com/office/drawing/2014/main" id="{B7503597-1C58-7230-304A-58A3C3B5849E}"/>
                  </a:ext>
                </a:extLst>
              </p:cNvPr>
              <p:cNvSpPr txBox="1"/>
              <p:nvPr/>
            </p:nvSpPr>
            <p:spPr>
              <a:xfrm>
                <a:off x="8378774" y="395736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1</a:t>
                </a:r>
              </a:p>
            </p:txBody>
          </p:sp>
          <p:sp>
            <p:nvSpPr>
              <p:cNvPr id="57" name="TextBox 56">
                <a:extLst>
                  <a:ext uri="{FF2B5EF4-FFF2-40B4-BE49-F238E27FC236}">
                    <a16:creationId xmlns:a16="http://schemas.microsoft.com/office/drawing/2014/main" id="{2CFFCB82-A5C2-46CF-299F-E45D038F0F3F}"/>
                  </a:ext>
                </a:extLst>
              </p:cNvPr>
              <p:cNvSpPr txBox="1"/>
              <p:nvPr/>
            </p:nvSpPr>
            <p:spPr>
              <a:xfrm>
                <a:off x="8551974" y="395736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9</a:t>
                </a:r>
              </a:p>
            </p:txBody>
          </p:sp>
          <p:sp>
            <p:nvSpPr>
              <p:cNvPr id="59" name="TextBox 58">
                <a:extLst>
                  <a:ext uri="{FF2B5EF4-FFF2-40B4-BE49-F238E27FC236}">
                    <a16:creationId xmlns:a16="http://schemas.microsoft.com/office/drawing/2014/main" id="{E003CBA3-0930-B81C-A29C-86D239395DD3}"/>
                  </a:ext>
                </a:extLst>
              </p:cNvPr>
              <p:cNvSpPr txBox="1"/>
              <p:nvPr/>
            </p:nvSpPr>
            <p:spPr>
              <a:xfrm>
                <a:off x="8724648" y="396032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p>
            </p:txBody>
          </p:sp>
          <p:sp>
            <p:nvSpPr>
              <p:cNvPr id="61" name="TextBox 60">
                <a:extLst>
                  <a:ext uri="{FF2B5EF4-FFF2-40B4-BE49-F238E27FC236}">
                    <a16:creationId xmlns:a16="http://schemas.microsoft.com/office/drawing/2014/main" id="{B4EDBEB4-FBF0-A1D9-51F3-BF29082859FB}"/>
                  </a:ext>
                </a:extLst>
              </p:cNvPr>
              <p:cNvSpPr txBox="1"/>
              <p:nvPr/>
            </p:nvSpPr>
            <p:spPr>
              <a:xfrm>
                <a:off x="8896983" y="395736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63" name="TextBox 62">
                <a:extLst>
                  <a:ext uri="{FF2B5EF4-FFF2-40B4-BE49-F238E27FC236}">
                    <a16:creationId xmlns:a16="http://schemas.microsoft.com/office/drawing/2014/main" id="{D75D44AC-8995-28DA-E9F6-971D59A773E4}"/>
                  </a:ext>
                </a:extLst>
              </p:cNvPr>
              <p:cNvSpPr txBox="1"/>
              <p:nvPr/>
            </p:nvSpPr>
            <p:spPr>
              <a:xfrm>
                <a:off x="9070562" y="3957366"/>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grpSp>
            <p:nvGrpSpPr>
              <p:cNvPr id="529" name="Group 528">
                <a:extLst>
                  <a:ext uri="{FF2B5EF4-FFF2-40B4-BE49-F238E27FC236}">
                    <a16:creationId xmlns:a16="http://schemas.microsoft.com/office/drawing/2014/main" id="{313047CE-5A1F-F11E-ACDE-7E45F10EBCB5}"/>
                  </a:ext>
                </a:extLst>
              </p:cNvPr>
              <p:cNvGrpSpPr/>
              <p:nvPr/>
            </p:nvGrpSpPr>
            <p:grpSpPr>
              <a:xfrm>
                <a:off x="6276294" y="4057676"/>
                <a:ext cx="2973340" cy="92333"/>
                <a:chOff x="6276294" y="4136057"/>
                <a:chExt cx="2973340" cy="92333"/>
              </a:xfrm>
            </p:grpSpPr>
            <p:sp>
              <p:nvSpPr>
                <p:cNvPr id="33" name="TextBox 32">
                  <a:extLst>
                    <a:ext uri="{FF2B5EF4-FFF2-40B4-BE49-F238E27FC236}">
                      <a16:creationId xmlns:a16="http://schemas.microsoft.com/office/drawing/2014/main" id="{2707E8D1-1531-0355-FDBD-900101258487}"/>
                    </a:ext>
                  </a:extLst>
                </p:cNvPr>
                <p:cNvSpPr txBox="1"/>
                <p:nvPr/>
              </p:nvSpPr>
              <p:spPr>
                <a:xfrm>
                  <a:off x="6276294" y="4136057"/>
                  <a:ext cx="509088" cy="92333"/>
                </a:xfrm>
                <a:prstGeom prst="rect">
                  <a:avLst/>
                </a:prstGeom>
                <a:noFill/>
              </p:spPr>
              <p:txBody>
                <a:bodyPr wrap="square" lIns="0" tIns="0" rIns="0" bIns="0" rtlCol="0">
                  <a:spAutoFit/>
                </a:bodyPr>
                <a:lstStyle/>
                <a:p>
                  <a:pPr marL="0" marR="0" lvl="0" indent="0" algn="l"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acebo</a:t>
                  </a:r>
                </a:p>
              </p:txBody>
            </p:sp>
            <p:sp>
              <p:nvSpPr>
                <p:cNvPr id="36" name="TextBox 35">
                  <a:extLst>
                    <a:ext uri="{FF2B5EF4-FFF2-40B4-BE49-F238E27FC236}">
                      <a16:creationId xmlns:a16="http://schemas.microsoft.com/office/drawing/2014/main" id="{7C6D42F1-A64A-7117-22D2-3A511C69B39A}"/>
                    </a:ext>
                  </a:extLst>
                </p:cNvPr>
                <p:cNvSpPr txBox="1"/>
                <p:nvPr/>
              </p:nvSpPr>
              <p:spPr>
                <a:xfrm>
                  <a:off x="6657317"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a:t>
                  </a:r>
                </a:p>
              </p:txBody>
            </p:sp>
            <p:sp>
              <p:nvSpPr>
                <p:cNvPr id="38" name="TextBox 37">
                  <a:extLst>
                    <a:ext uri="{FF2B5EF4-FFF2-40B4-BE49-F238E27FC236}">
                      <a16:creationId xmlns:a16="http://schemas.microsoft.com/office/drawing/2014/main" id="{A6285C1F-D07D-F59E-E6F9-88C966461AE7}"/>
                    </a:ext>
                  </a:extLst>
                </p:cNvPr>
                <p:cNvSpPr txBox="1"/>
                <p:nvPr/>
              </p:nvSpPr>
              <p:spPr>
                <a:xfrm>
                  <a:off x="6831703"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8</a:t>
                  </a:r>
                </a:p>
              </p:txBody>
            </p:sp>
            <p:sp>
              <p:nvSpPr>
                <p:cNvPr id="40" name="TextBox 39">
                  <a:extLst>
                    <a:ext uri="{FF2B5EF4-FFF2-40B4-BE49-F238E27FC236}">
                      <a16:creationId xmlns:a16="http://schemas.microsoft.com/office/drawing/2014/main" id="{819BDD5B-7C09-1735-92DE-DAB9DE882C96}"/>
                    </a:ext>
                  </a:extLst>
                </p:cNvPr>
                <p:cNvSpPr txBox="1"/>
                <p:nvPr/>
              </p:nvSpPr>
              <p:spPr>
                <a:xfrm>
                  <a:off x="7000619"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2</a:t>
                  </a:r>
                </a:p>
              </p:txBody>
            </p:sp>
            <p:sp>
              <p:nvSpPr>
                <p:cNvPr id="42" name="TextBox 41">
                  <a:extLst>
                    <a:ext uri="{FF2B5EF4-FFF2-40B4-BE49-F238E27FC236}">
                      <a16:creationId xmlns:a16="http://schemas.microsoft.com/office/drawing/2014/main" id="{165B5963-159A-DBFD-3591-EB66B14E32AA}"/>
                    </a:ext>
                  </a:extLst>
                </p:cNvPr>
                <p:cNvSpPr txBox="1"/>
                <p:nvPr/>
              </p:nvSpPr>
              <p:spPr>
                <a:xfrm>
                  <a:off x="7170429"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6</a:t>
                  </a:r>
                </a:p>
              </p:txBody>
            </p:sp>
            <p:sp>
              <p:nvSpPr>
                <p:cNvPr id="44" name="TextBox 43">
                  <a:extLst>
                    <a:ext uri="{FF2B5EF4-FFF2-40B4-BE49-F238E27FC236}">
                      <a16:creationId xmlns:a16="http://schemas.microsoft.com/office/drawing/2014/main" id="{9524B104-6587-F68A-DE5A-B1462465EB83}"/>
                    </a:ext>
                  </a:extLst>
                </p:cNvPr>
                <p:cNvSpPr txBox="1"/>
                <p:nvPr/>
              </p:nvSpPr>
              <p:spPr>
                <a:xfrm>
                  <a:off x="7344458"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9</a:t>
                  </a:r>
                </a:p>
              </p:txBody>
            </p:sp>
            <p:sp>
              <p:nvSpPr>
                <p:cNvPr id="46" name="TextBox 45">
                  <a:extLst>
                    <a:ext uri="{FF2B5EF4-FFF2-40B4-BE49-F238E27FC236}">
                      <a16:creationId xmlns:a16="http://schemas.microsoft.com/office/drawing/2014/main" id="{0DA2485D-7B5B-AF55-6B56-49B57BFF057D}"/>
                    </a:ext>
                  </a:extLst>
                </p:cNvPr>
                <p:cNvSpPr txBox="1"/>
                <p:nvPr/>
              </p:nvSpPr>
              <p:spPr>
                <a:xfrm>
                  <a:off x="7518486"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2</a:t>
                  </a:r>
                </a:p>
              </p:txBody>
            </p:sp>
            <p:sp>
              <p:nvSpPr>
                <p:cNvPr id="48" name="TextBox 47">
                  <a:extLst>
                    <a:ext uri="{FF2B5EF4-FFF2-40B4-BE49-F238E27FC236}">
                      <a16:creationId xmlns:a16="http://schemas.microsoft.com/office/drawing/2014/main" id="{813744C0-B2E8-16EA-A849-DEA663ED7FDF}"/>
                    </a:ext>
                  </a:extLst>
                </p:cNvPr>
                <p:cNvSpPr txBox="1"/>
                <p:nvPr/>
              </p:nvSpPr>
              <p:spPr>
                <a:xfrm>
                  <a:off x="7691991"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1</a:t>
                  </a:r>
                </a:p>
              </p:txBody>
            </p:sp>
            <p:sp>
              <p:nvSpPr>
                <p:cNvPr id="50" name="TextBox 49">
                  <a:extLst>
                    <a:ext uri="{FF2B5EF4-FFF2-40B4-BE49-F238E27FC236}">
                      <a16:creationId xmlns:a16="http://schemas.microsoft.com/office/drawing/2014/main" id="{5443B7DE-8220-B513-FA6D-7AD1C2D54283}"/>
                    </a:ext>
                  </a:extLst>
                </p:cNvPr>
                <p:cNvSpPr txBox="1"/>
                <p:nvPr/>
              </p:nvSpPr>
              <p:spPr>
                <a:xfrm>
                  <a:off x="7864715"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p>
              </p:txBody>
            </p:sp>
            <p:sp>
              <p:nvSpPr>
                <p:cNvPr id="52" name="TextBox 51">
                  <a:extLst>
                    <a:ext uri="{FF2B5EF4-FFF2-40B4-BE49-F238E27FC236}">
                      <a16:creationId xmlns:a16="http://schemas.microsoft.com/office/drawing/2014/main" id="{5DC367DC-9EDE-8894-C6B5-A2370C208D37}"/>
                    </a:ext>
                  </a:extLst>
                </p:cNvPr>
                <p:cNvSpPr txBox="1"/>
                <p:nvPr/>
              </p:nvSpPr>
              <p:spPr>
                <a:xfrm>
                  <a:off x="8034563"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p>
              </p:txBody>
            </p:sp>
            <p:sp>
              <p:nvSpPr>
                <p:cNvPr id="54" name="TextBox 53">
                  <a:extLst>
                    <a:ext uri="{FF2B5EF4-FFF2-40B4-BE49-F238E27FC236}">
                      <a16:creationId xmlns:a16="http://schemas.microsoft.com/office/drawing/2014/main" id="{8A72DA43-71C2-71AE-D776-C2A2523F04A9}"/>
                    </a:ext>
                  </a:extLst>
                </p:cNvPr>
                <p:cNvSpPr txBox="1"/>
                <p:nvPr/>
              </p:nvSpPr>
              <p:spPr>
                <a:xfrm>
                  <a:off x="8206923"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3</a:t>
                  </a:r>
                </a:p>
              </p:txBody>
            </p:sp>
            <p:sp>
              <p:nvSpPr>
                <p:cNvPr id="56" name="TextBox 55">
                  <a:extLst>
                    <a:ext uri="{FF2B5EF4-FFF2-40B4-BE49-F238E27FC236}">
                      <a16:creationId xmlns:a16="http://schemas.microsoft.com/office/drawing/2014/main" id="{4EC49A7E-642D-960D-B325-87AFA491EBA8}"/>
                    </a:ext>
                  </a:extLst>
                </p:cNvPr>
                <p:cNvSpPr txBox="1"/>
                <p:nvPr/>
              </p:nvSpPr>
              <p:spPr>
                <a:xfrm>
                  <a:off x="8378774"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p>
              </p:txBody>
            </p:sp>
            <p:sp>
              <p:nvSpPr>
                <p:cNvPr id="58" name="TextBox 57">
                  <a:extLst>
                    <a:ext uri="{FF2B5EF4-FFF2-40B4-BE49-F238E27FC236}">
                      <a16:creationId xmlns:a16="http://schemas.microsoft.com/office/drawing/2014/main" id="{7A755E71-8ED3-A4D4-ACEF-F6D23E4FF211}"/>
                    </a:ext>
                  </a:extLst>
                </p:cNvPr>
                <p:cNvSpPr txBox="1"/>
                <p:nvPr/>
              </p:nvSpPr>
              <p:spPr>
                <a:xfrm>
                  <a:off x="8551974"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60" name="TextBox 59">
                  <a:extLst>
                    <a:ext uri="{FF2B5EF4-FFF2-40B4-BE49-F238E27FC236}">
                      <a16:creationId xmlns:a16="http://schemas.microsoft.com/office/drawing/2014/main" id="{B9F7D03F-78A6-FC47-4D98-E6C479C25606}"/>
                    </a:ext>
                  </a:extLst>
                </p:cNvPr>
                <p:cNvSpPr txBox="1"/>
                <p:nvPr/>
              </p:nvSpPr>
              <p:spPr>
                <a:xfrm>
                  <a:off x="8724649"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62" name="TextBox 61">
                  <a:extLst>
                    <a:ext uri="{FF2B5EF4-FFF2-40B4-BE49-F238E27FC236}">
                      <a16:creationId xmlns:a16="http://schemas.microsoft.com/office/drawing/2014/main" id="{C2363C8F-646A-6CC0-DC6C-3E49954E0DFA}"/>
                    </a:ext>
                  </a:extLst>
                </p:cNvPr>
                <p:cNvSpPr txBox="1"/>
                <p:nvPr/>
              </p:nvSpPr>
              <p:spPr>
                <a:xfrm>
                  <a:off x="8896983"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64" name="TextBox 63">
                  <a:extLst>
                    <a:ext uri="{FF2B5EF4-FFF2-40B4-BE49-F238E27FC236}">
                      <a16:creationId xmlns:a16="http://schemas.microsoft.com/office/drawing/2014/main" id="{AD35FD0D-E665-109F-5B44-D4D1D94FF8D8}"/>
                    </a:ext>
                  </a:extLst>
                </p:cNvPr>
                <p:cNvSpPr txBox="1"/>
                <p:nvPr/>
              </p:nvSpPr>
              <p:spPr>
                <a:xfrm>
                  <a:off x="9070562" y="4136057"/>
                  <a:ext cx="179072" cy="92333"/>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grpSp>
          <p:sp>
            <p:nvSpPr>
              <p:cNvPr id="214" name="TextBox 213">
                <a:extLst>
                  <a:ext uri="{FF2B5EF4-FFF2-40B4-BE49-F238E27FC236}">
                    <a16:creationId xmlns:a16="http://schemas.microsoft.com/office/drawing/2014/main" id="{E3CDB384-1423-A25D-6623-77FE2036E84A}"/>
                  </a:ext>
                </a:extLst>
              </p:cNvPr>
              <p:cNvSpPr txBox="1"/>
              <p:nvPr/>
            </p:nvSpPr>
            <p:spPr>
              <a:xfrm>
                <a:off x="6743638" y="3735481"/>
                <a:ext cx="2587861" cy="215444"/>
              </a:xfrm>
              <a:prstGeom prst="rect">
                <a:avLst/>
              </a:prstGeom>
              <a:noFill/>
            </p:spPr>
            <p:txBody>
              <a:bodyPr wrap="square" rtlCol="0" anchor="ctr">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nths since </a:t>
                </a:r>
                <a:r>
                  <a:rPr kumimoji="0" lang="en-US" sz="8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ndomisation</a:t>
                </a: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5" name="TextBox 214">
                <a:extLst>
                  <a:ext uri="{FF2B5EF4-FFF2-40B4-BE49-F238E27FC236}">
                    <a16:creationId xmlns:a16="http://schemas.microsoft.com/office/drawing/2014/main" id="{91DBA25D-67CD-6501-9270-56FAFD08DA6D}"/>
                  </a:ext>
                </a:extLst>
              </p:cNvPr>
              <p:cNvSpPr txBox="1"/>
              <p:nvPr/>
            </p:nvSpPr>
            <p:spPr>
              <a:xfrm>
                <a:off x="6276294" y="3858440"/>
                <a:ext cx="404480" cy="92333"/>
              </a:xfrm>
              <a:prstGeom prst="rect">
                <a:avLst/>
              </a:prstGeom>
              <a:noFill/>
            </p:spPr>
            <p:txBody>
              <a:bodyPr wrap="square" lIns="0" tIns="0" rIns="0" bIns="0" rtlCol="0" anchor="ctr">
                <a:spAutoFit/>
              </a:bodyPr>
              <a:lstStyle/>
              <a:p>
                <a:pPr marL="0" marR="0" lvl="0" indent="0" algn="l" defTabSz="6857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p:txBody>
          </p:sp>
          <p:sp>
            <p:nvSpPr>
              <p:cNvPr id="216" name="Line 6">
                <a:extLst>
                  <a:ext uri="{FF2B5EF4-FFF2-40B4-BE49-F238E27FC236}">
                    <a16:creationId xmlns:a16="http://schemas.microsoft.com/office/drawing/2014/main" id="{673FD5AC-35C0-C888-5757-45DBF1E2A590}"/>
                  </a:ext>
                </a:extLst>
              </p:cNvPr>
              <p:cNvSpPr>
                <a:spLocks noChangeShapeType="1"/>
              </p:cNvSpPr>
              <p:nvPr/>
            </p:nvSpPr>
            <p:spPr bwMode="auto">
              <a:xfrm>
                <a:off x="6706162" y="2046252"/>
                <a:ext cx="3819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7" name="Line 7">
                <a:extLst>
                  <a:ext uri="{FF2B5EF4-FFF2-40B4-BE49-F238E27FC236}">
                    <a16:creationId xmlns:a16="http://schemas.microsoft.com/office/drawing/2014/main" id="{A7201549-E200-CAD4-5A94-4C2331534AC0}"/>
                  </a:ext>
                </a:extLst>
              </p:cNvPr>
              <p:cNvSpPr>
                <a:spLocks noChangeShapeType="1"/>
              </p:cNvSpPr>
              <p:nvPr/>
            </p:nvSpPr>
            <p:spPr bwMode="auto">
              <a:xfrm>
                <a:off x="6706162" y="2199166"/>
                <a:ext cx="3819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8" name="Line 8">
                <a:extLst>
                  <a:ext uri="{FF2B5EF4-FFF2-40B4-BE49-F238E27FC236}">
                    <a16:creationId xmlns:a16="http://schemas.microsoft.com/office/drawing/2014/main" id="{8A50DDB9-A911-4163-760D-4C63B15368B0}"/>
                  </a:ext>
                </a:extLst>
              </p:cNvPr>
              <p:cNvSpPr>
                <a:spLocks noChangeShapeType="1"/>
              </p:cNvSpPr>
              <p:nvPr/>
            </p:nvSpPr>
            <p:spPr bwMode="auto">
              <a:xfrm>
                <a:off x="6706162" y="2352078"/>
                <a:ext cx="3819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9" name="Line 9">
                <a:extLst>
                  <a:ext uri="{FF2B5EF4-FFF2-40B4-BE49-F238E27FC236}">
                    <a16:creationId xmlns:a16="http://schemas.microsoft.com/office/drawing/2014/main" id="{FAED60AA-63B1-0D93-1D28-5EF0A89C7BEB}"/>
                  </a:ext>
                </a:extLst>
              </p:cNvPr>
              <p:cNvSpPr>
                <a:spLocks noChangeShapeType="1"/>
              </p:cNvSpPr>
              <p:nvPr/>
            </p:nvSpPr>
            <p:spPr bwMode="auto">
              <a:xfrm>
                <a:off x="6706162" y="2504991"/>
                <a:ext cx="3819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0" name="Line 10">
                <a:extLst>
                  <a:ext uri="{FF2B5EF4-FFF2-40B4-BE49-F238E27FC236}">
                    <a16:creationId xmlns:a16="http://schemas.microsoft.com/office/drawing/2014/main" id="{73067EC6-6482-0FD9-F542-FE9B4A4EAFDF}"/>
                  </a:ext>
                </a:extLst>
              </p:cNvPr>
              <p:cNvSpPr>
                <a:spLocks noChangeShapeType="1"/>
              </p:cNvSpPr>
              <p:nvPr/>
            </p:nvSpPr>
            <p:spPr bwMode="auto">
              <a:xfrm>
                <a:off x="6706162" y="2657904"/>
                <a:ext cx="3819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1" name="Line 11">
                <a:extLst>
                  <a:ext uri="{FF2B5EF4-FFF2-40B4-BE49-F238E27FC236}">
                    <a16:creationId xmlns:a16="http://schemas.microsoft.com/office/drawing/2014/main" id="{9435984B-E7FC-8414-3801-9104286BAD35}"/>
                  </a:ext>
                </a:extLst>
              </p:cNvPr>
              <p:cNvSpPr>
                <a:spLocks noChangeShapeType="1"/>
              </p:cNvSpPr>
              <p:nvPr/>
            </p:nvSpPr>
            <p:spPr bwMode="auto">
              <a:xfrm>
                <a:off x="6706162" y="2811857"/>
                <a:ext cx="3819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2" name="Line 12">
                <a:extLst>
                  <a:ext uri="{FF2B5EF4-FFF2-40B4-BE49-F238E27FC236}">
                    <a16:creationId xmlns:a16="http://schemas.microsoft.com/office/drawing/2014/main" id="{394523A0-A493-CF9F-4355-12169852D360}"/>
                  </a:ext>
                </a:extLst>
              </p:cNvPr>
              <p:cNvSpPr>
                <a:spLocks noChangeShapeType="1"/>
              </p:cNvSpPr>
              <p:nvPr/>
            </p:nvSpPr>
            <p:spPr bwMode="auto">
              <a:xfrm>
                <a:off x="6706162" y="2964770"/>
                <a:ext cx="3819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3" name="Line 13">
                <a:extLst>
                  <a:ext uri="{FF2B5EF4-FFF2-40B4-BE49-F238E27FC236}">
                    <a16:creationId xmlns:a16="http://schemas.microsoft.com/office/drawing/2014/main" id="{9F1B466D-D6F4-65E7-3A2E-CE05D87204AB}"/>
                  </a:ext>
                </a:extLst>
              </p:cNvPr>
              <p:cNvSpPr>
                <a:spLocks noChangeShapeType="1"/>
              </p:cNvSpPr>
              <p:nvPr/>
            </p:nvSpPr>
            <p:spPr bwMode="auto">
              <a:xfrm>
                <a:off x="6706162" y="3118724"/>
                <a:ext cx="3819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4" name="Line 14">
                <a:extLst>
                  <a:ext uri="{FF2B5EF4-FFF2-40B4-BE49-F238E27FC236}">
                    <a16:creationId xmlns:a16="http://schemas.microsoft.com/office/drawing/2014/main" id="{E7B9CA31-DEDA-3745-107D-06882E42F19A}"/>
                  </a:ext>
                </a:extLst>
              </p:cNvPr>
              <p:cNvSpPr>
                <a:spLocks noChangeShapeType="1"/>
              </p:cNvSpPr>
              <p:nvPr/>
            </p:nvSpPr>
            <p:spPr bwMode="auto">
              <a:xfrm>
                <a:off x="6706162" y="3271636"/>
                <a:ext cx="3819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5" name="Line 15">
                <a:extLst>
                  <a:ext uri="{FF2B5EF4-FFF2-40B4-BE49-F238E27FC236}">
                    <a16:creationId xmlns:a16="http://schemas.microsoft.com/office/drawing/2014/main" id="{01237E10-D3B3-25B1-945D-D30BBF5510B8}"/>
                  </a:ext>
                </a:extLst>
              </p:cNvPr>
              <p:cNvSpPr>
                <a:spLocks noChangeShapeType="1"/>
              </p:cNvSpPr>
              <p:nvPr/>
            </p:nvSpPr>
            <p:spPr bwMode="auto">
              <a:xfrm>
                <a:off x="6706162" y="3424549"/>
                <a:ext cx="3819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6" name="Line 16">
                <a:extLst>
                  <a:ext uri="{FF2B5EF4-FFF2-40B4-BE49-F238E27FC236}">
                    <a16:creationId xmlns:a16="http://schemas.microsoft.com/office/drawing/2014/main" id="{0793EEDE-ED83-C2B3-3C55-D41C3147A92B}"/>
                  </a:ext>
                </a:extLst>
              </p:cNvPr>
              <p:cNvSpPr>
                <a:spLocks noChangeShapeType="1"/>
              </p:cNvSpPr>
              <p:nvPr/>
            </p:nvSpPr>
            <p:spPr bwMode="auto">
              <a:xfrm>
                <a:off x="6706162" y="3577462"/>
                <a:ext cx="3819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7" name="Line 17">
                <a:extLst>
                  <a:ext uri="{FF2B5EF4-FFF2-40B4-BE49-F238E27FC236}">
                    <a16:creationId xmlns:a16="http://schemas.microsoft.com/office/drawing/2014/main" id="{68C91B81-D22E-8246-5129-278EDC537BBB}"/>
                  </a:ext>
                </a:extLst>
              </p:cNvPr>
              <p:cNvSpPr>
                <a:spLocks noChangeShapeType="1"/>
              </p:cNvSpPr>
              <p:nvPr/>
            </p:nvSpPr>
            <p:spPr bwMode="auto">
              <a:xfrm flipV="1">
                <a:off x="6745913"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8" name="Line 18">
                <a:extLst>
                  <a:ext uri="{FF2B5EF4-FFF2-40B4-BE49-F238E27FC236}">
                    <a16:creationId xmlns:a16="http://schemas.microsoft.com/office/drawing/2014/main" id="{EBD343B4-8DA0-D487-2B01-A61DB2BDE7DB}"/>
                  </a:ext>
                </a:extLst>
              </p:cNvPr>
              <p:cNvSpPr>
                <a:spLocks noChangeShapeType="1"/>
              </p:cNvSpPr>
              <p:nvPr/>
            </p:nvSpPr>
            <p:spPr bwMode="auto">
              <a:xfrm flipV="1">
                <a:off x="7780924"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9" name="Line 19">
                <a:extLst>
                  <a:ext uri="{FF2B5EF4-FFF2-40B4-BE49-F238E27FC236}">
                    <a16:creationId xmlns:a16="http://schemas.microsoft.com/office/drawing/2014/main" id="{AF76B058-DB6E-F323-9758-D69036F25B1C}"/>
                  </a:ext>
                </a:extLst>
              </p:cNvPr>
              <p:cNvSpPr>
                <a:spLocks noChangeShapeType="1"/>
              </p:cNvSpPr>
              <p:nvPr/>
            </p:nvSpPr>
            <p:spPr bwMode="auto">
              <a:xfrm flipV="1">
                <a:off x="8296148"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0" name="Line 20">
                <a:extLst>
                  <a:ext uri="{FF2B5EF4-FFF2-40B4-BE49-F238E27FC236}">
                    <a16:creationId xmlns:a16="http://schemas.microsoft.com/office/drawing/2014/main" id="{8258AB93-85F5-CBFC-AF64-8895CEC3BFFD}"/>
                  </a:ext>
                </a:extLst>
              </p:cNvPr>
              <p:cNvSpPr>
                <a:spLocks noChangeShapeType="1"/>
              </p:cNvSpPr>
              <p:nvPr/>
            </p:nvSpPr>
            <p:spPr bwMode="auto">
              <a:xfrm flipV="1">
                <a:off x="8815816"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2" name="Line 22">
                <a:extLst>
                  <a:ext uri="{FF2B5EF4-FFF2-40B4-BE49-F238E27FC236}">
                    <a16:creationId xmlns:a16="http://schemas.microsoft.com/office/drawing/2014/main" id="{C4F1AE8B-074E-2318-36E7-EE3382BB3C29}"/>
                  </a:ext>
                </a:extLst>
              </p:cNvPr>
              <p:cNvSpPr>
                <a:spLocks noChangeShapeType="1"/>
              </p:cNvSpPr>
              <p:nvPr/>
            </p:nvSpPr>
            <p:spPr bwMode="auto">
              <a:xfrm flipV="1">
                <a:off x="7091279"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3" name="Line 23">
                <a:extLst>
                  <a:ext uri="{FF2B5EF4-FFF2-40B4-BE49-F238E27FC236}">
                    <a16:creationId xmlns:a16="http://schemas.microsoft.com/office/drawing/2014/main" id="{78D6D78D-AC96-5AA0-E6BF-3693FD0E2C53}"/>
                  </a:ext>
                </a:extLst>
              </p:cNvPr>
              <p:cNvSpPr>
                <a:spLocks noChangeShapeType="1"/>
              </p:cNvSpPr>
              <p:nvPr/>
            </p:nvSpPr>
            <p:spPr bwMode="auto">
              <a:xfrm flipV="1">
                <a:off x="7263298"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4" name="Line 24">
                <a:extLst>
                  <a:ext uri="{FF2B5EF4-FFF2-40B4-BE49-F238E27FC236}">
                    <a16:creationId xmlns:a16="http://schemas.microsoft.com/office/drawing/2014/main" id="{925E8F14-0417-8AE3-F05D-B9C5E38E7778}"/>
                  </a:ext>
                </a:extLst>
              </p:cNvPr>
              <p:cNvSpPr>
                <a:spLocks noChangeShapeType="1"/>
              </p:cNvSpPr>
              <p:nvPr/>
            </p:nvSpPr>
            <p:spPr bwMode="auto">
              <a:xfrm flipV="1">
                <a:off x="7434903"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5" name="Line 25">
                <a:extLst>
                  <a:ext uri="{FF2B5EF4-FFF2-40B4-BE49-F238E27FC236}">
                    <a16:creationId xmlns:a16="http://schemas.microsoft.com/office/drawing/2014/main" id="{D3152556-CF23-E352-444F-4FCEF5ED52A1}"/>
                  </a:ext>
                </a:extLst>
              </p:cNvPr>
              <p:cNvSpPr>
                <a:spLocks noChangeShapeType="1"/>
              </p:cNvSpPr>
              <p:nvPr/>
            </p:nvSpPr>
            <p:spPr bwMode="auto">
              <a:xfrm flipV="1">
                <a:off x="7607719"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6" name="Line 26">
                <a:extLst>
                  <a:ext uri="{FF2B5EF4-FFF2-40B4-BE49-F238E27FC236}">
                    <a16:creationId xmlns:a16="http://schemas.microsoft.com/office/drawing/2014/main" id="{4D103DFA-3FC0-B683-D4B5-EB0A9F553FD4}"/>
                  </a:ext>
                </a:extLst>
              </p:cNvPr>
              <p:cNvSpPr>
                <a:spLocks noChangeShapeType="1"/>
              </p:cNvSpPr>
              <p:nvPr/>
            </p:nvSpPr>
            <p:spPr bwMode="auto">
              <a:xfrm flipV="1">
                <a:off x="8124893"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7" name="Line 27">
                <a:extLst>
                  <a:ext uri="{FF2B5EF4-FFF2-40B4-BE49-F238E27FC236}">
                    <a16:creationId xmlns:a16="http://schemas.microsoft.com/office/drawing/2014/main" id="{A5554023-675C-BA55-4F20-A831ED9A483F}"/>
                  </a:ext>
                </a:extLst>
              </p:cNvPr>
              <p:cNvSpPr>
                <a:spLocks noChangeShapeType="1"/>
              </p:cNvSpPr>
              <p:nvPr/>
            </p:nvSpPr>
            <p:spPr bwMode="auto">
              <a:xfrm flipV="1">
                <a:off x="8642825"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8" name="Line 28">
                <a:extLst>
                  <a:ext uri="{FF2B5EF4-FFF2-40B4-BE49-F238E27FC236}">
                    <a16:creationId xmlns:a16="http://schemas.microsoft.com/office/drawing/2014/main" id="{35EE2667-4DB9-2C87-65EE-4CFF4BF5CE9A}"/>
                  </a:ext>
                </a:extLst>
              </p:cNvPr>
              <p:cNvSpPr>
                <a:spLocks noChangeShapeType="1"/>
              </p:cNvSpPr>
              <p:nvPr/>
            </p:nvSpPr>
            <p:spPr bwMode="auto">
              <a:xfrm flipV="1">
                <a:off x="9159458"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9" name="Line 29">
                <a:extLst>
                  <a:ext uri="{FF2B5EF4-FFF2-40B4-BE49-F238E27FC236}">
                    <a16:creationId xmlns:a16="http://schemas.microsoft.com/office/drawing/2014/main" id="{990C8C9E-7921-FFB4-3489-3070E9D84458}"/>
                  </a:ext>
                </a:extLst>
              </p:cNvPr>
              <p:cNvSpPr>
                <a:spLocks noChangeShapeType="1"/>
              </p:cNvSpPr>
              <p:nvPr/>
            </p:nvSpPr>
            <p:spPr bwMode="auto">
              <a:xfrm flipV="1">
                <a:off x="6915841"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0" name="Line 30">
                <a:extLst>
                  <a:ext uri="{FF2B5EF4-FFF2-40B4-BE49-F238E27FC236}">
                    <a16:creationId xmlns:a16="http://schemas.microsoft.com/office/drawing/2014/main" id="{15257CF5-2DD9-B9CB-3F9C-288F9CEDB483}"/>
                  </a:ext>
                </a:extLst>
              </p:cNvPr>
              <p:cNvSpPr>
                <a:spLocks noChangeShapeType="1"/>
              </p:cNvSpPr>
              <p:nvPr/>
            </p:nvSpPr>
            <p:spPr bwMode="auto">
              <a:xfrm flipV="1">
                <a:off x="7953251"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1" name="Line 31">
                <a:extLst>
                  <a:ext uri="{FF2B5EF4-FFF2-40B4-BE49-F238E27FC236}">
                    <a16:creationId xmlns:a16="http://schemas.microsoft.com/office/drawing/2014/main" id="{0BC3ACA0-720D-8CD5-B883-7355986FE140}"/>
                  </a:ext>
                </a:extLst>
              </p:cNvPr>
              <p:cNvSpPr>
                <a:spLocks noChangeShapeType="1"/>
              </p:cNvSpPr>
              <p:nvPr/>
            </p:nvSpPr>
            <p:spPr bwMode="auto">
              <a:xfrm flipV="1">
                <a:off x="8469524"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2" name="Line 32">
                <a:extLst>
                  <a:ext uri="{FF2B5EF4-FFF2-40B4-BE49-F238E27FC236}">
                    <a16:creationId xmlns:a16="http://schemas.microsoft.com/office/drawing/2014/main" id="{BCCE307F-7A49-85AF-F86E-0141801D4700}"/>
                  </a:ext>
                </a:extLst>
              </p:cNvPr>
              <p:cNvSpPr>
                <a:spLocks noChangeShapeType="1"/>
              </p:cNvSpPr>
              <p:nvPr/>
            </p:nvSpPr>
            <p:spPr bwMode="auto">
              <a:xfrm flipV="1">
                <a:off x="8987880" y="3577462"/>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3" name="TextBox 242">
                <a:extLst>
                  <a:ext uri="{FF2B5EF4-FFF2-40B4-BE49-F238E27FC236}">
                    <a16:creationId xmlns:a16="http://schemas.microsoft.com/office/drawing/2014/main" id="{F9353BD1-5F14-8EC6-CD1F-414A8D2C97C9}"/>
                  </a:ext>
                </a:extLst>
              </p:cNvPr>
              <p:cNvSpPr txBox="1"/>
              <p:nvPr/>
            </p:nvSpPr>
            <p:spPr>
              <a:xfrm>
                <a:off x="6420523" y="1986180"/>
                <a:ext cx="268723" cy="138499"/>
              </a:xfrm>
              <a:prstGeom prst="rect">
                <a:avLst/>
              </a:prstGeom>
              <a:no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p:txBody>
          </p:sp>
          <p:sp>
            <p:nvSpPr>
              <p:cNvPr id="244" name="TextBox 243">
                <a:extLst>
                  <a:ext uri="{FF2B5EF4-FFF2-40B4-BE49-F238E27FC236}">
                    <a16:creationId xmlns:a16="http://schemas.microsoft.com/office/drawing/2014/main" id="{4C33D43B-B1E4-7187-346F-BB7BED6537DE}"/>
                  </a:ext>
                </a:extLst>
              </p:cNvPr>
              <p:cNvSpPr txBox="1"/>
              <p:nvPr/>
            </p:nvSpPr>
            <p:spPr>
              <a:xfrm>
                <a:off x="6522565" y="2292800"/>
                <a:ext cx="166679" cy="138499"/>
              </a:xfrm>
              <a:prstGeom prst="rect">
                <a:avLst/>
              </a:prstGeom>
              <a:no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p:txBody>
          </p:sp>
          <p:sp>
            <p:nvSpPr>
              <p:cNvPr id="245" name="TextBox 244">
                <a:extLst>
                  <a:ext uri="{FF2B5EF4-FFF2-40B4-BE49-F238E27FC236}">
                    <a16:creationId xmlns:a16="http://schemas.microsoft.com/office/drawing/2014/main" id="{54571830-242C-681E-A6E3-9172B8B46763}"/>
                  </a:ext>
                </a:extLst>
              </p:cNvPr>
              <p:cNvSpPr txBox="1"/>
              <p:nvPr/>
            </p:nvSpPr>
            <p:spPr>
              <a:xfrm>
                <a:off x="6522565" y="2599423"/>
                <a:ext cx="166679" cy="138499"/>
              </a:xfrm>
              <a:prstGeom prst="rect">
                <a:avLst/>
              </a:prstGeom>
              <a:no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p:txBody>
          </p:sp>
          <p:sp>
            <p:nvSpPr>
              <p:cNvPr id="246" name="TextBox 245">
                <a:extLst>
                  <a:ext uri="{FF2B5EF4-FFF2-40B4-BE49-F238E27FC236}">
                    <a16:creationId xmlns:a16="http://schemas.microsoft.com/office/drawing/2014/main" id="{5D7F1CE5-7FA9-1814-4F9B-84710165E024}"/>
                  </a:ext>
                </a:extLst>
              </p:cNvPr>
              <p:cNvSpPr txBox="1"/>
              <p:nvPr/>
            </p:nvSpPr>
            <p:spPr>
              <a:xfrm>
                <a:off x="6522565" y="2906046"/>
                <a:ext cx="166679" cy="138499"/>
              </a:xfrm>
              <a:prstGeom prst="rect">
                <a:avLst/>
              </a:prstGeom>
              <a:no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p:txBody>
          </p:sp>
          <p:sp>
            <p:nvSpPr>
              <p:cNvPr id="247" name="TextBox 246">
                <a:extLst>
                  <a:ext uri="{FF2B5EF4-FFF2-40B4-BE49-F238E27FC236}">
                    <a16:creationId xmlns:a16="http://schemas.microsoft.com/office/drawing/2014/main" id="{F11D7D18-7E25-8E6C-4525-A3ED3FD51CDD}"/>
                  </a:ext>
                </a:extLst>
              </p:cNvPr>
              <p:cNvSpPr txBox="1"/>
              <p:nvPr/>
            </p:nvSpPr>
            <p:spPr>
              <a:xfrm>
                <a:off x="6522565" y="3212666"/>
                <a:ext cx="166679" cy="138499"/>
              </a:xfrm>
              <a:prstGeom prst="rect">
                <a:avLst/>
              </a:prstGeom>
              <a:no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p:txBody>
          </p:sp>
          <p:sp>
            <p:nvSpPr>
              <p:cNvPr id="248" name="TextBox 247">
                <a:extLst>
                  <a:ext uri="{FF2B5EF4-FFF2-40B4-BE49-F238E27FC236}">
                    <a16:creationId xmlns:a16="http://schemas.microsoft.com/office/drawing/2014/main" id="{725E94AE-65EF-707A-CE5D-1857674331EF}"/>
                  </a:ext>
                </a:extLst>
              </p:cNvPr>
              <p:cNvSpPr txBox="1"/>
              <p:nvPr/>
            </p:nvSpPr>
            <p:spPr>
              <a:xfrm>
                <a:off x="6522565" y="3519285"/>
                <a:ext cx="166679" cy="138499"/>
              </a:xfrm>
              <a:prstGeom prst="rect">
                <a:avLst/>
              </a:prstGeom>
              <a:no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249" name="TextBox 248">
                <a:extLst>
                  <a:ext uri="{FF2B5EF4-FFF2-40B4-BE49-F238E27FC236}">
                    <a16:creationId xmlns:a16="http://schemas.microsoft.com/office/drawing/2014/main" id="{35669910-8AF7-D169-8F8A-626EF9EBD876}"/>
                  </a:ext>
                </a:extLst>
              </p:cNvPr>
              <p:cNvSpPr txBox="1"/>
              <p:nvPr/>
            </p:nvSpPr>
            <p:spPr>
              <a:xfrm>
                <a:off x="6657317" y="3637969"/>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250" name="TextBox 249">
                <a:extLst>
                  <a:ext uri="{FF2B5EF4-FFF2-40B4-BE49-F238E27FC236}">
                    <a16:creationId xmlns:a16="http://schemas.microsoft.com/office/drawing/2014/main" id="{02F54942-F871-A481-58C0-2749B555031C}"/>
                  </a:ext>
                </a:extLst>
              </p:cNvPr>
              <p:cNvSpPr txBox="1"/>
              <p:nvPr/>
            </p:nvSpPr>
            <p:spPr>
              <a:xfrm>
                <a:off x="6825697" y="3637969"/>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251" name="TextBox 250">
                <a:extLst>
                  <a:ext uri="{FF2B5EF4-FFF2-40B4-BE49-F238E27FC236}">
                    <a16:creationId xmlns:a16="http://schemas.microsoft.com/office/drawing/2014/main" id="{D04D4A32-113B-C814-1258-3134325084FB}"/>
                  </a:ext>
                </a:extLst>
              </p:cNvPr>
              <p:cNvSpPr txBox="1"/>
              <p:nvPr/>
            </p:nvSpPr>
            <p:spPr>
              <a:xfrm>
                <a:off x="7000619"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a:t>
                </a:r>
              </a:p>
            </p:txBody>
          </p:sp>
          <p:sp>
            <p:nvSpPr>
              <p:cNvPr id="252" name="TextBox 251">
                <a:extLst>
                  <a:ext uri="{FF2B5EF4-FFF2-40B4-BE49-F238E27FC236}">
                    <a16:creationId xmlns:a16="http://schemas.microsoft.com/office/drawing/2014/main" id="{01EE6485-7D09-AB5C-5084-63B17DF5E277}"/>
                  </a:ext>
                </a:extLst>
              </p:cNvPr>
              <p:cNvSpPr txBox="1"/>
              <p:nvPr/>
            </p:nvSpPr>
            <p:spPr>
              <a:xfrm>
                <a:off x="7170429"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a:t>
                </a:r>
              </a:p>
            </p:txBody>
          </p:sp>
          <p:sp>
            <p:nvSpPr>
              <p:cNvPr id="253" name="TextBox 252">
                <a:extLst>
                  <a:ext uri="{FF2B5EF4-FFF2-40B4-BE49-F238E27FC236}">
                    <a16:creationId xmlns:a16="http://schemas.microsoft.com/office/drawing/2014/main" id="{0BC59535-D1BF-29B0-A66E-3AB96437280B}"/>
                  </a:ext>
                </a:extLst>
              </p:cNvPr>
              <p:cNvSpPr txBox="1"/>
              <p:nvPr/>
            </p:nvSpPr>
            <p:spPr>
              <a:xfrm>
                <a:off x="7344458"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a:t>
                </a:r>
              </a:p>
            </p:txBody>
          </p:sp>
          <p:sp>
            <p:nvSpPr>
              <p:cNvPr id="254" name="TextBox 253">
                <a:extLst>
                  <a:ext uri="{FF2B5EF4-FFF2-40B4-BE49-F238E27FC236}">
                    <a16:creationId xmlns:a16="http://schemas.microsoft.com/office/drawing/2014/main" id="{6C6A7F1D-9888-BC08-36C1-6CE242CC7C2D}"/>
                  </a:ext>
                </a:extLst>
              </p:cNvPr>
              <p:cNvSpPr txBox="1"/>
              <p:nvPr/>
            </p:nvSpPr>
            <p:spPr>
              <a:xfrm>
                <a:off x="7518486"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5</a:t>
                </a:r>
              </a:p>
            </p:txBody>
          </p:sp>
          <p:sp>
            <p:nvSpPr>
              <p:cNvPr id="255" name="TextBox 254">
                <a:extLst>
                  <a:ext uri="{FF2B5EF4-FFF2-40B4-BE49-F238E27FC236}">
                    <a16:creationId xmlns:a16="http://schemas.microsoft.com/office/drawing/2014/main" id="{50CFE9AA-CA70-E615-BC24-3D76D394CEE2}"/>
                  </a:ext>
                </a:extLst>
              </p:cNvPr>
              <p:cNvSpPr txBox="1"/>
              <p:nvPr/>
            </p:nvSpPr>
            <p:spPr>
              <a:xfrm>
                <a:off x="7691991"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a:t>
                </a:r>
              </a:p>
            </p:txBody>
          </p:sp>
          <p:sp>
            <p:nvSpPr>
              <p:cNvPr id="256" name="TextBox 255">
                <a:extLst>
                  <a:ext uri="{FF2B5EF4-FFF2-40B4-BE49-F238E27FC236}">
                    <a16:creationId xmlns:a16="http://schemas.microsoft.com/office/drawing/2014/main" id="{5600365F-D3C9-36A5-5E03-14A356230B61}"/>
                  </a:ext>
                </a:extLst>
              </p:cNvPr>
              <p:cNvSpPr txBox="1"/>
              <p:nvPr/>
            </p:nvSpPr>
            <p:spPr>
              <a:xfrm>
                <a:off x="7864715"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1</a:t>
                </a:r>
              </a:p>
            </p:txBody>
          </p:sp>
          <p:sp>
            <p:nvSpPr>
              <p:cNvPr id="257" name="TextBox 256">
                <a:extLst>
                  <a:ext uri="{FF2B5EF4-FFF2-40B4-BE49-F238E27FC236}">
                    <a16:creationId xmlns:a16="http://schemas.microsoft.com/office/drawing/2014/main" id="{CD797B2E-52A9-7C49-8F34-886AA2A48501}"/>
                  </a:ext>
                </a:extLst>
              </p:cNvPr>
              <p:cNvSpPr txBox="1"/>
              <p:nvPr/>
            </p:nvSpPr>
            <p:spPr>
              <a:xfrm>
                <a:off x="8034563"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4</a:t>
                </a:r>
              </a:p>
            </p:txBody>
          </p:sp>
          <p:sp>
            <p:nvSpPr>
              <p:cNvPr id="258" name="TextBox 257">
                <a:extLst>
                  <a:ext uri="{FF2B5EF4-FFF2-40B4-BE49-F238E27FC236}">
                    <a16:creationId xmlns:a16="http://schemas.microsoft.com/office/drawing/2014/main" id="{03297DE6-CA9B-8C0D-E8D0-D3A2B1D88339}"/>
                  </a:ext>
                </a:extLst>
              </p:cNvPr>
              <p:cNvSpPr txBox="1"/>
              <p:nvPr/>
            </p:nvSpPr>
            <p:spPr>
              <a:xfrm>
                <a:off x="8206923"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7</a:t>
                </a:r>
              </a:p>
            </p:txBody>
          </p:sp>
          <p:sp>
            <p:nvSpPr>
              <p:cNvPr id="259" name="TextBox 258">
                <a:extLst>
                  <a:ext uri="{FF2B5EF4-FFF2-40B4-BE49-F238E27FC236}">
                    <a16:creationId xmlns:a16="http://schemas.microsoft.com/office/drawing/2014/main" id="{1DE99139-5927-BEB5-0364-9064813F42B2}"/>
                  </a:ext>
                </a:extLst>
              </p:cNvPr>
              <p:cNvSpPr txBox="1"/>
              <p:nvPr/>
            </p:nvSpPr>
            <p:spPr>
              <a:xfrm>
                <a:off x="8378774"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a:t>
                </a:r>
              </a:p>
            </p:txBody>
          </p:sp>
          <p:sp>
            <p:nvSpPr>
              <p:cNvPr id="260" name="TextBox 259">
                <a:extLst>
                  <a:ext uri="{FF2B5EF4-FFF2-40B4-BE49-F238E27FC236}">
                    <a16:creationId xmlns:a16="http://schemas.microsoft.com/office/drawing/2014/main" id="{87165CB7-8451-BB62-147D-7BB2425552A0}"/>
                  </a:ext>
                </a:extLst>
              </p:cNvPr>
              <p:cNvSpPr txBox="1"/>
              <p:nvPr/>
            </p:nvSpPr>
            <p:spPr>
              <a:xfrm>
                <a:off x="8551974"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3</a:t>
                </a:r>
              </a:p>
            </p:txBody>
          </p:sp>
          <p:sp>
            <p:nvSpPr>
              <p:cNvPr id="261" name="TextBox 260">
                <a:extLst>
                  <a:ext uri="{FF2B5EF4-FFF2-40B4-BE49-F238E27FC236}">
                    <a16:creationId xmlns:a16="http://schemas.microsoft.com/office/drawing/2014/main" id="{974055CD-6933-6ABF-2291-2CC2888B6B66}"/>
                  </a:ext>
                </a:extLst>
              </p:cNvPr>
              <p:cNvSpPr txBox="1"/>
              <p:nvPr/>
            </p:nvSpPr>
            <p:spPr>
              <a:xfrm>
                <a:off x="8724648"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6</a:t>
                </a:r>
              </a:p>
            </p:txBody>
          </p:sp>
          <p:sp>
            <p:nvSpPr>
              <p:cNvPr id="262" name="TextBox 261">
                <a:extLst>
                  <a:ext uri="{FF2B5EF4-FFF2-40B4-BE49-F238E27FC236}">
                    <a16:creationId xmlns:a16="http://schemas.microsoft.com/office/drawing/2014/main" id="{0F1E40F0-0D43-BE43-8823-DF9C3A46C487}"/>
                  </a:ext>
                </a:extLst>
              </p:cNvPr>
              <p:cNvSpPr txBox="1"/>
              <p:nvPr/>
            </p:nvSpPr>
            <p:spPr>
              <a:xfrm>
                <a:off x="8896983"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9</a:t>
                </a:r>
              </a:p>
            </p:txBody>
          </p:sp>
          <p:sp>
            <p:nvSpPr>
              <p:cNvPr id="263" name="TextBox 262">
                <a:extLst>
                  <a:ext uri="{FF2B5EF4-FFF2-40B4-BE49-F238E27FC236}">
                    <a16:creationId xmlns:a16="http://schemas.microsoft.com/office/drawing/2014/main" id="{E3657D5A-0C77-2CA3-684D-4B6942F60DED}"/>
                  </a:ext>
                </a:extLst>
              </p:cNvPr>
              <p:cNvSpPr txBox="1"/>
              <p:nvPr/>
            </p:nvSpPr>
            <p:spPr>
              <a:xfrm>
                <a:off x="9070562" y="3643488"/>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2</a:t>
                </a:r>
              </a:p>
            </p:txBody>
          </p:sp>
          <p:sp>
            <p:nvSpPr>
              <p:cNvPr id="265" name="Freeform 5">
                <a:extLst>
                  <a:ext uri="{FF2B5EF4-FFF2-40B4-BE49-F238E27FC236}">
                    <a16:creationId xmlns:a16="http://schemas.microsoft.com/office/drawing/2014/main" id="{C6BAF393-E253-9BC6-75D4-AFD9B79620AD}"/>
                  </a:ext>
                </a:extLst>
              </p:cNvPr>
              <p:cNvSpPr>
                <a:spLocks/>
              </p:cNvSpPr>
              <p:nvPr/>
            </p:nvSpPr>
            <p:spPr bwMode="auto">
              <a:xfrm>
                <a:off x="6745913" y="2046253"/>
                <a:ext cx="2585584" cy="1531209"/>
              </a:xfrm>
              <a:custGeom>
                <a:avLst/>
                <a:gdLst>
                  <a:gd name="T0" fmla="*/ 0 w 4071"/>
                  <a:gd name="T1" fmla="*/ 0 h 1472"/>
                  <a:gd name="T2" fmla="*/ 0 w 4071"/>
                  <a:gd name="T3" fmla="*/ 1472 h 1472"/>
                  <a:gd name="T4" fmla="*/ 4071 w 4071"/>
                  <a:gd name="T5" fmla="*/ 1472 h 1472"/>
                </a:gdLst>
                <a:ahLst/>
                <a:cxnLst>
                  <a:cxn ang="0">
                    <a:pos x="T0" y="T1"/>
                  </a:cxn>
                  <a:cxn ang="0">
                    <a:pos x="T2" y="T3"/>
                  </a:cxn>
                  <a:cxn ang="0">
                    <a:pos x="T4" y="T5"/>
                  </a:cxn>
                </a:cxnLst>
                <a:rect l="0" t="0" r="r" b="b"/>
                <a:pathLst>
                  <a:path w="4071" h="1472">
                    <a:moveTo>
                      <a:pt x="0" y="0"/>
                    </a:moveTo>
                    <a:lnTo>
                      <a:pt x="0" y="1472"/>
                    </a:lnTo>
                    <a:lnTo>
                      <a:pt x="4071" y="1472"/>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8" name="Freeform 186">
                <a:extLst>
                  <a:ext uri="{FF2B5EF4-FFF2-40B4-BE49-F238E27FC236}">
                    <a16:creationId xmlns:a16="http://schemas.microsoft.com/office/drawing/2014/main" id="{4254839B-9704-6C83-6BC5-C90D3ED8BAF4}"/>
                  </a:ext>
                </a:extLst>
              </p:cNvPr>
              <p:cNvSpPr>
                <a:spLocks/>
              </p:cNvSpPr>
              <p:nvPr/>
            </p:nvSpPr>
            <p:spPr bwMode="auto">
              <a:xfrm>
                <a:off x="6749534" y="2055396"/>
                <a:ext cx="2327766" cy="1065284"/>
              </a:xfrm>
              <a:custGeom>
                <a:avLst/>
                <a:gdLst>
                  <a:gd name="T0" fmla="*/ 268 w 2764"/>
                  <a:gd name="T1" fmla="*/ 0 h 1017"/>
                  <a:gd name="T2" fmla="*/ 272 w 2764"/>
                  <a:gd name="T3" fmla="*/ 20 h 1017"/>
                  <a:gd name="T4" fmla="*/ 325 w 2764"/>
                  <a:gd name="T5" fmla="*/ 39 h 1017"/>
                  <a:gd name="T6" fmla="*/ 348 w 2764"/>
                  <a:gd name="T7" fmla="*/ 56 h 1017"/>
                  <a:gd name="T8" fmla="*/ 363 w 2764"/>
                  <a:gd name="T9" fmla="*/ 75 h 1017"/>
                  <a:gd name="T10" fmla="*/ 377 w 2764"/>
                  <a:gd name="T11" fmla="*/ 95 h 1017"/>
                  <a:gd name="T12" fmla="*/ 423 w 2764"/>
                  <a:gd name="T13" fmla="*/ 113 h 1017"/>
                  <a:gd name="T14" fmla="*/ 467 w 2764"/>
                  <a:gd name="T15" fmla="*/ 132 h 1017"/>
                  <a:gd name="T16" fmla="*/ 516 w 2764"/>
                  <a:gd name="T17" fmla="*/ 153 h 1017"/>
                  <a:gd name="T18" fmla="*/ 571 w 2764"/>
                  <a:gd name="T19" fmla="*/ 167 h 1017"/>
                  <a:gd name="T20" fmla="*/ 595 w 2764"/>
                  <a:gd name="T21" fmla="*/ 207 h 1017"/>
                  <a:gd name="T22" fmla="*/ 627 w 2764"/>
                  <a:gd name="T23" fmla="*/ 226 h 1017"/>
                  <a:gd name="T24" fmla="*/ 691 w 2764"/>
                  <a:gd name="T25" fmla="*/ 243 h 1017"/>
                  <a:gd name="T26" fmla="*/ 718 w 2764"/>
                  <a:gd name="T27" fmla="*/ 261 h 1017"/>
                  <a:gd name="T28" fmla="*/ 756 w 2764"/>
                  <a:gd name="T29" fmla="*/ 281 h 1017"/>
                  <a:gd name="T30" fmla="*/ 863 w 2764"/>
                  <a:gd name="T31" fmla="*/ 358 h 1017"/>
                  <a:gd name="T32" fmla="*/ 918 w 2764"/>
                  <a:gd name="T33" fmla="*/ 374 h 1017"/>
                  <a:gd name="T34" fmla="*/ 976 w 2764"/>
                  <a:gd name="T35" fmla="*/ 393 h 1017"/>
                  <a:gd name="T36" fmla="*/ 983 w 2764"/>
                  <a:gd name="T37" fmla="*/ 432 h 1017"/>
                  <a:gd name="T38" fmla="*/ 988 w 2764"/>
                  <a:gd name="T39" fmla="*/ 450 h 1017"/>
                  <a:gd name="T40" fmla="*/ 1007 w 2764"/>
                  <a:gd name="T41" fmla="*/ 471 h 1017"/>
                  <a:gd name="T42" fmla="*/ 1053 w 2764"/>
                  <a:gd name="T43" fmla="*/ 488 h 1017"/>
                  <a:gd name="T44" fmla="*/ 1093 w 2764"/>
                  <a:gd name="T45" fmla="*/ 507 h 1017"/>
                  <a:gd name="T46" fmla="*/ 1130 w 2764"/>
                  <a:gd name="T47" fmla="*/ 524 h 1017"/>
                  <a:gd name="T48" fmla="*/ 1204 w 2764"/>
                  <a:gd name="T49" fmla="*/ 580 h 1017"/>
                  <a:gd name="T50" fmla="*/ 1277 w 2764"/>
                  <a:gd name="T51" fmla="*/ 604 h 1017"/>
                  <a:gd name="T52" fmla="*/ 1290 w 2764"/>
                  <a:gd name="T53" fmla="*/ 624 h 1017"/>
                  <a:gd name="T54" fmla="*/ 1326 w 2764"/>
                  <a:gd name="T55" fmla="*/ 645 h 1017"/>
                  <a:gd name="T56" fmla="*/ 1358 w 2764"/>
                  <a:gd name="T57" fmla="*/ 667 h 1017"/>
                  <a:gd name="T58" fmla="*/ 1388 w 2764"/>
                  <a:gd name="T59" fmla="*/ 686 h 1017"/>
                  <a:gd name="T60" fmla="*/ 1462 w 2764"/>
                  <a:gd name="T61" fmla="*/ 710 h 1017"/>
                  <a:gd name="T62" fmla="*/ 1487 w 2764"/>
                  <a:gd name="T63" fmla="*/ 728 h 1017"/>
                  <a:gd name="T64" fmla="*/ 1505 w 2764"/>
                  <a:gd name="T65" fmla="*/ 752 h 1017"/>
                  <a:gd name="T66" fmla="*/ 1511 w 2764"/>
                  <a:gd name="T67" fmla="*/ 773 h 1017"/>
                  <a:gd name="T68" fmla="*/ 1517 w 2764"/>
                  <a:gd name="T69" fmla="*/ 818 h 1017"/>
                  <a:gd name="T70" fmla="*/ 1604 w 2764"/>
                  <a:gd name="T71" fmla="*/ 870 h 1017"/>
                  <a:gd name="T72" fmla="*/ 1640 w 2764"/>
                  <a:gd name="T73" fmla="*/ 896 h 1017"/>
                  <a:gd name="T74" fmla="*/ 1651 w 2764"/>
                  <a:gd name="T75" fmla="*/ 922 h 1017"/>
                  <a:gd name="T76" fmla="*/ 1800 w 2764"/>
                  <a:gd name="T77" fmla="*/ 950 h 1017"/>
                  <a:gd name="T78" fmla="*/ 1824 w 2764"/>
                  <a:gd name="T79" fmla="*/ 984 h 1017"/>
                  <a:gd name="T80" fmla="*/ 2764 w 2764"/>
                  <a:gd name="T81" fmla="*/ 101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64" h="1017">
                    <a:moveTo>
                      <a:pt x="0" y="0"/>
                    </a:moveTo>
                    <a:lnTo>
                      <a:pt x="268" y="0"/>
                    </a:lnTo>
                    <a:lnTo>
                      <a:pt x="268" y="20"/>
                    </a:lnTo>
                    <a:lnTo>
                      <a:pt x="272" y="20"/>
                    </a:lnTo>
                    <a:lnTo>
                      <a:pt x="274" y="39"/>
                    </a:lnTo>
                    <a:lnTo>
                      <a:pt x="325" y="39"/>
                    </a:lnTo>
                    <a:lnTo>
                      <a:pt x="325" y="56"/>
                    </a:lnTo>
                    <a:lnTo>
                      <a:pt x="348" y="56"/>
                    </a:lnTo>
                    <a:lnTo>
                      <a:pt x="348" y="75"/>
                    </a:lnTo>
                    <a:lnTo>
                      <a:pt x="363" y="75"/>
                    </a:lnTo>
                    <a:lnTo>
                      <a:pt x="363" y="95"/>
                    </a:lnTo>
                    <a:lnTo>
                      <a:pt x="377" y="95"/>
                    </a:lnTo>
                    <a:lnTo>
                      <a:pt x="377" y="113"/>
                    </a:lnTo>
                    <a:lnTo>
                      <a:pt x="423" y="113"/>
                    </a:lnTo>
                    <a:lnTo>
                      <a:pt x="423" y="132"/>
                    </a:lnTo>
                    <a:lnTo>
                      <a:pt x="467" y="132"/>
                    </a:lnTo>
                    <a:lnTo>
                      <a:pt x="467" y="153"/>
                    </a:lnTo>
                    <a:lnTo>
                      <a:pt x="516" y="153"/>
                    </a:lnTo>
                    <a:lnTo>
                      <a:pt x="516" y="167"/>
                    </a:lnTo>
                    <a:lnTo>
                      <a:pt x="571" y="167"/>
                    </a:lnTo>
                    <a:lnTo>
                      <a:pt x="571" y="207"/>
                    </a:lnTo>
                    <a:lnTo>
                      <a:pt x="595" y="207"/>
                    </a:lnTo>
                    <a:lnTo>
                      <a:pt x="595" y="226"/>
                    </a:lnTo>
                    <a:lnTo>
                      <a:pt x="627" y="226"/>
                    </a:lnTo>
                    <a:lnTo>
                      <a:pt x="627" y="243"/>
                    </a:lnTo>
                    <a:lnTo>
                      <a:pt x="691" y="243"/>
                    </a:lnTo>
                    <a:lnTo>
                      <a:pt x="691" y="261"/>
                    </a:lnTo>
                    <a:lnTo>
                      <a:pt x="718" y="261"/>
                    </a:lnTo>
                    <a:lnTo>
                      <a:pt x="718" y="281"/>
                    </a:lnTo>
                    <a:lnTo>
                      <a:pt x="756" y="281"/>
                    </a:lnTo>
                    <a:lnTo>
                      <a:pt x="756" y="358"/>
                    </a:lnTo>
                    <a:lnTo>
                      <a:pt x="863" y="358"/>
                    </a:lnTo>
                    <a:lnTo>
                      <a:pt x="863" y="374"/>
                    </a:lnTo>
                    <a:lnTo>
                      <a:pt x="918" y="374"/>
                    </a:lnTo>
                    <a:lnTo>
                      <a:pt x="918" y="393"/>
                    </a:lnTo>
                    <a:lnTo>
                      <a:pt x="976" y="393"/>
                    </a:lnTo>
                    <a:lnTo>
                      <a:pt x="976" y="432"/>
                    </a:lnTo>
                    <a:lnTo>
                      <a:pt x="983" y="432"/>
                    </a:lnTo>
                    <a:lnTo>
                      <a:pt x="983" y="450"/>
                    </a:lnTo>
                    <a:lnTo>
                      <a:pt x="988" y="450"/>
                    </a:lnTo>
                    <a:lnTo>
                      <a:pt x="988" y="471"/>
                    </a:lnTo>
                    <a:lnTo>
                      <a:pt x="1007" y="471"/>
                    </a:lnTo>
                    <a:lnTo>
                      <a:pt x="1007" y="488"/>
                    </a:lnTo>
                    <a:lnTo>
                      <a:pt x="1053" y="488"/>
                    </a:lnTo>
                    <a:lnTo>
                      <a:pt x="1053" y="507"/>
                    </a:lnTo>
                    <a:lnTo>
                      <a:pt x="1093" y="507"/>
                    </a:lnTo>
                    <a:lnTo>
                      <a:pt x="1093" y="524"/>
                    </a:lnTo>
                    <a:lnTo>
                      <a:pt x="1130" y="524"/>
                    </a:lnTo>
                    <a:lnTo>
                      <a:pt x="1130" y="580"/>
                    </a:lnTo>
                    <a:lnTo>
                      <a:pt x="1204" y="580"/>
                    </a:lnTo>
                    <a:lnTo>
                      <a:pt x="1204" y="604"/>
                    </a:lnTo>
                    <a:lnTo>
                      <a:pt x="1277" y="604"/>
                    </a:lnTo>
                    <a:lnTo>
                      <a:pt x="1277" y="624"/>
                    </a:lnTo>
                    <a:lnTo>
                      <a:pt x="1290" y="624"/>
                    </a:lnTo>
                    <a:lnTo>
                      <a:pt x="1290" y="645"/>
                    </a:lnTo>
                    <a:lnTo>
                      <a:pt x="1326" y="645"/>
                    </a:lnTo>
                    <a:lnTo>
                      <a:pt x="1326" y="667"/>
                    </a:lnTo>
                    <a:lnTo>
                      <a:pt x="1358" y="667"/>
                    </a:lnTo>
                    <a:lnTo>
                      <a:pt x="1358" y="686"/>
                    </a:lnTo>
                    <a:lnTo>
                      <a:pt x="1388" y="686"/>
                    </a:lnTo>
                    <a:lnTo>
                      <a:pt x="1388" y="710"/>
                    </a:lnTo>
                    <a:lnTo>
                      <a:pt x="1462" y="710"/>
                    </a:lnTo>
                    <a:lnTo>
                      <a:pt x="1462" y="728"/>
                    </a:lnTo>
                    <a:lnTo>
                      <a:pt x="1487" y="728"/>
                    </a:lnTo>
                    <a:lnTo>
                      <a:pt x="1487" y="752"/>
                    </a:lnTo>
                    <a:lnTo>
                      <a:pt x="1505" y="752"/>
                    </a:lnTo>
                    <a:lnTo>
                      <a:pt x="1505" y="773"/>
                    </a:lnTo>
                    <a:lnTo>
                      <a:pt x="1511" y="773"/>
                    </a:lnTo>
                    <a:lnTo>
                      <a:pt x="1511" y="818"/>
                    </a:lnTo>
                    <a:lnTo>
                      <a:pt x="1517" y="818"/>
                    </a:lnTo>
                    <a:lnTo>
                      <a:pt x="1517" y="870"/>
                    </a:lnTo>
                    <a:lnTo>
                      <a:pt x="1604" y="870"/>
                    </a:lnTo>
                    <a:lnTo>
                      <a:pt x="1604" y="896"/>
                    </a:lnTo>
                    <a:lnTo>
                      <a:pt x="1640" y="896"/>
                    </a:lnTo>
                    <a:lnTo>
                      <a:pt x="1640" y="922"/>
                    </a:lnTo>
                    <a:lnTo>
                      <a:pt x="1651" y="922"/>
                    </a:lnTo>
                    <a:lnTo>
                      <a:pt x="1651" y="950"/>
                    </a:lnTo>
                    <a:lnTo>
                      <a:pt x="1800" y="950"/>
                    </a:lnTo>
                    <a:lnTo>
                      <a:pt x="1800" y="984"/>
                    </a:lnTo>
                    <a:lnTo>
                      <a:pt x="1824" y="984"/>
                    </a:lnTo>
                    <a:lnTo>
                      <a:pt x="1824" y="1017"/>
                    </a:lnTo>
                    <a:lnTo>
                      <a:pt x="2764" y="1017"/>
                    </a:lnTo>
                  </a:path>
                </a:pathLst>
              </a:custGeom>
              <a:solidFill>
                <a:srgbClr val="FFFFFF"/>
              </a:solidFill>
              <a:ln w="19050" cap="flat">
                <a:solidFill>
                  <a:srgbClr val="7F7F7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7" name="Freeform 187">
                <a:extLst>
                  <a:ext uri="{FF2B5EF4-FFF2-40B4-BE49-F238E27FC236}">
                    <a16:creationId xmlns:a16="http://schemas.microsoft.com/office/drawing/2014/main" id="{77741BE0-C9AA-6C79-9A18-C2FEC4E19312}"/>
                  </a:ext>
                </a:extLst>
              </p:cNvPr>
              <p:cNvSpPr>
                <a:spLocks/>
              </p:cNvSpPr>
              <p:nvPr/>
            </p:nvSpPr>
            <p:spPr bwMode="auto">
              <a:xfrm>
                <a:off x="6749534" y="2055396"/>
                <a:ext cx="2268814" cy="792940"/>
              </a:xfrm>
              <a:custGeom>
                <a:avLst/>
                <a:gdLst>
                  <a:gd name="T0" fmla="*/ 306 w 2694"/>
                  <a:gd name="T1" fmla="*/ 0 h 757"/>
                  <a:gd name="T2" fmla="*/ 319 w 2694"/>
                  <a:gd name="T3" fmla="*/ 11 h 757"/>
                  <a:gd name="T4" fmla="*/ 426 w 2694"/>
                  <a:gd name="T5" fmla="*/ 39 h 757"/>
                  <a:gd name="T6" fmla="*/ 539 w 2694"/>
                  <a:gd name="T7" fmla="*/ 49 h 757"/>
                  <a:gd name="T8" fmla="*/ 761 w 2694"/>
                  <a:gd name="T9" fmla="*/ 57 h 757"/>
                  <a:gd name="T10" fmla="*/ 774 w 2694"/>
                  <a:gd name="T11" fmla="*/ 78 h 757"/>
                  <a:gd name="T12" fmla="*/ 854 w 2694"/>
                  <a:gd name="T13" fmla="*/ 95 h 757"/>
                  <a:gd name="T14" fmla="*/ 928 w 2694"/>
                  <a:gd name="T15" fmla="*/ 103 h 757"/>
                  <a:gd name="T16" fmla="*/ 951 w 2694"/>
                  <a:gd name="T17" fmla="*/ 111 h 757"/>
                  <a:gd name="T18" fmla="*/ 998 w 2694"/>
                  <a:gd name="T19" fmla="*/ 124 h 757"/>
                  <a:gd name="T20" fmla="*/ 1019 w 2694"/>
                  <a:gd name="T21" fmla="*/ 132 h 757"/>
                  <a:gd name="T22" fmla="*/ 1026 w 2694"/>
                  <a:gd name="T23" fmla="*/ 149 h 757"/>
                  <a:gd name="T24" fmla="*/ 1045 w 2694"/>
                  <a:gd name="T25" fmla="*/ 153 h 757"/>
                  <a:gd name="T26" fmla="*/ 1130 w 2694"/>
                  <a:gd name="T27" fmla="*/ 161 h 757"/>
                  <a:gd name="T28" fmla="*/ 1143 w 2694"/>
                  <a:gd name="T29" fmla="*/ 173 h 757"/>
                  <a:gd name="T30" fmla="*/ 1149 w 2694"/>
                  <a:gd name="T31" fmla="*/ 177 h 757"/>
                  <a:gd name="T32" fmla="*/ 1173 w 2694"/>
                  <a:gd name="T33" fmla="*/ 194 h 757"/>
                  <a:gd name="T34" fmla="*/ 1179 w 2694"/>
                  <a:gd name="T35" fmla="*/ 200 h 757"/>
                  <a:gd name="T36" fmla="*/ 1339 w 2694"/>
                  <a:gd name="T37" fmla="*/ 214 h 757"/>
                  <a:gd name="T38" fmla="*/ 1381 w 2694"/>
                  <a:gd name="T39" fmla="*/ 227 h 757"/>
                  <a:gd name="T40" fmla="*/ 1391 w 2694"/>
                  <a:gd name="T41" fmla="*/ 235 h 757"/>
                  <a:gd name="T42" fmla="*/ 1404 w 2694"/>
                  <a:gd name="T43" fmla="*/ 259 h 757"/>
                  <a:gd name="T44" fmla="*/ 1462 w 2694"/>
                  <a:gd name="T45" fmla="*/ 269 h 757"/>
                  <a:gd name="T46" fmla="*/ 1493 w 2694"/>
                  <a:gd name="T47" fmla="*/ 276 h 757"/>
                  <a:gd name="T48" fmla="*/ 1511 w 2694"/>
                  <a:gd name="T49" fmla="*/ 289 h 757"/>
                  <a:gd name="T50" fmla="*/ 1527 w 2694"/>
                  <a:gd name="T51" fmla="*/ 326 h 757"/>
                  <a:gd name="T52" fmla="*/ 1560 w 2694"/>
                  <a:gd name="T53" fmla="*/ 339 h 757"/>
                  <a:gd name="T54" fmla="*/ 1714 w 2694"/>
                  <a:gd name="T55" fmla="*/ 351 h 757"/>
                  <a:gd name="T56" fmla="*/ 1744 w 2694"/>
                  <a:gd name="T57" fmla="*/ 372 h 757"/>
                  <a:gd name="T58" fmla="*/ 1870 w 2694"/>
                  <a:gd name="T59" fmla="*/ 388 h 757"/>
                  <a:gd name="T60" fmla="*/ 2021 w 2694"/>
                  <a:gd name="T61" fmla="*/ 409 h 757"/>
                  <a:gd name="T62" fmla="*/ 2037 w 2694"/>
                  <a:gd name="T63" fmla="*/ 439 h 757"/>
                  <a:gd name="T64" fmla="*/ 2458 w 2694"/>
                  <a:gd name="T65" fmla="*/ 471 h 757"/>
                  <a:gd name="T66" fmla="*/ 2535 w 2694"/>
                  <a:gd name="T67" fmla="*/ 614 h 757"/>
                  <a:gd name="T68" fmla="*/ 2694 w 2694"/>
                  <a:gd name="T69" fmla="*/ 75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94" h="757">
                    <a:moveTo>
                      <a:pt x="0" y="0"/>
                    </a:moveTo>
                    <a:lnTo>
                      <a:pt x="306" y="0"/>
                    </a:lnTo>
                    <a:lnTo>
                      <a:pt x="306" y="11"/>
                    </a:lnTo>
                    <a:lnTo>
                      <a:pt x="319" y="11"/>
                    </a:lnTo>
                    <a:lnTo>
                      <a:pt x="319" y="39"/>
                    </a:lnTo>
                    <a:lnTo>
                      <a:pt x="426" y="39"/>
                    </a:lnTo>
                    <a:lnTo>
                      <a:pt x="426" y="49"/>
                    </a:lnTo>
                    <a:lnTo>
                      <a:pt x="539" y="49"/>
                    </a:lnTo>
                    <a:lnTo>
                      <a:pt x="539" y="57"/>
                    </a:lnTo>
                    <a:lnTo>
                      <a:pt x="761" y="57"/>
                    </a:lnTo>
                    <a:lnTo>
                      <a:pt x="761" y="78"/>
                    </a:lnTo>
                    <a:lnTo>
                      <a:pt x="774" y="78"/>
                    </a:lnTo>
                    <a:lnTo>
                      <a:pt x="774" y="95"/>
                    </a:lnTo>
                    <a:lnTo>
                      <a:pt x="854" y="95"/>
                    </a:lnTo>
                    <a:lnTo>
                      <a:pt x="854" y="103"/>
                    </a:lnTo>
                    <a:lnTo>
                      <a:pt x="928" y="103"/>
                    </a:lnTo>
                    <a:lnTo>
                      <a:pt x="928" y="111"/>
                    </a:lnTo>
                    <a:lnTo>
                      <a:pt x="951" y="111"/>
                    </a:lnTo>
                    <a:lnTo>
                      <a:pt x="951" y="124"/>
                    </a:lnTo>
                    <a:lnTo>
                      <a:pt x="998" y="124"/>
                    </a:lnTo>
                    <a:lnTo>
                      <a:pt x="998" y="132"/>
                    </a:lnTo>
                    <a:lnTo>
                      <a:pt x="1019" y="132"/>
                    </a:lnTo>
                    <a:lnTo>
                      <a:pt x="1019" y="149"/>
                    </a:lnTo>
                    <a:lnTo>
                      <a:pt x="1026" y="149"/>
                    </a:lnTo>
                    <a:lnTo>
                      <a:pt x="1026" y="153"/>
                    </a:lnTo>
                    <a:lnTo>
                      <a:pt x="1045" y="153"/>
                    </a:lnTo>
                    <a:lnTo>
                      <a:pt x="1045" y="161"/>
                    </a:lnTo>
                    <a:lnTo>
                      <a:pt x="1130" y="161"/>
                    </a:lnTo>
                    <a:lnTo>
                      <a:pt x="1130" y="173"/>
                    </a:lnTo>
                    <a:lnTo>
                      <a:pt x="1143" y="173"/>
                    </a:lnTo>
                    <a:lnTo>
                      <a:pt x="1143" y="177"/>
                    </a:lnTo>
                    <a:lnTo>
                      <a:pt x="1149" y="177"/>
                    </a:lnTo>
                    <a:lnTo>
                      <a:pt x="1149" y="194"/>
                    </a:lnTo>
                    <a:lnTo>
                      <a:pt x="1173" y="194"/>
                    </a:lnTo>
                    <a:lnTo>
                      <a:pt x="1173" y="200"/>
                    </a:lnTo>
                    <a:lnTo>
                      <a:pt x="1179" y="200"/>
                    </a:lnTo>
                    <a:lnTo>
                      <a:pt x="1179" y="214"/>
                    </a:lnTo>
                    <a:lnTo>
                      <a:pt x="1339" y="214"/>
                    </a:lnTo>
                    <a:lnTo>
                      <a:pt x="1339" y="227"/>
                    </a:lnTo>
                    <a:lnTo>
                      <a:pt x="1381" y="227"/>
                    </a:lnTo>
                    <a:lnTo>
                      <a:pt x="1381" y="235"/>
                    </a:lnTo>
                    <a:lnTo>
                      <a:pt x="1391" y="235"/>
                    </a:lnTo>
                    <a:lnTo>
                      <a:pt x="1391" y="259"/>
                    </a:lnTo>
                    <a:lnTo>
                      <a:pt x="1404" y="259"/>
                    </a:lnTo>
                    <a:lnTo>
                      <a:pt x="1404" y="269"/>
                    </a:lnTo>
                    <a:lnTo>
                      <a:pt x="1462" y="269"/>
                    </a:lnTo>
                    <a:lnTo>
                      <a:pt x="1462" y="276"/>
                    </a:lnTo>
                    <a:lnTo>
                      <a:pt x="1493" y="276"/>
                    </a:lnTo>
                    <a:lnTo>
                      <a:pt x="1493" y="289"/>
                    </a:lnTo>
                    <a:lnTo>
                      <a:pt x="1511" y="289"/>
                    </a:lnTo>
                    <a:lnTo>
                      <a:pt x="1511" y="326"/>
                    </a:lnTo>
                    <a:lnTo>
                      <a:pt x="1527" y="326"/>
                    </a:lnTo>
                    <a:lnTo>
                      <a:pt x="1527" y="339"/>
                    </a:lnTo>
                    <a:lnTo>
                      <a:pt x="1560" y="339"/>
                    </a:lnTo>
                    <a:lnTo>
                      <a:pt x="1560" y="351"/>
                    </a:lnTo>
                    <a:lnTo>
                      <a:pt x="1714" y="351"/>
                    </a:lnTo>
                    <a:lnTo>
                      <a:pt x="1714" y="372"/>
                    </a:lnTo>
                    <a:lnTo>
                      <a:pt x="1744" y="372"/>
                    </a:lnTo>
                    <a:lnTo>
                      <a:pt x="1744" y="388"/>
                    </a:lnTo>
                    <a:lnTo>
                      <a:pt x="1870" y="388"/>
                    </a:lnTo>
                    <a:lnTo>
                      <a:pt x="1870" y="409"/>
                    </a:lnTo>
                    <a:lnTo>
                      <a:pt x="2021" y="409"/>
                    </a:lnTo>
                    <a:lnTo>
                      <a:pt x="2021" y="439"/>
                    </a:lnTo>
                    <a:lnTo>
                      <a:pt x="2037" y="439"/>
                    </a:lnTo>
                    <a:lnTo>
                      <a:pt x="2037" y="471"/>
                    </a:lnTo>
                    <a:lnTo>
                      <a:pt x="2458" y="471"/>
                    </a:lnTo>
                    <a:lnTo>
                      <a:pt x="2458" y="614"/>
                    </a:lnTo>
                    <a:lnTo>
                      <a:pt x="2535" y="614"/>
                    </a:lnTo>
                    <a:lnTo>
                      <a:pt x="2535" y="757"/>
                    </a:lnTo>
                    <a:lnTo>
                      <a:pt x="2694" y="757"/>
                    </a:lnTo>
                  </a:path>
                </a:pathLst>
              </a:custGeom>
              <a:noFill/>
              <a:ln w="19050" cap="flat">
                <a:solidFill>
                  <a:srgbClr val="8310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4" name="TextBox 623">
                <a:extLst>
                  <a:ext uri="{FF2B5EF4-FFF2-40B4-BE49-F238E27FC236}">
                    <a16:creationId xmlns:a16="http://schemas.microsoft.com/office/drawing/2014/main" id="{6B30802E-FE00-0A7B-BA8C-4DDE9DEAED43}"/>
                  </a:ext>
                </a:extLst>
              </p:cNvPr>
              <p:cNvSpPr txBox="1"/>
              <p:nvPr/>
            </p:nvSpPr>
            <p:spPr>
              <a:xfrm rot="16200000">
                <a:off x="5750452" y="2727151"/>
                <a:ext cx="1375284" cy="153888"/>
              </a:xfrm>
              <a:prstGeom prst="rect">
                <a:avLst/>
              </a:prstGeom>
              <a:noFill/>
            </p:spPr>
            <p:txBody>
              <a:bodyPr wrap="square" lIns="0" tIns="0" rIns="0" bIns="0" rtlCol="0"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a:t>
                </a:r>
              </a:p>
            </p:txBody>
          </p:sp>
          <p:grpSp>
            <p:nvGrpSpPr>
              <p:cNvPr id="523" name="Group 522">
                <a:extLst>
                  <a:ext uri="{FF2B5EF4-FFF2-40B4-BE49-F238E27FC236}">
                    <a16:creationId xmlns:a16="http://schemas.microsoft.com/office/drawing/2014/main" id="{1853BDEF-523E-71F2-89F4-C8C4F00BB632}"/>
                  </a:ext>
                </a:extLst>
              </p:cNvPr>
              <p:cNvGrpSpPr/>
              <p:nvPr/>
            </p:nvGrpSpPr>
            <p:grpSpPr>
              <a:xfrm>
                <a:off x="6523342" y="2137174"/>
                <a:ext cx="166679" cy="1364984"/>
                <a:chOff x="6674965" y="2566223"/>
                <a:chExt cx="166679" cy="1364984"/>
              </a:xfrm>
            </p:grpSpPr>
            <p:sp>
              <p:nvSpPr>
                <p:cNvPr id="3" name="TextBox 2">
                  <a:extLst>
                    <a:ext uri="{FF2B5EF4-FFF2-40B4-BE49-F238E27FC236}">
                      <a16:creationId xmlns:a16="http://schemas.microsoft.com/office/drawing/2014/main" id="{6359923D-4997-CD1E-B7D6-8B2AC1098DA4}"/>
                    </a:ext>
                  </a:extLst>
                </p:cNvPr>
                <p:cNvSpPr txBox="1"/>
                <p:nvPr/>
              </p:nvSpPr>
              <p:spPr>
                <a:xfrm>
                  <a:off x="6674965" y="2566223"/>
                  <a:ext cx="166679" cy="138499"/>
                </a:xfrm>
                <a:prstGeom prst="rect">
                  <a:avLst/>
                </a:prstGeom>
                <a:no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0</a:t>
                  </a:r>
                </a:p>
              </p:txBody>
            </p:sp>
            <p:sp>
              <p:nvSpPr>
                <p:cNvPr id="5" name="TextBox 4">
                  <a:extLst>
                    <a:ext uri="{FF2B5EF4-FFF2-40B4-BE49-F238E27FC236}">
                      <a16:creationId xmlns:a16="http://schemas.microsoft.com/office/drawing/2014/main" id="{1C243D93-F2DA-6FC4-9DCA-956EDCA3659A}"/>
                    </a:ext>
                  </a:extLst>
                </p:cNvPr>
                <p:cNvSpPr txBox="1"/>
                <p:nvPr/>
              </p:nvSpPr>
              <p:spPr>
                <a:xfrm>
                  <a:off x="6674965" y="2872845"/>
                  <a:ext cx="166679" cy="138499"/>
                </a:xfrm>
                <a:prstGeom prst="rect">
                  <a:avLst/>
                </a:prstGeom>
                <a:no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0</a:t>
                  </a:r>
                </a:p>
              </p:txBody>
            </p:sp>
            <p:sp>
              <p:nvSpPr>
                <p:cNvPr id="8" name="TextBox 7">
                  <a:extLst>
                    <a:ext uri="{FF2B5EF4-FFF2-40B4-BE49-F238E27FC236}">
                      <a16:creationId xmlns:a16="http://schemas.microsoft.com/office/drawing/2014/main" id="{CF5FE53B-1883-C8FC-37F1-0C5C6F073E12}"/>
                    </a:ext>
                  </a:extLst>
                </p:cNvPr>
                <p:cNvSpPr txBox="1"/>
                <p:nvPr/>
              </p:nvSpPr>
              <p:spPr>
                <a:xfrm>
                  <a:off x="6674965" y="3179469"/>
                  <a:ext cx="166679" cy="138499"/>
                </a:xfrm>
                <a:prstGeom prst="rect">
                  <a:avLst/>
                </a:prstGeom>
                <a:no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0</a:t>
                  </a:r>
                </a:p>
              </p:txBody>
            </p:sp>
            <p:sp>
              <p:nvSpPr>
                <p:cNvPr id="9" name="TextBox 8">
                  <a:extLst>
                    <a:ext uri="{FF2B5EF4-FFF2-40B4-BE49-F238E27FC236}">
                      <a16:creationId xmlns:a16="http://schemas.microsoft.com/office/drawing/2014/main" id="{50B19EE1-0551-347B-8CE1-92F561FBBC50}"/>
                    </a:ext>
                  </a:extLst>
                </p:cNvPr>
                <p:cNvSpPr txBox="1"/>
                <p:nvPr/>
              </p:nvSpPr>
              <p:spPr>
                <a:xfrm>
                  <a:off x="6674965" y="3486089"/>
                  <a:ext cx="166679" cy="138499"/>
                </a:xfrm>
                <a:prstGeom prst="rect">
                  <a:avLst/>
                </a:prstGeom>
                <a:no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a:t>
                  </a:r>
                </a:p>
              </p:txBody>
            </p:sp>
            <p:sp>
              <p:nvSpPr>
                <p:cNvPr id="522" name="TextBox 521">
                  <a:extLst>
                    <a:ext uri="{FF2B5EF4-FFF2-40B4-BE49-F238E27FC236}">
                      <a16:creationId xmlns:a16="http://schemas.microsoft.com/office/drawing/2014/main" id="{6A15BF91-B466-50AF-B15B-D4D4A873BB64}"/>
                    </a:ext>
                  </a:extLst>
                </p:cNvPr>
                <p:cNvSpPr txBox="1"/>
                <p:nvPr/>
              </p:nvSpPr>
              <p:spPr>
                <a:xfrm>
                  <a:off x="6674965" y="3792708"/>
                  <a:ext cx="166679" cy="138499"/>
                </a:xfrm>
                <a:prstGeom prst="rect">
                  <a:avLst/>
                </a:prstGeom>
                <a:no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a:t>
                  </a:r>
                </a:p>
              </p:txBody>
            </p:sp>
          </p:grpSp>
        </p:grpSp>
        <p:sp>
          <p:nvSpPr>
            <p:cNvPr id="264" name="TextBox 263">
              <a:extLst>
                <a:ext uri="{FF2B5EF4-FFF2-40B4-BE49-F238E27FC236}">
                  <a16:creationId xmlns:a16="http://schemas.microsoft.com/office/drawing/2014/main" id="{ABC3B36D-ECFB-2962-1C61-77C333A87B8A}"/>
                </a:ext>
              </a:extLst>
            </p:cNvPr>
            <p:cNvSpPr txBox="1"/>
            <p:nvPr/>
          </p:nvSpPr>
          <p:spPr>
            <a:xfrm>
              <a:off x="12033408" y="3578202"/>
              <a:ext cx="179072" cy="138499"/>
            </a:xfrm>
            <a:prstGeom prst="rect">
              <a:avLst/>
            </a:prstGeom>
            <a:noFill/>
          </p:spPr>
          <p:txBody>
            <a:bodyPr wrap="square" lIns="0" tIns="0" rIns="0" bIns="0" rtlCol="0">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5</a:t>
              </a:r>
            </a:p>
          </p:txBody>
        </p:sp>
        <p:sp>
          <p:nvSpPr>
            <p:cNvPr id="231" name="Line 21">
              <a:extLst>
                <a:ext uri="{FF2B5EF4-FFF2-40B4-BE49-F238E27FC236}">
                  <a16:creationId xmlns:a16="http://schemas.microsoft.com/office/drawing/2014/main" id="{68C33F38-74C3-7CA7-EC40-96F862148DD8}"/>
                </a:ext>
              </a:extLst>
            </p:cNvPr>
            <p:cNvSpPr>
              <a:spLocks noChangeShapeType="1"/>
            </p:cNvSpPr>
            <p:nvPr/>
          </p:nvSpPr>
          <p:spPr bwMode="auto">
            <a:xfrm flipV="1">
              <a:off x="12139037" y="3507370"/>
              <a:ext cx="0" cy="47507"/>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1" name="Rectangle: Rounded Corners 248">
            <a:extLst>
              <a:ext uri="{FF2B5EF4-FFF2-40B4-BE49-F238E27FC236}">
                <a16:creationId xmlns:a16="http://schemas.microsoft.com/office/drawing/2014/main" id="{BF0E6479-8D48-388C-367E-3BD76E66AC25}"/>
              </a:ext>
            </a:extLst>
          </p:cNvPr>
          <p:cNvSpPr/>
          <p:nvPr/>
        </p:nvSpPr>
        <p:spPr>
          <a:xfrm>
            <a:off x="9116839" y="1585975"/>
            <a:ext cx="2912589" cy="360000"/>
          </a:xfrm>
          <a:prstGeom prst="rect">
            <a:avLst/>
          </a:prstGeom>
          <a:solidFill>
            <a:srgbClr val="831053"/>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lIns="72000" rIns="72000"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PAOLA-1</a:t>
            </a:r>
            <a:r>
              <a:rPr kumimoji="0" lang="en-US" sz="1800" b="1" i="0" u="none" strike="noStrike" kern="1200" cap="none" spc="0" normalizeH="0" baseline="30000" noProof="0" dirty="0">
                <a:ln>
                  <a:noFill/>
                </a:ln>
                <a:solidFill>
                  <a:srgbClr val="FFFFFF"/>
                </a:solidFill>
                <a:effectLst/>
                <a:uLnTx/>
                <a:uFillTx/>
                <a:latin typeface="Arial"/>
                <a:ea typeface="+mn-ea"/>
                <a:cs typeface="+mn-cs"/>
              </a:rPr>
              <a:t>5</a:t>
            </a:r>
            <a:endParaRPr kumimoji="0" lang="en-US" sz="1800" b="0" i="0" u="none" strike="noStrike" kern="1200" cap="none" spc="0" normalizeH="0" baseline="30000" noProof="0" dirty="0">
              <a:ln>
                <a:noFill/>
              </a:ln>
              <a:solidFill>
                <a:srgbClr val="FFFFFF"/>
              </a:solidFill>
              <a:effectLst/>
              <a:uLnTx/>
              <a:uFillTx/>
              <a:latin typeface="Proxima Nova Rg"/>
              <a:ea typeface="+mn-ea"/>
              <a:cs typeface="+mn-cs"/>
            </a:endParaRPr>
          </a:p>
        </p:txBody>
      </p:sp>
      <p:sp>
        <p:nvSpPr>
          <p:cNvPr id="96" name="TextBox 95">
            <a:extLst>
              <a:ext uri="{FF2B5EF4-FFF2-40B4-BE49-F238E27FC236}">
                <a16:creationId xmlns:a16="http://schemas.microsoft.com/office/drawing/2014/main" id="{0A93558C-9217-39E7-6EDF-B2E61B5BCECA}"/>
              </a:ext>
            </a:extLst>
          </p:cNvPr>
          <p:cNvSpPr txBox="1"/>
          <p:nvPr/>
        </p:nvSpPr>
        <p:spPr>
          <a:xfrm>
            <a:off x="6078424" y="3835509"/>
            <a:ext cx="165595" cy="138499"/>
          </a:xfrm>
          <a:prstGeom prst="rect">
            <a:avLst/>
          </a:prstGeom>
          <a:noFill/>
        </p:spPr>
        <p:txBody>
          <a:bodyPr wrap="square" lIns="0" tIns="0" rIns="0" bIns="0" rtlCol="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8</a:t>
            </a:r>
          </a:p>
        </p:txBody>
      </p:sp>
      <p:sp>
        <p:nvSpPr>
          <p:cNvPr id="134" name="Line 65">
            <a:extLst>
              <a:ext uri="{FF2B5EF4-FFF2-40B4-BE49-F238E27FC236}">
                <a16:creationId xmlns:a16="http://schemas.microsoft.com/office/drawing/2014/main" id="{222785F3-CA25-4BF6-22D1-0A44B652E7A9}"/>
              </a:ext>
            </a:extLst>
          </p:cNvPr>
          <p:cNvSpPr>
            <a:spLocks noChangeShapeType="1"/>
          </p:cNvSpPr>
          <p:nvPr/>
        </p:nvSpPr>
        <p:spPr bwMode="auto">
          <a:xfrm>
            <a:off x="5992461" y="3792659"/>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35" name="Line 65">
            <a:extLst>
              <a:ext uri="{FF2B5EF4-FFF2-40B4-BE49-F238E27FC236}">
                <a16:creationId xmlns:a16="http://schemas.microsoft.com/office/drawing/2014/main" id="{4E7FE07C-627A-35BE-E66E-BCF2076961E7}"/>
              </a:ext>
            </a:extLst>
          </p:cNvPr>
          <p:cNvSpPr>
            <a:spLocks noChangeShapeType="1"/>
          </p:cNvSpPr>
          <p:nvPr/>
        </p:nvSpPr>
        <p:spPr bwMode="auto">
          <a:xfrm>
            <a:off x="6152519" y="3792659"/>
            <a:ext cx="0" cy="34399"/>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09"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69" name="Freeform: Shape 262">
            <a:extLst>
              <a:ext uri="{FF2B5EF4-FFF2-40B4-BE49-F238E27FC236}">
                <a16:creationId xmlns:a16="http://schemas.microsoft.com/office/drawing/2014/main" id="{999BF4C2-6326-D340-F3FC-B7032EB60DB3}"/>
              </a:ext>
            </a:extLst>
          </p:cNvPr>
          <p:cNvSpPr/>
          <p:nvPr/>
        </p:nvSpPr>
        <p:spPr>
          <a:xfrm>
            <a:off x="6110028" y="3417551"/>
            <a:ext cx="9856" cy="22403"/>
          </a:xfrm>
          <a:custGeom>
            <a:avLst/>
            <a:gdLst>
              <a:gd name="connsiteX0" fmla="*/ 0 w 10179"/>
              <a:gd name="connsiteY0" fmla="*/ 0 h 30126"/>
              <a:gd name="connsiteX1" fmla="*/ 0 w 10179"/>
              <a:gd name="connsiteY1" fmla="*/ 30127 h 30126"/>
            </a:gdLst>
            <a:ahLst/>
            <a:cxnLst>
              <a:cxn ang="0">
                <a:pos x="connsiteX0" y="connsiteY0"/>
              </a:cxn>
              <a:cxn ang="0">
                <a:pos x="connsiteX1" y="connsiteY1"/>
              </a:cxn>
            </a:cxnLst>
            <a:rect l="l" t="t" r="r" b="b"/>
            <a:pathLst>
              <a:path w="10179" h="30126">
                <a:moveTo>
                  <a:pt x="0" y="0"/>
                </a:moveTo>
                <a:lnTo>
                  <a:pt x="0" y="30127"/>
                </a:lnTo>
              </a:path>
            </a:pathLst>
          </a:custGeom>
          <a:ln w="15240" cap="rnd">
            <a:solidFill>
              <a:srgbClr val="595A5A"/>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547" name="Picture 546" descr="A screenshot of a computer screen&#10;&#10;Description automatically generated">
            <a:extLst>
              <a:ext uri="{FF2B5EF4-FFF2-40B4-BE49-F238E27FC236}">
                <a16:creationId xmlns:a16="http://schemas.microsoft.com/office/drawing/2014/main" id="{C6E01BC4-8868-B281-FDAE-61E74E87716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4022" r="16519"/>
          <a:stretch/>
        </p:blipFill>
        <p:spPr>
          <a:xfrm>
            <a:off x="6507453" y="1893789"/>
            <a:ext cx="2661779" cy="2791255"/>
          </a:xfrm>
          <a:prstGeom prst="rect">
            <a:avLst/>
          </a:prstGeom>
        </p:spPr>
      </p:pic>
      <p:sp>
        <p:nvSpPr>
          <p:cNvPr id="551" name="Rectangle 110">
            <a:extLst>
              <a:ext uri="{FF2B5EF4-FFF2-40B4-BE49-F238E27FC236}">
                <a16:creationId xmlns:a16="http://schemas.microsoft.com/office/drawing/2014/main" id="{373255B1-195A-7DB7-C38E-7E58D9C83011}"/>
              </a:ext>
            </a:extLst>
          </p:cNvPr>
          <p:cNvSpPr>
            <a:spLocks noChangeArrowheads="1"/>
          </p:cNvSpPr>
          <p:nvPr/>
        </p:nvSpPr>
        <p:spPr bwMode="auto">
          <a:xfrm rot="16200000">
            <a:off x="5657982" y="2917752"/>
            <a:ext cx="1286004" cy="307777"/>
          </a:xfrm>
          <a:prstGeom prst="rect">
            <a:avLst/>
          </a:prstGeom>
          <a:solidFill>
            <a:schemeClr val="bg1"/>
          </a:solidFill>
          <a:ln>
            <a:noFill/>
          </a:ln>
        </p:spPr>
        <p:txBody>
          <a:bodyPr vert="horz" wrap="square" lIns="48000" tIns="0" rIns="48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a:t>
            </a:r>
          </a:p>
        </p:txBody>
      </p:sp>
      <p:sp>
        <p:nvSpPr>
          <p:cNvPr id="552" name="TextBox 551">
            <a:extLst>
              <a:ext uri="{FF2B5EF4-FFF2-40B4-BE49-F238E27FC236}">
                <a16:creationId xmlns:a16="http://schemas.microsoft.com/office/drawing/2014/main" id="{D49D3BED-A4F2-C780-CC3F-E4595E2313AB}"/>
              </a:ext>
            </a:extLst>
          </p:cNvPr>
          <p:cNvSpPr txBox="1"/>
          <p:nvPr/>
        </p:nvSpPr>
        <p:spPr>
          <a:xfrm>
            <a:off x="6254667" y="4254531"/>
            <a:ext cx="281624" cy="76944"/>
          </a:xfrm>
          <a:prstGeom prst="rect">
            <a:avLst/>
          </a:prstGeom>
          <a:solidFill>
            <a:schemeClr val="bg1"/>
          </a:solid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acebo</a:t>
            </a:r>
          </a:p>
        </p:txBody>
      </p:sp>
      <p:sp>
        <p:nvSpPr>
          <p:cNvPr id="553" name="TextBox 552">
            <a:extLst>
              <a:ext uri="{FF2B5EF4-FFF2-40B4-BE49-F238E27FC236}">
                <a16:creationId xmlns:a16="http://schemas.microsoft.com/office/drawing/2014/main" id="{F4DF8E03-0CDE-71B6-6932-3AB19905AFF7}"/>
              </a:ext>
            </a:extLst>
          </p:cNvPr>
          <p:cNvSpPr txBox="1"/>
          <p:nvPr/>
        </p:nvSpPr>
        <p:spPr>
          <a:xfrm>
            <a:off x="6212152" y="4160761"/>
            <a:ext cx="324139" cy="76944"/>
          </a:xfrm>
          <a:prstGeom prst="rect">
            <a:avLst/>
          </a:prstGeom>
          <a:solidFill>
            <a:schemeClr val="bg1"/>
          </a:solidFill>
        </p:spPr>
        <p:txBody>
          <a:bodyPr wrap="square" lIns="0" tIns="0" rIns="0" bIns="0" rtlCol="0">
            <a:spAutoFit/>
          </a:bodyPr>
          <a:lstStyle/>
          <a:p>
            <a:pPr marL="0" marR="0" lvl="0" indent="0" algn="r" defTabSz="6857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ucaparib</a:t>
            </a:r>
          </a:p>
        </p:txBody>
      </p:sp>
      <p:sp>
        <p:nvSpPr>
          <p:cNvPr id="554" name="TextBox 553">
            <a:extLst>
              <a:ext uri="{FF2B5EF4-FFF2-40B4-BE49-F238E27FC236}">
                <a16:creationId xmlns:a16="http://schemas.microsoft.com/office/drawing/2014/main" id="{E270F016-2D21-918C-D382-A4FD043D9F24}"/>
              </a:ext>
            </a:extLst>
          </p:cNvPr>
          <p:cNvSpPr txBox="1"/>
          <p:nvPr/>
        </p:nvSpPr>
        <p:spPr>
          <a:xfrm>
            <a:off x="6233523" y="4076507"/>
            <a:ext cx="534583" cy="76944"/>
          </a:xfrm>
          <a:prstGeom prst="rect">
            <a:avLst/>
          </a:prstGeom>
          <a:solidFill>
            <a:schemeClr val="bg1"/>
          </a:solidFill>
        </p:spPr>
        <p:txBody>
          <a:bodyPr wrap="square" lIns="0" tIns="0" rIns="0" bIns="0" rtlCol="0" anchor="ctr">
            <a:spAutoFit/>
          </a:bodyPr>
          <a:lstStyle/>
          <a:p>
            <a:pPr marL="0" marR="0" lvl="0" indent="0" algn="l" defTabSz="68575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p:txBody>
      </p:sp>
      <p:sp>
        <p:nvSpPr>
          <p:cNvPr id="555" name="TextBox 554">
            <a:extLst>
              <a:ext uri="{FF2B5EF4-FFF2-40B4-BE49-F238E27FC236}">
                <a16:creationId xmlns:a16="http://schemas.microsoft.com/office/drawing/2014/main" id="{E1F35A5B-FC23-8FC8-423D-6004564593EF}"/>
              </a:ext>
            </a:extLst>
          </p:cNvPr>
          <p:cNvSpPr txBox="1"/>
          <p:nvPr/>
        </p:nvSpPr>
        <p:spPr>
          <a:xfrm>
            <a:off x="6712583" y="3958405"/>
            <a:ext cx="2269664" cy="200055"/>
          </a:xfrm>
          <a:prstGeom prst="rect">
            <a:avLst/>
          </a:prstGeom>
          <a:solidFill>
            <a:schemeClr val="bg1"/>
          </a:solidFill>
        </p:spPr>
        <p:txBody>
          <a:bodyPr wrap="square" rtlCol="0" anchor="ctr">
            <a:spAutoFit/>
          </a:bodyPr>
          <a:lstStyle/>
          <a:p>
            <a:pPr marL="0" marR="0" lvl="0" indent="0" algn="ctr" defTabSz="68575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nths since </a:t>
            </a:r>
            <a:r>
              <a:rPr kumimoji="0" lang="en-US" sz="7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ndomisation</a:t>
            </a:r>
            <a:endPar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561" name="Connector: Elbow 560">
            <a:extLst>
              <a:ext uri="{FF2B5EF4-FFF2-40B4-BE49-F238E27FC236}">
                <a16:creationId xmlns:a16="http://schemas.microsoft.com/office/drawing/2014/main" id="{4CC2E841-8F2D-048A-AD32-0743D635AC87}"/>
              </a:ext>
            </a:extLst>
          </p:cNvPr>
          <p:cNvCxnSpPr>
            <a:cxnSpLocks/>
          </p:cNvCxnSpPr>
          <p:nvPr/>
        </p:nvCxnSpPr>
        <p:spPr>
          <a:xfrm rot="16200000" flipH="1">
            <a:off x="6751729" y="3483426"/>
            <a:ext cx="4689695" cy="149172"/>
          </a:xfrm>
          <a:prstGeom prst="bentConnector3">
            <a:avLst>
              <a:gd name="adj1" fmla="val 68146"/>
            </a:avLst>
          </a:pr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sp>
        <p:nvSpPr>
          <p:cNvPr id="520" name="TextBox 519">
            <a:extLst>
              <a:ext uri="{FF2B5EF4-FFF2-40B4-BE49-F238E27FC236}">
                <a16:creationId xmlns:a16="http://schemas.microsoft.com/office/drawing/2014/main" id="{13C230E8-15F9-B998-789F-D2C369A2065E}"/>
              </a:ext>
            </a:extLst>
          </p:cNvPr>
          <p:cNvSpPr txBox="1"/>
          <p:nvPr/>
        </p:nvSpPr>
        <p:spPr>
          <a:xfrm>
            <a:off x="2317687" y="1176953"/>
            <a:ext cx="4716856" cy="3385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ptos" panose="02110004020202020204"/>
                <a:ea typeface="+mn-ea"/>
                <a:cs typeface="+mn-cs"/>
              </a:rPr>
              <a:t>PARPi</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monotherapy </a:t>
            </a:r>
            <a:r>
              <a:rPr kumimoji="0" lang="en-US" sz="1600" b="1" i="1" u="none" strike="noStrike" kern="1200" cap="none" spc="0" normalizeH="0" baseline="0" noProof="0" dirty="0">
                <a:ln>
                  <a:noFill/>
                </a:ln>
                <a:solidFill>
                  <a:prstClr val="black"/>
                </a:solidFill>
                <a:effectLst/>
                <a:uLnTx/>
                <a:uFillTx/>
                <a:latin typeface="Aptos" panose="02110004020202020204"/>
                <a:ea typeface="+mn-ea"/>
                <a:cs typeface="+mn-cs"/>
              </a:rPr>
              <a:t>versus</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watch and wait</a:t>
            </a:r>
          </a:p>
        </p:txBody>
      </p:sp>
      <p:sp>
        <p:nvSpPr>
          <p:cNvPr id="521" name="TextBox 520">
            <a:extLst>
              <a:ext uri="{FF2B5EF4-FFF2-40B4-BE49-F238E27FC236}">
                <a16:creationId xmlns:a16="http://schemas.microsoft.com/office/drawing/2014/main" id="{26036789-5889-E6EA-FA3A-D162BAAB7DA9}"/>
              </a:ext>
            </a:extLst>
          </p:cNvPr>
          <p:cNvSpPr txBox="1"/>
          <p:nvPr/>
        </p:nvSpPr>
        <p:spPr>
          <a:xfrm>
            <a:off x="8916155" y="1003427"/>
            <a:ext cx="3197383"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Olaparib plus </a:t>
            </a:r>
            <a:r>
              <a:rPr kumimoji="0" lang="en-US" sz="1600" b="1" i="0" u="none" strike="noStrike" kern="1200" cap="none" spc="0" normalizeH="0" baseline="0" noProof="0" dirty="0" err="1">
                <a:ln>
                  <a:noFill/>
                </a:ln>
                <a:solidFill>
                  <a:prstClr val="black"/>
                </a:solidFill>
                <a:effectLst/>
                <a:uLnTx/>
                <a:uFillTx/>
                <a:latin typeface="Aptos" panose="02110004020202020204"/>
                <a:ea typeface="+mn-ea"/>
                <a:cs typeface="+mn-cs"/>
              </a:rPr>
              <a:t>bev</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combination </a:t>
            </a:r>
            <a:r>
              <a:rPr kumimoji="0" lang="en-US" sz="1600" b="1" i="1" u="none" strike="noStrike" kern="1200" cap="none" spc="0" normalizeH="0" baseline="0" noProof="0" dirty="0">
                <a:ln>
                  <a:noFill/>
                </a:ln>
                <a:solidFill>
                  <a:prstClr val="black"/>
                </a:solidFill>
                <a:effectLst/>
                <a:uLnTx/>
                <a:uFillTx/>
                <a:latin typeface="Aptos" panose="02110004020202020204"/>
                <a:ea typeface="+mn-ea"/>
                <a:cs typeface="+mn-cs"/>
              </a:rPr>
              <a:t>versus</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600" b="1" i="0" u="none" strike="noStrike" kern="1200" cap="none" spc="0" normalizeH="0" baseline="0" noProof="0" dirty="0" err="1">
                <a:ln>
                  <a:noFill/>
                </a:ln>
                <a:solidFill>
                  <a:prstClr val="black"/>
                </a:solidFill>
                <a:effectLst/>
                <a:uLnTx/>
                <a:uFillTx/>
                <a:latin typeface="Aptos" panose="02110004020202020204"/>
                <a:ea typeface="+mn-ea"/>
                <a:cs typeface="+mn-cs"/>
              </a:rPr>
              <a:t>bev</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maintenance</a:t>
            </a:r>
          </a:p>
        </p:txBody>
      </p:sp>
      <p:sp>
        <p:nvSpPr>
          <p:cNvPr id="336" name="Text Placeholder 6">
            <a:extLst>
              <a:ext uri="{FF2B5EF4-FFF2-40B4-BE49-F238E27FC236}">
                <a16:creationId xmlns:a16="http://schemas.microsoft.com/office/drawing/2014/main" id="{6B072055-4DB3-4891-8126-A0BFFC86E5A7}"/>
              </a:ext>
            </a:extLst>
          </p:cNvPr>
          <p:cNvSpPr>
            <a:spLocks noGrp="1"/>
          </p:cNvSpPr>
          <p:nvPr>
            <p:ph type="title"/>
          </p:nvPr>
        </p:nvSpPr>
        <p:spPr>
          <a:xfrm>
            <a:off x="312200" y="512959"/>
            <a:ext cx="11488737" cy="393700"/>
          </a:xfrm>
        </p:spPr>
        <p:txBody>
          <a:bodyPr vert="horz" lIns="91440" tIns="45720" rIns="91440" bIns="45720" rtlCol="0" anchor="ctr">
            <a:noAutofit/>
          </a:bodyPr>
          <a:lstStyle/>
          <a:p>
            <a:r>
              <a:rPr lang="en-US" sz="2800" b="1" dirty="0">
                <a:solidFill>
                  <a:srgbClr val="1C428D"/>
                </a:solidFill>
              </a:rPr>
              <a:t>Significant extension in PFS in frontline PARP inhibitor maintenance trials in </a:t>
            </a:r>
            <a:r>
              <a:rPr lang="en-US" sz="2800" b="1" i="1" u="sng" dirty="0" err="1">
                <a:solidFill>
                  <a:srgbClr val="1C428D"/>
                </a:solidFill>
              </a:rPr>
              <a:t>BRCA</a:t>
            </a:r>
            <a:r>
              <a:rPr lang="en-US" sz="2800" b="1" u="sng" dirty="0" err="1">
                <a:solidFill>
                  <a:srgbClr val="1C428D"/>
                </a:solidFill>
              </a:rPr>
              <a:t>m</a:t>
            </a:r>
            <a:r>
              <a:rPr lang="en-US" sz="2800" b="1" dirty="0">
                <a:solidFill>
                  <a:srgbClr val="1C428D"/>
                </a:solidFill>
              </a:rPr>
              <a:t> ovarian cancer</a:t>
            </a:r>
            <a:br>
              <a:rPr lang="en-US" sz="2800" b="1" dirty="0">
                <a:solidFill>
                  <a:srgbClr val="1C428D"/>
                </a:solidFill>
              </a:rPr>
            </a:br>
            <a:endParaRPr lang="en-US" sz="2800" b="1" dirty="0">
              <a:solidFill>
                <a:srgbClr val="1C428D"/>
              </a:solidFill>
            </a:endParaRPr>
          </a:p>
        </p:txBody>
      </p:sp>
    </p:spTree>
    <p:extLst>
      <p:ext uri="{BB962C8B-B14F-4D97-AF65-F5344CB8AC3E}">
        <p14:creationId xmlns:p14="http://schemas.microsoft.com/office/powerpoint/2010/main" val="33025337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B5595-B6CF-8D0D-EC8F-3335AABE3C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493B2F-9D11-81BA-6C2F-210BC4D1882D}"/>
              </a:ext>
            </a:extLst>
          </p:cNvPr>
          <p:cNvSpPr>
            <a:spLocks noGrp="1"/>
          </p:cNvSpPr>
          <p:nvPr>
            <p:ph type="title"/>
          </p:nvPr>
        </p:nvSpPr>
        <p:spPr>
          <a:xfrm>
            <a:off x="916516" y="116632"/>
            <a:ext cx="10358967" cy="1196752"/>
          </a:xfrm>
        </p:spPr>
        <p:txBody>
          <a:bodyPr/>
          <a:lstStyle/>
          <a:p>
            <a:r>
              <a:rPr lang="en-US" sz="3200" dirty="0">
                <a:solidFill>
                  <a:srgbClr val="0432FF"/>
                </a:solidFill>
              </a:rPr>
              <a:t>Prof Colombo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91AD8D69-A41C-746C-66D1-CD72CCCFD9C7}"/>
              </a:ext>
            </a:extLst>
          </p:cNvPr>
          <p:cNvGraphicFramePr>
            <a:graphicFrameLocks/>
          </p:cNvGraphicFramePr>
          <p:nvPr>
            <p:extLst>
              <p:ext uri="{D42A27DB-BD31-4B8C-83A1-F6EECF244321}">
                <p14:modId xmlns:p14="http://schemas.microsoft.com/office/powerpoint/2010/main" val="689644312"/>
              </p:ext>
            </p:extLst>
          </p:nvPr>
        </p:nvGraphicFramePr>
        <p:xfrm>
          <a:off x="1631503" y="1772816"/>
          <a:ext cx="8928992" cy="3595372"/>
        </p:xfrm>
        <a:graphic>
          <a:graphicData uri="http://schemas.openxmlformats.org/drawingml/2006/table">
            <a:tbl>
              <a:tblPr firstRow="1" bandRow="1">
                <a:tableStyleId>{F2DE63D5-997A-4646-A377-4702673A728D}</a:tableStyleId>
              </a:tblPr>
              <a:tblGrid>
                <a:gridCol w="2843681">
                  <a:extLst>
                    <a:ext uri="{9D8B030D-6E8A-4147-A177-3AD203B41FA5}">
                      <a16:colId xmlns:a16="http://schemas.microsoft.com/office/drawing/2014/main" val="20000"/>
                    </a:ext>
                  </a:extLst>
                </a:gridCol>
                <a:gridCol w="6085311">
                  <a:extLst>
                    <a:ext uri="{9D8B030D-6E8A-4147-A177-3AD203B41FA5}">
                      <a16:colId xmlns:a16="http://schemas.microsoft.com/office/drawing/2014/main" val="20001"/>
                    </a:ext>
                  </a:extLst>
                </a:gridCol>
              </a:tblGrid>
              <a:tr h="1638596">
                <a:tc>
                  <a:txBody>
                    <a:bodyPr/>
                    <a:lstStyle/>
                    <a:p>
                      <a:r>
                        <a:rPr lang="en-US" sz="20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bbVie Inc, AstraZeneca Pharmaceuticals LP, </a:t>
                      </a:r>
                      <a:r>
                        <a:rPr lang="en-US" sz="2000" b="0" kern="1200" dirty="0" err="1">
                          <a:solidFill>
                            <a:schemeClr val="tx1"/>
                          </a:solidFill>
                          <a:effectLst/>
                          <a:latin typeface="+mn-lt"/>
                          <a:ea typeface="+mn-ea"/>
                          <a:cs typeface="+mn-cs"/>
                        </a:rPr>
                        <a:t>BeOne</a:t>
                      </a:r>
                      <a:r>
                        <a:rPr lang="en-US" sz="2000" b="0" kern="1200" dirty="0">
                          <a:solidFill>
                            <a:schemeClr val="tx1"/>
                          </a:solidFill>
                          <a:effectLst/>
                          <a:latin typeface="+mn-lt"/>
                          <a:ea typeface="+mn-ea"/>
                          <a:cs typeface="+mn-cs"/>
                        </a:rPr>
                        <a:t>, BioNTech SE, </a:t>
                      </a:r>
                      <a:r>
                        <a:rPr lang="en-US" sz="2000" b="0" kern="1200" dirty="0" err="1">
                          <a:solidFill>
                            <a:schemeClr val="tx1"/>
                          </a:solidFill>
                          <a:effectLst/>
                          <a:latin typeface="+mn-lt"/>
                          <a:ea typeface="+mn-ea"/>
                          <a:cs typeface="+mn-cs"/>
                        </a:rPr>
                        <a:t>Corcept</a:t>
                      </a:r>
                      <a:r>
                        <a:rPr lang="en-US" sz="2000" b="0" kern="1200" dirty="0">
                          <a:solidFill>
                            <a:schemeClr val="tx1"/>
                          </a:solidFill>
                          <a:effectLst/>
                          <a:latin typeface="+mn-lt"/>
                          <a:ea typeface="+mn-ea"/>
                          <a:cs typeface="+mn-cs"/>
                        </a:rPr>
                        <a:t> Therapeutics Inc, Eisai Inc, Gilead Sciences Inc, GSK, </a:t>
                      </a:r>
                      <a:r>
                        <a:rPr lang="en-US" sz="2000" b="0" kern="1200" dirty="0" err="1">
                          <a:solidFill>
                            <a:schemeClr val="tx1"/>
                          </a:solidFill>
                          <a:effectLst/>
                          <a:latin typeface="+mn-lt"/>
                          <a:ea typeface="+mn-ea"/>
                          <a:cs typeface="+mn-cs"/>
                        </a:rPr>
                        <a:t>ImmunoGen</a:t>
                      </a:r>
                      <a:r>
                        <a:rPr lang="en-US" sz="2000" b="0" kern="1200" dirty="0">
                          <a:solidFill>
                            <a:schemeClr val="tx1"/>
                          </a:solidFill>
                          <a:effectLst/>
                          <a:latin typeface="+mn-lt"/>
                          <a:ea typeface="+mn-ea"/>
                          <a:cs typeface="+mn-cs"/>
                        </a:rPr>
                        <a:t> Inc, Lilly, MSD, </a:t>
                      </a:r>
                      <a:r>
                        <a:rPr lang="en-US" sz="2000" b="0" kern="1200" dirty="0" err="1">
                          <a:solidFill>
                            <a:schemeClr val="tx1"/>
                          </a:solidFill>
                          <a:effectLst/>
                          <a:latin typeface="+mn-lt"/>
                          <a:ea typeface="+mn-ea"/>
                          <a:cs typeface="+mn-cs"/>
                        </a:rPr>
                        <a:t>Novocure</a:t>
                      </a:r>
                      <a:r>
                        <a:rPr lang="en-US" sz="2000" b="0" kern="1200" dirty="0">
                          <a:solidFill>
                            <a:schemeClr val="tx1"/>
                          </a:solidFill>
                          <a:effectLst/>
                          <a:latin typeface="+mn-lt"/>
                          <a:ea typeface="+mn-ea"/>
                          <a:cs typeface="+mn-cs"/>
                        </a:rPr>
                        <a:t> Inc, Regeneron Pharmaceuticals Inc, </a:t>
                      </a:r>
                      <a:r>
                        <a:rPr lang="en-US" sz="2000" b="0" kern="1200" dirty="0" err="1">
                          <a:solidFill>
                            <a:schemeClr val="tx1"/>
                          </a:solidFill>
                          <a:effectLst/>
                          <a:latin typeface="+mn-lt"/>
                          <a:ea typeface="+mn-ea"/>
                          <a:cs typeface="+mn-cs"/>
                        </a:rPr>
                        <a:t>Seagen</a:t>
                      </a:r>
                      <a:r>
                        <a:rPr lang="en-US" sz="20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73796">
                <a:tc>
                  <a:txBody>
                    <a:bodyPr/>
                    <a:lstStyle/>
                    <a:p>
                      <a:r>
                        <a:rPr lang="en-US" sz="20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Incyte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0787178"/>
                  </a:ext>
                </a:extLst>
              </a:tr>
              <a:tr h="973796">
                <a:tc>
                  <a:txBody>
                    <a:bodyPr/>
                    <a:lstStyle/>
                    <a:p>
                      <a:r>
                        <a:rPr lang="en-US" sz="20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straZeneca Pharmaceuticals LP, Eisai Inc, GSK, MS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5968464"/>
                  </a:ext>
                </a:extLst>
              </a:tr>
            </a:tbl>
          </a:graphicData>
        </a:graphic>
      </p:graphicFrame>
    </p:spTree>
    <p:custDataLst>
      <p:tags r:id="rId1"/>
    </p:custDataLst>
    <p:extLst>
      <p:ext uri="{BB962C8B-B14F-4D97-AF65-F5344CB8AC3E}">
        <p14:creationId xmlns:p14="http://schemas.microsoft.com/office/powerpoint/2010/main" val="5307582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256" name="Picture 255" descr="A screenshot of a video game&#10;&#10;Description automatically generated">
            <a:extLst>
              <a:ext uri="{FF2B5EF4-FFF2-40B4-BE49-F238E27FC236}">
                <a16:creationId xmlns:a16="http://schemas.microsoft.com/office/drawing/2014/main" id="{A8436EC1-8717-1573-23AC-B71B8E60B6C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7138" t="11659" r="16469" b="5864"/>
          <a:stretch/>
        </p:blipFill>
        <p:spPr>
          <a:xfrm>
            <a:off x="3550719" y="2512756"/>
            <a:ext cx="4456693" cy="3405581"/>
          </a:xfrm>
          <a:prstGeom prst="rect">
            <a:avLst/>
          </a:prstGeom>
        </p:spPr>
      </p:pic>
      <p:sp>
        <p:nvSpPr>
          <p:cNvPr id="10" name="Text Placeholder 9">
            <a:extLst>
              <a:ext uri="{FF2B5EF4-FFF2-40B4-BE49-F238E27FC236}">
                <a16:creationId xmlns:a16="http://schemas.microsoft.com/office/drawing/2014/main" id="{F38298CA-463D-AA91-08A0-253BC9E019E2}"/>
              </a:ext>
            </a:extLst>
          </p:cNvPr>
          <p:cNvSpPr>
            <a:spLocks noGrp="1"/>
          </p:cNvSpPr>
          <p:nvPr>
            <p:ph type="body" sz="quarter" idx="4294967295"/>
          </p:nvPr>
        </p:nvSpPr>
        <p:spPr>
          <a:xfrm>
            <a:off x="454025" y="141288"/>
            <a:ext cx="11737975" cy="766762"/>
          </a:xfrm>
        </p:spPr>
        <p:txBody>
          <a:bodyPr vert="horz" lIns="91440" tIns="45720" rIns="91440" bIns="45720" rtlCol="0">
            <a:noAutofit/>
          </a:bodyPr>
          <a:lstStyle/>
          <a:p>
            <a:pPr marL="0" indent="0">
              <a:buNone/>
            </a:pPr>
            <a:r>
              <a:rPr lang="en-US" b="1" dirty="0">
                <a:solidFill>
                  <a:srgbClr val="1C428D"/>
                </a:solidFill>
                <a:latin typeface="Arial" panose="020B0604020202020204" pitchFamily="34" charset="0"/>
                <a:cs typeface="Arial" panose="020B0604020202020204" pitchFamily="34" charset="0"/>
              </a:rPr>
              <a:t>Exploratory analysis of PFS with </a:t>
            </a:r>
            <a:r>
              <a:rPr lang="en-US" b="1" dirty="0" err="1">
                <a:solidFill>
                  <a:srgbClr val="1C428D"/>
                </a:solidFill>
                <a:latin typeface="Arial" panose="020B0604020202020204" pitchFamily="34" charset="0"/>
                <a:cs typeface="Arial" panose="020B0604020202020204" pitchFamily="34" charset="0"/>
              </a:rPr>
              <a:t>PARPi</a:t>
            </a:r>
            <a:r>
              <a:rPr lang="en-US" b="1" dirty="0">
                <a:solidFill>
                  <a:srgbClr val="1C428D"/>
                </a:solidFill>
                <a:latin typeface="Arial" panose="020B0604020202020204" pitchFamily="34" charset="0"/>
                <a:cs typeface="Arial" panose="020B0604020202020204" pitchFamily="34" charset="0"/>
              </a:rPr>
              <a:t> maintenance in patients with </a:t>
            </a:r>
            <a:r>
              <a:rPr lang="en-US" b="1" i="1" u="sng" dirty="0" err="1">
                <a:solidFill>
                  <a:srgbClr val="1C428D"/>
                </a:solidFill>
                <a:latin typeface="Arial" panose="020B0604020202020204" pitchFamily="34" charset="0"/>
                <a:cs typeface="Arial" panose="020B0604020202020204" pitchFamily="34" charset="0"/>
              </a:rPr>
              <a:t>BRCA</a:t>
            </a:r>
            <a:r>
              <a:rPr lang="en-US" b="1" u="sng" dirty="0" err="1">
                <a:solidFill>
                  <a:srgbClr val="1C428D"/>
                </a:solidFill>
                <a:latin typeface="Arial" panose="020B0604020202020204" pitchFamily="34" charset="0"/>
                <a:cs typeface="Arial" panose="020B0604020202020204" pitchFamily="34" charset="0"/>
              </a:rPr>
              <a:t>wt</a:t>
            </a:r>
            <a:r>
              <a:rPr lang="en-US" b="1" u="sng" dirty="0">
                <a:solidFill>
                  <a:srgbClr val="1C428D"/>
                </a:solidFill>
                <a:latin typeface="Arial" panose="020B0604020202020204" pitchFamily="34" charset="0"/>
                <a:cs typeface="Arial" panose="020B0604020202020204" pitchFamily="34" charset="0"/>
              </a:rPr>
              <a:t> HRD-positive </a:t>
            </a:r>
            <a:r>
              <a:rPr lang="en-US" b="1" dirty="0">
                <a:solidFill>
                  <a:srgbClr val="1C428D"/>
                </a:solidFill>
                <a:latin typeface="Arial" panose="020B0604020202020204" pitchFamily="34" charset="0"/>
                <a:cs typeface="Arial" panose="020B0604020202020204" pitchFamily="34" charset="0"/>
              </a:rPr>
              <a:t>(high GIS) ovarian cancer</a:t>
            </a:r>
          </a:p>
        </p:txBody>
      </p:sp>
      <p:graphicFrame>
        <p:nvGraphicFramePr>
          <p:cNvPr id="316" name="Table 2798">
            <a:extLst>
              <a:ext uri="{FF2B5EF4-FFF2-40B4-BE49-F238E27FC236}">
                <a16:creationId xmlns:a16="http://schemas.microsoft.com/office/drawing/2014/main" id="{182B38E8-F972-7BD4-6939-41792CA47DD2}"/>
              </a:ext>
            </a:extLst>
          </p:cNvPr>
          <p:cNvGraphicFramePr>
            <a:graphicFrameLocks noGrp="1"/>
          </p:cNvGraphicFramePr>
          <p:nvPr/>
        </p:nvGraphicFramePr>
        <p:xfrm>
          <a:off x="722227" y="5528479"/>
          <a:ext cx="2878245" cy="342000"/>
        </p:xfrm>
        <a:graphic>
          <a:graphicData uri="http://schemas.openxmlformats.org/drawingml/2006/table">
            <a:tbl>
              <a:tblPr firstRow="1" bandRow="1"/>
              <a:tblGrid>
                <a:gridCol w="191883">
                  <a:extLst>
                    <a:ext uri="{9D8B030D-6E8A-4147-A177-3AD203B41FA5}">
                      <a16:colId xmlns:a16="http://schemas.microsoft.com/office/drawing/2014/main" val="1885752898"/>
                    </a:ext>
                  </a:extLst>
                </a:gridCol>
                <a:gridCol w="191883">
                  <a:extLst>
                    <a:ext uri="{9D8B030D-6E8A-4147-A177-3AD203B41FA5}">
                      <a16:colId xmlns:a16="http://schemas.microsoft.com/office/drawing/2014/main" val="134680806"/>
                    </a:ext>
                  </a:extLst>
                </a:gridCol>
                <a:gridCol w="191883">
                  <a:extLst>
                    <a:ext uri="{9D8B030D-6E8A-4147-A177-3AD203B41FA5}">
                      <a16:colId xmlns:a16="http://schemas.microsoft.com/office/drawing/2014/main" val="1029445033"/>
                    </a:ext>
                  </a:extLst>
                </a:gridCol>
                <a:gridCol w="191883">
                  <a:extLst>
                    <a:ext uri="{9D8B030D-6E8A-4147-A177-3AD203B41FA5}">
                      <a16:colId xmlns:a16="http://schemas.microsoft.com/office/drawing/2014/main" val="2159787220"/>
                    </a:ext>
                  </a:extLst>
                </a:gridCol>
                <a:gridCol w="191883">
                  <a:extLst>
                    <a:ext uri="{9D8B030D-6E8A-4147-A177-3AD203B41FA5}">
                      <a16:colId xmlns:a16="http://schemas.microsoft.com/office/drawing/2014/main" val="2934114850"/>
                    </a:ext>
                  </a:extLst>
                </a:gridCol>
                <a:gridCol w="191883">
                  <a:extLst>
                    <a:ext uri="{9D8B030D-6E8A-4147-A177-3AD203B41FA5}">
                      <a16:colId xmlns:a16="http://schemas.microsoft.com/office/drawing/2014/main" val="476636077"/>
                    </a:ext>
                  </a:extLst>
                </a:gridCol>
                <a:gridCol w="191883">
                  <a:extLst>
                    <a:ext uri="{9D8B030D-6E8A-4147-A177-3AD203B41FA5}">
                      <a16:colId xmlns:a16="http://schemas.microsoft.com/office/drawing/2014/main" val="375286191"/>
                    </a:ext>
                  </a:extLst>
                </a:gridCol>
                <a:gridCol w="191883">
                  <a:extLst>
                    <a:ext uri="{9D8B030D-6E8A-4147-A177-3AD203B41FA5}">
                      <a16:colId xmlns:a16="http://schemas.microsoft.com/office/drawing/2014/main" val="3717920567"/>
                    </a:ext>
                  </a:extLst>
                </a:gridCol>
                <a:gridCol w="191883">
                  <a:extLst>
                    <a:ext uri="{9D8B030D-6E8A-4147-A177-3AD203B41FA5}">
                      <a16:colId xmlns:a16="http://schemas.microsoft.com/office/drawing/2014/main" val="314135057"/>
                    </a:ext>
                  </a:extLst>
                </a:gridCol>
                <a:gridCol w="191883">
                  <a:extLst>
                    <a:ext uri="{9D8B030D-6E8A-4147-A177-3AD203B41FA5}">
                      <a16:colId xmlns:a16="http://schemas.microsoft.com/office/drawing/2014/main" val="899159838"/>
                    </a:ext>
                  </a:extLst>
                </a:gridCol>
                <a:gridCol w="191883">
                  <a:extLst>
                    <a:ext uri="{9D8B030D-6E8A-4147-A177-3AD203B41FA5}">
                      <a16:colId xmlns:a16="http://schemas.microsoft.com/office/drawing/2014/main" val="1511544616"/>
                    </a:ext>
                  </a:extLst>
                </a:gridCol>
                <a:gridCol w="191883">
                  <a:extLst>
                    <a:ext uri="{9D8B030D-6E8A-4147-A177-3AD203B41FA5}">
                      <a16:colId xmlns:a16="http://schemas.microsoft.com/office/drawing/2014/main" val="250409156"/>
                    </a:ext>
                  </a:extLst>
                </a:gridCol>
                <a:gridCol w="191883">
                  <a:extLst>
                    <a:ext uri="{9D8B030D-6E8A-4147-A177-3AD203B41FA5}">
                      <a16:colId xmlns:a16="http://schemas.microsoft.com/office/drawing/2014/main" val="4134506355"/>
                    </a:ext>
                  </a:extLst>
                </a:gridCol>
                <a:gridCol w="191883">
                  <a:extLst>
                    <a:ext uri="{9D8B030D-6E8A-4147-A177-3AD203B41FA5}">
                      <a16:colId xmlns:a16="http://schemas.microsoft.com/office/drawing/2014/main" val="1795260232"/>
                    </a:ext>
                  </a:extLst>
                </a:gridCol>
                <a:gridCol w="191883">
                  <a:extLst>
                    <a:ext uri="{9D8B030D-6E8A-4147-A177-3AD203B41FA5}">
                      <a16:colId xmlns:a16="http://schemas.microsoft.com/office/drawing/2014/main" val="402061854"/>
                    </a:ext>
                  </a:extLst>
                </a:gridCol>
              </a:tblGrid>
              <a:tr h="171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95</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83</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75</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62</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59</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55</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34</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21</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18</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13</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7</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5</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3</a:t>
                      </a: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US" sz="800" b="0" dirty="0">
                        <a:solidFill>
                          <a:schemeClr val="tx1"/>
                        </a:solidFill>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US" sz="800" b="0" dirty="0">
                        <a:solidFill>
                          <a:schemeClr val="tx1"/>
                        </a:solidFill>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609803518"/>
                  </a:ext>
                </a:extLst>
              </a:tr>
              <a:tr h="1710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55</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52</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42</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35</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29</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23</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13</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7</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7</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4</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3</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3</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800" b="0" dirty="0">
                          <a:solidFill>
                            <a:schemeClr val="tx1"/>
                          </a:solidFill>
                          <a:latin typeface="Arial" panose="020B0604020202020204" pitchFamily="34" charset="0"/>
                          <a:cs typeface="Arial" panose="020B0604020202020204" pitchFamily="34" charset="0"/>
                        </a:rPr>
                        <a:t>2</a:t>
                      </a: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800" b="0" dirty="0">
                        <a:solidFill>
                          <a:schemeClr val="tx1"/>
                        </a:solidFill>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800" b="0" dirty="0">
                        <a:solidFill>
                          <a:schemeClr val="tx1"/>
                        </a:solidFill>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498268652"/>
                  </a:ext>
                </a:extLst>
              </a:tr>
            </a:tbl>
          </a:graphicData>
        </a:graphic>
      </p:graphicFrame>
      <p:sp>
        <p:nvSpPr>
          <p:cNvPr id="317" name="Rectangle 19">
            <a:extLst>
              <a:ext uri="{FF2B5EF4-FFF2-40B4-BE49-F238E27FC236}">
                <a16:creationId xmlns:a16="http://schemas.microsoft.com/office/drawing/2014/main" id="{E1BAB02C-C5DB-8588-4B34-C9C11F0A9795}"/>
              </a:ext>
            </a:extLst>
          </p:cNvPr>
          <p:cNvSpPr>
            <a:spLocks noChangeArrowheads="1"/>
          </p:cNvSpPr>
          <p:nvPr/>
        </p:nvSpPr>
        <p:spPr bwMode="auto">
          <a:xfrm>
            <a:off x="1210521" y="5269844"/>
            <a:ext cx="203642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nths since </a:t>
            </a:r>
            <a:r>
              <a:rPr kumimoji="0" lang="en-US" sz="1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ndomisation</a:t>
            </a: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8" name="Rectangle 19">
            <a:extLst>
              <a:ext uri="{FF2B5EF4-FFF2-40B4-BE49-F238E27FC236}">
                <a16:creationId xmlns:a16="http://schemas.microsoft.com/office/drawing/2014/main" id="{EC3BDC12-CF1C-D554-89D0-8594F40C67D4}"/>
              </a:ext>
            </a:extLst>
          </p:cNvPr>
          <p:cNvSpPr>
            <a:spLocks noChangeArrowheads="1"/>
          </p:cNvSpPr>
          <p:nvPr/>
        </p:nvSpPr>
        <p:spPr bwMode="auto">
          <a:xfrm>
            <a:off x="725194" y="2311064"/>
            <a:ext cx="2850663" cy="2719688"/>
          </a:xfrm>
          <a:prstGeom prst="rect">
            <a:avLst/>
          </a:prstGeom>
          <a:noFill/>
          <a:ln w="9525">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319" name="Freeform 95">
            <a:extLst>
              <a:ext uri="{FF2B5EF4-FFF2-40B4-BE49-F238E27FC236}">
                <a16:creationId xmlns:a16="http://schemas.microsoft.com/office/drawing/2014/main" id="{57526580-86E6-0B4D-FA0F-12333C0C9DD4}"/>
              </a:ext>
            </a:extLst>
          </p:cNvPr>
          <p:cNvSpPr>
            <a:spLocks/>
          </p:cNvSpPr>
          <p:nvPr/>
        </p:nvSpPr>
        <p:spPr bwMode="auto">
          <a:xfrm>
            <a:off x="857183" y="2387005"/>
            <a:ext cx="2340327" cy="1328729"/>
          </a:xfrm>
          <a:custGeom>
            <a:avLst/>
            <a:gdLst>
              <a:gd name="T0" fmla="*/ 0 w 2724"/>
              <a:gd name="T1" fmla="*/ 0 h 1452"/>
              <a:gd name="T2" fmla="*/ 128 w 2724"/>
              <a:gd name="T3" fmla="*/ 0 h 1452"/>
              <a:gd name="T4" fmla="*/ 128 w 2724"/>
              <a:gd name="T5" fmla="*/ 32 h 1452"/>
              <a:gd name="T6" fmla="*/ 216 w 2724"/>
              <a:gd name="T7" fmla="*/ 32 h 1452"/>
              <a:gd name="T8" fmla="*/ 216 w 2724"/>
              <a:gd name="T9" fmla="*/ 96 h 1452"/>
              <a:gd name="T10" fmla="*/ 220 w 2724"/>
              <a:gd name="T11" fmla="*/ 96 h 1452"/>
              <a:gd name="T12" fmla="*/ 220 w 2724"/>
              <a:gd name="T13" fmla="*/ 128 h 1452"/>
              <a:gd name="T14" fmla="*/ 230 w 2724"/>
              <a:gd name="T15" fmla="*/ 128 h 1452"/>
              <a:gd name="T16" fmla="*/ 230 w 2724"/>
              <a:gd name="T17" fmla="*/ 160 h 1452"/>
              <a:gd name="T18" fmla="*/ 244 w 2724"/>
              <a:gd name="T19" fmla="*/ 160 h 1452"/>
              <a:gd name="T20" fmla="*/ 244 w 2724"/>
              <a:gd name="T21" fmla="*/ 192 h 1452"/>
              <a:gd name="T22" fmla="*/ 294 w 2724"/>
              <a:gd name="T23" fmla="*/ 192 h 1452"/>
              <a:gd name="T24" fmla="*/ 294 w 2724"/>
              <a:gd name="T25" fmla="*/ 224 h 1452"/>
              <a:gd name="T26" fmla="*/ 566 w 2724"/>
              <a:gd name="T27" fmla="*/ 224 h 1452"/>
              <a:gd name="T28" fmla="*/ 566 w 2724"/>
              <a:gd name="T29" fmla="*/ 258 h 1452"/>
              <a:gd name="T30" fmla="*/ 580 w 2724"/>
              <a:gd name="T31" fmla="*/ 258 h 1452"/>
              <a:gd name="T32" fmla="*/ 580 w 2724"/>
              <a:gd name="T33" fmla="*/ 292 h 1452"/>
              <a:gd name="T34" fmla="*/ 590 w 2724"/>
              <a:gd name="T35" fmla="*/ 292 h 1452"/>
              <a:gd name="T36" fmla="*/ 590 w 2724"/>
              <a:gd name="T37" fmla="*/ 360 h 1452"/>
              <a:gd name="T38" fmla="*/ 602 w 2724"/>
              <a:gd name="T39" fmla="*/ 360 h 1452"/>
              <a:gd name="T40" fmla="*/ 602 w 2724"/>
              <a:gd name="T41" fmla="*/ 394 h 1452"/>
              <a:gd name="T42" fmla="*/ 612 w 2724"/>
              <a:gd name="T43" fmla="*/ 394 h 1452"/>
              <a:gd name="T44" fmla="*/ 612 w 2724"/>
              <a:gd name="T45" fmla="*/ 464 h 1452"/>
              <a:gd name="T46" fmla="*/ 620 w 2724"/>
              <a:gd name="T47" fmla="*/ 464 h 1452"/>
              <a:gd name="T48" fmla="*/ 620 w 2724"/>
              <a:gd name="T49" fmla="*/ 498 h 1452"/>
              <a:gd name="T50" fmla="*/ 626 w 2724"/>
              <a:gd name="T51" fmla="*/ 498 h 1452"/>
              <a:gd name="T52" fmla="*/ 626 w 2724"/>
              <a:gd name="T53" fmla="*/ 534 h 1452"/>
              <a:gd name="T54" fmla="*/ 648 w 2724"/>
              <a:gd name="T55" fmla="*/ 534 h 1452"/>
              <a:gd name="T56" fmla="*/ 648 w 2724"/>
              <a:gd name="T57" fmla="*/ 568 h 1452"/>
              <a:gd name="T58" fmla="*/ 756 w 2724"/>
              <a:gd name="T59" fmla="*/ 568 h 1452"/>
              <a:gd name="T60" fmla="*/ 756 w 2724"/>
              <a:gd name="T61" fmla="*/ 604 h 1452"/>
              <a:gd name="T62" fmla="*/ 806 w 2724"/>
              <a:gd name="T63" fmla="*/ 604 h 1452"/>
              <a:gd name="T64" fmla="*/ 806 w 2724"/>
              <a:gd name="T65" fmla="*/ 638 h 1452"/>
              <a:gd name="T66" fmla="*/ 882 w 2724"/>
              <a:gd name="T67" fmla="*/ 638 h 1452"/>
              <a:gd name="T68" fmla="*/ 882 w 2724"/>
              <a:gd name="T69" fmla="*/ 674 h 1452"/>
              <a:gd name="T70" fmla="*/ 912 w 2724"/>
              <a:gd name="T71" fmla="*/ 674 h 1452"/>
              <a:gd name="T72" fmla="*/ 912 w 2724"/>
              <a:gd name="T73" fmla="*/ 710 h 1452"/>
              <a:gd name="T74" fmla="*/ 1156 w 2724"/>
              <a:gd name="T75" fmla="*/ 710 h 1452"/>
              <a:gd name="T76" fmla="*/ 1156 w 2724"/>
              <a:gd name="T77" fmla="*/ 748 h 1452"/>
              <a:gd name="T78" fmla="*/ 1218 w 2724"/>
              <a:gd name="T79" fmla="*/ 748 h 1452"/>
              <a:gd name="T80" fmla="*/ 1218 w 2724"/>
              <a:gd name="T81" fmla="*/ 788 h 1452"/>
              <a:gd name="T82" fmla="*/ 1228 w 2724"/>
              <a:gd name="T83" fmla="*/ 788 h 1452"/>
              <a:gd name="T84" fmla="*/ 1228 w 2724"/>
              <a:gd name="T85" fmla="*/ 836 h 1452"/>
              <a:gd name="T86" fmla="*/ 1294 w 2724"/>
              <a:gd name="T87" fmla="*/ 836 h 1452"/>
              <a:gd name="T88" fmla="*/ 1294 w 2724"/>
              <a:gd name="T89" fmla="*/ 890 h 1452"/>
              <a:gd name="T90" fmla="*/ 1300 w 2724"/>
              <a:gd name="T91" fmla="*/ 890 h 1452"/>
              <a:gd name="T92" fmla="*/ 1300 w 2724"/>
              <a:gd name="T93" fmla="*/ 944 h 1452"/>
              <a:gd name="T94" fmla="*/ 1372 w 2724"/>
              <a:gd name="T95" fmla="*/ 944 h 1452"/>
              <a:gd name="T96" fmla="*/ 1372 w 2724"/>
              <a:gd name="T97" fmla="*/ 996 h 1452"/>
              <a:gd name="T98" fmla="*/ 1488 w 2724"/>
              <a:gd name="T99" fmla="*/ 996 h 1452"/>
              <a:gd name="T100" fmla="*/ 1488 w 2724"/>
              <a:gd name="T101" fmla="*/ 1050 h 1452"/>
              <a:gd name="T102" fmla="*/ 1510 w 2724"/>
              <a:gd name="T103" fmla="*/ 1050 h 1452"/>
              <a:gd name="T104" fmla="*/ 1510 w 2724"/>
              <a:gd name="T105" fmla="*/ 1112 h 1452"/>
              <a:gd name="T106" fmla="*/ 1538 w 2724"/>
              <a:gd name="T107" fmla="*/ 1112 h 1452"/>
              <a:gd name="T108" fmla="*/ 1538 w 2724"/>
              <a:gd name="T109" fmla="*/ 1190 h 1452"/>
              <a:gd name="T110" fmla="*/ 1824 w 2724"/>
              <a:gd name="T111" fmla="*/ 1190 h 1452"/>
              <a:gd name="T112" fmla="*/ 1824 w 2724"/>
              <a:gd name="T113" fmla="*/ 1288 h 1452"/>
              <a:gd name="T114" fmla="*/ 2154 w 2724"/>
              <a:gd name="T115" fmla="*/ 1288 h 1452"/>
              <a:gd name="T116" fmla="*/ 2154 w 2724"/>
              <a:gd name="T117" fmla="*/ 1452 h 1452"/>
              <a:gd name="T118" fmla="*/ 2724 w 2724"/>
              <a:gd name="T119" fmla="*/ 1452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4" h="1452">
                <a:moveTo>
                  <a:pt x="0" y="0"/>
                </a:moveTo>
                <a:lnTo>
                  <a:pt x="128" y="0"/>
                </a:lnTo>
                <a:lnTo>
                  <a:pt x="128" y="32"/>
                </a:lnTo>
                <a:lnTo>
                  <a:pt x="216" y="32"/>
                </a:lnTo>
                <a:lnTo>
                  <a:pt x="216" y="96"/>
                </a:lnTo>
                <a:lnTo>
                  <a:pt x="220" y="96"/>
                </a:lnTo>
                <a:lnTo>
                  <a:pt x="220" y="128"/>
                </a:lnTo>
                <a:lnTo>
                  <a:pt x="230" y="128"/>
                </a:lnTo>
                <a:lnTo>
                  <a:pt x="230" y="160"/>
                </a:lnTo>
                <a:lnTo>
                  <a:pt x="244" y="160"/>
                </a:lnTo>
                <a:lnTo>
                  <a:pt x="244" y="192"/>
                </a:lnTo>
                <a:lnTo>
                  <a:pt x="294" y="192"/>
                </a:lnTo>
                <a:lnTo>
                  <a:pt x="294" y="224"/>
                </a:lnTo>
                <a:lnTo>
                  <a:pt x="566" y="224"/>
                </a:lnTo>
                <a:lnTo>
                  <a:pt x="566" y="258"/>
                </a:lnTo>
                <a:lnTo>
                  <a:pt x="580" y="258"/>
                </a:lnTo>
                <a:lnTo>
                  <a:pt x="580" y="292"/>
                </a:lnTo>
                <a:lnTo>
                  <a:pt x="590" y="292"/>
                </a:lnTo>
                <a:lnTo>
                  <a:pt x="590" y="360"/>
                </a:lnTo>
                <a:lnTo>
                  <a:pt x="602" y="360"/>
                </a:lnTo>
                <a:lnTo>
                  <a:pt x="602" y="394"/>
                </a:lnTo>
                <a:lnTo>
                  <a:pt x="612" y="394"/>
                </a:lnTo>
                <a:lnTo>
                  <a:pt x="612" y="464"/>
                </a:lnTo>
                <a:lnTo>
                  <a:pt x="620" y="464"/>
                </a:lnTo>
                <a:lnTo>
                  <a:pt x="620" y="498"/>
                </a:lnTo>
                <a:lnTo>
                  <a:pt x="626" y="498"/>
                </a:lnTo>
                <a:lnTo>
                  <a:pt x="626" y="534"/>
                </a:lnTo>
                <a:lnTo>
                  <a:pt x="648" y="534"/>
                </a:lnTo>
                <a:lnTo>
                  <a:pt x="648" y="568"/>
                </a:lnTo>
                <a:lnTo>
                  <a:pt x="756" y="568"/>
                </a:lnTo>
                <a:lnTo>
                  <a:pt x="756" y="604"/>
                </a:lnTo>
                <a:lnTo>
                  <a:pt x="806" y="604"/>
                </a:lnTo>
                <a:lnTo>
                  <a:pt x="806" y="638"/>
                </a:lnTo>
                <a:lnTo>
                  <a:pt x="882" y="638"/>
                </a:lnTo>
                <a:lnTo>
                  <a:pt x="882" y="674"/>
                </a:lnTo>
                <a:lnTo>
                  <a:pt x="912" y="674"/>
                </a:lnTo>
                <a:lnTo>
                  <a:pt x="912" y="710"/>
                </a:lnTo>
                <a:lnTo>
                  <a:pt x="1156" y="710"/>
                </a:lnTo>
                <a:lnTo>
                  <a:pt x="1156" y="748"/>
                </a:lnTo>
                <a:lnTo>
                  <a:pt x="1218" y="748"/>
                </a:lnTo>
                <a:lnTo>
                  <a:pt x="1218" y="788"/>
                </a:lnTo>
                <a:lnTo>
                  <a:pt x="1228" y="788"/>
                </a:lnTo>
                <a:lnTo>
                  <a:pt x="1228" y="836"/>
                </a:lnTo>
                <a:lnTo>
                  <a:pt x="1294" y="836"/>
                </a:lnTo>
                <a:lnTo>
                  <a:pt x="1294" y="890"/>
                </a:lnTo>
                <a:lnTo>
                  <a:pt x="1300" y="890"/>
                </a:lnTo>
                <a:lnTo>
                  <a:pt x="1300" y="944"/>
                </a:lnTo>
                <a:lnTo>
                  <a:pt x="1372" y="944"/>
                </a:lnTo>
                <a:lnTo>
                  <a:pt x="1372" y="996"/>
                </a:lnTo>
                <a:lnTo>
                  <a:pt x="1488" y="996"/>
                </a:lnTo>
                <a:lnTo>
                  <a:pt x="1488" y="1050"/>
                </a:lnTo>
                <a:lnTo>
                  <a:pt x="1510" y="1050"/>
                </a:lnTo>
                <a:lnTo>
                  <a:pt x="1510" y="1112"/>
                </a:lnTo>
                <a:lnTo>
                  <a:pt x="1538" y="1112"/>
                </a:lnTo>
                <a:lnTo>
                  <a:pt x="1538" y="1190"/>
                </a:lnTo>
                <a:lnTo>
                  <a:pt x="1824" y="1190"/>
                </a:lnTo>
                <a:lnTo>
                  <a:pt x="1824" y="1288"/>
                </a:lnTo>
                <a:lnTo>
                  <a:pt x="2154" y="1288"/>
                </a:lnTo>
                <a:lnTo>
                  <a:pt x="2154" y="1452"/>
                </a:lnTo>
                <a:lnTo>
                  <a:pt x="2724" y="1452"/>
                </a:lnTo>
              </a:path>
            </a:pathLst>
          </a:custGeom>
          <a:noFill/>
          <a:ln w="12700">
            <a:solidFill>
              <a:srgbClr val="EFAC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36" name="Line 226">
            <a:extLst>
              <a:ext uri="{FF2B5EF4-FFF2-40B4-BE49-F238E27FC236}">
                <a16:creationId xmlns:a16="http://schemas.microsoft.com/office/drawing/2014/main" id="{C83E2E31-CAE6-BE60-6ACA-F7B7CB3BF287}"/>
              </a:ext>
            </a:extLst>
          </p:cNvPr>
          <p:cNvSpPr>
            <a:spLocks noChangeShapeType="1"/>
          </p:cNvSpPr>
          <p:nvPr/>
        </p:nvSpPr>
        <p:spPr bwMode="auto">
          <a:xfrm>
            <a:off x="2515344" y="4134851"/>
            <a:ext cx="51549" cy="0"/>
          </a:xfrm>
          <a:prstGeom prst="line">
            <a:avLst/>
          </a:prstGeom>
          <a:noFill/>
          <a:ln w="9525">
            <a:solidFill>
              <a:srgbClr val="79797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37" name="Line 228">
            <a:extLst>
              <a:ext uri="{FF2B5EF4-FFF2-40B4-BE49-F238E27FC236}">
                <a16:creationId xmlns:a16="http://schemas.microsoft.com/office/drawing/2014/main" id="{77D13AAC-C332-11CA-8A63-94FB04F869A2}"/>
              </a:ext>
            </a:extLst>
          </p:cNvPr>
          <p:cNvSpPr>
            <a:spLocks noChangeShapeType="1"/>
          </p:cNvSpPr>
          <p:nvPr/>
        </p:nvSpPr>
        <p:spPr bwMode="auto">
          <a:xfrm>
            <a:off x="2639062" y="4134851"/>
            <a:ext cx="51549" cy="0"/>
          </a:xfrm>
          <a:prstGeom prst="line">
            <a:avLst/>
          </a:prstGeom>
          <a:noFill/>
          <a:ln w="9525">
            <a:solidFill>
              <a:srgbClr val="79797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38" name="Line 230">
            <a:extLst>
              <a:ext uri="{FF2B5EF4-FFF2-40B4-BE49-F238E27FC236}">
                <a16:creationId xmlns:a16="http://schemas.microsoft.com/office/drawing/2014/main" id="{5104ACEC-D80E-8344-F98F-678041AFAE4B}"/>
              </a:ext>
            </a:extLst>
          </p:cNvPr>
          <p:cNvSpPr>
            <a:spLocks noChangeShapeType="1"/>
          </p:cNvSpPr>
          <p:nvPr/>
        </p:nvSpPr>
        <p:spPr bwMode="auto">
          <a:xfrm>
            <a:off x="2917425" y="4134851"/>
            <a:ext cx="53267" cy="0"/>
          </a:xfrm>
          <a:prstGeom prst="line">
            <a:avLst/>
          </a:prstGeom>
          <a:noFill/>
          <a:ln w="9525">
            <a:solidFill>
              <a:srgbClr val="79797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39" name="Line 232">
            <a:extLst>
              <a:ext uri="{FF2B5EF4-FFF2-40B4-BE49-F238E27FC236}">
                <a16:creationId xmlns:a16="http://schemas.microsoft.com/office/drawing/2014/main" id="{B926C4E2-2F10-E270-24F4-CB969CEEE2F1}"/>
              </a:ext>
            </a:extLst>
          </p:cNvPr>
          <p:cNvSpPr>
            <a:spLocks noChangeShapeType="1"/>
          </p:cNvSpPr>
          <p:nvPr/>
        </p:nvSpPr>
        <p:spPr bwMode="auto">
          <a:xfrm>
            <a:off x="3164861" y="4134851"/>
            <a:ext cx="53267" cy="0"/>
          </a:xfrm>
          <a:prstGeom prst="line">
            <a:avLst/>
          </a:prstGeom>
          <a:noFill/>
          <a:ln w="9525">
            <a:solidFill>
              <a:srgbClr val="99293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40" name="Line 233">
            <a:extLst>
              <a:ext uri="{FF2B5EF4-FFF2-40B4-BE49-F238E27FC236}">
                <a16:creationId xmlns:a16="http://schemas.microsoft.com/office/drawing/2014/main" id="{7B16A1F9-2815-7E2C-9496-54A655E52873}"/>
              </a:ext>
            </a:extLst>
          </p:cNvPr>
          <p:cNvSpPr>
            <a:spLocks noChangeShapeType="1"/>
          </p:cNvSpPr>
          <p:nvPr/>
        </p:nvSpPr>
        <p:spPr bwMode="auto">
          <a:xfrm flipV="1">
            <a:off x="3192355" y="4107399"/>
            <a:ext cx="0" cy="54907"/>
          </a:xfrm>
          <a:prstGeom prst="line">
            <a:avLst/>
          </a:prstGeom>
          <a:noFill/>
          <a:ln w="9525">
            <a:solidFill>
              <a:srgbClr val="99293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41" name="Line 234">
            <a:extLst>
              <a:ext uri="{FF2B5EF4-FFF2-40B4-BE49-F238E27FC236}">
                <a16:creationId xmlns:a16="http://schemas.microsoft.com/office/drawing/2014/main" id="{9C79D442-B189-4158-3419-B0E3FDC2329F}"/>
              </a:ext>
            </a:extLst>
          </p:cNvPr>
          <p:cNvSpPr>
            <a:spLocks noChangeShapeType="1"/>
          </p:cNvSpPr>
          <p:nvPr/>
        </p:nvSpPr>
        <p:spPr bwMode="auto">
          <a:xfrm>
            <a:off x="3168299" y="4134851"/>
            <a:ext cx="53267" cy="0"/>
          </a:xfrm>
          <a:prstGeom prst="line">
            <a:avLst/>
          </a:prstGeom>
          <a:noFill/>
          <a:ln w="9525">
            <a:solidFill>
              <a:srgbClr val="79797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grpSp>
        <p:nvGrpSpPr>
          <p:cNvPr id="33" name="Group 32">
            <a:extLst>
              <a:ext uri="{FF2B5EF4-FFF2-40B4-BE49-F238E27FC236}">
                <a16:creationId xmlns:a16="http://schemas.microsoft.com/office/drawing/2014/main" id="{4ACAD8EE-A2D5-ED6C-1BBE-688717A27F54}"/>
              </a:ext>
            </a:extLst>
          </p:cNvPr>
          <p:cNvGrpSpPr/>
          <p:nvPr/>
        </p:nvGrpSpPr>
        <p:grpSpPr>
          <a:xfrm>
            <a:off x="672531" y="2387003"/>
            <a:ext cx="49831" cy="2518364"/>
            <a:chOff x="672531" y="2251208"/>
            <a:chExt cx="49830" cy="2518364"/>
          </a:xfrm>
        </p:grpSpPr>
        <p:sp>
          <p:nvSpPr>
            <p:cNvPr id="443" name="Line 6">
              <a:extLst>
                <a:ext uri="{FF2B5EF4-FFF2-40B4-BE49-F238E27FC236}">
                  <a16:creationId xmlns:a16="http://schemas.microsoft.com/office/drawing/2014/main" id="{E8130D63-C2AB-D964-36E7-72E6A8622215}"/>
                </a:ext>
              </a:extLst>
            </p:cNvPr>
            <p:cNvSpPr>
              <a:spLocks noChangeShapeType="1"/>
            </p:cNvSpPr>
            <p:nvPr/>
          </p:nvSpPr>
          <p:spPr bwMode="auto">
            <a:xfrm flipH="1">
              <a:off x="672531" y="4769572"/>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44" name="Line 7">
              <a:extLst>
                <a:ext uri="{FF2B5EF4-FFF2-40B4-BE49-F238E27FC236}">
                  <a16:creationId xmlns:a16="http://schemas.microsoft.com/office/drawing/2014/main" id="{88FC2AB9-9D7F-9BED-5A0C-D37D7705B67E}"/>
                </a:ext>
              </a:extLst>
            </p:cNvPr>
            <p:cNvSpPr>
              <a:spLocks noChangeShapeType="1"/>
            </p:cNvSpPr>
            <p:nvPr/>
          </p:nvSpPr>
          <p:spPr bwMode="auto">
            <a:xfrm flipH="1">
              <a:off x="672531" y="4265900"/>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45" name="Line 8">
              <a:extLst>
                <a:ext uri="{FF2B5EF4-FFF2-40B4-BE49-F238E27FC236}">
                  <a16:creationId xmlns:a16="http://schemas.microsoft.com/office/drawing/2014/main" id="{7C2552AA-23B0-D453-C007-4BFA2AFA7177}"/>
                </a:ext>
              </a:extLst>
            </p:cNvPr>
            <p:cNvSpPr>
              <a:spLocks noChangeShapeType="1"/>
            </p:cNvSpPr>
            <p:nvPr/>
          </p:nvSpPr>
          <p:spPr bwMode="auto">
            <a:xfrm flipH="1">
              <a:off x="672531" y="3762227"/>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46" name="Line 9">
              <a:extLst>
                <a:ext uri="{FF2B5EF4-FFF2-40B4-BE49-F238E27FC236}">
                  <a16:creationId xmlns:a16="http://schemas.microsoft.com/office/drawing/2014/main" id="{DB456B7E-9EB9-7FDE-B726-B65C18E8A5D5}"/>
                </a:ext>
              </a:extLst>
            </p:cNvPr>
            <p:cNvSpPr>
              <a:spLocks noChangeShapeType="1"/>
            </p:cNvSpPr>
            <p:nvPr/>
          </p:nvSpPr>
          <p:spPr bwMode="auto">
            <a:xfrm flipH="1">
              <a:off x="672531" y="3258553"/>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47" name="Line 10">
              <a:extLst>
                <a:ext uri="{FF2B5EF4-FFF2-40B4-BE49-F238E27FC236}">
                  <a16:creationId xmlns:a16="http://schemas.microsoft.com/office/drawing/2014/main" id="{8BBFAFF5-3E66-3FC5-337F-B45AADFB4E92}"/>
                </a:ext>
              </a:extLst>
            </p:cNvPr>
            <p:cNvSpPr>
              <a:spLocks noChangeShapeType="1"/>
            </p:cNvSpPr>
            <p:nvPr/>
          </p:nvSpPr>
          <p:spPr bwMode="auto">
            <a:xfrm flipH="1">
              <a:off x="672531" y="2754881"/>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48" name="Line 11">
              <a:extLst>
                <a:ext uri="{FF2B5EF4-FFF2-40B4-BE49-F238E27FC236}">
                  <a16:creationId xmlns:a16="http://schemas.microsoft.com/office/drawing/2014/main" id="{FA9891AA-245B-E5FE-1859-DA1CFC73BD79}"/>
                </a:ext>
              </a:extLst>
            </p:cNvPr>
            <p:cNvSpPr>
              <a:spLocks noChangeShapeType="1"/>
            </p:cNvSpPr>
            <p:nvPr/>
          </p:nvSpPr>
          <p:spPr bwMode="auto">
            <a:xfrm flipH="1">
              <a:off x="672531" y="2251208"/>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49" name="Line 6">
              <a:extLst>
                <a:ext uri="{FF2B5EF4-FFF2-40B4-BE49-F238E27FC236}">
                  <a16:creationId xmlns:a16="http://schemas.microsoft.com/office/drawing/2014/main" id="{292912FB-BAD0-1C18-9742-B5E5257C72B5}"/>
                </a:ext>
              </a:extLst>
            </p:cNvPr>
            <p:cNvSpPr>
              <a:spLocks noChangeShapeType="1"/>
            </p:cNvSpPr>
            <p:nvPr/>
          </p:nvSpPr>
          <p:spPr bwMode="auto">
            <a:xfrm flipH="1">
              <a:off x="672531" y="4517736"/>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50" name="Line 6">
              <a:extLst>
                <a:ext uri="{FF2B5EF4-FFF2-40B4-BE49-F238E27FC236}">
                  <a16:creationId xmlns:a16="http://schemas.microsoft.com/office/drawing/2014/main" id="{6BF0292A-77E4-9C5B-F40B-0FE862D22CF9}"/>
                </a:ext>
              </a:extLst>
            </p:cNvPr>
            <p:cNvSpPr>
              <a:spLocks noChangeShapeType="1"/>
            </p:cNvSpPr>
            <p:nvPr/>
          </p:nvSpPr>
          <p:spPr bwMode="auto">
            <a:xfrm flipH="1">
              <a:off x="672531" y="4014063"/>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51" name="Line 6">
              <a:extLst>
                <a:ext uri="{FF2B5EF4-FFF2-40B4-BE49-F238E27FC236}">
                  <a16:creationId xmlns:a16="http://schemas.microsoft.com/office/drawing/2014/main" id="{8A43985C-76AA-301D-6D5A-5F0579A544E3}"/>
                </a:ext>
              </a:extLst>
            </p:cNvPr>
            <p:cNvSpPr>
              <a:spLocks noChangeShapeType="1"/>
            </p:cNvSpPr>
            <p:nvPr/>
          </p:nvSpPr>
          <p:spPr bwMode="auto">
            <a:xfrm flipH="1">
              <a:off x="672531" y="3006717"/>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52" name="Line 6">
              <a:extLst>
                <a:ext uri="{FF2B5EF4-FFF2-40B4-BE49-F238E27FC236}">
                  <a16:creationId xmlns:a16="http://schemas.microsoft.com/office/drawing/2014/main" id="{81438359-4D75-85A9-3B75-3A0727A0DBE1}"/>
                </a:ext>
              </a:extLst>
            </p:cNvPr>
            <p:cNvSpPr>
              <a:spLocks noChangeShapeType="1"/>
            </p:cNvSpPr>
            <p:nvPr/>
          </p:nvSpPr>
          <p:spPr bwMode="auto">
            <a:xfrm flipH="1">
              <a:off x="672531" y="2503044"/>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53" name="Line 6">
              <a:extLst>
                <a:ext uri="{FF2B5EF4-FFF2-40B4-BE49-F238E27FC236}">
                  <a16:creationId xmlns:a16="http://schemas.microsoft.com/office/drawing/2014/main" id="{67E5FF17-50A9-CCB5-3E4F-882C5D6319E5}"/>
                </a:ext>
              </a:extLst>
            </p:cNvPr>
            <p:cNvSpPr>
              <a:spLocks noChangeShapeType="1"/>
            </p:cNvSpPr>
            <p:nvPr/>
          </p:nvSpPr>
          <p:spPr bwMode="auto">
            <a:xfrm flipH="1">
              <a:off x="672531" y="3510391"/>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grpSp>
      <p:grpSp>
        <p:nvGrpSpPr>
          <p:cNvPr id="456" name="Group 3224">
            <a:extLst>
              <a:ext uri="{FF2B5EF4-FFF2-40B4-BE49-F238E27FC236}">
                <a16:creationId xmlns:a16="http://schemas.microsoft.com/office/drawing/2014/main" id="{A5E34499-3442-E0E7-120C-4301275E401F}"/>
              </a:ext>
            </a:extLst>
          </p:cNvPr>
          <p:cNvGrpSpPr/>
          <p:nvPr/>
        </p:nvGrpSpPr>
        <p:grpSpPr>
          <a:xfrm>
            <a:off x="825511" y="5057635"/>
            <a:ext cx="2737788" cy="153888"/>
            <a:chOff x="3976181" y="5822950"/>
            <a:chExt cx="5057012" cy="267233"/>
          </a:xfrm>
        </p:grpSpPr>
        <p:sp>
          <p:nvSpPr>
            <p:cNvPr id="457" name="Rectangle 321">
              <a:extLst>
                <a:ext uri="{FF2B5EF4-FFF2-40B4-BE49-F238E27FC236}">
                  <a16:creationId xmlns:a16="http://schemas.microsoft.com/office/drawing/2014/main" id="{28A0524F-D95C-C7EC-D871-0DB1168D6A0F}"/>
                </a:ext>
              </a:extLst>
            </p:cNvPr>
            <p:cNvSpPr>
              <a:spLocks noChangeArrowheads="1"/>
            </p:cNvSpPr>
            <p:nvPr/>
          </p:nvSpPr>
          <p:spPr bwMode="auto">
            <a:xfrm>
              <a:off x="3976181" y="5822950"/>
              <a:ext cx="130281"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458" name="Rectangle 322">
              <a:extLst>
                <a:ext uri="{FF2B5EF4-FFF2-40B4-BE49-F238E27FC236}">
                  <a16:creationId xmlns:a16="http://schemas.microsoft.com/office/drawing/2014/main" id="{00B17343-264B-B0A0-91BA-F21E9A2B264A}"/>
                </a:ext>
              </a:extLst>
            </p:cNvPr>
            <p:cNvSpPr>
              <a:spLocks noChangeArrowheads="1"/>
            </p:cNvSpPr>
            <p:nvPr/>
          </p:nvSpPr>
          <p:spPr bwMode="auto">
            <a:xfrm>
              <a:off x="4322482" y="5822950"/>
              <a:ext cx="130281"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459" name="Rectangle 323">
              <a:extLst>
                <a:ext uri="{FF2B5EF4-FFF2-40B4-BE49-F238E27FC236}">
                  <a16:creationId xmlns:a16="http://schemas.microsoft.com/office/drawing/2014/main" id="{58754FA8-1656-E93E-1550-134FE3AD7C66}"/>
                </a:ext>
              </a:extLst>
            </p:cNvPr>
            <p:cNvSpPr>
              <a:spLocks noChangeArrowheads="1"/>
            </p:cNvSpPr>
            <p:nvPr/>
          </p:nvSpPr>
          <p:spPr bwMode="auto">
            <a:xfrm>
              <a:off x="4668783" y="5822950"/>
              <a:ext cx="130281"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460" name="Rectangle 324">
              <a:extLst>
                <a:ext uri="{FF2B5EF4-FFF2-40B4-BE49-F238E27FC236}">
                  <a16:creationId xmlns:a16="http://schemas.microsoft.com/office/drawing/2014/main" id="{AD675AF8-9C9E-65E4-0FB4-013641807B7D}"/>
                </a:ext>
              </a:extLst>
            </p:cNvPr>
            <p:cNvSpPr>
              <a:spLocks noChangeArrowheads="1"/>
            </p:cNvSpPr>
            <p:nvPr/>
          </p:nvSpPr>
          <p:spPr bwMode="auto">
            <a:xfrm>
              <a:off x="5015084" y="5822950"/>
              <a:ext cx="130281"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a:t>
              </a:r>
            </a:p>
          </p:txBody>
        </p:sp>
        <p:sp>
          <p:nvSpPr>
            <p:cNvPr id="461" name="Rectangle 325">
              <a:extLst>
                <a:ext uri="{FF2B5EF4-FFF2-40B4-BE49-F238E27FC236}">
                  <a16:creationId xmlns:a16="http://schemas.microsoft.com/office/drawing/2014/main" id="{CBD947E0-D894-7457-2E6A-92C053B3A5F9}"/>
                </a:ext>
              </a:extLst>
            </p:cNvPr>
            <p:cNvSpPr>
              <a:spLocks noChangeArrowheads="1"/>
            </p:cNvSpPr>
            <p:nvPr/>
          </p:nvSpPr>
          <p:spPr bwMode="auto">
            <a:xfrm>
              <a:off x="5361385" y="5822950"/>
              <a:ext cx="130281"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a:t>
              </a:r>
            </a:p>
          </p:txBody>
        </p:sp>
        <p:sp>
          <p:nvSpPr>
            <p:cNvPr id="462" name="Rectangle 326">
              <a:extLst>
                <a:ext uri="{FF2B5EF4-FFF2-40B4-BE49-F238E27FC236}">
                  <a16:creationId xmlns:a16="http://schemas.microsoft.com/office/drawing/2014/main" id="{45D5F915-51B8-300E-C622-CB412AF3C726}"/>
                </a:ext>
              </a:extLst>
            </p:cNvPr>
            <p:cNvSpPr>
              <a:spLocks noChangeArrowheads="1"/>
            </p:cNvSpPr>
            <p:nvPr/>
          </p:nvSpPr>
          <p:spPr bwMode="auto">
            <a:xfrm>
              <a:off x="5630294" y="5822950"/>
              <a:ext cx="260562"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a:t>
              </a:r>
            </a:p>
          </p:txBody>
        </p:sp>
        <p:sp>
          <p:nvSpPr>
            <p:cNvPr id="463" name="Rectangle 327">
              <a:extLst>
                <a:ext uri="{FF2B5EF4-FFF2-40B4-BE49-F238E27FC236}">
                  <a16:creationId xmlns:a16="http://schemas.microsoft.com/office/drawing/2014/main" id="{6352CC76-6F59-FCCD-1153-1A799116CFAB}"/>
                </a:ext>
              </a:extLst>
            </p:cNvPr>
            <p:cNvSpPr>
              <a:spLocks noChangeArrowheads="1"/>
            </p:cNvSpPr>
            <p:nvPr/>
          </p:nvSpPr>
          <p:spPr bwMode="auto">
            <a:xfrm>
              <a:off x="5979443" y="5822950"/>
              <a:ext cx="260562"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a:t>
              </a:r>
            </a:p>
          </p:txBody>
        </p:sp>
        <p:sp>
          <p:nvSpPr>
            <p:cNvPr id="464" name="Rectangle 328">
              <a:extLst>
                <a:ext uri="{FF2B5EF4-FFF2-40B4-BE49-F238E27FC236}">
                  <a16:creationId xmlns:a16="http://schemas.microsoft.com/office/drawing/2014/main" id="{0B57BDBA-4EC1-F266-D1EA-B1A9A8949E6D}"/>
                </a:ext>
              </a:extLst>
            </p:cNvPr>
            <p:cNvSpPr>
              <a:spLocks noChangeArrowheads="1"/>
            </p:cNvSpPr>
            <p:nvPr/>
          </p:nvSpPr>
          <p:spPr bwMode="auto">
            <a:xfrm>
              <a:off x="6328594" y="5822950"/>
              <a:ext cx="260562"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4</a:t>
              </a:r>
            </a:p>
          </p:txBody>
        </p:sp>
        <p:sp>
          <p:nvSpPr>
            <p:cNvPr id="465" name="Rectangle 329">
              <a:extLst>
                <a:ext uri="{FF2B5EF4-FFF2-40B4-BE49-F238E27FC236}">
                  <a16:creationId xmlns:a16="http://schemas.microsoft.com/office/drawing/2014/main" id="{D34ADC06-6206-2ADD-DE55-A13FD488217F}"/>
                </a:ext>
              </a:extLst>
            </p:cNvPr>
            <p:cNvSpPr>
              <a:spLocks noChangeArrowheads="1"/>
            </p:cNvSpPr>
            <p:nvPr/>
          </p:nvSpPr>
          <p:spPr bwMode="auto">
            <a:xfrm>
              <a:off x="6677747" y="5822950"/>
              <a:ext cx="260562"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6</a:t>
              </a:r>
            </a:p>
          </p:txBody>
        </p:sp>
        <p:sp>
          <p:nvSpPr>
            <p:cNvPr id="466" name="Rectangle 330">
              <a:extLst>
                <a:ext uri="{FF2B5EF4-FFF2-40B4-BE49-F238E27FC236}">
                  <a16:creationId xmlns:a16="http://schemas.microsoft.com/office/drawing/2014/main" id="{77636128-C71D-3977-009D-93A2EFEF4C9D}"/>
                </a:ext>
              </a:extLst>
            </p:cNvPr>
            <p:cNvSpPr>
              <a:spLocks noChangeArrowheads="1"/>
            </p:cNvSpPr>
            <p:nvPr/>
          </p:nvSpPr>
          <p:spPr bwMode="auto">
            <a:xfrm>
              <a:off x="7026898" y="5822950"/>
              <a:ext cx="260562"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a:t>
              </a:r>
            </a:p>
          </p:txBody>
        </p:sp>
        <p:sp>
          <p:nvSpPr>
            <p:cNvPr id="467" name="Rectangle 331">
              <a:extLst>
                <a:ext uri="{FF2B5EF4-FFF2-40B4-BE49-F238E27FC236}">
                  <a16:creationId xmlns:a16="http://schemas.microsoft.com/office/drawing/2014/main" id="{706A2B0F-E09E-9E68-EF76-95F7D8D2DA16}"/>
                </a:ext>
              </a:extLst>
            </p:cNvPr>
            <p:cNvSpPr>
              <a:spLocks noChangeArrowheads="1"/>
            </p:cNvSpPr>
            <p:nvPr/>
          </p:nvSpPr>
          <p:spPr bwMode="auto">
            <a:xfrm>
              <a:off x="7376047" y="5822950"/>
              <a:ext cx="260562"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p:txBody>
        </p:sp>
        <p:sp>
          <p:nvSpPr>
            <p:cNvPr id="468" name="Rectangle 332">
              <a:extLst>
                <a:ext uri="{FF2B5EF4-FFF2-40B4-BE49-F238E27FC236}">
                  <a16:creationId xmlns:a16="http://schemas.microsoft.com/office/drawing/2014/main" id="{754F1881-F261-A714-4EFE-558ABCC17B04}"/>
                </a:ext>
              </a:extLst>
            </p:cNvPr>
            <p:cNvSpPr>
              <a:spLocks noChangeArrowheads="1"/>
            </p:cNvSpPr>
            <p:nvPr/>
          </p:nvSpPr>
          <p:spPr bwMode="auto">
            <a:xfrm>
              <a:off x="7725196" y="5822950"/>
              <a:ext cx="260562"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2</a:t>
              </a:r>
            </a:p>
          </p:txBody>
        </p:sp>
        <p:sp>
          <p:nvSpPr>
            <p:cNvPr id="469" name="Rectangle 333">
              <a:extLst>
                <a:ext uri="{FF2B5EF4-FFF2-40B4-BE49-F238E27FC236}">
                  <a16:creationId xmlns:a16="http://schemas.microsoft.com/office/drawing/2014/main" id="{FF1695D7-FF58-B826-EF3F-24D49406D72E}"/>
                </a:ext>
              </a:extLst>
            </p:cNvPr>
            <p:cNvSpPr>
              <a:spLocks noChangeArrowheads="1"/>
            </p:cNvSpPr>
            <p:nvPr/>
          </p:nvSpPr>
          <p:spPr bwMode="auto">
            <a:xfrm>
              <a:off x="8074346" y="5822950"/>
              <a:ext cx="260562"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4</a:t>
              </a:r>
            </a:p>
          </p:txBody>
        </p:sp>
        <p:sp>
          <p:nvSpPr>
            <p:cNvPr id="470" name="Rectangle 334">
              <a:extLst>
                <a:ext uri="{FF2B5EF4-FFF2-40B4-BE49-F238E27FC236}">
                  <a16:creationId xmlns:a16="http://schemas.microsoft.com/office/drawing/2014/main" id="{AEFCE805-61E8-FBCB-9B14-EBA59CB36EB4}"/>
                </a:ext>
              </a:extLst>
            </p:cNvPr>
            <p:cNvSpPr>
              <a:spLocks noChangeArrowheads="1"/>
            </p:cNvSpPr>
            <p:nvPr/>
          </p:nvSpPr>
          <p:spPr bwMode="auto">
            <a:xfrm>
              <a:off x="8423493" y="5822950"/>
              <a:ext cx="260562"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6</a:t>
              </a:r>
            </a:p>
          </p:txBody>
        </p:sp>
        <p:sp>
          <p:nvSpPr>
            <p:cNvPr id="471" name="Rectangle 335">
              <a:extLst>
                <a:ext uri="{FF2B5EF4-FFF2-40B4-BE49-F238E27FC236}">
                  <a16:creationId xmlns:a16="http://schemas.microsoft.com/office/drawing/2014/main" id="{E63FD364-8C3C-9280-A9F1-C1F08EDDBF5D}"/>
                </a:ext>
              </a:extLst>
            </p:cNvPr>
            <p:cNvSpPr>
              <a:spLocks noChangeArrowheads="1"/>
            </p:cNvSpPr>
            <p:nvPr/>
          </p:nvSpPr>
          <p:spPr bwMode="auto">
            <a:xfrm>
              <a:off x="8772631" y="5822950"/>
              <a:ext cx="260562" cy="26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8</a:t>
              </a:r>
            </a:p>
          </p:txBody>
        </p:sp>
      </p:grpSp>
      <p:sp>
        <p:nvSpPr>
          <p:cNvPr id="475" name="Rectangle 352">
            <a:extLst>
              <a:ext uri="{FF2B5EF4-FFF2-40B4-BE49-F238E27FC236}">
                <a16:creationId xmlns:a16="http://schemas.microsoft.com/office/drawing/2014/main" id="{047391AF-D3FF-9C55-4851-7229FE8B5F04}"/>
              </a:ext>
            </a:extLst>
          </p:cNvPr>
          <p:cNvSpPr>
            <a:spLocks noChangeArrowheads="1"/>
          </p:cNvSpPr>
          <p:nvPr/>
        </p:nvSpPr>
        <p:spPr bwMode="auto">
          <a:xfrm>
            <a:off x="2253847" y="4213459"/>
            <a:ext cx="4889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797979"/>
                </a:solidFill>
                <a:effectLst/>
                <a:uLnTx/>
                <a:uFillTx/>
                <a:latin typeface="Arial" panose="020B0604020202020204" pitchFamily="34" charset="0"/>
                <a:ea typeface="+mn-ea"/>
                <a:cs typeface="Arial" panose="020B0604020202020204" pitchFamily="34" charset="0"/>
              </a:rPr>
              <a:t>Placebo</a:t>
            </a:r>
          </a:p>
        </p:txBody>
      </p:sp>
      <p:sp>
        <p:nvSpPr>
          <p:cNvPr id="479" name="Rectangle 352">
            <a:extLst>
              <a:ext uri="{FF2B5EF4-FFF2-40B4-BE49-F238E27FC236}">
                <a16:creationId xmlns:a16="http://schemas.microsoft.com/office/drawing/2014/main" id="{30B09D10-5E45-D33F-C169-9F909A4AEBFB}"/>
              </a:ext>
            </a:extLst>
          </p:cNvPr>
          <p:cNvSpPr>
            <a:spLocks noChangeArrowheads="1"/>
          </p:cNvSpPr>
          <p:nvPr/>
        </p:nvSpPr>
        <p:spPr bwMode="auto">
          <a:xfrm>
            <a:off x="2848127" y="3441307"/>
            <a:ext cx="56105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EFAC00"/>
                </a:solidFill>
                <a:effectLst/>
                <a:uLnTx/>
                <a:uFillTx/>
                <a:latin typeface="Arial" panose="020B0604020202020204" pitchFamily="34" charset="0"/>
                <a:ea typeface="+mn-ea"/>
                <a:cs typeface="Arial" panose="020B0604020202020204" pitchFamily="34" charset="0"/>
              </a:rPr>
              <a:t>Niraparib</a:t>
            </a:r>
          </a:p>
        </p:txBody>
      </p:sp>
      <p:sp>
        <p:nvSpPr>
          <p:cNvPr id="480" name="TextBox 3249">
            <a:extLst>
              <a:ext uri="{FF2B5EF4-FFF2-40B4-BE49-F238E27FC236}">
                <a16:creationId xmlns:a16="http://schemas.microsoft.com/office/drawing/2014/main" id="{2F73267D-C302-1096-1C83-995309351D77}"/>
              </a:ext>
            </a:extLst>
          </p:cNvPr>
          <p:cNvSpPr txBox="1"/>
          <p:nvPr/>
        </p:nvSpPr>
        <p:spPr>
          <a:xfrm>
            <a:off x="1050428" y="2353452"/>
            <a:ext cx="2215019" cy="307777"/>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zard ratio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50</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31-0.83)</a:t>
            </a:r>
          </a:p>
        </p:txBody>
      </p:sp>
      <p:sp>
        <p:nvSpPr>
          <p:cNvPr id="494" name="Line 235">
            <a:extLst>
              <a:ext uri="{FF2B5EF4-FFF2-40B4-BE49-F238E27FC236}">
                <a16:creationId xmlns:a16="http://schemas.microsoft.com/office/drawing/2014/main" id="{A000AEE8-7066-DBB3-A99B-5746B6BA0300}"/>
              </a:ext>
            </a:extLst>
          </p:cNvPr>
          <p:cNvSpPr>
            <a:spLocks noChangeShapeType="1"/>
          </p:cNvSpPr>
          <p:nvPr/>
        </p:nvSpPr>
        <p:spPr bwMode="auto">
          <a:xfrm flipV="1">
            <a:off x="3194073" y="4107399"/>
            <a:ext cx="0" cy="54907"/>
          </a:xfrm>
          <a:prstGeom prst="line">
            <a:avLst/>
          </a:prstGeom>
          <a:noFill/>
          <a:ln w="9525">
            <a:solidFill>
              <a:srgbClr val="79797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498" name="Freeform 190">
            <a:extLst>
              <a:ext uri="{FF2B5EF4-FFF2-40B4-BE49-F238E27FC236}">
                <a16:creationId xmlns:a16="http://schemas.microsoft.com/office/drawing/2014/main" id="{FC7BC563-AA5C-A74C-AA96-8B722673A8D7}"/>
              </a:ext>
            </a:extLst>
          </p:cNvPr>
          <p:cNvSpPr>
            <a:spLocks/>
          </p:cNvSpPr>
          <p:nvPr/>
        </p:nvSpPr>
        <p:spPr bwMode="auto">
          <a:xfrm>
            <a:off x="857185" y="2387003"/>
            <a:ext cx="2336889" cy="1747848"/>
          </a:xfrm>
          <a:custGeom>
            <a:avLst/>
            <a:gdLst>
              <a:gd name="T0" fmla="*/ 0 w 2720"/>
              <a:gd name="T1" fmla="*/ 0 h 1910"/>
              <a:gd name="T2" fmla="*/ 186 w 2720"/>
              <a:gd name="T3" fmla="*/ 0 h 1910"/>
              <a:gd name="T4" fmla="*/ 186 w 2720"/>
              <a:gd name="T5" fmla="*/ 52 h 1910"/>
              <a:gd name="T6" fmla="*/ 202 w 2720"/>
              <a:gd name="T7" fmla="*/ 52 h 1910"/>
              <a:gd name="T8" fmla="*/ 202 w 2720"/>
              <a:gd name="T9" fmla="*/ 102 h 1910"/>
              <a:gd name="T10" fmla="*/ 284 w 2720"/>
              <a:gd name="T11" fmla="*/ 102 h 1910"/>
              <a:gd name="T12" fmla="*/ 284 w 2720"/>
              <a:gd name="T13" fmla="*/ 154 h 1910"/>
              <a:gd name="T14" fmla="*/ 298 w 2720"/>
              <a:gd name="T15" fmla="*/ 154 h 1910"/>
              <a:gd name="T16" fmla="*/ 298 w 2720"/>
              <a:gd name="T17" fmla="*/ 204 h 1910"/>
              <a:gd name="T18" fmla="*/ 302 w 2720"/>
              <a:gd name="T19" fmla="*/ 204 h 1910"/>
              <a:gd name="T20" fmla="*/ 302 w 2720"/>
              <a:gd name="T21" fmla="*/ 256 h 1910"/>
              <a:gd name="T22" fmla="*/ 306 w 2720"/>
              <a:gd name="T23" fmla="*/ 256 h 1910"/>
              <a:gd name="T24" fmla="*/ 306 w 2720"/>
              <a:gd name="T25" fmla="*/ 358 h 1910"/>
              <a:gd name="T26" fmla="*/ 310 w 2720"/>
              <a:gd name="T27" fmla="*/ 358 h 1910"/>
              <a:gd name="T28" fmla="*/ 310 w 2720"/>
              <a:gd name="T29" fmla="*/ 462 h 1910"/>
              <a:gd name="T30" fmla="*/ 316 w 2720"/>
              <a:gd name="T31" fmla="*/ 462 h 1910"/>
              <a:gd name="T32" fmla="*/ 316 w 2720"/>
              <a:gd name="T33" fmla="*/ 514 h 1910"/>
              <a:gd name="T34" fmla="*/ 348 w 2720"/>
              <a:gd name="T35" fmla="*/ 514 h 1910"/>
              <a:gd name="T36" fmla="*/ 348 w 2720"/>
              <a:gd name="T37" fmla="*/ 566 h 1910"/>
              <a:gd name="T38" fmla="*/ 584 w 2720"/>
              <a:gd name="T39" fmla="*/ 566 h 1910"/>
              <a:gd name="T40" fmla="*/ 584 w 2720"/>
              <a:gd name="T41" fmla="*/ 618 h 1910"/>
              <a:gd name="T42" fmla="*/ 590 w 2720"/>
              <a:gd name="T43" fmla="*/ 618 h 1910"/>
              <a:gd name="T44" fmla="*/ 590 w 2720"/>
              <a:gd name="T45" fmla="*/ 670 h 1910"/>
              <a:gd name="T46" fmla="*/ 608 w 2720"/>
              <a:gd name="T47" fmla="*/ 670 h 1910"/>
              <a:gd name="T48" fmla="*/ 608 w 2720"/>
              <a:gd name="T49" fmla="*/ 830 h 1910"/>
              <a:gd name="T50" fmla="*/ 620 w 2720"/>
              <a:gd name="T51" fmla="*/ 830 h 1910"/>
              <a:gd name="T52" fmla="*/ 620 w 2720"/>
              <a:gd name="T53" fmla="*/ 884 h 1910"/>
              <a:gd name="T54" fmla="*/ 666 w 2720"/>
              <a:gd name="T55" fmla="*/ 884 h 1910"/>
              <a:gd name="T56" fmla="*/ 666 w 2720"/>
              <a:gd name="T57" fmla="*/ 936 h 1910"/>
              <a:gd name="T58" fmla="*/ 734 w 2720"/>
              <a:gd name="T59" fmla="*/ 936 h 1910"/>
              <a:gd name="T60" fmla="*/ 734 w 2720"/>
              <a:gd name="T61" fmla="*/ 990 h 1910"/>
              <a:gd name="T62" fmla="*/ 770 w 2720"/>
              <a:gd name="T63" fmla="*/ 990 h 1910"/>
              <a:gd name="T64" fmla="*/ 770 w 2720"/>
              <a:gd name="T65" fmla="*/ 1044 h 1910"/>
              <a:gd name="T66" fmla="*/ 774 w 2720"/>
              <a:gd name="T67" fmla="*/ 1044 h 1910"/>
              <a:gd name="T68" fmla="*/ 774 w 2720"/>
              <a:gd name="T69" fmla="*/ 1096 h 1910"/>
              <a:gd name="T70" fmla="*/ 828 w 2720"/>
              <a:gd name="T71" fmla="*/ 1096 h 1910"/>
              <a:gd name="T72" fmla="*/ 828 w 2720"/>
              <a:gd name="T73" fmla="*/ 1150 h 1910"/>
              <a:gd name="T74" fmla="*/ 840 w 2720"/>
              <a:gd name="T75" fmla="*/ 1150 h 1910"/>
              <a:gd name="T76" fmla="*/ 840 w 2720"/>
              <a:gd name="T77" fmla="*/ 1204 h 1910"/>
              <a:gd name="T78" fmla="*/ 890 w 2720"/>
              <a:gd name="T79" fmla="*/ 1204 h 1910"/>
              <a:gd name="T80" fmla="*/ 890 w 2720"/>
              <a:gd name="T81" fmla="*/ 1258 h 1910"/>
              <a:gd name="T82" fmla="*/ 896 w 2720"/>
              <a:gd name="T83" fmla="*/ 1258 h 1910"/>
              <a:gd name="T84" fmla="*/ 896 w 2720"/>
              <a:gd name="T85" fmla="*/ 1310 h 1910"/>
              <a:gd name="T86" fmla="*/ 904 w 2720"/>
              <a:gd name="T87" fmla="*/ 1310 h 1910"/>
              <a:gd name="T88" fmla="*/ 904 w 2720"/>
              <a:gd name="T89" fmla="*/ 1418 h 1910"/>
              <a:gd name="T90" fmla="*/ 912 w 2720"/>
              <a:gd name="T91" fmla="*/ 1418 h 1910"/>
              <a:gd name="T92" fmla="*/ 912 w 2720"/>
              <a:gd name="T93" fmla="*/ 1470 h 1910"/>
              <a:gd name="T94" fmla="*/ 1146 w 2720"/>
              <a:gd name="T95" fmla="*/ 1470 h 1910"/>
              <a:gd name="T96" fmla="*/ 1146 w 2720"/>
              <a:gd name="T97" fmla="*/ 1528 h 1910"/>
              <a:gd name="T98" fmla="*/ 1204 w 2720"/>
              <a:gd name="T99" fmla="*/ 1528 h 1910"/>
              <a:gd name="T100" fmla="*/ 1204 w 2720"/>
              <a:gd name="T101" fmla="*/ 1594 h 1910"/>
              <a:gd name="T102" fmla="*/ 1214 w 2720"/>
              <a:gd name="T103" fmla="*/ 1594 h 1910"/>
              <a:gd name="T104" fmla="*/ 1214 w 2720"/>
              <a:gd name="T105" fmla="*/ 1658 h 1910"/>
              <a:gd name="T106" fmla="*/ 1322 w 2720"/>
              <a:gd name="T107" fmla="*/ 1658 h 1910"/>
              <a:gd name="T108" fmla="*/ 1322 w 2720"/>
              <a:gd name="T109" fmla="*/ 1742 h 1910"/>
              <a:gd name="T110" fmla="*/ 1838 w 2720"/>
              <a:gd name="T111" fmla="*/ 1742 h 1910"/>
              <a:gd name="T112" fmla="*/ 1838 w 2720"/>
              <a:gd name="T113" fmla="*/ 1910 h 1910"/>
              <a:gd name="T114" fmla="*/ 2720 w 2720"/>
              <a:gd name="T115" fmla="*/ 191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20" h="1910">
                <a:moveTo>
                  <a:pt x="0" y="0"/>
                </a:moveTo>
                <a:lnTo>
                  <a:pt x="186" y="0"/>
                </a:lnTo>
                <a:lnTo>
                  <a:pt x="186" y="52"/>
                </a:lnTo>
                <a:lnTo>
                  <a:pt x="202" y="52"/>
                </a:lnTo>
                <a:lnTo>
                  <a:pt x="202" y="102"/>
                </a:lnTo>
                <a:lnTo>
                  <a:pt x="284" y="102"/>
                </a:lnTo>
                <a:lnTo>
                  <a:pt x="284" y="154"/>
                </a:lnTo>
                <a:lnTo>
                  <a:pt x="298" y="154"/>
                </a:lnTo>
                <a:lnTo>
                  <a:pt x="298" y="204"/>
                </a:lnTo>
                <a:lnTo>
                  <a:pt x="302" y="204"/>
                </a:lnTo>
                <a:lnTo>
                  <a:pt x="302" y="256"/>
                </a:lnTo>
                <a:lnTo>
                  <a:pt x="306" y="256"/>
                </a:lnTo>
                <a:lnTo>
                  <a:pt x="306" y="358"/>
                </a:lnTo>
                <a:lnTo>
                  <a:pt x="310" y="358"/>
                </a:lnTo>
                <a:lnTo>
                  <a:pt x="310" y="462"/>
                </a:lnTo>
                <a:lnTo>
                  <a:pt x="316" y="462"/>
                </a:lnTo>
                <a:lnTo>
                  <a:pt x="316" y="514"/>
                </a:lnTo>
                <a:lnTo>
                  <a:pt x="348" y="514"/>
                </a:lnTo>
                <a:lnTo>
                  <a:pt x="348" y="566"/>
                </a:lnTo>
                <a:lnTo>
                  <a:pt x="584" y="566"/>
                </a:lnTo>
                <a:lnTo>
                  <a:pt x="584" y="618"/>
                </a:lnTo>
                <a:lnTo>
                  <a:pt x="590" y="618"/>
                </a:lnTo>
                <a:lnTo>
                  <a:pt x="590" y="670"/>
                </a:lnTo>
                <a:lnTo>
                  <a:pt x="608" y="670"/>
                </a:lnTo>
                <a:lnTo>
                  <a:pt x="608" y="830"/>
                </a:lnTo>
                <a:lnTo>
                  <a:pt x="620" y="830"/>
                </a:lnTo>
                <a:lnTo>
                  <a:pt x="620" y="884"/>
                </a:lnTo>
                <a:lnTo>
                  <a:pt x="666" y="884"/>
                </a:lnTo>
                <a:lnTo>
                  <a:pt x="666" y="936"/>
                </a:lnTo>
                <a:lnTo>
                  <a:pt x="734" y="936"/>
                </a:lnTo>
                <a:lnTo>
                  <a:pt x="734" y="990"/>
                </a:lnTo>
                <a:lnTo>
                  <a:pt x="770" y="990"/>
                </a:lnTo>
                <a:lnTo>
                  <a:pt x="770" y="1044"/>
                </a:lnTo>
                <a:lnTo>
                  <a:pt x="774" y="1044"/>
                </a:lnTo>
                <a:lnTo>
                  <a:pt x="774" y="1096"/>
                </a:lnTo>
                <a:lnTo>
                  <a:pt x="828" y="1096"/>
                </a:lnTo>
                <a:lnTo>
                  <a:pt x="828" y="1150"/>
                </a:lnTo>
                <a:lnTo>
                  <a:pt x="840" y="1150"/>
                </a:lnTo>
                <a:lnTo>
                  <a:pt x="840" y="1204"/>
                </a:lnTo>
                <a:lnTo>
                  <a:pt x="890" y="1204"/>
                </a:lnTo>
                <a:lnTo>
                  <a:pt x="890" y="1258"/>
                </a:lnTo>
                <a:lnTo>
                  <a:pt x="896" y="1258"/>
                </a:lnTo>
                <a:lnTo>
                  <a:pt x="896" y="1310"/>
                </a:lnTo>
                <a:lnTo>
                  <a:pt x="904" y="1310"/>
                </a:lnTo>
                <a:lnTo>
                  <a:pt x="904" y="1418"/>
                </a:lnTo>
                <a:lnTo>
                  <a:pt x="912" y="1418"/>
                </a:lnTo>
                <a:lnTo>
                  <a:pt x="912" y="1470"/>
                </a:lnTo>
                <a:lnTo>
                  <a:pt x="1146" y="1470"/>
                </a:lnTo>
                <a:lnTo>
                  <a:pt x="1146" y="1528"/>
                </a:lnTo>
                <a:lnTo>
                  <a:pt x="1204" y="1528"/>
                </a:lnTo>
                <a:lnTo>
                  <a:pt x="1204" y="1594"/>
                </a:lnTo>
                <a:lnTo>
                  <a:pt x="1214" y="1594"/>
                </a:lnTo>
                <a:lnTo>
                  <a:pt x="1214" y="1658"/>
                </a:lnTo>
                <a:lnTo>
                  <a:pt x="1322" y="1658"/>
                </a:lnTo>
                <a:lnTo>
                  <a:pt x="1322" y="1742"/>
                </a:lnTo>
                <a:lnTo>
                  <a:pt x="1838" y="1742"/>
                </a:lnTo>
                <a:lnTo>
                  <a:pt x="1838" y="1910"/>
                </a:lnTo>
                <a:lnTo>
                  <a:pt x="2720" y="1910"/>
                </a:lnTo>
              </a:path>
            </a:pathLst>
          </a:custGeom>
          <a:noFill/>
          <a:ln w="12700">
            <a:solidFill>
              <a:srgbClr val="79797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01" name="Line 319">
            <a:extLst>
              <a:ext uri="{FF2B5EF4-FFF2-40B4-BE49-F238E27FC236}">
                <a16:creationId xmlns:a16="http://schemas.microsoft.com/office/drawing/2014/main" id="{4A7985EC-D05B-C969-F2F1-B2656BC0C88A}"/>
              </a:ext>
            </a:extLst>
          </p:cNvPr>
          <p:cNvSpPr>
            <a:spLocks noChangeShapeType="1"/>
          </p:cNvSpPr>
          <p:nvPr/>
        </p:nvSpPr>
        <p:spPr bwMode="auto">
          <a:xfrm>
            <a:off x="862969"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02" name="Line 319">
            <a:extLst>
              <a:ext uri="{FF2B5EF4-FFF2-40B4-BE49-F238E27FC236}">
                <a16:creationId xmlns:a16="http://schemas.microsoft.com/office/drawing/2014/main" id="{86D69495-2146-2D19-5C93-C17FB9E26B8A}"/>
              </a:ext>
            </a:extLst>
          </p:cNvPr>
          <p:cNvSpPr>
            <a:spLocks noChangeShapeType="1"/>
          </p:cNvSpPr>
          <p:nvPr/>
        </p:nvSpPr>
        <p:spPr bwMode="auto">
          <a:xfrm>
            <a:off x="1047687"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03" name="Line 319">
            <a:extLst>
              <a:ext uri="{FF2B5EF4-FFF2-40B4-BE49-F238E27FC236}">
                <a16:creationId xmlns:a16="http://schemas.microsoft.com/office/drawing/2014/main" id="{37B27DF0-B752-A9CC-1C46-45E31A5DC453}"/>
              </a:ext>
            </a:extLst>
          </p:cNvPr>
          <p:cNvSpPr>
            <a:spLocks noChangeShapeType="1"/>
          </p:cNvSpPr>
          <p:nvPr/>
        </p:nvSpPr>
        <p:spPr bwMode="auto">
          <a:xfrm>
            <a:off x="1241280"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04" name="Line 319">
            <a:extLst>
              <a:ext uri="{FF2B5EF4-FFF2-40B4-BE49-F238E27FC236}">
                <a16:creationId xmlns:a16="http://schemas.microsoft.com/office/drawing/2014/main" id="{64BA2CD4-76C4-C5FB-EBE1-7797BE04BE76}"/>
              </a:ext>
            </a:extLst>
          </p:cNvPr>
          <p:cNvSpPr>
            <a:spLocks noChangeShapeType="1"/>
          </p:cNvSpPr>
          <p:nvPr/>
        </p:nvSpPr>
        <p:spPr bwMode="auto">
          <a:xfrm>
            <a:off x="1423723"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05" name="Line 319">
            <a:extLst>
              <a:ext uri="{FF2B5EF4-FFF2-40B4-BE49-F238E27FC236}">
                <a16:creationId xmlns:a16="http://schemas.microsoft.com/office/drawing/2014/main" id="{E27AAE2C-D315-0D46-F06A-FD9841A19735}"/>
              </a:ext>
            </a:extLst>
          </p:cNvPr>
          <p:cNvSpPr>
            <a:spLocks noChangeShapeType="1"/>
          </p:cNvSpPr>
          <p:nvPr/>
        </p:nvSpPr>
        <p:spPr bwMode="auto">
          <a:xfrm>
            <a:off x="1610708"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06" name="Line 319">
            <a:extLst>
              <a:ext uri="{FF2B5EF4-FFF2-40B4-BE49-F238E27FC236}">
                <a16:creationId xmlns:a16="http://schemas.microsoft.com/office/drawing/2014/main" id="{8D401768-B3EE-A7A5-38E7-22280A608318}"/>
              </a:ext>
            </a:extLst>
          </p:cNvPr>
          <p:cNvSpPr>
            <a:spLocks noChangeShapeType="1"/>
          </p:cNvSpPr>
          <p:nvPr/>
        </p:nvSpPr>
        <p:spPr bwMode="auto">
          <a:xfrm>
            <a:off x="1802248"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07" name="Line 319">
            <a:extLst>
              <a:ext uri="{FF2B5EF4-FFF2-40B4-BE49-F238E27FC236}">
                <a16:creationId xmlns:a16="http://schemas.microsoft.com/office/drawing/2014/main" id="{0AFD00E4-E192-7B62-86D5-F09250F2A7E7}"/>
              </a:ext>
            </a:extLst>
          </p:cNvPr>
          <p:cNvSpPr>
            <a:spLocks noChangeShapeType="1"/>
          </p:cNvSpPr>
          <p:nvPr/>
        </p:nvSpPr>
        <p:spPr bwMode="auto">
          <a:xfrm>
            <a:off x="1996947"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08" name="Line 319">
            <a:extLst>
              <a:ext uri="{FF2B5EF4-FFF2-40B4-BE49-F238E27FC236}">
                <a16:creationId xmlns:a16="http://schemas.microsoft.com/office/drawing/2014/main" id="{16713DB9-6F0C-CBE8-1FBC-CD7AEFC51B30}"/>
              </a:ext>
            </a:extLst>
          </p:cNvPr>
          <p:cNvSpPr>
            <a:spLocks noChangeShapeType="1"/>
          </p:cNvSpPr>
          <p:nvPr/>
        </p:nvSpPr>
        <p:spPr bwMode="auto">
          <a:xfrm>
            <a:off x="2178843"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09" name="Line 319">
            <a:extLst>
              <a:ext uri="{FF2B5EF4-FFF2-40B4-BE49-F238E27FC236}">
                <a16:creationId xmlns:a16="http://schemas.microsoft.com/office/drawing/2014/main" id="{28651320-5879-A862-DA62-3D35F0769BDD}"/>
              </a:ext>
            </a:extLst>
          </p:cNvPr>
          <p:cNvSpPr>
            <a:spLocks noChangeShapeType="1"/>
          </p:cNvSpPr>
          <p:nvPr/>
        </p:nvSpPr>
        <p:spPr bwMode="auto">
          <a:xfrm>
            <a:off x="2372179"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10" name="Line 319">
            <a:extLst>
              <a:ext uri="{FF2B5EF4-FFF2-40B4-BE49-F238E27FC236}">
                <a16:creationId xmlns:a16="http://schemas.microsoft.com/office/drawing/2014/main" id="{2712ED46-ACE7-C5BE-1680-390C0782CB75}"/>
              </a:ext>
            </a:extLst>
          </p:cNvPr>
          <p:cNvSpPr>
            <a:spLocks noChangeShapeType="1"/>
          </p:cNvSpPr>
          <p:nvPr/>
        </p:nvSpPr>
        <p:spPr bwMode="auto">
          <a:xfrm>
            <a:off x="2547656"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11" name="Line 319">
            <a:extLst>
              <a:ext uri="{FF2B5EF4-FFF2-40B4-BE49-F238E27FC236}">
                <a16:creationId xmlns:a16="http://schemas.microsoft.com/office/drawing/2014/main" id="{6928B47F-08A4-4936-A161-B22458FCE7F6}"/>
              </a:ext>
            </a:extLst>
          </p:cNvPr>
          <p:cNvSpPr>
            <a:spLocks noChangeShapeType="1"/>
          </p:cNvSpPr>
          <p:nvPr/>
        </p:nvSpPr>
        <p:spPr bwMode="auto">
          <a:xfrm>
            <a:off x="2736681"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12" name="Line 319">
            <a:extLst>
              <a:ext uri="{FF2B5EF4-FFF2-40B4-BE49-F238E27FC236}">
                <a16:creationId xmlns:a16="http://schemas.microsoft.com/office/drawing/2014/main" id="{21662F74-8AF5-B8D8-B00C-CA364F4A451B}"/>
              </a:ext>
            </a:extLst>
          </p:cNvPr>
          <p:cNvSpPr>
            <a:spLocks noChangeShapeType="1"/>
          </p:cNvSpPr>
          <p:nvPr/>
        </p:nvSpPr>
        <p:spPr bwMode="auto">
          <a:xfrm>
            <a:off x="2929807"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13" name="Line 319">
            <a:extLst>
              <a:ext uri="{FF2B5EF4-FFF2-40B4-BE49-F238E27FC236}">
                <a16:creationId xmlns:a16="http://schemas.microsoft.com/office/drawing/2014/main" id="{6B7BF3B9-221E-4E86-E2C9-2FD8A70893E5}"/>
              </a:ext>
            </a:extLst>
          </p:cNvPr>
          <p:cNvSpPr>
            <a:spLocks noChangeShapeType="1"/>
          </p:cNvSpPr>
          <p:nvPr/>
        </p:nvSpPr>
        <p:spPr bwMode="auto">
          <a:xfrm>
            <a:off x="3114729"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14" name="Line 319">
            <a:extLst>
              <a:ext uri="{FF2B5EF4-FFF2-40B4-BE49-F238E27FC236}">
                <a16:creationId xmlns:a16="http://schemas.microsoft.com/office/drawing/2014/main" id="{5ED9FD89-D277-57F8-DAA8-BC9F8C44399C}"/>
              </a:ext>
            </a:extLst>
          </p:cNvPr>
          <p:cNvSpPr>
            <a:spLocks noChangeShapeType="1"/>
          </p:cNvSpPr>
          <p:nvPr/>
        </p:nvSpPr>
        <p:spPr bwMode="auto">
          <a:xfrm>
            <a:off x="3303751"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17" name="TextBox 516">
            <a:extLst>
              <a:ext uri="{FF2B5EF4-FFF2-40B4-BE49-F238E27FC236}">
                <a16:creationId xmlns:a16="http://schemas.microsoft.com/office/drawing/2014/main" id="{9004C3D1-7D8C-BF32-364C-1C29767ABBAB}"/>
              </a:ext>
            </a:extLst>
          </p:cNvPr>
          <p:cNvSpPr txBox="1"/>
          <p:nvPr/>
        </p:nvSpPr>
        <p:spPr>
          <a:xfrm>
            <a:off x="40418" y="5480580"/>
            <a:ext cx="81934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iraparib</a:t>
            </a:r>
          </a:p>
        </p:txBody>
      </p:sp>
      <p:sp>
        <p:nvSpPr>
          <p:cNvPr id="518" name="TextBox 517">
            <a:extLst>
              <a:ext uri="{FF2B5EF4-FFF2-40B4-BE49-F238E27FC236}">
                <a16:creationId xmlns:a16="http://schemas.microsoft.com/office/drawing/2014/main" id="{6A4CD127-6EAC-714C-A445-E848371610A7}"/>
              </a:ext>
            </a:extLst>
          </p:cNvPr>
          <p:cNvSpPr txBox="1"/>
          <p:nvPr/>
        </p:nvSpPr>
        <p:spPr>
          <a:xfrm>
            <a:off x="43666" y="5656603"/>
            <a:ext cx="81934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p>
        </p:txBody>
      </p:sp>
      <p:grpSp>
        <p:nvGrpSpPr>
          <p:cNvPr id="530" name="Group 529">
            <a:extLst>
              <a:ext uri="{FF2B5EF4-FFF2-40B4-BE49-F238E27FC236}">
                <a16:creationId xmlns:a16="http://schemas.microsoft.com/office/drawing/2014/main" id="{4C794F0F-1B5F-D0B2-30AB-06EFB6A7D65B}"/>
              </a:ext>
            </a:extLst>
          </p:cNvPr>
          <p:cNvGrpSpPr/>
          <p:nvPr/>
        </p:nvGrpSpPr>
        <p:grpSpPr>
          <a:xfrm>
            <a:off x="327242" y="2271342"/>
            <a:ext cx="396263" cy="2756173"/>
            <a:chOff x="4451966" y="1921015"/>
            <a:chExt cx="396263" cy="2756174"/>
          </a:xfrm>
        </p:grpSpPr>
        <p:sp>
          <p:nvSpPr>
            <p:cNvPr id="519" name="TextBox 3211">
              <a:extLst>
                <a:ext uri="{FF2B5EF4-FFF2-40B4-BE49-F238E27FC236}">
                  <a16:creationId xmlns:a16="http://schemas.microsoft.com/office/drawing/2014/main" id="{36C864B1-F95A-E48A-43AF-2FFC44D84A55}"/>
                </a:ext>
              </a:extLst>
            </p:cNvPr>
            <p:cNvSpPr txBox="1"/>
            <p:nvPr/>
          </p:nvSpPr>
          <p:spPr>
            <a:xfrm>
              <a:off x="4451966" y="1921015"/>
              <a:ext cx="396263"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p:txBody>
        </p:sp>
        <p:sp>
          <p:nvSpPr>
            <p:cNvPr id="520" name="TextBox 3212">
              <a:extLst>
                <a:ext uri="{FF2B5EF4-FFF2-40B4-BE49-F238E27FC236}">
                  <a16:creationId xmlns:a16="http://schemas.microsoft.com/office/drawing/2014/main" id="{92A2AD3C-883B-449C-8999-8DBD5922E9C5}"/>
                </a:ext>
              </a:extLst>
            </p:cNvPr>
            <p:cNvSpPr txBox="1"/>
            <p:nvPr/>
          </p:nvSpPr>
          <p:spPr>
            <a:xfrm>
              <a:off x="4522498" y="2172010"/>
              <a:ext cx="325731"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0</a:t>
              </a:r>
            </a:p>
          </p:txBody>
        </p:sp>
        <p:sp>
          <p:nvSpPr>
            <p:cNvPr id="521" name="TextBox 3213">
              <a:extLst>
                <a:ext uri="{FF2B5EF4-FFF2-40B4-BE49-F238E27FC236}">
                  <a16:creationId xmlns:a16="http://schemas.microsoft.com/office/drawing/2014/main" id="{006270E8-B401-3F87-5A22-55379D93B8BA}"/>
                </a:ext>
              </a:extLst>
            </p:cNvPr>
            <p:cNvSpPr txBox="1"/>
            <p:nvPr/>
          </p:nvSpPr>
          <p:spPr>
            <a:xfrm>
              <a:off x="4522498" y="2423005"/>
              <a:ext cx="325731"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p:txBody>
        </p:sp>
        <p:sp>
          <p:nvSpPr>
            <p:cNvPr id="522" name="TextBox 3214">
              <a:extLst>
                <a:ext uri="{FF2B5EF4-FFF2-40B4-BE49-F238E27FC236}">
                  <a16:creationId xmlns:a16="http://schemas.microsoft.com/office/drawing/2014/main" id="{80C3C67E-ABC3-ED28-8B9E-D33D4964CC25}"/>
                </a:ext>
              </a:extLst>
            </p:cNvPr>
            <p:cNvSpPr txBox="1"/>
            <p:nvPr/>
          </p:nvSpPr>
          <p:spPr>
            <a:xfrm>
              <a:off x="4522498" y="2674001"/>
              <a:ext cx="325731"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0</a:t>
              </a:r>
            </a:p>
          </p:txBody>
        </p:sp>
        <p:sp>
          <p:nvSpPr>
            <p:cNvPr id="523" name="TextBox 3215">
              <a:extLst>
                <a:ext uri="{FF2B5EF4-FFF2-40B4-BE49-F238E27FC236}">
                  <a16:creationId xmlns:a16="http://schemas.microsoft.com/office/drawing/2014/main" id="{4C5601D2-B30D-1C4A-D86B-03BDB8A5DF9D}"/>
                </a:ext>
              </a:extLst>
            </p:cNvPr>
            <p:cNvSpPr txBox="1"/>
            <p:nvPr/>
          </p:nvSpPr>
          <p:spPr>
            <a:xfrm>
              <a:off x="4522498" y="2924995"/>
              <a:ext cx="325731"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p:txBody>
        </p:sp>
        <p:sp>
          <p:nvSpPr>
            <p:cNvPr id="524" name="TextBox 3216">
              <a:extLst>
                <a:ext uri="{FF2B5EF4-FFF2-40B4-BE49-F238E27FC236}">
                  <a16:creationId xmlns:a16="http://schemas.microsoft.com/office/drawing/2014/main" id="{47D095EF-6867-578B-BD0D-EE08D46A6D11}"/>
                </a:ext>
              </a:extLst>
            </p:cNvPr>
            <p:cNvSpPr txBox="1"/>
            <p:nvPr/>
          </p:nvSpPr>
          <p:spPr>
            <a:xfrm>
              <a:off x="4522498" y="3175990"/>
              <a:ext cx="325731"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0</a:t>
              </a:r>
            </a:p>
          </p:txBody>
        </p:sp>
        <p:sp>
          <p:nvSpPr>
            <p:cNvPr id="525" name="TextBox 3217">
              <a:extLst>
                <a:ext uri="{FF2B5EF4-FFF2-40B4-BE49-F238E27FC236}">
                  <a16:creationId xmlns:a16="http://schemas.microsoft.com/office/drawing/2014/main" id="{840ADD20-D840-09A5-8194-05FA31BF1F0E}"/>
                </a:ext>
              </a:extLst>
            </p:cNvPr>
            <p:cNvSpPr txBox="1"/>
            <p:nvPr/>
          </p:nvSpPr>
          <p:spPr>
            <a:xfrm>
              <a:off x="4522498" y="3426985"/>
              <a:ext cx="325731"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p:txBody>
        </p:sp>
        <p:sp>
          <p:nvSpPr>
            <p:cNvPr id="526" name="TextBox 3218">
              <a:extLst>
                <a:ext uri="{FF2B5EF4-FFF2-40B4-BE49-F238E27FC236}">
                  <a16:creationId xmlns:a16="http://schemas.microsoft.com/office/drawing/2014/main" id="{52F02FBE-64C7-6BAC-B813-AE17BBC907C2}"/>
                </a:ext>
              </a:extLst>
            </p:cNvPr>
            <p:cNvSpPr txBox="1"/>
            <p:nvPr/>
          </p:nvSpPr>
          <p:spPr>
            <a:xfrm>
              <a:off x="4522498" y="3677981"/>
              <a:ext cx="325731"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a:t>
              </a:r>
            </a:p>
          </p:txBody>
        </p:sp>
        <p:sp>
          <p:nvSpPr>
            <p:cNvPr id="527" name="TextBox 3219">
              <a:extLst>
                <a:ext uri="{FF2B5EF4-FFF2-40B4-BE49-F238E27FC236}">
                  <a16:creationId xmlns:a16="http://schemas.microsoft.com/office/drawing/2014/main" id="{A6957929-14C3-1D8C-7122-D4400A6098A2}"/>
                </a:ext>
              </a:extLst>
            </p:cNvPr>
            <p:cNvSpPr txBox="1"/>
            <p:nvPr/>
          </p:nvSpPr>
          <p:spPr>
            <a:xfrm>
              <a:off x="4522498" y="3928974"/>
              <a:ext cx="325731"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p:txBody>
        </p:sp>
        <p:sp>
          <p:nvSpPr>
            <p:cNvPr id="528" name="TextBox 3220">
              <a:extLst>
                <a:ext uri="{FF2B5EF4-FFF2-40B4-BE49-F238E27FC236}">
                  <a16:creationId xmlns:a16="http://schemas.microsoft.com/office/drawing/2014/main" id="{7A9FC794-8A3C-C5D8-9969-6336008FF1D5}"/>
                </a:ext>
              </a:extLst>
            </p:cNvPr>
            <p:cNvSpPr txBox="1"/>
            <p:nvPr/>
          </p:nvSpPr>
          <p:spPr>
            <a:xfrm>
              <a:off x="4522498" y="4179970"/>
              <a:ext cx="325731"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a:t>
              </a:r>
            </a:p>
          </p:txBody>
        </p:sp>
        <p:sp>
          <p:nvSpPr>
            <p:cNvPr id="529" name="TextBox 3221">
              <a:extLst>
                <a:ext uri="{FF2B5EF4-FFF2-40B4-BE49-F238E27FC236}">
                  <a16:creationId xmlns:a16="http://schemas.microsoft.com/office/drawing/2014/main" id="{829CCF19-049A-656E-D3C1-F9B50AF5BF35}"/>
                </a:ext>
              </a:extLst>
            </p:cNvPr>
            <p:cNvSpPr txBox="1"/>
            <p:nvPr/>
          </p:nvSpPr>
          <p:spPr>
            <a:xfrm>
              <a:off x="4593030" y="4430968"/>
              <a:ext cx="255199" cy="246221"/>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grpSp>
      <p:sp>
        <p:nvSpPr>
          <p:cNvPr id="532" name="TextBox 531">
            <a:extLst>
              <a:ext uri="{FF2B5EF4-FFF2-40B4-BE49-F238E27FC236}">
                <a16:creationId xmlns:a16="http://schemas.microsoft.com/office/drawing/2014/main" id="{0082C7C5-8EFC-9CAD-E4DF-3B7236BEE1DE}"/>
              </a:ext>
            </a:extLst>
          </p:cNvPr>
          <p:cNvSpPr txBox="1"/>
          <p:nvPr/>
        </p:nvSpPr>
        <p:spPr>
          <a:xfrm>
            <a:off x="630176" y="2001363"/>
            <a:ext cx="2912633" cy="369332"/>
          </a:xfrm>
          <a:prstGeom prst="rect">
            <a:avLst/>
          </a:prstGeom>
          <a:solidFill>
            <a:schemeClr val="bg1"/>
          </a:solid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CB8FE1F9-258B-F584-6621-CB16E198D6A3}"/>
              </a:ext>
            </a:extLst>
          </p:cNvPr>
          <p:cNvSpPr txBox="1"/>
          <p:nvPr/>
        </p:nvSpPr>
        <p:spPr>
          <a:xfrm>
            <a:off x="1054456" y="1920682"/>
            <a:ext cx="2425664"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yriad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yChoice</a:t>
            </a: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RD positive</a:t>
            </a:r>
          </a:p>
        </p:txBody>
      </p:sp>
      <p:sp>
        <p:nvSpPr>
          <p:cNvPr id="12" name="TextBox 11">
            <a:extLst>
              <a:ext uri="{FF2B5EF4-FFF2-40B4-BE49-F238E27FC236}">
                <a16:creationId xmlns:a16="http://schemas.microsoft.com/office/drawing/2014/main" id="{67F282CE-A8BD-EA55-849E-619B1E3671E1}"/>
              </a:ext>
            </a:extLst>
          </p:cNvPr>
          <p:cNvSpPr txBox="1"/>
          <p:nvPr/>
        </p:nvSpPr>
        <p:spPr>
          <a:xfrm>
            <a:off x="0" y="5993394"/>
            <a:ext cx="12192000" cy="864607"/>
          </a:xfrm>
          <a:prstGeom prst="rect">
            <a:avLst/>
          </a:prstGeom>
          <a:solidFill>
            <a:schemeClr val="bg1"/>
          </a:solidFill>
        </p:spPr>
        <p:txBody>
          <a:bodyPr wrap="square" anchor="b">
            <a:noAutofit/>
          </a:bodyPr>
          <a:lstStyle>
            <a:defPPr>
              <a:defRPr lang="en-US"/>
            </a:defPPr>
            <a:lvl1pPr>
              <a:defRPr sz="1000">
                <a:solidFill>
                  <a:schemeClr val="bg1"/>
                </a:solidFill>
                <a:latin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ease note that head-to-head studies were not conducted between these products. These data are for information purposes only and no comparative claims of non-inferiority or superiority in terms of efficacy or safety are implied or intended</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v, bevacizumab;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C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reast cancer susceptibility gene; </a:t>
            </a:r>
            <a:r>
              <a:rPr kumimoji="0" lang="en-US" sz="10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RCA</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t</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C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ild type;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Dx</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mpanion diagnostics; CI, confidence interval; GIS, genomic instability score; HR, hazard ratio; </a:t>
            </a:r>
            <a:b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D, homologous recombination deficiency; LOH, loss of heterozygosity; PARP, poly(ADP-ribose) polymerase;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RP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ARP inhibitor; PFS, progression-free survival.</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González-Martín A,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Engl J Med.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9;381(25):2391-2402; 2. Monk BJ, et al. Presented at: SGO 2020. Seminal abstract 31; 3. Ray-Coquard I,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Engl J Med</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9;381:2416-2428.</a:t>
            </a:r>
          </a:p>
        </p:txBody>
      </p:sp>
      <p:sp>
        <p:nvSpPr>
          <p:cNvPr id="19" name="Rectangle 110">
            <a:extLst>
              <a:ext uri="{FF2B5EF4-FFF2-40B4-BE49-F238E27FC236}">
                <a16:creationId xmlns:a16="http://schemas.microsoft.com/office/drawing/2014/main" id="{9D1A5ED1-508E-BD3D-8FF6-1EB32FD99163}"/>
              </a:ext>
            </a:extLst>
          </p:cNvPr>
          <p:cNvSpPr>
            <a:spLocks noChangeArrowheads="1"/>
          </p:cNvSpPr>
          <p:nvPr/>
        </p:nvSpPr>
        <p:spPr bwMode="auto">
          <a:xfrm rot="16200000">
            <a:off x="-32314" y="3568480"/>
            <a:ext cx="6291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48000" tIns="0" rIns="48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a:t>
            </a:r>
          </a:p>
        </p:txBody>
      </p:sp>
      <p:sp>
        <p:nvSpPr>
          <p:cNvPr id="48" name="TextBox 47">
            <a:extLst>
              <a:ext uri="{FF2B5EF4-FFF2-40B4-BE49-F238E27FC236}">
                <a16:creationId xmlns:a16="http://schemas.microsoft.com/office/drawing/2014/main" id="{819AFC0F-7211-A47E-8AB0-E90DED8F14A6}"/>
              </a:ext>
            </a:extLst>
          </p:cNvPr>
          <p:cNvSpPr txBox="1"/>
          <p:nvPr/>
        </p:nvSpPr>
        <p:spPr>
          <a:xfrm>
            <a:off x="40418" y="5299811"/>
            <a:ext cx="81934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p:txBody>
      </p:sp>
      <p:sp>
        <p:nvSpPr>
          <p:cNvPr id="2" name="Rectangle: Rounded Corners 248">
            <a:extLst>
              <a:ext uri="{FF2B5EF4-FFF2-40B4-BE49-F238E27FC236}">
                <a16:creationId xmlns:a16="http://schemas.microsoft.com/office/drawing/2014/main" id="{09B273D8-25F4-E790-F3F2-96FABAF8293F}"/>
              </a:ext>
            </a:extLst>
          </p:cNvPr>
          <p:cNvSpPr/>
          <p:nvPr/>
        </p:nvSpPr>
        <p:spPr>
          <a:xfrm>
            <a:off x="311485" y="1536404"/>
            <a:ext cx="3655248" cy="360000"/>
          </a:xfrm>
          <a:prstGeom prst="rect">
            <a:avLst/>
          </a:prstGeom>
          <a:solidFill>
            <a:srgbClr val="EFAC00"/>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lIns="72000" rIns="72000"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PRIMA</a:t>
            </a:r>
            <a:r>
              <a:rPr kumimoji="0" lang="en-US" sz="1800" b="1" i="0" u="none" strike="noStrike" kern="1200" cap="none" spc="0" normalizeH="0" baseline="30000" noProof="0" dirty="0">
                <a:ln>
                  <a:noFill/>
                </a:ln>
                <a:solidFill>
                  <a:srgbClr val="FFFFFF"/>
                </a:solidFill>
                <a:effectLst/>
                <a:uLnTx/>
                <a:uFillTx/>
                <a:latin typeface="Arial"/>
                <a:ea typeface="+mn-ea"/>
                <a:cs typeface="+mn-cs"/>
              </a:rPr>
              <a:t>1</a:t>
            </a:r>
            <a:endParaRPr kumimoji="0" lang="en-US" sz="1800" b="0" i="0" u="none" strike="noStrike" kern="1200" cap="none" spc="0" normalizeH="0" baseline="30000" noProof="0" dirty="0">
              <a:ln>
                <a:noFill/>
              </a:ln>
              <a:solidFill>
                <a:srgbClr val="FFFFFF"/>
              </a:solidFill>
              <a:effectLst/>
              <a:uLnTx/>
              <a:uFillTx/>
              <a:latin typeface="Proxima Nova Rg"/>
              <a:ea typeface="+mn-ea"/>
              <a:cs typeface="+mn-cs"/>
            </a:endParaRPr>
          </a:p>
        </p:txBody>
      </p:sp>
      <p:sp>
        <p:nvSpPr>
          <p:cNvPr id="5" name="Rectangle: Rounded Corners 248">
            <a:extLst>
              <a:ext uri="{FF2B5EF4-FFF2-40B4-BE49-F238E27FC236}">
                <a16:creationId xmlns:a16="http://schemas.microsoft.com/office/drawing/2014/main" id="{DD7027CF-951D-218E-31E9-62EFFAB2F956}"/>
              </a:ext>
            </a:extLst>
          </p:cNvPr>
          <p:cNvSpPr/>
          <p:nvPr/>
        </p:nvSpPr>
        <p:spPr>
          <a:xfrm>
            <a:off x="8251503" y="1536404"/>
            <a:ext cx="3655248" cy="360000"/>
          </a:xfrm>
          <a:prstGeom prst="rect">
            <a:avLst/>
          </a:prstGeom>
          <a:solidFill>
            <a:srgbClr val="831053"/>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lIns="72000" rIns="72000"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PAOLA-1</a:t>
            </a:r>
            <a:r>
              <a:rPr kumimoji="0" lang="en-US" sz="1800" b="1" i="0" u="none" strike="noStrike" kern="1200" cap="none" spc="0" normalizeH="0" baseline="30000" noProof="0" dirty="0">
                <a:ln>
                  <a:noFill/>
                </a:ln>
                <a:solidFill>
                  <a:srgbClr val="FFFFFF"/>
                </a:solidFill>
                <a:effectLst/>
                <a:uLnTx/>
                <a:uFillTx/>
                <a:latin typeface="Arial"/>
                <a:ea typeface="+mn-ea"/>
                <a:cs typeface="+mn-cs"/>
              </a:rPr>
              <a:t>3</a:t>
            </a:r>
            <a:endParaRPr kumimoji="0" lang="en-US" sz="1800" b="0" i="0" u="none" strike="noStrike" kern="1200" cap="none" spc="0" normalizeH="0" baseline="30000" noProof="0" dirty="0">
              <a:ln>
                <a:noFill/>
              </a:ln>
              <a:solidFill>
                <a:srgbClr val="FFFFFF"/>
              </a:solidFill>
              <a:effectLst/>
              <a:uLnTx/>
              <a:uFillTx/>
              <a:latin typeface="Proxima Nova Rg"/>
              <a:ea typeface="+mn-ea"/>
              <a:cs typeface="+mn-cs"/>
            </a:endParaRPr>
          </a:p>
        </p:txBody>
      </p:sp>
      <p:sp>
        <p:nvSpPr>
          <p:cNvPr id="11" name="Rectangle: Rounded Corners 248">
            <a:extLst>
              <a:ext uri="{FF2B5EF4-FFF2-40B4-BE49-F238E27FC236}">
                <a16:creationId xmlns:a16="http://schemas.microsoft.com/office/drawing/2014/main" id="{51C185CF-8C62-E928-55D9-A38A5E424796}"/>
              </a:ext>
            </a:extLst>
          </p:cNvPr>
          <p:cNvSpPr/>
          <p:nvPr/>
        </p:nvSpPr>
        <p:spPr>
          <a:xfrm>
            <a:off x="4058792" y="1536404"/>
            <a:ext cx="3937787" cy="360000"/>
          </a:xfrm>
          <a:prstGeom prst="rect">
            <a:avLst/>
          </a:prstGeom>
          <a:solidFill>
            <a:srgbClr val="C4D600"/>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lIns="72000" rIns="72000"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ATHENA-MONO</a:t>
            </a:r>
            <a:r>
              <a:rPr kumimoji="0" lang="en-US" sz="1800" b="1" i="0" u="none" strike="noStrike" kern="1200" cap="none" spc="0" normalizeH="0" baseline="30000" noProof="0" dirty="0">
                <a:ln>
                  <a:noFill/>
                </a:ln>
                <a:solidFill>
                  <a:prstClr val="black"/>
                </a:solidFill>
                <a:effectLst/>
                <a:uLnTx/>
                <a:uFillTx/>
                <a:latin typeface="Arial"/>
                <a:ea typeface="+mn-ea"/>
                <a:cs typeface="+mn-cs"/>
              </a:rPr>
              <a:t>2</a:t>
            </a:r>
            <a:endParaRPr kumimoji="0" lang="en-US" sz="1800" b="0" i="0" u="none" strike="noStrike" kern="1200" cap="none" spc="0" normalizeH="0" baseline="30000" noProof="0" dirty="0">
              <a:ln>
                <a:noFill/>
              </a:ln>
              <a:solidFill>
                <a:prstClr val="black"/>
              </a:solidFill>
              <a:effectLst/>
              <a:uLnTx/>
              <a:uFillTx/>
              <a:latin typeface="Proxima Nova Rg"/>
              <a:ea typeface="+mn-ea"/>
              <a:cs typeface="+mn-cs"/>
            </a:endParaRPr>
          </a:p>
        </p:txBody>
      </p:sp>
      <p:sp>
        <p:nvSpPr>
          <p:cNvPr id="531" name="TextBox 530">
            <a:extLst>
              <a:ext uri="{FF2B5EF4-FFF2-40B4-BE49-F238E27FC236}">
                <a16:creationId xmlns:a16="http://schemas.microsoft.com/office/drawing/2014/main" id="{A716D027-8C92-1A42-EA68-D90A530F422B}"/>
              </a:ext>
            </a:extLst>
          </p:cNvPr>
          <p:cNvSpPr txBox="1"/>
          <p:nvPr/>
        </p:nvSpPr>
        <p:spPr>
          <a:xfrm>
            <a:off x="3492770" y="2261117"/>
            <a:ext cx="322308" cy="369332"/>
          </a:xfrm>
          <a:prstGeom prst="rect">
            <a:avLst/>
          </a:prstGeom>
          <a:solidFill>
            <a:schemeClr val="bg1"/>
          </a:solid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 name="Line 319">
            <a:extLst>
              <a:ext uri="{FF2B5EF4-FFF2-40B4-BE49-F238E27FC236}">
                <a16:creationId xmlns:a16="http://schemas.microsoft.com/office/drawing/2014/main" id="{AE25E139-B9A0-83F4-D650-B7968DFAF575}"/>
              </a:ext>
            </a:extLst>
          </p:cNvPr>
          <p:cNvSpPr>
            <a:spLocks noChangeShapeType="1"/>
          </p:cNvSpPr>
          <p:nvPr/>
        </p:nvSpPr>
        <p:spPr bwMode="auto">
          <a:xfrm>
            <a:off x="3493141" y="5030969"/>
            <a:ext cx="0" cy="31788"/>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grpSp>
        <p:nvGrpSpPr>
          <p:cNvPr id="555" name="Group 554">
            <a:extLst>
              <a:ext uri="{FF2B5EF4-FFF2-40B4-BE49-F238E27FC236}">
                <a16:creationId xmlns:a16="http://schemas.microsoft.com/office/drawing/2014/main" id="{DF32E272-1D06-6CFB-A5DD-F84E32230D15}"/>
              </a:ext>
            </a:extLst>
          </p:cNvPr>
          <p:cNvGrpSpPr/>
          <p:nvPr/>
        </p:nvGrpSpPr>
        <p:grpSpPr>
          <a:xfrm>
            <a:off x="7878136" y="1956895"/>
            <a:ext cx="4206772" cy="3954637"/>
            <a:chOff x="3613958" y="1784886"/>
            <a:chExt cx="4206770" cy="3954637"/>
          </a:xfrm>
        </p:grpSpPr>
        <p:grpSp>
          <p:nvGrpSpPr>
            <p:cNvPr id="3" name="Group 2">
              <a:extLst>
                <a:ext uri="{FF2B5EF4-FFF2-40B4-BE49-F238E27FC236}">
                  <a16:creationId xmlns:a16="http://schemas.microsoft.com/office/drawing/2014/main" id="{E5B12899-AE13-DA2B-24EC-BF7766B05C9D}"/>
                </a:ext>
              </a:extLst>
            </p:cNvPr>
            <p:cNvGrpSpPr/>
            <p:nvPr/>
          </p:nvGrpSpPr>
          <p:grpSpPr>
            <a:xfrm>
              <a:off x="3613958" y="1784886"/>
              <a:ext cx="4206770" cy="3954637"/>
              <a:chOff x="3613958" y="1784886"/>
              <a:chExt cx="4206770" cy="3954637"/>
            </a:xfrm>
          </p:grpSpPr>
          <p:sp>
            <p:nvSpPr>
              <p:cNvPr id="6" name="TextBox 5">
                <a:extLst>
                  <a:ext uri="{FF2B5EF4-FFF2-40B4-BE49-F238E27FC236}">
                    <a16:creationId xmlns:a16="http://schemas.microsoft.com/office/drawing/2014/main" id="{9DCB14CE-456A-D383-0097-D0F318BE0A42}"/>
                  </a:ext>
                </a:extLst>
              </p:cNvPr>
              <p:cNvSpPr txBox="1"/>
              <p:nvPr/>
            </p:nvSpPr>
            <p:spPr>
              <a:xfrm>
                <a:off x="4894800" y="1784886"/>
                <a:ext cx="2425663"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yriad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yChoice</a:t>
                </a: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RD positive</a:t>
                </a:r>
              </a:p>
            </p:txBody>
          </p:sp>
          <p:grpSp>
            <p:nvGrpSpPr>
              <p:cNvPr id="35" name="Group 34">
                <a:extLst>
                  <a:ext uri="{FF2B5EF4-FFF2-40B4-BE49-F238E27FC236}">
                    <a16:creationId xmlns:a16="http://schemas.microsoft.com/office/drawing/2014/main" id="{21FE9C3C-E644-A5C3-C7A7-70DAAFB04C1E}"/>
                  </a:ext>
                </a:extLst>
              </p:cNvPr>
              <p:cNvGrpSpPr/>
              <p:nvPr/>
            </p:nvGrpSpPr>
            <p:grpSpPr>
              <a:xfrm>
                <a:off x="3613958" y="2288047"/>
                <a:ext cx="4206770" cy="3451476"/>
                <a:chOff x="6007124" y="2161687"/>
                <a:chExt cx="3614318" cy="2701109"/>
              </a:xfrm>
            </p:grpSpPr>
            <p:grpSp>
              <p:nvGrpSpPr>
                <p:cNvPr id="34" name="Group 33">
                  <a:extLst>
                    <a:ext uri="{FF2B5EF4-FFF2-40B4-BE49-F238E27FC236}">
                      <a16:creationId xmlns:a16="http://schemas.microsoft.com/office/drawing/2014/main" id="{C6897784-6926-D3C3-6980-9F386079CA6C}"/>
                    </a:ext>
                  </a:extLst>
                </p:cNvPr>
                <p:cNvGrpSpPr/>
                <p:nvPr/>
              </p:nvGrpSpPr>
              <p:grpSpPr>
                <a:xfrm>
                  <a:off x="6007124" y="2161687"/>
                  <a:ext cx="3614318" cy="2701109"/>
                  <a:chOff x="4697811" y="2111478"/>
                  <a:chExt cx="3614318" cy="2701109"/>
                </a:xfrm>
              </p:grpSpPr>
              <p:grpSp>
                <p:nvGrpSpPr>
                  <p:cNvPr id="18" name="Group 17">
                    <a:extLst>
                      <a:ext uri="{FF2B5EF4-FFF2-40B4-BE49-F238E27FC236}">
                        <a16:creationId xmlns:a16="http://schemas.microsoft.com/office/drawing/2014/main" id="{D11B8BA7-B396-9046-D947-8BF5284DA5B5}"/>
                      </a:ext>
                    </a:extLst>
                  </p:cNvPr>
                  <p:cNvGrpSpPr/>
                  <p:nvPr/>
                </p:nvGrpSpPr>
                <p:grpSpPr>
                  <a:xfrm>
                    <a:off x="4697811" y="2111911"/>
                    <a:ext cx="3614318" cy="2700676"/>
                    <a:chOff x="3902282" y="2090715"/>
                    <a:chExt cx="3614318" cy="2700676"/>
                  </a:xfrm>
                </p:grpSpPr>
                <p:pic>
                  <p:nvPicPr>
                    <p:cNvPr id="16" name="Picture 15" descr="A screenshot of a computer screen&#10;&#10;Description automatically generated">
                      <a:extLst>
                        <a:ext uri="{FF2B5EF4-FFF2-40B4-BE49-F238E27FC236}">
                          <a16:creationId xmlns:a16="http://schemas.microsoft.com/office/drawing/2014/main" id="{3AE885E3-42CC-2256-522E-459DB99607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8780" t="7957" r="19682" b="33837"/>
                    <a:stretch/>
                  </p:blipFill>
                  <p:spPr>
                    <a:xfrm>
                      <a:off x="3902282" y="2090715"/>
                      <a:ext cx="3614318" cy="2700676"/>
                    </a:xfrm>
                    <a:prstGeom prst="rect">
                      <a:avLst/>
                    </a:prstGeom>
                  </p:spPr>
                </p:pic>
                <p:sp>
                  <p:nvSpPr>
                    <p:cNvPr id="17" name="Rectangle 19">
                      <a:extLst>
                        <a:ext uri="{FF2B5EF4-FFF2-40B4-BE49-F238E27FC236}">
                          <a16:creationId xmlns:a16="http://schemas.microsoft.com/office/drawing/2014/main" id="{3DC503D1-6404-A1D4-0B5B-98E5008B43BD}"/>
                        </a:ext>
                      </a:extLst>
                    </p:cNvPr>
                    <p:cNvSpPr>
                      <a:spLocks noChangeArrowheads="1"/>
                    </p:cNvSpPr>
                    <p:nvPr/>
                  </p:nvSpPr>
                  <p:spPr bwMode="auto">
                    <a:xfrm>
                      <a:off x="4901608" y="4319041"/>
                      <a:ext cx="2036423" cy="120432"/>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nths since </a:t>
                      </a:r>
                      <a:r>
                        <a:rPr kumimoji="0" lang="en-US" sz="1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ndomisation</a:t>
                      </a: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1" name="Group 20">
                    <a:extLst>
                      <a:ext uri="{FF2B5EF4-FFF2-40B4-BE49-F238E27FC236}">
                        <a16:creationId xmlns:a16="http://schemas.microsoft.com/office/drawing/2014/main" id="{A65F2C52-96AE-C542-03EA-6109E5C3B831}"/>
                      </a:ext>
                    </a:extLst>
                  </p:cNvPr>
                  <p:cNvGrpSpPr/>
                  <p:nvPr/>
                </p:nvGrpSpPr>
                <p:grpSpPr>
                  <a:xfrm>
                    <a:off x="5019651" y="2111478"/>
                    <a:ext cx="396264" cy="2058983"/>
                    <a:chOff x="4443188" y="1877983"/>
                    <a:chExt cx="396264" cy="2770608"/>
                  </a:xfrm>
                </p:grpSpPr>
                <p:sp>
                  <p:nvSpPr>
                    <p:cNvPr id="22" name="TextBox 3211">
                      <a:extLst>
                        <a:ext uri="{FF2B5EF4-FFF2-40B4-BE49-F238E27FC236}">
                          <a16:creationId xmlns:a16="http://schemas.microsoft.com/office/drawing/2014/main" id="{D163D730-7B45-BB4A-0331-01986F474CD2}"/>
                        </a:ext>
                      </a:extLst>
                    </p:cNvPr>
                    <p:cNvSpPr txBox="1"/>
                    <p:nvPr/>
                  </p:nvSpPr>
                  <p:spPr>
                    <a:xfrm>
                      <a:off x="4443188" y="1877983"/>
                      <a:ext cx="396263" cy="25928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p:txBody>
                </p:sp>
                <p:sp>
                  <p:nvSpPr>
                    <p:cNvPr id="23" name="TextBox 3212">
                      <a:extLst>
                        <a:ext uri="{FF2B5EF4-FFF2-40B4-BE49-F238E27FC236}">
                          <a16:creationId xmlns:a16="http://schemas.microsoft.com/office/drawing/2014/main" id="{4D53F1A2-E39F-7AE2-B8D7-B7493FF92CCD}"/>
                        </a:ext>
                      </a:extLst>
                    </p:cNvPr>
                    <p:cNvSpPr txBox="1"/>
                    <p:nvPr/>
                  </p:nvSpPr>
                  <p:spPr>
                    <a:xfrm>
                      <a:off x="4513721" y="2129115"/>
                      <a:ext cx="325731" cy="25928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0</a:t>
                      </a:r>
                    </a:p>
                  </p:txBody>
                </p:sp>
                <p:sp>
                  <p:nvSpPr>
                    <p:cNvPr id="24" name="TextBox 3213">
                      <a:extLst>
                        <a:ext uri="{FF2B5EF4-FFF2-40B4-BE49-F238E27FC236}">
                          <a16:creationId xmlns:a16="http://schemas.microsoft.com/office/drawing/2014/main" id="{33C6A04F-F54B-80D0-8051-4CBB806D0CF8}"/>
                        </a:ext>
                      </a:extLst>
                    </p:cNvPr>
                    <p:cNvSpPr txBox="1"/>
                    <p:nvPr/>
                  </p:nvSpPr>
                  <p:spPr>
                    <a:xfrm>
                      <a:off x="4513721" y="2380247"/>
                      <a:ext cx="325731" cy="25928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p:txBody>
                </p:sp>
                <p:sp>
                  <p:nvSpPr>
                    <p:cNvPr id="25" name="TextBox 3214">
                      <a:extLst>
                        <a:ext uri="{FF2B5EF4-FFF2-40B4-BE49-F238E27FC236}">
                          <a16:creationId xmlns:a16="http://schemas.microsoft.com/office/drawing/2014/main" id="{4F4E6C08-04B9-C4A2-CF26-6324502F7E6D}"/>
                        </a:ext>
                      </a:extLst>
                    </p:cNvPr>
                    <p:cNvSpPr txBox="1"/>
                    <p:nvPr/>
                  </p:nvSpPr>
                  <p:spPr>
                    <a:xfrm>
                      <a:off x="4513721" y="2631378"/>
                      <a:ext cx="325731" cy="25928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0</a:t>
                      </a:r>
                    </a:p>
                  </p:txBody>
                </p:sp>
                <p:sp>
                  <p:nvSpPr>
                    <p:cNvPr id="26" name="TextBox 3215">
                      <a:extLst>
                        <a:ext uri="{FF2B5EF4-FFF2-40B4-BE49-F238E27FC236}">
                          <a16:creationId xmlns:a16="http://schemas.microsoft.com/office/drawing/2014/main" id="{6D49DCB3-A887-0BE3-3788-FD834DB41150}"/>
                        </a:ext>
                      </a:extLst>
                    </p:cNvPr>
                    <p:cNvSpPr txBox="1"/>
                    <p:nvPr/>
                  </p:nvSpPr>
                  <p:spPr>
                    <a:xfrm>
                      <a:off x="4513721" y="2882509"/>
                      <a:ext cx="325731" cy="25928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p:txBody>
                </p:sp>
                <p:sp>
                  <p:nvSpPr>
                    <p:cNvPr id="27" name="TextBox 3216">
                      <a:extLst>
                        <a:ext uri="{FF2B5EF4-FFF2-40B4-BE49-F238E27FC236}">
                          <a16:creationId xmlns:a16="http://schemas.microsoft.com/office/drawing/2014/main" id="{50A4CD5F-A494-E9D7-278E-DD7A13B09148}"/>
                        </a:ext>
                      </a:extLst>
                    </p:cNvPr>
                    <p:cNvSpPr txBox="1"/>
                    <p:nvPr/>
                  </p:nvSpPr>
                  <p:spPr>
                    <a:xfrm>
                      <a:off x="4513721" y="3133641"/>
                      <a:ext cx="325731" cy="25928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0</a:t>
                      </a:r>
                    </a:p>
                  </p:txBody>
                </p:sp>
                <p:sp>
                  <p:nvSpPr>
                    <p:cNvPr id="28" name="TextBox 3217">
                      <a:extLst>
                        <a:ext uri="{FF2B5EF4-FFF2-40B4-BE49-F238E27FC236}">
                          <a16:creationId xmlns:a16="http://schemas.microsoft.com/office/drawing/2014/main" id="{A2BEE407-2680-F31B-29C6-C229105801F8}"/>
                        </a:ext>
                      </a:extLst>
                    </p:cNvPr>
                    <p:cNvSpPr txBox="1"/>
                    <p:nvPr/>
                  </p:nvSpPr>
                  <p:spPr>
                    <a:xfrm>
                      <a:off x="4513721" y="3384771"/>
                      <a:ext cx="325731" cy="25928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p:txBody>
                </p:sp>
                <p:sp>
                  <p:nvSpPr>
                    <p:cNvPr id="29" name="TextBox 3218">
                      <a:extLst>
                        <a:ext uri="{FF2B5EF4-FFF2-40B4-BE49-F238E27FC236}">
                          <a16:creationId xmlns:a16="http://schemas.microsoft.com/office/drawing/2014/main" id="{61814658-65E9-F62F-EF86-65B7003D7532}"/>
                        </a:ext>
                      </a:extLst>
                    </p:cNvPr>
                    <p:cNvSpPr txBox="1"/>
                    <p:nvPr/>
                  </p:nvSpPr>
                  <p:spPr>
                    <a:xfrm>
                      <a:off x="4513721" y="3635903"/>
                      <a:ext cx="325731" cy="25928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a:t>
                      </a:r>
                    </a:p>
                  </p:txBody>
                </p:sp>
                <p:sp>
                  <p:nvSpPr>
                    <p:cNvPr id="30" name="TextBox 3219">
                      <a:extLst>
                        <a:ext uri="{FF2B5EF4-FFF2-40B4-BE49-F238E27FC236}">
                          <a16:creationId xmlns:a16="http://schemas.microsoft.com/office/drawing/2014/main" id="{2B490FFA-C970-6BD5-B515-AE81BC46FC5B}"/>
                        </a:ext>
                      </a:extLst>
                    </p:cNvPr>
                    <p:cNvSpPr txBox="1"/>
                    <p:nvPr/>
                  </p:nvSpPr>
                  <p:spPr>
                    <a:xfrm>
                      <a:off x="4513721" y="3887035"/>
                      <a:ext cx="325731" cy="25928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p:txBody>
                </p:sp>
                <p:sp>
                  <p:nvSpPr>
                    <p:cNvPr id="31" name="TextBox 3220">
                      <a:extLst>
                        <a:ext uri="{FF2B5EF4-FFF2-40B4-BE49-F238E27FC236}">
                          <a16:creationId xmlns:a16="http://schemas.microsoft.com/office/drawing/2014/main" id="{F6CC0FF8-E082-555C-2873-0D98B2EE4706}"/>
                        </a:ext>
                      </a:extLst>
                    </p:cNvPr>
                    <p:cNvSpPr txBox="1"/>
                    <p:nvPr/>
                  </p:nvSpPr>
                  <p:spPr>
                    <a:xfrm>
                      <a:off x="4513721" y="4138166"/>
                      <a:ext cx="325731" cy="25928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a:t>
                      </a:r>
                    </a:p>
                  </p:txBody>
                </p:sp>
                <p:sp>
                  <p:nvSpPr>
                    <p:cNvPr id="32" name="TextBox 3221">
                      <a:extLst>
                        <a:ext uri="{FF2B5EF4-FFF2-40B4-BE49-F238E27FC236}">
                          <a16:creationId xmlns:a16="http://schemas.microsoft.com/office/drawing/2014/main" id="{A3EEC6A9-8EF6-2847-40C2-F5B6218B7C17}"/>
                        </a:ext>
                      </a:extLst>
                    </p:cNvPr>
                    <p:cNvSpPr txBox="1"/>
                    <p:nvPr/>
                  </p:nvSpPr>
                  <p:spPr>
                    <a:xfrm>
                      <a:off x="4584253" y="4389302"/>
                      <a:ext cx="255199" cy="25928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grpSp>
            </p:grpSp>
            <p:sp>
              <p:nvSpPr>
                <p:cNvPr id="20" name="Rectangle 110">
                  <a:extLst>
                    <a:ext uri="{FF2B5EF4-FFF2-40B4-BE49-F238E27FC236}">
                      <a16:creationId xmlns:a16="http://schemas.microsoft.com/office/drawing/2014/main" id="{A92841DA-8003-0946-E7C0-A1735F5B1B5E}"/>
                    </a:ext>
                  </a:extLst>
                </p:cNvPr>
                <p:cNvSpPr>
                  <a:spLocks noChangeArrowheads="1"/>
                </p:cNvSpPr>
                <p:nvPr/>
              </p:nvSpPr>
              <p:spPr bwMode="auto">
                <a:xfrm rot="16200000">
                  <a:off x="5745995" y="2958527"/>
                  <a:ext cx="1019987" cy="436311"/>
                </a:xfrm>
                <a:prstGeom prst="rect">
                  <a:avLst/>
                </a:prstGeom>
                <a:solidFill>
                  <a:schemeClr val="bg1"/>
                </a:solidFill>
                <a:ln>
                  <a:noFill/>
                </a:ln>
              </p:spPr>
              <p:txBody>
                <a:bodyPr vert="horz" wrap="square" lIns="48000" tIns="0" rIns="48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a:t>
                  </a:r>
                </a:p>
              </p:txBody>
            </p:sp>
          </p:grpSp>
        </p:grpSp>
        <p:sp>
          <p:nvSpPr>
            <p:cNvPr id="38" name="Rectangle 352">
              <a:extLst>
                <a:ext uri="{FF2B5EF4-FFF2-40B4-BE49-F238E27FC236}">
                  <a16:creationId xmlns:a16="http://schemas.microsoft.com/office/drawing/2014/main" id="{5155C79B-EDA9-2CF8-4837-FFF508ED1334}"/>
                </a:ext>
              </a:extLst>
            </p:cNvPr>
            <p:cNvSpPr>
              <a:spLocks noChangeArrowheads="1"/>
            </p:cNvSpPr>
            <p:nvPr/>
          </p:nvSpPr>
          <p:spPr bwMode="auto">
            <a:xfrm>
              <a:off x="5233998" y="4154607"/>
              <a:ext cx="81913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1F4668"/>
                  </a:solidFill>
                  <a:effectLst/>
                  <a:uLnTx/>
                  <a:uFillTx/>
                  <a:latin typeface="Arial" panose="020B0604020202020204" pitchFamily="34" charset="0"/>
                  <a:ea typeface="+mn-ea"/>
                  <a:cs typeface="Arial" panose="020B0604020202020204" pitchFamily="34" charset="0"/>
                </a:rPr>
                <a:t>Placebo +</a:t>
              </a:r>
              <a:r>
                <a:rPr kumimoji="0" lang="en-US" sz="1000" b="1" i="0" u="none" strike="noStrike" kern="0" cap="none" spc="0" normalizeH="0" baseline="0" noProof="0" dirty="0" err="1">
                  <a:ln>
                    <a:noFill/>
                  </a:ln>
                  <a:solidFill>
                    <a:srgbClr val="1F4668"/>
                  </a:solidFill>
                  <a:effectLst/>
                  <a:uLnTx/>
                  <a:uFillTx/>
                  <a:latin typeface="Arial" panose="020B0604020202020204" pitchFamily="34" charset="0"/>
                  <a:ea typeface="+mn-ea"/>
                  <a:cs typeface="Arial" panose="020B0604020202020204" pitchFamily="34" charset="0"/>
                </a:rPr>
                <a:t>bev</a:t>
              </a:r>
              <a:endParaRPr kumimoji="0" lang="en-US" sz="1000" b="1" i="0" u="none" strike="noStrike" kern="0" cap="none" spc="0" normalizeH="0" baseline="0" noProof="0" dirty="0">
                <a:ln>
                  <a:noFill/>
                </a:ln>
                <a:solidFill>
                  <a:srgbClr val="1F4668"/>
                </a:solidFill>
                <a:effectLst/>
                <a:uLnTx/>
                <a:uFillTx/>
                <a:latin typeface="Arial" panose="020B0604020202020204" pitchFamily="34" charset="0"/>
                <a:ea typeface="+mn-ea"/>
                <a:cs typeface="Arial" panose="020B0604020202020204" pitchFamily="34" charset="0"/>
              </a:endParaRPr>
            </a:p>
          </p:txBody>
        </p:sp>
        <p:sp>
          <p:nvSpPr>
            <p:cNvPr id="39" name="Rectangle 352">
              <a:extLst>
                <a:ext uri="{FF2B5EF4-FFF2-40B4-BE49-F238E27FC236}">
                  <a16:creationId xmlns:a16="http://schemas.microsoft.com/office/drawing/2014/main" id="{87ECAC6F-989F-BDDB-2899-C45E6FC5092F}"/>
                </a:ext>
              </a:extLst>
            </p:cNvPr>
            <p:cNvSpPr>
              <a:spLocks noChangeArrowheads="1"/>
            </p:cNvSpPr>
            <p:nvPr/>
          </p:nvSpPr>
          <p:spPr bwMode="auto">
            <a:xfrm>
              <a:off x="6657275" y="3364237"/>
              <a:ext cx="88325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8F244F"/>
                  </a:solidFill>
                  <a:effectLst/>
                  <a:uLnTx/>
                  <a:uFillTx/>
                  <a:latin typeface="Arial" panose="020B0604020202020204" pitchFamily="34" charset="0"/>
                  <a:ea typeface="+mn-ea"/>
                  <a:cs typeface="Arial" panose="020B0604020202020204" pitchFamily="34" charset="0"/>
                </a:rPr>
                <a:t>Olaparib + </a:t>
              </a:r>
              <a:r>
                <a:rPr kumimoji="0" lang="en-US" sz="1000" b="1" i="0" u="none" strike="noStrike" kern="0" cap="none" spc="0" normalizeH="0" baseline="0" noProof="0" dirty="0" err="1">
                  <a:ln>
                    <a:noFill/>
                  </a:ln>
                  <a:solidFill>
                    <a:srgbClr val="8F244F"/>
                  </a:solidFill>
                  <a:effectLst/>
                  <a:uLnTx/>
                  <a:uFillTx/>
                  <a:latin typeface="Arial" panose="020B0604020202020204" pitchFamily="34" charset="0"/>
                  <a:ea typeface="+mn-ea"/>
                  <a:cs typeface="Arial" panose="020B0604020202020204" pitchFamily="34" charset="0"/>
                </a:rPr>
                <a:t>bev</a:t>
              </a:r>
              <a:endParaRPr kumimoji="0" lang="en-US" sz="1000" b="1" i="0" u="none" strike="noStrike" kern="0" cap="none" spc="0" normalizeH="0" baseline="0" noProof="0" dirty="0">
                <a:ln>
                  <a:noFill/>
                </a:ln>
                <a:solidFill>
                  <a:srgbClr val="8F244F"/>
                </a:solidFill>
                <a:effectLst/>
                <a:uLnTx/>
                <a:uFillTx/>
                <a:latin typeface="Arial" panose="020B0604020202020204" pitchFamily="34" charset="0"/>
                <a:ea typeface="+mn-ea"/>
                <a:cs typeface="Arial" panose="020B0604020202020204" pitchFamily="34" charset="0"/>
              </a:endParaRPr>
            </a:p>
          </p:txBody>
        </p:sp>
        <p:sp>
          <p:nvSpPr>
            <p:cNvPr id="46" name="TextBox 3249">
              <a:extLst>
                <a:ext uri="{FF2B5EF4-FFF2-40B4-BE49-F238E27FC236}">
                  <a16:creationId xmlns:a16="http://schemas.microsoft.com/office/drawing/2014/main" id="{25F9EDED-5265-F02B-9E01-F06692A727CA}"/>
                </a:ext>
              </a:extLst>
            </p:cNvPr>
            <p:cNvSpPr txBox="1"/>
            <p:nvPr/>
          </p:nvSpPr>
          <p:spPr>
            <a:xfrm>
              <a:off x="5233466" y="2217657"/>
              <a:ext cx="2215021" cy="307777"/>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zard ratio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43</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28-0.66)</a:t>
              </a:r>
            </a:p>
          </p:txBody>
        </p:sp>
        <p:grpSp>
          <p:nvGrpSpPr>
            <p:cNvPr id="36" name="Group 35">
              <a:extLst>
                <a:ext uri="{FF2B5EF4-FFF2-40B4-BE49-F238E27FC236}">
                  <a16:creationId xmlns:a16="http://schemas.microsoft.com/office/drawing/2014/main" id="{37FB69D1-BAF9-633E-87E9-6D9CA1B3FE1C}"/>
                </a:ext>
              </a:extLst>
            </p:cNvPr>
            <p:cNvGrpSpPr/>
            <p:nvPr/>
          </p:nvGrpSpPr>
          <p:grpSpPr>
            <a:xfrm>
              <a:off x="4411410" y="2410417"/>
              <a:ext cx="45719" cy="2383878"/>
              <a:chOff x="672531" y="2251208"/>
              <a:chExt cx="49830" cy="2518364"/>
            </a:xfrm>
          </p:grpSpPr>
          <p:sp>
            <p:nvSpPr>
              <p:cNvPr id="51" name="Line 6">
                <a:extLst>
                  <a:ext uri="{FF2B5EF4-FFF2-40B4-BE49-F238E27FC236}">
                    <a16:creationId xmlns:a16="http://schemas.microsoft.com/office/drawing/2014/main" id="{02085C99-05E4-DA1C-DD69-3CAD47136D4A}"/>
                  </a:ext>
                </a:extLst>
              </p:cNvPr>
              <p:cNvSpPr>
                <a:spLocks noChangeShapeType="1"/>
              </p:cNvSpPr>
              <p:nvPr/>
            </p:nvSpPr>
            <p:spPr bwMode="auto">
              <a:xfrm flipH="1">
                <a:off x="672531" y="4769572"/>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2" name="Line 7">
                <a:extLst>
                  <a:ext uri="{FF2B5EF4-FFF2-40B4-BE49-F238E27FC236}">
                    <a16:creationId xmlns:a16="http://schemas.microsoft.com/office/drawing/2014/main" id="{112BE3BA-2A38-136A-F72A-743CA1DC6824}"/>
                  </a:ext>
                </a:extLst>
              </p:cNvPr>
              <p:cNvSpPr>
                <a:spLocks noChangeShapeType="1"/>
              </p:cNvSpPr>
              <p:nvPr/>
            </p:nvSpPr>
            <p:spPr bwMode="auto">
              <a:xfrm flipH="1">
                <a:off x="672531" y="4265900"/>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3" name="Line 8">
                <a:extLst>
                  <a:ext uri="{FF2B5EF4-FFF2-40B4-BE49-F238E27FC236}">
                    <a16:creationId xmlns:a16="http://schemas.microsoft.com/office/drawing/2014/main" id="{24EC36A0-8C3A-A0B0-7C15-A51D5A2C39EE}"/>
                  </a:ext>
                </a:extLst>
              </p:cNvPr>
              <p:cNvSpPr>
                <a:spLocks noChangeShapeType="1"/>
              </p:cNvSpPr>
              <p:nvPr/>
            </p:nvSpPr>
            <p:spPr bwMode="auto">
              <a:xfrm flipH="1">
                <a:off x="672531" y="3762227"/>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4" name="Line 9">
                <a:extLst>
                  <a:ext uri="{FF2B5EF4-FFF2-40B4-BE49-F238E27FC236}">
                    <a16:creationId xmlns:a16="http://schemas.microsoft.com/office/drawing/2014/main" id="{3F88D9A3-BCE1-2701-BBC4-C3076013AC2E}"/>
                  </a:ext>
                </a:extLst>
              </p:cNvPr>
              <p:cNvSpPr>
                <a:spLocks noChangeShapeType="1"/>
              </p:cNvSpPr>
              <p:nvPr/>
            </p:nvSpPr>
            <p:spPr bwMode="auto">
              <a:xfrm flipH="1">
                <a:off x="672531" y="3258553"/>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5" name="Line 10">
                <a:extLst>
                  <a:ext uri="{FF2B5EF4-FFF2-40B4-BE49-F238E27FC236}">
                    <a16:creationId xmlns:a16="http://schemas.microsoft.com/office/drawing/2014/main" id="{FDFFEF5A-A7E9-0079-4BD2-6E428A8DE08B}"/>
                  </a:ext>
                </a:extLst>
              </p:cNvPr>
              <p:cNvSpPr>
                <a:spLocks noChangeShapeType="1"/>
              </p:cNvSpPr>
              <p:nvPr/>
            </p:nvSpPr>
            <p:spPr bwMode="auto">
              <a:xfrm flipH="1">
                <a:off x="672531" y="2754881"/>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6" name="Line 11">
                <a:extLst>
                  <a:ext uri="{FF2B5EF4-FFF2-40B4-BE49-F238E27FC236}">
                    <a16:creationId xmlns:a16="http://schemas.microsoft.com/office/drawing/2014/main" id="{E115316F-C6C3-AEB7-EF35-8ECA9D20739A}"/>
                  </a:ext>
                </a:extLst>
              </p:cNvPr>
              <p:cNvSpPr>
                <a:spLocks noChangeShapeType="1"/>
              </p:cNvSpPr>
              <p:nvPr/>
            </p:nvSpPr>
            <p:spPr bwMode="auto">
              <a:xfrm flipH="1">
                <a:off x="672531" y="2251208"/>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7" name="Line 6">
                <a:extLst>
                  <a:ext uri="{FF2B5EF4-FFF2-40B4-BE49-F238E27FC236}">
                    <a16:creationId xmlns:a16="http://schemas.microsoft.com/office/drawing/2014/main" id="{15A0E966-3A5D-F5CC-D21B-459618B0759B}"/>
                  </a:ext>
                </a:extLst>
              </p:cNvPr>
              <p:cNvSpPr>
                <a:spLocks noChangeShapeType="1"/>
              </p:cNvSpPr>
              <p:nvPr/>
            </p:nvSpPr>
            <p:spPr bwMode="auto">
              <a:xfrm flipH="1">
                <a:off x="672531" y="4517736"/>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8" name="Line 6">
                <a:extLst>
                  <a:ext uri="{FF2B5EF4-FFF2-40B4-BE49-F238E27FC236}">
                    <a16:creationId xmlns:a16="http://schemas.microsoft.com/office/drawing/2014/main" id="{AC43B785-D251-9D13-495F-F9FB5DA93463}"/>
                  </a:ext>
                </a:extLst>
              </p:cNvPr>
              <p:cNvSpPr>
                <a:spLocks noChangeShapeType="1"/>
              </p:cNvSpPr>
              <p:nvPr/>
            </p:nvSpPr>
            <p:spPr bwMode="auto">
              <a:xfrm flipH="1">
                <a:off x="672531" y="4014063"/>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59" name="Line 6">
                <a:extLst>
                  <a:ext uri="{FF2B5EF4-FFF2-40B4-BE49-F238E27FC236}">
                    <a16:creationId xmlns:a16="http://schemas.microsoft.com/office/drawing/2014/main" id="{3A2594F2-793C-3EA3-E608-E25F27B084C6}"/>
                  </a:ext>
                </a:extLst>
              </p:cNvPr>
              <p:cNvSpPr>
                <a:spLocks noChangeShapeType="1"/>
              </p:cNvSpPr>
              <p:nvPr/>
            </p:nvSpPr>
            <p:spPr bwMode="auto">
              <a:xfrm flipH="1">
                <a:off x="672531" y="3006717"/>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0" name="Line 6">
                <a:extLst>
                  <a:ext uri="{FF2B5EF4-FFF2-40B4-BE49-F238E27FC236}">
                    <a16:creationId xmlns:a16="http://schemas.microsoft.com/office/drawing/2014/main" id="{73AE0DEE-546C-F1F9-7D36-94339E801C99}"/>
                  </a:ext>
                </a:extLst>
              </p:cNvPr>
              <p:cNvSpPr>
                <a:spLocks noChangeShapeType="1"/>
              </p:cNvSpPr>
              <p:nvPr/>
            </p:nvSpPr>
            <p:spPr bwMode="auto">
              <a:xfrm flipH="1">
                <a:off x="672531" y="2503044"/>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1" name="Line 6">
                <a:extLst>
                  <a:ext uri="{FF2B5EF4-FFF2-40B4-BE49-F238E27FC236}">
                    <a16:creationId xmlns:a16="http://schemas.microsoft.com/office/drawing/2014/main" id="{5590EFCF-7A29-80DE-6921-F796390E88E6}"/>
                  </a:ext>
                </a:extLst>
              </p:cNvPr>
              <p:cNvSpPr>
                <a:spLocks noChangeShapeType="1"/>
              </p:cNvSpPr>
              <p:nvPr/>
            </p:nvSpPr>
            <p:spPr bwMode="auto">
              <a:xfrm flipH="1">
                <a:off x="672531" y="3510391"/>
                <a:ext cx="49830"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grpSp>
      </p:grpSp>
      <p:sp>
        <p:nvSpPr>
          <p:cNvPr id="558" name="TextBox 557">
            <a:extLst>
              <a:ext uri="{FF2B5EF4-FFF2-40B4-BE49-F238E27FC236}">
                <a16:creationId xmlns:a16="http://schemas.microsoft.com/office/drawing/2014/main" id="{F6D1D9D3-8180-6385-2DBC-9A15C4A67E10}"/>
              </a:ext>
            </a:extLst>
          </p:cNvPr>
          <p:cNvSpPr txBox="1"/>
          <p:nvPr/>
        </p:nvSpPr>
        <p:spPr>
          <a:xfrm>
            <a:off x="4779033" y="1965949"/>
            <a:ext cx="2412689"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oundationOne</a:t>
            </a: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Dx</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igh LOH</a:t>
            </a:r>
          </a:p>
        </p:txBody>
      </p:sp>
      <p:sp>
        <p:nvSpPr>
          <p:cNvPr id="559" name="Rectangle 110">
            <a:extLst>
              <a:ext uri="{FF2B5EF4-FFF2-40B4-BE49-F238E27FC236}">
                <a16:creationId xmlns:a16="http://schemas.microsoft.com/office/drawing/2014/main" id="{B20C44F3-AB33-6F98-55D9-1A583DDAFE60}"/>
              </a:ext>
            </a:extLst>
          </p:cNvPr>
          <p:cNvSpPr>
            <a:spLocks noChangeArrowheads="1"/>
          </p:cNvSpPr>
          <p:nvPr/>
        </p:nvSpPr>
        <p:spPr bwMode="auto">
          <a:xfrm rot="16200000">
            <a:off x="2953918" y="3479535"/>
            <a:ext cx="1828389" cy="507831"/>
          </a:xfrm>
          <a:prstGeom prst="rect">
            <a:avLst/>
          </a:prstGeom>
          <a:solidFill>
            <a:schemeClr val="bg1"/>
          </a:solidFill>
          <a:ln>
            <a:noFill/>
          </a:ln>
        </p:spPr>
        <p:txBody>
          <a:bodyPr vert="horz" wrap="square" lIns="48000" tIns="0" rIns="48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a:t>
            </a:r>
          </a:p>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2" name="Rectangle 110">
            <a:extLst>
              <a:ext uri="{FF2B5EF4-FFF2-40B4-BE49-F238E27FC236}">
                <a16:creationId xmlns:a16="http://schemas.microsoft.com/office/drawing/2014/main" id="{EC3F2D1B-44B6-67C5-732F-7132414BD416}"/>
              </a:ext>
            </a:extLst>
          </p:cNvPr>
          <p:cNvSpPr>
            <a:spLocks noChangeArrowheads="1"/>
          </p:cNvSpPr>
          <p:nvPr/>
        </p:nvSpPr>
        <p:spPr bwMode="auto">
          <a:xfrm>
            <a:off x="5622885" y="2429496"/>
            <a:ext cx="2436020" cy="677108"/>
          </a:xfrm>
          <a:prstGeom prst="rect">
            <a:avLst/>
          </a:prstGeom>
          <a:solidFill>
            <a:schemeClr val="bg1"/>
          </a:solidFill>
          <a:ln>
            <a:noFill/>
          </a:ln>
        </p:spPr>
        <p:txBody>
          <a:bodyPr vert="horz" wrap="square" lIns="48000" tIns="0" rIns="48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3" name="Rectangle 352">
            <a:extLst>
              <a:ext uri="{FF2B5EF4-FFF2-40B4-BE49-F238E27FC236}">
                <a16:creationId xmlns:a16="http://schemas.microsoft.com/office/drawing/2014/main" id="{57378AFE-F648-518B-18E3-5F25AAAFF6ED}"/>
              </a:ext>
            </a:extLst>
          </p:cNvPr>
          <p:cNvSpPr>
            <a:spLocks noChangeArrowheads="1"/>
          </p:cNvSpPr>
          <p:nvPr/>
        </p:nvSpPr>
        <p:spPr bwMode="auto">
          <a:xfrm>
            <a:off x="6467476" y="4391285"/>
            <a:ext cx="4889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Placebo</a:t>
            </a:r>
          </a:p>
        </p:txBody>
      </p:sp>
      <p:sp>
        <p:nvSpPr>
          <p:cNvPr id="564" name="Rectangle 352">
            <a:extLst>
              <a:ext uri="{FF2B5EF4-FFF2-40B4-BE49-F238E27FC236}">
                <a16:creationId xmlns:a16="http://schemas.microsoft.com/office/drawing/2014/main" id="{9B75E86B-C3C2-0E5F-89A2-04981B285724}"/>
              </a:ext>
            </a:extLst>
          </p:cNvPr>
          <p:cNvSpPr>
            <a:spLocks noChangeArrowheads="1"/>
          </p:cNvSpPr>
          <p:nvPr/>
        </p:nvSpPr>
        <p:spPr bwMode="auto">
          <a:xfrm>
            <a:off x="6861382" y="3716175"/>
            <a:ext cx="625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C4D600"/>
                </a:solidFill>
                <a:effectLst/>
                <a:uLnTx/>
                <a:uFillTx/>
                <a:latin typeface="Arial" panose="020B0604020202020204" pitchFamily="34" charset="0"/>
                <a:ea typeface="+mn-ea"/>
                <a:cs typeface="Arial" panose="020B0604020202020204" pitchFamily="34" charset="0"/>
              </a:rPr>
              <a:t>Rucaparib</a:t>
            </a:r>
          </a:p>
        </p:txBody>
      </p:sp>
      <p:sp>
        <p:nvSpPr>
          <p:cNvPr id="565" name="Rectangle 19">
            <a:extLst>
              <a:ext uri="{FF2B5EF4-FFF2-40B4-BE49-F238E27FC236}">
                <a16:creationId xmlns:a16="http://schemas.microsoft.com/office/drawing/2014/main" id="{7E87304D-46FC-DD5E-481A-B92E1300D70D}"/>
              </a:ext>
            </a:extLst>
          </p:cNvPr>
          <p:cNvSpPr>
            <a:spLocks noChangeArrowheads="1"/>
          </p:cNvSpPr>
          <p:nvPr/>
        </p:nvSpPr>
        <p:spPr bwMode="auto">
          <a:xfrm>
            <a:off x="5126066" y="5316670"/>
            <a:ext cx="2036423" cy="153888"/>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nths since </a:t>
            </a:r>
            <a:r>
              <a:rPr kumimoji="0" lang="en-US" sz="1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ndomisation</a:t>
            </a: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6" name="TextBox 3249">
            <a:extLst>
              <a:ext uri="{FF2B5EF4-FFF2-40B4-BE49-F238E27FC236}">
                <a16:creationId xmlns:a16="http://schemas.microsoft.com/office/drawing/2014/main" id="{BF59B0AB-0795-78F4-F606-320B8DCC7051}"/>
              </a:ext>
            </a:extLst>
          </p:cNvPr>
          <p:cNvSpPr txBox="1"/>
          <p:nvPr/>
        </p:nvSpPr>
        <p:spPr>
          <a:xfrm>
            <a:off x="5416105" y="2398720"/>
            <a:ext cx="2215019" cy="307777"/>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zard ratio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58</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33-1.01)</a:t>
            </a:r>
          </a:p>
        </p:txBody>
      </p:sp>
      <p:sp>
        <p:nvSpPr>
          <p:cNvPr id="567" name="Rectangle 110">
            <a:extLst>
              <a:ext uri="{FF2B5EF4-FFF2-40B4-BE49-F238E27FC236}">
                <a16:creationId xmlns:a16="http://schemas.microsoft.com/office/drawing/2014/main" id="{02017536-FD1B-7846-295A-8E24E156F0BD}"/>
              </a:ext>
            </a:extLst>
          </p:cNvPr>
          <p:cNvSpPr>
            <a:spLocks noChangeArrowheads="1"/>
          </p:cNvSpPr>
          <p:nvPr/>
        </p:nvSpPr>
        <p:spPr bwMode="auto">
          <a:xfrm rot="16200000">
            <a:off x="2946446" y="3470035"/>
            <a:ext cx="1809391" cy="507831"/>
          </a:xfrm>
          <a:prstGeom prst="rect">
            <a:avLst/>
          </a:prstGeom>
          <a:solidFill>
            <a:schemeClr val="bg1"/>
          </a:solidFill>
          <a:ln>
            <a:noFill/>
          </a:ln>
        </p:spPr>
        <p:txBody>
          <a:bodyPr vert="horz" wrap="square" lIns="48000" tIns="0" rIns="48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a:t>
            </a:r>
          </a:p>
        </p:txBody>
      </p:sp>
      <p:sp>
        <p:nvSpPr>
          <p:cNvPr id="568" name="TextBox 567">
            <a:extLst>
              <a:ext uri="{FF2B5EF4-FFF2-40B4-BE49-F238E27FC236}">
                <a16:creationId xmlns:a16="http://schemas.microsoft.com/office/drawing/2014/main" id="{203DA6D0-80DE-C830-15AB-4B9889404007}"/>
              </a:ext>
            </a:extLst>
          </p:cNvPr>
          <p:cNvSpPr txBox="1"/>
          <p:nvPr/>
        </p:nvSpPr>
        <p:spPr>
          <a:xfrm>
            <a:off x="3541206" y="5378474"/>
            <a:ext cx="1048903" cy="174851"/>
          </a:xfrm>
          <a:prstGeom prst="rect">
            <a:avLst/>
          </a:prstGeom>
          <a:solidFill>
            <a:schemeClr val="bg1"/>
          </a:solidFill>
        </p:spPr>
        <p:txBody>
          <a:bodyPr wrap="square" lIns="36000" tIns="36000" rIns="3600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p:txBody>
      </p:sp>
      <p:cxnSp>
        <p:nvCxnSpPr>
          <p:cNvPr id="569" name="Connector: Elbow 568">
            <a:extLst>
              <a:ext uri="{FF2B5EF4-FFF2-40B4-BE49-F238E27FC236}">
                <a16:creationId xmlns:a16="http://schemas.microsoft.com/office/drawing/2014/main" id="{CDC5F994-41C4-70E9-AB58-6747A6730CAB}"/>
              </a:ext>
            </a:extLst>
          </p:cNvPr>
          <p:cNvCxnSpPr>
            <a:cxnSpLocks/>
          </p:cNvCxnSpPr>
          <p:nvPr/>
        </p:nvCxnSpPr>
        <p:spPr>
          <a:xfrm rot="5400000">
            <a:off x="5633168" y="3381208"/>
            <a:ext cx="4746897" cy="242085"/>
          </a:xfrm>
          <a:prstGeom prst="bentConnector3">
            <a:avLst>
              <a:gd name="adj1" fmla="val 86238"/>
            </a:avLst>
          </a:pr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0C0A8A7-D9C4-EA79-FA7A-592280E608E3}"/>
              </a:ext>
            </a:extLst>
          </p:cNvPr>
          <p:cNvSpPr txBox="1"/>
          <p:nvPr/>
        </p:nvSpPr>
        <p:spPr>
          <a:xfrm>
            <a:off x="2037031" y="1186005"/>
            <a:ext cx="4716856" cy="3385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ptos" panose="02110004020202020204"/>
                <a:ea typeface="+mn-ea"/>
                <a:cs typeface="+mn-cs"/>
              </a:rPr>
              <a:t>PARPi</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monotherapy </a:t>
            </a:r>
            <a:r>
              <a:rPr kumimoji="0" lang="en-US" sz="1600" b="1" i="1" u="none" strike="noStrike" kern="1200" cap="none" spc="0" normalizeH="0" baseline="0" noProof="0" dirty="0">
                <a:ln>
                  <a:noFill/>
                </a:ln>
                <a:solidFill>
                  <a:prstClr val="black"/>
                </a:solidFill>
                <a:effectLst/>
                <a:uLnTx/>
                <a:uFillTx/>
                <a:latin typeface="Aptos" panose="02110004020202020204"/>
                <a:ea typeface="+mn-ea"/>
                <a:cs typeface="+mn-cs"/>
              </a:rPr>
              <a:t>versus</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watch and wait</a:t>
            </a:r>
          </a:p>
        </p:txBody>
      </p:sp>
      <p:sp>
        <p:nvSpPr>
          <p:cNvPr id="9" name="TextBox 8">
            <a:extLst>
              <a:ext uri="{FF2B5EF4-FFF2-40B4-BE49-F238E27FC236}">
                <a16:creationId xmlns:a16="http://schemas.microsoft.com/office/drawing/2014/main" id="{999BAAE5-02CB-3A4D-79EB-801CAE3605EC}"/>
              </a:ext>
            </a:extLst>
          </p:cNvPr>
          <p:cNvSpPr txBox="1"/>
          <p:nvPr/>
        </p:nvSpPr>
        <p:spPr>
          <a:xfrm>
            <a:off x="8575683" y="1003427"/>
            <a:ext cx="3197383"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Olaparib plus </a:t>
            </a:r>
            <a:r>
              <a:rPr kumimoji="0" lang="en-US" sz="1600" b="1" i="0" u="none" strike="noStrike" kern="1200" cap="none" spc="0" normalizeH="0" baseline="0" noProof="0" dirty="0" err="1">
                <a:ln>
                  <a:noFill/>
                </a:ln>
                <a:solidFill>
                  <a:prstClr val="black"/>
                </a:solidFill>
                <a:effectLst/>
                <a:uLnTx/>
                <a:uFillTx/>
                <a:latin typeface="Aptos" panose="02110004020202020204"/>
                <a:ea typeface="+mn-ea"/>
                <a:cs typeface="+mn-cs"/>
              </a:rPr>
              <a:t>bev</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combination </a:t>
            </a:r>
            <a:r>
              <a:rPr kumimoji="0" lang="en-US" sz="1600" b="1" i="1" u="none" strike="noStrike" kern="1200" cap="none" spc="0" normalizeH="0" baseline="0" noProof="0" dirty="0">
                <a:ln>
                  <a:noFill/>
                </a:ln>
                <a:solidFill>
                  <a:prstClr val="black"/>
                </a:solidFill>
                <a:effectLst/>
                <a:uLnTx/>
                <a:uFillTx/>
                <a:latin typeface="Aptos" panose="02110004020202020204"/>
                <a:ea typeface="+mn-ea"/>
                <a:cs typeface="+mn-cs"/>
              </a:rPr>
              <a:t>versus</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600" b="1" i="0" u="none" strike="noStrike" kern="1200" cap="none" spc="0" normalizeH="0" baseline="0" noProof="0" dirty="0" err="1">
                <a:ln>
                  <a:noFill/>
                </a:ln>
                <a:solidFill>
                  <a:prstClr val="black"/>
                </a:solidFill>
                <a:effectLst/>
                <a:uLnTx/>
                <a:uFillTx/>
                <a:latin typeface="Aptos" panose="02110004020202020204"/>
                <a:ea typeface="+mn-ea"/>
                <a:cs typeface="+mn-cs"/>
              </a:rPr>
              <a:t>bev</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maintenance</a:t>
            </a:r>
          </a:p>
        </p:txBody>
      </p:sp>
    </p:spTree>
    <p:extLst>
      <p:ext uri="{BB962C8B-B14F-4D97-AF65-F5344CB8AC3E}">
        <p14:creationId xmlns:p14="http://schemas.microsoft.com/office/powerpoint/2010/main" val="2801285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464F8E-BACC-79DB-5A49-9B7C1EB3C22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699BAE0-ECED-7A29-43B9-370046992AEC}"/>
              </a:ext>
            </a:extLst>
          </p:cNvPr>
          <p:cNvSpPr>
            <a:spLocks noGrp="1"/>
          </p:cNvSpPr>
          <p:nvPr>
            <p:ph type="title"/>
          </p:nvPr>
        </p:nvSpPr>
        <p:spPr>
          <a:xfrm>
            <a:off x="912286" y="113371"/>
            <a:ext cx="10358967" cy="1143000"/>
          </a:xfrm>
        </p:spPr>
        <p:txBody>
          <a:bodyPr/>
          <a:lstStyle/>
          <a:p>
            <a:pPr algn="l"/>
            <a:r>
              <a:rPr lang="en-US" dirty="0"/>
              <a:t>Olaparib Maintenance Monotherapy for BRCA Wild-Type Advanced Ovarian Cancer: Phase III MONO-OLA1 Study Design</a:t>
            </a:r>
          </a:p>
        </p:txBody>
      </p:sp>
      <p:pic>
        <p:nvPicPr>
          <p:cNvPr id="2" name="Picture 1">
            <a:extLst>
              <a:ext uri="{FF2B5EF4-FFF2-40B4-BE49-F238E27FC236}">
                <a16:creationId xmlns:a16="http://schemas.microsoft.com/office/drawing/2014/main" id="{94833FC4-C595-318F-6125-2A34ED76BD33}"/>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a:xfrm>
            <a:off x="2562381" y="1199550"/>
            <a:ext cx="7058771" cy="2719136"/>
          </a:xfrm>
          <a:prstGeom prst="rect">
            <a:avLst/>
          </a:prstGeom>
        </p:spPr>
      </p:pic>
      <p:pic>
        <p:nvPicPr>
          <p:cNvPr id="4" name="Picture 3">
            <a:extLst>
              <a:ext uri="{FF2B5EF4-FFF2-40B4-BE49-F238E27FC236}">
                <a16:creationId xmlns:a16="http://schemas.microsoft.com/office/drawing/2014/main" id="{0A4C24E7-A3AA-2261-C3D8-6499BBEDDF0E}"/>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3478443" y="4023446"/>
            <a:ext cx="5226649" cy="2719137"/>
          </a:xfrm>
          <a:prstGeom prst="rect">
            <a:avLst/>
          </a:prstGeom>
        </p:spPr>
      </p:pic>
      <p:sp>
        <p:nvSpPr>
          <p:cNvPr id="8" name="TextBox 7">
            <a:extLst>
              <a:ext uri="{FF2B5EF4-FFF2-40B4-BE49-F238E27FC236}">
                <a16:creationId xmlns:a16="http://schemas.microsoft.com/office/drawing/2014/main" id="{EC7D5937-23B2-3386-B522-994B495CDF3C}"/>
              </a:ext>
            </a:extLst>
          </p:cNvPr>
          <p:cNvSpPr txBox="1"/>
          <p:nvPr/>
        </p:nvSpPr>
        <p:spPr>
          <a:xfrm>
            <a:off x="47328" y="6519269"/>
            <a:ext cx="3260060" cy="3231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Saevets</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V et al. SGO 2022;Abstract 334.</a:t>
            </a:r>
          </a:p>
        </p:txBody>
      </p:sp>
    </p:spTree>
    <p:extLst>
      <p:ext uri="{BB962C8B-B14F-4D97-AF65-F5344CB8AC3E}">
        <p14:creationId xmlns:p14="http://schemas.microsoft.com/office/powerpoint/2010/main" val="239012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0A0A6E-0DE3-6B9F-15E9-615B88A0AAF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C4E2DBD-B681-88C5-99DA-72F248B11362}"/>
              </a:ext>
            </a:extLst>
          </p:cNvPr>
          <p:cNvSpPr>
            <a:spLocks noGrp="1"/>
          </p:cNvSpPr>
          <p:nvPr>
            <p:ph type="title"/>
          </p:nvPr>
        </p:nvSpPr>
        <p:spPr>
          <a:xfrm>
            <a:off x="0" y="227013"/>
            <a:ext cx="12192000" cy="1143000"/>
          </a:xfrm>
        </p:spPr>
        <p:txBody>
          <a:bodyPr/>
          <a:lstStyle/>
          <a:p>
            <a:r>
              <a:rPr lang="en-US" dirty="0"/>
              <a:t>One Year of Olaparib or Two? Phase III NRG-GY036 Study Design</a:t>
            </a:r>
          </a:p>
        </p:txBody>
      </p:sp>
      <p:sp>
        <p:nvSpPr>
          <p:cNvPr id="13" name="Rectangle 12">
            <a:extLst>
              <a:ext uri="{FF2B5EF4-FFF2-40B4-BE49-F238E27FC236}">
                <a16:creationId xmlns:a16="http://schemas.microsoft.com/office/drawing/2014/main" id="{752D9F85-A559-E392-2B64-D888AB0E2DFE}"/>
              </a:ext>
            </a:extLst>
          </p:cNvPr>
          <p:cNvSpPr/>
          <p:nvPr/>
        </p:nvSpPr>
        <p:spPr bwMode="auto">
          <a:xfrm>
            <a:off x="191594" y="1832222"/>
            <a:ext cx="2318083" cy="2358255"/>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IGO Stage III-IV fallopian tube, ovarian or primary peritoneal cancer with pathogenic BRCA1/2 mutation (germline or somatic) or homologous recombination deficiency (HRD) after response to initial platinum-based chemotherapy</a:t>
            </a:r>
          </a:p>
        </p:txBody>
      </p:sp>
      <p:sp>
        <p:nvSpPr>
          <p:cNvPr id="15" name="Rectangle 14">
            <a:extLst>
              <a:ext uri="{FF2B5EF4-FFF2-40B4-BE49-F238E27FC236}">
                <a16:creationId xmlns:a16="http://schemas.microsoft.com/office/drawing/2014/main" id="{9DE64986-9209-3A17-5DC5-197B4A324E4B}"/>
              </a:ext>
            </a:extLst>
          </p:cNvPr>
          <p:cNvSpPr/>
          <p:nvPr/>
        </p:nvSpPr>
        <p:spPr bwMode="auto">
          <a:xfrm>
            <a:off x="2599914" y="2390287"/>
            <a:ext cx="4674268" cy="1242124"/>
          </a:xfrm>
          <a:prstGeom prst="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600" b="1" i="0" u="sng"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Step 1 Registration</a:t>
            </a:r>
          </a:p>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Stratify by:</a:t>
            </a:r>
          </a:p>
          <a:p>
            <a:pPr marL="285750" marR="0" lvl="0" indent="-285750" algn="l" defTabSz="457200" rtl="0" eaLnBrk="1" fontAlgn="base" latinLnBrk="0" hangingPunct="0">
              <a:lnSpc>
                <a:spcPct val="93000"/>
              </a:lnSpc>
              <a:spcBef>
                <a:spcPct val="0"/>
              </a:spcBef>
              <a:spcAft>
                <a:spcPct val="0"/>
              </a:spcAft>
              <a:buClr>
                <a:srgbClr val="FFFFFF"/>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BRCA deleterious alterations vs BRCA </a:t>
            </a:r>
            <a:r>
              <a:rPr kumimoji="0" lang="en-US" sz="1600" b="0" i="0" u="none" strike="noStrike" kern="1200" cap="none" spc="0" normalizeH="0" baseline="0" noProof="0" dirty="0" err="1">
                <a:ln>
                  <a:noFill/>
                </a:ln>
                <a:solidFill>
                  <a:srgbClr val="FFFFFF"/>
                </a:solidFill>
                <a:effectLst/>
                <a:uLnTx/>
                <a:uFillTx/>
                <a:latin typeface="Calibri" panose="020F0502020204030204" pitchFamily="34" charset="0"/>
                <a:ea typeface="MS PGothic" charset="0"/>
                <a:cs typeface="Calibri" panose="020F0502020204030204" pitchFamily="34" charset="0"/>
              </a:rPr>
              <a:t>wt</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 </a:t>
            </a:r>
            <a:r>
              <a:rPr kumimoji="0" lang="en-US" sz="1600" b="1" i="0" u="sng"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and</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 HRD+</a:t>
            </a:r>
          </a:p>
          <a:p>
            <a:pPr marL="285750" marR="0" lvl="0" indent="-285750" algn="l" defTabSz="457200" rtl="0" eaLnBrk="1" fontAlgn="base" latinLnBrk="0" hangingPunct="0">
              <a:lnSpc>
                <a:spcPct val="93000"/>
              </a:lnSpc>
              <a:spcBef>
                <a:spcPct val="0"/>
              </a:spcBef>
              <a:spcAft>
                <a:spcPct val="0"/>
              </a:spcAft>
              <a:buClr>
                <a:srgbClr val="FFFFFF"/>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 Bevacizumab (physician’s choice)</a:t>
            </a:r>
          </a:p>
          <a:p>
            <a:pPr marL="285750" marR="0" lvl="0" indent="-285750" algn="l" defTabSz="457200" rtl="0" eaLnBrk="1" fontAlgn="base" latinLnBrk="0" hangingPunct="0">
              <a:lnSpc>
                <a:spcPct val="93000"/>
              </a:lnSpc>
              <a:spcBef>
                <a:spcPct val="0"/>
              </a:spcBef>
              <a:spcAft>
                <a:spcPct val="0"/>
              </a:spcAft>
              <a:buClr>
                <a:srgbClr val="FFFFFF"/>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Response to platinum-based therapy (PR vs CR)</a:t>
            </a:r>
          </a:p>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1600" b="1" i="0" u="sng"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endParaRPr>
          </a:p>
        </p:txBody>
      </p:sp>
      <p:sp>
        <p:nvSpPr>
          <p:cNvPr id="18" name="Rectangle 17">
            <a:extLst>
              <a:ext uri="{FF2B5EF4-FFF2-40B4-BE49-F238E27FC236}">
                <a16:creationId xmlns:a16="http://schemas.microsoft.com/office/drawing/2014/main" id="{64749B9C-E2CD-EB28-8F7D-C8AA310036E2}"/>
              </a:ext>
            </a:extLst>
          </p:cNvPr>
          <p:cNvSpPr/>
          <p:nvPr/>
        </p:nvSpPr>
        <p:spPr bwMode="auto">
          <a:xfrm>
            <a:off x="7955972" y="1832222"/>
            <a:ext cx="4106778" cy="878305"/>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800" b="1" i="0" u="sng"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rm 1</a:t>
            </a:r>
          </a:p>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laparib 300mg twice daily for </a:t>
            </a:r>
            <a:r>
              <a:rPr kumimoji="0" lang="en-US" sz="1800" b="1" i="0" u="sng"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WO</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years</a:t>
            </a:r>
          </a:p>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Bevacizumab*</a:t>
            </a:r>
          </a:p>
        </p:txBody>
      </p:sp>
      <p:sp>
        <p:nvSpPr>
          <p:cNvPr id="19" name="Rectangle 18">
            <a:extLst>
              <a:ext uri="{FF2B5EF4-FFF2-40B4-BE49-F238E27FC236}">
                <a16:creationId xmlns:a16="http://schemas.microsoft.com/office/drawing/2014/main" id="{C9121D65-8B1E-0CD6-0415-8D3E2CB774D5}"/>
              </a:ext>
            </a:extLst>
          </p:cNvPr>
          <p:cNvSpPr/>
          <p:nvPr/>
        </p:nvSpPr>
        <p:spPr bwMode="auto">
          <a:xfrm>
            <a:off x="7955972" y="3308902"/>
            <a:ext cx="4106778" cy="878305"/>
          </a:xfrm>
          <a:prstGeom prst="rect">
            <a:avLst/>
          </a:prstGeom>
          <a:solidFill>
            <a:schemeClr val="accent6">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800" b="1" i="0" u="sng"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rm 2</a:t>
            </a:r>
          </a:p>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laparib 300mg twice daily for </a:t>
            </a:r>
            <a:r>
              <a:rPr kumimoji="0" lang="en-US" sz="1800" b="1" i="0" u="sng"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NE</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year</a:t>
            </a:r>
          </a:p>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Bevacizumab*</a:t>
            </a:r>
          </a:p>
        </p:txBody>
      </p:sp>
      <p:sp>
        <p:nvSpPr>
          <p:cNvPr id="20" name="TextBox 19">
            <a:extLst>
              <a:ext uri="{FF2B5EF4-FFF2-40B4-BE49-F238E27FC236}">
                <a16:creationId xmlns:a16="http://schemas.microsoft.com/office/drawing/2014/main" id="{55D36A0F-AA1D-766B-1DCD-676E8B2688F6}"/>
              </a:ext>
            </a:extLst>
          </p:cNvPr>
          <p:cNvSpPr txBox="1"/>
          <p:nvPr/>
        </p:nvSpPr>
        <p:spPr>
          <a:xfrm>
            <a:off x="7955973" y="4187207"/>
            <a:ext cx="4106778" cy="64633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S PGothic" charset="0"/>
                <a:cs typeface="+mn-cs"/>
              </a:rPr>
              <a:t>*21-day cycle length. Bevacizumab (reference product or biosimilar) treatment will be stopped at the completion of the first year of treatment in both arms. </a:t>
            </a:r>
          </a:p>
        </p:txBody>
      </p:sp>
      <p:cxnSp>
        <p:nvCxnSpPr>
          <p:cNvPr id="22" name="Elbow Connector 21">
            <a:extLst>
              <a:ext uri="{FF2B5EF4-FFF2-40B4-BE49-F238E27FC236}">
                <a16:creationId xmlns:a16="http://schemas.microsoft.com/office/drawing/2014/main" id="{C1D91AFB-3F1F-0E59-7503-595A3BB6FE14}"/>
              </a:ext>
            </a:extLst>
          </p:cNvPr>
          <p:cNvCxnSpPr>
            <a:stCxn id="15" idx="3"/>
            <a:endCxn id="18" idx="1"/>
          </p:cNvCxnSpPr>
          <p:nvPr/>
        </p:nvCxnSpPr>
        <p:spPr bwMode="auto">
          <a:xfrm flipV="1">
            <a:off x="7274182" y="2271375"/>
            <a:ext cx="681790" cy="739974"/>
          </a:xfrm>
          <a:prstGeom prst="bentConnector3">
            <a:avLst/>
          </a:prstGeom>
          <a:solidFill>
            <a:srgbClr val="FFFF00"/>
          </a:solidFill>
          <a:ln w="38100" cap="flat" cmpd="sng" algn="ctr">
            <a:solidFill>
              <a:schemeClr val="tx1"/>
            </a:solidFill>
            <a:prstDash val="solid"/>
            <a:round/>
            <a:headEnd type="none" w="med" len="med"/>
            <a:tailEnd type="triangle"/>
          </a:ln>
          <a:effectLst/>
        </p:spPr>
      </p:cxnSp>
      <p:cxnSp>
        <p:nvCxnSpPr>
          <p:cNvPr id="23" name="Elbow Connector 22">
            <a:extLst>
              <a:ext uri="{FF2B5EF4-FFF2-40B4-BE49-F238E27FC236}">
                <a16:creationId xmlns:a16="http://schemas.microsoft.com/office/drawing/2014/main" id="{72AFBC08-45AF-16E4-7D44-F6A1631F0755}"/>
              </a:ext>
            </a:extLst>
          </p:cNvPr>
          <p:cNvCxnSpPr>
            <a:cxnSpLocks/>
            <a:stCxn id="15" idx="3"/>
            <a:endCxn id="19" idx="1"/>
          </p:cNvCxnSpPr>
          <p:nvPr/>
        </p:nvCxnSpPr>
        <p:spPr bwMode="auto">
          <a:xfrm>
            <a:off x="7274182" y="3011349"/>
            <a:ext cx="681790" cy="736706"/>
          </a:xfrm>
          <a:prstGeom prst="bentConnector3">
            <a:avLst/>
          </a:prstGeom>
          <a:solidFill>
            <a:srgbClr val="FFFF00"/>
          </a:solidFill>
          <a:ln w="38100" cap="flat" cmpd="sng" algn="ctr">
            <a:solidFill>
              <a:schemeClr val="tx1"/>
            </a:solidFill>
            <a:prstDash val="solid"/>
            <a:round/>
            <a:headEnd type="none" w="med" len="med"/>
            <a:tailEnd type="triangle"/>
          </a:ln>
          <a:effectLst/>
        </p:spPr>
      </p:cxnSp>
      <p:sp>
        <p:nvSpPr>
          <p:cNvPr id="26" name="Rectangle 25">
            <a:extLst>
              <a:ext uri="{FF2B5EF4-FFF2-40B4-BE49-F238E27FC236}">
                <a16:creationId xmlns:a16="http://schemas.microsoft.com/office/drawing/2014/main" id="{8D481E08-7CC7-763B-294A-6B83053CA92C}"/>
              </a:ext>
            </a:extLst>
          </p:cNvPr>
          <p:cNvSpPr/>
          <p:nvPr/>
        </p:nvSpPr>
        <p:spPr bwMode="auto">
          <a:xfrm>
            <a:off x="532488" y="4369117"/>
            <a:ext cx="7082589" cy="646330"/>
          </a:xfrm>
          <a:prstGeom prst="rect">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rimary Endpoint: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INV-Assessed PFS</a:t>
            </a:r>
          </a:p>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econdary Endpoints: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urvival (OS, PFS, PFS2), Toxicity (MDS/AML rates)</a:t>
            </a:r>
          </a:p>
        </p:txBody>
      </p:sp>
      <p:sp>
        <p:nvSpPr>
          <p:cNvPr id="27" name="TextBox 26">
            <a:extLst>
              <a:ext uri="{FF2B5EF4-FFF2-40B4-BE49-F238E27FC236}">
                <a16:creationId xmlns:a16="http://schemas.microsoft.com/office/drawing/2014/main" id="{2B47D9C4-A58B-9A06-60F4-20AF79ED7D0A}"/>
              </a:ext>
            </a:extLst>
          </p:cNvPr>
          <p:cNvSpPr txBox="1"/>
          <p:nvPr/>
        </p:nvSpPr>
        <p:spPr>
          <a:xfrm>
            <a:off x="7615077" y="2855826"/>
            <a:ext cx="128419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S PGothic" charset="0"/>
                <a:cs typeface="+mn-cs"/>
              </a:rPr>
              <a:t>Randomize 1:1</a:t>
            </a:r>
          </a:p>
        </p:txBody>
      </p:sp>
      <p:sp>
        <p:nvSpPr>
          <p:cNvPr id="28" name="TextBox 27">
            <a:extLst>
              <a:ext uri="{FF2B5EF4-FFF2-40B4-BE49-F238E27FC236}">
                <a16:creationId xmlns:a16="http://schemas.microsoft.com/office/drawing/2014/main" id="{FEA88AD7-0EA0-8117-42C7-C5161C647039}"/>
              </a:ext>
            </a:extLst>
          </p:cNvPr>
          <p:cNvSpPr txBox="1"/>
          <p:nvPr/>
        </p:nvSpPr>
        <p:spPr>
          <a:xfrm>
            <a:off x="0" y="6469404"/>
            <a:ext cx="4716291" cy="3231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www.clinicaltrials.gov</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NCT06580314. Accessed April 2026</a:t>
            </a:r>
          </a:p>
        </p:txBody>
      </p:sp>
      <p:sp>
        <p:nvSpPr>
          <p:cNvPr id="2" name="TextBox 1">
            <a:extLst>
              <a:ext uri="{FF2B5EF4-FFF2-40B4-BE49-F238E27FC236}">
                <a16:creationId xmlns:a16="http://schemas.microsoft.com/office/drawing/2014/main" id="{317813E4-6F15-C281-D61D-A161CDC510F1}"/>
              </a:ext>
            </a:extLst>
          </p:cNvPr>
          <p:cNvSpPr txBox="1"/>
          <p:nvPr/>
        </p:nvSpPr>
        <p:spPr>
          <a:xfrm>
            <a:off x="415635" y="5268484"/>
            <a:ext cx="10717803" cy="5539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wt</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 wild type; PR = partial response; CR = complete response; INV = investigator; PFS = progression-free survival; OS = overall survival; PFS2 = time to second disease progression or death; MDS = myelodysplastic syndromes; AML = acute myeloid leukemia</a:t>
            </a:r>
          </a:p>
        </p:txBody>
      </p:sp>
    </p:spTree>
    <p:extLst>
      <p:ext uri="{BB962C8B-B14F-4D97-AF65-F5344CB8AC3E}">
        <p14:creationId xmlns:p14="http://schemas.microsoft.com/office/powerpoint/2010/main" val="342029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0BA9DDE6-05DE-4790-AC1D-3930005AFD9E}"/>
              </a:ext>
            </a:extLst>
          </p:cNvPr>
          <p:cNvSpPr>
            <a:spLocks noGrp="1"/>
          </p:cNvSpPr>
          <p:nvPr>
            <p:ph type="title"/>
          </p:nvPr>
        </p:nvSpPr>
        <p:spPr/>
        <p:txBody>
          <a:bodyPr/>
          <a:lstStyle/>
          <a:p>
            <a:r>
              <a:rPr lang="en-US" b="1" dirty="0">
                <a:solidFill>
                  <a:srgbClr val="1C428D"/>
                </a:solidFill>
                <a:latin typeface="+mn-lt"/>
              </a:rPr>
              <a:t>To Be(v) or not to Be(v)?</a:t>
            </a:r>
          </a:p>
        </p:txBody>
      </p:sp>
      <p:pic>
        <p:nvPicPr>
          <p:cNvPr id="8" name="Immagine 7">
            <a:extLst>
              <a:ext uri="{FF2B5EF4-FFF2-40B4-BE49-F238E27FC236}">
                <a16:creationId xmlns:a16="http://schemas.microsoft.com/office/drawing/2014/main" id="{40A06744-65BC-4A66-AA99-C9DBF21054CD}"/>
              </a:ext>
            </a:extLst>
          </p:cNvPr>
          <p:cNvPicPr>
            <a:picLocks noChangeAspect="1"/>
          </p:cNvPicPr>
          <p:nvPr/>
        </p:nvPicPr>
        <p:blipFill>
          <a:blip r:embed="rId2"/>
          <a:stretch>
            <a:fillRect/>
          </a:stretch>
        </p:blipFill>
        <p:spPr>
          <a:xfrm>
            <a:off x="2075381" y="1420511"/>
            <a:ext cx="7243281" cy="4514299"/>
          </a:xfrm>
          <a:prstGeom prst="rect">
            <a:avLst/>
          </a:prstGeom>
        </p:spPr>
      </p:pic>
    </p:spTree>
    <p:extLst>
      <p:ext uri="{BB962C8B-B14F-4D97-AF65-F5344CB8AC3E}">
        <p14:creationId xmlns:p14="http://schemas.microsoft.com/office/powerpoint/2010/main" val="4213992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66F068-431D-E59F-4643-404BE272A28B}"/>
              </a:ext>
            </a:extLst>
          </p:cNvPr>
          <p:cNvSpPr>
            <a:spLocks noGrp="1"/>
          </p:cNvSpPr>
          <p:nvPr>
            <p:ph type="body" sz="quarter" idx="4294967295"/>
          </p:nvPr>
        </p:nvSpPr>
        <p:spPr>
          <a:xfrm>
            <a:off x="454025" y="152400"/>
            <a:ext cx="11737975" cy="766763"/>
          </a:xfrm>
        </p:spPr>
        <p:txBody>
          <a:bodyPr vert="horz" lIns="91440" tIns="45720" rIns="91440" bIns="45720" rtlCol="0">
            <a:noAutofit/>
          </a:bodyPr>
          <a:lstStyle/>
          <a:p>
            <a:pPr marL="0" indent="0">
              <a:buNone/>
            </a:pPr>
            <a:r>
              <a:rPr lang="en-US" b="1" dirty="0">
                <a:solidFill>
                  <a:srgbClr val="1C428D"/>
                </a:solidFill>
                <a:latin typeface="Arial" panose="020B0604020202020204" pitchFamily="34" charset="0"/>
                <a:cs typeface="Arial" panose="020B0604020202020204" pitchFamily="34" charset="0"/>
              </a:rPr>
              <a:t>A population-adjusted indirect treatment comparison of PAOLA-1 and SOLO1 showed an additive benefit from bevacizumab in </a:t>
            </a:r>
            <a:r>
              <a:rPr lang="en-US" b="1" dirty="0" err="1">
                <a:solidFill>
                  <a:srgbClr val="1C428D"/>
                </a:solidFill>
                <a:latin typeface="Arial" panose="020B0604020202020204" pitchFamily="34" charset="0"/>
                <a:cs typeface="Arial" panose="020B0604020202020204" pitchFamily="34" charset="0"/>
              </a:rPr>
              <a:t>BRCAm</a:t>
            </a:r>
            <a:r>
              <a:rPr lang="en-US" b="1" dirty="0">
                <a:solidFill>
                  <a:srgbClr val="1C428D"/>
                </a:solidFill>
                <a:latin typeface="Arial" panose="020B0604020202020204" pitchFamily="34" charset="0"/>
                <a:cs typeface="Arial" panose="020B0604020202020204" pitchFamily="34" charset="0"/>
              </a:rPr>
              <a:t> patients</a:t>
            </a:r>
          </a:p>
        </p:txBody>
      </p:sp>
      <p:graphicFrame>
        <p:nvGraphicFramePr>
          <p:cNvPr id="4" name="Table 3">
            <a:extLst>
              <a:ext uri="{FF2B5EF4-FFF2-40B4-BE49-F238E27FC236}">
                <a16:creationId xmlns:a16="http://schemas.microsoft.com/office/drawing/2014/main" id="{BCD640D2-D511-47FA-4837-5E50652D289B}"/>
              </a:ext>
            </a:extLst>
          </p:cNvPr>
          <p:cNvGraphicFramePr>
            <a:graphicFrameLocks noGrp="1"/>
          </p:cNvGraphicFramePr>
          <p:nvPr/>
        </p:nvGraphicFramePr>
        <p:xfrm>
          <a:off x="8182313" y="2326339"/>
          <a:ext cx="3426824" cy="2333204"/>
        </p:xfrm>
        <a:graphic>
          <a:graphicData uri="http://schemas.openxmlformats.org/drawingml/2006/table">
            <a:tbl>
              <a:tblPr firstRow="1" bandRow="1"/>
              <a:tblGrid>
                <a:gridCol w="1041991">
                  <a:extLst>
                    <a:ext uri="{9D8B030D-6E8A-4147-A177-3AD203B41FA5}">
                      <a16:colId xmlns:a16="http://schemas.microsoft.com/office/drawing/2014/main" val="1820984081"/>
                    </a:ext>
                  </a:extLst>
                </a:gridCol>
                <a:gridCol w="1329069">
                  <a:extLst>
                    <a:ext uri="{9D8B030D-6E8A-4147-A177-3AD203B41FA5}">
                      <a16:colId xmlns:a16="http://schemas.microsoft.com/office/drawing/2014/main" val="4286343423"/>
                    </a:ext>
                  </a:extLst>
                </a:gridCol>
                <a:gridCol w="1055764">
                  <a:extLst>
                    <a:ext uri="{9D8B030D-6E8A-4147-A177-3AD203B41FA5}">
                      <a16:colId xmlns:a16="http://schemas.microsoft.com/office/drawing/2014/main" val="1278096277"/>
                    </a:ext>
                  </a:extLst>
                </a:gridCol>
              </a:tblGrid>
              <a:tr h="56535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1100" b="1" dirty="0">
                        <a:solidFill>
                          <a:schemeClr val="tx1"/>
                        </a:solidFill>
                        <a:latin typeface="Arial" panose="020B0604020202020204" pitchFamily="34" charset="0"/>
                        <a:cs typeface="Arial" panose="020B0604020202020204" pitchFamily="34" charset="0"/>
                      </a:endParaRPr>
                    </a:p>
                  </a:txBody>
                  <a:tcPr marL="68580" marR="68580" marT="34291" marB="3429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9525" marR="0" lvl="0" indent="-9525" algn="ctr" defTabSz="914377"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cs typeface="Arial" panose="020B0604020202020204" pitchFamily="34" charset="0"/>
                        </a:rPr>
                        <a:t>Kaplan-Meier estimate of % of patients progression-fre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100" b="1">
                        <a:solidFill>
                          <a:schemeClr val="bg1"/>
                        </a:solidFill>
                        <a:latin typeface="Arial Narrow" panose="020B0606020202030204" pitchFamily="34" charset="0"/>
                      </a:endParaRPr>
                    </a:p>
                  </a:txBody>
                  <a:tcPr marL="68580" marR="68580" marT="34291" marB="34291" anchor="b">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C8075"/>
                    </a:solidFill>
                  </a:tcPr>
                </a:tc>
                <a:extLst>
                  <a:ext uri="{0D108BD9-81ED-4DB2-BD59-A6C34878D82A}">
                    <a16:rowId xmlns:a16="http://schemas.microsoft.com/office/drawing/2014/main" val="3369773556"/>
                  </a:ext>
                </a:extLst>
              </a:tr>
              <a:tr h="403863">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100" dirty="0">
                          <a:solidFill>
                            <a:schemeClr val="tx1"/>
                          </a:solidFill>
                          <a:latin typeface="Arial" panose="020B0604020202020204" pitchFamily="34" charset="0"/>
                          <a:cs typeface="Arial" panose="020B0604020202020204" pitchFamily="34" charset="0"/>
                        </a:rPr>
                        <a:t> </a:t>
                      </a:r>
                    </a:p>
                  </a:txBody>
                  <a:tcPr marL="68580" marR="68580" marT="34291" marB="34291"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b="1" dirty="0">
                          <a:solidFill>
                            <a:schemeClr val="bg1"/>
                          </a:solidFill>
                          <a:latin typeface="Arial" panose="020B0604020202020204" pitchFamily="34" charset="0"/>
                          <a:cs typeface="Arial" panose="020B0604020202020204" pitchFamily="34" charset="0"/>
                        </a:rPr>
                        <a:t>PAOLA-1</a:t>
                      </a:r>
                    </a:p>
                    <a:p>
                      <a:pPr algn="ctr"/>
                      <a:r>
                        <a:rPr lang="en-US" sz="1100" b="1" i="0" dirty="0" err="1">
                          <a:solidFill>
                            <a:schemeClr val="bg1"/>
                          </a:solidFill>
                          <a:latin typeface="Arial" panose="020B0604020202020204" pitchFamily="34" charset="0"/>
                          <a:cs typeface="Arial" panose="020B0604020202020204" pitchFamily="34" charset="0"/>
                        </a:rPr>
                        <a:t>tumour</a:t>
                      </a:r>
                      <a:r>
                        <a:rPr lang="en-US" sz="1100" b="1" i="1" dirty="0">
                          <a:solidFill>
                            <a:schemeClr val="bg1"/>
                          </a:solidFill>
                          <a:latin typeface="Arial" panose="020B0604020202020204" pitchFamily="34" charset="0"/>
                          <a:cs typeface="Arial" panose="020B0604020202020204" pitchFamily="34" charset="0"/>
                        </a:rPr>
                        <a:t> </a:t>
                      </a:r>
                      <a:r>
                        <a:rPr lang="en-US" sz="1100" b="1" i="1" dirty="0" err="1">
                          <a:solidFill>
                            <a:schemeClr val="bg1"/>
                          </a:solidFill>
                          <a:latin typeface="Arial" panose="020B0604020202020204" pitchFamily="34" charset="0"/>
                          <a:cs typeface="Arial" panose="020B0604020202020204" pitchFamily="34" charset="0"/>
                        </a:rPr>
                        <a:t>BRCA</a:t>
                      </a:r>
                      <a:r>
                        <a:rPr lang="en-US" sz="1100" b="1" i="0" dirty="0" err="1">
                          <a:solidFill>
                            <a:schemeClr val="bg1"/>
                          </a:solidFill>
                          <a:latin typeface="Arial" panose="020B0604020202020204" pitchFamily="34" charset="0"/>
                          <a:cs typeface="Arial" panose="020B0604020202020204" pitchFamily="34" charset="0"/>
                        </a:rPr>
                        <a:t>m</a:t>
                      </a:r>
                      <a:endParaRPr lang="en-US" sz="1100" b="1" i="0" dirty="0">
                        <a:solidFill>
                          <a:schemeClr val="bg1"/>
                        </a:solidFill>
                        <a:latin typeface="Arial" panose="020B0604020202020204" pitchFamily="34" charset="0"/>
                        <a:cs typeface="Arial" panose="020B0604020202020204" pitchFamily="34" charset="0"/>
                      </a:endParaRPr>
                    </a:p>
                  </a:txBody>
                  <a:tcPr marL="68580" marR="68580" marT="34291" marB="34291"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3005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b="1" dirty="0">
                          <a:solidFill>
                            <a:schemeClr val="bg1"/>
                          </a:solidFill>
                          <a:latin typeface="Arial" panose="020B0604020202020204" pitchFamily="34" charset="0"/>
                          <a:cs typeface="Arial" panose="020B0604020202020204" pitchFamily="34" charset="0"/>
                        </a:rPr>
                        <a:t>SOLO1</a:t>
                      </a:r>
                    </a:p>
                  </a:txBody>
                  <a:tcPr marL="68580" marR="68580" marT="34291" marB="3429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0006F"/>
                    </a:solidFill>
                  </a:tcPr>
                </a:tc>
                <a:extLst>
                  <a:ext uri="{0D108BD9-81ED-4DB2-BD59-A6C34878D82A}">
                    <a16:rowId xmlns:a16="http://schemas.microsoft.com/office/drawing/2014/main" val="3528046629"/>
                  </a:ext>
                </a:extLst>
              </a:tr>
              <a:tr h="571503">
                <a:tc vMerge="1">
                  <a:txBody>
                    <a:bodyPr/>
                    <a:lstStyle/>
                    <a:p>
                      <a:endParaRPr lang="en-GB" sz="1100">
                        <a:solidFill>
                          <a:schemeClr val="tx1"/>
                        </a:solidFill>
                        <a:latin typeface="Arial Narrow" panose="020B0606020202030204" pitchFamily="34" charset="0"/>
                      </a:endParaRPr>
                    </a:p>
                  </a:txBody>
                  <a:tcPr marL="68580" marR="68580" marT="34291" marB="34291"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b="1" dirty="0">
                          <a:solidFill>
                            <a:schemeClr val="bg1"/>
                          </a:solidFill>
                          <a:latin typeface="Arial" panose="020B0604020202020204" pitchFamily="34" charset="0"/>
                          <a:cs typeface="Arial" panose="020B0604020202020204" pitchFamily="34" charset="0"/>
                        </a:rPr>
                        <a:t>Olaparib + bevacizumab</a:t>
                      </a:r>
                      <a:r>
                        <a:rPr lang="en-US" sz="1100" b="1" baseline="0" dirty="0">
                          <a:solidFill>
                            <a:schemeClr val="bg1"/>
                          </a:solidFill>
                          <a:latin typeface="Arial" panose="020B0604020202020204" pitchFamily="34" charset="0"/>
                          <a:cs typeface="Arial" panose="020B0604020202020204" pitchFamily="34" charset="0"/>
                        </a:rPr>
                        <a:t>*</a:t>
                      </a:r>
                    </a:p>
                    <a:p>
                      <a:pPr algn="ctr"/>
                      <a:r>
                        <a:rPr lang="en-US" sz="1100" b="1" dirty="0">
                          <a:solidFill>
                            <a:schemeClr val="bg1"/>
                          </a:solidFill>
                          <a:latin typeface="Arial" panose="020B0604020202020204" pitchFamily="34" charset="0"/>
                          <a:cs typeface="Arial" panose="020B0604020202020204" pitchFamily="34" charset="0"/>
                        </a:rPr>
                        <a:t>n=151</a:t>
                      </a:r>
                    </a:p>
                  </a:txBody>
                  <a:tcPr marL="68580" marR="68580" marT="34291" marB="34291"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3005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b="1" dirty="0">
                          <a:solidFill>
                            <a:schemeClr val="bg1"/>
                          </a:solidFill>
                          <a:latin typeface="Arial" panose="020B0604020202020204" pitchFamily="34" charset="0"/>
                          <a:cs typeface="Arial" panose="020B0604020202020204" pitchFamily="34" charset="0"/>
                        </a:rPr>
                        <a:t>Olaparib </a:t>
                      </a:r>
                    </a:p>
                    <a:p>
                      <a:pPr algn="ctr"/>
                      <a:r>
                        <a:rPr lang="en-US" sz="1100" b="1" dirty="0">
                          <a:solidFill>
                            <a:schemeClr val="bg1"/>
                          </a:solidFill>
                          <a:latin typeface="Arial" panose="020B0604020202020204" pitchFamily="34" charset="0"/>
                          <a:cs typeface="Arial" panose="020B0604020202020204" pitchFamily="34" charset="0"/>
                        </a:rPr>
                        <a:t>n=254</a:t>
                      </a:r>
                    </a:p>
                  </a:txBody>
                  <a:tcPr marL="68580" marR="68580" marT="34291" marB="3429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0006F"/>
                    </a:solidFill>
                  </a:tcPr>
                </a:tc>
                <a:extLst>
                  <a:ext uri="{0D108BD9-81ED-4DB2-BD59-A6C34878D82A}">
                    <a16:rowId xmlns:a16="http://schemas.microsoft.com/office/drawing/2014/main" val="4250500244"/>
                  </a:ext>
                </a:extLst>
              </a:tr>
              <a:tr h="27813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100" dirty="0">
                          <a:solidFill>
                            <a:schemeClr val="tx1"/>
                          </a:solidFill>
                          <a:latin typeface="Arial" panose="020B0604020202020204" pitchFamily="34" charset="0"/>
                          <a:cs typeface="Arial" panose="020B0604020202020204" pitchFamily="34" charset="0"/>
                        </a:rPr>
                        <a:t>12 months</a:t>
                      </a:r>
                    </a:p>
                  </a:txBody>
                  <a:tcPr marL="68580" marR="68580" marT="34291" marB="3429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b="1" dirty="0">
                          <a:latin typeface="Arial" panose="020B0604020202020204" pitchFamily="34" charset="0"/>
                          <a:cs typeface="Arial" panose="020B0604020202020204" pitchFamily="34" charset="0"/>
                        </a:rPr>
                        <a:t>96</a:t>
                      </a:r>
                    </a:p>
                  </a:txBody>
                  <a:tcPr marL="68580" marR="68580" marT="34291" marB="3429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b="1" dirty="0">
                          <a:latin typeface="Arial" panose="020B0604020202020204" pitchFamily="34" charset="0"/>
                          <a:cs typeface="Arial" panose="020B0604020202020204" pitchFamily="34" charset="0"/>
                        </a:rPr>
                        <a:t>88</a:t>
                      </a:r>
                    </a:p>
                  </a:txBody>
                  <a:tcPr marL="68580" marR="68580" marT="34291" marB="3429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866592"/>
                  </a:ext>
                </a:extLst>
              </a:tr>
              <a:tr h="27813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100" dirty="0">
                          <a:solidFill>
                            <a:schemeClr val="tx1"/>
                          </a:solidFill>
                          <a:latin typeface="Arial" panose="020B0604020202020204" pitchFamily="34" charset="0"/>
                          <a:cs typeface="Arial" panose="020B0604020202020204" pitchFamily="34" charset="0"/>
                        </a:rPr>
                        <a:t>24 months</a:t>
                      </a:r>
                    </a:p>
                  </a:txBody>
                  <a:tcPr marL="68580" marR="68580" marT="34291" marB="3429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b="1" dirty="0">
                          <a:latin typeface="Arial" panose="020B0604020202020204" pitchFamily="34" charset="0"/>
                          <a:cs typeface="Arial" panose="020B0604020202020204" pitchFamily="34" charset="0"/>
                        </a:rPr>
                        <a:t>82</a:t>
                      </a:r>
                    </a:p>
                  </a:txBody>
                  <a:tcPr marL="68580" marR="68580" marT="34291" marB="3429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b="1" dirty="0">
                          <a:latin typeface="Arial" panose="020B0604020202020204" pitchFamily="34" charset="0"/>
                          <a:cs typeface="Arial" panose="020B0604020202020204" pitchFamily="34" charset="0"/>
                        </a:rPr>
                        <a:t>73</a:t>
                      </a:r>
                    </a:p>
                  </a:txBody>
                  <a:tcPr marL="68580" marR="68580" marT="34291" marB="3429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1176786719"/>
                  </a:ext>
                </a:extLst>
              </a:tr>
              <a:tr h="23622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panose="020B0604020202020204" pitchFamily="34" charset="0"/>
                          <a:cs typeface="Arial" panose="020B0604020202020204" pitchFamily="34" charset="0"/>
                        </a:rPr>
                        <a:t>HR (95% CI)</a:t>
                      </a:r>
                    </a:p>
                  </a:txBody>
                  <a:tcPr marL="68580" marR="68580" marT="34291" marB="3429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cs typeface="Arial" panose="020B0604020202020204" pitchFamily="34" charset="0"/>
                        </a:rPr>
                        <a:t>0.71 (0.45-1.09)</a:t>
                      </a:r>
                      <a:r>
                        <a:rPr lang="en-US" sz="1100" b="1" kern="0" baseline="30000" dirty="0">
                          <a:solidFill>
                            <a:schemeClr val="tx1"/>
                          </a:solidFill>
                          <a:latin typeface="Arial" panose="020B0604020202020204" pitchFamily="34" charset="0"/>
                          <a:cs typeface="Arial" panose="020B0604020202020204" pitchFamily="34" charset="0"/>
                        </a:rPr>
                        <a:t>†</a:t>
                      </a:r>
                      <a:endParaRPr lang="en-US" sz="1100" b="1" dirty="0">
                        <a:solidFill>
                          <a:schemeClr val="tx1"/>
                        </a:solidFill>
                        <a:latin typeface="Arial" panose="020B0604020202020204" pitchFamily="34" charset="0"/>
                        <a:cs typeface="Arial" panose="020B0604020202020204" pitchFamily="34" charset="0"/>
                      </a:endParaRPr>
                    </a:p>
                  </a:txBody>
                  <a:tcPr marL="68580" marR="68580" marT="34291" marB="3429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GB" sz="1200">
                        <a:latin typeface="Arial Narrow" panose="020B060602020203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93324846"/>
                  </a:ext>
                </a:extLst>
              </a:tr>
            </a:tbl>
          </a:graphicData>
        </a:graphic>
      </p:graphicFrame>
      <p:sp>
        <p:nvSpPr>
          <p:cNvPr id="532" name="AutoShape 3">
            <a:extLst>
              <a:ext uri="{FF2B5EF4-FFF2-40B4-BE49-F238E27FC236}">
                <a16:creationId xmlns:a16="http://schemas.microsoft.com/office/drawing/2014/main" id="{E6D6A3C5-4EC0-5842-D0A5-1E6D7081336B}"/>
              </a:ext>
            </a:extLst>
          </p:cNvPr>
          <p:cNvSpPr>
            <a:spLocks noChangeAspect="1" noChangeArrowheads="1" noTextEdit="1"/>
          </p:cNvSpPr>
          <p:nvPr/>
        </p:nvSpPr>
        <p:spPr bwMode="auto">
          <a:xfrm>
            <a:off x="1365903" y="1852099"/>
            <a:ext cx="6941984" cy="2798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95959"/>
              </a:solidFill>
              <a:effectLst/>
              <a:uLnTx/>
              <a:uFillTx/>
              <a:latin typeface="Arial Narrow" panose="020B0604020202020204" pitchFamily="34" charset="0"/>
              <a:ea typeface="+mn-ea"/>
              <a:cs typeface="Arial Narrow" panose="020B0604020202020204" pitchFamily="34" charset="0"/>
            </a:endParaRPr>
          </a:p>
        </p:txBody>
      </p:sp>
      <p:sp>
        <p:nvSpPr>
          <p:cNvPr id="534" name="TextBox 533">
            <a:extLst>
              <a:ext uri="{FF2B5EF4-FFF2-40B4-BE49-F238E27FC236}">
                <a16:creationId xmlns:a16="http://schemas.microsoft.com/office/drawing/2014/main" id="{EF113214-1F81-C80F-6478-AF909A1A9FE4}"/>
              </a:ext>
            </a:extLst>
          </p:cNvPr>
          <p:cNvSpPr txBox="1"/>
          <p:nvPr/>
        </p:nvSpPr>
        <p:spPr>
          <a:xfrm>
            <a:off x="916474" y="1785799"/>
            <a:ext cx="331871" cy="184666"/>
          </a:xfrm>
          <a:prstGeom prst="rect">
            <a:avLst/>
          </a:prstGeom>
          <a:noFill/>
        </p:spPr>
        <p:txBody>
          <a:bodyPr wrap="square" lIns="0" tIns="0" rIns="0" bIns="0" rtlCol="0">
            <a:spAutoFit/>
          </a:bodyPr>
          <a:lstStyle/>
          <a:p>
            <a:pPr marL="0" marR="0" lvl="0" indent="0" algn="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p>
        </p:txBody>
      </p:sp>
      <p:sp>
        <p:nvSpPr>
          <p:cNvPr id="535" name="TextBox 534">
            <a:extLst>
              <a:ext uri="{FF2B5EF4-FFF2-40B4-BE49-F238E27FC236}">
                <a16:creationId xmlns:a16="http://schemas.microsoft.com/office/drawing/2014/main" id="{F9C7A58D-0B9C-5BCE-1991-8862ED3609C2}"/>
              </a:ext>
            </a:extLst>
          </p:cNvPr>
          <p:cNvSpPr txBox="1"/>
          <p:nvPr/>
        </p:nvSpPr>
        <p:spPr>
          <a:xfrm>
            <a:off x="916474" y="2532275"/>
            <a:ext cx="331871" cy="184666"/>
          </a:xfrm>
          <a:prstGeom prst="rect">
            <a:avLst/>
          </a:prstGeom>
          <a:noFill/>
        </p:spPr>
        <p:txBody>
          <a:bodyPr wrap="square" lIns="0" tIns="0" rIns="0" bIns="0" rtlCol="0">
            <a:spAutoFit/>
          </a:bodyPr>
          <a:lstStyle/>
          <a:p>
            <a:pPr marL="0" marR="0" lvl="0" indent="0" algn="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5</a:t>
            </a:r>
          </a:p>
        </p:txBody>
      </p:sp>
      <p:sp>
        <p:nvSpPr>
          <p:cNvPr id="536" name="TextBox 535">
            <a:extLst>
              <a:ext uri="{FF2B5EF4-FFF2-40B4-BE49-F238E27FC236}">
                <a16:creationId xmlns:a16="http://schemas.microsoft.com/office/drawing/2014/main" id="{80427D80-33B4-390B-3961-E30513C2613B}"/>
              </a:ext>
            </a:extLst>
          </p:cNvPr>
          <p:cNvSpPr txBox="1"/>
          <p:nvPr/>
        </p:nvSpPr>
        <p:spPr>
          <a:xfrm>
            <a:off x="916474" y="3278750"/>
            <a:ext cx="331871" cy="184666"/>
          </a:xfrm>
          <a:prstGeom prst="rect">
            <a:avLst/>
          </a:prstGeom>
          <a:noFill/>
        </p:spPr>
        <p:txBody>
          <a:bodyPr wrap="square" lIns="0" tIns="0" rIns="0" bIns="0" rtlCol="0">
            <a:spAutoFit/>
          </a:bodyPr>
          <a:lstStyle/>
          <a:p>
            <a:pPr marL="0" marR="0" lvl="0" indent="0" algn="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a:t>
            </a:r>
          </a:p>
        </p:txBody>
      </p:sp>
      <p:sp>
        <p:nvSpPr>
          <p:cNvPr id="537" name="TextBox 536">
            <a:extLst>
              <a:ext uri="{FF2B5EF4-FFF2-40B4-BE49-F238E27FC236}">
                <a16:creationId xmlns:a16="http://schemas.microsoft.com/office/drawing/2014/main" id="{03B9A3A8-7F78-51C5-41BC-729FC0A31921}"/>
              </a:ext>
            </a:extLst>
          </p:cNvPr>
          <p:cNvSpPr txBox="1"/>
          <p:nvPr/>
        </p:nvSpPr>
        <p:spPr>
          <a:xfrm>
            <a:off x="916474" y="4025226"/>
            <a:ext cx="331871" cy="184666"/>
          </a:xfrm>
          <a:prstGeom prst="rect">
            <a:avLst/>
          </a:prstGeom>
          <a:noFill/>
        </p:spPr>
        <p:txBody>
          <a:bodyPr wrap="square" lIns="0" tIns="0" rIns="0" bIns="0" rtlCol="0">
            <a:spAutoFit/>
          </a:bodyPr>
          <a:lstStyle/>
          <a:p>
            <a:pPr marL="0" marR="0" lvl="0" indent="0" algn="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a:t>
            </a:r>
          </a:p>
        </p:txBody>
      </p:sp>
      <p:sp>
        <p:nvSpPr>
          <p:cNvPr id="538" name="TextBox 537">
            <a:extLst>
              <a:ext uri="{FF2B5EF4-FFF2-40B4-BE49-F238E27FC236}">
                <a16:creationId xmlns:a16="http://schemas.microsoft.com/office/drawing/2014/main" id="{9A124A7D-3E99-36DB-6801-D5D3D8E5C04E}"/>
              </a:ext>
            </a:extLst>
          </p:cNvPr>
          <p:cNvSpPr txBox="1"/>
          <p:nvPr/>
        </p:nvSpPr>
        <p:spPr>
          <a:xfrm>
            <a:off x="916474" y="4771702"/>
            <a:ext cx="331871" cy="184666"/>
          </a:xfrm>
          <a:prstGeom prst="rect">
            <a:avLst/>
          </a:prstGeom>
          <a:noFill/>
        </p:spPr>
        <p:txBody>
          <a:bodyPr wrap="square" lIns="0" tIns="0" rIns="0" bIns="0" rtlCol="0">
            <a:spAutoFit/>
          </a:bodyPr>
          <a:lstStyle/>
          <a:p>
            <a:pPr marL="0" marR="0" lvl="0" indent="0" algn="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539" name="TextBox 538">
            <a:extLst>
              <a:ext uri="{FF2B5EF4-FFF2-40B4-BE49-F238E27FC236}">
                <a16:creationId xmlns:a16="http://schemas.microsoft.com/office/drawing/2014/main" id="{B1740A3F-8595-3B56-8593-F171A160A520}"/>
              </a:ext>
            </a:extLst>
          </p:cNvPr>
          <p:cNvSpPr txBox="1"/>
          <p:nvPr/>
        </p:nvSpPr>
        <p:spPr>
          <a:xfrm>
            <a:off x="1230804" y="4987644"/>
            <a:ext cx="356541" cy="184666"/>
          </a:xfrm>
          <a:prstGeom prst="rect">
            <a:avLst/>
          </a:prstGeom>
          <a:noFill/>
        </p:spPr>
        <p:txBody>
          <a:bodyPr wrap="square" lIns="0" tIns="0" rIns="0" bIns="0" rtlCol="0">
            <a:spAutoFit/>
          </a:bodyPr>
          <a:lstStyle/>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540" name="TextBox 539">
            <a:extLst>
              <a:ext uri="{FF2B5EF4-FFF2-40B4-BE49-F238E27FC236}">
                <a16:creationId xmlns:a16="http://schemas.microsoft.com/office/drawing/2014/main" id="{9F74C1C4-53EC-B3AA-BF6C-53C2E2ADBB8D}"/>
              </a:ext>
            </a:extLst>
          </p:cNvPr>
          <p:cNvSpPr txBox="1"/>
          <p:nvPr/>
        </p:nvSpPr>
        <p:spPr>
          <a:xfrm>
            <a:off x="2009578" y="4987644"/>
            <a:ext cx="356541" cy="184666"/>
          </a:xfrm>
          <a:prstGeom prst="rect">
            <a:avLst/>
          </a:prstGeom>
          <a:noFill/>
        </p:spPr>
        <p:txBody>
          <a:bodyPr wrap="square" lIns="0" tIns="0" rIns="0" bIns="0" rtlCol="0">
            <a:spAutoFit/>
          </a:bodyPr>
          <a:lstStyle/>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541" name="TextBox 540">
            <a:extLst>
              <a:ext uri="{FF2B5EF4-FFF2-40B4-BE49-F238E27FC236}">
                <a16:creationId xmlns:a16="http://schemas.microsoft.com/office/drawing/2014/main" id="{8C5C201F-0BFE-96F2-6EF9-A8340EEA8341}"/>
              </a:ext>
            </a:extLst>
          </p:cNvPr>
          <p:cNvSpPr txBox="1"/>
          <p:nvPr/>
        </p:nvSpPr>
        <p:spPr>
          <a:xfrm>
            <a:off x="2796291" y="4987644"/>
            <a:ext cx="356541" cy="184666"/>
          </a:xfrm>
          <a:prstGeom prst="rect">
            <a:avLst/>
          </a:prstGeom>
          <a:noFill/>
        </p:spPr>
        <p:txBody>
          <a:bodyPr wrap="square" lIns="0" tIns="0" rIns="0" bIns="0" rtlCol="0">
            <a:spAutoFit/>
          </a:bodyPr>
          <a:lstStyle/>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542" name="TextBox 541">
            <a:extLst>
              <a:ext uri="{FF2B5EF4-FFF2-40B4-BE49-F238E27FC236}">
                <a16:creationId xmlns:a16="http://schemas.microsoft.com/office/drawing/2014/main" id="{68A6231F-8BCB-03D6-9833-852D094B54EB}"/>
              </a:ext>
            </a:extLst>
          </p:cNvPr>
          <p:cNvSpPr txBox="1"/>
          <p:nvPr/>
        </p:nvSpPr>
        <p:spPr>
          <a:xfrm>
            <a:off x="3575064" y="4987644"/>
            <a:ext cx="356541" cy="184666"/>
          </a:xfrm>
          <a:prstGeom prst="rect">
            <a:avLst/>
          </a:prstGeom>
          <a:noFill/>
        </p:spPr>
        <p:txBody>
          <a:bodyPr wrap="square" lIns="0" tIns="0" rIns="0" bIns="0" rtlCol="0">
            <a:spAutoFit/>
          </a:bodyPr>
          <a:lstStyle/>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sp>
        <p:nvSpPr>
          <p:cNvPr id="543" name="TextBox 542">
            <a:extLst>
              <a:ext uri="{FF2B5EF4-FFF2-40B4-BE49-F238E27FC236}">
                <a16:creationId xmlns:a16="http://schemas.microsoft.com/office/drawing/2014/main" id="{3C49BEAD-4E17-002E-6EBA-6E6DB82AB5B2}"/>
              </a:ext>
            </a:extLst>
          </p:cNvPr>
          <p:cNvSpPr txBox="1"/>
          <p:nvPr/>
        </p:nvSpPr>
        <p:spPr>
          <a:xfrm>
            <a:off x="5134318" y="4987644"/>
            <a:ext cx="356541" cy="184666"/>
          </a:xfrm>
          <a:prstGeom prst="rect">
            <a:avLst/>
          </a:prstGeom>
          <a:noFill/>
        </p:spPr>
        <p:txBody>
          <a:bodyPr wrap="square" lIns="0" tIns="0" rIns="0" bIns="0" rtlCol="0">
            <a:spAutoFit/>
          </a:bodyPr>
          <a:lstStyle/>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p:txBody>
      </p:sp>
      <p:sp>
        <p:nvSpPr>
          <p:cNvPr id="544" name="TextBox 543">
            <a:extLst>
              <a:ext uri="{FF2B5EF4-FFF2-40B4-BE49-F238E27FC236}">
                <a16:creationId xmlns:a16="http://schemas.microsoft.com/office/drawing/2014/main" id="{55C9E9BA-163A-F10D-81DA-24396F9C623E}"/>
              </a:ext>
            </a:extLst>
          </p:cNvPr>
          <p:cNvSpPr txBox="1"/>
          <p:nvPr/>
        </p:nvSpPr>
        <p:spPr>
          <a:xfrm>
            <a:off x="5927624" y="4987644"/>
            <a:ext cx="356541" cy="184666"/>
          </a:xfrm>
          <a:prstGeom prst="rect">
            <a:avLst/>
          </a:prstGeom>
          <a:noFill/>
        </p:spPr>
        <p:txBody>
          <a:bodyPr wrap="square" lIns="0" tIns="0" rIns="0" bIns="0" rtlCol="0">
            <a:spAutoFit/>
          </a:bodyPr>
          <a:lstStyle/>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p>
        </p:txBody>
      </p:sp>
      <p:sp>
        <p:nvSpPr>
          <p:cNvPr id="545" name="TextBox 544">
            <a:extLst>
              <a:ext uri="{FF2B5EF4-FFF2-40B4-BE49-F238E27FC236}">
                <a16:creationId xmlns:a16="http://schemas.microsoft.com/office/drawing/2014/main" id="{98CC21BB-1E56-77BC-8F4A-04F21FF8680D}"/>
              </a:ext>
            </a:extLst>
          </p:cNvPr>
          <p:cNvSpPr txBox="1"/>
          <p:nvPr/>
        </p:nvSpPr>
        <p:spPr>
          <a:xfrm rot="16200000">
            <a:off x="-849120" y="3166626"/>
            <a:ext cx="3019296" cy="523220"/>
          </a:xfrm>
          <a:prstGeom prst="rect">
            <a:avLst/>
          </a:prstGeom>
          <a:noFill/>
        </p:spPr>
        <p:txBody>
          <a:bodyPr wrap="square" rtlCol="0">
            <a:spAutoFit/>
          </a:bodyPr>
          <a:lstStyle/>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tients free from disease </a:t>
            </a:r>
          </a:p>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gression and death (%)</a:t>
            </a:r>
          </a:p>
        </p:txBody>
      </p:sp>
      <p:sp>
        <p:nvSpPr>
          <p:cNvPr id="546" name="Line 5">
            <a:extLst>
              <a:ext uri="{FF2B5EF4-FFF2-40B4-BE49-F238E27FC236}">
                <a16:creationId xmlns:a16="http://schemas.microsoft.com/office/drawing/2014/main" id="{29C856BF-197D-67EB-366F-FF44A848410D}"/>
              </a:ext>
            </a:extLst>
          </p:cNvPr>
          <p:cNvSpPr>
            <a:spLocks noChangeShapeType="1"/>
          </p:cNvSpPr>
          <p:nvPr/>
        </p:nvSpPr>
        <p:spPr bwMode="auto">
          <a:xfrm flipH="1">
            <a:off x="1320287" y="1869567"/>
            <a:ext cx="80487"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547" name="Line 10">
            <a:extLst>
              <a:ext uri="{FF2B5EF4-FFF2-40B4-BE49-F238E27FC236}">
                <a16:creationId xmlns:a16="http://schemas.microsoft.com/office/drawing/2014/main" id="{3A4D27FE-9F90-97EE-9194-0C7A17EA18E0}"/>
              </a:ext>
            </a:extLst>
          </p:cNvPr>
          <p:cNvSpPr>
            <a:spLocks noChangeShapeType="1"/>
          </p:cNvSpPr>
          <p:nvPr/>
        </p:nvSpPr>
        <p:spPr bwMode="auto">
          <a:xfrm flipH="1">
            <a:off x="1320287" y="2615327"/>
            <a:ext cx="80487"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548" name="Line 12">
            <a:extLst>
              <a:ext uri="{FF2B5EF4-FFF2-40B4-BE49-F238E27FC236}">
                <a16:creationId xmlns:a16="http://schemas.microsoft.com/office/drawing/2014/main" id="{C10A5D7C-E35E-A485-D696-E85D5FBDCA0B}"/>
              </a:ext>
            </a:extLst>
          </p:cNvPr>
          <p:cNvSpPr>
            <a:spLocks noChangeShapeType="1"/>
          </p:cNvSpPr>
          <p:nvPr/>
        </p:nvSpPr>
        <p:spPr bwMode="auto">
          <a:xfrm flipH="1">
            <a:off x="1320287" y="3361088"/>
            <a:ext cx="80487"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549" name="Line 13">
            <a:extLst>
              <a:ext uri="{FF2B5EF4-FFF2-40B4-BE49-F238E27FC236}">
                <a16:creationId xmlns:a16="http://schemas.microsoft.com/office/drawing/2014/main" id="{8A2DCD6C-3FB7-8485-161C-1353865DC940}"/>
              </a:ext>
            </a:extLst>
          </p:cNvPr>
          <p:cNvSpPr>
            <a:spLocks noChangeShapeType="1"/>
          </p:cNvSpPr>
          <p:nvPr/>
        </p:nvSpPr>
        <p:spPr bwMode="auto">
          <a:xfrm flipH="1">
            <a:off x="1320287" y="4106849"/>
            <a:ext cx="80487"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550" name="Line 15">
            <a:extLst>
              <a:ext uri="{FF2B5EF4-FFF2-40B4-BE49-F238E27FC236}">
                <a16:creationId xmlns:a16="http://schemas.microsoft.com/office/drawing/2014/main" id="{912BD72C-E1BC-4C58-F0BC-A2C6A2754B1B}"/>
              </a:ext>
            </a:extLst>
          </p:cNvPr>
          <p:cNvSpPr>
            <a:spLocks noChangeShapeType="1"/>
          </p:cNvSpPr>
          <p:nvPr/>
        </p:nvSpPr>
        <p:spPr bwMode="auto">
          <a:xfrm flipH="1">
            <a:off x="1320287" y="4852609"/>
            <a:ext cx="80487"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1" name="Line 16">
            <a:extLst>
              <a:ext uri="{FF2B5EF4-FFF2-40B4-BE49-F238E27FC236}">
                <a16:creationId xmlns:a16="http://schemas.microsoft.com/office/drawing/2014/main" id="{D921BBF6-CBFE-06EA-51DF-002EB6B53111}"/>
              </a:ext>
            </a:extLst>
          </p:cNvPr>
          <p:cNvSpPr>
            <a:spLocks noChangeShapeType="1"/>
          </p:cNvSpPr>
          <p:nvPr/>
        </p:nvSpPr>
        <p:spPr bwMode="auto">
          <a:xfrm>
            <a:off x="1410832" y="4852609"/>
            <a:ext cx="6236141"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2" name="Line 17">
            <a:extLst>
              <a:ext uri="{FF2B5EF4-FFF2-40B4-BE49-F238E27FC236}">
                <a16:creationId xmlns:a16="http://schemas.microsoft.com/office/drawing/2014/main" id="{EC5F2B3C-D999-9020-734B-1DD48294A28E}"/>
              </a:ext>
            </a:extLst>
          </p:cNvPr>
          <p:cNvSpPr>
            <a:spLocks noChangeShapeType="1"/>
          </p:cNvSpPr>
          <p:nvPr/>
        </p:nvSpPr>
        <p:spPr bwMode="auto">
          <a:xfrm>
            <a:off x="1410833" y="4852610"/>
            <a:ext cx="0" cy="80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3" name="Line 18">
            <a:extLst>
              <a:ext uri="{FF2B5EF4-FFF2-40B4-BE49-F238E27FC236}">
                <a16:creationId xmlns:a16="http://schemas.microsoft.com/office/drawing/2014/main" id="{A96D554E-3728-6CCD-B046-9D5AE89C6C7D}"/>
              </a:ext>
            </a:extLst>
          </p:cNvPr>
          <p:cNvSpPr>
            <a:spLocks noChangeShapeType="1"/>
          </p:cNvSpPr>
          <p:nvPr/>
        </p:nvSpPr>
        <p:spPr bwMode="auto">
          <a:xfrm>
            <a:off x="2188872" y="4862671"/>
            <a:ext cx="0" cy="80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4" name="Line 19">
            <a:extLst>
              <a:ext uri="{FF2B5EF4-FFF2-40B4-BE49-F238E27FC236}">
                <a16:creationId xmlns:a16="http://schemas.microsoft.com/office/drawing/2014/main" id="{EE397D2A-A607-C7C3-E9DA-8F9E3C56167C}"/>
              </a:ext>
            </a:extLst>
          </p:cNvPr>
          <p:cNvSpPr>
            <a:spLocks noChangeShapeType="1"/>
          </p:cNvSpPr>
          <p:nvPr/>
        </p:nvSpPr>
        <p:spPr bwMode="auto">
          <a:xfrm>
            <a:off x="2975295" y="4862671"/>
            <a:ext cx="0" cy="80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5" name="Line 20">
            <a:extLst>
              <a:ext uri="{FF2B5EF4-FFF2-40B4-BE49-F238E27FC236}">
                <a16:creationId xmlns:a16="http://schemas.microsoft.com/office/drawing/2014/main" id="{E727FCE9-736E-8433-F5E6-D2D0EEFF21BE}"/>
              </a:ext>
            </a:extLst>
          </p:cNvPr>
          <p:cNvSpPr>
            <a:spLocks noChangeShapeType="1"/>
          </p:cNvSpPr>
          <p:nvPr/>
        </p:nvSpPr>
        <p:spPr bwMode="auto">
          <a:xfrm>
            <a:off x="3753335" y="4862671"/>
            <a:ext cx="0" cy="80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6" name="Line 22">
            <a:extLst>
              <a:ext uri="{FF2B5EF4-FFF2-40B4-BE49-F238E27FC236}">
                <a16:creationId xmlns:a16="http://schemas.microsoft.com/office/drawing/2014/main" id="{2708F2C4-CF7D-D908-2A6C-8FB2CD6F1C73}"/>
              </a:ext>
            </a:extLst>
          </p:cNvPr>
          <p:cNvSpPr>
            <a:spLocks noChangeShapeType="1"/>
          </p:cNvSpPr>
          <p:nvPr/>
        </p:nvSpPr>
        <p:spPr bwMode="auto">
          <a:xfrm>
            <a:off x="5317796" y="4862671"/>
            <a:ext cx="0" cy="80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7" name="Line 23">
            <a:extLst>
              <a:ext uri="{FF2B5EF4-FFF2-40B4-BE49-F238E27FC236}">
                <a16:creationId xmlns:a16="http://schemas.microsoft.com/office/drawing/2014/main" id="{2D3578D8-40F7-7C16-2D66-760FFF95BE05}"/>
              </a:ext>
            </a:extLst>
          </p:cNvPr>
          <p:cNvSpPr>
            <a:spLocks noChangeShapeType="1"/>
          </p:cNvSpPr>
          <p:nvPr/>
        </p:nvSpPr>
        <p:spPr bwMode="auto">
          <a:xfrm>
            <a:off x="6105895" y="4862671"/>
            <a:ext cx="0" cy="80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8" name="TextBox 557">
            <a:extLst>
              <a:ext uri="{FF2B5EF4-FFF2-40B4-BE49-F238E27FC236}">
                <a16:creationId xmlns:a16="http://schemas.microsoft.com/office/drawing/2014/main" id="{02F159DD-82BA-6579-42C1-724098D33997}"/>
              </a:ext>
            </a:extLst>
          </p:cNvPr>
          <p:cNvSpPr txBox="1"/>
          <p:nvPr/>
        </p:nvSpPr>
        <p:spPr>
          <a:xfrm>
            <a:off x="6703438" y="4987644"/>
            <a:ext cx="356541" cy="184666"/>
          </a:xfrm>
          <a:prstGeom prst="rect">
            <a:avLst/>
          </a:prstGeom>
          <a:noFill/>
        </p:spPr>
        <p:txBody>
          <a:bodyPr wrap="square" lIns="0" tIns="0" rIns="0" bIns="0" rtlCol="0">
            <a:spAutoFit/>
          </a:bodyPr>
          <a:lstStyle/>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a:t>
            </a:r>
          </a:p>
        </p:txBody>
      </p:sp>
      <p:sp>
        <p:nvSpPr>
          <p:cNvPr id="559" name="Line 23">
            <a:extLst>
              <a:ext uri="{FF2B5EF4-FFF2-40B4-BE49-F238E27FC236}">
                <a16:creationId xmlns:a16="http://schemas.microsoft.com/office/drawing/2014/main" id="{459D0CAF-1F39-0BA8-BBE1-4A630A5A2C45}"/>
              </a:ext>
            </a:extLst>
          </p:cNvPr>
          <p:cNvSpPr>
            <a:spLocks noChangeShapeType="1"/>
          </p:cNvSpPr>
          <p:nvPr/>
        </p:nvSpPr>
        <p:spPr bwMode="auto">
          <a:xfrm>
            <a:off x="6886427" y="4862671"/>
            <a:ext cx="0" cy="80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0" name="TextBox 559">
            <a:extLst>
              <a:ext uri="{FF2B5EF4-FFF2-40B4-BE49-F238E27FC236}">
                <a16:creationId xmlns:a16="http://schemas.microsoft.com/office/drawing/2014/main" id="{462CC719-D6EA-9630-CEE9-86E0BFF60DA1}"/>
              </a:ext>
            </a:extLst>
          </p:cNvPr>
          <p:cNvSpPr txBox="1"/>
          <p:nvPr/>
        </p:nvSpPr>
        <p:spPr>
          <a:xfrm>
            <a:off x="7468704" y="4987644"/>
            <a:ext cx="356541" cy="184666"/>
          </a:xfrm>
          <a:prstGeom prst="rect">
            <a:avLst/>
          </a:prstGeom>
          <a:noFill/>
        </p:spPr>
        <p:txBody>
          <a:bodyPr wrap="square" lIns="0" tIns="0" rIns="0" bIns="0" rtlCol="0">
            <a:spAutoFit/>
          </a:bodyPr>
          <a:lstStyle/>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p>
        </p:txBody>
      </p:sp>
      <p:sp>
        <p:nvSpPr>
          <p:cNvPr id="561" name="Line 23">
            <a:extLst>
              <a:ext uri="{FF2B5EF4-FFF2-40B4-BE49-F238E27FC236}">
                <a16:creationId xmlns:a16="http://schemas.microsoft.com/office/drawing/2014/main" id="{4DC730D1-D308-C106-A6EB-46B1A1E4AAD4}"/>
              </a:ext>
            </a:extLst>
          </p:cNvPr>
          <p:cNvSpPr>
            <a:spLocks noChangeShapeType="1"/>
          </p:cNvSpPr>
          <p:nvPr/>
        </p:nvSpPr>
        <p:spPr bwMode="auto">
          <a:xfrm>
            <a:off x="7648763" y="4862671"/>
            <a:ext cx="0" cy="80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2" name="Line 25">
            <a:extLst>
              <a:ext uri="{FF2B5EF4-FFF2-40B4-BE49-F238E27FC236}">
                <a16:creationId xmlns:a16="http://schemas.microsoft.com/office/drawing/2014/main" id="{DB8188A1-54EC-B887-9AC5-83801A84C451}"/>
              </a:ext>
            </a:extLst>
          </p:cNvPr>
          <p:cNvSpPr>
            <a:spLocks noChangeShapeType="1"/>
          </p:cNvSpPr>
          <p:nvPr/>
        </p:nvSpPr>
        <p:spPr bwMode="auto">
          <a:xfrm flipV="1">
            <a:off x="1410833" y="1869567"/>
            <a:ext cx="0" cy="2983044"/>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563" name="TextBox 562">
            <a:extLst>
              <a:ext uri="{FF2B5EF4-FFF2-40B4-BE49-F238E27FC236}">
                <a16:creationId xmlns:a16="http://schemas.microsoft.com/office/drawing/2014/main" id="{B19A5C69-2D97-BD72-D935-D4490A840441}"/>
              </a:ext>
            </a:extLst>
          </p:cNvPr>
          <p:cNvSpPr txBox="1"/>
          <p:nvPr/>
        </p:nvSpPr>
        <p:spPr>
          <a:xfrm>
            <a:off x="4369052" y="4987644"/>
            <a:ext cx="356541" cy="184666"/>
          </a:xfrm>
          <a:prstGeom prst="rect">
            <a:avLst/>
          </a:prstGeom>
          <a:noFill/>
        </p:spPr>
        <p:txBody>
          <a:bodyPr wrap="square" lIns="0" tIns="0" rIns="0" bIns="0" rtlCol="0">
            <a:spAutoFit/>
          </a:bodyPr>
          <a:lstStyle/>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sp>
        <p:nvSpPr>
          <p:cNvPr id="564" name="Line 21">
            <a:extLst>
              <a:ext uri="{FF2B5EF4-FFF2-40B4-BE49-F238E27FC236}">
                <a16:creationId xmlns:a16="http://schemas.microsoft.com/office/drawing/2014/main" id="{D8372FE4-5916-D515-F057-F32063C19436}"/>
              </a:ext>
            </a:extLst>
          </p:cNvPr>
          <p:cNvSpPr>
            <a:spLocks noChangeShapeType="1"/>
          </p:cNvSpPr>
          <p:nvPr/>
        </p:nvSpPr>
        <p:spPr bwMode="auto">
          <a:xfrm>
            <a:off x="4541433" y="4862671"/>
            <a:ext cx="0" cy="80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565" name="Straight Connector 564">
            <a:extLst>
              <a:ext uri="{FF2B5EF4-FFF2-40B4-BE49-F238E27FC236}">
                <a16:creationId xmlns:a16="http://schemas.microsoft.com/office/drawing/2014/main" id="{65599894-7516-457B-1454-CA89784B829D}"/>
              </a:ext>
            </a:extLst>
          </p:cNvPr>
          <p:cNvCxnSpPr>
            <a:cxnSpLocks/>
          </p:cNvCxnSpPr>
          <p:nvPr/>
        </p:nvCxnSpPr>
        <p:spPr>
          <a:xfrm flipH="1" flipV="1">
            <a:off x="4541620" y="2423474"/>
            <a:ext cx="0" cy="2439196"/>
          </a:xfrm>
          <a:prstGeom prst="line">
            <a:avLst/>
          </a:prstGeom>
          <a:noFill/>
          <a:ln w="12700" cap="flat" cmpd="sng" algn="ctr">
            <a:solidFill>
              <a:srgbClr val="000000"/>
            </a:solidFill>
            <a:prstDash val="sysDash"/>
            <a:miter lim="800000"/>
          </a:ln>
          <a:effectLst/>
        </p:spPr>
      </p:cxnSp>
      <p:sp>
        <p:nvSpPr>
          <p:cNvPr id="566" name="AutoShape 3">
            <a:extLst>
              <a:ext uri="{FF2B5EF4-FFF2-40B4-BE49-F238E27FC236}">
                <a16:creationId xmlns:a16="http://schemas.microsoft.com/office/drawing/2014/main" id="{75A009F2-E2E5-7858-6E12-36FE2107A088}"/>
              </a:ext>
            </a:extLst>
          </p:cNvPr>
          <p:cNvSpPr>
            <a:spLocks noChangeAspect="1" noChangeArrowheads="1" noTextEdit="1"/>
          </p:cNvSpPr>
          <p:nvPr/>
        </p:nvSpPr>
        <p:spPr bwMode="auto">
          <a:xfrm>
            <a:off x="3146399" y="2225742"/>
            <a:ext cx="4492324" cy="181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67" name="Freeform 114">
            <a:extLst>
              <a:ext uri="{FF2B5EF4-FFF2-40B4-BE49-F238E27FC236}">
                <a16:creationId xmlns:a16="http://schemas.microsoft.com/office/drawing/2014/main" id="{A1AF9671-4906-0FAC-8BDE-27EF4EB8B72F}"/>
              </a:ext>
            </a:extLst>
          </p:cNvPr>
          <p:cNvSpPr>
            <a:spLocks/>
          </p:cNvSpPr>
          <p:nvPr/>
        </p:nvSpPr>
        <p:spPr bwMode="auto">
          <a:xfrm>
            <a:off x="1409076" y="1844098"/>
            <a:ext cx="5166969" cy="2130831"/>
          </a:xfrm>
          <a:custGeom>
            <a:avLst/>
            <a:gdLst>
              <a:gd name="T0" fmla="*/ 315 w 3082"/>
              <a:gd name="T1" fmla="*/ 6 h 1271"/>
              <a:gd name="T2" fmla="*/ 715 w 3082"/>
              <a:gd name="T3" fmla="*/ 14 h 1271"/>
              <a:gd name="T4" fmla="*/ 972 w 3082"/>
              <a:gd name="T5" fmla="*/ 25 h 1271"/>
              <a:gd name="T6" fmla="*/ 1087 w 3082"/>
              <a:gd name="T7" fmla="*/ 37 h 1271"/>
              <a:gd name="T8" fmla="*/ 1162 w 3082"/>
              <a:gd name="T9" fmla="*/ 44 h 1271"/>
              <a:gd name="T10" fmla="*/ 1196 w 3082"/>
              <a:gd name="T11" fmla="*/ 58 h 1271"/>
              <a:gd name="T12" fmla="*/ 1304 w 3082"/>
              <a:gd name="T13" fmla="*/ 69 h 1271"/>
              <a:gd name="T14" fmla="*/ 1342 w 3082"/>
              <a:gd name="T15" fmla="*/ 89 h 1271"/>
              <a:gd name="T16" fmla="*/ 1507 w 3082"/>
              <a:gd name="T17" fmla="*/ 102 h 1271"/>
              <a:gd name="T18" fmla="*/ 1526 w 3082"/>
              <a:gd name="T19" fmla="*/ 116 h 1271"/>
              <a:gd name="T20" fmla="*/ 1587 w 3082"/>
              <a:gd name="T21" fmla="*/ 127 h 1271"/>
              <a:gd name="T22" fmla="*/ 1599 w 3082"/>
              <a:gd name="T23" fmla="*/ 146 h 1271"/>
              <a:gd name="T24" fmla="*/ 1723 w 3082"/>
              <a:gd name="T25" fmla="*/ 160 h 1271"/>
              <a:gd name="T26" fmla="*/ 1744 w 3082"/>
              <a:gd name="T27" fmla="*/ 206 h 1271"/>
              <a:gd name="T28" fmla="*/ 1990 w 3082"/>
              <a:gd name="T29" fmla="*/ 218 h 1271"/>
              <a:gd name="T30" fmla="*/ 2135 w 3082"/>
              <a:gd name="T31" fmla="*/ 264 h 1271"/>
              <a:gd name="T32" fmla="*/ 2323 w 3082"/>
              <a:gd name="T33" fmla="*/ 300 h 1271"/>
              <a:gd name="T34" fmla="*/ 2808 w 3082"/>
              <a:gd name="T35" fmla="*/ 347 h 1271"/>
              <a:gd name="T36" fmla="*/ 3082 w 3082"/>
              <a:gd name="T37" fmla="*/ 379 h 1271"/>
              <a:gd name="T38" fmla="*/ 2896 w 3082"/>
              <a:gd name="T39" fmla="*/ 1271 h 1271"/>
              <a:gd name="T40" fmla="*/ 2810 w 3082"/>
              <a:gd name="T41" fmla="*/ 868 h 1271"/>
              <a:gd name="T42" fmla="*/ 2793 w 3082"/>
              <a:gd name="T43" fmla="*/ 864 h 1271"/>
              <a:gd name="T44" fmla="*/ 2325 w 3082"/>
              <a:gd name="T45" fmla="*/ 695 h 1271"/>
              <a:gd name="T46" fmla="*/ 2310 w 3082"/>
              <a:gd name="T47" fmla="*/ 537 h 1271"/>
              <a:gd name="T48" fmla="*/ 1990 w 3082"/>
              <a:gd name="T49" fmla="*/ 474 h 1271"/>
              <a:gd name="T50" fmla="*/ 1965 w 3082"/>
              <a:gd name="T51" fmla="*/ 429 h 1271"/>
              <a:gd name="T52" fmla="*/ 1746 w 3082"/>
              <a:gd name="T53" fmla="*/ 420 h 1271"/>
              <a:gd name="T54" fmla="*/ 1725 w 3082"/>
              <a:gd name="T55" fmla="*/ 352 h 1271"/>
              <a:gd name="T56" fmla="*/ 1666 w 3082"/>
              <a:gd name="T57" fmla="*/ 345 h 1271"/>
              <a:gd name="T58" fmla="*/ 1601 w 3082"/>
              <a:gd name="T59" fmla="*/ 331 h 1271"/>
              <a:gd name="T60" fmla="*/ 1578 w 3082"/>
              <a:gd name="T61" fmla="*/ 306 h 1271"/>
              <a:gd name="T62" fmla="*/ 1530 w 3082"/>
              <a:gd name="T63" fmla="*/ 281 h 1271"/>
              <a:gd name="T64" fmla="*/ 1350 w 3082"/>
              <a:gd name="T65" fmla="*/ 270 h 1271"/>
              <a:gd name="T66" fmla="*/ 1340 w 3082"/>
              <a:gd name="T67" fmla="*/ 231 h 1271"/>
              <a:gd name="T68" fmla="*/ 1305 w 3082"/>
              <a:gd name="T69" fmla="*/ 223 h 1271"/>
              <a:gd name="T70" fmla="*/ 1296 w 3082"/>
              <a:gd name="T71" fmla="*/ 198 h 1271"/>
              <a:gd name="T72" fmla="*/ 1162 w 3082"/>
              <a:gd name="T73" fmla="*/ 185 h 1271"/>
              <a:gd name="T74" fmla="*/ 1137 w 3082"/>
              <a:gd name="T75" fmla="*/ 154 h 1271"/>
              <a:gd name="T76" fmla="*/ 972 w 3082"/>
              <a:gd name="T77" fmla="*/ 146 h 1271"/>
              <a:gd name="T78" fmla="*/ 876 w 3082"/>
              <a:gd name="T79" fmla="*/ 121 h 1271"/>
              <a:gd name="T80" fmla="*/ 717 w 3082"/>
              <a:gd name="T81" fmla="*/ 102 h 1271"/>
              <a:gd name="T82" fmla="*/ 479 w 3082"/>
              <a:gd name="T83" fmla="*/ 71 h 1271"/>
              <a:gd name="T84" fmla="*/ 351 w 3082"/>
              <a:gd name="T85" fmla="*/ 44 h 1271"/>
              <a:gd name="T86" fmla="*/ 0 w 3082"/>
              <a:gd name="T87" fmla="*/ 25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82" h="1271">
                <a:moveTo>
                  <a:pt x="0" y="0"/>
                </a:moveTo>
                <a:lnTo>
                  <a:pt x="315" y="0"/>
                </a:lnTo>
                <a:lnTo>
                  <a:pt x="315" y="6"/>
                </a:lnTo>
                <a:lnTo>
                  <a:pt x="357" y="6"/>
                </a:lnTo>
                <a:lnTo>
                  <a:pt x="357" y="14"/>
                </a:lnTo>
                <a:lnTo>
                  <a:pt x="715" y="14"/>
                </a:lnTo>
                <a:lnTo>
                  <a:pt x="865" y="14"/>
                </a:lnTo>
                <a:lnTo>
                  <a:pt x="865" y="25"/>
                </a:lnTo>
                <a:lnTo>
                  <a:pt x="972" y="25"/>
                </a:lnTo>
                <a:lnTo>
                  <a:pt x="972" y="33"/>
                </a:lnTo>
                <a:lnTo>
                  <a:pt x="1087" y="33"/>
                </a:lnTo>
                <a:lnTo>
                  <a:pt x="1087" y="37"/>
                </a:lnTo>
                <a:lnTo>
                  <a:pt x="1139" y="37"/>
                </a:lnTo>
                <a:lnTo>
                  <a:pt x="1139" y="44"/>
                </a:lnTo>
                <a:lnTo>
                  <a:pt x="1162" y="44"/>
                </a:lnTo>
                <a:lnTo>
                  <a:pt x="1162" y="52"/>
                </a:lnTo>
                <a:lnTo>
                  <a:pt x="1196" y="52"/>
                </a:lnTo>
                <a:lnTo>
                  <a:pt x="1196" y="58"/>
                </a:lnTo>
                <a:lnTo>
                  <a:pt x="1296" y="58"/>
                </a:lnTo>
                <a:lnTo>
                  <a:pt x="1296" y="69"/>
                </a:lnTo>
                <a:lnTo>
                  <a:pt x="1304" y="69"/>
                </a:lnTo>
                <a:lnTo>
                  <a:pt x="1304" y="75"/>
                </a:lnTo>
                <a:lnTo>
                  <a:pt x="1342" y="75"/>
                </a:lnTo>
                <a:lnTo>
                  <a:pt x="1342" y="89"/>
                </a:lnTo>
                <a:lnTo>
                  <a:pt x="1346" y="89"/>
                </a:lnTo>
                <a:lnTo>
                  <a:pt x="1346" y="102"/>
                </a:lnTo>
                <a:lnTo>
                  <a:pt x="1507" y="102"/>
                </a:lnTo>
                <a:lnTo>
                  <a:pt x="1507" y="110"/>
                </a:lnTo>
                <a:lnTo>
                  <a:pt x="1526" y="110"/>
                </a:lnTo>
                <a:lnTo>
                  <a:pt x="1526" y="116"/>
                </a:lnTo>
                <a:lnTo>
                  <a:pt x="1578" y="116"/>
                </a:lnTo>
                <a:lnTo>
                  <a:pt x="1578" y="127"/>
                </a:lnTo>
                <a:lnTo>
                  <a:pt x="1587" y="127"/>
                </a:lnTo>
                <a:lnTo>
                  <a:pt x="1587" y="143"/>
                </a:lnTo>
                <a:lnTo>
                  <a:pt x="1599" y="143"/>
                </a:lnTo>
                <a:lnTo>
                  <a:pt x="1599" y="146"/>
                </a:lnTo>
                <a:lnTo>
                  <a:pt x="1708" y="146"/>
                </a:lnTo>
                <a:lnTo>
                  <a:pt x="1708" y="160"/>
                </a:lnTo>
                <a:lnTo>
                  <a:pt x="1723" y="160"/>
                </a:lnTo>
                <a:lnTo>
                  <a:pt x="1723" y="185"/>
                </a:lnTo>
                <a:lnTo>
                  <a:pt x="1744" y="185"/>
                </a:lnTo>
                <a:lnTo>
                  <a:pt x="1744" y="206"/>
                </a:lnTo>
                <a:lnTo>
                  <a:pt x="1961" y="206"/>
                </a:lnTo>
                <a:lnTo>
                  <a:pt x="1961" y="218"/>
                </a:lnTo>
                <a:lnTo>
                  <a:pt x="1990" y="218"/>
                </a:lnTo>
                <a:lnTo>
                  <a:pt x="1990" y="231"/>
                </a:lnTo>
                <a:lnTo>
                  <a:pt x="2135" y="231"/>
                </a:lnTo>
                <a:lnTo>
                  <a:pt x="2135" y="264"/>
                </a:lnTo>
                <a:lnTo>
                  <a:pt x="2308" y="264"/>
                </a:lnTo>
                <a:lnTo>
                  <a:pt x="2308" y="300"/>
                </a:lnTo>
                <a:lnTo>
                  <a:pt x="2323" y="300"/>
                </a:lnTo>
                <a:lnTo>
                  <a:pt x="2323" y="339"/>
                </a:lnTo>
                <a:lnTo>
                  <a:pt x="2808" y="339"/>
                </a:lnTo>
                <a:lnTo>
                  <a:pt x="2808" y="347"/>
                </a:lnTo>
                <a:lnTo>
                  <a:pt x="2894" y="347"/>
                </a:lnTo>
                <a:lnTo>
                  <a:pt x="2894" y="379"/>
                </a:lnTo>
                <a:lnTo>
                  <a:pt x="3082" y="379"/>
                </a:lnTo>
                <a:lnTo>
                  <a:pt x="3082" y="830"/>
                </a:lnTo>
                <a:lnTo>
                  <a:pt x="3082" y="1271"/>
                </a:lnTo>
                <a:lnTo>
                  <a:pt x="2896" y="1271"/>
                </a:lnTo>
                <a:lnTo>
                  <a:pt x="2896" y="1184"/>
                </a:lnTo>
                <a:lnTo>
                  <a:pt x="2810" y="1184"/>
                </a:lnTo>
                <a:lnTo>
                  <a:pt x="2810" y="868"/>
                </a:lnTo>
                <a:lnTo>
                  <a:pt x="2802" y="868"/>
                </a:lnTo>
                <a:lnTo>
                  <a:pt x="2802" y="864"/>
                </a:lnTo>
                <a:lnTo>
                  <a:pt x="2793" y="864"/>
                </a:lnTo>
                <a:lnTo>
                  <a:pt x="2793" y="695"/>
                </a:lnTo>
                <a:lnTo>
                  <a:pt x="2559" y="695"/>
                </a:lnTo>
                <a:lnTo>
                  <a:pt x="2325" y="695"/>
                </a:lnTo>
                <a:lnTo>
                  <a:pt x="2325" y="622"/>
                </a:lnTo>
                <a:lnTo>
                  <a:pt x="2310" y="622"/>
                </a:lnTo>
                <a:lnTo>
                  <a:pt x="2310" y="537"/>
                </a:lnTo>
                <a:lnTo>
                  <a:pt x="2139" y="537"/>
                </a:lnTo>
                <a:lnTo>
                  <a:pt x="2139" y="474"/>
                </a:lnTo>
                <a:lnTo>
                  <a:pt x="1990" y="474"/>
                </a:lnTo>
                <a:lnTo>
                  <a:pt x="1990" y="454"/>
                </a:lnTo>
                <a:lnTo>
                  <a:pt x="1965" y="454"/>
                </a:lnTo>
                <a:lnTo>
                  <a:pt x="1965" y="429"/>
                </a:lnTo>
                <a:lnTo>
                  <a:pt x="1781" y="429"/>
                </a:lnTo>
                <a:lnTo>
                  <a:pt x="1781" y="420"/>
                </a:lnTo>
                <a:lnTo>
                  <a:pt x="1746" y="420"/>
                </a:lnTo>
                <a:lnTo>
                  <a:pt x="1746" y="397"/>
                </a:lnTo>
                <a:lnTo>
                  <a:pt x="1725" y="397"/>
                </a:lnTo>
                <a:lnTo>
                  <a:pt x="1725" y="352"/>
                </a:lnTo>
                <a:lnTo>
                  <a:pt x="1710" y="352"/>
                </a:lnTo>
                <a:lnTo>
                  <a:pt x="1710" y="345"/>
                </a:lnTo>
                <a:lnTo>
                  <a:pt x="1666" y="345"/>
                </a:lnTo>
                <a:lnTo>
                  <a:pt x="1666" y="339"/>
                </a:lnTo>
                <a:lnTo>
                  <a:pt x="1601" y="339"/>
                </a:lnTo>
                <a:lnTo>
                  <a:pt x="1601" y="331"/>
                </a:lnTo>
                <a:lnTo>
                  <a:pt x="1587" y="331"/>
                </a:lnTo>
                <a:lnTo>
                  <a:pt x="1587" y="306"/>
                </a:lnTo>
                <a:lnTo>
                  <a:pt x="1578" y="306"/>
                </a:lnTo>
                <a:lnTo>
                  <a:pt x="1578" y="295"/>
                </a:lnTo>
                <a:lnTo>
                  <a:pt x="1530" y="295"/>
                </a:lnTo>
                <a:lnTo>
                  <a:pt x="1530" y="281"/>
                </a:lnTo>
                <a:lnTo>
                  <a:pt x="1507" y="281"/>
                </a:lnTo>
                <a:lnTo>
                  <a:pt x="1507" y="270"/>
                </a:lnTo>
                <a:lnTo>
                  <a:pt x="1350" y="270"/>
                </a:lnTo>
                <a:lnTo>
                  <a:pt x="1350" y="256"/>
                </a:lnTo>
                <a:lnTo>
                  <a:pt x="1340" y="256"/>
                </a:lnTo>
                <a:lnTo>
                  <a:pt x="1340" y="231"/>
                </a:lnTo>
                <a:lnTo>
                  <a:pt x="1319" y="231"/>
                </a:lnTo>
                <a:lnTo>
                  <a:pt x="1319" y="223"/>
                </a:lnTo>
                <a:lnTo>
                  <a:pt x="1305" y="223"/>
                </a:lnTo>
                <a:lnTo>
                  <a:pt x="1305" y="212"/>
                </a:lnTo>
                <a:lnTo>
                  <a:pt x="1296" y="212"/>
                </a:lnTo>
                <a:lnTo>
                  <a:pt x="1296" y="198"/>
                </a:lnTo>
                <a:lnTo>
                  <a:pt x="1194" y="198"/>
                </a:lnTo>
                <a:lnTo>
                  <a:pt x="1194" y="185"/>
                </a:lnTo>
                <a:lnTo>
                  <a:pt x="1162" y="185"/>
                </a:lnTo>
                <a:lnTo>
                  <a:pt x="1162" y="168"/>
                </a:lnTo>
                <a:lnTo>
                  <a:pt x="1137" y="168"/>
                </a:lnTo>
                <a:lnTo>
                  <a:pt x="1137" y="154"/>
                </a:lnTo>
                <a:lnTo>
                  <a:pt x="1089" y="154"/>
                </a:lnTo>
                <a:lnTo>
                  <a:pt x="1089" y="146"/>
                </a:lnTo>
                <a:lnTo>
                  <a:pt x="972" y="146"/>
                </a:lnTo>
                <a:lnTo>
                  <a:pt x="972" y="129"/>
                </a:lnTo>
                <a:lnTo>
                  <a:pt x="876" y="129"/>
                </a:lnTo>
                <a:lnTo>
                  <a:pt x="876" y="121"/>
                </a:lnTo>
                <a:lnTo>
                  <a:pt x="863" y="121"/>
                </a:lnTo>
                <a:lnTo>
                  <a:pt x="863" y="102"/>
                </a:lnTo>
                <a:lnTo>
                  <a:pt x="717" y="102"/>
                </a:lnTo>
                <a:lnTo>
                  <a:pt x="717" y="83"/>
                </a:lnTo>
                <a:lnTo>
                  <a:pt x="479" y="83"/>
                </a:lnTo>
                <a:lnTo>
                  <a:pt x="479" y="71"/>
                </a:lnTo>
                <a:lnTo>
                  <a:pt x="359" y="71"/>
                </a:lnTo>
                <a:lnTo>
                  <a:pt x="359" y="44"/>
                </a:lnTo>
                <a:lnTo>
                  <a:pt x="351" y="44"/>
                </a:lnTo>
                <a:lnTo>
                  <a:pt x="351" y="33"/>
                </a:lnTo>
                <a:lnTo>
                  <a:pt x="351" y="25"/>
                </a:lnTo>
                <a:lnTo>
                  <a:pt x="0" y="25"/>
                </a:lnTo>
                <a:lnTo>
                  <a:pt x="0" y="0"/>
                </a:lnTo>
                <a:close/>
              </a:path>
            </a:pathLst>
          </a:custGeom>
          <a:solidFill>
            <a:srgbClr val="830051">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8" name="Freeform 353">
            <a:extLst>
              <a:ext uri="{FF2B5EF4-FFF2-40B4-BE49-F238E27FC236}">
                <a16:creationId xmlns:a16="http://schemas.microsoft.com/office/drawing/2014/main" id="{2FC84CE0-B54E-A9E0-CF40-0BF749226FA5}"/>
              </a:ext>
            </a:extLst>
          </p:cNvPr>
          <p:cNvSpPr>
            <a:spLocks/>
          </p:cNvSpPr>
          <p:nvPr/>
        </p:nvSpPr>
        <p:spPr bwMode="auto">
          <a:xfrm>
            <a:off x="1412878" y="1863107"/>
            <a:ext cx="6883703" cy="1560820"/>
          </a:xfrm>
          <a:custGeom>
            <a:avLst/>
            <a:gdLst>
              <a:gd name="T0" fmla="*/ 199 w 2142"/>
              <a:gd name="T1" fmla="*/ 18 h 484"/>
              <a:gd name="T2" fmla="*/ 240 w 2142"/>
              <a:gd name="T3" fmla="*/ 31 h 484"/>
              <a:gd name="T4" fmla="*/ 336 w 2142"/>
              <a:gd name="T5" fmla="*/ 42 h 484"/>
              <a:gd name="T6" fmla="*/ 442 w 2142"/>
              <a:gd name="T7" fmla="*/ 55 h 484"/>
              <a:gd name="T8" fmla="*/ 477 w 2142"/>
              <a:gd name="T9" fmla="*/ 68 h 484"/>
              <a:gd name="T10" fmla="*/ 508 w 2142"/>
              <a:gd name="T11" fmla="*/ 78 h 484"/>
              <a:gd name="T12" fmla="*/ 538 w 2142"/>
              <a:gd name="T13" fmla="*/ 90 h 484"/>
              <a:gd name="T14" fmla="*/ 569 w 2142"/>
              <a:gd name="T15" fmla="*/ 105 h 484"/>
              <a:gd name="T16" fmla="*/ 648 w 2142"/>
              <a:gd name="T17" fmla="*/ 116 h 484"/>
              <a:gd name="T18" fmla="*/ 682 w 2142"/>
              <a:gd name="T19" fmla="*/ 129 h 484"/>
              <a:gd name="T20" fmla="*/ 746 w 2142"/>
              <a:gd name="T21" fmla="*/ 140 h 484"/>
              <a:gd name="T22" fmla="*/ 814 w 2142"/>
              <a:gd name="T23" fmla="*/ 155 h 484"/>
              <a:gd name="T24" fmla="*/ 893 w 2142"/>
              <a:gd name="T25" fmla="*/ 167 h 484"/>
              <a:gd name="T26" fmla="*/ 957 w 2142"/>
              <a:gd name="T27" fmla="*/ 189 h 484"/>
              <a:gd name="T28" fmla="*/ 995 w 2142"/>
              <a:gd name="T29" fmla="*/ 197 h 484"/>
              <a:gd name="T30" fmla="*/ 1010 w 2142"/>
              <a:gd name="T31" fmla="*/ 208 h 484"/>
              <a:gd name="T32" fmla="*/ 1046 w 2142"/>
              <a:gd name="T33" fmla="*/ 222 h 484"/>
              <a:gd name="T34" fmla="*/ 1097 w 2142"/>
              <a:gd name="T35" fmla="*/ 235 h 484"/>
              <a:gd name="T36" fmla="*/ 1128 w 2142"/>
              <a:gd name="T37" fmla="*/ 249 h 484"/>
              <a:gd name="T38" fmla="*/ 1196 w 2142"/>
              <a:gd name="T39" fmla="*/ 258 h 484"/>
              <a:gd name="T40" fmla="*/ 1367 w 2142"/>
              <a:gd name="T41" fmla="*/ 288 h 484"/>
              <a:gd name="T42" fmla="*/ 1473 w 2142"/>
              <a:gd name="T43" fmla="*/ 301 h 484"/>
              <a:gd name="T44" fmla="*/ 1648 w 2142"/>
              <a:gd name="T45" fmla="*/ 317 h 484"/>
              <a:gd name="T46" fmla="*/ 1776 w 2142"/>
              <a:gd name="T47" fmla="*/ 352 h 484"/>
              <a:gd name="T48" fmla="*/ 1702 w 2142"/>
              <a:gd name="T49" fmla="*/ 442 h 484"/>
              <a:gd name="T50" fmla="*/ 1618 w 2142"/>
              <a:gd name="T51" fmla="*/ 423 h 484"/>
              <a:gd name="T52" fmla="*/ 1465 w 2142"/>
              <a:gd name="T53" fmla="*/ 404 h 484"/>
              <a:gd name="T54" fmla="*/ 1364 w 2142"/>
              <a:gd name="T55" fmla="*/ 390 h 484"/>
              <a:gd name="T56" fmla="*/ 1244 w 2142"/>
              <a:gd name="T57" fmla="*/ 376 h 484"/>
              <a:gd name="T58" fmla="*/ 1194 w 2142"/>
              <a:gd name="T59" fmla="*/ 365 h 484"/>
              <a:gd name="T60" fmla="*/ 1127 w 2142"/>
              <a:gd name="T61" fmla="*/ 350 h 484"/>
              <a:gd name="T62" fmla="*/ 1098 w 2142"/>
              <a:gd name="T63" fmla="*/ 338 h 484"/>
              <a:gd name="T64" fmla="*/ 1043 w 2142"/>
              <a:gd name="T65" fmla="*/ 321 h 484"/>
              <a:gd name="T66" fmla="*/ 1008 w 2142"/>
              <a:gd name="T67" fmla="*/ 305 h 484"/>
              <a:gd name="T68" fmla="*/ 992 w 2142"/>
              <a:gd name="T69" fmla="*/ 290 h 484"/>
              <a:gd name="T70" fmla="*/ 924 w 2142"/>
              <a:gd name="T71" fmla="*/ 277 h 484"/>
              <a:gd name="T72" fmla="*/ 881 w 2142"/>
              <a:gd name="T73" fmla="*/ 250 h 484"/>
              <a:gd name="T74" fmla="*/ 761 w 2142"/>
              <a:gd name="T75" fmla="*/ 231 h 484"/>
              <a:gd name="T76" fmla="*/ 719 w 2142"/>
              <a:gd name="T77" fmla="*/ 217 h 484"/>
              <a:gd name="T78" fmla="*/ 664 w 2142"/>
              <a:gd name="T79" fmla="*/ 200 h 484"/>
              <a:gd name="T80" fmla="*/ 591 w 2142"/>
              <a:gd name="T81" fmla="*/ 188 h 484"/>
              <a:gd name="T82" fmla="*/ 558 w 2142"/>
              <a:gd name="T83" fmla="*/ 167 h 484"/>
              <a:gd name="T84" fmla="*/ 500 w 2142"/>
              <a:gd name="T85" fmla="*/ 154 h 484"/>
              <a:gd name="T86" fmla="*/ 471 w 2142"/>
              <a:gd name="T87" fmla="*/ 141 h 484"/>
              <a:gd name="T88" fmla="*/ 443 w 2142"/>
              <a:gd name="T89" fmla="*/ 127 h 484"/>
              <a:gd name="T90" fmla="*/ 354 w 2142"/>
              <a:gd name="T91" fmla="*/ 114 h 484"/>
              <a:gd name="T92" fmla="*/ 326 w 2142"/>
              <a:gd name="T93" fmla="*/ 98 h 484"/>
              <a:gd name="T94" fmla="*/ 241 w 2142"/>
              <a:gd name="T95" fmla="*/ 85 h 484"/>
              <a:gd name="T96" fmla="*/ 219 w 2142"/>
              <a:gd name="T97" fmla="*/ 65 h 484"/>
              <a:gd name="T98" fmla="*/ 169 w 2142"/>
              <a:gd name="T99" fmla="*/ 53 h 484"/>
              <a:gd name="T100" fmla="*/ 107 w 2142"/>
              <a:gd name="T101" fmla="*/ 37 h 484"/>
              <a:gd name="T102" fmla="*/ 94 w 2142"/>
              <a:gd name="T103" fmla="*/ 26 h 484"/>
              <a:gd name="T104" fmla="*/ 80 w 2142"/>
              <a:gd name="T105" fmla="*/ 15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2" h="484">
                <a:moveTo>
                  <a:pt x="0" y="0"/>
                </a:moveTo>
                <a:cubicBezTo>
                  <a:pt x="179" y="0"/>
                  <a:pt x="179" y="0"/>
                  <a:pt x="179" y="0"/>
                </a:cubicBezTo>
                <a:cubicBezTo>
                  <a:pt x="179" y="7"/>
                  <a:pt x="179" y="7"/>
                  <a:pt x="179" y="7"/>
                </a:cubicBezTo>
                <a:cubicBezTo>
                  <a:pt x="192" y="7"/>
                  <a:pt x="192" y="7"/>
                  <a:pt x="192" y="7"/>
                </a:cubicBezTo>
                <a:cubicBezTo>
                  <a:pt x="192" y="18"/>
                  <a:pt x="192" y="18"/>
                  <a:pt x="192" y="18"/>
                </a:cubicBezTo>
                <a:cubicBezTo>
                  <a:pt x="199" y="18"/>
                  <a:pt x="199" y="18"/>
                  <a:pt x="199" y="18"/>
                </a:cubicBezTo>
                <a:cubicBezTo>
                  <a:pt x="199" y="24"/>
                  <a:pt x="199" y="24"/>
                  <a:pt x="199" y="24"/>
                </a:cubicBezTo>
                <a:cubicBezTo>
                  <a:pt x="207" y="24"/>
                  <a:pt x="207" y="24"/>
                  <a:pt x="207" y="24"/>
                </a:cubicBezTo>
                <a:cubicBezTo>
                  <a:pt x="207" y="27"/>
                  <a:pt x="207" y="27"/>
                  <a:pt x="207" y="27"/>
                </a:cubicBezTo>
                <a:cubicBezTo>
                  <a:pt x="221" y="27"/>
                  <a:pt x="221" y="27"/>
                  <a:pt x="221" y="27"/>
                </a:cubicBezTo>
                <a:cubicBezTo>
                  <a:pt x="221" y="31"/>
                  <a:pt x="221" y="31"/>
                  <a:pt x="221" y="31"/>
                </a:cubicBezTo>
                <a:cubicBezTo>
                  <a:pt x="240" y="31"/>
                  <a:pt x="240" y="31"/>
                  <a:pt x="240" y="31"/>
                </a:cubicBezTo>
                <a:cubicBezTo>
                  <a:pt x="240" y="35"/>
                  <a:pt x="240" y="35"/>
                  <a:pt x="240" y="35"/>
                </a:cubicBezTo>
                <a:cubicBezTo>
                  <a:pt x="325" y="35"/>
                  <a:pt x="325" y="35"/>
                  <a:pt x="325" y="35"/>
                </a:cubicBezTo>
                <a:cubicBezTo>
                  <a:pt x="325" y="39"/>
                  <a:pt x="325" y="39"/>
                  <a:pt x="325" y="39"/>
                </a:cubicBezTo>
                <a:cubicBezTo>
                  <a:pt x="331" y="39"/>
                  <a:pt x="331" y="39"/>
                  <a:pt x="331" y="39"/>
                </a:cubicBezTo>
                <a:cubicBezTo>
                  <a:pt x="331" y="42"/>
                  <a:pt x="331" y="42"/>
                  <a:pt x="331" y="42"/>
                </a:cubicBezTo>
                <a:cubicBezTo>
                  <a:pt x="336" y="42"/>
                  <a:pt x="336" y="42"/>
                  <a:pt x="336" y="42"/>
                </a:cubicBezTo>
                <a:cubicBezTo>
                  <a:pt x="336" y="47"/>
                  <a:pt x="336" y="47"/>
                  <a:pt x="336" y="47"/>
                </a:cubicBezTo>
                <a:cubicBezTo>
                  <a:pt x="355" y="47"/>
                  <a:pt x="355" y="47"/>
                  <a:pt x="355" y="47"/>
                </a:cubicBezTo>
                <a:cubicBezTo>
                  <a:pt x="355" y="51"/>
                  <a:pt x="355" y="51"/>
                  <a:pt x="355" y="51"/>
                </a:cubicBezTo>
                <a:cubicBezTo>
                  <a:pt x="428" y="51"/>
                  <a:pt x="428" y="51"/>
                  <a:pt x="428" y="51"/>
                </a:cubicBezTo>
                <a:cubicBezTo>
                  <a:pt x="428" y="55"/>
                  <a:pt x="428" y="55"/>
                  <a:pt x="428" y="55"/>
                </a:cubicBezTo>
                <a:cubicBezTo>
                  <a:pt x="442" y="55"/>
                  <a:pt x="442" y="55"/>
                  <a:pt x="442" y="55"/>
                </a:cubicBezTo>
                <a:cubicBezTo>
                  <a:pt x="442" y="61"/>
                  <a:pt x="442" y="61"/>
                  <a:pt x="442" y="61"/>
                </a:cubicBezTo>
                <a:cubicBezTo>
                  <a:pt x="446" y="61"/>
                  <a:pt x="446" y="61"/>
                  <a:pt x="446" y="61"/>
                </a:cubicBezTo>
                <a:cubicBezTo>
                  <a:pt x="446" y="66"/>
                  <a:pt x="446" y="66"/>
                  <a:pt x="446" y="66"/>
                </a:cubicBezTo>
                <a:cubicBezTo>
                  <a:pt x="469" y="66"/>
                  <a:pt x="469" y="66"/>
                  <a:pt x="469" y="66"/>
                </a:cubicBezTo>
                <a:cubicBezTo>
                  <a:pt x="469" y="68"/>
                  <a:pt x="469" y="68"/>
                  <a:pt x="469" y="68"/>
                </a:cubicBezTo>
                <a:cubicBezTo>
                  <a:pt x="477" y="68"/>
                  <a:pt x="477" y="68"/>
                  <a:pt x="477" y="68"/>
                </a:cubicBezTo>
                <a:cubicBezTo>
                  <a:pt x="477" y="71"/>
                  <a:pt x="477" y="71"/>
                  <a:pt x="477" y="71"/>
                </a:cubicBezTo>
                <a:cubicBezTo>
                  <a:pt x="488" y="71"/>
                  <a:pt x="488" y="71"/>
                  <a:pt x="488" y="71"/>
                </a:cubicBezTo>
                <a:cubicBezTo>
                  <a:pt x="488" y="75"/>
                  <a:pt x="488" y="75"/>
                  <a:pt x="488" y="75"/>
                </a:cubicBezTo>
                <a:cubicBezTo>
                  <a:pt x="502" y="75"/>
                  <a:pt x="502" y="75"/>
                  <a:pt x="502" y="75"/>
                </a:cubicBezTo>
                <a:cubicBezTo>
                  <a:pt x="502" y="78"/>
                  <a:pt x="502" y="78"/>
                  <a:pt x="502" y="78"/>
                </a:cubicBezTo>
                <a:cubicBezTo>
                  <a:pt x="508" y="78"/>
                  <a:pt x="508" y="78"/>
                  <a:pt x="508" y="78"/>
                </a:cubicBezTo>
                <a:cubicBezTo>
                  <a:pt x="508" y="81"/>
                  <a:pt x="508" y="81"/>
                  <a:pt x="508" y="81"/>
                </a:cubicBezTo>
                <a:cubicBezTo>
                  <a:pt x="534" y="81"/>
                  <a:pt x="534" y="81"/>
                  <a:pt x="534" y="81"/>
                </a:cubicBezTo>
                <a:cubicBezTo>
                  <a:pt x="534" y="84"/>
                  <a:pt x="534" y="84"/>
                  <a:pt x="534" y="84"/>
                </a:cubicBezTo>
                <a:cubicBezTo>
                  <a:pt x="538" y="84"/>
                  <a:pt x="538" y="84"/>
                  <a:pt x="538" y="84"/>
                </a:cubicBezTo>
                <a:cubicBezTo>
                  <a:pt x="538" y="86"/>
                  <a:pt x="538" y="86"/>
                  <a:pt x="538" y="86"/>
                </a:cubicBezTo>
                <a:cubicBezTo>
                  <a:pt x="538" y="90"/>
                  <a:pt x="538" y="90"/>
                  <a:pt x="538" y="90"/>
                </a:cubicBezTo>
                <a:cubicBezTo>
                  <a:pt x="558" y="90"/>
                  <a:pt x="558" y="90"/>
                  <a:pt x="558" y="90"/>
                </a:cubicBezTo>
                <a:cubicBezTo>
                  <a:pt x="558" y="97"/>
                  <a:pt x="558" y="97"/>
                  <a:pt x="558" y="97"/>
                </a:cubicBezTo>
                <a:cubicBezTo>
                  <a:pt x="561" y="97"/>
                  <a:pt x="561" y="97"/>
                  <a:pt x="561" y="97"/>
                </a:cubicBezTo>
                <a:cubicBezTo>
                  <a:pt x="561" y="100"/>
                  <a:pt x="561" y="100"/>
                  <a:pt x="561" y="100"/>
                </a:cubicBezTo>
                <a:cubicBezTo>
                  <a:pt x="569" y="100"/>
                  <a:pt x="569" y="100"/>
                  <a:pt x="569" y="100"/>
                </a:cubicBezTo>
                <a:cubicBezTo>
                  <a:pt x="569" y="105"/>
                  <a:pt x="569" y="105"/>
                  <a:pt x="569" y="105"/>
                </a:cubicBezTo>
                <a:cubicBezTo>
                  <a:pt x="593" y="105"/>
                  <a:pt x="593" y="105"/>
                  <a:pt x="593" y="105"/>
                </a:cubicBezTo>
                <a:cubicBezTo>
                  <a:pt x="593" y="108"/>
                  <a:pt x="593" y="108"/>
                  <a:pt x="593" y="108"/>
                </a:cubicBezTo>
                <a:cubicBezTo>
                  <a:pt x="614" y="108"/>
                  <a:pt x="614" y="108"/>
                  <a:pt x="614" y="108"/>
                </a:cubicBezTo>
                <a:cubicBezTo>
                  <a:pt x="614" y="112"/>
                  <a:pt x="614" y="112"/>
                  <a:pt x="614" y="112"/>
                </a:cubicBezTo>
                <a:cubicBezTo>
                  <a:pt x="648" y="112"/>
                  <a:pt x="648" y="112"/>
                  <a:pt x="648" y="112"/>
                </a:cubicBezTo>
                <a:cubicBezTo>
                  <a:pt x="648" y="116"/>
                  <a:pt x="648" y="116"/>
                  <a:pt x="648" y="116"/>
                </a:cubicBezTo>
                <a:cubicBezTo>
                  <a:pt x="664" y="116"/>
                  <a:pt x="664" y="116"/>
                  <a:pt x="664" y="116"/>
                </a:cubicBezTo>
                <a:cubicBezTo>
                  <a:pt x="664" y="118"/>
                  <a:pt x="664" y="118"/>
                  <a:pt x="664" y="118"/>
                </a:cubicBezTo>
                <a:cubicBezTo>
                  <a:pt x="674" y="118"/>
                  <a:pt x="674" y="118"/>
                  <a:pt x="674" y="118"/>
                </a:cubicBezTo>
                <a:cubicBezTo>
                  <a:pt x="674" y="123"/>
                  <a:pt x="674" y="123"/>
                  <a:pt x="674" y="123"/>
                </a:cubicBezTo>
                <a:cubicBezTo>
                  <a:pt x="682" y="123"/>
                  <a:pt x="682" y="123"/>
                  <a:pt x="682" y="123"/>
                </a:cubicBezTo>
                <a:cubicBezTo>
                  <a:pt x="682" y="129"/>
                  <a:pt x="682" y="129"/>
                  <a:pt x="682" y="129"/>
                </a:cubicBezTo>
                <a:cubicBezTo>
                  <a:pt x="723" y="129"/>
                  <a:pt x="723" y="129"/>
                  <a:pt x="723" y="129"/>
                </a:cubicBezTo>
                <a:cubicBezTo>
                  <a:pt x="723" y="132"/>
                  <a:pt x="723" y="132"/>
                  <a:pt x="723" y="132"/>
                </a:cubicBezTo>
                <a:cubicBezTo>
                  <a:pt x="731" y="132"/>
                  <a:pt x="731" y="132"/>
                  <a:pt x="731" y="132"/>
                </a:cubicBezTo>
                <a:cubicBezTo>
                  <a:pt x="731" y="136"/>
                  <a:pt x="731" y="136"/>
                  <a:pt x="731" y="136"/>
                </a:cubicBezTo>
                <a:cubicBezTo>
                  <a:pt x="746" y="136"/>
                  <a:pt x="746" y="136"/>
                  <a:pt x="746" y="136"/>
                </a:cubicBezTo>
                <a:cubicBezTo>
                  <a:pt x="746" y="140"/>
                  <a:pt x="746" y="140"/>
                  <a:pt x="746" y="140"/>
                </a:cubicBezTo>
                <a:cubicBezTo>
                  <a:pt x="761" y="140"/>
                  <a:pt x="761" y="140"/>
                  <a:pt x="761" y="140"/>
                </a:cubicBezTo>
                <a:cubicBezTo>
                  <a:pt x="761" y="142"/>
                  <a:pt x="761" y="142"/>
                  <a:pt x="761" y="142"/>
                </a:cubicBezTo>
                <a:cubicBezTo>
                  <a:pt x="784" y="142"/>
                  <a:pt x="784" y="142"/>
                  <a:pt x="784" y="142"/>
                </a:cubicBezTo>
                <a:cubicBezTo>
                  <a:pt x="784" y="151"/>
                  <a:pt x="784" y="151"/>
                  <a:pt x="784" y="151"/>
                </a:cubicBezTo>
                <a:cubicBezTo>
                  <a:pt x="814" y="151"/>
                  <a:pt x="814" y="151"/>
                  <a:pt x="814" y="151"/>
                </a:cubicBezTo>
                <a:cubicBezTo>
                  <a:pt x="814" y="155"/>
                  <a:pt x="814" y="155"/>
                  <a:pt x="814" y="155"/>
                </a:cubicBezTo>
                <a:cubicBezTo>
                  <a:pt x="884" y="155"/>
                  <a:pt x="884" y="155"/>
                  <a:pt x="884" y="155"/>
                </a:cubicBezTo>
                <a:cubicBezTo>
                  <a:pt x="884" y="159"/>
                  <a:pt x="884" y="159"/>
                  <a:pt x="884" y="159"/>
                </a:cubicBezTo>
                <a:cubicBezTo>
                  <a:pt x="889" y="159"/>
                  <a:pt x="889" y="159"/>
                  <a:pt x="889" y="159"/>
                </a:cubicBezTo>
                <a:cubicBezTo>
                  <a:pt x="889" y="164"/>
                  <a:pt x="889" y="164"/>
                  <a:pt x="889" y="164"/>
                </a:cubicBezTo>
                <a:cubicBezTo>
                  <a:pt x="893" y="164"/>
                  <a:pt x="893" y="164"/>
                  <a:pt x="893" y="164"/>
                </a:cubicBezTo>
                <a:cubicBezTo>
                  <a:pt x="893" y="167"/>
                  <a:pt x="893" y="167"/>
                  <a:pt x="893" y="167"/>
                </a:cubicBezTo>
                <a:cubicBezTo>
                  <a:pt x="896" y="167"/>
                  <a:pt x="896" y="167"/>
                  <a:pt x="896" y="167"/>
                </a:cubicBezTo>
                <a:cubicBezTo>
                  <a:pt x="896" y="180"/>
                  <a:pt x="896" y="180"/>
                  <a:pt x="896" y="180"/>
                </a:cubicBezTo>
                <a:cubicBezTo>
                  <a:pt x="923" y="180"/>
                  <a:pt x="923" y="180"/>
                  <a:pt x="923" y="180"/>
                </a:cubicBezTo>
                <a:cubicBezTo>
                  <a:pt x="923" y="186"/>
                  <a:pt x="923" y="186"/>
                  <a:pt x="923" y="186"/>
                </a:cubicBezTo>
                <a:cubicBezTo>
                  <a:pt x="957" y="186"/>
                  <a:pt x="957" y="186"/>
                  <a:pt x="957" y="186"/>
                </a:cubicBezTo>
                <a:cubicBezTo>
                  <a:pt x="957" y="189"/>
                  <a:pt x="957" y="189"/>
                  <a:pt x="957" y="189"/>
                </a:cubicBezTo>
                <a:cubicBezTo>
                  <a:pt x="983" y="189"/>
                  <a:pt x="983" y="189"/>
                  <a:pt x="983" y="189"/>
                </a:cubicBezTo>
                <a:cubicBezTo>
                  <a:pt x="983" y="191"/>
                  <a:pt x="983" y="191"/>
                  <a:pt x="983" y="191"/>
                </a:cubicBezTo>
                <a:cubicBezTo>
                  <a:pt x="990" y="191"/>
                  <a:pt x="990" y="191"/>
                  <a:pt x="990" y="191"/>
                </a:cubicBezTo>
                <a:cubicBezTo>
                  <a:pt x="990" y="194"/>
                  <a:pt x="990" y="194"/>
                  <a:pt x="990" y="194"/>
                </a:cubicBezTo>
                <a:cubicBezTo>
                  <a:pt x="995" y="194"/>
                  <a:pt x="995" y="194"/>
                  <a:pt x="995" y="194"/>
                </a:cubicBezTo>
                <a:cubicBezTo>
                  <a:pt x="995" y="197"/>
                  <a:pt x="995" y="197"/>
                  <a:pt x="995" y="197"/>
                </a:cubicBezTo>
                <a:cubicBezTo>
                  <a:pt x="1003" y="197"/>
                  <a:pt x="1003" y="197"/>
                  <a:pt x="1003" y="197"/>
                </a:cubicBezTo>
                <a:cubicBezTo>
                  <a:pt x="1003" y="201"/>
                  <a:pt x="1003" y="201"/>
                  <a:pt x="1003" y="201"/>
                </a:cubicBezTo>
                <a:cubicBezTo>
                  <a:pt x="1006" y="201"/>
                  <a:pt x="1006" y="201"/>
                  <a:pt x="1006" y="201"/>
                </a:cubicBezTo>
                <a:cubicBezTo>
                  <a:pt x="1006" y="205"/>
                  <a:pt x="1006" y="205"/>
                  <a:pt x="1006" y="205"/>
                </a:cubicBezTo>
                <a:cubicBezTo>
                  <a:pt x="1010" y="205"/>
                  <a:pt x="1010" y="205"/>
                  <a:pt x="1010" y="205"/>
                </a:cubicBezTo>
                <a:cubicBezTo>
                  <a:pt x="1010" y="208"/>
                  <a:pt x="1010" y="208"/>
                  <a:pt x="1010" y="208"/>
                </a:cubicBezTo>
                <a:cubicBezTo>
                  <a:pt x="1015" y="208"/>
                  <a:pt x="1015" y="208"/>
                  <a:pt x="1015" y="208"/>
                </a:cubicBezTo>
                <a:cubicBezTo>
                  <a:pt x="1015" y="211"/>
                  <a:pt x="1015" y="211"/>
                  <a:pt x="1015" y="211"/>
                </a:cubicBezTo>
                <a:cubicBezTo>
                  <a:pt x="1021" y="211"/>
                  <a:pt x="1021" y="211"/>
                  <a:pt x="1021" y="211"/>
                </a:cubicBezTo>
                <a:cubicBezTo>
                  <a:pt x="1021" y="216"/>
                  <a:pt x="1021" y="216"/>
                  <a:pt x="1021" y="216"/>
                </a:cubicBezTo>
                <a:cubicBezTo>
                  <a:pt x="1046" y="216"/>
                  <a:pt x="1046" y="216"/>
                  <a:pt x="1046" y="216"/>
                </a:cubicBezTo>
                <a:cubicBezTo>
                  <a:pt x="1046" y="222"/>
                  <a:pt x="1046" y="222"/>
                  <a:pt x="1046" y="222"/>
                </a:cubicBezTo>
                <a:cubicBezTo>
                  <a:pt x="1067" y="222"/>
                  <a:pt x="1067" y="222"/>
                  <a:pt x="1067" y="222"/>
                </a:cubicBezTo>
                <a:cubicBezTo>
                  <a:pt x="1067" y="228"/>
                  <a:pt x="1067" y="228"/>
                  <a:pt x="1067" y="228"/>
                </a:cubicBezTo>
                <a:cubicBezTo>
                  <a:pt x="1090" y="228"/>
                  <a:pt x="1090" y="228"/>
                  <a:pt x="1090" y="228"/>
                </a:cubicBezTo>
                <a:cubicBezTo>
                  <a:pt x="1090" y="232"/>
                  <a:pt x="1090" y="232"/>
                  <a:pt x="1090" y="232"/>
                </a:cubicBezTo>
                <a:cubicBezTo>
                  <a:pt x="1097" y="232"/>
                  <a:pt x="1097" y="232"/>
                  <a:pt x="1097" y="232"/>
                </a:cubicBezTo>
                <a:cubicBezTo>
                  <a:pt x="1097" y="235"/>
                  <a:pt x="1097" y="235"/>
                  <a:pt x="1097" y="235"/>
                </a:cubicBezTo>
                <a:cubicBezTo>
                  <a:pt x="1105" y="235"/>
                  <a:pt x="1105" y="235"/>
                  <a:pt x="1105" y="235"/>
                </a:cubicBezTo>
                <a:cubicBezTo>
                  <a:pt x="1105" y="238"/>
                  <a:pt x="1105" y="238"/>
                  <a:pt x="1105" y="238"/>
                </a:cubicBezTo>
                <a:cubicBezTo>
                  <a:pt x="1123" y="238"/>
                  <a:pt x="1123" y="238"/>
                  <a:pt x="1123" y="238"/>
                </a:cubicBezTo>
                <a:cubicBezTo>
                  <a:pt x="1123" y="246"/>
                  <a:pt x="1123" y="246"/>
                  <a:pt x="1123" y="246"/>
                </a:cubicBezTo>
                <a:cubicBezTo>
                  <a:pt x="1128" y="246"/>
                  <a:pt x="1128" y="246"/>
                  <a:pt x="1128" y="246"/>
                </a:cubicBezTo>
                <a:cubicBezTo>
                  <a:pt x="1128" y="249"/>
                  <a:pt x="1128" y="249"/>
                  <a:pt x="1128" y="249"/>
                </a:cubicBezTo>
                <a:cubicBezTo>
                  <a:pt x="1133" y="249"/>
                  <a:pt x="1133" y="249"/>
                  <a:pt x="1133" y="249"/>
                </a:cubicBezTo>
                <a:cubicBezTo>
                  <a:pt x="1133" y="251"/>
                  <a:pt x="1133" y="251"/>
                  <a:pt x="1133" y="251"/>
                </a:cubicBezTo>
                <a:cubicBezTo>
                  <a:pt x="1169" y="251"/>
                  <a:pt x="1169" y="251"/>
                  <a:pt x="1169" y="251"/>
                </a:cubicBezTo>
                <a:cubicBezTo>
                  <a:pt x="1169" y="254"/>
                  <a:pt x="1169" y="254"/>
                  <a:pt x="1169" y="254"/>
                </a:cubicBezTo>
                <a:cubicBezTo>
                  <a:pt x="1196" y="254"/>
                  <a:pt x="1196" y="254"/>
                  <a:pt x="1196" y="254"/>
                </a:cubicBezTo>
                <a:cubicBezTo>
                  <a:pt x="1196" y="258"/>
                  <a:pt x="1196" y="258"/>
                  <a:pt x="1196" y="258"/>
                </a:cubicBezTo>
                <a:cubicBezTo>
                  <a:pt x="1216" y="258"/>
                  <a:pt x="1216" y="258"/>
                  <a:pt x="1216" y="258"/>
                </a:cubicBezTo>
                <a:cubicBezTo>
                  <a:pt x="1216" y="264"/>
                  <a:pt x="1216" y="264"/>
                  <a:pt x="1216" y="264"/>
                </a:cubicBezTo>
                <a:cubicBezTo>
                  <a:pt x="1360" y="264"/>
                  <a:pt x="1360" y="264"/>
                  <a:pt x="1360" y="264"/>
                </a:cubicBezTo>
                <a:cubicBezTo>
                  <a:pt x="1360" y="285"/>
                  <a:pt x="1360" y="285"/>
                  <a:pt x="1360" y="285"/>
                </a:cubicBezTo>
                <a:cubicBezTo>
                  <a:pt x="1367" y="285"/>
                  <a:pt x="1367" y="285"/>
                  <a:pt x="1367" y="285"/>
                </a:cubicBezTo>
                <a:cubicBezTo>
                  <a:pt x="1367" y="288"/>
                  <a:pt x="1367" y="288"/>
                  <a:pt x="1367" y="288"/>
                </a:cubicBezTo>
                <a:cubicBezTo>
                  <a:pt x="1444" y="288"/>
                  <a:pt x="1444" y="288"/>
                  <a:pt x="1444" y="288"/>
                </a:cubicBezTo>
                <a:cubicBezTo>
                  <a:pt x="1444" y="291"/>
                  <a:pt x="1444" y="291"/>
                  <a:pt x="1444" y="291"/>
                </a:cubicBezTo>
                <a:cubicBezTo>
                  <a:pt x="1467" y="291"/>
                  <a:pt x="1467" y="291"/>
                  <a:pt x="1467" y="291"/>
                </a:cubicBezTo>
                <a:cubicBezTo>
                  <a:pt x="1467" y="296"/>
                  <a:pt x="1467" y="296"/>
                  <a:pt x="1467" y="296"/>
                </a:cubicBezTo>
                <a:cubicBezTo>
                  <a:pt x="1473" y="296"/>
                  <a:pt x="1473" y="296"/>
                  <a:pt x="1473" y="296"/>
                </a:cubicBezTo>
                <a:cubicBezTo>
                  <a:pt x="1473" y="301"/>
                  <a:pt x="1473" y="301"/>
                  <a:pt x="1473" y="301"/>
                </a:cubicBezTo>
                <a:cubicBezTo>
                  <a:pt x="1584" y="301"/>
                  <a:pt x="1584" y="301"/>
                  <a:pt x="1584" y="301"/>
                </a:cubicBezTo>
                <a:cubicBezTo>
                  <a:pt x="1584" y="306"/>
                  <a:pt x="1584" y="306"/>
                  <a:pt x="1584" y="306"/>
                </a:cubicBezTo>
                <a:cubicBezTo>
                  <a:pt x="1619" y="306"/>
                  <a:pt x="1619" y="306"/>
                  <a:pt x="1619" y="306"/>
                </a:cubicBezTo>
                <a:cubicBezTo>
                  <a:pt x="1619" y="312"/>
                  <a:pt x="1619" y="312"/>
                  <a:pt x="1619" y="312"/>
                </a:cubicBezTo>
                <a:cubicBezTo>
                  <a:pt x="1648" y="312"/>
                  <a:pt x="1648" y="312"/>
                  <a:pt x="1648" y="312"/>
                </a:cubicBezTo>
                <a:cubicBezTo>
                  <a:pt x="1648" y="317"/>
                  <a:pt x="1648" y="317"/>
                  <a:pt x="1648" y="317"/>
                </a:cubicBezTo>
                <a:cubicBezTo>
                  <a:pt x="1681" y="317"/>
                  <a:pt x="1681" y="317"/>
                  <a:pt x="1681" y="317"/>
                </a:cubicBezTo>
                <a:cubicBezTo>
                  <a:pt x="1681" y="324"/>
                  <a:pt x="1681" y="324"/>
                  <a:pt x="1681" y="324"/>
                </a:cubicBezTo>
                <a:cubicBezTo>
                  <a:pt x="1700" y="324"/>
                  <a:pt x="1700" y="324"/>
                  <a:pt x="1700" y="324"/>
                </a:cubicBezTo>
                <a:cubicBezTo>
                  <a:pt x="1700" y="340"/>
                  <a:pt x="1700" y="340"/>
                  <a:pt x="1700" y="340"/>
                </a:cubicBezTo>
                <a:cubicBezTo>
                  <a:pt x="1776" y="340"/>
                  <a:pt x="1776" y="340"/>
                  <a:pt x="1776" y="340"/>
                </a:cubicBezTo>
                <a:cubicBezTo>
                  <a:pt x="1776" y="352"/>
                  <a:pt x="1776" y="352"/>
                  <a:pt x="1776" y="352"/>
                </a:cubicBezTo>
                <a:cubicBezTo>
                  <a:pt x="2142" y="352"/>
                  <a:pt x="2142" y="352"/>
                  <a:pt x="2142" y="352"/>
                </a:cubicBezTo>
                <a:cubicBezTo>
                  <a:pt x="2142" y="484"/>
                  <a:pt x="2142" y="484"/>
                  <a:pt x="2142" y="484"/>
                </a:cubicBezTo>
                <a:cubicBezTo>
                  <a:pt x="1777" y="484"/>
                  <a:pt x="1777" y="484"/>
                  <a:pt x="1777" y="484"/>
                </a:cubicBezTo>
                <a:cubicBezTo>
                  <a:pt x="1777" y="470"/>
                  <a:pt x="1777" y="470"/>
                  <a:pt x="1777" y="470"/>
                </a:cubicBezTo>
                <a:cubicBezTo>
                  <a:pt x="1702" y="470"/>
                  <a:pt x="1702" y="470"/>
                  <a:pt x="1702" y="470"/>
                </a:cubicBezTo>
                <a:cubicBezTo>
                  <a:pt x="1702" y="442"/>
                  <a:pt x="1702" y="442"/>
                  <a:pt x="1702" y="442"/>
                </a:cubicBezTo>
                <a:cubicBezTo>
                  <a:pt x="1681" y="442"/>
                  <a:pt x="1681" y="442"/>
                  <a:pt x="1681" y="442"/>
                </a:cubicBezTo>
                <a:cubicBezTo>
                  <a:pt x="1681" y="438"/>
                  <a:pt x="1681" y="438"/>
                  <a:pt x="1681" y="438"/>
                </a:cubicBezTo>
                <a:cubicBezTo>
                  <a:pt x="1648" y="438"/>
                  <a:pt x="1648" y="438"/>
                  <a:pt x="1648" y="438"/>
                </a:cubicBezTo>
                <a:cubicBezTo>
                  <a:pt x="1648" y="426"/>
                  <a:pt x="1648" y="426"/>
                  <a:pt x="1648" y="426"/>
                </a:cubicBezTo>
                <a:cubicBezTo>
                  <a:pt x="1618" y="426"/>
                  <a:pt x="1618" y="426"/>
                  <a:pt x="1618" y="426"/>
                </a:cubicBezTo>
                <a:cubicBezTo>
                  <a:pt x="1618" y="423"/>
                  <a:pt x="1618" y="423"/>
                  <a:pt x="1618" y="423"/>
                </a:cubicBezTo>
                <a:cubicBezTo>
                  <a:pt x="1585" y="423"/>
                  <a:pt x="1585" y="423"/>
                  <a:pt x="1585" y="423"/>
                </a:cubicBezTo>
                <a:cubicBezTo>
                  <a:pt x="1585" y="416"/>
                  <a:pt x="1585" y="416"/>
                  <a:pt x="1585" y="416"/>
                </a:cubicBezTo>
                <a:cubicBezTo>
                  <a:pt x="1474" y="416"/>
                  <a:pt x="1474" y="416"/>
                  <a:pt x="1474" y="416"/>
                </a:cubicBezTo>
                <a:cubicBezTo>
                  <a:pt x="1474" y="410"/>
                  <a:pt x="1474" y="410"/>
                  <a:pt x="1474" y="410"/>
                </a:cubicBezTo>
                <a:cubicBezTo>
                  <a:pt x="1465" y="410"/>
                  <a:pt x="1465" y="410"/>
                  <a:pt x="1465" y="410"/>
                </a:cubicBezTo>
                <a:cubicBezTo>
                  <a:pt x="1465" y="404"/>
                  <a:pt x="1465" y="404"/>
                  <a:pt x="1465" y="404"/>
                </a:cubicBezTo>
                <a:cubicBezTo>
                  <a:pt x="1444" y="404"/>
                  <a:pt x="1444" y="404"/>
                  <a:pt x="1444" y="404"/>
                </a:cubicBezTo>
                <a:cubicBezTo>
                  <a:pt x="1444" y="401"/>
                  <a:pt x="1444" y="401"/>
                  <a:pt x="1444" y="401"/>
                </a:cubicBezTo>
                <a:cubicBezTo>
                  <a:pt x="1376" y="401"/>
                  <a:pt x="1376" y="401"/>
                  <a:pt x="1376" y="401"/>
                </a:cubicBezTo>
                <a:cubicBezTo>
                  <a:pt x="1376" y="394"/>
                  <a:pt x="1376" y="394"/>
                  <a:pt x="1376" y="394"/>
                </a:cubicBezTo>
                <a:cubicBezTo>
                  <a:pt x="1364" y="394"/>
                  <a:pt x="1364" y="394"/>
                  <a:pt x="1364" y="394"/>
                </a:cubicBezTo>
                <a:cubicBezTo>
                  <a:pt x="1364" y="390"/>
                  <a:pt x="1364" y="390"/>
                  <a:pt x="1364" y="390"/>
                </a:cubicBezTo>
                <a:cubicBezTo>
                  <a:pt x="1337" y="390"/>
                  <a:pt x="1337" y="390"/>
                  <a:pt x="1337" y="390"/>
                </a:cubicBezTo>
                <a:cubicBezTo>
                  <a:pt x="1337" y="387"/>
                  <a:pt x="1337" y="387"/>
                  <a:pt x="1337" y="387"/>
                </a:cubicBezTo>
                <a:cubicBezTo>
                  <a:pt x="1255" y="387"/>
                  <a:pt x="1255" y="387"/>
                  <a:pt x="1255" y="387"/>
                </a:cubicBezTo>
                <a:cubicBezTo>
                  <a:pt x="1255" y="380"/>
                  <a:pt x="1255" y="380"/>
                  <a:pt x="1255" y="380"/>
                </a:cubicBezTo>
                <a:cubicBezTo>
                  <a:pt x="1244" y="380"/>
                  <a:pt x="1244" y="380"/>
                  <a:pt x="1244" y="380"/>
                </a:cubicBezTo>
                <a:cubicBezTo>
                  <a:pt x="1244" y="376"/>
                  <a:pt x="1244" y="376"/>
                  <a:pt x="1244" y="376"/>
                </a:cubicBezTo>
                <a:cubicBezTo>
                  <a:pt x="1233" y="376"/>
                  <a:pt x="1233" y="376"/>
                  <a:pt x="1233" y="376"/>
                </a:cubicBezTo>
                <a:cubicBezTo>
                  <a:pt x="1233" y="373"/>
                  <a:pt x="1233" y="373"/>
                  <a:pt x="1233" y="373"/>
                </a:cubicBezTo>
                <a:cubicBezTo>
                  <a:pt x="1213" y="373"/>
                  <a:pt x="1213" y="373"/>
                  <a:pt x="1213" y="373"/>
                </a:cubicBezTo>
                <a:cubicBezTo>
                  <a:pt x="1213" y="371"/>
                  <a:pt x="1213" y="371"/>
                  <a:pt x="1213" y="371"/>
                </a:cubicBezTo>
                <a:cubicBezTo>
                  <a:pt x="1194" y="371"/>
                  <a:pt x="1194" y="371"/>
                  <a:pt x="1194" y="371"/>
                </a:cubicBezTo>
                <a:cubicBezTo>
                  <a:pt x="1194" y="365"/>
                  <a:pt x="1194" y="365"/>
                  <a:pt x="1194" y="365"/>
                </a:cubicBezTo>
                <a:cubicBezTo>
                  <a:pt x="1169" y="365"/>
                  <a:pt x="1169" y="365"/>
                  <a:pt x="1169" y="365"/>
                </a:cubicBezTo>
                <a:cubicBezTo>
                  <a:pt x="1169" y="360"/>
                  <a:pt x="1169" y="360"/>
                  <a:pt x="1169" y="360"/>
                </a:cubicBezTo>
                <a:cubicBezTo>
                  <a:pt x="1131" y="360"/>
                  <a:pt x="1131" y="360"/>
                  <a:pt x="1131" y="360"/>
                </a:cubicBezTo>
                <a:cubicBezTo>
                  <a:pt x="1131" y="357"/>
                  <a:pt x="1131" y="357"/>
                  <a:pt x="1131" y="357"/>
                </a:cubicBezTo>
                <a:cubicBezTo>
                  <a:pt x="1127" y="357"/>
                  <a:pt x="1127" y="357"/>
                  <a:pt x="1127" y="357"/>
                </a:cubicBezTo>
                <a:cubicBezTo>
                  <a:pt x="1127" y="350"/>
                  <a:pt x="1127" y="350"/>
                  <a:pt x="1127" y="350"/>
                </a:cubicBezTo>
                <a:cubicBezTo>
                  <a:pt x="1122" y="350"/>
                  <a:pt x="1122" y="350"/>
                  <a:pt x="1122" y="350"/>
                </a:cubicBezTo>
                <a:cubicBezTo>
                  <a:pt x="1122" y="347"/>
                  <a:pt x="1122" y="347"/>
                  <a:pt x="1122" y="347"/>
                </a:cubicBezTo>
                <a:cubicBezTo>
                  <a:pt x="1105" y="347"/>
                  <a:pt x="1105" y="347"/>
                  <a:pt x="1105" y="347"/>
                </a:cubicBezTo>
                <a:cubicBezTo>
                  <a:pt x="1105" y="343"/>
                  <a:pt x="1105" y="343"/>
                  <a:pt x="1105" y="343"/>
                </a:cubicBezTo>
                <a:cubicBezTo>
                  <a:pt x="1098" y="343"/>
                  <a:pt x="1098" y="343"/>
                  <a:pt x="1098" y="343"/>
                </a:cubicBezTo>
                <a:cubicBezTo>
                  <a:pt x="1098" y="338"/>
                  <a:pt x="1098" y="338"/>
                  <a:pt x="1098" y="338"/>
                </a:cubicBezTo>
                <a:cubicBezTo>
                  <a:pt x="1089" y="338"/>
                  <a:pt x="1089" y="338"/>
                  <a:pt x="1089" y="338"/>
                </a:cubicBezTo>
                <a:cubicBezTo>
                  <a:pt x="1089" y="333"/>
                  <a:pt x="1089" y="333"/>
                  <a:pt x="1089" y="333"/>
                </a:cubicBezTo>
                <a:cubicBezTo>
                  <a:pt x="1068" y="333"/>
                  <a:pt x="1068" y="333"/>
                  <a:pt x="1068" y="333"/>
                </a:cubicBezTo>
                <a:cubicBezTo>
                  <a:pt x="1068" y="333"/>
                  <a:pt x="1071" y="323"/>
                  <a:pt x="1068" y="323"/>
                </a:cubicBezTo>
                <a:cubicBezTo>
                  <a:pt x="1066" y="323"/>
                  <a:pt x="1043" y="323"/>
                  <a:pt x="1043" y="323"/>
                </a:cubicBezTo>
                <a:cubicBezTo>
                  <a:pt x="1043" y="321"/>
                  <a:pt x="1043" y="321"/>
                  <a:pt x="1043" y="321"/>
                </a:cubicBezTo>
                <a:cubicBezTo>
                  <a:pt x="1021" y="321"/>
                  <a:pt x="1021" y="321"/>
                  <a:pt x="1021" y="321"/>
                </a:cubicBezTo>
                <a:cubicBezTo>
                  <a:pt x="1021" y="318"/>
                  <a:pt x="1021" y="318"/>
                  <a:pt x="1021" y="318"/>
                </a:cubicBezTo>
                <a:cubicBezTo>
                  <a:pt x="1012" y="318"/>
                  <a:pt x="1012" y="318"/>
                  <a:pt x="1012" y="318"/>
                </a:cubicBezTo>
                <a:cubicBezTo>
                  <a:pt x="1012" y="312"/>
                  <a:pt x="1012" y="312"/>
                  <a:pt x="1012" y="312"/>
                </a:cubicBezTo>
                <a:cubicBezTo>
                  <a:pt x="1008" y="312"/>
                  <a:pt x="1008" y="312"/>
                  <a:pt x="1008" y="312"/>
                </a:cubicBezTo>
                <a:cubicBezTo>
                  <a:pt x="1008" y="305"/>
                  <a:pt x="1008" y="305"/>
                  <a:pt x="1008" y="305"/>
                </a:cubicBezTo>
                <a:cubicBezTo>
                  <a:pt x="1004" y="305"/>
                  <a:pt x="1004" y="305"/>
                  <a:pt x="1004" y="305"/>
                </a:cubicBezTo>
                <a:cubicBezTo>
                  <a:pt x="1004" y="299"/>
                  <a:pt x="1004" y="299"/>
                  <a:pt x="1004" y="299"/>
                </a:cubicBezTo>
                <a:cubicBezTo>
                  <a:pt x="996" y="299"/>
                  <a:pt x="996" y="299"/>
                  <a:pt x="996" y="299"/>
                </a:cubicBezTo>
                <a:cubicBezTo>
                  <a:pt x="996" y="293"/>
                  <a:pt x="996" y="293"/>
                  <a:pt x="996" y="293"/>
                </a:cubicBezTo>
                <a:cubicBezTo>
                  <a:pt x="992" y="293"/>
                  <a:pt x="992" y="293"/>
                  <a:pt x="992" y="293"/>
                </a:cubicBezTo>
                <a:cubicBezTo>
                  <a:pt x="992" y="290"/>
                  <a:pt x="992" y="290"/>
                  <a:pt x="992" y="290"/>
                </a:cubicBezTo>
                <a:cubicBezTo>
                  <a:pt x="985" y="290"/>
                  <a:pt x="985" y="290"/>
                  <a:pt x="985" y="290"/>
                </a:cubicBezTo>
                <a:cubicBezTo>
                  <a:pt x="985" y="286"/>
                  <a:pt x="985" y="286"/>
                  <a:pt x="985" y="286"/>
                </a:cubicBezTo>
                <a:cubicBezTo>
                  <a:pt x="959" y="286"/>
                  <a:pt x="959" y="286"/>
                  <a:pt x="959" y="286"/>
                </a:cubicBezTo>
                <a:cubicBezTo>
                  <a:pt x="959" y="283"/>
                  <a:pt x="959" y="283"/>
                  <a:pt x="959" y="283"/>
                </a:cubicBezTo>
                <a:cubicBezTo>
                  <a:pt x="924" y="283"/>
                  <a:pt x="924" y="283"/>
                  <a:pt x="924" y="283"/>
                </a:cubicBezTo>
                <a:cubicBezTo>
                  <a:pt x="924" y="277"/>
                  <a:pt x="924" y="277"/>
                  <a:pt x="924" y="277"/>
                </a:cubicBezTo>
                <a:cubicBezTo>
                  <a:pt x="895" y="277"/>
                  <a:pt x="895" y="277"/>
                  <a:pt x="895" y="277"/>
                </a:cubicBezTo>
                <a:cubicBezTo>
                  <a:pt x="895" y="259"/>
                  <a:pt x="895" y="259"/>
                  <a:pt x="895" y="259"/>
                </a:cubicBezTo>
                <a:cubicBezTo>
                  <a:pt x="889" y="259"/>
                  <a:pt x="889" y="259"/>
                  <a:pt x="889" y="259"/>
                </a:cubicBezTo>
                <a:cubicBezTo>
                  <a:pt x="889" y="254"/>
                  <a:pt x="889" y="254"/>
                  <a:pt x="889" y="254"/>
                </a:cubicBezTo>
                <a:cubicBezTo>
                  <a:pt x="881" y="254"/>
                  <a:pt x="881" y="254"/>
                  <a:pt x="881" y="254"/>
                </a:cubicBezTo>
                <a:cubicBezTo>
                  <a:pt x="881" y="250"/>
                  <a:pt x="881" y="250"/>
                  <a:pt x="881" y="250"/>
                </a:cubicBezTo>
                <a:cubicBezTo>
                  <a:pt x="815" y="250"/>
                  <a:pt x="815" y="250"/>
                  <a:pt x="815" y="250"/>
                </a:cubicBezTo>
                <a:cubicBezTo>
                  <a:pt x="815" y="245"/>
                  <a:pt x="815" y="245"/>
                  <a:pt x="815" y="245"/>
                </a:cubicBezTo>
                <a:cubicBezTo>
                  <a:pt x="784" y="245"/>
                  <a:pt x="784" y="245"/>
                  <a:pt x="784" y="245"/>
                </a:cubicBezTo>
                <a:cubicBezTo>
                  <a:pt x="784" y="234"/>
                  <a:pt x="784" y="234"/>
                  <a:pt x="784" y="234"/>
                </a:cubicBezTo>
                <a:cubicBezTo>
                  <a:pt x="761" y="234"/>
                  <a:pt x="761" y="234"/>
                  <a:pt x="761" y="234"/>
                </a:cubicBezTo>
                <a:cubicBezTo>
                  <a:pt x="761" y="231"/>
                  <a:pt x="761" y="231"/>
                  <a:pt x="761" y="231"/>
                </a:cubicBezTo>
                <a:cubicBezTo>
                  <a:pt x="747" y="231"/>
                  <a:pt x="747" y="231"/>
                  <a:pt x="747" y="231"/>
                </a:cubicBezTo>
                <a:cubicBezTo>
                  <a:pt x="747" y="224"/>
                  <a:pt x="747" y="224"/>
                  <a:pt x="747" y="224"/>
                </a:cubicBezTo>
                <a:cubicBezTo>
                  <a:pt x="730" y="224"/>
                  <a:pt x="730" y="224"/>
                  <a:pt x="730" y="224"/>
                </a:cubicBezTo>
                <a:cubicBezTo>
                  <a:pt x="730" y="221"/>
                  <a:pt x="730" y="221"/>
                  <a:pt x="730" y="221"/>
                </a:cubicBezTo>
                <a:cubicBezTo>
                  <a:pt x="719" y="221"/>
                  <a:pt x="719" y="221"/>
                  <a:pt x="719" y="221"/>
                </a:cubicBezTo>
                <a:cubicBezTo>
                  <a:pt x="719" y="217"/>
                  <a:pt x="719" y="217"/>
                  <a:pt x="719" y="217"/>
                </a:cubicBezTo>
                <a:cubicBezTo>
                  <a:pt x="682" y="217"/>
                  <a:pt x="682" y="217"/>
                  <a:pt x="682" y="217"/>
                </a:cubicBezTo>
                <a:cubicBezTo>
                  <a:pt x="682" y="214"/>
                  <a:pt x="682" y="214"/>
                  <a:pt x="682" y="214"/>
                </a:cubicBezTo>
                <a:cubicBezTo>
                  <a:pt x="675" y="214"/>
                  <a:pt x="675" y="214"/>
                  <a:pt x="675" y="214"/>
                </a:cubicBezTo>
                <a:cubicBezTo>
                  <a:pt x="675" y="203"/>
                  <a:pt x="675" y="203"/>
                  <a:pt x="675" y="203"/>
                </a:cubicBezTo>
                <a:cubicBezTo>
                  <a:pt x="664" y="203"/>
                  <a:pt x="664" y="203"/>
                  <a:pt x="664" y="203"/>
                </a:cubicBezTo>
                <a:cubicBezTo>
                  <a:pt x="664" y="200"/>
                  <a:pt x="664" y="200"/>
                  <a:pt x="664" y="200"/>
                </a:cubicBezTo>
                <a:cubicBezTo>
                  <a:pt x="647" y="200"/>
                  <a:pt x="647" y="200"/>
                  <a:pt x="647" y="200"/>
                </a:cubicBezTo>
                <a:cubicBezTo>
                  <a:pt x="647" y="198"/>
                  <a:pt x="647" y="198"/>
                  <a:pt x="647" y="198"/>
                </a:cubicBezTo>
                <a:cubicBezTo>
                  <a:pt x="613" y="198"/>
                  <a:pt x="613" y="198"/>
                  <a:pt x="613" y="198"/>
                </a:cubicBezTo>
                <a:cubicBezTo>
                  <a:pt x="613" y="191"/>
                  <a:pt x="613" y="191"/>
                  <a:pt x="613" y="191"/>
                </a:cubicBezTo>
                <a:cubicBezTo>
                  <a:pt x="591" y="191"/>
                  <a:pt x="591" y="191"/>
                  <a:pt x="591" y="191"/>
                </a:cubicBezTo>
                <a:cubicBezTo>
                  <a:pt x="591" y="188"/>
                  <a:pt x="591" y="188"/>
                  <a:pt x="591" y="188"/>
                </a:cubicBezTo>
                <a:cubicBezTo>
                  <a:pt x="568" y="188"/>
                  <a:pt x="568" y="188"/>
                  <a:pt x="568" y="188"/>
                </a:cubicBezTo>
                <a:cubicBezTo>
                  <a:pt x="568" y="184"/>
                  <a:pt x="568" y="184"/>
                  <a:pt x="568" y="184"/>
                </a:cubicBezTo>
                <a:cubicBezTo>
                  <a:pt x="562" y="184"/>
                  <a:pt x="562" y="184"/>
                  <a:pt x="562" y="184"/>
                </a:cubicBezTo>
                <a:cubicBezTo>
                  <a:pt x="562" y="175"/>
                  <a:pt x="562" y="175"/>
                  <a:pt x="562" y="175"/>
                </a:cubicBezTo>
                <a:cubicBezTo>
                  <a:pt x="558" y="175"/>
                  <a:pt x="558" y="175"/>
                  <a:pt x="558" y="175"/>
                </a:cubicBezTo>
                <a:cubicBezTo>
                  <a:pt x="558" y="167"/>
                  <a:pt x="558" y="167"/>
                  <a:pt x="558" y="167"/>
                </a:cubicBezTo>
                <a:cubicBezTo>
                  <a:pt x="546" y="167"/>
                  <a:pt x="546" y="167"/>
                  <a:pt x="546" y="167"/>
                </a:cubicBezTo>
                <a:cubicBezTo>
                  <a:pt x="537" y="167"/>
                  <a:pt x="537" y="167"/>
                  <a:pt x="537" y="167"/>
                </a:cubicBezTo>
                <a:cubicBezTo>
                  <a:pt x="537" y="157"/>
                  <a:pt x="537" y="157"/>
                  <a:pt x="537" y="157"/>
                </a:cubicBezTo>
                <a:cubicBezTo>
                  <a:pt x="509" y="157"/>
                  <a:pt x="509" y="157"/>
                  <a:pt x="509" y="157"/>
                </a:cubicBezTo>
                <a:cubicBezTo>
                  <a:pt x="509" y="154"/>
                  <a:pt x="509" y="154"/>
                  <a:pt x="509" y="154"/>
                </a:cubicBezTo>
                <a:cubicBezTo>
                  <a:pt x="500" y="154"/>
                  <a:pt x="500" y="154"/>
                  <a:pt x="500" y="154"/>
                </a:cubicBezTo>
                <a:cubicBezTo>
                  <a:pt x="500" y="151"/>
                  <a:pt x="500" y="151"/>
                  <a:pt x="500" y="151"/>
                </a:cubicBezTo>
                <a:cubicBezTo>
                  <a:pt x="491" y="151"/>
                  <a:pt x="491" y="151"/>
                  <a:pt x="491" y="151"/>
                </a:cubicBezTo>
                <a:cubicBezTo>
                  <a:pt x="491" y="144"/>
                  <a:pt x="491" y="144"/>
                  <a:pt x="491" y="144"/>
                </a:cubicBezTo>
                <a:cubicBezTo>
                  <a:pt x="479" y="144"/>
                  <a:pt x="479" y="144"/>
                  <a:pt x="479" y="144"/>
                </a:cubicBezTo>
                <a:cubicBezTo>
                  <a:pt x="479" y="141"/>
                  <a:pt x="479" y="141"/>
                  <a:pt x="479" y="141"/>
                </a:cubicBezTo>
                <a:cubicBezTo>
                  <a:pt x="471" y="141"/>
                  <a:pt x="471" y="141"/>
                  <a:pt x="471" y="141"/>
                </a:cubicBezTo>
                <a:cubicBezTo>
                  <a:pt x="471" y="138"/>
                  <a:pt x="471" y="138"/>
                  <a:pt x="471" y="138"/>
                </a:cubicBezTo>
                <a:cubicBezTo>
                  <a:pt x="451" y="138"/>
                  <a:pt x="451" y="138"/>
                  <a:pt x="451" y="138"/>
                </a:cubicBezTo>
                <a:cubicBezTo>
                  <a:pt x="451" y="132"/>
                  <a:pt x="451" y="132"/>
                  <a:pt x="451" y="132"/>
                </a:cubicBezTo>
                <a:cubicBezTo>
                  <a:pt x="447" y="132"/>
                  <a:pt x="447" y="132"/>
                  <a:pt x="447" y="132"/>
                </a:cubicBezTo>
                <a:cubicBezTo>
                  <a:pt x="447" y="127"/>
                  <a:pt x="447" y="127"/>
                  <a:pt x="447" y="127"/>
                </a:cubicBezTo>
                <a:cubicBezTo>
                  <a:pt x="443" y="127"/>
                  <a:pt x="443" y="127"/>
                  <a:pt x="443" y="127"/>
                </a:cubicBezTo>
                <a:cubicBezTo>
                  <a:pt x="443" y="122"/>
                  <a:pt x="443" y="122"/>
                  <a:pt x="443" y="122"/>
                </a:cubicBezTo>
                <a:cubicBezTo>
                  <a:pt x="438" y="122"/>
                  <a:pt x="438" y="122"/>
                  <a:pt x="438" y="122"/>
                </a:cubicBezTo>
                <a:cubicBezTo>
                  <a:pt x="438" y="119"/>
                  <a:pt x="438" y="119"/>
                  <a:pt x="438" y="119"/>
                </a:cubicBezTo>
                <a:cubicBezTo>
                  <a:pt x="430" y="119"/>
                  <a:pt x="430" y="119"/>
                  <a:pt x="430" y="119"/>
                </a:cubicBezTo>
                <a:cubicBezTo>
                  <a:pt x="430" y="114"/>
                  <a:pt x="430" y="114"/>
                  <a:pt x="430" y="114"/>
                </a:cubicBezTo>
                <a:cubicBezTo>
                  <a:pt x="354" y="114"/>
                  <a:pt x="354" y="114"/>
                  <a:pt x="354" y="114"/>
                </a:cubicBezTo>
                <a:cubicBezTo>
                  <a:pt x="354" y="110"/>
                  <a:pt x="354" y="110"/>
                  <a:pt x="354" y="110"/>
                </a:cubicBezTo>
                <a:cubicBezTo>
                  <a:pt x="334" y="110"/>
                  <a:pt x="334" y="110"/>
                  <a:pt x="334" y="110"/>
                </a:cubicBezTo>
                <a:cubicBezTo>
                  <a:pt x="334" y="101"/>
                  <a:pt x="334" y="101"/>
                  <a:pt x="334" y="101"/>
                </a:cubicBezTo>
                <a:cubicBezTo>
                  <a:pt x="331" y="101"/>
                  <a:pt x="331" y="101"/>
                  <a:pt x="331" y="101"/>
                </a:cubicBezTo>
                <a:cubicBezTo>
                  <a:pt x="331" y="98"/>
                  <a:pt x="331" y="98"/>
                  <a:pt x="331" y="98"/>
                </a:cubicBezTo>
                <a:cubicBezTo>
                  <a:pt x="326" y="98"/>
                  <a:pt x="326" y="98"/>
                  <a:pt x="326" y="98"/>
                </a:cubicBezTo>
                <a:cubicBezTo>
                  <a:pt x="326" y="94"/>
                  <a:pt x="326" y="94"/>
                  <a:pt x="326" y="94"/>
                </a:cubicBezTo>
                <a:cubicBezTo>
                  <a:pt x="323" y="94"/>
                  <a:pt x="323" y="94"/>
                  <a:pt x="323" y="94"/>
                </a:cubicBezTo>
                <a:cubicBezTo>
                  <a:pt x="323" y="88"/>
                  <a:pt x="323" y="88"/>
                  <a:pt x="323" y="88"/>
                </a:cubicBezTo>
                <a:cubicBezTo>
                  <a:pt x="297" y="88"/>
                  <a:pt x="297" y="88"/>
                  <a:pt x="297" y="88"/>
                </a:cubicBezTo>
                <a:cubicBezTo>
                  <a:pt x="297" y="85"/>
                  <a:pt x="297" y="85"/>
                  <a:pt x="297" y="85"/>
                </a:cubicBezTo>
                <a:cubicBezTo>
                  <a:pt x="241" y="85"/>
                  <a:pt x="241" y="85"/>
                  <a:pt x="241" y="85"/>
                </a:cubicBezTo>
                <a:cubicBezTo>
                  <a:pt x="241" y="80"/>
                  <a:pt x="241" y="80"/>
                  <a:pt x="241" y="80"/>
                </a:cubicBezTo>
                <a:cubicBezTo>
                  <a:pt x="225" y="80"/>
                  <a:pt x="225" y="80"/>
                  <a:pt x="225" y="80"/>
                </a:cubicBezTo>
                <a:cubicBezTo>
                  <a:pt x="225" y="75"/>
                  <a:pt x="225" y="75"/>
                  <a:pt x="225" y="75"/>
                </a:cubicBezTo>
                <a:cubicBezTo>
                  <a:pt x="222" y="75"/>
                  <a:pt x="222" y="75"/>
                  <a:pt x="222" y="75"/>
                </a:cubicBezTo>
                <a:cubicBezTo>
                  <a:pt x="222" y="65"/>
                  <a:pt x="222" y="65"/>
                  <a:pt x="222" y="65"/>
                </a:cubicBezTo>
                <a:cubicBezTo>
                  <a:pt x="219" y="65"/>
                  <a:pt x="219" y="65"/>
                  <a:pt x="219" y="65"/>
                </a:cubicBezTo>
                <a:cubicBezTo>
                  <a:pt x="219" y="62"/>
                  <a:pt x="219" y="62"/>
                  <a:pt x="219" y="62"/>
                </a:cubicBezTo>
                <a:cubicBezTo>
                  <a:pt x="191" y="62"/>
                  <a:pt x="191" y="62"/>
                  <a:pt x="191" y="62"/>
                </a:cubicBezTo>
                <a:cubicBezTo>
                  <a:pt x="191" y="55"/>
                  <a:pt x="191" y="55"/>
                  <a:pt x="191" y="55"/>
                </a:cubicBezTo>
                <a:cubicBezTo>
                  <a:pt x="187" y="55"/>
                  <a:pt x="187" y="55"/>
                  <a:pt x="187" y="55"/>
                </a:cubicBezTo>
                <a:cubicBezTo>
                  <a:pt x="187" y="53"/>
                  <a:pt x="187" y="53"/>
                  <a:pt x="187" y="53"/>
                </a:cubicBezTo>
                <a:cubicBezTo>
                  <a:pt x="169" y="53"/>
                  <a:pt x="169" y="53"/>
                  <a:pt x="169" y="53"/>
                </a:cubicBezTo>
                <a:cubicBezTo>
                  <a:pt x="169" y="45"/>
                  <a:pt x="169" y="45"/>
                  <a:pt x="169" y="45"/>
                </a:cubicBezTo>
                <a:cubicBezTo>
                  <a:pt x="150" y="45"/>
                  <a:pt x="150" y="45"/>
                  <a:pt x="150" y="45"/>
                </a:cubicBezTo>
                <a:cubicBezTo>
                  <a:pt x="150" y="41"/>
                  <a:pt x="150" y="41"/>
                  <a:pt x="150" y="41"/>
                </a:cubicBezTo>
                <a:cubicBezTo>
                  <a:pt x="112" y="41"/>
                  <a:pt x="112" y="41"/>
                  <a:pt x="112" y="41"/>
                </a:cubicBezTo>
                <a:cubicBezTo>
                  <a:pt x="112" y="37"/>
                  <a:pt x="112" y="37"/>
                  <a:pt x="112" y="37"/>
                </a:cubicBezTo>
                <a:cubicBezTo>
                  <a:pt x="107" y="37"/>
                  <a:pt x="107" y="37"/>
                  <a:pt x="107" y="37"/>
                </a:cubicBezTo>
                <a:cubicBezTo>
                  <a:pt x="107" y="33"/>
                  <a:pt x="107" y="33"/>
                  <a:pt x="107" y="33"/>
                </a:cubicBezTo>
                <a:cubicBezTo>
                  <a:pt x="103" y="33"/>
                  <a:pt x="103" y="33"/>
                  <a:pt x="103" y="33"/>
                </a:cubicBezTo>
                <a:cubicBezTo>
                  <a:pt x="103" y="30"/>
                  <a:pt x="103" y="30"/>
                  <a:pt x="103" y="30"/>
                </a:cubicBezTo>
                <a:cubicBezTo>
                  <a:pt x="98" y="30"/>
                  <a:pt x="98" y="30"/>
                  <a:pt x="98" y="30"/>
                </a:cubicBezTo>
                <a:cubicBezTo>
                  <a:pt x="98" y="26"/>
                  <a:pt x="98" y="26"/>
                  <a:pt x="98" y="26"/>
                </a:cubicBezTo>
                <a:cubicBezTo>
                  <a:pt x="94" y="26"/>
                  <a:pt x="94" y="26"/>
                  <a:pt x="94" y="26"/>
                </a:cubicBezTo>
                <a:cubicBezTo>
                  <a:pt x="94" y="21"/>
                  <a:pt x="94" y="21"/>
                  <a:pt x="94" y="21"/>
                </a:cubicBezTo>
                <a:cubicBezTo>
                  <a:pt x="88" y="21"/>
                  <a:pt x="88" y="21"/>
                  <a:pt x="88" y="21"/>
                </a:cubicBezTo>
                <a:cubicBezTo>
                  <a:pt x="88" y="17"/>
                  <a:pt x="88" y="17"/>
                  <a:pt x="88" y="17"/>
                </a:cubicBezTo>
                <a:cubicBezTo>
                  <a:pt x="85" y="17"/>
                  <a:pt x="85" y="17"/>
                  <a:pt x="85" y="17"/>
                </a:cubicBezTo>
                <a:cubicBezTo>
                  <a:pt x="85" y="15"/>
                  <a:pt x="85" y="15"/>
                  <a:pt x="85" y="15"/>
                </a:cubicBezTo>
                <a:cubicBezTo>
                  <a:pt x="80" y="15"/>
                  <a:pt x="80" y="15"/>
                  <a:pt x="80" y="15"/>
                </a:cubicBezTo>
                <a:cubicBezTo>
                  <a:pt x="80" y="11"/>
                  <a:pt x="80" y="11"/>
                  <a:pt x="80" y="11"/>
                </a:cubicBezTo>
                <a:cubicBezTo>
                  <a:pt x="14" y="11"/>
                  <a:pt x="14" y="11"/>
                  <a:pt x="14" y="11"/>
                </a:cubicBezTo>
                <a:cubicBezTo>
                  <a:pt x="14" y="7"/>
                  <a:pt x="14" y="7"/>
                  <a:pt x="14" y="7"/>
                </a:cubicBezTo>
                <a:cubicBezTo>
                  <a:pt x="0" y="7"/>
                  <a:pt x="0" y="7"/>
                  <a:pt x="0" y="7"/>
                </a:cubicBezTo>
                <a:lnTo>
                  <a:pt x="0" y="0"/>
                </a:lnTo>
                <a:close/>
              </a:path>
            </a:pathLst>
          </a:custGeom>
          <a:solidFill>
            <a:srgbClr val="D0006F">
              <a:alpha val="40000"/>
            </a:srgbClr>
          </a:solidFill>
          <a:ln>
            <a:noFill/>
          </a:ln>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9" name="Freeform 115">
            <a:extLst>
              <a:ext uri="{FF2B5EF4-FFF2-40B4-BE49-F238E27FC236}">
                <a16:creationId xmlns:a16="http://schemas.microsoft.com/office/drawing/2014/main" id="{9606F4EC-91EC-C0B5-9A3F-7B2ED7F9F255}"/>
              </a:ext>
            </a:extLst>
          </p:cNvPr>
          <p:cNvSpPr>
            <a:spLocks/>
          </p:cNvSpPr>
          <p:nvPr/>
        </p:nvSpPr>
        <p:spPr bwMode="auto">
          <a:xfrm>
            <a:off x="2014141" y="1863042"/>
            <a:ext cx="4553371" cy="1549087"/>
          </a:xfrm>
          <a:custGeom>
            <a:avLst/>
            <a:gdLst>
              <a:gd name="T0" fmla="*/ 1321 w 1417"/>
              <a:gd name="T1" fmla="*/ 480 h 480"/>
              <a:gd name="T2" fmla="*/ 1277 w 1417"/>
              <a:gd name="T3" fmla="*/ 437 h 480"/>
              <a:gd name="T4" fmla="*/ 1277 w 1417"/>
              <a:gd name="T5" fmla="*/ 267 h 480"/>
              <a:gd name="T6" fmla="*/ 1024 w 1417"/>
              <a:gd name="T7" fmla="*/ 235 h 480"/>
              <a:gd name="T8" fmla="*/ 1015 w 1417"/>
              <a:gd name="T9" fmla="*/ 200 h 480"/>
              <a:gd name="T10" fmla="*/ 923 w 1417"/>
              <a:gd name="T11" fmla="*/ 175 h 480"/>
              <a:gd name="T12" fmla="*/ 848 w 1417"/>
              <a:gd name="T13" fmla="*/ 165 h 480"/>
              <a:gd name="T14" fmla="*/ 832 w 1417"/>
              <a:gd name="T15" fmla="*/ 158 h 480"/>
              <a:gd name="T16" fmla="*/ 720 w 1417"/>
              <a:gd name="T17" fmla="*/ 149 h 480"/>
              <a:gd name="T18" fmla="*/ 714 w 1417"/>
              <a:gd name="T19" fmla="*/ 141 h 480"/>
              <a:gd name="T20" fmla="*/ 710 w 1417"/>
              <a:gd name="T21" fmla="*/ 134 h 480"/>
              <a:gd name="T22" fmla="*/ 706 w 1417"/>
              <a:gd name="T23" fmla="*/ 124 h 480"/>
              <a:gd name="T24" fmla="*/ 691 w 1417"/>
              <a:gd name="T25" fmla="*/ 118 h 480"/>
              <a:gd name="T26" fmla="*/ 648 w 1417"/>
              <a:gd name="T27" fmla="*/ 113 h 480"/>
              <a:gd name="T28" fmla="*/ 642 w 1417"/>
              <a:gd name="T29" fmla="*/ 111 h 480"/>
              <a:gd name="T30" fmla="*/ 638 w 1417"/>
              <a:gd name="T31" fmla="*/ 105 h 480"/>
              <a:gd name="T32" fmla="*/ 635 w 1417"/>
              <a:gd name="T33" fmla="*/ 99 h 480"/>
              <a:gd name="T34" fmla="*/ 610 w 1417"/>
              <a:gd name="T35" fmla="*/ 94 h 480"/>
              <a:gd name="T36" fmla="*/ 594 w 1417"/>
              <a:gd name="T37" fmla="*/ 87 h 480"/>
              <a:gd name="T38" fmla="*/ 514 w 1417"/>
              <a:gd name="T39" fmla="*/ 80 h 480"/>
              <a:gd name="T40" fmla="*/ 510 w 1417"/>
              <a:gd name="T41" fmla="*/ 72 h 480"/>
              <a:gd name="T42" fmla="*/ 497 w 1417"/>
              <a:gd name="T43" fmla="*/ 67 h 480"/>
              <a:gd name="T44" fmla="*/ 487 w 1417"/>
              <a:gd name="T45" fmla="*/ 62 h 480"/>
              <a:gd name="T46" fmla="*/ 478 w 1417"/>
              <a:gd name="T47" fmla="*/ 58 h 480"/>
              <a:gd name="T48" fmla="*/ 436 w 1417"/>
              <a:gd name="T49" fmla="*/ 54 h 480"/>
              <a:gd name="T50" fmla="*/ 415 w 1417"/>
              <a:gd name="T51" fmla="*/ 45 h 480"/>
              <a:gd name="T52" fmla="*/ 406 w 1417"/>
              <a:gd name="T53" fmla="*/ 41 h 480"/>
              <a:gd name="T54" fmla="*/ 323 w 1417"/>
              <a:gd name="T55" fmla="*/ 37 h 480"/>
              <a:gd name="T56" fmla="*/ 316 w 1417"/>
              <a:gd name="T57" fmla="*/ 31 h 480"/>
              <a:gd name="T58" fmla="*/ 265 w 1417"/>
              <a:gd name="T59" fmla="*/ 27 h 480"/>
              <a:gd name="T60" fmla="*/ 261 w 1417"/>
              <a:gd name="T61" fmla="*/ 20 h 480"/>
              <a:gd name="T62" fmla="*/ 186 w 1417"/>
              <a:gd name="T63" fmla="*/ 15 h 480"/>
              <a:gd name="T64" fmla="*/ 62 w 1417"/>
              <a:gd name="T65" fmla="*/ 11 h 480"/>
              <a:gd name="T66" fmla="*/ 18 w 1417"/>
              <a:gd name="T67" fmla="*/ 11 h 480"/>
              <a:gd name="T68" fmla="*/ 3 w 1417"/>
              <a:gd name="T69" fmla="*/ 8 h 480"/>
              <a:gd name="T70" fmla="*/ 0 w 1417"/>
              <a:gd name="T71" fmla="*/ 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17" h="480">
                <a:moveTo>
                  <a:pt x="1417" y="480"/>
                </a:moveTo>
                <a:cubicBezTo>
                  <a:pt x="1321" y="480"/>
                  <a:pt x="1321" y="480"/>
                  <a:pt x="1321" y="480"/>
                </a:cubicBezTo>
                <a:cubicBezTo>
                  <a:pt x="1321" y="437"/>
                  <a:pt x="1321" y="437"/>
                  <a:pt x="1321" y="437"/>
                </a:cubicBezTo>
                <a:cubicBezTo>
                  <a:pt x="1277" y="437"/>
                  <a:pt x="1277" y="437"/>
                  <a:pt x="1277" y="437"/>
                </a:cubicBezTo>
                <a:cubicBezTo>
                  <a:pt x="1277" y="311"/>
                  <a:pt x="1277" y="311"/>
                  <a:pt x="1277" y="311"/>
                </a:cubicBezTo>
                <a:cubicBezTo>
                  <a:pt x="1277" y="267"/>
                  <a:pt x="1277" y="267"/>
                  <a:pt x="1277" y="267"/>
                </a:cubicBezTo>
                <a:cubicBezTo>
                  <a:pt x="1024" y="267"/>
                  <a:pt x="1024" y="267"/>
                  <a:pt x="1024" y="267"/>
                </a:cubicBezTo>
                <a:cubicBezTo>
                  <a:pt x="1024" y="235"/>
                  <a:pt x="1024" y="235"/>
                  <a:pt x="1024" y="235"/>
                </a:cubicBezTo>
                <a:cubicBezTo>
                  <a:pt x="1015" y="235"/>
                  <a:pt x="1015" y="235"/>
                  <a:pt x="1015" y="235"/>
                </a:cubicBezTo>
                <a:cubicBezTo>
                  <a:pt x="1015" y="200"/>
                  <a:pt x="1015" y="200"/>
                  <a:pt x="1015" y="200"/>
                </a:cubicBezTo>
                <a:cubicBezTo>
                  <a:pt x="1015" y="200"/>
                  <a:pt x="922" y="200"/>
                  <a:pt x="923" y="200"/>
                </a:cubicBezTo>
                <a:cubicBezTo>
                  <a:pt x="924" y="200"/>
                  <a:pt x="923" y="175"/>
                  <a:pt x="923" y="175"/>
                </a:cubicBezTo>
                <a:cubicBezTo>
                  <a:pt x="848" y="175"/>
                  <a:pt x="848" y="175"/>
                  <a:pt x="848" y="175"/>
                </a:cubicBezTo>
                <a:cubicBezTo>
                  <a:pt x="848" y="165"/>
                  <a:pt x="848" y="165"/>
                  <a:pt x="848" y="165"/>
                </a:cubicBezTo>
                <a:cubicBezTo>
                  <a:pt x="832" y="165"/>
                  <a:pt x="832" y="165"/>
                  <a:pt x="832" y="165"/>
                </a:cubicBezTo>
                <a:cubicBezTo>
                  <a:pt x="832" y="158"/>
                  <a:pt x="832" y="158"/>
                  <a:pt x="832" y="158"/>
                </a:cubicBezTo>
                <a:cubicBezTo>
                  <a:pt x="720" y="158"/>
                  <a:pt x="720" y="158"/>
                  <a:pt x="720" y="158"/>
                </a:cubicBezTo>
                <a:cubicBezTo>
                  <a:pt x="720" y="149"/>
                  <a:pt x="720" y="149"/>
                  <a:pt x="720" y="149"/>
                </a:cubicBezTo>
                <a:cubicBezTo>
                  <a:pt x="714" y="149"/>
                  <a:pt x="714" y="149"/>
                  <a:pt x="714" y="149"/>
                </a:cubicBezTo>
                <a:cubicBezTo>
                  <a:pt x="714" y="141"/>
                  <a:pt x="714" y="141"/>
                  <a:pt x="714" y="141"/>
                </a:cubicBezTo>
                <a:cubicBezTo>
                  <a:pt x="710" y="141"/>
                  <a:pt x="710" y="141"/>
                  <a:pt x="710" y="141"/>
                </a:cubicBezTo>
                <a:cubicBezTo>
                  <a:pt x="710" y="134"/>
                  <a:pt x="710" y="134"/>
                  <a:pt x="710" y="134"/>
                </a:cubicBezTo>
                <a:cubicBezTo>
                  <a:pt x="706" y="134"/>
                  <a:pt x="706" y="134"/>
                  <a:pt x="706" y="134"/>
                </a:cubicBezTo>
                <a:cubicBezTo>
                  <a:pt x="706" y="124"/>
                  <a:pt x="706" y="124"/>
                  <a:pt x="706" y="124"/>
                </a:cubicBezTo>
                <a:cubicBezTo>
                  <a:pt x="691" y="124"/>
                  <a:pt x="691" y="124"/>
                  <a:pt x="691" y="124"/>
                </a:cubicBezTo>
                <a:cubicBezTo>
                  <a:pt x="691" y="118"/>
                  <a:pt x="691" y="118"/>
                  <a:pt x="691" y="118"/>
                </a:cubicBezTo>
                <a:cubicBezTo>
                  <a:pt x="648" y="118"/>
                  <a:pt x="648" y="118"/>
                  <a:pt x="648" y="118"/>
                </a:cubicBezTo>
                <a:cubicBezTo>
                  <a:pt x="648" y="113"/>
                  <a:pt x="648" y="113"/>
                  <a:pt x="648" y="113"/>
                </a:cubicBezTo>
                <a:cubicBezTo>
                  <a:pt x="642" y="113"/>
                  <a:pt x="642" y="113"/>
                  <a:pt x="642" y="113"/>
                </a:cubicBezTo>
                <a:cubicBezTo>
                  <a:pt x="642" y="111"/>
                  <a:pt x="642" y="111"/>
                  <a:pt x="642" y="111"/>
                </a:cubicBezTo>
                <a:cubicBezTo>
                  <a:pt x="638" y="111"/>
                  <a:pt x="638" y="111"/>
                  <a:pt x="638" y="111"/>
                </a:cubicBezTo>
                <a:cubicBezTo>
                  <a:pt x="638" y="105"/>
                  <a:pt x="638" y="105"/>
                  <a:pt x="638" y="105"/>
                </a:cubicBezTo>
                <a:cubicBezTo>
                  <a:pt x="635" y="105"/>
                  <a:pt x="635" y="105"/>
                  <a:pt x="635" y="105"/>
                </a:cubicBezTo>
                <a:cubicBezTo>
                  <a:pt x="635" y="105"/>
                  <a:pt x="636" y="99"/>
                  <a:pt x="635" y="99"/>
                </a:cubicBezTo>
                <a:cubicBezTo>
                  <a:pt x="633" y="99"/>
                  <a:pt x="610" y="99"/>
                  <a:pt x="610" y="99"/>
                </a:cubicBezTo>
                <a:cubicBezTo>
                  <a:pt x="610" y="94"/>
                  <a:pt x="610" y="94"/>
                  <a:pt x="610" y="94"/>
                </a:cubicBezTo>
                <a:cubicBezTo>
                  <a:pt x="594" y="94"/>
                  <a:pt x="594" y="94"/>
                  <a:pt x="594" y="94"/>
                </a:cubicBezTo>
                <a:cubicBezTo>
                  <a:pt x="594" y="87"/>
                  <a:pt x="594" y="87"/>
                  <a:pt x="594" y="87"/>
                </a:cubicBezTo>
                <a:cubicBezTo>
                  <a:pt x="514" y="87"/>
                  <a:pt x="514" y="87"/>
                  <a:pt x="514" y="87"/>
                </a:cubicBezTo>
                <a:cubicBezTo>
                  <a:pt x="514" y="80"/>
                  <a:pt x="514" y="80"/>
                  <a:pt x="514" y="80"/>
                </a:cubicBezTo>
                <a:cubicBezTo>
                  <a:pt x="510" y="80"/>
                  <a:pt x="510" y="80"/>
                  <a:pt x="510" y="80"/>
                </a:cubicBezTo>
                <a:cubicBezTo>
                  <a:pt x="510" y="72"/>
                  <a:pt x="510" y="72"/>
                  <a:pt x="510" y="72"/>
                </a:cubicBezTo>
                <a:cubicBezTo>
                  <a:pt x="497" y="72"/>
                  <a:pt x="497" y="72"/>
                  <a:pt x="497" y="72"/>
                </a:cubicBezTo>
                <a:cubicBezTo>
                  <a:pt x="497" y="67"/>
                  <a:pt x="497" y="67"/>
                  <a:pt x="497" y="67"/>
                </a:cubicBezTo>
                <a:cubicBezTo>
                  <a:pt x="487" y="67"/>
                  <a:pt x="487" y="67"/>
                  <a:pt x="487" y="67"/>
                </a:cubicBezTo>
                <a:cubicBezTo>
                  <a:pt x="487" y="62"/>
                  <a:pt x="487" y="62"/>
                  <a:pt x="487" y="62"/>
                </a:cubicBezTo>
                <a:cubicBezTo>
                  <a:pt x="478" y="62"/>
                  <a:pt x="478" y="62"/>
                  <a:pt x="478" y="62"/>
                </a:cubicBezTo>
                <a:cubicBezTo>
                  <a:pt x="478" y="58"/>
                  <a:pt x="478" y="58"/>
                  <a:pt x="478" y="58"/>
                </a:cubicBezTo>
                <a:cubicBezTo>
                  <a:pt x="436" y="58"/>
                  <a:pt x="436" y="58"/>
                  <a:pt x="436" y="58"/>
                </a:cubicBezTo>
                <a:cubicBezTo>
                  <a:pt x="436" y="54"/>
                  <a:pt x="436" y="54"/>
                  <a:pt x="436" y="54"/>
                </a:cubicBezTo>
                <a:cubicBezTo>
                  <a:pt x="415" y="54"/>
                  <a:pt x="415" y="54"/>
                  <a:pt x="415" y="54"/>
                </a:cubicBezTo>
                <a:cubicBezTo>
                  <a:pt x="415" y="45"/>
                  <a:pt x="415" y="45"/>
                  <a:pt x="415" y="45"/>
                </a:cubicBezTo>
                <a:cubicBezTo>
                  <a:pt x="406" y="45"/>
                  <a:pt x="406" y="45"/>
                  <a:pt x="406" y="45"/>
                </a:cubicBezTo>
                <a:cubicBezTo>
                  <a:pt x="406" y="41"/>
                  <a:pt x="406" y="41"/>
                  <a:pt x="406" y="41"/>
                </a:cubicBezTo>
                <a:cubicBezTo>
                  <a:pt x="323" y="41"/>
                  <a:pt x="323" y="41"/>
                  <a:pt x="323" y="41"/>
                </a:cubicBezTo>
                <a:cubicBezTo>
                  <a:pt x="323" y="37"/>
                  <a:pt x="323" y="37"/>
                  <a:pt x="323" y="37"/>
                </a:cubicBezTo>
                <a:cubicBezTo>
                  <a:pt x="316" y="37"/>
                  <a:pt x="316" y="37"/>
                  <a:pt x="316" y="37"/>
                </a:cubicBezTo>
                <a:cubicBezTo>
                  <a:pt x="316" y="31"/>
                  <a:pt x="316" y="31"/>
                  <a:pt x="316" y="31"/>
                </a:cubicBezTo>
                <a:cubicBezTo>
                  <a:pt x="265" y="31"/>
                  <a:pt x="265" y="31"/>
                  <a:pt x="265" y="31"/>
                </a:cubicBezTo>
                <a:cubicBezTo>
                  <a:pt x="265" y="27"/>
                  <a:pt x="265" y="27"/>
                  <a:pt x="265" y="27"/>
                </a:cubicBezTo>
                <a:cubicBezTo>
                  <a:pt x="261" y="27"/>
                  <a:pt x="261" y="27"/>
                  <a:pt x="261" y="27"/>
                </a:cubicBezTo>
                <a:cubicBezTo>
                  <a:pt x="261" y="20"/>
                  <a:pt x="261" y="20"/>
                  <a:pt x="261" y="20"/>
                </a:cubicBezTo>
                <a:cubicBezTo>
                  <a:pt x="186" y="20"/>
                  <a:pt x="186" y="20"/>
                  <a:pt x="186" y="20"/>
                </a:cubicBezTo>
                <a:cubicBezTo>
                  <a:pt x="186" y="15"/>
                  <a:pt x="186" y="15"/>
                  <a:pt x="186" y="15"/>
                </a:cubicBezTo>
                <a:cubicBezTo>
                  <a:pt x="62" y="15"/>
                  <a:pt x="62" y="15"/>
                  <a:pt x="62" y="15"/>
                </a:cubicBezTo>
                <a:cubicBezTo>
                  <a:pt x="62" y="11"/>
                  <a:pt x="62" y="11"/>
                  <a:pt x="62" y="11"/>
                </a:cubicBezTo>
                <a:cubicBezTo>
                  <a:pt x="37" y="11"/>
                  <a:pt x="37" y="11"/>
                  <a:pt x="37" y="11"/>
                </a:cubicBezTo>
                <a:cubicBezTo>
                  <a:pt x="18" y="11"/>
                  <a:pt x="18" y="11"/>
                  <a:pt x="18" y="11"/>
                </a:cubicBezTo>
                <a:cubicBezTo>
                  <a:pt x="18" y="8"/>
                  <a:pt x="18" y="8"/>
                  <a:pt x="18" y="8"/>
                </a:cubicBezTo>
                <a:cubicBezTo>
                  <a:pt x="3" y="8"/>
                  <a:pt x="3" y="8"/>
                  <a:pt x="3" y="8"/>
                </a:cubicBezTo>
                <a:cubicBezTo>
                  <a:pt x="3" y="3"/>
                  <a:pt x="3" y="3"/>
                  <a:pt x="3" y="3"/>
                </a:cubicBezTo>
                <a:cubicBezTo>
                  <a:pt x="0" y="3"/>
                  <a:pt x="0" y="3"/>
                  <a:pt x="0" y="3"/>
                </a:cubicBezTo>
                <a:cubicBezTo>
                  <a:pt x="0" y="0"/>
                  <a:pt x="0" y="0"/>
                  <a:pt x="0" y="0"/>
                </a:cubicBezTo>
              </a:path>
            </a:pathLst>
          </a:custGeom>
          <a:noFill/>
          <a:ln w="25400" cap="flat">
            <a:solidFill>
              <a:srgbClr val="8300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570" name="Group 569">
            <a:extLst>
              <a:ext uri="{FF2B5EF4-FFF2-40B4-BE49-F238E27FC236}">
                <a16:creationId xmlns:a16="http://schemas.microsoft.com/office/drawing/2014/main" id="{B2793056-282C-8F13-4E42-D19180535941}"/>
              </a:ext>
            </a:extLst>
          </p:cNvPr>
          <p:cNvGrpSpPr/>
          <p:nvPr/>
        </p:nvGrpSpPr>
        <p:grpSpPr>
          <a:xfrm>
            <a:off x="3516285" y="2030692"/>
            <a:ext cx="3086435" cy="1411611"/>
            <a:chOff x="-5041659" y="1772684"/>
            <a:chExt cx="3386580" cy="1548885"/>
          </a:xfrm>
        </p:grpSpPr>
        <p:sp>
          <p:nvSpPr>
            <p:cNvPr id="571" name="Line 206">
              <a:extLst>
                <a:ext uri="{FF2B5EF4-FFF2-40B4-BE49-F238E27FC236}">
                  <a16:creationId xmlns:a16="http://schemas.microsoft.com/office/drawing/2014/main" id="{D6E71B3F-161E-E5FB-108E-BE4242C619C2}"/>
                </a:ext>
              </a:extLst>
            </p:cNvPr>
            <p:cNvSpPr>
              <a:spLocks noChangeShapeType="1"/>
            </p:cNvSpPr>
            <p:nvPr/>
          </p:nvSpPr>
          <p:spPr bwMode="auto">
            <a:xfrm flipH="1">
              <a:off x="-3956335" y="2147949"/>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2" name="Line 207">
              <a:extLst>
                <a:ext uri="{FF2B5EF4-FFF2-40B4-BE49-F238E27FC236}">
                  <a16:creationId xmlns:a16="http://schemas.microsoft.com/office/drawing/2014/main" id="{32D0FAD0-545F-671F-2216-FDB6523089BE}"/>
                </a:ext>
              </a:extLst>
            </p:cNvPr>
            <p:cNvSpPr>
              <a:spLocks noChangeShapeType="1"/>
            </p:cNvSpPr>
            <p:nvPr/>
          </p:nvSpPr>
          <p:spPr bwMode="auto">
            <a:xfrm>
              <a:off x="-3941619"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3" name="Line 208">
              <a:extLst>
                <a:ext uri="{FF2B5EF4-FFF2-40B4-BE49-F238E27FC236}">
                  <a16:creationId xmlns:a16="http://schemas.microsoft.com/office/drawing/2014/main" id="{C33FE8A7-FFE4-3840-83AB-5E30C9E23F81}"/>
                </a:ext>
              </a:extLst>
            </p:cNvPr>
            <p:cNvSpPr>
              <a:spLocks noChangeShapeType="1"/>
            </p:cNvSpPr>
            <p:nvPr/>
          </p:nvSpPr>
          <p:spPr bwMode="auto">
            <a:xfrm flipH="1">
              <a:off x="-3974731" y="21479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4" name="Line 209">
              <a:extLst>
                <a:ext uri="{FF2B5EF4-FFF2-40B4-BE49-F238E27FC236}">
                  <a16:creationId xmlns:a16="http://schemas.microsoft.com/office/drawing/2014/main" id="{1C4725D9-7870-5B12-88AA-A4FC5B6A7D71}"/>
                </a:ext>
              </a:extLst>
            </p:cNvPr>
            <p:cNvSpPr>
              <a:spLocks noChangeShapeType="1"/>
            </p:cNvSpPr>
            <p:nvPr/>
          </p:nvSpPr>
          <p:spPr bwMode="auto">
            <a:xfrm>
              <a:off x="-3956336"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5" name="Line 210">
              <a:extLst>
                <a:ext uri="{FF2B5EF4-FFF2-40B4-BE49-F238E27FC236}">
                  <a16:creationId xmlns:a16="http://schemas.microsoft.com/office/drawing/2014/main" id="{8C5150BF-219F-A61D-3ACF-32149C7EDECF}"/>
                </a:ext>
              </a:extLst>
            </p:cNvPr>
            <p:cNvSpPr>
              <a:spLocks noChangeShapeType="1"/>
            </p:cNvSpPr>
            <p:nvPr/>
          </p:nvSpPr>
          <p:spPr bwMode="auto">
            <a:xfrm flipH="1">
              <a:off x="-3983927" y="21479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6" name="Line 211">
              <a:extLst>
                <a:ext uri="{FF2B5EF4-FFF2-40B4-BE49-F238E27FC236}">
                  <a16:creationId xmlns:a16="http://schemas.microsoft.com/office/drawing/2014/main" id="{C0EEDC85-401D-B43F-D074-6096CA3BB9C5}"/>
                </a:ext>
              </a:extLst>
            </p:cNvPr>
            <p:cNvSpPr>
              <a:spLocks noChangeShapeType="1"/>
            </p:cNvSpPr>
            <p:nvPr/>
          </p:nvSpPr>
          <p:spPr bwMode="auto">
            <a:xfrm>
              <a:off x="-3897471"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7" name="Line 212">
              <a:extLst>
                <a:ext uri="{FF2B5EF4-FFF2-40B4-BE49-F238E27FC236}">
                  <a16:creationId xmlns:a16="http://schemas.microsoft.com/office/drawing/2014/main" id="{769E08FB-9F50-2A8E-7830-4F3AC53C57FF}"/>
                </a:ext>
              </a:extLst>
            </p:cNvPr>
            <p:cNvSpPr>
              <a:spLocks noChangeShapeType="1"/>
            </p:cNvSpPr>
            <p:nvPr/>
          </p:nvSpPr>
          <p:spPr bwMode="auto">
            <a:xfrm flipH="1">
              <a:off x="-3928742" y="21479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8" name="Line 213">
              <a:extLst>
                <a:ext uri="{FF2B5EF4-FFF2-40B4-BE49-F238E27FC236}">
                  <a16:creationId xmlns:a16="http://schemas.microsoft.com/office/drawing/2014/main" id="{2A7745DE-00F8-20FE-5169-F9762E0456CA}"/>
                </a:ext>
              </a:extLst>
            </p:cNvPr>
            <p:cNvSpPr>
              <a:spLocks noChangeShapeType="1"/>
            </p:cNvSpPr>
            <p:nvPr/>
          </p:nvSpPr>
          <p:spPr bwMode="auto">
            <a:xfrm>
              <a:off x="-3914028"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9" name="Line 214">
              <a:extLst>
                <a:ext uri="{FF2B5EF4-FFF2-40B4-BE49-F238E27FC236}">
                  <a16:creationId xmlns:a16="http://schemas.microsoft.com/office/drawing/2014/main" id="{EF60D187-C991-3BB7-BE9F-E67AE2A09E5D}"/>
                </a:ext>
              </a:extLst>
            </p:cNvPr>
            <p:cNvSpPr>
              <a:spLocks noChangeShapeType="1"/>
            </p:cNvSpPr>
            <p:nvPr/>
          </p:nvSpPr>
          <p:spPr bwMode="auto">
            <a:xfrm flipH="1">
              <a:off x="-3945297" y="2147949"/>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0" name="Line 215">
              <a:extLst>
                <a:ext uri="{FF2B5EF4-FFF2-40B4-BE49-F238E27FC236}">
                  <a16:creationId xmlns:a16="http://schemas.microsoft.com/office/drawing/2014/main" id="{F493CB39-D44D-192B-6B6C-20742B790D5B}"/>
                </a:ext>
              </a:extLst>
            </p:cNvPr>
            <p:cNvSpPr>
              <a:spLocks noChangeShapeType="1"/>
            </p:cNvSpPr>
            <p:nvPr/>
          </p:nvSpPr>
          <p:spPr bwMode="auto">
            <a:xfrm>
              <a:off x="-3928744"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1" name="Line 216">
              <a:extLst>
                <a:ext uri="{FF2B5EF4-FFF2-40B4-BE49-F238E27FC236}">
                  <a16:creationId xmlns:a16="http://schemas.microsoft.com/office/drawing/2014/main" id="{C06BC6E9-BF74-7CBA-4188-060D09FC78ED}"/>
                </a:ext>
              </a:extLst>
            </p:cNvPr>
            <p:cNvSpPr>
              <a:spLocks noChangeShapeType="1"/>
            </p:cNvSpPr>
            <p:nvPr/>
          </p:nvSpPr>
          <p:spPr bwMode="auto">
            <a:xfrm flipH="1">
              <a:off x="-3956335" y="21479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2" name="Line 217">
              <a:extLst>
                <a:ext uri="{FF2B5EF4-FFF2-40B4-BE49-F238E27FC236}">
                  <a16:creationId xmlns:a16="http://schemas.microsoft.com/office/drawing/2014/main" id="{910C3427-091A-9ECA-8075-DE3BA8AD04D2}"/>
                </a:ext>
              </a:extLst>
            </p:cNvPr>
            <p:cNvSpPr>
              <a:spLocks noChangeShapeType="1"/>
            </p:cNvSpPr>
            <p:nvPr/>
          </p:nvSpPr>
          <p:spPr bwMode="auto">
            <a:xfrm>
              <a:off x="-3882754"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3" name="Line 218">
              <a:extLst>
                <a:ext uri="{FF2B5EF4-FFF2-40B4-BE49-F238E27FC236}">
                  <a16:creationId xmlns:a16="http://schemas.microsoft.com/office/drawing/2014/main" id="{A54BCA38-8588-6830-D97C-9CAA86D162FE}"/>
                </a:ext>
              </a:extLst>
            </p:cNvPr>
            <p:cNvSpPr>
              <a:spLocks noChangeShapeType="1"/>
            </p:cNvSpPr>
            <p:nvPr/>
          </p:nvSpPr>
          <p:spPr bwMode="auto">
            <a:xfrm flipH="1">
              <a:off x="-3914023" y="2147949"/>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4" name="Line 219">
              <a:extLst>
                <a:ext uri="{FF2B5EF4-FFF2-40B4-BE49-F238E27FC236}">
                  <a16:creationId xmlns:a16="http://schemas.microsoft.com/office/drawing/2014/main" id="{604FF055-9C98-11BF-7D6C-AA29DA64073B}"/>
                </a:ext>
              </a:extLst>
            </p:cNvPr>
            <p:cNvSpPr>
              <a:spLocks noChangeShapeType="1"/>
            </p:cNvSpPr>
            <p:nvPr/>
          </p:nvSpPr>
          <p:spPr bwMode="auto">
            <a:xfrm>
              <a:off x="-3899310"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5" name="Line 220">
              <a:extLst>
                <a:ext uri="{FF2B5EF4-FFF2-40B4-BE49-F238E27FC236}">
                  <a16:creationId xmlns:a16="http://schemas.microsoft.com/office/drawing/2014/main" id="{BA808FB2-75AA-B629-BEA8-FACA8F8A803B}"/>
                </a:ext>
              </a:extLst>
            </p:cNvPr>
            <p:cNvSpPr>
              <a:spLocks noChangeShapeType="1"/>
            </p:cNvSpPr>
            <p:nvPr/>
          </p:nvSpPr>
          <p:spPr bwMode="auto">
            <a:xfrm flipH="1">
              <a:off x="-3932421" y="21479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6" name="Line 221">
              <a:extLst>
                <a:ext uri="{FF2B5EF4-FFF2-40B4-BE49-F238E27FC236}">
                  <a16:creationId xmlns:a16="http://schemas.microsoft.com/office/drawing/2014/main" id="{41CCD117-972C-892B-0933-5AAAE32AFB5D}"/>
                </a:ext>
              </a:extLst>
            </p:cNvPr>
            <p:cNvSpPr>
              <a:spLocks noChangeShapeType="1"/>
            </p:cNvSpPr>
            <p:nvPr/>
          </p:nvSpPr>
          <p:spPr bwMode="auto">
            <a:xfrm>
              <a:off x="-3914028"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7" name="Line 222">
              <a:extLst>
                <a:ext uri="{FF2B5EF4-FFF2-40B4-BE49-F238E27FC236}">
                  <a16:creationId xmlns:a16="http://schemas.microsoft.com/office/drawing/2014/main" id="{DF8784D7-48E4-AA05-30F3-06ADBB443C4F}"/>
                </a:ext>
              </a:extLst>
            </p:cNvPr>
            <p:cNvSpPr>
              <a:spLocks noChangeShapeType="1"/>
            </p:cNvSpPr>
            <p:nvPr/>
          </p:nvSpPr>
          <p:spPr bwMode="auto">
            <a:xfrm flipH="1">
              <a:off x="-3941619" y="21479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8" name="Line 223">
              <a:extLst>
                <a:ext uri="{FF2B5EF4-FFF2-40B4-BE49-F238E27FC236}">
                  <a16:creationId xmlns:a16="http://schemas.microsoft.com/office/drawing/2014/main" id="{D2C04024-B62E-D37F-9B25-F335B5135306}"/>
                </a:ext>
              </a:extLst>
            </p:cNvPr>
            <p:cNvSpPr>
              <a:spLocks noChangeShapeType="1"/>
            </p:cNvSpPr>
            <p:nvPr/>
          </p:nvSpPr>
          <p:spPr bwMode="auto">
            <a:xfrm>
              <a:off x="-3855163"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9" name="Line 224">
              <a:extLst>
                <a:ext uri="{FF2B5EF4-FFF2-40B4-BE49-F238E27FC236}">
                  <a16:creationId xmlns:a16="http://schemas.microsoft.com/office/drawing/2014/main" id="{00AE698A-6AFF-FA28-54A5-A14C48ACF167}"/>
                </a:ext>
              </a:extLst>
            </p:cNvPr>
            <p:cNvSpPr>
              <a:spLocks noChangeShapeType="1"/>
            </p:cNvSpPr>
            <p:nvPr/>
          </p:nvSpPr>
          <p:spPr bwMode="auto">
            <a:xfrm flipH="1">
              <a:off x="-3886434" y="21479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0" name="Line 225">
              <a:extLst>
                <a:ext uri="{FF2B5EF4-FFF2-40B4-BE49-F238E27FC236}">
                  <a16:creationId xmlns:a16="http://schemas.microsoft.com/office/drawing/2014/main" id="{81BBB071-2C3F-38E0-EAB7-4D392468D447}"/>
                </a:ext>
              </a:extLst>
            </p:cNvPr>
            <p:cNvSpPr>
              <a:spLocks noChangeShapeType="1"/>
            </p:cNvSpPr>
            <p:nvPr/>
          </p:nvSpPr>
          <p:spPr bwMode="auto">
            <a:xfrm>
              <a:off x="-3871719"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1" name="Line 226">
              <a:extLst>
                <a:ext uri="{FF2B5EF4-FFF2-40B4-BE49-F238E27FC236}">
                  <a16:creationId xmlns:a16="http://schemas.microsoft.com/office/drawing/2014/main" id="{A3DB74A8-F442-F7BC-C55E-CC13D299714D}"/>
                </a:ext>
              </a:extLst>
            </p:cNvPr>
            <p:cNvSpPr>
              <a:spLocks noChangeShapeType="1"/>
            </p:cNvSpPr>
            <p:nvPr/>
          </p:nvSpPr>
          <p:spPr bwMode="auto">
            <a:xfrm flipH="1">
              <a:off x="-3902986" y="2147949"/>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2" name="Line 227">
              <a:extLst>
                <a:ext uri="{FF2B5EF4-FFF2-40B4-BE49-F238E27FC236}">
                  <a16:creationId xmlns:a16="http://schemas.microsoft.com/office/drawing/2014/main" id="{284883CA-A95C-A0F0-88FA-1D631EF1F11D}"/>
                </a:ext>
              </a:extLst>
            </p:cNvPr>
            <p:cNvSpPr>
              <a:spLocks noChangeShapeType="1"/>
            </p:cNvSpPr>
            <p:nvPr/>
          </p:nvSpPr>
          <p:spPr bwMode="auto">
            <a:xfrm>
              <a:off x="-3886435"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3" name="Line 228">
              <a:extLst>
                <a:ext uri="{FF2B5EF4-FFF2-40B4-BE49-F238E27FC236}">
                  <a16:creationId xmlns:a16="http://schemas.microsoft.com/office/drawing/2014/main" id="{041F2A65-4405-1CE8-77D7-AFE6B9F7FE81}"/>
                </a:ext>
              </a:extLst>
            </p:cNvPr>
            <p:cNvSpPr>
              <a:spLocks noChangeShapeType="1"/>
            </p:cNvSpPr>
            <p:nvPr/>
          </p:nvSpPr>
          <p:spPr bwMode="auto">
            <a:xfrm flipH="1">
              <a:off x="-3914026" y="21479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4" name="Line 229">
              <a:extLst>
                <a:ext uri="{FF2B5EF4-FFF2-40B4-BE49-F238E27FC236}">
                  <a16:creationId xmlns:a16="http://schemas.microsoft.com/office/drawing/2014/main" id="{8689776E-563F-B3F6-CB98-51D44F608073}"/>
                </a:ext>
              </a:extLst>
            </p:cNvPr>
            <p:cNvSpPr>
              <a:spLocks noChangeShapeType="1"/>
            </p:cNvSpPr>
            <p:nvPr/>
          </p:nvSpPr>
          <p:spPr bwMode="auto">
            <a:xfrm>
              <a:off x="-4129251"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5" name="Line 230">
              <a:extLst>
                <a:ext uri="{FF2B5EF4-FFF2-40B4-BE49-F238E27FC236}">
                  <a16:creationId xmlns:a16="http://schemas.microsoft.com/office/drawing/2014/main" id="{48D21FCC-9B8B-AC52-67CF-776C60D1CB03}"/>
                </a:ext>
              </a:extLst>
            </p:cNvPr>
            <p:cNvSpPr>
              <a:spLocks noChangeShapeType="1"/>
            </p:cNvSpPr>
            <p:nvPr/>
          </p:nvSpPr>
          <p:spPr bwMode="auto">
            <a:xfrm flipH="1">
              <a:off x="-4160522" y="21479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6" name="Line 231">
              <a:extLst>
                <a:ext uri="{FF2B5EF4-FFF2-40B4-BE49-F238E27FC236}">
                  <a16:creationId xmlns:a16="http://schemas.microsoft.com/office/drawing/2014/main" id="{199CBBA4-0D95-A7E2-12BC-47B4EFA432C0}"/>
                </a:ext>
              </a:extLst>
            </p:cNvPr>
            <p:cNvSpPr>
              <a:spLocks noChangeShapeType="1"/>
            </p:cNvSpPr>
            <p:nvPr/>
          </p:nvSpPr>
          <p:spPr bwMode="auto">
            <a:xfrm>
              <a:off x="-4151326"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7" name="Line 232">
              <a:extLst>
                <a:ext uri="{FF2B5EF4-FFF2-40B4-BE49-F238E27FC236}">
                  <a16:creationId xmlns:a16="http://schemas.microsoft.com/office/drawing/2014/main" id="{349FCA02-EA2F-02A3-E5CE-7B92E94944E8}"/>
                </a:ext>
              </a:extLst>
            </p:cNvPr>
            <p:cNvSpPr>
              <a:spLocks noChangeShapeType="1"/>
            </p:cNvSpPr>
            <p:nvPr/>
          </p:nvSpPr>
          <p:spPr bwMode="auto">
            <a:xfrm flipH="1">
              <a:off x="-4178919" y="21479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8" name="Line 233">
              <a:extLst>
                <a:ext uri="{FF2B5EF4-FFF2-40B4-BE49-F238E27FC236}">
                  <a16:creationId xmlns:a16="http://schemas.microsoft.com/office/drawing/2014/main" id="{430F5B6D-9904-AC64-4393-4995AF58593C}"/>
                </a:ext>
              </a:extLst>
            </p:cNvPr>
            <p:cNvSpPr>
              <a:spLocks noChangeShapeType="1"/>
            </p:cNvSpPr>
            <p:nvPr/>
          </p:nvSpPr>
          <p:spPr bwMode="auto">
            <a:xfrm>
              <a:off x="-4160522"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9" name="Line 234">
              <a:extLst>
                <a:ext uri="{FF2B5EF4-FFF2-40B4-BE49-F238E27FC236}">
                  <a16:creationId xmlns:a16="http://schemas.microsoft.com/office/drawing/2014/main" id="{7989F622-95EF-F620-482F-D28C0EB9E1D9}"/>
                </a:ext>
              </a:extLst>
            </p:cNvPr>
            <p:cNvSpPr>
              <a:spLocks noChangeShapeType="1"/>
            </p:cNvSpPr>
            <p:nvPr/>
          </p:nvSpPr>
          <p:spPr bwMode="auto">
            <a:xfrm flipH="1">
              <a:off x="-4193635" y="21479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0" name="Line 235">
              <a:extLst>
                <a:ext uri="{FF2B5EF4-FFF2-40B4-BE49-F238E27FC236}">
                  <a16:creationId xmlns:a16="http://schemas.microsoft.com/office/drawing/2014/main" id="{323FA9CC-6379-D441-ECC8-253D519329FC}"/>
                </a:ext>
              </a:extLst>
            </p:cNvPr>
            <p:cNvSpPr>
              <a:spLocks noChangeShapeType="1"/>
            </p:cNvSpPr>
            <p:nvPr/>
          </p:nvSpPr>
          <p:spPr bwMode="auto">
            <a:xfrm>
              <a:off x="-4101657"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1" name="Line 236">
              <a:extLst>
                <a:ext uri="{FF2B5EF4-FFF2-40B4-BE49-F238E27FC236}">
                  <a16:creationId xmlns:a16="http://schemas.microsoft.com/office/drawing/2014/main" id="{590349CA-F617-6104-6B83-536676F353C2}"/>
                </a:ext>
              </a:extLst>
            </p:cNvPr>
            <p:cNvSpPr>
              <a:spLocks noChangeShapeType="1"/>
            </p:cNvSpPr>
            <p:nvPr/>
          </p:nvSpPr>
          <p:spPr bwMode="auto">
            <a:xfrm flipH="1">
              <a:off x="-4132932" y="21479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2" name="Line 237">
              <a:extLst>
                <a:ext uri="{FF2B5EF4-FFF2-40B4-BE49-F238E27FC236}">
                  <a16:creationId xmlns:a16="http://schemas.microsoft.com/office/drawing/2014/main" id="{DA4364F0-C5CC-A92B-B2C2-79B69226BCE1}"/>
                </a:ext>
              </a:extLst>
            </p:cNvPr>
            <p:cNvSpPr>
              <a:spLocks noChangeShapeType="1"/>
            </p:cNvSpPr>
            <p:nvPr/>
          </p:nvSpPr>
          <p:spPr bwMode="auto">
            <a:xfrm>
              <a:off x="-4121896"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3" name="Line 238">
              <a:extLst>
                <a:ext uri="{FF2B5EF4-FFF2-40B4-BE49-F238E27FC236}">
                  <a16:creationId xmlns:a16="http://schemas.microsoft.com/office/drawing/2014/main" id="{3DCBE712-E3D2-B889-A811-100326EA5593}"/>
                </a:ext>
              </a:extLst>
            </p:cNvPr>
            <p:cNvSpPr>
              <a:spLocks noChangeShapeType="1"/>
            </p:cNvSpPr>
            <p:nvPr/>
          </p:nvSpPr>
          <p:spPr bwMode="auto">
            <a:xfrm flipH="1">
              <a:off x="-4151326" y="21479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4" name="Line 239">
              <a:extLst>
                <a:ext uri="{FF2B5EF4-FFF2-40B4-BE49-F238E27FC236}">
                  <a16:creationId xmlns:a16="http://schemas.microsoft.com/office/drawing/2014/main" id="{1E14E73A-9258-E0FC-A263-FB550ED1E55B}"/>
                </a:ext>
              </a:extLst>
            </p:cNvPr>
            <p:cNvSpPr>
              <a:spLocks noChangeShapeType="1"/>
            </p:cNvSpPr>
            <p:nvPr/>
          </p:nvSpPr>
          <p:spPr bwMode="auto">
            <a:xfrm>
              <a:off x="-4132932"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5" name="Line 240">
              <a:extLst>
                <a:ext uri="{FF2B5EF4-FFF2-40B4-BE49-F238E27FC236}">
                  <a16:creationId xmlns:a16="http://schemas.microsoft.com/office/drawing/2014/main" id="{0B5195A1-9ECF-D210-1DFA-88D7D66EF38A}"/>
                </a:ext>
              </a:extLst>
            </p:cNvPr>
            <p:cNvSpPr>
              <a:spLocks noChangeShapeType="1"/>
            </p:cNvSpPr>
            <p:nvPr/>
          </p:nvSpPr>
          <p:spPr bwMode="auto">
            <a:xfrm flipH="1">
              <a:off x="-4164201" y="2147949"/>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6" name="Line 241">
              <a:extLst>
                <a:ext uri="{FF2B5EF4-FFF2-40B4-BE49-F238E27FC236}">
                  <a16:creationId xmlns:a16="http://schemas.microsoft.com/office/drawing/2014/main" id="{17DC27CE-6726-CC27-C02E-E9632FBB5F13}"/>
                </a:ext>
              </a:extLst>
            </p:cNvPr>
            <p:cNvSpPr>
              <a:spLocks noChangeShapeType="1"/>
            </p:cNvSpPr>
            <p:nvPr/>
          </p:nvSpPr>
          <p:spPr bwMode="auto">
            <a:xfrm>
              <a:off x="-4086943"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7" name="Line 242">
              <a:extLst>
                <a:ext uri="{FF2B5EF4-FFF2-40B4-BE49-F238E27FC236}">
                  <a16:creationId xmlns:a16="http://schemas.microsoft.com/office/drawing/2014/main" id="{BB1E789A-079C-6524-57BC-C5582A6CA24D}"/>
                </a:ext>
              </a:extLst>
            </p:cNvPr>
            <p:cNvSpPr>
              <a:spLocks noChangeShapeType="1"/>
            </p:cNvSpPr>
            <p:nvPr/>
          </p:nvSpPr>
          <p:spPr bwMode="auto">
            <a:xfrm flipH="1">
              <a:off x="-4118214" y="21479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8" name="Line 243">
              <a:extLst>
                <a:ext uri="{FF2B5EF4-FFF2-40B4-BE49-F238E27FC236}">
                  <a16:creationId xmlns:a16="http://schemas.microsoft.com/office/drawing/2014/main" id="{7A4FC5B0-F2CA-4E04-331C-F1C3609F9BB4}"/>
                </a:ext>
              </a:extLst>
            </p:cNvPr>
            <p:cNvSpPr>
              <a:spLocks noChangeShapeType="1"/>
            </p:cNvSpPr>
            <p:nvPr/>
          </p:nvSpPr>
          <p:spPr bwMode="auto">
            <a:xfrm>
              <a:off x="-4109018"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9" name="Line 244">
              <a:extLst>
                <a:ext uri="{FF2B5EF4-FFF2-40B4-BE49-F238E27FC236}">
                  <a16:creationId xmlns:a16="http://schemas.microsoft.com/office/drawing/2014/main" id="{8C18B5DA-216E-4A2E-0B17-7AFAC8BC47D3}"/>
                </a:ext>
              </a:extLst>
            </p:cNvPr>
            <p:cNvSpPr>
              <a:spLocks noChangeShapeType="1"/>
            </p:cNvSpPr>
            <p:nvPr/>
          </p:nvSpPr>
          <p:spPr bwMode="auto">
            <a:xfrm flipH="1">
              <a:off x="-4136610" y="21479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0" name="Line 245">
              <a:extLst>
                <a:ext uri="{FF2B5EF4-FFF2-40B4-BE49-F238E27FC236}">
                  <a16:creationId xmlns:a16="http://schemas.microsoft.com/office/drawing/2014/main" id="{67562FA1-32F2-EA97-7C2D-582AA4D30F95}"/>
                </a:ext>
              </a:extLst>
            </p:cNvPr>
            <p:cNvSpPr>
              <a:spLocks noChangeShapeType="1"/>
            </p:cNvSpPr>
            <p:nvPr/>
          </p:nvSpPr>
          <p:spPr bwMode="auto">
            <a:xfrm>
              <a:off x="-4118214"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1" name="Line 246">
              <a:extLst>
                <a:ext uri="{FF2B5EF4-FFF2-40B4-BE49-F238E27FC236}">
                  <a16:creationId xmlns:a16="http://schemas.microsoft.com/office/drawing/2014/main" id="{539ABB01-C04B-869E-FDF9-1CFE3FA38538}"/>
                </a:ext>
              </a:extLst>
            </p:cNvPr>
            <p:cNvSpPr>
              <a:spLocks noChangeShapeType="1"/>
            </p:cNvSpPr>
            <p:nvPr/>
          </p:nvSpPr>
          <p:spPr bwMode="auto">
            <a:xfrm flipH="1">
              <a:off x="-4151326" y="21479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2" name="Line 247">
              <a:extLst>
                <a:ext uri="{FF2B5EF4-FFF2-40B4-BE49-F238E27FC236}">
                  <a16:creationId xmlns:a16="http://schemas.microsoft.com/office/drawing/2014/main" id="{DFB0D883-7F0F-6C09-4344-8B969F31ADA3}"/>
                </a:ext>
              </a:extLst>
            </p:cNvPr>
            <p:cNvSpPr>
              <a:spLocks noChangeShapeType="1"/>
            </p:cNvSpPr>
            <p:nvPr/>
          </p:nvSpPr>
          <p:spPr bwMode="auto">
            <a:xfrm>
              <a:off x="-4079585"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3" name="Line 248">
              <a:extLst>
                <a:ext uri="{FF2B5EF4-FFF2-40B4-BE49-F238E27FC236}">
                  <a16:creationId xmlns:a16="http://schemas.microsoft.com/office/drawing/2014/main" id="{85C3B3D7-FB98-4A62-FD8F-4096E4E5858A}"/>
                </a:ext>
              </a:extLst>
            </p:cNvPr>
            <p:cNvSpPr>
              <a:spLocks noChangeShapeType="1"/>
            </p:cNvSpPr>
            <p:nvPr/>
          </p:nvSpPr>
          <p:spPr bwMode="auto">
            <a:xfrm flipH="1">
              <a:off x="-4109016" y="21479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4" name="Line 249">
              <a:extLst>
                <a:ext uri="{FF2B5EF4-FFF2-40B4-BE49-F238E27FC236}">
                  <a16:creationId xmlns:a16="http://schemas.microsoft.com/office/drawing/2014/main" id="{6A6ECD09-3A75-D2DF-9F07-BDE97F58BEFB}"/>
                </a:ext>
              </a:extLst>
            </p:cNvPr>
            <p:cNvSpPr>
              <a:spLocks noChangeShapeType="1"/>
            </p:cNvSpPr>
            <p:nvPr/>
          </p:nvSpPr>
          <p:spPr bwMode="auto">
            <a:xfrm>
              <a:off x="-4090623"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5" name="Line 250">
              <a:extLst>
                <a:ext uri="{FF2B5EF4-FFF2-40B4-BE49-F238E27FC236}">
                  <a16:creationId xmlns:a16="http://schemas.microsoft.com/office/drawing/2014/main" id="{79F727A7-DAB2-AFD8-D7EE-74770344009B}"/>
                </a:ext>
              </a:extLst>
            </p:cNvPr>
            <p:cNvSpPr>
              <a:spLocks noChangeShapeType="1"/>
            </p:cNvSpPr>
            <p:nvPr/>
          </p:nvSpPr>
          <p:spPr bwMode="auto">
            <a:xfrm flipH="1">
              <a:off x="-4121894" y="21479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6" name="Line 251">
              <a:extLst>
                <a:ext uri="{FF2B5EF4-FFF2-40B4-BE49-F238E27FC236}">
                  <a16:creationId xmlns:a16="http://schemas.microsoft.com/office/drawing/2014/main" id="{3DD45F9D-A82E-4E1A-BCAF-492A0F32532A}"/>
                </a:ext>
              </a:extLst>
            </p:cNvPr>
            <p:cNvSpPr>
              <a:spLocks noChangeShapeType="1"/>
            </p:cNvSpPr>
            <p:nvPr/>
          </p:nvSpPr>
          <p:spPr bwMode="auto">
            <a:xfrm>
              <a:off x="-4175240" y="2063332"/>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7" name="Line 252">
              <a:extLst>
                <a:ext uri="{FF2B5EF4-FFF2-40B4-BE49-F238E27FC236}">
                  <a16:creationId xmlns:a16="http://schemas.microsoft.com/office/drawing/2014/main" id="{0590FACC-6237-D2AF-08E7-34DB8E24970E}"/>
                </a:ext>
              </a:extLst>
            </p:cNvPr>
            <p:cNvSpPr>
              <a:spLocks noChangeShapeType="1"/>
            </p:cNvSpPr>
            <p:nvPr/>
          </p:nvSpPr>
          <p:spPr bwMode="auto">
            <a:xfrm flipH="1">
              <a:off x="-4206511" y="2096440"/>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8" name="Line 253">
              <a:extLst>
                <a:ext uri="{FF2B5EF4-FFF2-40B4-BE49-F238E27FC236}">
                  <a16:creationId xmlns:a16="http://schemas.microsoft.com/office/drawing/2014/main" id="{14F9A1BA-D5D7-F616-08D9-6B91B41631D2}"/>
                </a:ext>
              </a:extLst>
            </p:cNvPr>
            <p:cNvSpPr>
              <a:spLocks noChangeShapeType="1"/>
            </p:cNvSpPr>
            <p:nvPr/>
          </p:nvSpPr>
          <p:spPr bwMode="auto">
            <a:xfrm>
              <a:off x="-4193635" y="2063332"/>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9" name="Line 254">
              <a:extLst>
                <a:ext uri="{FF2B5EF4-FFF2-40B4-BE49-F238E27FC236}">
                  <a16:creationId xmlns:a16="http://schemas.microsoft.com/office/drawing/2014/main" id="{50F17DDE-D5FF-7039-01BE-B595E9C6B3B7}"/>
                </a:ext>
              </a:extLst>
            </p:cNvPr>
            <p:cNvSpPr>
              <a:spLocks noChangeShapeType="1"/>
            </p:cNvSpPr>
            <p:nvPr/>
          </p:nvSpPr>
          <p:spPr bwMode="auto">
            <a:xfrm flipH="1">
              <a:off x="-4224906" y="2096440"/>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0" name="Line 255">
              <a:extLst>
                <a:ext uri="{FF2B5EF4-FFF2-40B4-BE49-F238E27FC236}">
                  <a16:creationId xmlns:a16="http://schemas.microsoft.com/office/drawing/2014/main" id="{24315DCE-33F5-0E1D-A3E7-DD1CD3091C73}"/>
                </a:ext>
              </a:extLst>
            </p:cNvPr>
            <p:cNvSpPr>
              <a:spLocks noChangeShapeType="1"/>
            </p:cNvSpPr>
            <p:nvPr/>
          </p:nvSpPr>
          <p:spPr bwMode="auto">
            <a:xfrm>
              <a:off x="-4206513" y="2063332"/>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1" name="Line 256">
              <a:extLst>
                <a:ext uri="{FF2B5EF4-FFF2-40B4-BE49-F238E27FC236}">
                  <a16:creationId xmlns:a16="http://schemas.microsoft.com/office/drawing/2014/main" id="{3BFE677E-9C62-5026-A395-86072E699CF5}"/>
                </a:ext>
              </a:extLst>
            </p:cNvPr>
            <p:cNvSpPr>
              <a:spLocks noChangeShapeType="1"/>
            </p:cNvSpPr>
            <p:nvPr/>
          </p:nvSpPr>
          <p:spPr bwMode="auto">
            <a:xfrm flipH="1">
              <a:off x="-4235944" y="2096440"/>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2" name="Line 257">
              <a:extLst>
                <a:ext uri="{FF2B5EF4-FFF2-40B4-BE49-F238E27FC236}">
                  <a16:creationId xmlns:a16="http://schemas.microsoft.com/office/drawing/2014/main" id="{486B5FA7-923D-881B-5990-BE6805CA2E84}"/>
                </a:ext>
              </a:extLst>
            </p:cNvPr>
            <p:cNvSpPr>
              <a:spLocks noChangeShapeType="1"/>
            </p:cNvSpPr>
            <p:nvPr/>
          </p:nvSpPr>
          <p:spPr bwMode="auto">
            <a:xfrm>
              <a:off x="-4147648" y="2063332"/>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3" name="Line 258">
              <a:extLst>
                <a:ext uri="{FF2B5EF4-FFF2-40B4-BE49-F238E27FC236}">
                  <a16:creationId xmlns:a16="http://schemas.microsoft.com/office/drawing/2014/main" id="{9A5557A1-7E2F-24ED-8B7E-1329BDD8EB3E}"/>
                </a:ext>
              </a:extLst>
            </p:cNvPr>
            <p:cNvSpPr>
              <a:spLocks noChangeShapeType="1"/>
            </p:cNvSpPr>
            <p:nvPr/>
          </p:nvSpPr>
          <p:spPr bwMode="auto">
            <a:xfrm flipH="1">
              <a:off x="-4178919" y="2096440"/>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4" name="Line 259">
              <a:extLst>
                <a:ext uri="{FF2B5EF4-FFF2-40B4-BE49-F238E27FC236}">
                  <a16:creationId xmlns:a16="http://schemas.microsoft.com/office/drawing/2014/main" id="{3A8366B4-7031-FF97-F7C3-A88859581CDE}"/>
                </a:ext>
              </a:extLst>
            </p:cNvPr>
            <p:cNvSpPr>
              <a:spLocks noChangeShapeType="1"/>
            </p:cNvSpPr>
            <p:nvPr/>
          </p:nvSpPr>
          <p:spPr bwMode="auto">
            <a:xfrm>
              <a:off x="-4164204" y="2063332"/>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5" name="Line 260">
              <a:extLst>
                <a:ext uri="{FF2B5EF4-FFF2-40B4-BE49-F238E27FC236}">
                  <a16:creationId xmlns:a16="http://schemas.microsoft.com/office/drawing/2014/main" id="{6D1240E5-0065-5512-FB3F-46B8300F00BE}"/>
                </a:ext>
              </a:extLst>
            </p:cNvPr>
            <p:cNvSpPr>
              <a:spLocks noChangeShapeType="1"/>
            </p:cNvSpPr>
            <p:nvPr/>
          </p:nvSpPr>
          <p:spPr bwMode="auto">
            <a:xfrm flipH="1">
              <a:off x="-4195474" y="2096440"/>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6" name="Line 261">
              <a:extLst>
                <a:ext uri="{FF2B5EF4-FFF2-40B4-BE49-F238E27FC236}">
                  <a16:creationId xmlns:a16="http://schemas.microsoft.com/office/drawing/2014/main" id="{4CDFDB3D-C424-7D67-EABF-A7794C72DF9D}"/>
                </a:ext>
              </a:extLst>
            </p:cNvPr>
            <p:cNvSpPr>
              <a:spLocks noChangeShapeType="1"/>
            </p:cNvSpPr>
            <p:nvPr/>
          </p:nvSpPr>
          <p:spPr bwMode="auto">
            <a:xfrm>
              <a:off x="-4178920" y="2063332"/>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7" name="Line 262">
              <a:extLst>
                <a:ext uri="{FF2B5EF4-FFF2-40B4-BE49-F238E27FC236}">
                  <a16:creationId xmlns:a16="http://schemas.microsoft.com/office/drawing/2014/main" id="{C0896BF8-1C2E-1EDA-C9EC-398494498227}"/>
                </a:ext>
              </a:extLst>
            </p:cNvPr>
            <p:cNvSpPr>
              <a:spLocks noChangeShapeType="1"/>
            </p:cNvSpPr>
            <p:nvPr/>
          </p:nvSpPr>
          <p:spPr bwMode="auto">
            <a:xfrm flipH="1">
              <a:off x="-4206511" y="2096440"/>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8" name="Line 263">
              <a:extLst>
                <a:ext uri="{FF2B5EF4-FFF2-40B4-BE49-F238E27FC236}">
                  <a16:creationId xmlns:a16="http://schemas.microsoft.com/office/drawing/2014/main" id="{969DC088-78E2-69DD-3804-2E8D80136067}"/>
                </a:ext>
              </a:extLst>
            </p:cNvPr>
            <p:cNvSpPr>
              <a:spLocks noChangeShapeType="1"/>
            </p:cNvSpPr>
            <p:nvPr/>
          </p:nvSpPr>
          <p:spPr bwMode="auto">
            <a:xfrm>
              <a:off x="-4132932" y="2063332"/>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9" name="Line 264">
              <a:extLst>
                <a:ext uri="{FF2B5EF4-FFF2-40B4-BE49-F238E27FC236}">
                  <a16:creationId xmlns:a16="http://schemas.microsoft.com/office/drawing/2014/main" id="{1F50D7D5-2E50-447C-9984-EAFB346946C5}"/>
                </a:ext>
              </a:extLst>
            </p:cNvPr>
            <p:cNvSpPr>
              <a:spLocks noChangeShapeType="1"/>
            </p:cNvSpPr>
            <p:nvPr/>
          </p:nvSpPr>
          <p:spPr bwMode="auto">
            <a:xfrm flipH="1">
              <a:off x="-4164201" y="2096440"/>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0" name="Line 265">
              <a:extLst>
                <a:ext uri="{FF2B5EF4-FFF2-40B4-BE49-F238E27FC236}">
                  <a16:creationId xmlns:a16="http://schemas.microsoft.com/office/drawing/2014/main" id="{21A93467-DBFF-6595-958B-582ECB436402}"/>
                </a:ext>
              </a:extLst>
            </p:cNvPr>
            <p:cNvSpPr>
              <a:spLocks noChangeShapeType="1"/>
            </p:cNvSpPr>
            <p:nvPr/>
          </p:nvSpPr>
          <p:spPr bwMode="auto">
            <a:xfrm>
              <a:off x="-4151326" y="2063332"/>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1" name="Line 266">
              <a:extLst>
                <a:ext uri="{FF2B5EF4-FFF2-40B4-BE49-F238E27FC236}">
                  <a16:creationId xmlns:a16="http://schemas.microsoft.com/office/drawing/2014/main" id="{F7AA881B-A9A5-DED2-7D8D-D831293FA994}"/>
                </a:ext>
              </a:extLst>
            </p:cNvPr>
            <p:cNvSpPr>
              <a:spLocks noChangeShapeType="1"/>
            </p:cNvSpPr>
            <p:nvPr/>
          </p:nvSpPr>
          <p:spPr bwMode="auto">
            <a:xfrm flipH="1">
              <a:off x="-4182598" y="2096440"/>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2" name="Line 267">
              <a:extLst>
                <a:ext uri="{FF2B5EF4-FFF2-40B4-BE49-F238E27FC236}">
                  <a16:creationId xmlns:a16="http://schemas.microsoft.com/office/drawing/2014/main" id="{612EA557-7739-6EA8-7459-64570E8C9AC2}"/>
                </a:ext>
              </a:extLst>
            </p:cNvPr>
            <p:cNvSpPr>
              <a:spLocks noChangeShapeType="1"/>
            </p:cNvSpPr>
            <p:nvPr/>
          </p:nvSpPr>
          <p:spPr bwMode="auto">
            <a:xfrm>
              <a:off x="-4164204" y="2063332"/>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3" name="Line 268">
              <a:extLst>
                <a:ext uri="{FF2B5EF4-FFF2-40B4-BE49-F238E27FC236}">
                  <a16:creationId xmlns:a16="http://schemas.microsoft.com/office/drawing/2014/main" id="{DC5258AE-0CBB-3D34-DC77-695EDAAE42D6}"/>
                </a:ext>
              </a:extLst>
            </p:cNvPr>
            <p:cNvSpPr>
              <a:spLocks noChangeShapeType="1"/>
            </p:cNvSpPr>
            <p:nvPr/>
          </p:nvSpPr>
          <p:spPr bwMode="auto">
            <a:xfrm flipH="1">
              <a:off x="-4193635" y="2096440"/>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4" name="Line 269">
              <a:extLst>
                <a:ext uri="{FF2B5EF4-FFF2-40B4-BE49-F238E27FC236}">
                  <a16:creationId xmlns:a16="http://schemas.microsoft.com/office/drawing/2014/main" id="{79F37EFB-5F22-3C5D-49E8-89EDC8FD3928}"/>
                </a:ext>
              </a:extLst>
            </p:cNvPr>
            <p:cNvSpPr>
              <a:spLocks noChangeShapeType="1"/>
            </p:cNvSpPr>
            <p:nvPr/>
          </p:nvSpPr>
          <p:spPr bwMode="auto">
            <a:xfrm>
              <a:off x="-4121896" y="2063332"/>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5" name="Line 270">
              <a:extLst>
                <a:ext uri="{FF2B5EF4-FFF2-40B4-BE49-F238E27FC236}">
                  <a16:creationId xmlns:a16="http://schemas.microsoft.com/office/drawing/2014/main" id="{C1E51875-2369-4130-BB85-48C846E6C645}"/>
                </a:ext>
              </a:extLst>
            </p:cNvPr>
            <p:cNvSpPr>
              <a:spLocks noChangeShapeType="1"/>
            </p:cNvSpPr>
            <p:nvPr/>
          </p:nvSpPr>
          <p:spPr bwMode="auto">
            <a:xfrm flipH="1">
              <a:off x="-4153164" y="2096440"/>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6" name="Line 271">
              <a:extLst>
                <a:ext uri="{FF2B5EF4-FFF2-40B4-BE49-F238E27FC236}">
                  <a16:creationId xmlns:a16="http://schemas.microsoft.com/office/drawing/2014/main" id="{18827231-89CC-268E-7094-D3602C18288C}"/>
                </a:ext>
              </a:extLst>
            </p:cNvPr>
            <p:cNvSpPr>
              <a:spLocks noChangeShapeType="1"/>
            </p:cNvSpPr>
            <p:nvPr/>
          </p:nvSpPr>
          <p:spPr bwMode="auto">
            <a:xfrm>
              <a:off x="-4136612" y="2063332"/>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7" name="Line 272">
              <a:extLst>
                <a:ext uri="{FF2B5EF4-FFF2-40B4-BE49-F238E27FC236}">
                  <a16:creationId xmlns:a16="http://schemas.microsoft.com/office/drawing/2014/main" id="{0FB28D5B-EAB6-36CB-0370-F4439F04513B}"/>
                </a:ext>
              </a:extLst>
            </p:cNvPr>
            <p:cNvSpPr>
              <a:spLocks noChangeShapeType="1"/>
            </p:cNvSpPr>
            <p:nvPr/>
          </p:nvSpPr>
          <p:spPr bwMode="auto">
            <a:xfrm flipH="1">
              <a:off x="-4164203" y="2096440"/>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8" name="Line 273">
              <a:extLst>
                <a:ext uri="{FF2B5EF4-FFF2-40B4-BE49-F238E27FC236}">
                  <a16:creationId xmlns:a16="http://schemas.microsoft.com/office/drawing/2014/main" id="{8AE89C99-7690-2A39-704E-9C36326BE4DC}"/>
                </a:ext>
              </a:extLst>
            </p:cNvPr>
            <p:cNvSpPr>
              <a:spLocks noChangeShapeType="1"/>
            </p:cNvSpPr>
            <p:nvPr/>
          </p:nvSpPr>
          <p:spPr bwMode="auto">
            <a:xfrm>
              <a:off x="-4235944" y="1967674"/>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9" name="Line 274">
              <a:extLst>
                <a:ext uri="{FF2B5EF4-FFF2-40B4-BE49-F238E27FC236}">
                  <a16:creationId xmlns:a16="http://schemas.microsoft.com/office/drawing/2014/main" id="{3E5DEA58-6449-6E37-AF93-73B84BC33618}"/>
                </a:ext>
              </a:extLst>
            </p:cNvPr>
            <p:cNvSpPr>
              <a:spLocks noChangeShapeType="1"/>
            </p:cNvSpPr>
            <p:nvPr/>
          </p:nvSpPr>
          <p:spPr bwMode="auto">
            <a:xfrm flipH="1">
              <a:off x="-4263536" y="2000785"/>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0" name="Line 275">
              <a:extLst>
                <a:ext uri="{FF2B5EF4-FFF2-40B4-BE49-F238E27FC236}">
                  <a16:creationId xmlns:a16="http://schemas.microsoft.com/office/drawing/2014/main" id="{FC8E2DE7-676B-B2AF-2A27-65B327BD4EAE}"/>
                </a:ext>
              </a:extLst>
            </p:cNvPr>
            <p:cNvSpPr>
              <a:spLocks noChangeShapeType="1"/>
            </p:cNvSpPr>
            <p:nvPr/>
          </p:nvSpPr>
          <p:spPr bwMode="auto">
            <a:xfrm>
              <a:off x="-4252500" y="1967674"/>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1" name="Line 276">
              <a:extLst>
                <a:ext uri="{FF2B5EF4-FFF2-40B4-BE49-F238E27FC236}">
                  <a16:creationId xmlns:a16="http://schemas.microsoft.com/office/drawing/2014/main" id="{E2075F03-E0B5-A586-BA23-B454888DC2E7}"/>
                </a:ext>
              </a:extLst>
            </p:cNvPr>
            <p:cNvSpPr>
              <a:spLocks noChangeShapeType="1"/>
            </p:cNvSpPr>
            <p:nvPr/>
          </p:nvSpPr>
          <p:spPr bwMode="auto">
            <a:xfrm flipH="1">
              <a:off x="-4283770" y="2000785"/>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2" name="Line 277">
              <a:extLst>
                <a:ext uri="{FF2B5EF4-FFF2-40B4-BE49-F238E27FC236}">
                  <a16:creationId xmlns:a16="http://schemas.microsoft.com/office/drawing/2014/main" id="{F82A4667-1813-EACC-DDAE-87D64D95D172}"/>
                </a:ext>
              </a:extLst>
            </p:cNvPr>
            <p:cNvSpPr>
              <a:spLocks noChangeShapeType="1"/>
            </p:cNvSpPr>
            <p:nvPr/>
          </p:nvSpPr>
          <p:spPr bwMode="auto">
            <a:xfrm>
              <a:off x="-4263538" y="1967674"/>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3" name="Line 278">
              <a:extLst>
                <a:ext uri="{FF2B5EF4-FFF2-40B4-BE49-F238E27FC236}">
                  <a16:creationId xmlns:a16="http://schemas.microsoft.com/office/drawing/2014/main" id="{D2743DE0-16DA-65BA-7A33-DB37B58BF3EF}"/>
                </a:ext>
              </a:extLst>
            </p:cNvPr>
            <p:cNvSpPr>
              <a:spLocks noChangeShapeType="1"/>
            </p:cNvSpPr>
            <p:nvPr/>
          </p:nvSpPr>
          <p:spPr bwMode="auto">
            <a:xfrm flipH="1">
              <a:off x="-4294809" y="2000785"/>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4" name="Line 279">
              <a:extLst>
                <a:ext uri="{FF2B5EF4-FFF2-40B4-BE49-F238E27FC236}">
                  <a16:creationId xmlns:a16="http://schemas.microsoft.com/office/drawing/2014/main" id="{BC500444-6FCF-37E5-A332-0CC6C31A6335}"/>
                </a:ext>
              </a:extLst>
            </p:cNvPr>
            <p:cNvSpPr>
              <a:spLocks noChangeShapeType="1"/>
            </p:cNvSpPr>
            <p:nvPr/>
          </p:nvSpPr>
          <p:spPr bwMode="auto">
            <a:xfrm>
              <a:off x="-4206513" y="1967674"/>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5" name="Line 280">
              <a:extLst>
                <a:ext uri="{FF2B5EF4-FFF2-40B4-BE49-F238E27FC236}">
                  <a16:creationId xmlns:a16="http://schemas.microsoft.com/office/drawing/2014/main" id="{09EDCC4C-63C6-7B41-5566-91DD5F1054BD}"/>
                </a:ext>
              </a:extLst>
            </p:cNvPr>
            <p:cNvSpPr>
              <a:spLocks noChangeShapeType="1"/>
            </p:cNvSpPr>
            <p:nvPr/>
          </p:nvSpPr>
          <p:spPr bwMode="auto">
            <a:xfrm flipH="1">
              <a:off x="-4237782" y="2000785"/>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6" name="Line 281">
              <a:extLst>
                <a:ext uri="{FF2B5EF4-FFF2-40B4-BE49-F238E27FC236}">
                  <a16:creationId xmlns:a16="http://schemas.microsoft.com/office/drawing/2014/main" id="{F73B950C-6AF5-9B7C-B32A-F0F141D84B00}"/>
                </a:ext>
              </a:extLst>
            </p:cNvPr>
            <p:cNvSpPr>
              <a:spLocks noChangeShapeType="1"/>
            </p:cNvSpPr>
            <p:nvPr/>
          </p:nvSpPr>
          <p:spPr bwMode="auto">
            <a:xfrm>
              <a:off x="-4224909" y="1967674"/>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7" name="Line 282">
              <a:extLst>
                <a:ext uri="{FF2B5EF4-FFF2-40B4-BE49-F238E27FC236}">
                  <a16:creationId xmlns:a16="http://schemas.microsoft.com/office/drawing/2014/main" id="{06251920-B870-6AA0-0DD7-C6ED34BA162B}"/>
                </a:ext>
              </a:extLst>
            </p:cNvPr>
            <p:cNvSpPr>
              <a:spLocks noChangeShapeType="1"/>
            </p:cNvSpPr>
            <p:nvPr/>
          </p:nvSpPr>
          <p:spPr bwMode="auto">
            <a:xfrm flipH="1">
              <a:off x="-4256176" y="2000785"/>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8" name="Line 283">
              <a:extLst>
                <a:ext uri="{FF2B5EF4-FFF2-40B4-BE49-F238E27FC236}">
                  <a16:creationId xmlns:a16="http://schemas.microsoft.com/office/drawing/2014/main" id="{35C685AA-F6FC-F213-68A5-DF0371E6C844}"/>
                </a:ext>
              </a:extLst>
            </p:cNvPr>
            <p:cNvSpPr>
              <a:spLocks noChangeShapeType="1"/>
            </p:cNvSpPr>
            <p:nvPr/>
          </p:nvSpPr>
          <p:spPr bwMode="auto">
            <a:xfrm>
              <a:off x="-4237785" y="1967674"/>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9" name="Line 284">
              <a:extLst>
                <a:ext uri="{FF2B5EF4-FFF2-40B4-BE49-F238E27FC236}">
                  <a16:creationId xmlns:a16="http://schemas.microsoft.com/office/drawing/2014/main" id="{095EAC1E-0E7B-58FC-C597-91EF0F219573}"/>
                </a:ext>
              </a:extLst>
            </p:cNvPr>
            <p:cNvSpPr>
              <a:spLocks noChangeShapeType="1"/>
            </p:cNvSpPr>
            <p:nvPr/>
          </p:nvSpPr>
          <p:spPr bwMode="auto">
            <a:xfrm flipH="1">
              <a:off x="-4267218" y="2000785"/>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0" name="Line 285">
              <a:extLst>
                <a:ext uri="{FF2B5EF4-FFF2-40B4-BE49-F238E27FC236}">
                  <a16:creationId xmlns:a16="http://schemas.microsoft.com/office/drawing/2014/main" id="{5766B04E-AE44-6487-5B49-2935B43E9D0A}"/>
                </a:ext>
              </a:extLst>
            </p:cNvPr>
            <p:cNvSpPr>
              <a:spLocks noChangeShapeType="1"/>
            </p:cNvSpPr>
            <p:nvPr/>
          </p:nvSpPr>
          <p:spPr bwMode="auto">
            <a:xfrm>
              <a:off x="-4193635" y="1967674"/>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1" name="Line 286">
              <a:extLst>
                <a:ext uri="{FF2B5EF4-FFF2-40B4-BE49-F238E27FC236}">
                  <a16:creationId xmlns:a16="http://schemas.microsoft.com/office/drawing/2014/main" id="{B529AFD6-6A8F-2984-4779-DCCEA72C6DE4}"/>
                </a:ext>
              </a:extLst>
            </p:cNvPr>
            <p:cNvSpPr>
              <a:spLocks noChangeShapeType="1"/>
            </p:cNvSpPr>
            <p:nvPr/>
          </p:nvSpPr>
          <p:spPr bwMode="auto">
            <a:xfrm flipH="1">
              <a:off x="-4224906" y="2000785"/>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2" name="Line 287">
              <a:extLst>
                <a:ext uri="{FF2B5EF4-FFF2-40B4-BE49-F238E27FC236}">
                  <a16:creationId xmlns:a16="http://schemas.microsoft.com/office/drawing/2014/main" id="{6AF15A0E-A479-4493-5885-5C3D8B26FCAD}"/>
                </a:ext>
              </a:extLst>
            </p:cNvPr>
            <p:cNvSpPr>
              <a:spLocks noChangeShapeType="1"/>
            </p:cNvSpPr>
            <p:nvPr/>
          </p:nvSpPr>
          <p:spPr bwMode="auto">
            <a:xfrm>
              <a:off x="-4210192" y="1967674"/>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3" name="Line 288">
              <a:extLst>
                <a:ext uri="{FF2B5EF4-FFF2-40B4-BE49-F238E27FC236}">
                  <a16:creationId xmlns:a16="http://schemas.microsoft.com/office/drawing/2014/main" id="{80E8DBFE-7BD5-3C42-8847-9AE4445FBE7A}"/>
                </a:ext>
              </a:extLst>
            </p:cNvPr>
            <p:cNvSpPr>
              <a:spLocks noChangeShapeType="1"/>
            </p:cNvSpPr>
            <p:nvPr/>
          </p:nvSpPr>
          <p:spPr bwMode="auto">
            <a:xfrm flipH="1">
              <a:off x="-4241460" y="2000785"/>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4" name="Line 289">
              <a:extLst>
                <a:ext uri="{FF2B5EF4-FFF2-40B4-BE49-F238E27FC236}">
                  <a16:creationId xmlns:a16="http://schemas.microsoft.com/office/drawing/2014/main" id="{370C7B8D-FEFB-BFF0-FC37-0DCD813A36A7}"/>
                </a:ext>
              </a:extLst>
            </p:cNvPr>
            <p:cNvSpPr>
              <a:spLocks noChangeShapeType="1"/>
            </p:cNvSpPr>
            <p:nvPr/>
          </p:nvSpPr>
          <p:spPr bwMode="auto">
            <a:xfrm>
              <a:off x="-4224909" y="1967674"/>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5" name="Line 290">
              <a:extLst>
                <a:ext uri="{FF2B5EF4-FFF2-40B4-BE49-F238E27FC236}">
                  <a16:creationId xmlns:a16="http://schemas.microsoft.com/office/drawing/2014/main" id="{824D6E6E-9D9F-C38A-F14F-65A89DCEFA95}"/>
                </a:ext>
              </a:extLst>
            </p:cNvPr>
            <p:cNvSpPr>
              <a:spLocks noChangeShapeType="1"/>
            </p:cNvSpPr>
            <p:nvPr/>
          </p:nvSpPr>
          <p:spPr bwMode="auto">
            <a:xfrm flipH="1">
              <a:off x="-4252500" y="2000785"/>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6" name="Line 291">
              <a:extLst>
                <a:ext uri="{FF2B5EF4-FFF2-40B4-BE49-F238E27FC236}">
                  <a16:creationId xmlns:a16="http://schemas.microsoft.com/office/drawing/2014/main" id="{D8549D44-AFA1-3161-1956-5C1556769570}"/>
                </a:ext>
              </a:extLst>
            </p:cNvPr>
            <p:cNvSpPr>
              <a:spLocks noChangeShapeType="1"/>
            </p:cNvSpPr>
            <p:nvPr/>
          </p:nvSpPr>
          <p:spPr bwMode="auto">
            <a:xfrm>
              <a:off x="-4182598" y="1967674"/>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7" name="Line 292">
              <a:extLst>
                <a:ext uri="{FF2B5EF4-FFF2-40B4-BE49-F238E27FC236}">
                  <a16:creationId xmlns:a16="http://schemas.microsoft.com/office/drawing/2014/main" id="{F5642E85-8406-43BE-1A21-542D01BA76D3}"/>
                </a:ext>
              </a:extLst>
            </p:cNvPr>
            <p:cNvSpPr>
              <a:spLocks noChangeShapeType="1"/>
            </p:cNvSpPr>
            <p:nvPr/>
          </p:nvSpPr>
          <p:spPr bwMode="auto">
            <a:xfrm flipH="1">
              <a:off x="-4213867" y="2000785"/>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8" name="Line 293">
              <a:extLst>
                <a:ext uri="{FF2B5EF4-FFF2-40B4-BE49-F238E27FC236}">
                  <a16:creationId xmlns:a16="http://schemas.microsoft.com/office/drawing/2014/main" id="{C52393EF-27B3-3ADF-C917-FF0DFA4A0E59}"/>
                </a:ext>
              </a:extLst>
            </p:cNvPr>
            <p:cNvSpPr>
              <a:spLocks noChangeShapeType="1"/>
            </p:cNvSpPr>
            <p:nvPr/>
          </p:nvSpPr>
          <p:spPr bwMode="auto">
            <a:xfrm>
              <a:off x="-4195477" y="1967674"/>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9" name="Line 294">
              <a:extLst>
                <a:ext uri="{FF2B5EF4-FFF2-40B4-BE49-F238E27FC236}">
                  <a16:creationId xmlns:a16="http://schemas.microsoft.com/office/drawing/2014/main" id="{8A8113C7-752F-1CF0-DC52-05DFAE2CC0BF}"/>
                </a:ext>
              </a:extLst>
            </p:cNvPr>
            <p:cNvSpPr>
              <a:spLocks noChangeShapeType="1"/>
            </p:cNvSpPr>
            <p:nvPr/>
          </p:nvSpPr>
          <p:spPr bwMode="auto">
            <a:xfrm flipH="1">
              <a:off x="-4224909" y="2000785"/>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0" name="Line 295">
              <a:extLst>
                <a:ext uri="{FF2B5EF4-FFF2-40B4-BE49-F238E27FC236}">
                  <a16:creationId xmlns:a16="http://schemas.microsoft.com/office/drawing/2014/main" id="{D92F92DF-97F7-D44C-ABB3-DB0FDB39FA70}"/>
                </a:ext>
              </a:extLst>
            </p:cNvPr>
            <p:cNvSpPr>
              <a:spLocks noChangeShapeType="1"/>
            </p:cNvSpPr>
            <p:nvPr/>
          </p:nvSpPr>
          <p:spPr bwMode="auto">
            <a:xfrm>
              <a:off x="-4235944"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1" name="Line 296">
              <a:extLst>
                <a:ext uri="{FF2B5EF4-FFF2-40B4-BE49-F238E27FC236}">
                  <a16:creationId xmlns:a16="http://schemas.microsoft.com/office/drawing/2014/main" id="{8F345E58-0CEC-565D-57F3-1B044AECB287}"/>
                </a:ext>
              </a:extLst>
            </p:cNvPr>
            <p:cNvSpPr>
              <a:spLocks noChangeShapeType="1"/>
            </p:cNvSpPr>
            <p:nvPr/>
          </p:nvSpPr>
          <p:spPr bwMode="auto">
            <a:xfrm flipH="1">
              <a:off x="-4263536" y="2050452"/>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2" name="Line 297">
              <a:extLst>
                <a:ext uri="{FF2B5EF4-FFF2-40B4-BE49-F238E27FC236}">
                  <a16:creationId xmlns:a16="http://schemas.microsoft.com/office/drawing/2014/main" id="{D4F72B65-EA2A-AEDC-E7A8-A85F062072F3}"/>
                </a:ext>
              </a:extLst>
            </p:cNvPr>
            <p:cNvSpPr>
              <a:spLocks noChangeShapeType="1"/>
            </p:cNvSpPr>
            <p:nvPr/>
          </p:nvSpPr>
          <p:spPr bwMode="auto">
            <a:xfrm>
              <a:off x="-4252500"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3" name="Line 298">
              <a:extLst>
                <a:ext uri="{FF2B5EF4-FFF2-40B4-BE49-F238E27FC236}">
                  <a16:creationId xmlns:a16="http://schemas.microsoft.com/office/drawing/2014/main" id="{78AFE2F8-2D07-3042-EF96-027176103ED8}"/>
                </a:ext>
              </a:extLst>
            </p:cNvPr>
            <p:cNvSpPr>
              <a:spLocks noChangeShapeType="1"/>
            </p:cNvSpPr>
            <p:nvPr/>
          </p:nvSpPr>
          <p:spPr bwMode="auto">
            <a:xfrm flipH="1">
              <a:off x="-4283770" y="2050452"/>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4" name="Line 299">
              <a:extLst>
                <a:ext uri="{FF2B5EF4-FFF2-40B4-BE49-F238E27FC236}">
                  <a16:creationId xmlns:a16="http://schemas.microsoft.com/office/drawing/2014/main" id="{46C8469F-6D4B-089D-D9BD-C6AD383EE860}"/>
                </a:ext>
              </a:extLst>
            </p:cNvPr>
            <p:cNvSpPr>
              <a:spLocks noChangeShapeType="1"/>
            </p:cNvSpPr>
            <p:nvPr/>
          </p:nvSpPr>
          <p:spPr bwMode="auto">
            <a:xfrm>
              <a:off x="-4263538"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5" name="Line 300">
              <a:extLst>
                <a:ext uri="{FF2B5EF4-FFF2-40B4-BE49-F238E27FC236}">
                  <a16:creationId xmlns:a16="http://schemas.microsoft.com/office/drawing/2014/main" id="{B8524ABE-ECB2-25B2-ACE9-7BD1A98A2C14}"/>
                </a:ext>
              </a:extLst>
            </p:cNvPr>
            <p:cNvSpPr>
              <a:spLocks noChangeShapeType="1"/>
            </p:cNvSpPr>
            <p:nvPr/>
          </p:nvSpPr>
          <p:spPr bwMode="auto">
            <a:xfrm flipH="1">
              <a:off x="-4294809" y="2050452"/>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6" name="Line 301">
              <a:extLst>
                <a:ext uri="{FF2B5EF4-FFF2-40B4-BE49-F238E27FC236}">
                  <a16:creationId xmlns:a16="http://schemas.microsoft.com/office/drawing/2014/main" id="{ED676F76-60A1-9E38-4C55-45162A0FC765}"/>
                </a:ext>
              </a:extLst>
            </p:cNvPr>
            <p:cNvSpPr>
              <a:spLocks noChangeShapeType="1"/>
            </p:cNvSpPr>
            <p:nvPr/>
          </p:nvSpPr>
          <p:spPr bwMode="auto">
            <a:xfrm>
              <a:off x="-4206513"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7" name="Line 302">
              <a:extLst>
                <a:ext uri="{FF2B5EF4-FFF2-40B4-BE49-F238E27FC236}">
                  <a16:creationId xmlns:a16="http://schemas.microsoft.com/office/drawing/2014/main" id="{17787128-94A6-09FE-5E31-B9D36D01E931}"/>
                </a:ext>
              </a:extLst>
            </p:cNvPr>
            <p:cNvSpPr>
              <a:spLocks noChangeShapeType="1"/>
            </p:cNvSpPr>
            <p:nvPr/>
          </p:nvSpPr>
          <p:spPr bwMode="auto">
            <a:xfrm flipH="1">
              <a:off x="-4237782" y="2050452"/>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8" name="Line 303">
              <a:extLst>
                <a:ext uri="{FF2B5EF4-FFF2-40B4-BE49-F238E27FC236}">
                  <a16:creationId xmlns:a16="http://schemas.microsoft.com/office/drawing/2014/main" id="{15F7086B-2259-D5A6-E826-B3084E94DB14}"/>
                </a:ext>
              </a:extLst>
            </p:cNvPr>
            <p:cNvSpPr>
              <a:spLocks noChangeShapeType="1"/>
            </p:cNvSpPr>
            <p:nvPr/>
          </p:nvSpPr>
          <p:spPr bwMode="auto">
            <a:xfrm>
              <a:off x="-4224909"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9" name="Line 304">
              <a:extLst>
                <a:ext uri="{FF2B5EF4-FFF2-40B4-BE49-F238E27FC236}">
                  <a16:creationId xmlns:a16="http://schemas.microsoft.com/office/drawing/2014/main" id="{0C9A36F9-2848-705C-80D3-36ECE7344206}"/>
                </a:ext>
              </a:extLst>
            </p:cNvPr>
            <p:cNvSpPr>
              <a:spLocks noChangeShapeType="1"/>
            </p:cNvSpPr>
            <p:nvPr/>
          </p:nvSpPr>
          <p:spPr bwMode="auto">
            <a:xfrm flipH="1">
              <a:off x="-4256176" y="2050452"/>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0" name="Line 305">
              <a:extLst>
                <a:ext uri="{FF2B5EF4-FFF2-40B4-BE49-F238E27FC236}">
                  <a16:creationId xmlns:a16="http://schemas.microsoft.com/office/drawing/2014/main" id="{78716303-3A0D-36CE-6C8F-63BA6E3F70C0}"/>
                </a:ext>
              </a:extLst>
            </p:cNvPr>
            <p:cNvSpPr>
              <a:spLocks noChangeShapeType="1"/>
            </p:cNvSpPr>
            <p:nvPr/>
          </p:nvSpPr>
          <p:spPr bwMode="auto">
            <a:xfrm>
              <a:off x="-4237785"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1" name="Line 306">
              <a:extLst>
                <a:ext uri="{FF2B5EF4-FFF2-40B4-BE49-F238E27FC236}">
                  <a16:creationId xmlns:a16="http://schemas.microsoft.com/office/drawing/2014/main" id="{D918A024-A27D-F3EB-E97B-015CCDFF69F4}"/>
                </a:ext>
              </a:extLst>
            </p:cNvPr>
            <p:cNvSpPr>
              <a:spLocks noChangeShapeType="1"/>
            </p:cNvSpPr>
            <p:nvPr/>
          </p:nvSpPr>
          <p:spPr bwMode="auto">
            <a:xfrm flipH="1">
              <a:off x="-4267218" y="2050452"/>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2" name="Line 307">
              <a:extLst>
                <a:ext uri="{FF2B5EF4-FFF2-40B4-BE49-F238E27FC236}">
                  <a16:creationId xmlns:a16="http://schemas.microsoft.com/office/drawing/2014/main" id="{2B2498B4-99E9-2A1F-2AB6-03B4B2C8EC88}"/>
                </a:ext>
              </a:extLst>
            </p:cNvPr>
            <p:cNvSpPr>
              <a:spLocks noChangeShapeType="1"/>
            </p:cNvSpPr>
            <p:nvPr/>
          </p:nvSpPr>
          <p:spPr bwMode="auto">
            <a:xfrm>
              <a:off x="-4193635"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3" name="Line 308">
              <a:extLst>
                <a:ext uri="{FF2B5EF4-FFF2-40B4-BE49-F238E27FC236}">
                  <a16:creationId xmlns:a16="http://schemas.microsoft.com/office/drawing/2014/main" id="{0C847BBC-8632-9A75-87DA-80C7934E6DCE}"/>
                </a:ext>
              </a:extLst>
            </p:cNvPr>
            <p:cNvSpPr>
              <a:spLocks noChangeShapeType="1"/>
            </p:cNvSpPr>
            <p:nvPr/>
          </p:nvSpPr>
          <p:spPr bwMode="auto">
            <a:xfrm flipH="1">
              <a:off x="-4224906" y="2050452"/>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4" name="Line 309">
              <a:extLst>
                <a:ext uri="{FF2B5EF4-FFF2-40B4-BE49-F238E27FC236}">
                  <a16:creationId xmlns:a16="http://schemas.microsoft.com/office/drawing/2014/main" id="{12D53E64-C270-30FC-CD4A-5DF3E2E45942}"/>
                </a:ext>
              </a:extLst>
            </p:cNvPr>
            <p:cNvSpPr>
              <a:spLocks noChangeShapeType="1"/>
            </p:cNvSpPr>
            <p:nvPr/>
          </p:nvSpPr>
          <p:spPr bwMode="auto">
            <a:xfrm>
              <a:off x="-4210192"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5" name="Line 310">
              <a:extLst>
                <a:ext uri="{FF2B5EF4-FFF2-40B4-BE49-F238E27FC236}">
                  <a16:creationId xmlns:a16="http://schemas.microsoft.com/office/drawing/2014/main" id="{C4CDB9D7-2EFD-48BA-B86E-5D21085C6B0B}"/>
                </a:ext>
              </a:extLst>
            </p:cNvPr>
            <p:cNvSpPr>
              <a:spLocks noChangeShapeType="1"/>
            </p:cNvSpPr>
            <p:nvPr/>
          </p:nvSpPr>
          <p:spPr bwMode="auto">
            <a:xfrm flipH="1">
              <a:off x="-4241460" y="2050452"/>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6" name="Line 311">
              <a:extLst>
                <a:ext uri="{FF2B5EF4-FFF2-40B4-BE49-F238E27FC236}">
                  <a16:creationId xmlns:a16="http://schemas.microsoft.com/office/drawing/2014/main" id="{3EA77C94-3C4D-501F-3C7A-55C0E0035A54}"/>
                </a:ext>
              </a:extLst>
            </p:cNvPr>
            <p:cNvSpPr>
              <a:spLocks noChangeShapeType="1"/>
            </p:cNvSpPr>
            <p:nvPr/>
          </p:nvSpPr>
          <p:spPr bwMode="auto">
            <a:xfrm>
              <a:off x="-4224909"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7" name="Line 312">
              <a:extLst>
                <a:ext uri="{FF2B5EF4-FFF2-40B4-BE49-F238E27FC236}">
                  <a16:creationId xmlns:a16="http://schemas.microsoft.com/office/drawing/2014/main" id="{6B485CA1-0E3C-973D-828E-58FA91C57623}"/>
                </a:ext>
              </a:extLst>
            </p:cNvPr>
            <p:cNvSpPr>
              <a:spLocks noChangeShapeType="1"/>
            </p:cNvSpPr>
            <p:nvPr/>
          </p:nvSpPr>
          <p:spPr bwMode="auto">
            <a:xfrm flipH="1">
              <a:off x="-4252500" y="2050452"/>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8" name="Line 313">
              <a:extLst>
                <a:ext uri="{FF2B5EF4-FFF2-40B4-BE49-F238E27FC236}">
                  <a16:creationId xmlns:a16="http://schemas.microsoft.com/office/drawing/2014/main" id="{ED2515A3-1FA2-9F51-7F9C-BFAB481888C0}"/>
                </a:ext>
              </a:extLst>
            </p:cNvPr>
            <p:cNvSpPr>
              <a:spLocks noChangeShapeType="1"/>
            </p:cNvSpPr>
            <p:nvPr/>
          </p:nvSpPr>
          <p:spPr bwMode="auto">
            <a:xfrm>
              <a:off x="-4182598"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9" name="Line 314">
              <a:extLst>
                <a:ext uri="{FF2B5EF4-FFF2-40B4-BE49-F238E27FC236}">
                  <a16:creationId xmlns:a16="http://schemas.microsoft.com/office/drawing/2014/main" id="{B568ABFA-3D8F-F2AC-AF2B-C82DFE338D84}"/>
                </a:ext>
              </a:extLst>
            </p:cNvPr>
            <p:cNvSpPr>
              <a:spLocks noChangeShapeType="1"/>
            </p:cNvSpPr>
            <p:nvPr/>
          </p:nvSpPr>
          <p:spPr bwMode="auto">
            <a:xfrm flipH="1">
              <a:off x="-4213867" y="2050452"/>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0" name="Line 315">
              <a:extLst>
                <a:ext uri="{FF2B5EF4-FFF2-40B4-BE49-F238E27FC236}">
                  <a16:creationId xmlns:a16="http://schemas.microsoft.com/office/drawing/2014/main" id="{4D614B83-50BF-BD95-9FAF-8CD227FBA8AC}"/>
                </a:ext>
              </a:extLst>
            </p:cNvPr>
            <p:cNvSpPr>
              <a:spLocks noChangeShapeType="1"/>
            </p:cNvSpPr>
            <p:nvPr/>
          </p:nvSpPr>
          <p:spPr bwMode="auto">
            <a:xfrm>
              <a:off x="-4195477"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1" name="Line 316">
              <a:extLst>
                <a:ext uri="{FF2B5EF4-FFF2-40B4-BE49-F238E27FC236}">
                  <a16:creationId xmlns:a16="http://schemas.microsoft.com/office/drawing/2014/main" id="{A1EC15D5-2BB5-70CD-7EF2-E103CB9B836A}"/>
                </a:ext>
              </a:extLst>
            </p:cNvPr>
            <p:cNvSpPr>
              <a:spLocks noChangeShapeType="1"/>
            </p:cNvSpPr>
            <p:nvPr/>
          </p:nvSpPr>
          <p:spPr bwMode="auto">
            <a:xfrm flipH="1">
              <a:off x="-4224909" y="2050452"/>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2" name="Line 317">
              <a:extLst>
                <a:ext uri="{FF2B5EF4-FFF2-40B4-BE49-F238E27FC236}">
                  <a16:creationId xmlns:a16="http://schemas.microsoft.com/office/drawing/2014/main" id="{D7EBFE79-AAEF-173C-A297-426A399999FF}"/>
                </a:ext>
              </a:extLst>
            </p:cNvPr>
            <p:cNvSpPr>
              <a:spLocks noChangeShapeType="1"/>
            </p:cNvSpPr>
            <p:nvPr/>
          </p:nvSpPr>
          <p:spPr bwMode="auto">
            <a:xfrm>
              <a:off x="-4164204" y="2013661"/>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3" name="Line 318">
              <a:extLst>
                <a:ext uri="{FF2B5EF4-FFF2-40B4-BE49-F238E27FC236}">
                  <a16:creationId xmlns:a16="http://schemas.microsoft.com/office/drawing/2014/main" id="{78A9765B-013A-C3D5-ECD7-AC56719CEC00}"/>
                </a:ext>
              </a:extLst>
            </p:cNvPr>
            <p:cNvSpPr>
              <a:spLocks noChangeShapeType="1"/>
            </p:cNvSpPr>
            <p:nvPr/>
          </p:nvSpPr>
          <p:spPr bwMode="auto">
            <a:xfrm flipH="1">
              <a:off x="-4195477" y="2050452"/>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4" name="Line 319">
              <a:extLst>
                <a:ext uri="{FF2B5EF4-FFF2-40B4-BE49-F238E27FC236}">
                  <a16:creationId xmlns:a16="http://schemas.microsoft.com/office/drawing/2014/main" id="{F56BDB6B-F2FA-B4EA-B40D-DBED14981DA5}"/>
                </a:ext>
              </a:extLst>
            </p:cNvPr>
            <p:cNvSpPr>
              <a:spLocks noChangeShapeType="1"/>
            </p:cNvSpPr>
            <p:nvPr/>
          </p:nvSpPr>
          <p:spPr bwMode="auto">
            <a:xfrm>
              <a:off x="-3770542"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5" name="Line 320">
              <a:extLst>
                <a:ext uri="{FF2B5EF4-FFF2-40B4-BE49-F238E27FC236}">
                  <a16:creationId xmlns:a16="http://schemas.microsoft.com/office/drawing/2014/main" id="{5B9E7191-856A-5331-2A76-B6C68A90AAC4}"/>
                </a:ext>
              </a:extLst>
            </p:cNvPr>
            <p:cNvSpPr>
              <a:spLocks noChangeShapeType="1"/>
            </p:cNvSpPr>
            <p:nvPr/>
          </p:nvSpPr>
          <p:spPr bwMode="auto">
            <a:xfrm flipH="1">
              <a:off x="-3801813" y="21479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6" name="Line 321">
              <a:extLst>
                <a:ext uri="{FF2B5EF4-FFF2-40B4-BE49-F238E27FC236}">
                  <a16:creationId xmlns:a16="http://schemas.microsoft.com/office/drawing/2014/main" id="{6F4D6C91-E28E-BA09-A37D-B37485EAD179}"/>
                </a:ext>
              </a:extLst>
            </p:cNvPr>
            <p:cNvSpPr>
              <a:spLocks noChangeShapeType="1"/>
            </p:cNvSpPr>
            <p:nvPr/>
          </p:nvSpPr>
          <p:spPr bwMode="auto">
            <a:xfrm>
              <a:off x="-3787099"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7" name="Line 322">
              <a:extLst>
                <a:ext uri="{FF2B5EF4-FFF2-40B4-BE49-F238E27FC236}">
                  <a16:creationId xmlns:a16="http://schemas.microsoft.com/office/drawing/2014/main" id="{758ED11D-31CF-7B38-5ED9-053DE5A197A8}"/>
                </a:ext>
              </a:extLst>
            </p:cNvPr>
            <p:cNvSpPr>
              <a:spLocks noChangeShapeType="1"/>
            </p:cNvSpPr>
            <p:nvPr/>
          </p:nvSpPr>
          <p:spPr bwMode="auto">
            <a:xfrm flipH="1">
              <a:off x="-3818370" y="21479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8" name="Line 323">
              <a:extLst>
                <a:ext uri="{FF2B5EF4-FFF2-40B4-BE49-F238E27FC236}">
                  <a16:creationId xmlns:a16="http://schemas.microsoft.com/office/drawing/2014/main" id="{0A1E6EEF-A702-FE9D-4F1C-5C827110C9A3}"/>
                </a:ext>
              </a:extLst>
            </p:cNvPr>
            <p:cNvSpPr>
              <a:spLocks noChangeShapeType="1"/>
            </p:cNvSpPr>
            <p:nvPr/>
          </p:nvSpPr>
          <p:spPr bwMode="auto">
            <a:xfrm>
              <a:off x="-3801816"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9" name="Line 324">
              <a:extLst>
                <a:ext uri="{FF2B5EF4-FFF2-40B4-BE49-F238E27FC236}">
                  <a16:creationId xmlns:a16="http://schemas.microsoft.com/office/drawing/2014/main" id="{C26409A0-2852-8022-990C-1200275B5E2C}"/>
                </a:ext>
              </a:extLst>
            </p:cNvPr>
            <p:cNvSpPr>
              <a:spLocks noChangeShapeType="1"/>
            </p:cNvSpPr>
            <p:nvPr/>
          </p:nvSpPr>
          <p:spPr bwMode="auto">
            <a:xfrm flipH="1">
              <a:off x="-3833086" y="2147949"/>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0" name="Line 325">
              <a:extLst>
                <a:ext uri="{FF2B5EF4-FFF2-40B4-BE49-F238E27FC236}">
                  <a16:creationId xmlns:a16="http://schemas.microsoft.com/office/drawing/2014/main" id="{26B1821E-C632-398C-E420-806FE7D8F89D}"/>
                </a:ext>
              </a:extLst>
            </p:cNvPr>
            <p:cNvSpPr>
              <a:spLocks noChangeShapeType="1"/>
            </p:cNvSpPr>
            <p:nvPr/>
          </p:nvSpPr>
          <p:spPr bwMode="auto">
            <a:xfrm>
              <a:off x="-3741111"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1" name="Line 326">
              <a:extLst>
                <a:ext uri="{FF2B5EF4-FFF2-40B4-BE49-F238E27FC236}">
                  <a16:creationId xmlns:a16="http://schemas.microsoft.com/office/drawing/2014/main" id="{991B258F-A524-85FF-BFA9-4DAE408A68F4}"/>
                </a:ext>
              </a:extLst>
            </p:cNvPr>
            <p:cNvSpPr>
              <a:spLocks noChangeShapeType="1"/>
            </p:cNvSpPr>
            <p:nvPr/>
          </p:nvSpPr>
          <p:spPr bwMode="auto">
            <a:xfrm flipH="1">
              <a:off x="-3772384" y="21479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2" name="Line 327">
              <a:extLst>
                <a:ext uri="{FF2B5EF4-FFF2-40B4-BE49-F238E27FC236}">
                  <a16:creationId xmlns:a16="http://schemas.microsoft.com/office/drawing/2014/main" id="{75425C47-FD7F-69D8-AC62-B123B3B3B1B9}"/>
                </a:ext>
              </a:extLst>
            </p:cNvPr>
            <p:cNvSpPr>
              <a:spLocks noChangeShapeType="1"/>
            </p:cNvSpPr>
            <p:nvPr/>
          </p:nvSpPr>
          <p:spPr bwMode="auto">
            <a:xfrm>
              <a:off x="-3759505"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3" name="Line 328">
              <a:extLst>
                <a:ext uri="{FF2B5EF4-FFF2-40B4-BE49-F238E27FC236}">
                  <a16:creationId xmlns:a16="http://schemas.microsoft.com/office/drawing/2014/main" id="{CAFA0CC4-AEDC-AC9A-D26B-1BDD1CC00B27}"/>
                </a:ext>
              </a:extLst>
            </p:cNvPr>
            <p:cNvSpPr>
              <a:spLocks noChangeShapeType="1"/>
            </p:cNvSpPr>
            <p:nvPr/>
          </p:nvSpPr>
          <p:spPr bwMode="auto">
            <a:xfrm flipH="1">
              <a:off x="-3790779" y="21479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4" name="Line 329">
              <a:extLst>
                <a:ext uri="{FF2B5EF4-FFF2-40B4-BE49-F238E27FC236}">
                  <a16:creationId xmlns:a16="http://schemas.microsoft.com/office/drawing/2014/main" id="{2FDFDB1F-2C74-C2AA-00AE-3945FC87ED4D}"/>
                </a:ext>
              </a:extLst>
            </p:cNvPr>
            <p:cNvSpPr>
              <a:spLocks noChangeShapeType="1"/>
            </p:cNvSpPr>
            <p:nvPr/>
          </p:nvSpPr>
          <p:spPr bwMode="auto">
            <a:xfrm>
              <a:off x="-3772384"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5" name="Line 330">
              <a:extLst>
                <a:ext uri="{FF2B5EF4-FFF2-40B4-BE49-F238E27FC236}">
                  <a16:creationId xmlns:a16="http://schemas.microsoft.com/office/drawing/2014/main" id="{AA83FAD4-FEBD-17CF-EFCB-4D40C1625620}"/>
                </a:ext>
              </a:extLst>
            </p:cNvPr>
            <p:cNvSpPr>
              <a:spLocks noChangeShapeType="1"/>
            </p:cNvSpPr>
            <p:nvPr/>
          </p:nvSpPr>
          <p:spPr bwMode="auto">
            <a:xfrm flipH="1">
              <a:off x="-3805495" y="21479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6" name="Line 331">
              <a:extLst>
                <a:ext uri="{FF2B5EF4-FFF2-40B4-BE49-F238E27FC236}">
                  <a16:creationId xmlns:a16="http://schemas.microsoft.com/office/drawing/2014/main" id="{0EB7DF47-993D-E719-3960-7C612439724E}"/>
                </a:ext>
              </a:extLst>
            </p:cNvPr>
            <p:cNvSpPr>
              <a:spLocks noChangeShapeType="1"/>
            </p:cNvSpPr>
            <p:nvPr/>
          </p:nvSpPr>
          <p:spPr bwMode="auto">
            <a:xfrm>
              <a:off x="-4717902" y="1864661"/>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7" name="Line 332">
              <a:extLst>
                <a:ext uri="{FF2B5EF4-FFF2-40B4-BE49-F238E27FC236}">
                  <a16:creationId xmlns:a16="http://schemas.microsoft.com/office/drawing/2014/main" id="{6DCB668C-5324-03A3-89A4-3693ADE2E65B}"/>
                </a:ext>
              </a:extLst>
            </p:cNvPr>
            <p:cNvSpPr>
              <a:spLocks noChangeShapeType="1"/>
            </p:cNvSpPr>
            <p:nvPr/>
          </p:nvSpPr>
          <p:spPr bwMode="auto">
            <a:xfrm flipH="1">
              <a:off x="-4749171" y="1897771"/>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8" name="Line 333">
              <a:extLst>
                <a:ext uri="{FF2B5EF4-FFF2-40B4-BE49-F238E27FC236}">
                  <a16:creationId xmlns:a16="http://schemas.microsoft.com/office/drawing/2014/main" id="{250C3D34-818C-1B74-6449-F0C1D466614E}"/>
                </a:ext>
              </a:extLst>
            </p:cNvPr>
            <p:cNvSpPr>
              <a:spLocks noChangeShapeType="1"/>
            </p:cNvSpPr>
            <p:nvPr/>
          </p:nvSpPr>
          <p:spPr bwMode="auto">
            <a:xfrm>
              <a:off x="-4771248" y="1864661"/>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9" name="Line 334">
              <a:extLst>
                <a:ext uri="{FF2B5EF4-FFF2-40B4-BE49-F238E27FC236}">
                  <a16:creationId xmlns:a16="http://schemas.microsoft.com/office/drawing/2014/main" id="{F76498FD-E964-C102-D703-24FD6742811F}"/>
                </a:ext>
              </a:extLst>
            </p:cNvPr>
            <p:cNvSpPr>
              <a:spLocks noChangeShapeType="1"/>
            </p:cNvSpPr>
            <p:nvPr/>
          </p:nvSpPr>
          <p:spPr bwMode="auto">
            <a:xfrm flipH="1">
              <a:off x="-4802521" y="1897771"/>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0" name="Line 335">
              <a:extLst>
                <a:ext uri="{FF2B5EF4-FFF2-40B4-BE49-F238E27FC236}">
                  <a16:creationId xmlns:a16="http://schemas.microsoft.com/office/drawing/2014/main" id="{A2F183F4-6409-41E4-07A8-A37355A7A5B5}"/>
                </a:ext>
              </a:extLst>
            </p:cNvPr>
            <p:cNvSpPr>
              <a:spLocks noChangeShapeType="1"/>
            </p:cNvSpPr>
            <p:nvPr/>
          </p:nvSpPr>
          <p:spPr bwMode="auto">
            <a:xfrm>
              <a:off x="-4890820" y="1813155"/>
              <a:ext cx="0" cy="6254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1" name="Line 336">
              <a:extLst>
                <a:ext uri="{FF2B5EF4-FFF2-40B4-BE49-F238E27FC236}">
                  <a16:creationId xmlns:a16="http://schemas.microsoft.com/office/drawing/2014/main" id="{E52F037C-4DF3-D263-76B7-94F007ADC53C}"/>
                </a:ext>
              </a:extLst>
            </p:cNvPr>
            <p:cNvSpPr>
              <a:spLocks noChangeShapeType="1"/>
            </p:cNvSpPr>
            <p:nvPr/>
          </p:nvSpPr>
          <p:spPr bwMode="auto">
            <a:xfrm flipH="1">
              <a:off x="-4922088" y="1844423"/>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2" name="Line 337">
              <a:extLst>
                <a:ext uri="{FF2B5EF4-FFF2-40B4-BE49-F238E27FC236}">
                  <a16:creationId xmlns:a16="http://schemas.microsoft.com/office/drawing/2014/main" id="{16B94BF9-2F81-EC5D-9DF4-91A17ABBED03}"/>
                </a:ext>
              </a:extLst>
            </p:cNvPr>
            <p:cNvSpPr>
              <a:spLocks noChangeShapeType="1"/>
            </p:cNvSpPr>
            <p:nvPr/>
          </p:nvSpPr>
          <p:spPr bwMode="auto">
            <a:xfrm>
              <a:off x="-4905534" y="1813155"/>
              <a:ext cx="0" cy="6254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3" name="Line 338">
              <a:extLst>
                <a:ext uri="{FF2B5EF4-FFF2-40B4-BE49-F238E27FC236}">
                  <a16:creationId xmlns:a16="http://schemas.microsoft.com/office/drawing/2014/main" id="{43D62B06-C5E6-420F-0A79-836B11E4C461}"/>
                </a:ext>
              </a:extLst>
            </p:cNvPr>
            <p:cNvSpPr>
              <a:spLocks noChangeShapeType="1"/>
            </p:cNvSpPr>
            <p:nvPr/>
          </p:nvSpPr>
          <p:spPr bwMode="auto">
            <a:xfrm flipH="1">
              <a:off x="-4936805" y="1844423"/>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4" name="Line 339">
              <a:extLst>
                <a:ext uri="{FF2B5EF4-FFF2-40B4-BE49-F238E27FC236}">
                  <a16:creationId xmlns:a16="http://schemas.microsoft.com/office/drawing/2014/main" id="{CAFDB703-EB09-877D-96EF-1B96D5A06B19}"/>
                </a:ext>
              </a:extLst>
            </p:cNvPr>
            <p:cNvSpPr>
              <a:spLocks noChangeShapeType="1"/>
            </p:cNvSpPr>
            <p:nvPr/>
          </p:nvSpPr>
          <p:spPr bwMode="auto">
            <a:xfrm>
              <a:off x="-4936805" y="1813155"/>
              <a:ext cx="0" cy="6254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5" name="Line 340">
              <a:extLst>
                <a:ext uri="{FF2B5EF4-FFF2-40B4-BE49-F238E27FC236}">
                  <a16:creationId xmlns:a16="http://schemas.microsoft.com/office/drawing/2014/main" id="{751A7F32-B6C7-8C5F-BB67-765F61509E9F}"/>
                </a:ext>
              </a:extLst>
            </p:cNvPr>
            <p:cNvSpPr>
              <a:spLocks noChangeShapeType="1"/>
            </p:cNvSpPr>
            <p:nvPr/>
          </p:nvSpPr>
          <p:spPr bwMode="auto">
            <a:xfrm flipH="1">
              <a:off x="-4968078" y="1844423"/>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6" name="Line 341">
              <a:extLst>
                <a:ext uri="{FF2B5EF4-FFF2-40B4-BE49-F238E27FC236}">
                  <a16:creationId xmlns:a16="http://schemas.microsoft.com/office/drawing/2014/main" id="{9DB7E614-DCED-7BE8-B64D-E58B5054CB00}"/>
                </a:ext>
              </a:extLst>
            </p:cNvPr>
            <p:cNvSpPr>
              <a:spLocks noChangeShapeType="1"/>
            </p:cNvSpPr>
            <p:nvPr/>
          </p:nvSpPr>
          <p:spPr bwMode="auto">
            <a:xfrm>
              <a:off x="-4968080" y="1813155"/>
              <a:ext cx="0" cy="6254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7" name="Line 342">
              <a:extLst>
                <a:ext uri="{FF2B5EF4-FFF2-40B4-BE49-F238E27FC236}">
                  <a16:creationId xmlns:a16="http://schemas.microsoft.com/office/drawing/2014/main" id="{B4E8613C-A778-2AC8-E3B3-766D0AD71388}"/>
                </a:ext>
              </a:extLst>
            </p:cNvPr>
            <p:cNvSpPr>
              <a:spLocks noChangeShapeType="1"/>
            </p:cNvSpPr>
            <p:nvPr/>
          </p:nvSpPr>
          <p:spPr bwMode="auto">
            <a:xfrm flipH="1">
              <a:off x="-4997511" y="1844423"/>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8" name="Line 343">
              <a:extLst>
                <a:ext uri="{FF2B5EF4-FFF2-40B4-BE49-F238E27FC236}">
                  <a16:creationId xmlns:a16="http://schemas.microsoft.com/office/drawing/2014/main" id="{BD4540F8-E408-E218-144A-C08888F87D6F}"/>
                </a:ext>
              </a:extLst>
            </p:cNvPr>
            <p:cNvSpPr>
              <a:spLocks noChangeShapeType="1"/>
            </p:cNvSpPr>
            <p:nvPr/>
          </p:nvSpPr>
          <p:spPr bwMode="auto">
            <a:xfrm>
              <a:off x="-4968080" y="1798439"/>
              <a:ext cx="0" cy="6622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9" name="Line 344">
              <a:extLst>
                <a:ext uri="{FF2B5EF4-FFF2-40B4-BE49-F238E27FC236}">
                  <a16:creationId xmlns:a16="http://schemas.microsoft.com/office/drawing/2014/main" id="{AB6ACB6E-2D7C-2D27-3E02-B90ADDBAB38D}"/>
                </a:ext>
              </a:extLst>
            </p:cNvPr>
            <p:cNvSpPr>
              <a:spLocks noChangeShapeType="1"/>
            </p:cNvSpPr>
            <p:nvPr/>
          </p:nvSpPr>
          <p:spPr bwMode="auto">
            <a:xfrm flipH="1">
              <a:off x="-4997511" y="1829707"/>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0" name="Line 345">
              <a:extLst>
                <a:ext uri="{FF2B5EF4-FFF2-40B4-BE49-F238E27FC236}">
                  <a16:creationId xmlns:a16="http://schemas.microsoft.com/office/drawing/2014/main" id="{859AD81D-0730-D1C6-DDCE-F2781E86B159}"/>
                </a:ext>
              </a:extLst>
            </p:cNvPr>
            <p:cNvSpPr>
              <a:spLocks noChangeShapeType="1"/>
            </p:cNvSpPr>
            <p:nvPr/>
          </p:nvSpPr>
          <p:spPr bwMode="auto">
            <a:xfrm>
              <a:off x="-5010388" y="1772684"/>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1" name="Line 346">
              <a:extLst>
                <a:ext uri="{FF2B5EF4-FFF2-40B4-BE49-F238E27FC236}">
                  <a16:creationId xmlns:a16="http://schemas.microsoft.com/office/drawing/2014/main" id="{27B6BBD7-FBA8-9868-2DEA-B3D9E7A7527F}"/>
                </a:ext>
              </a:extLst>
            </p:cNvPr>
            <p:cNvSpPr>
              <a:spLocks noChangeShapeType="1"/>
            </p:cNvSpPr>
            <p:nvPr/>
          </p:nvSpPr>
          <p:spPr bwMode="auto">
            <a:xfrm flipH="1">
              <a:off x="-5041659" y="1805796"/>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2" name="Line 347">
              <a:extLst>
                <a:ext uri="{FF2B5EF4-FFF2-40B4-BE49-F238E27FC236}">
                  <a16:creationId xmlns:a16="http://schemas.microsoft.com/office/drawing/2014/main" id="{DF916DCF-A582-9A0D-6775-0B89078D78B2}"/>
                </a:ext>
              </a:extLst>
            </p:cNvPr>
            <p:cNvSpPr>
              <a:spLocks noChangeShapeType="1"/>
            </p:cNvSpPr>
            <p:nvPr/>
          </p:nvSpPr>
          <p:spPr bwMode="auto">
            <a:xfrm>
              <a:off x="-4968080" y="1791079"/>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3" name="Line 348">
              <a:extLst>
                <a:ext uri="{FF2B5EF4-FFF2-40B4-BE49-F238E27FC236}">
                  <a16:creationId xmlns:a16="http://schemas.microsoft.com/office/drawing/2014/main" id="{C4E7E9EB-FE0B-C47D-2D28-B5D2C5D79739}"/>
                </a:ext>
              </a:extLst>
            </p:cNvPr>
            <p:cNvSpPr>
              <a:spLocks noChangeShapeType="1"/>
            </p:cNvSpPr>
            <p:nvPr/>
          </p:nvSpPr>
          <p:spPr bwMode="auto">
            <a:xfrm flipH="1">
              <a:off x="-4997511" y="1822350"/>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4" name="Line 349">
              <a:extLst>
                <a:ext uri="{FF2B5EF4-FFF2-40B4-BE49-F238E27FC236}">
                  <a16:creationId xmlns:a16="http://schemas.microsoft.com/office/drawing/2014/main" id="{3A152C18-A31D-6F60-053C-F7888D389BB4}"/>
                </a:ext>
              </a:extLst>
            </p:cNvPr>
            <p:cNvSpPr>
              <a:spLocks noChangeShapeType="1"/>
            </p:cNvSpPr>
            <p:nvPr/>
          </p:nvSpPr>
          <p:spPr bwMode="auto">
            <a:xfrm>
              <a:off x="-4982796" y="1791079"/>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5" name="Line 350">
              <a:extLst>
                <a:ext uri="{FF2B5EF4-FFF2-40B4-BE49-F238E27FC236}">
                  <a16:creationId xmlns:a16="http://schemas.microsoft.com/office/drawing/2014/main" id="{940E19C1-A912-3EC8-6BB2-AB9B065BCEDB}"/>
                </a:ext>
              </a:extLst>
            </p:cNvPr>
            <p:cNvSpPr>
              <a:spLocks noChangeShapeType="1"/>
            </p:cNvSpPr>
            <p:nvPr/>
          </p:nvSpPr>
          <p:spPr bwMode="auto">
            <a:xfrm flipH="1">
              <a:off x="-5010387" y="1822350"/>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6" name="Line 351">
              <a:extLst>
                <a:ext uri="{FF2B5EF4-FFF2-40B4-BE49-F238E27FC236}">
                  <a16:creationId xmlns:a16="http://schemas.microsoft.com/office/drawing/2014/main" id="{31A0526D-582F-0E34-AA5E-BD6FE0BCD920}"/>
                </a:ext>
              </a:extLst>
            </p:cNvPr>
            <p:cNvSpPr>
              <a:spLocks noChangeShapeType="1"/>
            </p:cNvSpPr>
            <p:nvPr/>
          </p:nvSpPr>
          <p:spPr bwMode="auto">
            <a:xfrm>
              <a:off x="-4982796" y="1780041"/>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7" name="Line 352">
              <a:extLst>
                <a:ext uri="{FF2B5EF4-FFF2-40B4-BE49-F238E27FC236}">
                  <a16:creationId xmlns:a16="http://schemas.microsoft.com/office/drawing/2014/main" id="{C1E22B55-88CC-C7D0-BD8A-BDB841917614}"/>
                </a:ext>
              </a:extLst>
            </p:cNvPr>
            <p:cNvSpPr>
              <a:spLocks noChangeShapeType="1"/>
            </p:cNvSpPr>
            <p:nvPr/>
          </p:nvSpPr>
          <p:spPr bwMode="auto">
            <a:xfrm flipH="1">
              <a:off x="-5010387" y="1813152"/>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8" name="Line 116">
              <a:extLst>
                <a:ext uri="{FF2B5EF4-FFF2-40B4-BE49-F238E27FC236}">
                  <a16:creationId xmlns:a16="http://schemas.microsoft.com/office/drawing/2014/main" id="{31F19EC9-5EFB-D96D-C858-BA570E29E977}"/>
                </a:ext>
              </a:extLst>
            </p:cNvPr>
            <p:cNvSpPr>
              <a:spLocks noChangeShapeType="1"/>
            </p:cNvSpPr>
            <p:nvPr/>
          </p:nvSpPr>
          <p:spPr bwMode="auto">
            <a:xfrm>
              <a:off x="-1686354" y="3257185"/>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9" name="Line 117">
              <a:extLst>
                <a:ext uri="{FF2B5EF4-FFF2-40B4-BE49-F238E27FC236}">
                  <a16:creationId xmlns:a16="http://schemas.microsoft.com/office/drawing/2014/main" id="{777D17BF-7F8B-576F-3163-52F11819C780}"/>
                </a:ext>
              </a:extLst>
            </p:cNvPr>
            <p:cNvSpPr>
              <a:spLocks noChangeShapeType="1"/>
            </p:cNvSpPr>
            <p:nvPr/>
          </p:nvSpPr>
          <p:spPr bwMode="auto">
            <a:xfrm flipH="1">
              <a:off x="-1717623" y="3288456"/>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0" name="Line 118">
              <a:extLst>
                <a:ext uri="{FF2B5EF4-FFF2-40B4-BE49-F238E27FC236}">
                  <a16:creationId xmlns:a16="http://schemas.microsoft.com/office/drawing/2014/main" id="{FE31E1C4-7646-6147-81FC-DBE4896D4282}"/>
                </a:ext>
              </a:extLst>
            </p:cNvPr>
            <p:cNvSpPr>
              <a:spLocks noChangeShapeType="1"/>
            </p:cNvSpPr>
            <p:nvPr/>
          </p:nvSpPr>
          <p:spPr bwMode="auto">
            <a:xfrm>
              <a:off x="-1702910" y="3257185"/>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1" name="Line 119">
              <a:extLst>
                <a:ext uri="{FF2B5EF4-FFF2-40B4-BE49-F238E27FC236}">
                  <a16:creationId xmlns:a16="http://schemas.microsoft.com/office/drawing/2014/main" id="{97751AFF-0706-3B6D-6577-5668E28A56CA}"/>
                </a:ext>
              </a:extLst>
            </p:cNvPr>
            <p:cNvSpPr>
              <a:spLocks noChangeShapeType="1"/>
            </p:cNvSpPr>
            <p:nvPr/>
          </p:nvSpPr>
          <p:spPr bwMode="auto">
            <a:xfrm flipH="1">
              <a:off x="-1736021" y="3288456"/>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2" name="Line 120">
              <a:extLst>
                <a:ext uri="{FF2B5EF4-FFF2-40B4-BE49-F238E27FC236}">
                  <a16:creationId xmlns:a16="http://schemas.microsoft.com/office/drawing/2014/main" id="{2FE2B765-C742-52BB-80FE-4C4451E17677}"/>
                </a:ext>
              </a:extLst>
            </p:cNvPr>
            <p:cNvSpPr>
              <a:spLocks noChangeShapeType="1"/>
            </p:cNvSpPr>
            <p:nvPr/>
          </p:nvSpPr>
          <p:spPr bwMode="auto">
            <a:xfrm>
              <a:off x="-1794886" y="3257185"/>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3" name="Line 121">
              <a:extLst>
                <a:ext uri="{FF2B5EF4-FFF2-40B4-BE49-F238E27FC236}">
                  <a16:creationId xmlns:a16="http://schemas.microsoft.com/office/drawing/2014/main" id="{D42F6CF8-BF18-0B28-3B44-C84A0CE33D54}"/>
                </a:ext>
              </a:extLst>
            </p:cNvPr>
            <p:cNvSpPr>
              <a:spLocks noChangeShapeType="1"/>
            </p:cNvSpPr>
            <p:nvPr/>
          </p:nvSpPr>
          <p:spPr bwMode="auto">
            <a:xfrm flipH="1">
              <a:off x="-1826158" y="3288456"/>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4" name="Line 122">
              <a:extLst>
                <a:ext uri="{FF2B5EF4-FFF2-40B4-BE49-F238E27FC236}">
                  <a16:creationId xmlns:a16="http://schemas.microsoft.com/office/drawing/2014/main" id="{64E622C9-2D09-7CEE-7850-AEB461F5D5C4}"/>
                </a:ext>
              </a:extLst>
            </p:cNvPr>
            <p:cNvSpPr>
              <a:spLocks noChangeShapeType="1"/>
            </p:cNvSpPr>
            <p:nvPr/>
          </p:nvSpPr>
          <p:spPr bwMode="auto">
            <a:xfrm>
              <a:off x="-1809603" y="3257185"/>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5" name="Line 123">
              <a:extLst>
                <a:ext uri="{FF2B5EF4-FFF2-40B4-BE49-F238E27FC236}">
                  <a16:creationId xmlns:a16="http://schemas.microsoft.com/office/drawing/2014/main" id="{78D2ECF4-03E3-9AA7-3FB5-2A2E49E79C44}"/>
                </a:ext>
              </a:extLst>
            </p:cNvPr>
            <p:cNvSpPr>
              <a:spLocks noChangeShapeType="1"/>
            </p:cNvSpPr>
            <p:nvPr/>
          </p:nvSpPr>
          <p:spPr bwMode="auto">
            <a:xfrm flipH="1">
              <a:off x="-1840872" y="3288456"/>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6" name="Line 124">
              <a:extLst>
                <a:ext uri="{FF2B5EF4-FFF2-40B4-BE49-F238E27FC236}">
                  <a16:creationId xmlns:a16="http://schemas.microsoft.com/office/drawing/2014/main" id="{33E991B3-C25B-28E5-27D5-4A1B1CAFE4C5}"/>
                </a:ext>
              </a:extLst>
            </p:cNvPr>
            <p:cNvSpPr>
              <a:spLocks noChangeShapeType="1"/>
            </p:cNvSpPr>
            <p:nvPr/>
          </p:nvSpPr>
          <p:spPr bwMode="auto">
            <a:xfrm>
              <a:off x="-1816962" y="3257185"/>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7" name="Line 125">
              <a:extLst>
                <a:ext uri="{FF2B5EF4-FFF2-40B4-BE49-F238E27FC236}">
                  <a16:creationId xmlns:a16="http://schemas.microsoft.com/office/drawing/2014/main" id="{8A2DF6E8-8368-6558-D1BB-6E9EFA28B5CD}"/>
                </a:ext>
              </a:extLst>
            </p:cNvPr>
            <p:cNvSpPr>
              <a:spLocks noChangeShapeType="1"/>
            </p:cNvSpPr>
            <p:nvPr/>
          </p:nvSpPr>
          <p:spPr bwMode="auto">
            <a:xfrm flipH="1">
              <a:off x="-1848233" y="3288456"/>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8" name="Line 126">
              <a:extLst>
                <a:ext uri="{FF2B5EF4-FFF2-40B4-BE49-F238E27FC236}">
                  <a16:creationId xmlns:a16="http://schemas.microsoft.com/office/drawing/2014/main" id="{0040DEC8-03ED-3021-7EA5-A598E0DC5910}"/>
                </a:ext>
              </a:extLst>
            </p:cNvPr>
            <p:cNvSpPr>
              <a:spLocks noChangeShapeType="1"/>
            </p:cNvSpPr>
            <p:nvPr/>
          </p:nvSpPr>
          <p:spPr bwMode="auto">
            <a:xfrm>
              <a:off x="-1826159" y="3257185"/>
              <a:ext cx="0" cy="6438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9" name="Line 127">
              <a:extLst>
                <a:ext uri="{FF2B5EF4-FFF2-40B4-BE49-F238E27FC236}">
                  <a16:creationId xmlns:a16="http://schemas.microsoft.com/office/drawing/2014/main" id="{0407E36D-55F0-9797-8333-DC746AF78C5E}"/>
                </a:ext>
              </a:extLst>
            </p:cNvPr>
            <p:cNvSpPr>
              <a:spLocks noChangeShapeType="1"/>
            </p:cNvSpPr>
            <p:nvPr/>
          </p:nvSpPr>
          <p:spPr bwMode="auto">
            <a:xfrm flipH="1">
              <a:off x="-1859267" y="3288456"/>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0" name="Line 128">
              <a:extLst>
                <a:ext uri="{FF2B5EF4-FFF2-40B4-BE49-F238E27FC236}">
                  <a16:creationId xmlns:a16="http://schemas.microsoft.com/office/drawing/2014/main" id="{3800B0FA-5008-9A13-8F06-1DF4A66EA46E}"/>
                </a:ext>
              </a:extLst>
            </p:cNvPr>
            <p:cNvSpPr>
              <a:spLocks noChangeShapeType="1"/>
            </p:cNvSpPr>
            <p:nvPr/>
          </p:nvSpPr>
          <p:spPr bwMode="auto">
            <a:xfrm>
              <a:off x="-2313636"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1" name="Line 129">
              <a:extLst>
                <a:ext uri="{FF2B5EF4-FFF2-40B4-BE49-F238E27FC236}">
                  <a16:creationId xmlns:a16="http://schemas.microsoft.com/office/drawing/2014/main" id="{D82EDB06-46F3-7D9D-9775-0949E01F29D0}"/>
                </a:ext>
              </a:extLst>
            </p:cNvPr>
            <p:cNvSpPr>
              <a:spLocks noChangeShapeType="1"/>
            </p:cNvSpPr>
            <p:nvPr/>
          </p:nvSpPr>
          <p:spPr bwMode="auto">
            <a:xfrm flipH="1">
              <a:off x="-2341227" y="25342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2" name="Line 130">
              <a:extLst>
                <a:ext uri="{FF2B5EF4-FFF2-40B4-BE49-F238E27FC236}">
                  <a16:creationId xmlns:a16="http://schemas.microsoft.com/office/drawing/2014/main" id="{654421E0-7565-F607-2DEB-979431A19A48}"/>
                </a:ext>
              </a:extLst>
            </p:cNvPr>
            <p:cNvSpPr>
              <a:spLocks noChangeShapeType="1"/>
            </p:cNvSpPr>
            <p:nvPr/>
          </p:nvSpPr>
          <p:spPr bwMode="auto">
            <a:xfrm>
              <a:off x="-2328352"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3" name="Line 131">
              <a:extLst>
                <a:ext uri="{FF2B5EF4-FFF2-40B4-BE49-F238E27FC236}">
                  <a16:creationId xmlns:a16="http://schemas.microsoft.com/office/drawing/2014/main" id="{684ADD53-29DE-2D41-68A7-D3895A14E516}"/>
                </a:ext>
              </a:extLst>
            </p:cNvPr>
            <p:cNvSpPr>
              <a:spLocks noChangeShapeType="1"/>
            </p:cNvSpPr>
            <p:nvPr/>
          </p:nvSpPr>
          <p:spPr bwMode="auto">
            <a:xfrm flipH="1">
              <a:off x="-2355943" y="25342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4" name="Line 132">
              <a:extLst>
                <a:ext uri="{FF2B5EF4-FFF2-40B4-BE49-F238E27FC236}">
                  <a16:creationId xmlns:a16="http://schemas.microsoft.com/office/drawing/2014/main" id="{3D4BB9E8-BE61-FB16-D9AC-B2E8AA4E9BD7}"/>
                </a:ext>
              </a:extLst>
            </p:cNvPr>
            <p:cNvSpPr>
              <a:spLocks noChangeShapeType="1"/>
            </p:cNvSpPr>
            <p:nvPr/>
          </p:nvSpPr>
          <p:spPr bwMode="auto">
            <a:xfrm>
              <a:off x="-2458958"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5" name="Line 133">
              <a:extLst>
                <a:ext uri="{FF2B5EF4-FFF2-40B4-BE49-F238E27FC236}">
                  <a16:creationId xmlns:a16="http://schemas.microsoft.com/office/drawing/2014/main" id="{B1DB8612-9CBA-B8E4-C962-2BE05F2FE652}"/>
                </a:ext>
              </a:extLst>
            </p:cNvPr>
            <p:cNvSpPr>
              <a:spLocks noChangeShapeType="1"/>
            </p:cNvSpPr>
            <p:nvPr/>
          </p:nvSpPr>
          <p:spPr bwMode="auto">
            <a:xfrm flipH="1">
              <a:off x="-2490229" y="25342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6" name="Line 134">
              <a:extLst>
                <a:ext uri="{FF2B5EF4-FFF2-40B4-BE49-F238E27FC236}">
                  <a16:creationId xmlns:a16="http://schemas.microsoft.com/office/drawing/2014/main" id="{96E376C6-19A3-D20F-D938-177A97E2890D}"/>
                </a:ext>
              </a:extLst>
            </p:cNvPr>
            <p:cNvSpPr>
              <a:spLocks noChangeShapeType="1"/>
            </p:cNvSpPr>
            <p:nvPr/>
          </p:nvSpPr>
          <p:spPr bwMode="auto">
            <a:xfrm>
              <a:off x="-2471834"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7" name="Line 135">
              <a:extLst>
                <a:ext uri="{FF2B5EF4-FFF2-40B4-BE49-F238E27FC236}">
                  <a16:creationId xmlns:a16="http://schemas.microsoft.com/office/drawing/2014/main" id="{3492D2C8-D258-CD4B-D2EE-87D0793116E2}"/>
                </a:ext>
              </a:extLst>
            </p:cNvPr>
            <p:cNvSpPr>
              <a:spLocks noChangeShapeType="1"/>
            </p:cNvSpPr>
            <p:nvPr/>
          </p:nvSpPr>
          <p:spPr bwMode="auto">
            <a:xfrm flipH="1">
              <a:off x="-2503102" y="2534249"/>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8" name="Line 136">
              <a:extLst>
                <a:ext uri="{FF2B5EF4-FFF2-40B4-BE49-F238E27FC236}">
                  <a16:creationId xmlns:a16="http://schemas.microsoft.com/office/drawing/2014/main" id="{39A28B03-181F-22A3-A43B-570D5ABCE221}"/>
                </a:ext>
              </a:extLst>
            </p:cNvPr>
            <p:cNvSpPr>
              <a:spLocks noChangeShapeType="1"/>
            </p:cNvSpPr>
            <p:nvPr/>
          </p:nvSpPr>
          <p:spPr bwMode="auto">
            <a:xfrm>
              <a:off x="-2503105"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9" name="Line 137">
              <a:extLst>
                <a:ext uri="{FF2B5EF4-FFF2-40B4-BE49-F238E27FC236}">
                  <a16:creationId xmlns:a16="http://schemas.microsoft.com/office/drawing/2014/main" id="{3ED37C0C-BA31-3340-DA86-53338AC21F0B}"/>
                </a:ext>
              </a:extLst>
            </p:cNvPr>
            <p:cNvSpPr>
              <a:spLocks noChangeShapeType="1"/>
            </p:cNvSpPr>
            <p:nvPr/>
          </p:nvSpPr>
          <p:spPr bwMode="auto">
            <a:xfrm flipH="1">
              <a:off x="-2532538" y="25342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0" name="Line 138">
              <a:extLst>
                <a:ext uri="{FF2B5EF4-FFF2-40B4-BE49-F238E27FC236}">
                  <a16:creationId xmlns:a16="http://schemas.microsoft.com/office/drawing/2014/main" id="{C97183B4-CF32-8031-3E4D-3B25B3B9D288}"/>
                </a:ext>
              </a:extLst>
            </p:cNvPr>
            <p:cNvSpPr>
              <a:spLocks noChangeShapeType="1"/>
            </p:cNvSpPr>
            <p:nvPr/>
          </p:nvSpPr>
          <p:spPr bwMode="auto">
            <a:xfrm>
              <a:off x="-2543576"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1" name="Line 139">
              <a:extLst>
                <a:ext uri="{FF2B5EF4-FFF2-40B4-BE49-F238E27FC236}">
                  <a16:creationId xmlns:a16="http://schemas.microsoft.com/office/drawing/2014/main" id="{E180E956-E890-ECF2-8825-30F12827FA6B}"/>
                </a:ext>
              </a:extLst>
            </p:cNvPr>
            <p:cNvSpPr>
              <a:spLocks noChangeShapeType="1"/>
            </p:cNvSpPr>
            <p:nvPr/>
          </p:nvSpPr>
          <p:spPr bwMode="auto">
            <a:xfrm flipH="1">
              <a:off x="-2574847" y="25342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2" name="Line 140">
              <a:extLst>
                <a:ext uri="{FF2B5EF4-FFF2-40B4-BE49-F238E27FC236}">
                  <a16:creationId xmlns:a16="http://schemas.microsoft.com/office/drawing/2014/main" id="{73AF5EFB-3B82-12D1-FFCB-58F2EB5EF8EE}"/>
                </a:ext>
              </a:extLst>
            </p:cNvPr>
            <p:cNvSpPr>
              <a:spLocks noChangeShapeType="1"/>
            </p:cNvSpPr>
            <p:nvPr/>
          </p:nvSpPr>
          <p:spPr bwMode="auto">
            <a:xfrm>
              <a:off x="-2574848"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3" name="Line 141">
              <a:extLst>
                <a:ext uri="{FF2B5EF4-FFF2-40B4-BE49-F238E27FC236}">
                  <a16:creationId xmlns:a16="http://schemas.microsoft.com/office/drawing/2014/main" id="{C478C525-639C-3718-8705-5A9EB7543F98}"/>
                </a:ext>
              </a:extLst>
            </p:cNvPr>
            <p:cNvSpPr>
              <a:spLocks noChangeShapeType="1"/>
            </p:cNvSpPr>
            <p:nvPr/>
          </p:nvSpPr>
          <p:spPr bwMode="auto">
            <a:xfrm flipH="1">
              <a:off x="-2606118" y="2534249"/>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4" name="Line 142">
              <a:extLst>
                <a:ext uri="{FF2B5EF4-FFF2-40B4-BE49-F238E27FC236}">
                  <a16:creationId xmlns:a16="http://schemas.microsoft.com/office/drawing/2014/main" id="{BB3052FB-3835-A39F-CE1A-C5185A60F03F}"/>
                </a:ext>
              </a:extLst>
            </p:cNvPr>
            <p:cNvSpPr>
              <a:spLocks noChangeShapeType="1"/>
            </p:cNvSpPr>
            <p:nvPr/>
          </p:nvSpPr>
          <p:spPr bwMode="auto">
            <a:xfrm>
              <a:off x="-2587723"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5" name="Line 143">
              <a:extLst>
                <a:ext uri="{FF2B5EF4-FFF2-40B4-BE49-F238E27FC236}">
                  <a16:creationId xmlns:a16="http://schemas.microsoft.com/office/drawing/2014/main" id="{DC9B50D2-AB16-E709-DA93-2AEE84721C7F}"/>
                </a:ext>
              </a:extLst>
            </p:cNvPr>
            <p:cNvSpPr>
              <a:spLocks noChangeShapeType="1"/>
            </p:cNvSpPr>
            <p:nvPr/>
          </p:nvSpPr>
          <p:spPr bwMode="auto">
            <a:xfrm flipH="1">
              <a:off x="-2620836" y="25342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6" name="Line 144">
              <a:extLst>
                <a:ext uri="{FF2B5EF4-FFF2-40B4-BE49-F238E27FC236}">
                  <a16:creationId xmlns:a16="http://schemas.microsoft.com/office/drawing/2014/main" id="{AD083B57-2A3F-E097-2826-AFACF7906283}"/>
                </a:ext>
              </a:extLst>
            </p:cNvPr>
            <p:cNvSpPr>
              <a:spLocks noChangeShapeType="1"/>
            </p:cNvSpPr>
            <p:nvPr/>
          </p:nvSpPr>
          <p:spPr bwMode="auto">
            <a:xfrm>
              <a:off x="-2620836"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7" name="Line 145">
              <a:extLst>
                <a:ext uri="{FF2B5EF4-FFF2-40B4-BE49-F238E27FC236}">
                  <a16:creationId xmlns:a16="http://schemas.microsoft.com/office/drawing/2014/main" id="{BC321A70-22EA-4F5D-7775-38AB80FC7743}"/>
                </a:ext>
              </a:extLst>
            </p:cNvPr>
            <p:cNvSpPr>
              <a:spLocks noChangeShapeType="1"/>
            </p:cNvSpPr>
            <p:nvPr/>
          </p:nvSpPr>
          <p:spPr bwMode="auto">
            <a:xfrm flipH="1">
              <a:off x="-2648428" y="25342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8" name="Line 146">
              <a:extLst>
                <a:ext uri="{FF2B5EF4-FFF2-40B4-BE49-F238E27FC236}">
                  <a16:creationId xmlns:a16="http://schemas.microsoft.com/office/drawing/2014/main" id="{CA8C4180-6336-8801-B729-4D1E3BFDF25C}"/>
                </a:ext>
              </a:extLst>
            </p:cNvPr>
            <p:cNvSpPr>
              <a:spLocks noChangeShapeType="1"/>
            </p:cNvSpPr>
            <p:nvPr/>
          </p:nvSpPr>
          <p:spPr bwMode="auto">
            <a:xfrm>
              <a:off x="-2606121"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9" name="Line 147">
              <a:extLst>
                <a:ext uri="{FF2B5EF4-FFF2-40B4-BE49-F238E27FC236}">
                  <a16:creationId xmlns:a16="http://schemas.microsoft.com/office/drawing/2014/main" id="{693E8F11-8C33-0511-F033-8D5C79012FB0}"/>
                </a:ext>
              </a:extLst>
            </p:cNvPr>
            <p:cNvSpPr>
              <a:spLocks noChangeShapeType="1"/>
            </p:cNvSpPr>
            <p:nvPr/>
          </p:nvSpPr>
          <p:spPr bwMode="auto">
            <a:xfrm flipH="1">
              <a:off x="-2633712" y="25342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0" name="Line 148">
              <a:extLst>
                <a:ext uri="{FF2B5EF4-FFF2-40B4-BE49-F238E27FC236}">
                  <a16:creationId xmlns:a16="http://schemas.microsoft.com/office/drawing/2014/main" id="{8F304A79-6E26-0166-DEFD-2613C650F54F}"/>
                </a:ext>
              </a:extLst>
            </p:cNvPr>
            <p:cNvSpPr>
              <a:spLocks noChangeShapeType="1"/>
            </p:cNvSpPr>
            <p:nvPr/>
          </p:nvSpPr>
          <p:spPr bwMode="auto">
            <a:xfrm>
              <a:off x="-2633713"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1" name="Line 149">
              <a:extLst>
                <a:ext uri="{FF2B5EF4-FFF2-40B4-BE49-F238E27FC236}">
                  <a16:creationId xmlns:a16="http://schemas.microsoft.com/office/drawing/2014/main" id="{2D7565FC-0A18-5009-A478-8658A1D4F946}"/>
                </a:ext>
              </a:extLst>
            </p:cNvPr>
            <p:cNvSpPr>
              <a:spLocks noChangeShapeType="1"/>
            </p:cNvSpPr>
            <p:nvPr/>
          </p:nvSpPr>
          <p:spPr bwMode="auto">
            <a:xfrm flipH="1">
              <a:off x="-2666824" y="25342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2" name="Line 150">
              <a:extLst>
                <a:ext uri="{FF2B5EF4-FFF2-40B4-BE49-F238E27FC236}">
                  <a16:creationId xmlns:a16="http://schemas.microsoft.com/office/drawing/2014/main" id="{8B809634-0234-45C7-4A88-077B07C6BCA1}"/>
                </a:ext>
              </a:extLst>
            </p:cNvPr>
            <p:cNvSpPr>
              <a:spLocks noChangeShapeType="1"/>
            </p:cNvSpPr>
            <p:nvPr/>
          </p:nvSpPr>
          <p:spPr bwMode="auto">
            <a:xfrm>
              <a:off x="-2659467"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3" name="Line 151">
              <a:extLst>
                <a:ext uri="{FF2B5EF4-FFF2-40B4-BE49-F238E27FC236}">
                  <a16:creationId xmlns:a16="http://schemas.microsoft.com/office/drawing/2014/main" id="{FCC6529C-F785-9525-27EF-612576158359}"/>
                </a:ext>
              </a:extLst>
            </p:cNvPr>
            <p:cNvSpPr>
              <a:spLocks noChangeShapeType="1"/>
            </p:cNvSpPr>
            <p:nvPr/>
          </p:nvSpPr>
          <p:spPr bwMode="auto">
            <a:xfrm flipH="1">
              <a:off x="-2690735" y="2534249"/>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4" name="Line 152">
              <a:extLst>
                <a:ext uri="{FF2B5EF4-FFF2-40B4-BE49-F238E27FC236}">
                  <a16:creationId xmlns:a16="http://schemas.microsoft.com/office/drawing/2014/main" id="{356A7F43-B543-066E-2100-DB9A17BD76CE}"/>
                </a:ext>
              </a:extLst>
            </p:cNvPr>
            <p:cNvSpPr>
              <a:spLocks noChangeShapeType="1"/>
            </p:cNvSpPr>
            <p:nvPr/>
          </p:nvSpPr>
          <p:spPr bwMode="auto">
            <a:xfrm>
              <a:off x="-2666826"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5" name="Line 153">
              <a:extLst>
                <a:ext uri="{FF2B5EF4-FFF2-40B4-BE49-F238E27FC236}">
                  <a16:creationId xmlns:a16="http://schemas.microsoft.com/office/drawing/2014/main" id="{916145DA-99B4-3979-0BB3-4A2F251F6C30}"/>
                </a:ext>
              </a:extLst>
            </p:cNvPr>
            <p:cNvSpPr>
              <a:spLocks noChangeShapeType="1"/>
            </p:cNvSpPr>
            <p:nvPr/>
          </p:nvSpPr>
          <p:spPr bwMode="auto">
            <a:xfrm flipH="1">
              <a:off x="-2698095" y="25342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6" name="Line 154">
              <a:extLst>
                <a:ext uri="{FF2B5EF4-FFF2-40B4-BE49-F238E27FC236}">
                  <a16:creationId xmlns:a16="http://schemas.microsoft.com/office/drawing/2014/main" id="{E7B25C9A-BBF3-05DF-DA3E-55FDFF1816F0}"/>
                </a:ext>
              </a:extLst>
            </p:cNvPr>
            <p:cNvSpPr>
              <a:spLocks noChangeShapeType="1"/>
            </p:cNvSpPr>
            <p:nvPr/>
          </p:nvSpPr>
          <p:spPr bwMode="auto">
            <a:xfrm>
              <a:off x="-2679701"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7" name="Line 155">
              <a:extLst>
                <a:ext uri="{FF2B5EF4-FFF2-40B4-BE49-F238E27FC236}">
                  <a16:creationId xmlns:a16="http://schemas.microsoft.com/office/drawing/2014/main" id="{C392B8C1-72C0-5474-A95C-5369EB92F953}"/>
                </a:ext>
              </a:extLst>
            </p:cNvPr>
            <p:cNvSpPr>
              <a:spLocks noChangeShapeType="1"/>
            </p:cNvSpPr>
            <p:nvPr/>
          </p:nvSpPr>
          <p:spPr bwMode="auto">
            <a:xfrm flipH="1">
              <a:off x="-2712812" y="2534249"/>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8" name="Line 156">
              <a:extLst>
                <a:ext uri="{FF2B5EF4-FFF2-40B4-BE49-F238E27FC236}">
                  <a16:creationId xmlns:a16="http://schemas.microsoft.com/office/drawing/2014/main" id="{AE52930D-7D0C-FD30-AC34-210FFE7D2C70}"/>
                </a:ext>
              </a:extLst>
            </p:cNvPr>
            <p:cNvSpPr>
              <a:spLocks noChangeShapeType="1"/>
            </p:cNvSpPr>
            <p:nvPr/>
          </p:nvSpPr>
          <p:spPr bwMode="auto">
            <a:xfrm>
              <a:off x="-2779036"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9" name="Line 157">
              <a:extLst>
                <a:ext uri="{FF2B5EF4-FFF2-40B4-BE49-F238E27FC236}">
                  <a16:creationId xmlns:a16="http://schemas.microsoft.com/office/drawing/2014/main" id="{895C45FF-F2EA-DA06-646C-74693F5EF8C0}"/>
                </a:ext>
              </a:extLst>
            </p:cNvPr>
            <p:cNvSpPr>
              <a:spLocks noChangeShapeType="1"/>
            </p:cNvSpPr>
            <p:nvPr/>
          </p:nvSpPr>
          <p:spPr bwMode="auto">
            <a:xfrm flipH="1">
              <a:off x="-2806628" y="2534249"/>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0" name="Line 158">
              <a:extLst>
                <a:ext uri="{FF2B5EF4-FFF2-40B4-BE49-F238E27FC236}">
                  <a16:creationId xmlns:a16="http://schemas.microsoft.com/office/drawing/2014/main" id="{72CA4923-1C6C-68B0-6644-0BD1C243EFDA}"/>
                </a:ext>
              </a:extLst>
            </p:cNvPr>
            <p:cNvSpPr>
              <a:spLocks noChangeShapeType="1"/>
            </p:cNvSpPr>
            <p:nvPr/>
          </p:nvSpPr>
          <p:spPr bwMode="auto">
            <a:xfrm>
              <a:off x="-2966668"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1" name="Line 159">
              <a:extLst>
                <a:ext uri="{FF2B5EF4-FFF2-40B4-BE49-F238E27FC236}">
                  <a16:creationId xmlns:a16="http://schemas.microsoft.com/office/drawing/2014/main" id="{4DB803FC-F26F-3EB2-DAE4-C5D9A7F741A2}"/>
                </a:ext>
              </a:extLst>
            </p:cNvPr>
            <p:cNvSpPr>
              <a:spLocks noChangeShapeType="1"/>
            </p:cNvSpPr>
            <p:nvPr/>
          </p:nvSpPr>
          <p:spPr bwMode="auto">
            <a:xfrm flipH="1">
              <a:off x="-2997939" y="2534249"/>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2" name="Line 160">
              <a:extLst>
                <a:ext uri="{FF2B5EF4-FFF2-40B4-BE49-F238E27FC236}">
                  <a16:creationId xmlns:a16="http://schemas.microsoft.com/office/drawing/2014/main" id="{6E286574-E549-475B-A280-5FCFA9D84CCD}"/>
                </a:ext>
              </a:extLst>
            </p:cNvPr>
            <p:cNvSpPr>
              <a:spLocks noChangeShapeType="1"/>
            </p:cNvSpPr>
            <p:nvPr/>
          </p:nvSpPr>
          <p:spPr bwMode="auto">
            <a:xfrm>
              <a:off x="-2997941" y="2499297"/>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3" name="Line 161">
              <a:extLst>
                <a:ext uri="{FF2B5EF4-FFF2-40B4-BE49-F238E27FC236}">
                  <a16:creationId xmlns:a16="http://schemas.microsoft.com/office/drawing/2014/main" id="{7779DA7A-DACF-263E-36D5-FF6D7855A2E6}"/>
                </a:ext>
              </a:extLst>
            </p:cNvPr>
            <p:cNvSpPr>
              <a:spLocks noChangeShapeType="1"/>
            </p:cNvSpPr>
            <p:nvPr/>
          </p:nvSpPr>
          <p:spPr bwMode="auto">
            <a:xfrm flipH="1">
              <a:off x="-3029211" y="2534249"/>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4" name="Line 162">
              <a:extLst>
                <a:ext uri="{FF2B5EF4-FFF2-40B4-BE49-F238E27FC236}">
                  <a16:creationId xmlns:a16="http://schemas.microsoft.com/office/drawing/2014/main" id="{1B2B87DF-2108-63FF-5963-7A938674DB7B}"/>
                </a:ext>
              </a:extLst>
            </p:cNvPr>
            <p:cNvSpPr>
              <a:spLocks noChangeShapeType="1"/>
            </p:cNvSpPr>
            <p:nvPr/>
          </p:nvSpPr>
          <p:spPr bwMode="auto">
            <a:xfrm>
              <a:off x="-3259155"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5" name="Line 163">
              <a:extLst>
                <a:ext uri="{FF2B5EF4-FFF2-40B4-BE49-F238E27FC236}">
                  <a16:creationId xmlns:a16="http://schemas.microsoft.com/office/drawing/2014/main" id="{F9BF2678-A07D-CCAF-2C42-5CE7A36C447A}"/>
                </a:ext>
              </a:extLst>
            </p:cNvPr>
            <p:cNvSpPr>
              <a:spLocks noChangeShapeType="1"/>
            </p:cNvSpPr>
            <p:nvPr/>
          </p:nvSpPr>
          <p:spPr bwMode="auto">
            <a:xfrm flipH="1">
              <a:off x="-3290425" y="2296950"/>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6" name="Line 164">
              <a:extLst>
                <a:ext uri="{FF2B5EF4-FFF2-40B4-BE49-F238E27FC236}">
                  <a16:creationId xmlns:a16="http://schemas.microsoft.com/office/drawing/2014/main" id="{B7F35F26-BD66-963C-A6BF-F3B3262F5C07}"/>
                </a:ext>
              </a:extLst>
            </p:cNvPr>
            <p:cNvSpPr>
              <a:spLocks noChangeShapeType="1"/>
            </p:cNvSpPr>
            <p:nvPr/>
          </p:nvSpPr>
          <p:spPr bwMode="auto">
            <a:xfrm>
              <a:off x="-3290426"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7" name="Line 165">
              <a:extLst>
                <a:ext uri="{FF2B5EF4-FFF2-40B4-BE49-F238E27FC236}">
                  <a16:creationId xmlns:a16="http://schemas.microsoft.com/office/drawing/2014/main" id="{4AAC894D-54E7-49D0-B033-A99817049589}"/>
                </a:ext>
              </a:extLst>
            </p:cNvPr>
            <p:cNvSpPr>
              <a:spLocks noChangeShapeType="1"/>
            </p:cNvSpPr>
            <p:nvPr/>
          </p:nvSpPr>
          <p:spPr bwMode="auto">
            <a:xfrm flipH="1">
              <a:off x="-3321696" y="2296950"/>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8" name="Line 166">
              <a:extLst>
                <a:ext uri="{FF2B5EF4-FFF2-40B4-BE49-F238E27FC236}">
                  <a16:creationId xmlns:a16="http://schemas.microsoft.com/office/drawing/2014/main" id="{66CCBB75-D714-9045-C7E1-530146074D15}"/>
                </a:ext>
              </a:extLst>
            </p:cNvPr>
            <p:cNvSpPr>
              <a:spLocks noChangeShapeType="1"/>
            </p:cNvSpPr>
            <p:nvPr/>
          </p:nvSpPr>
          <p:spPr bwMode="auto">
            <a:xfrm>
              <a:off x="-3321697"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9" name="Line 167">
              <a:extLst>
                <a:ext uri="{FF2B5EF4-FFF2-40B4-BE49-F238E27FC236}">
                  <a16:creationId xmlns:a16="http://schemas.microsoft.com/office/drawing/2014/main" id="{F534E106-3541-2B1A-83E2-A805C45D5D55}"/>
                </a:ext>
              </a:extLst>
            </p:cNvPr>
            <p:cNvSpPr>
              <a:spLocks noChangeShapeType="1"/>
            </p:cNvSpPr>
            <p:nvPr/>
          </p:nvSpPr>
          <p:spPr bwMode="auto">
            <a:xfrm flipH="1">
              <a:off x="-3352967" y="2296950"/>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0" name="Line 168">
              <a:extLst>
                <a:ext uri="{FF2B5EF4-FFF2-40B4-BE49-F238E27FC236}">
                  <a16:creationId xmlns:a16="http://schemas.microsoft.com/office/drawing/2014/main" id="{EE73AFA2-E907-7C15-6B95-B6E12050F5F0}"/>
                </a:ext>
              </a:extLst>
            </p:cNvPr>
            <p:cNvSpPr>
              <a:spLocks noChangeShapeType="1"/>
            </p:cNvSpPr>
            <p:nvPr/>
          </p:nvSpPr>
          <p:spPr bwMode="auto">
            <a:xfrm>
              <a:off x="-3332735"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1" name="Line 169">
              <a:extLst>
                <a:ext uri="{FF2B5EF4-FFF2-40B4-BE49-F238E27FC236}">
                  <a16:creationId xmlns:a16="http://schemas.microsoft.com/office/drawing/2014/main" id="{2F300989-5260-7FAD-3AC5-AB3ECB4681EF}"/>
                </a:ext>
              </a:extLst>
            </p:cNvPr>
            <p:cNvSpPr>
              <a:spLocks noChangeShapeType="1"/>
            </p:cNvSpPr>
            <p:nvPr/>
          </p:nvSpPr>
          <p:spPr bwMode="auto">
            <a:xfrm flipH="1">
              <a:off x="-3364006" y="2296950"/>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2" name="Line 170">
              <a:extLst>
                <a:ext uri="{FF2B5EF4-FFF2-40B4-BE49-F238E27FC236}">
                  <a16:creationId xmlns:a16="http://schemas.microsoft.com/office/drawing/2014/main" id="{347601C5-F762-4AB5-C5F5-F324EA7A3DF7}"/>
                </a:ext>
              </a:extLst>
            </p:cNvPr>
            <p:cNvSpPr>
              <a:spLocks noChangeShapeType="1"/>
            </p:cNvSpPr>
            <p:nvPr/>
          </p:nvSpPr>
          <p:spPr bwMode="auto">
            <a:xfrm>
              <a:off x="-3352968"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3" name="Line 171">
              <a:extLst>
                <a:ext uri="{FF2B5EF4-FFF2-40B4-BE49-F238E27FC236}">
                  <a16:creationId xmlns:a16="http://schemas.microsoft.com/office/drawing/2014/main" id="{BD93C1C2-E68C-19AC-1902-99F81AC05805}"/>
                </a:ext>
              </a:extLst>
            </p:cNvPr>
            <p:cNvSpPr>
              <a:spLocks noChangeShapeType="1"/>
            </p:cNvSpPr>
            <p:nvPr/>
          </p:nvSpPr>
          <p:spPr bwMode="auto">
            <a:xfrm flipH="1">
              <a:off x="-3382401" y="2296950"/>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4" name="Line 172">
              <a:extLst>
                <a:ext uri="{FF2B5EF4-FFF2-40B4-BE49-F238E27FC236}">
                  <a16:creationId xmlns:a16="http://schemas.microsoft.com/office/drawing/2014/main" id="{214B15CA-1496-1C3F-03A5-69F9B28EB4B3}"/>
                </a:ext>
              </a:extLst>
            </p:cNvPr>
            <p:cNvSpPr>
              <a:spLocks noChangeShapeType="1"/>
            </p:cNvSpPr>
            <p:nvPr/>
          </p:nvSpPr>
          <p:spPr bwMode="auto">
            <a:xfrm>
              <a:off x="-3343772"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5" name="Line 173">
              <a:extLst>
                <a:ext uri="{FF2B5EF4-FFF2-40B4-BE49-F238E27FC236}">
                  <a16:creationId xmlns:a16="http://schemas.microsoft.com/office/drawing/2014/main" id="{6F5C1DF9-3AE1-6778-6C08-CFDAE8C8ACAD}"/>
                </a:ext>
              </a:extLst>
            </p:cNvPr>
            <p:cNvSpPr>
              <a:spLocks noChangeShapeType="1"/>
            </p:cNvSpPr>
            <p:nvPr/>
          </p:nvSpPr>
          <p:spPr bwMode="auto">
            <a:xfrm flipH="1">
              <a:off x="-3375043" y="2296950"/>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6" name="Line 174">
              <a:extLst>
                <a:ext uri="{FF2B5EF4-FFF2-40B4-BE49-F238E27FC236}">
                  <a16:creationId xmlns:a16="http://schemas.microsoft.com/office/drawing/2014/main" id="{0C80518F-065E-9FEF-9947-AD5023EB48C1}"/>
                </a:ext>
              </a:extLst>
            </p:cNvPr>
            <p:cNvSpPr>
              <a:spLocks noChangeShapeType="1"/>
            </p:cNvSpPr>
            <p:nvPr/>
          </p:nvSpPr>
          <p:spPr bwMode="auto">
            <a:xfrm>
              <a:off x="-3364006"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7" name="Line 175">
              <a:extLst>
                <a:ext uri="{FF2B5EF4-FFF2-40B4-BE49-F238E27FC236}">
                  <a16:creationId xmlns:a16="http://schemas.microsoft.com/office/drawing/2014/main" id="{E9C34E53-4394-5293-FE21-DCFC78AF07AE}"/>
                </a:ext>
              </a:extLst>
            </p:cNvPr>
            <p:cNvSpPr>
              <a:spLocks noChangeShapeType="1"/>
            </p:cNvSpPr>
            <p:nvPr/>
          </p:nvSpPr>
          <p:spPr bwMode="auto">
            <a:xfrm flipH="1">
              <a:off x="-3395278" y="2296950"/>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8" name="Line 176">
              <a:extLst>
                <a:ext uri="{FF2B5EF4-FFF2-40B4-BE49-F238E27FC236}">
                  <a16:creationId xmlns:a16="http://schemas.microsoft.com/office/drawing/2014/main" id="{84185B24-8F70-1148-F0BD-E56C2C22CF59}"/>
                </a:ext>
              </a:extLst>
            </p:cNvPr>
            <p:cNvSpPr>
              <a:spLocks noChangeShapeType="1"/>
            </p:cNvSpPr>
            <p:nvPr/>
          </p:nvSpPr>
          <p:spPr bwMode="auto">
            <a:xfrm>
              <a:off x="-3375043"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9" name="Line 177">
              <a:extLst>
                <a:ext uri="{FF2B5EF4-FFF2-40B4-BE49-F238E27FC236}">
                  <a16:creationId xmlns:a16="http://schemas.microsoft.com/office/drawing/2014/main" id="{7F76D239-3610-201E-A62D-A29F1BD52A50}"/>
                </a:ext>
              </a:extLst>
            </p:cNvPr>
            <p:cNvSpPr>
              <a:spLocks noChangeShapeType="1"/>
            </p:cNvSpPr>
            <p:nvPr/>
          </p:nvSpPr>
          <p:spPr bwMode="auto">
            <a:xfrm flipH="1">
              <a:off x="-3406313" y="2296950"/>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0" name="Line 178">
              <a:extLst>
                <a:ext uri="{FF2B5EF4-FFF2-40B4-BE49-F238E27FC236}">
                  <a16:creationId xmlns:a16="http://schemas.microsoft.com/office/drawing/2014/main" id="{C2E7F48E-2B95-C3B9-731D-054425070130}"/>
                </a:ext>
              </a:extLst>
            </p:cNvPr>
            <p:cNvSpPr>
              <a:spLocks noChangeShapeType="1"/>
            </p:cNvSpPr>
            <p:nvPr/>
          </p:nvSpPr>
          <p:spPr bwMode="auto">
            <a:xfrm>
              <a:off x="-3382402"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1" name="Line 179">
              <a:extLst>
                <a:ext uri="{FF2B5EF4-FFF2-40B4-BE49-F238E27FC236}">
                  <a16:creationId xmlns:a16="http://schemas.microsoft.com/office/drawing/2014/main" id="{47E66520-40B1-684C-744B-2B31E702DA27}"/>
                </a:ext>
              </a:extLst>
            </p:cNvPr>
            <p:cNvSpPr>
              <a:spLocks noChangeShapeType="1"/>
            </p:cNvSpPr>
            <p:nvPr/>
          </p:nvSpPr>
          <p:spPr bwMode="auto">
            <a:xfrm flipH="1">
              <a:off x="-3413673" y="2296950"/>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2" name="Line 180">
              <a:extLst>
                <a:ext uri="{FF2B5EF4-FFF2-40B4-BE49-F238E27FC236}">
                  <a16:creationId xmlns:a16="http://schemas.microsoft.com/office/drawing/2014/main" id="{19271D1F-771A-D529-360E-D5FE409B17FA}"/>
                </a:ext>
              </a:extLst>
            </p:cNvPr>
            <p:cNvSpPr>
              <a:spLocks noChangeShapeType="1"/>
            </p:cNvSpPr>
            <p:nvPr/>
          </p:nvSpPr>
          <p:spPr bwMode="auto">
            <a:xfrm>
              <a:off x="-3395280"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3" name="Line 181">
              <a:extLst>
                <a:ext uri="{FF2B5EF4-FFF2-40B4-BE49-F238E27FC236}">
                  <a16:creationId xmlns:a16="http://schemas.microsoft.com/office/drawing/2014/main" id="{5BC5615C-7ADB-4EA3-BFFF-1ADAA4DC83AE}"/>
                </a:ext>
              </a:extLst>
            </p:cNvPr>
            <p:cNvSpPr>
              <a:spLocks noChangeShapeType="1"/>
            </p:cNvSpPr>
            <p:nvPr/>
          </p:nvSpPr>
          <p:spPr bwMode="auto">
            <a:xfrm flipH="1">
              <a:off x="-3428390" y="2296950"/>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4" name="Line 182">
              <a:extLst>
                <a:ext uri="{FF2B5EF4-FFF2-40B4-BE49-F238E27FC236}">
                  <a16:creationId xmlns:a16="http://schemas.microsoft.com/office/drawing/2014/main" id="{9D219A80-3A53-B606-45D5-DA30B85B99C2}"/>
                </a:ext>
              </a:extLst>
            </p:cNvPr>
            <p:cNvSpPr>
              <a:spLocks noChangeShapeType="1"/>
            </p:cNvSpPr>
            <p:nvPr/>
          </p:nvSpPr>
          <p:spPr bwMode="auto">
            <a:xfrm>
              <a:off x="-3406318"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5" name="Line 183">
              <a:extLst>
                <a:ext uri="{FF2B5EF4-FFF2-40B4-BE49-F238E27FC236}">
                  <a16:creationId xmlns:a16="http://schemas.microsoft.com/office/drawing/2014/main" id="{E8A90BFC-DBFF-0F17-FD96-40E4A857BDC3}"/>
                </a:ext>
              </a:extLst>
            </p:cNvPr>
            <p:cNvSpPr>
              <a:spLocks noChangeShapeType="1"/>
            </p:cNvSpPr>
            <p:nvPr/>
          </p:nvSpPr>
          <p:spPr bwMode="auto">
            <a:xfrm flipH="1">
              <a:off x="-3437587" y="2296950"/>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6" name="Line 184">
              <a:extLst>
                <a:ext uri="{FF2B5EF4-FFF2-40B4-BE49-F238E27FC236}">
                  <a16:creationId xmlns:a16="http://schemas.microsoft.com/office/drawing/2014/main" id="{DF56DF35-BDEF-A400-6557-A666D8BEF874}"/>
                </a:ext>
              </a:extLst>
            </p:cNvPr>
            <p:cNvSpPr>
              <a:spLocks noChangeShapeType="1"/>
            </p:cNvSpPr>
            <p:nvPr/>
          </p:nvSpPr>
          <p:spPr bwMode="auto">
            <a:xfrm>
              <a:off x="-3413675"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7" name="Line 185">
              <a:extLst>
                <a:ext uri="{FF2B5EF4-FFF2-40B4-BE49-F238E27FC236}">
                  <a16:creationId xmlns:a16="http://schemas.microsoft.com/office/drawing/2014/main" id="{99DB1E1C-F5D2-351B-681D-3E216F597499}"/>
                </a:ext>
              </a:extLst>
            </p:cNvPr>
            <p:cNvSpPr>
              <a:spLocks noChangeShapeType="1"/>
            </p:cNvSpPr>
            <p:nvPr/>
          </p:nvSpPr>
          <p:spPr bwMode="auto">
            <a:xfrm flipH="1">
              <a:off x="-3444946" y="2296950"/>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8" name="Line 186">
              <a:extLst>
                <a:ext uri="{FF2B5EF4-FFF2-40B4-BE49-F238E27FC236}">
                  <a16:creationId xmlns:a16="http://schemas.microsoft.com/office/drawing/2014/main" id="{2166DE06-4A18-E64A-1887-DD56AA3F5D3E}"/>
                </a:ext>
              </a:extLst>
            </p:cNvPr>
            <p:cNvSpPr>
              <a:spLocks noChangeShapeType="1"/>
            </p:cNvSpPr>
            <p:nvPr/>
          </p:nvSpPr>
          <p:spPr bwMode="auto">
            <a:xfrm>
              <a:off x="-3428390"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9" name="Line 187">
              <a:extLst>
                <a:ext uri="{FF2B5EF4-FFF2-40B4-BE49-F238E27FC236}">
                  <a16:creationId xmlns:a16="http://schemas.microsoft.com/office/drawing/2014/main" id="{D4F730AA-D065-68C3-A0CB-2F64101BCDDA}"/>
                </a:ext>
              </a:extLst>
            </p:cNvPr>
            <p:cNvSpPr>
              <a:spLocks noChangeShapeType="1"/>
            </p:cNvSpPr>
            <p:nvPr/>
          </p:nvSpPr>
          <p:spPr bwMode="auto">
            <a:xfrm flipH="1">
              <a:off x="-3459661" y="2296950"/>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0" name="Line 188">
              <a:extLst>
                <a:ext uri="{FF2B5EF4-FFF2-40B4-BE49-F238E27FC236}">
                  <a16:creationId xmlns:a16="http://schemas.microsoft.com/office/drawing/2014/main" id="{72CCF1C2-BA11-83E2-93F2-AED048EDF793}"/>
                </a:ext>
              </a:extLst>
            </p:cNvPr>
            <p:cNvSpPr>
              <a:spLocks noChangeShapeType="1"/>
            </p:cNvSpPr>
            <p:nvPr/>
          </p:nvSpPr>
          <p:spPr bwMode="auto">
            <a:xfrm>
              <a:off x="-3437589" y="2261999"/>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1" name="Line 189">
              <a:extLst>
                <a:ext uri="{FF2B5EF4-FFF2-40B4-BE49-F238E27FC236}">
                  <a16:creationId xmlns:a16="http://schemas.microsoft.com/office/drawing/2014/main" id="{C51A1533-E8BA-1E1F-B9FE-D78AC5A1977F}"/>
                </a:ext>
              </a:extLst>
            </p:cNvPr>
            <p:cNvSpPr>
              <a:spLocks noChangeShapeType="1"/>
            </p:cNvSpPr>
            <p:nvPr/>
          </p:nvSpPr>
          <p:spPr bwMode="auto">
            <a:xfrm flipH="1">
              <a:off x="-3470698" y="2296950"/>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2" name="Line 190">
              <a:extLst>
                <a:ext uri="{FF2B5EF4-FFF2-40B4-BE49-F238E27FC236}">
                  <a16:creationId xmlns:a16="http://schemas.microsoft.com/office/drawing/2014/main" id="{1280D9F2-84C5-D629-1FD7-16E36166F557}"/>
                </a:ext>
              </a:extLst>
            </p:cNvPr>
            <p:cNvSpPr>
              <a:spLocks noChangeShapeType="1"/>
            </p:cNvSpPr>
            <p:nvPr/>
          </p:nvSpPr>
          <p:spPr bwMode="auto">
            <a:xfrm>
              <a:off x="-3437589" y="2173700"/>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3" name="Line 191">
              <a:extLst>
                <a:ext uri="{FF2B5EF4-FFF2-40B4-BE49-F238E27FC236}">
                  <a16:creationId xmlns:a16="http://schemas.microsoft.com/office/drawing/2014/main" id="{500A0F6F-76D1-5445-FF5F-09A64CCFE037}"/>
                </a:ext>
              </a:extLst>
            </p:cNvPr>
            <p:cNvSpPr>
              <a:spLocks noChangeShapeType="1"/>
            </p:cNvSpPr>
            <p:nvPr/>
          </p:nvSpPr>
          <p:spPr bwMode="auto">
            <a:xfrm flipH="1">
              <a:off x="-3470698" y="2208651"/>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4" name="Line 192">
              <a:extLst>
                <a:ext uri="{FF2B5EF4-FFF2-40B4-BE49-F238E27FC236}">
                  <a16:creationId xmlns:a16="http://schemas.microsoft.com/office/drawing/2014/main" id="{9EF70E0C-2D3D-B7C1-C495-B70A7FB6FE4F}"/>
                </a:ext>
              </a:extLst>
            </p:cNvPr>
            <p:cNvSpPr>
              <a:spLocks noChangeShapeType="1"/>
            </p:cNvSpPr>
            <p:nvPr/>
          </p:nvSpPr>
          <p:spPr bwMode="auto">
            <a:xfrm>
              <a:off x="-3691444" y="2173700"/>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5" name="Line 193">
              <a:extLst>
                <a:ext uri="{FF2B5EF4-FFF2-40B4-BE49-F238E27FC236}">
                  <a16:creationId xmlns:a16="http://schemas.microsoft.com/office/drawing/2014/main" id="{3FE85A5C-0AF3-EDD4-9086-C020BAEA39F1}"/>
                </a:ext>
              </a:extLst>
            </p:cNvPr>
            <p:cNvSpPr>
              <a:spLocks noChangeShapeType="1"/>
            </p:cNvSpPr>
            <p:nvPr/>
          </p:nvSpPr>
          <p:spPr bwMode="auto">
            <a:xfrm flipH="1">
              <a:off x="-3724555" y="2208651"/>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6" name="Line 194">
              <a:extLst>
                <a:ext uri="{FF2B5EF4-FFF2-40B4-BE49-F238E27FC236}">
                  <a16:creationId xmlns:a16="http://schemas.microsoft.com/office/drawing/2014/main" id="{9185FE01-277E-1E9A-0D5C-D15B0C9AD4DE}"/>
                </a:ext>
              </a:extLst>
            </p:cNvPr>
            <p:cNvSpPr>
              <a:spLocks noChangeShapeType="1"/>
            </p:cNvSpPr>
            <p:nvPr/>
          </p:nvSpPr>
          <p:spPr bwMode="auto">
            <a:xfrm>
              <a:off x="-3691444" y="2142429"/>
              <a:ext cx="0" cy="6622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7" name="Line 195">
              <a:extLst>
                <a:ext uri="{FF2B5EF4-FFF2-40B4-BE49-F238E27FC236}">
                  <a16:creationId xmlns:a16="http://schemas.microsoft.com/office/drawing/2014/main" id="{D335566D-8716-7DFF-09E6-FA8BEB1D9BD0}"/>
                </a:ext>
              </a:extLst>
            </p:cNvPr>
            <p:cNvSpPr>
              <a:spLocks noChangeShapeType="1"/>
            </p:cNvSpPr>
            <p:nvPr/>
          </p:nvSpPr>
          <p:spPr bwMode="auto">
            <a:xfrm flipH="1">
              <a:off x="-3724555" y="2173701"/>
              <a:ext cx="6438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8" name="Line 196">
              <a:extLst>
                <a:ext uri="{FF2B5EF4-FFF2-40B4-BE49-F238E27FC236}">
                  <a16:creationId xmlns:a16="http://schemas.microsoft.com/office/drawing/2014/main" id="{3538CAA1-AC62-4F45-F73C-71A713927265}"/>
                </a:ext>
              </a:extLst>
            </p:cNvPr>
            <p:cNvSpPr>
              <a:spLocks noChangeShapeType="1"/>
            </p:cNvSpPr>
            <p:nvPr/>
          </p:nvSpPr>
          <p:spPr bwMode="auto">
            <a:xfrm>
              <a:off x="-3709840" y="2142429"/>
              <a:ext cx="0" cy="6622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9" name="Line 197">
              <a:extLst>
                <a:ext uri="{FF2B5EF4-FFF2-40B4-BE49-F238E27FC236}">
                  <a16:creationId xmlns:a16="http://schemas.microsoft.com/office/drawing/2014/main" id="{FB2A0A12-C54F-2227-946C-199380F62FE9}"/>
                </a:ext>
              </a:extLst>
            </p:cNvPr>
            <p:cNvSpPr>
              <a:spLocks noChangeShapeType="1"/>
            </p:cNvSpPr>
            <p:nvPr/>
          </p:nvSpPr>
          <p:spPr bwMode="auto">
            <a:xfrm flipH="1">
              <a:off x="-3741110" y="2173701"/>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0" name="Line 198">
              <a:extLst>
                <a:ext uri="{FF2B5EF4-FFF2-40B4-BE49-F238E27FC236}">
                  <a16:creationId xmlns:a16="http://schemas.microsoft.com/office/drawing/2014/main" id="{46F09DDD-8FD2-3C77-48C7-F1C7BBA8CB53}"/>
                </a:ext>
              </a:extLst>
            </p:cNvPr>
            <p:cNvSpPr>
              <a:spLocks noChangeShapeType="1"/>
            </p:cNvSpPr>
            <p:nvPr/>
          </p:nvSpPr>
          <p:spPr bwMode="auto">
            <a:xfrm>
              <a:off x="-3724557" y="2142429"/>
              <a:ext cx="0" cy="6622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1" name="Line 199">
              <a:extLst>
                <a:ext uri="{FF2B5EF4-FFF2-40B4-BE49-F238E27FC236}">
                  <a16:creationId xmlns:a16="http://schemas.microsoft.com/office/drawing/2014/main" id="{B3C7F069-3936-5568-C6A2-673F9E3888B0}"/>
                </a:ext>
              </a:extLst>
            </p:cNvPr>
            <p:cNvSpPr>
              <a:spLocks noChangeShapeType="1"/>
            </p:cNvSpPr>
            <p:nvPr/>
          </p:nvSpPr>
          <p:spPr bwMode="auto">
            <a:xfrm flipH="1">
              <a:off x="-3752147" y="2173701"/>
              <a:ext cx="6070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2" name="Line 200">
              <a:extLst>
                <a:ext uri="{FF2B5EF4-FFF2-40B4-BE49-F238E27FC236}">
                  <a16:creationId xmlns:a16="http://schemas.microsoft.com/office/drawing/2014/main" id="{2DE14360-1560-6D01-5833-06284F77E68A}"/>
                </a:ext>
              </a:extLst>
            </p:cNvPr>
            <p:cNvSpPr>
              <a:spLocks noChangeShapeType="1"/>
            </p:cNvSpPr>
            <p:nvPr/>
          </p:nvSpPr>
          <p:spPr bwMode="auto">
            <a:xfrm>
              <a:off x="-3741113" y="2142429"/>
              <a:ext cx="0" cy="6622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3" name="Line 201">
              <a:extLst>
                <a:ext uri="{FF2B5EF4-FFF2-40B4-BE49-F238E27FC236}">
                  <a16:creationId xmlns:a16="http://schemas.microsoft.com/office/drawing/2014/main" id="{117E3FF4-7972-5B8C-99FA-B6F051B1935B}"/>
                </a:ext>
              </a:extLst>
            </p:cNvPr>
            <p:cNvSpPr>
              <a:spLocks noChangeShapeType="1"/>
            </p:cNvSpPr>
            <p:nvPr/>
          </p:nvSpPr>
          <p:spPr bwMode="auto">
            <a:xfrm flipH="1">
              <a:off x="-3772381" y="2173701"/>
              <a:ext cx="62544"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4" name="Line 202">
              <a:extLst>
                <a:ext uri="{FF2B5EF4-FFF2-40B4-BE49-F238E27FC236}">
                  <a16:creationId xmlns:a16="http://schemas.microsoft.com/office/drawing/2014/main" id="{9BE00668-2D09-E1C9-81BA-FD39FEF9A68D}"/>
                </a:ext>
              </a:extLst>
            </p:cNvPr>
            <p:cNvSpPr>
              <a:spLocks noChangeShapeType="1"/>
            </p:cNvSpPr>
            <p:nvPr/>
          </p:nvSpPr>
          <p:spPr bwMode="auto">
            <a:xfrm>
              <a:off x="-3752149" y="2142429"/>
              <a:ext cx="0" cy="66224"/>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5" name="Line 203">
              <a:extLst>
                <a:ext uri="{FF2B5EF4-FFF2-40B4-BE49-F238E27FC236}">
                  <a16:creationId xmlns:a16="http://schemas.microsoft.com/office/drawing/2014/main" id="{FBF87F66-C893-8872-A82F-3EE4C5AA6396}"/>
                </a:ext>
              </a:extLst>
            </p:cNvPr>
            <p:cNvSpPr>
              <a:spLocks noChangeShapeType="1"/>
            </p:cNvSpPr>
            <p:nvPr/>
          </p:nvSpPr>
          <p:spPr bwMode="auto">
            <a:xfrm flipH="1">
              <a:off x="-3783422" y="2173701"/>
              <a:ext cx="58865" cy="0"/>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6" name="Line 204">
              <a:extLst>
                <a:ext uri="{FF2B5EF4-FFF2-40B4-BE49-F238E27FC236}">
                  <a16:creationId xmlns:a16="http://schemas.microsoft.com/office/drawing/2014/main" id="{B68ED095-CE4E-300A-FEEC-1B505C0BE173}"/>
                </a:ext>
              </a:extLst>
            </p:cNvPr>
            <p:cNvSpPr>
              <a:spLocks noChangeShapeType="1"/>
            </p:cNvSpPr>
            <p:nvPr/>
          </p:nvSpPr>
          <p:spPr bwMode="auto">
            <a:xfrm>
              <a:off x="-3925065" y="2116676"/>
              <a:ext cx="0" cy="68066"/>
            </a:xfrm>
            <a:prstGeom prst="line">
              <a:avLst/>
            </a:prstGeom>
            <a:noFill/>
            <a:ln w="15875"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807" name="Group 806">
            <a:extLst>
              <a:ext uri="{FF2B5EF4-FFF2-40B4-BE49-F238E27FC236}">
                <a16:creationId xmlns:a16="http://schemas.microsoft.com/office/drawing/2014/main" id="{24FB5D07-12AC-4789-B55C-5050D58D5036}"/>
              </a:ext>
            </a:extLst>
          </p:cNvPr>
          <p:cNvGrpSpPr/>
          <p:nvPr/>
        </p:nvGrpSpPr>
        <p:grpSpPr>
          <a:xfrm>
            <a:off x="1670462" y="1854659"/>
            <a:ext cx="6648991" cy="1379760"/>
            <a:chOff x="-7066984" y="1579532"/>
            <a:chExt cx="7295584" cy="1513937"/>
          </a:xfrm>
        </p:grpSpPr>
        <p:sp>
          <p:nvSpPr>
            <p:cNvPr id="808" name="Line 51">
              <a:extLst>
                <a:ext uri="{FF2B5EF4-FFF2-40B4-BE49-F238E27FC236}">
                  <a16:creationId xmlns:a16="http://schemas.microsoft.com/office/drawing/2014/main" id="{A21E5A66-4DD9-A52C-9ECB-7A47EC88FF33}"/>
                </a:ext>
              </a:extLst>
            </p:cNvPr>
            <p:cNvSpPr>
              <a:spLocks noChangeShapeType="1"/>
            </p:cNvSpPr>
            <p:nvPr/>
          </p:nvSpPr>
          <p:spPr bwMode="auto">
            <a:xfrm flipV="1">
              <a:off x="-6691722" y="1717499"/>
              <a:ext cx="0" cy="1655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09" name="Line 52">
              <a:extLst>
                <a:ext uri="{FF2B5EF4-FFF2-40B4-BE49-F238E27FC236}">
                  <a16:creationId xmlns:a16="http://schemas.microsoft.com/office/drawing/2014/main" id="{599081FB-17C5-91F6-01BB-6F0E63C819BD}"/>
                </a:ext>
              </a:extLst>
            </p:cNvPr>
            <p:cNvSpPr>
              <a:spLocks noChangeShapeType="1"/>
            </p:cNvSpPr>
            <p:nvPr/>
          </p:nvSpPr>
          <p:spPr bwMode="auto">
            <a:xfrm>
              <a:off x="-6629177" y="1767165"/>
              <a:ext cx="0"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10" name="Line 53">
              <a:extLst>
                <a:ext uri="{FF2B5EF4-FFF2-40B4-BE49-F238E27FC236}">
                  <a16:creationId xmlns:a16="http://schemas.microsoft.com/office/drawing/2014/main" id="{9093A53E-191F-FC81-B9F5-E7C82868D4B2}"/>
                </a:ext>
              </a:extLst>
            </p:cNvPr>
            <p:cNvSpPr>
              <a:spLocks noChangeShapeType="1"/>
            </p:cNvSpPr>
            <p:nvPr/>
          </p:nvSpPr>
          <p:spPr bwMode="auto">
            <a:xfrm>
              <a:off x="-6702760" y="1706460"/>
              <a:ext cx="0"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11" name="Freeform 354">
              <a:extLst>
                <a:ext uri="{FF2B5EF4-FFF2-40B4-BE49-F238E27FC236}">
                  <a16:creationId xmlns:a16="http://schemas.microsoft.com/office/drawing/2014/main" id="{689092CC-5352-18ED-1FA3-9BD699CEF95A}"/>
                </a:ext>
              </a:extLst>
            </p:cNvPr>
            <p:cNvSpPr>
              <a:spLocks/>
            </p:cNvSpPr>
            <p:nvPr/>
          </p:nvSpPr>
          <p:spPr bwMode="auto">
            <a:xfrm>
              <a:off x="-7066984" y="1610803"/>
              <a:ext cx="7264315" cy="1451392"/>
            </a:xfrm>
            <a:custGeom>
              <a:avLst/>
              <a:gdLst>
                <a:gd name="T0" fmla="*/ 1696 w 2060"/>
                <a:gd name="T1" fmla="*/ 410 h 410"/>
                <a:gd name="T2" fmla="*/ 1631 w 2060"/>
                <a:gd name="T3" fmla="*/ 391 h 410"/>
                <a:gd name="T4" fmla="*/ 1610 w 2060"/>
                <a:gd name="T5" fmla="*/ 386 h 410"/>
                <a:gd name="T6" fmla="*/ 1596 w 2060"/>
                <a:gd name="T7" fmla="*/ 367 h 410"/>
                <a:gd name="T8" fmla="*/ 1538 w 2060"/>
                <a:gd name="T9" fmla="*/ 363 h 410"/>
                <a:gd name="T10" fmla="*/ 1504 w 2060"/>
                <a:gd name="T11" fmla="*/ 352 h 410"/>
                <a:gd name="T12" fmla="*/ 1384 w 2060"/>
                <a:gd name="T13" fmla="*/ 345 h 410"/>
                <a:gd name="T14" fmla="*/ 1364 w 2060"/>
                <a:gd name="T15" fmla="*/ 335 h 410"/>
                <a:gd name="T16" fmla="*/ 1283 w 2060"/>
                <a:gd name="T17" fmla="*/ 331 h 410"/>
                <a:gd name="T18" fmla="*/ 1265 w 2060"/>
                <a:gd name="T19" fmla="*/ 324 h 410"/>
                <a:gd name="T20" fmla="*/ 1174 w 2060"/>
                <a:gd name="T21" fmla="*/ 318 h 410"/>
                <a:gd name="T22" fmla="*/ 1148 w 2060"/>
                <a:gd name="T23" fmla="*/ 315 h 410"/>
                <a:gd name="T24" fmla="*/ 1123 w 2060"/>
                <a:gd name="T25" fmla="*/ 305 h 410"/>
                <a:gd name="T26" fmla="*/ 1087 w 2060"/>
                <a:gd name="T27" fmla="*/ 301 h 410"/>
                <a:gd name="T28" fmla="*/ 1049 w 2060"/>
                <a:gd name="T29" fmla="*/ 296 h 410"/>
                <a:gd name="T30" fmla="*/ 1043 w 2060"/>
                <a:gd name="T31" fmla="*/ 285 h 410"/>
                <a:gd name="T32" fmla="*/ 1017 w 2060"/>
                <a:gd name="T33" fmla="*/ 279 h 410"/>
                <a:gd name="T34" fmla="*/ 1007 w 2060"/>
                <a:gd name="T35" fmla="*/ 272 h 410"/>
                <a:gd name="T36" fmla="*/ 987 w 2060"/>
                <a:gd name="T37" fmla="*/ 264 h 410"/>
                <a:gd name="T38" fmla="*/ 934 w 2060"/>
                <a:gd name="T39" fmla="*/ 259 h 410"/>
                <a:gd name="T40" fmla="*/ 927 w 2060"/>
                <a:gd name="T41" fmla="*/ 243 h 410"/>
                <a:gd name="T42" fmla="*/ 911 w 2060"/>
                <a:gd name="T43" fmla="*/ 237 h 410"/>
                <a:gd name="T44" fmla="*/ 885 w 2060"/>
                <a:gd name="T45" fmla="*/ 227 h 410"/>
                <a:gd name="T46" fmla="*/ 843 w 2060"/>
                <a:gd name="T47" fmla="*/ 223 h 410"/>
                <a:gd name="T48" fmla="*/ 818 w 2060"/>
                <a:gd name="T49" fmla="*/ 211 h 410"/>
                <a:gd name="T50" fmla="*/ 805 w 2060"/>
                <a:gd name="T51" fmla="*/ 196 h 410"/>
                <a:gd name="T52" fmla="*/ 736 w 2060"/>
                <a:gd name="T53" fmla="*/ 188 h 410"/>
                <a:gd name="T54" fmla="*/ 699 w 2060"/>
                <a:gd name="T55" fmla="*/ 183 h 410"/>
                <a:gd name="T56" fmla="*/ 682 w 2060"/>
                <a:gd name="T57" fmla="*/ 174 h 410"/>
                <a:gd name="T58" fmla="*/ 650 w 2060"/>
                <a:gd name="T59" fmla="*/ 168 h 410"/>
                <a:gd name="T60" fmla="*/ 599 w 2060"/>
                <a:gd name="T61" fmla="*/ 165 h 410"/>
                <a:gd name="T62" fmla="*/ 595 w 2060"/>
                <a:gd name="T63" fmla="*/ 152 h 410"/>
                <a:gd name="T64" fmla="*/ 573 w 2060"/>
                <a:gd name="T65" fmla="*/ 149 h 410"/>
                <a:gd name="T66" fmla="*/ 563 w 2060"/>
                <a:gd name="T67" fmla="*/ 144 h 410"/>
                <a:gd name="T68" fmla="*/ 510 w 2060"/>
                <a:gd name="T69" fmla="*/ 140 h 410"/>
                <a:gd name="T70" fmla="*/ 490 w 2060"/>
                <a:gd name="T71" fmla="*/ 133 h 410"/>
                <a:gd name="T72" fmla="*/ 476 w 2060"/>
                <a:gd name="T73" fmla="*/ 127 h 410"/>
                <a:gd name="T74" fmla="*/ 460 w 2060"/>
                <a:gd name="T75" fmla="*/ 116 h 410"/>
                <a:gd name="T76" fmla="*/ 434 w 2060"/>
                <a:gd name="T77" fmla="*/ 111 h 410"/>
                <a:gd name="T78" fmla="*/ 420 w 2060"/>
                <a:gd name="T79" fmla="*/ 106 h 410"/>
                <a:gd name="T80" fmla="*/ 410 w 2060"/>
                <a:gd name="T81" fmla="*/ 99 h 410"/>
                <a:gd name="T82" fmla="*/ 392 w 2060"/>
                <a:gd name="T83" fmla="*/ 96 h 410"/>
                <a:gd name="T84" fmla="*/ 371 w 2060"/>
                <a:gd name="T85" fmla="*/ 92 h 410"/>
                <a:gd name="T86" fmla="*/ 366 w 2060"/>
                <a:gd name="T87" fmla="*/ 83 h 410"/>
                <a:gd name="T88" fmla="*/ 276 w 2060"/>
                <a:gd name="T89" fmla="*/ 74 h 410"/>
                <a:gd name="T90" fmla="*/ 259 w 2060"/>
                <a:gd name="T91" fmla="*/ 62 h 410"/>
                <a:gd name="T92" fmla="*/ 245 w 2060"/>
                <a:gd name="T93" fmla="*/ 57 h 410"/>
                <a:gd name="T94" fmla="*/ 188 w 2060"/>
                <a:gd name="T95" fmla="*/ 46 h 410"/>
                <a:gd name="T96" fmla="*/ 142 w 2060"/>
                <a:gd name="T97" fmla="*/ 41 h 410"/>
                <a:gd name="T98" fmla="*/ 136 w 2060"/>
                <a:gd name="T99" fmla="*/ 31 h 410"/>
                <a:gd name="T100" fmla="*/ 111 w 2060"/>
                <a:gd name="T101" fmla="*/ 27 h 410"/>
                <a:gd name="T102" fmla="*/ 92 w 2060"/>
                <a:gd name="T103" fmla="*/ 17 h 410"/>
                <a:gd name="T104" fmla="*/ 34 w 2060"/>
                <a:gd name="T105" fmla="*/ 12 h 410"/>
                <a:gd name="T106" fmla="*/ 24 w 2060"/>
                <a:gd name="T107"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0" h="410">
                  <a:moveTo>
                    <a:pt x="2060" y="410"/>
                  </a:moveTo>
                  <a:cubicBezTo>
                    <a:pt x="1823" y="410"/>
                    <a:pt x="1823" y="410"/>
                    <a:pt x="1823" y="410"/>
                  </a:cubicBezTo>
                  <a:cubicBezTo>
                    <a:pt x="1696" y="410"/>
                    <a:pt x="1696" y="410"/>
                    <a:pt x="1696" y="410"/>
                  </a:cubicBezTo>
                  <a:cubicBezTo>
                    <a:pt x="1696" y="398"/>
                    <a:pt x="1696" y="398"/>
                    <a:pt x="1696" y="398"/>
                  </a:cubicBezTo>
                  <a:cubicBezTo>
                    <a:pt x="1631" y="398"/>
                    <a:pt x="1631" y="398"/>
                    <a:pt x="1631" y="398"/>
                  </a:cubicBezTo>
                  <a:cubicBezTo>
                    <a:pt x="1631" y="391"/>
                    <a:pt x="1631" y="391"/>
                    <a:pt x="1631" y="391"/>
                  </a:cubicBezTo>
                  <a:cubicBezTo>
                    <a:pt x="1622" y="391"/>
                    <a:pt x="1622" y="391"/>
                    <a:pt x="1622" y="391"/>
                  </a:cubicBezTo>
                  <a:cubicBezTo>
                    <a:pt x="1622" y="386"/>
                    <a:pt x="1622" y="386"/>
                    <a:pt x="1622" y="386"/>
                  </a:cubicBezTo>
                  <a:cubicBezTo>
                    <a:pt x="1610" y="386"/>
                    <a:pt x="1610" y="386"/>
                    <a:pt x="1610" y="386"/>
                  </a:cubicBezTo>
                  <a:cubicBezTo>
                    <a:pt x="1610" y="372"/>
                    <a:pt x="1610" y="372"/>
                    <a:pt x="1610" y="372"/>
                  </a:cubicBezTo>
                  <a:cubicBezTo>
                    <a:pt x="1596" y="372"/>
                    <a:pt x="1596" y="372"/>
                    <a:pt x="1596" y="372"/>
                  </a:cubicBezTo>
                  <a:cubicBezTo>
                    <a:pt x="1596" y="367"/>
                    <a:pt x="1596" y="367"/>
                    <a:pt x="1596" y="367"/>
                  </a:cubicBezTo>
                  <a:cubicBezTo>
                    <a:pt x="1572" y="367"/>
                    <a:pt x="1572" y="367"/>
                    <a:pt x="1572" y="367"/>
                  </a:cubicBezTo>
                  <a:cubicBezTo>
                    <a:pt x="1572" y="363"/>
                    <a:pt x="1572" y="363"/>
                    <a:pt x="1572" y="363"/>
                  </a:cubicBezTo>
                  <a:cubicBezTo>
                    <a:pt x="1538" y="363"/>
                    <a:pt x="1538" y="363"/>
                    <a:pt x="1538" y="363"/>
                  </a:cubicBezTo>
                  <a:cubicBezTo>
                    <a:pt x="1538" y="357"/>
                    <a:pt x="1538" y="357"/>
                    <a:pt x="1538" y="357"/>
                  </a:cubicBezTo>
                  <a:cubicBezTo>
                    <a:pt x="1504" y="357"/>
                    <a:pt x="1504" y="357"/>
                    <a:pt x="1504" y="357"/>
                  </a:cubicBezTo>
                  <a:cubicBezTo>
                    <a:pt x="1504" y="352"/>
                    <a:pt x="1504" y="352"/>
                    <a:pt x="1504" y="352"/>
                  </a:cubicBezTo>
                  <a:cubicBezTo>
                    <a:pt x="1391" y="352"/>
                    <a:pt x="1391" y="352"/>
                    <a:pt x="1391" y="352"/>
                  </a:cubicBezTo>
                  <a:cubicBezTo>
                    <a:pt x="1391" y="345"/>
                    <a:pt x="1391" y="345"/>
                    <a:pt x="1391" y="345"/>
                  </a:cubicBezTo>
                  <a:cubicBezTo>
                    <a:pt x="1384" y="345"/>
                    <a:pt x="1384" y="345"/>
                    <a:pt x="1384" y="345"/>
                  </a:cubicBezTo>
                  <a:cubicBezTo>
                    <a:pt x="1384" y="339"/>
                    <a:pt x="1384" y="339"/>
                    <a:pt x="1384" y="339"/>
                  </a:cubicBezTo>
                  <a:cubicBezTo>
                    <a:pt x="1364" y="339"/>
                    <a:pt x="1364" y="339"/>
                    <a:pt x="1364" y="339"/>
                  </a:cubicBezTo>
                  <a:cubicBezTo>
                    <a:pt x="1364" y="335"/>
                    <a:pt x="1364" y="335"/>
                    <a:pt x="1364" y="335"/>
                  </a:cubicBezTo>
                  <a:cubicBezTo>
                    <a:pt x="1295" y="335"/>
                    <a:pt x="1295" y="335"/>
                    <a:pt x="1295" y="335"/>
                  </a:cubicBezTo>
                  <a:cubicBezTo>
                    <a:pt x="1295" y="331"/>
                    <a:pt x="1295" y="331"/>
                    <a:pt x="1295" y="331"/>
                  </a:cubicBezTo>
                  <a:cubicBezTo>
                    <a:pt x="1283" y="331"/>
                    <a:pt x="1283" y="331"/>
                    <a:pt x="1283" y="331"/>
                  </a:cubicBezTo>
                  <a:cubicBezTo>
                    <a:pt x="1283" y="327"/>
                    <a:pt x="1283" y="327"/>
                    <a:pt x="1283" y="327"/>
                  </a:cubicBezTo>
                  <a:cubicBezTo>
                    <a:pt x="1265" y="327"/>
                    <a:pt x="1265" y="327"/>
                    <a:pt x="1265" y="327"/>
                  </a:cubicBezTo>
                  <a:cubicBezTo>
                    <a:pt x="1265" y="324"/>
                    <a:pt x="1265" y="324"/>
                    <a:pt x="1265" y="324"/>
                  </a:cubicBezTo>
                  <a:cubicBezTo>
                    <a:pt x="1217" y="324"/>
                    <a:pt x="1217" y="324"/>
                    <a:pt x="1217" y="324"/>
                  </a:cubicBezTo>
                  <a:cubicBezTo>
                    <a:pt x="1174" y="324"/>
                    <a:pt x="1174" y="324"/>
                    <a:pt x="1174" y="324"/>
                  </a:cubicBezTo>
                  <a:cubicBezTo>
                    <a:pt x="1174" y="318"/>
                    <a:pt x="1174" y="318"/>
                    <a:pt x="1174" y="318"/>
                  </a:cubicBezTo>
                  <a:cubicBezTo>
                    <a:pt x="1159" y="318"/>
                    <a:pt x="1159" y="318"/>
                    <a:pt x="1159" y="318"/>
                  </a:cubicBezTo>
                  <a:cubicBezTo>
                    <a:pt x="1159" y="315"/>
                    <a:pt x="1159" y="315"/>
                    <a:pt x="1159" y="315"/>
                  </a:cubicBezTo>
                  <a:cubicBezTo>
                    <a:pt x="1148" y="315"/>
                    <a:pt x="1148" y="315"/>
                    <a:pt x="1148" y="315"/>
                  </a:cubicBezTo>
                  <a:cubicBezTo>
                    <a:pt x="1148" y="311"/>
                    <a:pt x="1148" y="311"/>
                    <a:pt x="1148" y="311"/>
                  </a:cubicBezTo>
                  <a:cubicBezTo>
                    <a:pt x="1123" y="311"/>
                    <a:pt x="1123" y="311"/>
                    <a:pt x="1123" y="311"/>
                  </a:cubicBezTo>
                  <a:cubicBezTo>
                    <a:pt x="1123" y="305"/>
                    <a:pt x="1123" y="305"/>
                    <a:pt x="1123" y="305"/>
                  </a:cubicBezTo>
                  <a:cubicBezTo>
                    <a:pt x="1106" y="305"/>
                    <a:pt x="1106" y="305"/>
                    <a:pt x="1106" y="305"/>
                  </a:cubicBezTo>
                  <a:cubicBezTo>
                    <a:pt x="1106" y="301"/>
                    <a:pt x="1106" y="301"/>
                    <a:pt x="1106" y="301"/>
                  </a:cubicBezTo>
                  <a:cubicBezTo>
                    <a:pt x="1087" y="301"/>
                    <a:pt x="1087" y="301"/>
                    <a:pt x="1087" y="301"/>
                  </a:cubicBezTo>
                  <a:cubicBezTo>
                    <a:pt x="1087" y="296"/>
                    <a:pt x="1087" y="296"/>
                    <a:pt x="1087" y="296"/>
                  </a:cubicBezTo>
                  <a:cubicBezTo>
                    <a:pt x="1058" y="296"/>
                    <a:pt x="1058" y="296"/>
                    <a:pt x="1058" y="296"/>
                  </a:cubicBezTo>
                  <a:cubicBezTo>
                    <a:pt x="1049" y="296"/>
                    <a:pt x="1049" y="296"/>
                    <a:pt x="1049" y="296"/>
                  </a:cubicBezTo>
                  <a:cubicBezTo>
                    <a:pt x="1049" y="292"/>
                    <a:pt x="1049" y="292"/>
                    <a:pt x="1049" y="292"/>
                  </a:cubicBezTo>
                  <a:cubicBezTo>
                    <a:pt x="1043" y="292"/>
                    <a:pt x="1043" y="292"/>
                    <a:pt x="1043" y="292"/>
                  </a:cubicBezTo>
                  <a:cubicBezTo>
                    <a:pt x="1043" y="285"/>
                    <a:pt x="1043" y="285"/>
                    <a:pt x="1043" y="285"/>
                  </a:cubicBezTo>
                  <a:cubicBezTo>
                    <a:pt x="1026" y="285"/>
                    <a:pt x="1026" y="285"/>
                    <a:pt x="1026" y="285"/>
                  </a:cubicBezTo>
                  <a:cubicBezTo>
                    <a:pt x="1026" y="279"/>
                    <a:pt x="1026" y="279"/>
                    <a:pt x="1026" y="279"/>
                  </a:cubicBezTo>
                  <a:cubicBezTo>
                    <a:pt x="1017" y="279"/>
                    <a:pt x="1017" y="279"/>
                    <a:pt x="1017" y="279"/>
                  </a:cubicBezTo>
                  <a:cubicBezTo>
                    <a:pt x="1017" y="275"/>
                    <a:pt x="1017" y="275"/>
                    <a:pt x="1017" y="275"/>
                  </a:cubicBezTo>
                  <a:cubicBezTo>
                    <a:pt x="1007" y="275"/>
                    <a:pt x="1007" y="275"/>
                    <a:pt x="1007" y="275"/>
                  </a:cubicBezTo>
                  <a:cubicBezTo>
                    <a:pt x="1007" y="272"/>
                    <a:pt x="1007" y="272"/>
                    <a:pt x="1007" y="272"/>
                  </a:cubicBezTo>
                  <a:cubicBezTo>
                    <a:pt x="991" y="272"/>
                    <a:pt x="991" y="272"/>
                    <a:pt x="991" y="272"/>
                  </a:cubicBezTo>
                  <a:cubicBezTo>
                    <a:pt x="987" y="272"/>
                    <a:pt x="987" y="272"/>
                    <a:pt x="987" y="272"/>
                  </a:cubicBezTo>
                  <a:cubicBezTo>
                    <a:pt x="987" y="264"/>
                    <a:pt x="987" y="264"/>
                    <a:pt x="987" y="264"/>
                  </a:cubicBezTo>
                  <a:cubicBezTo>
                    <a:pt x="964" y="264"/>
                    <a:pt x="964" y="264"/>
                    <a:pt x="964" y="264"/>
                  </a:cubicBezTo>
                  <a:cubicBezTo>
                    <a:pt x="964" y="259"/>
                    <a:pt x="964" y="259"/>
                    <a:pt x="964" y="259"/>
                  </a:cubicBezTo>
                  <a:cubicBezTo>
                    <a:pt x="934" y="259"/>
                    <a:pt x="934" y="259"/>
                    <a:pt x="934" y="259"/>
                  </a:cubicBezTo>
                  <a:cubicBezTo>
                    <a:pt x="934" y="251"/>
                    <a:pt x="934" y="251"/>
                    <a:pt x="934" y="251"/>
                  </a:cubicBezTo>
                  <a:cubicBezTo>
                    <a:pt x="927" y="251"/>
                    <a:pt x="927" y="251"/>
                    <a:pt x="927" y="251"/>
                  </a:cubicBezTo>
                  <a:cubicBezTo>
                    <a:pt x="927" y="243"/>
                    <a:pt x="927" y="243"/>
                    <a:pt x="927" y="243"/>
                  </a:cubicBezTo>
                  <a:cubicBezTo>
                    <a:pt x="916" y="243"/>
                    <a:pt x="916" y="243"/>
                    <a:pt x="916" y="243"/>
                  </a:cubicBezTo>
                  <a:cubicBezTo>
                    <a:pt x="916" y="237"/>
                    <a:pt x="916" y="237"/>
                    <a:pt x="916" y="237"/>
                  </a:cubicBezTo>
                  <a:cubicBezTo>
                    <a:pt x="911" y="237"/>
                    <a:pt x="911" y="237"/>
                    <a:pt x="911" y="237"/>
                  </a:cubicBezTo>
                  <a:cubicBezTo>
                    <a:pt x="911" y="231"/>
                    <a:pt x="911" y="231"/>
                    <a:pt x="911" y="231"/>
                  </a:cubicBezTo>
                  <a:cubicBezTo>
                    <a:pt x="885" y="231"/>
                    <a:pt x="885" y="231"/>
                    <a:pt x="885" y="231"/>
                  </a:cubicBezTo>
                  <a:cubicBezTo>
                    <a:pt x="885" y="227"/>
                    <a:pt x="885" y="227"/>
                    <a:pt x="885" y="227"/>
                  </a:cubicBezTo>
                  <a:cubicBezTo>
                    <a:pt x="872" y="227"/>
                    <a:pt x="872" y="227"/>
                    <a:pt x="872" y="227"/>
                  </a:cubicBezTo>
                  <a:cubicBezTo>
                    <a:pt x="872" y="223"/>
                    <a:pt x="872" y="223"/>
                    <a:pt x="872" y="223"/>
                  </a:cubicBezTo>
                  <a:cubicBezTo>
                    <a:pt x="843" y="223"/>
                    <a:pt x="843" y="223"/>
                    <a:pt x="843" y="223"/>
                  </a:cubicBezTo>
                  <a:cubicBezTo>
                    <a:pt x="843" y="223"/>
                    <a:pt x="845" y="220"/>
                    <a:pt x="843" y="220"/>
                  </a:cubicBezTo>
                  <a:cubicBezTo>
                    <a:pt x="842" y="220"/>
                    <a:pt x="818" y="220"/>
                    <a:pt x="818" y="220"/>
                  </a:cubicBezTo>
                  <a:cubicBezTo>
                    <a:pt x="818" y="211"/>
                    <a:pt x="818" y="211"/>
                    <a:pt x="818" y="211"/>
                  </a:cubicBezTo>
                  <a:cubicBezTo>
                    <a:pt x="811" y="211"/>
                    <a:pt x="811" y="211"/>
                    <a:pt x="811" y="211"/>
                  </a:cubicBezTo>
                  <a:cubicBezTo>
                    <a:pt x="811" y="196"/>
                    <a:pt x="811" y="196"/>
                    <a:pt x="811" y="196"/>
                  </a:cubicBezTo>
                  <a:cubicBezTo>
                    <a:pt x="805" y="196"/>
                    <a:pt x="805" y="196"/>
                    <a:pt x="805" y="196"/>
                  </a:cubicBezTo>
                  <a:cubicBezTo>
                    <a:pt x="805" y="193"/>
                    <a:pt x="805" y="193"/>
                    <a:pt x="805" y="193"/>
                  </a:cubicBezTo>
                  <a:cubicBezTo>
                    <a:pt x="736" y="193"/>
                    <a:pt x="736" y="193"/>
                    <a:pt x="736" y="193"/>
                  </a:cubicBezTo>
                  <a:cubicBezTo>
                    <a:pt x="736" y="188"/>
                    <a:pt x="736" y="188"/>
                    <a:pt x="736" y="188"/>
                  </a:cubicBezTo>
                  <a:cubicBezTo>
                    <a:pt x="706" y="188"/>
                    <a:pt x="706" y="188"/>
                    <a:pt x="706" y="188"/>
                  </a:cubicBezTo>
                  <a:cubicBezTo>
                    <a:pt x="706" y="183"/>
                    <a:pt x="706" y="183"/>
                    <a:pt x="706" y="183"/>
                  </a:cubicBezTo>
                  <a:cubicBezTo>
                    <a:pt x="699" y="183"/>
                    <a:pt x="699" y="183"/>
                    <a:pt x="699" y="183"/>
                  </a:cubicBezTo>
                  <a:cubicBezTo>
                    <a:pt x="699" y="177"/>
                    <a:pt x="699" y="177"/>
                    <a:pt x="699" y="177"/>
                  </a:cubicBezTo>
                  <a:cubicBezTo>
                    <a:pt x="682" y="177"/>
                    <a:pt x="682" y="177"/>
                    <a:pt x="682" y="177"/>
                  </a:cubicBezTo>
                  <a:cubicBezTo>
                    <a:pt x="682" y="174"/>
                    <a:pt x="682" y="174"/>
                    <a:pt x="682" y="174"/>
                  </a:cubicBezTo>
                  <a:cubicBezTo>
                    <a:pt x="663" y="174"/>
                    <a:pt x="663" y="174"/>
                    <a:pt x="663" y="174"/>
                  </a:cubicBezTo>
                  <a:cubicBezTo>
                    <a:pt x="663" y="168"/>
                    <a:pt x="663" y="168"/>
                    <a:pt x="663" y="168"/>
                  </a:cubicBezTo>
                  <a:cubicBezTo>
                    <a:pt x="650" y="168"/>
                    <a:pt x="650" y="168"/>
                    <a:pt x="650" y="168"/>
                  </a:cubicBezTo>
                  <a:cubicBezTo>
                    <a:pt x="650" y="165"/>
                    <a:pt x="650" y="165"/>
                    <a:pt x="650" y="165"/>
                  </a:cubicBezTo>
                  <a:cubicBezTo>
                    <a:pt x="620" y="165"/>
                    <a:pt x="620" y="165"/>
                    <a:pt x="620" y="165"/>
                  </a:cubicBezTo>
                  <a:cubicBezTo>
                    <a:pt x="599" y="165"/>
                    <a:pt x="599" y="165"/>
                    <a:pt x="599" y="165"/>
                  </a:cubicBezTo>
                  <a:cubicBezTo>
                    <a:pt x="599" y="158"/>
                    <a:pt x="599" y="158"/>
                    <a:pt x="599" y="158"/>
                  </a:cubicBezTo>
                  <a:cubicBezTo>
                    <a:pt x="595" y="158"/>
                    <a:pt x="595" y="158"/>
                    <a:pt x="595" y="158"/>
                  </a:cubicBezTo>
                  <a:cubicBezTo>
                    <a:pt x="595" y="152"/>
                    <a:pt x="595" y="152"/>
                    <a:pt x="595" y="152"/>
                  </a:cubicBezTo>
                  <a:cubicBezTo>
                    <a:pt x="583" y="152"/>
                    <a:pt x="583" y="152"/>
                    <a:pt x="583" y="152"/>
                  </a:cubicBezTo>
                  <a:cubicBezTo>
                    <a:pt x="583" y="149"/>
                    <a:pt x="583" y="149"/>
                    <a:pt x="583" y="149"/>
                  </a:cubicBezTo>
                  <a:cubicBezTo>
                    <a:pt x="573" y="149"/>
                    <a:pt x="573" y="149"/>
                    <a:pt x="573" y="149"/>
                  </a:cubicBezTo>
                  <a:cubicBezTo>
                    <a:pt x="573" y="146"/>
                    <a:pt x="573" y="146"/>
                    <a:pt x="573" y="146"/>
                  </a:cubicBezTo>
                  <a:cubicBezTo>
                    <a:pt x="563" y="146"/>
                    <a:pt x="563" y="146"/>
                    <a:pt x="563" y="146"/>
                  </a:cubicBezTo>
                  <a:cubicBezTo>
                    <a:pt x="563" y="144"/>
                    <a:pt x="563" y="144"/>
                    <a:pt x="563" y="144"/>
                  </a:cubicBezTo>
                  <a:cubicBezTo>
                    <a:pt x="533" y="144"/>
                    <a:pt x="533" y="144"/>
                    <a:pt x="533" y="144"/>
                  </a:cubicBezTo>
                  <a:cubicBezTo>
                    <a:pt x="533" y="144"/>
                    <a:pt x="535" y="140"/>
                    <a:pt x="533" y="140"/>
                  </a:cubicBezTo>
                  <a:cubicBezTo>
                    <a:pt x="532" y="140"/>
                    <a:pt x="510" y="140"/>
                    <a:pt x="510" y="140"/>
                  </a:cubicBezTo>
                  <a:cubicBezTo>
                    <a:pt x="510" y="136"/>
                    <a:pt x="510" y="136"/>
                    <a:pt x="510" y="136"/>
                  </a:cubicBezTo>
                  <a:cubicBezTo>
                    <a:pt x="490" y="136"/>
                    <a:pt x="490" y="136"/>
                    <a:pt x="490" y="136"/>
                  </a:cubicBezTo>
                  <a:cubicBezTo>
                    <a:pt x="490" y="133"/>
                    <a:pt x="490" y="133"/>
                    <a:pt x="490" y="133"/>
                  </a:cubicBezTo>
                  <a:cubicBezTo>
                    <a:pt x="482" y="133"/>
                    <a:pt x="482" y="133"/>
                    <a:pt x="482" y="133"/>
                  </a:cubicBezTo>
                  <a:cubicBezTo>
                    <a:pt x="482" y="127"/>
                    <a:pt x="482" y="127"/>
                    <a:pt x="482" y="127"/>
                  </a:cubicBezTo>
                  <a:cubicBezTo>
                    <a:pt x="476" y="127"/>
                    <a:pt x="476" y="127"/>
                    <a:pt x="476" y="127"/>
                  </a:cubicBezTo>
                  <a:cubicBezTo>
                    <a:pt x="476" y="119"/>
                    <a:pt x="476" y="119"/>
                    <a:pt x="476" y="119"/>
                  </a:cubicBezTo>
                  <a:cubicBezTo>
                    <a:pt x="460" y="119"/>
                    <a:pt x="460" y="119"/>
                    <a:pt x="460" y="119"/>
                  </a:cubicBezTo>
                  <a:cubicBezTo>
                    <a:pt x="460" y="116"/>
                    <a:pt x="460" y="116"/>
                    <a:pt x="460" y="116"/>
                  </a:cubicBezTo>
                  <a:cubicBezTo>
                    <a:pt x="454" y="116"/>
                    <a:pt x="454" y="116"/>
                    <a:pt x="454" y="116"/>
                  </a:cubicBezTo>
                  <a:cubicBezTo>
                    <a:pt x="454" y="111"/>
                    <a:pt x="454" y="111"/>
                    <a:pt x="454" y="111"/>
                  </a:cubicBezTo>
                  <a:cubicBezTo>
                    <a:pt x="434" y="111"/>
                    <a:pt x="434" y="111"/>
                    <a:pt x="434" y="111"/>
                  </a:cubicBezTo>
                  <a:cubicBezTo>
                    <a:pt x="427" y="111"/>
                    <a:pt x="427" y="111"/>
                    <a:pt x="427" y="111"/>
                  </a:cubicBezTo>
                  <a:cubicBezTo>
                    <a:pt x="427" y="106"/>
                    <a:pt x="427" y="106"/>
                    <a:pt x="427" y="106"/>
                  </a:cubicBezTo>
                  <a:cubicBezTo>
                    <a:pt x="420" y="106"/>
                    <a:pt x="420" y="106"/>
                    <a:pt x="420" y="106"/>
                  </a:cubicBezTo>
                  <a:cubicBezTo>
                    <a:pt x="420" y="102"/>
                    <a:pt x="420" y="102"/>
                    <a:pt x="420" y="102"/>
                  </a:cubicBezTo>
                  <a:cubicBezTo>
                    <a:pt x="410" y="102"/>
                    <a:pt x="410" y="102"/>
                    <a:pt x="410" y="102"/>
                  </a:cubicBezTo>
                  <a:cubicBezTo>
                    <a:pt x="410" y="99"/>
                    <a:pt x="410" y="99"/>
                    <a:pt x="410" y="99"/>
                  </a:cubicBezTo>
                  <a:cubicBezTo>
                    <a:pt x="400" y="99"/>
                    <a:pt x="400" y="99"/>
                    <a:pt x="400" y="99"/>
                  </a:cubicBezTo>
                  <a:cubicBezTo>
                    <a:pt x="400" y="96"/>
                    <a:pt x="400" y="96"/>
                    <a:pt x="400" y="96"/>
                  </a:cubicBezTo>
                  <a:cubicBezTo>
                    <a:pt x="392" y="96"/>
                    <a:pt x="392" y="96"/>
                    <a:pt x="392" y="96"/>
                  </a:cubicBezTo>
                  <a:cubicBezTo>
                    <a:pt x="392" y="92"/>
                    <a:pt x="392" y="92"/>
                    <a:pt x="392" y="92"/>
                  </a:cubicBezTo>
                  <a:cubicBezTo>
                    <a:pt x="378" y="92"/>
                    <a:pt x="378" y="92"/>
                    <a:pt x="378" y="92"/>
                  </a:cubicBezTo>
                  <a:cubicBezTo>
                    <a:pt x="371" y="92"/>
                    <a:pt x="371" y="92"/>
                    <a:pt x="371" y="92"/>
                  </a:cubicBezTo>
                  <a:cubicBezTo>
                    <a:pt x="371" y="87"/>
                    <a:pt x="371" y="87"/>
                    <a:pt x="371" y="87"/>
                  </a:cubicBezTo>
                  <a:cubicBezTo>
                    <a:pt x="366" y="87"/>
                    <a:pt x="366" y="87"/>
                    <a:pt x="366" y="87"/>
                  </a:cubicBezTo>
                  <a:cubicBezTo>
                    <a:pt x="366" y="83"/>
                    <a:pt x="366" y="83"/>
                    <a:pt x="366" y="83"/>
                  </a:cubicBezTo>
                  <a:cubicBezTo>
                    <a:pt x="362" y="83"/>
                    <a:pt x="362" y="83"/>
                    <a:pt x="362" y="83"/>
                  </a:cubicBezTo>
                  <a:cubicBezTo>
                    <a:pt x="362" y="74"/>
                    <a:pt x="362" y="74"/>
                    <a:pt x="362" y="74"/>
                  </a:cubicBezTo>
                  <a:cubicBezTo>
                    <a:pt x="276" y="74"/>
                    <a:pt x="276" y="74"/>
                    <a:pt x="276" y="74"/>
                  </a:cubicBezTo>
                  <a:cubicBezTo>
                    <a:pt x="276" y="68"/>
                    <a:pt x="276" y="68"/>
                    <a:pt x="276" y="68"/>
                  </a:cubicBezTo>
                  <a:cubicBezTo>
                    <a:pt x="259" y="68"/>
                    <a:pt x="259" y="68"/>
                    <a:pt x="259" y="68"/>
                  </a:cubicBezTo>
                  <a:cubicBezTo>
                    <a:pt x="259" y="62"/>
                    <a:pt x="259" y="62"/>
                    <a:pt x="259" y="62"/>
                  </a:cubicBezTo>
                  <a:cubicBezTo>
                    <a:pt x="252" y="62"/>
                    <a:pt x="252" y="62"/>
                    <a:pt x="252" y="62"/>
                  </a:cubicBezTo>
                  <a:cubicBezTo>
                    <a:pt x="252" y="57"/>
                    <a:pt x="252" y="57"/>
                    <a:pt x="252" y="57"/>
                  </a:cubicBezTo>
                  <a:cubicBezTo>
                    <a:pt x="245" y="57"/>
                    <a:pt x="245" y="57"/>
                    <a:pt x="245" y="57"/>
                  </a:cubicBezTo>
                  <a:cubicBezTo>
                    <a:pt x="245" y="57"/>
                    <a:pt x="248" y="51"/>
                    <a:pt x="245" y="51"/>
                  </a:cubicBezTo>
                  <a:cubicBezTo>
                    <a:pt x="243" y="51"/>
                    <a:pt x="188" y="51"/>
                    <a:pt x="188" y="51"/>
                  </a:cubicBezTo>
                  <a:cubicBezTo>
                    <a:pt x="188" y="46"/>
                    <a:pt x="188" y="46"/>
                    <a:pt x="188" y="46"/>
                  </a:cubicBezTo>
                  <a:cubicBezTo>
                    <a:pt x="146" y="46"/>
                    <a:pt x="146" y="46"/>
                    <a:pt x="146" y="46"/>
                  </a:cubicBezTo>
                  <a:cubicBezTo>
                    <a:pt x="146" y="41"/>
                    <a:pt x="146" y="41"/>
                    <a:pt x="146" y="41"/>
                  </a:cubicBezTo>
                  <a:cubicBezTo>
                    <a:pt x="142" y="41"/>
                    <a:pt x="142" y="41"/>
                    <a:pt x="142" y="41"/>
                  </a:cubicBezTo>
                  <a:cubicBezTo>
                    <a:pt x="142" y="34"/>
                    <a:pt x="142" y="34"/>
                    <a:pt x="142" y="34"/>
                  </a:cubicBezTo>
                  <a:cubicBezTo>
                    <a:pt x="136" y="34"/>
                    <a:pt x="136" y="34"/>
                    <a:pt x="136" y="34"/>
                  </a:cubicBezTo>
                  <a:cubicBezTo>
                    <a:pt x="136" y="31"/>
                    <a:pt x="136" y="31"/>
                    <a:pt x="136" y="31"/>
                  </a:cubicBezTo>
                  <a:cubicBezTo>
                    <a:pt x="123" y="31"/>
                    <a:pt x="123" y="31"/>
                    <a:pt x="123" y="31"/>
                  </a:cubicBezTo>
                  <a:cubicBezTo>
                    <a:pt x="123" y="27"/>
                    <a:pt x="123" y="27"/>
                    <a:pt x="123" y="27"/>
                  </a:cubicBezTo>
                  <a:cubicBezTo>
                    <a:pt x="111" y="27"/>
                    <a:pt x="111" y="27"/>
                    <a:pt x="111" y="27"/>
                  </a:cubicBezTo>
                  <a:cubicBezTo>
                    <a:pt x="111" y="22"/>
                    <a:pt x="111" y="22"/>
                    <a:pt x="111" y="22"/>
                  </a:cubicBezTo>
                  <a:cubicBezTo>
                    <a:pt x="92" y="22"/>
                    <a:pt x="92" y="22"/>
                    <a:pt x="92" y="22"/>
                  </a:cubicBezTo>
                  <a:cubicBezTo>
                    <a:pt x="92" y="17"/>
                    <a:pt x="92" y="17"/>
                    <a:pt x="92" y="17"/>
                  </a:cubicBezTo>
                  <a:cubicBezTo>
                    <a:pt x="71" y="17"/>
                    <a:pt x="71" y="17"/>
                    <a:pt x="71" y="17"/>
                  </a:cubicBezTo>
                  <a:cubicBezTo>
                    <a:pt x="71" y="12"/>
                    <a:pt x="71" y="12"/>
                    <a:pt x="71" y="12"/>
                  </a:cubicBezTo>
                  <a:cubicBezTo>
                    <a:pt x="34" y="12"/>
                    <a:pt x="34" y="12"/>
                    <a:pt x="34" y="12"/>
                  </a:cubicBezTo>
                  <a:cubicBezTo>
                    <a:pt x="34" y="7"/>
                    <a:pt x="34" y="7"/>
                    <a:pt x="34" y="7"/>
                  </a:cubicBezTo>
                  <a:cubicBezTo>
                    <a:pt x="24" y="7"/>
                    <a:pt x="24" y="7"/>
                    <a:pt x="24" y="7"/>
                  </a:cubicBezTo>
                  <a:cubicBezTo>
                    <a:pt x="24" y="0"/>
                    <a:pt x="24" y="0"/>
                    <a:pt x="24" y="0"/>
                  </a:cubicBezTo>
                  <a:cubicBezTo>
                    <a:pt x="15" y="0"/>
                    <a:pt x="15" y="0"/>
                    <a:pt x="15" y="0"/>
                  </a:cubicBezTo>
                  <a:cubicBezTo>
                    <a:pt x="0" y="0"/>
                    <a:pt x="0" y="0"/>
                    <a:pt x="0" y="0"/>
                  </a:cubicBezTo>
                </a:path>
              </a:pathLst>
            </a:custGeom>
            <a:noFill/>
            <a:ln w="25400" cap="flat">
              <a:solidFill>
                <a:srgbClr val="D0006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12" name="Line 355">
              <a:extLst>
                <a:ext uri="{FF2B5EF4-FFF2-40B4-BE49-F238E27FC236}">
                  <a16:creationId xmlns:a16="http://schemas.microsoft.com/office/drawing/2014/main" id="{DB6BBF5C-55D4-2960-3BA9-B3F7E42C0457}"/>
                </a:ext>
              </a:extLst>
            </p:cNvPr>
            <p:cNvSpPr>
              <a:spLocks noChangeShapeType="1"/>
            </p:cNvSpPr>
            <p:nvPr/>
          </p:nvSpPr>
          <p:spPr bwMode="auto">
            <a:xfrm>
              <a:off x="197327"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13" name="Line 356">
              <a:extLst>
                <a:ext uri="{FF2B5EF4-FFF2-40B4-BE49-F238E27FC236}">
                  <a16:creationId xmlns:a16="http://schemas.microsoft.com/office/drawing/2014/main" id="{B8A3E7A8-026C-5027-5E15-927E629D8EF0}"/>
                </a:ext>
              </a:extLst>
            </p:cNvPr>
            <p:cNvSpPr>
              <a:spLocks noChangeShapeType="1"/>
            </p:cNvSpPr>
            <p:nvPr/>
          </p:nvSpPr>
          <p:spPr bwMode="auto">
            <a:xfrm flipH="1">
              <a:off x="164216" y="3062195"/>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14" name="Line 357">
              <a:extLst>
                <a:ext uri="{FF2B5EF4-FFF2-40B4-BE49-F238E27FC236}">
                  <a16:creationId xmlns:a16="http://schemas.microsoft.com/office/drawing/2014/main" id="{9B5119D7-4588-FBC6-20D6-0EE8CC55D2E2}"/>
                </a:ext>
              </a:extLst>
            </p:cNvPr>
            <p:cNvSpPr>
              <a:spLocks noChangeShapeType="1"/>
            </p:cNvSpPr>
            <p:nvPr/>
          </p:nvSpPr>
          <p:spPr bwMode="auto">
            <a:xfrm>
              <a:off x="175252"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15" name="Line 358">
              <a:extLst>
                <a:ext uri="{FF2B5EF4-FFF2-40B4-BE49-F238E27FC236}">
                  <a16:creationId xmlns:a16="http://schemas.microsoft.com/office/drawing/2014/main" id="{98A06E7D-14A1-5165-6B74-EE89A5F6436B}"/>
                </a:ext>
              </a:extLst>
            </p:cNvPr>
            <p:cNvSpPr>
              <a:spLocks noChangeShapeType="1"/>
            </p:cNvSpPr>
            <p:nvPr/>
          </p:nvSpPr>
          <p:spPr bwMode="auto">
            <a:xfrm flipH="1">
              <a:off x="147661" y="3062195"/>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16" name="Line 359">
              <a:extLst>
                <a:ext uri="{FF2B5EF4-FFF2-40B4-BE49-F238E27FC236}">
                  <a16:creationId xmlns:a16="http://schemas.microsoft.com/office/drawing/2014/main" id="{0A7B82D4-8962-3526-CD2E-5B7700BB774F}"/>
                </a:ext>
              </a:extLst>
            </p:cNvPr>
            <p:cNvSpPr>
              <a:spLocks noChangeShapeType="1"/>
            </p:cNvSpPr>
            <p:nvPr/>
          </p:nvSpPr>
          <p:spPr bwMode="auto">
            <a:xfrm>
              <a:off x="-225765"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17" name="Line 360">
              <a:extLst>
                <a:ext uri="{FF2B5EF4-FFF2-40B4-BE49-F238E27FC236}">
                  <a16:creationId xmlns:a16="http://schemas.microsoft.com/office/drawing/2014/main" id="{7A7DB95D-E053-BF4C-32D1-2D8C1F878220}"/>
                </a:ext>
              </a:extLst>
            </p:cNvPr>
            <p:cNvSpPr>
              <a:spLocks noChangeShapeType="1"/>
            </p:cNvSpPr>
            <p:nvPr/>
          </p:nvSpPr>
          <p:spPr bwMode="auto">
            <a:xfrm flipH="1">
              <a:off x="-255196" y="3062195"/>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18" name="Line 361">
              <a:extLst>
                <a:ext uri="{FF2B5EF4-FFF2-40B4-BE49-F238E27FC236}">
                  <a16:creationId xmlns:a16="http://schemas.microsoft.com/office/drawing/2014/main" id="{A58922A7-D357-1EDF-79E8-D3DF2A681331}"/>
                </a:ext>
              </a:extLst>
            </p:cNvPr>
            <p:cNvSpPr>
              <a:spLocks noChangeShapeType="1"/>
            </p:cNvSpPr>
            <p:nvPr/>
          </p:nvSpPr>
          <p:spPr bwMode="auto">
            <a:xfrm>
              <a:off x="-490657"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19" name="Line 362">
              <a:extLst>
                <a:ext uri="{FF2B5EF4-FFF2-40B4-BE49-F238E27FC236}">
                  <a16:creationId xmlns:a16="http://schemas.microsoft.com/office/drawing/2014/main" id="{685F824E-9D24-0274-5D4A-1B947CA18ED9}"/>
                </a:ext>
              </a:extLst>
            </p:cNvPr>
            <p:cNvSpPr>
              <a:spLocks noChangeShapeType="1"/>
            </p:cNvSpPr>
            <p:nvPr/>
          </p:nvSpPr>
          <p:spPr bwMode="auto">
            <a:xfrm flipH="1">
              <a:off x="-521926" y="3062195"/>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20" name="Line 363">
              <a:extLst>
                <a:ext uri="{FF2B5EF4-FFF2-40B4-BE49-F238E27FC236}">
                  <a16:creationId xmlns:a16="http://schemas.microsoft.com/office/drawing/2014/main" id="{7736FC51-7A2A-C7F3-6C87-AEDC45581C82}"/>
                </a:ext>
              </a:extLst>
            </p:cNvPr>
            <p:cNvSpPr>
              <a:spLocks noChangeShapeType="1"/>
            </p:cNvSpPr>
            <p:nvPr/>
          </p:nvSpPr>
          <p:spPr bwMode="auto">
            <a:xfrm>
              <a:off x="-544003"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21" name="Line 364">
              <a:extLst>
                <a:ext uri="{FF2B5EF4-FFF2-40B4-BE49-F238E27FC236}">
                  <a16:creationId xmlns:a16="http://schemas.microsoft.com/office/drawing/2014/main" id="{194ECA0A-F0B2-9B17-33BA-F6FD20262972}"/>
                </a:ext>
              </a:extLst>
            </p:cNvPr>
            <p:cNvSpPr>
              <a:spLocks noChangeShapeType="1"/>
            </p:cNvSpPr>
            <p:nvPr/>
          </p:nvSpPr>
          <p:spPr bwMode="auto">
            <a:xfrm flipH="1">
              <a:off x="-575272" y="3062195"/>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22" name="Line 365">
              <a:extLst>
                <a:ext uri="{FF2B5EF4-FFF2-40B4-BE49-F238E27FC236}">
                  <a16:creationId xmlns:a16="http://schemas.microsoft.com/office/drawing/2014/main" id="{88CD0ACF-A53B-223E-060C-77775A8DCA65}"/>
                </a:ext>
              </a:extLst>
            </p:cNvPr>
            <p:cNvSpPr>
              <a:spLocks noChangeShapeType="1"/>
            </p:cNvSpPr>
            <p:nvPr/>
          </p:nvSpPr>
          <p:spPr bwMode="auto">
            <a:xfrm>
              <a:off x="-575277"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23" name="Line 366">
              <a:extLst>
                <a:ext uri="{FF2B5EF4-FFF2-40B4-BE49-F238E27FC236}">
                  <a16:creationId xmlns:a16="http://schemas.microsoft.com/office/drawing/2014/main" id="{A411F224-2AEE-7E15-2887-8E041B92F3B7}"/>
                </a:ext>
              </a:extLst>
            </p:cNvPr>
            <p:cNvSpPr>
              <a:spLocks noChangeShapeType="1"/>
            </p:cNvSpPr>
            <p:nvPr/>
          </p:nvSpPr>
          <p:spPr bwMode="auto">
            <a:xfrm flipH="1">
              <a:off x="-602868" y="3062195"/>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24" name="Line 367">
              <a:extLst>
                <a:ext uri="{FF2B5EF4-FFF2-40B4-BE49-F238E27FC236}">
                  <a16:creationId xmlns:a16="http://schemas.microsoft.com/office/drawing/2014/main" id="{B92B0B6A-D803-3BC3-C3E0-FBA11D6C9968}"/>
                </a:ext>
              </a:extLst>
            </p:cNvPr>
            <p:cNvSpPr>
              <a:spLocks noChangeShapeType="1"/>
            </p:cNvSpPr>
            <p:nvPr/>
          </p:nvSpPr>
          <p:spPr bwMode="auto">
            <a:xfrm>
              <a:off x="-582634"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25" name="Line 368">
              <a:extLst>
                <a:ext uri="{FF2B5EF4-FFF2-40B4-BE49-F238E27FC236}">
                  <a16:creationId xmlns:a16="http://schemas.microsoft.com/office/drawing/2014/main" id="{EDAA64A9-B329-B917-8C0D-DA24BAEF9CAF}"/>
                </a:ext>
              </a:extLst>
            </p:cNvPr>
            <p:cNvSpPr>
              <a:spLocks noChangeShapeType="1"/>
            </p:cNvSpPr>
            <p:nvPr/>
          </p:nvSpPr>
          <p:spPr bwMode="auto">
            <a:xfrm flipH="1">
              <a:off x="-613902" y="3062195"/>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26" name="Line 369">
              <a:extLst>
                <a:ext uri="{FF2B5EF4-FFF2-40B4-BE49-F238E27FC236}">
                  <a16:creationId xmlns:a16="http://schemas.microsoft.com/office/drawing/2014/main" id="{F5DBDAD0-0406-EDB5-1CDA-6CEF97A0AC7C}"/>
                </a:ext>
              </a:extLst>
            </p:cNvPr>
            <p:cNvSpPr>
              <a:spLocks noChangeShapeType="1"/>
            </p:cNvSpPr>
            <p:nvPr/>
          </p:nvSpPr>
          <p:spPr bwMode="auto">
            <a:xfrm>
              <a:off x="-593672"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27" name="Line 370">
              <a:extLst>
                <a:ext uri="{FF2B5EF4-FFF2-40B4-BE49-F238E27FC236}">
                  <a16:creationId xmlns:a16="http://schemas.microsoft.com/office/drawing/2014/main" id="{5CD154F1-1972-B2F3-3D6C-ABD5EA6A15D8}"/>
                </a:ext>
              </a:extLst>
            </p:cNvPr>
            <p:cNvSpPr>
              <a:spLocks noChangeShapeType="1"/>
            </p:cNvSpPr>
            <p:nvPr/>
          </p:nvSpPr>
          <p:spPr bwMode="auto">
            <a:xfrm flipH="1">
              <a:off x="-624941" y="3062195"/>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28" name="Line 371">
              <a:extLst>
                <a:ext uri="{FF2B5EF4-FFF2-40B4-BE49-F238E27FC236}">
                  <a16:creationId xmlns:a16="http://schemas.microsoft.com/office/drawing/2014/main" id="{FED4609E-9508-CE67-D0A3-61D4F4A5C340}"/>
                </a:ext>
              </a:extLst>
            </p:cNvPr>
            <p:cNvSpPr>
              <a:spLocks noChangeShapeType="1"/>
            </p:cNvSpPr>
            <p:nvPr/>
          </p:nvSpPr>
          <p:spPr bwMode="auto">
            <a:xfrm>
              <a:off x="-610227"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29" name="Line 372">
              <a:extLst>
                <a:ext uri="{FF2B5EF4-FFF2-40B4-BE49-F238E27FC236}">
                  <a16:creationId xmlns:a16="http://schemas.microsoft.com/office/drawing/2014/main" id="{20B365B7-2876-4F9B-CBC0-5867F91E3982}"/>
                </a:ext>
              </a:extLst>
            </p:cNvPr>
            <p:cNvSpPr>
              <a:spLocks noChangeShapeType="1"/>
            </p:cNvSpPr>
            <p:nvPr/>
          </p:nvSpPr>
          <p:spPr bwMode="auto">
            <a:xfrm flipH="1">
              <a:off x="-639658" y="3062195"/>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30" name="Line 373">
              <a:extLst>
                <a:ext uri="{FF2B5EF4-FFF2-40B4-BE49-F238E27FC236}">
                  <a16:creationId xmlns:a16="http://schemas.microsoft.com/office/drawing/2014/main" id="{EB4B2DA7-191D-FB13-04C5-AEC2F77ACEA6}"/>
                </a:ext>
              </a:extLst>
            </p:cNvPr>
            <p:cNvSpPr>
              <a:spLocks noChangeShapeType="1"/>
            </p:cNvSpPr>
            <p:nvPr/>
          </p:nvSpPr>
          <p:spPr bwMode="auto">
            <a:xfrm>
              <a:off x="-624943"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31" name="Line 374">
              <a:extLst>
                <a:ext uri="{FF2B5EF4-FFF2-40B4-BE49-F238E27FC236}">
                  <a16:creationId xmlns:a16="http://schemas.microsoft.com/office/drawing/2014/main" id="{7B31EAF7-848F-BDCE-1099-A5FC4C20165B}"/>
                </a:ext>
              </a:extLst>
            </p:cNvPr>
            <p:cNvSpPr>
              <a:spLocks noChangeShapeType="1"/>
            </p:cNvSpPr>
            <p:nvPr/>
          </p:nvSpPr>
          <p:spPr bwMode="auto">
            <a:xfrm flipH="1">
              <a:off x="-656213" y="3062195"/>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32" name="Line 375">
              <a:extLst>
                <a:ext uri="{FF2B5EF4-FFF2-40B4-BE49-F238E27FC236}">
                  <a16:creationId xmlns:a16="http://schemas.microsoft.com/office/drawing/2014/main" id="{0D1A535A-C6E3-BCF6-3372-8B047ACB50AA}"/>
                </a:ext>
              </a:extLst>
            </p:cNvPr>
            <p:cNvSpPr>
              <a:spLocks noChangeShapeType="1"/>
            </p:cNvSpPr>
            <p:nvPr/>
          </p:nvSpPr>
          <p:spPr bwMode="auto">
            <a:xfrm>
              <a:off x="-645177"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33" name="Line 376">
              <a:extLst>
                <a:ext uri="{FF2B5EF4-FFF2-40B4-BE49-F238E27FC236}">
                  <a16:creationId xmlns:a16="http://schemas.microsoft.com/office/drawing/2014/main" id="{9164F6B7-3E0C-E711-5C45-6B9766EA0E1A}"/>
                </a:ext>
              </a:extLst>
            </p:cNvPr>
            <p:cNvSpPr>
              <a:spLocks noChangeShapeType="1"/>
            </p:cNvSpPr>
            <p:nvPr/>
          </p:nvSpPr>
          <p:spPr bwMode="auto">
            <a:xfrm flipH="1">
              <a:off x="-674609" y="3062195"/>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34" name="Line 377">
              <a:extLst>
                <a:ext uri="{FF2B5EF4-FFF2-40B4-BE49-F238E27FC236}">
                  <a16:creationId xmlns:a16="http://schemas.microsoft.com/office/drawing/2014/main" id="{B6DC4158-21E5-C18F-13CC-A042A3AA926C}"/>
                </a:ext>
              </a:extLst>
            </p:cNvPr>
            <p:cNvSpPr>
              <a:spLocks noChangeShapeType="1"/>
            </p:cNvSpPr>
            <p:nvPr/>
          </p:nvSpPr>
          <p:spPr bwMode="auto">
            <a:xfrm>
              <a:off x="-648858"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35" name="Line 378">
              <a:extLst>
                <a:ext uri="{FF2B5EF4-FFF2-40B4-BE49-F238E27FC236}">
                  <a16:creationId xmlns:a16="http://schemas.microsoft.com/office/drawing/2014/main" id="{4DC54023-0B27-963B-97B7-33473CE1FEFF}"/>
                </a:ext>
              </a:extLst>
            </p:cNvPr>
            <p:cNvSpPr>
              <a:spLocks noChangeShapeType="1"/>
            </p:cNvSpPr>
            <p:nvPr/>
          </p:nvSpPr>
          <p:spPr bwMode="auto">
            <a:xfrm flipH="1">
              <a:off x="-681970" y="3062195"/>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36" name="Line 379">
              <a:extLst>
                <a:ext uri="{FF2B5EF4-FFF2-40B4-BE49-F238E27FC236}">
                  <a16:creationId xmlns:a16="http://schemas.microsoft.com/office/drawing/2014/main" id="{968343B3-5397-B1AF-21F4-A9E81EF52FD9}"/>
                </a:ext>
              </a:extLst>
            </p:cNvPr>
            <p:cNvSpPr>
              <a:spLocks noChangeShapeType="1"/>
            </p:cNvSpPr>
            <p:nvPr/>
          </p:nvSpPr>
          <p:spPr bwMode="auto">
            <a:xfrm>
              <a:off x="-656214"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37" name="Line 380">
              <a:extLst>
                <a:ext uri="{FF2B5EF4-FFF2-40B4-BE49-F238E27FC236}">
                  <a16:creationId xmlns:a16="http://schemas.microsoft.com/office/drawing/2014/main" id="{9AD6B234-E55B-3D30-22ED-ADEC670E0C5A}"/>
                </a:ext>
              </a:extLst>
            </p:cNvPr>
            <p:cNvSpPr>
              <a:spLocks noChangeShapeType="1"/>
            </p:cNvSpPr>
            <p:nvPr/>
          </p:nvSpPr>
          <p:spPr bwMode="auto">
            <a:xfrm flipH="1">
              <a:off x="-687484" y="3062195"/>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38" name="Line 381">
              <a:extLst>
                <a:ext uri="{FF2B5EF4-FFF2-40B4-BE49-F238E27FC236}">
                  <a16:creationId xmlns:a16="http://schemas.microsoft.com/office/drawing/2014/main" id="{07052B81-F33C-65E1-02D1-863ED13DB904}"/>
                </a:ext>
              </a:extLst>
            </p:cNvPr>
            <p:cNvSpPr>
              <a:spLocks noChangeShapeType="1"/>
            </p:cNvSpPr>
            <p:nvPr/>
          </p:nvSpPr>
          <p:spPr bwMode="auto">
            <a:xfrm>
              <a:off x="-663575"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39" name="Line 382">
              <a:extLst>
                <a:ext uri="{FF2B5EF4-FFF2-40B4-BE49-F238E27FC236}">
                  <a16:creationId xmlns:a16="http://schemas.microsoft.com/office/drawing/2014/main" id="{FC4D525D-43B3-7EB6-FB55-01F357A58600}"/>
                </a:ext>
              </a:extLst>
            </p:cNvPr>
            <p:cNvSpPr>
              <a:spLocks noChangeShapeType="1"/>
            </p:cNvSpPr>
            <p:nvPr/>
          </p:nvSpPr>
          <p:spPr bwMode="auto">
            <a:xfrm flipH="1">
              <a:off x="-694843" y="3062195"/>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40" name="Line 383">
              <a:extLst>
                <a:ext uri="{FF2B5EF4-FFF2-40B4-BE49-F238E27FC236}">
                  <a16:creationId xmlns:a16="http://schemas.microsoft.com/office/drawing/2014/main" id="{EC05C35B-E2FE-6E4F-D488-C7DAA5C7F382}"/>
                </a:ext>
              </a:extLst>
            </p:cNvPr>
            <p:cNvSpPr>
              <a:spLocks noChangeShapeType="1"/>
            </p:cNvSpPr>
            <p:nvPr/>
          </p:nvSpPr>
          <p:spPr bwMode="auto">
            <a:xfrm>
              <a:off x="-632302"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41" name="Line 384">
              <a:extLst>
                <a:ext uri="{FF2B5EF4-FFF2-40B4-BE49-F238E27FC236}">
                  <a16:creationId xmlns:a16="http://schemas.microsoft.com/office/drawing/2014/main" id="{458029AE-D708-FF8E-F6F1-7C7DF22E8AD4}"/>
                </a:ext>
              </a:extLst>
            </p:cNvPr>
            <p:cNvSpPr>
              <a:spLocks noChangeShapeType="1"/>
            </p:cNvSpPr>
            <p:nvPr/>
          </p:nvSpPr>
          <p:spPr bwMode="auto">
            <a:xfrm flipH="1">
              <a:off x="-663573" y="3062195"/>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42" name="Line 385">
              <a:extLst>
                <a:ext uri="{FF2B5EF4-FFF2-40B4-BE49-F238E27FC236}">
                  <a16:creationId xmlns:a16="http://schemas.microsoft.com/office/drawing/2014/main" id="{4E5F9C22-D5C4-B688-C1EF-5DF6D8B62E80}"/>
                </a:ext>
              </a:extLst>
            </p:cNvPr>
            <p:cNvSpPr>
              <a:spLocks noChangeShapeType="1"/>
            </p:cNvSpPr>
            <p:nvPr/>
          </p:nvSpPr>
          <p:spPr bwMode="auto">
            <a:xfrm>
              <a:off x="-906392"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43" name="Line 386">
              <a:extLst>
                <a:ext uri="{FF2B5EF4-FFF2-40B4-BE49-F238E27FC236}">
                  <a16:creationId xmlns:a16="http://schemas.microsoft.com/office/drawing/2014/main" id="{938378BB-1F47-E8FA-E031-223C9606CA48}"/>
                </a:ext>
              </a:extLst>
            </p:cNvPr>
            <p:cNvSpPr>
              <a:spLocks noChangeShapeType="1"/>
            </p:cNvSpPr>
            <p:nvPr/>
          </p:nvSpPr>
          <p:spPr bwMode="auto">
            <a:xfrm flipH="1">
              <a:off x="-935823" y="3062195"/>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44" name="Line 387">
              <a:extLst>
                <a:ext uri="{FF2B5EF4-FFF2-40B4-BE49-F238E27FC236}">
                  <a16:creationId xmlns:a16="http://schemas.microsoft.com/office/drawing/2014/main" id="{E087B00A-3B80-69A2-43F9-357F697F6A55}"/>
                </a:ext>
              </a:extLst>
            </p:cNvPr>
            <p:cNvSpPr>
              <a:spLocks noChangeShapeType="1"/>
            </p:cNvSpPr>
            <p:nvPr/>
          </p:nvSpPr>
          <p:spPr bwMode="auto">
            <a:xfrm>
              <a:off x="-983652"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45" name="Line 388">
              <a:extLst>
                <a:ext uri="{FF2B5EF4-FFF2-40B4-BE49-F238E27FC236}">
                  <a16:creationId xmlns:a16="http://schemas.microsoft.com/office/drawing/2014/main" id="{96F59C7B-AEE7-9C05-48E8-79484B216FD2}"/>
                </a:ext>
              </a:extLst>
            </p:cNvPr>
            <p:cNvSpPr>
              <a:spLocks noChangeShapeType="1"/>
            </p:cNvSpPr>
            <p:nvPr/>
          </p:nvSpPr>
          <p:spPr bwMode="auto">
            <a:xfrm flipH="1">
              <a:off x="-1016763" y="3062195"/>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46" name="Line 389">
              <a:extLst>
                <a:ext uri="{FF2B5EF4-FFF2-40B4-BE49-F238E27FC236}">
                  <a16:creationId xmlns:a16="http://schemas.microsoft.com/office/drawing/2014/main" id="{A9919FD2-7E8D-CF37-6959-C6E8D19A1FB8}"/>
                </a:ext>
              </a:extLst>
            </p:cNvPr>
            <p:cNvSpPr>
              <a:spLocks noChangeShapeType="1"/>
            </p:cNvSpPr>
            <p:nvPr/>
          </p:nvSpPr>
          <p:spPr bwMode="auto">
            <a:xfrm>
              <a:off x="-1171285" y="298861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47" name="Line 390">
              <a:extLst>
                <a:ext uri="{FF2B5EF4-FFF2-40B4-BE49-F238E27FC236}">
                  <a16:creationId xmlns:a16="http://schemas.microsoft.com/office/drawing/2014/main" id="{A48BFEAE-F9A5-5A7D-3C2B-16CBD750689C}"/>
                </a:ext>
              </a:extLst>
            </p:cNvPr>
            <p:cNvSpPr>
              <a:spLocks noChangeShapeType="1"/>
            </p:cNvSpPr>
            <p:nvPr/>
          </p:nvSpPr>
          <p:spPr bwMode="auto">
            <a:xfrm flipH="1">
              <a:off x="-1202553" y="3019887"/>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48" name="Line 391">
              <a:extLst>
                <a:ext uri="{FF2B5EF4-FFF2-40B4-BE49-F238E27FC236}">
                  <a16:creationId xmlns:a16="http://schemas.microsoft.com/office/drawing/2014/main" id="{E85FFE43-991A-049C-C649-6C6C51361E9C}"/>
                </a:ext>
              </a:extLst>
            </p:cNvPr>
            <p:cNvSpPr>
              <a:spLocks noChangeShapeType="1"/>
            </p:cNvSpPr>
            <p:nvPr/>
          </p:nvSpPr>
          <p:spPr bwMode="auto">
            <a:xfrm>
              <a:off x="-1202556" y="298861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49" name="Line 392">
              <a:extLst>
                <a:ext uri="{FF2B5EF4-FFF2-40B4-BE49-F238E27FC236}">
                  <a16:creationId xmlns:a16="http://schemas.microsoft.com/office/drawing/2014/main" id="{8EFFBB60-8F5D-F647-D15F-CC4FF82BED03}"/>
                </a:ext>
              </a:extLst>
            </p:cNvPr>
            <p:cNvSpPr>
              <a:spLocks noChangeShapeType="1"/>
            </p:cNvSpPr>
            <p:nvPr/>
          </p:nvSpPr>
          <p:spPr bwMode="auto">
            <a:xfrm flipH="1">
              <a:off x="-1231988" y="3019887"/>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50" name="Line 393">
              <a:extLst>
                <a:ext uri="{FF2B5EF4-FFF2-40B4-BE49-F238E27FC236}">
                  <a16:creationId xmlns:a16="http://schemas.microsoft.com/office/drawing/2014/main" id="{8E0F8F14-E999-9E7A-7671-949AB01F677E}"/>
                </a:ext>
              </a:extLst>
            </p:cNvPr>
            <p:cNvSpPr>
              <a:spLocks noChangeShapeType="1"/>
            </p:cNvSpPr>
            <p:nvPr/>
          </p:nvSpPr>
          <p:spPr bwMode="auto">
            <a:xfrm>
              <a:off x="-1213593" y="298861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51" name="Line 394">
              <a:extLst>
                <a:ext uri="{FF2B5EF4-FFF2-40B4-BE49-F238E27FC236}">
                  <a16:creationId xmlns:a16="http://schemas.microsoft.com/office/drawing/2014/main" id="{4350FFCE-CBFA-9ABF-CD4C-50E0674A2092}"/>
                </a:ext>
              </a:extLst>
            </p:cNvPr>
            <p:cNvSpPr>
              <a:spLocks noChangeShapeType="1"/>
            </p:cNvSpPr>
            <p:nvPr/>
          </p:nvSpPr>
          <p:spPr bwMode="auto">
            <a:xfrm flipH="1">
              <a:off x="-1244864" y="3019887"/>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52" name="Line 395">
              <a:extLst>
                <a:ext uri="{FF2B5EF4-FFF2-40B4-BE49-F238E27FC236}">
                  <a16:creationId xmlns:a16="http://schemas.microsoft.com/office/drawing/2014/main" id="{A06EDB74-BDCC-8952-7E1C-6FB3C4C1D1FC}"/>
                </a:ext>
              </a:extLst>
            </p:cNvPr>
            <p:cNvSpPr>
              <a:spLocks noChangeShapeType="1"/>
            </p:cNvSpPr>
            <p:nvPr/>
          </p:nvSpPr>
          <p:spPr bwMode="auto">
            <a:xfrm>
              <a:off x="-1298211" y="298861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53" name="Line 396">
              <a:extLst>
                <a:ext uri="{FF2B5EF4-FFF2-40B4-BE49-F238E27FC236}">
                  <a16:creationId xmlns:a16="http://schemas.microsoft.com/office/drawing/2014/main" id="{394688D2-84BC-C879-0DE6-384C5CC72D0A}"/>
                </a:ext>
              </a:extLst>
            </p:cNvPr>
            <p:cNvSpPr>
              <a:spLocks noChangeShapeType="1"/>
            </p:cNvSpPr>
            <p:nvPr/>
          </p:nvSpPr>
          <p:spPr bwMode="auto">
            <a:xfrm flipH="1">
              <a:off x="-1329483" y="3019887"/>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54" name="Line 397">
              <a:extLst>
                <a:ext uri="{FF2B5EF4-FFF2-40B4-BE49-F238E27FC236}">
                  <a16:creationId xmlns:a16="http://schemas.microsoft.com/office/drawing/2014/main" id="{F132223F-AFF2-6BD1-18B7-F1E238972562}"/>
                </a:ext>
              </a:extLst>
            </p:cNvPr>
            <p:cNvSpPr>
              <a:spLocks noChangeShapeType="1"/>
            </p:cNvSpPr>
            <p:nvPr/>
          </p:nvSpPr>
          <p:spPr bwMode="auto">
            <a:xfrm>
              <a:off x="-1312929" y="298861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55" name="Line 398">
              <a:extLst>
                <a:ext uri="{FF2B5EF4-FFF2-40B4-BE49-F238E27FC236}">
                  <a16:creationId xmlns:a16="http://schemas.microsoft.com/office/drawing/2014/main" id="{4BDCE8F4-D851-9AFF-AB05-301373569400}"/>
                </a:ext>
              </a:extLst>
            </p:cNvPr>
            <p:cNvSpPr>
              <a:spLocks noChangeShapeType="1"/>
            </p:cNvSpPr>
            <p:nvPr/>
          </p:nvSpPr>
          <p:spPr bwMode="auto">
            <a:xfrm flipH="1">
              <a:off x="-1344200" y="3019887"/>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56" name="Line 399">
              <a:extLst>
                <a:ext uri="{FF2B5EF4-FFF2-40B4-BE49-F238E27FC236}">
                  <a16:creationId xmlns:a16="http://schemas.microsoft.com/office/drawing/2014/main" id="{ED265752-0831-9EDE-124D-C1CDEA578C9B}"/>
                </a:ext>
              </a:extLst>
            </p:cNvPr>
            <p:cNvSpPr>
              <a:spLocks noChangeShapeType="1"/>
            </p:cNvSpPr>
            <p:nvPr/>
          </p:nvSpPr>
          <p:spPr bwMode="auto">
            <a:xfrm>
              <a:off x="-1316607" y="298861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57" name="Line 400">
              <a:extLst>
                <a:ext uri="{FF2B5EF4-FFF2-40B4-BE49-F238E27FC236}">
                  <a16:creationId xmlns:a16="http://schemas.microsoft.com/office/drawing/2014/main" id="{5311C3F5-6E3B-F5E1-33EE-8CCE2B77ED4E}"/>
                </a:ext>
              </a:extLst>
            </p:cNvPr>
            <p:cNvSpPr>
              <a:spLocks noChangeShapeType="1"/>
            </p:cNvSpPr>
            <p:nvPr/>
          </p:nvSpPr>
          <p:spPr bwMode="auto">
            <a:xfrm flipH="1">
              <a:off x="-1347878" y="3019887"/>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58" name="Line 401">
              <a:extLst>
                <a:ext uri="{FF2B5EF4-FFF2-40B4-BE49-F238E27FC236}">
                  <a16:creationId xmlns:a16="http://schemas.microsoft.com/office/drawing/2014/main" id="{C68AB89D-069F-341B-977A-AAFDDC0B0B36}"/>
                </a:ext>
              </a:extLst>
            </p:cNvPr>
            <p:cNvSpPr>
              <a:spLocks noChangeShapeType="1"/>
            </p:cNvSpPr>
            <p:nvPr/>
          </p:nvSpPr>
          <p:spPr bwMode="auto">
            <a:xfrm>
              <a:off x="-1329485" y="298861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59" name="Line 402">
              <a:extLst>
                <a:ext uri="{FF2B5EF4-FFF2-40B4-BE49-F238E27FC236}">
                  <a16:creationId xmlns:a16="http://schemas.microsoft.com/office/drawing/2014/main" id="{F7DBBFD1-99A5-4827-D56D-B82C41E33F7D}"/>
                </a:ext>
              </a:extLst>
            </p:cNvPr>
            <p:cNvSpPr>
              <a:spLocks noChangeShapeType="1"/>
            </p:cNvSpPr>
            <p:nvPr/>
          </p:nvSpPr>
          <p:spPr bwMode="auto">
            <a:xfrm flipH="1">
              <a:off x="-1360754" y="3019887"/>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60" name="Line 403">
              <a:extLst>
                <a:ext uri="{FF2B5EF4-FFF2-40B4-BE49-F238E27FC236}">
                  <a16:creationId xmlns:a16="http://schemas.microsoft.com/office/drawing/2014/main" id="{EC1E78C3-823F-627A-E0A4-5D19CAE60D51}"/>
                </a:ext>
              </a:extLst>
            </p:cNvPr>
            <p:cNvSpPr>
              <a:spLocks noChangeShapeType="1"/>
            </p:cNvSpPr>
            <p:nvPr/>
          </p:nvSpPr>
          <p:spPr bwMode="auto">
            <a:xfrm>
              <a:off x="-1336842" y="298861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61" name="Line 404">
              <a:extLst>
                <a:ext uri="{FF2B5EF4-FFF2-40B4-BE49-F238E27FC236}">
                  <a16:creationId xmlns:a16="http://schemas.microsoft.com/office/drawing/2014/main" id="{65D11CCE-F09E-EDBF-B6B0-BF6C7EF58FEB}"/>
                </a:ext>
              </a:extLst>
            </p:cNvPr>
            <p:cNvSpPr>
              <a:spLocks noChangeShapeType="1"/>
            </p:cNvSpPr>
            <p:nvPr/>
          </p:nvSpPr>
          <p:spPr bwMode="auto">
            <a:xfrm flipH="1">
              <a:off x="-1368110" y="3019887"/>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62" name="Line 405">
              <a:extLst>
                <a:ext uri="{FF2B5EF4-FFF2-40B4-BE49-F238E27FC236}">
                  <a16:creationId xmlns:a16="http://schemas.microsoft.com/office/drawing/2014/main" id="{C7AC75AC-7093-D4A8-F6B5-2D10608ECF55}"/>
                </a:ext>
              </a:extLst>
            </p:cNvPr>
            <p:cNvSpPr>
              <a:spLocks noChangeShapeType="1"/>
            </p:cNvSpPr>
            <p:nvPr/>
          </p:nvSpPr>
          <p:spPr bwMode="auto">
            <a:xfrm>
              <a:off x="-1347880" y="298861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63" name="Line 407">
              <a:extLst>
                <a:ext uri="{FF2B5EF4-FFF2-40B4-BE49-F238E27FC236}">
                  <a16:creationId xmlns:a16="http://schemas.microsoft.com/office/drawing/2014/main" id="{D189C5D4-317F-40B6-3F16-32EEF03E89CE}"/>
                </a:ext>
              </a:extLst>
            </p:cNvPr>
            <p:cNvSpPr>
              <a:spLocks noChangeShapeType="1"/>
            </p:cNvSpPr>
            <p:nvPr/>
          </p:nvSpPr>
          <p:spPr bwMode="auto">
            <a:xfrm flipH="1">
              <a:off x="-1379151" y="3019887"/>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64" name="Line 408">
              <a:extLst>
                <a:ext uri="{FF2B5EF4-FFF2-40B4-BE49-F238E27FC236}">
                  <a16:creationId xmlns:a16="http://schemas.microsoft.com/office/drawing/2014/main" id="{782C1C1C-0E45-DC36-F358-96042C2F840B}"/>
                </a:ext>
              </a:extLst>
            </p:cNvPr>
            <p:cNvSpPr>
              <a:spLocks noChangeShapeType="1"/>
            </p:cNvSpPr>
            <p:nvPr/>
          </p:nvSpPr>
          <p:spPr bwMode="auto">
            <a:xfrm>
              <a:off x="-1336842" y="2959181"/>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65" name="Line 409">
              <a:extLst>
                <a:ext uri="{FF2B5EF4-FFF2-40B4-BE49-F238E27FC236}">
                  <a16:creationId xmlns:a16="http://schemas.microsoft.com/office/drawing/2014/main" id="{CB9018CB-B8FB-76D6-ED86-CC5B5B847508}"/>
                </a:ext>
              </a:extLst>
            </p:cNvPr>
            <p:cNvSpPr>
              <a:spLocks noChangeShapeType="1"/>
            </p:cNvSpPr>
            <p:nvPr/>
          </p:nvSpPr>
          <p:spPr bwMode="auto">
            <a:xfrm flipH="1">
              <a:off x="-1368112" y="2992293"/>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66" name="Line 410">
              <a:extLst>
                <a:ext uri="{FF2B5EF4-FFF2-40B4-BE49-F238E27FC236}">
                  <a16:creationId xmlns:a16="http://schemas.microsoft.com/office/drawing/2014/main" id="{12810215-0C92-B6AB-8B80-FC31DF5C795E}"/>
                </a:ext>
              </a:extLst>
            </p:cNvPr>
            <p:cNvSpPr>
              <a:spLocks noChangeShapeType="1"/>
            </p:cNvSpPr>
            <p:nvPr/>
          </p:nvSpPr>
          <p:spPr bwMode="auto">
            <a:xfrm>
              <a:off x="-1347880" y="2959181"/>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67" name="Line 411">
              <a:extLst>
                <a:ext uri="{FF2B5EF4-FFF2-40B4-BE49-F238E27FC236}">
                  <a16:creationId xmlns:a16="http://schemas.microsoft.com/office/drawing/2014/main" id="{8BB7AF41-1072-5C70-9504-B7E41E02B9A0}"/>
                </a:ext>
              </a:extLst>
            </p:cNvPr>
            <p:cNvSpPr>
              <a:spLocks noChangeShapeType="1"/>
            </p:cNvSpPr>
            <p:nvPr/>
          </p:nvSpPr>
          <p:spPr bwMode="auto">
            <a:xfrm flipH="1">
              <a:off x="-1379151" y="2992293"/>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68" name="Line 412">
              <a:extLst>
                <a:ext uri="{FF2B5EF4-FFF2-40B4-BE49-F238E27FC236}">
                  <a16:creationId xmlns:a16="http://schemas.microsoft.com/office/drawing/2014/main" id="{D8882AA6-5BA8-FD21-7CD5-3B0AF517504B}"/>
                </a:ext>
              </a:extLst>
            </p:cNvPr>
            <p:cNvSpPr>
              <a:spLocks noChangeShapeType="1"/>
            </p:cNvSpPr>
            <p:nvPr/>
          </p:nvSpPr>
          <p:spPr bwMode="auto">
            <a:xfrm>
              <a:off x="-1360758" y="2959181"/>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69" name="Line 413">
              <a:extLst>
                <a:ext uri="{FF2B5EF4-FFF2-40B4-BE49-F238E27FC236}">
                  <a16:creationId xmlns:a16="http://schemas.microsoft.com/office/drawing/2014/main" id="{1F614E9A-8313-6980-67E7-F1950758034F}"/>
                </a:ext>
              </a:extLst>
            </p:cNvPr>
            <p:cNvSpPr>
              <a:spLocks noChangeShapeType="1"/>
            </p:cNvSpPr>
            <p:nvPr/>
          </p:nvSpPr>
          <p:spPr bwMode="auto">
            <a:xfrm flipH="1">
              <a:off x="-1390189" y="2992293"/>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70" name="Line 414">
              <a:extLst>
                <a:ext uri="{FF2B5EF4-FFF2-40B4-BE49-F238E27FC236}">
                  <a16:creationId xmlns:a16="http://schemas.microsoft.com/office/drawing/2014/main" id="{3CF2E1F9-3740-A12D-46BD-37988ACE476F}"/>
                </a:ext>
              </a:extLst>
            </p:cNvPr>
            <p:cNvSpPr>
              <a:spLocks noChangeShapeType="1"/>
            </p:cNvSpPr>
            <p:nvPr/>
          </p:nvSpPr>
          <p:spPr bwMode="auto">
            <a:xfrm>
              <a:off x="-1371795" y="2959181"/>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71" name="Line 415">
              <a:extLst>
                <a:ext uri="{FF2B5EF4-FFF2-40B4-BE49-F238E27FC236}">
                  <a16:creationId xmlns:a16="http://schemas.microsoft.com/office/drawing/2014/main" id="{14AF7264-A5B0-7E2A-7D9F-D0B9F9746620}"/>
                </a:ext>
              </a:extLst>
            </p:cNvPr>
            <p:cNvSpPr>
              <a:spLocks noChangeShapeType="1"/>
            </p:cNvSpPr>
            <p:nvPr/>
          </p:nvSpPr>
          <p:spPr bwMode="auto">
            <a:xfrm flipH="1">
              <a:off x="-1403065" y="2992293"/>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72" name="Line 416">
              <a:extLst>
                <a:ext uri="{FF2B5EF4-FFF2-40B4-BE49-F238E27FC236}">
                  <a16:creationId xmlns:a16="http://schemas.microsoft.com/office/drawing/2014/main" id="{F8E6542F-D500-1D66-A367-D5B7D0E08013}"/>
                </a:ext>
              </a:extLst>
            </p:cNvPr>
            <p:cNvSpPr>
              <a:spLocks noChangeShapeType="1"/>
            </p:cNvSpPr>
            <p:nvPr/>
          </p:nvSpPr>
          <p:spPr bwMode="auto">
            <a:xfrm>
              <a:off x="-1360758" y="294262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73" name="Line 417">
              <a:extLst>
                <a:ext uri="{FF2B5EF4-FFF2-40B4-BE49-F238E27FC236}">
                  <a16:creationId xmlns:a16="http://schemas.microsoft.com/office/drawing/2014/main" id="{BAC8B6F3-BD01-D9F8-F12A-1F1AAD0BE7D0}"/>
                </a:ext>
              </a:extLst>
            </p:cNvPr>
            <p:cNvSpPr>
              <a:spLocks noChangeShapeType="1"/>
            </p:cNvSpPr>
            <p:nvPr/>
          </p:nvSpPr>
          <p:spPr bwMode="auto">
            <a:xfrm flipH="1">
              <a:off x="-1390189" y="2973896"/>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74" name="Line 418">
              <a:extLst>
                <a:ext uri="{FF2B5EF4-FFF2-40B4-BE49-F238E27FC236}">
                  <a16:creationId xmlns:a16="http://schemas.microsoft.com/office/drawing/2014/main" id="{56A26619-E86F-C63C-3791-9E8FC8D483F2}"/>
                </a:ext>
              </a:extLst>
            </p:cNvPr>
            <p:cNvSpPr>
              <a:spLocks noChangeShapeType="1"/>
            </p:cNvSpPr>
            <p:nvPr/>
          </p:nvSpPr>
          <p:spPr bwMode="auto">
            <a:xfrm>
              <a:off x="-1371795" y="294262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75" name="Line 419">
              <a:extLst>
                <a:ext uri="{FF2B5EF4-FFF2-40B4-BE49-F238E27FC236}">
                  <a16:creationId xmlns:a16="http://schemas.microsoft.com/office/drawing/2014/main" id="{41EEC085-94FC-05D7-8FB1-DE163A4E6F41}"/>
                </a:ext>
              </a:extLst>
            </p:cNvPr>
            <p:cNvSpPr>
              <a:spLocks noChangeShapeType="1"/>
            </p:cNvSpPr>
            <p:nvPr/>
          </p:nvSpPr>
          <p:spPr bwMode="auto">
            <a:xfrm flipH="1">
              <a:off x="-1403065" y="2973896"/>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76" name="Line 420">
              <a:extLst>
                <a:ext uri="{FF2B5EF4-FFF2-40B4-BE49-F238E27FC236}">
                  <a16:creationId xmlns:a16="http://schemas.microsoft.com/office/drawing/2014/main" id="{3FE7F673-D888-C9AE-56DA-671FB79B8B1F}"/>
                </a:ext>
              </a:extLst>
            </p:cNvPr>
            <p:cNvSpPr>
              <a:spLocks noChangeShapeType="1"/>
            </p:cNvSpPr>
            <p:nvPr/>
          </p:nvSpPr>
          <p:spPr bwMode="auto">
            <a:xfrm>
              <a:off x="-1386511" y="294262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77" name="Line 421">
              <a:extLst>
                <a:ext uri="{FF2B5EF4-FFF2-40B4-BE49-F238E27FC236}">
                  <a16:creationId xmlns:a16="http://schemas.microsoft.com/office/drawing/2014/main" id="{EEF69BF6-26F7-EC13-397E-B8632E62BCB8}"/>
                </a:ext>
              </a:extLst>
            </p:cNvPr>
            <p:cNvSpPr>
              <a:spLocks noChangeShapeType="1"/>
            </p:cNvSpPr>
            <p:nvPr/>
          </p:nvSpPr>
          <p:spPr bwMode="auto">
            <a:xfrm flipH="1">
              <a:off x="-1414102" y="2973896"/>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78" name="Line 422">
              <a:extLst>
                <a:ext uri="{FF2B5EF4-FFF2-40B4-BE49-F238E27FC236}">
                  <a16:creationId xmlns:a16="http://schemas.microsoft.com/office/drawing/2014/main" id="{FBA718A9-4271-7398-897D-A0D77765E652}"/>
                </a:ext>
              </a:extLst>
            </p:cNvPr>
            <p:cNvSpPr>
              <a:spLocks noChangeShapeType="1"/>
            </p:cNvSpPr>
            <p:nvPr/>
          </p:nvSpPr>
          <p:spPr bwMode="auto">
            <a:xfrm>
              <a:off x="-1397547" y="2942627"/>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79" name="Line 423">
              <a:extLst>
                <a:ext uri="{FF2B5EF4-FFF2-40B4-BE49-F238E27FC236}">
                  <a16:creationId xmlns:a16="http://schemas.microsoft.com/office/drawing/2014/main" id="{8CA72886-67C0-3BF8-987D-A98D2939B022}"/>
                </a:ext>
              </a:extLst>
            </p:cNvPr>
            <p:cNvSpPr>
              <a:spLocks noChangeShapeType="1"/>
            </p:cNvSpPr>
            <p:nvPr/>
          </p:nvSpPr>
          <p:spPr bwMode="auto">
            <a:xfrm flipH="1">
              <a:off x="-1428819" y="2973896"/>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80" name="Line 424">
              <a:extLst>
                <a:ext uri="{FF2B5EF4-FFF2-40B4-BE49-F238E27FC236}">
                  <a16:creationId xmlns:a16="http://schemas.microsoft.com/office/drawing/2014/main" id="{FB908F9E-8BC6-7068-F24E-EC314D965662}"/>
                </a:ext>
              </a:extLst>
            </p:cNvPr>
            <p:cNvSpPr>
              <a:spLocks noChangeShapeType="1"/>
            </p:cNvSpPr>
            <p:nvPr/>
          </p:nvSpPr>
          <p:spPr bwMode="auto">
            <a:xfrm>
              <a:off x="-1386511" y="2900318"/>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81" name="Line 425">
              <a:extLst>
                <a:ext uri="{FF2B5EF4-FFF2-40B4-BE49-F238E27FC236}">
                  <a16:creationId xmlns:a16="http://schemas.microsoft.com/office/drawing/2014/main" id="{69C89DC0-0D82-7DEF-17CD-1691E36D55BC}"/>
                </a:ext>
              </a:extLst>
            </p:cNvPr>
            <p:cNvSpPr>
              <a:spLocks noChangeShapeType="1"/>
            </p:cNvSpPr>
            <p:nvPr/>
          </p:nvSpPr>
          <p:spPr bwMode="auto">
            <a:xfrm flipH="1">
              <a:off x="-1414102" y="2935266"/>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82" name="Line 426">
              <a:extLst>
                <a:ext uri="{FF2B5EF4-FFF2-40B4-BE49-F238E27FC236}">
                  <a16:creationId xmlns:a16="http://schemas.microsoft.com/office/drawing/2014/main" id="{EA9110A2-6437-99FB-9907-B0518D3C1638}"/>
                </a:ext>
              </a:extLst>
            </p:cNvPr>
            <p:cNvSpPr>
              <a:spLocks noChangeShapeType="1"/>
            </p:cNvSpPr>
            <p:nvPr/>
          </p:nvSpPr>
          <p:spPr bwMode="auto">
            <a:xfrm>
              <a:off x="-1397547" y="2900318"/>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83" name="Line 427">
              <a:extLst>
                <a:ext uri="{FF2B5EF4-FFF2-40B4-BE49-F238E27FC236}">
                  <a16:creationId xmlns:a16="http://schemas.microsoft.com/office/drawing/2014/main" id="{0FC80A9D-F19C-9ECC-84DA-F39BDBA2EFDA}"/>
                </a:ext>
              </a:extLst>
            </p:cNvPr>
            <p:cNvSpPr>
              <a:spLocks noChangeShapeType="1"/>
            </p:cNvSpPr>
            <p:nvPr/>
          </p:nvSpPr>
          <p:spPr bwMode="auto">
            <a:xfrm flipH="1">
              <a:off x="-1428819" y="2935266"/>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84" name="Line 428">
              <a:extLst>
                <a:ext uri="{FF2B5EF4-FFF2-40B4-BE49-F238E27FC236}">
                  <a16:creationId xmlns:a16="http://schemas.microsoft.com/office/drawing/2014/main" id="{023EC302-27FB-AF6F-8B27-C8D2F6570693}"/>
                </a:ext>
              </a:extLst>
            </p:cNvPr>
            <p:cNvSpPr>
              <a:spLocks noChangeShapeType="1"/>
            </p:cNvSpPr>
            <p:nvPr/>
          </p:nvSpPr>
          <p:spPr bwMode="auto">
            <a:xfrm>
              <a:off x="-1414104" y="2900318"/>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85" name="Line 429">
              <a:extLst>
                <a:ext uri="{FF2B5EF4-FFF2-40B4-BE49-F238E27FC236}">
                  <a16:creationId xmlns:a16="http://schemas.microsoft.com/office/drawing/2014/main" id="{99051960-9DCC-1E01-B9D0-5F21AEF70A98}"/>
                </a:ext>
              </a:extLst>
            </p:cNvPr>
            <p:cNvSpPr>
              <a:spLocks noChangeShapeType="1"/>
            </p:cNvSpPr>
            <p:nvPr/>
          </p:nvSpPr>
          <p:spPr bwMode="auto">
            <a:xfrm flipH="1">
              <a:off x="-1445376" y="2935266"/>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86" name="Line 430">
              <a:extLst>
                <a:ext uri="{FF2B5EF4-FFF2-40B4-BE49-F238E27FC236}">
                  <a16:creationId xmlns:a16="http://schemas.microsoft.com/office/drawing/2014/main" id="{5D10B7D9-6C1E-A211-8F95-96F9A5DB3087}"/>
                </a:ext>
              </a:extLst>
            </p:cNvPr>
            <p:cNvSpPr>
              <a:spLocks noChangeShapeType="1"/>
            </p:cNvSpPr>
            <p:nvPr/>
          </p:nvSpPr>
          <p:spPr bwMode="auto">
            <a:xfrm>
              <a:off x="-1428820" y="2900318"/>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87" name="Line 431">
              <a:extLst>
                <a:ext uri="{FF2B5EF4-FFF2-40B4-BE49-F238E27FC236}">
                  <a16:creationId xmlns:a16="http://schemas.microsoft.com/office/drawing/2014/main" id="{059ECE5C-AAA9-4711-8BCD-7D2D92E4AD5D}"/>
                </a:ext>
              </a:extLst>
            </p:cNvPr>
            <p:cNvSpPr>
              <a:spLocks noChangeShapeType="1"/>
            </p:cNvSpPr>
            <p:nvPr/>
          </p:nvSpPr>
          <p:spPr bwMode="auto">
            <a:xfrm flipH="1">
              <a:off x="-1460088" y="2935266"/>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88" name="Line 432">
              <a:extLst>
                <a:ext uri="{FF2B5EF4-FFF2-40B4-BE49-F238E27FC236}">
                  <a16:creationId xmlns:a16="http://schemas.microsoft.com/office/drawing/2014/main" id="{583FE5AC-B877-6B42-1A6C-43515CAF3CC7}"/>
                </a:ext>
              </a:extLst>
            </p:cNvPr>
            <p:cNvSpPr>
              <a:spLocks noChangeShapeType="1"/>
            </p:cNvSpPr>
            <p:nvPr/>
          </p:nvSpPr>
          <p:spPr bwMode="auto">
            <a:xfrm>
              <a:off x="-1414104" y="2885600"/>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89" name="Line 433">
              <a:extLst>
                <a:ext uri="{FF2B5EF4-FFF2-40B4-BE49-F238E27FC236}">
                  <a16:creationId xmlns:a16="http://schemas.microsoft.com/office/drawing/2014/main" id="{7DC46C2F-1BCD-884D-BE1F-32A67830A830}"/>
                </a:ext>
              </a:extLst>
            </p:cNvPr>
            <p:cNvSpPr>
              <a:spLocks noChangeShapeType="1"/>
            </p:cNvSpPr>
            <p:nvPr/>
          </p:nvSpPr>
          <p:spPr bwMode="auto">
            <a:xfrm flipH="1">
              <a:off x="-1445376" y="2916871"/>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90" name="Line 434">
              <a:extLst>
                <a:ext uri="{FF2B5EF4-FFF2-40B4-BE49-F238E27FC236}">
                  <a16:creationId xmlns:a16="http://schemas.microsoft.com/office/drawing/2014/main" id="{5FDFC370-2B80-2975-3C93-B310900AEA5A}"/>
                </a:ext>
              </a:extLst>
            </p:cNvPr>
            <p:cNvSpPr>
              <a:spLocks noChangeShapeType="1"/>
            </p:cNvSpPr>
            <p:nvPr/>
          </p:nvSpPr>
          <p:spPr bwMode="auto">
            <a:xfrm>
              <a:off x="-1428820" y="2885600"/>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91" name="Line 435">
              <a:extLst>
                <a:ext uri="{FF2B5EF4-FFF2-40B4-BE49-F238E27FC236}">
                  <a16:creationId xmlns:a16="http://schemas.microsoft.com/office/drawing/2014/main" id="{561FEE5A-4991-1752-A00F-4AFF0A2A9E30}"/>
                </a:ext>
              </a:extLst>
            </p:cNvPr>
            <p:cNvSpPr>
              <a:spLocks noChangeShapeType="1"/>
            </p:cNvSpPr>
            <p:nvPr/>
          </p:nvSpPr>
          <p:spPr bwMode="auto">
            <a:xfrm flipH="1">
              <a:off x="-1460088" y="2916871"/>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92" name="Line 436">
              <a:extLst>
                <a:ext uri="{FF2B5EF4-FFF2-40B4-BE49-F238E27FC236}">
                  <a16:creationId xmlns:a16="http://schemas.microsoft.com/office/drawing/2014/main" id="{7EC8D202-1B77-5D0A-1FAC-7E3C05E14048}"/>
                </a:ext>
              </a:extLst>
            </p:cNvPr>
            <p:cNvSpPr>
              <a:spLocks noChangeShapeType="1"/>
            </p:cNvSpPr>
            <p:nvPr/>
          </p:nvSpPr>
          <p:spPr bwMode="auto">
            <a:xfrm>
              <a:off x="-1436177" y="2885600"/>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93" name="Line 437">
              <a:extLst>
                <a:ext uri="{FF2B5EF4-FFF2-40B4-BE49-F238E27FC236}">
                  <a16:creationId xmlns:a16="http://schemas.microsoft.com/office/drawing/2014/main" id="{AB7F5361-9E1A-4C0E-724D-EE0852F8C2D7}"/>
                </a:ext>
              </a:extLst>
            </p:cNvPr>
            <p:cNvSpPr>
              <a:spLocks noChangeShapeType="1"/>
            </p:cNvSpPr>
            <p:nvPr/>
          </p:nvSpPr>
          <p:spPr bwMode="auto">
            <a:xfrm flipH="1">
              <a:off x="-1463771" y="2916871"/>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94" name="Line 438">
              <a:extLst>
                <a:ext uri="{FF2B5EF4-FFF2-40B4-BE49-F238E27FC236}">
                  <a16:creationId xmlns:a16="http://schemas.microsoft.com/office/drawing/2014/main" id="{C3F2E3CA-F686-793F-AAAA-179821B2C8A8}"/>
                </a:ext>
              </a:extLst>
            </p:cNvPr>
            <p:cNvSpPr>
              <a:spLocks noChangeShapeType="1"/>
            </p:cNvSpPr>
            <p:nvPr/>
          </p:nvSpPr>
          <p:spPr bwMode="auto">
            <a:xfrm>
              <a:off x="-1445376" y="2885600"/>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95" name="Line 439">
              <a:extLst>
                <a:ext uri="{FF2B5EF4-FFF2-40B4-BE49-F238E27FC236}">
                  <a16:creationId xmlns:a16="http://schemas.microsoft.com/office/drawing/2014/main" id="{B375D608-FA08-76F5-ED78-0C0A08279F05}"/>
                </a:ext>
              </a:extLst>
            </p:cNvPr>
            <p:cNvSpPr>
              <a:spLocks noChangeShapeType="1"/>
            </p:cNvSpPr>
            <p:nvPr/>
          </p:nvSpPr>
          <p:spPr bwMode="auto">
            <a:xfrm flipH="1">
              <a:off x="-1478486" y="2916871"/>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96" name="Line 440">
              <a:extLst>
                <a:ext uri="{FF2B5EF4-FFF2-40B4-BE49-F238E27FC236}">
                  <a16:creationId xmlns:a16="http://schemas.microsoft.com/office/drawing/2014/main" id="{895905FE-E1FA-0D9C-6AC8-BD4E4D708F45}"/>
                </a:ext>
              </a:extLst>
            </p:cNvPr>
            <p:cNvSpPr>
              <a:spLocks noChangeShapeType="1"/>
            </p:cNvSpPr>
            <p:nvPr/>
          </p:nvSpPr>
          <p:spPr bwMode="auto">
            <a:xfrm>
              <a:off x="-1436177" y="287456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97" name="Line 441">
              <a:extLst>
                <a:ext uri="{FF2B5EF4-FFF2-40B4-BE49-F238E27FC236}">
                  <a16:creationId xmlns:a16="http://schemas.microsoft.com/office/drawing/2014/main" id="{B97F1397-FC9C-080F-83BA-52A620FEAAD1}"/>
                </a:ext>
              </a:extLst>
            </p:cNvPr>
            <p:cNvSpPr>
              <a:spLocks noChangeShapeType="1"/>
            </p:cNvSpPr>
            <p:nvPr/>
          </p:nvSpPr>
          <p:spPr bwMode="auto">
            <a:xfrm flipH="1">
              <a:off x="-1463771" y="2909514"/>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98" name="Line 442">
              <a:extLst>
                <a:ext uri="{FF2B5EF4-FFF2-40B4-BE49-F238E27FC236}">
                  <a16:creationId xmlns:a16="http://schemas.microsoft.com/office/drawing/2014/main" id="{8B83B195-A49E-334D-F92E-4F64824229D6}"/>
                </a:ext>
              </a:extLst>
            </p:cNvPr>
            <p:cNvSpPr>
              <a:spLocks noChangeShapeType="1"/>
            </p:cNvSpPr>
            <p:nvPr/>
          </p:nvSpPr>
          <p:spPr bwMode="auto">
            <a:xfrm>
              <a:off x="-1445376" y="287456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899" name="Line 443">
              <a:extLst>
                <a:ext uri="{FF2B5EF4-FFF2-40B4-BE49-F238E27FC236}">
                  <a16:creationId xmlns:a16="http://schemas.microsoft.com/office/drawing/2014/main" id="{C68559AC-C1DC-1C8F-396C-82209B5D1E50}"/>
                </a:ext>
              </a:extLst>
            </p:cNvPr>
            <p:cNvSpPr>
              <a:spLocks noChangeShapeType="1"/>
            </p:cNvSpPr>
            <p:nvPr/>
          </p:nvSpPr>
          <p:spPr bwMode="auto">
            <a:xfrm flipH="1">
              <a:off x="-1478486" y="2909514"/>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00" name="Line 444">
              <a:extLst>
                <a:ext uri="{FF2B5EF4-FFF2-40B4-BE49-F238E27FC236}">
                  <a16:creationId xmlns:a16="http://schemas.microsoft.com/office/drawing/2014/main" id="{7E452F63-0E01-D43C-BD22-89E78A9A50F0}"/>
                </a:ext>
              </a:extLst>
            </p:cNvPr>
            <p:cNvSpPr>
              <a:spLocks noChangeShapeType="1"/>
            </p:cNvSpPr>
            <p:nvPr/>
          </p:nvSpPr>
          <p:spPr bwMode="auto">
            <a:xfrm>
              <a:off x="-1478488" y="287456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01" name="Line 445">
              <a:extLst>
                <a:ext uri="{FF2B5EF4-FFF2-40B4-BE49-F238E27FC236}">
                  <a16:creationId xmlns:a16="http://schemas.microsoft.com/office/drawing/2014/main" id="{8100ABE0-158D-461F-9595-63F56D98C815}"/>
                </a:ext>
              </a:extLst>
            </p:cNvPr>
            <p:cNvSpPr>
              <a:spLocks noChangeShapeType="1"/>
            </p:cNvSpPr>
            <p:nvPr/>
          </p:nvSpPr>
          <p:spPr bwMode="auto">
            <a:xfrm flipH="1">
              <a:off x="-1509759" y="2909514"/>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02" name="Line 446">
              <a:extLst>
                <a:ext uri="{FF2B5EF4-FFF2-40B4-BE49-F238E27FC236}">
                  <a16:creationId xmlns:a16="http://schemas.microsoft.com/office/drawing/2014/main" id="{015DA66B-BE30-CCFC-DC2D-3D791E454E31}"/>
                </a:ext>
              </a:extLst>
            </p:cNvPr>
            <p:cNvSpPr>
              <a:spLocks noChangeShapeType="1"/>
            </p:cNvSpPr>
            <p:nvPr/>
          </p:nvSpPr>
          <p:spPr bwMode="auto">
            <a:xfrm>
              <a:off x="-1487685" y="287456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03" name="Line 447">
              <a:extLst>
                <a:ext uri="{FF2B5EF4-FFF2-40B4-BE49-F238E27FC236}">
                  <a16:creationId xmlns:a16="http://schemas.microsoft.com/office/drawing/2014/main" id="{86855D77-7494-9180-6023-69A6F6992293}"/>
                </a:ext>
              </a:extLst>
            </p:cNvPr>
            <p:cNvSpPr>
              <a:spLocks noChangeShapeType="1"/>
            </p:cNvSpPr>
            <p:nvPr/>
          </p:nvSpPr>
          <p:spPr bwMode="auto">
            <a:xfrm flipH="1">
              <a:off x="-1520795" y="2909514"/>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04" name="Line 448">
              <a:extLst>
                <a:ext uri="{FF2B5EF4-FFF2-40B4-BE49-F238E27FC236}">
                  <a16:creationId xmlns:a16="http://schemas.microsoft.com/office/drawing/2014/main" id="{47EFABA0-F764-8564-D4D2-741DAC51F7B3}"/>
                </a:ext>
              </a:extLst>
            </p:cNvPr>
            <p:cNvSpPr>
              <a:spLocks noChangeShapeType="1"/>
            </p:cNvSpPr>
            <p:nvPr/>
          </p:nvSpPr>
          <p:spPr bwMode="auto">
            <a:xfrm>
              <a:off x="-1487685" y="287456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05" name="Line 449">
              <a:extLst>
                <a:ext uri="{FF2B5EF4-FFF2-40B4-BE49-F238E27FC236}">
                  <a16:creationId xmlns:a16="http://schemas.microsoft.com/office/drawing/2014/main" id="{0906A053-4293-7D03-B3B8-5206C096D41B}"/>
                </a:ext>
              </a:extLst>
            </p:cNvPr>
            <p:cNvSpPr>
              <a:spLocks noChangeShapeType="1"/>
            </p:cNvSpPr>
            <p:nvPr/>
          </p:nvSpPr>
          <p:spPr bwMode="auto">
            <a:xfrm flipH="1">
              <a:off x="-1520795" y="2909514"/>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06" name="Line 450">
              <a:extLst>
                <a:ext uri="{FF2B5EF4-FFF2-40B4-BE49-F238E27FC236}">
                  <a16:creationId xmlns:a16="http://schemas.microsoft.com/office/drawing/2014/main" id="{10CB3807-C53F-F4EF-A5FB-413C87FE89EF}"/>
                </a:ext>
              </a:extLst>
            </p:cNvPr>
            <p:cNvSpPr>
              <a:spLocks noChangeShapeType="1"/>
            </p:cNvSpPr>
            <p:nvPr/>
          </p:nvSpPr>
          <p:spPr bwMode="auto">
            <a:xfrm>
              <a:off x="-1502400" y="287456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07" name="Line 451">
              <a:extLst>
                <a:ext uri="{FF2B5EF4-FFF2-40B4-BE49-F238E27FC236}">
                  <a16:creationId xmlns:a16="http://schemas.microsoft.com/office/drawing/2014/main" id="{D0091420-3BFF-F144-EEDF-42C6426BE9C7}"/>
                </a:ext>
              </a:extLst>
            </p:cNvPr>
            <p:cNvSpPr>
              <a:spLocks noChangeShapeType="1"/>
            </p:cNvSpPr>
            <p:nvPr/>
          </p:nvSpPr>
          <p:spPr bwMode="auto">
            <a:xfrm flipH="1">
              <a:off x="-1533669" y="2909514"/>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08" name="Line 452">
              <a:extLst>
                <a:ext uri="{FF2B5EF4-FFF2-40B4-BE49-F238E27FC236}">
                  <a16:creationId xmlns:a16="http://schemas.microsoft.com/office/drawing/2014/main" id="{8AAD2950-4E76-AC18-3BFC-6A51F4FEAFC5}"/>
                </a:ext>
              </a:extLst>
            </p:cNvPr>
            <p:cNvSpPr>
              <a:spLocks noChangeShapeType="1"/>
            </p:cNvSpPr>
            <p:nvPr/>
          </p:nvSpPr>
          <p:spPr bwMode="auto">
            <a:xfrm>
              <a:off x="-1513437" y="287456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09" name="Line 453">
              <a:extLst>
                <a:ext uri="{FF2B5EF4-FFF2-40B4-BE49-F238E27FC236}">
                  <a16:creationId xmlns:a16="http://schemas.microsoft.com/office/drawing/2014/main" id="{4C586024-00D6-904B-9858-1A32703E84CE}"/>
                </a:ext>
              </a:extLst>
            </p:cNvPr>
            <p:cNvSpPr>
              <a:spLocks noChangeShapeType="1"/>
            </p:cNvSpPr>
            <p:nvPr/>
          </p:nvSpPr>
          <p:spPr bwMode="auto">
            <a:xfrm flipH="1">
              <a:off x="-1544708" y="2909514"/>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10" name="Line 454">
              <a:extLst>
                <a:ext uri="{FF2B5EF4-FFF2-40B4-BE49-F238E27FC236}">
                  <a16:creationId xmlns:a16="http://schemas.microsoft.com/office/drawing/2014/main" id="{0051C566-DD35-930C-FB64-F44F4BECD4D0}"/>
                </a:ext>
              </a:extLst>
            </p:cNvPr>
            <p:cNvSpPr>
              <a:spLocks noChangeShapeType="1"/>
            </p:cNvSpPr>
            <p:nvPr/>
          </p:nvSpPr>
          <p:spPr bwMode="auto">
            <a:xfrm>
              <a:off x="-1528152" y="287456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11" name="Line 455">
              <a:extLst>
                <a:ext uri="{FF2B5EF4-FFF2-40B4-BE49-F238E27FC236}">
                  <a16:creationId xmlns:a16="http://schemas.microsoft.com/office/drawing/2014/main" id="{9C124D8E-433C-5732-E54D-5730093AABAA}"/>
                </a:ext>
              </a:extLst>
            </p:cNvPr>
            <p:cNvSpPr>
              <a:spLocks noChangeShapeType="1"/>
            </p:cNvSpPr>
            <p:nvPr/>
          </p:nvSpPr>
          <p:spPr bwMode="auto">
            <a:xfrm flipH="1">
              <a:off x="-1559426" y="2909514"/>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12" name="Line 456">
              <a:extLst>
                <a:ext uri="{FF2B5EF4-FFF2-40B4-BE49-F238E27FC236}">
                  <a16:creationId xmlns:a16="http://schemas.microsoft.com/office/drawing/2014/main" id="{4C35339B-513F-E12F-40C9-824173CD37A2}"/>
                </a:ext>
              </a:extLst>
            </p:cNvPr>
            <p:cNvSpPr>
              <a:spLocks noChangeShapeType="1"/>
            </p:cNvSpPr>
            <p:nvPr/>
          </p:nvSpPr>
          <p:spPr bwMode="auto">
            <a:xfrm>
              <a:off x="-1537353" y="2859846"/>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13" name="Line 457">
              <a:extLst>
                <a:ext uri="{FF2B5EF4-FFF2-40B4-BE49-F238E27FC236}">
                  <a16:creationId xmlns:a16="http://schemas.microsoft.com/office/drawing/2014/main" id="{9CA8C90D-0CF9-D955-BB9C-3600D6060770}"/>
                </a:ext>
              </a:extLst>
            </p:cNvPr>
            <p:cNvSpPr>
              <a:spLocks noChangeShapeType="1"/>
            </p:cNvSpPr>
            <p:nvPr/>
          </p:nvSpPr>
          <p:spPr bwMode="auto">
            <a:xfrm flipH="1">
              <a:off x="-1570464" y="2896638"/>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14" name="Line 458">
              <a:extLst>
                <a:ext uri="{FF2B5EF4-FFF2-40B4-BE49-F238E27FC236}">
                  <a16:creationId xmlns:a16="http://schemas.microsoft.com/office/drawing/2014/main" id="{6D32C0FD-0B2D-D313-1EC5-585C8236836B}"/>
                </a:ext>
              </a:extLst>
            </p:cNvPr>
            <p:cNvSpPr>
              <a:spLocks noChangeShapeType="1"/>
            </p:cNvSpPr>
            <p:nvPr/>
          </p:nvSpPr>
          <p:spPr bwMode="auto">
            <a:xfrm>
              <a:off x="-1552069" y="2859846"/>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15" name="Line 459">
              <a:extLst>
                <a:ext uri="{FF2B5EF4-FFF2-40B4-BE49-F238E27FC236}">
                  <a16:creationId xmlns:a16="http://schemas.microsoft.com/office/drawing/2014/main" id="{33786A37-B815-A07B-6905-3CB8FB2CAA76}"/>
                </a:ext>
              </a:extLst>
            </p:cNvPr>
            <p:cNvSpPr>
              <a:spLocks noChangeShapeType="1"/>
            </p:cNvSpPr>
            <p:nvPr/>
          </p:nvSpPr>
          <p:spPr bwMode="auto">
            <a:xfrm flipH="1">
              <a:off x="-1579660" y="2896638"/>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16" name="Line 460">
              <a:extLst>
                <a:ext uri="{FF2B5EF4-FFF2-40B4-BE49-F238E27FC236}">
                  <a16:creationId xmlns:a16="http://schemas.microsoft.com/office/drawing/2014/main" id="{D62351DB-67D3-7270-F337-2BF4CA3778E1}"/>
                </a:ext>
              </a:extLst>
            </p:cNvPr>
            <p:cNvSpPr>
              <a:spLocks noChangeShapeType="1"/>
            </p:cNvSpPr>
            <p:nvPr/>
          </p:nvSpPr>
          <p:spPr bwMode="auto">
            <a:xfrm>
              <a:off x="-1563107" y="2859846"/>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17" name="Line 461">
              <a:extLst>
                <a:ext uri="{FF2B5EF4-FFF2-40B4-BE49-F238E27FC236}">
                  <a16:creationId xmlns:a16="http://schemas.microsoft.com/office/drawing/2014/main" id="{A3256DED-20CE-6FBB-B6FD-12C3504186AF}"/>
                </a:ext>
              </a:extLst>
            </p:cNvPr>
            <p:cNvSpPr>
              <a:spLocks noChangeShapeType="1"/>
            </p:cNvSpPr>
            <p:nvPr/>
          </p:nvSpPr>
          <p:spPr bwMode="auto">
            <a:xfrm flipH="1">
              <a:off x="-1594376" y="2896638"/>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18" name="Line 462">
              <a:extLst>
                <a:ext uri="{FF2B5EF4-FFF2-40B4-BE49-F238E27FC236}">
                  <a16:creationId xmlns:a16="http://schemas.microsoft.com/office/drawing/2014/main" id="{7C30201D-E149-6EAF-187E-54C5761AFB09}"/>
                </a:ext>
              </a:extLst>
            </p:cNvPr>
            <p:cNvSpPr>
              <a:spLocks noChangeShapeType="1"/>
            </p:cNvSpPr>
            <p:nvPr/>
          </p:nvSpPr>
          <p:spPr bwMode="auto">
            <a:xfrm>
              <a:off x="-1575983" y="2859846"/>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19" name="Line 463">
              <a:extLst>
                <a:ext uri="{FF2B5EF4-FFF2-40B4-BE49-F238E27FC236}">
                  <a16:creationId xmlns:a16="http://schemas.microsoft.com/office/drawing/2014/main" id="{A08EC7FF-5006-8994-F58F-4A2679B59664}"/>
                </a:ext>
              </a:extLst>
            </p:cNvPr>
            <p:cNvSpPr>
              <a:spLocks noChangeShapeType="1"/>
            </p:cNvSpPr>
            <p:nvPr/>
          </p:nvSpPr>
          <p:spPr bwMode="auto">
            <a:xfrm flipH="1">
              <a:off x="-1605414" y="2896638"/>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20" name="Line 464">
              <a:extLst>
                <a:ext uri="{FF2B5EF4-FFF2-40B4-BE49-F238E27FC236}">
                  <a16:creationId xmlns:a16="http://schemas.microsoft.com/office/drawing/2014/main" id="{7B3B6470-8376-A385-BFD4-D3FCC737D466}"/>
                </a:ext>
              </a:extLst>
            </p:cNvPr>
            <p:cNvSpPr>
              <a:spLocks noChangeShapeType="1"/>
            </p:cNvSpPr>
            <p:nvPr/>
          </p:nvSpPr>
          <p:spPr bwMode="auto">
            <a:xfrm>
              <a:off x="-1724985" y="2843292"/>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21" name="Line 465">
              <a:extLst>
                <a:ext uri="{FF2B5EF4-FFF2-40B4-BE49-F238E27FC236}">
                  <a16:creationId xmlns:a16="http://schemas.microsoft.com/office/drawing/2014/main" id="{B1231459-B38D-D32B-E0A6-08BCEEBA2151}"/>
                </a:ext>
              </a:extLst>
            </p:cNvPr>
            <p:cNvSpPr>
              <a:spLocks noChangeShapeType="1"/>
            </p:cNvSpPr>
            <p:nvPr/>
          </p:nvSpPr>
          <p:spPr bwMode="auto">
            <a:xfrm flipH="1">
              <a:off x="-1756253" y="2874563"/>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22" name="Line 466">
              <a:extLst>
                <a:ext uri="{FF2B5EF4-FFF2-40B4-BE49-F238E27FC236}">
                  <a16:creationId xmlns:a16="http://schemas.microsoft.com/office/drawing/2014/main" id="{1CB941C6-86B9-9872-B9A2-3BE6997623B8}"/>
                </a:ext>
              </a:extLst>
            </p:cNvPr>
            <p:cNvSpPr>
              <a:spLocks noChangeShapeType="1"/>
            </p:cNvSpPr>
            <p:nvPr/>
          </p:nvSpPr>
          <p:spPr bwMode="auto">
            <a:xfrm>
              <a:off x="-1739702" y="2843292"/>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23" name="Line 467">
              <a:extLst>
                <a:ext uri="{FF2B5EF4-FFF2-40B4-BE49-F238E27FC236}">
                  <a16:creationId xmlns:a16="http://schemas.microsoft.com/office/drawing/2014/main" id="{0D0D9A8A-64C2-6030-4763-53B24D7BEF02}"/>
                </a:ext>
              </a:extLst>
            </p:cNvPr>
            <p:cNvSpPr>
              <a:spLocks noChangeShapeType="1"/>
            </p:cNvSpPr>
            <p:nvPr/>
          </p:nvSpPr>
          <p:spPr bwMode="auto">
            <a:xfrm flipH="1">
              <a:off x="-1767292" y="2874563"/>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24" name="Line 468">
              <a:extLst>
                <a:ext uri="{FF2B5EF4-FFF2-40B4-BE49-F238E27FC236}">
                  <a16:creationId xmlns:a16="http://schemas.microsoft.com/office/drawing/2014/main" id="{1D35A5C7-CDEE-1074-49CF-F5BED4EBB3FC}"/>
                </a:ext>
              </a:extLst>
            </p:cNvPr>
            <p:cNvSpPr>
              <a:spLocks noChangeShapeType="1"/>
            </p:cNvSpPr>
            <p:nvPr/>
          </p:nvSpPr>
          <p:spPr bwMode="auto">
            <a:xfrm>
              <a:off x="-1791206"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25" name="Line 469">
              <a:extLst>
                <a:ext uri="{FF2B5EF4-FFF2-40B4-BE49-F238E27FC236}">
                  <a16:creationId xmlns:a16="http://schemas.microsoft.com/office/drawing/2014/main" id="{A44E91AE-F097-EB05-927E-89B150B3099D}"/>
                </a:ext>
              </a:extLst>
            </p:cNvPr>
            <p:cNvSpPr>
              <a:spLocks noChangeShapeType="1"/>
            </p:cNvSpPr>
            <p:nvPr/>
          </p:nvSpPr>
          <p:spPr bwMode="auto">
            <a:xfrm flipH="1">
              <a:off x="-1820639" y="2858006"/>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26" name="Line 470">
              <a:extLst>
                <a:ext uri="{FF2B5EF4-FFF2-40B4-BE49-F238E27FC236}">
                  <a16:creationId xmlns:a16="http://schemas.microsoft.com/office/drawing/2014/main" id="{461E7FA1-6239-F88A-C6BC-8A93EF737ECA}"/>
                </a:ext>
              </a:extLst>
            </p:cNvPr>
            <p:cNvSpPr>
              <a:spLocks noChangeShapeType="1"/>
            </p:cNvSpPr>
            <p:nvPr/>
          </p:nvSpPr>
          <p:spPr bwMode="auto">
            <a:xfrm>
              <a:off x="-1802244"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27" name="Line 471">
              <a:extLst>
                <a:ext uri="{FF2B5EF4-FFF2-40B4-BE49-F238E27FC236}">
                  <a16:creationId xmlns:a16="http://schemas.microsoft.com/office/drawing/2014/main" id="{F9D1C76D-3D69-DB11-5730-A125E4E554DD}"/>
                </a:ext>
              </a:extLst>
            </p:cNvPr>
            <p:cNvSpPr>
              <a:spLocks noChangeShapeType="1"/>
            </p:cNvSpPr>
            <p:nvPr/>
          </p:nvSpPr>
          <p:spPr bwMode="auto">
            <a:xfrm flipH="1">
              <a:off x="-1833515" y="2858006"/>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28" name="Line 472">
              <a:extLst>
                <a:ext uri="{FF2B5EF4-FFF2-40B4-BE49-F238E27FC236}">
                  <a16:creationId xmlns:a16="http://schemas.microsoft.com/office/drawing/2014/main" id="{85CD351C-3897-4905-7BA1-E26A54DDCF3D}"/>
                </a:ext>
              </a:extLst>
            </p:cNvPr>
            <p:cNvSpPr>
              <a:spLocks noChangeShapeType="1"/>
            </p:cNvSpPr>
            <p:nvPr/>
          </p:nvSpPr>
          <p:spPr bwMode="auto">
            <a:xfrm>
              <a:off x="-1809603"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29" name="Line 473">
              <a:extLst>
                <a:ext uri="{FF2B5EF4-FFF2-40B4-BE49-F238E27FC236}">
                  <a16:creationId xmlns:a16="http://schemas.microsoft.com/office/drawing/2014/main" id="{4433C8BB-037F-C071-A030-830DF6110A2E}"/>
                </a:ext>
              </a:extLst>
            </p:cNvPr>
            <p:cNvSpPr>
              <a:spLocks noChangeShapeType="1"/>
            </p:cNvSpPr>
            <p:nvPr/>
          </p:nvSpPr>
          <p:spPr bwMode="auto">
            <a:xfrm flipH="1">
              <a:off x="-1840872" y="2858006"/>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30" name="Line 474">
              <a:extLst>
                <a:ext uri="{FF2B5EF4-FFF2-40B4-BE49-F238E27FC236}">
                  <a16:creationId xmlns:a16="http://schemas.microsoft.com/office/drawing/2014/main" id="{763EF7E2-FB60-EBA0-A322-3B5E507F435A}"/>
                </a:ext>
              </a:extLst>
            </p:cNvPr>
            <p:cNvSpPr>
              <a:spLocks noChangeShapeType="1"/>
            </p:cNvSpPr>
            <p:nvPr/>
          </p:nvSpPr>
          <p:spPr bwMode="auto">
            <a:xfrm>
              <a:off x="-1820640"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31" name="Line 475">
              <a:extLst>
                <a:ext uri="{FF2B5EF4-FFF2-40B4-BE49-F238E27FC236}">
                  <a16:creationId xmlns:a16="http://schemas.microsoft.com/office/drawing/2014/main" id="{AFEEB9AF-6DD2-CC73-34E4-D0CFFD8E9E12}"/>
                </a:ext>
              </a:extLst>
            </p:cNvPr>
            <p:cNvSpPr>
              <a:spLocks noChangeShapeType="1"/>
            </p:cNvSpPr>
            <p:nvPr/>
          </p:nvSpPr>
          <p:spPr bwMode="auto">
            <a:xfrm flipH="1">
              <a:off x="-1851910" y="2858006"/>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32" name="Line 476">
              <a:extLst>
                <a:ext uri="{FF2B5EF4-FFF2-40B4-BE49-F238E27FC236}">
                  <a16:creationId xmlns:a16="http://schemas.microsoft.com/office/drawing/2014/main" id="{48FD5A04-06A3-EF22-AB0A-B2F87C70FCD7}"/>
                </a:ext>
              </a:extLst>
            </p:cNvPr>
            <p:cNvSpPr>
              <a:spLocks noChangeShapeType="1"/>
            </p:cNvSpPr>
            <p:nvPr/>
          </p:nvSpPr>
          <p:spPr bwMode="auto">
            <a:xfrm>
              <a:off x="-1833515"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33" name="Line 477">
              <a:extLst>
                <a:ext uri="{FF2B5EF4-FFF2-40B4-BE49-F238E27FC236}">
                  <a16:creationId xmlns:a16="http://schemas.microsoft.com/office/drawing/2014/main" id="{28EB001D-198B-2FB6-E7D7-5992956B0F42}"/>
                </a:ext>
              </a:extLst>
            </p:cNvPr>
            <p:cNvSpPr>
              <a:spLocks noChangeShapeType="1"/>
            </p:cNvSpPr>
            <p:nvPr/>
          </p:nvSpPr>
          <p:spPr bwMode="auto">
            <a:xfrm flipH="1">
              <a:off x="-1862947" y="2858006"/>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34" name="Line 478">
              <a:extLst>
                <a:ext uri="{FF2B5EF4-FFF2-40B4-BE49-F238E27FC236}">
                  <a16:creationId xmlns:a16="http://schemas.microsoft.com/office/drawing/2014/main" id="{B106145E-96DC-5A90-EB37-4D3487A8CB77}"/>
                </a:ext>
              </a:extLst>
            </p:cNvPr>
            <p:cNvSpPr>
              <a:spLocks noChangeShapeType="1"/>
            </p:cNvSpPr>
            <p:nvPr/>
          </p:nvSpPr>
          <p:spPr bwMode="auto">
            <a:xfrm>
              <a:off x="-1844552"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35" name="Line 479">
              <a:extLst>
                <a:ext uri="{FF2B5EF4-FFF2-40B4-BE49-F238E27FC236}">
                  <a16:creationId xmlns:a16="http://schemas.microsoft.com/office/drawing/2014/main" id="{DE8534E4-6D66-8B0C-A077-11A0DC5A5603}"/>
                </a:ext>
              </a:extLst>
            </p:cNvPr>
            <p:cNvSpPr>
              <a:spLocks noChangeShapeType="1"/>
            </p:cNvSpPr>
            <p:nvPr/>
          </p:nvSpPr>
          <p:spPr bwMode="auto">
            <a:xfrm flipH="1">
              <a:off x="-1875825" y="2858006"/>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36" name="Line 480">
              <a:extLst>
                <a:ext uri="{FF2B5EF4-FFF2-40B4-BE49-F238E27FC236}">
                  <a16:creationId xmlns:a16="http://schemas.microsoft.com/office/drawing/2014/main" id="{C1A723B5-9478-D503-1596-7A0319E77B73}"/>
                </a:ext>
              </a:extLst>
            </p:cNvPr>
            <p:cNvSpPr>
              <a:spLocks noChangeShapeType="1"/>
            </p:cNvSpPr>
            <p:nvPr/>
          </p:nvSpPr>
          <p:spPr bwMode="auto">
            <a:xfrm>
              <a:off x="-1894222"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37" name="Line 481">
              <a:extLst>
                <a:ext uri="{FF2B5EF4-FFF2-40B4-BE49-F238E27FC236}">
                  <a16:creationId xmlns:a16="http://schemas.microsoft.com/office/drawing/2014/main" id="{7C65C53F-C0A2-7A68-24B7-F17DD2F7C0F2}"/>
                </a:ext>
              </a:extLst>
            </p:cNvPr>
            <p:cNvSpPr>
              <a:spLocks noChangeShapeType="1"/>
            </p:cNvSpPr>
            <p:nvPr/>
          </p:nvSpPr>
          <p:spPr bwMode="auto">
            <a:xfrm flipH="1">
              <a:off x="-1925490" y="2858006"/>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38" name="Line 482">
              <a:extLst>
                <a:ext uri="{FF2B5EF4-FFF2-40B4-BE49-F238E27FC236}">
                  <a16:creationId xmlns:a16="http://schemas.microsoft.com/office/drawing/2014/main" id="{764E9D35-7BD6-5A37-695B-CA4B20E1944B}"/>
                </a:ext>
              </a:extLst>
            </p:cNvPr>
            <p:cNvSpPr>
              <a:spLocks noChangeShapeType="1"/>
            </p:cNvSpPr>
            <p:nvPr/>
          </p:nvSpPr>
          <p:spPr bwMode="auto">
            <a:xfrm>
              <a:off x="-1908936"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39" name="Line 483">
              <a:extLst>
                <a:ext uri="{FF2B5EF4-FFF2-40B4-BE49-F238E27FC236}">
                  <a16:creationId xmlns:a16="http://schemas.microsoft.com/office/drawing/2014/main" id="{551EEA65-99CC-7F2C-DCDD-71D606CBBC98}"/>
                </a:ext>
              </a:extLst>
            </p:cNvPr>
            <p:cNvSpPr>
              <a:spLocks noChangeShapeType="1"/>
            </p:cNvSpPr>
            <p:nvPr/>
          </p:nvSpPr>
          <p:spPr bwMode="auto">
            <a:xfrm flipH="1">
              <a:off x="-1936529" y="2858006"/>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40" name="Line 484">
              <a:extLst>
                <a:ext uri="{FF2B5EF4-FFF2-40B4-BE49-F238E27FC236}">
                  <a16:creationId xmlns:a16="http://schemas.microsoft.com/office/drawing/2014/main" id="{43347455-7213-32AF-8068-9D2929BE4A83}"/>
                </a:ext>
              </a:extLst>
            </p:cNvPr>
            <p:cNvSpPr>
              <a:spLocks noChangeShapeType="1"/>
            </p:cNvSpPr>
            <p:nvPr/>
          </p:nvSpPr>
          <p:spPr bwMode="auto">
            <a:xfrm>
              <a:off x="-2140719"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41" name="Line 485">
              <a:extLst>
                <a:ext uri="{FF2B5EF4-FFF2-40B4-BE49-F238E27FC236}">
                  <a16:creationId xmlns:a16="http://schemas.microsoft.com/office/drawing/2014/main" id="{BD85D27F-F1D5-8868-D0AD-71D7F2530F22}"/>
                </a:ext>
              </a:extLst>
            </p:cNvPr>
            <p:cNvSpPr>
              <a:spLocks noChangeShapeType="1"/>
            </p:cNvSpPr>
            <p:nvPr/>
          </p:nvSpPr>
          <p:spPr bwMode="auto">
            <a:xfrm flipH="1">
              <a:off x="-2171987" y="2858006"/>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42" name="Line 486">
              <a:extLst>
                <a:ext uri="{FF2B5EF4-FFF2-40B4-BE49-F238E27FC236}">
                  <a16:creationId xmlns:a16="http://schemas.microsoft.com/office/drawing/2014/main" id="{5B270B76-7D62-7520-05DC-1DDDD9187157}"/>
                </a:ext>
              </a:extLst>
            </p:cNvPr>
            <p:cNvSpPr>
              <a:spLocks noChangeShapeType="1"/>
            </p:cNvSpPr>
            <p:nvPr/>
          </p:nvSpPr>
          <p:spPr bwMode="auto">
            <a:xfrm>
              <a:off x="-2155434"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43" name="Line 487">
              <a:extLst>
                <a:ext uri="{FF2B5EF4-FFF2-40B4-BE49-F238E27FC236}">
                  <a16:creationId xmlns:a16="http://schemas.microsoft.com/office/drawing/2014/main" id="{6204ECD0-1228-6BB7-1527-C4592ABA6931}"/>
                </a:ext>
              </a:extLst>
            </p:cNvPr>
            <p:cNvSpPr>
              <a:spLocks noChangeShapeType="1"/>
            </p:cNvSpPr>
            <p:nvPr/>
          </p:nvSpPr>
          <p:spPr bwMode="auto">
            <a:xfrm flipH="1">
              <a:off x="-2183026" y="2858006"/>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44" name="Line 488">
              <a:extLst>
                <a:ext uri="{FF2B5EF4-FFF2-40B4-BE49-F238E27FC236}">
                  <a16:creationId xmlns:a16="http://schemas.microsoft.com/office/drawing/2014/main" id="{78E69161-4C39-7889-4FC8-A137C6A133B0}"/>
                </a:ext>
              </a:extLst>
            </p:cNvPr>
            <p:cNvSpPr>
              <a:spLocks noChangeShapeType="1"/>
            </p:cNvSpPr>
            <p:nvPr/>
          </p:nvSpPr>
          <p:spPr bwMode="auto">
            <a:xfrm>
              <a:off x="-2120484"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45" name="Line 489">
              <a:extLst>
                <a:ext uri="{FF2B5EF4-FFF2-40B4-BE49-F238E27FC236}">
                  <a16:creationId xmlns:a16="http://schemas.microsoft.com/office/drawing/2014/main" id="{C5E6B36D-6B18-DD7E-3D59-4347A87D43C4}"/>
                </a:ext>
              </a:extLst>
            </p:cNvPr>
            <p:cNvSpPr>
              <a:spLocks noChangeShapeType="1"/>
            </p:cNvSpPr>
            <p:nvPr/>
          </p:nvSpPr>
          <p:spPr bwMode="auto">
            <a:xfrm flipH="1">
              <a:off x="-2151755" y="2858006"/>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46" name="Line 490">
              <a:extLst>
                <a:ext uri="{FF2B5EF4-FFF2-40B4-BE49-F238E27FC236}">
                  <a16:creationId xmlns:a16="http://schemas.microsoft.com/office/drawing/2014/main" id="{DAB4544C-87B7-008B-8547-168F7FDA26DD}"/>
                </a:ext>
              </a:extLst>
            </p:cNvPr>
            <p:cNvSpPr>
              <a:spLocks noChangeShapeType="1"/>
            </p:cNvSpPr>
            <p:nvPr/>
          </p:nvSpPr>
          <p:spPr bwMode="auto">
            <a:xfrm>
              <a:off x="-2133359"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47" name="Line 491">
              <a:extLst>
                <a:ext uri="{FF2B5EF4-FFF2-40B4-BE49-F238E27FC236}">
                  <a16:creationId xmlns:a16="http://schemas.microsoft.com/office/drawing/2014/main" id="{6E91FEB5-D893-14AD-7AE8-F09DF8AE2819}"/>
                </a:ext>
              </a:extLst>
            </p:cNvPr>
            <p:cNvSpPr>
              <a:spLocks noChangeShapeType="1"/>
            </p:cNvSpPr>
            <p:nvPr/>
          </p:nvSpPr>
          <p:spPr bwMode="auto">
            <a:xfrm flipH="1">
              <a:off x="-2164628" y="2858006"/>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48" name="Line 492">
              <a:extLst>
                <a:ext uri="{FF2B5EF4-FFF2-40B4-BE49-F238E27FC236}">
                  <a16:creationId xmlns:a16="http://schemas.microsoft.com/office/drawing/2014/main" id="{63CCD8A7-46C0-88AF-AA55-55484A26B4ED}"/>
                </a:ext>
              </a:extLst>
            </p:cNvPr>
            <p:cNvSpPr>
              <a:spLocks noChangeShapeType="1"/>
            </p:cNvSpPr>
            <p:nvPr/>
          </p:nvSpPr>
          <p:spPr bwMode="auto">
            <a:xfrm>
              <a:off x="-2159114" y="2804663"/>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49" name="Line 493">
              <a:extLst>
                <a:ext uri="{FF2B5EF4-FFF2-40B4-BE49-F238E27FC236}">
                  <a16:creationId xmlns:a16="http://schemas.microsoft.com/office/drawing/2014/main" id="{D704818C-E1EE-3AB1-816A-DBF330852A54}"/>
                </a:ext>
              </a:extLst>
            </p:cNvPr>
            <p:cNvSpPr>
              <a:spLocks noChangeShapeType="1"/>
            </p:cNvSpPr>
            <p:nvPr/>
          </p:nvSpPr>
          <p:spPr bwMode="auto">
            <a:xfrm flipH="1">
              <a:off x="-2190385" y="2835933"/>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50" name="Line 494">
              <a:extLst>
                <a:ext uri="{FF2B5EF4-FFF2-40B4-BE49-F238E27FC236}">
                  <a16:creationId xmlns:a16="http://schemas.microsoft.com/office/drawing/2014/main" id="{E591C7E1-9F77-C49D-B98D-3DCA6814B9D0}"/>
                </a:ext>
              </a:extLst>
            </p:cNvPr>
            <p:cNvSpPr>
              <a:spLocks noChangeShapeType="1"/>
            </p:cNvSpPr>
            <p:nvPr/>
          </p:nvSpPr>
          <p:spPr bwMode="auto">
            <a:xfrm>
              <a:off x="-2171990" y="2804663"/>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51" name="Line 495">
              <a:extLst>
                <a:ext uri="{FF2B5EF4-FFF2-40B4-BE49-F238E27FC236}">
                  <a16:creationId xmlns:a16="http://schemas.microsoft.com/office/drawing/2014/main" id="{4DC3249C-F126-DF8A-936E-3EDAD4B0E0D1}"/>
                </a:ext>
              </a:extLst>
            </p:cNvPr>
            <p:cNvSpPr>
              <a:spLocks noChangeShapeType="1"/>
            </p:cNvSpPr>
            <p:nvPr/>
          </p:nvSpPr>
          <p:spPr bwMode="auto">
            <a:xfrm flipH="1">
              <a:off x="-2201423" y="2835933"/>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52" name="Line 496">
              <a:extLst>
                <a:ext uri="{FF2B5EF4-FFF2-40B4-BE49-F238E27FC236}">
                  <a16:creationId xmlns:a16="http://schemas.microsoft.com/office/drawing/2014/main" id="{8BE24ACB-A193-1106-AFA5-B591B15047AD}"/>
                </a:ext>
              </a:extLst>
            </p:cNvPr>
            <p:cNvSpPr>
              <a:spLocks noChangeShapeType="1"/>
            </p:cNvSpPr>
            <p:nvPr/>
          </p:nvSpPr>
          <p:spPr bwMode="auto">
            <a:xfrm>
              <a:off x="-2179349" y="2804663"/>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53" name="Line 497">
              <a:extLst>
                <a:ext uri="{FF2B5EF4-FFF2-40B4-BE49-F238E27FC236}">
                  <a16:creationId xmlns:a16="http://schemas.microsoft.com/office/drawing/2014/main" id="{F5F4CA37-B343-4D79-78AE-8148123DC62D}"/>
                </a:ext>
              </a:extLst>
            </p:cNvPr>
            <p:cNvSpPr>
              <a:spLocks noChangeShapeType="1"/>
            </p:cNvSpPr>
            <p:nvPr/>
          </p:nvSpPr>
          <p:spPr bwMode="auto">
            <a:xfrm flipH="1">
              <a:off x="-2206940" y="2835933"/>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54" name="Line 498">
              <a:extLst>
                <a:ext uri="{FF2B5EF4-FFF2-40B4-BE49-F238E27FC236}">
                  <a16:creationId xmlns:a16="http://schemas.microsoft.com/office/drawing/2014/main" id="{58930825-F847-6113-405A-6A783B128679}"/>
                </a:ext>
              </a:extLst>
            </p:cNvPr>
            <p:cNvSpPr>
              <a:spLocks noChangeShapeType="1"/>
            </p:cNvSpPr>
            <p:nvPr/>
          </p:nvSpPr>
          <p:spPr bwMode="auto">
            <a:xfrm>
              <a:off x="-2190385" y="2804663"/>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55" name="Line 499">
              <a:extLst>
                <a:ext uri="{FF2B5EF4-FFF2-40B4-BE49-F238E27FC236}">
                  <a16:creationId xmlns:a16="http://schemas.microsoft.com/office/drawing/2014/main" id="{249CBCCB-AFDD-AEE2-7A03-6865C3026E4B}"/>
                </a:ext>
              </a:extLst>
            </p:cNvPr>
            <p:cNvSpPr>
              <a:spLocks noChangeShapeType="1"/>
            </p:cNvSpPr>
            <p:nvPr/>
          </p:nvSpPr>
          <p:spPr bwMode="auto">
            <a:xfrm flipH="1">
              <a:off x="-2221656" y="2835933"/>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56" name="Line 500">
              <a:extLst>
                <a:ext uri="{FF2B5EF4-FFF2-40B4-BE49-F238E27FC236}">
                  <a16:creationId xmlns:a16="http://schemas.microsoft.com/office/drawing/2014/main" id="{2D5A25B6-7417-5D3F-1179-9D7953F08E64}"/>
                </a:ext>
              </a:extLst>
            </p:cNvPr>
            <p:cNvSpPr>
              <a:spLocks noChangeShapeType="1"/>
            </p:cNvSpPr>
            <p:nvPr/>
          </p:nvSpPr>
          <p:spPr bwMode="auto">
            <a:xfrm>
              <a:off x="-2179349" y="2778908"/>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57" name="Line 501">
              <a:extLst>
                <a:ext uri="{FF2B5EF4-FFF2-40B4-BE49-F238E27FC236}">
                  <a16:creationId xmlns:a16="http://schemas.microsoft.com/office/drawing/2014/main" id="{F1F16425-4CAF-F86F-D92E-CC8E771CC354}"/>
                </a:ext>
              </a:extLst>
            </p:cNvPr>
            <p:cNvSpPr>
              <a:spLocks noChangeShapeType="1"/>
            </p:cNvSpPr>
            <p:nvPr/>
          </p:nvSpPr>
          <p:spPr bwMode="auto">
            <a:xfrm flipH="1">
              <a:off x="-2206940" y="2810179"/>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58" name="Line 502">
              <a:extLst>
                <a:ext uri="{FF2B5EF4-FFF2-40B4-BE49-F238E27FC236}">
                  <a16:creationId xmlns:a16="http://schemas.microsoft.com/office/drawing/2014/main" id="{09B351B3-45D6-B046-8E3A-AF738E48F804}"/>
                </a:ext>
              </a:extLst>
            </p:cNvPr>
            <p:cNvSpPr>
              <a:spLocks noChangeShapeType="1"/>
            </p:cNvSpPr>
            <p:nvPr/>
          </p:nvSpPr>
          <p:spPr bwMode="auto">
            <a:xfrm>
              <a:off x="-2190385" y="2778908"/>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59" name="Line 503">
              <a:extLst>
                <a:ext uri="{FF2B5EF4-FFF2-40B4-BE49-F238E27FC236}">
                  <a16:creationId xmlns:a16="http://schemas.microsoft.com/office/drawing/2014/main" id="{55F9E17A-82C2-0466-8CE2-6B252A128D06}"/>
                </a:ext>
              </a:extLst>
            </p:cNvPr>
            <p:cNvSpPr>
              <a:spLocks noChangeShapeType="1"/>
            </p:cNvSpPr>
            <p:nvPr/>
          </p:nvSpPr>
          <p:spPr bwMode="auto">
            <a:xfrm flipH="1">
              <a:off x="-2221656" y="2810179"/>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60" name="Line 504">
              <a:extLst>
                <a:ext uri="{FF2B5EF4-FFF2-40B4-BE49-F238E27FC236}">
                  <a16:creationId xmlns:a16="http://schemas.microsoft.com/office/drawing/2014/main" id="{6C100A40-8AEC-C5DA-97DF-9BDC3026B25C}"/>
                </a:ext>
              </a:extLst>
            </p:cNvPr>
            <p:cNvSpPr>
              <a:spLocks noChangeShapeType="1"/>
            </p:cNvSpPr>
            <p:nvPr/>
          </p:nvSpPr>
          <p:spPr bwMode="auto">
            <a:xfrm>
              <a:off x="-2205102" y="2778908"/>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61" name="Line 505">
              <a:extLst>
                <a:ext uri="{FF2B5EF4-FFF2-40B4-BE49-F238E27FC236}">
                  <a16:creationId xmlns:a16="http://schemas.microsoft.com/office/drawing/2014/main" id="{0B018DDD-6854-FA0B-1090-1C8720749C2E}"/>
                </a:ext>
              </a:extLst>
            </p:cNvPr>
            <p:cNvSpPr>
              <a:spLocks noChangeShapeType="1"/>
            </p:cNvSpPr>
            <p:nvPr/>
          </p:nvSpPr>
          <p:spPr bwMode="auto">
            <a:xfrm flipH="1">
              <a:off x="-2232694" y="2810179"/>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62" name="Line 506">
              <a:extLst>
                <a:ext uri="{FF2B5EF4-FFF2-40B4-BE49-F238E27FC236}">
                  <a16:creationId xmlns:a16="http://schemas.microsoft.com/office/drawing/2014/main" id="{50B90CFF-37C7-2C61-414C-FDB3EA739DCA}"/>
                </a:ext>
              </a:extLst>
            </p:cNvPr>
            <p:cNvSpPr>
              <a:spLocks noChangeShapeType="1"/>
            </p:cNvSpPr>
            <p:nvPr/>
          </p:nvSpPr>
          <p:spPr bwMode="auto">
            <a:xfrm>
              <a:off x="-2214299" y="2778908"/>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63" name="Line 507">
              <a:extLst>
                <a:ext uri="{FF2B5EF4-FFF2-40B4-BE49-F238E27FC236}">
                  <a16:creationId xmlns:a16="http://schemas.microsoft.com/office/drawing/2014/main" id="{63163B1D-ABC3-0582-7F33-F36263609296}"/>
                </a:ext>
              </a:extLst>
            </p:cNvPr>
            <p:cNvSpPr>
              <a:spLocks noChangeShapeType="1"/>
            </p:cNvSpPr>
            <p:nvPr/>
          </p:nvSpPr>
          <p:spPr bwMode="auto">
            <a:xfrm flipH="1">
              <a:off x="-2247412" y="2810179"/>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64" name="Line 508">
              <a:extLst>
                <a:ext uri="{FF2B5EF4-FFF2-40B4-BE49-F238E27FC236}">
                  <a16:creationId xmlns:a16="http://schemas.microsoft.com/office/drawing/2014/main" id="{CA60EBC8-B5ED-D13B-F257-B86E6C0169E5}"/>
                </a:ext>
              </a:extLst>
            </p:cNvPr>
            <p:cNvSpPr>
              <a:spLocks noChangeShapeType="1"/>
            </p:cNvSpPr>
            <p:nvPr/>
          </p:nvSpPr>
          <p:spPr bwMode="auto">
            <a:xfrm>
              <a:off x="-2249250" y="276419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65" name="Line 509">
              <a:extLst>
                <a:ext uri="{FF2B5EF4-FFF2-40B4-BE49-F238E27FC236}">
                  <a16:creationId xmlns:a16="http://schemas.microsoft.com/office/drawing/2014/main" id="{36CA79DF-6C56-355A-CAB5-B02BFA9D6D43}"/>
                </a:ext>
              </a:extLst>
            </p:cNvPr>
            <p:cNvSpPr>
              <a:spLocks noChangeShapeType="1"/>
            </p:cNvSpPr>
            <p:nvPr/>
          </p:nvSpPr>
          <p:spPr bwMode="auto">
            <a:xfrm flipH="1">
              <a:off x="-2282363" y="2797301"/>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66" name="Line 510">
              <a:extLst>
                <a:ext uri="{FF2B5EF4-FFF2-40B4-BE49-F238E27FC236}">
                  <a16:creationId xmlns:a16="http://schemas.microsoft.com/office/drawing/2014/main" id="{C26C1C72-2E30-C88D-2BCB-ACC6F953C02F}"/>
                </a:ext>
              </a:extLst>
            </p:cNvPr>
            <p:cNvSpPr>
              <a:spLocks noChangeShapeType="1"/>
            </p:cNvSpPr>
            <p:nvPr/>
          </p:nvSpPr>
          <p:spPr bwMode="auto">
            <a:xfrm>
              <a:off x="-2263967" y="276419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67" name="Line 511">
              <a:extLst>
                <a:ext uri="{FF2B5EF4-FFF2-40B4-BE49-F238E27FC236}">
                  <a16:creationId xmlns:a16="http://schemas.microsoft.com/office/drawing/2014/main" id="{E61AE8B8-888E-A07B-ACC2-D26BADF4C584}"/>
                </a:ext>
              </a:extLst>
            </p:cNvPr>
            <p:cNvSpPr>
              <a:spLocks noChangeShapeType="1"/>
            </p:cNvSpPr>
            <p:nvPr/>
          </p:nvSpPr>
          <p:spPr bwMode="auto">
            <a:xfrm flipH="1">
              <a:off x="-2295236" y="2797301"/>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68" name="Line 512">
              <a:extLst>
                <a:ext uri="{FF2B5EF4-FFF2-40B4-BE49-F238E27FC236}">
                  <a16:creationId xmlns:a16="http://schemas.microsoft.com/office/drawing/2014/main" id="{EF36520B-2D5A-B463-3669-893DA2784718}"/>
                </a:ext>
              </a:extLst>
            </p:cNvPr>
            <p:cNvSpPr>
              <a:spLocks noChangeShapeType="1"/>
            </p:cNvSpPr>
            <p:nvPr/>
          </p:nvSpPr>
          <p:spPr bwMode="auto">
            <a:xfrm>
              <a:off x="-2298919" y="276419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69" name="Line 513">
              <a:extLst>
                <a:ext uri="{FF2B5EF4-FFF2-40B4-BE49-F238E27FC236}">
                  <a16:creationId xmlns:a16="http://schemas.microsoft.com/office/drawing/2014/main" id="{6D6B5246-631D-68F7-CBA2-79450362E727}"/>
                </a:ext>
              </a:extLst>
            </p:cNvPr>
            <p:cNvSpPr>
              <a:spLocks noChangeShapeType="1"/>
            </p:cNvSpPr>
            <p:nvPr/>
          </p:nvSpPr>
          <p:spPr bwMode="auto">
            <a:xfrm flipH="1">
              <a:off x="-2332029" y="2797301"/>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70" name="Line 514">
              <a:extLst>
                <a:ext uri="{FF2B5EF4-FFF2-40B4-BE49-F238E27FC236}">
                  <a16:creationId xmlns:a16="http://schemas.microsoft.com/office/drawing/2014/main" id="{5C88E1AA-DAFD-6FBB-A194-9E3A6419A2A2}"/>
                </a:ext>
              </a:extLst>
            </p:cNvPr>
            <p:cNvSpPr>
              <a:spLocks noChangeShapeType="1"/>
            </p:cNvSpPr>
            <p:nvPr/>
          </p:nvSpPr>
          <p:spPr bwMode="auto">
            <a:xfrm>
              <a:off x="-2355944" y="276419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71" name="Line 515">
              <a:extLst>
                <a:ext uri="{FF2B5EF4-FFF2-40B4-BE49-F238E27FC236}">
                  <a16:creationId xmlns:a16="http://schemas.microsoft.com/office/drawing/2014/main" id="{E2DBE71C-156E-9807-A219-6E06C9BC6AE7}"/>
                </a:ext>
              </a:extLst>
            </p:cNvPr>
            <p:cNvSpPr>
              <a:spLocks noChangeShapeType="1"/>
            </p:cNvSpPr>
            <p:nvPr/>
          </p:nvSpPr>
          <p:spPr bwMode="auto">
            <a:xfrm flipH="1">
              <a:off x="-2383535" y="2797301"/>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72" name="Line 516">
              <a:extLst>
                <a:ext uri="{FF2B5EF4-FFF2-40B4-BE49-F238E27FC236}">
                  <a16:creationId xmlns:a16="http://schemas.microsoft.com/office/drawing/2014/main" id="{EC268007-3984-05AD-4E0D-9BA30F5A3253}"/>
                </a:ext>
              </a:extLst>
            </p:cNvPr>
            <p:cNvSpPr>
              <a:spLocks noChangeShapeType="1"/>
            </p:cNvSpPr>
            <p:nvPr/>
          </p:nvSpPr>
          <p:spPr bwMode="auto">
            <a:xfrm>
              <a:off x="-2501267" y="2764191"/>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73" name="Line 517">
              <a:extLst>
                <a:ext uri="{FF2B5EF4-FFF2-40B4-BE49-F238E27FC236}">
                  <a16:creationId xmlns:a16="http://schemas.microsoft.com/office/drawing/2014/main" id="{6C511A0A-9ED2-253C-0984-068D89C5C57C}"/>
                </a:ext>
              </a:extLst>
            </p:cNvPr>
            <p:cNvSpPr>
              <a:spLocks noChangeShapeType="1"/>
            </p:cNvSpPr>
            <p:nvPr/>
          </p:nvSpPr>
          <p:spPr bwMode="auto">
            <a:xfrm flipH="1">
              <a:off x="-2532538" y="2797301"/>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74" name="Line 518">
              <a:extLst>
                <a:ext uri="{FF2B5EF4-FFF2-40B4-BE49-F238E27FC236}">
                  <a16:creationId xmlns:a16="http://schemas.microsoft.com/office/drawing/2014/main" id="{5973201A-F3F8-6A7C-C26A-1231DA07F254}"/>
                </a:ext>
              </a:extLst>
            </p:cNvPr>
            <p:cNvSpPr>
              <a:spLocks noChangeShapeType="1"/>
            </p:cNvSpPr>
            <p:nvPr/>
          </p:nvSpPr>
          <p:spPr bwMode="auto">
            <a:xfrm>
              <a:off x="-2501267" y="2743958"/>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75" name="Line 519">
              <a:extLst>
                <a:ext uri="{FF2B5EF4-FFF2-40B4-BE49-F238E27FC236}">
                  <a16:creationId xmlns:a16="http://schemas.microsoft.com/office/drawing/2014/main" id="{D64FDBDF-6CCD-78B8-F79A-F74A56A31D14}"/>
                </a:ext>
              </a:extLst>
            </p:cNvPr>
            <p:cNvSpPr>
              <a:spLocks noChangeShapeType="1"/>
            </p:cNvSpPr>
            <p:nvPr/>
          </p:nvSpPr>
          <p:spPr bwMode="auto">
            <a:xfrm flipH="1">
              <a:off x="-2532538" y="2778908"/>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76" name="Line 520">
              <a:extLst>
                <a:ext uri="{FF2B5EF4-FFF2-40B4-BE49-F238E27FC236}">
                  <a16:creationId xmlns:a16="http://schemas.microsoft.com/office/drawing/2014/main" id="{1FA60E1A-1360-8D31-55DB-AB9BE778FC2A}"/>
                </a:ext>
              </a:extLst>
            </p:cNvPr>
            <p:cNvSpPr>
              <a:spLocks noChangeShapeType="1"/>
            </p:cNvSpPr>
            <p:nvPr/>
          </p:nvSpPr>
          <p:spPr bwMode="auto">
            <a:xfrm>
              <a:off x="-2591405" y="2736598"/>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77" name="Line 521">
              <a:extLst>
                <a:ext uri="{FF2B5EF4-FFF2-40B4-BE49-F238E27FC236}">
                  <a16:creationId xmlns:a16="http://schemas.microsoft.com/office/drawing/2014/main" id="{00ADCE33-10F9-0D6F-9441-9D9989AA5DF9}"/>
                </a:ext>
              </a:extLst>
            </p:cNvPr>
            <p:cNvSpPr>
              <a:spLocks noChangeShapeType="1"/>
            </p:cNvSpPr>
            <p:nvPr/>
          </p:nvSpPr>
          <p:spPr bwMode="auto">
            <a:xfrm flipH="1">
              <a:off x="-2624513" y="2767870"/>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78" name="Line 522">
              <a:extLst>
                <a:ext uri="{FF2B5EF4-FFF2-40B4-BE49-F238E27FC236}">
                  <a16:creationId xmlns:a16="http://schemas.microsoft.com/office/drawing/2014/main" id="{29EDF3EB-20BF-402C-564B-9913C9A17CAD}"/>
                </a:ext>
              </a:extLst>
            </p:cNvPr>
            <p:cNvSpPr>
              <a:spLocks noChangeShapeType="1"/>
            </p:cNvSpPr>
            <p:nvPr/>
          </p:nvSpPr>
          <p:spPr bwMode="auto">
            <a:xfrm>
              <a:off x="-2606121" y="2732919"/>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79" name="Line 523">
              <a:extLst>
                <a:ext uri="{FF2B5EF4-FFF2-40B4-BE49-F238E27FC236}">
                  <a16:creationId xmlns:a16="http://schemas.microsoft.com/office/drawing/2014/main" id="{0EE204B0-9A1A-93B4-5292-6EC9CC5E8CC1}"/>
                </a:ext>
              </a:extLst>
            </p:cNvPr>
            <p:cNvSpPr>
              <a:spLocks noChangeShapeType="1"/>
            </p:cNvSpPr>
            <p:nvPr/>
          </p:nvSpPr>
          <p:spPr bwMode="auto">
            <a:xfrm flipH="1">
              <a:off x="-2637389" y="2764190"/>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80" name="Line 524">
              <a:extLst>
                <a:ext uri="{FF2B5EF4-FFF2-40B4-BE49-F238E27FC236}">
                  <a16:creationId xmlns:a16="http://schemas.microsoft.com/office/drawing/2014/main" id="{0F59EA6E-0A86-8CE3-683B-E111A7DF9874}"/>
                </a:ext>
              </a:extLst>
            </p:cNvPr>
            <p:cNvSpPr>
              <a:spLocks noChangeShapeType="1"/>
            </p:cNvSpPr>
            <p:nvPr/>
          </p:nvSpPr>
          <p:spPr bwMode="auto">
            <a:xfrm>
              <a:off x="-2994262" y="2694290"/>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81" name="Line 525">
              <a:extLst>
                <a:ext uri="{FF2B5EF4-FFF2-40B4-BE49-F238E27FC236}">
                  <a16:creationId xmlns:a16="http://schemas.microsoft.com/office/drawing/2014/main" id="{255DC03E-56DA-1F84-E726-C3F34A7F8C35}"/>
                </a:ext>
              </a:extLst>
            </p:cNvPr>
            <p:cNvSpPr>
              <a:spLocks noChangeShapeType="1"/>
            </p:cNvSpPr>
            <p:nvPr/>
          </p:nvSpPr>
          <p:spPr bwMode="auto">
            <a:xfrm flipH="1">
              <a:off x="-3021853" y="2725561"/>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82" name="Line 526">
              <a:extLst>
                <a:ext uri="{FF2B5EF4-FFF2-40B4-BE49-F238E27FC236}">
                  <a16:creationId xmlns:a16="http://schemas.microsoft.com/office/drawing/2014/main" id="{31F7DF16-8B23-D968-4646-FAF3990AA557}"/>
                </a:ext>
              </a:extLst>
            </p:cNvPr>
            <p:cNvSpPr>
              <a:spLocks noChangeShapeType="1"/>
            </p:cNvSpPr>
            <p:nvPr/>
          </p:nvSpPr>
          <p:spPr bwMode="auto">
            <a:xfrm>
              <a:off x="-3421034" y="2587596"/>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83" name="Line 527">
              <a:extLst>
                <a:ext uri="{FF2B5EF4-FFF2-40B4-BE49-F238E27FC236}">
                  <a16:creationId xmlns:a16="http://schemas.microsoft.com/office/drawing/2014/main" id="{F42DE2D3-C68A-714E-F4FF-0FE943D543A8}"/>
                </a:ext>
              </a:extLst>
            </p:cNvPr>
            <p:cNvSpPr>
              <a:spLocks noChangeShapeType="1"/>
            </p:cNvSpPr>
            <p:nvPr/>
          </p:nvSpPr>
          <p:spPr bwMode="auto">
            <a:xfrm flipH="1">
              <a:off x="-3448625" y="2620706"/>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84" name="Line 528">
              <a:extLst>
                <a:ext uri="{FF2B5EF4-FFF2-40B4-BE49-F238E27FC236}">
                  <a16:creationId xmlns:a16="http://schemas.microsoft.com/office/drawing/2014/main" id="{9285B5A1-FB60-B848-BBCA-BD2B04DBCC48}"/>
                </a:ext>
              </a:extLst>
            </p:cNvPr>
            <p:cNvSpPr>
              <a:spLocks noChangeShapeType="1"/>
            </p:cNvSpPr>
            <p:nvPr/>
          </p:nvSpPr>
          <p:spPr bwMode="auto">
            <a:xfrm>
              <a:off x="-3698803" y="2495620"/>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85" name="Line 529">
              <a:extLst>
                <a:ext uri="{FF2B5EF4-FFF2-40B4-BE49-F238E27FC236}">
                  <a16:creationId xmlns:a16="http://schemas.microsoft.com/office/drawing/2014/main" id="{D1D4B1F8-9D92-9B87-1874-472D1258D080}"/>
                </a:ext>
              </a:extLst>
            </p:cNvPr>
            <p:cNvSpPr>
              <a:spLocks noChangeShapeType="1"/>
            </p:cNvSpPr>
            <p:nvPr/>
          </p:nvSpPr>
          <p:spPr bwMode="auto">
            <a:xfrm flipH="1">
              <a:off x="-3728234" y="2526891"/>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86" name="Line 530">
              <a:extLst>
                <a:ext uri="{FF2B5EF4-FFF2-40B4-BE49-F238E27FC236}">
                  <a16:creationId xmlns:a16="http://schemas.microsoft.com/office/drawing/2014/main" id="{B714A42B-7842-3FE3-6316-ECA2577D4859}"/>
                </a:ext>
              </a:extLst>
            </p:cNvPr>
            <p:cNvSpPr>
              <a:spLocks noChangeShapeType="1"/>
            </p:cNvSpPr>
            <p:nvPr/>
          </p:nvSpPr>
          <p:spPr bwMode="auto">
            <a:xfrm>
              <a:off x="-3724557" y="2495620"/>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87" name="Line 531">
              <a:extLst>
                <a:ext uri="{FF2B5EF4-FFF2-40B4-BE49-F238E27FC236}">
                  <a16:creationId xmlns:a16="http://schemas.microsoft.com/office/drawing/2014/main" id="{188FCAA5-C378-AEE4-5C54-2F214B06549B}"/>
                </a:ext>
              </a:extLst>
            </p:cNvPr>
            <p:cNvSpPr>
              <a:spLocks noChangeShapeType="1"/>
            </p:cNvSpPr>
            <p:nvPr/>
          </p:nvSpPr>
          <p:spPr bwMode="auto">
            <a:xfrm flipH="1">
              <a:off x="-3755828" y="2526891"/>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88" name="Line 532">
              <a:extLst>
                <a:ext uri="{FF2B5EF4-FFF2-40B4-BE49-F238E27FC236}">
                  <a16:creationId xmlns:a16="http://schemas.microsoft.com/office/drawing/2014/main" id="{6E73B1FB-ABC1-8380-E1A9-33F6CB4AFDAE}"/>
                </a:ext>
              </a:extLst>
            </p:cNvPr>
            <p:cNvSpPr>
              <a:spLocks noChangeShapeType="1"/>
            </p:cNvSpPr>
            <p:nvPr/>
          </p:nvSpPr>
          <p:spPr bwMode="auto">
            <a:xfrm>
              <a:off x="-3766865" y="2495620"/>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89" name="Line 533">
              <a:extLst>
                <a:ext uri="{FF2B5EF4-FFF2-40B4-BE49-F238E27FC236}">
                  <a16:creationId xmlns:a16="http://schemas.microsoft.com/office/drawing/2014/main" id="{51605150-3EB2-9353-BD4A-05B932B2CE58}"/>
                </a:ext>
              </a:extLst>
            </p:cNvPr>
            <p:cNvSpPr>
              <a:spLocks noChangeShapeType="1"/>
            </p:cNvSpPr>
            <p:nvPr/>
          </p:nvSpPr>
          <p:spPr bwMode="auto">
            <a:xfrm flipH="1">
              <a:off x="-3794456" y="2526891"/>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90" name="Line 534">
              <a:extLst>
                <a:ext uri="{FF2B5EF4-FFF2-40B4-BE49-F238E27FC236}">
                  <a16:creationId xmlns:a16="http://schemas.microsoft.com/office/drawing/2014/main" id="{257E459F-CECD-21AB-7C3D-7EF887E82C04}"/>
                </a:ext>
              </a:extLst>
            </p:cNvPr>
            <p:cNvSpPr>
              <a:spLocks noChangeShapeType="1"/>
            </p:cNvSpPr>
            <p:nvPr/>
          </p:nvSpPr>
          <p:spPr bwMode="auto">
            <a:xfrm>
              <a:off x="-3755828" y="2495620"/>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91" name="Line 535">
              <a:extLst>
                <a:ext uri="{FF2B5EF4-FFF2-40B4-BE49-F238E27FC236}">
                  <a16:creationId xmlns:a16="http://schemas.microsoft.com/office/drawing/2014/main" id="{D11E6CC8-A220-83DA-438A-7533F814CB39}"/>
                </a:ext>
              </a:extLst>
            </p:cNvPr>
            <p:cNvSpPr>
              <a:spLocks noChangeShapeType="1"/>
            </p:cNvSpPr>
            <p:nvPr/>
          </p:nvSpPr>
          <p:spPr bwMode="auto">
            <a:xfrm flipH="1">
              <a:off x="-3783422" y="2526891"/>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92" name="Line 536">
              <a:extLst>
                <a:ext uri="{FF2B5EF4-FFF2-40B4-BE49-F238E27FC236}">
                  <a16:creationId xmlns:a16="http://schemas.microsoft.com/office/drawing/2014/main" id="{14305C97-DD00-44A3-1D8F-417B021FD687}"/>
                </a:ext>
              </a:extLst>
            </p:cNvPr>
            <p:cNvSpPr>
              <a:spLocks noChangeShapeType="1"/>
            </p:cNvSpPr>
            <p:nvPr/>
          </p:nvSpPr>
          <p:spPr bwMode="auto">
            <a:xfrm>
              <a:off x="-3772384" y="2495620"/>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93" name="Line 537">
              <a:extLst>
                <a:ext uri="{FF2B5EF4-FFF2-40B4-BE49-F238E27FC236}">
                  <a16:creationId xmlns:a16="http://schemas.microsoft.com/office/drawing/2014/main" id="{23CA6350-88CF-A570-2345-FFA264B3E099}"/>
                </a:ext>
              </a:extLst>
            </p:cNvPr>
            <p:cNvSpPr>
              <a:spLocks noChangeShapeType="1"/>
            </p:cNvSpPr>
            <p:nvPr/>
          </p:nvSpPr>
          <p:spPr bwMode="auto">
            <a:xfrm flipH="1">
              <a:off x="-3805495" y="2526891"/>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94" name="Line 538">
              <a:extLst>
                <a:ext uri="{FF2B5EF4-FFF2-40B4-BE49-F238E27FC236}">
                  <a16:creationId xmlns:a16="http://schemas.microsoft.com/office/drawing/2014/main" id="{84F652B9-82C1-B768-A1D4-572A03CF4AF8}"/>
                </a:ext>
              </a:extLst>
            </p:cNvPr>
            <p:cNvSpPr>
              <a:spLocks noChangeShapeType="1"/>
            </p:cNvSpPr>
            <p:nvPr/>
          </p:nvSpPr>
          <p:spPr bwMode="auto">
            <a:xfrm>
              <a:off x="-3805495" y="2468029"/>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95" name="Line 539">
              <a:extLst>
                <a:ext uri="{FF2B5EF4-FFF2-40B4-BE49-F238E27FC236}">
                  <a16:creationId xmlns:a16="http://schemas.microsoft.com/office/drawing/2014/main" id="{FCC639FF-F135-F93A-6CC0-2E02723B99EF}"/>
                </a:ext>
              </a:extLst>
            </p:cNvPr>
            <p:cNvSpPr>
              <a:spLocks noChangeShapeType="1"/>
            </p:cNvSpPr>
            <p:nvPr/>
          </p:nvSpPr>
          <p:spPr bwMode="auto">
            <a:xfrm flipH="1">
              <a:off x="-3833088" y="2499297"/>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96" name="Line 540">
              <a:extLst>
                <a:ext uri="{FF2B5EF4-FFF2-40B4-BE49-F238E27FC236}">
                  <a16:creationId xmlns:a16="http://schemas.microsoft.com/office/drawing/2014/main" id="{20C7E706-282C-EC3F-FBCE-79929A74B6ED}"/>
                </a:ext>
              </a:extLst>
            </p:cNvPr>
            <p:cNvSpPr>
              <a:spLocks noChangeShapeType="1"/>
            </p:cNvSpPr>
            <p:nvPr/>
          </p:nvSpPr>
          <p:spPr bwMode="auto">
            <a:xfrm>
              <a:off x="-3790779" y="2468029"/>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97" name="Line 541">
              <a:extLst>
                <a:ext uri="{FF2B5EF4-FFF2-40B4-BE49-F238E27FC236}">
                  <a16:creationId xmlns:a16="http://schemas.microsoft.com/office/drawing/2014/main" id="{DCCF6BBD-1312-A757-2DD8-D962F6C3F2D5}"/>
                </a:ext>
              </a:extLst>
            </p:cNvPr>
            <p:cNvSpPr>
              <a:spLocks noChangeShapeType="1"/>
            </p:cNvSpPr>
            <p:nvPr/>
          </p:nvSpPr>
          <p:spPr bwMode="auto">
            <a:xfrm flipH="1">
              <a:off x="-3822050" y="2499297"/>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98" name="Line 542">
              <a:extLst>
                <a:ext uri="{FF2B5EF4-FFF2-40B4-BE49-F238E27FC236}">
                  <a16:creationId xmlns:a16="http://schemas.microsoft.com/office/drawing/2014/main" id="{7832497B-42EF-255D-EB52-090A9AD55B16}"/>
                </a:ext>
              </a:extLst>
            </p:cNvPr>
            <p:cNvSpPr>
              <a:spLocks noChangeShapeType="1"/>
            </p:cNvSpPr>
            <p:nvPr/>
          </p:nvSpPr>
          <p:spPr bwMode="auto">
            <a:xfrm>
              <a:off x="-3809174" y="2438594"/>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999" name="Line 543">
              <a:extLst>
                <a:ext uri="{FF2B5EF4-FFF2-40B4-BE49-F238E27FC236}">
                  <a16:creationId xmlns:a16="http://schemas.microsoft.com/office/drawing/2014/main" id="{D14F692C-8B1B-B4FE-C07E-FF9D9F24538C}"/>
                </a:ext>
              </a:extLst>
            </p:cNvPr>
            <p:cNvSpPr>
              <a:spLocks noChangeShapeType="1"/>
            </p:cNvSpPr>
            <p:nvPr/>
          </p:nvSpPr>
          <p:spPr bwMode="auto">
            <a:xfrm flipH="1">
              <a:off x="-3840445" y="2471705"/>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00" name="Line 544">
              <a:extLst>
                <a:ext uri="{FF2B5EF4-FFF2-40B4-BE49-F238E27FC236}">
                  <a16:creationId xmlns:a16="http://schemas.microsoft.com/office/drawing/2014/main" id="{5CDA8C36-00C7-E743-1EB7-4F275827ADB6}"/>
                </a:ext>
              </a:extLst>
            </p:cNvPr>
            <p:cNvSpPr>
              <a:spLocks noChangeShapeType="1"/>
            </p:cNvSpPr>
            <p:nvPr/>
          </p:nvSpPr>
          <p:spPr bwMode="auto">
            <a:xfrm>
              <a:off x="-3833089" y="2438594"/>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01" name="Line 545">
              <a:extLst>
                <a:ext uri="{FF2B5EF4-FFF2-40B4-BE49-F238E27FC236}">
                  <a16:creationId xmlns:a16="http://schemas.microsoft.com/office/drawing/2014/main" id="{927B1F86-1046-85CB-F725-C5BCD149E1B2}"/>
                </a:ext>
              </a:extLst>
            </p:cNvPr>
            <p:cNvSpPr>
              <a:spLocks noChangeShapeType="1"/>
            </p:cNvSpPr>
            <p:nvPr/>
          </p:nvSpPr>
          <p:spPr bwMode="auto">
            <a:xfrm flipH="1">
              <a:off x="-3864359" y="2471705"/>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02" name="Line 546">
              <a:extLst>
                <a:ext uri="{FF2B5EF4-FFF2-40B4-BE49-F238E27FC236}">
                  <a16:creationId xmlns:a16="http://schemas.microsoft.com/office/drawing/2014/main" id="{2A1E9DE0-9998-F362-82E2-5AC0A7B11FEF}"/>
                </a:ext>
              </a:extLst>
            </p:cNvPr>
            <p:cNvSpPr>
              <a:spLocks noChangeShapeType="1"/>
            </p:cNvSpPr>
            <p:nvPr/>
          </p:nvSpPr>
          <p:spPr bwMode="auto">
            <a:xfrm>
              <a:off x="-3822052" y="2438594"/>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03" name="Line 547">
              <a:extLst>
                <a:ext uri="{FF2B5EF4-FFF2-40B4-BE49-F238E27FC236}">
                  <a16:creationId xmlns:a16="http://schemas.microsoft.com/office/drawing/2014/main" id="{92E2515B-6BA1-2D4F-4E6A-C65D057EA34E}"/>
                </a:ext>
              </a:extLst>
            </p:cNvPr>
            <p:cNvSpPr>
              <a:spLocks noChangeShapeType="1"/>
            </p:cNvSpPr>
            <p:nvPr/>
          </p:nvSpPr>
          <p:spPr bwMode="auto">
            <a:xfrm flipH="1">
              <a:off x="-3851483" y="2471705"/>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04" name="Line 548">
              <a:extLst>
                <a:ext uri="{FF2B5EF4-FFF2-40B4-BE49-F238E27FC236}">
                  <a16:creationId xmlns:a16="http://schemas.microsoft.com/office/drawing/2014/main" id="{E3EC19DD-D488-B401-4579-9DB078EF00EE}"/>
                </a:ext>
              </a:extLst>
            </p:cNvPr>
            <p:cNvSpPr>
              <a:spLocks noChangeShapeType="1"/>
            </p:cNvSpPr>
            <p:nvPr/>
          </p:nvSpPr>
          <p:spPr bwMode="auto">
            <a:xfrm>
              <a:off x="-4178920" y="2357657"/>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05" name="Line 549">
              <a:extLst>
                <a:ext uri="{FF2B5EF4-FFF2-40B4-BE49-F238E27FC236}">
                  <a16:creationId xmlns:a16="http://schemas.microsoft.com/office/drawing/2014/main" id="{596DC641-068C-3789-3D6B-C5DC6F421816}"/>
                </a:ext>
              </a:extLst>
            </p:cNvPr>
            <p:cNvSpPr>
              <a:spLocks noChangeShapeType="1"/>
            </p:cNvSpPr>
            <p:nvPr/>
          </p:nvSpPr>
          <p:spPr bwMode="auto">
            <a:xfrm flipH="1">
              <a:off x="-4206511" y="2388925"/>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06" name="Line 550">
              <a:extLst>
                <a:ext uri="{FF2B5EF4-FFF2-40B4-BE49-F238E27FC236}">
                  <a16:creationId xmlns:a16="http://schemas.microsoft.com/office/drawing/2014/main" id="{A12AEB00-108A-699E-985D-1C045253D5A4}"/>
                </a:ext>
              </a:extLst>
            </p:cNvPr>
            <p:cNvSpPr>
              <a:spLocks noChangeShapeType="1"/>
            </p:cNvSpPr>
            <p:nvPr/>
          </p:nvSpPr>
          <p:spPr bwMode="auto">
            <a:xfrm>
              <a:off x="-4189958" y="2357657"/>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07" name="Line 551">
              <a:extLst>
                <a:ext uri="{FF2B5EF4-FFF2-40B4-BE49-F238E27FC236}">
                  <a16:creationId xmlns:a16="http://schemas.microsoft.com/office/drawing/2014/main" id="{3276DE1F-0841-99B1-FC46-5C1FA09A8240}"/>
                </a:ext>
              </a:extLst>
            </p:cNvPr>
            <p:cNvSpPr>
              <a:spLocks noChangeShapeType="1"/>
            </p:cNvSpPr>
            <p:nvPr/>
          </p:nvSpPr>
          <p:spPr bwMode="auto">
            <a:xfrm flipH="1">
              <a:off x="-4221228" y="2388925"/>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08" name="Line 552">
              <a:extLst>
                <a:ext uri="{FF2B5EF4-FFF2-40B4-BE49-F238E27FC236}">
                  <a16:creationId xmlns:a16="http://schemas.microsoft.com/office/drawing/2014/main" id="{34F1EE0A-C16D-26F4-6D4D-CB472EBC5712}"/>
                </a:ext>
              </a:extLst>
            </p:cNvPr>
            <p:cNvSpPr>
              <a:spLocks noChangeShapeType="1"/>
            </p:cNvSpPr>
            <p:nvPr/>
          </p:nvSpPr>
          <p:spPr bwMode="auto">
            <a:xfrm>
              <a:off x="-4189958" y="2326384"/>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09" name="Line 553">
              <a:extLst>
                <a:ext uri="{FF2B5EF4-FFF2-40B4-BE49-F238E27FC236}">
                  <a16:creationId xmlns:a16="http://schemas.microsoft.com/office/drawing/2014/main" id="{1B44C000-B474-EF80-8C09-800F7ACA46F0}"/>
                </a:ext>
              </a:extLst>
            </p:cNvPr>
            <p:cNvSpPr>
              <a:spLocks noChangeShapeType="1"/>
            </p:cNvSpPr>
            <p:nvPr/>
          </p:nvSpPr>
          <p:spPr bwMode="auto">
            <a:xfrm flipH="1">
              <a:off x="-4221228" y="2357654"/>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10" name="Line 554">
              <a:extLst>
                <a:ext uri="{FF2B5EF4-FFF2-40B4-BE49-F238E27FC236}">
                  <a16:creationId xmlns:a16="http://schemas.microsoft.com/office/drawing/2014/main" id="{B3E7E502-7243-8E77-6C08-EA9465028416}"/>
                </a:ext>
              </a:extLst>
            </p:cNvPr>
            <p:cNvSpPr>
              <a:spLocks noChangeShapeType="1"/>
            </p:cNvSpPr>
            <p:nvPr/>
          </p:nvSpPr>
          <p:spPr bwMode="auto">
            <a:xfrm>
              <a:off x="-4213872" y="228407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11" name="Line 555">
              <a:extLst>
                <a:ext uri="{FF2B5EF4-FFF2-40B4-BE49-F238E27FC236}">
                  <a16:creationId xmlns:a16="http://schemas.microsoft.com/office/drawing/2014/main" id="{8AD10D10-1CA4-C99C-967F-70C5A8C63AD3}"/>
                </a:ext>
              </a:extLst>
            </p:cNvPr>
            <p:cNvSpPr>
              <a:spLocks noChangeShapeType="1"/>
            </p:cNvSpPr>
            <p:nvPr/>
          </p:nvSpPr>
          <p:spPr bwMode="auto">
            <a:xfrm flipH="1">
              <a:off x="-4241464" y="2315343"/>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12" name="Line 556">
              <a:extLst>
                <a:ext uri="{FF2B5EF4-FFF2-40B4-BE49-F238E27FC236}">
                  <a16:creationId xmlns:a16="http://schemas.microsoft.com/office/drawing/2014/main" id="{BB74611B-B4D8-DDF3-D005-F57377713060}"/>
                </a:ext>
              </a:extLst>
            </p:cNvPr>
            <p:cNvSpPr>
              <a:spLocks noChangeShapeType="1"/>
            </p:cNvSpPr>
            <p:nvPr/>
          </p:nvSpPr>
          <p:spPr bwMode="auto">
            <a:xfrm>
              <a:off x="-4228588" y="228407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13" name="Line 557">
              <a:extLst>
                <a:ext uri="{FF2B5EF4-FFF2-40B4-BE49-F238E27FC236}">
                  <a16:creationId xmlns:a16="http://schemas.microsoft.com/office/drawing/2014/main" id="{ADB9BF6D-C1B3-EE75-82D2-1E4B921C493F}"/>
                </a:ext>
              </a:extLst>
            </p:cNvPr>
            <p:cNvSpPr>
              <a:spLocks noChangeShapeType="1"/>
            </p:cNvSpPr>
            <p:nvPr/>
          </p:nvSpPr>
          <p:spPr bwMode="auto">
            <a:xfrm flipH="1">
              <a:off x="-4256180" y="2315343"/>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14" name="Line 558">
              <a:extLst>
                <a:ext uri="{FF2B5EF4-FFF2-40B4-BE49-F238E27FC236}">
                  <a16:creationId xmlns:a16="http://schemas.microsoft.com/office/drawing/2014/main" id="{836F4528-5E12-4020-41D7-E3E579C72A48}"/>
                </a:ext>
              </a:extLst>
            </p:cNvPr>
            <p:cNvSpPr>
              <a:spLocks noChangeShapeType="1"/>
            </p:cNvSpPr>
            <p:nvPr/>
          </p:nvSpPr>
          <p:spPr bwMode="auto">
            <a:xfrm>
              <a:off x="-4379429" y="2258318"/>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15" name="Line 559">
              <a:extLst>
                <a:ext uri="{FF2B5EF4-FFF2-40B4-BE49-F238E27FC236}">
                  <a16:creationId xmlns:a16="http://schemas.microsoft.com/office/drawing/2014/main" id="{BE984950-DFE8-E032-A1A6-7F1C1248576A}"/>
                </a:ext>
              </a:extLst>
            </p:cNvPr>
            <p:cNvSpPr>
              <a:spLocks noChangeShapeType="1"/>
            </p:cNvSpPr>
            <p:nvPr/>
          </p:nvSpPr>
          <p:spPr bwMode="auto">
            <a:xfrm flipH="1">
              <a:off x="-4410700" y="2293270"/>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16" name="Line 560">
              <a:extLst>
                <a:ext uri="{FF2B5EF4-FFF2-40B4-BE49-F238E27FC236}">
                  <a16:creationId xmlns:a16="http://schemas.microsoft.com/office/drawing/2014/main" id="{92B6AD0A-1929-2BB2-89B2-C3C39EA9A6A5}"/>
                </a:ext>
              </a:extLst>
            </p:cNvPr>
            <p:cNvSpPr>
              <a:spLocks noChangeShapeType="1"/>
            </p:cNvSpPr>
            <p:nvPr/>
          </p:nvSpPr>
          <p:spPr bwMode="auto">
            <a:xfrm>
              <a:off x="-4221229" y="2258318"/>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17" name="Line 561">
              <a:extLst>
                <a:ext uri="{FF2B5EF4-FFF2-40B4-BE49-F238E27FC236}">
                  <a16:creationId xmlns:a16="http://schemas.microsoft.com/office/drawing/2014/main" id="{72F8D994-7660-8C15-3B35-71B1BDE06CA6}"/>
                </a:ext>
              </a:extLst>
            </p:cNvPr>
            <p:cNvSpPr>
              <a:spLocks noChangeShapeType="1"/>
            </p:cNvSpPr>
            <p:nvPr/>
          </p:nvSpPr>
          <p:spPr bwMode="auto">
            <a:xfrm flipH="1">
              <a:off x="-4252499" y="2293270"/>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18" name="Line 562">
              <a:extLst>
                <a:ext uri="{FF2B5EF4-FFF2-40B4-BE49-F238E27FC236}">
                  <a16:creationId xmlns:a16="http://schemas.microsoft.com/office/drawing/2014/main" id="{6FD58F8C-B87C-560F-F7CE-B7BD5410AD2C}"/>
                </a:ext>
              </a:extLst>
            </p:cNvPr>
            <p:cNvSpPr>
              <a:spLocks noChangeShapeType="1"/>
            </p:cNvSpPr>
            <p:nvPr/>
          </p:nvSpPr>
          <p:spPr bwMode="auto">
            <a:xfrm>
              <a:off x="-4429095" y="2258318"/>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19" name="Line 563">
              <a:extLst>
                <a:ext uri="{FF2B5EF4-FFF2-40B4-BE49-F238E27FC236}">
                  <a16:creationId xmlns:a16="http://schemas.microsoft.com/office/drawing/2014/main" id="{CBE4AB96-B374-B8EC-4F38-E0237F18D42B}"/>
                </a:ext>
              </a:extLst>
            </p:cNvPr>
            <p:cNvSpPr>
              <a:spLocks noChangeShapeType="1"/>
            </p:cNvSpPr>
            <p:nvPr/>
          </p:nvSpPr>
          <p:spPr bwMode="auto">
            <a:xfrm flipH="1">
              <a:off x="-4456689" y="2293270"/>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20" name="Line 564">
              <a:extLst>
                <a:ext uri="{FF2B5EF4-FFF2-40B4-BE49-F238E27FC236}">
                  <a16:creationId xmlns:a16="http://schemas.microsoft.com/office/drawing/2014/main" id="{B55D2195-777E-0145-BEFD-FD532B76C058}"/>
                </a:ext>
              </a:extLst>
            </p:cNvPr>
            <p:cNvSpPr>
              <a:spLocks noChangeShapeType="1"/>
            </p:cNvSpPr>
            <p:nvPr/>
          </p:nvSpPr>
          <p:spPr bwMode="auto">
            <a:xfrm>
              <a:off x="-4602013" y="2223370"/>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21" name="Line 565">
              <a:extLst>
                <a:ext uri="{FF2B5EF4-FFF2-40B4-BE49-F238E27FC236}">
                  <a16:creationId xmlns:a16="http://schemas.microsoft.com/office/drawing/2014/main" id="{779485E5-9982-1D98-2662-B11C9332E088}"/>
                </a:ext>
              </a:extLst>
            </p:cNvPr>
            <p:cNvSpPr>
              <a:spLocks noChangeShapeType="1"/>
            </p:cNvSpPr>
            <p:nvPr/>
          </p:nvSpPr>
          <p:spPr bwMode="auto">
            <a:xfrm flipH="1">
              <a:off x="-4633281" y="2254641"/>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22" name="Line 566">
              <a:extLst>
                <a:ext uri="{FF2B5EF4-FFF2-40B4-BE49-F238E27FC236}">
                  <a16:creationId xmlns:a16="http://schemas.microsoft.com/office/drawing/2014/main" id="{D1C058A6-3498-F3B6-9538-90609476BF88}"/>
                </a:ext>
              </a:extLst>
            </p:cNvPr>
            <p:cNvSpPr>
              <a:spLocks noChangeShapeType="1"/>
            </p:cNvSpPr>
            <p:nvPr/>
          </p:nvSpPr>
          <p:spPr bwMode="auto">
            <a:xfrm>
              <a:off x="-4602013" y="2208652"/>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23" name="Line 567">
              <a:extLst>
                <a:ext uri="{FF2B5EF4-FFF2-40B4-BE49-F238E27FC236}">
                  <a16:creationId xmlns:a16="http://schemas.microsoft.com/office/drawing/2014/main" id="{16EE948F-BD42-D22C-3AEA-96275FAC8A3E}"/>
                </a:ext>
              </a:extLst>
            </p:cNvPr>
            <p:cNvSpPr>
              <a:spLocks noChangeShapeType="1"/>
            </p:cNvSpPr>
            <p:nvPr/>
          </p:nvSpPr>
          <p:spPr bwMode="auto">
            <a:xfrm flipH="1">
              <a:off x="-4633281" y="2241762"/>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24" name="Line 568">
              <a:extLst>
                <a:ext uri="{FF2B5EF4-FFF2-40B4-BE49-F238E27FC236}">
                  <a16:creationId xmlns:a16="http://schemas.microsoft.com/office/drawing/2014/main" id="{A200355E-73C7-615A-CCBD-60FE995F568B}"/>
                </a:ext>
              </a:extLst>
            </p:cNvPr>
            <p:cNvSpPr>
              <a:spLocks noChangeShapeType="1"/>
            </p:cNvSpPr>
            <p:nvPr/>
          </p:nvSpPr>
          <p:spPr bwMode="auto">
            <a:xfrm>
              <a:off x="-5718607" y="1905131"/>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25" name="Line 569">
              <a:extLst>
                <a:ext uri="{FF2B5EF4-FFF2-40B4-BE49-F238E27FC236}">
                  <a16:creationId xmlns:a16="http://schemas.microsoft.com/office/drawing/2014/main" id="{FE5F87C6-2039-EB6E-4793-79D0ADCF0C6B}"/>
                </a:ext>
              </a:extLst>
            </p:cNvPr>
            <p:cNvSpPr>
              <a:spLocks noChangeShapeType="1"/>
            </p:cNvSpPr>
            <p:nvPr/>
          </p:nvSpPr>
          <p:spPr bwMode="auto">
            <a:xfrm flipH="1">
              <a:off x="-5751720" y="1936401"/>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26" name="Line 570">
              <a:extLst>
                <a:ext uri="{FF2B5EF4-FFF2-40B4-BE49-F238E27FC236}">
                  <a16:creationId xmlns:a16="http://schemas.microsoft.com/office/drawing/2014/main" id="{2ACF56A1-D4F7-C6FB-F82F-0A0C579D2998}"/>
                </a:ext>
              </a:extLst>
            </p:cNvPr>
            <p:cNvSpPr>
              <a:spLocks noChangeShapeType="1"/>
            </p:cNvSpPr>
            <p:nvPr/>
          </p:nvSpPr>
          <p:spPr bwMode="auto">
            <a:xfrm>
              <a:off x="-2067138"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27" name="Line 571">
              <a:extLst>
                <a:ext uri="{FF2B5EF4-FFF2-40B4-BE49-F238E27FC236}">
                  <a16:creationId xmlns:a16="http://schemas.microsoft.com/office/drawing/2014/main" id="{2D105BA6-611C-5D37-CAA8-076557BDF688}"/>
                </a:ext>
              </a:extLst>
            </p:cNvPr>
            <p:cNvSpPr>
              <a:spLocks noChangeShapeType="1"/>
            </p:cNvSpPr>
            <p:nvPr/>
          </p:nvSpPr>
          <p:spPr bwMode="auto">
            <a:xfrm flipH="1">
              <a:off x="-2098408" y="2858006"/>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28" name="Line 572">
              <a:extLst>
                <a:ext uri="{FF2B5EF4-FFF2-40B4-BE49-F238E27FC236}">
                  <a16:creationId xmlns:a16="http://schemas.microsoft.com/office/drawing/2014/main" id="{5AD41913-C37B-DFDD-3FE9-3D4A674F5C1F}"/>
                </a:ext>
              </a:extLst>
            </p:cNvPr>
            <p:cNvSpPr>
              <a:spLocks noChangeShapeType="1"/>
            </p:cNvSpPr>
            <p:nvPr/>
          </p:nvSpPr>
          <p:spPr bwMode="auto">
            <a:xfrm>
              <a:off x="-1967801"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29" name="Line 573">
              <a:extLst>
                <a:ext uri="{FF2B5EF4-FFF2-40B4-BE49-F238E27FC236}">
                  <a16:creationId xmlns:a16="http://schemas.microsoft.com/office/drawing/2014/main" id="{6CA2A2B1-9283-974D-0131-5001FF73D1F9}"/>
                </a:ext>
              </a:extLst>
            </p:cNvPr>
            <p:cNvSpPr>
              <a:spLocks noChangeShapeType="1"/>
            </p:cNvSpPr>
            <p:nvPr/>
          </p:nvSpPr>
          <p:spPr bwMode="auto">
            <a:xfrm flipH="1">
              <a:off x="-1999071" y="2858006"/>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30" name="Line 574">
              <a:extLst>
                <a:ext uri="{FF2B5EF4-FFF2-40B4-BE49-F238E27FC236}">
                  <a16:creationId xmlns:a16="http://schemas.microsoft.com/office/drawing/2014/main" id="{76535EAC-1A86-621D-94DC-FED442883E7F}"/>
                </a:ext>
              </a:extLst>
            </p:cNvPr>
            <p:cNvSpPr>
              <a:spLocks noChangeShapeType="1"/>
            </p:cNvSpPr>
            <p:nvPr/>
          </p:nvSpPr>
          <p:spPr bwMode="auto">
            <a:xfrm>
              <a:off x="-2052422"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31" name="Line 575">
              <a:extLst>
                <a:ext uri="{FF2B5EF4-FFF2-40B4-BE49-F238E27FC236}">
                  <a16:creationId xmlns:a16="http://schemas.microsoft.com/office/drawing/2014/main" id="{C4B7A3BF-DDBB-0D45-39C9-717D77D49DBB}"/>
                </a:ext>
              </a:extLst>
            </p:cNvPr>
            <p:cNvSpPr>
              <a:spLocks noChangeShapeType="1"/>
            </p:cNvSpPr>
            <p:nvPr/>
          </p:nvSpPr>
          <p:spPr bwMode="auto">
            <a:xfrm flipH="1">
              <a:off x="-2083691" y="2858006"/>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32" name="Line 576">
              <a:extLst>
                <a:ext uri="{FF2B5EF4-FFF2-40B4-BE49-F238E27FC236}">
                  <a16:creationId xmlns:a16="http://schemas.microsoft.com/office/drawing/2014/main" id="{DB9411BD-8E33-1D2A-0A1F-B428DAF005D6}"/>
                </a:ext>
              </a:extLst>
            </p:cNvPr>
            <p:cNvSpPr>
              <a:spLocks noChangeShapeType="1"/>
            </p:cNvSpPr>
            <p:nvPr/>
          </p:nvSpPr>
          <p:spPr bwMode="auto">
            <a:xfrm>
              <a:off x="-2080013" y="2824895"/>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33" name="Line 577">
              <a:extLst>
                <a:ext uri="{FF2B5EF4-FFF2-40B4-BE49-F238E27FC236}">
                  <a16:creationId xmlns:a16="http://schemas.microsoft.com/office/drawing/2014/main" id="{E884CF13-CF90-A902-36B9-D440B90613A6}"/>
                </a:ext>
              </a:extLst>
            </p:cNvPr>
            <p:cNvSpPr>
              <a:spLocks noChangeShapeType="1"/>
            </p:cNvSpPr>
            <p:nvPr/>
          </p:nvSpPr>
          <p:spPr bwMode="auto">
            <a:xfrm flipH="1">
              <a:off x="-2109445" y="2858006"/>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34" name="Line 578">
              <a:extLst>
                <a:ext uri="{FF2B5EF4-FFF2-40B4-BE49-F238E27FC236}">
                  <a16:creationId xmlns:a16="http://schemas.microsoft.com/office/drawing/2014/main" id="{AC0EDF6C-643B-9A28-4FB2-AB4992A08AA5}"/>
                </a:ext>
              </a:extLst>
            </p:cNvPr>
            <p:cNvSpPr>
              <a:spLocks noChangeShapeType="1"/>
            </p:cNvSpPr>
            <p:nvPr/>
          </p:nvSpPr>
          <p:spPr bwMode="auto">
            <a:xfrm>
              <a:off x="-236803" y="3027245"/>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35" name="Line 579">
              <a:extLst>
                <a:ext uri="{FF2B5EF4-FFF2-40B4-BE49-F238E27FC236}">
                  <a16:creationId xmlns:a16="http://schemas.microsoft.com/office/drawing/2014/main" id="{AB577F50-D0CF-0721-77FC-7A3487874CB7}"/>
                </a:ext>
              </a:extLst>
            </p:cNvPr>
            <p:cNvSpPr>
              <a:spLocks noChangeShapeType="1"/>
            </p:cNvSpPr>
            <p:nvPr/>
          </p:nvSpPr>
          <p:spPr bwMode="auto">
            <a:xfrm flipH="1">
              <a:off x="-268076" y="3062195"/>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36" name="Line 580">
              <a:extLst>
                <a:ext uri="{FF2B5EF4-FFF2-40B4-BE49-F238E27FC236}">
                  <a16:creationId xmlns:a16="http://schemas.microsoft.com/office/drawing/2014/main" id="{EFE51BAB-9CAC-BF17-2478-9A864D76CD44}"/>
                </a:ext>
              </a:extLst>
            </p:cNvPr>
            <p:cNvSpPr>
              <a:spLocks noChangeShapeType="1"/>
            </p:cNvSpPr>
            <p:nvPr/>
          </p:nvSpPr>
          <p:spPr bwMode="auto">
            <a:xfrm>
              <a:off x="-6202407" y="1783721"/>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37" name="Line 581">
              <a:extLst>
                <a:ext uri="{FF2B5EF4-FFF2-40B4-BE49-F238E27FC236}">
                  <a16:creationId xmlns:a16="http://schemas.microsoft.com/office/drawing/2014/main" id="{B2AA2118-BD78-FFB0-ED84-201473C9E616}"/>
                </a:ext>
              </a:extLst>
            </p:cNvPr>
            <p:cNvSpPr>
              <a:spLocks noChangeShapeType="1"/>
            </p:cNvSpPr>
            <p:nvPr/>
          </p:nvSpPr>
          <p:spPr bwMode="auto">
            <a:xfrm flipH="1">
              <a:off x="-6229998" y="1816831"/>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38" name="Line 582">
              <a:extLst>
                <a:ext uri="{FF2B5EF4-FFF2-40B4-BE49-F238E27FC236}">
                  <a16:creationId xmlns:a16="http://schemas.microsoft.com/office/drawing/2014/main" id="{B468C380-CC02-EC8F-B9B9-7615D2E4B5B5}"/>
                </a:ext>
              </a:extLst>
            </p:cNvPr>
            <p:cNvSpPr>
              <a:spLocks noChangeShapeType="1"/>
            </p:cNvSpPr>
            <p:nvPr/>
          </p:nvSpPr>
          <p:spPr bwMode="auto">
            <a:xfrm>
              <a:off x="-6191369" y="1783721"/>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39" name="Line 583">
              <a:extLst>
                <a:ext uri="{FF2B5EF4-FFF2-40B4-BE49-F238E27FC236}">
                  <a16:creationId xmlns:a16="http://schemas.microsoft.com/office/drawing/2014/main" id="{0D2ED829-2B5C-C40D-5866-2BC2DE518FD9}"/>
                </a:ext>
              </a:extLst>
            </p:cNvPr>
            <p:cNvSpPr>
              <a:spLocks noChangeShapeType="1"/>
            </p:cNvSpPr>
            <p:nvPr/>
          </p:nvSpPr>
          <p:spPr bwMode="auto">
            <a:xfrm flipH="1">
              <a:off x="-6220802" y="1816831"/>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40" name="Line 584">
              <a:extLst>
                <a:ext uri="{FF2B5EF4-FFF2-40B4-BE49-F238E27FC236}">
                  <a16:creationId xmlns:a16="http://schemas.microsoft.com/office/drawing/2014/main" id="{B8261C4D-8675-DFFB-9076-7EC4F7A2CA6A}"/>
                </a:ext>
              </a:extLst>
            </p:cNvPr>
            <p:cNvSpPr>
              <a:spLocks noChangeShapeType="1"/>
            </p:cNvSpPr>
            <p:nvPr/>
          </p:nvSpPr>
          <p:spPr bwMode="auto">
            <a:xfrm>
              <a:off x="-6917983" y="1625523"/>
              <a:ext cx="0" cy="6254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41" name="Line 585">
              <a:extLst>
                <a:ext uri="{FF2B5EF4-FFF2-40B4-BE49-F238E27FC236}">
                  <a16:creationId xmlns:a16="http://schemas.microsoft.com/office/drawing/2014/main" id="{6F06AAB6-4077-4E96-3759-C15760683ED5}"/>
                </a:ext>
              </a:extLst>
            </p:cNvPr>
            <p:cNvSpPr>
              <a:spLocks noChangeShapeType="1"/>
            </p:cNvSpPr>
            <p:nvPr/>
          </p:nvSpPr>
          <p:spPr bwMode="auto">
            <a:xfrm flipH="1">
              <a:off x="-6949253" y="1656792"/>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42" name="Line 586">
              <a:extLst>
                <a:ext uri="{FF2B5EF4-FFF2-40B4-BE49-F238E27FC236}">
                  <a16:creationId xmlns:a16="http://schemas.microsoft.com/office/drawing/2014/main" id="{A30ED699-C4B3-5AF6-37E4-E52494F0E79F}"/>
                </a:ext>
              </a:extLst>
            </p:cNvPr>
            <p:cNvSpPr>
              <a:spLocks noChangeShapeType="1"/>
            </p:cNvSpPr>
            <p:nvPr/>
          </p:nvSpPr>
          <p:spPr bwMode="auto">
            <a:xfrm>
              <a:off x="-6601583" y="1684386"/>
              <a:ext cx="0" cy="6438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43" name="Line 587">
              <a:extLst>
                <a:ext uri="{FF2B5EF4-FFF2-40B4-BE49-F238E27FC236}">
                  <a16:creationId xmlns:a16="http://schemas.microsoft.com/office/drawing/2014/main" id="{D5BE6289-18BE-BCD4-735D-F06DE2E457B8}"/>
                </a:ext>
              </a:extLst>
            </p:cNvPr>
            <p:cNvSpPr>
              <a:spLocks noChangeShapeType="1"/>
            </p:cNvSpPr>
            <p:nvPr/>
          </p:nvSpPr>
          <p:spPr bwMode="auto">
            <a:xfrm flipH="1">
              <a:off x="-6629177" y="1717497"/>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44" name="Line 588">
              <a:extLst>
                <a:ext uri="{FF2B5EF4-FFF2-40B4-BE49-F238E27FC236}">
                  <a16:creationId xmlns:a16="http://schemas.microsoft.com/office/drawing/2014/main" id="{25780F79-81D8-9EDB-4F10-541D860BAD33}"/>
                </a:ext>
              </a:extLst>
            </p:cNvPr>
            <p:cNvSpPr>
              <a:spLocks noChangeShapeType="1"/>
            </p:cNvSpPr>
            <p:nvPr/>
          </p:nvSpPr>
          <p:spPr bwMode="auto">
            <a:xfrm>
              <a:off x="-6952936" y="1599766"/>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45" name="Line 589">
              <a:extLst>
                <a:ext uri="{FF2B5EF4-FFF2-40B4-BE49-F238E27FC236}">
                  <a16:creationId xmlns:a16="http://schemas.microsoft.com/office/drawing/2014/main" id="{75CD2366-119A-F529-8109-DE101C4D3796}"/>
                </a:ext>
              </a:extLst>
            </p:cNvPr>
            <p:cNvSpPr>
              <a:spLocks noChangeShapeType="1"/>
            </p:cNvSpPr>
            <p:nvPr/>
          </p:nvSpPr>
          <p:spPr bwMode="auto">
            <a:xfrm flipH="1">
              <a:off x="-6986047" y="1634717"/>
              <a:ext cx="6438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46" name="Line 590">
              <a:extLst>
                <a:ext uri="{FF2B5EF4-FFF2-40B4-BE49-F238E27FC236}">
                  <a16:creationId xmlns:a16="http://schemas.microsoft.com/office/drawing/2014/main" id="{C8927622-8F16-44DF-AB23-63755D30861B}"/>
                </a:ext>
              </a:extLst>
            </p:cNvPr>
            <p:cNvSpPr>
              <a:spLocks noChangeShapeType="1"/>
            </p:cNvSpPr>
            <p:nvPr/>
          </p:nvSpPr>
          <p:spPr bwMode="auto">
            <a:xfrm>
              <a:off x="-6963974" y="1599766"/>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47" name="Line 591">
              <a:extLst>
                <a:ext uri="{FF2B5EF4-FFF2-40B4-BE49-F238E27FC236}">
                  <a16:creationId xmlns:a16="http://schemas.microsoft.com/office/drawing/2014/main" id="{98D6A377-AF11-D377-144F-21EE4900EAAD}"/>
                </a:ext>
              </a:extLst>
            </p:cNvPr>
            <p:cNvSpPr>
              <a:spLocks noChangeShapeType="1"/>
            </p:cNvSpPr>
            <p:nvPr/>
          </p:nvSpPr>
          <p:spPr bwMode="auto">
            <a:xfrm flipH="1">
              <a:off x="-6995243" y="1634717"/>
              <a:ext cx="5886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48" name="Line 592">
              <a:extLst>
                <a:ext uri="{FF2B5EF4-FFF2-40B4-BE49-F238E27FC236}">
                  <a16:creationId xmlns:a16="http://schemas.microsoft.com/office/drawing/2014/main" id="{40EF19D6-6463-F7D4-EB2B-822D4F72C147}"/>
                </a:ext>
              </a:extLst>
            </p:cNvPr>
            <p:cNvSpPr>
              <a:spLocks noChangeShapeType="1"/>
            </p:cNvSpPr>
            <p:nvPr/>
          </p:nvSpPr>
          <p:spPr bwMode="auto">
            <a:xfrm>
              <a:off x="-6978690" y="1599766"/>
              <a:ext cx="0" cy="68066"/>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49" name="Line 593">
              <a:extLst>
                <a:ext uri="{FF2B5EF4-FFF2-40B4-BE49-F238E27FC236}">
                  <a16:creationId xmlns:a16="http://schemas.microsoft.com/office/drawing/2014/main" id="{9252C3A4-2859-F930-9B3D-6DE655FE0661}"/>
                </a:ext>
              </a:extLst>
            </p:cNvPr>
            <p:cNvSpPr>
              <a:spLocks noChangeShapeType="1"/>
            </p:cNvSpPr>
            <p:nvPr/>
          </p:nvSpPr>
          <p:spPr bwMode="auto">
            <a:xfrm flipH="1">
              <a:off x="-7009959" y="1634717"/>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50" name="Line 594">
              <a:extLst>
                <a:ext uri="{FF2B5EF4-FFF2-40B4-BE49-F238E27FC236}">
                  <a16:creationId xmlns:a16="http://schemas.microsoft.com/office/drawing/2014/main" id="{814105D2-6488-07F8-6303-F02953E77554}"/>
                </a:ext>
              </a:extLst>
            </p:cNvPr>
            <p:cNvSpPr>
              <a:spLocks noChangeShapeType="1"/>
            </p:cNvSpPr>
            <p:nvPr/>
          </p:nvSpPr>
          <p:spPr bwMode="auto">
            <a:xfrm>
              <a:off x="-6978690" y="1579532"/>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51" name="Line 595">
              <a:extLst>
                <a:ext uri="{FF2B5EF4-FFF2-40B4-BE49-F238E27FC236}">
                  <a16:creationId xmlns:a16="http://schemas.microsoft.com/office/drawing/2014/main" id="{86771742-90F2-10C1-0ACF-9BF3D4366A4A}"/>
                </a:ext>
              </a:extLst>
            </p:cNvPr>
            <p:cNvSpPr>
              <a:spLocks noChangeShapeType="1"/>
            </p:cNvSpPr>
            <p:nvPr/>
          </p:nvSpPr>
          <p:spPr bwMode="auto">
            <a:xfrm flipH="1">
              <a:off x="-7009959" y="1610803"/>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52" name="Line 596">
              <a:extLst>
                <a:ext uri="{FF2B5EF4-FFF2-40B4-BE49-F238E27FC236}">
                  <a16:creationId xmlns:a16="http://schemas.microsoft.com/office/drawing/2014/main" id="{4181B59D-BC95-DB21-A1C1-E0A9C63BA5C1}"/>
                </a:ext>
              </a:extLst>
            </p:cNvPr>
            <p:cNvSpPr>
              <a:spLocks noChangeShapeType="1"/>
            </p:cNvSpPr>
            <p:nvPr/>
          </p:nvSpPr>
          <p:spPr bwMode="auto">
            <a:xfrm>
              <a:off x="-6987886" y="1579532"/>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53" name="Line 597">
              <a:extLst>
                <a:ext uri="{FF2B5EF4-FFF2-40B4-BE49-F238E27FC236}">
                  <a16:creationId xmlns:a16="http://schemas.microsoft.com/office/drawing/2014/main" id="{FF356784-D217-745C-1B27-E2A2BC20669B}"/>
                </a:ext>
              </a:extLst>
            </p:cNvPr>
            <p:cNvSpPr>
              <a:spLocks noChangeShapeType="1"/>
            </p:cNvSpPr>
            <p:nvPr/>
          </p:nvSpPr>
          <p:spPr bwMode="auto">
            <a:xfrm flipH="1">
              <a:off x="-7020997" y="1610803"/>
              <a:ext cx="60705"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54" name="Line 598">
              <a:extLst>
                <a:ext uri="{FF2B5EF4-FFF2-40B4-BE49-F238E27FC236}">
                  <a16:creationId xmlns:a16="http://schemas.microsoft.com/office/drawing/2014/main" id="{1E594D45-AE4E-C1E4-540B-0E02E7D1D9C5}"/>
                </a:ext>
              </a:extLst>
            </p:cNvPr>
            <p:cNvSpPr>
              <a:spLocks noChangeShapeType="1"/>
            </p:cNvSpPr>
            <p:nvPr/>
          </p:nvSpPr>
          <p:spPr bwMode="auto">
            <a:xfrm>
              <a:off x="-7002601" y="1579532"/>
              <a:ext cx="0" cy="66224"/>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055" name="Line 599">
              <a:extLst>
                <a:ext uri="{FF2B5EF4-FFF2-40B4-BE49-F238E27FC236}">
                  <a16:creationId xmlns:a16="http://schemas.microsoft.com/office/drawing/2014/main" id="{626DC9ED-FAAA-40AE-BC90-B4EFF71E21B3}"/>
                </a:ext>
              </a:extLst>
            </p:cNvPr>
            <p:cNvSpPr>
              <a:spLocks noChangeShapeType="1"/>
            </p:cNvSpPr>
            <p:nvPr/>
          </p:nvSpPr>
          <p:spPr bwMode="auto">
            <a:xfrm flipH="1">
              <a:off x="-7033873" y="1610803"/>
              <a:ext cx="62544" cy="0"/>
            </a:xfrm>
            <a:prstGeom prst="line">
              <a:avLst/>
            </a:prstGeom>
            <a:noFill/>
            <a:ln w="15875" cap="flat">
              <a:solidFill>
                <a:srgbClr val="D000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grpSp>
      <p:sp>
        <p:nvSpPr>
          <p:cNvPr id="1056" name="TextBox 1055">
            <a:extLst>
              <a:ext uri="{FF2B5EF4-FFF2-40B4-BE49-F238E27FC236}">
                <a16:creationId xmlns:a16="http://schemas.microsoft.com/office/drawing/2014/main" id="{3A8AF0B8-F6C6-0CDA-47BB-FD626A375A69}"/>
              </a:ext>
            </a:extLst>
          </p:cNvPr>
          <p:cNvSpPr txBox="1"/>
          <p:nvPr/>
        </p:nvSpPr>
        <p:spPr>
          <a:xfrm>
            <a:off x="1416742" y="5199606"/>
            <a:ext cx="6249383" cy="307777"/>
          </a:xfrm>
          <a:prstGeom prst="rect">
            <a:avLst/>
          </a:prstGeom>
          <a:noFill/>
        </p:spPr>
        <p:txBody>
          <a:bodyPr wrap="square" rtlCol="0" anchor="ctr">
            <a:spAutoFit/>
          </a:bodyPr>
          <a:lstStyle/>
          <a:p>
            <a:pPr marL="0" marR="0" lvl="0" indent="0" algn="ctr" defTabSz="5143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me since </a:t>
            </a:r>
            <a:r>
              <a:rPr kumimoji="0" lang="en-US"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andomisation</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onths)</a:t>
            </a:r>
          </a:p>
        </p:txBody>
      </p:sp>
      <p:sp>
        <p:nvSpPr>
          <p:cNvPr id="1057" name="TextBox 1056">
            <a:extLst>
              <a:ext uri="{FF2B5EF4-FFF2-40B4-BE49-F238E27FC236}">
                <a16:creationId xmlns:a16="http://schemas.microsoft.com/office/drawing/2014/main" id="{00EFEF1B-3D35-C3FA-54CA-0EA142015AAB}"/>
              </a:ext>
            </a:extLst>
          </p:cNvPr>
          <p:cNvSpPr txBox="1"/>
          <p:nvPr/>
        </p:nvSpPr>
        <p:spPr>
          <a:xfrm>
            <a:off x="4517412" y="1593699"/>
            <a:ext cx="2767640" cy="52322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82%  </a:t>
            </a:r>
          </a:p>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Olaparib + bevacizumab</a:t>
            </a:r>
          </a:p>
        </p:txBody>
      </p:sp>
      <p:sp>
        <p:nvSpPr>
          <p:cNvPr id="1058" name="TextBox 1057">
            <a:extLst>
              <a:ext uri="{FF2B5EF4-FFF2-40B4-BE49-F238E27FC236}">
                <a16:creationId xmlns:a16="http://schemas.microsoft.com/office/drawing/2014/main" id="{29D14B45-525C-857B-DD16-C566A6C49E22}"/>
              </a:ext>
            </a:extLst>
          </p:cNvPr>
          <p:cNvSpPr txBox="1"/>
          <p:nvPr/>
        </p:nvSpPr>
        <p:spPr>
          <a:xfrm>
            <a:off x="4518831" y="3085228"/>
            <a:ext cx="1265736" cy="738664"/>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0006F"/>
                </a:solidFill>
                <a:effectLst/>
                <a:uLnTx/>
                <a:uFillTx/>
                <a:latin typeface="Arial" panose="020B0604020202020204" pitchFamily="34" charset="0"/>
                <a:ea typeface="+mn-ea"/>
                <a:cs typeface="Arial" panose="020B0604020202020204" pitchFamily="34" charset="0"/>
              </a:rPr>
              <a:t>73% Olaparib </a:t>
            </a:r>
          </a:p>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03E75"/>
                </a:solidFill>
                <a:effectLst/>
                <a:uLnTx/>
                <a:uFillTx/>
                <a:latin typeface="Arial" panose="020B0604020202020204" pitchFamily="34" charset="0"/>
                <a:ea typeface="+mn-ea"/>
                <a:cs typeface="Arial" panose="020B0604020202020204" pitchFamily="34" charset="0"/>
              </a:rPr>
              <a:t> </a:t>
            </a:r>
          </a:p>
        </p:txBody>
      </p:sp>
      <p:sp>
        <p:nvSpPr>
          <p:cNvPr id="6" name="TextBox 5">
            <a:extLst>
              <a:ext uri="{FF2B5EF4-FFF2-40B4-BE49-F238E27FC236}">
                <a16:creationId xmlns:a16="http://schemas.microsoft.com/office/drawing/2014/main" id="{7EC2F3C5-6A05-D27C-E96D-3FDA88074D45}"/>
              </a:ext>
            </a:extLst>
          </p:cNvPr>
          <p:cNvSpPr txBox="1"/>
          <p:nvPr/>
        </p:nvSpPr>
        <p:spPr>
          <a:xfrm>
            <a:off x="116095" y="6388380"/>
            <a:ext cx="12192000" cy="400111"/>
          </a:xfrm>
          <a:prstGeom prst="rect">
            <a:avLst/>
          </a:prstGeom>
          <a:noFill/>
        </p:spPr>
        <p:txBody>
          <a:bodyPr wrap="square" anchor="b">
            <a:noAutofit/>
          </a:bodyPr>
          <a:lstStyle>
            <a:defPPr>
              <a:defRPr lang="en-US"/>
            </a:defPPr>
            <a:lvl1pPr>
              <a:defRPr sz="1000">
                <a:solidFill>
                  <a:schemeClr val="bg1"/>
                </a:solidFill>
                <a:latin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In SOLO1, median follow-up was 40.7 months in the olaparib arm and 41.2 months in the placebo arm. Shaded region represents 95% CI. </a:t>
            </a:r>
            <a:b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In PAOLA-1, median follow-up was 22.7 months in the olaparib + bevacizumab arm and 24.0 months in the placebo + bevacizumab arm.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These results are based on weighted outcomes after matching </a:t>
            </a:r>
            <a:r>
              <a:rPr kumimoji="0" lang="en-US" sz="1000" b="0" i="0" u="none" strike="noStrike" kern="1200" cap="none" spc="0" normalizeH="0" baseline="0" noProof="0" dirty="0" err="1">
                <a:ln>
                  <a:noFill/>
                </a:ln>
                <a:solidFill>
                  <a:srgbClr val="1C428D"/>
                </a:solidFill>
                <a:effectLst/>
                <a:uLnTx/>
                <a:uFillTx/>
                <a:latin typeface="Arial" panose="020B0604020202020204" pitchFamily="34" charset="0"/>
                <a:ea typeface="+mn-ea"/>
                <a:cs typeface="Arial" panose="020B0604020202020204" pitchFamily="34" charset="0"/>
              </a:rPr>
              <a:t>tumour</a:t>
            </a: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 location status, ECOG status, FIGO stage, type of surgery (PDS vs IDS), residual disease status after surgery, response to </a:t>
            </a:r>
            <a:b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first-line treatment and age to SOLO1. </a:t>
            </a:r>
            <a:r>
              <a:rPr kumimoji="0" lang="en-US" sz="1000" b="0" i="0" u="none" strike="noStrike" kern="1200" cap="none" spc="0" normalizeH="0" baseline="30000" noProof="0" dirty="0">
                <a:ln>
                  <a:noFill/>
                </a:ln>
                <a:solidFill>
                  <a:srgbClr val="1C428D"/>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CIs generated by bootstrapping. </a:t>
            </a:r>
            <a:r>
              <a:rPr kumimoji="0" lang="en-US" sz="1000" b="0" i="1"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BRCA</a:t>
            </a: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 breast cancer susceptibility gene; </a:t>
            </a:r>
            <a:r>
              <a:rPr kumimoji="0" lang="en-US" sz="1000" b="0" i="1" u="none" strike="noStrike" kern="1200" cap="none" spc="0" normalizeH="0" baseline="0" noProof="0" dirty="0" err="1">
                <a:ln>
                  <a:noFill/>
                </a:ln>
                <a:solidFill>
                  <a:srgbClr val="1C428D"/>
                </a:solidFill>
                <a:effectLst/>
                <a:uLnTx/>
                <a:uFillTx/>
                <a:latin typeface="Arial" panose="020B0604020202020204" pitchFamily="34" charset="0"/>
                <a:ea typeface="+mn-ea"/>
                <a:cs typeface="Arial" panose="020B0604020202020204" pitchFamily="34" charset="0"/>
              </a:rPr>
              <a:t>BRCA</a:t>
            </a:r>
            <a:r>
              <a:rPr kumimoji="0" lang="en-US" sz="1000" b="0" i="0" u="none" strike="noStrike" kern="1200" cap="none" spc="0" normalizeH="0" baseline="0" noProof="0" dirty="0" err="1">
                <a:ln>
                  <a:noFill/>
                </a:ln>
                <a:solidFill>
                  <a:srgbClr val="1C428D"/>
                </a:solidFill>
                <a:effectLst/>
                <a:uLnTx/>
                <a:uFillTx/>
                <a:latin typeface="Arial" panose="020B0604020202020204" pitchFamily="34" charset="0"/>
                <a:ea typeface="+mn-ea"/>
                <a:cs typeface="Arial" panose="020B0604020202020204" pitchFamily="34" charset="0"/>
              </a:rPr>
              <a:t>m</a:t>
            </a: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 </a:t>
            </a:r>
            <a:r>
              <a:rPr kumimoji="0" lang="en-US" sz="1000" b="0" i="1"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BRCA</a:t>
            </a: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 mutation; CI, confidence interval; ECOG, Eastern Cooperative Oncology Group; </a:t>
            </a:r>
            <a:b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FIGO, International Federation of Gynecology and Obstetrics; HR, hazard ratio; IDS, interval debulking surgery; PDS, primary debulking surgery.</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1C428D"/>
                </a:solidFill>
                <a:effectLst/>
                <a:uLnTx/>
                <a:uFillTx/>
                <a:latin typeface="Arial" panose="020B0604020202020204" pitchFamily="34" charset="0"/>
                <a:ea typeface="+mn-ea"/>
                <a:cs typeface="Arial" panose="020B0604020202020204" pitchFamily="34" charset="0"/>
              </a:rPr>
              <a:t>Vergote</a:t>
            </a: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 I, et al. </a:t>
            </a:r>
            <a:r>
              <a:rPr kumimoji="0" lang="en-US" sz="1000" b="0" i="1" u="none" strike="noStrike" kern="1200" cap="none" spc="0" normalizeH="0" baseline="0" noProof="0" dirty="0" err="1">
                <a:ln>
                  <a:noFill/>
                </a:ln>
                <a:solidFill>
                  <a:srgbClr val="1C428D"/>
                </a:solidFill>
                <a:effectLst/>
                <a:uLnTx/>
                <a:uFillTx/>
                <a:latin typeface="Arial" panose="020B0604020202020204" pitchFamily="34" charset="0"/>
                <a:ea typeface="+mn-ea"/>
                <a:cs typeface="Arial" panose="020B0604020202020204" pitchFamily="34" charset="0"/>
              </a:rPr>
              <a:t>Eur</a:t>
            </a:r>
            <a:r>
              <a:rPr kumimoji="0" lang="en-US" sz="1000" b="0" i="1"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 J Cancer</a:t>
            </a: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 2021;157:415-423.</a:t>
            </a:r>
          </a:p>
        </p:txBody>
      </p:sp>
    </p:spTree>
    <p:extLst>
      <p:ext uri="{BB962C8B-B14F-4D97-AF65-F5344CB8AC3E}">
        <p14:creationId xmlns:p14="http://schemas.microsoft.com/office/powerpoint/2010/main" val="856494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1550B-1E45-F13A-94F9-B4BD253E253C}"/>
              </a:ext>
            </a:extLst>
          </p:cNvPr>
          <p:cNvSpPr>
            <a:spLocks noGrp="1"/>
          </p:cNvSpPr>
          <p:nvPr>
            <p:ph type="title"/>
          </p:nvPr>
        </p:nvSpPr>
        <p:spPr/>
        <p:txBody>
          <a:bodyPr/>
          <a:lstStyle/>
          <a:p>
            <a:r>
              <a:rPr lang="en-US" sz="2400" dirty="0">
                <a:solidFill>
                  <a:srgbClr val="003865"/>
                </a:solidFill>
              </a:rPr>
              <a:t>Indirect treatment comparison using propensity score weighting showed greater PFS benefit with olaparib + bevacizumab in HRD-</a:t>
            </a:r>
            <a:r>
              <a:rPr lang="en-US" sz="2400" dirty="0" err="1">
                <a:solidFill>
                  <a:srgbClr val="003865"/>
                </a:solidFill>
              </a:rPr>
              <a:t>positive</a:t>
            </a:r>
            <a:r>
              <a:rPr lang="en-US" sz="2400" baseline="30000" dirty="0" err="1">
                <a:solidFill>
                  <a:srgbClr val="003865"/>
                </a:solidFill>
              </a:rPr>
              <a:t>a</a:t>
            </a:r>
            <a:r>
              <a:rPr lang="en-US" sz="2400" dirty="0">
                <a:solidFill>
                  <a:srgbClr val="003865"/>
                </a:solidFill>
              </a:rPr>
              <a:t> </a:t>
            </a:r>
            <a:br>
              <a:rPr lang="en-US" sz="2400" dirty="0">
                <a:solidFill>
                  <a:srgbClr val="003865"/>
                </a:solidFill>
              </a:rPr>
            </a:br>
            <a:r>
              <a:rPr lang="en-US" sz="2400" dirty="0">
                <a:solidFill>
                  <a:srgbClr val="003865"/>
                </a:solidFill>
              </a:rPr>
              <a:t>PAOLA-1 (PRIMA-eligible subset)</a:t>
            </a:r>
            <a:r>
              <a:rPr lang="en-US" sz="2400" baseline="30000" dirty="0">
                <a:solidFill>
                  <a:srgbClr val="003865"/>
                </a:solidFill>
              </a:rPr>
              <a:t>b</a:t>
            </a:r>
            <a:r>
              <a:rPr lang="en-US" sz="2400" dirty="0">
                <a:solidFill>
                  <a:srgbClr val="003865"/>
                </a:solidFill>
              </a:rPr>
              <a:t> vs niraparib PRIMA patients</a:t>
            </a:r>
          </a:p>
        </p:txBody>
      </p:sp>
      <p:grpSp>
        <p:nvGrpSpPr>
          <p:cNvPr id="9" name="Group 8">
            <a:extLst>
              <a:ext uri="{FF2B5EF4-FFF2-40B4-BE49-F238E27FC236}">
                <a16:creationId xmlns:a16="http://schemas.microsoft.com/office/drawing/2014/main" id="{05D6B29C-C6D6-3355-97F7-B9684F2EC86D}"/>
              </a:ext>
            </a:extLst>
          </p:cNvPr>
          <p:cNvGrpSpPr>
            <a:grpSpLocks noChangeAspect="1"/>
          </p:cNvGrpSpPr>
          <p:nvPr/>
        </p:nvGrpSpPr>
        <p:grpSpPr>
          <a:xfrm>
            <a:off x="424281" y="1969940"/>
            <a:ext cx="6578885" cy="3879284"/>
            <a:chOff x="423957" y="2055295"/>
            <a:chExt cx="6903560" cy="4070730"/>
          </a:xfrm>
        </p:grpSpPr>
        <p:sp>
          <p:nvSpPr>
            <p:cNvPr id="69" name="Rectangle 68">
              <a:extLst>
                <a:ext uri="{FF2B5EF4-FFF2-40B4-BE49-F238E27FC236}">
                  <a16:creationId xmlns:a16="http://schemas.microsoft.com/office/drawing/2014/main" id="{263315CA-4CF5-A959-F7BB-86F71B3875A4}"/>
                </a:ext>
              </a:extLst>
            </p:cNvPr>
            <p:cNvSpPr/>
            <p:nvPr/>
          </p:nvSpPr>
          <p:spPr>
            <a:xfrm>
              <a:off x="5343369" y="2218807"/>
              <a:ext cx="1984148" cy="484449"/>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51607"/>
                  </a:solidFill>
                  <a:effectLst/>
                  <a:uLnTx/>
                  <a:uFillTx/>
                  <a:latin typeface="Arial" panose="020B0604020202020204"/>
                  <a:ea typeface="+mn-ea"/>
                  <a:cs typeface="+mn-cs"/>
                </a:rPr>
                <a:t>Olaparib + bevacizumab</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51607"/>
                  </a:solidFill>
                  <a:effectLst/>
                  <a:uLnTx/>
                  <a:uFillTx/>
                  <a:latin typeface="Arial" panose="020B0604020202020204"/>
                  <a:ea typeface="+mn-ea"/>
                  <a:cs typeface="+mn-cs"/>
                </a:rPr>
                <a:t>Niraparib</a:t>
              </a:r>
            </a:p>
          </p:txBody>
        </p:sp>
        <p:grpSp>
          <p:nvGrpSpPr>
            <p:cNvPr id="70" name="Group 69">
              <a:extLst>
                <a:ext uri="{FF2B5EF4-FFF2-40B4-BE49-F238E27FC236}">
                  <a16:creationId xmlns:a16="http://schemas.microsoft.com/office/drawing/2014/main" id="{E4F1C2A0-97ED-3367-276E-BDB0902988A2}"/>
                </a:ext>
              </a:extLst>
            </p:cNvPr>
            <p:cNvGrpSpPr/>
            <p:nvPr/>
          </p:nvGrpSpPr>
          <p:grpSpPr>
            <a:xfrm>
              <a:off x="423957" y="2055295"/>
              <a:ext cx="6344010" cy="4070730"/>
              <a:chOff x="535636" y="1921751"/>
              <a:chExt cx="6284224" cy="3737942"/>
            </a:xfrm>
          </p:grpSpPr>
          <p:grpSp>
            <p:nvGrpSpPr>
              <p:cNvPr id="71" name="Group 70">
                <a:extLst>
                  <a:ext uri="{FF2B5EF4-FFF2-40B4-BE49-F238E27FC236}">
                    <a16:creationId xmlns:a16="http://schemas.microsoft.com/office/drawing/2014/main" id="{994058D2-2FE8-5374-53E3-5A073E9A3FFF}"/>
                  </a:ext>
                </a:extLst>
              </p:cNvPr>
              <p:cNvGrpSpPr/>
              <p:nvPr/>
            </p:nvGrpSpPr>
            <p:grpSpPr>
              <a:xfrm>
                <a:off x="535636" y="1921751"/>
                <a:ext cx="6284224" cy="3737942"/>
                <a:chOff x="535636" y="1921751"/>
                <a:chExt cx="6284224" cy="3737942"/>
              </a:xfrm>
            </p:grpSpPr>
            <p:sp>
              <p:nvSpPr>
                <p:cNvPr id="84" name="Freeform: Shape 83">
                  <a:extLst>
                    <a:ext uri="{FF2B5EF4-FFF2-40B4-BE49-F238E27FC236}">
                      <a16:creationId xmlns:a16="http://schemas.microsoft.com/office/drawing/2014/main" id="{8CE1FAEB-F3DB-1137-15A7-81D32BC68638}"/>
                    </a:ext>
                  </a:extLst>
                </p:cNvPr>
                <p:cNvSpPr/>
                <p:nvPr/>
              </p:nvSpPr>
              <p:spPr bwMode="auto">
                <a:xfrm>
                  <a:off x="1382889" y="2051756"/>
                  <a:ext cx="3609622" cy="1967088"/>
                </a:xfrm>
                <a:custGeom>
                  <a:avLst/>
                  <a:gdLst>
                    <a:gd name="connsiteX0" fmla="*/ 8467 w 3609622"/>
                    <a:gd name="connsiteY0" fmla="*/ 0 h 1967088"/>
                    <a:gd name="connsiteX1" fmla="*/ 172155 w 3609622"/>
                    <a:gd name="connsiteY1" fmla="*/ 0 h 1967088"/>
                    <a:gd name="connsiteX2" fmla="*/ 172155 w 3609622"/>
                    <a:gd name="connsiteY2" fmla="*/ 64911 h 1967088"/>
                    <a:gd name="connsiteX3" fmla="*/ 239889 w 3609622"/>
                    <a:gd name="connsiteY3" fmla="*/ 64911 h 1967088"/>
                    <a:gd name="connsiteX4" fmla="*/ 239889 w 3609622"/>
                    <a:gd name="connsiteY4" fmla="*/ 104422 h 1967088"/>
                    <a:gd name="connsiteX5" fmla="*/ 578555 w 3609622"/>
                    <a:gd name="connsiteY5" fmla="*/ 104422 h 1967088"/>
                    <a:gd name="connsiteX6" fmla="*/ 578555 w 3609622"/>
                    <a:gd name="connsiteY6" fmla="*/ 200377 h 1967088"/>
                    <a:gd name="connsiteX7" fmla="*/ 626533 w 3609622"/>
                    <a:gd name="connsiteY7" fmla="*/ 200377 h 1967088"/>
                    <a:gd name="connsiteX8" fmla="*/ 626533 w 3609622"/>
                    <a:gd name="connsiteY8" fmla="*/ 256822 h 1967088"/>
                    <a:gd name="connsiteX9" fmla="*/ 651933 w 3609622"/>
                    <a:gd name="connsiteY9" fmla="*/ 256822 h 1967088"/>
                    <a:gd name="connsiteX10" fmla="*/ 651933 w 3609622"/>
                    <a:gd name="connsiteY10" fmla="*/ 316088 h 1967088"/>
                    <a:gd name="connsiteX11" fmla="*/ 855133 w 3609622"/>
                    <a:gd name="connsiteY11" fmla="*/ 316088 h 1967088"/>
                    <a:gd name="connsiteX12" fmla="*/ 855133 w 3609622"/>
                    <a:gd name="connsiteY12" fmla="*/ 352777 h 1967088"/>
                    <a:gd name="connsiteX13" fmla="*/ 970844 w 3609622"/>
                    <a:gd name="connsiteY13" fmla="*/ 352777 h 1967088"/>
                    <a:gd name="connsiteX14" fmla="*/ 970844 w 3609622"/>
                    <a:gd name="connsiteY14" fmla="*/ 468488 h 1967088"/>
                    <a:gd name="connsiteX15" fmla="*/ 1176867 w 3609622"/>
                    <a:gd name="connsiteY15" fmla="*/ 468488 h 1967088"/>
                    <a:gd name="connsiteX16" fmla="*/ 1176867 w 3609622"/>
                    <a:gd name="connsiteY16" fmla="*/ 493888 h 1967088"/>
                    <a:gd name="connsiteX17" fmla="*/ 1337733 w 3609622"/>
                    <a:gd name="connsiteY17" fmla="*/ 493888 h 1967088"/>
                    <a:gd name="connsiteX18" fmla="*/ 1337733 w 3609622"/>
                    <a:gd name="connsiteY18" fmla="*/ 598311 h 1967088"/>
                    <a:gd name="connsiteX19" fmla="*/ 1374422 w 3609622"/>
                    <a:gd name="connsiteY19" fmla="*/ 598311 h 1967088"/>
                    <a:gd name="connsiteX20" fmla="*/ 1374422 w 3609622"/>
                    <a:gd name="connsiteY20" fmla="*/ 632177 h 1967088"/>
                    <a:gd name="connsiteX21" fmla="*/ 1439333 w 3609622"/>
                    <a:gd name="connsiteY21" fmla="*/ 632177 h 1967088"/>
                    <a:gd name="connsiteX22" fmla="*/ 1439333 w 3609622"/>
                    <a:gd name="connsiteY22" fmla="*/ 666044 h 1967088"/>
                    <a:gd name="connsiteX23" fmla="*/ 1464733 w 3609622"/>
                    <a:gd name="connsiteY23" fmla="*/ 666044 h 1967088"/>
                    <a:gd name="connsiteX24" fmla="*/ 1464733 w 3609622"/>
                    <a:gd name="connsiteY24" fmla="*/ 711200 h 1967088"/>
                    <a:gd name="connsiteX25" fmla="*/ 1690511 w 3609622"/>
                    <a:gd name="connsiteY25" fmla="*/ 711200 h 1967088"/>
                    <a:gd name="connsiteX26" fmla="*/ 1690511 w 3609622"/>
                    <a:gd name="connsiteY26" fmla="*/ 739422 h 1967088"/>
                    <a:gd name="connsiteX27" fmla="*/ 1690511 w 3609622"/>
                    <a:gd name="connsiteY27" fmla="*/ 832555 h 1967088"/>
                    <a:gd name="connsiteX28" fmla="*/ 1721555 w 3609622"/>
                    <a:gd name="connsiteY28" fmla="*/ 832555 h 1967088"/>
                    <a:gd name="connsiteX29" fmla="*/ 1721555 w 3609622"/>
                    <a:gd name="connsiteY29" fmla="*/ 872066 h 1967088"/>
                    <a:gd name="connsiteX30" fmla="*/ 1769533 w 3609622"/>
                    <a:gd name="connsiteY30" fmla="*/ 872066 h 1967088"/>
                    <a:gd name="connsiteX31" fmla="*/ 1769533 w 3609622"/>
                    <a:gd name="connsiteY31" fmla="*/ 903111 h 1967088"/>
                    <a:gd name="connsiteX32" fmla="*/ 1854200 w 3609622"/>
                    <a:gd name="connsiteY32" fmla="*/ 903111 h 1967088"/>
                    <a:gd name="connsiteX33" fmla="*/ 1854200 w 3609622"/>
                    <a:gd name="connsiteY33" fmla="*/ 934155 h 1967088"/>
                    <a:gd name="connsiteX34" fmla="*/ 1902178 w 3609622"/>
                    <a:gd name="connsiteY34" fmla="*/ 934155 h 1967088"/>
                    <a:gd name="connsiteX35" fmla="*/ 1902178 w 3609622"/>
                    <a:gd name="connsiteY35" fmla="*/ 976488 h 1967088"/>
                    <a:gd name="connsiteX36" fmla="*/ 2071511 w 3609622"/>
                    <a:gd name="connsiteY36" fmla="*/ 976488 h 1967088"/>
                    <a:gd name="connsiteX37" fmla="*/ 2071511 w 3609622"/>
                    <a:gd name="connsiteY37" fmla="*/ 999066 h 1967088"/>
                    <a:gd name="connsiteX38" fmla="*/ 2099733 w 3609622"/>
                    <a:gd name="connsiteY38" fmla="*/ 999066 h 1967088"/>
                    <a:gd name="connsiteX39" fmla="*/ 2099733 w 3609622"/>
                    <a:gd name="connsiteY39" fmla="*/ 1030111 h 1967088"/>
                    <a:gd name="connsiteX40" fmla="*/ 2116667 w 3609622"/>
                    <a:gd name="connsiteY40" fmla="*/ 1030111 h 1967088"/>
                    <a:gd name="connsiteX41" fmla="*/ 2116667 w 3609622"/>
                    <a:gd name="connsiteY41" fmla="*/ 1055511 h 1967088"/>
                    <a:gd name="connsiteX42" fmla="*/ 2466622 w 3609622"/>
                    <a:gd name="connsiteY42" fmla="*/ 1055511 h 1967088"/>
                    <a:gd name="connsiteX43" fmla="*/ 2466622 w 3609622"/>
                    <a:gd name="connsiteY43" fmla="*/ 1097844 h 1967088"/>
                    <a:gd name="connsiteX44" fmla="*/ 2511778 w 3609622"/>
                    <a:gd name="connsiteY44" fmla="*/ 1097844 h 1967088"/>
                    <a:gd name="connsiteX45" fmla="*/ 2511778 w 3609622"/>
                    <a:gd name="connsiteY45" fmla="*/ 1182511 h 1967088"/>
                    <a:gd name="connsiteX46" fmla="*/ 2537178 w 3609622"/>
                    <a:gd name="connsiteY46" fmla="*/ 1182511 h 1967088"/>
                    <a:gd name="connsiteX47" fmla="*/ 2825044 w 3609622"/>
                    <a:gd name="connsiteY47" fmla="*/ 1182511 h 1967088"/>
                    <a:gd name="connsiteX48" fmla="*/ 2825044 w 3609622"/>
                    <a:gd name="connsiteY48" fmla="*/ 1247422 h 1967088"/>
                    <a:gd name="connsiteX49" fmla="*/ 2853267 w 3609622"/>
                    <a:gd name="connsiteY49" fmla="*/ 1247422 h 1967088"/>
                    <a:gd name="connsiteX50" fmla="*/ 2853267 w 3609622"/>
                    <a:gd name="connsiteY50" fmla="*/ 1303866 h 1967088"/>
                    <a:gd name="connsiteX51" fmla="*/ 3609622 w 3609622"/>
                    <a:gd name="connsiteY51" fmla="*/ 1303866 h 1967088"/>
                    <a:gd name="connsiteX52" fmla="*/ 3609622 w 3609622"/>
                    <a:gd name="connsiteY52" fmla="*/ 1967088 h 1967088"/>
                    <a:gd name="connsiteX53" fmla="*/ 2839155 w 3609622"/>
                    <a:gd name="connsiteY53" fmla="*/ 1967088 h 1967088"/>
                    <a:gd name="connsiteX54" fmla="*/ 2839155 w 3609622"/>
                    <a:gd name="connsiteY54" fmla="*/ 1876777 h 1967088"/>
                    <a:gd name="connsiteX55" fmla="*/ 2810933 w 3609622"/>
                    <a:gd name="connsiteY55" fmla="*/ 1876777 h 1967088"/>
                    <a:gd name="connsiteX56" fmla="*/ 2810933 w 3609622"/>
                    <a:gd name="connsiteY56" fmla="*/ 1761066 h 1967088"/>
                    <a:gd name="connsiteX57" fmla="*/ 2520244 w 3609622"/>
                    <a:gd name="connsiteY57" fmla="*/ 1761066 h 1967088"/>
                    <a:gd name="connsiteX58" fmla="*/ 2520244 w 3609622"/>
                    <a:gd name="connsiteY58" fmla="*/ 1608666 h 1967088"/>
                    <a:gd name="connsiteX59" fmla="*/ 2472267 w 3609622"/>
                    <a:gd name="connsiteY59" fmla="*/ 1608666 h 1967088"/>
                    <a:gd name="connsiteX60" fmla="*/ 2472267 w 3609622"/>
                    <a:gd name="connsiteY60" fmla="*/ 1524000 h 1967088"/>
                    <a:gd name="connsiteX61" fmla="*/ 2113844 w 3609622"/>
                    <a:gd name="connsiteY61" fmla="*/ 1524000 h 1967088"/>
                    <a:gd name="connsiteX62" fmla="*/ 2113844 w 3609622"/>
                    <a:gd name="connsiteY62" fmla="*/ 1487311 h 1967088"/>
                    <a:gd name="connsiteX63" fmla="*/ 2094089 w 3609622"/>
                    <a:gd name="connsiteY63" fmla="*/ 1487311 h 1967088"/>
                    <a:gd name="connsiteX64" fmla="*/ 2094089 w 3609622"/>
                    <a:gd name="connsiteY64" fmla="*/ 1453444 h 1967088"/>
                    <a:gd name="connsiteX65" fmla="*/ 2057400 w 3609622"/>
                    <a:gd name="connsiteY65" fmla="*/ 1453444 h 1967088"/>
                    <a:gd name="connsiteX66" fmla="*/ 2057400 w 3609622"/>
                    <a:gd name="connsiteY66" fmla="*/ 1428044 h 1967088"/>
                    <a:gd name="connsiteX67" fmla="*/ 1905000 w 3609622"/>
                    <a:gd name="connsiteY67" fmla="*/ 1428044 h 1967088"/>
                    <a:gd name="connsiteX68" fmla="*/ 1905000 w 3609622"/>
                    <a:gd name="connsiteY68" fmla="*/ 1388533 h 1967088"/>
                    <a:gd name="connsiteX69" fmla="*/ 1868311 w 3609622"/>
                    <a:gd name="connsiteY69" fmla="*/ 1388533 h 1967088"/>
                    <a:gd name="connsiteX70" fmla="*/ 1868311 w 3609622"/>
                    <a:gd name="connsiteY70" fmla="*/ 1343377 h 1967088"/>
                    <a:gd name="connsiteX71" fmla="*/ 1786467 w 3609622"/>
                    <a:gd name="connsiteY71" fmla="*/ 1343377 h 1967088"/>
                    <a:gd name="connsiteX72" fmla="*/ 1786467 w 3609622"/>
                    <a:gd name="connsiteY72" fmla="*/ 1303866 h 1967088"/>
                    <a:gd name="connsiteX73" fmla="*/ 1724378 w 3609622"/>
                    <a:gd name="connsiteY73" fmla="*/ 1303866 h 1967088"/>
                    <a:gd name="connsiteX74" fmla="*/ 1724378 w 3609622"/>
                    <a:gd name="connsiteY74" fmla="*/ 1199444 h 1967088"/>
                    <a:gd name="connsiteX75" fmla="*/ 1698978 w 3609622"/>
                    <a:gd name="connsiteY75" fmla="*/ 1199444 h 1967088"/>
                    <a:gd name="connsiteX76" fmla="*/ 1698978 w 3609622"/>
                    <a:gd name="connsiteY76" fmla="*/ 1083733 h 1967088"/>
                    <a:gd name="connsiteX77" fmla="*/ 1459089 w 3609622"/>
                    <a:gd name="connsiteY77" fmla="*/ 1083733 h 1967088"/>
                    <a:gd name="connsiteX78" fmla="*/ 1459089 w 3609622"/>
                    <a:gd name="connsiteY78" fmla="*/ 1024466 h 1967088"/>
                    <a:gd name="connsiteX79" fmla="*/ 1428044 w 3609622"/>
                    <a:gd name="connsiteY79" fmla="*/ 1024466 h 1967088"/>
                    <a:gd name="connsiteX80" fmla="*/ 1428044 w 3609622"/>
                    <a:gd name="connsiteY80" fmla="*/ 990600 h 1967088"/>
                    <a:gd name="connsiteX81" fmla="*/ 1394178 w 3609622"/>
                    <a:gd name="connsiteY81" fmla="*/ 990600 h 1967088"/>
                    <a:gd name="connsiteX82" fmla="*/ 1394178 w 3609622"/>
                    <a:gd name="connsiteY82" fmla="*/ 968022 h 1967088"/>
                    <a:gd name="connsiteX83" fmla="*/ 1343378 w 3609622"/>
                    <a:gd name="connsiteY83" fmla="*/ 968022 h 1967088"/>
                    <a:gd name="connsiteX84" fmla="*/ 1343378 w 3609622"/>
                    <a:gd name="connsiteY84" fmla="*/ 838200 h 1967088"/>
                    <a:gd name="connsiteX85" fmla="*/ 1320800 w 3609622"/>
                    <a:gd name="connsiteY85" fmla="*/ 838200 h 1967088"/>
                    <a:gd name="connsiteX86" fmla="*/ 1320800 w 3609622"/>
                    <a:gd name="connsiteY86" fmla="*/ 815622 h 1967088"/>
                    <a:gd name="connsiteX87" fmla="*/ 1278467 w 3609622"/>
                    <a:gd name="connsiteY87" fmla="*/ 815622 h 1967088"/>
                    <a:gd name="connsiteX88" fmla="*/ 1267178 w 3609622"/>
                    <a:gd name="connsiteY88" fmla="*/ 804333 h 1967088"/>
                    <a:gd name="connsiteX89" fmla="*/ 1176867 w 3609622"/>
                    <a:gd name="connsiteY89" fmla="*/ 804333 h 1967088"/>
                    <a:gd name="connsiteX90" fmla="*/ 1176867 w 3609622"/>
                    <a:gd name="connsiteY90" fmla="*/ 790222 h 1967088"/>
                    <a:gd name="connsiteX91" fmla="*/ 1061155 w 3609622"/>
                    <a:gd name="connsiteY91" fmla="*/ 790222 h 1967088"/>
                    <a:gd name="connsiteX92" fmla="*/ 1061155 w 3609622"/>
                    <a:gd name="connsiteY92" fmla="*/ 764822 h 1967088"/>
                    <a:gd name="connsiteX93" fmla="*/ 973667 w 3609622"/>
                    <a:gd name="connsiteY93" fmla="*/ 764822 h 1967088"/>
                    <a:gd name="connsiteX94" fmla="*/ 973667 w 3609622"/>
                    <a:gd name="connsiteY94" fmla="*/ 682977 h 1967088"/>
                    <a:gd name="connsiteX95" fmla="*/ 945444 w 3609622"/>
                    <a:gd name="connsiteY95" fmla="*/ 682977 h 1967088"/>
                    <a:gd name="connsiteX96" fmla="*/ 945444 w 3609622"/>
                    <a:gd name="connsiteY96" fmla="*/ 637822 h 1967088"/>
                    <a:gd name="connsiteX97" fmla="*/ 855133 w 3609622"/>
                    <a:gd name="connsiteY97" fmla="*/ 637822 h 1967088"/>
                    <a:gd name="connsiteX98" fmla="*/ 855133 w 3609622"/>
                    <a:gd name="connsiteY98" fmla="*/ 615244 h 1967088"/>
                    <a:gd name="connsiteX99" fmla="*/ 824089 w 3609622"/>
                    <a:gd name="connsiteY99" fmla="*/ 615244 h 1967088"/>
                    <a:gd name="connsiteX100" fmla="*/ 824089 w 3609622"/>
                    <a:gd name="connsiteY100" fmla="*/ 589844 h 1967088"/>
                    <a:gd name="connsiteX101" fmla="*/ 677333 w 3609622"/>
                    <a:gd name="connsiteY101" fmla="*/ 589844 h 1967088"/>
                    <a:gd name="connsiteX102" fmla="*/ 677333 w 3609622"/>
                    <a:gd name="connsiteY102" fmla="*/ 564444 h 1967088"/>
                    <a:gd name="connsiteX103" fmla="*/ 643467 w 3609622"/>
                    <a:gd name="connsiteY103" fmla="*/ 564444 h 1967088"/>
                    <a:gd name="connsiteX104" fmla="*/ 643467 w 3609622"/>
                    <a:gd name="connsiteY104" fmla="*/ 510822 h 1967088"/>
                    <a:gd name="connsiteX105" fmla="*/ 609600 w 3609622"/>
                    <a:gd name="connsiteY105" fmla="*/ 510822 h 1967088"/>
                    <a:gd name="connsiteX106" fmla="*/ 609600 w 3609622"/>
                    <a:gd name="connsiteY106" fmla="*/ 448733 h 1967088"/>
                    <a:gd name="connsiteX107" fmla="*/ 595489 w 3609622"/>
                    <a:gd name="connsiteY107" fmla="*/ 434622 h 1967088"/>
                    <a:gd name="connsiteX108" fmla="*/ 595489 w 3609622"/>
                    <a:gd name="connsiteY108" fmla="*/ 330200 h 1967088"/>
                    <a:gd name="connsiteX109" fmla="*/ 570089 w 3609622"/>
                    <a:gd name="connsiteY109" fmla="*/ 330200 h 1967088"/>
                    <a:gd name="connsiteX110" fmla="*/ 570089 w 3609622"/>
                    <a:gd name="connsiteY110" fmla="*/ 293511 h 1967088"/>
                    <a:gd name="connsiteX111" fmla="*/ 279400 w 3609622"/>
                    <a:gd name="connsiteY111" fmla="*/ 293511 h 1967088"/>
                    <a:gd name="connsiteX112" fmla="*/ 279400 w 3609622"/>
                    <a:gd name="connsiteY112" fmla="*/ 262466 h 1967088"/>
                    <a:gd name="connsiteX113" fmla="*/ 242711 w 3609622"/>
                    <a:gd name="connsiteY113" fmla="*/ 262466 h 1967088"/>
                    <a:gd name="connsiteX114" fmla="*/ 242711 w 3609622"/>
                    <a:gd name="connsiteY114" fmla="*/ 234244 h 1967088"/>
                    <a:gd name="connsiteX115" fmla="*/ 214489 w 3609622"/>
                    <a:gd name="connsiteY115" fmla="*/ 234244 h 1967088"/>
                    <a:gd name="connsiteX116" fmla="*/ 214489 w 3609622"/>
                    <a:gd name="connsiteY116" fmla="*/ 208844 h 1967088"/>
                    <a:gd name="connsiteX117" fmla="*/ 166511 w 3609622"/>
                    <a:gd name="connsiteY117" fmla="*/ 208844 h 1967088"/>
                    <a:gd name="connsiteX118" fmla="*/ 166511 w 3609622"/>
                    <a:gd name="connsiteY118" fmla="*/ 110066 h 1967088"/>
                    <a:gd name="connsiteX119" fmla="*/ 166511 w 3609622"/>
                    <a:gd name="connsiteY119" fmla="*/ 110066 h 1967088"/>
                    <a:gd name="connsiteX120" fmla="*/ 166511 w 3609622"/>
                    <a:gd name="connsiteY120" fmla="*/ 84666 h 1967088"/>
                    <a:gd name="connsiteX121" fmla="*/ 42333 w 3609622"/>
                    <a:gd name="connsiteY121" fmla="*/ 84666 h 1967088"/>
                    <a:gd name="connsiteX122" fmla="*/ 0 w 3609622"/>
                    <a:gd name="connsiteY122" fmla="*/ 84666 h 1967088"/>
                    <a:gd name="connsiteX123" fmla="*/ 8467 w 3609622"/>
                    <a:gd name="connsiteY123" fmla="*/ 0 h 1967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3609622" h="1967088">
                      <a:moveTo>
                        <a:pt x="8467" y="0"/>
                      </a:moveTo>
                      <a:lnTo>
                        <a:pt x="172155" y="0"/>
                      </a:lnTo>
                      <a:lnTo>
                        <a:pt x="172155" y="64911"/>
                      </a:lnTo>
                      <a:lnTo>
                        <a:pt x="239889" y="64911"/>
                      </a:lnTo>
                      <a:lnTo>
                        <a:pt x="239889" y="104422"/>
                      </a:lnTo>
                      <a:lnTo>
                        <a:pt x="578555" y="104422"/>
                      </a:lnTo>
                      <a:lnTo>
                        <a:pt x="578555" y="200377"/>
                      </a:lnTo>
                      <a:lnTo>
                        <a:pt x="626533" y="200377"/>
                      </a:lnTo>
                      <a:lnTo>
                        <a:pt x="626533" y="256822"/>
                      </a:lnTo>
                      <a:lnTo>
                        <a:pt x="651933" y="256822"/>
                      </a:lnTo>
                      <a:lnTo>
                        <a:pt x="651933" y="316088"/>
                      </a:lnTo>
                      <a:lnTo>
                        <a:pt x="855133" y="316088"/>
                      </a:lnTo>
                      <a:lnTo>
                        <a:pt x="855133" y="352777"/>
                      </a:lnTo>
                      <a:lnTo>
                        <a:pt x="970844" y="352777"/>
                      </a:lnTo>
                      <a:lnTo>
                        <a:pt x="970844" y="468488"/>
                      </a:lnTo>
                      <a:lnTo>
                        <a:pt x="1176867" y="468488"/>
                      </a:lnTo>
                      <a:lnTo>
                        <a:pt x="1176867" y="493888"/>
                      </a:lnTo>
                      <a:lnTo>
                        <a:pt x="1337733" y="493888"/>
                      </a:lnTo>
                      <a:lnTo>
                        <a:pt x="1337733" y="598311"/>
                      </a:lnTo>
                      <a:lnTo>
                        <a:pt x="1374422" y="598311"/>
                      </a:lnTo>
                      <a:lnTo>
                        <a:pt x="1374422" y="632177"/>
                      </a:lnTo>
                      <a:lnTo>
                        <a:pt x="1439333" y="632177"/>
                      </a:lnTo>
                      <a:lnTo>
                        <a:pt x="1439333" y="666044"/>
                      </a:lnTo>
                      <a:lnTo>
                        <a:pt x="1464733" y="666044"/>
                      </a:lnTo>
                      <a:lnTo>
                        <a:pt x="1464733" y="711200"/>
                      </a:lnTo>
                      <a:lnTo>
                        <a:pt x="1690511" y="711200"/>
                      </a:lnTo>
                      <a:lnTo>
                        <a:pt x="1690511" y="739422"/>
                      </a:lnTo>
                      <a:lnTo>
                        <a:pt x="1690511" y="832555"/>
                      </a:lnTo>
                      <a:lnTo>
                        <a:pt x="1721555" y="832555"/>
                      </a:lnTo>
                      <a:lnTo>
                        <a:pt x="1721555" y="872066"/>
                      </a:lnTo>
                      <a:lnTo>
                        <a:pt x="1769533" y="872066"/>
                      </a:lnTo>
                      <a:lnTo>
                        <a:pt x="1769533" y="903111"/>
                      </a:lnTo>
                      <a:lnTo>
                        <a:pt x="1854200" y="903111"/>
                      </a:lnTo>
                      <a:lnTo>
                        <a:pt x="1854200" y="934155"/>
                      </a:lnTo>
                      <a:lnTo>
                        <a:pt x="1902178" y="934155"/>
                      </a:lnTo>
                      <a:lnTo>
                        <a:pt x="1902178" y="976488"/>
                      </a:lnTo>
                      <a:lnTo>
                        <a:pt x="2071511" y="976488"/>
                      </a:lnTo>
                      <a:lnTo>
                        <a:pt x="2071511" y="999066"/>
                      </a:lnTo>
                      <a:lnTo>
                        <a:pt x="2099733" y="999066"/>
                      </a:lnTo>
                      <a:lnTo>
                        <a:pt x="2099733" y="1030111"/>
                      </a:lnTo>
                      <a:lnTo>
                        <a:pt x="2116667" y="1030111"/>
                      </a:lnTo>
                      <a:lnTo>
                        <a:pt x="2116667" y="1055511"/>
                      </a:lnTo>
                      <a:lnTo>
                        <a:pt x="2466622" y="1055511"/>
                      </a:lnTo>
                      <a:lnTo>
                        <a:pt x="2466622" y="1097844"/>
                      </a:lnTo>
                      <a:lnTo>
                        <a:pt x="2511778" y="1097844"/>
                      </a:lnTo>
                      <a:lnTo>
                        <a:pt x="2511778" y="1182511"/>
                      </a:lnTo>
                      <a:lnTo>
                        <a:pt x="2537178" y="1182511"/>
                      </a:lnTo>
                      <a:lnTo>
                        <a:pt x="2825044" y="1182511"/>
                      </a:lnTo>
                      <a:lnTo>
                        <a:pt x="2825044" y="1247422"/>
                      </a:lnTo>
                      <a:lnTo>
                        <a:pt x="2853267" y="1247422"/>
                      </a:lnTo>
                      <a:lnTo>
                        <a:pt x="2853267" y="1303866"/>
                      </a:lnTo>
                      <a:lnTo>
                        <a:pt x="3609622" y="1303866"/>
                      </a:lnTo>
                      <a:lnTo>
                        <a:pt x="3609622" y="1967088"/>
                      </a:lnTo>
                      <a:lnTo>
                        <a:pt x="2839155" y="1967088"/>
                      </a:lnTo>
                      <a:lnTo>
                        <a:pt x="2839155" y="1876777"/>
                      </a:lnTo>
                      <a:lnTo>
                        <a:pt x="2810933" y="1876777"/>
                      </a:lnTo>
                      <a:lnTo>
                        <a:pt x="2810933" y="1761066"/>
                      </a:lnTo>
                      <a:lnTo>
                        <a:pt x="2520244" y="1761066"/>
                      </a:lnTo>
                      <a:lnTo>
                        <a:pt x="2520244" y="1608666"/>
                      </a:lnTo>
                      <a:lnTo>
                        <a:pt x="2472267" y="1608666"/>
                      </a:lnTo>
                      <a:lnTo>
                        <a:pt x="2472267" y="1524000"/>
                      </a:lnTo>
                      <a:lnTo>
                        <a:pt x="2113844" y="1524000"/>
                      </a:lnTo>
                      <a:lnTo>
                        <a:pt x="2113844" y="1487311"/>
                      </a:lnTo>
                      <a:lnTo>
                        <a:pt x="2094089" y="1487311"/>
                      </a:lnTo>
                      <a:lnTo>
                        <a:pt x="2094089" y="1453444"/>
                      </a:lnTo>
                      <a:lnTo>
                        <a:pt x="2057400" y="1453444"/>
                      </a:lnTo>
                      <a:lnTo>
                        <a:pt x="2057400" y="1428044"/>
                      </a:lnTo>
                      <a:lnTo>
                        <a:pt x="1905000" y="1428044"/>
                      </a:lnTo>
                      <a:lnTo>
                        <a:pt x="1905000" y="1388533"/>
                      </a:lnTo>
                      <a:lnTo>
                        <a:pt x="1868311" y="1388533"/>
                      </a:lnTo>
                      <a:lnTo>
                        <a:pt x="1868311" y="1343377"/>
                      </a:lnTo>
                      <a:lnTo>
                        <a:pt x="1786467" y="1343377"/>
                      </a:lnTo>
                      <a:lnTo>
                        <a:pt x="1786467" y="1303866"/>
                      </a:lnTo>
                      <a:lnTo>
                        <a:pt x="1724378" y="1303866"/>
                      </a:lnTo>
                      <a:lnTo>
                        <a:pt x="1724378" y="1199444"/>
                      </a:lnTo>
                      <a:lnTo>
                        <a:pt x="1698978" y="1199444"/>
                      </a:lnTo>
                      <a:lnTo>
                        <a:pt x="1698978" y="1083733"/>
                      </a:lnTo>
                      <a:lnTo>
                        <a:pt x="1459089" y="1083733"/>
                      </a:lnTo>
                      <a:lnTo>
                        <a:pt x="1459089" y="1024466"/>
                      </a:lnTo>
                      <a:lnTo>
                        <a:pt x="1428044" y="1024466"/>
                      </a:lnTo>
                      <a:lnTo>
                        <a:pt x="1428044" y="990600"/>
                      </a:lnTo>
                      <a:lnTo>
                        <a:pt x="1394178" y="990600"/>
                      </a:lnTo>
                      <a:lnTo>
                        <a:pt x="1394178" y="968022"/>
                      </a:lnTo>
                      <a:lnTo>
                        <a:pt x="1343378" y="968022"/>
                      </a:lnTo>
                      <a:lnTo>
                        <a:pt x="1343378" y="838200"/>
                      </a:lnTo>
                      <a:lnTo>
                        <a:pt x="1320800" y="838200"/>
                      </a:lnTo>
                      <a:lnTo>
                        <a:pt x="1320800" y="815622"/>
                      </a:lnTo>
                      <a:lnTo>
                        <a:pt x="1278467" y="815622"/>
                      </a:lnTo>
                      <a:lnTo>
                        <a:pt x="1267178" y="804333"/>
                      </a:lnTo>
                      <a:lnTo>
                        <a:pt x="1176867" y="804333"/>
                      </a:lnTo>
                      <a:lnTo>
                        <a:pt x="1176867" y="790222"/>
                      </a:lnTo>
                      <a:lnTo>
                        <a:pt x="1061155" y="790222"/>
                      </a:lnTo>
                      <a:lnTo>
                        <a:pt x="1061155" y="764822"/>
                      </a:lnTo>
                      <a:lnTo>
                        <a:pt x="973667" y="764822"/>
                      </a:lnTo>
                      <a:lnTo>
                        <a:pt x="973667" y="682977"/>
                      </a:lnTo>
                      <a:lnTo>
                        <a:pt x="945444" y="682977"/>
                      </a:lnTo>
                      <a:lnTo>
                        <a:pt x="945444" y="637822"/>
                      </a:lnTo>
                      <a:lnTo>
                        <a:pt x="855133" y="637822"/>
                      </a:lnTo>
                      <a:lnTo>
                        <a:pt x="855133" y="615244"/>
                      </a:lnTo>
                      <a:lnTo>
                        <a:pt x="824089" y="615244"/>
                      </a:lnTo>
                      <a:lnTo>
                        <a:pt x="824089" y="589844"/>
                      </a:lnTo>
                      <a:lnTo>
                        <a:pt x="677333" y="589844"/>
                      </a:lnTo>
                      <a:lnTo>
                        <a:pt x="677333" y="564444"/>
                      </a:lnTo>
                      <a:lnTo>
                        <a:pt x="643467" y="564444"/>
                      </a:lnTo>
                      <a:lnTo>
                        <a:pt x="643467" y="510822"/>
                      </a:lnTo>
                      <a:lnTo>
                        <a:pt x="609600" y="510822"/>
                      </a:lnTo>
                      <a:lnTo>
                        <a:pt x="609600" y="448733"/>
                      </a:lnTo>
                      <a:lnTo>
                        <a:pt x="595489" y="434622"/>
                      </a:lnTo>
                      <a:lnTo>
                        <a:pt x="595489" y="330200"/>
                      </a:lnTo>
                      <a:lnTo>
                        <a:pt x="570089" y="330200"/>
                      </a:lnTo>
                      <a:lnTo>
                        <a:pt x="570089" y="293511"/>
                      </a:lnTo>
                      <a:lnTo>
                        <a:pt x="279400" y="293511"/>
                      </a:lnTo>
                      <a:lnTo>
                        <a:pt x="279400" y="262466"/>
                      </a:lnTo>
                      <a:lnTo>
                        <a:pt x="242711" y="262466"/>
                      </a:lnTo>
                      <a:lnTo>
                        <a:pt x="242711" y="234244"/>
                      </a:lnTo>
                      <a:lnTo>
                        <a:pt x="214489" y="234244"/>
                      </a:lnTo>
                      <a:lnTo>
                        <a:pt x="214489" y="208844"/>
                      </a:lnTo>
                      <a:lnTo>
                        <a:pt x="166511" y="208844"/>
                      </a:lnTo>
                      <a:lnTo>
                        <a:pt x="166511" y="110066"/>
                      </a:lnTo>
                      <a:lnTo>
                        <a:pt x="166511" y="110066"/>
                      </a:lnTo>
                      <a:lnTo>
                        <a:pt x="166511" y="84666"/>
                      </a:lnTo>
                      <a:lnTo>
                        <a:pt x="42333" y="84666"/>
                      </a:lnTo>
                      <a:lnTo>
                        <a:pt x="0" y="84666"/>
                      </a:lnTo>
                      <a:lnTo>
                        <a:pt x="8467" y="0"/>
                      </a:lnTo>
                      <a:close/>
                    </a:path>
                  </a:pathLst>
                </a:custGeom>
                <a:solidFill>
                  <a:srgbClr val="FFC000">
                    <a:alpha val="20000"/>
                  </a:srgb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endParaRPr>
                </a:p>
              </p:txBody>
            </p:sp>
            <p:sp>
              <p:nvSpPr>
                <p:cNvPr id="85" name="Freeform: Shape 84">
                  <a:extLst>
                    <a:ext uri="{FF2B5EF4-FFF2-40B4-BE49-F238E27FC236}">
                      <a16:creationId xmlns:a16="http://schemas.microsoft.com/office/drawing/2014/main" id="{581DBC38-873F-11AA-933D-BB6F8B4BD02D}"/>
                    </a:ext>
                  </a:extLst>
                </p:cNvPr>
                <p:cNvSpPr/>
                <p:nvPr/>
              </p:nvSpPr>
              <p:spPr bwMode="auto">
                <a:xfrm>
                  <a:off x="1731264" y="2045208"/>
                  <a:ext cx="4724400" cy="2877312"/>
                </a:xfrm>
                <a:custGeom>
                  <a:avLst/>
                  <a:gdLst>
                    <a:gd name="connsiteX0" fmla="*/ 0 w 4724400"/>
                    <a:gd name="connsiteY0" fmla="*/ 0 h 2877312"/>
                    <a:gd name="connsiteX1" fmla="*/ 143256 w 4724400"/>
                    <a:gd name="connsiteY1" fmla="*/ 0 h 2877312"/>
                    <a:gd name="connsiteX2" fmla="*/ 143256 w 4724400"/>
                    <a:gd name="connsiteY2" fmla="*/ 27432 h 2877312"/>
                    <a:gd name="connsiteX3" fmla="*/ 243840 w 4724400"/>
                    <a:gd name="connsiteY3" fmla="*/ 27432 h 2877312"/>
                    <a:gd name="connsiteX4" fmla="*/ 243840 w 4724400"/>
                    <a:gd name="connsiteY4" fmla="*/ 48768 h 2877312"/>
                    <a:gd name="connsiteX5" fmla="*/ 566928 w 4724400"/>
                    <a:gd name="connsiteY5" fmla="*/ 48768 h 2877312"/>
                    <a:gd name="connsiteX6" fmla="*/ 566928 w 4724400"/>
                    <a:gd name="connsiteY6" fmla="*/ 64008 h 2877312"/>
                    <a:gd name="connsiteX7" fmla="*/ 646176 w 4724400"/>
                    <a:gd name="connsiteY7" fmla="*/ 64008 h 2877312"/>
                    <a:gd name="connsiteX8" fmla="*/ 646176 w 4724400"/>
                    <a:gd name="connsiteY8" fmla="*/ 88392 h 2877312"/>
                    <a:gd name="connsiteX9" fmla="*/ 749808 w 4724400"/>
                    <a:gd name="connsiteY9" fmla="*/ 88392 h 2877312"/>
                    <a:gd name="connsiteX10" fmla="*/ 749808 w 4724400"/>
                    <a:gd name="connsiteY10" fmla="*/ 103632 h 2877312"/>
                    <a:gd name="connsiteX11" fmla="*/ 798576 w 4724400"/>
                    <a:gd name="connsiteY11" fmla="*/ 103632 h 2877312"/>
                    <a:gd name="connsiteX12" fmla="*/ 798576 w 4724400"/>
                    <a:gd name="connsiteY12" fmla="*/ 121920 h 2877312"/>
                    <a:gd name="connsiteX13" fmla="*/ 1014984 w 4724400"/>
                    <a:gd name="connsiteY13" fmla="*/ 121920 h 2877312"/>
                    <a:gd name="connsiteX14" fmla="*/ 1014984 w 4724400"/>
                    <a:gd name="connsiteY14" fmla="*/ 179832 h 2877312"/>
                    <a:gd name="connsiteX15" fmla="*/ 1051560 w 4724400"/>
                    <a:gd name="connsiteY15" fmla="*/ 179832 h 2877312"/>
                    <a:gd name="connsiteX16" fmla="*/ 1051560 w 4724400"/>
                    <a:gd name="connsiteY16" fmla="*/ 222504 h 2877312"/>
                    <a:gd name="connsiteX17" fmla="*/ 1109472 w 4724400"/>
                    <a:gd name="connsiteY17" fmla="*/ 222504 h 2877312"/>
                    <a:gd name="connsiteX18" fmla="*/ 1109472 w 4724400"/>
                    <a:gd name="connsiteY18" fmla="*/ 237744 h 2877312"/>
                    <a:gd name="connsiteX19" fmla="*/ 1197864 w 4724400"/>
                    <a:gd name="connsiteY19" fmla="*/ 237744 h 2877312"/>
                    <a:gd name="connsiteX20" fmla="*/ 1197864 w 4724400"/>
                    <a:gd name="connsiteY20" fmla="*/ 283464 h 2877312"/>
                    <a:gd name="connsiteX21" fmla="*/ 1395984 w 4724400"/>
                    <a:gd name="connsiteY21" fmla="*/ 283464 h 2877312"/>
                    <a:gd name="connsiteX22" fmla="*/ 1395984 w 4724400"/>
                    <a:gd name="connsiteY22" fmla="*/ 307848 h 2877312"/>
                    <a:gd name="connsiteX23" fmla="*/ 1490472 w 4724400"/>
                    <a:gd name="connsiteY23" fmla="*/ 307848 h 2877312"/>
                    <a:gd name="connsiteX24" fmla="*/ 1508760 w 4724400"/>
                    <a:gd name="connsiteY24" fmla="*/ 326136 h 2877312"/>
                    <a:gd name="connsiteX25" fmla="*/ 1508760 w 4724400"/>
                    <a:gd name="connsiteY25" fmla="*/ 368808 h 2877312"/>
                    <a:gd name="connsiteX26" fmla="*/ 1575816 w 4724400"/>
                    <a:gd name="connsiteY26" fmla="*/ 368808 h 2877312"/>
                    <a:gd name="connsiteX27" fmla="*/ 1575816 w 4724400"/>
                    <a:gd name="connsiteY27" fmla="*/ 390144 h 2877312"/>
                    <a:gd name="connsiteX28" fmla="*/ 1737360 w 4724400"/>
                    <a:gd name="connsiteY28" fmla="*/ 390144 h 2877312"/>
                    <a:gd name="connsiteX29" fmla="*/ 1737360 w 4724400"/>
                    <a:gd name="connsiteY29" fmla="*/ 463296 h 2877312"/>
                    <a:gd name="connsiteX30" fmla="*/ 1737360 w 4724400"/>
                    <a:gd name="connsiteY30" fmla="*/ 463296 h 2877312"/>
                    <a:gd name="connsiteX31" fmla="*/ 1761744 w 4724400"/>
                    <a:gd name="connsiteY31" fmla="*/ 463296 h 2877312"/>
                    <a:gd name="connsiteX32" fmla="*/ 1761744 w 4724400"/>
                    <a:gd name="connsiteY32" fmla="*/ 536448 h 2877312"/>
                    <a:gd name="connsiteX33" fmla="*/ 1776984 w 4724400"/>
                    <a:gd name="connsiteY33" fmla="*/ 536448 h 2877312"/>
                    <a:gd name="connsiteX34" fmla="*/ 1776984 w 4724400"/>
                    <a:gd name="connsiteY34" fmla="*/ 591312 h 2877312"/>
                    <a:gd name="connsiteX35" fmla="*/ 1807464 w 4724400"/>
                    <a:gd name="connsiteY35" fmla="*/ 591312 h 2877312"/>
                    <a:gd name="connsiteX36" fmla="*/ 1807464 w 4724400"/>
                    <a:gd name="connsiteY36" fmla="*/ 612648 h 2877312"/>
                    <a:gd name="connsiteX37" fmla="*/ 1840992 w 4724400"/>
                    <a:gd name="connsiteY37" fmla="*/ 612648 h 2877312"/>
                    <a:gd name="connsiteX38" fmla="*/ 1840992 w 4724400"/>
                    <a:gd name="connsiteY38" fmla="*/ 633984 h 2877312"/>
                    <a:gd name="connsiteX39" fmla="*/ 1969008 w 4724400"/>
                    <a:gd name="connsiteY39" fmla="*/ 633984 h 2877312"/>
                    <a:gd name="connsiteX40" fmla="*/ 1969008 w 4724400"/>
                    <a:gd name="connsiteY40" fmla="*/ 661416 h 2877312"/>
                    <a:gd name="connsiteX41" fmla="*/ 2036064 w 4724400"/>
                    <a:gd name="connsiteY41" fmla="*/ 661416 h 2877312"/>
                    <a:gd name="connsiteX42" fmla="*/ 2036064 w 4724400"/>
                    <a:gd name="connsiteY42" fmla="*/ 679704 h 2877312"/>
                    <a:gd name="connsiteX43" fmla="*/ 2090928 w 4724400"/>
                    <a:gd name="connsiteY43" fmla="*/ 679704 h 2877312"/>
                    <a:gd name="connsiteX44" fmla="*/ 2090928 w 4724400"/>
                    <a:gd name="connsiteY44" fmla="*/ 701040 h 2877312"/>
                    <a:gd name="connsiteX45" fmla="*/ 2151888 w 4724400"/>
                    <a:gd name="connsiteY45" fmla="*/ 701040 h 2877312"/>
                    <a:gd name="connsiteX46" fmla="*/ 2151888 w 4724400"/>
                    <a:gd name="connsiteY46" fmla="*/ 722376 h 2877312"/>
                    <a:gd name="connsiteX47" fmla="*/ 2243328 w 4724400"/>
                    <a:gd name="connsiteY47" fmla="*/ 722376 h 2877312"/>
                    <a:gd name="connsiteX48" fmla="*/ 2243328 w 4724400"/>
                    <a:gd name="connsiteY48" fmla="*/ 746760 h 2877312"/>
                    <a:gd name="connsiteX49" fmla="*/ 2264664 w 4724400"/>
                    <a:gd name="connsiteY49" fmla="*/ 746760 h 2877312"/>
                    <a:gd name="connsiteX50" fmla="*/ 2264664 w 4724400"/>
                    <a:gd name="connsiteY50" fmla="*/ 792480 h 2877312"/>
                    <a:gd name="connsiteX51" fmla="*/ 2398776 w 4724400"/>
                    <a:gd name="connsiteY51" fmla="*/ 792480 h 2877312"/>
                    <a:gd name="connsiteX52" fmla="*/ 2398776 w 4724400"/>
                    <a:gd name="connsiteY52" fmla="*/ 816864 h 2877312"/>
                    <a:gd name="connsiteX53" fmla="*/ 2438400 w 4724400"/>
                    <a:gd name="connsiteY53" fmla="*/ 816864 h 2877312"/>
                    <a:gd name="connsiteX54" fmla="*/ 2438400 w 4724400"/>
                    <a:gd name="connsiteY54" fmla="*/ 853440 h 2877312"/>
                    <a:gd name="connsiteX55" fmla="*/ 2490216 w 4724400"/>
                    <a:gd name="connsiteY55" fmla="*/ 853440 h 2877312"/>
                    <a:gd name="connsiteX56" fmla="*/ 2490216 w 4724400"/>
                    <a:gd name="connsiteY56" fmla="*/ 981456 h 2877312"/>
                    <a:gd name="connsiteX57" fmla="*/ 2523744 w 4724400"/>
                    <a:gd name="connsiteY57" fmla="*/ 981456 h 2877312"/>
                    <a:gd name="connsiteX58" fmla="*/ 2523744 w 4724400"/>
                    <a:gd name="connsiteY58" fmla="*/ 1014984 h 2877312"/>
                    <a:gd name="connsiteX59" fmla="*/ 2590800 w 4724400"/>
                    <a:gd name="connsiteY59" fmla="*/ 1014984 h 2877312"/>
                    <a:gd name="connsiteX60" fmla="*/ 2590800 w 4724400"/>
                    <a:gd name="connsiteY60" fmla="*/ 1033272 h 2877312"/>
                    <a:gd name="connsiteX61" fmla="*/ 2633472 w 4724400"/>
                    <a:gd name="connsiteY61" fmla="*/ 1033272 h 2877312"/>
                    <a:gd name="connsiteX62" fmla="*/ 2633472 w 4724400"/>
                    <a:gd name="connsiteY62" fmla="*/ 1057656 h 2877312"/>
                    <a:gd name="connsiteX63" fmla="*/ 2889504 w 4724400"/>
                    <a:gd name="connsiteY63" fmla="*/ 1057656 h 2877312"/>
                    <a:gd name="connsiteX64" fmla="*/ 2889504 w 4724400"/>
                    <a:gd name="connsiteY64" fmla="*/ 1100328 h 2877312"/>
                    <a:gd name="connsiteX65" fmla="*/ 2956560 w 4724400"/>
                    <a:gd name="connsiteY65" fmla="*/ 1100328 h 2877312"/>
                    <a:gd name="connsiteX66" fmla="*/ 2956560 w 4724400"/>
                    <a:gd name="connsiteY66" fmla="*/ 1127760 h 2877312"/>
                    <a:gd name="connsiteX67" fmla="*/ 3285744 w 4724400"/>
                    <a:gd name="connsiteY67" fmla="*/ 1127760 h 2877312"/>
                    <a:gd name="connsiteX68" fmla="*/ 3285744 w 4724400"/>
                    <a:gd name="connsiteY68" fmla="*/ 1170432 h 2877312"/>
                    <a:gd name="connsiteX69" fmla="*/ 4361688 w 4724400"/>
                    <a:gd name="connsiteY69" fmla="*/ 1170432 h 2877312"/>
                    <a:gd name="connsiteX70" fmla="*/ 4361688 w 4724400"/>
                    <a:gd name="connsiteY70" fmla="*/ 1216152 h 2877312"/>
                    <a:gd name="connsiteX71" fmla="*/ 4507992 w 4724400"/>
                    <a:gd name="connsiteY71" fmla="*/ 1216152 h 2877312"/>
                    <a:gd name="connsiteX72" fmla="*/ 4507992 w 4724400"/>
                    <a:gd name="connsiteY72" fmla="*/ 1429512 h 2877312"/>
                    <a:gd name="connsiteX73" fmla="*/ 4724400 w 4724400"/>
                    <a:gd name="connsiteY73" fmla="*/ 1429512 h 2877312"/>
                    <a:gd name="connsiteX74" fmla="*/ 4724400 w 4724400"/>
                    <a:gd name="connsiteY74" fmla="*/ 2877312 h 2877312"/>
                    <a:gd name="connsiteX75" fmla="*/ 4523232 w 4724400"/>
                    <a:gd name="connsiteY75" fmla="*/ 2877312 h 2877312"/>
                    <a:gd name="connsiteX76" fmla="*/ 4523232 w 4724400"/>
                    <a:gd name="connsiteY76" fmla="*/ 2426208 h 2877312"/>
                    <a:gd name="connsiteX77" fmla="*/ 4358640 w 4724400"/>
                    <a:gd name="connsiteY77" fmla="*/ 2426208 h 2877312"/>
                    <a:gd name="connsiteX78" fmla="*/ 4358640 w 4724400"/>
                    <a:gd name="connsiteY78" fmla="*/ 1709928 h 2877312"/>
                    <a:gd name="connsiteX79" fmla="*/ 3297936 w 4724400"/>
                    <a:gd name="connsiteY79" fmla="*/ 1709928 h 2877312"/>
                    <a:gd name="connsiteX80" fmla="*/ 3297936 w 4724400"/>
                    <a:gd name="connsiteY80" fmla="*/ 1652016 h 2877312"/>
                    <a:gd name="connsiteX81" fmla="*/ 3209544 w 4724400"/>
                    <a:gd name="connsiteY81" fmla="*/ 1652016 h 2877312"/>
                    <a:gd name="connsiteX82" fmla="*/ 3209544 w 4724400"/>
                    <a:gd name="connsiteY82" fmla="*/ 1624584 h 2877312"/>
                    <a:gd name="connsiteX83" fmla="*/ 2959608 w 4724400"/>
                    <a:gd name="connsiteY83" fmla="*/ 1624584 h 2877312"/>
                    <a:gd name="connsiteX84" fmla="*/ 2959608 w 4724400"/>
                    <a:gd name="connsiteY84" fmla="*/ 1597152 h 2877312"/>
                    <a:gd name="connsiteX85" fmla="*/ 2910840 w 4724400"/>
                    <a:gd name="connsiteY85" fmla="*/ 1597152 h 2877312"/>
                    <a:gd name="connsiteX86" fmla="*/ 2910840 w 4724400"/>
                    <a:gd name="connsiteY86" fmla="*/ 1569720 h 2877312"/>
                    <a:gd name="connsiteX87" fmla="*/ 2639568 w 4724400"/>
                    <a:gd name="connsiteY87" fmla="*/ 1569720 h 2877312"/>
                    <a:gd name="connsiteX88" fmla="*/ 2639568 w 4724400"/>
                    <a:gd name="connsiteY88" fmla="*/ 1514856 h 2877312"/>
                    <a:gd name="connsiteX89" fmla="*/ 2609088 w 4724400"/>
                    <a:gd name="connsiteY89" fmla="*/ 1514856 h 2877312"/>
                    <a:gd name="connsiteX90" fmla="*/ 2609088 w 4724400"/>
                    <a:gd name="connsiteY90" fmla="*/ 1496568 h 2877312"/>
                    <a:gd name="connsiteX91" fmla="*/ 2538984 w 4724400"/>
                    <a:gd name="connsiteY91" fmla="*/ 1496568 h 2877312"/>
                    <a:gd name="connsiteX92" fmla="*/ 2538984 w 4724400"/>
                    <a:gd name="connsiteY92" fmla="*/ 1456944 h 2877312"/>
                    <a:gd name="connsiteX93" fmla="*/ 2484120 w 4724400"/>
                    <a:gd name="connsiteY93" fmla="*/ 1456944 h 2877312"/>
                    <a:gd name="connsiteX94" fmla="*/ 2484120 w 4724400"/>
                    <a:gd name="connsiteY94" fmla="*/ 1322832 h 2877312"/>
                    <a:gd name="connsiteX95" fmla="*/ 2462784 w 4724400"/>
                    <a:gd name="connsiteY95" fmla="*/ 1301496 h 2877312"/>
                    <a:gd name="connsiteX96" fmla="*/ 2462784 w 4724400"/>
                    <a:gd name="connsiteY96" fmla="*/ 1301496 h 2877312"/>
                    <a:gd name="connsiteX97" fmla="*/ 2447544 w 4724400"/>
                    <a:gd name="connsiteY97" fmla="*/ 1286256 h 2877312"/>
                    <a:gd name="connsiteX98" fmla="*/ 2410968 w 4724400"/>
                    <a:gd name="connsiteY98" fmla="*/ 1286256 h 2877312"/>
                    <a:gd name="connsiteX99" fmla="*/ 2410968 w 4724400"/>
                    <a:gd name="connsiteY99" fmla="*/ 1249680 h 2877312"/>
                    <a:gd name="connsiteX100" fmla="*/ 2267712 w 4724400"/>
                    <a:gd name="connsiteY100" fmla="*/ 1249680 h 2877312"/>
                    <a:gd name="connsiteX101" fmla="*/ 2267712 w 4724400"/>
                    <a:gd name="connsiteY101" fmla="*/ 1203960 h 2877312"/>
                    <a:gd name="connsiteX102" fmla="*/ 2267712 w 4724400"/>
                    <a:gd name="connsiteY102" fmla="*/ 1203960 h 2877312"/>
                    <a:gd name="connsiteX103" fmla="*/ 2267712 w 4724400"/>
                    <a:gd name="connsiteY103" fmla="*/ 1152144 h 2877312"/>
                    <a:gd name="connsiteX104" fmla="*/ 2173224 w 4724400"/>
                    <a:gd name="connsiteY104" fmla="*/ 1152144 h 2877312"/>
                    <a:gd name="connsiteX105" fmla="*/ 2154936 w 4724400"/>
                    <a:gd name="connsiteY105" fmla="*/ 1133856 h 2877312"/>
                    <a:gd name="connsiteX106" fmla="*/ 2097024 w 4724400"/>
                    <a:gd name="connsiteY106" fmla="*/ 1133856 h 2877312"/>
                    <a:gd name="connsiteX107" fmla="*/ 2097024 w 4724400"/>
                    <a:gd name="connsiteY107" fmla="*/ 1106424 h 2877312"/>
                    <a:gd name="connsiteX108" fmla="*/ 2042160 w 4724400"/>
                    <a:gd name="connsiteY108" fmla="*/ 1106424 h 2877312"/>
                    <a:gd name="connsiteX109" fmla="*/ 2042160 w 4724400"/>
                    <a:gd name="connsiteY109" fmla="*/ 1078992 h 2877312"/>
                    <a:gd name="connsiteX110" fmla="*/ 1975104 w 4724400"/>
                    <a:gd name="connsiteY110" fmla="*/ 1078992 h 2877312"/>
                    <a:gd name="connsiteX111" fmla="*/ 1975104 w 4724400"/>
                    <a:gd name="connsiteY111" fmla="*/ 1048512 h 2877312"/>
                    <a:gd name="connsiteX112" fmla="*/ 1831848 w 4724400"/>
                    <a:gd name="connsiteY112" fmla="*/ 1048512 h 2877312"/>
                    <a:gd name="connsiteX113" fmla="*/ 1831848 w 4724400"/>
                    <a:gd name="connsiteY113" fmla="*/ 1030224 h 2877312"/>
                    <a:gd name="connsiteX114" fmla="*/ 1807464 w 4724400"/>
                    <a:gd name="connsiteY114" fmla="*/ 1030224 h 2877312"/>
                    <a:gd name="connsiteX115" fmla="*/ 1807464 w 4724400"/>
                    <a:gd name="connsiteY115" fmla="*/ 987552 h 2877312"/>
                    <a:gd name="connsiteX116" fmla="*/ 1786128 w 4724400"/>
                    <a:gd name="connsiteY116" fmla="*/ 987552 h 2877312"/>
                    <a:gd name="connsiteX117" fmla="*/ 1786128 w 4724400"/>
                    <a:gd name="connsiteY117" fmla="*/ 941832 h 2877312"/>
                    <a:gd name="connsiteX118" fmla="*/ 1770888 w 4724400"/>
                    <a:gd name="connsiteY118" fmla="*/ 941832 h 2877312"/>
                    <a:gd name="connsiteX119" fmla="*/ 1770888 w 4724400"/>
                    <a:gd name="connsiteY119" fmla="*/ 896112 h 2877312"/>
                    <a:gd name="connsiteX120" fmla="*/ 1749552 w 4724400"/>
                    <a:gd name="connsiteY120" fmla="*/ 896112 h 2877312"/>
                    <a:gd name="connsiteX121" fmla="*/ 1749552 w 4724400"/>
                    <a:gd name="connsiteY121" fmla="*/ 801624 h 2877312"/>
                    <a:gd name="connsiteX122" fmla="*/ 1749552 w 4724400"/>
                    <a:gd name="connsiteY122" fmla="*/ 774192 h 2877312"/>
                    <a:gd name="connsiteX123" fmla="*/ 1734312 w 4724400"/>
                    <a:gd name="connsiteY123" fmla="*/ 774192 h 2877312"/>
                    <a:gd name="connsiteX124" fmla="*/ 1734312 w 4724400"/>
                    <a:gd name="connsiteY124" fmla="*/ 758952 h 2877312"/>
                    <a:gd name="connsiteX125" fmla="*/ 1594104 w 4724400"/>
                    <a:gd name="connsiteY125" fmla="*/ 758952 h 2877312"/>
                    <a:gd name="connsiteX126" fmla="*/ 1594104 w 4724400"/>
                    <a:gd name="connsiteY126" fmla="*/ 728472 h 2877312"/>
                    <a:gd name="connsiteX127" fmla="*/ 1542288 w 4724400"/>
                    <a:gd name="connsiteY127" fmla="*/ 728472 h 2877312"/>
                    <a:gd name="connsiteX128" fmla="*/ 1542288 w 4724400"/>
                    <a:gd name="connsiteY128" fmla="*/ 694944 h 2877312"/>
                    <a:gd name="connsiteX129" fmla="*/ 1514856 w 4724400"/>
                    <a:gd name="connsiteY129" fmla="*/ 694944 h 2877312"/>
                    <a:gd name="connsiteX130" fmla="*/ 1514856 w 4724400"/>
                    <a:gd name="connsiteY130" fmla="*/ 652272 h 2877312"/>
                    <a:gd name="connsiteX131" fmla="*/ 1496568 w 4724400"/>
                    <a:gd name="connsiteY131" fmla="*/ 652272 h 2877312"/>
                    <a:gd name="connsiteX132" fmla="*/ 1496568 w 4724400"/>
                    <a:gd name="connsiteY132" fmla="*/ 633984 h 2877312"/>
                    <a:gd name="connsiteX133" fmla="*/ 1405128 w 4724400"/>
                    <a:gd name="connsiteY133" fmla="*/ 633984 h 2877312"/>
                    <a:gd name="connsiteX134" fmla="*/ 1405128 w 4724400"/>
                    <a:gd name="connsiteY134" fmla="*/ 600456 h 2877312"/>
                    <a:gd name="connsiteX135" fmla="*/ 1207008 w 4724400"/>
                    <a:gd name="connsiteY135" fmla="*/ 600456 h 2877312"/>
                    <a:gd name="connsiteX136" fmla="*/ 1207008 w 4724400"/>
                    <a:gd name="connsiteY136" fmla="*/ 548640 h 2877312"/>
                    <a:gd name="connsiteX137" fmla="*/ 1115568 w 4724400"/>
                    <a:gd name="connsiteY137" fmla="*/ 548640 h 2877312"/>
                    <a:gd name="connsiteX138" fmla="*/ 1115568 w 4724400"/>
                    <a:gd name="connsiteY138" fmla="*/ 512064 h 2877312"/>
                    <a:gd name="connsiteX139" fmla="*/ 1054608 w 4724400"/>
                    <a:gd name="connsiteY139" fmla="*/ 512064 h 2877312"/>
                    <a:gd name="connsiteX140" fmla="*/ 1054608 w 4724400"/>
                    <a:gd name="connsiteY140" fmla="*/ 466344 h 2877312"/>
                    <a:gd name="connsiteX141" fmla="*/ 1027176 w 4724400"/>
                    <a:gd name="connsiteY141" fmla="*/ 466344 h 2877312"/>
                    <a:gd name="connsiteX142" fmla="*/ 1027176 w 4724400"/>
                    <a:gd name="connsiteY142" fmla="*/ 371856 h 2877312"/>
                    <a:gd name="connsiteX143" fmla="*/ 807720 w 4724400"/>
                    <a:gd name="connsiteY143" fmla="*/ 371856 h 2877312"/>
                    <a:gd name="connsiteX144" fmla="*/ 807720 w 4724400"/>
                    <a:gd name="connsiteY144" fmla="*/ 335280 h 2877312"/>
                    <a:gd name="connsiteX145" fmla="*/ 762000 w 4724400"/>
                    <a:gd name="connsiteY145" fmla="*/ 335280 h 2877312"/>
                    <a:gd name="connsiteX146" fmla="*/ 762000 w 4724400"/>
                    <a:gd name="connsiteY146" fmla="*/ 310896 h 2877312"/>
                    <a:gd name="connsiteX147" fmla="*/ 676656 w 4724400"/>
                    <a:gd name="connsiteY147" fmla="*/ 310896 h 2877312"/>
                    <a:gd name="connsiteX148" fmla="*/ 676656 w 4724400"/>
                    <a:gd name="connsiteY148" fmla="*/ 286512 h 2877312"/>
                    <a:gd name="connsiteX149" fmla="*/ 615696 w 4724400"/>
                    <a:gd name="connsiteY149" fmla="*/ 286512 h 2877312"/>
                    <a:gd name="connsiteX150" fmla="*/ 615696 w 4724400"/>
                    <a:gd name="connsiteY150" fmla="*/ 262128 h 2877312"/>
                    <a:gd name="connsiteX151" fmla="*/ 585216 w 4724400"/>
                    <a:gd name="connsiteY151" fmla="*/ 262128 h 2877312"/>
                    <a:gd name="connsiteX152" fmla="*/ 585216 w 4724400"/>
                    <a:gd name="connsiteY152" fmla="*/ 234696 h 2877312"/>
                    <a:gd name="connsiteX153" fmla="*/ 350520 w 4724400"/>
                    <a:gd name="connsiteY153" fmla="*/ 234696 h 2877312"/>
                    <a:gd name="connsiteX154" fmla="*/ 350520 w 4724400"/>
                    <a:gd name="connsiteY154" fmla="*/ 216408 h 2877312"/>
                    <a:gd name="connsiteX155" fmla="*/ 234696 w 4724400"/>
                    <a:gd name="connsiteY155" fmla="*/ 216408 h 2877312"/>
                    <a:gd name="connsiteX156" fmla="*/ 234696 w 4724400"/>
                    <a:gd name="connsiteY156" fmla="*/ 198120 h 2877312"/>
                    <a:gd name="connsiteX157" fmla="*/ 164592 w 4724400"/>
                    <a:gd name="connsiteY157" fmla="*/ 198120 h 2877312"/>
                    <a:gd name="connsiteX158" fmla="*/ 146304 w 4724400"/>
                    <a:gd name="connsiteY158" fmla="*/ 179832 h 2877312"/>
                    <a:gd name="connsiteX159" fmla="*/ 6096 w 4724400"/>
                    <a:gd name="connsiteY159" fmla="*/ 179832 h 2877312"/>
                    <a:gd name="connsiteX160" fmla="*/ 0 w 4724400"/>
                    <a:gd name="connsiteY160" fmla="*/ 0 h 287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4724400" h="2877312">
                      <a:moveTo>
                        <a:pt x="0" y="0"/>
                      </a:moveTo>
                      <a:lnTo>
                        <a:pt x="143256" y="0"/>
                      </a:lnTo>
                      <a:lnTo>
                        <a:pt x="143256" y="27432"/>
                      </a:lnTo>
                      <a:lnTo>
                        <a:pt x="243840" y="27432"/>
                      </a:lnTo>
                      <a:lnTo>
                        <a:pt x="243840" y="48768"/>
                      </a:lnTo>
                      <a:lnTo>
                        <a:pt x="566928" y="48768"/>
                      </a:lnTo>
                      <a:lnTo>
                        <a:pt x="566928" y="64008"/>
                      </a:lnTo>
                      <a:lnTo>
                        <a:pt x="646176" y="64008"/>
                      </a:lnTo>
                      <a:lnTo>
                        <a:pt x="646176" y="88392"/>
                      </a:lnTo>
                      <a:lnTo>
                        <a:pt x="749808" y="88392"/>
                      </a:lnTo>
                      <a:lnTo>
                        <a:pt x="749808" y="103632"/>
                      </a:lnTo>
                      <a:lnTo>
                        <a:pt x="798576" y="103632"/>
                      </a:lnTo>
                      <a:lnTo>
                        <a:pt x="798576" y="121920"/>
                      </a:lnTo>
                      <a:lnTo>
                        <a:pt x="1014984" y="121920"/>
                      </a:lnTo>
                      <a:lnTo>
                        <a:pt x="1014984" y="179832"/>
                      </a:lnTo>
                      <a:lnTo>
                        <a:pt x="1051560" y="179832"/>
                      </a:lnTo>
                      <a:lnTo>
                        <a:pt x="1051560" y="222504"/>
                      </a:lnTo>
                      <a:lnTo>
                        <a:pt x="1109472" y="222504"/>
                      </a:lnTo>
                      <a:lnTo>
                        <a:pt x="1109472" y="237744"/>
                      </a:lnTo>
                      <a:lnTo>
                        <a:pt x="1197864" y="237744"/>
                      </a:lnTo>
                      <a:lnTo>
                        <a:pt x="1197864" y="283464"/>
                      </a:lnTo>
                      <a:lnTo>
                        <a:pt x="1395984" y="283464"/>
                      </a:lnTo>
                      <a:lnTo>
                        <a:pt x="1395984" y="307848"/>
                      </a:lnTo>
                      <a:lnTo>
                        <a:pt x="1490472" y="307848"/>
                      </a:lnTo>
                      <a:lnTo>
                        <a:pt x="1508760" y="326136"/>
                      </a:lnTo>
                      <a:lnTo>
                        <a:pt x="1508760" y="368808"/>
                      </a:lnTo>
                      <a:lnTo>
                        <a:pt x="1575816" y="368808"/>
                      </a:lnTo>
                      <a:lnTo>
                        <a:pt x="1575816" y="390144"/>
                      </a:lnTo>
                      <a:lnTo>
                        <a:pt x="1737360" y="390144"/>
                      </a:lnTo>
                      <a:lnTo>
                        <a:pt x="1737360" y="463296"/>
                      </a:lnTo>
                      <a:lnTo>
                        <a:pt x="1737360" y="463296"/>
                      </a:lnTo>
                      <a:lnTo>
                        <a:pt x="1761744" y="463296"/>
                      </a:lnTo>
                      <a:lnTo>
                        <a:pt x="1761744" y="536448"/>
                      </a:lnTo>
                      <a:lnTo>
                        <a:pt x="1776984" y="536448"/>
                      </a:lnTo>
                      <a:lnTo>
                        <a:pt x="1776984" y="591312"/>
                      </a:lnTo>
                      <a:lnTo>
                        <a:pt x="1807464" y="591312"/>
                      </a:lnTo>
                      <a:lnTo>
                        <a:pt x="1807464" y="612648"/>
                      </a:lnTo>
                      <a:lnTo>
                        <a:pt x="1840992" y="612648"/>
                      </a:lnTo>
                      <a:lnTo>
                        <a:pt x="1840992" y="633984"/>
                      </a:lnTo>
                      <a:lnTo>
                        <a:pt x="1969008" y="633984"/>
                      </a:lnTo>
                      <a:lnTo>
                        <a:pt x="1969008" y="661416"/>
                      </a:lnTo>
                      <a:lnTo>
                        <a:pt x="2036064" y="661416"/>
                      </a:lnTo>
                      <a:lnTo>
                        <a:pt x="2036064" y="679704"/>
                      </a:lnTo>
                      <a:lnTo>
                        <a:pt x="2090928" y="679704"/>
                      </a:lnTo>
                      <a:lnTo>
                        <a:pt x="2090928" y="701040"/>
                      </a:lnTo>
                      <a:lnTo>
                        <a:pt x="2151888" y="701040"/>
                      </a:lnTo>
                      <a:lnTo>
                        <a:pt x="2151888" y="722376"/>
                      </a:lnTo>
                      <a:lnTo>
                        <a:pt x="2243328" y="722376"/>
                      </a:lnTo>
                      <a:lnTo>
                        <a:pt x="2243328" y="746760"/>
                      </a:lnTo>
                      <a:lnTo>
                        <a:pt x="2264664" y="746760"/>
                      </a:lnTo>
                      <a:lnTo>
                        <a:pt x="2264664" y="792480"/>
                      </a:lnTo>
                      <a:lnTo>
                        <a:pt x="2398776" y="792480"/>
                      </a:lnTo>
                      <a:lnTo>
                        <a:pt x="2398776" y="816864"/>
                      </a:lnTo>
                      <a:lnTo>
                        <a:pt x="2438400" y="816864"/>
                      </a:lnTo>
                      <a:lnTo>
                        <a:pt x="2438400" y="853440"/>
                      </a:lnTo>
                      <a:lnTo>
                        <a:pt x="2490216" y="853440"/>
                      </a:lnTo>
                      <a:lnTo>
                        <a:pt x="2490216" y="981456"/>
                      </a:lnTo>
                      <a:lnTo>
                        <a:pt x="2523744" y="981456"/>
                      </a:lnTo>
                      <a:lnTo>
                        <a:pt x="2523744" y="1014984"/>
                      </a:lnTo>
                      <a:lnTo>
                        <a:pt x="2590800" y="1014984"/>
                      </a:lnTo>
                      <a:lnTo>
                        <a:pt x="2590800" y="1033272"/>
                      </a:lnTo>
                      <a:lnTo>
                        <a:pt x="2633472" y="1033272"/>
                      </a:lnTo>
                      <a:lnTo>
                        <a:pt x="2633472" y="1057656"/>
                      </a:lnTo>
                      <a:lnTo>
                        <a:pt x="2889504" y="1057656"/>
                      </a:lnTo>
                      <a:lnTo>
                        <a:pt x="2889504" y="1100328"/>
                      </a:lnTo>
                      <a:lnTo>
                        <a:pt x="2956560" y="1100328"/>
                      </a:lnTo>
                      <a:lnTo>
                        <a:pt x="2956560" y="1127760"/>
                      </a:lnTo>
                      <a:lnTo>
                        <a:pt x="3285744" y="1127760"/>
                      </a:lnTo>
                      <a:lnTo>
                        <a:pt x="3285744" y="1170432"/>
                      </a:lnTo>
                      <a:lnTo>
                        <a:pt x="4361688" y="1170432"/>
                      </a:lnTo>
                      <a:lnTo>
                        <a:pt x="4361688" y="1216152"/>
                      </a:lnTo>
                      <a:lnTo>
                        <a:pt x="4507992" y="1216152"/>
                      </a:lnTo>
                      <a:lnTo>
                        <a:pt x="4507992" y="1429512"/>
                      </a:lnTo>
                      <a:lnTo>
                        <a:pt x="4724400" y="1429512"/>
                      </a:lnTo>
                      <a:lnTo>
                        <a:pt x="4724400" y="2877312"/>
                      </a:lnTo>
                      <a:lnTo>
                        <a:pt x="4523232" y="2877312"/>
                      </a:lnTo>
                      <a:lnTo>
                        <a:pt x="4523232" y="2426208"/>
                      </a:lnTo>
                      <a:lnTo>
                        <a:pt x="4358640" y="2426208"/>
                      </a:lnTo>
                      <a:lnTo>
                        <a:pt x="4358640" y="1709928"/>
                      </a:lnTo>
                      <a:lnTo>
                        <a:pt x="3297936" y="1709928"/>
                      </a:lnTo>
                      <a:lnTo>
                        <a:pt x="3297936" y="1652016"/>
                      </a:lnTo>
                      <a:lnTo>
                        <a:pt x="3209544" y="1652016"/>
                      </a:lnTo>
                      <a:lnTo>
                        <a:pt x="3209544" y="1624584"/>
                      </a:lnTo>
                      <a:lnTo>
                        <a:pt x="2959608" y="1624584"/>
                      </a:lnTo>
                      <a:lnTo>
                        <a:pt x="2959608" y="1597152"/>
                      </a:lnTo>
                      <a:lnTo>
                        <a:pt x="2910840" y="1597152"/>
                      </a:lnTo>
                      <a:lnTo>
                        <a:pt x="2910840" y="1569720"/>
                      </a:lnTo>
                      <a:lnTo>
                        <a:pt x="2639568" y="1569720"/>
                      </a:lnTo>
                      <a:lnTo>
                        <a:pt x="2639568" y="1514856"/>
                      </a:lnTo>
                      <a:lnTo>
                        <a:pt x="2609088" y="1514856"/>
                      </a:lnTo>
                      <a:lnTo>
                        <a:pt x="2609088" y="1496568"/>
                      </a:lnTo>
                      <a:lnTo>
                        <a:pt x="2538984" y="1496568"/>
                      </a:lnTo>
                      <a:lnTo>
                        <a:pt x="2538984" y="1456944"/>
                      </a:lnTo>
                      <a:lnTo>
                        <a:pt x="2484120" y="1456944"/>
                      </a:lnTo>
                      <a:lnTo>
                        <a:pt x="2484120" y="1322832"/>
                      </a:lnTo>
                      <a:lnTo>
                        <a:pt x="2462784" y="1301496"/>
                      </a:lnTo>
                      <a:lnTo>
                        <a:pt x="2462784" y="1301496"/>
                      </a:lnTo>
                      <a:lnTo>
                        <a:pt x="2447544" y="1286256"/>
                      </a:lnTo>
                      <a:lnTo>
                        <a:pt x="2410968" y="1286256"/>
                      </a:lnTo>
                      <a:lnTo>
                        <a:pt x="2410968" y="1249680"/>
                      </a:lnTo>
                      <a:lnTo>
                        <a:pt x="2267712" y="1249680"/>
                      </a:lnTo>
                      <a:lnTo>
                        <a:pt x="2267712" y="1203960"/>
                      </a:lnTo>
                      <a:lnTo>
                        <a:pt x="2267712" y="1203960"/>
                      </a:lnTo>
                      <a:lnTo>
                        <a:pt x="2267712" y="1152144"/>
                      </a:lnTo>
                      <a:lnTo>
                        <a:pt x="2173224" y="1152144"/>
                      </a:lnTo>
                      <a:lnTo>
                        <a:pt x="2154936" y="1133856"/>
                      </a:lnTo>
                      <a:lnTo>
                        <a:pt x="2097024" y="1133856"/>
                      </a:lnTo>
                      <a:lnTo>
                        <a:pt x="2097024" y="1106424"/>
                      </a:lnTo>
                      <a:lnTo>
                        <a:pt x="2042160" y="1106424"/>
                      </a:lnTo>
                      <a:lnTo>
                        <a:pt x="2042160" y="1078992"/>
                      </a:lnTo>
                      <a:lnTo>
                        <a:pt x="1975104" y="1078992"/>
                      </a:lnTo>
                      <a:lnTo>
                        <a:pt x="1975104" y="1048512"/>
                      </a:lnTo>
                      <a:lnTo>
                        <a:pt x="1831848" y="1048512"/>
                      </a:lnTo>
                      <a:lnTo>
                        <a:pt x="1831848" y="1030224"/>
                      </a:lnTo>
                      <a:lnTo>
                        <a:pt x="1807464" y="1030224"/>
                      </a:lnTo>
                      <a:lnTo>
                        <a:pt x="1807464" y="987552"/>
                      </a:lnTo>
                      <a:lnTo>
                        <a:pt x="1786128" y="987552"/>
                      </a:lnTo>
                      <a:lnTo>
                        <a:pt x="1786128" y="941832"/>
                      </a:lnTo>
                      <a:lnTo>
                        <a:pt x="1770888" y="941832"/>
                      </a:lnTo>
                      <a:lnTo>
                        <a:pt x="1770888" y="896112"/>
                      </a:lnTo>
                      <a:lnTo>
                        <a:pt x="1749552" y="896112"/>
                      </a:lnTo>
                      <a:lnTo>
                        <a:pt x="1749552" y="801624"/>
                      </a:lnTo>
                      <a:lnTo>
                        <a:pt x="1749552" y="774192"/>
                      </a:lnTo>
                      <a:lnTo>
                        <a:pt x="1734312" y="774192"/>
                      </a:lnTo>
                      <a:lnTo>
                        <a:pt x="1734312" y="758952"/>
                      </a:lnTo>
                      <a:lnTo>
                        <a:pt x="1594104" y="758952"/>
                      </a:lnTo>
                      <a:lnTo>
                        <a:pt x="1594104" y="728472"/>
                      </a:lnTo>
                      <a:lnTo>
                        <a:pt x="1542288" y="728472"/>
                      </a:lnTo>
                      <a:lnTo>
                        <a:pt x="1542288" y="694944"/>
                      </a:lnTo>
                      <a:lnTo>
                        <a:pt x="1514856" y="694944"/>
                      </a:lnTo>
                      <a:lnTo>
                        <a:pt x="1514856" y="652272"/>
                      </a:lnTo>
                      <a:lnTo>
                        <a:pt x="1496568" y="652272"/>
                      </a:lnTo>
                      <a:lnTo>
                        <a:pt x="1496568" y="633984"/>
                      </a:lnTo>
                      <a:lnTo>
                        <a:pt x="1405128" y="633984"/>
                      </a:lnTo>
                      <a:lnTo>
                        <a:pt x="1405128" y="600456"/>
                      </a:lnTo>
                      <a:lnTo>
                        <a:pt x="1207008" y="600456"/>
                      </a:lnTo>
                      <a:lnTo>
                        <a:pt x="1207008" y="548640"/>
                      </a:lnTo>
                      <a:lnTo>
                        <a:pt x="1115568" y="548640"/>
                      </a:lnTo>
                      <a:lnTo>
                        <a:pt x="1115568" y="512064"/>
                      </a:lnTo>
                      <a:lnTo>
                        <a:pt x="1054608" y="512064"/>
                      </a:lnTo>
                      <a:lnTo>
                        <a:pt x="1054608" y="466344"/>
                      </a:lnTo>
                      <a:lnTo>
                        <a:pt x="1027176" y="466344"/>
                      </a:lnTo>
                      <a:lnTo>
                        <a:pt x="1027176" y="371856"/>
                      </a:lnTo>
                      <a:lnTo>
                        <a:pt x="807720" y="371856"/>
                      </a:lnTo>
                      <a:lnTo>
                        <a:pt x="807720" y="335280"/>
                      </a:lnTo>
                      <a:lnTo>
                        <a:pt x="762000" y="335280"/>
                      </a:lnTo>
                      <a:lnTo>
                        <a:pt x="762000" y="310896"/>
                      </a:lnTo>
                      <a:lnTo>
                        <a:pt x="676656" y="310896"/>
                      </a:lnTo>
                      <a:lnTo>
                        <a:pt x="676656" y="286512"/>
                      </a:lnTo>
                      <a:lnTo>
                        <a:pt x="615696" y="286512"/>
                      </a:lnTo>
                      <a:lnTo>
                        <a:pt x="615696" y="262128"/>
                      </a:lnTo>
                      <a:lnTo>
                        <a:pt x="585216" y="262128"/>
                      </a:lnTo>
                      <a:lnTo>
                        <a:pt x="585216" y="234696"/>
                      </a:lnTo>
                      <a:lnTo>
                        <a:pt x="350520" y="234696"/>
                      </a:lnTo>
                      <a:lnTo>
                        <a:pt x="350520" y="216408"/>
                      </a:lnTo>
                      <a:lnTo>
                        <a:pt x="234696" y="216408"/>
                      </a:lnTo>
                      <a:lnTo>
                        <a:pt x="234696" y="198120"/>
                      </a:lnTo>
                      <a:lnTo>
                        <a:pt x="164592" y="198120"/>
                      </a:lnTo>
                      <a:lnTo>
                        <a:pt x="146304" y="179832"/>
                      </a:lnTo>
                      <a:lnTo>
                        <a:pt x="6096" y="179832"/>
                      </a:lnTo>
                      <a:lnTo>
                        <a:pt x="0" y="0"/>
                      </a:lnTo>
                      <a:close/>
                    </a:path>
                  </a:pathLst>
                </a:custGeom>
                <a:solidFill>
                  <a:srgbClr val="830051">
                    <a:alpha val="20000"/>
                  </a:srgb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endParaRPr>
                </a:p>
              </p:txBody>
            </p:sp>
            <p:grpSp>
              <p:nvGrpSpPr>
                <p:cNvPr id="86" name="Group 85">
                  <a:extLst>
                    <a:ext uri="{FF2B5EF4-FFF2-40B4-BE49-F238E27FC236}">
                      <a16:creationId xmlns:a16="http://schemas.microsoft.com/office/drawing/2014/main" id="{E529C521-60BA-1098-8EC5-FA98F10424F8}"/>
                    </a:ext>
                  </a:extLst>
                </p:cNvPr>
                <p:cNvGrpSpPr/>
                <p:nvPr/>
              </p:nvGrpSpPr>
              <p:grpSpPr>
                <a:xfrm>
                  <a:off x="535636" y="1921751"/>
                  <a:ext cx="6284224" cy="3737942"/>
                  <a:chOff x="535636" y="1921751"/>
                  <a:chExt cx="6284224" cy="3737942"/>
                </a:xfrm>
              </p:grpSpPr>
              <p:grpSp>
                <p:nvGrpSpPr>
                  <p:cNvPr id="87" name="Group 86">
                    <a:extLst>
                      <a:ext uri="{FF2B5EF4-FFF2-40B4-BE49-F238E27FC236}">
                        <a16:creationId xmlns:a16="http://schemas.microsoft.com/office/drawing/2014/main" id="{1A91A3BA-7C7A-7B03-5EC4-A44E6189C2E7}"/>
                      </a:ext>
                    </a:extLst>
                  </p:cNvPr>
                  <p:cNvGrpSpPr/>
                  <p:nvPr/>
                </p:nvGrpSpPr>
                <p:grpSpPr>
                  <a:xfrm>
                    <a:off x="535636" y="1921751"/>
                    <a:ext cx="6284224" cy="3737942"/>
                    <a:chOff x="535636" y="1921751"/>
                    <a:chExt cx="6284224" cy="3737942"/>
                  </a:xfrm>
                </p:grpSpPr>
                <p:grpSp>
                  <p:nvGrpSpPr>
                    <p:cNvPr id="90" name="Group 89">
                      <a:extLst>
                        <a:ext uri="{FF2B5EF4-FFF2-40B4-BE49-F238E27FC236}">
                          <a16:creationId xmlns:a16="http://schemas.microsoft.com/office/drawing/2014/main" id="{1DA18EAD-8785-3CAB-6AAF-70CB22DDB9E5}"/>
                        </a:ext>
                      </a:extLst>
                    </p:cNvPr>
                    <p:cNvGrpSpPr/>
                    <p:nvPr/>
                  </p:nvGrpSpPr>
                  <p:grpSpPr>
                    <a:xfrm>
                      <a:off x="535636" y="1921751"/>
                      <a:ext cx="6284224" cy="3737942"/>
                      <a:chOff x="613271" y="1321111"/>
                      <a:chExt cx="5120039" cy="2863341"/>
                    </a:xfrm>
                  </p:grpSpPr>
                  <p:sp>
                    <p:nvSpPr>
                      <p:cNvPr id="92" name="TextBox 91">
                        <a:extLst>
                          <a:ext uri="{FF2B5EF4-FFF2-40B4-BE49-F238E27FC236}">
                            <a16:creationId xmlns:a16="http://schemas.microsoft.com/office/drawing/2014/main" id="{5944B2D4-8166-F1F7-E685-6E715160FF10}"/>
                          </a:ext>
                        </a:extLst>
                      </p:cNvPr>
                      <p:cNvSpPr txBox="1"/>
                      <p:nvPr/>
                    </p:nvSpPr>
                    <p:spPr>
                      <a:xfrm>
                        <a:off x="1197364" y="3979996"/>
                        <a:ext cx="3951826" cy="204456"/>
                      </a:xfrm>
                      <a:prstGeom prst="rect">
                        <a:avLst/>
                      </a:prstGeom>
                      <a:noFill/>
                    </p:spPr>
                    <p:txBody>
                      <a:bodyPr wrap="squar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Time from </a:t>
                        </a:r>
                        <a:r>
                          <a:rPr kumimoji="0" lang="en-US" sz="1200" b="1" i="0" u="none" strike="noStrike" kern="0" cap="none" spc="0" normalizeH="0" baseline="0" noProof="0" dirty="0" err="1">
                            <a:ln>
                              <a:noFill/>
                            </a:ln>
                            <a:solidFill>
                              <a:srgbClr val="251607"/>
                            </a:solidFill>
                            <a:effectLst/>
                            <a:uLnTx/>
                            <a:uFillTx/>
                            <a:latin typeface="Arial" panose="020B0604020202020204" pitchFamily="34" charset="0"/>
                            <a:ea typeface="+mn-ea"/>
                            <a:cs typeface="Arial" panose="020B0604020202020204" pitchFamily="34" charset="0"/>
                          </a:rPr>
                          <a:t>randomisation</a:t>
                        </a:r>
                        <a:r>
                          <a:rPr kumimoji="0" lang="en-US" sz="1200" b="1"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 months</a:t>
                        </a:r>
                      </a:p>
                    </p:txBody>
                  </p:sp>
                  <p:sp>
                    <p:nvSpPr>
                      <p:cNvPr id="93" name="TextBox 92">
                        <a:extLst>
                          <a:ext uri="{FF2B5EF4-FFF2-40B4-BE49-F238E27FC236}">
                            <a16:creationId xmlns:a16="http://schemas.microsoft.com/office/drawing/2014/main" id="{8CA64701-BF40-CDB2-D53E-F2ADD955862F}"/>
                          </a:ext>
                        </a:extLst>
                      </p:cNvPr>
                      <p:cNvSpPr txBox="1"/>
                      <p:nvPr/>
                    </p:nvSpPr>
                    <p:spPr>
                      <a:xfrm>
                        <a:off x="3032686" y="3818082"/>
                        <a:ext cx="300296"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18</a:t>
                        </a:r>
                      </a:p>
                    </p:txBody>
                  </p:sp>
                  <p:sp>
                    <p:nvSpPr>
                      <p:cNvPr id="94" name="TextBox 93">
                        <a:extLst>
                          <a:ext uri="{FF2B5EF4-FFF2-40B4-BE49-F238E27FC236}">
                            <a16:creationId xmlns:a16="http://schemas.microsoft.com/office/drawing/2014/main" id="{EAFC973D-6679-405A-5F27-EBB55CEEE275}"/>
                          </a:ext>
                        </a:extLst>
                      </p:cNvPr>
                      <p:cNvSpPr txBox="1"/>
                      <p:nvPr/>
                    </p:nvSpPr>
                    <p:spPr>
                      <a:xfrm>
                        <a:off x="2703982" y="3818082"/>
                        <a:ext cx="300296"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15</a:t>
                        </a:r>
                      </a:p>
                    </p:txBody>
                  </p:sp>
                  <p:sp>
                    <p:nvSpPr>
                      <p:cNvPr id="95" name="TextBox 94">
                        <a:extLst>
                          <a:ext uri="{FF2B5EF4-FFF2-40B4-BE49-F238E27FC236}">
                            <a16:creationId xmlns:a16="http://schemas.microsoft.com/office/drawing/2014/main" id="{CA01774A-C8D1-579A-4DF4-55E21C1A6CFD}"/>
                          </a:ext>
                        </a:extLst>
                      </p:cNvPr>
                      <p:cNvSpPr txBox="1"/>
                      <p:nvPr/>
                    </p:nvSpPr>
                    <p:spPr>
                      <a:xfrm>
                        <a:off x="2375271" y="3818082"/>
                        <a:ext cx="300296"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12</a:t>
                        </a:r>
                      </a:p>
                    </p:txBody>
                  </p:sp>
                  <p:sp>
                    <p:nvSpPr>
                      <p:cNvPr id="96" name="TextBox 95">
                        <a:extLst>
                          <a:ext uri="{FF2B5EF4-FFF2-40B4-BE49-F238E27FC236}">
                            <a16:creationId xmlns:a16="http://schemas.microsoft.com/office/drawing/2014/main" id="{E146401F-12A6-E78E-9EE3-DC936D614FFC}"/>
                          </a:ext>
                        </a:extLst>
                      </p:cNvPr>
                      <p:cNvSpPr txBox="1"/>
                      <p:nvPr/>
                    </p:nvSpPr>
                    <p:spPr>
                      <a:xfrm>
                        <a:off x="2082536" y="3818085"/>
                        <a:ext cx="228344"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9</a:t>
                        </a:r>
                      </a:p>
                    </p:txBody>
                  </p:sp>
                  <p:sp>
                    <p:nvSpPr>
                      <p:cNvPr id="97" name="TextBox 96">
                        <a:extLst>
                          <a:ext uri="{FF2B5EF4-FFF2-40B4-BE49-F238E27FC236}">
                            <a16:creationId xmlns:a16="http://schemas.microsoft.com/office/drawing/2014/main" id="{8F18096D-5F30-7A09-E413-F223E640A747}"/>
                          </a:ext>
                        </a:extLst>
                      </p:cNvPr>
                      <p:cNvSpPr txBox="1"/>
                      <p:nvPr/>
                    </p:nvSpPr>
                    <p:spPr>
                      <a:xfrm>
                        <a:off x="1753830" y="3818085"/>
                        <a:ext cx="228344"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6</a:t>
                        </a:r>
                      </a:p>
                    </p:txBody>
                  </p:sp>
                  <p:sp>
                    <p:nvSpPr>
                      <p:cNvPr id="98" name="TextBox 97">
                        <a:extLst>
                          <a:ext uri="{FF2B5EF4-FFF2-40B4-BE49-F238E27FC236}">
                            <a16:creationId xmlns:a16="http://schemas.microsoft.com/office/drawing/2014/main" id="{1F4DFB49-8CEE-1C2F-4BF1-6FAACEAAC496}"/>
                          </a:ext>
                        </a:extLst>
                      </p:cNvPr>
                      <p:cNvSpPr txBox="1"/>
                      <p:nvPr/>
                    </p:nvSpPr>
                    <p:spPr>
                      <a:xfrm>
                        <a:off x="1425122" y="3818085"/>
                        <a:ext cx="228344"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3</a:t>
                        </a:r>
                      </a:p>
                    </p:txBody>
                  </p:sp>
                  <p:sp>
                    <p:nvSpPr>
                      <p:cNvPr id="99" name="TextBox 98">
                        <a:extLst>
                          <a:ext uri="{FF2B5EF4-FFF2-40B4-BE49-F238E27FC236}">
                            <a16:creationId xmlns:a16="http://schemas.microsoft.com/office/drawing/2014/main" id="{05CA2DE0-0620-36EE-4A59-AEFB989022B3}"/>
                          </a:ext>
                        </a:extLst>
                      </p:cNvPr>
                      <p:cNvSpPr txBox="1"/>
                      <p:nvPr/>
                    </p:nvSpPr>
                    <p:spPr>
                      <a:xfrm>
                        <a:off x="1094417" y="3818085"/>
                        <a:ext cx="228344"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a:t>
                        </a:r>
                      </a:p>
                    </p:txBody>
                  </p:sp>
                  <p:sp>
                    <p:nvSpPr>
                      <p:cNvPr id="100" name="TextBox 99">
                        <a:extLst>
                          <a:ext uri="{FF2B5EF4-FFF2-40B4-BE49-F238E27FC236}">
                            <a16:creationId xmlns:a16="http://schemas.microsoft.com/office/drawing/2014/main" id="{DDE46185-C921-C3B1-EFDF-A4F33BCC5A08}"/>
                          </a:ext>
                        </a:extLst>
                      </p:cNvPr>
                      <p:cNvSpPr txBox="1"/>
                      <p:nvPr/>
                    </p:nvSpPr>
                    <p:spPr>
                      <a:xfrm>
                        <a:off x="3361397" y="3818082"/>
                        <a:ext cx="300296"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21</a:t>
                        </a:r>
                      </a:p>
                    </p:txBody>
                  </p:sp>
                  <p:sp>
                    <p:nvSpPr>
                      <p:cNvPr id="101" name="TextBox 100">
                        <a:extLst>
                          <a:ext uri="{FF2B5EF4-FFF2-40B4-BE49-F238E27FC236}">
                            <a16:creationId xmlns:a16="http://schemas.microsoft.com/office/drawing/2014/main" id="{D9B253C5-9D09-24CC-7E3E-5B7B7D381935}"/>
                          </a:ext>
                        </a:extLst>
                      </p:cNvPr>
                      <p:cNvSpPr txBox="1"/>
                      <p:nvPr/>
                    </p:nvSpPr>
                    <p:spPr>
                      <a:xfrm>
                        <a:off x="3690106" y="3818082"/>
                        <a:ext cx="300296"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24</a:t>
                        </a:r>
                      </a:p>
                    </p:txBody>
                  </p:sp>
                  <p:sp>
                    <p:nvSpPr>
                      <p:cNvPr id="102" name="TextBox 101">
                        <a:extLst>
                          <a:ext uri="{FF2B5EF4-FFF2-40B4-BE49-F238E27FC236}">
                            <a16:creationId xmlns:a16="http://schemas.microsoft.com/office/drawing/2014/main" id="{84E6BBFA-AB7B-DB6C-DDF8-1381F17FC2B8}"/>
                          </a:ext>
                        </a:extLst>
                      </p:cNvPr>
                      <p:cNvSpPr txBox="1"/>
                      <p:nvPr/>
                    </p:nvSpPr>
                    <p:spPr>
                      <a:xfrm>
                        <a:off x="4018812" y="3818082"/>
                        <a:ext cx="300296"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27</a:t>
                        </a:r>
                      </a:p>
                    </p:txBody>
                  </p:sp>
                  <p:sp>
                    <p:nvSpPr>
                      <p:cNvPr id="103" name="TextBox 102">
                        <a:extLst>
                          <a:ext uri="{FF2B5EF4-FFF2-40B4-BE49-F238E27FC236}">
                            <a16:creationId xmlns:a16="http://schemas.microsoft.com/office/drawing/2014/main" id="{AC550EB7-40E8-9D06-4870-810EFE467EC0}"/>
                          </a:ext>
                        </a:extLst>
                      </p:cNvPr>
                      <p:cNvSpPr txBox="1"/>
                      <p:nvPr/>
                    </p:nvSpPr>
                    <p:spPr>
                      <a:xfrm>
                        <a:off x="4347520" y="3818082"/>
                        <a:ext cx="300296"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30</a:t>
                        </a:r>
                      </a:p>
                    </p:txBody>
                  </p:sp>
                  <p:sp>
                    <p:nvSpPr>
                      <p:cNvPr id="104" name="TextBox 103">
                        <a:extLst>
                          <a:ext uri="{FF2B5EF4-FFF2-40B4-BE49-F238E27FC236}">
                            <a16:creationId xmlns:a16="http://schemas.microsoft.com/office/drawing/2014/main" id="{75080E38-1BF6-9E6C-21E5-26542E163CDE}"/>
                          </a:ext>
                        </a:extLst>
                      </p:cNvPr>
                      <p:cNvSpPr txBox="1"/>
                      <p:nvPr/>
                    </p:nvSpPr>
                    <p:spPr>
                      <a:xfrm>
                        <a:off x="4676231" y="3818082"/>
                        <a:ext cx="300296"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33</a:t>
                        </a:r>
                      </a:p>
                    </p:txBody>
                  </p:sp>
                  <p:sp>
                    <p:nvSpPr>
                      <p:cNvPr id="105" name="TextBox 104">
                        <a:extLst>
                          <a:ext uri="{FF2B5EF4-FFF2-40B4-BE49-F238E27FC236}">
                            <a16:creationId xmlns:a16="http://schemas.microsoft.com/office/drawing/2014/main" id="{A9BD641D-5C6C-6ED5-0AF3-E81C6EF5B6DE}"/>
                          </a:ext>
                        </a:extLst>
                      </p:cNvPr>
                      <p:cNvSpPr txBox="1"/>
                      <p:nvPr/>
                    </p:nvSpPr>
                    <p:spPr>
                      <a:xfrm>
                        <a:off x="5004942" y="3818082"/>
                        <a:ext cx="300296" cy="204456"/>
                      </a:xfrm>
                      <a:prstGeom prst="rect">
                        <a:avLst/>
                      </a:prstGeom>
                      <a:noFill/>
                    </p:spPr>
                    <p:txBody>
                      <a:bodyPr wrap="non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36</a:t>
                        </a:r>
                      </a:p>
                    </p:txBody>
                  </p:sp>
                  <p:grpSp>
                    <p:nvGrpSpPr>
                      <p:cNvPr id="106" name="Group 105">
                        <a:extLst>
                          <a:ext uri="{FF2B5EF4-FFF2-40B4-BE49-F238E27FC236}">
                            <a16:creationId xmlns:a16="http://schemas.microsoft.com/office/drawing/2014/main" id="{119F59F2-D36B-5507-61FE-B3E68A222E9B}"/>
                          </a:ext>
                        </a:extLst>
                      </p:cNvPr>
                      <p:cNvGrpSpPr/>
                      <p:nvPr/>
                    </p:nvGrpSpPr>
                    <p:grpSpPr>
                      <a:xfrm>
                        <a:off x="613271" y="1321111"/>
                        <a:ext cx="5120039" cy="2589774"/>
                        <a:chOff x="613271" y="1321111"/>
                        <a:chExt cx="5120039" cy="2589774"/>
                      </a:xfrm>
                    </p:grpSpPr>
                    <p:cxnSp>
                      <p:nvCxnSpPr>
                        <p:cNvPr id="107" name="Straight Connector 106">
                          <a:extLst>
                            <a:ext uri="{FF2B5EF4-FFF2-40B4-BE49-F238E27FC236}">
                              <a16:creationId xmlns:a16="http://schemas.microsoft.com/office/drawing/2014/main" id="{1B1C6EE6-17D4-5304-9766-EEFBCD62B05D}"/>
                            </a:ext>
                          </a:extLst>
                        </p:cNvPr>
                        <p:cNvCxnSpPr/>
                        <p:nvPr/>
                      </p:nvCxnSpPr>
                      <p:spPr bwMode="auto">
                        <a:xfrm>
                          <a:off x="1204690" y="1444807"/>
                          <a:ext cx="0" cy="2348198"/>
                        </a:xfrm>
                        <a:prstGeom prst="line">
                          <a:avLst/>
                        </a:prstGeom>
                        <a:noFill/>
                        <a:ln w="12700" cap="flat" cmpd="sng" algn="ctr">
                          <a:solidFill>
                            <a:srgbClr val="3F4444"/>
                          </a:solidFill>
                          <a:prstDash val="solid"/>
                          <a:miter lim="800000"/>
                          <a:headEnd type="none" w="med" len="med"/>
                          <a:tailEnd type="none" w="med" len="med"/>
                        </a:ln>
                        <a:effectLst/>
                      </p:spPr>
                    </p:cxnSp>
                    <p:cxnSp>
                      <p:nvCxnSpPr>
                        <p:cNvPr id="108" name="Straight Connector 107">
                          <a:extLst>
                            <a:ext uri="{FF2B5EF4-FFF2-40B4-BE49-F238E27FC236}">
                              <a16:creationId xmlns:a16="http://schemas.microsoft.com/office/drawing/2014/main" id="{F51A00C7-5A55-05F4-A70D-7786540508FD}"/>
                            </a:ext>
                          </a:extLst>
                        </p:cNvPr>
                        <p:cNvCxnSpPr>
                          <a:cxnSpLocks/>
                        </p:cNvCxnSpPr>
                        <p:nvPr/>
                      </p:nvCxnSpPr>
                      <p:spPr bwMode="auto">
                        <a:xfrm>
                          <a:off x="1084608" y="3787410"/>
                          <a:ext cx="4648702" cy="0"/>
                        </a:xfrm>
                        <a:prstGeom prst="line">
                          <a:avLst/>
                        </a:prstGeom>
                        <a:noFill/>
                        <a:ln w="12700" cap="flat" cmpd="sng" algn="ctr">
                          <a:solidFill>
                            <a:srgbClr val="3F4444"/>
                          </a:solidFill>
                          <a:prstDash val="solid"/>
                          <a:miter lim="800000"/>
                          <a:headEnd type="none" w="med" len="med"/>
                          <a:tailEnd type="none" w="med" len="med"/>
                        </a:ln>
                        <a:effectLst/>
                      </p:spPr>
                    </p:cxnSp>
                    <p:grpSp>
                      <p:nvGrpSpPr>
                        <p:cNvPr id="109" name="Group 108">
                          <a:extLst>
                            <a:ext uri="{FF2B5EF4-FFF2-40B4-BE49-F238E27FC236}">
                              <a16:creationId xmlns:a16="http://schemas.microsoft.com/office/drawing/2014/main" id="{0DACA740-9C60-65F7-B748-D29090D7F4FE}"/>
                            </a:ext>
                          </a:extLst>
                        </p:cNvPr>
                        <p:cNvGrpSpPr/>
                        <p:nvPr/>
                      </p:nvGrpSpPr>
                      <p:grpSpPr>
                        <a:xfrm>
                          <a:off x="1127578" y="1443410"/>
                          <a:ext cx="72000" cy="1875200"/>
                          <a:chOff x="7007765" y="1703917"/>
                          <a:chExt cx="4877568" cy="1419857"/>
                        </a:xfrm>
                      </p:grpSpPr>
                      <p:cxnSp>
                        <p:nvCxnSpPr>
                          <p:cNvPr id="126" name="Straight Connector 125">
                            <a:extLst>
                              <a:ext uri="{FF2B5EF4-FFF2-40B4-BE49-F238E27FC236}">
                                <a16:creationId xmlns:a16="http://schemas.microsoft.com/office/drawing/2014/main" id="{A6ACB98B-275E-F30F-CE49-943C79EC31F4}"/>
                              </a:ext>
                            </a:extLst>
                          </p:cNvPr>
                          <p:cNvCxnSpPr/>
                          <p:nvPr/>
                        </p:nvCxnSpPr>
                        <p:spPr bwMode="auto">
                          <a:xfrm>
                            <a:off x="7007765" y="3123774"/>
                            <a:ext cx="4877568" cy="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27" name="Straight Connector 126">
                            <a:extLst>
                              <a:ext uri="{FF2B5EF4-FFF2-40B4-BE49-F238E27FC236}">
                                <a16:creationId xmlns:a16="http://schemas.microsoft.com/office/drawing/2014/main" id="{E3EA0064-AFDE-F35C-B839-1AD80B18930E}"/>
                              </a:ext>
                            </a:extLst>
                          </p:cNvPr>
                          <p:cNvCxnSpPr/>
                          <p:nvPr/>
                        </p:nvCxnSpPr>
                        <p:spPr bwMode="auto">
                          <a:xfrm>
                            <a:off x="7007765" y="2768810"/>
                            <a:ext cx="4877568" cy="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28" name="Straight Connector 127">
                            <a:extLst>
                              <a:ext uri="{FF2B5EF4-FFF2-40B4-BE49-F238E27FC236}">
                                <a16:creationId xmlns:a16="http://schemas.microsoft.com/office/drawing/2014/main" id="{B4AA3CCA-3F23-5135-16F3-A29B1B14D13A}"/>
                              </a:ext>
                            </a:extLst>
                          </p:cNvPr>
                          <p:cNvCxnSpPr/>
                          <p:nvPr/>
                        </p:nvCxnSpPr>
                        <p:spPr bwMode="auto">
                          <a:xfrm>
                            <a:off x="7007765" y="2413845"/>
                            <a:ext cx="4877568" cy="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29" name="Straight Connector 128">
                            <a:extLst>
                              <a:ext uri="{FF2B5EF4-FFF2-40B4-BE49-F238E27FC236}">
                                <a16:creationId xmlns:a16="http://schemas.microsoft.com/office/drawing/2014/main" id="{6252BCE1-A66B-04AB-8218-BE0ECDB60C63}"/>
                              </a:ext>
                            </a:extLst>
                          </p:cNvPr>
                          <p:cNvCxnSpPr/>
                          <p:nvPr/>
                        </p:nvCxnSpPr>
                        <p:spPr bwMode="auto">
                          <a:xfrm>
                            <a:off x="7007765" y="2058881"/>
                            <a:ext cx="4877568" cy="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30" name="Straight Connector 129">
                            <a:extLst>
                              <a:ext uri="{FF2B5EF4-FFF2-40B4-BE49-F238E27FC236}">
                                <a16:creationId xmlns:a16="http://schemas.microsoft.com/office/drawing/2014/main" id="{6ADDDB2D-C02A-E85F-44DD-5A502EB98396}"/>
                              </a:ext>
                            </a:extLst>
                          </p:cNvPr>
                          <p:cNvCxnSpPr/>
                          <p:nvPr/>
                        </p:nvCxnSpPr>
                        <p:spPr bwMode="auto">
                          <a:xfrm>
                            <a:off x="7007765" y="1703917"/>
                            <a:ext cx="4877568" cy="0"/>
                          </a:xfrm>
                          <a:prstGeom prst="line">
                            <a:avLst/>
                          </a:prstGeom>
                          <a:noFill/>
                          <a:ln w="12700" cap="flat" cmpd="sng" algn="ctr">
                            <a:solidFill>
                              <a:srgbClr val="3F4444"/>
                            </a:solidFill>
                            <a:prstDash val="solid"/>
                            <a:miter lim="800000"/>
                            <a:headEnd type="none" w="med" len="med"/>
                            <a:tailEnd type="none" w="med" len="med"/>
                          </a:ln>
                          <a:effectLst/>
                        </p:spPr>
                      </p:cxnSp>
                    </p:grpSp>
                    <p:grpSp>
                      <p:nvGrpSpPr>
                        <p:cNvPr id="110" name="Group 109">
                          <a:extLst>
                            <a:ext uri="{FF2B5EF4-FFF2-40B4-BE49-F238E27FC236}">
                              <a16:creationId xmlns:a16="http://schemas.microsoft.com/office/drawing/2014/main" id="{870989A6-B0D0-57E6-FA8D-0E81682D1D1D}"/>
                            </a:ext>
                          </a:extLst>
                        </p:cNvPr>
                        <p:cNvGrpSpPr/>
                        <p:nvPr/>
                      </p:nvGrpSpPr>
                      <p:grpSpPr>
                        <a:xfrm>
                          <a:off x="1204690" y="3785733"/>
                          <a:ext cx="3944505" cy="60381"/>
                          <a:chOff x="1038225" y="1749425"/>
                          <a:chExt cx="3441700" cy="1778000"/>
                        </a:xfrm>
                      </p:grpSpPr>
                      <p:cxnSp>
                        <p:nvCxnSpPr>
                          <p:cNvPr id="113" name="Straight Connector 112">
                            <a:extLst>
                              <a:ext uri="{FF2B5EF4-FFF2-40B4-BE49-F238E27FC236}">
                                <a16:creationId xmlns:a16="http://schemas.microsoft.com/office/drawing/2014/main" id="{1927A71D-6BFF-A46A-0F2C-355DD3E513D0}"/>
                              </a:ext>
                            </a:extLst>
                          </p:cNvPr>
                          <p:cNvCxnSpPr/>
                          <p:nvPr/>
                        </p:nvCxnSpPr>
                        <p:spPr bwMode="auto">
                          <a:xfrm>
                            <a:off x="1038225"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14" name="Straight Connector 113">
                            <a:extLst>
                              <a:ext uri="{FF2B5EF4-FFF2-40B4-BE49-F238E27FC236}">
                                <a16:creationId xmlns:a16="http://schemas.microsoft.com/office/drawing/2014/main" id="{5EA59EF8-EFA1-4448-5074-D413FDB5DB79}"/>
                              </a:ext>
                            </a:extLst>
                          </p:cNvPr>
                          <p:cNvCxnSpPr/>
                          <p:nvPr/>
                        </p:nvCxnSpPr>
                        <p:spPr bwMode="auto">
                          <a:xfrm>
                            <a:off x="1325033"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15" name="Straight Connector 114">
                            <a:extLst>
                              <a:ext uri="{FF2B5EF4-FFF2-40B4-BE49-F238E27FC236}">
                                <a16:creationId xmlns:a16="http://schemas.microsoft.com/office/drawing/2014/main" id="{FAFD4AEB-26E9-3260-2DC7-A204F0AF4269}"/>
                              </a:ext>
                            </a:extLst>
                          </p:cNvPr>
                          <p:cNvCxnSpPr/>
                          <p:nvPr/>
                        </p:nvCxnSpPr>
                        <p:spPr bwMode="auto">
                          <a:xfrm>
                            <a:off x="1611841"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16" name="Straight Connector 115">
                            <a:extLst>
                              <a:ext uri="{FF2B5EF4-FFF2-40B4-BE49-F238E27FC236}">
                                <a16:creationId xmlns:a16="http://schemas.microsoft.com/office/drawing/2014/main" id="{A39E6727-DEAA-1B54-7ED7-14B62F457169}"/>
                              </a:ext>
                            </a:extLst>
                          </p:cNvPr>
                          <p:cNvCxnSpPr/>
                          <p:nvPr/>
                        </p:nvCxnSpPr>
                        <p:spPr bwMode="auto">
                          <a:xfrm>
                            <a:off x="1898649"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17" name="Straight Connector 116">
                            <a:extLst>
                              <a:ext uri="{FF2B5EF4-FFF2-40B4-BE49-F238E27FC236}">
                                <a16:creationId xmlns:a16="http://schemas.microsoft.com/office/drawing/2014/main" id="{400217C4-3DAC-728D-947A-6F7526E6F98E}"/>
                              </a:ext>
                            </a:extLst>
                          </p:cNvPr>
                          <p:cNvCxnSpPr/>
                          <p:nvPr/>
                        </p:nvCxnSpPr>
                        <p:spPr bwMode="auto">
                          <a:xfrm>
                            <a:off x="2185457"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18" name="Straight Connector 117">
                            <a:extLst>
                              <a:ext uri="{FF2B5EF4-FFF2-40B4-BE49-F238E27FC236}">
                                <a16:creationId xmlns:a16="http://schemas.microsoft.com/office/drawing/2014/main" id="{EEBAD8A7-ACB3-8BE4-6E06-DC66746CAD88}"/>
                              </a:ext>
                            </a:extLst>
                          </p:cNvPr>
                          <p:cNvCxnSpPr/>
                          <p:nvPr/>
                        </p:nvCxnSpPr>
                        <p:spPr bwMode="auto">
                          <a:xfrm>
                            <a:off x="2472265"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19" name="Straight Connector 118">
                            <a:extLst>
                              <a:ext uri="{FF2B5EF4-FFF2-40B4-BE49-F238E27FC236}">
                                <a16:creationId xmlns:a16="http://schemas.microsoft.com/office/drawing/2014/main" id="{4CDCBBA5-679F-D985-E77A-581659372FFB}"/>
                              </a:ext>
                            </a:extLst>
                          </p:cNvPr>
                          <p:cNvCxnSpPr/>
                          <p:nvPr/>
                        </p:nvCxnSpPr>
                        <p:spPr bwMode="auto">
                          <a:xfrm>
                            <a:off x="2759073"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20" name="Straight Connector 119">
                            <a:extLst>
                              <a:ext uri="{FF2B5EF4-FFF2-40B4-BE49-F238E27FC236}">
                                <a16:creationId xmlns:a16="http://schemas.microsoft.com/office/drawing/2014/main" id="{B39B8228-4B2F-032A-B483-3D6A0CDC411B}"/>
                              </a:ext>
                            </a:extLst>
                          </p:cNvPr>
                          <p:cNvCxnSpPr/>
                          <p:nvPr/>
                        </p:nvCxnSpPr>
                        <p:spPr bwMode="auto">
                          <a:xfrm>
                            <a:off x="3045881"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21" name="Straight Connector 120">
                            <a:extLst>
                              <a:ext uri="{FF2B5EF4-FFF2-40B4-BE49-F238E27FC236}">
                                <a16:creationId xmlns:a16="http://schemas.microsoft.com/office/drawing/2014/main" id="{3E69A9A6-DB2F-55FD-58D0-75D0C046FDB9}"/>
                              </a:ext>
                            </a:extLst>
                          </p:cNvPr>
                          <p:cNvCxnSpPr/>
                          <p:nvPr/>
                        </p:nvCxnSpPr>
                        <p:spPr bwMode="auto">
                          <a:xfrm>
                            <a:off x="3332689"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22" name="Straight Connector 121">
                            <a:extLst>
                              <a:ext uri="{FF2B5EF4-FFF2-40B4-BE49-F238E27FC236}">
                                <a16:creationId xmlns:a16="http://schemas.microsoft.com/office/drawing/2014/main" id="{615F8441-6C68-35B7-75D9-5916F3C0F29B}"/>
                              </a:ext>
                            </a:extLst>
                          </p:cNvPr>
                          <p:cNvCxnSpPr/>
                          <p:nvPr/>
                        </p:nvCxnSpPr>
                        <p:spPr bwMode="auto">
                          <a:xfrm>
                            <a:off x="3619497"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23" name="Straight Connector 122">
                            <a:extLst>
                              <a:ext uri="{FF2B5EF4-FFF2-40B4-BE49-F238E27FC236}">
                                <a16:creationId xmlns:a16="http://schemas.microsoft.com/office/drawing/2014/main" id="{232A6355-0DED-B84B-4F19-8BA3EEFAF6ED}"/>
                              </a:ext>
                            </a:extLst>
                          </p:cNvPr>
                          <p:cNvCxnSpPr/>
                          <p:nvPr/>
                        </p:nvCxnSpPr>
                        <p:spPr bwMode="auto">
                          <a:xfrm>
                            <a:off x="3906305"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24" name="Straight Connector 123">
                            <a:extLst>
                              <a:ext uri="{FF2B5EF4-FFF2-40B4-BE49-F238E27FC236}">
                                <a16:creationId xmlns:a16="http://schemas.microsoft.com/office/drawing/2014/main" id="{57C92F83-34C0-108B-AA63-B930E4DE12CB}"/>
                              </a:ext>
                            </a:extLst>
                          </p:cNvPr>
                          <p:cNvCxnSpPr/>
                          <p:nvPr/>
                        </p:nvCxnSpPr>
                        <p:spPr bwMode="auto">
                          <a:xfrm>
                            <a:off x="4193113"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cxnSp>
                        <p:nvCxnSpPr>
                          <p:cNvPr id="125" name="Straight Connector 124">
                            <a:extLst>
                              <a:ext uri="{FF2B5EF4-FFF2-40B4-BE49-F238E27FC236}">
                                <a16:creationId xmlns:a16="http://schemas.microsoft.com/office/drawing/2014/main" id="{28CE6298-8DFE-A466-1FFE-70A23C3E1A87}"/>
                              </a:ext>
                            </a:extLst>
                          </p:cNvPr>
                          <p:cNvCxnSpPr/>
                          <p:nvPr/>
                        </p:nvCxnSpPr>
                        <p:spPr bwMode="auto">
                          <a:xfrm>
                            <a:off x="4479925" y="1749425"/>
                            <a:ext cx="0" cy="1778000"/>
                          </a:xfrm>
                          <a:prstGeom prst="line">
                            <a:avLst/>
                          </a:prstGeom>
                          <a:noFill/>
                          <a:ln w="12700" cap="flat" cmpd="sng" algn="ctr">
                            <a:solidFill>
                              <a:srgbClr val="3F4444"/>
                            </a:solidFill>
                            <a:prstDash val="solid"/>
                            <a:miter lim="800000"/>
                            <a:headEnd type="none" w="med" len="med"/>
                            <a:tailEnd type="none" w="med" len="med"/>
                          </a:ln>
                          <a:effectLst/>
                        </p:spPr>
                      </p:cxnSp>
                    </p:grpSp>
                    <p:sp>
                      <p:nvSpPr>
                        <p:cNvPr id="111" name="TextBox 110">
                          <a:extLst>
                            <a:ext uri="{FF2B5EF4-FFF2-40B4-BE49-F238E27FC236}">
                              <a16:creationId xmlns:a16="http://schemas.microsoft.com/office/drawing/2014/main" id="{5FB104B0-10CF-FCB6-1DFC-7EB7F2DF47C5}"/>
                            </a:ext>
                          </a:extLst>
                        </p:cNvPr>
                        <p:cNvSpPr txBox="1"/>
                        <p:nvPr/>
                      </p:nvSpPr>
                      <p:spPr>
                        <a:xfrm>
                          <a:off x="714356" y="1321111"/>
                          <a:ext cx="422978" cy="2589774"/>
                        </a:xfrm>
                        <a:prstGeom prst="rect">
                          <a:avLst/>
                        </a:prstGeom>
                        <a:noFill/>
                      </p:spPr>
                      <p:txBody>
                        <a:bodyPr wrap="square" rtlCol="0" anchor="ctr">
                          <a:spAutoFit/>
                        </a:bodyPr>
                        <a:lstStyle/>
                        <a:p>
                          <a:pPr marL="0" marR="0" lvl="0" indent="0" algn="r" defTabSz="609570" rtl="0" eaLnBrk="1" fontAlgn="auto" latinLnBrk="0" hangingPunct="1">
                            <a:lnSpc>
                              <a:spcPct val="100000"/>
                            </a:lnSpc>
                            <a:spcBef>
                              <a:spcPts val="0"/>
                            </a:spcBef>
                            <a:spcAft>
                              <a:spcPts val="360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1.0</a:t>
                          </a:r>
                        </a:p>
                        <a:p>
                          <a:pPr marL="0" marR="0" lvl="0" indent="0" algn="r" defTabSz="609570" rtl="0" eaLnBrk="1" fontAlgn="auto" latinLnBrk="0" hangingPunct="1">
                            <a:lnSpc>
                              <a:spcPct val="100000"/>
                            </a:lnSpc>
                            <a:spcBef>
                              <a:spcPts val="0"/>
                            </a:spcBef>
                            <a:spcAft>
                              <a:spcPts val="360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8</a:t>
                          </a:r>
                        </a:p>
                        <a:p>
                          <a:pPr marL="0" marR="0" lvl="0" indent="0" algn="r" defTabSz="609570" rtl="0" eaLnBrk="1" fontAlgn="auto" latinLnBrk="0" hangingPunct="1">
                            <a:lnSpc>
                              <a:spcPct val="100000"/>
                            </a:lnSpc>
                            <a:spcBef>
                              <a:spcPts val="0"/>
                            </a:spcBef>
                            <a:spcAft>
                              <a:spcPts val="360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6</a:t>
                          </a:r>
                        </a:p>
                        <a:p>
                          <a:pPr marL="0" marR="0" lvl="0" indent="0" algn="r" defTabSz="609570" rtl="0" eaLnBrk="1" fontAlgn="auto" latinLnBrk="0" hangingPunct="1">
                            <a:lnSpc>
                              <a:spcPct val="100000"/>
                            </a:lnSpc>
                            <a:spcBef>
                              <a:spcPts val="0"/>
                            </a:spcBef>
                            <a:spcAft>
                              <a:spcPts val="360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4</a:t>
                          </a:r>
                        </a:p>
                        <a:p>
                          <a:pPr marL="0" marR="0" lvl="0" indent="0" algn="r" defTabSz="609570" rtl="0" eaLnBrk="1" fontAlgn="auto" latinLnBrk="0" hangingPunct="1">
                            <a:lnSpc>
                              <a:spcPct val="100000"/>
                            </a:lnSpc>
                            <a:spcBef>
                              <a:spcPts val="0"/>
                            </a:spcBef>
                            <a:spcAft>
                              <a:spcPts val="360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2</a:t>
                          </a:r>
                        </a:p>
                        <a:p>
                          <a:pPr marL="0" marR="0" lvl="0" indent="0" algn="r" defTabSz="609570" rtl="0" eaLnBrk="1" fontAlgn="auto" latinLnBrk="0" hangingPunct="1">
                            <a:lnSpc>
                              <a:spcPct val="100000"/>
                            </a:lnSpc>
                            <a:spcBef>
                              <a:spcPts val="0"/>
                            </a:spcBef>
                            <a:spcAft>
                              <a:spcPts val="3600"/>
                            </a:spcAft>
                            <a:buClrTx/>
                            <a:buSzTx/>
                            <a:buFontTx/>
                            <a:buNone/>
                            <a:tabLst/>
                            <a:defRPr/>
                          </a:pPr>
                          <a:r>
                            <a:rPr kumimoji="0" lang="en-US" sz="12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a:t>
                          </a:r>
                        </a:p>
                      </p:txBody>
                    </p:sp>
                    <p:sp>
                      <p:nvSpPr>
                        <p:cNvPr id="112" name="TextBox 111">
                          <a:extLst>
                            <a:ext uri="{FF2B5EF4-FFF2-40B4-BE49-F238E27FC236}">
                              <a16:creationId xmlns:a16="http://schemas.microsoft.com/office/drawing/2014/main" id="{ED3E759F-8FBF-FF1A-FF73-C3C5AD960296}"/>
                            </a:ext>
                          </a:extLst>
                        </p:cNvPr>
                        <p:cNvSpPr txBox="1"/>
                        <p:nvPr/>
                      </p:nvSpPr>
                      <p:spPr>
                        <a:xfrm rot="16200000">
                          <a:off x="-440497" y="2492396"/>
                          <a:ext cx="2342126" cy="234589"/>
                        </a:xfrm>
                        <a:prstGeom prst="rect">
                          <a:avLst/>
                        </a:prstGeom>
                        <a:noFill/>
                      </p:spPr>
                      <p:txBody>
                        <a:bodyPr wrap="squar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Probability of PFS</a:t>
                          </a:r>
                        </a:p>
                      </p:txBody>
                    </p:sp>
                  </p:grpSp>
                </p:grpSp>
                <p:cxnSp>
                  <p:nvCxnSpPr>
                    <p:cNvPr id="91" name="Straight Connector 90">
                      <a:extLst>
                        <a:ext uri="{FF2B5EF4-FFF2-40B4-BE49-F238E27FC236}">
                          <a16:creationId xmlns:a16="http://schemas.microsoft.com/office/drawing/2014/main" id="{CF13EAA5-0E0A-5FD7-4F9B-2E7EEC4D2D1D}"/>
                        </a:ext>
                      </a:extLst>
                    </p:cNvPr>
                    <p:cNvCxnSpPr>
                      <a:cxnSpLocks/>
                    </p:cNvCxnSpPr>
                    <p:nvPr/>
                  </p:nvCxnSpPr>
                  <p:spPr bwMode="auto">
                    <a:xfrm flipV="1">
                      <a:off x="1114030" y="3610951"/>
                      <a:ext cx="5705715" cy="0"/>
                    </a:xfrm>
                    <a:prstGeom prst="line">
                      <a:avLst/>
                    </a:prstGeom>
                    <a:solidFill>
                      <a:srgbClr val="830051"/>
                    </a:solidFill>
                    <a:ln w="12700" cap="flat" cmpd="sng" algn="ctr">
                      <a:solidFill>
                        <a:srgbClr val="3F4444">
                          <a:lumMod val="50000"/>
                          <a:lumOff val="50000"/>
                        </a:srgbClr>
                      </a:solidFill>
                      <a:prstDash val="sysDot"/>
                      <a:round/>
                      <a:headEnd type="none" w="med" len="med"/>
                      <a:tailEnd type="none" w="med" len="med"/>
                    </a:ln>
                    <a:effectLst/>
                  </p:spPr>
                </p:cxnSp>
              </p:grpSp>
              <p:sp>
                <p:nvSpPr>
                  <p:cNvPr id="88" name="Freeform: Shape 87">
                    <a:extLst>
                      <a:ext uri="{FF2B5EF4-FFF2-40B4-BE49-F238E27FC236}">
                        <a16:creationId xmlns:a16="http://schemas.microsoft.com/office/drawing/2014/main" id="{5F4D0CAE-7F0D-E756-16A3-41F1F24C6932}"/>
                      </a:ext>
                    </a:extLst>
                  </p:cNvPr>
                  <p:cNvSpPr/>
                  <p:nvPr/>
                </p:nvSpPr>
                <p:spPr bwMode="auto">
                  <a:xfrm>
                    <a:off x="1354667" y="2074333"/>
                    <a:ext cx="5091289" cy="2215445"/>
                  </a:xfrm>
                  <a:custGeom>
                    <a:avLst/>
                    <a:gdLst>
                      <a:gd name="connsiteX0" fmla="*/ 0 w 5023555"/>
                      <a:gd name="connsiteY0" fmla="*/ 0 h 2215445"/>
                      <a:gd name="connsiteX1" fmla="*/ 420511 w 5023555"/>
                      <a:gd name="connsiteY1" fmla="*/ 0 h 2215445"/>
                      <a:gd name="connsiteX2" fmla="*/ 420511 w 5023555"/>
                      <a:gd name="connsiteY2" fmla="*/ 31045 h 2215445"/>
                      <a:gd name="connsiteX3" fmla="*/ 533400 w 5023555"/>
                      <a:gd name="connsiteY3" fmla="*/ 31045 h 2215445"/>
                      <a:gd name="connsiteX4" fmla="*/ 533400 w 5023555"/>
                      <a:gd name="connsiteY4" fmla="*/ 73378 h 2215445"/>
                      <a:gd name="connsiteX5" fmla="*/ 623711 w 5023555"/>
                      <a:gd name="connsiteY5" fmla="*/ 73378 h 2215445"/>
                      <a:gd name="connsiteX6" fmla="*/ 623711 w 5023555"/>
                      <a:gd name="connsiteY6" fmla="*/ 98778 h 2215445"/>
                      <a:gd name="connsiteX7" fmla="*/ 953911 w 5023555"/>
                      <a:gd name="connsiteY7" fmla="*/ 98778 h 2215445"/>
                      <a:gd name="connsiteX8" fmla="*/ 953911 w 5023555"/>
                      <a:gd name="connsiteY8" fmla="*/ 127000 h 2215445"/>
                      <a:gd name="connsiteX9" fmla="*/ 996244 w 5023555"/>
                      <a:gd name="connsiteY9" fmla="*/ 127000 h 2215445"/>
                      <a:gd name="connsiteX10" fmla="*/ 996244 w 5023555"/>
                      <a:gd name="connsiteY10" fmla="*/ 127000 h 2215445"/>
                      <a:gd name="connsiteX11" fmla="*/ 1041400 w 5023555"/>
                      <a:gd name="connsiteY11" fmla="*/ 127000 h 2215445"/>
                      <a:gd name="connsiteX12" fmla="*/ 1041400 w 5023555"/>
                      <a:gd name="connsiteY12" fmla="*/ 163689 h 2215445"/>
                      <a:gd name="connsiteX13" fmla="*/ 1140177 w 5023555"/>
                      <a:gd name="connsiteY13" fmla="*/ 163689 h 2215445"/>
                      <a:gd name="connsiteX14" fmla="*/ 1140177 w 5023555"/>
                      <a:gd name="connsiteY14" fmla="*/ 186267 h 2215445"/>
                      <a:gd name="connsiteX15" fmla="*/ 1176866 w 5023555"/>
                      <a:gd name="connsiteY15" fmla="*/ 186267 h 2215445"/>
                      <a:gd name="connsiteX16" fmla="*/ 1176866 w 5023555"/>
                      <a:gd name="connsiteY16" fmla="*/ 208845 h 2215445"/>
                      <a:gd name="connsiteX17" fmla="*/ 1394177 w 5023555"/>
                      <a:gd name="connsiteY17" fmla="*/ 208845 h 2215445"/>
                      <a:gd name="connsiteX18" fmla="*/ 1394177 w 5023555"/>
                      <a:gd name="connsiteY18" fmla="*/ 282223 h 2215445"/>
                      <a:gd name="connsiteX19" fmla="*/ 1422400 w 5023555"/>
                      <a:gd name="connsiteY19" fmla="*/ 282223 h 2215445"/>
                      <a:gd name="connsiteX20" fmla="*/ 1422400 w 5023555"/>
                      <a:gd name="connsiteY20" fmla="*/ 327378 h 2215445"/>
                      <a:gd name="connsiteX21" fmla="*/ 1498600 w 5023555"/>
                      <a:gd name="connsiteY21" fmla="*/ 327378 h 2215445"/>
                      <a:gd name="connsiteX22" fmla="*/ 1498600 w 5023555"/>
                      <a:gd name="connsiteY22" fmla="*/ 358423 h 2215445"/>
                      <a:gd name="connsiteX23" fmla="*/ 1574800 w 5023555"/>
                      <a:gd name="connsiteY23" fmla="*/ 358423 h 2215445"/>
                      <a:gd name="connsiteX24" fmla="*/ 1574800 w 5023555"/>
                      <a:gd name="connsiteY24" fmla="*/ 403578 h 2215445"/>
                      <a:gd name="connsiteX25" fmla="*/ 1778000 w 5023555"/>
                      <a:gd name="connsiteY25" fmla="*/ 403578 h 2215445"/>
                      <a:gd name="connsiteX26" fmla="*/ 1778000 w 5023555"/>
                      <a:gd name="connsiteY26" fmla="*/ 426156 h 2215445"/>
                      <a:gd name="connsiteX27" fmla="*/ 1879600 w 5023555"/>
                      <a:gd name="connsiteY27" fmla="*/ 426156 h 2215445"/>
                      <a:gd name="connsiteX28" fmla="*/ 1879600 w 5023555"/>
                      <a:gd name="connsiteY28" fmla="*/ 476956 h 2215445"/>
                      <a:gd name="connsiteX29" fmla="*/ 1913466 w 5023555"/>
                      <a:gd name="connsiteY29" fmla="*/ 476956 h 2215445"/>
                      <a:gd name="connsiteX30" fmla="*/ 1913466 w 5023555"/>
                      <a:gd name="connsiteY30" fmla="*/ 513645 h 2215445"/>
                      <a:gd name="connsiteX31" fmla="*/ 1958622 w 5023555"/>
                      <a:gd name="connsiteY31" fmla="*/ 513645 h 2215445"/>
                      <a:gd name="connsiteX32" fmla="*/ 1958622 w 5023555"/>
                      <a:gd name="connsiteY32" fmla="*/ 536223 h 2215445"/>
                      <a:gd name="connsiteX33" fmla="*/ 2099733 w 5023555"/>
                      <a:gd name="connsiteY33" fmla="*/ 536223 h 2215445"/>
                      <a:gd name="connsiteX34" fmla="*/ 2099733 w 5023555"/>
                      <a:gd name="connsiteY34" fmla="*/ 570089 h 2215445"/>
                      <a:gd name="connsiteX35" fmla="*/ 2136422 w 5023555"/>
                      <a:gd name="connsiteY35" fmla="*/ 570089 h 2215445"/>
                      <a:gd name="connsiteX36" fmla="*/ 2136422 w 5023555"/>
                      <a:gd name="connsiteY36" fmla="*/ 694267 h 2215445"/>
                      <a:gd name="connsiteX37" fmla="*/ 2161822 w 5023555"/>
                      <a:gd name="connsiteY37" fmla="*/ 694267 h 2215445"/>
                      <a:gd name="connsiteX38" fmla="*/ 2161822 w 5023555"/>
                      <a:gd name="connsiteY38" fmla="*/ 759178 h 2215445"/>
                      <a:gd name="connsiteX39" fmla="*/ 2187222 w 5023555"/>
                      <a:gd name="connsiteY39" fmla="*/ 759178 h 2215445"/>
                      <a:gd name="connsiteX40" fmla="*/ 2187222 w 5023555"/>
                      <a:gd name="connsiteY40" fmla="*/ 787400 h 2215445"/>
                      <a:gd name="connsiteX41" fmla="*/ 2223911 w 5023555"/>
                      <a:gd name="connsiteY41" fmla="*/ 787400 h 2215445"/>
                      <a:gd name="connsiteX42" fmla="*/ 2223911 w 5023555"/>
                      <a:gd name="connsiteY42" fmla="*/ 815623 h 2215445"/>
                      <a:gd name="connsiteX43" fmla="*/ 2356555 w 5023555"/>
                      <a:gd name="connsiteY43" fmla="*/ 815623 h 2215445"/>
                      <a:gd name="connsiteX44" fmla="*/ 2356555 w 5023555"/>
                      <a:gd name="connsiteY44" fmla="*/ 843845 h 2215445"/>
                      <a:gd name="connsiteX45" fmla="*/ 2413000 w 5023555"/>
                      <a:gd name="connsiteY45" fmla="*/ 843845 h 2215445"/>
                      <a:gd name="connsiteX46" fmla="*/ 2413000 w 5023555"/>
                      <a:gd name="connsiteY46" fmla="*/ 863600 h 2215445"/>
                      <a:gd name="connsiteX47" fmla="*/ 2486377 w 5023555"/>
                      <a:gd name="connsiteY47" fmla="*/ 863600 h 2215445"/>
                      <a:gd name="connsiteX48" fmla="*/ 2486377 w 5023555"/>
                      <a:gd name="connsiteY48" fmla="*/ 891823 h 2215445"/>
                      <a:gd name="connsiteX49" fmla="*/ 2540000 w 5023555"/>
                      <a:gd name="connsiteY49" fmla="*/ 891823 h 2215445"/>
                      <a:gd name="connsiteX50" fmla="*/ 2540000 w 5023555"/>
                      <a:gd name="connsiteY50" fmla="*/ 908756 h 2215445"/>
                      <a:gd name="connsiteX51" fmla="*/ 2633133 w 5023555"/>
                      <a:gd name="connsiteY51" fmla="*/ 908756 h 2215445"/>
                      <a:gd name="connsiteX52" fmla="*/ 2633133 w 5023555"/>
                      <a:gd name="connsiteY52" fmla="*/ 982134 h 2215445"/>
                      <a:gd name="connsiteX53" fmla="*/ 2757311 w 5023555"/>
                      <a:gd name="connsiteY53" fmla="*/ 982134 h 2215445"/>
                      <a:gd name="connsiteX54" fmla="*/ 2757311 w 5023555"/>
                      <a:gd name="connsiteY54" fmla="*/ 999067 h 2215445"/>
                      <a:gd name="connsiteX55" fmla="*/ 2777066 w 5023555"/>
                      <a:gd name="connsiteY55" fmla="*/ 999067 h 2215445"/>
                      <a:gd name="connsiteX56" fmla="*/ 2777066 w 5023555"/>
                      <a:gd name="connsiteY56" fmla="*/ 1021645 h 2215445"/>
                      <a:gd name="connsiteX57" fmla="*/ 2830689 w 5023555"/>
                      <a:gd name="connsiteY57" fmla="*/ 1021645 h 2215445"/>
                      <a:gd name="connsiteX58" fmla="*/ 2830689 w 5023555"/>
                      <a:gd name="connsiteY58" fmla="*/ 1075267 h 2215445"/>
                      <a:gd name="connsiteX59" fmla="*/ 2875844 w 5023555"/>
                      <a:gd name="connsiteY59" fmla="*/ 1075267 h 2215445"/>
                      <a:gd name="connsiteX60" fmla="*/ 2875844 w 5023555"/>
                      <a:gd name="connsiteY60" fmla="*/ 1199445 h 2215445"/>
                      <a:gd name="connsiteX61" fmla="*/ 2906889 w 5023555"/>
                      <a:gd name="connsiteY61" fmla="*/ 1199445 h 2215445"/>
                      <a:gd name="connsiteX62" fmla="*/ 2906889 w 5023555"/>
                      <a:gd name="connsiteY62" fmla="*/ 1230489 h 2215445"/>
                      <a:gd name="connsiteX63" fmla="*/ 2980266 w 5023555"/>
                      <a:gd name="connsiteY63" fmla="*/ 1230489 h 2215445"/>
                      <a:gd name="connsiteX64" fmla="*/ 2980266 w 5023555"/>
                      <a:gd name="connsiteY64" fmla="*/ 1258711 h 2215445"/>
                      <a:gd name="connsiteX65" fmla="*/ 3016955 w 5023555"/>
                      <a:gd name="connsiteY65" fmla="*/ 1258711 h 2215445"/>
                      <a:gd name="connsiteX66" fmla="*/ 3016955 w 5023555"/>
                      <a:gd name="connsiteY66" fmla="*/ 1284111 h 2215445"/>
                      <a:gd name="connsiteX67" fmla="*/ 3273777 w 5023555"/>
                      <a:gd name="connsiteY67" fmla="*/ 1284111 h 2215445"/>
                      <a:gd name="connsiteX68" fmla="*/ 3273777 w 5023555"/>
                      <a:gd name="connsiteY68" fmla="*/ 1317978 h 2215445"/>
                      <a:gd name="connsiteX69" fmla="*/ 3344333 w 5023555"/>
                      <a:gd name="connsiteY69" fmla="*/ 1317978 h 2215445"/>
                      <a:gd name="connsiteX70" fmla="*/ 3344333 w 5023555"/>
                      <a:gd name="connsiteY70" fmla="*/ 1354667 h 2215445"/>
                      <a:gd name="connsiteX71" fmla="*/ 3677355 w 5023555"/>
                      <a:gd name="connsiteY71" fmla="*/ 1354667 h 2215445"/>
                      <a:gd name="connsiteX72" fmla="*/ 3677355 w 5023555"/>
                      <a:gd name="connsiteY72" fmla="*/ 1408289 h 2215445"/>
                      <a:gd name="connsiteX73" fmla="*/ 4744155 w 5023555"/>
                      <a:gd name="connsiteY73" fmla="*/ 1408289 h 2215445"/>
                      <a:gd name="connsiteX74" fmla="*/ 4744155 w 5023555"/>
                      <a:gd name="connsiteY74" fmla="*/ 1786467 h 2215445"/>
                      <a:gd name="connsiteX75" fmla="*/ 4893733 w 5023555"/>
                      <a:gd name="connsiteY75" fmla="*/ 1786467 h 2215445"/>
                      <a:gd name="connsiteX76" fmla="*/ 4893733 w 5023555"/>
                      <a:gd name="connsiteY76" fmla="*/ 2215445 h 2215445"/>
                      <a:gd name="connsiteX77" fmla="*/ 5023555 w 5023555"/>
                      <a:gd name="connsiteY77" fmla="*/ 2215445 h 2215445"/>
                      <a:gd name="connsiteX0" fmla="*/ 0 w 5091289"/>
                      <a:gd name="connsiteY0" fmla="*/ 0 h 2215445"/>
                      <a:gd name="connsiteX1" fmla="*/ 420511 w 5091289"/>
                      <a:gd name="connsiteY1" fmla="*/ 0 h 2215445"/>
                      <a:gd name="connsiteX2" fmla="*/ 420511 w 5091289"/>
                      <a:gd name="connsiteY2" fmla="*/ 31045 h 2215445"/>
                      <a:gd name="connsiteX3" fmla="*/ 533400 w 5091289"/>
                      <a:gd name="connsiteY3" fmla="*/ 31045 h 2215445"/>
                      <a:gd name="connsiteX4" fmla="*/ 533400 w 5091289"/>
                      <a:gd name="connsiteY4" fmla="*/ 73378 h 2215445"/>
                      <a:gd name="connsiteX5" fmla="*/ 623711 w 5091289"/>
                      <a:gd name="connsiteY5" fmla="*/ 73378 h 2215445"/>
                      <a:gd name="connsiteX6" fmla="*/ 623711 w 5091289"/>
                      <a:gd name="connsiteY6" fmla="*/ 98778 h 2215445"/>
                      <a:gd name="connsiteX7" fmla="*/ 953911 w 5091289"/>
                      <a:gd name="connsiteY7" fmla="*/ 98778 h 2215445"/>
                      <a:gd name="connsiteX8" fmla="*/ 953911 w 5091289"/>
                      <a:gd name="connsiteY8" fmla="*/ 127000 h 2215445"/>
                      <a:gd name="connsiteX9" fmla="*/ 996244 w 5091289"/>
                      <a:gd name="connsiteY9" fmla="*/ 127000 h 2215445"/>
                      <a:gd name="connsiteX10" fmla="*/ 996244 w 5091289"/>
                      <a:gd name="connsiteY10" fmla="*/ 127000 h 2215445"/>
                      <a:gd name="connsiteX11" fmla="*/ 1041400 w 5091289"/>
                      <a:gd name="connsiteY11" fmla="*/ 127000 h 2215445"/>
                      <a:gd name="connsiteX12" fmla="*/ 1041400 w 5091289"/>
                      <a:gd name="connsiteY12" fmla="*/ 163689 h 2215445"/>
                      <a:gd name="connsiteX13" fmla="*/ 1140177 w 5091289"/>
                      <a:gd name="connsiteY13" fmla="*/ 163689 h 2215445"/>
                      <a:gd name="connsiteX14" fmla="*/ 1140177 w 5091289"/>
                      <a:gd name="connsiteY14" fmla="*/ 186267 h 2215445"/>
                      <a:gd name="connsiteX15" fmla="*/ 1176866 w 5091289"/>
                      <a:gd name="connsiteY15" fmla="*/ 186267 h 2215445"/>
                      <a:gd name="connsiteX16" fmla="*/ 1176866 w 5091289"/>
                      <a:gd name="connsiteY16" fmla="*/ 208845 h 2215445"/>
                      <a:gd name="connsiteX17" fmla="*/ 1394177 w 5091289"/>
                      <a:gd name="connsiteY17" fmla="*/ 208845 h 2215445"/>
                      <a:gd name="connsiteX18" fmla="*/ 1394177 w 5091289"/>
                      <a:gd name="connsiteY18" fmla="*/ 282223 h 2215445"/>
                      <a:gd name="connsiteX19" fmla="*/ 1422400 w 5091289"/>
                      <a:gd name="connsiteY19" fmla="*/ 282223 h 2215445"/>
                      <a:gd name="connsiteX20" fmla="*/ 1422400 w 5091289"/>
                      <a:gd name="connsiteY20" fmla="*/ 327378 h 2215445"/>
                      <a:gd name="connsiteX21" fmla="*/ 1498600 w 5091289"/>
                      <a:gd name="connsiteY21" fmla="*/ 327378 h 2215445"/>
                      <a:gd name="connsiteX22" fmla="*/ 1498600 w 5091289"/>
                      <a:gd name="connsiteY22" fmla="*/ 358423 h 2215445"/>
                      <a:gd name="connsiteX23" fmla="*/ 1574800 w 5091289"/>
                      <a:gd name="connsiteY23" fmla="*/ 358423 h 2215445"/>
                      <a:gd name="connsiteX24" fmla="*/ 1574800 w 5091289"/>
                      <a:gd name="connsiteY24" fmla="*/ 403578 h 2215445"/>
                      <a:gd name="connsiteX25" fmla="*/ 1778000 w 5091289"/>
                      <a:gd name="connsiteY25" fmla="*/ 403578 h 2215445"/>
                      <a:gd name="connsiteX26" fmla="*/ 1778000 w 5091289"/>
                      <a:gd name="connsiteY26" fmla="*/ 426156 h 2215445"/>
                      <a:gd name="connsiteX27" fmla="*/ 1879600 w 5091289"/>
                      <a:gd name="connsiteY27" fmla="*/ 426156 h 2215445"/>
                      <a:gd name="connsiteX28" fmla="*/ 1879600 w 5091289"/>
                      <a:gd name="connsiteY28" fmla="*/ 476956 h 2215445"/>
                      <a:gd name="connsiteX29" fmla="*/ 1913466 w 5091289"/>
                      <a:gd name="connsiteY29" fmla="*/ 476956 h 2215445"/>
                      <a:gd name="connsiteX30" fmla="*/ 1913466 w 5091289"/>
                      <a:gd name="connsiteY30" fmla="*/ 513645 h 2215445"/>
                      <a:gd name="connsiteX31" fmla="*/ 1958622 w 5091289"/>
                      <a:gd name="connsiteY31" fmla="*/ 513645 h 2215445"/>
                      <a:gd name="connsiteX32" fmla="*/ 1958622 w 5091289"/>
                      <a:gd name="connsiteY32" fmla="*/ 536223 h 2215445"/>
                      <a:gd name="connsiteX33" fmla="*/ 2099733 w 5091289"/>
                      <a:gd name="connsiteY33" fmla="*/ 536223 h 2215445"/>
                      <a:gd name="connsiteX34" fmla="*/ 2099733 w 5091289"/>
                      <a:gd name="connsiteY34" fmla="*/ 570089 h 2215445"/>
                      <a:gd name="connsiteX35" fmla="*/ 2136422 w 5091289"/>
                      <a:gd name="connsiteY35" fmla="*/ 570089 h 2215445"/>
                      <a:gd name="connsiteX36" fmla="*/ 2136422 w 5091289"/>
                      <a:gd name="connsiteY36" fmla="*/ 694267 h 2215445"/>
                      <a:gd name="connsiteX37" fmla="*/ 2161822 w 5091289"/>
                      <a:gd name="connsiteY37" fmla="*/ 694267 h 2215445"/>
                      <a:gd name="connsiteX38" fmla="*/ 2161822 w 5091289"/>
                      <a:gd name="connsiteY38" fmla="*/ 759178 h 2215445"/>
                      <a:gd name="connsiteX39" fmla="*/ 2187222 w 5091289"/>
                      <a:gd name="connsiteY39" fmla="*/ 759178 h 2215445"/>
                      <a:gd name="connsiteX40" fmla="*/ 2187222 w 5091289"/>
                      <a:gd name="connsiteY40" fmla="*/ 787400 h 2215445"/>
                      <a:gd name="connsiteX41" fmla="*/ 2223911 w 5091289"/>
                      <a:gd name="connsiteY41" fmla="*/ 787400 h 2215445"/>
                      <a:gd name="connsiteX42" fmla="*/ 2223911 w 5091289"/>
                      <a:gd name="connsiteY42" fmla="*/ 815623 h 2215445"/>
                      <a:gd name="connsiteX43" fmla="*/ 2356555 w 5091289"/>
                      <a:gd name="connsiteY43" fmla="*/ 815623 h 2215445"/>
                      <a:gd name="connsiteX44" fmla="*/ 2356555 w 5091289"/>
                      <a:gd name="connsiteY44" fmla="*/ 843845 h 2215445"/>
                      <a:gd name="connsiteX45" fmla="*/ 2413000 w 5091289"/>
                      <a:gd name="connsiteY45" fmla="*/ 843845 h 2215445"/>
                      <a:gd name="connsiteX46" fmla="*/ 2413000 w 5091289"/>
                      <a:gd name="connsiteY46" fmla="*/ 863600 h 2215445"/>
                      <a:gd name="connsiteX47" fmla="*/ 2486377 w 5091289"/>
                      <a:gd name="connsiteY47" fmla="*/ 863600 h 2215445"/>
                      <a:gd name="connsiteX48" fmla="*/ 2486377 w 5091289"/>
                      <a:gd name="connsiteY48" fmla="*/ 891823 h 2215445"/>
                      <a:gd name="connsiteX49" fmla="*/ 2540000 w 5091289"/>
                      <a:gd name="connsiteY49" fmla="*/ 891823 h 2215445"/>
                      <a:gd name="connsiteX50" fmla="*/ 2540000 w 5091289"/>
                      <a:gd name="connsiteY50" fmla="*/ 908756 h 2215445"/>
                      <a:gd name="connsiteX51" fmla="*/ 2633133 w 5091289"/>
                      <a:gd name="connsiteY51" fmla="*/ 908756 h 2215445"/>
                      <a:gd name="connsiteX52" fmla="*/ 2633133 w 5091289"/>
                      <a:gd name="connsiteY52" fmla="*/ 982134 h 2215445"/>
                      <a:gd name="connsiteX53" fmla="*/ 2757311 w 5091289"/>
                      <a:gd name="connsiteY53" fmla="*/ 982134 h 2215445"/>
                      <a:gd name="connsiteX54" fmla="*/ 2757311 w 5091289"/>
                      <a:gd name="connsiteY54" fmla="*/ 999067 h 2215445"/>
                      <a:gd name="connsiteX55" fmla="*/ 2777066 w 5091289"/>
                      <a:gd name="connsiteY55" fmla="*/ 999067 h 2215445"/>
                      <a:gd name="connsiteX56" fmla="*/ 2777066 w 5091289"/>
                      <a:gd name="connsiteY56" fmla="*/ 1021645 h 2215445"/>
                      <a:gd name="connsiteX57" fmla="*/ 2830689 w 5091289"/>
                      <a:gd name="connsiteY57" fmla="*/ 1021645 h 2215445"/>
                      <a:gd name="connsiteX58" fmla="*/ 2830689 w 5091289"/>
                      <a:gd name="connsiteY58" fmla="*/ 1075267 h 2215445"/>
                      <a:gd name="connsiteX59" fmla="*/ 2875844 w 5091289"/>
                      <a:gd name="connsiteY59" fmla="*/ 1075267 h 2215445"/>
                      <a:gd name="connsiteX60" fmla="*/ 2875844 w 5091289"/>
                      <a:gd name="connsiteY60" fmla="*/ 1199445 h 2215445"/>
                      <a:gd name="connsiteX61" fmla="*/ 2906889 w 5091289"/>
                      <a:gd name="connsiteY61" fmla="*/ 1199445 h 2215445"/>
                      <a:gd name="connsiteX62" fmla="*/ 2906889 w 5091289"/>
                      <a:gd name="connsiteY62" fmla="*/ 1230489 h 2215445"/>
                      <a:gd name="connsiteX63" fmla="*/ 2980266 w 5091289"/>
                      <a:gd name="connsiteY63" fmla="*/ 1230489 h 2215445"/>
                      <a:gd name="connsiteX64" fmla="*/ 2980266 w 5091289"/>
                      <a:gd name="connsiteY64" fmla="*/ 1258711 h 2215445"/>
                      <a:gd name="connsiteX65" fmla="*/ 3016955 w 5091289"/>
                      <a:gd name="connsiteY65" fmla="*/ 1258711 h 2215445"/>
                      <a:gd name="connsiteX66" fmla="*/ 3016955 w 5091289"/>
                      <a:gd name="connsiteY66" fmla="*/ 1284111 h 2215445"/>
                      <a:gd name="connsiteX67" fmla="*/ 3273777 w 5091289"/>
                      <a:gd name="connsiteY67" fmla="*/ 1284111 h 2215445"/>
                      <a:gd name="connsiteX68" fmla="*/ 3273777 w 5091289"/>
                      <a:gd name="connsiteY68" fmla="*/ 1317978 h 2215445"/>
                      <a:gd name="connsiteX69" fmla="*/ 3344333 w 5091289"/>
                      <a:gd name="connsiteY69" fmla="*/ 1317978 h 2215445"/>
                      <a:gd name="connsiteX70" fmla="*/ 3344333 w 5091289"/>
                      <a:gd name="connsiteY70" fmla="*/ 1354667 h 2215445"/>
                      <a:gd name="connsiteX71" fmla="*/ 3677355 w 5091289"/>
                      <a:gd name="connsiteY71" fmla="*/ 1354667 h 2215445"/>
                      <a:gd name="connsiteX72" fmla="*/ 3677355 w 5091289"/>
                      <a:gd name="connsiteY72" fmla="*/ 1408289 h 2215445"/>
                      <a:gd name="connsiteX73" fmla="*/ 4744155 w 5091289"/>
                      <a:gd name="connsiteY73" fmla="*/ 1408289 h 2215445"/>
                      <a:gd name="connsiteX74" fmla="*/ 4744155 w 5091289"/>
                      <a:gd name="connsiteY74" fmla="*/ 1786467 h 2215445"/>
                      <a:gd name="connsiteX75" fmla="*/ 4893733 w 5091289"/>
                      <a:gd name="connsiteY75" fmla="*/ 1786467 h 2215445"/>
                      <a:gd name="connsiteX76" fmla="*/ 4893733 w 5091289"/>
                      <a:gd name="connsiteY76" fmla="*/ 2215445 h 2215445"/>
                      <a:gd name="connsiteX77" fmla="*/ 5091289 w 5091289"/>
                      <a:gd name="connsiteY77" fmla="*/ 2215445 h 2215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091289" h="2215445">
                        <a:moveTo>
                          <a:pt x="0" y="0"/>
                        </a:moveTo>
                        <a:lnTo>
                          <a:pt x="420511" y="0"/>
                        </a:lnTo>
                        <a:lnTo>
                          <a:pt x="420511" y="31045"/>
                        </a:lnTo>
                        <a:lnTo>
                          <a:pt x="533400" y="31045"/>
                        </a:lnTo>
                        <a:lnTo>
                          <a:pt x="533400" y="73378"/>
                        </a:lnTo>
                        <a:lnTo>
                          <a:pt x="623711" y="73378"/>
                        </a:lnTo>
                        <a:lnTo>
                          <a:pt x="623711" y="98778"/>
                        </a:lnTo>
                        <a:lnTo>
                          <a:pt x="953911" y="98778"/>
                        </a:lnTo>
                        <a:lnTo>
                          <a:pt x="953911" y="127000"/>
                        </a:lnTo>
                        <a:lnTo>
                          <a:pt x="996244" y="127000"/>
                        </a:lnTo>
                        <a:lnTo>
                          <a:pt x="996244" y="127000"/>
                        </a:lnTo>
                        <a:lnTo>
                          <a:pt x="1041400" y="127000"/>
                        </a:lnTo>
                        <a:lnTo>
                          <a:pt x="1041400" y="163689"/>
                        </a:lnTo>
                        <a:lnTo>
                          <a:pt x="1140177" y="163689"/>
                        </a:lnTo>
                        <a:lnTo>
                          <a:pt x="1140177" y="186267"/>
                        </a:lnTo>
                        <a:lnTo>
                          <a:pt x="1176866" y="186267"/>
                        </a:lnTo>
                        <a:lnTo>
                          <a:pt x="1176866" y="208845"/>
                        </a:lnTo>
                        <a:lnTo>
                          <a:pt x="1394177" y="208845"/>
                        </a:lnTo>
                        <a:lnTo>
                          <a:pt x="1394177" y="282223"/>
                        </a:lnTo>
                        <a:lnTo>
                          <a:pt x="1422400" y="282223"/>
                        </a:lnTo>
                        <a:lnTo>
                          <a:pt x="1422400" y="327378"/>
                        </a:lnTo>
                        <a:lnTo>
                          <a:pt x="1498600" y="327378"/>
                        </a:lnTo>
                        <a:lnTo>
                          <a:pt x="1498600" y="358423"/>
                        </a:lnTo>
                        <a:lnTo>
                          <a:pt x="1574800" y="358423"/>
                        </a:lnTo>
                        <a:lnTo>
                          <a:pt x="1574800" y="403578"/>
                        </a:lnTo>
                        <a:lnTo>
                          <a:pt x="1778000" y="403578"/>
                        </a:lnTo>
                        <a:lnTo>
                          <a:pt x="1778000" y="426156"/>
                        </a:lnTo>
                        <a:lnTo>
                          <a:pt x="1879600" y="426156"/>
                        </a:lnTo>
                        <a:lnTo>
                          <a:pt x="1879600" y="476956"/>
                        </a:lnTo>
                        <a:lnTo>
                          <a:pt x="1913466" y="476956"/>
                        </a:lnTo>
                        <a:lnTo>
                          <a:pt x="1913466" y="513645"/>
                        </a:lnTo>
                        <a:lnTo>
                          <a:pt x="1958622" y="513645"/>
                        </a:lnTo>
                        <a:lnTo>
                          <a:pt x="1958622" y="536223"/>
                        </a:lnTo>
                        <a:lnTo>
                          <a:pt x="2099733" y="536223"/>
                        </a:lnTo>
                        <a:lnTo>
                          <a:pt x="2099733" y="570089"/>
                        </a:lnTo>
                        <a:lnTo>
                          <a:pt x="2136422" y="570089"/>
                        </a:lnTo>
                        <a:lnTo>
                          <a:pt x="2136422" y="694267"/>
                        </a:lnTo>
                        <a:lnTo>
                          <a:pt x="2161822" y="694267"/>
                        </a:lnTo>
                        <a:lnTo>
                          <a:pt x="2161822" y="759178"/>
                        </a:lnTo>
                        <a:lnTo>
                          <a:pt x="2187222" y="759178"/>
                        </a:lnTo>
                        <a:lnTo>
                          <a:pt x="2187222" y="787400"/>
                        </a:lnTo>
                        <a:lnTo>
                          <a:pt x="2223911" y="787400"/>
                        </a:lnTo>
                        <a:lnTo>
                          <a:pt x="2223911" y="815623"/>
                        </a:lnTo>
                        <a:lnTo>
                          <a:pt x="2356555" y="815623"/>
                        </a:lnTo>
                        <a:lnTo>
                          <a:pt x="2356555" y="843845"/>
                        </a:lnTo>
                        <a:lnTo>
                          <a:pt x="2413000" y="843845"/>
                        </a:lnTo>
                        <a:lnTo>
                          <a:pt x="2413000" y="863600"/>
                        </a:lnTo>
                        <a:lnTo>
                          <a:pt x="2486377" y="863600"/>
                        </a:lnTo>
                        <a:lnTo>
                          <a:pt x="2486377" y="891823"/>
                        </a:lnTo>
                        <a:lnTo>
                          <a:pt x="2540000" y="891823"/>
                        </a:lnTo>
                        <a:lnTo>
                          <a:pt x="2540000" y="908756"/>
                        </a:lnTo>
                        <a:lnTo>
                          <a:pt x="2633133" y="908756"/>
                        </a:lnTo>
                        <a:lnTo>
                          <a:pt x="2633133" y="982134"/>
                        </a:lnTo>
                        <a:lnTo>
                          <a:pt x="2757311" y="982134"/>
                        </a:lnTo>
                        <a:lnTo>
                          <a:pt x="2757311" y="999067"/>
                        </a:lnTo>
                        <a:lnTo>
                          <a:pt x="2777066" y="999067"/>
                        </a:lnTo>
                        <a:lnTo>
                          <a:pt x="2777066" y="1021645"/>
                        </a:lnTo>
                        <a:lnTo>
                          <a:pt x="2830689" y="1021645"/>
                        </a:lnTo>
                        <a:lnTo>
                          <a:pt x="2830689" y="1075267"/>
                        </a:lnTo>
                        <a:lnTo>
                          <a:pt x="2875844" y="1075267"/>
                        </a:lnTo>
                        <a:lnTo>
                          <a:pt x="2875844" y="1199445"/>
                        </a:lnTo>
                        <a:lnTo>
                          <a:pt x="2906889" y="1199445"/>
                        </a:lnTo>
                        <a:lnTo>
                          <a:pt x="2906889" y="1230489"/>
                        </a:lnTo>
                        <a:lnTo>
                          <a:pt x="2980266" y="1230489"/>
                        </a:lnTo>
                        <a:lnTo>
                          <a:pt x="2980266" y="1258711"/>
                        </a:lnTo>
                        <a:lnTo>
                          <a:pt x="3016955" y="1258711"/>
                        </a:lnTo>
                        <a:lnTo>
                          <a:pt x="3016955" y="1284111"/>
                        </a:lnTo>
                        <a:lnTo>
                          <a:pt x="3273777" y="1284111"/>
                        </a:lnTo>
                        <a:lnTo>
                          <a:pt x="3273777" y="1317978"/>
                        </a:lnTo>
                        <a:lnTo>
                          <a:pt x="3344333" y="1317978"/>
                        </a:lnTo>
                        <a:lnTo>
                          <a:pt x="3344333" y="1354667"/>
                        </a:lnTo>
                        <a:lnTo>
                          <a:pt x="3677355" y="1354667"/>
                        </a:lnTo>
                        <a:lnTo>
                          <a:pt x="3677355" y="1408289"/>
                        </a:lnTo>
                        <a:lnTo>
                          <a:pt x="4744155" y="1408289"/>
                        </a:lnTo>
                        <a:lnTo>
                          <a:pt x="4744155" y="1786467"/>
                        </a:lnTo>
                        <a:lnTo>
                          <a:pt x="4893733" y="1786467"/>
                        </a:lnTo>
                        <a:lnTo>
                          <a:pt x="4893733" y="2215445"/>
                        </a:lnTo>
                        <a:lnTo>
                          <a:pt x="5091289" y="2215445"/>
                        </a:lnTo>
                      </a:path>
                    </a:pathLst>
                  </a:custGeom>
                  <a:noFill/>
                  <a:ln w="19050" cap="flat" cmpd="sng" algn="ctr">
                    <a:solidFill>
                      <a:srgbClr val="830051"/>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endParaRPr>
                  </a:p>
                </p:txBody>
              </p:sp>
              <p:sp>
                <p:nvSpPr>
                  <p:cNvPr id="89" name="Freeform: Shape 88">
                    <a:extLst>
                      <a:ext uri="{FF2B5EF4-FFF2-40B4-BE49-F238E27FC236}">
                        <a16:creationId xmlns:a16="http://schemas.microsoft.com/office/drawing/2014/main" id="{EF47A0BD-3B4C-4346-1D69-0AA3B9EB4556}"/>
                      </a:ext>
                    </a:extLst>
                  </p:cNvPr>
                  <p:cNvSpPr/>
                  <p:nvPr/>
                </p:nvSpPr>
                <p:spPr bwMode="auto">
                  <a:xfrm>
                    <a:off x="1255395" y="2080260"/>
                    <a:ext cx="3747135" cy="1605915"/>
                  </a:xfrm>
                  <a:custGeom>
                    <a:avLst/>
                    <a:gdLst>
                      <a:gd name="connsiteX0" fmla="*/ 0 w 3379470"/>
                      <a:gd name="connsiteY0" fmla="*/ 0 h 1604010"/>
                      <a:gd name="connsiteX1" fmla="*/ 262890 w 3379470"/>
                      <a:gd name="connsiteY1" fmla="*/ 0 h 1604010"/>
                      <a:gd name="connsiteX2" fmla="*/ 262890 w 3379470"/>
                      <a:gd name="connsiteY2" fmla="*/ 64770 h 1604010"/>
                      <a:gd name="connsiteX3" fmla="*/ 300990 w 3379470"/>
                      <a:gd name="connsiteY3" fmla="*/ 64770 h 1604010"/>
                      <a:gd name="connsiteX4" fmla="*/ 300990 w 3379470"/>
                      <a:gd name="connsiteY4" fmla="*/ 116205 h 1604010"/>
                      <a:gd name="connsiteX5" fmla="*/ 360045 w 3379470"/>
                      <a:gd name="connsiteY5" fmla="*/ 116205 h 1604010"/>
                      <a:gd name="connsiteX6" fmla="*/ 360045 w 3379470"/>
                      <a:gd name="connsiteY6" fmla="*/ 152400 h 1604010"/>
                      <a:gd name="connsiteX7" fmla="*/ 394335 w 3379470"/>
                      <a:gd name="connsiteY7" fmla="*/ 152400 h 1604010"/>
                      <a:gd name="connsiteX8" fmla="*/ 394335 w 3379470"/>
                      <a:gd name="connsiteY8" fmla="*/ 173355 h 1604010"/>
                      <a:gd name="connsiteX9" fmla="*/ 695325 w 3379470"/>
                      <a:gd name="connsiteY9" fmla="*/ 173355 h 1604010"/>
                      <a:gd name="connsiteX10" fmla="*/ 695325 w 3379470"/>
                      <a:gd name="connsiteY10" fmla="*/ 211455 h 1604010"/>
                      <a:gd name="connsiteX11" fmla="*/ 725805 w 3379470"/>
                      <a:gd name="connsiteY11" fmla="*/ 211455 h 1604010"/>
                      <a:gd name="connsiteX12" fmla="*/ 725805 w 3379470"/>
                      <a:gd name="connsiteY12" fmla="*/ 293370 h 1604010"/>
                      <a:gd name="connsiteX13" fmla="*/ 752475 w 3379470"/>
                      <a:gd name="connsiteY13" fmla="*/ 293370 h 1604010"/>
                      <a:gd name="connsiteX14" fmla="*/ 752475 w 3379470"/>
                      <a:gd name="connsiteY14" fmla="*/ 373380 h 1604010"/>
                      <a:gd name="connsiteX15" fmla="*/ 792480 w 3379470"/>
                      <a:gd name="connsiteY15" fmla="*/ 373380 h 1604010"/>
                      <a:gd name="connsiteX16" fmla="*/ 792480 w 3379470"/>
                      <a:gd name="connsiteY16" fmla="*/ 407670 h 1604010"/>
                      <a:gd name="connsiteX17" fmla="*/ 948690 w 3379470"/>
                      <a:gd name="connsiteY17" fmla="*/ 407670 h 1604010"/>
                      <a:gd name="connsiteX18" fmla="*/ 948690 w 3379470"/>
                      <a:gd name="connsiteY18" fmla="*/ 440055 h 1604010"/>
                      <a:gd name="connsiteX19" fmla="*/ 1002030 w 3379470"/>
                      <a:gd name="connsiteY19" fmla="*/ 440055 h 1604010"/>
                      <a:gd name="connsiteX20" fmla="*/ 1002030 w 3379470"/>
                      <a:gd name="connsiteY20" fmla="*/ 466725 h 1604010"/>
                      <a:gd name="connsiteX21" fmla="*/ 1019175 w 3379470"/>
                      <a:gd name="connsiteY21" fmla="*/ 464820 h 1604010"/>
                      <a:gd name="connsiteX22" fmla="*/ 1083945 w 3379470"/>
                      <a:gd name="connsiteY22" fmla="*/ 464820 h 1604010"/>
                      <a:gd name="connsiteX23" fmla="*/ 1083945 w 3379470"/>
                      <a:gd name="connsiteY23" fmla="*/ 514350 h 1604010"/>
                      <a:gd name="connsiteX24" fmla="*/ 1097280 w 3379470"/>
                      <a:gd name="connsiteY24" fmla="*/ 514350 h 1604010"/>
                      <a:gd name="connsiteX25" fmla="*/ 1097280 w 3379470"/>
                      <a:gd name="connsiteY25" fmla="*/ 541020 h 1604010"/>
                      <a:gd name="connsiteX26" fmla="*/ 1114425 w 3379470"/>
                      <a:gd name="connsiteY26" fmla="*/ 541020 h 1604010"/>
                      <a:gd name="connsiteX27" fmla="*/ 1114425 w 3379470"/>
                      <a:gd name="connsiteY27" fmla="*/ 594360 h 1604010"/>
                      <a:gd name="connsiteX28" fmla="*/ 1293495 w 3379470"/>
                      <a:gd name="connsiteY28" fmla="*/ 594360 h 1604010"/>
                      <a:gd name="connsiteX29" fmla="*/ 1293495 w 3379470"/>
                      <a:gd name="connsiteY29" fmla="*/ 615315 h 1604010"/>
                      <a:gd name="connsiteX30" fmla="*/ 1403985 w 3379470"/>
                      <a:gd name="connsiteY30" fmla="*/ 615315 h 1604010"/>
                      <a:gd name="connsiteX31" fmla="*/ 1403985 w 3379470"/>
                      <a:gd name="connsiteY31" fmla="*/ 636270 h 1604010"/>
                      <a:gd name="connsiteX32" fmla="*/ 1466850 w 3379470"/>
                      <a:gd name="connsiteY32" fmla="*/ 636270 h 1604010"/>
                      <a:gd name="connsiteX33" fmla="*/ 1466850 w 3379470"/>
                      <a:gd name="connsiteY33" fmla="*/ 706755 h 1604010"/>
                      <a:gd name="connsiteX34" fmla="*/ 1483995 w 3379470"/>
                      <a:gd name="connsiteY34" fmla="*/ 706755 h 1604010"/>
                      <a:gd name="connsiteX35" fmla="*/ 1483995 w 3379470"/>
                      <a:gd name="connsiteY35" fmla="*/ 775335 h 1604010"/>
                      <a:gd name="connsiteX36" fmla="*/ 1525905 w 3379470"/>
                      <a:gd name="connsiteY36" fmla="*/ 775335 h 1604010"/>
                      <a:gd name="connsiteX37" fmla="*/ 1525905 w 3379470"/>
                      <a:gd name="connsiteY37" fmla="*/ 790575 h 1604010"/>
                      <a:gd name="connsiteX38" fmla="*/ 1571625 w 3379470"/>
                      <a:gd name="connsiteY38" fmla="*/ 790575 h 1604010"/>
                      <a:gd name="connsiteX39" fmla="*/ 1571625 w 3379470"/>
                      <a:gd name="connsiteY39" fmla="*/ 840105 h 1604010"/>
                      <a:gd name="connsiteX40" fmla="*/ 1588770 w 3379470"/>
                      <a:gd name="connsiteY40" fmla="*/ 840105 h 1604010"/>
                      <a:gd name="connsiteX41" fmla="*/ 1588770 w 3379470"/>
                      <a:gd name="connsiteY41" fmla="*/ 864870 h 1604010"/>
                      <a:gd name="connsiteX42" fmla="*/ 1819275 w 3379470"/>
                      <a:gd name="connsiteY42" fmla="*/ 864870 h 1604010"/>
                      <a:gd name="connsiteX43" fmla="*/ 1819275 w 3379470"/>
                      <a:gd name="connsiteY43" fmla="*/ 925830 h 1604010"/>
                      <a:gd name="connsiteX44" fmla="*/ 1836420 w 3379470"/>
                      <a:gd name="connsiteY44" fmla="*/ 925830 h 1604010"/>
                      <a:gd name="connsiteX45" fmla="*/ 1836420 w 3379470"/>
                      <a:gd name="connsiteY45" fmla="*/ 1062990 h 1604010"/>
                      <a:gd name="connsiteX46" fmla="*/ 1906905 w 3379470"/>
                      <a:gd name="connsiteY46" fmla="*/ 1062990 h 1604010"/>
                      <a:gd name="connsiteX47" fmla="*/ 1906905 w 3379470"/>
                      <a:gd name="connsiteY47" fmla="*/ 1089660 h 1604010"/>
                      <a:gd name="connsiteX48" fmla="*/ 1967865 w 3379470"/>
                      <a:gd name="connsiteY48" fmla="*/ 1089660 h 1604010"/>
                      <a:gd name="connsiteX49" fmla="*/ 1967865 w 3379470"/>
                      <a:gd name="connsiteY49" fmla="*/ 1118235 h 1604010"/>
                      <a:gd name="connsiteX50" fmla="*/ 2011680 w 3379470"/>
                      <a:gd name="connsiteY50" fmla="*/ 1118235 h 1604010"/>
                      <a:gd name="connsiteX51" fmla="*/ 2011680 w 3379470"/>
                      <a:gd name="connsiteY51" fmla="*/ 1143000 h 1604010"/>
                      <a:gd name="connsiteX52" fmla="*/ 2036445 w 3379470"/>
                      <a:gd name="connsiteY52" fmla="*/ 1143000 h 1604010"/>
                      <a:gd name="connsiteX53" fmla="*/ 2036445 w 3379470"/>
                      <a:gd name="connsiteY53" fmla="*/ 1175385 h 1604010"/>
                      <a:gd name="connsiteX54" fmla="*/ 2183130 w 3379470"/>
                      <a:gd name="connsiteY54" fmla="*/ 1175385 h 1604010"/>
                      <a:gd name="connsiteX55" fmla="*/ 2183130 w 3379470"/>
                      <a:gd name="connsiteY55" fmla="*/ 1203960 h 1604010"/>
                      <a:gd name="connsiteX56" fmla="*/ 2226945 w 3379470"/>
                      <a:gd name="connsiteY56" fmla="*/ 1203960 h 1604010"/>
                      <a:gd name="connsiteX57" fmla="*/ 2226945 w 3379470"/>
                      <a:gd name="connsiteY57" fmla="*/ 1236345 h 1604010"/>
                      <a:gd name="connsiteX58" fmla="*/ 2247900 w 3379470"/>
                      <a:gd name="connsiteY58" fmla="*/ 1236345 h 1604010"/>
                      <a:gd name="connsiteX59" fmla="*/ 2247900 w 3379470"/>
                      <a:gd name="connsiteY59" fmla="*/ 1261110 h 1604010"/>
                      <a:gd name="connsiteX60" fmla="*/ 2590800 w 3379470"/>
                      <a:gd name="connsiteY60" fmla="*/ 1261110 h 1604010"/>
                      <a:gd name="connsiteX61" fmla="*/ 2590800 w 3379470"/>
                      <a:gd name="connsiteY61" fmla="*/ 1318260 h 1604010"/>
                      <a:gd name="connsiteX62" fmla="*/ 2646045 w 3379470"/>
                      <a:gd name="connsiteY62" fmla="*/ 1318260 h 1604010"/>
                      <a:gd name="connsiteX63" fmla="*/ 2646045 w 3379470"/>
                      <a:gd name="connsiteY63" fmla="*/ 1443990 h 1604010"/>
                      <a:gd name="connsiteX64" fmla="*/ 2943225 w 3379470"/>
                      <a:gd name="connsiteY64" fmla="*/ 1443990 h 1604010"/>
                      <a:gd name="connsiteX65" fmla="*/ 2943225 w 3379470"/>
                      <a:gd name="connsiteY65" fmla="*/ 1535430 h 1604010"/>
                      <a:gd name="connsiteX66" fmla="*/ 2969895 w 3379470"/>
                      <a:gd name="connsiteY66" fmla="*/ 1535430 h 1604010"/>
                      <a:gd name="connsiteX67" fmla="*/ 2969895 w 3379470"/>
                      <a:gd name="connsiteY67" fmla="*/ 1604010 h 1604010"/>
                      <a:gd name="connsiteX68" fmla="*/ 3379470 w 3379470"/>
                      <a:gd name="connsiteY68" fmla="*/ 1604010 h 1604010"/>
                      <a:gd name="connsiteX0" fmla="*/ 0 w 3747135"/>
                      <a:gd name="connsiteY0" fmla="*/ 0 h 1605915"/>
                      <a:gd name="connsiteX1" fmla="*/ 262890 w 3747135"/>
                      <a:gd name="connsiteY1" fmla="*/ 0 h 1605915"/>
                      <a:gd name="connsiteX2" fmla="*/ 262890 w 3747135"/>
                      <a:gd name="connsiteY2" fmla="*/ 64770 h 1605915"/>
                      <a:gd name="connsiteX3" fmla="*/ 300990 w 3747135"/>
                      <a:gd name="connsiteY3" fmla="*/ 64770 h 1605915"/>
                      <a:gd name="connsiteX4" fmla="*/ 300990 w 3747135"/>
                      <a:gd name="connsiteY4" fmla="*/ 116205 h 1605915"/>
                      <a:gd name="connsiteX5" fmla="*/ 360045 w 3747135"/>
                      <a:gd name="connsiteY5" fmla="*/ 116205 h 1605915"/>
                      <a:gd name="connsiteX6" fmla="*/ 360045 w 3747135"/>
                      <a:gd name="connsiteY6" fmla="*/ 152400 h 1605915"/>
                      <a:gd name="connsiteX7" fmla="*/ 394335 w 3747135"/>
                      <a:gd name="connsiteY7" fmla="*/ 152400 h 1605915"/>
                      <a:gd name="connsiteX8" fmla="*/ 394335 w 3747135"/>
                      <a:gd name="connsiteY8" fmla="*/ 173355 h 1605915"/>
                      <a:gd name="connsiteX9" fmla="*/ 695325 w 3747135"/>
                      <a:gd name="connsiteY9" fmla="*/ 173355 h 1605915"/>
                      <a:gd name="connsiteX10" fmla="*/ 695325 w 3747135"/>
                      <a:gd name="connsiteY10" fmla="*/ 211455 h 1605915"/>
                      <a:gd name="connsiteX11" fmla="*/ 725805 w 3747135"/>
                      <a:gd name="connsiteY11" fmla="*/ 211455 h 1605915"/>
                      <a:gd name="connsiteX12" fmla="*/ 725805 w 3747135"/>
                      <a:gd name="connsiteY12" fmla="*/ 293370 h 1605915"/>
                      <a:gd name="connsiteX13" fmla="*/ 752475 w 3747135"/>
                      <a:gd name="connsiteY13" fmla="*/ 293370 h 1605915"/>
                      <a:gd name="connsiteX14" fmla="*/ 752475 w 3747135"/>
                      <a:gd name="connsiteY14" fmla="*/ 373380 h 1605915"/>
                      <a:gd name="connsiteX15" fmla="*/ 792480 w 3747135"/>
                      <a:gd name="connsiteY15" fmla="*/ 373380 h 1605915"/>
                      <a:gd name="connsiteX16" fmla="*/ 792480 w 3747135"/>
                      <a:gd name="connsiteY16" fmla="*/ 407670 h 1605915"/>
                      <a:gd name="connsiteX17" fmla="*/ 948690 w 3747135"/>
                      <a:gd name="connsiteY17" fmla="*/ 407670 h 1605915"/>
                      <a:gd name="connsiteX18" fmla="*/ 948690 w 3747135"/>
                      <a:gd name="connsiteY18" fmla="*/ 440055 h 1605915"/>
                      <a:gd name="connsiteX19" fmla="*/ 1002030 w 3747135"/>
                      <a:gd name="connsiteY19" fmla="*/ 440055 h 1605915"/>
                      <a:gd name="connsiteX20" fmla="*/ 1002030 w 3747135"/>
                      <a:gd name="connsiteY20" fmla="*/ 466725 h 1605915"/>
                      <a:gd name="connsiteX21" fmla="*/ 1019175 w 3747135"/>
                      <a:gd name="connsiteY21" fmla="*/ 464820 h 1605915"/>
                      <a:gd name="connsiteX22" fmla="*/ 1083945 w 3747135"/>
                      <a:gd name="connsiteY22" fmla="*/ 464820 h 1605915"/>
                      <a:gd name="connsiteX23" fmla="*/ 1083945 w 3747135"/>
                      <a:gd name="connsiteY23" fmla="*/ 514350 h 1605915"/>
                      <a:gd name="connsiteX24" fmla="*/ 1097280 w 3747135"/>
                      <a:gd name="connsiteY24" fmla="*/ 514350 h 1605915"/>
                      <a:gd name="connsiteX25" fmla="*/ 1097280 w 3747135"/>
                      <a:gd name="connsiteY25" fmla="*/ 541020 h 1605915"/>
                      <a:gd name="connsiteX26" fmla="*/ 1114425 w 3747135"/>
                      <a:gd name="connsiteY26" fmla="*/ 541020 h 1605915"/>
                      <a:gd name="connsiteX27" fmla="*/ 1114425 w 3747135"/>
                      <a:gd name="connsiteY27" fmla="*/ 594360 h 1605915"/>
                      <a:gd name="connsiteX28" fmla="*/ 1293495 w 3747135"/>
                      <a:gd name="connsiteY28" fmla="*/ 594360 h 1605915"/>
                      <a:gd name="connsiteX29" fmla="*/ 1293495 w 3747135"/>
                      <a:gd name="connsiteY29" fmla="*/ 615315 h 1605915"/>
                      <a:gd name="connsiteX30" fmla="*/ 1403985 w 3747135"/>
                      <a:gd name="connsiteY30" fmla="*/ 615315 h 1605915"/>
                      <a:gd name="connsiteX31" fmla="*/ 1403985 w 3747135"/>
                      <a:gd name="connsiteY31" fmla="*/ 636270 h 1605915"/>
                      <a:gd name="connsiteX32" fmla="*/ 1466850 w 3747135"/>
                      <a:gd name="connsiteY32" fmla="*/ 636270 h 1605915"/>
                      <a:gd name="connsiteX33" fmla="*/ 1466850 w 3747135"/>
                      <a:gd name="connsiteY33" fmla="*/ 706755 h 1605915"/>
                      <a:gd name="connsiteX34" fmla="*/ 1483995 w 3747135"/>
                      <a:gd name="connsiteY34" fmla="*/ 706755 h 1605915"/>
                      <a:gd name="connsiteX35" fmla="*/ 1483995 w 3747135"/>
                      <a:gd name="connsiteY35" fmla="*/ 775335 h 1605915"/>
                      <a:gd name="connsiteX36" fmla="*/ 1525905 w 3747135"/>
                      <a:gd name="connsiteY36" fmla="*/ 775335 h 1605915"/>
                      <a:gd name="connsiteX37" fmla="*/ 1525905 w 3747135"/>
                      <a:gd name="connsiteY37" fmla="*/ 790575 h 1605915"/>
                      <a:gd name="connsiteX38" fmla="*/ 1571625 w 3747135"/>
                      <a:gd name="connsiteY38" fmla="*/ 790575 h 1605915"/>
                      <a:gd name="connsiteX39" fmla="*/ 1571625 w 3747135"/>
                      <a:gd name="connsiteY39" fmla="*/ 840105 h 1605915"/>
                      <a:gd name="connsiteX40" fmla="*/ 1588770 w 3747135"/>
                      <a:gd name="connsiteY40" fmla="*/ 840105 h 1605915"/>
                      <a:gd name="connsiteX41" fmla="*/ 1588770 w 3747135"/>
                      <a:gd name="connsiteY41" fmla="*/ 864870 h 1605915"/>
                      <a:gd name="connsiteX42" fmla="*/ 1819275 w 3747135"/>
                      <a:gd name="connsiteY42" fmla="*/ 864870 h 1605915"/>
                      <a:gd name="connsiteX43" fmla="*/ 1819275 w 3747135"/>
                      <a:gd name="connsiteY43" fmla="*/ 925830 h 1605915"/>
                      <a:gd name="connsiteX44" fmla="*/ 1836420 w 3747135"/>
                      <a:gd name="connsiteY44" fmla="*/ 925830 h 1605915"/>
                      <a:gd name="connsiteX45" fmla="*/ 1836420 w 3747135"/>
                      <a:gd name="connsiteY45" fmla="*/ 1062990 h 1605915"/>
                      <a:gd name="connsiteX46" fmla="*/ 1906905 w 3747135"/>
                      <a:gd name="connsiteY46" fmla="*/ 1062990 h 1605915"/>
                      <a:gd name="connsiteX47" fmla="*/ 1906905 w 3747135"/>
                      <a:gd name="connsiteY47" fmla="*/ 1089660 h 1605915"/>
                      <a:gd name="connsiteX48" fmla="*/ 1967865 w 3747135"/>
                      <a:gd name="connsiteY48" fmla="*/ 1089660 h 1605915"/>
                      <a:gd name="connsiteX49" fmla="*/ 1967865 w 3747135"/>
                      <a:gd name="connsiteY49" fmla="*/ 1118235 h 1605915"/>
                      <a:gd name="connsiteX50" fmla="*/ 2011680 w 3747135"/>
                      <a:gd name="connsiteY50" fmla="*/ 1118235 h 1605915"/>
                      <a:gd name="connsiteX51" fmla="*/ 2011680 w 3747135"/>
                      <a:gd name="connsiteY51" fmla="*/ 1143000 h 1605915"/>
                      <a:gd name="connsiteX52" fmla="*/ 2036445 w 3747135"/>
                      <a:gd name="connsiteY52" fmla="*/ 1143000 h 1605915"/>
                      <a:gd name="connsiteX53" fmla="*/ 2036445 w 3747135"/>
                      <a:gd name="connsiteY53" fmla="*/ 1175385 h 1605915"/>
                      <a:gd name="connsiteX54" fmla="*/ 2183130 w 3747135"/>
                      <a:gd name="connsiteY54" fmla="*/ 1175385 h 1605915"/>
                      <a:gd name="connsiteX55" fmla="*/ 2183130 w 3747135"/>
                      <a:gd name="connsiteY55" fmla="*/ 1203960 h 1605915"/>
                      <a:gd name="connsiteX56" fmla="*/ 2226945 w 3747135"/>
                      <a:gd name="connsiteY56" fmla="*/ 1203960 h 1605915"/>
                      <a:gd name="connsiteX57" fmla="*/ 2226945 w 3747135"/>
                      <a:gd name="connsiteY57" fmla="*/ 1236345 h 1605915"/>
                      <a:gd name="connsiteX58" fmla="*/ 2247900 w 3747135"/>
                      <a:gd name="connsiteY58" fmla="*/ 1236345 h 1605915"/>
                      <a:gd name="connsiteX59" fmla="*/ 2247900 w 3747135"/>
                      <a:gd name="connsiteY59" fmla="*/ 1261110 h 1605915"/>
                      <a:gd name="connsiteX60" fmla="*/ 2590800 w 3747135"/>
                      <a:gd name="connsiteY60" fmla="*/ 1261110 h 1605915"/>
                      <a:gd name="connsiteX61" fmla="*/ 2590800 w 3747135"/>
                      <a:gd name="connsiteY61" fmla="*/ 1318260 h 1605915"/>
                      <a:gd name="connsiteX62" fmla="*/ 2646045 w 3747135"/>
                      <a:gd name="connsiteY62" fmla="*/ 1318260 h 1605915"/>
                      <a:gd name="connsiteX63" fmla="*/ 2646045 w 3747135"/>
                      <a:gd name="connsiteY63" fmla="*/ 1443990 h 1605915"/>
                      <a:gd name="connsiteX64" fmla="*/ 2943225 w 3747135"/>
                      <a:gd name="connsiteY64" fmla="*/ 1443990 h 1605915"/>
                      <a:gd name="connsiteX65" fmla="*/ 2943225 w 3747135"/>
                      <a:gd name="connsiteY65" fmla="*/ 1535430 h 1605915"/>
                      <a:gd name="connsiteX66" fmla="*/ 2969895 w 3747135"/>
                      <a:gd name="connsiteY66" fmla="*/ 1535430 h 1605915"/>
                      <a:gd name="connsiteX67" fmla="*/ 2969895 w 3747135"/>
                      <a:gd name="connsiteY67" fmla="*/ 1604010 h 1605915"/>
                      <a:gd name="connsiteX68" fmla="*/ 3747135 w 3747135"/>
                      <a:gd name="connsiteY68" fmla="*/ 1605915 h 160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747135" h="1605915">
                        <a:moveTo>
                          <a:pt x="0" y="0"/>
                        </a:moveTo>
                        <a:lnTo>
                          <a:pt x="262890" y="0"/>
                        </a:lnTo>
                        <a:lnTo>
                          <a:pt x="262890" y="64770"/>
                        </a:lnTo>
                        <a:lnTo>
                          <a:pt x="300990" y="64770"/>
                        </a:lnTo>
                        <a:lnTo>
                          <a:pt x="300990" y="116205"/>
                        </a:lnTo>
                        <a:lnTo>
                          <a:pt x="360045" y="116205"/>
                        </a:lnTo>
                        <a:lnTo>
                          <a:pt x="360045" y="152400"/>
                        </a:lnTo>
                        <a:lnTo>
                          <a:pt x="394335" y="152400"/>
                        </a:lnTo>
                        <a:lnTo>
                          <a:pt x="394335" y="173355"/>
                        </a:lnTo>
                        <a:lnTo>
                          <a:pt x="695325" y="173355"/>
                        </a:lnTo>
                        <a:lnTo>
                          <a:pt x="695325" y="211455"/>
                        </a:lnTo>
                        <a:lnTo>
                          <a:pt x="725805" y="211455"/>
                        </a:lnTo>
                        <a:lnTo>
                          <a:pt x="725805" y="293370"/>
                        </a:lnTo>
                        <a:lnTo>
                          <a:pt x="752475" y="293370"/>
                        </a:lnTo>
                        <a:lnTo>
                          <a:pt x="752475" y="373380"/>
                        </a:lnTo>
                        <a:lnTo>
                          <a:pt x="792480" y="373380"/>
                        </a:lnTo>
                        <a:lnTo>
                          <a:pt x="792480" y="407670"/>
                        </a:lnTo>
                        <a:lnTo>
                          <a:pt x="948690" y="407670"/>
                        </a:lnTo>
                        <a:lnTo>
                          <a:pt x="948690" y="440055"/>
                        </a:lnTo>
                        <a:lnTo>
                          <a:pt x="1002030" y="440055"/>
                        </a:lnTo>
                        <a:lnTo>
                          <a:pt x="1002030" y="466725"/>
                        </a:lnTo>
                        <a:lnTo>
                          <a:pt x="1019175" y="464820"/>
                        </a:lnTo>
                        <a:lnTo>
                          <a:pt x="1083945" y="464820"/>
                        </a:lnTo>
                        <a:lnTo>
                          <a:pt x="1083945" y="514350"/>
                        </a:lnTo>
                        <a:lnTo>
                          <a:pt x="1097280" y="514350"/>
                        </a:lnTo>
                        <a:lnTo>
                          <a:pt x="1097280" y="541020"/>
                        </a:lnTo>
                        <a:lnTo>
                          <a:pt x="1114425" y="541020"/>
                        </a:lnTo>
                        <a:lnTo>
                          <a:pt x="1114425" y="594360"/>
                        </a:lnTo>
                        <a:lnTo>
                          <a:pt x="1293495" y="594360"/>
                        </a:lnTo>
                        <a:lnTo>
                          <a:pt x="1293495" y="615315"/>
                        </a:lnTo>
                        <a:lnTo>
                          <a:pt x="1403985" y="615315"/>
                        </a:lnTo>
                        <a:lnTo>
                          <a:pt x="1403985" y="636270"/>
                        </a:lnTo>
                        <a:lnTo>
                          <a:pt x="1466850" y="636270"/>
                        </a:lnTo>
                        <a:lnTo>
                          <a:pt x="1466850" y="706755"/>
                        </a:lnTo>
                        <a:lnTo>
                          <a:pt x="1483995" y="706755"/>
                        </a:lnTo>
                        <a:lnTo>
                          <a:pt x="1483995" y="775335"/>
                        </a:lnTo>
                        <a:lnTo>
                          <a:pt x="1525905" y="775335"/>
                        </a:lnTo>
                        <a:lnTo>
                          <a:pt x="1525905" y="790575"/>
                        </a:lnTo>
                        <a:lnTo>
                          <a:pt x="1571625" y="790575"/>
                        </a:lnTo>
                        <a:lnTo>
                          <a:pt x="1571625" y="840105"/>
                        </a:lnTo>
                        <a:lnTo>
                          <a:pt x="1588770" y="840105"/>
                        </a:lnTo>
                        <a:lnTo>
                          <a:pt x="1588770" y="864870"/>
                        </a:lnTo>
                        <a:lnTo>
                          <a:pt x="1819275" y="864870"/>
                        </a:lnTo>
                        <a:lnTo>
                          <a:pt x="1819275" y="925830"/>
                        </a:lnTo>
                        <a:lnTo>
                          <a:pt x="1836420" y="925830"/>
                        </a:lnTo>
                        <a:lnTo>
                          <a:pt x="1836420" y="1062990"/>
                        </a:lnTo>
                        <a:lnTo>
                          <a:pt x="1906905" y="1062990"/>
                        </a:lnTo>
                        <a:lnTo>
                          <a:pt x="1906905" y="1089660"/>
                        </a:lnTo>
                        <a:lnTo>
                          <a:pt x="1967865" y="1089660"/>
                        </a:lnTo>
                        <a:lnTo>
                          <a:pt x="1967865" y="1118235"/>
                        </a:lnTo>
                        <a:lnTo>
                          <a:pt x="2011680" y="1118235"/>
                        </a:lnTo>
                        <a:lnTo>
                          <a:pt x="2011680" y="1143000"/>
                        </a:lnTo>
                        <a:lnTo>
                          <a:pt x="2036445" y="1143000"/>
                        </a:lnTo>
                        <a:lnTo>
                          <a:pt x="2036445" y="1175385"/>
                        </a:lnTo>
                        <a:lnTo>
                          <a:pt x="2183130" y="1175385"/>
                        </a:lnTo>
                        <a:lnTo>
                          <a:pt x="2183130" y="1203960"/>
                        </a:lnTo>
                        <a:lnTo>
                          <a:pt x="2226945" y="1203960"/>
                        </a:lnTo>
                        <a:lnTo>
                          <a:pt x="2226945" y="1236345"/>
                        </a:lnTo>
                        <a:lnTo>
                          <a:pt x="2247900" y="1236345"/>
                        </a:lnTo>
                        <a:lnTo>
                          <a:pt x="2247900" y="1261110"/>
                        </a:lnTo>
                        <a:lnTo>
                          <a:pt x="2590800" y="1261110"/>
                        </a:lnTo>
                        <a:lnTo>
                          <a:pt x="2590800" y="1318260"/>
                        </a:lnTo>
                        <a:lnTo>
                          <a:pt x="2646045" y="1318260"/>
                        </a:lnTo>
                        <a:lnTo>
                          <a:pt x="2646045" y="1443990"/>
                        </a:lnTo>
                        <a:lnTo>
                          <a:pt x="2943225" y="1443990"/>
                        </a:lnTo>
                        <a:lnTo>
                          <a:pt x="2943225" y="1535430"/>
                        </a:lnTo>
                        <a:lnTo>
                          <a:pt x="2969895" y="1535430"/>
                        </a:lnTo>
                        <a:lnTo>
                          <a:pt x="2969895" y="1604010"/>
                        </a:lnTo>
                        <a:lnTo>
                          <a:pt x="3747135" y="1605915"/>
                        </a:lnTo>
                      </a:path>
                    </a:pathLst>
                  </a:custGeom>
                  <a:noFill/>
                  <a:ln w="19050" cap="flat" cmpd="sng" algn="ctr">
                    <a:solidFill>
                      <a:srgbClr val="FFC000"/>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endParaRPr>
                  </a:p>
                </p:txBody>
              </p:sp>
            </p:grpSp>
          </p:grpSp>
          <p:cxnSp>
            <p:nvCxnSpPr>
              <p:cNvPr id="72" name="Straight Connector 71">
                <a:extLst>
                  <a:ext uri="{FF2B5EF4-FFF2-40B4-BE49-F238E27FC236}">
                    <a16:creationId xmlns:a16="http://schemas.microsoft.com/office/drawing/2014/main" id="{8A89EA33-74C6-38D5-968B-4E738BF14539}"/>
                  </a:ext>
                </a:extLst>
              </p:cNvPr>
              <p:cNvCxnSpPr>
                <a:cxnSpLocks/>
              </p:cNvCxnSpPr>
              <p:nvPr/>
            </p:nvCxnSpPr>
            <p:spPr bwMode="auto">
              <a:xfrm flipV="1">
                <a:off x="2068429" y="2081893"/>
                <a:ext cx="0" cy="3042558"/>
              </a:xfrm>
              <a:prstGeom prst="line">
                <a:avLst/>
              </a:prstGeom>
              <a:solidFill>
                <a:srgbClr val="830051"/>
              </a:solidFill>
              <a:ln w="12700" cap="flat" cmpd="sng" algn="ctr">
                <a:solidFill>
                  <a:srgbClr val="3F4444">
                    <a:lumMod val="50000"/>
                    <a:lumOff val="50000"/>
                  </a:srgbClr>
                </a:solidFill>
                <a:prstDash val="sysDot"/>
                <a:round/>
                <a:headEnd type="none" w="med" len="med"/>
                <a:tailEnd type="none" w="med" len="med"/>
              </a:ln>
              <a:effectLst/>
            </p:spPr>
          </p:cxnSp>
          <p:cxnSp>
            <p:nvCxnSpPr>
              <p:cNvPr id="73" name="Straight Connector 72">
                <a:extLst>
                  <a:ext uri="{FF2B5EF4-FFF2-40B4-BE49-F238E27FC236}">
                    <a16:creationId xmlns:a16="http://schemas.microsoft.com/office/drawing/2014/main" id="{43C4D35D-1CEC-EAAB-96A9-F95BBDB95D02}"/>
                  </a:ext>
                </a:extLst>
              </p:cNvPr>
              <p:cNvCxnSpPr>
                <a:cxnSpLocks/>
              </p:cNvCxnSpPr>
              <p:nvPr/>
            </p:nvCxnSpPr>
            <p:spPr bwMode="auto">
              <a:xfrm flipV="1">
                <a:off x="2867708" y="2081893"/>
                <a:ext cx="0" cy="3042558"/>
              </a:xfrm>
              <a:prstGeom prst="line">
                <a:avLst/>
              </a:prstGeom>
              <a:solidFill>
                <a:srgbClr val="830051"/>
              </a:solidFill>
              <a:ln w="12700" cap="flat" cmpd="sng" algn="ctr">
                <a:solidFill>
                  <a:srgbClr val="3F4444">
                    <a:lumMod val="50000"/>
                    <a:lumOff val="50000"/>
                  </a:srgbClr>
                </a:solidFill>
                <a:prstDash val="sysDot"/>
                <a:round/>
                <a:headEnd type="none" w="med" len="med"/>
                <a:tailEnd type="none" w="med" len="med"/>
              </a:ln>
              <a:effectLst/>
            </p:spPr>
          </p:cxnSp>
          <p:cxnSp>
            <p:nvCxnSpPr>
              <p:cNvPr id="74" name="Straight Connector 73">
                <a:extLst>
                  <a:ext uri="{FF2B5EF4-FFF2-40B4-BE49-F238E27FC236}">
                    <a16:creationId xmlns:a16="http://schemas.microsoft.com/office/drawing/2014/main" id="{A0E0E156-81B2-2F59-E6CE-B63666971C35}"/>
                  </a:ext>
                </a:extLst>
              </p:cNvPr>
              <p:cNvCxnSpPr>
                <a:cxnSpLocks/>
              </p:cNvCxnSpPr>
              <p:nvPr/>
            </p:nvCxnSpPr>
            <p:spPr bwMode="auto">
              <a:xfrm flipV="1">
                <a:off x="3689847" y="2081893"/>
                <a:ext cx="0" cy="3042558"/>
              </a:xfrm>
              <a:prstGeom prst="line">
                <a:avLst/>
              </a:prstGeom>
              <a:solidFill>
                <a:srgbClr val="830051"/>
              </a:solidFill>
              <a:ln w="12700" cap="flat" cmpd="sng" algn="ctr">
                <a:solidFill>
                  <a:srgbClr val="3F4444">
                    <a:lumMod val="50000"/>
                    <a:lumOff val="50000"/>
                  </a:srgbClr>
                </a:solidFill>
                <a:prstDash val="sysDot"/>
                <a:round/>
                <a:headEnd type="none" w="med" len="med"/>
                <a:tailEnd type="none" w="med" len="med"/>
              </a:ln>
              <a:effectLst/>
            </p:spPr>
          </p:cxnSp>
          <p:cxnSp>
            <p:nvCxnSpPr>
              <p:cNvPr id="75" name="Straight Connector 74">
                <a:extLst>
                  <a:ext uri="{FF2B5EF4-FFF2-40B4-BE49-F238E27FC236}">
                    <a16:creationId xmlns:a16="http://schemas.microsoft.com/office/drawing/2014/main" id="{47EAE93B-A514-C57A-8E28-BE689F248674}"/>
                  </a:ext>
                </a:extLst>
              </p:cNvPr>
              <p:cNvCxnSpPr>
                <a:cxnSpLocks/>
              </p:cNvCxnSpPr>
              <p:nvPr/>
            </p:nvCxnSpPr>
            <p:spPr bwMode="auto">
              <a:xfrm flipV="1">
                <a:off x="4481506" y="2081893"/>
                <a:ext cx="0" cy="3042558"/>
              </a:xfrm>
              <a:prstGeom prst="line">
                <a:avLst/>
              </a:prstGeom>
              <a:solidFill>
                <a:srgbClr val="830051"/>
              </a:solidFill>
              <a:ln w="12700" cap="flat" cmpd="sng" algn="ctr">
                <a:solidFill>
                  <a:srgbClr val="3F4444">
                    <a:lumMod val="50000"/>
                    <a:lumOff val="50000"/>
                  </a:srgbClr>
                </a:solidFill>
                <a:prstDash val="sysDot"/>
                <a:round/>
                <a:headEnd type="none" w="med" len="med"/>
                <a:tailEnd type="none" w="med" len="med"/>
              </a:ln>
              <a:effectLst/>
            </p:spPr>
          </p:cxnSp>
          <p:sp>
            <p:nvSpPr>
              <p:cNvPr id="76" name="Rectangle 75">
                <a:extLst>
                  <a:ext uri="{FF2B5EF4-FFF2-40B4-BE49-F238E27FC236}">
                    <a16:creationId xmlns:a16="http://schemas.microsoft.com/office/drawing/2014/main" id="{54E003CF-3052-BEAA-FE7D-13CBAECEEB20}"/>
                  </a:ext>
                </a:extLst>
              </p:cNvPr>
              <p:cNvSpPr/>
              <p:nvPr/>
            </p:nvSpPr>
            <p:spPr>
              <a:xfrm>
                <a:off x="2001326" y="1977134"/>
                <a:ext cx="425229" cy="222422"/>
              </a:xfrm>
              <a:prstGeom prst="rect">
                <a:avLst/>
              </a:prstGeom>
            </p:spPr>
            <p:txBody>
              <a:bodyPr wrap="non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97</a:t>
                </a:r>
              </a:p>
            </p:txBody>
          </p:sp>
          <p:sp>
            <p:nvSpPr>
              <p:cNvPr id="77" name="Rectangle 76">
                <a:extLst>
                  <a:ext uri="{FF2B5EF4-FFF2-40B4-BE49-F238E27FC236}">
                    <a16:creationId xmlns:a16="http://schemas.microsoft.com/office/drawing/2014/main" id="{795DF833-5CF1-9237-6C1E-18FDD9B9E50C}"/>
                  </a:ext>
                </a:extLst>
              </p:cNvPr>
              <p:cNvSpPr/>
              <p:nvPr/>
            </p:nvSpPr>
            <p:spPr>
              <a:xfrm>
                <a:off x="2001328" y="2511772"/>
                <a:ext cx="548593" cy="222422"/>
              </a:xfrm>
              <a:prstGeom prst="rect">
                <a:avLst/>
              </a:prstGeom>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86</a:t>
                </a:r>
              </a:p>
            </p:txBody>
          </p:sp>
          <p:sp>
            <p:nvSpPr>
              <p:cNvPr id="78" name="Rectangle 77">
                <a:extLst>
                  <a:ext uri="{FF2B5EF4-FFF2-40B4-BE49-F238E27FC236}">
                    <a16:creationId xmlns:a16="http://schemas.microsoft.com/office/drawing/2014/main" id="{DBB6233A-BB13-D680-1F3C-A5538C8D7186}"/>
                  </a:ext>
                </a:extLst>
              </p:cNvPr>
              <p:cNvSpPr/>
              <p:nvPr/>
            </p:nvSpPr>
            <p:spPr>
              <a:xfrm>
                <a:off x="2820138" y="2217564"/>
                <a:ext cx="425229" cy="222422"/>
              </a:xfrm>
              <a:prstGeom prst="rect">
                <a:avLst/>
              </a:prstGeom>
            </p:spPr>
            <p:txBody>
              <a:bodyPr wrap="non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88</a:t>
                </a:r>
              </a:p>
            </p:txBody>
          </p:sp>
          <p:sp>
            <p:nvSpPr>
              <p:cNvPr id="79" name="Rectangle 78">
                <a:extLst>
                  <a:ext uri="{FF2B5EF4-FFF2-40B4-BE49-F238E27FC236}">
                    <a16:creationId xmlns:a16="http://schemas.microsoft.com/office/drawing/2014/main" id="{C35A17F2-AE71-B40D-6A89-13FC5B8095C3}"/>
                  </a:ext>
                </a:extLst>
              </p:cNvPr>
              <p:cNvSpPr/>
              <p:nvPr/>
            </p:nvSpPr>
            <p:spPr>
              <a:xfrm>
                <a:off x="2820140" y="3135863"/>
                <a:ext cx="472491" cy="222422"/>
              </a:xfrm>
              <a:prstGeom prst="rect">
                <a:avLst/>
              </a:prstGeom>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71</a:t>
                </a:r>
              </a:p>
            </p:txBody>
          </p:sp>
          <p:sp>
            <p:nvSpPr>
              <p:cNvPr id="80" name="Rectangle 79">
                <a:extLst>
                  <a:ext uri="{FF2B5EF4-FFF2-40B4-BE49-F238E27FC236}">
                    <a16:creationId xmlns:a16="http://schemas.microsoft.com/office/drawing/2014/main" id="{F2031147-AF65-8C16-4FB8-BB3BA51D8CC5}"/>
                  </a:ext>
                </a:extLst>
              </p:cNvPr>
              <p:cNvSpPr/>
              <p:nvPr/>
            </p:nvSpPr>
            <p:spPr>
              <a:xfrm>
                <a:off x="3648241" y="2694482"/>
                <a:ext cx="425229" cy="222422"/>
              </a:xfrm>
              <a:prstGeom prst="rect">
                <a:avLst/>
              </a:prstGeom>
            </p:spPr>
            <p:txBody>
              <a:bodyPr wrap="non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73</a:t>
                </a:r>
              </a:p>
            </p:txBody>
          </p:sp>
          <p:sp>
            <p:nvSpPr>
              <p:cNvPr id="81" name="Rectangle 80">
                <a:extLst>
                  <a:ext uri="{FF2B5EF4-FFF2-40B4-BE49-F238E27FC236}">
                    <a16:creationId xmlns:a16="http://schemas.microsoft.com/office/drawing/2014/main" id="{CC295CA6-A7D7-C04F-3443-BCD9E6D72C14}"/>
                  </a:ext>
                </a:extLst>
              </p:cNvPr>
              <p:cNvSpPr/>
              <p:nvPr/>
            </p:nvSpPr>
            <p:spPr>
              <a:xfrm>
                <a:off x="3648241" y="3152845"/>
                <a:ext cx="472491" cy="222422"/>
              </a:xfrm>
              <a:prstGeom prst="rect">
                <a:avLst/>
              </a:prstGeom>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59</a:t>
                </a:r>
              </a:p>
            </p:txBody>
          </p:sp>
          <p:sp>
            <p:nvSpPr>
              <p:cNvPr id="82" name="Rectangle 81">
                <a:extLst>
                  <a:ext uri="{FF2B5EF4-FFF2-40B4-BE49-F238E27FC236}">
                    <a16:creationId xmlns:a16="http://schemas.microsoft.com/office/drawing/2014/main" id="{5EA81DEB-8B2A-A75B-122A-D083EA65CE41}"/>
                  </a:ext>
                </a:extLst>
              </p:cNvPr>
              <p:cNvSpPr/>
              <p:nvPr/>
            </p:nvSpPr>
            <p:spPr>
              <a:xfrm>
                <a:off x="4435383" y="3145668"/>
                <a:ext cx="425229" cy="222422"/>
              </a:xfrm>
              <a:prstGeom prst="rect">
                <a:avLst/>
              </a:prstGeom>
            </p:spPr>
            <p:txBody>
              <a:bodyPr wrap="non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58</a:t>
                </a:r>
              </a:p>
            </p:txBody>
          </p:sp>
          <p:sp>
            <p:nvSpPr>
              <p:cNvPr id="83" name="Rectangle 82">
                <a:extLst>
                  <a:ext uri="{FF2B5EF4-FFF2-40B4-BE49-F238E27FC236}">
                    <a16:creationId xmlns:a16="http://schemas.microsoft.com/office/drawing/2014/main" id="{04DCD7EC-75E4-09C5-54B9-203135D65FCB}"/>
                  </a:ext>
                </a:extLst>
              </p:cNvPr>
              <p:cNvSpPr/>
              <p:nvPr/>
            </p:nvSpPr>
            <p:spPr>
              <a:xfrm>
                <a:off x="4435383" y="3415632"/>
                <a:ext cx="521904" cy="222422"/>
              </a:xfrm>
              <a:prstGeom prst="rect">
                <a:avLst/>
              </a:prstGeom>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51607"/>
                    </a:solidFill>
                    <a:effectLst/>
                    <a:uLnTx/>
                    <a:uFillTx/>
                    <a:latin typeface="Arial" panose="020B0604020202020204" pitchFamily="34" charset="0"/>
                    <a:ea typeface="+mn-ea"/>
                    <a:cs typeface="Arial" panose="020B0604020202020204" pitchFamily="34" charset="0"/>
                  </a:rPr>
                  <a:t>0.47</a:t>
                </a:r>
              </a:p>
            </p:txBody>
          </p:sp>
        </p:grpSp>
        <p:cxnSp>
          <p:nvCxnSpPr>
            <p:cNvPr id="131" name="Straight Connector 130">
              <a:extLst>
                <a:ext uri="{FF2B5EF4-FFF2-40B4-BE49-F238E27FC236}">
                  <a16:creationId xmlns:a16="http://schemas.microsoft.com/office/drawing/2014/main" id="{5BF4EBE9-1B12-2D64-CC3E-81FB67E0D9B7}"/>
                </a:ext>
              </a:extLst>
            </p:cNvPr>
            <p:cNvCxnSpPr/>
            <p:nvPr/>
          </p:nvCxnSpPr>
          <p:spPr bwMode="auto">
            <a:xfrm flipH="1">
              <a:off x="5069387" y="2356226"/>
              <a:ext cx="273970" cy="0"/>
            </a:xfrm>
            <a:prstGeom prst="line">
              <a:avLst/>
            </a:prstGeom>
            <a:solidFill>
              <a:srgbClr val="830051"/>
            </a:solidFill>
            <a:ln w="19050" cap="flat" cmpd="sng" algn="ctr">
              <a:solidFill>
                <a:srgbClr val="830051"/>
              </a:solidFill>
              <a:prstDash val="solid"/>
              <a:round/>
              <a:headEnd type="none" w="med" len="med"/>
              <a:tailEnd type="none" w="med" len="med"/>
            </a:ln>
            <a:effectLst/>
          </p:spPr>
        </p:cxnSp>
        <p:cxnSp>
          <p:nvCxnSpPr>
            <p:cNvPr id="132" name="Straight Connector 131">
              <a:extLst>
                <a:ext uri="{FF2B5EF4-FFF2-40B4-BE49-F238E27FC236}">
                  <a16:creationId xmlns:a16="http://schemas.microsoft.com/office/drawing/2014/main" id="{07FAEBBD-A381-24A2-A852-7A5ED38E9BA0}"/>
                </a:ext>
              </a:extLst>
            </p:cNvPr>
            <p:cNvCxnSpPr/>
            <p:nvPr/>
          </p:nvCxnSpPr>
          <p:spPr bwMode="auto">
            <a:xfrm flipH="1">
              <a:off x="5069378" y="2541518"/>
              <a:ext cx="273969" cy="0"/>
            </a:xfrm>
            <a:prstGeom prst="line">
              <a:avLst/>
            </a:prstGeom>
            <a:solidFill>
              <a:srgbClr val="830051"/>
            </a:solidFill>
            <a:ln w="19050" cap="flat" cmpd="sng" algn="ctr">
              <a:solidFill>
                <a:srgbClr val="FFC000"/>
              </a:solidFill>
              <a:prstDash val="solid"/>
              <a:round/>
              <a:headEnd type="none" w="med" len="med"/>
              <a:tailEnd type="none" w="med" len="med"/>
            </a:ln>
            <a:effectLst/>
          </p:spPr>
        </p:cxnSp>
      </p:grpSp>
      <p:graphicFrame>
        <p:nvGraphicFramePr>
          <p:cNvPr id="138" name="Group 2">
            <a:extLst>
              <a:ext uri="{FF2B5EF4-FFF2-40B4-BE49-F238E27FC236}">
                <a16:creationId xmlns:a16="http://schemas.microsoft.com/office/drawing/2014/main" id="{0BC7C17D-AFA9-BC08-713E-F10C72E64170}"/>
              </a:ext>
            </a:extLst>
          </p:cNvPr>
          <p:cNvGraphicFramePr>
            <a:graphicFrameLocks noGrp="1"/>
          </p:cNvGraphicFramePr>
          <p:nvPr/>
        </p:nvGraphicFramePr>
        <p:xfrm>
          <a:off x="7327518" y="3058175"/>
          <a:ext cx="3748262" cy="2342165"/>
        </p:xfrm>
        <a:graphic>
          <a:graphicData uri="http://schemas.openxmlformats.org/drawingml/2006/table">
            <a:tbl>
              <a:tblPr firstRow="1"/>
              <a:tblGrid>
                <a:gridCol w="1587696">
                  <a:extLst>
                    <a:ext uri="{9D8B030D-6E8A-4147-A177-3AD203B41FA5}">
                      <a16:colId xmlns:a16="http://schemas.microsoft.com/office/drawing/2014/main" val="20000"/>
                    </a:ext>
                  </a:extLst>
                </a:gridCol>
                <a:gridCol w="1080283">
                  <a:extLst>
                    <a:ext uri="{9D8B030D-6E8A-4147-A177-3AD203B41FA5}">
                      <a16:colId xmlns:a16="http://schemas.microsoft.com/office/drawing/2014/main" val="20001"/>
                    </a:ext>
                  </a:extLst>
                </a:gridCol>
                <a:gridCol w="1080283">
                  <a:extLst>
                    <a:ext uri="{9D8B030D-6E8A-4147-A177-3AD203B41FA5}">
                      <a16:colId xmlns:a16="http://schemas.microsoft.com/office/drawing/2014/main" val="20002"/>
                    </a:ext>
                  </a:extLst>
                </a:gridCol>
              </a:tblGrid>
              <a:tr h="5760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en-US" sz="1200" b="1" baseline="0" noProof="0" dirty="0">
                          <a:solidFill>
                            <a:schemeClr val="tx1"/>
                          </a:solidFill>
                          <a:latin typeface="+mn-lt"/>
                        </a:rPr>
                        <a:t>Median PFS</a:t>
                      </a:r>
                      <a:r>
                        <a:rPr lang="en-US" sz="1200" b="0" baseline="0" noProof="0" dirty="0">
                          <a:solidFill>
                            <a:schemeClr val="tx1"/>
                          </a:solidFill>
                          <a:latin typeface="+mn-lt"/>
                        </a:rPr>
                        <a:t>,</a:t>
                      </a:r>
                      <a:br>
                        <a:rPr lang="en-US" sz="1200" b="0" baseline="0" noProof="0" dirty="0">
                          <a:solidFill>
                            <a:schemeClr val="tx1"/>
                          </a:solidFill>
                          <a:latin typeface="+mn-lt"/>
                        </a:rPr>
                      </a:br>
                      <a:r>
                        <a:rPr lang="en-US" sz="1200" b="0" baseline="0" noProof="0" dirty="0">
                          <a:solidFill>
                            <a:schemeClr val="tx1"/>
                          </a:solidFill>
                          <a:latin typeface="+mn-lt"/>
                        </a:rPr>
                        <a:t>months</a:t>
                      </a:r>
                      <a:endParaRPr lang="en-US" sz="1200" b="0" noProof="0" dirty="0">
                        <a:solidFill>
                          <a:schemeClr val="tx1"/>
                        </a:solidFill>
                        <a:latin typeface="+mn-lt"/>
                      </a:endParaRPr>
                    </a:p>
                  </a:txBody>
                  <a:tcPr marL="107513" marR="107513" marT="71675" marB="716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200" noProof="0" dirty="0">
                          <a:solidFill>
                            <a:schemeClr val="tx1"/>
                          </a:solidFill>
                          <a:latin typeface="+mn-lt"/>
                          <a:cs typeface="Arial" panose="020B0604020202020204" pitchFamily="34" charset="0"/>
                        </a:rPr>
                        <a:t>36.0</a:t>
                      </a:r>
                    </a:p>
                  </a:txBody>
                  <a:tcPr marL="143351" marR="143351" marT="71675" marB="716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CDFE6"/>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200" noProof="0" dirty="0">
                          <a:solidFill>
                            <a:schemeClr val="tx1"/>
                          </a:solidFill>
                          <a:latin typeface="+mn-lt"/>
                          <a:cs typeface="Arial" panose="020B0604020202020204" pitchFamily="34" charset="0"/>
                        </a:rPr>
                        <a:t>22.0</a:t>
                      </a:r>
                    </a:p>
                  </a:txBody>
                  <a:tcPr marL="143351" marR="143351" marT="71675" marB="716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alpha val="18039"/>
                      </a:srgbClr>
                    </a:solidFill>
                  </a:tcPr>
                </a:tc>
                <a:extLst>
                  <a:ext uri="{0D108BD9-81ED-4DB2-BD59-A6C34878D82A}">
                    <a16:rowId xmlns:a16="http://schemas.microsoft.com/office/drawing/2014/main" val="10001"/>
                  </a:ext>
                </a:extLst>
              </a:tr>
              <a:tr h="5760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en-US" sz="1200" b="1" noProof="0" dirty="0">
                          <a:solidFill>
                            <a:schemeClr val="tx1"/>
                          </a:solidFill>
                          <a:latin typeface="+mn-lt"/>
                        </a:rPr>
                        <a:t>PFS rates at</a:t>
                      </a:r>
                      <a:br>
                        <a:rPr lang="en-US" sz="1200" b="1" noProof="0" dirty="0">
                          <a:solidFill>
                            <a:schemeClr val="tx1"/>
                          </a:solidFill>
                          <a:latin typeface="+mn-lt"/>
                        </a:rPr>
                      </a:br>
                      <a:r>
                        <a:rPr lang="en-US" sz="1200" b="1" noProof="0" dirty="0">
                          <a:solidFill>
                            <a:schemeClr val="tx1"/>
                          </a:solidFill>
                          <a:latin typeface="+mn-lt"/>
                        </a:rPr>
                        <a:t>12 months</a:t>
                      </a:r>
                      <a:r>
                        <a:rPr lang="en-US" sz="1200" b="0" noProof="0" dirty="0">
                          <a:solidFill>
                            <a:schemeClr val="tx1"/>
                          </a:solidFill>
                          <a:latin typeface="+mn-lt"/>
                        </a:rPr>
                        <a:t>, %</a:t>
                      </a:r>
                    </a:p>
                  </a:txBody>
                  <a:tcPr marL="107513" marR="107513" marT="71675" marB="716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200" noProof="0" dirty="0">
                          <a:solidFill>
                            <a:schemeClr val="tx1"/>
                          </a:solidFill>
                          <a:latin typeface="+mn-lt"/>
                        </a:rPr>
                        <a:t>88</a:t>
                      </a:r>
                      <a:endParaRPr lang="en-US" sz="1200" b="0" noProof="0" dirty="0">
                        <a:solidFill>
                          <a:schemeClr val="tx1"/>
                        </a:solidFill>
                        <a:latin typeface="+mn-lt"/>
                      </a:endParaRPr>
                    </a:p>
                  </a:txBody>
                  <a:tcPr marL="107513" marR="107513" marT="71675" marB="716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CDFE6"/>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200" noProof="0" dirty="0">
                          <a:solidFill>
                            <a:schemeClr val="tx1"/>
                          </a:solidFill>
                          <a:latin typeface="+mn-lt"/>
                        </a:rPr>
                        <a:t>71</a:t>
                      </a:r>
                      <a:endParaRPr lang="en-US" sz="1200" b="0" noProof="0" dirty="0">
                        <a:solidFill>
                          <a:schemeClr val="tx1"/>
                        </a:solidFill>
                        <a:latin typeface="+mn-lt"/>
                      </a:endParaRPr>
                    </a:p>
                  </a:txBody>
                  <a:tcPr marL="107513" marR="107513" marT="71675" marB="716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alpha val="18039"/>
                      </a:srgbClr>
                    </a:solidFill>
                  </a:tcPr>
                </a:tc>
                <a:extLst>
                  <a:ext uri="{0D108BD9-81ED-4DB2-BD59-A6C34878D82A}">
                    <a16:rowId xmlns:a16="http://schemas.microsoft.com/office/drawing/2014/main" val="10002"/>
                  </a:ext>
                </a:extLst>
              </a:tr>
              <a:tr h="57600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a:r>
                        <a:rPr lang="en-US" sz="1200" b="1" noProof="0" dirty="0">
                          <a:solidFill>
                            <a:schemeClr val="tx1"/>
                          </a:solidFill>
                          <a:latin typeface="+mn-lt"/>
                        </a:rPr>
                        <a:t>PFS rates at</a:t>
                      </a:r>
                      <a:br>
                        <a:rPr lang="en-US" sz="1200" b="1" noProof="0" dirty="0">
                          <a:solidFill>
                            <a:schemeClr val="tx1"/>
                          </a:solidFill>
                          <a:latin typeface="+mn-lt"/>
                        </a:rPr>
                      </a:br>
                      <a:r>
                        <a:rPr lang="en-US" sz="1200" b="1" noProof="0" dirty="0">
                          <a:solidFill>
                            <a:schemeClr val="tx1"/>
                          </a:solidFill>
                          <a:latin typeface="+mn-lt"/>
                        </a:rPr>
                        <a:t>24 months</a:t>
                      </a:r>
                      <a:r>
                        <a:rPr lang="en-US" sz="1200" b="0" noProof="0" dirty="0">
                          <a:solidFill>
                            <a:schemeClr val="tx1"/>
                          </a:solidFill>
                          <a:latin typeface="+mn-lt"/>
                        </a:rPr>
                        <a:t>, %</a:t>
                      </a:r>
                    </a:p>
                  </a:txBody>
                  <a:tcPr marL="107513" marR="107513" marT="71675" marB="716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noProof="0" dirty="0">
                          <a:solidFill>
                            <a:schemeClr val="tx1"/>
                          </a:solidFill>
                          <a:latin typeface="+mn-lt"/>
                        </a:rPr>
                        <a:t>58</a:t>
                      </a:r>
                    </a:p>
                  </a:txBody>
                  <a:tcPr marL="107513" marR="107513" marT="71675" marB="716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3F4444"/>
                      </a:solidFill>
                      <a:prstDash val="solid"/>
                      <a:round/>
                      <a:headEnd type="none" w="med" len="med"/>
                      <a:tailEnd type="none" w="med" len="med"/>
                    </a:lnB>
                    <a:lnTlToBr w="12700" cmpd="sng">
                      <a:noFill/>
                      <a:prstDash val="solid"/>
                    </a:lnTlToBr>
                    <a:lnBlToTr w="12700" cmpd="sng">
                      <a:noFill/>
                      <a:prstDash val="solid"/>
                    </a:lnBlToTr>
                    <a:solidFill>
                      <a:srgbClr val="ECDF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noProof="0" dirty="0">
                          <a:solidFill>
                            <a:schemeClr val="tx1"/>
                          </a:solidFill>
                          <a:latin typeface="+mn-lt"/>
                        </a:rPr>
                        <a:t>47</a:t>
                      </a:r>
                    </a:p>
                  </a:txBody>
                  <a:tcPr marL="107513" marR="107513" marT="71675" marB="716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3F4444"/>
                      </a:solidFill>
                      <a:prstDash val="solid"/>
                      <a:round/>
                      <a:headEnd type="none" w="med" len="med"/>
                      <a:tailEnd type="none" w="med" len="med"/>
                    </a:lnB>
                    <a:lnTlToBr w="12700" cmpd="sng">
                      <a:noFill/>
                      <a:prstDash val="solid"/>
                    </a:lnTlToBr>
                    <a:lnBlToTr w="12700" cmpd="sng">
                      <a:noFill/>
                      <a:prstDash val="solid"/>
                    </a:lnBlToTr>
                    <a:solidFill>
                      <a:srgbClr val="FFC000">
                        <a:alpha val="18039"/>
                      </a:srgbClr>
                    </a:solidFill>
                  </a:tcPr>
                </a:tc>
                <a:extLst>
                  <a:ext uri="{0D108BD9-81ED-4DB2-BD59-A6C34878D82A}">
                    <a16:rowId xmlns:a16="http://schemas.microsoft.com/office/drawing/2014/main" val="1269499089"/>
                  </a:ext>
                </a:extLst>
              </a:tr>
              <a:tr h="61416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1200" b="0" noProof="0" dirty="0">
                        <a:solidFill>
                          <a:schemeClr val="tx1"/>
                        </a:solidFill>
                        <a:latin typeface="+mn-lt"/>
                      </a:endParaRPr>
                    </a:p>
                  </a:txBody>
                  <a:tcPr marL="107513" marR="107513" marT="71675" marB="71675" anchor="ctr">
                    <a:lnL w="12700" cap="flat" cmpd="sng" algn="ctr">
                      <a:solidFill>
                        <a:srgbClr val="FFFFFF"/>
                      </a:solidFill>
                      <a:prstDash val="solid"/>
                      <a:round/>
                      <a:headEnd type="none" w="med" len="med"/>
                      <a:tailEnd type="none" w="med" len="med"/>
                    </a:lnL>
                    <a:lnR w="12700" cap="flat" cmpd="sng" algn="ctr">
                      <a:solidFill>
                        <a:srgbClr val="3F444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b="1" noProof="0" dirty="0">
                          <a:solidFill>
                            <a:schemeClr val="tx1"/>
                          </a:solidFill>
                          <a:latin typeface="+mn-lt"/>
                        </a:rPr>
                        <a:t>HR 0.57</a:t>
                      </a:r>
                      <a:br>
                        <a:rPr lang="en-US" sz="1200" noProof="0" dirty="0">
                          <a:solidFill>
                            <a:schemeClr val="tx1"/>
                          </a:solidFill>
                          <a:latin typeface="+mn-lt"/>
                        </a:rPr>
                      </a:br>
                      <a:r>
                        <a:rPr lang="en-US" sz="1200" noProof="0" dirty="0">
                          <a:solidFill>
                            <a:schemeClr val="tx1"/>
                          </a:solidFill>
                          <a:latin typeface="+mn-lt"/>
                        </a:rPr>
                        <a:t>(95% CI, 0.41–0.79)</a:t>
                      </a:r>
                      <a:endParaRPr lang="en-US" sz="1200" b="1" noProof="0" dirty="0">
                        <a:solidFill>
                          <a:schemeClr val="tx1"/>
                        </a:solidFill>
                        <a:latin typeface="+mn-lt"/>
                        <a:cs typeface="Arial" charset="0"/>
                      </a:endParaRPr>
                    </a:p>
                  </a:txBody>
                  <a:tcPr marL="107513" marR="107513" marT="71675" marB="71675" anchor="ctr">
                    <a:lnL w="12700" cap="flat" cmpd="sng" algn="ctr">
                      <a:solidFill>
                        <a:srgbClr val="3F4444"/>
                      </a:solidFill>
                      <a:prstDash val="solid"/>
                      <a:round/>
                      <a:headEnd type="none" w="med" len="med"/>
                      <a:tailEnd type="none" w="med" len="med"/>
                    </a:lnL>
                    <a:lnR w="12700" cap="flat" cmpd="sng" algn="ctr">
                      <a:solidFill>
                        <a:srgbClr val="3F4444"/>
                      </a:solidFill>
                      <a:prstDash val="solid"/>
                      <a:round/>
                      <a:headEnd type="none" w="med" len="med"/>
                      <a:tailEnd type="none" w="med" len="med"/>
                    </a:lnR>
                    <a:lnT w="12700" cap="flat" cmpd="sng" algn="ctr">
                      <a:solidFill>
                        <a:srgbClr val="3F4444"/>
                      </a:solidFill>
                      <a:prstDash val="solid"/>
                      <a:round/>
                      <a:headEnd type="none" w="med" len="med"/>
                      <a:tailEnd type="none" w="med" len="med"/>
                    </a:lnT>
                    <a:lnB w="12700" cap="flat" cmpd="sng" algn="ctr">
                      <a:solidFill>
                        <a:srgbClr val="3F444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GB" sz="900" b="0">
                        <a:solidFill>
                          <a:schemeClr val="tx1">
                            <a:lumMod val="50000"/>
                            <a:lumOff val="50000"/>
                          </a:schemeClr>
                        </a:solidFill>
                      </a:endParaRPr>
                    </a:p>
                  </a:txBody>
                  <a:tcPr marT="60960" marB="60960" anchor="ctr">
                    <a:solidFill>
                      <a:srgbClr val="7AB800">
                        <a:alpha val="50196"/>
                      </a:srgbClr>
                    </a:solidFill>
                  </a:tcPr>
                </a:tc>
                <a:extLst>
                  <a:ext uri="{0D108BD9-81ED-4DB2-BD59-A6C34878D82A}">
                    <a16:rowId xmlns:a16="http://schemas.microsoft.com/office/drawing/2014/main" val="10003"/>
                  </a:ext>
                </a:extLst>
              </a:tr>
            </a:tbl>
          </a:graphicData>
        </a:graphic>
      </p:graphicFrame>
      <p:sp>
        <p:nvSpPr>
          <p:cNvPr id="139" name="Rectangle: Diagonal Corners Rounded 138">
            <a:extLst>
              <a:ext uri="{FF2B5EF4-FFF2-40B4-BE49-F238E27FC236}">
                <a16:creationId xmlns:a16="http://schemas.microsoft.com/office/drawing/2014/main" id="{96B2C59E-841D-9367-5FEA-08EF0ECB5FED}"/>
              </a:ext>
            </a:extLst>
          </p:cNvPr>
          <p:cNvSpPr/>
          <p:nvPr/>
        </p:nvSpPr>
        <p:spPr bwMode="auto">
          <a:xfrm>
            <a:off x="8902749" y="2488268"/>
            <a:ext cx="1115632" cy="610437"/>
          </a:xfrm>
          <a:prstGeom prst="round2DiagRect">
            <a:avLst/>
          </a:prstGeom>
          <a:solidFill>
            <a:srgbClr val="830051"/>
          </a:solidFill>
          <a:ln w="12700" cap="flat" cmpd="sng" algn="ctr">
            <a:solidFill>
              <a:srgbClr val="FFFFFF"/>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panose="020B0604020202020204"/>
                <a:ea typeface="+mn-ea"/>
                <a:cs typeface="+mn-cs"/>
              </a:rPr>
              <a:t>Olaparib + bevacizumab </a:t>
            </a: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mn-cs"/>
              </a:rPr>
              <a:t>(ESS=164)</a:t>
            </a:r>
          </a:p>
        </p:txBody>
      </p:sp>
      <p:sp>
        <p:nvSpPr>
          <p:cNvPr id="140" name="Rectangle: Diagonal Corners Rounded 139">
            <a:extLst>
              <a:ext uri="{FF2B5EF4-FFF2-40B4-BE49-F238E27FC236}">
                <a16:creationId xmlns:a16="http://schemas.microsoft.com/office/drawing/2014/main" id="{C1122AF9-6C3A-FF9F-F63E-DE54E475A5E7}"/>
              </a:ext>
            </a:extLst>
          </p:cNvPr>
          <p:cNvSpPr/>
          <p:nvPr/>
        </p:nvSpPr>
        <p:spPr bwMode="auto">
          <a:xfrm>
            <a:off x="10038672" y="2488268"/>
            <a:ext cx="1055320" cy="610437"/>
          </a:xfrm>
          <a:prstGeom prst="round2DiagRect">
            <a:avLst/>
          </a:prstGeom>
          <a:solidFill>
            <a:srgbClr val="FFC000"/>
          </a:solidFill>
          <a:ln w="12700" cap="flat" cmpd="sng" algn="ctr">
            <a:solidFill>
              <a:srgbClr val="FFFFFF"/>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251607"/>
                </a:solidFill>
                <a:effectLst/>
                <a:uLnTx/>
                <a:uFillTx/>
                <a:latin typeface="Arial" panose="020B0604020202020204"/>
                <a:ea typeface="+mn-ea"/>
                <a:cs typeface="+mn-cs"/>
              </a:rPr>
              <a:t>Niraparib</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51607"/>
                </a:solidFill>
                <a:effectLst/>
                <a:uLnTx/>
                <a:uFillTx/>
                <a:latin typeface="Arial" panose="020B0604020202020204"/>
                <a:ea typeface="+mn-ea"/>
                <a:cs typeface="+mn-cs"/>
              </a:rPr>
              <a:t>(n=247)</a:t>
            </a:r>
          </a:p>
        </p:txBody>
      </p:sp>
      <p:sp>
        <p:nvSpPr>
          <p:cNvPr id="141" name="Rectangle: Diagonal Corners Rounded 140">
            <a:extLst>
              <a:ext uri="{FF2B5EF4-FFF2-40B4-BE49-F238E27FC236}">
                <a16:creationId xmlns:a16="http://schemas.microsoft.com/office/drawing/2014/main" id="{4B10F171-4D39-36DF-D13B-83360AD20283}"/>
              </a:ext>
            </a:extLst>
          </p:cNvPr>
          <p:cNvSpPr/>
          <p:nvPr/>
        </p:nvSpPr>
        <p:spPr bwMode="auto">
          <a:xfrm>
            <a:off x="8902749" y="1982612"/>
            <a:ext cx="1115632" cy="461665"/>
          </a:xfrm>
          <a:prstGeom prst="round2DiagRect">
            <a:avLst/>
          </a:prstGeom>
          <a:solidFill>
            <a:srgbClr val="3F4444">
              <a:lumMod val="20000"/>
              <a:lumOff val="80000"/>
            </a:srgbClr>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191B1B"/>
                </a:solidFill>
                <a:effectLst/>
                <a:uLnTx/>
                <a:uFillTx/>
                <a:latin typeface="Arial" panose="020B0604020202020204"/>
                <a:ea typeface="+mn-ea"/>
                <a:cs typeface="+mn-cs"/>
              </a:rPr>
              <a:t>PAOLA-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91B1B"/>
                </a:solidFill>
                <a:effectLst/>
                <a:uLnTx/>
                <a:uFillTx/>
                <a:latin typeface="Arial" panose="020B0604020202020204"/>
                <a:ea typeface="+mn-ea"/>
                <a:cs typeface="+mn-cs"/>
              </a:rPr>
              <a:t>(PRIMA-eligible subset)</a:t>
            </a:r>
            <a:r>
              <a:rPr kumimoji="0" lang="en-US" sz="800" b="1" i="0" u="none" strike="noStrike" kern="0" cap="none" spc="0" normalizeH="0" baseline="30000" noProof="0" dirty="0">
                <a:ln>
                  <a:noFill/>
                </a:ln>
                <a:solidFill>
                  <a:srgbClr val="191B1B"/>
                </a:solidFill>
                <a:effectLst/>
                <a:uLnTx/>
                <a:uFillTx/>
                <a:latin typeface="Arial" panose="020B0604020202020204"/>
                <a:ea typeface="+mn-ea"/>
                <a:cs typeface="+mn-cs"/>
              </a:rPr>
              <a:t>b</a:t>
            </a:r>
            <a:endParaRPr kumimoji="0" lang="en-US" sz="800" b="1" i="0" u="none" strike="noStrike" kern="0" cap="none" spc="0" normalizeH="0" baseline="0" noProof="0" dirty="0">
              <a:ln>
                <a:noFill/>
              </a:ln>
              <a:solidFill>
                <a:srgbClr val="191B1B"/>
              </a:solidFill>
              <a:effectLst/>
              <a:uLnTx/>
              <a:uFillTx/>
              <a:latin typeface="Arial" panose="020B0604020202020204"/>
              <a:ea typeface="+mn-ea"/>
              <a:cs typeface="+mn-cs"/>
            </a:endParaRPr>
          </a:p>
        </p:txBody>
      </p:sp>
      <p:sp>
        <p:nvSpPr>
          <p:cNvPr id="142" name="Rectangle: Diagonal Corners Rounded 141">
            <a:extLst>
              <a:ext uri="{FF2B5EF4-FFF2-40B4-BE49-F238E27FC236}">
                <a16:creationId xmlns:a16="http://schemas.microsoft.com/office/drawing/2014/main" id="{1B92A613-10BD-65B0-A2D5-AE3CB41A0104}"/>
              </a:ext>
            </a:extLst>
          </p:cNvPr>
          <p:cNvSpPr/>
          <p:nvPr/>
        </p:nvSpPr>
        <p:spPr bwMode="auto">
          <a:xfrm>
            <a:off x="10038673" y="1982612"/>
            <a:ext cx="1037107" cy="461665"/>
          </a:xfrm>
          <a:prstGeom prst="round2DiagRect">
            <a:avLst/>
          </a:prstGeom>
          <a:solidFill>
            <a:srgbClr val="3F4444">
              <a:lumMod val="20000"/>
              <a:lumOff val="80000"/>
            </a:srgbClr>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191B1B"/>
                </a:solidFill>
                <a:effectLst/>
                <a:uLnTx/>
                <a:uFillTx/>
                <a:latin typeface="Arial" panose="020B0604020202020204"/>
                <a:ea typeface="+mn-ea"/>
                <a:cs typeface="+mn-cs"/>
              </a:rPr>
              <a:t>PRIMA</a:t>
            </a:r>
          </a:p>
        </p:txBody>
      </p:sp>
      <p:sp>
        <p:nvSpPr>
          <p:cNvPr id="143" name="TextBox 142">
            <a:extLst>
              <a:ext uri="{FF2B5EF4-FFF2-40B4-BE49-F238E27FC236}">
                <a16:creationId xmlns:a16="http://schemas.microsoft.com/office/drawing/2014/main" id="{6B0D8D56-D054-67AB-0C50-96BF776B7623}"/>
              </a:ext>
            </a:extLst>
          </p:cNvPr>
          <p:cNvSpPr txBox="1"/>
          <p:nvPr/>
        </p:nvSpPr>
        <p:spPr>
          <a:xfrm>
            <a:off x="357434" y="1548891"/>
            <a:ext cx="11817589" cy="307777"/>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565"/>
                </a:solidFill>
                <a:effectLst/>
                <a:uLnTx/>
                <a:uFillTx/>
                <a:latin typeface="Arial" panose="020B0604020202020204"/>
                <a:ea typeface="+mn-ea"/>
                <a:cs typeface="+mn-cs"/>
              </a:rPr>
              <a:t>The PAOLA-1 cohort that was eligible for PRIMA was adjusted to match the baseline characteristics of the PRIMA patient population </a:t>
            </a:r>
          </a:p>
        </p:txBody>
      </p:sp>
      <p:sp>
        <p:nvSpPr>
          <p:cNvPr id="6" name="Text Placeholder 3">
            <a:extLst>
              <a:ext uri="{FF2B5EF4-FFF2-40B4-BE49-F238E27FC236}">
                <a16:creationId xmlns:a16="http://schemas.microsoft.com/office/drawing/2014/main" id="{ACB1E4A3-B227-1C3C-36D6-5746C071875A}"/>
              </a:ext>
            </a:extLst>
          </p:cNvPr>
          <p:cNvSpPr txBox="1">
            <a:spLocks/>
          </p:cNvSpPr>
          <p:nvPr/>
        </p:nvSpPr>
        <p:spPr>
          <a:xfrm>
            <a:off x="357434" y="6092350"/>
            <a:ext cx="11356031" cy="765652"/>
          </a:xfrm>
          <a:prstGeom prst="rect">
            <a:avLst/>
          </a:prstGeom>
        </p:spPr>
        <p:txBody>
          <a:bodyPr anchor="b"/>
          <a:lstStyle>
            <a:lvl1pPr marL="0" indent="0" algn="l" defTabSz="914400" rtl="0" eaLnBrk="1" latinLnBrk="0" hangingPunct="1">
              <a:lnSpc>
                <a:spcPct val="90000"/>
              </a:lnSpc>
              <a:spcBef>
                <a:spcPts val="0"/>
              </a:spcBef>
              <a:buFont typeface="Arial" panose="020B0604020202020204" pitchFamily="34" charset="0"/>
              <a:buNone/>
              <a:defRPr sz="1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PAOLA-1 results based on individual patient data with outcomes weighted after matching FIGO stage, ECOG PS status, age, response to first-line chemotherapy, </a:t>
            </a:r>
            <a:b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br>
            <a:r>
              <a:rPr kumimoji="0" lang="en-US" sz="851" b="0" i="1" u="none" strike="noStrike" kern="1200" cap="none" spc="0" normalizeH="0" baseline="0" noProof="0" dirty="0" err="1">
                <a:ln>
                  <a:noFill/>
                </a:ln>
                <a:solidFill>
                  <a:srgbClr val="251607"/>
                </a:solidFill>
                <a:effectLst/>
                <a:uLnTx/>
                <a:uFillTx/>
                <a:latin typeface="Arial" panose="020B0604020202020204"/>
                <a:ea typeface="+mn-ea"/>
                <a:cs typeface="+mn-cs"/>
              </a:rPr>
              <a:t>BRCA</a:t>
            </a: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m</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status, HRD status, CA-125 levels and use of NACT to the PRIMA baseline characteristics. PRIMA dataset was reconstructed using published PFS curves.</a:t>
            </a:r>
            <a:r>
              <a:rPr kumimoji="0" lang="en-US" sz="851" b="0" i="0" u="none" strike="noStrike" kern="1200" cap="none" spc="0" normalizeH="0" baseline="30000" noProof="0" dirty="0">
                <a:ln>
                  <a:noFill/>
                </a:ln>
                <a:solidFill>
                  <a:srgbClr val="251607"/>
                </a:solidFill>
                <a:effectLst/>
                <a:uLnTx/>
                <a:uFillTx/>
                <a:latin typeface="Arial" panose="020B0604020202020204"/>
                <a:ea typeface="+mn-ea"/>
                <a:cs typeface="+mn-cs"/>
              </a:rPr>
              <a:t>1</a:t>
            </a:r>
          </a:p>
          <a:p>
            <a:pPr marL="0" marR="0" lvl="0" indent="0" algn="l" defTabSz="914377"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851" b="0" i="0" u="none" strike="noStrike" kern="1200" cap="none" spc="0" normalizeH="0" baseline="30000" noProof="0" dirty="0" err="1">
                <a:ln>
                  <a:noFill/>
                </a:ln>
                <a:solidFill>
                  <a:srgbClr val="251607"/>
                </a:solidFill>
                <a:effectLst/>
                <a:uLnTx/>
                <a:uFillTx/>
                <a:latin typeface="Arial" panose="020B0604020202020204"/>
                <a:ea typeface="+mn-ea"/>
                <a:cs typeface="+mn-cs"/>
              </a:rPr>
              <a:t>a</a:t>
            </a: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HRD</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positive defined as </a:t>
            </a:r>
            <a:r>
              <a:rPr kumimoji="0" lang="en-US" sz="851" b="0" i="1" u="none" strike="noStrike" kern="1200" cap="none" spc="0" normalizeH="0" baseline="0" noProof="0" dirty="0" err="1">
                <a:ln>
                  <a:noFill/>
                </a:ln>
                <a:solidFill>
                  <a:srgbClr val="251607"/>
                </a:solidFill>
                <a:effectLst/>
                <a:uLnTx/>
                <a:uFillTx/>
                <a:latin typeface="Arial" panose="020B0604020202020204"/>
                <a:ea typeface="+mn-ea"/>
                <a:cs typeface="+mn-cs"/>
              </a:rPr>
              <a:t>BRCA</a:t>
            </a: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m</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and/or genomic instability score ≥42 in the Myriad </a:t>
            </a: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myChoice</a:t>
            </a:r>
            <a:r>
              <a:rPr kumimoji="0" lang="en-US" sz="851" b="0" i="0" u="none" strike="noStrike" kern="1200" cap="none" spc="0" normalizeH="0" baseline="30000" noProof="0" dirty="0">
                <a:ln>
                  <a:noFill/>
                </a:ln>
                <a:solidFill>
                  <a:srgbClr val="251607"/>
                </a:solidFill>
                <a:effectLst/>
                <a:uLnTx/>
                <a:uFillTx/>
                <a:latin typeface="Arial" panose="020B0604020202020204"/>
                <a:ea typeface="+mn-ea"/>
                <a:cs typeface="+mn-cs"/>
              </a:rPr>
              <a:t>®</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a:t>
            </a: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CDx</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assay.</a:t>
            </a:r>
            <a:r>
              <a:rPr kumimoji="0" lang="en-US" sz="851" b="0" i="0" u="none" strike="noStrike" kern="1200" cap="none" spc="0" normalizeH="0" baseline="30000" noProof="0" dirty="0">
                <a:ln>
                  <a:noFill/>
                </a:ln>
                <a:solidFill>
                  <a:srgbClr val="251607"/>
                </a:solidFill>
                <a:effectLst/>
                <a:uLnTx/>
                <a:uFillTx/>
                <a:latin typeface="Arial" panose="020B0604020202020204"/>
                <a:ea typeface="+mn-ea"/>
                <a:cs typeface="+mn-cs"/>
              </a:rPr>
              <a:t>2,3</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a:t>
            </a:r>
            <a:b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br>
            <a:r>
              <a:rPr kumimoji="0" lang="en-US" sz="851" b="0" i="0" u="none" strike="noStrike" kern="1200" cap="none" spc="0" normalizeH="0" baseline="30000" noProof="0" dirty="0" err="1">
                <a:ln>
                  <a:noFill/>
                </a:ln>
                <a:solidFill>
                  <a:srgbClr val="251607"/>
                </a:solidFill>
                <a:effectLst/>
                <a:uLnTx/>
                <a:uFillTx/>
                <a:latin typeface="Arial" panose="020B0604020202020204"/>
                <a:ea typeface="+mn-ea"/>
                <a:cs typeface="+mn-cs"/>
              </a:rPr>
              <a:t>b</a:t>
            </a: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Patients</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with stage IV disease, stage III with residual disease after primary debulking surgery, inoperable stage III disease, or stage III who received NACT.</a:t>
            </a:r>
            <a:r>
              <a:rPr kumimoji="0" lang="en-US" sz="851" b="0" i="0" u="none" strike="noStrike" kern="1200" cap="none" spc="0" normalizeH="0" baseline="30000" noProof="0" dirty="0">
                <a:ln>
                  <a:noFill/>
                </a:ln>
                <a:solidFill>
                  <a:srgbClr val="251607"/>
                </a:solidFill>
                <a:effectLst/>
                <a:uLnTx/>
                <a:uFillTx/>
                <a:latin typeface="Arial" panose="020B0604020202020204"/>
                <a:ea typeface="+mn-ea"/>
                <a:cs typeface="+mn-cs"/>
              </a:rPr>
              <a:t>1</a:t>
            </a:r>
          </a:p>
          <a:p>
            <a:pPr marL="0" marR="0" lvl="0" indent="0" algn="l" defTabSz="914377"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851" b="0" i="1" u="none" strike="noStrike" kern="1200" cap="none" spc="0" normalizeH="0" baseline="0" noProof="0" dirty="0" err="1">
                <a:ln>
                  <a:noFill/>
                </a:ln>
                <a:solidFill>
                  <a:srgbClr val="251607"/>
                </a:solidFill>
                <a:effectLst/>
                <a:uLnTx/>
                <a:uFillTx/>
                <a:latin typeface="Arial" panose="020B0604020202020204"/>
                <a:ea typeface="+mn-ea"/>
                <a:cs typeface="+mn-cs"/>
              </a:rPr>
              <a:t>BRCA</a:t>
            </a: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m</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a:t>
            </a:r>
            <a:r>
              <a:rPr kumimoji="0" lang="en-US" sz="851" b="0" i="1" u="none" strike="noStrike" kern="1200" cap="none" spc="0" normalizeH="0" baseline="0" noProof="0" dirty="0">
                <a:ln>
                  <a:noFill/>
                </a:ln>
                <a:solidFill>
                  <a:srgbClr val="251607"/>
                </a:solidFill>
                <a:effectLst/>
                <a:uLnTx/>
                <a:uFillTx/>
                <a:latin typeface="Arial" panose="020B0604020202020204"/>
                <a:ea typeface="+mn-ea"/>
                <a:cs typeface="+mn-cs"/>
              </a:rPr>
              <a:t>BRCA</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mutated; CA-125, cancer antigen-125; </a:t>
            </a: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CDx</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companion diagnostic; CI, confidence interval; ECOG PS, Eastern Cooperative Oncology Group performance status; ESS, effective sample size; </a:t>
            </a:r>
            <a:b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b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FIGO, International Federation of </a:t>
            </a: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Gynaecology</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and Obstetrics; HR, hazard ratio; HRD, homologous recombination deficiency; NACT, neoadjuvant chemotherapy; PFS, progression-free survival.</a:t>
            </a:r>
            <a:endParaRPr kumimoji="0" lang="en-US" sz="851" b="0" i="0" u="none" strike="noStrike" kern="1200" cap="none" spc="0" normalizeH="0" baseline="30000" noProof="0" dirty="0">
              <a:ln>
                <a:noFill/>
              </a:ln>
              <a:solidFill>
                <a:srgbClr val="251607"/>
              </a:solidFill>
              <a:effectLst/>
              <a:uLnTx/>
              <a:uFillTx/>
              <a:latin typeface="Arial" panose="020B0604020202020204"/>
              <a:ea typeface="+mn-ea"/>
              <a:cs typeface="+mn-cs"/>
            </a:endParaRPr>
          </a:p>
          <a:p>
            <a:pPr marL="0" marR="0" lvl="0" indent="0" algn="l" defTabSz="914377"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1. Hettle R, et al. </a:t>
            </a:r>
            <a:r>
              <a:rPr kumimoji="0" lang="en-US" sz="851" b="0" i="1" u="none" strike="noStrike" kern="1200" cap="none" spc="0" normalizeH="0" baseline="0" noProof="0" dirty="0">
                <a:ln>
                  <a:noFill/>
                </a:ln>
                <a:solidFill>
                  <a:srgbClr val="251607"/>
                </a:solidFill>
                <a:effectLst/>
                <a:uLnTx/>
                <a:uFillTx/>
                <a:latin typeface="Arial" panose="020B0604020202020204"/>
                <a:ea typeface="+mn-ea"/>
                <a:cs typeface="+mn-cs"/>
              </a:rPr>
              <a:t>Ther Adv Med Oncol</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2021;13:17588359211049639; 2. Ray-Coquard I, et al. </a:t>
            </a:r>
            <a:r>
              <a:rPr kumimoji="0" lang="en-US" sz="851" b="0" i="1" u="none" strike="noStrike" kern="1200" cap="none" spc="0" normalizeH="0" baseline="0" noProof="0" dirty="0">
                <a:ln>
                  <a:noFill/>
                </a:ln>
                <a:solidFill>
                  <a:srgbClr val="251607"/>
                </a:solidFill>
                <a:effectLst/>
                <a:uLnTx/>
                <a:uFillTx/>
                <a:latin typeface="Arial" panose="020B0604020202020204"/>
                <a:ea typeface="+mn-ea"/>
                <a:cs typeface="+mn-cs"/>
              </a:rPr>
              <a:t>N Engl J Med</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2019;381:2146–28; 3. González-Martín A, et al. </a:t>
            </a:r>
            <a:r>
              <a:rPr kumimoji="0" lang="en-US" sz="851" b="0" i="1" u="none" strike="noStrike" kern="1200" cap="none" spc="0" normalizeH="0" baseline="0" noProof="0" dirty="0">
                <a:ln>
                  <a:noFill/>
                </a:ln>
                <a:solidFill>
                  <a:srgbClr val="251607"/>
                </a:solidFill>
                <a:effectLst/>
                <a:uLnTx/>
                <a:uFillTx/>
                <a:latin typeface="Arial" panose="020B0604020202020204"/>
                <a:ea typeface="+mn-ea"/>
                <a:cs typeface="+mn-cs"/>
              </a:rPr>
              <a:t>N Engl J Med. </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2019;381:2391–402.</a:t>
            </a:r>
          </a:p>
        </p:txBody>
      </p:sp>
    </p:spTree>
    <p:extLst>
      <p:ext uri="{BB962C8B-B14F-4D97-AF65-F5344CB8AC3E}">
        <p14:creationId xmlns:p14="http://schemas.microsoft.com/office/powerpoint/2010/main" val="3424185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9">
            <a:extLst>
              <a:ext uri="{FF2B5EF4-FFF2-40B4-BE49-F238E27FC236}">
                <a16:creationId xmlns:a16="http://schemas.microsoft.com/office/drawing/2014/main" id="{E59D386A-F815-53BD-968E-B66306D32527}"/>
              </a:ext>
            </a:extLst>
          </p:cNvPr>
          <p:cNvSpPr/>
          <p:nvPr/>
        </p:nvSpPr>
        <p:spPr>
          <a:xfrm>
            <a:off x="8442912" y="3536880"/>
            <a:ext cx="2061249" cy="2438400"/>
          </a:xfrm>
          <a:prstGeom prst="roundRect">
            <a:avLst/>
          </a:prstGeom>
          <a:solidFill>
            <a:schemeClr val="accent5"/>
          </a:solidFill>
          <a:ln>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object 8">
            <a:extLst>
              <a:ext uri="{FF2B5EF4-FFF2-40B4-BE49-F238E27FC236}">
                <a16:creationId xmlns:a16="http://schemas.microsoft.com/office/drawing/2014/main" id="{FB00FC4D-022C-64E3-CB08-897ECC359105}"/>
              </a:ext>
            </a:extLst>
          </p:cNvPr>
          <p:cNvSpPr/>
          <p:nvPr/>
        </p:nvSpPr>
        <p:spPr>
          <a:xfrm>
            <a:off x="1535406" y="1729275"/>
            <a:ext cx="8968753" cy="733520"/>
          </a:xfrm>
          <a:prstGeom prst="roundRect">
            <a:avLst/>
          </a:prstGeom>
          <a:solidFill>
            <a:schemeClr val="accent1"/>
          </a:solidFill>
        </p:spPr>
        <p:txBody>
          <a:bodyPr wrap="square"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panose="020B0604020202020204"/>
                <a:ea typeface="+mn-ea"/>
                <a:cs typeface="+mn-cs"/>
              </a:rPr>
              <a:t>Should we add bevacizumab?</a:t>
            </a:r>
          </a:p>
        </p:txBody>
      </p:sp>
      <p:sp>
        <p:nvSpPr>
          <p:cNvPr id="2" name="Title 1">
            <a:extLst>
              <a:ext uri="{FF2B5EF4-FFF2-40B4-BE49-F238E27FC236}">
                <a16:creationId xmlns:a16="http://schemas.microsoft.com/office/drawing/2014/main" id="{18944C17-3663-34CA-777B-52541DB93D4C}"/>
              </a:ext>
            </a:extLst>
          </p:cNvPr>
          <p:cNvSpPr>
            <a:spLocks noGrp="1"/>
          </p:cNvSpPr>
          <p:nvPr>
            <p:ph type="title"/>
          </p:nvPr>
        </p:nvSpPr>
        <p:spPr/>
        <p:txBody>
          <a:bodyPr/>
          <a:lstStyle/>
          <a:p>
            <a:r>
              <a:rPr lang="en-US" noProof="0" dirty="0"/>
              <a:t>It is recommended </a:t>
            </a:r>
            <a:r>
              <a:rPr lang="en-US" dirty="0"/>
              <a:t>that patients</a:t>
            </a:r>
            <a:r>
              <a:rPr lang="en-US" noProof="0" dirty="0"/>
              <a:t> with </a:t>
            </a:r>
            <a:r>
              <a:rPr lang="en-US" i="1" noProof="0" dirty="0" err="1"/>
              <a:t>BRCA</a:t>
            </a:r>
            <a:r>
              <a:rPr lang="en-US" noProof="0" dirty="0" err="1"/>
              <a:t>m</a:t>
            </a:r>
            <a:r>
              <a:rPr lang="en-US" noProof="0" dirty="0"/>
              <a:t> or HRD receive maintenance therapy with </a:t>
            </a:r>
            <a:r>
              <a:rPr lang="en-US" noProof="0" dirty="0" err="1"/>
              <a:t>PARPi</a:t>
            </a:r>
            <a:endParaRPr lang="en-US" noProof="0" dirty="0"/>
          </a:p>
        </p:txBody>
      </p:sp>
      <p:sp>
        <p:nvSpPr>
          <p:cNvPr id="4" name="Text Placeholder 3">
            <a:extLst>
              <a:ext uri="{FF2B5EF4-FFF2-40B4-BE49-F238E27FC236}">
                <a16:creationId xmlns:a16="http://schemas.microsoft.com/office/drawing/2014/main" id="{C6297BE5-E0B9-7AC1-F960-FF13EEC9F109}"/>
              </a:ext>
            </a:extLst>
          </p:cNvPr>
          <p:cNvSpPr>
            <a:spLocks noGrp="1"/>
          </p:cNvSpPr>
          <p:nvPr>
            <p:ph type="body" sz="quarter" idx="10"/>
          </p:nvPr>
        </p:nvSpPr>
        <p:spPr>
          <a:xfrm>
            <a:off x="243135" y="6360813"/>
            <a:ext cx="11146756" cy="420687"/>
          </a:xfrm>
        </p:spPr>
        <p:txBody>
          <a:bodyPr anchor="b"/>
          <a:lstStyle/>
          <a:p>
            <a:pPr>
              <a:spcBef>
                <a:spcPts val="200"/>
              </a:spcBef>
            </a:pPr>
            <a:r>
              <a:rPr lang="en-US" sz="851" i="1" dirty="0" err="1"/>
              <a:t>BRCA</a:t>
            </a:r>
            <a:r>
              <a:rPr lang="en-US" sz="851" dirty="0" err="1"/>
              <a:t>m</a:t>
            </a:r>
            <a:r>
              <a:rPr lang="en-US" sz="851" dirty="0"/>
              <a:t>, </a:t>
            </a:r>
            <a:r>
              <a:rPr lang="en-US" sz="851" i="1" dirty="0"/>
              <a:t>BRCA</a:t>
            </a:r>
            <a:r>
              <a:rPr lang="en-US" sz="851" dirty="0"/>
              <a:t> mutated; HRD, homologous recombination deficiency; </a:t>
            </a:r>
            <a:r>
              <a:rPr lang="en-US" sz="851" dirty="0" err="1"/>
              <a:t>PARPi</a:t>
            </a:r>
            <a:r>
              <a:rPr lang="en-US" sz="851" dirty="0"/>
              <a:t>, poly (ADP-ribose) polymerase inhibitor; QoL, quality of life.</a:t>
            </a:r>
          </a:p>
        </p:txBody>
      </p:sp>
      <p:sp>
        <p:nvSpPr>
          <p:cNvPr id="9" name="Rounded Rectangle 3">
            <a:extLst>
              <a:ext uri="{FF2B5EF4-FFF2-40B4-BE49-F238E27FC236}">
                <a16:creationId xmlns:a16="http://schemas.microsoft.com/office/drawing/2014/main" id="{01C2F5B7-68E8-9669-0596-D32768C73836}"/>
              </a:ext>
            </a:extLst>
          </p:cNvPr>
          <p:cNvSpPr/>
          <p:nvPr/>
        </p:nvSpPr>
        <p:spPr>
          <a:xfrm>
            <a:off x="1535406" y="3536880"/>
            <a:ext cx="2061249" cy="2438400"/>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ounded Rectangle 7">
            <a:extLst>
              <a:ext uri="{FF2B5EF4-FFF2-40B4-BE49-F238E27FC236}">
                <a16:creationId xmlns:a16="http://schemas.microsoft.com/office/drawing/2014/main" id="{96D6F311-EFAF-B126-9CD7-B0F348478FE5}"/>
              </a:ext>
            </a:extLst>
          </p:cNvPr>
          <p:cNvSpPr/>
          <p:nvPr/>
        </p:nvSpPr>
        <p:spPr>
          <a:xfrm>
            <a:off x="3839493" y="3536880"/>
            <a:ext cx="2061249" cy="2438400"/>
          </a:xfrm>
          <a:prstGeom prst="roundRect">
            <a:avLst/>
          </a:prstGeom>
          <a:ln>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Rounded Rectangle 8">
            <a:extLst>
              <a:ext uri="{FF2B5EF4-FFF2-40B4-BE49-F238E27FC236}">
                <a16:creationId xmlns:a16="http://schemas.microsoft.com/office/drawing/2014/main" id="{B314592A-6EE7-3223-0AD9-3BFD3FE6ED05}"/>
              </a:ext>
            </a:extLst>
          </p:cNvPr>
          <p:cNvSpPr/>
          <p:nvPr/>
        </p:nvSpPr>
        <p:spPr>
          <a:xfrm>
            <a:off x="6252316" y="3536880"/>
            <a:ext cx="1964477" cy="2438400"/>
          </a:xfrm>
          <a:prstGeom prst="roundRect">
            <a:avLst/>
          </a:prstGeom>
          <a:solidFill>
            <a:schemeClr val="accent4">
              <a:lumMod val="90000"/>
              <a:lumOff val="1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159F18FA-B51A-E35E-EFC2-2B0C0832377E}"/>
              </a:ext>
            </a:extLst>
          </p:cNvPr>
          <p:cNvSpPr txBox="1"/>
          <p:nvPr/>
        </p:nvSpPr>
        <p:spPr>
          <a:xfrm>
            <a:off x="1669509" y="3758908"/>
            <a:ext cx="1793040" cy="92333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Overall survival </a:t>
            </a:r>
            <a:b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data</a:t>
            </a:r>
          </a:p>
        </p:txBody>
      </p:sp>
      <p:pic>
        <p:nvPicPr>
          <p:cNvPr id="15" name="Graphic 77" descr="Upward trend">
            <a:extLst>
              <a:ext uri="{FF2B5EF4-FFF2-40B4-BE49-F238E27FC236}">
                <a16:creationId xmlns:a16="http://schemas.microsoft.com/office/drawing/2014/main" id="{3B7CA268-5A00-5327-3B91-27BE81BC3490}"/>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2154549" y="4959008"/>
            <a:ext cx="822960" cy="822960"/>
          </a:xfrm>
          <a:prstGeom prst="rect">
            <a:avLst/>
          </a:prstGeom>
        </p:spPr>
      </p:pic>
      <p:sp>
        <p:nvSpPr>
          <p:cNvPr id="16" name="TextBox 15">
            <a:extLst>
              <a:ext uri="{FF2B5EF4-FFF2-40B4-BE49-F238E27FC236}">
                <a16:creationId xmlns:a16="http://schemas.microsoft.com/office/drawing/2014/main" id="{32D7A9C2-C8A0-D10E-F8D5-2AF55321B2C1}"/>
              </a:ext>
            </a:extLst>
          </p:cNvPr>
          <p:cNvSpPr txBox="1"/>
          <p:nvPr/>
        </p:nvSpPr>
        <p:spPr>
          <a:xfrm>
            <a:off x="3850236" y="3716868"/>
            <a:ext cx="2061249" cy="1200329"/>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Clinical characteristics (stage and residual </a:t>
            </a:r>
            <a:r>
              <a:rPr kumimoji="0" lang="en-US" sz="1800" b="1" i="0" u="none" strike="noStrike" kern="1200" cap="none" spc="0" normalizeH="0" baseline="0" noProof="0" dirty="0" err="1">
                <a:ln>
                  <a:noFill/>
                </a:ln>
                <a:solidFill>
                  <a:srgbClr val="FFFFFF"/>
                </a:solidFill>
                <a:effectLst/>
                <a:uLnTx/>
                <a:uFillTx/>
                <a:latin typeface="Arial" panose="020B0604020202020204"/>
                <a:ea typeface="+mn-ea"/>
                <a:cs typeface="+mn-cs"/>
              </a:rPr>
              <a:t>tumour</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
        <p:nvSpPr>
          <p:cNvPr id="18" name="TextBox 17">
            <a:extLst>
              <a:ext uri="{FF2B5EF4-FFF2-40B4-BE49-F238E27FC236}">
                <a16:creationId xmlns:a16="http://schemas.microsoft.com/office/drawing/2014/main" id="{8C11BC89-1DB1-7F75-D028-3C609BA6C4DB}"/>
              </a:ext>
            </a:extLst>
          </p:cNvPr>
          <p:cNvSpPr txBox="1"/>
          <p:nvPr/>
        </p:nvSpPr>
        <p:spPr>
          <a:xfrm>
            <a:off x="6277685" y="3758909"/>
            <a:ext cx="1939108" cy="92333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Response </a:t>
            </a:r>
            <a:b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to chemotherapy</a:t>
            </a:r>
          </a:p>
        </p:txBody>
      </p:sp>
      <p:sp>
        <p:nvSpPr>
          <p:cNvPr id="20" name="TextBox 19">
            <a:extLst>
              <a:ext uri="{FF2B5EF4-FFF2-40B4-BE49-F238E27FC236}">
                <a16:creationId xmlns:a16="http://schemas.microsoft.com/office/drawing/2014/main" id="{B688EE6B-9744-ADA4-B1DA-12342EB8E86E}"/>
              </a:ext>
            </a:extLst>
          </p:cNvPr>
          <p:cNvSpPr txBox="1"/>
          <p:nvPr/>
        </p:nvSpPr>
        <p:spPr>
          <a:xfrm>
            <a:off x="8581772" y="3758908"/>
            <a:ext cx="1793040" cy="92333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Toxicity and QoL / patient preference</a:t>
            </a:r>
          </a:p>
        </p:txBody>
      </p:sp>
      <p:sp>
        <p:nvSpPr>
          <p:cNvPr id="36" name="TextBox 35">
            <a:extLst>
              <a:ext uri="{FF2B5EF4-FFF2-40B4-BE49-F238E27FC236}">
                <a16:creationId xmlns:a16="http://schemas.microsoft.com/office/drawing/2014/main" id="{AACF65F3-BA96-77F7-A92B-7272F2439F7B}"/>
              </a:ext>
            </a:extLst>
          </p:cNvPr>
          <p:cNvSpPr txBox="1"/>
          <p:nvPr/>
        </p:nvSpPr>
        <p:spPr>
          <a:xfrm>
            <a:off x="1535405" y="2991436"/>
            <a:ext cx="8968752" cy="3385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200" normalizeH="0" baseline="0" noProof="0" dirty="0">
                <a:ln>
                  <a:noFill/>
                </a:ln>
                <a:solidFill>
                  <a:srgbClr val="251607"/>
                </a:solidFill>
                <a:effectLst/>
                <a:uLnTx/>
                <a:uFillTx/>
                <a:latin typeface="Arial" panose="020B0604020202020204"/>
                <a:ea typeface="+mn-ea"/>
                <a:cs typeface="+mn-cs"/>
              </a:rPr>
              <a:t>FACTORS TO CONSIDER</a:t>
            </a:r>
          </a:p>
        </p:txBody>
      </p:sp>
      <p:pic>
        <p:nvPicPr>
          <p:cNvPr id="39" name="Graphic 38">
            <a:extLst>
              <a:ext uri="{FF2B5EF4-FFF2-40B4-BE49-F238E27FC236}">
                <a16:creationId xmlns:a16="http://schemas.microsoft.com/office/drawing/2014/main" id="{DCE0DF40-2E44-80D0-E5A4-E8D8DA4491FF}"/>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31425" y="5028379"/>
            <a:ext cx="684219" cy="684219"/>
          </a:xfrm>
          <a:prstGeom prst="rect">
            <a:avLst/>
          </a:prstGeom>
        </p:spPr>
      </p:pic>
      <p:pic>
        <p:nvPicPr>
          <p:cNvPr id="40" name="Graphic 6">
            <a:extLst>
              <a:ext uri="{FF2B5EF4-FFF2-40B4-BE49-F238E27FC236}">
                <a16:creationId xmlns:a16="http://schemas.microsoft.com/office/drawing/2014/main" id="{F24D0B4B-E4D9-EF56-3B71-839FA467D645}"/>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881817" y="5078102"/>
            <a:ext cx="584775" cy="584775"/>
          </a:xfrm>
          <a:prstGeom prst="rect">
            <a:avLst/>
          </a:prstGeom>
        </p:spPr>
      </p:pic>
      <p:pic>
        <p:nvPicPr>
          <p:cNvPr id="41" name="Picture 10" descr="OMNI® - Non-invasive breath biomarker discovery">
            <a:extLst>
              <a:ext uri="{FF2B5EF4-FFF2-40B4-BE49-F238E27FC236}">
                <a16:creationId xmlns:a16="http://schemas.microsoft.com/office/drawing/2014/main" id="{1BA37C9A-851D-AFF1-5E50-E0731A50D6B2}"/>
              </a:ext>
            </a:extLst>
          </p:cNvPr>
          <p:cNvPicPr>
            <a:picLocks noChangeAspect="1" noChangeArrowheads="1"/>
          </p:cNvPicPr>
          <p:nvPr/>
        </p:nvPicPr>
        <p:blipFill>
          <a:blip r:embed="rId5"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561727" y="5076555"/>
            <a:ext cx="587868" cy="587868"/>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0324684B-3BF6-F356-D3F4-30CF4B7F116B}"/>
              </a:ext>
            </a:extLst>
          </p:cNvPr>
          <p:cNvCxnSpPr/>
          <p:nvPr/>
        </p:nvCxnSpPr>
        <p:spPr>
          <a:xfrm>
            <a:off x="1535406" y="3352116"/>
            <a:ext cx="8839407"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790419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47B9D571-A5C5-61FC-F4AC-905DA00D0B3B}"/>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DC47EE1F-6650-FBD7-70BA-5351C2C0A037}"/>
              </a:ext>
            </a:extLst>
          </p:cNvPr>
          <p:cNvSpPr>
            <a:spLocks noGrp="1"/>
          </p:cNvSpPr>
          <p:nvPr>
            <p:ph type="ctrTitle"/>
          </p:nvPr>
        </p:nvSpPr>
        <p:spPr>
          <a:xfrm>
            <a:off x="446439" y="248436"/>
            <a:ext cx="11213020" cy="576000"/>
          </a:xfrm>
        </p:spPr>
        <p:txBody>
          <a:bodyPr/>
          <a:lstStyle/>
          <a:p>
            <a:pPr algn="ctr"/>
            <a:r>
              <a:rPr lang="en-US" dirty="0">
                <a:solidFill>
                  <a:srgbClr val="003865"/>
                </a:solidFill>
                <a:latin typeface="+mj-lt"/>
              </a:rPr>
              <a:t>OS data: </a:t>
            </a:r>
            <a:r>
              <a:rPr lang="en-US" dirty="0" err="1">
                <a:solidFill>
                  <a:srgbClr val="003865"/>
                </a:solidFill>
                <a:latin typeface="+mj-lt"/>
              </a:rPr>
              <a:t>BRCAm</a:t>
            </a:r>
            <a:endParaRPr lang="en-US" dirty="0">
              <a:solidFill>
                <a:srgbClr val="003865"/>
              </a:solidFill>
              <a:latin typeface="+mj-lt"/>
            </a:endParaRPr>
          </a:p>
        </p:txBody>
      </p:sp>
      <p:pic>
        <p:nvPicPr>
          <p:cNvPr id="4" name="Grafik 3">
            <a:extLst>
              <a:ext uri="{FF2B5EF4-FFF2-40B4-BE49-F238E27FC236}">
                <a16:creationId xmlns:a16="http://schemas.microsoft.com/office/drawing/2014/main" id="{BC37948B-B971-612A-D040-37711CC923F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 y="1208484"/>
            <a:ext cx="5918561" cy="3425001"/>
          </a:xfrm>
          <a:prstGeom prst="rect">
            <a:avLst/>
          </a:prstGeom>
          <a:ln>
            <a:noFill/>
          </a:ln>
        </p:spPr>
      </p:pic>
      <p:graphicFrame>
        <p:nvGraphicFramePr>
          <p:cNvPr id="5" name="Table 398">
            <a:extLst>
              <a:ext uri="{FF2B5EF4-FFF2-40B4-BE49-F238E27FC236}">
                <a16:creationId xmlns:a16="http://schemas.microsoft.com/office/drawing/2014/main" id="{1E2673F6-B302-417B-5254-B304461AEADF}"/>
              </a:ext>
            </a:extLst>
          </p:cNvPr>
          <p:cNvGraphicFramePr>
            <a:graphicFrameLocks noGrp="1"/>
          </p:cNvGraphicFramePr>
          <p:nvPr/>
        </p:nvGraphicFramePr>
        <p:xfrm>
          <a:off x="851263" y="2388553"/>
          <a:ext cx="2648875" cy="1289772"/>
        </p:xfrm>
        <a:graphic>
          <a:graphicData uri="http://schemas.openxmlformats.org/drawingml/2006/table">
            <a:tbl>
              <a:tblPr firstRow="1" bandRow="1">
                <a:tableStyleId>{B301B821-A1FF-4177-AEE7-76D212191A09}</a:tableStyleId>
              </a:tblPr>
              <a:tblGrid>
                <a:gridCol w="966035">
                  <a:extLst>
                    <a:ext uri="{9D8B030D-6E8A-4147-A177-3AD203B41FA5}">
                      <a16:colId xmlns:a16="http://schemas.microsoft.com/office/drawing/2014/main" val="2244434444"/>
                    </a:ext>
                  </a:extLst>
                </a:gridCol>
                <a:gridCol w="834425">
                  <a:extLst>
                    <a:ext uri="{9D8B030D-6E8A-4147-A177-3AD203B41FA5}">
                      <a16:colId xmlns:a16="http://schemas.microsoft.com/office/drawing/2014/main" val="3804996999"/>
                    </a:ext>
                  </a:extLst>
                </a:gridCol>
                <a:gridCol w="848415">
                  <a:extLst>
                    <a:ext uri="{9D8B030D-6E8A-4147-A177-3AD203B41FA5}">
                      <a16:colId xmlns:a16="http://schemas.microsoft.com/office/drawing/2014/main" val="227492736"/>
                    </a:ext>
                  </a:extLst>
                </a:gridCol>
              </a:tblGrid>
              <a:tr h="348351">
                <a:tc>
                  <a:txBody>
                    <a:bodyPr/>
                    <a:lstStyle/>
                    <a:p>
                      <a:pPr>
                        <a:lnSpc>
                          <a:spcPct val="85000"/>
                        </a:lnSpc>
                      </a:pPr>
                      <a:endParaRPr lang="en-US" sz="800" b="1" dirty="0">
                        <a:latin typeface="Arial Narrow" panose="020B0606020202030204" pitchFamily="34" charset="0"/>
                        <a:cs typeface="Arial" panose="020B0604020202020204" pitchFamily="34" charset="0"/>
                      </a:endParaRPr>
                    </a:p>
                  </a:txBody>
                  <a:tcPr marL="141085" marR="141085" marT="70543" marB="70543">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800" b="1" dirty="0">
                          <a:solidFill>
                            <a:schemeClr val="bg1"/>
                          </a:solidFill>
                          <a:latin typeface="Arial Narrow" panose="020B0606020202030204" pitchFamily="34" charset="0"/>
                          <a:cs typeface="Arial" panose="020B0604020202020204" pitchFamily="34" charset="0"/>
                        </a:rPr>
                        <a:t>Olaparib</a:t>
                      </a:r>
                      <a:br>
                        <a:rPr lang="en-US" sz="800" b="1" dirty="0">
                          <a:solidFill>
                            <a:schemeClr val="bg1"/>
                          </a:solidFill>
                          <a:latin typeface="Arial Narrow" panose="020B0606020202030204" pitchFamily="34" charset="0"/>
                          <a:cs typeface="Arial" panose="020B0604020202020204" pitchFamily="34" charset="0"/>
                        </a:rPr>
                      </a:br>
                      <a:r>
                        <a:rPr lang="en-US" sz="800" dirty="0">
                          <a:solidFill>
                            <a:schemeClr val="bg1"/>
                          </a:solidFill>
                          <a:latin typeface="Arial Narrow" panose="020B0606020202030204" pitchFamily="34" charset="0"/>
                          <a:cs typeface="Arial" panose="020B0604020202020204" pitchFamily="34" charset="0"/>
                        </a:rPr>
                        <a:t>(N=260)</a:t>
                      </a:r>
                    </a:p>
                  </a:txBody>
                  <a:tcPr marL="141085" marR="141085" marT="70543" marB="70543" anchor="ctr">
                    <a:lnL>
                      <a:noFill/>
                    </a:lnL>
                    <a:lnR>
                      <a:noFill/>
                    </a:lnR>
                    <a:lnT w="12700" cmpd="sng">
                      <a:noFill/>
                    </a:lnT>
                    <a:lnB w="12700" cmpd="sng">
                      <a:noFill/>
                    </a:lnB>
                    <a:lnTlToBr w="12700" cmpd="sng">
                      <a:noFill/>
                      <a:prstDash val="solid"/>
                    </a:lnTlToBr>
                    <a:lnBlToTr w="12700" cmpd="sng">
                      <a:noFill/>
                      <a:prstDash val="solid"/>
                    </a:lnBlToTr>
                    <a:solidFill>
                      <a:srgbClr val="830051"/>
                    </a:solidFill>
                  </a:tcPr>
                </a:tc>
                <a:tc>
                  <a:txBody>
                    <a:bodyPr/>
                    <a:lstStyle/>
                    <a:p>
                      <a:pPr algn="ctr">
                        <a:lnSpc>
                          <a:spcPct val="85000"/>
                        </a:lnSpc>
                      </a:pPr>
                      <a:r>
                        <a:rPr lang="en-US" sz="800" b="1" dirty="0">
                          <a:solidFill>
                            <a:schemeClr val="bg1"/>
                          </a:solidFill>
                          <a:latin typeface="Arial Narrow" panose="020B0606020202030204" pitchFamily="34" charset="0"/>
                          <a:cs typeface="Arial" panose="020B0604020202020204" pitchFamily="34" charset="0"/>
                        </a:rPr>
                        <a:t>Placebo</a:t>
                      </a:r>
                      <a:br>
                        <a:rPr lang="en-US" sz="800" b="1" dirty="0">
                          <a:solidFill>
                            <a:schemeClr val="bg1"/>
                          </a:solidFill>
                          <a:latin typeface="Arial Narrow" panose="020B0606020202030204" pitchFamily="34" charset="0"/>
                          <a:cs typeface="Arial" panose="020B0604020202020204" pitchFamily="34" charset="0"/>
                        </a:rPr>
                      </a:br>
                      <a:r>
                        <a:rPr lang="en-US" sz="800" dirty="0">
                          <a:solidFill>
                            <a:schemeClr val="bg1"/>
                          </a:solidFill>
                          <a:latin typeface="Arial Narrow" panose="020B0606020202030204" pitchFamily="34" charset="0"/>
                          <a:cs typeface="Arial" panose="020B0604020202020204" pitchFamily="34" charset="0"/>
                        </a:rPr>
                        <a:t>(N=131)</a:t>
                      </a:r>
                    </a:p>
                  </a:txBody>
                  <a:tcPr marL="141085" marR="141085" marT="70543" marB="70543" anchor="ctr">
                    <a:lnL>
                      <a:noFill/>
                    </a:lnL>
                    <a:lnR w="12700" cmpd="sng">
                      <a:noFill/>
                    </a:lnR>
                    <a:lnT w="12700" cmpd="sng">
                      <a:noFill/>
                    </a:lnT>
                    <a:lnB w="12700" cmpd="sng">
                      <a:noFill/>
                    </a:lnB>
                    <a:lnTlToBr w="12700" cmpd="sng">
                      <a:noFill/>
                      <a:prstDash val="solid"/>
                    </a:lnTlToBr>
                    <a:lnBlToTr w="12700" cmpd="sng">
                      <a:noFill/>
                      <a:prstDash val="solid"/>
                    </a:lnBlToTr>
                    <a:solidFill>
                      <a:srgbClr val="003865"/>
                    </a:solidFill>
                  </a:tcPr>
                </a:tc>
                <a:extLst>
                  <a:ext uri="{0D108BD9-81ED-4DB2-BD59-A6C34878D82A}">
                    <a16:rowId xmlns:a16="http://schemas.microsoft.com/office/drawing/2014/main" val="422251691"/>
                  </a:ext>
                </a:extLst>
              </a:tr>
              <a:tr h="244719">
                <a:tc>
                  <a:txBody>
                    <a:bodyPr/>
                    <a:lstStyle/>
                    <a:p>
                      <a:pPr algn="r">
                        <a:lnSpc>
                          <a:spcPct val="85000"/>
                        </a:lnSpc>
                      </a:pPr>
                      <a:r>
                        <a:rPr lang="en-US" sz="800" b="1" dirty="0">
                          <a:latin typeface="Arial Narrow" panose="020B0606020202030204" pitchFamily="34" charset="0"/>
                          <a:cs typeface="Arial" panose="020B0604020202020204" pitchFamily="34" charset="0"/>
                        </a:rPr>
                        <a:t>Events, </a:t>
                      </a:r>
                      <a:r>
                        <a:rPr lang="en-US" sz="800" b="0" dirty="0">
                          <a:latin typeface="Arial Narrow" panose="020B0606020202030204" pitchFamily="34" charset="0"/>
                          <a:cs typeface="Arial" panose="020B0604020202020204" pitchFamily="34" charset="0"/>
                        </a:rPr>
                        <a:t>n (%) </a:t>
                      </a:r>
                    </a:p>
                  </a:txBody>
                  <a:tcPr marL="141085" marR="141085" marT="70543" marB="70543">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800" dirty="0">
                          <a:latin typeface="Arial Narrow" panose="020B0606020202030204" pitchFamily="34" charset="0"/>
                          <a:cs typeface="Arial" panose="020B0604020202020204" pitchFamily="34" charset="0"/>
                        </a:rPr>
                        <a:t>84 (32.3)</a:t>
                      </a:r>
                    </a:p>
                  </a:txBody>
                  <a:tcPr marL="141085" marR="141085" marT="70543" marB="70543"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85000"/>
                        </a:lnSpc>
                      </a:pPr>
                      <a:r>
                        <a:rPr lang="en-US" sz="800" dirty="0">
                          <a:latin typeface="Arial Narrow" panose="020B0606020202030204" pitchFamily="34" charset="0"/>
                          <a:cs typeface="Arial" panose="020B0604020202020204" pitchFamily="34" charset="0"/>
                        </a:rPr>
                        <a:t>65 (49.6)</a:t>
                      </a:r>
                    </a:p>
                  </a:txBody>
                  <a:tcPr marL="141085" marR="141085" marT="70543" marB="70543"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1884274"/>
                  </a:ext>
                </a:extLst>
              </a:tr>
              <a:tr h="348351">
                <a:tc>
                  <a:txBody>
                    <a:bodyPr/>
                    <a:lstStyle/>
                    <a:p>
                      <a:pPr marL="0" algn="r" defTabSz="457200" rtl="0" eaLnBrk="1" latinLnBrk="0" hangingPunct="1">
                        <a:lnSpc>
                          <a:spcPct val="85000"/>
                        </a:lnSpc>
                      </a:pPr>
                      <a:r>
                        <a:rPr lang="en-US" sz="800" b="1" kern="1200" dirty="0">
                          <a:solidFill>
                            <a:schemeClr val="dk1"/>
                          </a:solidFill>
                          <a:latin typeface="Arial Narrow" panose="020B0606020202030204" pitchFamily="34" charset="0"/>
                          <a:ea typeface="+mn-ea"/>
                          <a:cs typeface="Arial" panose="020B0604020202020204" pitchFamily="34" charset="0"/>
                        </a:rPr>
                        <a:t>Median OS, </a:t>
                      </a:r>
                      <a:r>
                        <a:rPr lang="en-US" sz="800" b="0" kern="1200" dirty="0">
                          <a:solidFill>
                            <a:schemeClr val="dk1"/>
                          </a:solidFill>
                          <a:latin typeface="Arial Narrow" panose="020B0606020202030204" pitchFamily="34" charset="0"/>
                          <a:ea typeface="+mn-ea"/>
                          <a:cs typeface="Arial" panose="020B0604020202020204" pitchFamily="34" charset="0"/>
                        </a:rPr>
                        <a:t>months</a:t>
                      </a:r>
                    </a:p>
                  </a:txBody>
                  <a:tcPr marL="141085" marR="141085" marT="70543" marB="70543">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85000"/>
                        </a:lnSpc>
                      </a:pPr>
                      <a:r>
                        <a:rPr lang="en-US" sz="800" b="1" kern="1200" dirty="0">
                          <a:solidFill>
                            <a:schemeClr val="dk1"/>
                          </a:solidFill>
                          <a:latin typeface="Arial Narrow" panose="020B0606020202030204" pitchFamily="34" charset="0"/>
                          <a:ea typeface="+mn-ea"/>
                          <a:cs typeface="Arial" panose="020B0604020202020204" pitchFamily="34" charset="0"/>
                        </a:rPr>
                        <a:t>NR</a:t>
                      </a:r>
                      <a:endParaRPr lang="en-US" sz="800" b="1" kern="1200" baseline="30000" dirty="0">
                        <a:solidFill>
                          <a:schemeClr val="dk1"/>
                        </a:solidFill>
                        <a:latin typeface="Arial Narrow" panose="020B0606020202030204" pitchFamily="34" charset="0"/>
                        <a:ea typeface="+mn-ea"/>
                        <a:cs typeface="Arial" panose="020B0604020202020204" pitchFamily="34" charset="0"/>
                      </a:endParaRPr>
                    </a:p>
                  </a:txBody>
                  <a:tcPr marL="141085" marR="141085" marT="70543" marB="7054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lnSpc>
                          <a:spcPct val="85000"/>
                        </a:lnSpc>
                      </a:pPr>
                      <a:r>
                        <a:rPr lang="en-US" sz="800" b="1" kern="1200" dirty="0">
                          <a:solidFill>
                            <a:schemeClr val="dk1"/>
                          </a:solidFill>
                          <a:latin typeface="Arial Narrow" panose="020B0606020202030204" pitchFamily="34" charset="0"/>
                          <a:ea typeface="+mn-ea"/>
                          <a:cs typeface="Arial" panose="020B0604020202020204" pitchFamily="34" charset="0"/>
                        </a:rPr>
                        <a:t>75.2</a:t>
                      </a:r>
                    </a:p>
                  </a:txBody>
                  <a:tcPr marL="141085" marR="141085" marT="70543" marB="70543" anchor="ctr">
                    <a:lnL>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58861866"/>
                  </a:ext>
                </a:extLst>
              </a:tr>
              <a:tr h="348351">
                <a:tc>
                  <a:txBody>
                    <a:bodyPr/>
                    <a:lstStyle/>
                    <a:p>
                      <a:pPr algn="r">
                        <a:lnSpc>
                          <a:spcPct val="85000"/>
                        </a:lnSpc>
                      </a:pPr>
                      <a:endParaRPr lang="en-US" sz="800" b="1" dirty="0">
                        <a:latin typeface="Arial Narrow" panose="020B0606020202030204" pitchFamily="34" charset="0"/>
                        <a:cs typeface="Arial" panose="020B0604020202020204" pitchFamily="34" charset="0"/>
                      </a:endParaRPr>
                    </a:p>
                  </a:txBody>
                  <a:tcPr marL="141085" marR="141085" marT="70543" marB="70543">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lang="en-US" sz="800" b="1" dirty="0">
                          <a:latin typeface="Arial Narrow" panose="020B0606020202030204" pitchFamily="34" charset="0"/>
                          <a:cs typeface="Arial" panose="020B0604020202020204" pitchFamily="34" charset="0"/>
                        </a:rPr>
                        <a:t>HR 0.55</a:t>
                      </a:r>
                      <a:r>
                        <a:rPr lang="en-US" sz="800" b="0" dirty="0">
                          <a:latin typeface="Arial Narrow" panose="020B0606020202030204" pitchFamily="34" charset="0"/>
                          <a:cs typeface="Arial" panose="020B0604020202020204" pitchFamily="34" charset="0"/>
                        </a:rPr>
                        <a:t> (</a:t>
                      </a:r>
                      <a:r>
                        <a:rPr lang="en-US" sz="800" dirty="0">
                          <a:latin typeface="Arial Narrow" panose="020B0606020202030204" pitchFamily="34" charset="0"/>
                          <a:cs typeface="Arial" panose="020B0604020202020204" pitchFamily="34" charset="0"/>
                        </a:rPr>
                        <a:t>95% CI 0.40–0.76</a:t>
                      </a:r>
                      <a:r>
                        <a:rPr lang="en-US" sz="800" i="0" dirty="0">
                          <a:latin typeface="Arial Narrow" panose="020B0606020202030204" pitchFamily="34" charset="0"/>
                          <a:cs typeface="Arial" panose="020B0604020202020204" pitchFamily="34" charset="0"/>
                        </a:rPr>
                        <a:t>); </a:t>
                      </a:r>
                      <a:r>
                        <a:rPr lang="en-US" sz="800" i="1" dirty="0">
                          <a:latin typeface="Arial Narrow" panose="020B0606020202030204" pitchFamily="34" charset="0"/>
                        </a:rPr>
                        <a:t>P</a:t>
                      </a:r>
                      <a:r>
                        <a:rPr lang="en-US" sz="800" i="0" dirty="0">
                          <a:latin typeface="Arial Narrow" panose="020B0606020202030204" pitchFamily="34" charset="0"/>
                          <a:cs typeface="Arial" panose="020B0604020202020204" pitchFamily="34" charset="0"/>
                        </a:rPr>
                        <a:t>=0.0004*</a:t>
                      </a:r>
                      <a:endParaRPr lang="en-US" sz="800" i="0" baseline="30000" dirty="0">
                        <a:latin typeface="Arial Narrow" panose="020B0606020202030204" pitchFamily="34" charset="0"/>
                        <a:cs typeface="Arial" panose="020B0604020202020204" pitchFamily="34" charset="0"/>
                      </a:endParaRPr>
                    </a:p>
                  </a:txBody>
                  <a:tcPr marL="141085" marR="141085" marT="70543" marB="7054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89620145"/>
                  </a:ext>
                </a:extLst>
              </a:tr>
            </a:tbl>
          </a:graphicData>
        </a:graphic>
      </p:graphicFrame>
      <p:sp>
        <p:nvSpPr>
          <p:cNvPr id="6" name="Textfeld 5">
            <a:extLst>
              <a:ext uri="{FF2B5EF4-FFF2-40B4-BE49-F238E27FC236}">
                <a16:creationId xmlns:a16="http://schemas.microsoft.com/office/drawing/2014/main" id="{27405088-CC6C-1E12-470C-859C7EDB5CB5}"/>
              </a:ext>
            </a:extLst>
          </p:cNvPr>
          <p:cNvSpPr txBox="1"/>
          <p:nvPr/>
        </p:nvSpPr>
        <p:spPr>
          <a:xfrm>
            <a:off x="1498962" y="802675"/>
            <a:ext cx="3743332" cy="379656"/>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867" b="0" i="0" u="none" strike="noStrike" kern="0" cap="none" spc="0" normalizeH="0" baseline="0" noProof="0" dirty="0">
                <a:ln>
                  <a:noFill/>
                </a:ln>
                <a:solidFill>
                  <a:srgbClr val="000000"/>
                </a:solidFill>
                <a:effectLst/>
                <a:uLnTx/>
                <a:uFillTx/>
                <a:latin typeface="Arial"/>
                <a:ea typeface="+mn-ea"/>
                <a:cs typeface="Arial"/>
                <a:sym typeface="Arial"/>
              </a:rPr>
              <a:t>BRCA+: SOLO-1 Overall Survival</a:t>
            </a:r>
          </a:p>
        </p:txBody>
      </p:sp>
      <p:sp>
        <p:nvSpPr>
          <p:cNvPr id="525" name="Textfeld 524">
            <a:extLst>
              <a:ext uri="{FF2B5EF4-FFF2-40B4-BE49-F238E27FC236}">
                <a16:creationId xmlns:a16="http://schemas.microsoft.com/office/drawing/2014/main" id="{3E028823-5AAB-13C9-8567-8813D884D184}"/>
              </a:ext>
            </a:extLst>
          </p:cNvPr>
          <p:cNvSpPr txBox="1"/>
          <p:nvPr/>
        </p:nvSpPr>
        <p:spPr>
          <a:xfrm>
            <a:off x="7052818" y="791656"/>
            <a:ext cx="3724096" cy="379656"/>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867" b="0" i="0" u="none" strike="noStrike" kern="0" cap="none" spc="0" normalizeH="0" baseline="0" noProof="0" dirty="0" err="1">
                <a:ln>
                  <a:noFill/>
                </a:ln>
                <a:solidFill>
                  <a:srgbClr val="000000"/>
                </a:solidFill>
                <a:effectLst/>
                <a:uLnTx/>
                <a:uFillTx/>
                <a:latin typeface="Arial"/>
                <a:ea typeface="+mn-ea"/>
                <a:cs typeface="Arial"/>
                <a:sym typeface="Arial"/>
              </a:rPr>
              <a:t>BRCAm</a:t>
            </a:r>
            <a:r>
              <a:rPr kumimoji="0" lang="en-US" sz="1867" b="0" i="0" u="none" strike="noStrike" kern="0" cap="none" spc="0" normalizeH="0" baseline="0" noProof="0" dirty="0">
                <a:ln>
                  <a:noFill/>
                </a:ln>
                <a:solidFill>
                  <a:srgbClr val="000000"/>
                </a:solidFill>
                <a:effectLst/>
                <a:uLnTx/>
                <a:uFillTx/>
                <a:latin typeface="Arial"/>
                <a:ea typeface="+mn-ea"/>
                <a:cs typeface="Arial"/>
                <a:sym typeface="Arial"/>
              </a:rPr>
              <a:t>: PAOLA Overall Survival</a:t>
            </a:r>
          </a:p>
        </p:txBody>
      </p:sp>
      <p:sp>
        <p:nvSpPr>
          <p:cNvPr id="526" name="Textfeld 525">
            <a:extLst>
              <a:ext uri="{FF2B5EF4-FFF2-40B4-BE49-F238E27FC236}">
                <a16:creationId xmlns:a16="http://schemas.microsoft.com/office/drawing/2014/main" id="{76BE4F9D-6342-A592-3ACD-ABB5910017B3}"/>
              </a:ext>
            </a:extLst>
          </p:cNvPr>
          <p:cNvSpPr txBox="1"/>
          <p:nvPr/>
        </p:nvSpPr>
        <p:spPr>
          <a:xfrm>
            <a:off x="7748249" y="6583618"/>
            <a:ext cx="4325988" cy="235898"/>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933" b="0" i="1" u="none" strike="noStrike" kern="0" cap="none" spc="0" normalizeH="0" baseline="0" noProof="0" dirty="0">
                <a:ln>
                  <a:noFill/>
                </a:ln>
                <a:solidFill>
                  <a:srgbClr val="000000"/>
                </a:solidFill>
                <a:effectLst/>
                <a:uLnTx/>
                <a:uFillTx/>
                <a:latin typeface="Arial"/>
                <a:ea typeface="+mn-ea"/>
                <a:cs typeface="Arial"/>
                <a:sym typeface="Arial"/>
              </a:rPr>
              <a:t>Di Silvestro P, et al. J Clin Oncol 2023      Ray-Coquard I, et al. NEJM 2023 </a:t>
            </a:r>
          </a:p>
        </p:txBody>
      </p:sp>
      <p:sp>
        <p:nvSpPr>
          <p:cNvPr id="11" name="Textfeld 14">
            <a:extLst>
              <a:ext uri="{FF2B5EF4-FFF2-40B4-BE49-F238E27FC236}">
                <a16:creationId xmlns:a16="http://schemas.microsoft.com/office/drawing/2014/main" id="{16416F7D-55E4-447C-AC8A-6FB8E14B75F1}"/>
              </a:ext>
            </a:extLst>
          </p:cNvPr>
          <p:cNvSpPr txBox="1"/>
          <p:nvPr/>
        </p:nvSpPr>
        <p:spPr>
          <a:xfrm>
            <a:off x="7168443" y="4639974"/>
            <a:ext cx="4676596" cy="1819344"/>
          </a:xfrm>
          <a:prstGeom prst="rect">
            <a:avLst/>
          </a:prstGeom>
          <a:noFill/>
          <a:ln>
            <a:solidFill>
              <a:srgbClr val="004D72"/>
            </a:solidFill>
          </a:ln>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sng" strike="noStrike" kern="1200" cap="none" spc="0" normalizeH="0" baseline="0" noProof="0" dirty="0">
                <a:ln>
                  <a:noFill/>
                </a:ln>
                <a:solidFill>
                  <a:prstClr val="black"/>
                </a:solidFill>
                <a:effectLst/>
                <a:uLnTx/>
                <a:uFillTx/>
                <a:latin typeface="Calibri" panose="020F0502020204030204"/>
                <a:ea typeface="+mn-ea"/>
                <a:cs typeface="+mn-cs"/>
              </a:rPr>
              <a:t>5-yr OS rate (%)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lacebo			53.8%</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laparib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73.2%</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Calibri" panose="020F0502020204030204"/>
                <a:ea typeface="+mn-ea"/>
                <a:cs typeface="+mn-cs"/>
              </a:rPr>
              <a:t>			HR 0.60</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25000" noProof="0" dirty="0">
                <a:ln>
                  <a:noFill/>
                </a:ln>
                <a:solidFill>
                  <a:prstClr val="black"/>
                </a:solidFill>
                <a:effectLst/>
                <a:uLnTx/>
                <a:uFillTx/>
                <a:latin typeface="Calibri" panose="020F0502020204030204"/>
                <a:ea typeface="+mn-ea"/>
                <a:cs typeface="+mn-cs"/>
              </a:rPr>
              <a:t>(95% CI, 0.39-0.93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25000" noProof="0" dirty="0">
                <a:ln>
                  <a:noFill/>
                </a:ln>
                <a:solidFill>
                  <a:prstClr val="black"/>
                </a:solidFill>
                <a:effectLst/>
                <a:uLnTx/>
                <a:uFillTx/>
                <a:latin typeface="Calibri" panose="020F0502020204030204"/>
                <a:ea typeface="+mn-ea"/>
                <a:cs typeface="+mn-cs"/>
              </a:rPr>
              <a:t>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25000" noProof="0" dirty="0">
                <a:ln>
                  <a:noFill/>
                </a:ln>
                <a:solidFill>
                  <a:prstClr val="black"/>
                </a:solidFill>
                <a:effectLst/>
                <a:uLnTx/>
                <a:uFillTx/>
                <a:latin typeface="Calibri" panose="020F0502020204030204"/>
                <a:ea typeface="+mn-ea"/>
                <a:cs typeface="+mn-cs"/>
              </a:rPr>
              <a:t>			</a:t>
            </a:r>
            <a:r>
              <a:rPr kumimoji="0" lang="en-US" sz="1867" b="1" i="0" u="none" strike="noStrike" kern="1200" cap="none" spc="0" normalizeH="0" baseline="0" noProof="0" dirty="0">
                <a:ln>
                  <a:noFill/>
                </a:ln>
                <a:solidFill>
                  <a:srgbClr val="FF0000"/>
                </a:solidFill>
                <a:effectLst/>
                <a:highlight>
                  <a:srgbClr val="FFFF00"/>
                </a:highlight>
                <a:uLnTx/>
                <a:uFillTx/>
                <a:latin typeface="Arial"/>
                <a:ea typeface="+mn-ea"/>
                <a:cs typeface="+mn-cs"/>
              </a:rPr>
              <a:t>𝛅 +19.4%</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25000" noProof="0" dirty="0">
                <a:ln>
                  <a:noFill/>
                </a:ln>
                <a:solidFill>
                  <a:srgbClr val="B9181D"/>
                </a:solidFill>
                <a:effectLst/>
                <a:uLnTx/>
                <a:uFillTx/>
                <a:latin typeface="Calibri" panose="020F0502020204030204"/>
                <a:ea typeface="+mn-ea"/>
                <a:cs typeface="+mn-cs"/>
              </a:rPr>
              <a:t>55% post-study </a:t>
            </a:r>
            <a:r>
              <a:rPr kumimoji="0" lang="en-US" sz="2133" b="1" i="0" u="none" strike="noStrike" kern="1200" cap="none" spc="0" normalizeH="0" baseline="-25000" noProof="0" dirty="0" err="1">
                <a:ln>
                  <a:noFill/>
                </a:ln>
                <a:solidFill>
                  <a:srgbClr val="B9181D"/>
                </a:solidFill>
                <a:effectLst/>
                <a:uLnTx/>
                <a:uFillTx/>
                <a:latin typeface="Calibri" panose="020F0502020204030204"/>
                <a:ea typeface="+mn-ea"/>
                <a:cs typeface="+mn-cs"/>
              </a:rPr>
              <a:t>PARPi</a:t>
            </a:r>
            <a:r>
              <a:rPr kumimoji="0" lang="en-US" sz="2133" b="1" i="0" u="none" strike="noStrike" kern="1200" cap="none" spc="0" normalizeH="0" baseline="-25000" noProof="0" dirty="0">
                <a:ln>
                  <a:noFill/>
                </a:ln>
                <a:solidFill>
                  <a:srgbClr val="B9181D"/>
                </a:solidFill>
                <a:effectLst/>
                <a:uLnTx/>
                <a:uFillTx/>
                <a:latin typeface="Calibri" panose="020F0502020204030204"/>
                <a:ea typeface="+mn-ea"/>
                <a:cs typeface="+mn-cs"/>
              </a:rPr>
              <a:t> in placebo-arm</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25000" noProof="0" dirty="0">
                <a:ln>
                  <a:noFill/>
                </a:ln>
                <a:solidFill>
                  <a:prstClr val="black"/>
                </a:solidFill>
                <a:effectLst/>
                <a:uLnTx/>
                <a:uFillTx/>
                <a:latin typeface="Calibri" panose="020F0502020204030204"/>
                <a:ea typeface="+mn-ea"/>
                <a:cs typeface="+mn-cs"/>
              </a:rPr>
              <a:t>	</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platzhalter 3">
            <a:extLst>
              <a:ext uri="{FF2B5EF4-FFF2-40B4-BE49-F238E27FC236}">
                <a16:creationId xmlns:a16="http://schemas.microsoft.com/office/drawing/2014/main" id="{FDD88E85-6B7A-4C4C-A454-D5635732EA3E}"/>
              </a:ext>
            </a:extLst>
          </p:cNvPr>
          <p:cNvSpPr>
            <a:spLocks noGrp="1"/>
          </p:cNvSpPr>
          <p:nvPr>
            <p:ph type="body" sz="quarter" idx="12"/>
          </p:nvPr>
        </p:nvSpPr>
        <p:spPr>
          <a:xfrm>
            <a:off x="134388" y="4691365"/>
            <a:ext cx="5918561" cy="1784912"/>
          </a:xfrm>
          <a:ln>
            <a:solidFill>
              <a:schemeClr val="accent2"/>
            </a:solidFill>
          </a:ln>
        </p:spPr>
        <p:txBody>
          <a:bodyPr/>
          <a:lstStyle/>
          <a:p>
            <a:pPr marL="380990" indent="-380990">
              <a:buFont typeface="Wingdings" pitchFamily="2" charset="2"/>
              <a:buChar char="§"/>
            </a:pPr>
            <a:r>
              <a:rPr lang="en-US" sz="1600" dirty="0">
                <a:solidFill>
                  <a:schemeClr val="accent1">
                    <a:lumMod val="75000"/>
                  </a:schemeClr>
                </a:solidFill>
              </a:rPr>
              <a:t>Interim OS analysis</a:t>
            </a:r>
          </a:p>
          <a:p>
            <a:pPr marL="380990" indent="-380990">
              <a:buFont typeface="Wingdings" pitchFamily="2" charset="2"/>
              <a:buChar char="§"/>
            </a:pPr>
            <a:r>
              <a:rPr lang="en-US" sz="1600" dirty="0">
                <a:solidFill>
                  <a:schemeClr val="accent1">
                    <a:lumMod val="75000"/>
                  </a:schemeClr>
                </a:solidFill>
              </a:rPr>
              <a:t>HR 0.55 (p=0.0004)</a:t>
            </a:r>
          </a:p>
          <a:p>
            <a:pPr marL="380990" indent="-380990">
              <a:buFont typeface="Wingdings" pitchFamily="2" charset="2"/>
              <a:buChar char="§"/>
            </a:pPr>
            <a:r>
              <a:rPr lang="en-US" sz="1600" dirty="0">
                <a:solidFill>
                  <a:schemeClr val="accent1">
                    <a:lumMod val="75000"/>
                  </a:schemeClr>
                </a:solidFill>
              </a:rPr>
              <a:t>OS delta @ 7J: 21.5%</a:t>
            </a:r>
          </a:p>
          <a:p>
            <a:pPr lvl="1">
              <a:buFont typeface="Wingdings" pitchFamily="2" charset="2"/>
              <a:buChar char="§"/>
            </a:pPr>
            <a:r>
              <a:rPr lang="en-US" sz="1333" dirty="0">
                <a:solidFill>
                  <a:schemeClr val="accent1">
                    <a:lumMod val="75000"/>
                  </a:schemeClr>
                </a:solidFill>
              </a:rPr>
              <a:t>Not (yet) statistically significant per prespecified significance threshold for interim analysis</a:t>
            </a:r>
          </a:p>
          <a:p>
            <a:pPr marL="380990" indent="-380990">
              <a:buFont typeface="Wingdings" pitchFamily="2" charset="2"/>
              <a:buChar char="§"/>
            </a:pPr>
            <a:r>
              <a:rPr lang="en-US" sz="1600" dirty="0">
                <a:solidFill>
                  <a:srgbClr val="FF0000"/>
                </a:solidFill>
              </a:rPr>
              <a:t>44% post-study </a:t>
            </a:r>
            <a:r>
              <a:rPr lang="en-US" sz="1600" dirty="0" err="1">
                <a:solidFill>
                  <a:srgbClr val="FF0000"/>
                </a:solidFill>
              </a:rPr>
              <a:t>PARPi</a:t>
            </a:r>
            <a:r>
              <a:rPr lang="en-US" sz="1600" dirty="0">
                <a:solidFill>
                  <a:srgbClr val="FF0000"/>
                </a:solidFill>
              </a:rPr>
              <a:t> in Placebo Arm</a:t>
            </a:r>
            <a:endParaRPr lang="en-US" sz="1400" dirty="0">
              <a:solidFill>
                <a:srgbClr val="FF0000"/>
              </a:solidFill>
            </a:endParaRPr>
          </a:p>
          <a:p>
            <a:endParaRPr lang="en-US" sz="533" dirty="0"/>
          </a:p>
        </p:txBody>
      </p:sp>
      <p:grpSp>
        <p:nvGrpSpPr>
          <p:cNvPr id="13" name="Group 12">
            <a:extLst>
              <a:ext uri="{FF2B5EF4-FFF2-40B4-BE49-F238E27FC236}">
                <a16:creationId xmlns:a16="http://schemas.microsoft.com/office/drawing/2014/main" id="{DC2762C7-8B5D-307F-EDCA-425E14F84463}"/>
              </a:ext>
            </a:extLst>
          </p:cNvPr>
          <p:cNvGrpSpPr/>
          <p:nvPr/>
        </p:nvGrpSpPr>
        <p:grpSpPr>
          <a:xfrm>
            <a:off x="6151093" y="1078029"/>
            <a:ext cx="5957114" cy="3555455"/>
            <a:chOff x="6151093" y="1078029"/>
            <a:chExt cx="5957114" cy="3555455"/>
          </a:xfrm>
        </p:grpSpPr>
        <p:grpSp>
          <p:nvGrpSpPr>
            <p:cNvPr id="7" name="Group 6">
              <a:extLst>
                <a:ext uri="{FF2B5EF4-FFF2-40B4-BE49-F238E27FC236}">
                  <a16:creationId xmlns:a16="http://schemas.microsoft.com/office/drawing/2014/main" id="{27C2881D-9380-CAED-0E20-CC7528396AD2}"/>
                </a:ext>
              </a:extLst>
            </p:cNvPr>
            <p:cNvGrpSpPr/>
            <p:nvPr/>
          </p:nvGrpSpPr>
          <p:grpSpPr>
            <a:xfrm>
              <a:off x="6151093" y="1078029"/>
              <a:ext cx="5957114" cy="3555455"/>
              <a:chOff x="6151093" y="1078029"/>
              <a:chExt cx="5957114" cy="3555455"/>
            </a:xfrm>
          </p:grpSpPr>
          <p:pic>
            <p:nvPicPr>
              <p:cNvPr id="2" name="Immagine 1">
                <a:extLst>
                  <a:ext uri="{FF2B5EF4-FFF2-40B4-BE49-F238E27FC236}">
                    <a16:creationId xmlns:a16="http://schemas.microsoft.com/office/drawing/2014/main" id="{612908D2-39C4-41D9-AC66-B6A7315742FE}"/>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a:stretch>
                <a:fillRect/>
              </a:stretch>
            </p:blipFill>
            <p:spPr>
              <a:xfrm>
                <a:off x="6151093" y="1208483"/>
                <a:ext cx="5795548" cy="3425001"/>
              </a:xfrm>
              <a:prstGeom prst="rect">
                <a:avLst/>
              </a:prstGeom>
            </p:spPr>
          </p:pic>
          <p:sp>
            <p:nvSpPr>
              <p:cNvPr id="3" name="Freeform 2">
                <a:extLst>
                  <a:ext uri="{FF2B5EF4-FFF2-40B4-BE49-F238E27FC236}">
                    <a16:creationId xmlns:a16="http://schemas.microsoft.com/office/drawing/2014/main" id="{173F3E4E-8D0D-BC85-67C5-EA6B4760FE1A}"/>
                  </a:ext>
                </a:extLst>
              </p:cNvPr>
              <p:cNvSpPr/>
              <p:nvPr/>
            </p:nvSpPr>
            <p:spPr>
              <a:xfrm>
                <a:off x="8893743" y="1078029"/>
                <a:ext cx="3214464" cy="760396"/>
              </a:xfrm>
              <a:custGeom>
                <a:avLst/>
                <a:gdLst>
                  <a:gd name="connsiteX0" fmla="*/ 0 w 3214464"/>
                  <a:gd name="connsiteY0" fmla="*/ 96253 h 760396"/>
                  <a:gd name="connsiteX1" fmla="*/ 0 w 3214464"/>
                  <a:gd name="connsiteY1" fmla="*/ 96253 h 760396"/>
                  <a:gd name="connsiteX2" fmla="*/ 9625 w 3214464"/>
                  <a:gd name="connsiteY2" fmla="*/ 221382 h 760396"/>
                  <a:gd name="connsiteX3" fmla="*/ 28876 w 3214464"/>
                  <a:gd name="connsiteY3" fmla="*/ 259883 h 760396"/>
                  <a:gd name="connsiteX4" fmla="*/ 115503 w 3214464"/>
                  <a:gd name="connsiteY4" fmla="*/ 356135 h 760396"/>
                  <a:gd name="connsiteX5" fmla="*/ 202131 w 3214464"/>
                  <a:gd name="connsiteY5" fmla="*/ 423512 h 760396"/>
                  <a:gd name="connsiteX6" fmla="*/ 259882 w 3214464"/>
                  <a:gd name="connsiteY6" fmla="*/ 442763 h 760396"/>
                  <a:gd name="connsiteX7" fmla="*/ 288758 w 3214464"/>
                  <a:gd name="connsiteY7" fmla="*/ 452388 h 760396"/>
                  <a:gd name="connsiteX8" fmla="*/ 365760 w 3214464"/>
                  <a:gd name="connsiteY8" fmla="*/ 471638 h 760396"/>
                  <a:gd name="connsiteX9" fmla="*/ 404261 w 3214464"/>
                  <a:gd name="connsiteY9" fmla="*/ 481264 h 760396"/>
                  <a:gd name="connsiteX10" fmla="*/ 471638 w 3214464"/>
                  <a:gd name="connsiteY10" fmla="*/ 500514 h 760396"/>
                  <a:gd name="connsiteX11" fmla="*/ 587141 w 3214464"/>
                  <a:gd name="connsiteY11" fmla="*/ 519765 h 760396"/>
                  <a:gd name="connsiteX12" fmla="*/ 673769 w 3214464"/>
                  <a:gd name="connsiteY12" fmla="*/ 548640 h 760396"/>
                  <a:gd name="connsiteX13" fmla="*/ 712270 w 3214464"/>
                  <a:gd name="connsiteY13" fmla="*/ 558266 h 760396"/>
                  <a:gd name="connsiteX14" fmla="*/ 789272 w 3214464"/>
                  <a:gd name="connsiteY14" fmla="*/ 587142 h 760396"/>
                  <a:gd name="connsiteX15" fmla="*/ 847023 w 3214464"/>
                  <a:gd name="connsiteY15" fmla="*/ 625643 h 760396"/>
                  <a:gd name="connsiteX16" fmla="*/ 875899 w 3214464"/>
                  <a:gd name="connsiteY16" fmla="*/ 644893 h 760396"/>
                  <a:gd name="connsiteX17" fmla="*/ 895150 w 3214464"/>
                  <a:gd name="connsiteY17" fmla="*/ 673769 h 760396"/>
                  <a:gd name="connsiteX18" fmla="*/ 952901 w 3214464"/>
                  <a:gd name="connsiteY18" fmla="*/ 702645 h 760396"/>
                  <a:gd name="connsiteX19" fmla="*/ 981777 w 3214464"/>
                  <a:gd name="connsiteY19" fmla="*/ 721895 h 760396"/>
                  <a:gd name="connsiteX20" fmla="*/ 1029903 w 3214464"/>
                  <a:gd name="connsiteY20" fmla="*/ 731520 h 760396"/>
                  <a:gd name="connsiteX21" fmla="*/ 1607419 w 3214464"/>
                  <a:gd name="connsiteY21" fmla="*/ 741146 h 760396"/>
                  <a:gd name="connsiteX22" fmla="*/ 2396691 w 3214464"/>
                  <a:gd name="connsiteY22" fmla="*/ 750771 h 760396"/>
                  <a:gd name="connsiteX23" fmla="*/ 3012708 w 3214464"/>
                  <a:gd name="connsiteY23" fmla="*/ 760396 h 760396"/>
                  <a:gd name="connsiteX24" fmla="*/ 3147461 w 3214464"/>
                  <a:gd name="connsiteY24" fmla="*/ 163630 h 760396"/>
                  <a:gd name="connsiteX25" fmla="*/ 3137836 w 3214464"/>
                  <a:gd name="connsiteY25" fmla="*/ 115504 h 760396"/>
                  <a:gd name="connsiteX26" fmla="*/ 3099335 w 3214464"/>
                  <a:gd name="connsiteY26" fmla="*/ 28876 h 760396"/>
                  <a:gd name="connsiteX27" fmla="*/ 3070459 w 3214464"/>
                  <a:gd name="connsiteY27" fmla="*/ 19251 h 760396"/>
                  <a:gd name="connsiteX28" fmla="*/ 3041583 w 3214464"/>
                  <a:gd name="connsiteY28" fmla="*/ 28876 h 760396"/>
                  <a:gd name="connsiteX29" fmla="*/ 2598821 w 3214464"/>
                  <a:gd name="connsiteY29" fmla="*/ 28876 h 760396"/>
                  <a:gd name="connsiteX30" fmla="*/ 2358190 w 3214464"/>
                  <a:gd name="connsiteY30" fmla="*/ 0 h 760396"/>
                  <a:gd name="connsiteX31" fmla="*/ 1828800 w 3214464"/>
                  <a:gd name="connsiteY31" fmla="*/ 9626 h 760396"/>
                  <a:gd name="connsiteX32" fmla="*/ 1780674 w 3214464"/>
                  <a:gd name="connsiteY32" fmla="*/ 19251 h 760396"/>
                  <a:gd name="connsiteX33" fmla="*/ 1703672 w 3214464"/>
                  <a:gd name="connsiteY33" fmla="*/ 38502 h 760396"/>
                  <a:gd name="connsiteX34" fmla="*/ 1665171 w 3214464"/>
                  <a:gd name="connsiteY34" fmla="*/ 48127 h 760396"/>
                  <a:gd name="connsiteX35" fmla="*/ 1636295 w 3214464"/>
                  <a:gd name="connsiteY35" fmla="*/ 57752 h 760396"/>
                  <a:gd name="connsiteX36" fmla="*/ 1366788 w 3214464"/>
                  <a:gd name="connsiteY36" fmla="*/ 77003 h 760396"/>
                  <a:gd name="connsiteX37" fmla="*/ 1251284 w 3214464"/>
                  <a:gd name="connsiteY37" fmla="*/ 86628 h 760396"/>
                  <a:gd name="connsiteX38" fmla="*/ 1155032 w 3214464"/>
                  <a:gd name="connsiteY38" fmla="*/ 105878 h 760396"/>
                  <a:gd name="connsiteX39" fmla="*/ 1068404 w 3214464"/>
                  <a:gd name="connsiteY39" fmla="*/ 115504 h 760396"/>
                  <a:gd name="connsiteX40" fmla="*/ 519764 w 3214464"/>
                  <a:gd name="connsiteY40" fmla="*/ 125129 h 760396"/>
                  <a:gd name="connsiteX41" fmla="*/ 308009 w 3214464"/>
                  <a:gd name="connsiteY41" fmla="*/ 134754 h 760396"/>
                  <a:gd name="connsiteX42" fmla="*/ 231006 w 3214464"/>
                  <a:gd name="connsiteY42" fmla="*/ 144379 h 760396"/>
                  <a:gd name="connsiteX43" fmla="*/ 0 w 3214464"/>
                  <a:gd name="connsiteY43" fmla="*/ 96253 h 760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214464" h="760396">
                    <a:moveTo>
                      <a:pt x="0" y="96253"/>
                    </a:moveTo>
                    <a:lnTo>
                      <a:pt x="0" y="96253"/>
                    </a:lnTo>
                    <a:cubicBezTo>
                      <a:pt x="3208" y="137963"/>
                      <a:pt x="2355" y="180186"/>
                      <a:pt x="9625" y="221382"/>
                    </a:cubicBezTo>
                    <a:cubicBezTo>
                      <a:pt x="12119" y="235512"/>
                      <a:pt x="20917" y="247944"/>
                      <a:pt x="28876" y="259883"/>
                    </a:cubicBezTo>
                    <a:cubicBezTo>
                      <a:pt x="115930" y="390463"/>
                      <a:pt x="51870" y="303107"/>
                      <a:pt x="115503" y="356135"/>
                    </a:cubicBezTo>
                    <a:cubicBezTo>
                      <a:pt x="148724" y="383819"/>
                      <a:pt x="153475" y="407293"/>
                      <a:pt x="202131" y="423512"/>
                    </a:cubicBezTo>
                    <a:lnTo>
                      <a:pt x="259882" y="442763"/>
                    </a:lnTo>
                    <a:cubicBezTo>
                      <a:pt x="269507" y="445971"/>
                      <a:pt x="278915" y="449927"/>
                      <a:pt x="288758" y="452388"/>
                    </a:cubicBezTo>
                    <a:lnTo>
                      <a:pt x="365760" y="471638"/>
                    </a:lnTo>
                    <a:cubicBezTo>
                      <a:pt x="378594" y="474846"/>
                      <a:pt x="391711" y="477081"/>
                      <a:pt x="404261" y="481264"/>
                    </a:cubicBezTo>
                    <a:cubicBezTo>
                      <a:pt x="429797" y="489776"/>
                      <a:pt x="444012" y="495334"/>
                      <a:pt x="471638" y="500514"/>
                    </a:cubicBezTo>
                    <a:cubicBezTo>
                      <a:pt x="510002" y="507707"/>
                      <a:pt x="550112" y="507422"/>
                      <a:pt x="587141" y="519765"/>
                    </a:cubicBezTo>
                    <a:cubicBezTo>
                      <a:pt x="616017" y="529390"/>
                      <a:pt x="644240" y="541257"/>
                      <a:pt x="673769" y="548640"/>
                    </a:cubicBezTo>
                    <a:cubicBezTo>
                      <a:pt x="686603" y="551849"/>
                      <a:pt x="699884" y="553621"/>
                      <a:pt x="712270" y="558266"/>
                    </a:cubicBezTo>
                    <a:cubicBezTo>
                      <a:pt x="812936" y="596016"/>
                      <a:pt x="690446" y="562434"/>
                      <a:pt x="789272" y="587142"/>
                    </a:cubicBezTo>
                    <a:lnTo>
                      <a:pt x="847023" y="625643"/>
                    </a:lnTo>
                    <a:lnTo>
                      <a:pt x="875899" y="644893"/>
                    </a:lnTo>
                    <a:cubicBezTo>
                      <a:pt x="882316" y="654518"/>
                      <a:pt x="886970" y="665589"/>
                      <a:pt x="895150" y="673769"/>
                    </a:cubicBezTo>
                    <a:cubicBezTo>
                      <a:pt x="922732" y="701351"/>
                      <a:pt x="921590" y="686989"/>
                      <a:pt x="952901" y="702645"/>
                    </a:cubicBezTo>
                    <a:cubicBezTo>
                      <a:pt x="963248" y="707818"/>
                      <a:pt x="970945" y="717833"/>
                      <a:pt x="981777" y="721895"/>
                    </a:cubicBezTo>
                    <a:cubicBezTo>
                      <a:pt x="997095" y="727639"/>
                      <a:pt x="1013551" y="731017"/>
                      <a:pt x="1029903" y="731520"/>
                    </a:cubicBezTo>
                    <a:cubicBezTo>
                      <a:pt x="1222344" y="737441"/>
                      <a:pt x="1414906" y="738434"/>
                      <a:pt x="1607419" y="741146"/>
                    </a:cubicBezTo>
                    <a:lnTo>
                      <a:pt x="2396691" y="750771"/>
                    </a:lnTo>
                    <a:lnTo>
                      <a:pt x="3012708" y="760396"/>
                    </a:lnTo>
                    <a:cubicBezTo>
                      <a:pt x="3350219" y="737896"/>
                      <a:pt x="3166696" y="798409"/>
                      <a:pt x="3147461" y="163630"/>
                    </a:cubicBezTo>
                    <a:cubicBezTo>
                      <a:pt x="3146965" y="147278"/>
                      <a:pt x="3142141" y="131287"/>
                      <a:pt x="3137836" y="115504"/>
                    </a:cubicBezTo>
                    <a:cubicBezTo>
                      <a:pt x="3133323" y="98955"/>
                      <a:pt x="3119354" y="44891"/>
                      <a:pt x="3099335" y="28876"/>
                    </a:cubicBezTo>
                    <a:cubicBezTo>
                      <a:pt x="3091412" y="22538"/>
                      <a:pt x="3080084" y="22459"/>
                      <a:pt x="3070459" y="19251"/>
                    </a:cubicBezTo>
                    <a:cubicBezTo>
                      <a:pt x="3060834" y="22459"/>
                      <a:pt x="3051339" y="26089"/>
                      <a:pt x="3041583" y="28876"/>
                    </a:cubicBezTo>
                    <a:cubicBezTo>
                      <a:pt x="2891838" y="71661"/>
                      <a:pt x="2817378" y="34080"/>
                      <a:pt x="2598821" y="28876"/>
                    </a:cubicBezTo>
                    <a:cubicBezTo>
                      <a:pt x="2428986" y="4614"/>
                      <a:pt x="2509255" y="13734"/>
                      <a:pt x="2358190" y="0"/>
                    </a:cubicBezTo>
                    <a:lnTo>
                      <a:pt x="1828800" y="9626"/>
                    </a:lnTo>
                    <a:cubicBezTo>
                      <a:pt x="1812449" y="10171"/>
                      <a:pt x="1796615" y="15572"/>
                      <a:pt x="1780674" y="19251"/>
                    </a:cubicBezTo>
                    <a:cubicBezTo>
                      <a:pt x="1754894" y="25200"/>
                      <a:pt x="1729339" y="32085"/>
                      <a:pt x="1703672" y="38502"/>
                    </a:cubicBezTo>
                    <a:cubicBezTo>
                      <a:pt x="1690838" y="41710"/>
                      <a:pt x="1677721" y="43944"/>
                      <a:pt x="1665171" y="48127"/>
                    </a:cubicBezTo>
                    <a:cubicBezTo>
                      <a:pt x="1655546" y="51335"/>
                      <a:pt x="1646244" y="55762"/>
                      <a:pt x="1636295" y="57752"/>
                    </a:cubicBezTo>
                    <a:cubicBezTo>
                      <a:pt x="1550095" y="74991"/>
                      <a:pt x="1449008" y="72020"/>
                      <a:pt x="1366788" y="77003"/>
                    </a:cubicBezTo>
                    <a:cubicBezTo>
                      <a:pt x="1328224" y="79340"/>
                      <a:pt x="1289785" y="83420"/>
                      <a:pt x="1251284" y="86628"/>
                    </a:cubicBezTo>
                    <a:cubicBezTo>
                      <a:pt x="1207560" y="97559"/>
                      <a:pt x="1205605" y="99135"/>
                      <a:pt x="1155032" y="105878"/>
                    </a:cubicBezTo>
                    <a:cubicBezTo>
                      <a:pt x="1126233" y="109718"/>
                      <a:pt x="1097444" y="114624"/>
                      <a:pt x="1068404" y="115504"/>
                    </a:cubicBezTo>
                    <a:cubicBezTo>
                      <a:pt x="885580" y="121044"/>
                      <a:pt x="702644" y="121921"/>
                      <a:pt x="519764" y="125129"/>
                    </a:cubicBezTo>
                    <a:cubicBezTo>
                      <a:pt x="449179" y="128337"/>
                      <a:pt x="378510" y="130054"/>
                      <a:pt x="308009" y="134754"/>
                    </a:cubicBezTo>
                    <a:cubicBezTo>
                      <a:pt x="282199" y="136475"/>
                      <a:pt x="256858" y="145270"/>
                      <a:pt x="231006" y="144379"/>
                    </a:cubicBezTo>
                    <a:cubicBezTo>
                      <a:pt x="163365" y="142047"/>
                      <a:pt x="38501" y="104274"/>
                      <a:pt x="0" y="96253"/>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668C0CA1-6E3E-EC76-A087-2A69AD801517}"/>
                </a:ext>
              </a:extLst>
            </p:cNvPr>
            <p:cNvGrpSpPr/>
            <p:nvPr/>
          </p:nvGrpSpPr>
          <p:grpSpPr>
            <a:xfrm>
              <a:off x="7344076" y="2774570"/>
              <a:ext cx="2702465" cy="1112389"/>
              <a:chOff x="7344076" y="2774570"/>
              <a:chExt cx="2702465" cy="1112389"/>
            </a:xfrm>
          </p:grpSpPr>
          <p:pic>
            <p:nvPicPr>
              <p:cNvPr id="1026" name="Picture 2">
                <a:extLst>
                  <a:ext uri="{FF2B5EF4-FFF2-40B4-BE49-F238E27FC236}">
                    <a16:creationId xmlns:a16="http://schemas.microsoft.com/office/drawing/2014/main" id="{178BE190-5ACA-EFB6-E001-7F228C770D61}"/>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a:stretch>
                <a:fillRect/>
              </a:stretch>
            </p:blipFill>
            <p:spPr bwMode="auto">
              <a:xfrm>
                <a:off x="7397666" y="2774570"/>
                <a:ext cx="2648875" cy="1028700"/>
              </a:xfrm>
              <a:prstGeom prst="rect">
                <a:avLst/>
              </a:prstGeom>
              <a:noFill/>
              <a:extLst>
                <a:ext uri="{909E8E84-426E-40DD-AFC4-6F175D3DCCD1}">
                  <a14:hiddenFill xmlns:a14="http://schemas.microsoft.com/office/drawing/2010/main">
                    <a:solidFill>
                      <a:srgbClr val="FFFFFF"/>
                    </a:solidFill>
                  </a14:hiddenFill>
                </a:ext>
              </a:extLst>
            </p:spPr>
          </p:pic>
          <p:sp>
            <p:nvSpPr>
              <p:cNvPr id="8" name="Freeform 7">
                <a:extLst>
                  <a:ext uri="{FF2B5EF4-FFF2-40B4-BE49-F238E27FC236}">
                    <a16:creationId xmlns:a16="http://schemas.microsoft.com/office/drawing/2014/main" id="{7C43DB1C-ABC7-DE5E-D6D4-C45B09B44FD1}"/>
                  </a:ext>
                </a:extLst>
              </p:cNvPr>
              <p:cNvSpPr/>
              <p:nvPr/>
            </p:nvSpPr>
            <p:spPr>
              <a:xfrm>
                <a:off x="7344076" y="3580598"/>
                <a:ext cx="818147" cy="306361"/>
              </a:xfrm>
              <a:custGeom>
                <a:avLst/>
                <a:gdLst>
                  <a:gd name="connsiteX0" fmla="*/ 28875 w 818147"/>
                  <a:gd name="connsiteY0" fmla="*/ 0 h 306361"/>
                  <a:gd name="connsiteX1" fmla="*/ 28875 w 818147"/>
                  <a:gd name="connsiteY1" fmla="*/ 0 h 306361"/>
                  <a:gd name="connsiteX2" fmla="*/ 115503 w 818147"/>
                  <a:gd name="connsiteY2" fmla="*/ 9625 h 306361"/>
                  <a:gd name="connsiteX3" fmla="*/ 250256 w 818147"/>
                  <a:gd name="connsiteY3" fmla="*/ 19251 h 306361"/>
                  <a:gd name="connsiteX4" fmla="*/ 279132 w 818147"/>
                  <a:gd name="connsiteY4" fmla="*/ 28876 h 306361"/>
                  <a:gd name="connsiteX5" fmla="*/ 375385 w 818147"/>
                  <a:gd name="connsiteY5" fmla="*/ 48126 h 306361"/>
                  <a:gd name="connsiteX6" fmla="*/ 433136 w 818147"/>
                  <a:gd name="connsiteY6" fmla="*/ 77002 h 306361"/>
                  <a:gd name="connsiteX7" fmla="*/ 490888 w 818147"/>
                  <a:gd name="connsiteY7" fmla="*/ 105878 h 306361"/>
                  <a:gd name="connsiteX8" fmla="*/ 519764 w 818147"/>
                  <a:gd name="connsiteY8" fmla="*/ 125129 h 306361"/>
                  <a:gd name="connsiteX9" fmla="*/ 548640 w 818147"/>
                  <a:gd name="connsiteY9" fmla="*/ 134754 h 306361"/>
                  <a:gd name="connsiteX10" fmla="*/ 635267 w 818147"/>
                  <a:gd name="connsiteY10" fmla="*/ 154004 h 306361"/>
                  <a:gd name="connsiteX11" fmla="*/ 693018 w 818147"/>
                  <a:gd name="connsiteY11" fmla="*/ 173255 h 306361"/>
                  <a:gd name="connsiteX12" fmla="*/ 721894 w 818147"/>
                  <a:gd name="connsiteY12" fmla="*/ 182880 h 306361"/>
                  <a:gd name="connsiteX13" fmla="*/ 818147 w 818147"/>
                  <a:gd name="connsiteY13" fmla="*/ 192505 h 306361"/>
                  <a:gd name="connsiteX14" fmla="*/ 683393 w 818147"/>
                  <a:gd name="connsiteY14" fmla="*/ 231006 h 306361"/>
                  <a:gd name="connsiteX15" fmla="*/ 606391 w 818147"/>
                  <a:gd name="connsiteY15" fmla="*/ 250257 h 306361"/>
                  <a:gd name="connsiteX16" fmla="*/ 577515 w 818147"/>
                  <a:gd name="connsiteY16" fmla="*/ 269508 h 306361"/>
                  <a:gd name="connsiteX17" fmla="*/ 519764 w 818147"/>
                  <a:gd name="connsiteY17" fmla="*/ 288758 h 306361"/>
                  <a:gd name="connsiteX18" fmla="*/ 404261 w 818147"/>
                  <a:gd name="connsiteY18" fmla="*/ 279133 h 306361"/>
                  <a:gd name="connsiteX19" fmla="*/ 19250 w 818147"/>
                  <a:gd name="connsiteY19" fmla="*/ 240632 h 306361"/>
                  <a:gd name="connsiteX20" fmla="*/ 9625 w 818147"/>
                  <a:gd name="connsiteY20" fmla="*/ 192505 h 306361"/>
                  <a:gd name="connsiteX21" fmla="*/ 0 w 818147"/>
                  <a:gd name="connsiteY21" fmla="*/ 163630 h 306361"/>
                  <a:gd name="connsiteX22" fmla="*/ 28875 w 818147"/>
                  <a:gd name="connsiteY22" fmla="*/ 0 h 30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18147" h="306361">
                    <a:moveTo>
                      <a:pt x="28875" y="0"/>
                    </a:moveTo>
                    <a:lnTo>
                      <a:pt x="28875" y="0"/>
                    </a:lnTo>
                    <a:cubicBezTo>
                      <a:pt x="57751" y="3208"/>
                      <a:pt x="86559" y="7108"/>
                      <a:pt x="115503" y="9625"/>
                    </a:cubicBezTo>
                    <a:cubicBezTo>
                      <a:pt x="160366" y="13526"/>
                      <a:pt x="205532" y="13989"/>
                      <a:pt x="250256" y="19251"/>
                    </a:cubicBezTo>
                    <a:cubicBezTo>
                      <a:pt x="260332" y="20436"/>
                      <a:pt x="269376" y="26089"/>
                      <a:pt x="279132" y="28876"/>
                    </a:cubicBezTo>
                    <a:cubicBezTo>
                      <a:pt x="319337" y="40363"/>
                      <a:pt x="330003" y="40563"/>
                      <a:pt x="375385" y="48126"/>
                    </a:cubicBezTo>
                    <a:cubicBezTo>
                      <a:pt x="458142" y="103298"/>
                      <a:pt x="353435" y="37151"/>
                      <a:pt x="433136" y="77002"/>
                    </a:cubicBezTo>
                    <a:cubicBezTo>
                      <a:pt x="507768" y="114319"/>
                      <a:pt x="418311" y="81687"/>
                      <a:pt x="490888" y="105878"/>
                    </a:cubicBezTo>
                    <a:cubicBezTo>
                      <a:pt x="500513" y="112295"/>
                      <a:pt x="509417" y="119956"/>
                      <a:pt x="519764" y="125129"/>
                    </a:cubicBezTo>
                    <a:cubicBezTo>
                      <a:pt x="528839" y="129666"/>
                      <a:pt x="538797" y="132293"/>
                      <a:pt x="548640" y="134754"/>
                    </a:cubicBezTo>
                    <a:cubicBezTo>
                      <a:pt x="603578" y="148488"/>
                      <a:pt x="585876" y="139186"/>
                      <a:pt x="635267" y="154004"/>
                    </a:cubicBezTo>
                    <a:cubicBezTo>
                      <a:pt x="654703" y="159835"/>
                      <a:pt x="673768" y="166838"/>
                      <a:pt x="693018" y="173255"/>
                    </a:cubicBezTo>
                    <a:cubicBezTo>
                      <a:pt x="702643" y="176463"/>
                      <a:pt x="711798" y="181870"/>
                      <a:pt x="721894" y="182880"/>
                    </a:cubicBezTo>
                    <a:lnTo>
                      <a:pt x="818147" y="192505"/>
                    </a:lnTo>
                    <a:cubicBezTo>
                      <a:pt x="794537" y="263338"/>
                      <a:pt x="821759" y="211239"/>
                      <a:pt x="683393" y="231006"/>
                    </a:cubicBezTo>
                    <a:cubicBezTo>
                      <a:pt x="657202" y="234748"/>
                      <a:pt x="606391" y="250257"/>
                      <a:pt x="606391" y="250257"/>
                    </a:cubicBezTo>
                    <a:cubicBezTo>
                      <a:pt x="596766" y="256674"/>
                      <a:pt x="588086" y="264810"/>
                      <a:pt x="577515" y="269508"/>
                    </a:cubicBezTo>
                    <a:cubicBezTo>
                      <a:pt x="558972" y="277749"/>
                      <a:pt x="519764" y="288758"/>
                      <a:pt x="519764" y="288758"/>
                    </a:cubicBezTo>
                    <a:cubicBezTo>
                      <a:pt x="481263" y="285550"/>
                      <a:pt x="442865" y="280677"/>
                      <a:pt x="404261" y="279133"/>
                    </a:cubicBezTo>
                    <a:cubicBezTo>
                      <a:pt x="23400" y="263899"/>
                      <a:pt x="106490" y="371489"/>
                      <a:pt x="19250" y="240632"/>
                    </a:cubicBezTo>
                    <a:cubicBezTo>
                      <a:pt x="16042" y="224590"/>
                      <a:pt x="13593" y="208377"/>
                      <a:pt x="9625" y="192505"/>
                    </a:cubicBezTo>
                    <a:cubicBezTo>
                      <a:pt x="7164" y="182662"/>
                      <a:pt x="0" y="173776"/>
                      <a:pt x="0" y="163630"/>
                    </a:cubicBezTo>
                    <a:cubicBezTo>
                      <a:pt x="0" y="53606"/>
                      <a:pt x="24063" y="27272"/>
                      <a:pt x="28875" y="0"/>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grpSp>
      </p:grpSp>
    </p:spTree>
    <p:extLst>
      <p:ext uri="{BB962C8B-B14F-4D97-AF65-F5344CB8AC3E}">
        <p14:creationId xmlns:p14="http://schemas.microsoft.com/office/powerpoint/2010/main" val="2382432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D15D85-7E46-092A-35AE-D8CE059F6B53}"/>
              </a:ext>
            </a:extLst>
          </p:cNvPr>
          <p:cNvSpPr>
            <a:spLocks noGrp="1"/>
          </p:cNvSpPr>
          <p:nvPr>
            <p:ph type="title"/>
          </p:nvPr>
        </p:nvSpPr>
        <p:spPr>
          <a:xfrm>
            <a:off x="208575" y="407739"/>
            <a:ext cx="8429024" cy="553999"/>
          </a:xfrm>
        </p:spPr>
        <p:txBody>
          <a:bodyPr>
            <a:normAutofit fontScale="90000"/>
          </a:bodyPr>
          <a:lstStyle/>
          <a:p>
            <a:r>
              <a:rPr lang="en-US" sz="5400" dirty="0"/>
              <a:t>PAOLA-1:</a:t>
            </a:r>
            <a:endParaRPr lang="en-US" sz="3200" baseline="30000" dirty="0"/>
          </a:p>
        </p:txBody>
      </p:sp>
      <p:sp>
        <p:nvSpPr>
          <p:cNvPr id="9" name="Textplatzhalter 8">
            <a:extLst>
              <a:ext uri="{FF2B5EF4-FFF2-40B4-BE49-F238E27FC236}">
                <a16:creationId xmlns:a16="http://schemas.microsoft.com/office/drawing/2014/main" id="{6B5A1F6E-22CA-9FB0-B7FF-C4DF97C5DA5E}"/>
              </a:ext>
            </a:extLst>
          </p:cNvPr>
          <p:cNvSpPr>
            <a:spLocks noGrp="1"/>
          </p:cNvSpPr>
          <p:nvPr>
            <p:ph type="body" sz="quarter" idx="10"/>
          </p:nvPr>
        </p:nvSpPr>
        <p:spPr>
          <a:xfrm>
            <a:off x="208575" y="935621"/>
            <a:ext cx="8429024" cy="488795"/>
          </a:xfrm>
        </p:spPr>
        <p:txBody>
          <a:bodyPr/>
          <a:lstStyle/>
          <a:p>
            <a:r>
              <a:rPr lang="en-US" dirty="0"/>
              <a:t>Final Overall Survival</a:t>
            </a:r>
          </a:p>
        </p:txBody>
      </p:sp>
      <p:sp>
        <p:nvSpPr>
          <p:cNvPr id="6" name="Textplatzhalter 5">
            <a:extLst>
              <a:ext uri="{FF2B5EF4-FFF2-40B4-BE49-F238E27FC236}">
                <a16:creationId xmlns:a16="http://schemas.microsoft.com/office/drawing/2014/main" id="{728C073D-A8FF-9FC6-AF78-685EC54AF26F}"/>
              </a:ext>
            </a:extLst>
          </p:cNvPr>
          <p:cNvSpPr>
            <a:spLocks noGrp="1"/>
          </p:cNvSpPr>
          <p:nvPr>
            <p:ph type="body" sz="quarter" idx="18"/>
          </p:nvPr>
        </p:nvSpPr>
        <p:spPr>
          <a:xfrm>
            <a:off x="3785211" y="6600984"/>
            <a:ext cx="7536180" cy="223139"/>
          </a:xfrm>
        </p:spPr>
        <p:txBody>
          <a:bodyPr/>
          <a:lstStyle/>
          <a:p>
            <a:r>
              <a:rPr lang="en-US" dirty="0"/>
              <a:t>Ray-Coquard et al.,  Ann Oncol 2023</a:t>
            </a:r>
          </a:p>
        </p:txBody>
      </p:sp>
      <p:sp>
        <p:nvSpPr>
          <p:cNvPr id="7" name="Textfeld 6">
            <a:extLst>
              <a:ext uri="{FF2B5EF4-FFF2-40B4-BE49-F238E27FC236}">
                <a16:creationId xmlns:a16="http://schemas.microsoft.com/office/drawing/2014/main" id="{8AE6110A-E16B-32A5-5AB3-8270ACE34A30}"/>
              </a:ext>
            </a:extLst>
          </p:cNvPr>
          <p:cNvSpPr txBox="1"/>
          <p:nvPr/>
        </p:nvSpPr>
        <p:spPr>
          <a:xfrm>
            <a:off x="94058" y="1649749"/>
            <a:ext cx="1641731" cy="400110"/>
          </a:xfrm>
          <a:prstGeom prst="rect">
            <a:avLst/>
          </a:prstGeom>
          <a:noFill/>
        </p:spPr>
        <p:txBody>
          <a:bodyPr wrap="none" rtlCol="0">
            <a:sp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32502D"/>
                </a:solidFill>
                <a:effectLst/>
                <a:uLnTx/>
                <a:uFillTx/>
                <a:latin typeface="Calibri" panose="020F0502020204030204" pitchFamily="34" charset="0"/>
                <a:ea typeface="MS PGothic" panose="020B0600070205080204" pitchFamily="34" charset="-128"/>
                <a:cs typeface="+mn-cs"/>
              </a:rPr>
              <a:t>PAOLA-1 (ITT)</a:t>
            </a:r>
          </a:p>
        </p:txBody>
      </p:sp>
      <p:pic>
        <p:nvPicPr>
          <p:cNvPr id="12" name="Grafik 11">
            <a:extLst>
              <a:ext uri="{FF2B5EF4-FFF2-40B4-BE49-F238E27FC236}">
                <a16:creationId xmlns:a16="http://schemas.microsoft.com/office/drawing/2014/main" id="{E6F535CD-5B12-1D6A-CB30-B26D4BE2ABFC}"/>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p:blipFill>
        <p:spPr>
          <a:xfrm>
            <a:off x="208575" y="2020119"/>
            <a:ext cx="5835836" cy="3230831"/>
          </a:xfrm>
          <a:prstGeom prst="rect">
            <a:avLst/>
          </a:prstGeom>
          <a:ln>
            <a:solidFill>
              <a:schemeClr val="accent1">
                <a:lumMod val="50000"/>
              </a:schemeClr>
            </a:solidFill>
          </a:ln>
        </p:spPr>
      </p:pic>
      <p:pic>
        <p:nvPicPr>
          <p:cNvPr id="37" name="Grafik 36">
            <a:extLst>
              <a:ext uri="{FF2B5EF4-FFF2-40B4-BE49-F238E27FC236}">
                <a16:creationId xmlns:a16="http://schemas.microsoft.com/office/drawing/2014/main" id="{4408A2B2-4A4D-AD00-77BA-4A71C1BCFD34}"/>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t="-924"/>
          <a:stretch/>
        </p:blipFill>
        <p:spPr>
          <a:xfrm>
            <a:off x="6193703" y="2020119"/>
            <a:ext cx="5835836" cy="3230832"/>
          </a:xfrm>
          <a:prstGeom prst="rect">
            <a:avLst/>
          </a:prstGeom>
          <a:ln>
            <a:solidFill>
              <a:schemeClr val="accent1">
                <a:lumMod val="50000"/>
              </a:schemeClr>
            </a:solidFill>
          </a:ln>
        </p:spPr>
      </p:pic>
      <p:sp>
        <p:nvSpPr>
          <p:cNvPr id="39" name="Textfeld 38">
            <a:extLst>
              <a:ext uri="{FF2B5EF4-FFF2-40B4-BE49-F238E27FC236}">
                <a16:creationId xmlns:a16="http://schemas.microsoft.com/office/drawing/2014/main" id="{ADEF0EEB-E543-3E7E-9A53-DE4BD34D0001}"/>
              </a:ext>
            </a:extLst>
          </p:cNvPr>
          <p:cNvSpPr txBox="1"/>
          <p:nvPr/>
        </p:nvSpPr>
        <p:spPr>
          <a:xfrm>
            <a:off x="6168009" y="1647593"/>
            <a:ext cx="2703817" cy="400110"/>
          </a:xfrm>
          <a:prstGeom prst="rect">
            <a:avLst/>
          </a:prstGeom>
          <a:noFill/>
        </p:spPr>
        <p:txBody>
          <a:bodyPr wrap="none" rtlCol="0">
            <a:sp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32502D"/>
                </a:solidFill>
                <a:effectLst/>
                <a:uLnTx/>
                <a:uFillTx/>
                <a:latin typeface="Calibri" panose="020F0502020204030204" pitchFamily="34" charset="0"/>
                <a:ea typeface="MS PGothic" panose="020B0600070205080204" pitchFamily="34" charset="-128"/>
                <a:cs typeface="+mn-cs"/>
              </a:rPr>
              <a:t>PAOLA-1 (HRD-positive)</a:t>
            </a:r>
          </a:p>
        </p:txBody>
      </p:sp>
      <p:sp>
        <p:nvSpPr>
          <p:cNvPr id="41" name="Textfeld 40">
            <a:extLst>
              <a:ext uri="{FF2B5EF4-FFF2-40B4-BE49-F238E27FC236}">
                <a16:creationId xmlns:a16="http://schemas.microsoft.com/office/drawing/2014/main" id="{0BB19CB1-B9FC-BAF6-3D15-738C083D911C}"/>
              </a:ext>
            </a:extLst>
          </p:cNvPr>
          <p:cNvSpPr txBox="1"/>
          <p:nvPr/>
        </p:nvSpPr>
        <p:spPr>
          <a:xfrm>
            <a:off x="1198496" y="4190729"/>
            <a:ext cx="1168910" cy="461665"/>
          </a:xfrm>
          <a:prstGeom prst="rect">
            <a:avLst/>
          </a:prstGeom>
          <a:noFill/>
        </p:spPr>
        <p:txBody>
          <a:bodyPr wrap="none" rtlCol="0">
            <a:sp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Calibri" panose="020F0502020204030204" pitchFamily="34" charset="0"/>
                <a:ea typeface="MS PGothic" panose="020B0600070205080204" pitchFamily="34" charset="-128"/>
                <a:cs typeface="+mn-cs"/>
              </a:rPr>
              <a:t>HR 0.92</a:t>
            </a:r>
          </a:p>
        </p:txBody>
      </p:sp>
      <p:sp>
        <p:nvSpPr>
          <p:cNvPr id="42" name="Textfeld 41">
            <a:extLst>
              <a:ext uri="{FF2B5EF4-FFF2-40B4-BE49-F238E27FC236}">
                <a16:creationId xmlns:a16="http://schemas.microsoft.com/office/drawing/2014/main" id="{D8EA63CC-EF2B-2204-97DC-21369B8DFB3A}"/>
              </a:ext>
            </a:extLst>
          </p:cNvPr>
          <p:cNvSpPr txBox="1"/>
          <p:nvPr/>
        </p:nvSpPr>
        <p:spPr>
          <a:xfrm>
            <a:off x="7291305" y="4190729"/>
            <a:ext cx="1168910" cy="461665"/>
          </a:xfrm>
          <a:prstGeom prst="rect">
            <a:avLst/>
          </a:prstGeom>
          <a:noFill/>
        </p:spPr>
        <p:txBody>
          <a:bodyPr wrap="none" rtlCol="0">
            <a:sp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Calibri" panose="020F0502020204030204" pitchFamily="34" charset="0"/>
                <a:ea typeface="MS PGothic" panose="020B0600070205080204" pitchFamily="34" charset="-128"/>
                <a:cs typeface="+mn-cs"/>
              </a:rPr>
              <a:t>HR 0.62</a:t>
            </a:r>
          </a:p>
        </p:txBody>
      </p:sp>
      <p:sp>
        <p:nvSpPr>
          <p:cNvPr id="5" name="Textfeld 4">
            <a:extLst>
              <a:ext uri="{FF2B5EF4-FFF2-40B4-BE49-F238E27FC236}">
                <a16:creationId xmlns:a16="http://schemas.microsoft.com/office/drawing/2014/main" id="{DB201F17-EE89-72D8-4A3E-3F8C548D2958}"/>
              </a:ext>
            </a:extLst>
          </p:cNvPr>
          <p:cNvSpPr txBox="1"/>
          <p:nvPr/>
        </p:nvSpPr>
        <p:spPr>
          <a:xfrm>
            <a:off x="6092067" y="5250950"/>
            <a:ext cx="5937472" cy="502766"/>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FF0000"/>
                </a:solidFill>
                <a:effectLst/>
                <a:uLnTx/>
                <a:uFillTx/>
                <a:latin typeface="Calibri" panose="020F0502020204030204"/>
                <a:ea typeface="MS PGothic" panose="020B0600070205080204" pitchFamily="34" charset="-128"/>
                <a:cs typeface="+mn-cs"/>
              </a:rPr>
              <a:t>51% post-study </a:t>
            </a:r>
            <a:r>
              <a:rPr kumimoji="0" lang="en-US" sz="2667" b="1" i="0" u="none" strike="noStrike" kern="1200" cap="none" spc="0" normalizeH="0" baseline="0" noProof="0" dirty="0" err="1">
                <a:ln>
                  <a:noFill/>
                </a:ln>
                <a:solidFill>
                  <a:srgbClr val="FF0000"/>
                </a:solidFill>
                <a:effectLst/>
                <a:uLnTx/>
                <a:uFillTx/>
                <a:latin typeface="Calibri" panose="020F0502020204030204"/>
                <a:ea typeface="MS PGothic" panose="020B0600070205080204" pitchFamily="34" charset="-128"/>
                <a:cs typeface="+mn-cs"/>
              </a:rPr>
              <a:t>PARPi</a:t>
            </a:r>
            <a:r>
              <a:rPr kumimoji="0" lang="en-US" sz="2667" b="1" i="0" u="none" strike="noStrike" kern="1200" cap="none" spc="0" normalizeH="0" baseline="0" noProof="0" dirty="0">
                <a:ln>
                  <a:noFill/>
                </a:ln>
                <a:solidFill>
                  <a:srgbClr val="FF0000"/>
                </a:solidFill>
                <a:effectLst/>
                <a:uLnTx/>
                <a:uFillTx/>
                <a:latin typeface="Calibri" panose="020F0502020204030204"/>
                <a:ea typeface="MS PGothic" panose="020B0600070205080204" pitchFamily="34" charset="-128"/>
                <a:cs typeface="+mn-cs"/>
              </a:rPr>
              <a:t> in placebo group </a:t>
            </a:r>
          </a:p>
        </p:txBody>
      </p:sp>
      <p:sp>
        <p:nvSpPr>
          <p:cNvPr id="8" name="Textfeld 7">
            <a:extLst>
              <a:ext uri="{FF2B5EF4-FFF2-40B4-BE49-F238E27FC236}">
                <a16:creationId xmlns:a16="http://schemas.microsoft.com/office/drawing/2014/main" id="{CB2B399A-F124-2B3E-EAF5-8A8F510AAA54}"/>
              </a:ext>
            </a:extLst>
          </p:cNvPr>
          <p:cNvSpPr txBox="1"/>
          <p:nvPr/>
        </p:nvSpPr>
        <p:spPr>
          <a:xfrm>
            <a:off x="10632506" y="4004865"/>
            <a:ext cx="1071127" cy="369332"/>
          </a:xfrm>
          <a:prstGeom prst="rect">
            <a:avLst/>
          </a:prstGeom>
          <a:noFill/>
        </p:spPr>
        <p:txBody>
          <a:bodyPr wrap="none" rtlCol="0">
            <a:sp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0000"/>
                </a:solidFill>
                <a:effectLst/>
                <a:highlight>
                  <a:srgbClr val="FFFF00"/>
                </a:highlight>
                <a:uLnTx/>
                <a:uFillTx/>
                <a:latin typeface="Calibri" panose="020F0502020204030204" pitchFamily="34" charset="0"/>
                <a:ea typeface="MS PGothic" panose="020B0600070205080204" pitchFamily="34" charset="-128"/>
                <a:cs typeface="+mn-cs"/>
              </a:rPr>
              <a:t>𝛅 +17.2%</a:t>
            </a:r>
          </a:p>
        </p:txBody>
      </p:sp>
      <p:sp>
        <p:nvSpPr>
          <p:cNvPr id="10" name="Textfeld 9">
            <a:extLst>
              <a:ext uri="{FF2B5EF4-FFF2-40B4-BE49-F238E27FC236}">
                <a16:creationId xmlns:a16="http://schemas.microsoft.com/office/drawing/2014/main" id="{3D883D29-16E0-C681-FE8E-4FE3D324D981}"/>
              </a:ext>
            </a:extLst>
          </p:cNvPr>
          <p:cNvSpPr txBox="1"/>
          <p:nvPr/>
        </p:nvSpPr>
        <p:spPr>
          <a:xfrm>
            <a:off x="8328249" y="5729856"/>
            <a:ext cx="2126993" cy="369332"/>
          </a:xfrm>
          <a:prstGeom prst="rect">
            <a:avLst/>
          </a:prstGeom>
          <a:noFill/>
        </p:spPr>
        <p:txBody>
          <a:bodyPr wrap="none" rtlCol="0">
            <a:sp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 in-label population</a:t>
            </a:r>
          </a:p>
        </p:txBody>
      </p:sp>
      <p:sp>
        <p:nvSpPr>
          <p:cNvPr id="13" name="Textfeld 12">
            <a:extLst>
              <a:ext uri="{FF2B5EF4-FFF2-40B4-BE49-F238E27FC236}">
                <a16:creationId xmlns:a16="http://schemas.microsoft.com/office/drawing/2014/main" id="{8DE49D65-1215-3C50-4168-BDF411562452}"/>
              </a:ext>
            </a:extLst>
          </p:cNvPr>
          <p:cNvSpPr txBox="1"/>
          <p:nvPr/>
        </p:nvSpPr>
        <p:spPr>
          <a:xfrm>
            <a:off x="8328248" y="3758233"/>
            <a:ext cx="925253" cy="1107996"/>
          </a:xfrm>
          <a:prstGeom prst="rect">
            <a:avLst/>
          </a:prstGeom>
          <a:noFill/>
        </p:spPr>
        <p:txBody>
          <a:bodyPr wrap="square">
            <a:sp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6600" b="1" i="0" u="none" strike="noStrike" kern="1200" cap="none" spc="0" normalizeH="0" baseline="0" noProof="0" dirty="0">
                <a:ln>
                  <a:noFill/>
                </a:ln>
                <a:solidFill>
                  <a:srgbClr val="00B050"/>
                </a:solidFill>
                <a:effectLst/>
                <a:uLnTx/>
                <a:uFillTx/>
                <a:latin typeface="Calibri" panose="020F0502020204030204"/>
                <a:ea typeface="MS PGothic" panose="020B0600070205080204" pitchFamily="34" charset="-128"/>
                <a:cs typeface="+mn-cs"/>
              </a:rPr>
              <a:t>✓</a:t>
            </a:r>
            <a:endParaRPr kumimoji="0" lang="en-US" sz="6600" b="1" i="0" u="none" strike="noStrike" kern="1200" cap="none" spc="0" normalizeH="0" baseline="0" noProof="0" dirty="0">
              <a:ln>
                <a:noFill/>
              </a:ln>
              <a:solidFill>
                <a:srgbClr val="00B050"/>
              </a:solidFill>
              <a:effectLst/>
              <a:uLnTx/>
              <a:uFillTx/>
              <a:latin typeface="Calibri" panose="020F0502020204030204" pitchFamily="34" charset="0"/>
              <a:ea typeface="MS PGothic" panose="020B0600070205080204" pitchFamily="34" charset="-128"/>
              <a:cs typeface="+mn-cs"/>
            </a:endParaRPr>
          </a:p>
        </p:txBody>
      </p:sp>
      <p:sp>
        <p:nvSpPr>
          <p:cNvPr id="14" name="Textfeld 13">
            <a:extLst>
              <a:ext uri="{FF2B5EF4-FFF2-40B4-BE49-F238E27FC236}">
                <a16:creationId xmlns:a16="http://schemas.microsoft.com/office/drawing/2014/main" id="{D5F76D26-74E7-4668-ED81-8E10967DDFFF}"/>
              </a:ext>
            </a:extLst>
          </p:cNvPr>
          <p:cNvSpPr txBox="1"/>
          <p:nvPr/>
        </p:nvSpPr>
        <p:spPr>
          <a:xfrm>
            <a:off x="2102093" y="3957780"/>
            <a:ext cx="829212" cy="1015663"/>
          </a:xfrm>
          <a:prstGeom prst="rect">
            <a:avLst/>
          </a:prstGeom>
          <a:noFill/>
        </p:spPr>
        <p:txBody>
          <a:bodyPr wrap="square">
            <a:sp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6000" b="1" i="0" u="none" strike="noStrike" kern="1200" cap="none" spc="0" normalizeH="0" baseline="0" noProof="0" dirty="0">
                <a:ln>
                  <a:noFill/>
                </a:ln>
                <a:solidFill>
                  <a:srgbClr val="FF0000"/>
                </a:solidFill>
                <a:effectLst/>
                <a:uLnTx/>
                <a:uFillTx/>
                <a:latin typeface="Calibri" panose="020F0502020204030204"/>
                <a:ea typeface="MS PGothic" panose="020B0600070205080204" pitchFamily="34" charset="-128"/>
                <a:cs typeface="+mn-cs"/>
              </a:rPr>
              <a:t>✗</a:t>
            </a:r>
            <a:endParaRPr kumimoji="0" lang="en-US" sz="6000" b="1" i="0" u="none" strike="noStrike" kern="1200" cap="none" spc="0" normalizeH="0" baseline="0" noProof="0" dirty="0">
              <a:ln>
                <a:noFill/>
              </a:ln>
              <a:solidFill>
                <a:srgbClr val="FF0000"/>
              </a:solidFill>
              <a:effectLst/>
              <a:uLnTx/>
              <a:uFillTx/>
              <a:latin typeface="Calibri" panose="020F0502020204030204" pitchFamily="34" charset="0"/>
              <a:ea typeface="MS PGothic" panose="020B0600070205080204" pitchFamily="34" charset="-128"/>
              <a:cs typeface="+mn-cs"/>
            </a:endParaRPr>
          </a:p>
        </p:txBody>
      </p:sp>
      <p:sp>
        <p:nvSpPr>
          <p:cNvPr id="3" name="Textfeld 2">
            <a:extLst>
              <a:ext uri="{FF2B5EF4-FFF2-40B4-BE49-F238E27FC236}">
                <a16:creationId xmlns:a16="http://schemas.microsoft.com/office/drawing/2014/main" id="{08F98DCC-638A-648E-DF51-9DCDA18F52BC}"/>
              </a:ext>
            </a:extLst>
          </p:cNvPr>
          <p:cNvSpPr txBox="1"/>
          <p:nvPr/>
        </p:nvSpPr>
        <p:spPr>
          <a:xfrm>
            <a:off x="1736760" y="5661985"/>
            <a:ext cx="2775247" cy="369332"/>
          </a:xfrm>
          <a:prstGeom prst="rect">
            <a:avLst/>
          </a:prstGeom>
          <a:noFill/>
        </p:spPr>
        <p:txBody>
          <a:bodyPr wrap="none" rtlCol="0">
            <a:sp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Primary analysis population</a:t>
            </a:r>
          </a:p>
        </p:txBody>
      </p:sp>
    </p:spTree>
    <p:extLst>
      <p:ext uri="{BB962C8B-B14F-4D97-AF65-F5344CB8AC3E}">
        <p14:creationId xmlns:p14="http://schemas.microsoft.com/office/powerpoint/2010/main" val="1706312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038D539-AA20-4D0D-FE12-FA66380D0446}"/>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C616CE5E-AD28-67C9-183F-810133451EE0}"/>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a:xfrm>
            <a:off x="5163932" y="3950681"/>
            <a:ext cx="4747683" cy="2429966"/>
          </a:xfrm>
          <a:prstGeom prst="rect">
            <a:avLst/>
          </a:prstGeom>
        </p:spPr>
      </p:pic>
      <p:pic>
        <p:nvPicPr>
          <p:cNvPr id="10" name="Picture 9">
            <a:extLst>
              <a:ext uri="{FF2B5EF4-FFF2-40B4-BE49-F238E27FC236}">
                <a16:creationId xmlns:a16="http://schemas.microsoft.com/office/drawing/2014/main" id="{ABA26CE7-94ED-7CFA-503F-4386086FA68D}"/>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95249" y="3896435"/>
            <a:ext cx="5068683" cy="2529578"/>
          </a:xfrm>
          <a:prstGeom prst="rect">
            <a:avLst/>
          </a:prstGeom>
        </p:spPr>
      </p:pic>
      <p:pic>
        <p:nvPicPr>
          <p:cNvPr id="9" name="Picture 8">
            <a:extLst>
              <a:ext uri="{FF2B5EF4-FFF2-40B4-BE49-F238E27FC236}">
                <a16:creationId xmlns:a16="http://schemas.microsoft.com/office/drawing/2014/main" id="{66659274-E1A5-5674-D350-92C1583F3683}"/>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8079116" y="1610602"/>
            <a:ext cx="4071212" cy="2019791"/>
          </a:xfrm>
          <a:prstGeom prst="rect">
            <a:avLst/>
          </a:prstGeom>
        </p:spPr>
      </p:pic>
      <p:pic>
        <p:nvPicPr>
          <p:cNvPr id="8" name="Picture 7">
            <a:extLst>
              <a:ext uri="{FF2B5EF4-FFF2-40B4-BE49-F238E27FC236}">
                <a16:creationId xmlns:a16="http://schemas.microsoft.com/office/drawing/2014/main" id="{1168BEF4-4223-9086-6F53-24F136FE52B4}"/>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a:xfrm>
            <a:off x="4060117" y="1579843"/>
            <a:ext cx="4109260" cy="2110491"/>
          </a:xfrm>
          <a:prstGeom prst="rect">
            <a:avLst/>
          </a:prstGeom>
        </p:spPr>
      </p:pic>
      <p:pic>
        <p:nvPicPr>
          <p:cNvPr id="6" name="Picture 5">
            <a:extLst>
              <a:ext uri="{FF2B5EF4-FFF2-40B4-BE49-F238E27FC236}">
                <a16:creationId xmlns:a16="http://schemas.microsoft.com/office/drawing/2014/main" id="{022A1B6D-2048-229C-43BD-9DC25B99CE73}"/>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95249" y="1597026"/>
            <a:ext cx="3964867" cy="2046945"/>
          </a:xfrm>
          <a:prstGeom prst="rect">
            <a:avLst/>
          </a:prstGeom>
        </p:spPr>
      </p:pic>
      <p:sp>
        <p:nvSpPr>
          <p:cNvPr id="2" name="Title 1">
            <a:extLst>
              <a:ext uri="{FF2B5EF4-FFF2-40B4-BE49-F238E27FC236}">
                <a16:creationId xmlns:a16="http://schemas.microsoft.com/office/drawing/2014/main" id="{B70CB333-8104-8C2C-F105-C90D0E4C8B8B}"/>
              </a:ext>
            </a:extLst>
          </p:cNvPr>
          <p:cNvSpPr>
            <a:spLocks noGrp="1"/>
          </p:cNvSpPr>
          <p:nvPr>
            <p:ph type="title"/>
          </p:nvPr>
        </p:nvSpPr>
        <p:spPr/>
        <p:txBody>
          <a:bodyPr>
            <a:noAutofit/>
          </a:bodyPr>
          <a:lstStyle/>
          <a:p>
            <a:r>
              <a:rPr lang="en-US" dirty="0">
                <a:solidFill>
                  <a:srgbClr val="003865"/>
                </a:solidFill>
              </a:rPr>
              <a:t>PRIMA: No difference in OS was seen between niraparib and placebo arms in the overall, </a:t>
            </a:r>
            <a:r>
              <a:rPr lang="en-US" dirty="0" err="1">
                <a:solidFill>
                  <a:srgbClr val="003865"/>
                </a:solidFill>
              </a:rPr>
              <a:t>HRd</a:t>
            </a:r>
            <a:r>
              <a:rPr lang="en-US" dirty="0">
                <a:solidFill>
                  <a:srgbClr val="003865"/>
                </a:solidFill>
              </a:rPr>
              <a:t> and </a:t>
            </a:r>
            <a:r>
              <a:rPr lang="en-US" dirty="0" err="1">
                <a:solidFill>
                  <a:srgbClr val="003865"/>
                </a:solidFill>
              </a:rPr>
              <a:t>HRp</a:t>
            </a:r>
            <a:r>
              <a:rPr lang="en-US" dirty="0">
                <a:solidFill>
                  <a:srgbClr val="003865"/>
                </a:solidFill>
              </a:rPr>
              <a:t> populations, </a:t>
            </a:r>
            <a:r>
              <a:rPr lang="en-US" dirty="0" err="1">
                <a:solidFill>
                  <a:srgbClr val="003865"/>
                </a:solidFill>
              </a:rPr>
              <a:t>BRCAm</a:t>
            </a:r>
            <a:endParaRPr lang="en-US" dirty="0">
              <a:solidFill>
                <a:srgbClr val="004D72"/>
              </a:solidFill>
            </a:endParaRPr>
          </a:p>
        </p:txBody>
      </p:sp>
      <p:sp>
        <p:nvSpPr>
          <p:cNvPr id="4" name="Text Placeholder 3">
            <a:extLst>
              <a:ext uri="{FF2B5EF4-FFF2-40B4-BE49-F238E27FC236}">
                <a16:creationId xmlns:a16="http://schemas.microsoft.com/office/drawing/2014/main" id="{1DBB8B31-0CAF-40D2-2E84-A915DF6864DD}"/>
              </a:ext>
            </a:extLst>
          </p:cNvPr>
          <p:cNvSpPr>
            <a:spLocks noGrp="1"/>
          </p:cNvSpPr>
          <p:nvPr>
            <p:ph type="body" sz="quarter" idx="10"/>
          </p:nvPr>
        </p:nvSpPr>
        <p:spPr>
          <a:xfrm>
            <a:off x="5076191" y="6426013"/>
            <a:ext cx="11146756" cy="420687"/>
          </a:xfrm>
        </p:spPr>
        <p:txBody>
          <a:bodyPr anchor="b"/>
          <a:lstStyle/>
          <a:p>
            <a:pPr>
              <a:spcBef>
                <a:spcPts val="200"/>
              </a:spcBef>
            </a:pPr>
            <a:r>
              <a:rPr lang="en-US" sz="851" dirty="0"/>
              <a:t>62.5% maturity in overall population.</a:t>
            </a:r>
          </a:p>
          <a:p>
            <a:pPr>
              <a:spcBef>
                <a:spcPts val="200"/>
              </a:spcBef>
            </a:pPr>
            <a:r>
              <a:rPr lang="en-US" sz="851" dirty="0"/>
              <a:t>1. Monk B, et al. </a:t>
            </a:r>
            <a:r>
              <a:rPr lang="en-US" sz="851" i="1" dirty="0"/>
              <a:t>Ann Oncol. </a:t>
            </a:r>
            <a:r>
              <a:rPr lang="en-US" sz="851" dirty="0"/>
              <a:t>2024;35(11):981–992.</a:t>
            </a:r>
          </a:p>
        </p:txBody>
      </p:sp>
      <p:sp>
        <p:nvSpPr>
          <p:cNvPr id="3362" name="TextBox 3361">
            <a:extLst>
              <a:ext uri="{FF2B5EF4-FFF2-40B4-BE49-F238E27FC236}">
                <a16:creationId xmlns:a16="http://schemas.microsoft.com/office/drawing/2014/main" id="{EF819788-78C1-6398-7246-FEE4C100ED80}"/>
              </a:ext>
            </a:extLst>
          </p:cNvPr>
          <p:cNvSpPr txBox="1"/>
          <p:nvPr/>
        </p:nvSpPr>
        <p:spPr>
          <a:xfrm>
            <a:off x="403762" y="1339931"/>
            <a:ext cx="3431969" cy="24622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1000" b="1" i="0" u="none" strike="noStrike" kern="0" cap="none" spc="0" normalizeH="0" baseline="0" noProof="0" dirty="0">
                <a:ln/>
                <a:solidFill>
                  <a:srgbClr val="251607"/>
                </a:solidFill>
                <a:effectLst/>
                <a:uLnTx/>
                <a:uFillTx/>
                <a:latin typeface="Arial" panose="020B0604020202020204"/>
                <a:ea typeface="+mn-ea"/>
                <a:cs typeface="Arial Narrow" panose="020B0604020202020204" pitchFamily="34" charset="0"/>
                <a:sym typeface="Arial"/>
                <a:rtl val="0"/>
              </a:rPr>
              <a:t>Overall Population</a:t>
            </a:r>
            <a:endParaRPr kumimoji="0" lang="en-US" sz="1000" b="1" i="0" u="none" strike="noStrike" kern="0" cap="none" spc="0" normalizeH="0" baseline="30000" noProof="0" dirty="0">
              <a:ln/>
              <a:solidFill>
                <a:srgbClr val="251607"/>
              </a:solidFill>
              <a:effectLst/>
              <a:uLnTx/>
              <a:uFillTx/>
              <a:latin typeface="Arial" panose="020B0604020202020204"/>
              <a:ea typeface="+mn-ea"/>
              <a:cs typeface="Arial Narrow" panose="020B0604020202020204" pitchFamily="34" charset="0"/>
              <a:sym typeface="Arial"/>
              <a:rtl val="0"/>
            </a:endParaRPr>
          </a:p>
        </p:txBody>
      </p:sp>
      <p:sp>
        <p:nvSpPr>
          <p:cNvPr id="71" name="TextBox 70">
            <a:extLst>
              <a:ext uri="{FF2B5EF4-FFF2-40B4-BE49-F238E27FC236}">
                <a16:creationId xmlns:a16="http://schemas.microsoft.com/office/drawing/2014/main" id="{02B346AD-6CD8-4E19-7970-07C6D2182402}"/>
              </a:ext>
            </a:extLst>
          </p:cNvPr>
          <p:cNvSpPr txBox="1"/>
          <p:nvPr/>
        </p:nvSpPr>
        <p:spPr>
          <a:xfrm>
            <a:off x="4506686" y="1337953"/>
            <a:ext cx="3400301" cy="24622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1000" b="1" i="0" u="none" strike="noStrike" kern="0" cap="none" spc="0" normalizeH="0" baseline="0" noProof="0" dirty="0" err="1">
                <a:ln/>
                <a:solidFill>
                  <a:srgbClr val="251607"/>
                </a:solidFill>
                <a:effectLst/>
                <a:uLnTx/>
                <a:uFillTx/>
                <a:latin typeface="Arial" panose="020B0604020202020204"/>
                <a:ea typeface="+mn-ea"/>
                <a:cs typeface="Arial Narrow" panose="020B0604020202020204" pitchFamily="34" charset="0"/>
                <a:sym typeface="Arial"/>
                <a:rtl val="0"/>
              </a:rPr>
              <a:t>HRd</a:t>
            </a:r>
            <a:endParaRPr kumimoji="0" lang="en-US" sz="1000" b="1" i="0" u="none" strike="noStrike" kern="0" cap="none" spc="0" normalizeH="0" baseline="30000" noProof="0" dirty="0">
              <a:ln/>
              <a:solidFill>
                <a:srgbClr val="251607"/>
              </a:solidFill>
              <a:effectLst/>
              <a:uLnTx/>
              <a:uFillTx/>
              <a:latin typeface="Arial" panose="020B0604020202020204"/>
              <a:ea typeface="+mn-ea"/>
              <a:cs typeface="Arial Narrow" panose="020B0604020202020204" pitchFamily="34" charset="0"/>
              <a:sym typeface="Arial"/>
              <a:rtl val="0"/>
            </a:endParaRPr>
          </a:p>
        </p:txBody>
      </p:sp>
      <p:sp>
        <p:nvSpPr>
          <p:cNvPr id="74" name="TextBox 73">
            <a:extLst>
              <a:ext uri="{FF2B5EF4-FFF2-40B4-BE49-F238E27FC236}">
                <a16:creationId xmlns:a16="http://schemas.microsoft.com/office/drawing/2014/main" id="{EA066016-DE3C-7BE9-5209-115C750FC160}"/>
              </a:ext>
            </a:extLst>
          </p:cNvPr>
          <p:cNvSpPr txBox="1"/>
          <p:nvPr/>
        </p:nvSpPr>
        <p:spPr>
          <a:xfrm>
            <a:off x="8378480" y="1335894"/>
            <a:ext cx="3676886" cy="243949"/>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1000" b="1" i="0" u="none" strike="noStrike" kern="0" cap="none" spc="0" normalizeH="0" baseline="0" noProof="0" dirty="0" err="1">
                <a:ln/>
                <a:solidFill>
                  <a:srgbClr val="251607"/>
                </a:solidFill>
                <a:effectLst/>
                <a:uLnTx/>
                <a:uFillTx/>
                <a:latin typeface="Arial" panose="020B0604020202020204"/>
                <a:ea typeface="+mn-ea"/>
                <a:cs typeface="Arial Narrow" panose="020B0604020202020204" pitchFamily="34" charset="0"/>
                <a:sym typeface="Arial"/>
                <a:rtl val="0"/>
              </a:rPr>
              <a:t>HRp</a:t>
            </a:r>
            <a:endParaRPr kumimoji="0" lang="en-US" sz="1000" b="1" i="0" u="none" strike="noStrike" kern="0" cap="none" spc="0" normalizeH="0" baseline="30000" noProof="0" dirty="0">
              <a:ln/>
              <a:solidFill>
                <a:srgbClr val="251607"/>
              </a:solidFill>
              <a:effectLst/>
              <a:uLnTx/>
              <a:uFillTx/>
              <a:latin typeface="Arial" panose="020B0604020202020204"/>
              <a:ea typeface="+mn-ea"/>
              <a:cs typeface="Arial Narrow" panose="020B0604020202020204" pitchFamily="34" charset="0"/>
              <a:sym typeface="Arial"/>
              <a:rtl val="0"/>
            </a:endParaRPr>
          </a:p>
        </p:txBody>
      </p:sp>
      <p:sp>
        <p:nvSpPr>
          <p:cNvPr id="3" name="TextBox 2">
            <a:extLst>
              <a:ext uri="{FF2B5EF4-FFF2-40B4-BE49-F238E27FC236}">
                <a16:creationId xmlns:a16="http://schemas.microsoft.com/office/drawing/2014/main" id="{34CF7CAE-F91B-9F5B-71A1-00617F954FA7}"/>
              </a:ext>
            </a:extLst>
          </p:cNvPr>
          <p:cNvSpPr txBox="1"/>
          <p:nvPr/>
        </p:nvSpPr>
        <p:spPr>
          <a:xfrm>
            <a:off x="403762" y="3701209"/>
            <a:ext cx="4672429" cy="249472"/>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1000" b="1" i="0" u="none" strike="noStrike" kern="0" cap="none" spc="0" normalizeH="0" baseline="0" noProof="0" dirty="0" err="1">
                <a:ln/>
                <a:solidFill>
                  <a:srgbClr val="251607"/>
                </a:solidFill>
                <a:effectLst/>
                <a:uLnTx/>
                <a:uFillTx/>
                <a:latin typeface="Arial" panose="020B0604020202020204"/>
                <a:ea typeface="+mn-ea"/>
                <a:cs typeface="Arial Narrow" panose="020B0604020202020204" pitchFamily="34" charset="0"/>
                <a:sym typeface="Arial"/>
                <a:rtl val="0"/>
              </a:rPr>
              <a:t>HRd</a:t>
            </a:r>
            <a:r>
              <a:rPr kumimoji="0" lang="en-US" sz="1000" b="1" i="0" u="none" strike="noStrike" kern="0" cap="none" spc="0" normalizeH="0" baseline="0" noProof="0" dirty="0">
                <a:ln/>
                <a:solidFill>
                  <a:srgbClr val="251607"/>
                </a:solidFill>
                <a:effectLst/>
                <a:uLnTx/>
                <a:uFillTx/>
                <a:latin typeface="Arial" panose="020B0604020202020204"/>
                <a:ea typeface="+mn-ea"/>
                <a:cs typeface="Arial Narrow" panose="020B0604020202020204" pitchFamily="34" charset="0"/>
                <a:sym typeface="Arial"/>
                <a:rtl val="0"/>
              </a:rPr>
              <a:t>/</a:t>
            </a:r>
            <a:r>
              <a:rPr kumimoji="0" lang="en-US" sz="1000" b="1" i="0" u="none" strike="noStrike" kern="0" cap="none" spc="0" normalizeH="0" baseline="0" noProof="0" dirty="0" err="1">
                <a:ln/>
                <a:solidFill>
                  <a:srgbClr val="251607"/>
                </a:solidFill>
                <a:effectLst/>
                <a:uLnTx/>
                <a:uFillTx/>
                <a:latin typeface="Arial" panose="020B0604020202020204"/>
                <a:ea typeface="+mn-ea"/>
                <a:cs typeface="Arial Narrow" panose="020B0604020202020204" pitchFamily="34" charset="0"/>
                <a:sym typeface="Arial"/>
                <a:rtl val="0"/>
              </a:rPr>
              <a:t>BRCAm</a:t>
            </a:r>
            <a:endParaRPr kumimoji="0" lang="en-US" sz="1000" b="1" i="0" u="none" strike="noStrike" kern="0" cap="none" spc="0" normalizeH="0" baseline="0" noProof="0" dirty="0">
              <a:ln/>
              <a:solidFill>
                <a:srgbClr val="251607"/>
              </a:solidFill>
              <a:effectLst/>
              <a:uLnTx/>
              <a:uFillTx/>
              <a:latin typeface="Arial" panose="020B0604020202020204"/>
              <a:ea typeface="+mn-ea"/>
              <a:cs typeface="Arial Narrow" panose="020B0604020202020204" pitchFamily="34" charset="0"/>
              <a:sym typeface="Arial"/>
              <a:rtl val="0"/>
            </a:endParaRPr>
          </a:p>
        </p:txBody>
      </p:sp>
      <p:sp>
        <p:nvSpPr>
          <p:cNvPr id="5" name="TextBox 4">
            <a:extLst>
              <a:ext uri="{FF2B5EF4-FFF2-40B4-BE49-F238E27FC236}">
                <a16:creationId xmlns:a16="http://schemas.microsoft.com/office/drawing/2014/main" id="{77ED2456-A317-3038-1590-A30943FF8BFD}"/>
              </a:ext>
            </a:extLst>
          </p:cNvPr>
          <p:cNvSpPr txBox="1"/>
          <p:nvPr/>
        </p:nvSpPr>
        <p:spPr>
          <a:xfrm>
            <a:off x="5361753" y="3770075"/>
            <a:ext cx="4495628" cy="249472"/>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1000" b="1" i="0" u="none" strike="noStrike" kern="0" cap="none" spc="0" normalizeH="0" baseline="0" noProof="0" dirty="0" err="1">
                <a:ln/>
                <a:solidFill>
                  <a:srgbClr val="251607"/>
                </a:solidFill>
                <a:effectLst/>
                <a:uLnTx/>
                <a:uFillTx/>
                <a:latin typeface="Arial" panose="020B0604020202020204"/>
                <a:ea typeface="+mn-ea"/>
                <a:cs typeface="Arial Narrow" panose="020B0604020202020204" pitchFamily="34" charset="0"/>
                <a:sym typeface="Arial"/>
                <a:rtl val="0"/>
              </a:rPr>
              <a:t>HRd</a:t>
            </a:r>
            <a:r>
              <a:rPr kumimoji="0" lang="en-US" sz="1000" b="1" i="0" u="none" strike="noStrike" kern="0" cap="none" spc="0" normalizeH="0" baseline="0" noProof="0" dirty="0">
                <a:ln/>
                <a:solidFill>
                  <a:srgbClr val="251607"/>
                </a:solidFill>
                <a:effectLst/>
                <a:uLnTx/>
                <a:uFillTx/>
                <a:latin typeface="Arial" panose="020B0604020202020204"/>
                <a:ea typeface="+mn-ea"/>
                <a:cs typeface="Arial Narrow" panose="020B0604020202020204" pitchFamily="34" charset="0"/>
                <a:sym typeface="Arial"/>
                <a:rtl val="0"/>
              </a:rPr>
              <a:t>/</a:t>
            </a:r>
            <a:r>
              <a:rPr kumimoji="0" lang="en-US" sz="1000" b="1" i="0" u="none" strike="noStrike" kern="0" cap="none" spc="0" normalizeH="0" baseline="0" noProof="0" dirty="0" err="1">
                <a:ln/>
                <a:solidFill>
                  <a:srgbClr val="251607"/>
                </a:solidFill>
                <a:effectLst/>
                <a:uLnTx/>
                <a:uFillTx/>
                <a:latin typeface="Arial" panose="020B0604020202020204"/>
                <a:ea typeface="+mn-ea"/>
                <a:cs typeface="Arial Narrow" panose="020B0604020202020204" pitchFamily="34" charset="0"/>
                <a:sym typeface="Arial"/>
                <a:rtl val="0"/>
              </a:rPr>
              <a:t>BRCAwt</a:t>
            </a:r>
            <a:endParaRPr kumimoji="0" lang="en-US" sz="1000" b="1" i="0" u="none" strike="noStrike" kern="0" cap="none" spc="0" normalizeH="0" baseline="0" noProof="0" dirty="0">
              <a:ln/>
              <a:solidFill>
                <a:srgbClr val="251607"/>
              </a:solidFill>
              <a:effectLst/>
              <a:uLnTx/>
              <a:uFillTx/>
              <a:latin typeface="Arial" panose="020B0604020202020204"/>
              <a:ea typeface="+mn-ea"/>
              <a:cs typeface="Arial Narrow" panose="020B0604020202020204" pitchFamily="34" charset="0"/>
              <a:sym typeface="Arial"/>
              <a:rtl val="0"/>
            </a:endParaRPr>
          </a:p>
        </p:txBody>
      </p:sp>
      <p:sp>
        <p:nvSpPr>
          <p:cNvPr id="7" name="Text Placeholder 3">
            <a:extLst>
              <a:ext uri="{FF2B5EF4-FFF2-40B4-BE49-F238E27FC236}">
                <a16:creationId xmlns:a16="http://schemas.microsoft.com/office/drawing/2014/main" id="{4A7454EE-37FC-BDE5-7E85-00F91457516E}"/>
              </a:ext>
            </a:extLst>
          </p:cNvPr>
          <p:cNvSpPr txBox="1">
            <a:spLocks/>
          </p:cNvSpPr>
          <p:nvPr/>
        </p:nvSpPr>
        <p:spPr>
          <a:xfrm>
            <a:off x="7444317" y="6155474"/>
            <a:ext cx="4747683" cy="702527"/>
          </a:xfrm>
          <a:prstGeom prst="rect">
            <a:avLst/>
          </a:prstGeom>
        </p:spPr>
        <p:txBody>
          <a:bodyPr anchor="b"/>
          <a:lstStyle>
            <a:lvl1pPr marL="0" indent="0" algn="l" defTabSz="914400" rtl="0" eaLnBrk="1" latinLnBrk="0" hangingPunct="1">
              <a:lnSpc>
                <a:spcPct val="90000"/>
              </a:lnSpc>
              <a:spcBef>
                <a:spcPts val="0"/>
              </a:spcBef>
              <a:buFont typeface="Arial" panose="020B0604020202020204" pitchFamily="34" charset="0"/>
              <a:buNone/>
              <a:defRPr sz="1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77"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851" b="0" i="1" u="none" strike="noStrike" kern="1200" cap="none" spc="0" normalizeH="0" baseline="0" noProof="0" dirty="0" err="1">
                <a:ln>
                  <a:noFill/>
                </a:ln>
                <a:solidFill>
                  <a:srgbClr val="251607"/>
                </a:solidFill>
                <a:effectLst/>
                <a:uLnTx/>
                <a:uFillTx/>
                <a:latin typeface="Arial" panose="020B0604020202020204"/>
                <a:ea typeface="+mn-ea"/>
                <a:cs typeface="+mn-cs"/>
              </a:rPr>
              <a:t>BRCA</a:t>
            </a: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m</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a:t>
            </a:r>
            <a:r>
              <a:rPr kumimoji="0" lang="en-US" sz="851" b="0" i="1" u="none" strike="noStrike" kern="1200" cap="none" spc="0" normalizeH="0" baseline="0" noProof="0" dirty="0">
                <a:ln>
                  <a:noFill/>
                </a:ln>
                <a:solidFill>
                  <a:srgbClr val="251607"/>
                </a:solidFill>
                <a:effectLst/>
                <a:uLnTx/>
                <a:uFillTx/>
                <a:latin typeface="Arial" panose="020B0604020202020204"/>
                <a:ea typeface="+mn-ea"/>
                <a:cs typeface="+mn-cs"/>
              </a:rPr>
              <a:t>BRCA</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mutated; </a:t>
            </a:r>
            <a:r>
              <a:rPr kumimoji="0" lang="en-US" sz="851" b="0" i="1" u="none" strike="noStrike" kern="1200" cap="none" spc="0" normalizeH="0" baseline="0" noProof="0" dirty="0" err="1">
                <a:ln>
                  <a:noFill/>
                </a:ln>
                <a:solidFill>
                  <a:srgbClr val="251607"/>
                </a:solidFill>
                <a:effectLst/>
                <a:uLnTx/>
                <a:uFillTx/>
                <a:latin typeface="Arial" panose="020B0604020202020204"/>
                <a:ea typeface="+mn-ea"/>
                <a:cs typeface="+mn-cs"/>
              </a:rPr>
              <a:t>BRCA</a:t>
            </a: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wt</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a:t>
            </a:r>
            <a:r>
              <a:rPr kumimoji="0" lang="en-US" sz="851" b="0" i="1" u="none" strike="noStrike" kern="1200" cap="none" spc="0" normalizeH="0" baseline="0" noProof="0" dirty="0">
                <a:ln>
                  <a:noFill/>
                </a:ln>
                <a:solidFill>
                  <a:srgbClr val="251607"/>
                </a:solidFill>
                <a:effectLst/>
                <a:uLnTx/>
                <a:uFillTx/>
                <a:latin typeface="Arial" panose="020B0604020202020204"/>
                <a:ea typeface="+mn-ea"/>
                <a:cs typeface="+mn-cs"/>
              </a:rPr>
              <a:t>BRCA</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wild type; </a:t>
            </a:r>
            <a:b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b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CI, confidence interval; HR, hazard ratio; </a:t>
            </a:r>
            <a:b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b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HRd</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homologous recombination deficient; </a:t>
            </a:r>
            <a:b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br>
            <a:r>
              <a:rPr kumimoji="0" lang="en-US" sz="851" b="0" i="0" u="none" strike="noStrike" kern="1200" cap="none" spc="0" normalizeH="0" baseline="0" noProof="0" dirty="0" err="1">
                <a:ln>
                  <a:noFill/>
                </a:ln>
                <a:solidFill>
                  <a:srgbClr val="251607"/>
                </a:solidFill>
                <a:effectLst/>
                <a:uLnTx/>
                <a:uFillTx/>
                <a:latin typeface="Arial" panose="020B0604020202020204"/>
                <a:ea typeface="+mn-ea"/>
                <a:cs typeface="+mn-cs"/>
              </a:rPr>
              <a:t>HRp</a:t>
            </a:r>
            <a:r>
              <a:rPr kumimoji="0" lang="en-US" sz="851" b="0" i="0" u="none" strike="noStrike" kern="1200" cap="none" spc="0" normalizeH="0" baseline="0" noProof="0" dirty="0">
                <a:ln>
                  <a:noFill/>
                </a:ln>
                <a:solidFill>
                  <a:srgbClr val="251607"/>
                </a:solidFill>
                <a:effectLst/>
                <a:uLnTx/>
                <a:uFillTx/>
                <a:latin typeface="Arial" panose="020B0604020202020204"/>
                <a:ea typeface="+mn-ea"/>
                <a:cs typeface="+mn-cs"/>
              </a:rPr>
              <a:t>, homologous recombination proficient; OS, overall survival.</a:t>
            </a:r>
          </a:p>
        </p:txBody>
      </p:sp>
    </p:spTree>
    <p:extLst>
      <p:ext uri="{BB962C8B-B14F-4D97-AF65-F5344CB8AC3E}">
        <p14:creationId xmlns:p14="http://schemas.microsoft.com/office/powerpoint/2010/main" val="17294900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Konecny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219139725"/>
              </p:ext>
            </p:extLst>
          </p:nvPr>
        </p:nvGraphicFramePr>
        <p:xfrm>
          <a:off x="1236095" y="1960848"/>
          <a:ext cx="9719807" cy="1362258"/>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362258">
                <a:tc>
                  <a:txBody>
                    <a:bodyPr/>
                    <a:lstStyle/>
                    <a:p>
                      <a:pPr algn="ctr"/>
                      <a:r>
                        <a:rPr lang="en-US" sz="2000" b="0" kern="1200" dirty="0">
                          <a:solidFill>
                            <a:schemeClr val="tx1"/>
                          </a:solidFill>
                          <a:effectLst/>
                          <a:latin typeface="+mn-lt"/>
                          <a:ea typeface="+mn-ea"/>
                          <a:cs typeface="+mn-cs"/>
                        </a:rPr>
                        <a:t>No relevant financial relationships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832792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2DAB2-BAFB-A8B5-FC5A-DA7A7B12F40A}"/>
              </a:ext>
            </a:extLst>
          </p:cNvPr>
          <p:cNvSpPr>
            <a:spLocks noGrp="1"/>
          </p:cNvSpPr>
          <p:nvPr>
            <p:ph type="title"/>
          </p:nvPr>
        </p:nvSpPr>
        <p:spPr/>
        <p:txBody>
          <a:bodyPr/>
          <a:lstStyle/>
          <a:p>
            <a:r>
              <a:rPr lang="en-US" noProof="0" dirty="0"/>
              <a:t>PAOLA-1: PFS by </a:t>
            </a:r>
            <a:r>
              <a:rPr lang="en-US" u="sng" noProof="0" dirty="0"/>
              <a:t>clinical risk</a:t>
            </a:r>
            <a:r>
              <a:rPr lang="en-US" noProof="0" dirty="0"/>
              <a:t> in HRD-positive patients</a:t>
            </a:r>
          </a:p>
        </p:txBody>
      </p:sp>
      <p:sp>
        <p:nvSpPr>
          <p:cNvPr id="4" name="Text Placeholder 3">
            <a:extLst>
              <a:ext uri="{FF2B5EF4-FFF2-40B4-BE49-F238E27FC236}">
                <a16:creationId xmlns:a16="http://schemas.microsoft.com/office/drawing/2014/main" id="{C8E32C9D-710D-A2B0-4270-72E53D4C009D}"/>
              </a:ext>
            </a:extLst>
          </p:cNvPr>
          <p:cNvSpPr>
            <a:spLocks noGrp="1"/>
          </p:cNvSpPr>
          <p:nvPr>
            <p:ph type="body" sz="quarter" idx="10"/>
          </p:nvPr>
        </p:nvSpPr>
        <p:spPr>
          <a:xfrm>
            <a:off x="357435" y="6437314"/>
            <a:ext cx="11146756" cy="420687"/>
          </a:xfrm>
        </p:spPr>
        <p:txBody>
          <a:bodyPr anchor="b">
            <a:normAutofit fontScale="92500" lnSpcReduction="20000"/>
          </a:bodyPr>
          <a:lstStyle/>
          <a:p>
            <a:pPr>
              <a:spcBef>
                <a:spcPts val="200"/>
              </a:spcBef>
            </a:pPr>
            <a:r>
              <a:rPr lang="en-US" sz="851" baseline="30000" dirty="0" err="1"/>
              <a:t>a</a:t>
            </a:r>
            <a:r>
              <a:rPr lang="en-US" sz="851" dirty="0" err="1"/>
              <a:t>Unstable</a:t>
            </a:r>
            <a:r>
              <a:rPr lang="en-US" sz="851" dirty="0"/>
              <a:t> median due to lack of events.</a:t>
            </a:r>
          </a:p>
          <a:p>
            <a:pPr>
              <a:spcBef>
                <a:spcPts val="200"/>
              </a:spcBef>
            </a:pPr>
            <a:r>
              <a:rPr lang="en-US" sz="851" dirty="0" err="1"/>
              <a:t>bev</a:t>
            </a:r>
            <a:r>
              <a:rPr lang="en-US" sz="851" dirty="0"/>
              <a:t>, bevacizumab; CI, confidence interval; HR, hazard ratio; HRD, homologous recombination deficiency; NR, not reached; PFS, progression-free survival.</a:t>
            </a:r>
          </a:p>
          <a:p>
            <a:pPr>
              <a:spcBef>
                <a:spcPts val="200"/>
              </a:spcBef>
            </a:pPr>
            <a:r>
              <a:rPr lang="en-US" sz="851" dirty="0"/>
              <a:t>Harter P, et al. </a:t>
            </a:r>
            <a:r>
              <a:rPr lang="en-US" sz="851" i="1" dirty="0" err="1"/>
              <a:t>Gynecol</a:t>
            </a:r>
            <a:r>
              <a:rPr lang="en-US" sz="851" i="1" dirty="0"/>
              <a:t> Oncol</a:t>
            </a:r>
            <a:r>
              <a:rPr lang="en-US" sz="851" dirty="0"/>
              <a:t>. 2022;164(2):254–264.</a:t>
            </a:r>
          </a:p>
        </p:txBody>
      </p:sp>
      <p:sp>
        <p:nvSpPr>
          <p:cNvPr id="58" name="object 56">
            <a:extLst>
              <a:ext uri="{FF2B5EF4-FFF2-40B4-BE49-F238E27FC236}">
                <a16:creationId xmlns:a16="http://schemas.microsoft.com/office/drawing/2014/main" id="{109B8772-22E2-2C58-018A-68ACBBC72A22}"/>
              </a:ext>
            </a:extLst>
          </p:cNvPr>
          <p:cNvSpPr txBox="1"/>
          <p:nvPr/>
        </p:nvSpPr>
        <p:spPr>
          <a:xfrm>
            <a:off x="1738505" y="1237842"/>
            <a:ext cx="3285315" cy="241733"/>
          </a:xfrm>
          <a:prstGeom prst="rect">
            <a:avLst/>
          </a:prstGeom>
          <a:solidFill>
            <a:schemeClr val="bg1"/>
          </a:solidFill>
          <a:ln w="9525">
            <a:solidFill>
              <a:schemeClr val="bg1"/>
            </a:solidFill>
          </a:ln>
        </p:spPr>
        <p:txBody>
          <a:bodyPr vert="horz" wrap="square" lIns="0" tIns="26035" rIns="0" bIns="0" rtlCol="0">
            <a:spAutoFit/>
          </a:bodyPr>
          <a:lstStyle/>
          <a:p>
            <a:pPr marL="9525" marR="0" lvl="0" indent="0" algn="ctr" defTabSz="914377" rtl="0" eaLnBrk="1" fontAlgn="auto" latinLnBrk="0" hangingPunct="1">
              <a:lnSpc>
                <a:spcPct val="100000"/>
              </a:lnSpc>
              <a:spcBef>
                <a:spcPts val="204"/>
              </a:spcBef>
              <a:spcAft>
                <a:spcPts val="0"/>
              </a:spcAft>
              <a:buClrTx/>
              <a:buSzTx/>
              <a:buFontTx/>
              <a:buNone/>
              <a:tabLst/>
              <a:defRPr/>
            </a:pPr>
            <a:r>
              <a:rPr kumimoji="0" lang="en-US" sz="1400" b="1" i="0" u="none" strike="noStrike" kern="1200" cap="none" spc="0" normalizeH="0" baseline="0" noProof="0" dirty="0">
                <a:ln>
                  <a:noFill/>
                </a:ln>
                <a:solidFill>
                  <a:srgbClr val="251607"/>
                </a:solidFill>
                <a:effectLst/>
                <a:uLnTx/>
                <a:uFillTx/>
                <a:latin typeface="Arial"/>
                <a:ea typeface="+mn-ea"/>
                <a:cs typeface="Arial"/>
              </a:rPr>
              <a:t>Higher</a:t>
            </a:r>
            <a:r>
              <a:rPr kumimoji="0" lang="en-US" sz="1400" b="1" i="0" u="none" strike="noStrike" kern="1200" cap="none" spc="-60" normalizeH="0" baseline="0" noProof="0" dirty="0">
                <a:ln>
                  <a:noFill/>
                </a:ln>
                <a:solidFill>
                  <a:srgbClr val="251607"/>
                </a:solidFill>
                <a:effectLst/>
                <a:uLnTx/>
                <a:uFillTx/>
                <a:latin typeface="Arial"/>
                <a:ea typeface="+mn-ea"/>
                <a:cs typeface="Arial"/>
              </a:rPr>
              <a:t> </a:t>
            </a:r>
            <a:r>
              <a:rPr kumimoji="0" lang="en-US" sz="1400" b="1" i="0" u="none" strike="noStrike" kern="1200" cap="none" spc="-11" normalizeH="0" baseline="0" noProof="0" dirty="0">
                <a:ln>
                  <a:noFill/>
                </a:ln>
                <a:solidFill>
                  <a:srgbClr val="251607"/>
                </a:solidFill>
                <a:effectLst/>
                <a:uLnTx/>
                <a:uFillTx/>
                <a:latin typeface="Arial"/>
                <a:ea typeface="+mn-ea"/>
                <a:cs typeface="Arial"/>
              </a:rPr>
              <a:t>risk,</a:t>
            </a:r>
            <a:r>
              <a:rPr kumimoji="0" lang="en-US" sz="1400" b="0" i="0" u="none" strike="noStrike" kern="1200" cap="none" spc="0" normalizeH="0" baseline="0" noProof="0" dirty="0">
                <a:ln>
                  <a:noFill/>
                </a:ln>
                <a:solidFill>
                  <a:srgbClr val="251607"/>
                </a:solidFill>
                <a:effectLst/>
                <a:uLnTx/>
                <a:uFillTx/>
                <a:latin typeface="Arial"/>
                <a:ea typeface="+mn-ea"/>
                <a:cs typeface="Arial"/>
              </a:rPr>
              <a:t> </a:t>
            </a:r>
            <a:r>
              <a:rPr kumimoji="0" lang="en-US" sz="1400" b="1" i="0" u="none" strike="noStrike" kern="1200" cap="none" spc="-11" normalizeH="0" baseline="0" noProof="0" dirty="0">
                <a:ln>
                  <a:noFill/>
                </a:ln>
                <a:solidFill>
                  <a:srgbClr val="251607"/>
                </a:solidFill>
                <a:effectLst/>
                <a:uLnTx/>
                <a:uFillTx/>
                <a:latin typeface="Arial"/>
                <a:ea typeface="+mn-ea"/>
                <a:cs typeface="Arial"/>
              </a:rPr>
              <a:t>HRD</a:t>
            </a:r>
            <a:r>
              <a:rPr kumimoji="0" lang="en-US" sz="1400" b="1" i="0" u="none" strike="noStrike" kern="1200" cap="none" spc="-55" normalizeH="0" baseline="0" noProof="0" dirty="0">
                <a:ln>
                  <a:noFill/>
                </a:ln>
                <a:solidFill>
                  <a:srgbClr val="251607"/>
                </a:solidFill>
                <a:effectLst/>
                <a:uLnTx/>
                <a:uFillTx/>
                <a:latin typeface="Arial"/>
                <a:ea typeface="+mn-ea"/>
                <a:cs typeface="Arial"/>
              </a:rPr>
              <a:t>-</a:t>
            </a:r>
            <a:r>
              <a:rPr kumimoji="0" lang="en-US" sz="1400" b="1" i="0" u="none" strike="noStrike" kern="1200" cap="none" spc="-11" normalizeH="0" baseline="0" noProof="0" dirty="0">
                <a:ln>
                  <a:noFill/>
                </a:ln>
                <a:solidFill>
                  <a:srgbClr val="251607"/>
                </a:solidFill>
                <a:effectLst/>
                <a:uLnTx/>
                <a:uFillTx/>
                <a:latin typeface="Arial"/>
                <a:ea typeface="+mn-ea"/>
                <a:cs typeface="Arial"/>
              </a:rPr>
              <a:t>positive population</a:t>
            </a:r>
            <a:endParaRPr kumimoji="0" lang="en-US" sz="1400" b="0" i="0" u="none" strike="noStrike" kern="1200" cap="none" spc="0" normalizeH="0" baseline="0" noProof="0" dirty="0">
              <a:ln>
                <a:noFill/>
              </a:ln>
              <a:solidFill>
                <a:srgbClr val="251607"/>
              </a:solidFill>
              <a:effectLst/>
              <a:uLnTx/>
              <a:uFillTx/>
              <a:latin typeface="Arial"/>
              <a:ea typeface="+mn-ea"/>
              <a:cs typeface="Arial"/>
            </a:endParaRPr>
          </a:p>
        </p:txBody>
      </p:sp>
      <p:sp>
        <p:nvSpPr>
          <p:cNvPr id="63" name="object 61">
            <a:extLst>
              <a:ext uri="{FF2B5EF4-FFF2-40B4-BE49-F238E27FC236}">
                <a16:creationId xmlns:a16="http://schemas.microsoft.com/office/drawing/2014/main" id="{E827F38B-327B-71C8-1238-7B726ABEF2CC}"/>
              </a:ext>
            </a:extLst>
          </p:cNvPr>
          <p:cNvSpPr txBox="1"/>
          <p:nvPr/>
        </p:nvSpPr>
        <p:spPr>
          <a:xfrm>
            <a:off x="7498550" y="1215020"/>
            <a:ext cx="3625327" cy="241733"/>
          </a:xfrm>
          <a:prstGeom prst="rect">
            <a:avLst/>
          </a:prstGeom>
          <a:solidFill>
            <a:schemeClr val="bg1"/>
          </a:solidFill>
          <a:ln w="9525">
            <a:solidFill>
              <a:schemeClr val="bg1"/>
            </a:solidFill>
          </a:ln>
        </p:spPr>
        <p:txBody>
          <a:bodyPr vert="horz" wrap="square" lIns="0" tIns="26035" rIns="0" bIns="0" rtlCol="0">
            <a:spAutoFit/>
          </a:bodyPr>
          <a:lstStyle/>
          <a:p>
            <a:pPr marL="9525" marR="139062" lvl="0" indent="0" algn="ctr" defTabSz="914377" rtl="0" eaLnBrk="1" fontAlgn="auto" latinLnBrk="0" hangingPunct="1">
              <a:lnSpc>
                <a:spcPct val="100000"/>
              </a:lnSpc>
              <a:spcBef>
                <a:spcPts val="204"/>
              </a:spcBef>
              <a:spcAft>
                <a:spcPts val="0"/>
              </a:spcAft>
              <a:buClrTx/>
              <a:buSzTx/>
              <a:buFontTx/>
              <a:buNone/>
              <a:tabLst/>
              <a:defRPr/>
            </a:pPr>
            <a:r>
              <a:rPr kumimoji="0" lang="en-US" sz="1400" b="1" i="0" u="none" strike="noStrike" kern="1200" cap="none" spc="0" normalizeH="0" baseline="0" noProof="0" dirty="0">
                <a:ln>
                  <a:noFill/>
                </a:ln>
                <a:solidFill>
                  <a:srgbClr val="251607"/>
                </a:solidFill>
                <a:effectLst/>
                <a:uLnTx/>
                <a:uFillTx/>
                <a:latin typeface="Arial"/>
                <a:ea typeface="+mn-ea"/>
                <a:cs typeface="Arial"/>
              </a:rPr>
              <a:t>Lower</a:t>
            </a:r>
            <a:r>
              <a:rPr kumimoji="0" lang="en-US" sz="1400" b="1" i="0" u="none" strike="noStrike" kern="1200" cap="none" spc="-25" normalizeH="0" baseline="0" noProof="0" dirty="0">
                <a:ln>
                  <a:noFill/>
                </a:ln>
                <a:solidFill>
                  <a:srgbClr val="251607"/>
                </a:solidFill>
                <a:effectLst/>
                <a:uLnTx/>
                <a:uFillTx/>
                <a:latin typeface="Arial"/>
                <a:ea typeface="+mn-ea"/>
                <a:cs typeface="Arial"/>
              </a:rPr>
              <a:t> </a:t>
            </a:r>
            <a:r>
              <a:rPr kumimoji="0" lang="en-US" sz="1400" b="1" i="0" u="none" strike="noStrike" kern="1200" cap="none" spc="-11" normalizeH="0" baseline="0" noProof="0" dirty="0">
                <a:ln>
                  <a:noFill/>
                </a:ln>
                <a:solidFill>
                  <a:srgbClr val="251607"/>
                </a:solidFill>
                <a:effectLst/>
                <a:uLnTx/>
                <a:uFillTx/>
                <a:latin typeface="Arial"/>
                <a:ea typeface="+mn-ea"/>
                <a:cs typeface="Arial"/>
              </a:rPr>
              <a:t>risk, HRD</a:t>
            </a:r>
            <a:r>
              <a:rPr kumimoji="0" lang="en-US" sz="1400" b="1" i="0" u="none" strike="noStrike" kern="1200" cap="none" spc="-75" normalizeH="0" baseline="0" noProof="0" dirty="0">
                <a:ln>
                  <a:noFill/>
                </a:ln>
                <a:solidFill>
                  <a:srgbClr val="251607"/>
                </a:solidFill>
                <a:effectLst/>
                <a:uLnTx/>
                <a:uFillTx/>
                <a:latin typeface="Arial"/>
                <a:ea typeface="+mn-ea"/>
                <a:cs typeface="Arial"/>
              </a:rPr>
              <a:t>-</a:t>
            </a:r>
            <a:r>
              <a:rPr kumimoji="0" lang="en-US" sz="1400" b="1" i="0" u="none" strike="noStrike" kern="1200" cap="none" spc="-25" normalizeH="0" baseline="0" noProof="0" dirty="0">
                <a:ln>
                  <a:noFill/>
                </a:ln>
                <a:solidFill>
                  <a:srgbClr val="251607"/>
                </a:solidFill>
                <a:effectLst/>
                <a:uLnTx/>
                <a:uFillTx/>
                <a:latin typeface="Arial"/>
                <a:ea typeface="+mn-ea"/>
                <a:cs typeface="Arial"/>
              </a:rPr>
              <a:t>positive </a:t>
            </a:r>
            <a:r>
              <a:rPr kumimoji="0" lang="en-US" sz="1400" b="1" i="0" u="none" strike="noStrike" kern="1200" cap="none" spc="-11" normalizeH="0" baseline="0" noProof="0" dirty="0">
                <a:ln>
                  <a:noFill/>
                </a:ln>
                <a:solidFill>
                  <a:srgbClr val="251607"/>
                </a:solidFill>
                <a:effectLst/>
                <a:uLnTx/>
                <a:uFillTx/>
                <a:latin typeface="Arial"/>
                <a:ea typeface="+mn-ea"/>
                <a:cs typeface="Arial"/>
              </a:rPr>
              <a:t>population</a:t>
            </a:r>
            <a:endParaRPr kumimoji="0" lang="en-US" sz="1400" b="0" i="0" u="none" strike="noStrike" kern="1200" cap="none" spc="0" normalizeH="0" baseline="0" noProof="0" dirty="0">
              <a:ln>
                <a:noFill/>
              </a:ln>
              <a:solidFill>
                <a:srgbClr val="251607"/>
              </a:solidFill>
              <a:effectLst/>
              <a:uLnTx/>
              <a:uFillTx/>
              <a:latin typeface="Arial"/>
              <a:ea typeface="+mn-ea"/>
              <a:cs typeface="Arial"/>
            </a:endParaRPr>
          </a:p>
        </p:txBody>
      </p:sp>
      <p:sp>
        <p:nvSpPr>
          <p:cNvPr id="154" name="object 5">
            <a:extLst>
              <a:ext uri="{FF2B5EF4-FFF2-40B4-BE49-F238E27FC236}">
                <a16:creationId xmlns:a16="http://schemas.microsoft.com/office/drawing/2014/main" id="{C11CE58E-F2E9-527D-EC0F-CEAE58521723}"/>
              </a:ext>
            </a:extLst>
          </p:cNvPr>
          <p:cNvSpPr/>
          <p:nvPr/>
        </p:nvSpPr>
        <p:spPr>
          <a:xfrm>
            <a:off x="2648735" y="1888869"/>
            <a:ext cx="0" cy="1834991"/>
          </a:xfrm>
          <a:custGeom>
            <a:avLst/>
            <a:gdLst/>
            <a:ahLst/>
            <a:cxnLst/>
            <a:rect l="l" t="t" r="r" b="b"/>
            <a:pathLst>
              <a:path h="2446654">
                <a:moveTo>
                  <a:pt x="0" y="2446528"/>
                </a:moveTo>
                <a:lnTo>
                  <a:pt x="0" y="0"/>
                </a:lnTo>
              </a:path>
            </a:pathLst>
          </a:custGeom>
          <a:ln w="10728">
            <a:solidFill>
              <a:srgbClr val="000000"/>
            </a:solidFill>
            <a:prstDash val="sysDash"/>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55" name="object 6">
            <a:extLst>
              <a:ext uri="{FF2B5EF4-FFF2-40B4-BE49-F238E27FC236}">
                <a16:creationId xmlns:a16="http://schemas.microsoft.com/office/drawing/2014/main" id="{BA72A27D-437F-871A-79B8-8F0CD4E36C65}"/>
              </a:ext>
            </a:extLst>
          </p:cNvPr>
          <p:cNvSpPr/>
          <p:nvPr/>
        </p:nvSpPr>
        <p:spPr>
          <a:xfrm>
            <a:off x="3508399" y="2606672"/>
            <a:ext cx="0" cy="1113949"/>
          </a:xfrm>
          <a:custGeom>
            <a:avLst/>
            <a:gdLst/>
            <a:ahLst/>
            <a:cxnLst/>
            <a:rect l="l" t="t" r="r" b="b"/>
            <a:pathLst>
              <a:path h="1485264">
                <a:moveTo>
                  <a:pt x="0" y="1485011"/>
                </a:moveTo>
                <a:lnTo>
                  <a:pt x="0" y="0"/>
                </a:lnTo>
              </a:path>
            </a:pathLst>
          </a:custGeom>
          <a:ln w="10728">
            <a:solidFill>
              <a:srgbClr val="000000"/>
            </a:solidFill>
            <a:prstDash val="sysDash"/>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56" name="object 7">
            <a:extLst>
              <a:ext uri="{FF2B5EF4-FFF2-40B4-BE49-F238E27FC236}">
                <a16:creationId xmlns:a16="http://schemas.microsoft.com/office/drawing/2014/main" id="{BA034183-B12C-84B8-A7D0-FEF892FA0652}"/>
              </a:ext>
            </a:extLst>
          </p:cNvPr>
          <p:cNvSpPr/>
          <p:nvPr/>
        </p:nvSpPr>
        <p:spPr>
          <a:xfrm>
            <a:off x="1853271" y="1722561"/>
            <a:ext cx="2292191" cy="1694499"/>
          </a:xfrm>
          <a:custGeom>
            <a:avLst/>
            <a:gdLst/>
            <a:ahLst/>
            <a:cxnLst/>
            <a:rect l="l" t="t" r="r" b="b"/>
            <a:pathLst>
              <a:path w="3056254" h="2259329">
                <a:moveTo>
                  <a:pt x="3056001" y="2258949"/>
                </a:moveTo>
                <a:lnTo>
                  <a:pt x="2706497" y="2258949"/>
                </a:lnTo>
                <a:lnTo>
                  <a:pt x="2706497" y="2161794"/>
                </a:lnTo>
                <a:lnTo>
                  <a:pt x="2499487" y="2161794"/>
                </a:lnTo>
                <a:lnTo>
                  <a:pt x="2499487" y="2086737"/>
                </a:lnTo>
                <a:lnTo>
                  <a:pt x="2167890" y="2086737"/>
                </a:lnTo>
                <a:lnTo>
                  <a:pt x="2167890" y="2038223"/>
                </a:lnTo>
                <a:lnTo>
                  <a:pt x="2115439" y="2038223"/>
                </a:lnTo>
                <a:lnTo>
                  <a:pt x="2115439" y="1998091"/>
                </a:lnTo>
                <a:lnTo>
                  <a:pt x="2026412" y="1998091"/>
                </a:lnTo>
                <a:lnTo>
                  <a:pt x="2026412" y="1965325"/>
                </a:lnTo>
                <a:lnTo>
                  <a:pt x="2002916" y="1965325"/>
                </a:lnTo>
                <a:lnTo>
                  <a:pt x="2002916" y="1925193"/>
                </a:lnTo>
                <a:lnTo>
                  <a:pt x="1985137" y="1925193"/>
                </a:lnTo>
                <a:lnTo>
                  <a:pt x="1985137" y="1890395"/>
                </a:lnTo>
                <a:lnTo>
                  <a:pt x="1985137" y="1860804"/>
                </a:lnTo>
                <a:lnTo>
                  <a:pt x="1974850" y="1860804"/>
                </a:lnTo>
                <a:lnTo>
                  <a:pt x="1974850" y="1815338"/>
                </a:lnTo>
                <a:lnTo>
                  <a:pt x="1957959" y="1815338"/>
                </a:lnTo>
                <a:lnTo>
                  <a:pt x="1866138" y="1815338"/>
                </a:lnTo>
                <a:lnTo>
                  <a:pt x="1866138" y="1782699"/>
                </a:lnTo>
                <a:lnTo>
                  <a:pt x="1823974" y="1782699"/>
                </a:lnTo>
                <a:lnTo>
                  <a:pt x="1823974" y="1747774"/>
                </a:lnTo>
                <a:lnTo>
                  <a:pt x="1758442" y="1747774"/>
                </a:lnTo>
                <a:lnTo>
                  <a:pt x="1758442" y="1718183"/>
                </a:lnTo>
                <a:lnTo>
                  <a:pt x="1743456" y="1718183"/>
                </a:lnTo>
                <a:lnTo>
                  <a:pt x="1743456" y="1684401"/>
                </a:lnTo>
                <a:lnTo>
                  <a:pt x="1728470" y="1684401"/>
                </a:lnTo>
                <a:lnTo>
                  <a:pt x="1728470" y="1645412"/>
                </a:lnTo>
                <a:lnTo>
                  <a:pt x="1672208" y="1645412"/>
                </a:lnTo>
                <a:lnTo>
                  <a:pt x="1672208" y="1580896"/>
                </a:lnTo>
                <a:lnTo>
                  <a:pt x="1611376" y="1580896"/>
                </a:lnTo>
                <a:lnTo>
                  <a:pt x="1611376" y="1546098"/>
                </a:lnTo>
                <a:lnTo>
                  <a:pt x="1586102" y="1546098"/>
                </a:lnTo>
                <a:lnTo>
                  <a:pt x="1586102" y="1505966"/>
                </a:lnTo>
                <a:lnTo>
                  <a:pt x="1586102" y="1470025"/>
                </a:lnTo>
                <a:lnTo>
                  <a:pt x="1522349" y="1470025"/>
                </a:lnTo>
                <a:lnTo>
                  <a:pt x="1522349" y="1438402"/>
                </a:lnTo>
                <a:lnTo>
                  <a:pt x="1494282" y="1438402"/>
                </a:lnTo>
                <a:lnTo>
                  <a:pt x="1494282" y="1379220"/>
                </a:lnTo>
                <a:lnTo>
                  <a:pt x="1483995" y="1379220"/>
                </a:lnTo>
                <a:lnTo>
                  <a:pt x="1483995" y="1349629"/>
                </a:lnTo>
                <a:lnTo>
                  <a:pt x="1440814" y="1349629"/>
                </a:lnTo>
                <a:lnTo>
                  <a:pt x="1440814" y="1316863"/>
                </a:lnTo>
                <a:lnTo>
                  <a:pt x="1412748" y="1316863"/>
                </a:lnTo>
                <a:lnTo>
                  <a:pt x="1412748" y="1290574"/>
                </a:lnTo>
                <a:lnTo>
                  <a:pt x="1389380" y="1290574"/>
                </a:lnTo>
                <a:lnTo>
                  <a:pt x="1389380" y="1252474"/>
                </a:lnTo>
                <a:lnTo>
                  <a:pt x="1355598" y="1252474"/>
                </a:lnTo>
                <a:lnTo>
                  <a:pt x="1355598" y="1225042"/>
                </a:lnTo>
                <a:lnTo>
                  <a:pt x="1328420" y="1225042"/>
                </a:lnTo>
                <a:lnTo>
                  <a:pt x="1328420" y="1197610"/>
                </a:lnTo>
                <a:lnTo>
                  <a:pt x="1309751" y="1197610"/>
                </a:lnTo>
                <a:lnTo>
                  <a:pt x="1309751" y="1170177"/>
                </a:lnTo>
                <a:lnTo>
                  <a:pt x="1296543" y="1170177"/>
                </a:lnTo>
                <a:lnTo>
                  <a:pt x="1296543" y="1130046"/>
                </a:lnTo>
                <a:lnTo>
                  <a:pt x="1296543" y="1091946"/>
                </a:lnTo>
                <a:lnTo>
                  <a:pt x="1283462" y="1091946"/>
                </a:lnTo>
                <a:lnTo>
                  <a:pt x="1283462" y="1070864"/>
                </a:lnTo>
                <a:lnTo>
                  <a:pt x="1236599" y="1070864"/>
                </a:lnTo>
                <a:lnTo>
                  <a:pt x="1236599" y="1041273"/>
                </a:lnTo>
                <a:lnTo>
                  <a:pt x="1204721" y="1041273"/>
                </a:lnTo>
                <a:lnTo>
                  <a:pt x="1204721" y="1011682"/>
                </a:lnTo>
                <a:lnTo>
                  <a:pt x="1162558" y="1011682"/>
                </a:lnTo>
                <a:lnTo>
                  <a:pt x="1162558" y="912495"/>
                </a:lnTo>
                <a:lnTo>
                  <a:pt x="1137285" y="912495"/>
                </a:lnTo>
                <a:lnTo>
                  <a:pt x="1137285" y="893445"/>
                </a:lnTo>
                <a:lnTo>
                  <a:pt x="1110107" y="893445"/>
                </a:lnTo>
                <a:lnTo>
                  <a:pt x="1110107" y="863853"/>
                </a:lnTo>
                <a:lnTo>
                  <a:pt x="987425" y="863853"/>
                </a:lnTo>
                <a:lnTo>
                  <a:pt x="987425" y="758316"/>
                </a:lnTo>
                <a:lnTo>
                  <a:pt x="987425" y="742441"/>
                </a:lnTo>
                <a:lnTo>
                  <a:pt x="938657" y="742441"/>
                </a:lnTo>
                <a:lnTo>
                  <a:pt x="938657" y="709676"/>
                </a:lnTo>
                <a:lnTo>
                  <a:pt x="856233" y="709676"/>
                </a:lnTo>
                <a:lnTo>
                  <a:pt x="856233" y="673735"/>
                </a:lnTo>
                <a:lnTo>
                  <a:pt x="826262" y="673735"/>
                </a:lnTo>
                <a:lnTo>
                  <a:pt x="826262" y="644144"/>
                </a:lnTo>
                <a:lnTo>
                  <a:pt x="784098" y="644144"/>
                </a:lnTo>
                <a:lnTo>
                  <a:pt x="784098" y="585088"/>
                </a:lnTo>
                <a:lnTo>
                  <a:pt x="767333" y="585088"/>
                </a:lnTo>
                <a:lnTo>
                  <a:pt x="767333" y="550163"/>
                </a:lnTo>
                <a:lnTo>
                  <a:pt x="748538" y="550163"/>
                </a:lnTo>
                <a:lnTo>
                  <a:pt x="748538" y="536448"/>
                </a:lnTo>
                <a:lnTo>
                  <a:pt x="748538" y="496315"/>
                </a:lnTo>
                <a:lnTo>
                  <a:pt x="735457" y="496315"/>
                </a:lnTo>
                <a:lnTo>
                  <a:pt x="735457" y="458343"/>
                </a:lnTo>
                <a:lnTo>
                  <a:pt x="735457" y="437261"/>
                </a:lnTo>
                <a:lnTo>
                  <a:pt x="725169" y="437261"/>
                </a:lnTo>
                <a:lnTo>
                  <a:pt x="725169" y="399161"/>
                </a:lnTo>
                <a:lnTo>
                  <a:pt x="681101" y="399161"/>
                </a:lnTo>
                <a:lnTo>
                  <a:pt x="681101" y="378078"/>
                </a:lnTo>
                <a:lnTo>
                  <a:pt x="615442" y="378078"/>
                </a:lnTo>
                <a:lnTo>
                  <a:pt x="615442" y="345313"/>
                </a:lnTo>
                <a:lnTo>
                  <a:pt x="594868" y="345313"/>
                </a:lnTo>
                <a:lnTo>
                  <a:pt x="594868" y="310514"/>
                </a:lnTo>
                <a:lnTo>
                  <a:pt x="555498" y="310514"/>
                </a:lnTo>
                <a:lnTo>
                  <a:pt x="555498" y="283083"/>
                </a:lnTo>
                <a:lnTo>
                  <a:pt x="471169" y="283083"/>
                </a:lnTo>
                <a:lnTo>
                  <a:pt x="471169" y="244983"/>
                </a:lnTo>
                <a:lnTo>
                  <a:pt x="458088" y="244983"/>
                </a:lnTo>
                <a:lnTo>
                  <a:pt x="458088" y="217550"/>
                </a:lnTo>
                <a:lnTo>
                  <a:pt x="428117" y="217550"/>
                </a:lnTo>
                <a:lnTo>
                  <a:pt x="428117" y="179577"/>
                </a:lnTo>
                <a:lnTo>
                  <a:pt x="354075" y="179577"/>
                </a:lnTo>
                <a:lnTo>
                  <a:pt x="354075" y="149987"/>
                </a:lnTo>
                <a:lnTo>
                  <a:pt x="343788" y="149987"/>
                </a:lnTo>
                <a:lnTo>
                  <a:pt x="343788" y="118237"/>
                </a:lnTo>
                <a:lnTo>
                  <a:pt x="313817" y="118237"/>
                </a:lnTo>
                <a:lnTo>
                  <a:pt x="313817" y="60198"/>
                </a:lnTo>
                <a:lnTo>
                  <a:pt x="295148" y="60198"/>
                </a:lnTo>
                <a:lnTo>
                  <a:pt x="295148" y="31623"/>
                </a:lnTo>
                <a:lnTo>
                  <a:pt x="75946" y="31623"/>
                </a:lnTo>
                <a:lnTo>
                  <a:pt x="75946" y="0"/>
                </a:lnTo>
                <a:lnTo>
                  <a:pt x="0"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57" name="object 8">
            <a:extLst>
              <a:ext uri="{FF2B5EF4-FFF2-40B4-BE49-F238E27FC236}">
                <a16:creationId xmlns:a16="http://schemas.microsoft.com/office/drawing/2014/main" id="{6F95026E-6ED0-2D4A-46E8-F6E31EF4342E}"/>
              </a:ext>
            </a:extLst>
          </p:cNvPr>
          <p:cNvSpPr/>
          <p:nvPr/>
        </p:nvSpPr>
        <p:spPr>
          <a:xfrm>
            <a:off x="3920957" y="3399342"/>
            <a:ext cx="0" cy="33815"/>
          </a:xfrm>
          <a:custGeom>
            <a:avLst/>
            <a:gdLst/>
            <a:ahLst/>
            <a:cxnLst/>
            <a:rect l="l" t="t" r="r" b="b"/>
            <a:pathLst>
              <a:path h="45085">
                <a:moveTo>
                  <a:pt x="0" y="0"/>
                </a:moveTo>
                <a:lnTo>
                  <a:pt x="0" y="4483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58" name="object 9">
            <a:extLst>
              <a:ext uri="{FF2B5EF4-FFF2-40B4-BE49-F238E27FC236}">
                <a16:creationId xmlns:a16="http://schemas.microsoft.com/office/drawing/2014/main" id="{523DFAA8-5256-4C9D-90EA-257A43C5B9B7}"/>
              </a:ext>
            </a:extLst>
          </p:cNvPr>
          <p:cNvSpPr/>
          <p:nvPr/>
        </p:nvSpPr>
        <p:spPr>
          <a:xfrm>
            <a:off x="3903813" y="3416487"/>
            <a:ext cx="32385" cy="0"/>
          </a:xfrm>
          <a:custGeom>
            <a:avLst/>
            <a:gdLst/>
            <a:ahLst/>
            <a:cxnLst/>
            <a:rect l="l" t="t" r="r" b="b"/>
            <a:pathLst>
              <a:path w="43179">
                <a:moveTo>
                  <a:pt x="0" y="0"/>
                </a:moveTo>
                <a:lnTo>
                  <a:pt x="42926"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59" name="object 10">
            <a:extLst>
              <a:ext uri="{FF2B5EF4-FFF2-40B4-BE49-F238E27FC236}">
                <a16:creationId xmlns:a16="http://schemas.microsoft.com/office/drawing/2014/main" id="{A05219CE-B960-3567-A6A6-C1EEA9FD5063}"/>
              </a:ext>
            </a:extLst>
          </p:cNvPr>
          <p:cNvSpPr/>
          <p:nvPr/>
        </p:nvSpPr>
        <p:spPr>
          <a:xfrm>
            <a:off x="4095836" y="3399342"/>
            <a:ext cx="0" cy="33815"/>
          </a:xfrm>
          <a:custGeom>
            <a:avLst/>
            <a:gdLst/>
            <a:ahLst/>
            <a:cxnLst/>
            <a:rect l="l" t="t" r="r" b="b"/>
            <a:pathLst>
              <a:path h="45085">
                <a:moveTo>
                  <a:pt x="0" y="0"/>
                </a:moveTo>
                <a:lnTo>
                  <a:pt x="0" y="4483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60" name="object 11">
            <a:extLst>
              <a:ext uri="{FF2B5EF4-FFF2-40B4-BE49-F238E27FC236}">
                <a16:creationId xmlns:a16="http://schemas.microsoft.com/office/drawing/2014/main" id="{07937139-ED7D-17F3-9F1D-B60B28E219A8}"/>
              </a:ext>
            </a:extLst>
          </p:cNvPr>
          <p:cNvSpPr/>
          <p:nvPr/>
        </p:nvSpPr>
        <p:spPr>
          <a:xfrm>
            <a:off x="4078691" y="3416487"/>
            <a:ext cx="33815" cy="0"/>
          </a:xfrm>
          <a:custGeom>
            <a:avLst/>
            <a:gdLst/>
            <a:ahLst/>
            <a:cxnLst/>
            <a:rect l="l" t="t" r="r" b="b"/>
            <a:pathLst>
              <a:path w="45085">
                <a:moveTo>
                  <a:pt x="0" y="0"/>
                </a:moveTo>
                <a:lnTo>
                  <a:pt x="44831"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61" name="object 12">
            <a:extLst>
              <a:ext uri="{FF2B5EF4-FFF2-40B4-BE49-F238E27FC236}">
                <a16:creationId xmlns:a16="http://schemas.microsoft.com/office/drawing/2014/main" id="{928E3BBA-1E5A-C053-0195-1B303D80D102}"/>
              </a:ext>
            </a:extLst>
          </p:cNvPr>
          <p:cNvSpPr/>
          <p:nvPr/>
        </p:nvSpPr>
        <p:spPr>
          <a:xfrm>
            <a:off x="3936959" y="3399342"/>
            <a:ext cx="0" cy="33815"/>
          </a:xfrm>
          <a:custGeom>
            <a:avLst/>
            <a:gdLst/>
            <a:ahLst/>
            <a:cxnLst/>
            <a:rect l="l" t="t" r="r" b="b"/>
            <a:pathLst>
              <a:path h="45085">
                <a:moveTo>
                  <a:pt x="0" y="0"/>
                </a:moveTo>
                <a:lnTo>
                  <a:pt x="0" y="4483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62" name="object 13">
            <a:extLst>
              <a:ext uri="{FF2B5EF4-FFF2-40B4-BE49-F238E27FC236}">
                <a16:creationId xmlns:a16="http://schemas.microsoft.com/office/drawing/2014/main" id="{3CA1805F-D92D-08BB-BF90-4BE1E353EBA8}"/>
              </a:ext>
            </a:extLst>
          </p:cNvPr>
          <p:cNvSpPr/>
          <p:nvPr/>
        </p:nvSpPr>
        <p:spPr>
          <a:xfrm>
            <a:off x="3920958" y="3416487"/>
            <a:ext cx="32385" cy="0"/>
          </a:xfrm>
          <a:custGeom>
            <a:avLst/>
            <a:gdLst/>
            <a:ahLst/>
            <a:cxnLst/>
            <a:rect l="l" t="t" r="r" b="b"/>
            <a:pathLst>
              <a:path w="43179">
                <a:moveTo>
                  <a:pt x="0" y="0"/>
                </a:moveTo>
                <a:lnTo>
                  <a:pt x="42925"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63" name="object 14">
            <a:extLst>
              <a:ext uri="{FF2B5EF4-FFF2-40B4-BE49-F238E27FC236}">
                <a16:creationId xmlns:a16="http://schemas.microsoft.com/office/drawing/2014/main" id="{81608C8F-8F44-9D49-5B7D-D46B384A425B}"/>
              </a:ext>
            </a:extLst>
          </p:cNvPr>
          <p:cNvSpPr/>
          <p:nvPr/>
        </p:nvSpPr>
        <p:spPr>
          <a:xfrm>
            <a:off x="3717503" y="3270183"/>
            <a:ext cx="0" cy="33815"/>
          </a:xfrm>
          <a:custGeom>
            <a:avLst/>
            <a:gdLst/>
            <a:ahLst/>
            <a:cxnLst/>
            <a:rect l="l" t="t" r="r" b="b"/>
            <a:pathLst>
              <a:path h="45085">
                <a:moveTo>
                  <a:pt x="0" y="0"/>
                </a:moveTo>
                <a:lnTo>
                  <a:pt x="0" y="44831"/>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64" name="object 15">
            <a:extLst>
              <a:ext uri="{FF2B5EF4-FFF2-40B4-BE49-F238E27FC236}">
                <a16:creationId xmlns:a16="http://schemas.microsoft.com/office/drawing/2014/main" id="{17BC4FE7-57C3-BE4A-A76D-FB740C6EAC24}"/>
              </a:ext>
            </a:extLst>
          </p:cNvPr>
          <p:cNvSpPr/>
          <p:nvPr/>
        </p:nvSpPr>
        <p:spPr>
          <a:xfrm>
            <a:off x="3701502" y="3287328"/>
            <a:ext cx="33815" cy="0"/>
          </a:xfrm>
          <a:custGeom>
            <a:avLst/>
            <a:gdLst/>
            <a:ahLst/>
            <a:cxnLst/>
            <a:rect l="l" t="t" r="r" b="b"/>
            <a:pathLst>
              <a:path w="45085">
                <a:moveTo>
                  <a:pt x="0" y="0"/>
                </a:moveTo>
                <a:lnTo>
                  <a:pt x="44830"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65" name="object 16">
            <a:extLst>
              <a:ext uri="{FF2B5EF4-FFF2-40B4-BE49-F238E27FC236}">
                <a16:creationId xmlns:a16="http://schemas.microsoft.com/office/drawing/2014/main" id="{7BEBCE6D-C39D-9364-C00C-32B471A32665}"/>
              </a:ext>
            </a:extLst>
          </p:cNvPr>
          <p:cNvSpPr/>
          <p:nvPr/>
        </p:nvSpPr>
        <p:spPr>
          <a:xfrm>
            <a:off x="3816944" y="3327332"/>
            <a:ext cx="0" cy="33339"/>
          </a:xfrm>
          <a:custGeom>
            <a:avLst/>
            <a:gdLst/>
            <a:ahLst/>
            <a:cxnLst/>
            <a:rect l="l" t="t" r="r" b="b"/>
            <a:pathLst>
              <a:path h="44450">
                <a:moveTo>
                  <a:pt x="0" y="0"/>
                </a:moveTo>
                <a:lnTo>
                  <a:pt x="0" y="44195"/>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66" name="object 17">
            <a:extLst>
              <a:ext uri="{FF2B5EF4-FFF2-40B4-BE49-F238E27FC236}">
                <a16:creationId xmlns:a16="http://schemas.microsoft.com/office/drawing/2014/main" id="{C2F344D2-85C1-1FC5-60EE-8104FB544FCD}"/>
              </a:ext>
            </a:extLst>
          </p:cNvPr>
          <p:cNvSpPr/>
          <p:nvPr/>
        </p:nvSpPr>
        <p:spPr>
          <a:xfrm>
            <a:off x="3799799" y="3344479"/>
            <a:ext cx="33815" cy="0"/>
          </a:xfrm>
          <a:custGeom>
            <a:avLst/>
            <a:gdLst/>
            <a:ahLst/>
            <a:cxnLst/>
            <a:rect l="l" t="t" r="r" b="b"/>
            <a:pathLst>
              <a:path w="45085">
                <a:moveTo>
                  <a:pt x="0" y="0"/>
                </a:moveTo>
                <a:lnTo>
                  <a:pt x="44830"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67" name="object 18">
            <a:extLst>
              <a:ext uri="{FF2B5EF4-FFF2-40B4-BE49-F238E27FC236}">
                <a16:creationId xmlns:a16="http://schemas.microsoft.com/office/drawing/2014/main" id="{A4601BE6-3B40-9476-820F-73ED7871B118}"/>
              </a:ext>
            </a:extLst>
          </p:cNvPr>
          <p:cNvSpPr/>
          <p:nvPr/>
        </p:nvSpPr>
        <p:spPr>
          <a:xfrm>
            <a:off x="3629492" y="3270183"/>
            <a:ext cx="0" cy="33815"/>
          </a:xfrm>
          <a:custGeom>
            <a:avLst/>
            <a:gdLst/>
            <a:ahLst/>
            <a:cxnLst/>
            <a:rect l="l" t="t" r="r" b="b"/>
            <a:pathLst>
              <a:path h="45085">
                <a:moveTo>
                  <a:pt x="0" y="0"/>
                </a:moveTo>
                <a:lnTo>
                  <a:pt x="0" y="44831"/>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68" name="object 19">
            <a:extLst>
              <a:ext uri="{FF2B5EF4-FFF2-40B4-BE49-F238E27FC236}">
                <a16:creationId xmlns:a16="http://schemas.microsoft.com/office/drawing/2014/main" id="{958A96FD-23C7-2D92-FEC7-0D6725C19A7C}"/>
              </a:ext>
            </a:extLst>
          </p:cNvPr>
          <p:cNvSpPr/>
          <p:nvPr/>
        </p:nvSpPr>
        <p:spPr>
          <a:xfrm>
            <a:off x="3612347" y="3287328"/>
            <a:ext cx="33815" cy="0"/>
          </a:xfrm>
          <a:custGeom>
            <a:avLst/>
            <a:gdLst/>
            <a:ahLst/>
            <a:cxnLst/>
            <a:rect l="l" t="t" r="r" b="b"/>
            <a:pathLst>
              <a:path w="45085">
                <a:moveTo>
                  <a:pt x="0" y="0"/>
                </a:moveTo>
                <a:lnTo>
                  <a:pt x="44830"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69" name="object 20">
            <a:extLst>
              <a:ext uri="{FF2B5EF4-FFF2-40B4-BE49-F238E27FC236}">
                <a16:creationId xmlns:a16="http://schemas.microsoft.com/office/drawing/2014/main" id="{B3438BD7-C72C-D8CA-D259-617A018995C2}"/>
              </a:ext>
            </a:extLst>
          </p:cNvPr>
          <p:cNvSpPr/>
          <p:nvPr/>
        </p:nvSpPr>
        <p:spPr>
          <a:xfrm>
            <a:off x="3675211" y="3270183"/>
            <a:ext cx="0" cy="33815"/>
          </a:xfrm>
          <a:custGeom>
            <a:avLst/>
            <a:gdLst/>
            <a:ahLst/>
            <a:cxnLst/>
            <a:rect l="l" t="t" r="r" b="b"/>
            <a:pathLst>
              <a:path h="45085">
                <a:moveTo>
                  <a:pt x="0" y="0"/>
                </a:moveTo>
                <a:lnTo>
                  <a:pt x="0" y="44831"/>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70" name="object 21">
            <a:extLst>
              <a:ext uri="{FF2B5EF4-FFF2-40B4-BE49-F238E27FC236}">
                <a16:creationId xmlns:a16="http://schemas.microsoft.com/office/drawing/2014/main" id="{F84C18C3-ED00-45AF-14E5-31965E2D4084}"/>
              </a:ext>
            </a:extLst>
          </p:cNvPr>
          <p:cNvSpPr/>
          <p:nvPr/>
        </p:nvSpPr>
        <p:spPr>
          <a:xfrm>
            <a:off x="3658067" y="3287328"/>
            <a:ext cx="33815" cy="0"/>
          </a:xfrm>
          <a:custGeom>
            <a:avLst/>
            <a:gdLst/>
            <a:ahLst/>
            <a:cxnLst/>
            <a:rect l="l" t="t" r="r" b="b"/>
            <a:pathLst>
              <a:path w="45085">
                <a:moveTo>
                  <a:pt x="0" y="0"/>
                </a:moveTo>
                <a:lnTo>
                  <a:pt x="44830"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71" name="object 22">
            <a:extLst>
              <a:ext uri="{FF2B5EF4-FFF2-40B4-BE49-F238E27FC236}">
                <a16:creationId xmlns:a16="http://schemas.microsoft.com/office/drawing/2014/main" id="{C96439F2-67B7-AA23-36A4-7BD752F55AE2}"/>
              </a:ext>
            </a:extLst>
          </p:cNvPr>
          <p:cNvSpPr/>
          <p:nvPr/>
        </p:nvSpPr>
        <p:spPr>
          <a:xfrm>
            <a:off x="1853843" y="1699130"/>
            <a:ext cx="0" cy="34767"/>
          </a:xfrm>
          <a:custGeom>
            <a:avLst/>
            <a:gdLst/>
            <a:ahLst/>
            <a:cxnLst/>
            <a:rect l="l" t="t" r="r" b="b"/>
            <a:pathLst>
              <a:path h="46355">
                <a:moveTo>
                  <a:pt x="0" y="0"/>
                </a:moveTo>
                <a:lnTo>
                  <a:pt x="0" y="45847"/>
                </a:lnTo>
              </a:path>
            </a:pathLst>
          </a:custGeom>
          <a:ln w="10728">
            <a:solidFill>
              <a:srgbClr val="2A7521"/>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72" name="object 23">
            <a:extLst>
              <a:ext uri="{FF2B5EF4-FFF2-40B4-BE49-F238E27FC236}">
                <a16:creationId xmlns:a16="http://schemas.microsoft.com/office/drawing/2014/main" id="{4623D22B-9DD1-9493-7808-522CC5177D0F}"/>
              </a:ext>
            </a:extLst>
          </p:cNvPr>
          <p:cNvSpPr/>
          <p:nvPr/>
        </p:nvSpPr>
        <p:spPr>
          <a:xfrm>
            <a:off x="1836697" y="1717417"/>
            <a:ext cx="33815" cy="0"/>
          </a:xfrm>
          <a:custGeom>
            <a:avLst/>
            <a:gdLst/>
            <a:ahLst/>
            <a:cxnLst/>
            <a:rect l="l" t="t" r="r" b="b"/>
            <a:pathLst>
              <a:path w="45084">
                <a:moveTo>
                  <a:pt x="0" y="0"/>
                </a:moveTo>
                <a:lnTo>
                  <a:pt x="44831" y="0"/>
                </a:lnTo>
              </a:path>
            </a:pathLst>
          </a:custGeom>
          <a:ln w="10728">
            <a:solidFill>
              <a:srgbClr val="2A7521"/>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73" name="object 24">
            <a:extLst>
              <a:ext uri="{FF2B5EF4-FFF2-40B4-BE49-F238E27FC236}">
                <a16:creationId xmlns:a16="http://schemas.microsoft.com/office/drawing/2014/main" id="{489B16F8-F8D9-E790-0370-38B1765EFE3F}"/>
              </a:ext>
            </a:extLst>
          </p:cNvPr>
          <p:cNvSpPr/>
          <p:nvPr/>
        </p:nvSpPr>
        <p:spPr>
          <a:xfrm>
            <a:off x="3341455" y="3112450"/>
            <a:ext cx="0" cy="33815"/>
          </a:xfrm>
          <a:custGeom>
            <a:avLst/>
            <a:gdLst/>
            <a:ahLst/>
            <a:cxnLst/>
            <a:rect l="l" t="t" r="r" b="b"/>
            <a:pathLst>
              <a:path h="45085">
                <a:moveTo>
                  <a:pt x="0" y="0"/>
                </a:moveTo>
                <a:lnTo>
                  <a:pt x="0" y="44831"/>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74" name="object 25">
            <a:extLst>
              <a:ext uri="{FF2B5EF4-FFF2-40B4-BE49-F238E27FC236}">
                <a16:creationId xmlns:a16="http://schemas.microsoft.com/office/drawing/2014/main" id="{02068AA0-B0E2-3C1A-E5D7-12368FC27496}"/>
              </a:ext>
            </a:extLst>
          </p:cNvPr>
          <p:cNvSpPr/>
          <p:nvPr/>
        </p:nvSpPr>
        <p:spPr>
          <a:xfrm>
            <a:off x="3325454" y="3128451"/>
            <a:ext cx="32385" cy="0"/>
          </a:xfrm>
          <a:custGeom>
            <a:avLst/>
            <a:gdLst/>
            <a:ahLst/>
            <a:cxnLst/>
            <a:rect l="l" t="t" r="r" b="b"/>
            <a:pathLst>
              <a:path w="43179">
                <a:moveTo>
                  <a:pt x="0" y="0"/>
                </a:moveTo>
                <a:lnTo>
                  <a:pt x="42925"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75" name="object 26">
            <a:extLst>
              <a:ext uri="{FF2B5EF4-FFF2-40B4-BE49-F238E27FC236}">
                <a16:creationId xmlns:a16="http://schemas.microsoft.com/office/drawing/2014/main" id="{9BC4366D-AC45-DEEA-B1AB-1901DA92A35C}"/>
              </a:ext>
            </a:extLst>
          </p:cNvPr>
          <p:cNvSpPr/>
          <p:nvPr/>
        </p:nvSpPr>
        <p:spPr>
          <a:xfrm>
            <a:off x="2995127" y="2783266"/>
            <a:ext cx="0" cy="33815"/>
          </a:xfrm>
          <a:custGeom>
            <a:avLst/>
            <a:gdLst/>
            <a:ahLst/>
            <a:cxnLst/>
            <a:rect l="l" t="t" r="r" b="b"/>
            <a:pathLst>
              <a:path h="45085">
                <a:moveTo>
                  <a:pt x="0" y="0"/>
                </a:moveTo>
                <a:lnTo>
                  <a:pt x="0" y="44831"/>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76" name="object 27">
            <a:extLst>
              <a:ext uri="{FF2B5EF4-FFF2-40B4-BE49-F238E27FC236}">
                <a16:creationId xmlns:a16="http://schemas.microsoft.com/office/drawing/2014/main" id="{0966A81F-6103-766F-8132-FC8408492920}"/>
              </a:ext>
            </a:extLst>
          </p:cNvPr>
          <p:cNvSpPr/>
          <p:nvPr/>
        </p:nvSpPr>
        <p:spPr>
          <a:xfrm>
            <a:off x="2977982" y="2800411"/>
            <a:ext cx="33815" cy="0"/>
          </a:xfrm>
          <a:custGeom>
            <a:avLst/>
            <a:gdLst/>
            <a:ahLst/>
            <a:cxnLst/>
            <a:rect l="l" t="t" r="r" b="b"/>
            <a:pathLst>
              <a:path w="45085">
                <a:moveTo>
                  <a:pt x="0" y="0"/>
                </a:moveTo>
                <a:lnTo>
                  <a:pt x="44831"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77" name="object 28">
            <a:extLst>
              <a:ext uri="{FF2B5EF4-FFF2-40B4-BE49-F238E27FC236}">
                <a16:creationId xmlns:a16="http://schemas.microsoft.com/office/drawing/2014/main" id="{E4F44F88-D79A-B448-B717-E86847AC1C38}"/>
              </a:ext>
            </a:extLst>
          </p:cNvPr>
          <p:cNvSpPr/>
          <p:nvPr/>
        </p:nvSpPr>
        <p:spPr>
          <a:xfrm>
            <a:off x="2974552" y="2767263"/>
            <a:ext cx="0" cy="33815"/>
          </a:xfrm>
          <a:custGeom>
            <a:avLst/>
            <a:gdLst/>
            <a:ahLst/>
            <a:cxnLst/>
            <a:rect l="l" t="t" r="r" b="b"/>
            <a:pathLst>
              <a:path h="45085">
                <a:moveTo>
                  <a:pt x="0" y="0"/>
                </a:moveTo>
                <a:lnTo>
                  <a:pt x="0" y="44831"/>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78" name="object 29">
            <a:extLst>
              <a:ext uri="{FF2B5EF4-FFF2-40B4-BE49-F238E27FC236}">
                <a16:creationId xmlns:a16="http://schemas.microsoft.com/office/drawing/2014/main" id="{383BD4C0-EE01-5B7E-B762-5C7766917EA4}"/>
              </a:ext>
            </a:extLst>
          </p:cNvPr>
          <p:cNvSpPr/>
          <p:nvPr/>
        </p:nvSpPr>
        <p:spPr>
          <a:xfrm>
            <a:off x="2957409" y="2783264"/>
            <a:ext cx="33815" cy="0"/>
          </a:xfrm>
          <a:custGeom>
            <a:avLst/>
            <a:gdLst/>
            <a:ahLst/>
            <a:cxnLst/>
            <a:rect l="l" t="t" r="r" b="b"/>
            <a:pathLst>
              <a:path w="45085">
                <a:moveTo>
                  <a:pt x="0" y="0"/>
                </a:moveTo>
                <a:lnTo>
                  <a:pt x="44831"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79" name="object 30">
            <a:extLst>
              <a:ext uri="{FF2B5EF4-FFF2-40B4-BE49-F238E27FC236}">
                <a16:creationId xmlns:a16="http://schemas.microsoft.com/office/drawing/2014/main" id="{6F3099C7-BAD7-1716-F483-0F58E2353A0B}"/>
              </a:ext>
            </a:extLst>
          </p:cNvPr>
          <p:cNvSpPr/>
          <p:nvPr/>
        </p:nvSpPr>
        <p:spPr>
          <a:xfrm>
            <a:off x="2966552" y="2723830"/>
            <a:ext cx="0" cy="34767"/>
          </a:xfrm>
          <a:custGeom>
            <a:avLst/>
            <a:gdLst/>
            <a:ahLst/>
            <a:cxnLst/>
            <a:rect l="l" t="t" r="r" b="b"/>
            <a:pathLst>
              <a:path h="46354">
                <a:moveTo>
                  <a:pt x="0" y="0"/>
                </a:moveTo>
                <a:lnTo>
                  <a:pt x="0" y="45847"/>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80" name="object 31">
            <a:extLst>
              <a:ext uri="{FF2B5EF4-FFF2-40B4-BE49-F238E27FC236}">
                <a16:creationId xmlns:a16="http://schemas.microsoft.com/office/drawing/2014/main" id="{4C1484E5-9CBF-4B15-10DB-3380E1267189}"/>
              </a:ext>
            </a:extLst>
          </p:cNvPr>
          <p:cNvSpPr/>
          <p:nvPr/>
        </p:nvSpPr>
        <p:spPr>
          <a:xfrm>
            <a:off x="2950550" y="2742116"/>
            <a:ext cx="33815" cy="0"/>
          </a:xfrm>
          <a:custGeom>
            <a:avLst/>
            <a:gdLst/>
            <a:ahLst/>
            <a:cxnLst/>
            <a:rect l="l" t="t" r="r" b="b"/>
            <a:pathLst>
              <a:path w="45085">
                <a:moveTo>
                  <a:pt x="0" y="0"/>
                </a:moveTo>
                <a:lnTo>
                  <a:pt x="44831"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81" name="object 32">
            <a:extLst>
              <a:ext uri="{FF2B5EF4-FFF2-40B4-BE49-F238E27FC236}">
                <a16:creationId xmlns:a16="http://schemas.microsoft.com/office/drawing/2014/main" id="{A9063B95-937B-8514-A1C2-6F41815711B6}"/>
              </a:ext>
            </a:extLst>
          </p:cNvPr>
          <p:cNvSpPr/>
          <p:nvPr/>
        </p:nvSpPr>
        <p:spPr>
          <a:xfrm>
            <a:off x="3341455" y="3144454"/>
            <a:ext cx="0" cy="33815"/>
          </a:xfrm>
          <a:custGeom>
            <a:avLst/>
            <a:gdLst/>
            <a:ahLst/>
            <a:cxnLst/>
            <a:rect l="l" t="t" r="r" b="b"/>
            <a:pathLst>
              <a:path h="45085">
                <a:moveTo>
                  <a:pt x="0" y="0"/>
                </a:moveTo>
                <a:lnTo>
                  <a:pt x="0" y="4483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82" name="object 33">
            <a:extLst>
              <a:ext uri="{FF2B5EF4-FFF2-40B4-BE49-F238E27FC236}">
                <a16:creationId xmlns:a16="http://schemas.microsoft.com/office/drawing/2014/main" id="{475D9BEB-A901-7563-7A87-FBA489D0C731}"/>
              </a:ext>
            </a:extLst>
          </p:cNvPr>
          <p:cNvSpPr/>
          <p:nvPr/>
        </p:nvSpPr>
        <p:spPr>
          <a:xfrm>
            <a:off x="3325454" y="3161597"/>
            <a:ext cx="32385" cy="0"/>
          </a:xfrm>
          <a:custGeom>
            <a:avLst/>
            <a:gdLst/>
            <a:ahLst/>
            <a:cxnLst/>
            <a:rect l="l" t="t" r="r" b="b"/>
            <a:pathLst>
              <a:path w="43179">
                <a:moveTo>
                  <a:pt x="0" y="0"/>
                </a:moveTo>
                <a:lnTo>
                  <a:pt x="42925"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83" name="object 34">
            <a:extLst>
              <a:ext uri="{FF2B5EF4-FFF2-40B4-BE49-F238E27FC236}">
                <a16:creationId xmlns:a16="http://schemas.microsoft.com/office/drawing/2014/main" id="{E147CF97-301F-1C35-E906-156ACD920FF5}"/>
              </a:ext>
            </a:extLst>
          </p:cNvPr>
          <p:cNvSpPr/>
          <p:nvPr/>
        </p:nvSpPr>
        <p:spPr>
          <a:xfrm>
            <a:off x="4136984" y="3399342"/>
            <a:ext cx="0" cy="33815"/>
          </a:xfrm>
          <a:custGeom>
            <a:avLst/>
            <a:gdLst/>
            <a:ahLst/>
            <a:cxnLst/>
            <a:rect l="l" t="t" r="r" b="b"/>
            <a:pathLst>
              <a:path h="45085">
                <a:moveTo>
                  <a:pt x="0" y="0"/>
                </a:moveTo>
                <a:lnTo>
                  <a:pt x="0" y="4483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84" name="object 35">
            <a:extLst>
              <a:ext uri="{FF2B5EF4-FFF2-40B4-BE49-F238E27FC236}">
                <a16:creationId xmlns:a16="http://schemas.microsoft.com/office/drawing/2014/main" id="{A42FE1D0-2542-18E1-FE80-62CE2E1E9C37}"/>
              </a:ext>
            </a:extLst>
          </p:cNvPr>
          <p:cNvSpPr/>
          <p:nvPr/>
        </p:nvSpPr>
        <p:spPr>
          <a:xfrm>
            <a:off x="4120984" y="3416487"/>
            <a:ext cx="32385" cy="0"/>
          </a:xfrm>
          <a:custGeom>
            <a:avLst/>
            <a:gdLst/>
            <a:ahLst/>
            <a:cxnLst/>
            <a:rect l="l" t="t" r="r" b="b"/>
            <a:pathLst>
              <a:path w="43179">
                <a:moveTo>
                  <a:pt x="0" y="0"/>
                </a:moveTo>
                <a:lnTo>
                  <a:pt x="42925"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85" name="object 36">
            <a:extLst>
              <a:ext uri="{FF2B5EF4-FFF2-40B4-BE49-F238E27FC236}">
                <a16:creationId xmlns:a16="http://schemas.microsoft.com/office/drawing/2014/main" id="{48D868D7-0B49-CD7F-4627-7DC66B94A623}"/>
              </a:ext>
            </a:extLst>
          </p:cNvPr>
          <p:cNvSpPr/>
          <p:nvPr/>
        </p:nvSpPr>
        <p:spPr>
          <a:xfrm>
            <a:off x="3479188" y="3235324"/>
            <a:ext cx="0" cy="32385"/>
          </a:xfrm>
          <a:custGeom>
            <a:avLst/>
            <a:gdLst/>
            <a:ahLst/>
            <a:cxnLst/>
            <a:rect l="l" t="t" r="r" b="b"/>
            <a:pathLst>
              <a:path h="43179">
                <a:moveTo>
                  <a:pt x="0" y="0"/>
                </a:moveTo>
                <a:lnTo>
                  <a:pt x="0" y="43180"/>
                </a:lnTo>
              </a:path>
            </a:pathLst>
          </a:custGeom>
          <a:ln w="10728">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86" name="object 37">
            <a:extLst>
              <a:ext uri="{FF2B5EF4-FFF2-40B4-BE49-F238E27FC236}">
                <a16:creationId xmlns:a16="http://schemas.microsoft.com/office/drawing/2014/main" id="{3C048CA6-61F2-A5A2-0082-C9F23B89CD81}"/>
              </a:ext>
            </a:extLst>
          </p:cNvPr>
          <p:cNvSpPr/>
          <p:nvPr/>
        </p:nvSpPr>
        <p:spPr>
          <a:xfrm>
            <a:off x="3463186" y="3251324"/>
            <a:ext cx="32385" cy="0"/>
          </a:xfrm>
          <a:custGeom>
            <a:avLst/>
            <a:gdLst/>
            <a:ahLst/>
            <a:cxnLst/>
            <a:rect l="l" t="t" r="r" b="b"/>
            <a:pathLst>
              <a:path w="43179">
                <a:moveTo>
                  <a:pt x="0" y="0"/>
                </a:moveTo>
                <a:lnTo>
                  <a:pt x="42925" y="0"/>
                </a:lnTo>
              </a:path>
            </a:pathLst>
          </a:custGeom>
          <a:ln w="10728">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87" name="object 38">
            <a:extLst>
              <a:ext uri="{FF2B5EF4-FFF2-40B4-BE49-F238E27FC236}">
                <a16:creationId xmlns:a16="http://schemas.microsoft.com/office/drawing/2014/main" id="{34D03B96-17D4-9BEC-7670-4026E88087BE}"/>
              </a:ext>
            </a:extLst>
          </p:cNvPr>
          <p:cNvSpPr/>
          <p:nvPr/>
        </p:nvSpPr>
        <p:spPr>
          <a:xfrm>
            <a:off x="3544911" y="3270183"/>
            <a:ext cx="0" cy="33815"/>
          </a:xfrm>
          <a:custGeom>
            <a:avLst/>
            <a:gdLst/>
            <a:ahLst/>
            <a:cxnLst/>
            <a:rect l="l" t="t" r="r" b="b"/>
            <a:pathLst>
              <a:path h="45085">
                <a:moveTo>
                  <a:pt x="0" y="0"/>
                </a:moveTo>
                <a:lnTo>
                  <a:pt x="0" y="44831"/>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88" name="object 39">
            <a:extLst>
              <a:ext uri="{FF2B5EF4-FFF2-40B4-BE49-F238E27FC236}">
                <a16:creationId xmlns:a16="http://schemas.microsoft.com/office/drawing/2014/main" id="{4052C69B-2AA9-9BB4-780B-BD09ABE77456}"/>
              </a:ext>
            </a:extLst>
          </p:cNvPr>
          <p:cNvSpPr/>
          <p:nvPr/>
        </p:nvSpPr>
        <p:spPr>
          <a:xfrm>
            <a:off x="3527766" y="3287328"/>
            <a:ext cx="33815" cy="0"/>
          </a:xfrm>
          <a:custGeom>
            <a:avLst/>
            <a:gdLst/>
            <a:ahLst/>
            <a:cxnLst/>
            <a:rect l="l" t="t" r="r" b="b"/>
            <a:pathLst>
              <a:path w="45085">
                <a:moveTo>
                  <a:pt x="0" y="0"/>
                </a:moveTo>
                <a:lnTo>
                  <a:pt x="44830"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89" name="object 40">
            <a:extLst>
              <a:ext uri="{FF2B5EF4-FFF2-40B4-BE49-F238E27FC236}">
                <a16:creationId xmlns:a16="http://schemas.microsoft.com/office/drawing/2014/main" id="{2F295252-3292-C051-8C70-AC9E539AD6ED}"/>
              </a:ext>
            </a:extLst>
          </p:cNvPr>
          <p:cNvSpPr/>
          <p:nvPr/>
        </p:nvSpPr>
        <p:spPr>
          <a:xfrm>
            <a:off x="3794084" y="2689539"/>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90" name="object 41">
            <a:extLst>
              <a:ext uri="{FF2B5EF4-FFF2-40B4-BE49-F238E27FC236}">
                <a16:creationId xmlns:a16="http://schemas.microsoft.com/office/drawing/2014/main" id="{E6060206-3982-DD9F-2658-A65B7810C160}"/>
              </a:ext>
            </a:extLst>
          </p:cNvPr>
          <p:cNvSpPr/>
          <p:nvPr/>
        </p:nvSpPr>
        <p:spPr>
          <a:xfrm>
            <a:off x="3778084" y="2706684"/>
            <a:ext cx="32385" cy="0"/>
          </a:xfrm>
          <a:custGeom>
            <a:avLst/>
            <a:gdLst/>
            <a:ahLst/>
            <a:cxnLst/>
            <a:rect l="l" t="t" r="r" b="b"/>
            <a:pathLst>
              <a:path w="43179">
                <a:moveTo>
                  <a:pt x="0" y="0"/>
                </a:moveTo>
                <a:lnTo>
                  <a:pt x="42925"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91" name="object 42">
            <a:extLst>
              <a:ext uri="{FF2B5EF4-FFF2-40B4-BE49-F238E27FC236}">
                <a16:creationId xmlns:a16="http://schemas.microsoft.com/office/drawing/2014/main" id="{6B44913B-9AC8-CB47-90DF-6E76879FA33A}"/>
              </a:ext>
            </a:extLst>
          </p:cNvPr>
          <p:cNvSpPr/>
          <p:nvPr/>
        </p:nvSpPr>
        <p:spPr>
          <a:xfrm>
            <a:off x="3900383"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92" name="object 43">
            <a:extLst>
              <a:ext uri="{FF2B5EF4-FFF2-40B4-BE49-F238E27FC236}">
                <a16:creationId xmlns:a16="http://schemas.microsoft.com/office/drawing/2014/main" id="{44705A28-A0EC-A632-83B9-454E8FDB052C}"/>
              </a:ext>
            </a:extLst>
          </p:cNvPr>
          <p:cNvSpPr/>
          <p:nvPr/>
        </p:nvSpPr>
        <p:spPr>
          <a:xfrm>
            <a:off x="3884381" y="2707827"/>
            <a:ext cx="32385" cy="0"/>
          </a:xfrm>
          <a:custGeom>
            <a:avLst/>
            <a:gdLst/>
            <a:ahLst/>
            <a:cxnLst/>
            <a:rect l="l" t="t" r="r" b="b"/>
            <a:pathLst>
              <a:path w="43179">
                <a:moveTo>
                  <a:pt x="0" y="0"/>
                </a:moveTo>
                <a:lnTo>
                  <a:pt x="42925"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93" name="object 44">
            <a:extLst>
              <a:ext uri="{FF2B5EF4-FFF2-40B4-BE49-F238E27FC236}">
                <a16:creationId xmlns:a16="http://schemas.microsoft.com/office/drawing/2014/main" id="{99D869B9-A07B-0C10-224A-FF61A16A2966}"/>
              </a:ext>
            </a:extLst>
          </p:cNvPr>
          <p:cNvSpPr/>
          <p:nvPr/>
        </p:nvSpPr>
        <p:spPr>
          <a:xfrm>
            <a:off x="3371175" y="2553522"/>
            <a:ext cx="0" cy="33815"/>
          </a:xfrm>
          <a:custGeom>
            <a:avLst/>
            <a:gdLst/>
            <a:ahLst/>
            <a:cxnLst/>
            <a:rect l="l" t="t" r="r" b="b"/>
            <a:pathLst>
              <a:path h="45085">
                <a:moveTo>
                  <a:pt x="0" y="0"/>
                </a:moveTo>
                <a:lnTo>
                  <a:pt x="0" y="4483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94" name="object 45">
            <a:extLst>
              <a:ext uri="{FF2B5EF4-FFF2-40B4-BE49-F238E27FC236}">
                <a16:creationId xmlns:a16="http://schemas.microsoft.com/office/drawing/2014/main" id="{71D10290-E0CE-4ED8-EC17-7565E577CE05}"/>
              </a:ext>
            </a:extLst>
          </p:cNvPr>
          <p:cNvSpPr/>
          <p:nvPr/>
        </p:nvSpPr>
        <p:spPr>
          <a:xfrm>
            <a:off x="3355173" y="2569523"/>
            <a:ext cx="33815" cy="0"/>
          </a:xfrm>
          <a:custGeom>
            <a:avLst/>
            <a:gdLst/>
            <a:ahLst/>
            <a:cxnLst/>
            <a:rect l="l" t="t" r="r" b="b"/>
            <a:pathLst>
              <a:path w="45085">
                <a:moveTo>
                  <a:pt x="0" y="0"/>
                </a:moveTo>
                <a:lnTo>
                  <a:pt x="44830"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95" name="object 46">
            <a:extLst>
              <a:ext uri="{FF2B5EF4-FFF2-40B4-BE49-F238E27FC236}">
                <a16:creationId xmlns:a16="http://schemas.microsoft.com/office/drawing/2014/main" id="{1F2E51A7-5E18-0528-1092-6880F1B4E901}"/>
              </a:ext>
            </a:extLst>
          </p:cNvPr>
          <p:cNvSpPr/>
          <p:nvPr/>
        </p:nvSpPr>
        <p:spPr>
          <a:xfrm>
            <a:off x="2957407" y="2119184"/>
            <a:ext cx="0" cy="32385"/>
          </a:xfrm>
          <a:custGeom>
            <a:avLst/>
            <a:gdLst/>
            <a:ahLst/>
            <a:cxnLst/>
            <a:rect l="l" t="t" r="r" b="b"/>
            <a:pathLst>
              <a:path h="43180">
                <a:moveTo>
                  <a:pt x="0" y="0"/>
                </a:moveTo>
                <a:lnTo>
                  <a:pt x="0" y="4318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96" name="object 47">
            <a:extLst>
              <a:ext uri="{FF2B5EF4-FFF2-40B4-BE49-F238E27FC236}">
                <a16:creationId xmlns:a16="http://schemas.microsoft.com/office/drawing/2014/main" id="{15F72DF7-A01D-D1AC-1AC8-421292A36E88}"/>
              </a:ext>
            </a:extLst>
          </p:cNvPr>
          <p:cNvSpPr/>
          <p:nvPr/>
        </p:nvSpPr>
        <p:spPr>
          <a:xfrm>
            <a:off x="2941406" y="2135183"/>
            <a:ext cx="33815" cy="0"/>
          </a:xfrm>
          <a:custGeom>
            <a:avLst/>
            <a:gdLst/>
            <a:ahLst/>
            <a:cxnLst/>
            <a:rect l="l" t="t" r="r" b="b"/>
            <a:pathLst>
              <a:path w="45085">
                <a:moveTo>
                  <a:pt x="0" y="0"/>
                </a:moveTo>
                <a:lnTo>
                  <a:pt x="44831"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97" name="object 48">
            <a:extLst>
              <a:ext uri="{FF2B5EF4-FFF2-40B4-BE49-F238E27FC236}">
                <a16:creationId xmlns:a16="http://schemas.microsoft.com/office/drawing/2014/main" id="{41D7D32C-45EA-A3DA-42F3-4688306F887D}"/>
              </a:ext>
            </a:extLst>
          </p:cNvPr>
          <p:cNvSpPr/>
          <p:nvPr/>
        </p:nvSpPr>
        <p:spPr>
          <a:xfrm>
            <a:off x="3138003" y="2312350"/>
            <a:ext cx="0" cy="33815"/>
          </a:xfrm>
          <a:custGeom>
            <a:avLst/>
            <a:gdLst/>
            <a:ahLst/>
            <a:cxnLst/>
            <a:rect l="l" t="t" r="r" b="b"/>
            <a:pathLst>
              <a:path h="45085">
                <a:moveTo>
                  <a:pt x="0" y="0"/>
                </a:moveTo>
                <a:lnTo>
                  <a:pt x="0" y="4483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98" name="object 49">
            <a:extLst>
              <a:ext uri="{FF2B5EF4-FFF2-40B4-BE49-F238E27FC236}">
                <a16:creationId xmlns:a16="http://schemas.microsoft.com/office/drawing/2014/main" id="{B9803715-F62C-A039-B241-DB94B536C3C8}"/>
              </a:ext>
            </a:extLst>
          </p:cNvPr>
          <p:cNvSpPr/>
          <p:nvPr/>
        </p:nvSpPr>
        <p:spPr>
          <a:xfrm>
            <a:off x="3120856" y="2329493"/>
            <a:ext cx="34291" cy="0"/>
          </a:xfrm>
          <a:custGeom>
            <a:avLst/>
            <a:gdLst/>
            <a:ahLst/>
            <a:cxnLst/>
            <a:rect l="l" t="t" r="r" b="b"/>
            <a:pathLst>
              <a:path w="45719">
                <a:moveTo>
                  <a:pt x="0" y="0"/>
                </a:moveTo>
                <a:lnTo>
                  <a:pt x="45720"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199" name="object 50">
            <a:extLst>
              <a:ext uri="{FF2B5EF4-FFF2-40B4-BE49-F238E27FC236}">
                <a16:creationId xmlns:a16="http://schemas.microsoft.com/office/drawing/2014/main" id="{4D332D96-F93D-D0AE-7F30-7C1C8EFE0F3E}"/>
              </a:ext>
            </a:extLst>
          </p:cNvPr>
          <p:cNvSpPr/>
          <p:nvPr/>
        </p:nvSpPr>
        <p:spPr>
          <a:xfrm>
            <a:off x="2985983" y="2198050"/>
            <a:ext cx="0" cy="33815"/>
          </a:xfrm>
          <a:custGeom>
            <a:avLst/>
            <a:gdLst/>
            <a:ahLst/>
            <a:cxnLst/>
            <a:rect l="l" t="t" r="r" b="b"/>
            <a:pathLst>
              <a:path h="45085">
                <a:moveTo>
                  <a:pt x="0" y="0"/>
                </a:moveTo>
                <a:lnTo>
                  <a:pt x="0" y="4483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00" name="object 51">
            <a:extLst>
              <a:ext uri="{FF2B5EF4-FFF2-40B4-BE49-F238E27FC236}">
                <a16:creationId xmlns:a16="http://schemas.microsoft.com/office/drawing/2014/main" id="{6CDE676C-8A54-219A-EF5D-9E5D378913A4}"/>
              </a:ext>
            </a:extLst>
          </p:cNvPr>
          <p:cNvSpPr/>
          <p:nvPr/>
        </p:nvSpPr>
        <p:spPr>
          <a:xfrm>
            <a:off x="2968838" y="2215193"/>
            <a:ext cx="33815" cy="0"/>
          </a:xfrm>
          <a:custGeom>
            <a:avLst/>
            <a:gdLst/>
            <a:ahLst/>
            <a:cxnLst/>
            <a:rect l="l" t="t" r="r" b="b"/>
            <a:pathLst>
              <a:path w="45085">
                <a:moveTo>
                  <a:pt x="0" y="0"/>
                </a:moveTo>
                <a:lnTo>
                  <a:pt x="44831"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01" name="object 52">
            <a:extLst>
              <a:ext uri="{FF2B5EF4-FFF2-40B4-BE49-F238E27FC236}">
                <a16:creationId xmlns:a16="http://schemas.microsoft.com/office/drawing/2014/main" id="{94ECD6B6-F6D2-6FFE-8ACF-168705F8ECE6}"/>
              </a:ext>
            </a:extLst>
          </p:cNvPr>
          <p:cNvSpPr/>
          <p:nvPr/>
        </p:nvSpPr>
        <p:spPr>
          <a:xfrm>
            <a:off x="3484331" y="2591242"/>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02" name="object 53">
            <a:extLst>
              <a:ext uri="{FF2B5EF4-FFF2-40B4-BE49-F238E27FC236}">
                <a16:creationId xmlns:a16="http://schemas.microsoft.com/office/drawing/2014/main" id="{1DC8DACF-B5AE-FD31-4D3D-94D7983C71A1}"/>
              </a:ext>
            </a:extLst>
          </p:cNvPr>
          <p:cNvSpPr/>
          <p:nvPr/>
        </p:nvSpPr>
        <p:spPr>
          <a:xfrm>
            <a:off x="3468329" y="2608387"/>
            <a:ext cx="32385" cy="0"/>
          </a:xfrm>
          <a:custGeom>
            <a:avLst/>
            <a:gdLst/>
            <a:ahLst/>
            <a:cxnLst/>
            <a:rect l="l" t="t" r="r" b="b"/>
            <a:pathLst>
              <a:path w="43179">
                <a:moveTo>
                  <a:pt x="0" y="0"/>
                </a:moveTo>
                <a:lnTo>
                  <a:pt x="42925"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03" name="object 54">
            <a:extLst>
              <a:ext uri="{FF2B5EF4-FFF2-40B4-BE49-F238E27FC236}">
                <a16:creationId xmlns:a16="http://schemas.microsoft.com/office/drawing/2014/main" id="{12451324-60D2-DA17-1203-BAF9CDBDEF48}"/>
              </a:ext>
            </a:extLst>
          </p:cNvPr>
          <p:cNvSpPr/>
          <p:nvPr/>
        </p:nvSpPr>
        <p:spPr>
          <a:xfrm>
            <a:off x="3271733" y="2394646"/>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04" name="object 55">
            <a:extLst>
              <a:ext uri="{FF2B5EF4-FFF2-40B4-BE49-F238E27FC236}">
                <a16:creationId xmlns:a16="http://schemas.microsoft.com/office/drawing/2014/main" id="{6BBADCD1-0231-7012-20F8-CDE0A206F125}"/>
              </a:ext>
            </a:extLst>
          </p:cNvPr>
          <p:cNvSpPr/>
          <p:nvPr/>
        </p:nvSpPr>
        <p:spPr>
          <a:xfrm>
            <a:off x="3254587" y="2411789"/>
            <a:ext cx="33339" cy="0"/>
          </a:xfrm>
          <a:custGeom>
            <a:avLst/>
            <a:gdLst/>
            <a:ahLst/>
            <a:cxnLst/>
            <a:rect l="l" t="t" r="r" b="b"/>
            <a:pathLst>
              <a:path w="44450">
                <a:moveTo>
                  <a:pt x="0" y="0"/>
                </a:moveTo>
                <a:lnTo>
                  <a:pt x="43941"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05" name="object 56">
            <a:extLst>
              <a:ext uri="{FF2B5EF4-FFF2-40B4-BE49-F238E27FC236}">
                <a16:creationId xmlns:a16="http://schemas.microsoft.com/office/drawing/2014/main" id="{2C6B13D1-5B8F-BEC9-054F-E6051DB1305E}"/>
              </a:ext>
            </a:extLst>
          </p:cNvPr>
          <p:cNvSpPr/>
          <p:nvPr/>
        </p:nvSpPr>
        <p:spPr>
          <a:xfrm>
            <a:off x="3512905" y="2591242"/>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06" name="object 57">
            <a:extLst>
              <a:ext uri="{FF2B5EF4-FFF2-40B4-BE49-F238E27FC236}">
                <a16:creationId xmlns:a16="http://schemas.microsoft.com/office/drawing/2014/main" id="{1025C1AB-F9B0-9807-7BB1-CA6485FD17EB}"/>
              </a:ext>
            </a:extLst>
          </p:cNvPr>
          <p:cNvSpPr/>
          <p:nvPr/>
        </p:nvSpPr>
        <p:spPr>
          <a:xfrm>
            <a:off x="3495762" y="2608387"/>
            <a:ext cx="33815" cy="0"/>
          </a:xfrm>
          <a:custGeom>
            <a:avLst/>
            <a:gdLst/>
            <a:ahLst/>
            <a:cxnLst/>
            <a:rect l="l" t="t" r="r" b="b"/>
            <a:pathLst>
              <a:path w="45085">
                <a:moveTo>
                  <a:pt x="0" y="0"/>
                </a:moveTo>
                <a:lnTo>
                  <a:pt x="44830"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07" name="object 58">
            <a:extLst>
              <a:ext uri="{FF2B5EF4-FFF2-40B4-BE49-F238E27FC236}">
                <a16:creationId xmlns:a16="http://schemas.microsoft.com/office/drawing/2014/main" id="{32105467-1774-5C26-A815-680B2FF74AAE}"/>
              </a:ext>
            </a:extLst>
          </p:cNvPr>
          <p:cNvSpPr/>
          <p:nvPr/>
        </p:nvSpPr>
        <p:spPr>
          <a:xfrm>
            <a:off x="3578057" y="2606101"/>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08" name="object 59">
            <a:extLst>
              <a:ext uri="{FF2B5EF4-FFF2-40B4-BE49-F238E27FC236}">
                <a16:creationId xmlns:a16="http://schemas.microsoft.com/office/drawing/2014/main" id="{F3CB2EDB-8D1F-69C1-B698-01925C7AD99E}"/>
              </a:ext>
            </a:extLst>
          </p:cNvPr>
          <p:cNvSpPr/>
          <p:nvPr/>
        </p:nvSpPr>
        <p:spPr>
          <a:xfrm>
            <a:off x="3560911" y="2623245"/>
            <a:ext cx="33339" cy="0"/>
          </a:xfrm>
          <a:custGeom>
            <a:avLst/>
            <a:gdLst/>
            <a:ahLst/>
            <a:cxnLst/>
            <a:rect l="l" t="t" r="r" b="b"/>
            <a:pathLst>
              <a:path w="44450">
                <a:moveTo>
                  <a:pt x="0" y="0"/>
                </a:moveTo>
                <a:lnTo>
                  <a:pt x="43942"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09" name="object 60">
            <a:extLst>
              <a:ext uri="{FF2B5EF4-FFF2-40B4-BE49-F238E27FC236}">
                <a16:creationId xmlns:a16="http://schemas.microsoft.com/office/drawing/2014/main" id="{ACCF88DB-3740-903A-C147-6227D9E5E7D8}"/>
              </a:ext>
            </a:extLst>
          </p:cNvPr>
          <p:cNvSpPr/>
          <p:nvPr/>
        </p:nvSpPr>
        <p:spPr>
          <a:xfrm>
            <a:off x="2920831" y="2119184"/>
            <a:ext cx="0" cy="32385"/>
          </a:xfrm>
          <a:custGeom>
            <a:avLst/>
            <a:gdLst/>
            <a:ahLst/>
            <a:cxnLst/>
            <a:rect l="l" t="t" r="r" b="b"/>
            <a:pathLst>
              <a:path h="43180">
                <a:moveTo>
                  <a:pt x="0" y="0"/>
                </a:moveTo>
                <a:lnTo>
                  <a:pt x="0" y="4318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10" name="object 61">
            <a:extLst>
              <a:ext uri="{FF2B5EF4-FFF2-40B4-BE49-F238E27FC236}">
                <a16:creationId xmlns:a16="http://schemas.microsoft.com/office/drawing/2014/main" id="{0EC01BAD-E13E-217F-29D1-2F105C0B840C}"/>
              </a:ext>
            </a:extLst>
          </p:cNvPr>
          <p:cNvSpPr/>
          <p:nvPr/>
        </p:nvSpPr>
        <p:spPr>
          <a:xfrm>
            <a:off x="2903687" y="2135183"/>
            <a:ext cx="33815" cy="0"/>
          </a:xfrm>
          <a:custGeom>
            <a:avLst/>
            <a:gdLst/>
            <a:ahLst/>
            <a:cxnLst/>
            <a:rect l="l" t="t" r="r" b="b"/>
            <a:pathLst>
              <a:path w="45085">
                <a:moveTo>
                  <a:pt x="0" y="0"/>
                </a:moveTo>
                <a:lnTo>
                  <a:pt x="44831"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11" name="object 62">
            <a:extLst>
              <a:ext uri="{FF2B5EF4-FFF2-40B4-BE49-F238E27FC236}">
                <a16:creationId xmlns:a16="http://schemas.microsoft.com/office/drawing/2014/main" id="{F8C638F2-8D27-7543-5803-1D4DAD0745AA}"/>
              </a:ext>
            </a:extLst>
          </p:cNvPr>
          <p:cNvSpPr/>
          <p:nvPr/>
        </p:nvSpPr>
        <p:spPr>
          <a:xfrm>
            <a:off x="2241319" y="1790570"/>
            <a:ext cx="0" cy="33815"/>
          </a:xfrm>
          <a:custGeom>
            <a:avLst/>
            <a:gdLst/>
            <a:ahLst/>
            <a:cxnLst/>
            <a:rect l="l" t="t" r="r" b="b"/>
            <a:pathLst>
              <a:path h="45085">
                <a:moveTo>
                  <a:pt x="0" y="0"/>
                </a:moveTo>
                <a:lnTo>
                  <a:pt x="0" y="44831"/>
                </a:lnTo>
              </a:path>
            </a:pathLst>
          </a:custGeom>
          <a:ln w="10728">
            <a:solidFill>
              <a:srgbClr val="1F3863"/>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12" name="object 63">
            <a:extLst>
              <a:ext uri="{FF2B5EF4-FFF2-40B4-BE49-F238E27FC236}">
                <a16:creationId xmlns:a16="http://schemas.microsoft.com/office/drawing/2014/main" id="{257CC2F8-649A-46D1-E07D-EE65041DFD76}"/>
              </a:ext>
            </a:extLst>
          </p:cNvPr>
          <p:cNvSpPr/>
          <p:nvPr/>
        </p:nvSpPr>
        <p:spPr>
          <a:xfrm>
            <a:off x="2225317" y="1807715"/>
            <a:ext cx="32385" cy="0"/>
          </a:xfrm>
          <a:custGeom>
            <a:avLst/>
            <a:gdLst/>
            <a:ahLst/>
            <a:cxnLst/>
            <a:rect l="l" t="t" r="r" b="b"/>
            <a:pathLst>
              <a:path w="43180">
                <a:moveTo>
                  <a:pt x="0" y="0"/>
                </a:moveTo>
                <a:lnTo>
                  <a:pt x="42925" y="0"/>
                </a:lnTo>
              </a:path>
            </a:pathLst>
          </a:custGeom>
          <a:ln w="10728">
            <a:solidFill>
              <a:srgbClr val="8A034F"/>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13" name="object 64">
            <a:extLst>
              <a:ext uri="{FF2B5EF4-FFF2-40B4-BE49-F238E27FC236}">
                <a16:creationId xmlns:a16="http://schemas.microsoft.com/office/drawing/2014/main" id="{A61AD686-13F5-E9E6-070C-BC443BB0CEEC}"/>
              </a:ext>
            </a:extLst>
          </p:cNvPr>
          <p:cNvSpPr/>
          <p:nvPr/>
        </p:nvSpPr>
        <p:spPr>
          <a:xfrm>
            <a:off x="3395177" y="2553522"/>
            <a:ext cx="0" cy="33815"/>
          </a:xfrm>
          <a:custGeom>
            <a:avLst/>
            <a:gdLst/>
            <a:ahLst/>
            <a:cxnLst/>
            <a:rect l="l" t="t" r="r" b="b"/>
            <a:pathLst>
              <a:path h="45085">
                <a:moveTo>
                  <a:pt x="0" y="0"/>
                </a:moveTo>
                <a:lnTo>
                  <a:pt x="0" y="4483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14" name="object 65">
            <a:extLst>
              <a:ext uri="{FF2B5EF4-FFF2-40B4-BE49-F238E27FC236}">
                <a16:creationId xmlns:a16="http://schemas.microsoft.com/office/drawing/2014/main" id="{105C8EC3-735C-5B1F-8A49-C98D056A7D49}"/>
              </a:ext>
            </a:extLst>
          </p:cNvPr>
          <p:cNvSpPr/>
          <p:nvPr/>
        </p:nvSpPr>
        <p:spPr>
          <a:xfrm>
            <a:off x="3379177" y="2569523"/>
            <a:ext cx="32385" cy="0"/>
          </a:xfrm>
          <a:custGeom>
            <a:avLst/>
            <a:gdLst/>
            <a:ahLst/>
            <a:cxnLst/>
            <a:rect l="l" t="t" r="r" b="b"/>
            <a:pathLst>
              <a:path w="43179">
                <a:moveTo>
                  <a:pt x="0" y="0"/>
                </a:moveTo>
                <a:lnTo>
                  <a:pt x="42925"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15" name="object 66">
            <a:extLst>
              <a:ext uri="{FF2B5EF4-FFF2-40B4-BE49-F238E27FC236}">
                <a16:creationId xmlns:a16="http://schemas.microsoft.com/office/drawing/2014/main" id="{1C640B2F-1171-30F4-CD10-D679F085BB00}"/>
              </a:ext>
            </a:extLst>
          </p:cNvPr>
          <p:cNvSpPr/>
          <p:nvPr/>
        </p:nvSpPr>
        <p:spPr>
          <a:xfrm>
            <a:off x="3440896" y="2591242"/>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16" name="object 67">
            <a:extLst>
              <a:ext uri="{FF2B5EF4-FFF2-40B4-BE49-F238E27FC236}">
                <a16:creationId xmlns:a16="http://schemas.microsoft.com/office/drawing/2014/main" id="{4AD5ECE9-BA2C-1E0D-ADE6-6461F0FFD760}"/>
              </a:ext>
            </a:extLst>
          </p:cNvPr>
          <p:cNvSpPr/>
          <p:nvPr/>
        </p:nvSpPr>
        <p:spPr>
          <a:xfrm>
            <a:off x="3424896" y="2608387"/>
            <a:ext cx="32385" cy="0"/>
          </a:xfrm>
          <a:custGeom>
            <a:avLst/>
            <a:gdLst/>
            <a:ahLst/>
            <a:cxnLst/>
            <a:rect l="l" t="t" r="r" b="b"/>
            <a:pathLst>
              <a:path w="43179">
                <a:moveTo>
                  <a:pt x="0" y="0"/>
                </a:moveTo>
                <a:lnTo>
                  <a:pt x="42925"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17" name="object 68">
            <a:extLst>
              <a:ext uri="{FF2B5EF4-FFF2-40B4-BE49-F238E27FC236}">
                <a16:creationId xmlns:a16="http://schemas.microsoft.com/office/drawing/2014/main" id="{A2A50D79-F2EC-54F4-C674-4DFA591E3B1A}"/>
              </a:ext>
            </a:extLst>
          </p:cNvPr>
          <p:cNvSpPr/>
          <p:nvPr/>
        </p:nvSpPr>
        <p:spPr>
          <a:xfrm>
            <a:off x="3736935" y="2654106"/>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18" name="object 69">
            <a:extLst>
              <a:ext uri="{FF2B5EF4-FFF2-40B4-BE49-F238E27FC236}">
                <a16:creationId xmlns:a16="http://schemas.microsoft.com/office/drawing/2014/main" id="{277BFD68-37D4-E07E-87A3-3090B3E43163}"/>
              </a:ext>
            </a:extLst>
          </p:cNvPr>
          <p:cNvSpPr/>
          <p:nvPr/>
        </p:nvSpPr>
        <p:spPr>
          <a:xfrm>
            <a:off x="3720361" y="2671823"/>
            <a:ext cx="33815" cy="0"/>
          </a:xfrm>
          <a:custGeom>
            <a:avLst/>
            <a:gdLst/>
            <a:ahLst/>
            <a:cxnLst/>
            <a:rect l="l" t="t" r="r" b="b"/>
            <a:pathLst>
              <a:path w="45085">
                <a:moveTo>
                  <a:pt x="0" y="0"/>
                </a:moveTo>
                <a:lnTo>
                  <a:pt x="44831" y="0"/>
                </a:lnTo>
              </a:path>
            </a:pathLst>
          </a:custGeom>
          <a:ln w="10728">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19" name="object 70">
            <a:extLst>
              <a:ext uri="{FF2B5EF4-FFF2-40B4-BE49-F238E27FC236}">
                <a16:creationId xmlns:a16="http://schemas.microsoft.com/office/drawing/2014/main" id="{9E249232-EE96-2BB3-165E-97134D6C3912}"/>
              </a:ext>
            </a:extLst>
          </p:cNvPr>
          <p:cNvSpPr/>
          <p:nvPr/>
        </p:nvSpPr>
        <p:spPr>
          <a:xfrm>
            <a:off x="3752936" y="2654106"/>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20" name="object 71">
            <a:extLst>
              <a:ext uri="{FF2B5EF4-FFF2-40B4-BE49-F238E27FC236}">
                <a16:creationId xmlns:a16="http://schemas.microsoft.com/office/drawing/2014/main" id="{04A04AF0-20CE-483C-5F11-BEC07B3DC1CE}"/>
              </a:ext>
            </a:extLst>
          </p:cNvPr>
          <p:cNvSpPr/>
          <p:nvPr/>
        </p:nvSpPr>
        <p:spPr>
          <a:xfrm>
            <a:off x="3736934" y="2671251"/>
            <a:ext cx="33815" cy="0"/>
          </a:xfrm>
          <a:custGeom>
            <a:avLst/>
            <a:gdLst/>
            <a:ahLst/>
            <a:cxnLst/>
            <a:rect l="l" t="t" r="r" b="b"/>
            <a:pathLst>
              <a:path w="45085">
                <a:moveTo>
                  <a:pt x="0" y="0"/>
                </a:moveTo>
                <a:lnTo>
                  <a:pt x="44831"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21" name="object 72">
            <a:extLst>
              <a:ext uri="{FF2B5EF4-FFF2-40B4-BE49-F238E27FC236}">
                <a16:creationId xmlns:a16="http://schemas.microsoft.com/office/drawing/2014/main" id="{493C5187-C65D-8ADC-43E1-774AC4D25888}"/>
              </a:ext>
            </a:extLst>
          </p:cNvPr>
          <p:cNvSpPr/>
          <p:nvPr/>
        </p:nvSpPr>
        <p:spPr>
          <a:xfrm>
            <a:off x="3555196" y="2591242"/>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22" name="object 73">
            <a:extLst>
              <a:ext uri="{FF2B5EF4-FFF2-40B4-BE49-F238E27FC236}">
                <a16:creationId xmlns:a16="http://schemas.microsoft.com/office/drawing/2014/main" id="{65AB49BE-F867-B48A-B03E-A47FF86F874B}"/>
              </a:ext>
            </a:extLst>
          </p:cNvPr>
          <p:cNvSpPr/>
          <p:nvPr/>
        </p:nvSpPr>
        <p:spPr>
          <a:xfrm>
            <a:off x="3539196" y="2608387"/>
            <a:ext cx="32385" cy="0"/>
          </a:xfrm>
          <a:custGeom>
            <a:avLst/>
            <a:gdLst/>
            <a:ahLst/>
            <a:cxnLst/>
            <a:rect l="l" t="t" r="r" b="b"/>
            <a:pathLst>
              <a:path w="43179">
                <a:moveTo>
                  <a:pt x="0" y="0"/>
                </a:moveTo>
                <a:lnTo>
                  <a:pt x="42925"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23" name="object 74">
            <a:extLst>
              <a:ext uri="{FF2B5EF4-FFF2-40B4-BE49-F238E27FC236}">
                <a16:creationId xmlns:a16="http://schemas.microsoft.com/office/drawing/2014/main" id="{54BD9B91-CBB7-327D-B7FA-F3BC72CF4B07}"/>
              </a:ext>
            </a:extLst>
          </p:cNvPr>
          <p:cNvSpPr/>
          <p:nvPr/>
        </p:nvSpPr>
        <p:spPr>
          <a:xfrm>
            <a:off x="3965535"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24" name="object 75">
            <a:extLst>
              <a:ext uri="{FF2B5EF4-FFF2-40B4-BE49-F238E27FC236}">
                <a16:creationId xmlns:a16="http://schemas.microsoft.com/office/drawing/2014/main" id="{D734207D-B8FF-211E-0D35-067DBF4EE99B}"/>
              </a:ext>
            </a:extLst>
          </p:cNvPr>
          <p:cNvSpPr/>
          <p:nvPr/>
        </p:nvSpPr>
        <p:spPr>
          <a:xfrm>
            <a:off x="3949532" y="2707827"/>
            <a:ext cx="33339" cy="0"/>
          </a:xfrm>
          <a:custGeom>
            <a:avLst/>
            <a:gdLst/>
            <a:ahLst/>
            <a:cxnLst/>
            <a:rect l="l" t="t" r="r" b="b"/>
            <a:pathLst>
              <a:path w="44450">
                <a:moveTo>
                  <a:pt x="0" y="0"/>
                </a:moveTo>
                <a:lnTo>
                  <a:pt x="43942"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25" name="object 76">
            <a:extLst>
              <a:ext uri="{FF2B5EF4-FFF2-40B4-BE49-F238E27FC236}">
                <a16:creationId xmlns:a16="http://schemas.microsoft.com/office/drawing/2014/main" id="{D26C656E-6D89-FEF2-1D04-17E6ACA3BC12}"/>
              </a:ext>
            </a:extLst>
          </p:cNvPr>
          <p:cNvSpPr/>
          <p:nvPr/>
        </p:nvSpPr>
        <p:spPr>
          <a:xfrm>
            <a:off x="3994109"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26" name="object 77">
            <a:extLst>
              <a:ext uri="{FF2B5EF4-FFF2-40B4-BE49-F238E27FC236}">
                <a16:creationId xmlns:a16="http://schemas.microsoft.com/office/drawing/2014/main" id="{63B63B37-64E4-90EA-49F5-FB4CDFE0F363}"/>
              </a:ext>
            </a:extLst>
          </p:cNvPr>
          <p:cNvSpPr/>
          <p:nvPr/>
        </p:nvSpPr>
        <p:spPr>
          <a:xfrm>
            <a:off x="3978107" y="2707827"/>
            <a:ext cx="33815" cy="0"/>
          </a:xfrm>
          <a:custGeom>
            <a:avLst/>
            <a:gdLst/>
            <a:ahLst/>
            <a:cxnLst/>
            <a:rect l="l" t="t" r="r" b="b"/>
            <a:pathLst>
              <a:path w="45085">
                <a:moveTo>
                  <a:pt x="0" y="0"/>
                </a:moveTo>
                <a:lnTo>
                  <a:pt x="44831"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27" name="object 78">
            <a:extLst>
              <a:ext uri="{FF2B5EF4-FFF2-40B4-BE49-F238E27FC236}">
                <a16:creationId xmlns:a16="http://schemas.microsoft.com/office/drawing/2014/main" id="{A5470B41-E93E-D259-AA1D-0C4FC3EF9381}"/>
              </a:ext>
            </a:extLst>
          </p:cNvPr>
          <p:cNvSpPr/>
          <p:nvPr/>
        </p:nvSpPr>
        <p:spPr>
          <a:xfrm>
            <a:off x="3923243"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28" name="object 79">
            <a:extLst>
              <a:ext uri="{FF2B5EF4-FFF2-40B4-BE49-F238E27FC236}">
                <a16:creationId xmlns:a16="http://schemas.microsoft.com/office/drawing/2014/main" id="{D6855BF5-46C0-C95C-3AD1-466C433E3535}"/>
              </a:ext>
            </a:extLst>
          </p:cNvPr>
          <p:cNvSpPr/>
          <p:nvPr/>
        </p:nvSpPr>
        <p:spPr>
          <a:xfrm>
            <a:off x="3906098" y="2707827"/>
            <a:ext cx="33815" cy="0"/>
          </a:xfrm>
          <a:custGeom>
            <a:avLst/>
            <a:gdLst/>
            <a:ahLst/>
            <a:cxnLst/>
            <a:rect l="l" t="t" r="r" b="b"/>
            <a:pathLst>
              <a:path w="45085">
                <a:moveTo>
                  <a:pt x="0" y="0"/>
                </a:moveTo>
                <a:lnTo>
                  <a:pt x="44831"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29" name="object 80">
            <a:extLst>
              <a:ext uri="{FF2B5EF4-FFF2-40B4-BE49-F238E27FC236}">
                <a16:creationId xmlns:a16="http://schemas.microsoft.com/office/drawing/2014/main" id="{93A42F51-ACB9-586A-C318-B6CEF5816815}"/>
              </a:ext>
            </a:extLst>
          </p:cNvPr>
          <p:cNvSpPr/>
          <p:nvPr/>
        </p:nvSpPr>
        <p:spPr>
          <a:xfrm>
            <a:off x="4037543"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30" name="object 81">
            <a:extLst>
              <a:ext uri="{FF2B5EF4-FFF2-40B4-BE49-F238E27FC236}">
                <a16:creationId xmlns:a16="http://schemas.microsoft.com/office/drawing/2014/main" id="{CB193434-269F-5D9F-A5C5-836B94DF961C}"/>
              </a:ext>
            </a:extLst>
          </p:cNvPr>
          <p:cNvSpPr/>
          <p:nvPr/>
        </p:nvSpPr>
        <p:spPr>
          <a:xfrm>
            <a:off x="4020398" y="2707827"/>
            <a:ext cx="33815" cy="0"/>
          </a:xfrm>
          <a:custGeom>
            <a:avLst/>
            <a:gdLst/>
            <a:ahLst/>
            <a:cxnLst/>
            <a:rect l="l" t="t" r="r" b="b"/>
            <a:pathLst>
              <a:path w="45085">
                <a:moveTo>
                  <a:pt x="0" y="0"/>
                </a:moveTo>
                <a:lnTo>
                  <a:pt x="44831"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31" name="object 82">
            <a:extLst>
              <a:ext uri="{FF2B5EF4-FFF2-40B4-BE49-F238E27FC236}">
                <a16:creationId xmlns:a16="http://schemas.microsoft.com/office/drawing/2014/main" id="{5F0F28E9-F55B-CA7B-C4B1-0DD43494641C}"/>
              </a:ext>
            </a:extLst>
          </p:cNvPr>
          <p:cNvSpPr/>
          <p:nvPr/>
        </p:nvSpPr>
        <p:spPr>
          <a:xfrm>
            <a:off x="4020397"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32" name="object 83">
            <a:extLst>
              <a:ext uri="{FF2B5EF4-FFF2-40B4-BE49-F238E27FC236}">
                <a16:creationId xmlns:a16="http://schemas.microsoft.com/office/drawing/2014/main" id="{56005D03-379F-CC01-B494-52FCC8873C44}"/>
              </a:ext>
            </a:extLst>
          </p:cNvPr>
          <p:cNvSpPr/>
          <p:nvPr/>
        </p:nvSpPr>
        <p:spPr>
          <a:xfrm>
            <a:off x="4004397" y="2707827"/>
            <a:ext cx="32385" cy="0"/>
          </a:xfrm>
          <a:custGeom>
            <a:avLst/>
            <a:gdLst/>
            <a:ahLst/>
            <a:cxnLst/>
            <a:rect l="l" t="t" r="r" b="b"/>
            <a:pathLst>
              <a:path w="43179">
                <a:moveTo>
                  <a:pt x="0" y="0"/>
                </a:moveTo>
                <a:lnTo>
                  <a:pt x="42925"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33" name="object 84">
            <a:extLst>
              <a:ext uri="{FF2B5EF4-FFF2-40B4-BE49-F238E27FC236}">
                <a16:creationId xmlns:a16="http://schemas.microsoft.com/office/drawing/2014/main" id="{988EECB8-3350-44EC-7660-B173E56DEED1}"/>
              </a:ext>
            </a:extLst>
          </p:cNvPr>
          <p:cNvSpPr/>
          <p:nvPr/>
        </p:nvSpPr>
        <p:spPr>
          <a:xfrm>
            <a:off x="4070689"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34" name="object 85">
            <a:extLst>
              <a:ext uri="{FF2B5EF4-FFF2-40B4-BE49-F238E27FC236}">
                <a16:creationId xmlns:a16="http://schemas.microsoft.com/office/drawing/2014/main" id="{1242C253-8284-76FF-83FE-14CBF7BCDD06}"/>
              </a:ext>
            </a:extLst>
          </p:cNvPr>
          <p:cNvSpPr/>
          <p:nvPr/>
        </p:nvSpPr>
        <p:spPr>
          <a:xfrm>
            <a:off x="4053546" y="2707827"/>
            <a:ext cx="33815" cy="0"/>
          </a:xfrm>
          <a:custGeom>
            <a:avLst/>
            <a:gdLst/>
            <a:ahLst/>
            <a:cxnLst/>
            <a:rect l="l" t="t" r="r" b="b"/>
            <a:pathLst>
              <a:path w="45085">
                <a:moveTo>
                  <a:pt x="0" y="0"/>
                </a:moveTo>
                <a:lnTo>
                  <a:pt x="44830"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35" name="object 86">
            <a:extLst>
              <a:ext uri="{FF2B5EF4-FFF2-40B4-BE49-F238E27FC236}">
                <a16:creationId xmlns:a16="http://schemas.microsoft.com/office/drawing/2014/main" id="{9F4778B7-7511-D0BA-96F7-3962FCC9D452}"/>
              </a:ext>
            </a:extLst>
          </p:cNvPr>
          <p:cNvSpPr/>
          <p:nvPr/>
        </p:nvSpPr>
        <p:spPr>
          <a:xfrm>
            <a:off x="4099264"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36" name="object 87">
            <a:extLst>
              <a:ext uri="{FF2B5EF4-FFF2-40B4-BE49-F238E27FC236}">
                <a16:creationId xmlns:a16="http://schemas.microsoft.com/office/drawing/2014/main" id="{9767034C-0E06-AD72-D984-4C32F2DBC6C6}"/>
              </a:ext>
            </a:extLst>
          </p:cNvPr>
          <p:cNvSpPr/>
          <p:nvPr/>
        </p:nvSpPr>
        <p:spPr>
          <a:xfrm>
            <a:off x="4082119" y="2707827"/>
            <a:ext cx="33339" cy="0"/>
          </a:xfrm>
          <a:custGeom>
            <a:avLst/>
            <a:gdLst/>
            <a:ahLst/>
            <a:cxnLst/>
            <a:rect l="l" t="t" r="r" b="b"/>
            <a:pathLst>
              <a:path w="44450">
                <a:moveTo>
                  <a:pt x="0" y="0"/>
                </a:moveTo>
                <a:lnTo>
                  <a:pt x="43941"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37" name="object 88">
            <a:extLst>
              <a:ext uri="{FF2B5EF4-FFF2-40B4-BE49-F238E27FC236}">
                <a16:creationId xmlns:a16="http://schemas.microsoft.com/office/drawing/2014/main" id="{6BD8AE3B-5425-29BA-40E1-17E3D16FCFA2}"/>
              </a:ext>
            </a:extLst>
          </p:cNvPr>
          <p:cNvSpPr/>
          <p:nvPr/>
        </p:nvSpPr>
        <p:spPr>
          <a:xfrm>
            <a:off x="4141555"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38" name="object 89">
            <a:extLst>
              <a:ext uri="{FF2B5EF4-FFF2-40B4-BE49-F238E27FC236}">
                <a16:creationId xmlns:a16="http://schemas.microsoft.com/office/drawing/2014/main" id="{68481376-FF40-CB19-8C23-C710F051D2F7}"/>
              </a:ext>
            </a:extLst>
          </p:cNvPr>
          <p:cNvSpPr/>
          <p:nvPr/>
        </p:nvSpPr>
        <p:spPr>
          <a:xfrm>
            <a:off x="4124411" y="2707827"/>
            <a:ext cx="34291" cy="0"/>
          </a:xfrm>
          <a:custGeom>
            <a:avLst/>
            <a:gdLst/>
            <a:ahLst/>
            <a:cxnLst/>
            <a:rect l="l" t="t" r="r" b="b"/>
            <a:pathLst>
              <a:path w="45720">
                <a:moveTo>
                  <a:pt x="0" y="0"/>
                </a:moveTo>
                <a:lnTo>
                  <a:pt x="45720"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39" name="object 90">
            <a:extLst>
              <a:ext uri="{FF2B5EF4-FFF2-40B4-BE49-F238E27FC236}">
                <a16:creationId xmlns:a16="http://schemas.microsoft.com/office/drawing/2014/main" id="{9B247DA6-C1E3-7A6F-A447-279F0407B08A}"/>
              </a:ext>
            </a:extLst>
          </p:cNvPr>
          <p:cNvSpPr/>
          <p:nvPr/>
        </p:nvSpPr>
        <p:spPr>
          <a:xfrm>
            <a:off x="4118695"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40" name="object 91">
            <a:extLst>
              <a:ext uri="{FF2B5EF4-FFF2-40B4-BE49-F238E27FC236}">
                <a16:creationId xmlns:a16="http://schemas.microsoft.com/office/drawing/2014/main" id="{E4556D69-C7B3-CF6D-8B9D-F84349860141}"/>
              </a:ext>
            </a:extLst>
          </p:cNvPr>
          <p:cNvSpPr/>
          <p:nvPr/>
        </p:nvSpPr>
        <p:spPr>
          <a:xfrm>
            <a:off x="4102696" y="2707827"/>
            <a:ext cx="32385" cy="0"/>
          </a:xfrm>
          <a:custGeom>
            <a:avLst/>
            <a:gdLst/>
            <a:ahLst/>
            <a:cxnLst/>
            <a:rect l="l" t="t" r="r" b="b"/>
            <a:pathLst>
              <a:path w="43179">
                <a:moveTo>
                  <a:pt x="0" y="0"/>
                </a:moveTo>
                <a:lnTo>
                  <a:pt x="42925"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41" name="object 92">
            <a:extLst>
              <a:ext uri="{FF2B5EF4-FFF2-40B4-BE49-F238E27FC236}">
                <a16:creationId xmlns:a16="http://schemas.microsoft.com/office/drawing/2014/main" id="{1B9B01EA-F1BC-DD7D-05B8-7BFCB4D16CA1}"/>
              </a:ext>
            </a:extLst>
          </p:cNvPr>
          <p:cNvSpPr/>
          <p:nvPr/>
        </p:nvSpPr>
        <p:spPr>
          <a:xfrm>
            <a:off x="4158701"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42" name="object 93">
            <a:extLst>
              <a:ext uri="{FF2B5EF4-FFF2-40B4-BE49-F238E27FC236}">
                <a16:creationId xmlns:a16="http://schemas.microsoft.com/office/drawing/2014/main" id="{2C8C5192-66F9-1DC9-005E-8E6308DC66A1}"/>
              </a:ext>
            </a:extLst>
          </p:cNvPr>
          <p:cNvSpPr/>
          <p:nvPr/>
        </p:nvSpPr>
        <p:spPr>
          <a:xfrm>
            <a:off x="4141557" y="2707827"/>
            <a:ext cx="33815" cy="0"/>
          </a:xfrm>
          <a:custGeom>
            <a:avLst/>
            <a:gdLst/>
            <a:ahLst/>
            <a:cxnLst/>
            <a:rect l="l" t="t" r="r" b="b"/>
            <a:pathLst>
              <a:path w="45085">
                <a:moveTo>
                  <a:pt x="0" y="0"/>
                </a:moveTo>
                <a:lnTo>
                  <a:pt x="44830"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43" name="object 94">
            <a:extLst>
              <a:ext uri="{FF2B5EF4-FFF2-40B4-BE49-F238E27FC236}">
                <a16:creationId xmlns:a16="http://schemas.microsoft.com/office/drawing/2014/main" id="{8246132A-8A0D-0794-F10F-D897DE3B550F}"/>
              </a:ext>
            </a:extLst>
          </p:cNvPr>
          <p:cNvSpPr/>
          <p:nvPr/>
        </p:nvSpPr>
        <p:spPr>
          <a:xfrm>
            <a:off x="4200992"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44" name="object 95">
            <a:extLst>
              <a:ext uri="{FF2B5EF4-FFF2-40B4-BE49-F238E27FC236}">
                <a16:creationId xmlns:a16="http://schemas.microsoft.com/office/drawing/2014/main" id="{54EBFA03-C423-2956-E6CB-C066468C16A8}"/>
              </a:ext>
            </a:extLst>
          </p:cNvPr>
          <p:cNvSpPr/>
          <p:nvPr/>
        </p:nvSpPr>
        <p:spPr>
          <a:xfrm>
            <a:off x="4184990" y="2707827"/>
            <a:ext cx="32385" cy="0"/>
          </a:xfrm>
          <a:custGeom>
            <a:avLst/>
            <a:gdLst/>
            <a:ahLst/>
            <a:cxnLst/>
            <a:rect l="l" t="t" r="r" b="b"/>
            <a:pathLst>
              <a:path w="43179">
                <a:moveTo>
                  <a:pt x="0" y="0"/>
                </a:moveTo>
                <a:lnTo>
                  <a:pt x="42925"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45" name="object 96">
            <a:extLst>
              <a:ext uri="{FF2B5EF4-FFF2-40B4-BE49-F238E27FC236}">
                <a16:creationId xmlns:a16="http://schemas.microsoft.com/office/drawing/2014/main" id="{68FCE6AB-49A6-6A07-ACCB-8A8B4D8A3B5A}"/>
              </a:ext>
            </a:extLst>
          </p:cNvPr>
          <p:cNvSpPr/>
          <p:nvPr/>
        </p:nvSpPr>
        <p:spPr>
          <a:xfrm>
            <a:off x="4184989" y="2690682"/>
            <a:ext cx="0" cy="34767"/>
          </a:xfrm>
          <a:custGeom>
            <a:avLst/>
            <a:gdLst/>
            <a:ahLst/>
            <a:cxnLst/>
            <a:rect l="l" t="t" r="r" b="b"/>
            <a:pathLst>
              <a:path h="46354">
                <a:moveTo>
                  <a:pt x="0" y="0"/>
                </a:moveTo>
                <a:lnTo>
                  <a:pt x="0" y="45846"/>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46" name="object 97">
            <a:extLst>
              <a:ext uri="{FF2B5EF4-FFF2-40B4-BE49-F238E27FC236}">
                <a16:creationId xmlns:a16="http://schemas.microsoft.com/office/drawing/2014/main" id="{CC899D9C-5E3D-70F8-C5D1-CF4B4C166BAA}"/>
              </a:ext>
            </a:extLst>
          </p:cNvPr>
          <p:cNvSpPr/>
          <p:nvPr/>
        </p:nvSpPr>
        <p:spPr>
          <a:xfrm>
            <a:off x="4167845" y="2707827"/>
            <a:ext cx="32385" cy="0"/>
          </a:xfrm>
          <a:custGeom>
            <a:avLst/>
            <a:gdLst/>
            <a:ahLst/>
            <a:cxnLst/>
            <a:rect l="l" t="t" r="r" b="b"/>
            <a:pathLst>
              <a:path w="43179">
                <a:moveTo>
                  <a:pt x="0" y="0"/>
                </a:moveTo>
                <a:lnTo>
                  <a:pt x="42925"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47" name="object 98">
            <a:extLst>
              <a:ext uri="{FF2B5EF4-FFF2-40B4-BE49-F238E27FC236}">
                <a16:creationId xmlns:a16="http://schemas.microsoft.com/office/drawing/2014/main" id="{7BB1B1C7-05D4-B8B8-8499-AB85F50CD6B2}"/>
              </a:ext>
            </a:extLst>
          </p:cNvPr>
          <p:cNvSpPr/>
          <p:nvPr/>
        </p:nvSpPr>
        <p:spPr>
          <a:xfrm>
            <a:off x="4354153" y="2889565"/>
            <a:ext cx="0" cy="32385"/>
          </a:xfrm>
          <a:custGeom>
            <a:avLst/>
            <a:gdLst/>
            <a:ahLst/>
            <a:cxnLst/>
            <a:rect l="l" t="t" r="r" b="b"/>
            <a:pathLst>
              <a:path h="43179">
                <a:moveTo>
                  <a:pt x="0" y="0"/>
                </a:moveTo>
                <a:lnTo>
                  <a:pt x="0" y="43179"/>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48" name="object 99">
            <a:extLst>
              <a:ext uri="{FF2B5EF4-FFF2-40B4-BE49-F238E27FC236}">
                <a16:creationId xmlns:a16="http://schemas.microsoft.com/office/drawing/2014/main" id="{6CDA2124-2455-87AB-82EC-7249B850078C}"/>
              </a:ext>
            </a:extLst>
          </p:cNvPr>
          <p:cNvSpPr/>
          <p:nvPr/>
        </p:nvSpPr>
        <p:spPr>
          <a:xfrm>
            <a:off x="4338153" y="2905565"/>
            <a:ext cx="33815" cy="0"/>
          </a:xfrm>
          <a:custGeom>
            <a:avLst/>
            <a:gdLst/>
            <a:ahLst/>
            <a:cxnLst/>
            <a:rect l="l" t="t" r="r" b="b"/>
            <a:pathLst>
              <a:path w="45085">
                <a:moveTo>
                  <a:pt x="0" y="0"/>
                </a:moveTo>
                <a:lnTo>
                  <a:pt x="44831"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49" name="object 100">
            <a:extLst>
              <a:ext uri="{FF2B5EF4-FFF2-40B4-BE49-F238E27FC236}">
                <a16:creationId xmlns:a16="http://schemas.microsoft.com/office/drawing/2014/main" id="{0ABE7F81-8857-0BCE-CDC7-22C5BC0C29F6}"/>
              </a:ext>
            </a:extLst>
          </p:cNvPr>
          <p:cNvSpPr/>
          <p:nvPr/>
        </p:nvSpPr>
        <p:spPr>
          <a:xfrm>
            <a:off x="3704929" y="2633531"/>
            <a:ext cx="0" cy="33339"/>
          </a:xfrm>
          <a:custGeom>
            <a:avLst/>
            <a:gdLst/>
            <a:ahLst/>
            <a:cxnLst/>
            <a:rect l="l" t="t" r="r" b="b"/>
            <a:pathLst>
              <a:path h="44450">
                <a:moveTo>
                  <a:pt x="0" y="0"/>
                </a:moveTo>
                <a:lnTo>
                  <a:pt x="0" y="44195"/>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50" name="object 101">
            <a:extLst>
              <a:ext uri="{FF2B5EF4-FFF2-40B4-BE49-F238E27FC236}">
                <a16:creationId xmlns:a16="http://schemas.microsoft.com/office/drawing/2014/main" id="{6B08BF7F-CEA3-E332-6113-1B924F15D1CD}"/>
              </a:ext>
            </a:extLst>
          </p:cNvPr>
          <p:cNvSpPr/>
          <p:nvPr/>
        </p:nvSpPr>
        <p:spPr>
          <a:xfrm>
            <a:off x="3688929" y="2650677"/>
            <a:ext cx="33815" cy="0"/>
          </a:xfrm>
          <a:custGeom>
            <a:avLst/>
            <a:gdLst/>
            <a:ahLst/>
            <a:cxnLst/>
            <a:rect l="l" t="t" r="r" b="b"/>
            <a:pathLst>
              <a:path w="45085">
                <a:moveTo>
                  <a:pt x="0" y="0"/>
                </a:moveTo>
                <a:lnTo>
                  <a:pt x="44831"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51" name="object 102">
            <a:extLst>
              <a:ext uri="{FF2B5EF4-FFF2-40B4-BE49-F238E27FC236}">
                <a16:creationId xmlns:a16="http://schemas.microsoft.com/office/drawing/2014/main" id="{715C6989-BF4A-0A52-3A44-E4776A2C6F14}"/>
              </a:ext>
            </a:extLst>
          </p:cNvPr>
          <p:cNvSpPr/>
          <p:nvPr/>
        </p:nvSpPr>
        <p:spPr>
          <a:xfrm>
            <a:off x="4467311" y="3161598"/>
            <a:ext cx="0" cy="33815"/>
          </a:xfrm>
          <a:custGeom>
            <a:avLst/>
            <a:gdLst/>
            <a:ahLst/>
            <a:cxnLst/>
            <a:rect l="l" t="t" r="r" b="b"/>
            <a:pathLst>
              <a:path h="45085">
                <a:moveTo>
                  <a:pt x="0" y="0"/>
                </a:moveTo>
                <a:lnTo>
                  <a:pt x="0" y="44831"/>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52" name="object 103">
            <a:extLst>
              <a:ext uri="{FF2B5EF4-FFF2-40B4-BE49-F238E27FC236}">
                <a16:creationId xmlns:a16="http://schemas.microsoft.com/office/drawing/2014/main" id="{22A81C51-2B64-8457-E70D-5F74C7501B3B}"/>
              </a:ext>
            </a:extLst>
          </p:cNvPr>
          <p:cNvSpPr/>
          <p:nvPr/>
        </p:nvSpPr>
        <p:spPr>
          <a:xfrm>
            <a:off x="4451309" y="3177599"/>
            <a:ext cx="33339" cy="0"/>
          </a:xfrm>
          <a:custGeom>
            <a:avLst/>
            <a:gdLst/>
            <a:ahLst/>
            <a:cxnLst/>
            <a:rect l="l" t="t" r="r" b="b"/>
            <a:pathLst>
              <a:path w="44450">
                <a:moveTo>
                  <a:pt x="0" y="0"/>
                </a:moveTo>
                <a:lnTo>
                  <a:pt x="43941"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53" name="object 104">
            <a:extLst>
              <a:ext uri="{FF2B5EF4-FFF2-40B4-BE49-F238E27FC236}">
                <a16:creationId xmlns:a16="http://schemas.microsoft.com/office/drawing/2014/main" id="{D91F9048-12A6-2DD5-D3A0-9CC89E16FCC0}"/>
              </a:ext>
            </a:extLst>
          </p:cNvPr>
          <p:cNvSpPr/>
          <p:nvPr/>
        </p:nvSpPr>
        <p:spPr>
          <a:xfrm>
            <a:off x="4484455" y="3161598"/>
            <a:ext cx="0" cy="33815"/>
          </a:xfrm>
          <a:custGeom>
            <a:avLst/>
            <a:gdLst/>
            <a:ahLst/>
            <a:cxnLst/>
            <a:rect l="l" t="t" r="r" b="b"/>
            <a:pathLst>
              <a:path h="45085">
                <a:moveTo>
                  <a:pt x="0" y="0"/>
                </a:moveTo>
                <a:lnTo>
                  <a:pt x="0" y="44831"/>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54" name="object 105">
            <a:extLst>
              <a:ext uri="{FF2B5EF4-FFF2-40B4-BE49-F238E27FC236}">
                <a16:creationId xmlns:a16="http://schemas.microsoft.com/office/drawing/2014/main" id="{07ABDB30-101C-29ED-167D-2F8B48BE19B4}"/>
              </a:ext>
            </a:extLst>
          </p:cNvPr>
          <p:cNvSpPr/>
          <p:nvPr/>
        </p:nvSpPr>
        <p:spPr>
          <a:xfrm>
            <a:off x="4467311" y="3177599"/>
            <a:ext cx="33815" cy="0"/>
          </a:xfrm>
          <a:custGeom>
            <a:avLst/>
            <a:gdLst/>
            <a:ahLst/>
            <a:cxnLst/>
            <a:rect l="l" t="t" r="r" b="b"/>
            <a:pathLst>
              <a:path w="45085">
                <a:moveTo>
                  <a:pt x="0" y="0"/>
                </a:moveTo>
                <a:lnTo>
                  <a:pt x="44830"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55" name="object 106">
            <a:extLst>
              <a:ext uri="{FF2B5EF4-FFF2-40B4-BE49-F238E27FC236}">
                <a16:creationId xmlns:a16="http://schemas.microsoft.com/office/drawing/2014/main" id="{DD957310-D54D-6194-A0AF-FAAA643C1964}"/>
              </a:ext>
            </a:extLst>
          </p:cNvPr>
          <p:cNvSpPr/>
          <p:nvPr/>
        </p:nvSpPr>
        <p:spPr>
          <a:xfrm>
            <a:off x="2997412" y="2247198"/>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56" name="object 107">
            <a:extLst>
              <a:ext uri="{FF2B5EF4-FFF2-40B4-BE49-F238E27FC236}">
                <a16:creationId xmlns:a16="http://schemas.microsoft.com/office/drawing/2014/main" id="{DE57F2A7-B926-72AB-633A-DC9BE0A713EC}"/>
              </a:ext>
            </a:extLst>
          </p:cNvPr>
          <p:cNvSpPr/>
          <p:nvPr/>
        </p:nvSpPr>
        <p:spPr>
          <a:xfrm>
            <a:off x="2981411" y="2264343"/>
            <a:ext cx="33339" cy="0"/>
          </a:xfrm>
          <a:custGeom>
            <a:avLst/>
            <a:gdLst/>
            <a:ahLst/>
            <a:cxnLst/>
            <a:rect l="l" t="t" r="r" b="b"/>
            <a:pathLst>
              <a:path w="44450">
                <a:moveTo>
                  <a:pt x="0" y="0"/>
                </a:moveTo>
                <a:lnTo>
                  <a:pt x="43942"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57" name="object 108">
            <a:extLst>
              <a:ext uri="{FF2B5EF4-FFF2-40B4-BE49-F238E27FC236}">
                <a16:creationId xmlns:a16="http://schemas.microsoft.com/office/drawing/2014/main" id="{43D4434F-967E-7C31-E134-7EEEC8F02C9F}"/>
              </a:ext>
            </a:extLst>
          </p:cNvPr>
          <p:cNvSpPr/>
          <p:nvPr/>
        </p:nvSpPr>
        <p:spPr>
          <a:xfrm>
            <a:off x="3015701" y="2260914"/>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58" name="object 109">
            <a:extLst>
              <a:ext uri="{FF2B5EF4-FFF2-40B4-BE49-F238E27FC236}">
                <a16:creationId xmlns:a16="http://schemas.microsoft.com/office/drawing/2014/main" id="{77B705E8-A3A7-C80F-C1B1-BAEFCE4B2D2F}"/>
              </a:ext>
            </a:extLst>
          </p:cNvPr>
          <p:cNvSpPr/>
          <p:nvPr/>
        </p:nvSpPr>
        <p:spPr>
          <a:xfrm>
            <a:off x="2999700" y="2278059"/>
            <a:ext cx="32385" cy="0"/>
          </a:xfrm>
          <a:custGeom>
            <a:avLst/>
            <a:gdLst/>
            <a:ahLst/>
            <a:cxnLst/>
            <a:rect l="l" t="t" r="r" b="b"/>
            <a:pathLst>
              <a:path w="43180">
                <a:moveTo>
                  <a:pt x="0" y="0"/>
                </a:moveTo>
                <a:lnTo>
                  <a:pt x="42926"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59" name="object 110">
            <a:extLst>
              <a:ext uri="{FF2B5EF4-FFF2-40B4-BE49-F238E27FC236}">
                <a16:creationId xmlns:a16="http://schemas.microsoft.com/office/drawing/2014/main" id="{D2B4E48F-E405-ADC9-823C-72E48390B3A6}"/>
              </a:ext>
            </a:extLst>
          </p:cNvPr>
          <p:cNvSpPr/>
          <p:nvPr/>
        </p:nvSpPr>
        <p:spPr>
          <a:xfrm>
            <a:off x="1861272" y="1724848"/>
            <a:ext cx="2630805" cy="1454467"/>
          </a:xfrm>
          <a:custGeom>
            <a:avLst/>
            <a:gdLst/>
            <a:ahLst/>
            <a:cxnLst/>
            <a:rect l="l" t="t" r="r" b="b"/>
            <a:pathLst>
              <a:path w="3507740" h="1939289">
                <a:moveTo>
                  <a:pt x="0" y="0"/>
                </a:moveTo>
                <a:lnTo>
                  <a:pt x="314706" y="0"/>
                </a:lnTo>
                <a:lnTo>
                  <a:pt x="314706" y="17907"/>
                </a:lnTo>
                <a:lnTo>
                  <a:pt x="348488" y="17907"/>
                </a:lnTo>
                <a:lnTo>
                  <a:pt x="348488" y="32765"/>
                </a:lnTo>
                <a:lnTo>
                  <a:pt x="400938" y="32765"/>
                </a:lnTo>
                <a:lnTo>
                  <a:pt x="423418" y="32765"/>
                </a:lnTo>
                <a:lnTo>
                  <a:pt x="423418" y="91821"/>
                </a:lnTo>
                <a:lnTo>
                  <a:pt x="483362" y="91821"/>
                </a:lnTo>
                <a:lnTo>
                  <a:pt x="483362" y="109727"/>
                </a:lnTo>
                <a:lnTo>
                  <a:pt x="498347" y="109727"/>
                </a:lnTo>
                <a:lnTo>
                  <a:pt x="558292" y="109727"/>
                </a:lnTo>
                <a:lnTo>
                  <a:pt x="558292" y="142493"/>
                </a:lnTo>
                <a:lnTo>
                  <a:pt x="643636" y="142493"/>
                </a:lnTo>
                <a:lnTo>
                  <a:pt x="703580" y="142493"/>
                </a:lnTo>
                <a:lnTo>
                  <a:pt x="703580" y="169925"/>
                </a:lnTo>
                <a:lnTo>
                  <a:pt x="733551" y="169925"/>
                </a:lnTo>
                <a:lnTo>
                  <a:pt x="733551" y="191008"/>
                </a:lnTo>
                <a:lnTo>
                  <a:pt x="765428" y="191008"/>
                </a:lnTo>
                <a:lnTo>
                  <a:pt x="827151" y="191008"/>
                </a:lnTo>
                <a:lnTo>
                  <a:pt x="827151" y="220472"/>
                </a:lnTo>
                <a:lnTo>
                  <a:pt x="852551" y="220472"/>
                </a:lnTo>
                <a:lnTo>
                  <a:pt x="1006094" y="220472"/>
                </a:lnTo>
                <a:lnTo>
                  <a:pt x="1006094" y="267970"/>
                </a:lnTo>
                <a:lnTo>
                  <a:pt x="1014602" y="279653"/>
                </a:lnTo>
                <a:lnTo>
                  <a:pt x="1014602" y="339725"/>
                </a:lnTo>
                <a:lnTo>
                  <a:pt x="1059561" y="339725"/>
                </a:lnTo>
                <a:lnTo>
                  <a:pt x="1059561" y="369315"/>
                </a:lnTo>
                <a:lnTo>
                  <a:pt x="1125093" y="369315"/>
                </a:lnTo>
                <a:lnTo>
                  <a:pt x="1125093" y="401954"/>
                </a:lnTo>
                <a:lnTo>
                  <a:pt x="1216025" y="401954"/>
                </a:lnTo>
                <a:lnTo>
                  <a:pt x="1216025" y="417829"/>
                </a:lnTo>
                <a:lnTo>
                  <a:pt x="1254378" y="417829"/>
                </a:lnTo>
                <a:lnTo>
                  <a:pt x="1254378" y="436879"/>
                </a:lnTo>
                <a:lnTo>
                  <a:pt x="1322832" y="436879"/>
                </a:lnTo>
                <a:lnTo>
                  <a:pt x="1322832" y="455802"/>
                </a:lnTo>
                <a:lnTo>
                  <a:pt x="1335913" y="455802"/>
                </a:lnTo>
                <a:lnTo>
                  <a:pt x="1335913" y="473710"/>
                </a:lnTo>
                <a:lnTo>
                  <a:pt x="1352803" y="473710"/>
                </a:lnTo>
                <a:lnTo>
                  <a:pt x="1352803" y="495935"/>
                </a:lnTo>
                <a:lnTo>
                  <a:pt x="1352803" y="511683"/>
                </a:lnTo>
                <a:lnTo>
                  <a:pt x="1378965" y="511683"/>
                </a:lnTo>
                <a:lnTo>
                  <a:pt x="1378965" y="525399"/>
                </a:lnTo>
                <a:lnTo>
                  <a:pt x="1378965" y="547624"/>
                </a:lnTo>
                <a:lnTo>
                  <a:pt x="1480184" y="547624"/>
                </a:lnTo>
                <a:lnTo>
                  <a:pt x="1480184" y="568705"/>
                </a:lnTo>
                <a:lnTo>
                  <a:pt x="1498853" y="568705"/>
                </a:lnTo>
                <a:lnTo>
                  <a:pt x="1498853" y="670051"/>
                </a:lnTo>
                <a:lnTo>
                  <a:pt x="1515745" y="670051"/>
                </a:lnTo>
                <a:lnTo>
                  <a:pt x="1515745" y="719582"/>
                </a:lnTo>
                <a:lnTo>
                  <a:pt x="1532636" y="719582"/>
                </a:lnTo>
                <a:lnTo>
                  <a:pt x="1532636" y="736473"/>
                </a:lnTo>
                <a:lnTo>
                  <a:pt x="1546733" y="736473"/>
                </a:lnTo>
                <a:lnTo>
                  <a:pt x="1546733" y="754379"/>
                </a:lnTo>
                <a:lnTo>
                  <a:pt x="1649730" y="754379"/>
                </a:lnTo>
                <a:lnTo>
                  <a:pt x="1649730" y="778637"/>
                </a:lnTo>
                <a:lnTo>
                  <a:pt x="1683512" y="778637"/>
                </a:lnTo>
                <a:lnTo>
                  <a:pt x="1683512" y="806068"/>
                </a:lnTo>
                <a:lnTo>
                  <a:pt x="1733042" y="806068"/>
                </a:lnTo>
                <a:lnTo>
                  <a:pt x="1733042" y="821943"/>
                </a:lnTo>
                <a:lnTo>
                  <a:pt x="1770633" y="821943"/>
                </a:lnTo>
                <a:lnTo>
                  <a:pt x="1827657" y="821943"/>
                </a:lnTo>
                <a:lnTo>
                  <a:pt x="1827657" y="854710"/>
                </a:lnTo>
                <a:lnTo>
                  <a:pt x="1827657" y="878966"/>
                </a:lnTo>
                <a:lnTo>
                  <a:pt x="1827657" y="913764"/>
                </a:lnTo>
                <a:lnTo>
                  <a:pt x="1906396" y="913764"/>
                </a:lnTo>
                <a:lnTo>
                  <a:pt x="1906396" y="941197"/>
                </a:lnTo>
                <a:lnTo>
                  <a:pt x="1929892" y="941197"/>
                </a:lnTo>
                <a:lnTo>
                  <a:pt x="1929892" y="954913"/>
                </a:lnTo>
                <a:lnTo>
                  <a:pt x="1964435" y="954913"/>
                </a:lnTo>
                <a:lnTo>
                  <a:pt x="1964435" y="982345"/>
                </a:lnTo>
                <a:lnTo>
                  <a:pt x="1991614" y="982345"/>
                </a:lnTo>
                <a:lnTo>
                  <a:pt x="1991614" y="1112139"/>
                </a:lnTo>
                <a:lnTo>
                  <a:pt x="2015997" y="1112139"/>
                </a:lnTo>
                <a:lnTo>
                  <a:pt x="2015997" y="1127887"/>
                </a:lnTo>
                <a:lnTo>
                  <a:pt x="2062860" y="1127887"/>
                </a:lnTo>
                <a:lnTo>
                  <a:pt x="2062860" y="1160652"/>
                </a:lnTo>
                <a:lnTo>
                  <a:pt x="2094737" y="1160652"/>
                </a:lnTo>
                <a:lnTo>
                  <a:pt x="2094737" y="1179702"/>
                </a:lnTo>
                <a:lnTo>
                  <a:pt x="2258695" y="1179702"/>
                </a:lnTo>
                <a:lnTo>
                  <a:pt x="2258695" y="1203960"/>
                </a:lnTo>
                <a:lnTo>
                  <a:pt x="2300859" y="1203960"/>
                </a:lnTo>
                <a:lnTo>
                  <a:pt x="2300859" y="1236599"/>
                </a:lnTo>
                <a:lnTo>
                  <a:pt x="2467610" y="1236599"/>
                </a:lnTo>
                <a:lnTo>
                  <a:pt x="2467610" y="1264031"/>
                </a:lnTo>
                <a:lnTo>
                  <a:pt x="2529332" y="1264031"/>
                </a:lnTo>
                <a:lnTo>
                  <a:pt x="2529332" y="1311529"/>
                </a:lnTo>
                <a:lnTo>
                  <a:pt x="3245104" y="1311529"/>
                </a:lnTo>
                <a:lnTo>
                  <a:pt x="3245104" y="1575308"/>
                </a:lnTo>
                <a:lnTo>
                  <a:pt x="3351910" y="1575308"/>
                </a:lnTo>
                <a:lnTo>
                  <a:pt x="3351910" y="1939289"/>
                </a:lnTo>
                <a:lnTo>
                  <a:pt x="3507485" y="1939289"/>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60" name="object 111">
            <a:extLst>
              <a:ext uri="{FF2B5EF4-FFF2-40B4-BE49-F238E27FC236}">
                <a16:creationId xmlns:a16="http://schemas.microsoft.com/office/drawing/2014/main" id="{E7C7D3B2-2FDD-551D-843E-DD2D1CB79685}"/>
              </a:ext>
            </a:extLst>
          </p:cNvPr>
          <p:cNvSpPr/>
          <p:nvPr/>
        </p:nvSpPr>
        <p:spPr>
          <a:xfrm>
            <a:off x="1817329" y="1720277"/>
            <a:ext cx="0" cy="2040731"/>
          </a:xfrm>
          <a:custGeom>
            <a:avLst/>
            <a:gdLst/>
            <a:ahLst/>
            <a:cxnLst/>
            <a:rect l="l" t="t" r="r" b="b"/>
            <a:pathLst>
              <a:path h="2720975">
                <a:moveTo>
                  <a:pt x="0" y="2720594"/>
                </a:moveTo>
                <a:lnTo>
                  <a:pt x="0" y="0"/>
                </a:lnTo>
              </a:path>
            </a:pathLst>
          </a:custGeom>
          <a:ln w="12700">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61" name="object 112">
            <a:extLst>
              <a:ext uri="{FF2B5EF4-FFF2-40B4-BE49-F238E27FC236}">
                <a16:creationId xmlns:a16="http://schemas.microsoft.com/office/drawing/2014/main" id="{4F15B9E4-0E17-F0AE-75C1-97AA3EDC4253}"/>
              </a:ext>
            </a:extLst>
          </p:cNvPr>
          <p:cNvSpPr/>
          <p:nvPr/>
        </p:nvSpPr>
        <p:spPr>
          <a:xfrm>
            <a:off x="2031643"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62" name="object 113">
            <a:extLst>
              <a:ext uri="{FF2B5EF4-FFF2-40B4-BE49-F238E27FC236}">
                <a16:creationId xmlns:a16="http://schemas.microsoft.com/office/drawing/2014/main" id="{5FE777D7-09E0-C9D6-F0FD-FA9D41BE1B99}"/>
              </a:ext>
            </a:extLst>
          </p:cNvPr>
          <p:cNvSpPr/>
          <p:nvPr/>
        </p:nvSpPr>
        <p:spPr>
          <a:xfrm>
            <a:off x="2237383"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63" name="object 114">
            <a:extLst>
              <a:ext uri="{FF2B5EF4-FFF2-40B4-BE49-F238E27FC236}">
                <a16:creationId xmlns:a16="http://schemas.microsoft.com/office/drawing/2014/main" id="{1B221E86-B3DD-8A42-2AE0-A3D26243B421}"/>
              </a:ext>
            </a:extLst>
          </p:cNvPr>
          <p:cNvSpPr/>
          <p:nvPr/>
        </p:nvSpPr>
        <p:spPr>
          <a:xfrm>
            <a:off x="2449979"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64" name="object 115">
            <a:extLst>
              <a:ext uri="{FF2B5EF4-FFF2-40B4-BE49-F238E27FC236}">
                <a16:creationId xmlns:a16="http://schemas.microsoft.com/office/drawing/2014/main" id="{5EBC7FC5-B7C4-3DE6-7D00-D56CE89B0A2B}"/>
              </a:ext>
            </a:extLst>
          </p:cNvPr>
          <p:cNvSpPr/>
          <p:nvPr/>
        </p:nvSpPr>
        <p:spPr>
          <a:xfrm>
            <a:off x="2659149"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65" name="object 116">
            <a:extLst>
              <a:ext uri="{FF2B5EF4-FFF2-40B4-BE49-F238E27FC236}">
                <a16:creationId xmlns:a16="http://schemas.microsoft.com/office/drawing/2014/main" id="{6FA583F0-E4E6-D718-B61B-D4AF05A27DFF}"/>
              </a:ext>
            </a:extLst>
          </p:cNvPr>
          <p:cNvSpPr/>
          <p:nvPr/>
        </p:nvSpPr>
        <p:spPr>
          <a:xfrm>
            <a:off x="2871747"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66" name="object 117">
            <a:extLst>
              <a:ext uri="{FF2B5EF4-FFF2-40B4-BE49-F238E27FC236}">
                <a16:creationId xmlns:a16="http://schemas.microsoft.com/office/drawing/2014/main" id="{08666F06-8531-A328-817B-8F652DADCA83}"/>
              </a:ext>
            </a:extLst>
          </p:cNvPr>
          <p:cNvSpPr/>
          <p:nvPr/>
        </p:nvSpPr>
        <p:spPr>
          <a:xfrm>
            <a:off x="3085487"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67" name="object 118">
            <a:extLst>
              <a:ext uri="{FF2B5EF4-FFF2-40B4-BE49-F238E27FC236}">
                <a16:creationId xmlns:a16="http://schemas.microsoft.com/office/drawing/2014/main" id="{B558FA29-7640-ED9F-8FAA-31950D39D047}"/>
              </a:ext>
            </a:extLst>
          </p:cNvPr>
          <p:cNvSpPr/>
          <p:nvPr/>
        </p:nvSpPr>
        <p:spPr>
          <a:xfrm>
            <a:off x="3295799"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68" name="object 119">
            <a:extLst>
              <a:ext uri="{FF2B5EF4-FFF2-40B4-BE49-F238E27FC236}">
                <a16:creationId xmlns:a16="http://schemas.microsoft.com/office/drawing/2014/main" id="{7B6EA14C-B3FA-3CAF-7283-1ACD80D2C562}"/>
              </a:ext>
            </a:extLst>
          </p:cNvPr>
          <p:cNvSpPr/>
          <p:nvPr/>
        </p:nvSpPr>
        <p:spPr>
          <a:xfrm>
            <a:off x="3508399"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69" name="object 120">
            <a:extLst>
              <a:ext uri="{FF2B5EF4-FFF2-40B4-BE49-F238E27FC236}">
                <a16:creationId xmlns:a16="http://schemas.microsoft.com/office/drawing/2014/main" id="{3D141813-0753-4219-2408-DB08D31E99C6}"/>
              </a:ext>
            </a:extLst>
          </p:cNvPr>
          <p:cNvSpPr/>
          <p:nvPr/>
        </p:nvSpPr>
        <p:spPr>
          <a:xfrm>
            <a:off x="3714139"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70" name="object 121">
            <a:extLst>
              <a:ext uri="{FF2B5EF4-FFF2-40B4-BE49-F238E27FC236}">
                <a16:creationId xmlns:a16="http://schemas.microsoft.com/office/drawing/2014/main" id="{F3F478DE-A6CC-FE7C-6D78-CE97310B3D12}"/>
              </a:ext>
            </a:extLst>
          </p:cNvPr>
          <p:cNvSpPr/>
          <p:nvPr/>
        </p:nvSpPr>
        <p:spPr>
          <a:xfrm>
            <a:off x="3929023"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71" name="object 122">
            <a:extLst>
              <a:ext uri="{FF2B5EF4-FFF2-40B4-BE49-F238E27FC236}">
                <a16:creationId xmlns:a16="http://schemas.microsoft.com/office/drawing/2014/main" id="{540CE3E8-A25A-111E-7EF2-E295501BE046}"/>
              </a:ext>
            </a:extLst>
          </p:cNvPr>
          <p:cNvSpPr/>
          <p:nvPr/>
        </p:nvSpPr>
        <p:spPr>
          <a:xfrm>
            <a:off x="4137048"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72" name="object 123">
            <a:extLst>
              <a:ext uri="{FF2B5EF4-FFF2-40B4-BE49-F238E27FC236}">
                <a16:creationId xmlns:a16="http://schemas.microsoft.com/office/drawing/2014/main" id="{9107C108-5D30-D550-B45C-064BA08FE520}"/>
              </a:ext>
            </a:extLst>
          </p:cNvPr>
          <p:cNvSpPr/>
          <p:nvPr/>
        </p:nvSpPr>
        <p:spPr>
          <a:xfrm>
            <a:off x="4347359"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73" name="object 124">
            <a:extLst>
              <a:ext uri="{FF2B5EF4-FFF2-40B4-BE49-F238E27FC236}">
                <a16:creationId xmlns:a16="http://schemas.microsoft.com/office/drawing/2014/main" id="{645AA32A-7600-C569-0B2D-D103620D9991}"/>
              </a:ext>
            </a:extLst>
          </p:cNvPr>
          <p:cNvSpPr/>
          <p:nvPr/>
        </p:nvSpPr>
        <p:spPr>
          <a:xfrm>
            <a:off x="4564531"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74" name="object 125">
            <a:extLst>
              <a:ext uri="{FF2B5EF4-FFF2-40B4-BE49-F238E27FC236}">
                <a16:creationId xmlns:a16="http://schemas.microsoft.com/office/drawing/2014/main" id="{E784FA6E-1384-41F4-F713-4C6B225AEB85}"/>
              </a:ext>
            </a:extLst>
          </p:cNvPr>
          <p:cNvSpPr/>
          <p:nvPr/>
        </p:nvSpPr>
        <p:spPr>
          <a:xfrm>
            <a:off x="4773699" y="3724528"/>
            <a:ext cx="0" cy="41433"/>
          </a:xfrm>
          <a:custGeom>
            <a:avLst/>
            <a:gdLst/>
            <a:ahLst/>
            <a:cxnLst/>
            <a:rect l="l" t="t" r="r" b="b"/>
            <a:pathLst>
              <a:path h="55245">
                <a:moveTo>
                  <a:pt x="0" y="0"/>
                </a:moveTo>
                <a:lnTo>
                  <a:pt x="0" y="54863"/>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75" name="object 126">
            <a:extLst>
              <a:ext uri="{FF2B5EF4-FFF2-40B4-BE49-F238E27FC236}">
                <a16:creationId xmlns:a16="http://schemas.microsoft.com/office/drawing/2014/main" id="{E2600F1F-FB44-7851-4CCA-DF3EBBD48496}"/>
              </a:ext>
            </a:extLst>
          </p:cNvPr>
          <p:cNvSpPr/>
          <p:nvPr/>
        </p:nvSpPr>
        <p:spPr>
          <a:xfrm>
            <a:off x="4989725" y="3719953"/>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76" name="object 127">
            <a:extLst>
              <a:ext uri="{FF2B5EF4-FFF2-40B4-BE49-F238E27FC236}">
                <a16:creationId xmlns:a16="http://schemas.microsoft.com/office/drawing/2014/main" id="{ADDEB7F6-B1EF-D610-61A5-6C1B17557460}"/>
              </a:ext>
            </a:extLst>
          </p:cNvPr>
          <p:cNvSpPr/>
          <p:nvPr/>
        </p:nvSpPr>
        <p:spPr>
          <a:xfrm>
            <a:off x="1779611" y="3723955"/>
            <a:ext cx="3212307" cy="0"/>
          </a:xfrm>
          <a:custGeom>
            <a:avLst/>
            <a:gdLst/>
            <a:ahLst/>
            <a:cxnLst/>
            <a:rect l="l" t="t" r="r" b="b"/>
            <a:pathLst>
              <a:path w="4283075">
                <a:moveTo>
                  <a:pt x="0" y="0"/>
                </a:moveTo>
                <a:lnTo>
                  <a:pt x="4282821" y="0"/>
                </a:lnTo>
              </a:path>
            </a:pathLst>
          </a:custGeom>
          <a:ln w="12700">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77" name="object 128">
            <a:extLst>
              <a:ext uri="{FF2B5EF4-FFF2-40B4-BE49-F238E27FC236}">
                <a16:creationId xmlns:a16="http://schemas.microsoft.com/office/drawing/2014/main" id="{905457B8-AF09-1FDB-6BEE-D3D2F0906256}"/>
              </a:ext>
            </a:extLst>
          </p:cNvPr>
          <p:cNvSpPr/>
          <p:nvPr/>
        </p:nvSpPr>
        <p:spPr>
          <a:xfrm>
            <a:off x="1785896" y="3330191"/>
            <a:ext cx="32861" cy="0"/>
          </a:xfrm>
          <a:custGeom>
            <a:avLst/>
            <a:gdLst/>
            <a:ahLst/>
            <a:cxnLst/>
            <a:rect l="l" t="t" r="r" b="b"/>
            <a:pathLst>
              <a:path w="43815">
                <a:moveTo>
                  <a:pt x="0" y="0"/>
                </a:moveTo>
                <a:lnTo>
                  <a:pt x="43815"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78" name="object 129">
            <a:extLst>
              <a:ext uri="{FF2B5EF4-FFF2-40B4-BE49-F238E27FC236}">
                <a16:creationId xmlns:a16="http://schemas.microsoft.com/office/drawing/2014/main" id="{086E0F81-8FB6-2F20-A031-005C693A8DD3}"/>
              </a:ext>
            </a:extLst>
          </p:cNvPr>
          <p:cNvSpPr/>
          <p:nvPr/>
        </p:nvSpPr>
        <p:spPr>
          <a:xfrm>
            <a:off x="1785896" y="2733544"/>
            <a:ext cx="32861" cy="0"/>
          </a:xfrm>
          <a:custGeom>
            <a:avLst/>
            <a:gdLst/>
            <a:ahLst/>
            <a:cxnLst/>
            <a:rect l="l" t="t" r="r" b="b"/>
            <a:pathLst>
              <a:path w="43815">
                <a:moveTo>
                  <a:pt x="0" y="0"/>
                </a:moveTo>
                <a:lnTo>
                  <a:pt x="43815"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79" name="object 130">
            <a:extLst>
              <a:ext uri="{FF2B5EF4-FFF2-40B4-BE49-F238E27FC236}">
                <a16:creationId xmlns:a16="http://schemas.microsoft.com/office/drawing/2014/main" id="{505B063E-3A49-6C2E-BA4B-FF7F36DC560D}"/>
              </a:ext>
            </a:extLst>
          </p:cNvPr>
          <p:cNvSpPr/>
          <p:nvPr/>
        </p:nvSpPr>
        <p:spPr>
          <a:xfrm>
            <a:off x="1785896" y="2124327"/>
            <a:ext cx="32861" cy="0"/>
          </a:xfrm>
          <a:custGeom>
            <a:avLst/>
            <a:gdLst/>
            <a:ahLst/>
            <a:cxnLst/>
            <a:rect l="l" t="t" r="r" b="b"/>
            <a:pathLst>
              <a:path w="43815">
                <a:moveTo>
                  <a:pt x="0" y="0"/>
                </a:moveTo>
                <a:lnTo>
                  <a:pt x="43815"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80" name="object 131">
            <a:extLst>
              <a:ext uri="{FF2B5EF4-FFF2-40B4-BE49-F238E27FC236}">
                <a16:creationId xmlns:a16="http://schemas.microsoft.com/office/drawing/2014/main" id="{A01296BD-C545-8783-C6D6-BFE8450C4B5A}"/>
              </a:ext>
            </a:extLst>
          </p:cNvPr>
          <p:cNvSpPr/>
          <p:nvPr/>
        </p:nvSpPr>
        <p:spPr>
          <a:xfrm>
            <a:off x="1787041" y="1725419"/>
            <a:ext cx="32385" cy="0"/>
          </a:xfrm>
          <a:custGeom>
            <a:avLst/>
            <a:gdLst/>
            <a:ahLst/>
            <a:cxnLst/>
            <a:rect l="l" t="t" r="r" b="b"/>
            <a:pathLst>
              <a:path w="43180">
                <a:moveTo>
                  <a:pt x="0" y="0"/>
                </a:moveTo>
                <a:lnTo>
                  <a:pt x="42925"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81" name="object 132">
            <a:extLst>
              <a:ext uri="{FF2B5EF4-FFF2-40B4-BE49-F238E27FC236}">
                <a16:creationId xmlns:a16="http://schemas.microsoft.com/office/drawing/2014/main" id="{5B6D8F16-1864-DB2B-821B-1BB149319DE0}"/>
              </a:ext>
            </a:extLst>
          </p:cNvPr>
          <p:cNvSpPr/>
          <p:nvPr/>
        </p:nvSpPr>
        <p:spPr>
          <a:xfrm>
            <a:off x="1785896" y="3521072"/>
            <a:ext cx="32861" cy="0"/>
          </a:xfrm>
          <a:custGeom>
            <a:avLst/>
            <a:gdLst/>
            <a:ahLst/>
            <a:cxnLst/>
            <a:rect l="l" t="t" r="r" b="b"/>
            <a:pathLst>
              <a:path w="43815">
                <a:moveTo>
                  <a:pt x="0" y="0"/>
                </a:moveTo>
                <a:lnTo>
                  <a:pt x="43815"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82" name="object 133">
            <a:extLst>
              <a:ext uri="{FF2B5EF4-FFF2-40B4-BE49-F238E27FC236}">
                <a16:creationId xmlns:a16="http://schemas.microsoft.com/office/drawing/2014/main" id="{556BE30F-CF2A-C589-9C77-F13B0D4407F1}"/>
              </a:ext>
            </a:extLst>
          </p:cNvPr>
          <p:cNvSpPr/>
          <p:nvPr/>
        </p:nvSpPr>
        <p:spPr>
          <a:xfrm>
            <a:off x="1785896" y="2924427"/>
            <a:ext cx="32861" cy="0"/>
          </a:xfrm>
          <a:custGeom>
            <a:avLst/>
            <a:gdLst/>
            <a:ahLst/>
            <a:cxnLst/>
            <a:rect l="l" t="t" r="r" b="b"/>
            <a:pathLst>
              <a:path w="43815">
                <a:moveTo>
                  <a:pt x="0" y="0"/>
                </a:moveTo>
                <a:lnTo>
                  <a:pt x="43815"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83" name="object 134">
            <a:extLst>
              <a:ext uri="{FF2B5EF4-FFF2-40B4-BE49-F238E27FC236}">
                <a16:creationId xmlns:a16="http://schemas.microsoft.com/office/drawing/2014/main" id="{7132E5AF-CAA6-D49B-45A0-031B9CCD1809}"/>
              </a:ext>
            </a:extLst>
          </p:cNvPr>
          <p:cNvSpPr/>
          <p:nvPr/>
        </p:nvSpPr>
        <p:spPr>
          <a:xfrm>
            <a:off x="1785896" y="3130167"/>
            <a:ext cx="32861" cy="0"/>
          </a:xfrm>
          <a:custGeom>
            <a:avLst/>
            <a:gdLst/>
            <a:ahLst/>
            <a:cxnLst/>
            <a:rect l="l" t="t" r="r" b="b"/>
            <a:pathLst>
              <a:path w="43815">
                <a:moveTo>
                  <a:pt x="0" y="0"/>
                </a:moveTo>
                <a:lnTo>
                  <a:pt x="43815"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84" name="object 135">
            <a:extLst>
              <a:ext uri="{FF2B5EF4-FFF2-40B4-BE49-F238E27FC236}">
                <a16:creationId xmlns:a16="http://schemas.microsoft.com/office/drawing/2014/main" id="{2AA18B81-1D02-42E9-CBA4-97FBC60B64A1}"/>
              </a:ext>
            </a:extLst>
          </p:cNvPr>
          <p:cNvSpPr/>
          <p:nvPr/>
        </p:nvSpPr>
        <p:spPr>
          <a:xfrm>
            <a:off x="1785896" y="2528948"/>
            <a:ext cx="32861" cy="0"/>
          </a:xfrm>
          <a:custGeom>
            <a:avLst/>
            <a:gdLst/>
            <a:ahLst/>
            <a:cxnLst/>
            <a:rect l="l" t="t" r="r" b="b"/>
            <a:pathLst>
              <a:path w="43815">
                <a:moveTo>
                  <a:pt x="0" y="0"/>
                </a:moveTo>
                <a:lnTo>
                  <a:pt x="43815"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85" name="object 136">
            <a:extLst>
              <a:ext uri="{FF2B5EF4-FFF2-40B4-BE49-F238E27FC236}">
                <a16:creationId xmlns:a16="http://schemas.microsoft.com/office/drawing/2014/main" id="{E7393338-2366-8106-911E-299293A10FD0}"/>
              </a:ext>
            </a:extLst>
          </p:cNvPr>
          <p:cNvSpPr/>
          <p:nvPr/>
        </p:nvSpPr>
        <p:spPr>
          <a:xfrm>
            <a:off x="1785896" y="2330067"/>
            <a:ext cx="32861" cy="0"/>
          </a:xfrm>
          <a:custGeom>
            <a:avLst/>
            <a:gdLst/>
            <a:ahLst/>
            <a:cxnLst/>
            <a:rect l="l" t="t" r="r" b="b"/>
            <a:pathLst>
              <a:path w="43815">
                <a:moveTo>
                  <a:pt x="0" y="0"/>
                </a:moveTo>
                <a:lnTo>
                  <a:pt x="43815"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86" name="object 137">
            <a:extLst>
              <a:ext uri="{FF2B5EF4-FFF2-40B4-BE49-F238E27FC236}">
                <a16:creationId xmlns:a16="http://schemas.microsoft.com/office/drawing/2014/main" id="{ACCF9902-459D-F298-06F1-12104D4053BF}"/>
              </a:ext>
            </a:extLst>
          </p:cNvPr>
          <p:cNvSpPr/>
          <p:nvPr/>
        </p:nvSpPr>
        <p:spPr>
          <a:xfrm>
            <a:off x="1785896" y="1933445"/>
            <a:ext cx="32861" cy="0"/>
          </a:xfrm>
          <a:custGeom>
            <a:avLst/>
            <a:gdLst/>
            <a:ahLst/>
            <a:cxnLst/>
            <a:rect l="l" t="t" r="r" b="b"/>
            <a:pathLst>
              <a:path w="43815">
                <a:moveTo>
                  <a:pt x="0" y="0"/>
                </a:moveTo>
                <a:lnTo>
                  <a:pt x="43815"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287" name="object 138">
            <a:extLst>
              <a:ext uri="{FF2B5EF4-FFF2-40B4-BE49-F238E27FC236}">
                <a16:creationId xmlns:a16="http://schemas.microsoft.com/office/drawing/2014/main" id="{1EE7891D-1500-8C69-941C-F089953C5F4E}"/>
              </a:ext>
            </a:extLst>
          </p:cNvPr>
          <p:cNvSpPr txBox="1"/>
          <p:nvPr/>
        </p:nvSpPr>
        <p:spPr>
          <a:xfrm>
            <a:off x="2267622" y="3972323"/>
            <a:ext cx="2292191" cy="163987"/>
          </a:xfrm>
          <a:prstGeom prst="rect">
            <a:avLst/>
          </a:prstGeom>
        </p:spPr>
        <p:txBody>
          <a:bodyPr vert="horz" wrap="square" lIns="0" tIns="10001" rIns="0" bIns="0" rtlCol="0">
            <a:spAutoFit/>
          </a:bodyPr>
          <a:lstStyle/>
          <a:p>
            <a:pPr marL="9525" marR="0" lvl="0" indent="0" algn="ctr" defTabSz="685783" rtl="0" eaLnBrk="1" fontAlgn="auto" latinLnBrk="0" hangingPunct="1">
              <a:lnSpc>
                <a:spcPct val="100000"/>
              </a:lnSpc>
              <a:spcBef>
                <a:spcPts val="79"/>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Time from</a:t>
            </a:r>
            <a:r>
              <a:rPr kumimoji="0" lang="en-US" sz="1000" b="1" i="0" u="none" strike="noStrike" kern="1200" cap="none" spc="-53" normalizeH="0" baseline="0" noProof="0" dirty="0">
                <a:ln>
                  <a:noFill/>
                </a:ln>
                <a:solidFill>
                  <a:prstClr val="black"/>
                </a:solidFill>
                <a:effectLst/>
                <a:uLnTx/>
                <a:uFillTx/>
                <a:latin typeface="Arial" panose="020B0604020202020204"/>
                <a:ea typeface="MS PGothic" panose="020B0600070205080204" pitchFamily="34" charset="-128"/>
                <a:cs typeface="+mn-cs"/>
              </a:rPr>
              <a:t> </a:t>
            </a:r>
            <a:r>
              <a:rPr kumimoji="0" lang="en-US" sz="1000" b="1" i="0" u="none" strike="noStrike" kern="1200" cap="none" spc="-53" normalizeH="0" baseline="0" noProof="0" dirty="0" err="1">
                <a:ln>
                  <a:noFill/>
                </a:ln>
                <a:solidFill>
                  <a:prstClr val="black"/>
                </a:solidFill>
                <a:effectLst/>
                <a:uLnTx/>
                <a:uFillTx/>
                <a:latin typeface="Arial" panose="020B0604020202020204"/>
                <a:ea typeface="MS PGothic" panose="020B0600070205080204" pitchFamily="34" charset="-128"/>
                <a:cs typeface="+mn-cs"/>
              </a:rPr>
              <a:t>r</a:t>
            </a:r>
            <a:r>
              <a:rPr kumimoji="0" lang="en-US" sz="1000" b="1" i="0" u="none" strike="noStrike" kern="1200" cap="none" spc="0" normalizeH="0" baseline="0" noProof="0" dirty="0" err="1">
                <a:ln>
                  <a:noFill/>
                </a:ln>
                <a:solidFill>
                  <a:prstClr val="black"/>
                </a:solidFill>
                <a:effectLst/>
                <a:uLnTx/>
                <a:uFillTx/>
                <a:latin typeface="Arial" panose="020B0604020202020204"/>
                <a:ea typeface="MS PGothic" panose="020B0600070205080204" pitchFamily="34" charset="-128"/>
                <a:cs typeface="+mn-cs"/>
              </a:rPr>
              <a:t>andomisation</a:t>
            </a:r>
            <a:r>
              <a:rPr kumimoji="0" lang="en-US" sz="1000"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 months</a:t>
            </a:r>
          </a:p>
        </p:txBody>
      </p:sp>
      <p:sp>
        <p:nvSpPr>
          <p:cNvPr id="288" name="object 139">
            <a:extLst>
              <a:ext uri="{FF2B5EF4-FFF2-40B4-BE49-F238E27FC236}">
                <a16:creationId xmlns:a16="http://schemas.microsoft.com/office/drawing/2014/main" id="{BAD4DD3E-7861-B9D2-F1B0-8FC49D342931}"/>
              </a:ext>
            </a:extLst>
          </p:cNvPr>
          <p:cNvSpPr txBox="1"/>
          <p:nvPr/>
        </p:nvSpPr>
        <p:spPr>
          <a:xfrm>
            <a:off x="3224594" y="4250806"/>
            <a:ext cx="1579245" cy="278314"/>
          </a:xfrm>
          <a:prstGeom prst="rect">
            <a:avLst/>
          </a:prstGeom>
        </p:spPr>
        <p:txBody>
          <a:bodyPr vert="horz" wrap="square" lIns="0" tIns="22384" rIns="0" bIns="0" rtlCol="0">
            <a:spAutoFit/>
          </a:bodyPr>
          <a:lstStyle/>
          <a:p>
            <a:pPr marL="9525" marR="0" lvl="0" indent="0" algn="l" defTabSz="685783" rtl="0" eaLnBrk="1" fontAlgn="auto" latinLnBrk="0" hangingPunct="1">
              <a:lnSpc>
                <a:spcPct val="100000"/>
              </a:lnSpc>
              <a:spcBef>
                <a:spcPts val="0"/>
              </a:spcBef>
              <a:spcAft>
                <a:spcPts val="0"/>
              </a:spcAft>
              <a:buClrTx/>
              <a:buSzTx/>
              <a:buFontTx/>
              <a:buNone/>
              <a:tabLst>
                <a:tab pos="1089633" algn="l"/>
                <a:tab pos="1301558" algn="l"/>
                <a:tab pos="1510628" algn="l"/>
              </a:tabLst>
              <a:defRPr/>
            </a:pP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9</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5  </a:t>
            </a:r>
            <a:r>
              <a:rPr kumimoji="0" lang="en-US" sz="831" b="0" i="0" u="none" strike="noStrike" kern="1200" cap="none" spc="35"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6</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3  </a:t>
            </a:r>
            <a:r>
              <a:rPr kumimoji="0" lang="en-US" sz="831" b="0" i="0" u="none" strike="noStrike" kern="1200" cap="none" spc="60"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5</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0  </a:t>
            </a:r>
            <a:r>
              <a:rPr kumimoji="0" lang="en-US" sz="831" b="0" i="0" u="none" strike="noStrike" kern="1200" cap="none" spc="37"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2</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7  </a:t>
            </a:r>
            <a:r>
              <a:rPr kumimoji="0" lang="en-US" sz="831" b="0" i="0" u="none" strike="noStrike" kern="1200" cap="none" spc="60"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5	5	0	0</a:t>
            </a:r>
          </a:p>
          <a:p>
            <a:pPr marL="9525" marR="0" lvl="0" indent="0" algn="l" defTabSz="685783" rtl="0" eaLnBrk="1" fontAlgn="auto" latinLnBrk="0" hangingPunct="1">
              <a:lnSpc>
                <a:spcPct val="100000"/>
              </a:lnSpc>
              <a:spcBef>
                <a:spcPts val="0"/>
              </a:spcBef>
              <a:spcAft>
                <a:spcPts val="0"/>
              </a:spcAft>
              <a:buClrTx/>
              <a:buSzTx/>
              <a:buFontTx/>
              <a:buNone/>
              <a:tabLst>
                <a:tab pos="667686" algn="l"/>
                <a:tab pos="879613" algn="l"/>
                <a:tab pos="1089633" algn="l"/>
                <a:tab pos="1301558" algn="l"/>
                <a:tab pos="1510628" algn="l"/>
              </a:tabLst>
              <a:defRPr/>
            </a:pP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2</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4  </a:t>
            </a:r>
            <a:r>
              <a:rPr kumimoji="0" lang="en-US" sz="831" b="0" i="0" u="none" strike="noStrike" kern="1200" cap="none" spc="35"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6  </a:t>
            </a:r>
            <a:r>
              <a:rPr kumimoji="0" lang="en-US" sz="831" b="0" i="0" u="none" strike="noStrike" kern="1200" cap="none" spc="60"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1	5	2	0	0	0</a:t>
            </a:r>
          </a:p>
        </p:txBody>
      </p:sp>
      <p:sp>
        <p:nvSpPr>
          <p:cNvPr id="289" name="object 140">
            <a:extLst>
              <a:ext uri="{FF2B5EF4-FFF2-40B4-BE49-F238E27FC236}">
                <a16:creationId xmlns:a16="http://schemas.microsoft.com/office/drawing/2014/main" id="{2F89A220-3E5A-501F-13D3-587D98621A0A}"/>
              </a:ext>
            </a:extLst>
          </p:cNvPr>
          <p:cNvSpPr txBox="1"/>
          <p:nvPr/>
        </p:nvSpPr>
        <p:spPr>
          <a:xfrm>
            <a:off x="1563896" y="1608125"/>
            <a:ext cx="194309" cy="2217819"/>
          </a:xfrm>
          <a:prstGeom prst="rect">
            <a:avLst/>
          </a:prstGeom>
        </p:spPr>
        <p:txBody>
          <a:bodyPr vert="horz" wrap="square" lIns="0" tIns="10001" rIns="0" bIns="0" rtlCol="0">
            <a:spAutoFit/>
          </a:bodyPr>
          <a:lstStyle/>
          <a:p>
            <a:pPr marL="9525"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10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9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8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7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6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5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4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3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2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10</a:t>
            </a: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p:txBody>
      </p:sp>
      <p:sp>
        <p:nvSpPr>
          <p:cNvPr id="290" name="object 141">
            <a:extLst>
              <a:ext uri="{FF2B5EF4-FFF2-40B4-BE49-F238E27FC236}">
                <a16:creationId xmlns:a16="http://schemas.microsoft.com/office/drawing/2014/main" id="{E350F267-4DFB-BCEA-6BE7-F219AC80ABCC}"/>
              </a:ext>
            </a:extLst>
          </p:cNvPr>
          <p:cNvSpPr txBox="1"/>
          <p:nvPr/>
        </p:nvSpPr>
        <p:spPr>
          <a:xfrm>
            <a:off x="1734035" y="4250807"/>
            <a:ext cx="2456444" cy="287451"/>
          </a:xfrm>
          <a:prstGeom prst="rect">
            <a:avLst/>
          </a:prstGeom>
        </p:spPr>
        <p:txBody>
          <a:bodyPr vert="horz" wrap="square" lIns="0" tIns="31433" rIns="0" bIns="0" rtlCol="0">
            <a:spAutoFit/>
          </a:bodyPr>
          <a:lstStyle/>
          <a:p>
            <a:pPr marL="0" marR="0" lvl="0" indent="4763" algn="l" defTabSz="685783" rtl="0" eaLnBrk="1" fontAlgn="auto" latinLnBrk="0" hangingPunct="1">
              <a:lnSpc>
                <a:spcPct val="100000"/>
              </a:lnSpc>
              <a:spcBef>
                <a:spcPts val="0"/>
              </a:spcBef>
              <a:spcAft>
                <a:spcPts val="0"/>
              </a:spcAft>
              <a:buClrTx/>
              <a:buSzTx/>
              <a:buFontTx/>
              <a:buNone/>
              <a:tabLst/>
              <a:defRPr/>
            </a:pP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77</a:t>
            </a:r>
            <a:r>
              <a:rPr kumimoji="0" lang="en-US" sz="831" b="0" i="0" u="none" strike="noStrike" kern="1200" cap="none" spc="60"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75</a:t>
            </a:r>
            <a:r>
              <a:rPr kumimoji="0" lang="en-US" sz="831" b="0" i="0" u="none" strike="noStrike" kern="1200" cap="none" spc="37"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66</a:t>
            </a:r>
            <a:r>
              <a:rPr kumimoji="0" lang="en-US" sz="831" b="0" i="0" u="none" strike="noStrike" kern="1200" cap="none" spc="60"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61</a:t>
            </a:r>
            <a:r>
              <a:rPr kumimoji="0" lang="en-US" sz="831" b="0" i="0" u="none" strike="noStrike" kern="1200" cap="none" spc="45"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50</a:t>
            </a:r>
            <a:r>
              <a:rPr kumimoji="0" lang="en-US" sz="831" b="0" i="0" u="none" strike="noStrike" kern="1200" cap="none" spc="60"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40</a:t>
            </a:r>
            <a:r>
              <a:rPr kumimoji="0" lang="en-US" sz="831" b="0" i="0" u="none" strike="noStrike" kern="1200" cap="none" spc="37"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09</a:t>
            </a:r>
            <a:endPar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endParaRPr>
          </a:p>
          <a:p>
            <a:pPr marL="0" marR="0" lvl="0" indent="4763" algn="l" defTabSz="685783" rtl="0" eaLnBrk="1" fontAlgn="auto" latinLnBrk="0" hangingPunct="1">
              <a:lnSpc>
                <a:spcPct val="100000"/>
              </a:lnSpc>
              <a:spcBef>
                <a:spcPts val="0"/>
              </a:spcBef>
              <a:spcAft>
                <a:spcPts val="0"/>
              </a:spcAft>
              <a:buClrTx/>
              <a:buSzTx/>
              <a:buFontTx/>
              <a:buNone/>
              <a:tabLst/>
              <a:defRPr/>
            </a:pP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 89    86    78  66   59    47</a:t>
            </a:r>
            <a:r>
              <a:rPr kumimoji="0" lang="en-US" sz="831" b="0" i="0" u="none" strike="noStrike" kern="1200" cap="none" spc="15"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31</a:t>
            </a:r>
            <a:endPar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endParaRPr>
          </a:p>
        </p:txBody>
      </p:sp>
      <p:sp>
        <p:nvSpPr>
          <p:cNvPr id="292" name="object 143">
            <a:extLst>
              <a:ext uri="{FF2B5EF4-FFF2-40B4-BE49-F238E27FC236}">
                <a16:creationId xmlns:a16="http://schemas.microsoft.com/office/drawing/2014/main" id="{4F09E0C3-7634-EEA5-EED0-7DB7AE00AF18}"/>
              </a:ext>
            </a:extLst>
          </p:cNvPr>
          <p:cNvSpPr txBox="1"/>
          <p:nvPr/>
        </p:nvSpPr>
        <p:spPr>
          <a:xfrm>
            <a:off x="1704706" y="3608928"/>
            <a:ext cx="3346133" cy="297197"/>
          </a:xfrm>
          <a:prstGeom prst="rect">
            <a:avLst/>
          </a:prstGeom>
        </p:spPr>
        <p:txBody>
          <a:bodyPr vert="horz" wrap="square" lIns="0" tIns="65723" rIns="0" bIns="0" rtlCol="0">
            <a:spAutoFit/>
          </a:bodyPr>
          <a:lstStyle/>
          <a:p>
            <a:pPr marL="84294" marR="0" lvl="0" indent="0" algn="l" defTabSz="685783" rtl="0" eaLnBrk="1" fontAlgn="auto" latinLnBrk="0" hangingPunct="1">
              <a:lnSpc>
                <a:spcPts val="904"/>
              </a:lnSpc>
              <a:spcBef>
                <a:spcPts val="0"/>
              </a:spcBef>
              <a:spcAft>
                <a:spcPts val="0"/>
              </a:spcAft>
              <a:buClrTx/>
              <a:buSzTx/>
              <a:buFontTx/>
              <a:buNone/>
              <a:tabLst>
                <a:tab pos="295267" algn="l"/>
                <a:tab pos="508622" algn="l"/>
                <a:tab pos="717215" algn="l"/>
                <a:tab pos="899614" algn="l"/>
                <a:tab pos="1534440" algn="l"/>
                <a:tab pos="2589306" algn="l"/>
              </a:tabLst>
              <a:defRPr/>
            </a:pP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84294" marR="0" lvl="0" indent="0" algn="l" defTabSz="685783" rtl="0" eaLnBrk="1" fontAlgn="auto" latinLnBrk="0" hangingPunct="1">
              <a:lnSpc>
                <a:spcPts val="904"/>
              </a:lnSpc>
              <a:spcBef>
                <a:spcPts val="0"/>
              </a:spcBef>
              <a:spcAft>
                <a:spcPts val="0"/>
              </a:spcAft>
              <a:buClrTx/>
              <a:buSzTx/>
              <a:buFontTx/>
              <a:buNone/>
              <a:tabLst>
                <a:tab pos="295267" algn="l"/>
                <a:tab pos="508622" algn="l"/>
                <a:tab pos="717215" algn="l"/>
                <a:tab pos="899614" algn="l"/>
                <a:tab pos="1534440" algn="l"/>
                <a:tab pos="2589306" algn="l"/>
              </a:tabLst>
              <a:defRPr/>
            </a:pP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0	3	6	9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12  </a:t>
            </a:r>
            <a:r>
              <a:rPr kumimoji="0" lang="en-US" sz="825" b="0" i="0" u="none" strike="noStrike" kern="1200" cap="none" spc="64" normalizeH="0" baseline="0" noProof="0" dirty="0">
                <a:ln>
                  <a:noFill/>
                </a:ln>
                <a:solidFill>
                  <a:prstClr val="black"/>
                </a:solidFill>
                <a:effectLst/>
                <a:uLnTx/>
                <a:uFillTx/>
                <a:latin typeface="Arial" panose="020B0604020202020204"/>
                <a:ea typeface="MS PGothic" panose="020B0600070205080204" pitchFamily="34" charset="-128"/>
                <a:cs typeface="+mn-cs"/>
              </a:rPr>
              <a:t>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15  </a:t>
            </a:r>
            <a:r>
              <a:rPr kumimoji="0" lang="en-US" sz="825" b="0" i="0" u="none" strike="noStrike" kern="1200" cap="none" spc="68" normalizeH="0" baseline="0" noProof="0" dirty="0">
                <a:ln>
                  <a:noFill/>
                </a:ln>
                <a:solidFill>
                  <a:prstClr val="black"/>
                </a:solidFill>
                <a:effectLst/>
                <a:uLnTx/>
                <a:uFillTx/>
                <a:latin typeface="Arial" panose="020B0604020202020204"/>
                <a:ea typeface="MS PGothic" panose="020B0600070205080204" pitchFamily="34" charset="-128"/>
                <a:cs typeface="+mn-cs"/>
              </a:rPr>
              <a:t>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18	21   24    27 </a:t>
            </a:r>
            <a:r>
              <a:rPr kumimoji="0" lang="en-US" sz="825" b="0" i="0" u="none" strike="noStrike" kern="1200" cap="none" spc="191" normalizeH="0" baseline="0" noProof="0" dirty="0">
                <a:ln>
                  <a:noFill/>
                </a:ln>
                <a:solidFill>
                  <a:prstClr val="black"/>
                </a:solidFill>
                <a:effectLst/>
                <a:uLnTx/>
                <a:uFillTx/>
                <a:latin typeface="Arial" panose="020B0604020202020204"/>
                <a:ea typeface="MS PGothic" panose="020B0600070205080204" pitchFamily="34" charset="-128"/>
                <a:cs typeface="+mn-cs"/>
              </a:rPr>
              <a:t>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30  </a:t>
            </a:r>
            <a:r>
              <a:rPr kumimoji="0" lang="en-US" sz="825" b="0" i="0" u="none" strike="noStrike" kern="1200" cap="none" spc="64" normalizeH="0" baseline="0" noProof="0" dirty="0">
                <a:ln>
                  <a:noFill/>
                </a:ln>
                <a:solidFill>
                  <a:prstClr val="black"/>
                </a:solidFill>
                <a:effectLst/>
                <a:uLnTx/>
                <a:uFillTx/>
                <a:latin typeface="Arial" panose="020B0604020202020204"/>
                <a:ea typeface="MS PGothic" panose="020B0600070205080204" pitchFamily="34" charset="-128"/>
                <a:cs typeface="+mn-cs"/>
              </a:rPr>
              <a:t>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33	36   39    42</a:t>
            </a:r>
            <a:r>
              <a:rPr kumimoji="0" lang="en-US" sz="825" b="0" i="0" u="none" strike="noStrike" kern="1200" cap="none" spc="116" normalizeH="0" baseline="0" noProof="0" dirty="0">
                <a:ln>
                  <a:noFill/>
                </a:ln>
                <a:solidFill>
                  <a:prstClr val="black"/>
                </a:solidFill>
                <a:effectLst/>
                <a:uLnTx/>
                <a:uFillTx/>
                <a:latin typeface="Arial" panose="020B0604020202020204"/>
                <a:ea typeface="MS PGothic" panose="020B0600070205080204" pitchFamily="34" charset="-128"/>
                <a:cs typeface="+mn-cs"/>
              </a:rPr>
              <a:t>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45</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p:txBody>
      </p:sp>
      <p:sp>
        <p:nvSpPr>
          <p:cNvPr id="293" name="object 144">
            <a:extLst>
              <a:ext uri="{FF2B5EF4-FFF2-40B4-BE49-F238E27FC236}">
                <a16:creationId xmlns:a16="http://schemas.microsoft.com/office/drawing/2014/main" id="{846A6A53-3CD0-63FF-4E6F-1EA6E6E571F6}"/>
              </a:ext>
            </a:extLst>
          </p:cNvPr>
          <p:cNvSpPr txBox="1"/>
          <p:nvPr/>
        </p:nvSpPr>
        <p:spPr>
          <a:xfrm>
            <a:off x="2641409" y="1724086"/>
            <a:ext cx="377571" cy="147637"/>
          </a:xfrm>
          <a:prstGeom prst="rect">
            <a:avLst/>
          </a:prstGeom>
        </p:spPr>
        <p:txBody>
          <a:bodyPr vert="horz" wrap="square" lIns="0" tIns="9049" rIns="0" bIns="0" rtlCol="0">
            <a:spAutoFit/>
          </a:bodyPr>
          <a:lstStyle/>
          <a:p>
            <a:pPr marL="9525" marR="0" lvl="0" indent="0" algn="l" defTabSz="685783" rtl="0" eaLnBrk="1" fontAlgn="auto" latinLnBrk="0" hangingPunct="1">
              <a:lnSpc>
                <a:spcPct val="100000"/>
              </a:lnSpc>
              <a:spcBef>
                <a:spcPts val="71"/>
              </a:spcBef>
              <a:spcAft>
                <a:spcPts val="0"/>
              </a:spcAft>
              <a:buClrTx/>
              <a:buSzTx/>
              <a:buFontTx/>
              <a:buNone/>
              <a:tabLst/>
              <a:defRPr/>
            </a:pPr>
            <a:r>
              <a:rPr kumimoji="0" lang="en-US" sz="900" b="1" i="0" u="none" strike="noStrike" kern="1200" cap="none" spc="-8" normalizeH="0" baseline="0" noProof="0" dirty="0">
                <a:ln>
                  <a:noFill/>
                </a:ln>
                <a:solidFill>
                  <a:srgbClr val="830051"/>
                </a:solidFill>
                <a:effectLst/>
                <a:uLnTx/>
                <a:uFillTx/>
                <a:latin typeface="Arial" panose="020B0604020202020204"/>
                <a:ea typeface="MS PGothic" panose="020B0600070205080204" pitchFamily="34" charset="-128"/>
                <a:cs typeface="+mn-cs"/>
              </a:rPr>
              <a:t>86%</a:t>
            </a:r>
            <a:endParaRPr kumimoji="0" lang="en-US" sz="900" b="1" i="0" u="none" strike="noStrike" kern="1200" cap="none" spc="0" normalizeH="0" baseline="0" noProof="0" dirty="0">
              <a:ln>
                <a:noFill/>
              </a:ln>
              <a:solidFill>
                <a:srgbClr val="830051"/>
              </a:solidFill>
              <a:effectLst/>
              <a:uLnTx/>
              <a:uFillTx/>
              <a:latin typeface="Arial" panose="020B0604020202020204"/>
              <a:ea typeface="MS PGothic" panose="020B0600070205080204" pitchFamily="34" charset="-128"/>
              <a:cs typeface="+mn-cs"/>
            </a:endParaRPr>
          </a:p>
        </p:txBody>
      </p:sp>
      <p:sp>
        <p:nvSpPr>
          <p:cNvPr id="294" name="object 145">
            <a:extLst>
              <a:ext uri="{FF2B5EF4-FFF2-40B4-BE49-F238E27FC236}">
                <a16:creationId xmlns:a16="http://schemas.microsoft.com/office/drawing/2014/main" id="{52316F86-5D82-2D32-A6A6-271BAA8F9CC4}"/>
              </a:ext>
            </a:extLst>
          </p:cNvPr>
          <p:cNvSpPr txBox="1"/>
          <p:nvPr/>
        </p:nvSpPr>
        <p:spPr>
          <a:xfrm>
            <a:off x="2200744" y="2312350"/>
            <a:ext cx="368901" cy="147637"/>
          </a:xfrm>
          <a:prstGeom prst="rect">
            <a:avLst/>
          </a:prstGeom>
        </p:spPr>
        <p:txBody>
          <a:bodyPr vert="horz" wrap="square" lIns="0" tIns="9049" rIns="0" bIns="0" rtlCol="0">
            <a:spAutoFit/>
          </a:bodyPr>
          <a:lstStyle/>
          <a:p>
            <a:pPr marL="9525" marR="0" lvl="0" indent="0" algn="r" defTabSz="685783" rtl="0" eaLnBrk="1" fontAlgn="auto" latinLnBrk="0" hangingPunct="1">
              <a:lnSpc>
                <a:spcPct val="100000"/>
              </a:lnSpc>
              <a:spcBef>
                <a:spcPts val="71"/>
              </a:spcBef>
              <a:spcAft>
                <a:spcPts val="0"/>
              </a:spcAft>
              <a:buClrTx/>
              <a:buSzTx/>
              <a:buFontTx/>
              <a:buNone/>
              <a:tabLst/>
              <a:defRPr/>
            </a:pPr>
            <a:r>
              <a:rPr kumimoji="0" lang="en-US" sz="900" b="1" i="0" u="none" strike="noStrike" kern="1200" cap="none" spc="-8" normalizeH="0" baseline="0" noProof="0" dirty="0">
                <a:ln>
                  <a:noFill/>
                </a:ln>
                <a:solidFill>
                  <a:srgbClr val="7F7F7F"/>
                </a:solidFill>
                <a:effectLst/>
                <a:uLnTx/>
                <a:uFillTx/>
                <a:latin typeface="Arial" panose="020B0604020202020204"/>
                <a:ea typeface="MS PGothic" panose="020B0600070205080204" pitchFamily="34" charset="-128"/>
                <a:cs typeface="+mn-cs"/>
              </a:rPr>
              <a:t>68%</a:t>
            </a:r>
            <a:endParaRPr kumimoji="0" lang="en-US" sz="900" b="1" i="0" u="none" strike="noStrike" kern="1200" cap="none" spc="0" normalizeH="0" baseline="0" noProof="0" dirty="0">
              <a:ln>
                <a:noFill/>
              </a:ln>
              <a:solidFill>
                <a:srgbClr val="7F7F7F"/>
              </a:solidFill>
              <a:effectLst/>
              <a:uLnTx/>
              <a:uFillTx/>
              <a:latin typeface="Arial" panose="020B0604020202020204"/>
              <a:ea typeface="MS PGothic" panose="020B0600070205080204" pitchFamily="34" charset="-128"/>
              <a:cs typeface="+mn-cs"/>
            </a:endParaRPr>
          </a:p>
        </p:txBody>
      </p:sp>
      <p:sp>
        <p:nvSpPr>
          <p:cNvPr id="295" name="object 146">
            <a:extLst>
              <a:ext uri="{FF2B5EF4-FFF2-40B4-BE49-F238E27FC236}">
                <a16:creationId xmlns:a16="http://schemas.microsoft.com/office/drawing/2014/main" id="{DE18FD28-3430-EF46-E292-699EB360E104}"/>
              </a:ext>
            </a:extLst>
          </p:cNvPr>
          <p:cNvSpPr txBox="1"/>
          <p:nvPr/>
        </p:nvSpPr>
        <p:spPr>
          <a:xfrm>
            <a:off x="3461586" y="2422555"/>
            <a:ext cx="381287" cy="147637"/>
          </a:xfrm>
          <a:prstGeom prst="rect">
            <a:avLst/>
          </a:prstGeom>
          <a:solidFill>
            <a:schemeClr val="bg2"/>
          </a:solidFill>
          <a:ln>
            <a:solidFill>
              <a:schemeClr val="bg1"/>
            </a:solidFill>
          </a:ln>
        </p:spPr>
        <p:txBody>
          <a:bodyPr vert="horz" wrap="square" lIns="0" tIns="9049" rIns="0" bIns="0" rtlCol="0">
            <a:spAutoFit/>
          </a:bodyPr>
          <a:lstStyle/>
          <a:p>
            <a:pPr marL="9525" marR="0" lvl="0" indent="0" algn="l" defTabSz="685783" rtl="0" eaLnBrk="1" fontAlgn="auto" latinLnBrk="0" hangingPunct="1">
              <a:lnSpc>
                <a:spcPct val="100000"/>
              </a:lnSpc>
              <a:spcBef>
                <a:spcPts val="71"/>
              </a:spcBef>
              <a:spcAft>
                <a:spcPts val="0"/>
              </a:spcAft>
              <a:buClrTx/>
              <a:buSzTx/>
              <a:buFontTx/>
              <a:buNone/>
              <a:tabLst/>
              <a:defRPr/>
            </a:pPr>
            <a:r>
              <a:rPr kumimoji="0" lang="en-US" sz="900" b="1" i="0" u="none" strike="noStrike" kern="1200" cap="none" spc="-8" normalizeH="0" baseline="0" noProof="0" dirty="0">
                <a:ln>
                  <a:noFill/>
                </a:ln>
                <a:solidFill>
                  <a:srgbClr val="830051"/>
                </a:solidFill>
                <a:effectLst/>
                <a:uLnTx/>
                <a:uFillTx/>
                <a:latin typeface="Arial" panose="020B0604020202020204"/>
                <a:ea typeface="MS PGothic" panose="020B0600070205080204" pitchFamily="34" charset="-128"/>
                <a:cs typeface="+mn-cs"/>
              </a:rPr>
              <a:t>56%</a:t>
            </a:r>
            <a:endParaRPr kumimoji="0" lang="en-US" sz="900" b="1" i="0" u="none" strike="noStrike" kern="1200" cap="none" spc="0" normalizeH="0" baseline="0" noProof="0" dirty="0">
              <a:ln>
                <a:noFill/>
              </a:ln>
              <a:solidFill>
                <a:srgbClr val="830051"/>
              </a:solidFill>
              <a:effectLst/>
              <a:uLnTx/>
              <a:uFillTx/>
              <a:latin typeface="Arial" panose="020B0604020202020204"/>
              <a:ea typeface="MS PGothic" panose="020B0600070205080204" pitchFamily="34" charset="-128"/>
              <a:cs typeface="+mn-cs"/>
            </a:endParaRPr>
          </a:p>
        </p:txBody>
      </p:sp>
      <p:sp>
        <p:nvSpPr>
          <p:cNvPr id="296" name="object 147">
            <a:extLst>
              <a:ext uri="{FF2B5EF4-FFF2-40B4-BE49-F238E27FC236}">
                <a16:creationId xmlns:a16="http://schemas.microsoft.com/office/drawing/2014/main" id="{58A6EAD0-AB07-EFC0-F836-EC8B22E740BE}"/>
              </a:ext>
            </a:extLst>
          </p:cNvPr>
          <p:cNvSpPr txBox="1"/>
          <p:nvPr/>
        </p:nvSpPr>
        <p:spPr>
          <a:xfrm>
            <a:off x="3490237" y="3084345"/>
            <a:ext cx="403289" cy="147637"/>
          </a:xfrm>
          <a:prstGeom prst="rect">
            <a:avLst/>
          </a:prstGeom>
          <a:solidFill>
            <a:schemeClr val="bg1"/>
          </a:solidFill>
          <a:ln>
            <a:solidFill>
              <a:schemeClr val="bg1"/>
            </a:solidFill>
          </a:ln>
        </p:spPr>
        <p:txBody>
          <a:bodyPr vert="horz" wrap="square" lIns="0" tIns="9049" rIns="0" bIns="0" rtlCol="0">
            <a:spAutoFit/>
          </a:bodyPr>
          <a:lstStyle/>
          <a:p>
            <a:pPr marL="9525" marR="0" lvl="0" indent="0" algn="l" defTabSz="685783" rtl="0" eaLnBrk="1" fontAlgn="auto" latinLnBrk="0" hangingPunct="1">
              <a:lnSpc>
                <a:spcPct val="100000"/>
              </a:lnSpc>
              <a:spcBef>
                <a:spcPts val="71"/>
              </a:spcBef>
              <a:spcAft>
                <a:spcPts val="0"/>
              </a:spcAft>
              <a:buClrTx/>
              <a:buSzTx/>
              <a:buFontTx/>
              <a:buNone/>
              <a:tabLst/>
              <a:defRPr/>
            </a:pPr>
            <a:r>
              <a:rPr kumimoji="0" lang="en-US" sz="900" b="1" i="0" u="none" strike="noStrike" kern="1200" cap="none" spc="-8" normalizeH="0" baseline="0" noProof="0" dirty="0">
                <a:ln>
                  <a:noFill/>
                </a:ln>
                <a:solidFill>
                  <a:srgbClr val="7F7F7F"/>
                </a:solidFill>
                <a:effectLst/>
                <a:uLnTx/>
                <a:uFillTx/>
                <a:latin typeface="Arial" panose="020B0604020202020204"/>
                <a:ea typeface="MS PGothic" panose="020B0600070205080204" pitchFamily="34" charset="-128"/>
                <a:cs typeface="+mn-cs"/>
              </a:rPr>
              <a:t>23%</a:t>
            </a:r>
            <a:endParaRPr kumimoji="0" lang="en-US" sz="900" b="1" i="0" u="none" strike="noStrike" kern="1200" cap="none" spc="0" normalizeH="0" baseline="0" noProof="0" dirty="0">
              <a:ln>
                <a:noFill/>
              </a:ln>
              <a:solidFill>
                <a:srgbClr val="7F7F7F"/>
              </a:solidFill>
              <a:effectLst/>
              <a:uLnTx/>
              <a:uFillTx/>
              <a:latin typeface="Arial" panose="020B0604020202020204"/>
              <a:ea typeface="MS PGothic" panose="020B0600070205080204" pitchFamily="34" charset="-128"/>
              <a:cs typeface="+mn-cs"/>
            </a:endParaRPr>
          </a:p>
        </p:txBody>
      </p:sp>
      <p:sp>
        <p:nvSpPr>
          <p:cNvPr id="301" name="object 154">
            <a:extLst>
              <a:ext uri="{FF2B5EF4-FFF2-40B4-BE49-F238E27FC236}">
                <a16:creationId xmlns:a16="http://schemas.microsoft.com/office/drawing/2014/main" id="{C133DB85-4DB2-2CFC-094E-E8EFDA9D43F8}"/>
              </a:ext>
            </a:extLst>
          </p:cNvPr>
          <p:cNvSpPr/>
          <p:nvPr/>
        </p:nvSpPr>
        <p:spPr>
          <a:xfrm>
            <a:off x="8523792" y="1802539"/>
            <a:ext cx="0" cy="1927860"/>
          </a:xfrm>
          <a:custGeom>
            <a:avLst/>
            <a:gdLst/>
            <a:ahLst/>
            <a:cxnLst/>
            <a:rect l="l" t="t" r="r" b="b"/>
            <a:pathLst>
              <a:path h="2570479">
                <a:moveTo>
                  <a:pt x="0" y="2570098"/>
                </a:moveTo>
                <a:lnTo>
                  <a:pt x="0" y="0"/>
                </a:lnTo>
              </a:path>
            </a:pathLst>
          </a:custGeom>
          <a:ln w="10728">
            <a:solidFill>
              <a:srgbClr val="000000"/>
            </a:solidFill>
            <a:prstDash val="sysDash"/>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02" name="object 155">
            <a:extLst>
              <a:ext uri="{FF2B5EF4-FFF2-40B4-BE49-F238E27FC236}">
                <a16:creationId xmlns:a16="http://schemas.microsoft.com/office/drawing/2014/main" id="{D61FCEAC-A891-C32F-BAD4-A69764BBFFAC}"/>
              </a:ext>
            </a:extLst>
          </p:cNvPr>
          <p:cNvSpPr/>
          <p:nvPr/>
        </p:nvSpPr>
        <p:spPr>
          <a:xfrm>
            <a:off x="9411903" y="1923697"/>
            <a:ext cx="0" cy="1805464"/>
          </a:xfrm>
          <a:custGeom>
            <a:avLst/>
            <a:gdLst/>
            <a:ahLst/>
            <a:cxnLst/>
            <a:rect l="l" t="t" r="r" b="b"/>
            <a:pathLst>
              <a:path h="2407285">
                <a:moveTo>
                  <a:pt x="0" y="2407285"/>
                </a:moveTo>
                <a:lnTo>
                  <a:pt x="0" y="0"/>
                </a:lnTo>
              </a:path>
            </a:pathLst>
          </a:custGeom>
          <a:ln w="10728">
            <a:solidFill>
              <a:srgbClr val="000000"/>
            </a:solidFill>
            <a:prstDash val="sysDash"/>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03" name="object 156">
            <a:extLst>
              <a:ext uri="{FF2B5EF4-FFF2-40B4-BE49-F238E27FC236}">
                <a16:creationId xmlns:a16="http://schemas.microsoft.com/office/drawing/2014/main" id="{E75FB87A-87F4-8F3F-350F-AE0459F820ED}"/>
              </a:ext>
            </a:extLst>
          </p:cNvPr>
          <p:cNvSpPr/>
          <p:nvPr/>
        </p:nvSpPr>
        <p:spPr>
          <a:xfrm>
            <a:off x="9264839" y="1875119"/>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04" name="object 157">
            <a:extLst>
              <a:ext uri="{FF2B5EF4-FFF2-40B4-BE49-F238E27FC236}">
                <a16:creationId xmlns:a16="http://schemas.microsoft.com/office/drawing/2014/main" id="{107EBA7E-C2DA-AA4D-8352-F4B67AAF388D}"/>
              </a:ext>
            </a:extLst>
          </p:cNvPr>
          <p:cNvSpPr/>
          <p:nvPr/>
        </p:nvSpPr>
        <p:spPr>
          <a:xfrm>
            <a:off x="9251313" y="1887502"/>
            <a:ext cx="39052" cy="9525"/>
          </a:xfrm>
          <a:custGeom>
            <a:avLst/>
            <a:gdLst/>
            <a:ahLst/>
            <a:cxnLst/>
            <a:rect l="l" t="t" r="r" b="b"/>
            <a:pathLst>
              <a:path w="52070" h="12700">
                <a:moveTo>
                  <a:pt x="0" y="12700"/>
                </a:moveTo>
                <a:lnTo>
                  <a:pt x="51688" y="12700"/>
                </a:lnTo>
                <a:lnTo>
                  <a:pt x="51688" y="0"/>
                </a:lnTo>
                <a:lnTo>
                  <a:pt x="0" y="0"/>
                </a:lnTo>
                <a:lnTo>
                  <a:pt x="0" y="1270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05" name="object 158">
            <a:extLst>
              <a:ext uri="{FF2B5EF4-FFF2-40B4-BE49-F238E27FC236}">
                <a16:creationId xmlns:a16="http://schemas.microsoft.com/office/drawing/2014/main" id="{21BE455E-1F7A-FCFC-5720-A7E415A3F32E}"/>
              </a:ext>
            </a:extLst>
          </p:cNvPr>
          <p:cNvSpPr/>
          <p:nvPr/>
        </p:nvSpPr>
        <p:spPr>
          <a:xfrm>
            <a:off x="8471787" y="1784822"/>
            <a:ext cx="0" cy="33815"/>
          </a:xfrm>
          <a:custGeom>
            <a:avLst/>
            <a:gdLst/>
            <a:ahLst/>
            <a:cxnLst/>
            <a:rect l="l" t="t" r="r" b="b"/>
            <a:pathLst>
              <a:path h="45085">
                <a:moveTo>
                  <a:pt x="0" y="0"/>
                </a:moveTo>
                <a:lnTo>
                  <a:pt x="0" y="4483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06" name="object 159">
            <a:extLst>
              <a:ext uri="{FF2B5EF4-FFF2-40B4-BE49-F238E27FC236}">
                <a16:creationId xmlns:a16="http://schemas.microsoft.com/office/drawing/2014/main" id="{2BFD68A5-9B6B-FB1E-D791-E0E418C4B5F8}"/>
              </a:ext>
            </a:extLst>
          </p:cNvPr>
          <p:cNvSpPr/>
          <p:nvPr/>
        </p:nvSpPr>
        <p:spPr>
          <a:xfrm>
            <a:off x="8451212" y="1801967"/>
            <a:ext cx="40005" cy="0"/>
          </a:xfrm>
          <a:custGeom>
            <a:avLst/>
            <a:gdLst/>
            <a:ahLst/>
            <a:cxnLst/>
            <a:rect l="l" t="t" r="r" b="b"/>
            <a:pathLst>
              <a:path w="53340">
                <a:moveTo>
                  <a:pt x="0" y="0"/>
                </a:moveTo>
                <a:lnTo>
                  <a:pt x="53339"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07" name="object 160">
            <a:extLst>
              <a:ext uri="{FF2B5EF4-FFF2-40B4-BE49-F238E27FC236}">
                <a16:creationId xmlns:a16="http://schemas.microsoft.com/office/drawing/2014/main" id="{D838044C-7394-871A-0E88-8F85C22731B3}"/>
              </a:ext>
            </a:extLst>
          </p:cNvPr>
          <p:cNvSpPr/>
          <p:nvPr/>
        </p:nvSpPr>
        <p:spPr>
          <a:xfrm>
            <a:off x="9251311" y="1875119"/>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08" name="object 161">
            <a:extLst>
              <a:ext uri="{FF2B5EF4-FFF2-40B4-BE49-F238E27FC236}">
                <a16:creationId xmlns:a16="http://schemas.microsoft.com/office/drawing/2014/main" id="{65E9B8B1-3E44-6AA9-60BC-208775DCD6D3}"/>
              </a:ext>
            </a:extLst>
          </p:cNvPr>
          <p:cNvSpPr/>
          <p:nvPr/>
        </p:nvSpPr>
        <p:spPr>
          <a:xfrm>
            <a:off x="9230739" y="1892263"/>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09" name="object 162">
            <a:extLst>
              <a:ext uri="{FF2B5EF4-FFF2-40B4-BE49-F238E27FC236}">
                <a16:creationId xmlns:a16="http://schemas.microsoft.com/office/drawing/2014/main" id="{11728F90-318C-0E6F-1E32-4175105F4CD5}"/>
              </a:ext>
            </a:extLst>
          </p:cNvPr>
          <p:cNvSpPr/>
          <p:nvPr/>
        </p:nvSpPr>
        <p:spPr>
          <a:xfrm>
            <a:off x="8865932" y="1784822"/>
            <a:ext cx="9525" cy="33815"/>
          </a:xfrm>
          <a:custGeom>
            <a:avLst/>
            <a:gdLst/>
            <a:ahLst/>
            <a:cxnLst/>
            <a:rect l="l" t="t" r="r" b="b"/>
            <a:pathLst>
              <a:path w="12700" h="45085">
                <a:moveTo>
                  <a:pt x="0" y="44830"/>
                </a:moveTo>
                <a:lnTo>
                  <a:pt x="12700" y="44830"/>
                </a:lnTo>
                <a:lnTo>
                  <a:pt x="12700" y="0"/>
                </a:lnTo>
                <a:lnTo>
                  <a:pt x="0" y="0"/>
                </a:lnTo>
                <a:lnTo>
                  <a:pt x="0" y="4483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10" name="object 163">
            <a:extLst>
              <a:ext uri="{FF2B5EF4-FFF2-40B4-BE49-F238E27FC236}">
                <a16:creationId xmlns:a16="http://schemas.microsoft.com/office/drawing/2014/main" id="{16EDE52F-FD57-381B-DB83-170A3EBCEAE5}"/>
              </a:ext>
            </a:extLst>
          </p:cNvPr>
          <p:cNvSpPr/>
          <p:nvPr/>
        </p:nvSpPr>
        <p:spPr>
          <a:xfrm>
            <a:off x="8851263" y="1801967"/>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11" name="object 164">
            <a:extLst>
              <a:ext uri="{FF2B5EF4-FFF2-40B4-BE49-F238E27FC236}">
                <a16:creationId xmlns:a16="http://schemas.microsoft.com/office/drawing/2014/main" id="{D05329DE-413E-3D13-69D7-A992C3D9A8CD}"/>
              </a:ext>
            </a:extLst>
          </p:cNvPr>
          <p:cNvSpPr/>
          <p:nvPr/>
        </p:nvSpPr>
        <p:spPr>
          <a:xfrm>
            <a:off x="8877360" y="1784822"/>
            <a:ext cx="9525" cy="33815"/>
          </a:xfrm>
          <a:custGeom>
            <a:avLst/>
            <a:gdLst/>
            <a:ahLst/>
            <a:cxnLst/>
            <a:rect l="l" t="t" r="r" b="b"/>
            <a:pathLst>
              <a:path w="12700" h="45085">
                <a:moveTo>
                  <a:pt x="0" y="44830"/>
                </a:moveTo>
                <a:lnTo>
                  <a:pt x="12700" y="44830"/>
                </a:lnTo>
                <a:lnTo>
                  <a:pt x="12700" y="0"/>
                </a:lnTo>
                <a:lnTo>
                  <a:pt x="0" y="0"/>
                </a:lnTo>
                <a:lnTo>
                  <a:pt x="0" y="4483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12" name="object 165">
            <a:extLst>
              <a:ext uri="{FF2B5EF4-FFF2-40B4-BE49-F238E27FC236}">
                <a16:creationId xmlns:a16="http://schemas.microsoft.com/office/drawing/2014/main" id="{BF1FB948-2D3A-D040-09A8-0507F7FD761A}"/>
              </a:ext>
            </a:extLst>
          </p:cNvPr>
          <p:cNvSpPr/>
          <p:nvPr/>
        </p:nvSpPr>
        <p:spPr>
          <a:xfrm>
            <a:off x="8862693" y="1801967"/>
            <a:ext cx="39052" cy="0"/>
          </a:xfrm>
          <a:custGeom>
            <a:avLst/>
            <a:gdLst/>
            <a:ahLst/>
            <a:cxnLst/>
            <a:rect l="l" t="t" r="r" b="b"/>
            <a:pathLst>
              <a:path w="52070">
                <a:moveTo>
                  <a:pt x="0" y="0"/>
                </a:moveTo>
                <a:lnTo>
                  <a:pt x="51689"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13" name="object 166">
            <a:extLst>
              <a:ext uri="{FF2B5EF4-FFF2-40B4-BE49-F238E27FC236}">
                <a16:creationId xmlns:a16="http://schemas.microsoft.com/office/drawing/2014/main" id="{2750A500-B3C2-E4E8-BAB0-294600F24642}"/>
              </a:ext>
            </a:extLst>
          </p:cNvPr>
          <p:cNvSpPr/>
          <p:nvPr/>
        </p:nvSpPr>
        <p:spPr>
          <a:xfrm>
            <a:off x="9235309" y="1875119"/>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14" name="object 167">
            <a:extLst>
              <a:ext uri="{FF2B5EF4-FFF2-40B4-BE49-F238E27FC236}">
                <a16:creationId xmlns:a16="http://schemas.microsoft.com/office/drawing/2014/main" id="{8EBAEADA-BA14-9A24-D3E7-B5E7220BCFDC}"/>
              </a:ext>
            </a:extLst>
          </p:cNvPr>
          <p:cNvSpPr/>
          <p:nvPr/>
        </p:nvSpPr>
        <p:spPr>
          <a:xfrm>
            <a:off x="9215879" y="1894551"/>
            <a:ext cx="39052" cy="0"/>
          </a:xfrm>
          <a:custGeom>
            <a:avLst/>
            <a:gdLst/>
            <a:ahLst/>
            <a:cxnLst/>
            <a:rect l="l" t="t" r="r" b="b"/>
            <a:pathLst>
              <a:path w="52070">
                <a:moveTo>
                  <a:pt x="0" y="0"/>
                </a:moveTo>
                <a:lnTo>
                  <a:pt x="51689"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15" name="object 168">
            <a:extLst>
              <a:ext uri="{FF2B5EF4-FFF2-40B4-BE49-F238E27FC236}">
                <a16:creationId xmlns:a16="http://schemas.microsoft.com/office/drawing/2014/main" id="{06840D45-39F2-4C67-9035-063429303697}"/>
              </a:ext>
            </a:extLst>
          </p:cNvPr>
          <p:cNvSpPr/>
          <p:nvPr/>
        </p:nvSpPr>
        <p:spPr>
          <a:xfrm>
            <a:off x="9265982" y="1875119"/>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16" name="object 169">
            <a:extLst>
              <a:ext uri="{FF2B5EF4-FFF2-40B4-BE49-F238E27FC236}">
                <a16:creationId xmlns:a16="http://schemas.microsoft.com/office/drawing/2014/main" id="{3CB075D4-D108-7C82-A3B8-6B883FED8E23}"/>
              </a:ext>
            </a:extLst>
          </p:cNvPr>
          <p:cNvSpPr/>
          <p:nvPr/>
        </p:nvSpPr>
        <p:spPr>
          <a:xfrm>
            <a:off x="9251313" y="1889788"/>
            <a:ext cx="39052" cy="9525"/>
          </a:xfrm>
          <a:custGeom>
            <a:avLst/>
            <a:gdLst/>
            <a:ahLst/>
            <a:cxnLst/>
            <a:rect l="l" t="t" r="r" b="b"/>
            <a:pathLst>
              <a:path w="52070" h="12700">
                <a:moveTo>
                  <a:pt x="0" y="12700"/>
                </a:moveTo>
                <a:lnTo>
                  <a:pt x="51688" y="12700"/>
                </a:lnTo>
                <a:lnTo>
                  <a:pt x="51688" y="0"/>
                </a:lnTo>
                <a:lnTo>
                  <a:pt x="0" y="0"/>
                </a:lnTo>
                <a:lnTo>
                  <a:pt x="0" y="1270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17" name="object 170">
            <a:extLst>
              <a:ext uri="{FF2B5EF4-FFF2-40B4-BE49-F238E27FC236}">
                <a16:creationId xmlns:a16="http://schemas.microsoft.com/office/drawing/2014/main" id="{85AB2955-0ECD-AFA0-57E9-868BF33F4834}"/>
              </a:ext>
            </a:extLst>
          </p:cNvPr>
          <p:cNvSpPr/>
          <p:nvPr/>
        </p:nvSpPr>
        <p:spPr>
          <a:xfrm>
            <a:off x="10557761" y="2614641"/>
            <a:ext cx="0" cy="33815"/>
          </a:xfrm>
          <a:custGeom>
            <a:avLst/>
            <a:gdLst/>
            <a:ahLst/>
            <a:cxnLst/>
            <a:rect l="l" t="t" r="r" b="b"/>
            <a:pathLst>
              <a:path h="45085">
                <a:moveTo>
                  <a:pt x="0" y="0"/>
                </a:moveTo>
                <a:lnTo>
                  <a:pt x="0" y="4483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18" name="object 171">
            <a:extLst>
              <a:ext uri="{FF2B5EF4-FFF2-40B4-BE49-F238E27FC236}">
                <a16:creationId xmlns:a16="http://schemas.microsoft.com/office/drawing/2014/main" id="{1ADBBB93-3DD6-5517-06B2-30D317952EC0}"/>
              </a:ext>
            </a:extLst>
          </p:cNvPr>
          <p:cNvSpPr/>
          <p:nvPr/>
        </p:nvSpPr>
        <p:spPr>
          <a:xfrm>
            <a:off x="10538331" y="2630643"/>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19" name="object 172">
            <a:extLst>
              <a:ext uri="{FF2B5EF4-FFF2-40B4-BE49-F238E27FC236}">
                <a16:creationId xmlns:a16="http://schemas.microsoft.com/office/drawing/2014/main" id="{918A1F3E-3431-424E-9F00-4590034E1273}"/>
              </a:ext>
            </a:extLst>
          </p:cNvPr>
          <p:cNvSpPr/>
          <p:nvPr/>
        </p:nvSpPr>
        <p:spPr>
          <a:xfrm>
            <a:off x="9315130" y="1905981"/>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20" name="object 173">
            <a:extLst>
              <a:ext uri="{FF2B5EF4-FFF2-40B4-BE49-F238E27FC236}">
                <a16:creationId xmlns:a16="http://schemas.microsoft.com/office/drawing/2014/main" id="{8FE74DE4-72EB-1FA3-51D2-D50DBC39A7DD}"/>
              </a:ext>
            </a:extLst>
          </p:cNvPr>
          <p:cNvSpPr/>
          <p:nvPr/>
        </p:nvSpPr>
        <p:spPr>
          <a:xfrm>
            <a:off x="9300462" y="1918364"/>
            <a:ext cx="39529" cy="9525"/>
          </a:xfrm>
          <a:custGeom>
            <a:avLst/>
            <a:gdLst/>
            <a:ahLst/>
            <a:cxnLst/>
            <a:rect l="l" t="t" r="r" b="b"/>
            <a:pathLst>
              <a:path w="52704" h="12700">
                <a:moveTo>
                  <a:pt x="0" y="12700"/>
                </a:moveTo>
                <a:lnTo>
                  <a:pt x="52704" y="12700"/>
                </a:lnTo>
                <a:lnTo>
                  <a:pt x="52704" y="0"/>
                </a:lnTo>
                <a:lnTo>
                  <a:pt x="0" y="0"/>
                </a:lnTo>
                <a:lnTo>
                  <a:pt x="0" y="1270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21" name="object 174">
            <a:extLst>
              <a:ext uri="{FF2B5EF4-FFF2-40B4-BE49-F238E27FC236}">
                <a16:creationId xmlns:a16="http://schemas.microsoft.com/office/drawing/2014/main" id="{C2C10A8F-E7F5-49BC-AA8D-E2AF7834FF5D}"/>
              </a:ext>
            </a:extLst>
          </p:cNvPr>
          <p:cNvSpPr/>
          <p:nvPr/>
        </p:nvSpPr>
        <p:spPr>
          <a:xfrm>
            <a:off x="9300461" y="1908266"/>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22" name="object 175">
            <a:extLst>
              <a:ext uri="{FF2B5EF4-FFF2-40B4-BE49-F238E27FC236}">
                <a16:creationId xmlns:a16="http://schemas.microsoft.com/office/drawing/2014/main" id="{9D382BBB-2CA6-E9A2-DEE2-282C03EF54A8}"/>
              </a:ext>
            </a:extLst>
          </p:cNvPr>
          <p:cNvSpPr/>
          <p:nvPr/>
        </p:nvSpPr>
        <p:spPr>
          <a:xfrm>
            <a:off x="9281031" y="1923125"/>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23" name="object 176">
            <a:extLst>
              <a:ext uri="{FF2B5EF4-FFF2-40B4-BE49-F238E27FC236}">
                <a16:creationId xmlns:a16="http://schemas.microsoft.com/office/drawing/2014/main" id="{AC080AE4-1CEF-9EB5-9606-73AAD40D9236}"/>
              </a:ext>
            </a:extLst>
          </p:cNvPr>
          <p:cNvSpPr/>
          <p:nvPr/>
        </p:nvSpPr>
        <p:spPr>
          <a:xfrm>
            <a:off x="9285603" y="1905981"/>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24" name="object 177">
            <a:extLst>
              <a:ext uri="{FF2B5EF4-FFF2-40B4-BE49-F238E27FC236}">
                <a16:creationId xmlns:a16="http://schemas.microsoft.com/office/drawing/2014/main" id="{A393F9F0-3B8D-11CB-61B0-C3F8A93778CF}"/>
              </a:ext>
            </a:extLst>
          </p:cNvPr>
          <p:cNvSpPr/>
          <p:nvPr/>
        </p:nvSpPr>
        <p:spPr>
          <a:xfrm>
            <a:off x="9265029" y="1923125"/>
            <a:ext cx="39052" cy="0"/>
          </a:xfrm>
          <a:custGeom>
            <a:avLst/>
            <a:gdLst/>
            <a:ahLst/>
            <a:cxnLst/>
            <a:rect l="l" t="t" r="r" b="b"/>
            <a:pathLst>
              <a:path w="52070">
                <a:moveTo>
                  <a:pt x="0" y="0"/>
                </a:moveTo>
                <a:lnTo>
                  <a:pt x="51689"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25" name="object 178">
            <a:extLst>
              <a:ext uri="{FF2B5EF4-FFF2-40B4-BE49-F238E27FC236}">
                <a16:creationId xmlns:a16="http://schemas.microsoft.com/office/drawing/2014/main" id="{600ABC07-3AAC-6B6F-6AF7-661908A21716}"/>
              </a:ext>
            </a:extLst>
          </p:cNvPr>
          <p:cNvSpPr/>
          <p:nvPr/>
        </p:nvSpPr>
        <p:spPr>
          <a:xfrm>
            <a:off x="9315130" y="1908266"/>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26" name="object 179">
            <a:extLst>
              <a:ext uri="{FF2B5EF4-FFF2-40B4-BE49-F238E27FC236}">
                <a16:creationId xmlns:a16="http://schemas.microsoft.com/office/drawing/2014/main" id="{F22F4179-F7A4-6945-326C-CBB2943B8E34}"/>
              </a:ext>
            </a:extLst>
          </p:cNvPr>
          <p:cNvSpPr/>
          <p:nvPr/>
        </p:nvSpPr>
        <p:spPr>
          <a:xfrm>
            <a:off x="9300462" y="1918364"/>
            <a:ext cx="39052" cy="9525"/>
          </a:xfrm>
          <a:custGeom>
            <a:avLst/>
            <a:gdLst/>
            <a:ahLst/>
            <a:cxnLst/>
            <a:rect l="l" t="t" r="r" b="b"/>
            <a:pathLst>
              <a:path w="52070" h="12700">
                <a:moveTo>
                  <a:pt x="0" y="12700"/>
                </a:moveTo>
                <a:lnTo>
                  <a:pt x="51689" y="12700"/>
                </a:lnTo>
                <a:lnTo>
                  <a:pt x="51689" y="0"/>
                </a:lnTo>
                <a:lnTo>
                  <a:pt x="0" y="0"/>
                </a:lnTo>
                <a:lnTo>
                  <a:pt x="0" y="1270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27" name="object 180">
            <a:extLst>
              <a:ext uri="{FF2B5EF4-FFF2-40B4-BE49-F238E27FC236}">
                <a16:creationId xmlns:a16="http://schemas.microsoft.com/office/drawing/2014/main" id="{7A384839-2BB1-E981-ADE7-DFA0392FAB62}"/>
              </a:ext>
            </a:extLst>
          </p:cNvPr>
          <p:cNvSpPr/>
          <p:nvPr/>
        </p:nvSpPr>
        <p:spPr>
          <a:xfrm>
            <a:off x="9430572" y="1905981"/>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28" name="object 181">
            <a:extLst>
              <a:ext uri="{FF2B5EF4-FFF2-40B4-BE49-F238E27FC236}">
                <a16:creationId xmlns:a16="http://schemas.microsoft.com/office/drawing/2014/main" id="{FE11AB09-B12E-9BE4-09BD-5C257119B607}"/>
              </a:ext>
            </a:extLst>
          </p:cNvPr>
          <p:cNvSpPr/>
          <p:nvPr/>
        </p:nvSpPr>
        <p:spPr>
          <a:xfrm>
            <a:off x="9415905" y="1918364"/>
            <a:ext cx="39052" cy="9525"/>
          </a:xfrm>
          <a:custGeom>
            <a:avLst/>
            <a:gdLst/>
            <a:ahLst/>
            <a:cxnLst/>
            <a:rect l="l" t="t" r="r" b="b"/>
            <a:pathLst>
              <a:path w="52070" h="12700">
                <a:moveTo>
                  <a:pt x="0" y="12700"/>
                </a:moveTo>
                <a:lnTo>
                  <a:pt x="51689" y="12700"/>
                </a:lnTo>
                <a:lnTo>
                  <a:pt x="51689" y="0"/>
                </a:lnTo>
                <a:lnTo>
                  <a:pt x="0" y="0"/>
                </a:lnTo>
                <a:lnTo>
                  <a:pt x="0" y="1270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29" name="object 182">
            <a:extLst>
              <a:ext uri="{FF2B5EF4-FFF2-40B4-BE49-F238E27FC236}">
                <a16:creationId xmlns:a16="http://schemas.microsoft.com/office/drawing/2014/main" id="{9379113D-46D6-2A03-E33B-35D7CC56DB4A}"/>
              </a:ext>
            </a:extLst>
          </p:cNvPr>
          <p:cNvSpPr/>
          <p:nvPr/>
        </p:nvSpPr>
        <p:spPr>
          <a:xfrm>
            <a:off x="9415904" y="1905981"/>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30" name="object 183">
            <a:extLst>
              <a:ext uri="{FF2B5EF4-FFF2-40B4-BE49-F238E27FC236}">
                <a16:creationId xmlns:a16="http://schemas.microsoft.com/office/drawing/2014/main" id="{C8736F02-D4D6-1941-D488-7CDC40D6038D}"/>
              </a:ext>
            </a:extLst>
          </p:cNvPr>
          <p:cNvSpPr/>
          <p:nvPr/>
        </p:nvSpPr>
        <p:spPr>
          <a:xfrm>
            <a:off x="9396474" y="1923125"/>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31" name="object 184">
            <a:extLst>
              <a:ext uri="{FF2B5EF4-FFF2-40B4-BE49-F238E27FC236}">
                <a16:creationId xmlns:a16="http://schemas.microsoft.com/office/drawing/2014/main" id="{4F2CD689-DD5F-4C66-88DF-041EA1614987}"/>
              </a:ext>
            </a:extLst>
          </p:cNvPr>
          <p:cNvSpPr/>
          <p:nvPr/>
        </p:nvSpPr>
        <p:spPr>
          <a:xfrm>
            <a:off x="9401045" y="1908266"/>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32" name="object 185">
            <a:extLst>
              <a:ext uri="{FF2B5EF4-FFF2-40B4-BE49-F238E27FC236}">
                <a16:creationId xmlns:a16="http://schemas.microsoft.com/office/drawing/2014/main" id="{08443B35-82FA-A3CC-21E1-2FA8702A481F}"/>
              </a:ext>
            </a:extLst>
          </p:cNvPr>
          <p:cNvSpPr/>
          <p:nvPr/>
        </p:nvSpPr>
        <p:spPr>
          <a:xfrm>
            <a:off x="9381615" y="1923125"/>
            <a:ext cx="39052" cy="0"/>
          </a:xfrm>
          <a:custGeom>
            <a:avLst/>
            <a:gdLst/>
            <a:ahLst/>
            <a:cxnLst/>
            <a:rect l="l" t="t" r="r" b="b"/>
            <a:pathLst>
              <a:path w="52070">
                <a:moveTo>
                  <a:pt x="0" y="0"/>
                </a:moveTo>
                <a:lnTo>
                  <a:pt x="51689"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33" name="object 186">
            <a:extLst>
              <a:ext uri="{FF2B5EF4-FFF2-40B4-BE49-F238E27FC236}">
                <a16:creationId xmlns:a16="http://schemas.microsoft.com/office/drawing/2014/main" id="{8C610468-E30D-91E0-6577-6D50B6F3D01A}"/>
              </a:ext>
            </a:extLst>
          </p:cNvPr>
          <p:cNvSpPr/>
          <p:nvPr/>
        </p:nvSpPr>
        <p:spPr>
          <a:xfrm>
            <a:off x="9430572" y="1908266"/>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34" name="object 187">
            <a:extLst>
              <a:ext uri="{FF2B5EF4-FFF2-40B4-BE49-F238E27FC236}">
                <a16:creationId xmlns:a16="http://schemas.microsoft.com/office/drawing/2014/main" id="{04535BD9-EC44-9B05-94D1-A8BF1EED5ECF}"/>
              </a:ext>
            </a:extLst>
          </p:cNvPr>
          <p:cNvSpPr/>
          <p:nvPr/>
        </p:nvSpPr>
        <p:spPr>
          <a:xfrm>
            <a:off x="9415904" y="1918364"/>
            <a:ext cx="40005" cy="9525"/>
          </a:xfrm>
          <a:custGeom>
            <a:avLst/>
            <a:gdLst/>
            <a:ahLst/>
            <a:cxnLst/>
            <a:rect l="l" t="t" r="r" b="b"/>
            <a:pathLst>
              <a:path w="53340" h="12700">
                <a:moveTo>
                  <a:pt x="0" y="12700"/>
                </a:moveTo>
                <a:lnTo>
                  <a:pt x="53340" y="12700"/>
                </a:lnTo>
                <a:lnTo>
                  <a:pt x="53340" y="0"/>
                </a:lnTo>
                <a:lnTo>
                  <a:pt x="0" y="0"/>
                </a:lnTo>
                <a:lnTo>
                  <a:pt x="0" y="1270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35" name="object 188">
            <a:extLst>
              <a:ext uri="{FF2B5EF4-FFF2-40B4-BE49-F238E27FC236}">
                <a16:creationId xmlns:a16="http://schemas.microsoft.com/office/drawing/2014/main" id="{19C0B362-2337-321F-436C-A0C5F516F1B3}"/>
              </a:ext>
            </a:extLst>
          </p:cNvPr>
          <p:cNvSpPr/>
          <p:nvPr/>
        </p:nvSpPr>
        <p:spPr>
          <a:xfrm>
            <a:off x="9451336" y="1908266"/>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36" name="object 189">
            <a:extLst>
              <a:ext uri="{FF2B5EF4-FFF2-40B4-BE49-F238E27FC236}">
                <a16:creationId xmlns:a16="http://schemas.microsoft.com/office/drawing/2014/main" id="{AD04199E-E6B4-E020-6918-C16B05146D3E}"/>
              </a:ext>
            </a:extLst>
          </p:cNvPr>
          <p:cNvSpPr/>
          <p:nvPr/>
        </p:nvSpPr>
        <p:spPr>
          <a:xfrm>
            <a:off x="9431907" y="1925411"/>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37" name="object 190">
            <a:extLst>
              <a:ext uri="{FF2B5EF4-FFF2-40B4-BE49-F238E27FC236}">
                <a16:creationId xmlns:a16="http://schemas.microsoft.com/office/drawing/2014/main" id="{F534589E-579F-9878-64A4-7D157D3C161B}"/>
              </a:ext>
            </a:extLst>
          </p:cNvPr>
          <p:cNvSpPr/>
          <p:nvPr/>
        </p:nvSpPr>
        <p:spPr>
          <a:xfrm>
            <a:off x="9350752" y="1908266"/>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38" name="object 191">
            <a:extLst>
              <a:ext uri="{FF2B5EF4-FFF2-40B4-BE49-F238E27FC236}">
                <a16:creationId xmlns:a16="http://schemas.microsoft.com/office/drawing/2014/main" id="{6779644D-B5E5-6832-FEAC-2737D406B248}"/>
              </a:ext>
            </a:extLst>
          </p:cNvPr>
          <p:cNvSpPr/>
          <p:nvPr/>
        </p:nvSpPr>
        <p:spPr>
          <a:xfrm>
            <a:off x="9330179" y="1923125"/>
            <a:ext cx="40959" cy="0"/>
          </a:xfrm>
          <a:custGeom>
            <a:avLst/>
            <a:gdLst/>
            <a:ahLst/>
            <a:cxnLst/>
            <a:rect l="l" t="t" r="r" b="b"/>
            <a:pathLst>
              <a:path w="54609">
                <a:moveTo>
                  <a:pt x="0" y="0"/>
                </a:moveTo>
                <a:lnTo>
                  <a:pt x="54355"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39" name="object 192">
            <a:extLst>
              <a:ext uri="{FF2B5EF4-FFF2-40B4-BE49-F238E27FC236}">
                <a16:creationId xmlns:a16="http://schemas.microsoft.com/office/drawing/2014/main" id="{0DB3040D-7039-572B-5179-BB053827CFDF}"/>
              </a:ext>
            </a:extLst>
          </p:cNvPr>
          <p:cNvSpPr/>
          <p:nvPr/>
        </p:nvSpPr>
        <p:spPr>
          <a:xfrm>
            <a:off x="9529061" y="1905981"/>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40" name="object 193">
            <a:extLst>
              <a:ext uri="{FF2B5EF4-FFF2-40B4-BE49-F238E27FC236}">
                <a16:creationId xmlns:a16="http://schemas.microsoft.com/office/drawing/2014/main" id="{6E4AAFF3-7438-3273-1AFD-962DD88AA9BD}"/>
              </a:ext>
            </a:extLst>
          </p:cNvPr>
          <p:cNvSpPr/>
          <p:nvPr/>
        </p:nvSpPr>
        <p:spPr>
          <a:xfrm>
            <a:off x="9510774" y="1925411"/>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41" name="object 194">
            <a:extLst>
              <a:ext uri="{FF2B5EF4-FFF2-40B4-BE49-F238E27FC236}">
                <a16:creationId xmlns:a16="http://schemas.microsoft.com/office/drawing/2014/main" id="{AA34D540-9717-42B5-C996-5C39C3B65957}"/>
              </a:ext>
            </a:extLst>
          </p:cNvPr>
          <p:cNvSpPr/>
          <p:nvPr/>
        </p:nvSpPr>
        <p:spPr>
          <a:xfrm>
            <a:off x="9656888" y="1905981"/>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42" name="object 195">
            <a:extLst>
              <a:ext uri="{FF2B5EF4-FFF2-40B4-BE49-F238E27FC236}">
                <a16:creationId xmlns:a16="http://schemas.microsoft.com/office/drawing/2014/main" id="{EA673530-37C9-DEEC-A9B8-2F3ADBC9907A}"/>
              </a:ext>
            </a:extLst>
          </p:cNvPr>
          <p:cNvSpPr/>
          <p:nvPr/>
        </p:nvSpPr>
        <p:spPr>
          <a:xfrm>
            <a:off x="9641075" y="1923125"/>
            <a:ext cx="39052" cy="0"/>
          </a:xfrm>
          <a:custGeom>
            <a:avLst/>
            <a:gdLst/>
            <a:ahLst/>
            <a:cxnLst/>
            <a:rect l="l" t="t" r="r" b="b"/>
            <a:pathLst>
              <a:path w="52070">
                <a:moveTo>
                  <a:pt x="0" y="0"/>
                </a:moveTo>
                <a:lnTo>
                  <a:pt x="51689"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43" name="object 196">
            <a:extLst>
              <a:ext uri="{FF2B5EF4-FFF2-40B4-BE49-F238E27FC236}">
                <a16:creationId xmlns:a16="http://schemas.microsoft.com/office/drawing/2014/main" id="{4FA862C8-6C75-72B0-0137-C6A772A77C02}"/>
              </a:ext>
            </a:extLst>
          </p:cNvPr>
          <p:cNvSpPr/>
          <p:nvPr/>
        </p:nvSpPr>
        <p:spPr>
          <a:xfrm>
            <a:off x="9645647" y="1905981"/>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44" name="object 197">
            <a:extLst>
              <a:ext uri="{FF2B5EF4-FFF2-40B4-BE49-F238E27FC236}">
                <a16:creationId xmlns:a16="http://schemas.microsoft.com/office/drawing/2014/main" id="{E2DC1DE2-48EB-8CDB-8B7E-BFF547DFA2A3}"/>
              </a:ext>
            </a:extLst>
          </p:cNvPr>
          <p:cNvSpPr/>
          <p:nvPr/>
        </p:nvSpPr>
        <p:spPr>
          <a:xfrm>
            <a:off x="9626217" y="1923125"/>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45" name="object 198">
            <a:extLst>
              <a:ext uri="{FF2B5EF4-FFF2-40B4-BE49-F238E27FC236}">
                <a16:creationId xmlns:a16="http://schemas.microsoft.com/office/drawing/2014/main" id="{E9E3E15C-132C-3619-D662-10CA2EDEB472}"/>
              </a:ext>
            </a:extLst>
          </p:cNvPr>
          <p:cNvSpPr/>
          <p:nvPr/>
        </p:nvSpPr>
        <p:spPr>
          <a:xfrm>
            <a:off x="9692509" y="1905981"/>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46" name="object 199">
            <a:extLst>
              <a:ext uri="{FF2B5EF4-FFF2-40B4-BE49-F238E27FC236}">
                <a16:creationId xmlns:a16="http://schemas.microsoft.com/office/drawing/2014/main" id="{15C19697-A0A8-C242-F5EC-6DF903D0CD45}"/>
              </a:ext>
            </a:extLst>
          </p:cNvPr>
          <p:cNvSpPr/>
          <p:nvPr/>
        </p:nvSpPr>
        <p:spPr>
          <a:xfrm>
            <a:off x="9673079" y="1923125"/>
            <a:ext cx="39052" cy="0"/>
          </a:xfrm>
          <a:custGeom>
            <a:avLst/>
            <a:gdLst/>
            <a:ahLst/>
            <a:cxnLst/>
            <a:rect l="l" t="t" r="r" b="b"/>
            <a:pathLst>
              <a:path w="52070">
                <a:moveTo>
                  <a:pt x="0" y="0"/>
                </a:moveTo>
                <a:lnTo>
                  <a:pt x="51689"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47" name="object 200">
            <a:extLst>
              <a:ext uri="{FF2B5EF4-FFF2-40B4-BE49-F238E27FC236}">
                <a16:creationId xmlns:a16="http://schemas.microsoft.com/office/drawing/2014/main" id="{AFB92094-F37B-FE36-6498-67E5BCDF3D1B}"/>
              </a:ext>
            </a:extLst>
          </p:cNvPr>
          <p:cNvSpPr/>
          <p:nvPr/>
        </p:nvSpPr>
        <p:spPr>
          <a:xfrm>
            <a:off x="9802239" y="1905981"/>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48" name="object 201">
            <a:extLst>
              <a:ext uri="{FF2B5EF4-FFF2-40B4-BE49-F238E27FC236}">
                <a16:creationId xmlns:a16="http://schemas.microsoft.com/office/drawing/2014/main" id="{2F069529-4938-467C-9541-E5D4F20867D8}"/>
              </a:ext>
            </a:extLst>
          </p:cNvPr>
          <p:cNvSpPr/>
          <p:nvPr/>
        </p:nvSpPr>
        <p:spPr>
          <a:xfrm>
            <a:off x="9782807" y="1923125"/>
            <a:ext cx="39052" cy="0"/>
          </a:xfrm>
          <a:custGeom>
            <a:avLst/>
            <a:gdLst/>
            <a:ahLst/>
            <a:cxnLst/>
            <a:rect l="l" t="t" r="r" b="b"/>
            <a:pathLst>
              <a:path w="52070">
                <a:moveTo>
                  <a:pt x="0" y="0"/>
                </a:moveTo>
                <a:lnTo>
                  <a:pt x="51689"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49" name="object 202">
            <a:extLst>
              <a:ext uri="{FF2B5EF4-FFF2-40B4-BE49-F238E27FC236}">
                <a16:creationId xmlns:a16="http://schemas.microsoft.com/office/drawing/2014/main" id="{330FAE75-5761-CF46-5892-131900A0A709}"/>
              </a:ext>
            </a:extLst>
          </p:cNvPr>
          <p:cNvSpPr/>
          <p:nvPr/>
        </p:nvSpPr>
        <p:spPr>
          <a:xfrm>
            <a:off x="9670604" y="1905981"/>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50" name="object 203">
            <a:extLst>
              <a:ext uri="{FF2B5EF4-FFF2-40B4-BE49-F238E27FC236}">
                <a16:creationId xmlns:a16="http://schemas.microsoft.com/office/drawing/2014/main" id="{1FBB1251-BF41-C030-4F95-E2CB3DEAE744}"/>
              </a:ext>
            </a:extLst>
          </p:cNvPr>
          <p:cNvSpPr/>
          <p:nvPr/>
        </p:nvSpPr>
        <p:spPr>
          <a:xfrm>
            <a:off x="9655935" y="1923125"/>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51" name="object 204">
            <a:extLst>
              <a:ext uri="{FF2B5EF4-FFF2-40B4-BE49-F238E27FC236}">
                <a16:creationId xmlns:a16="http://schemas.microsoft.com/office/drawing/2014/main" id="{61BC0146-760E-BACC-FD99-9F4072CACADE}"/>
              </a:ext>
            </a:extLst>
          </p:cNvPr>
          <p:cNvSpPr/>
          <p:nvPr/>
        </p:nvSpPr>
        <p:spPr>
          <a:xfrm>
            <a:off x="9819383" y="1905981"/>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52" name="object 205">
            <a:extLst>
              <a:ext uri="{FF2B5EF4-FFF2-40B4-BE49-F238E27FC236}">
                <a16:creationId xmlns:a16="http://schemas.microsoft.com/office/drawing/2014/main" id="{44E15E73-2FAF-D41D-68BD-09E8FCFA4C5F}"/>
              </a:ext>
            </a:extLst>
          </p:cNvPr>
          <p:cNvSpPr/>
          <p:nvPr/>
        </p:nvSpPr>
        <p:spPr>
          <a:xfrm>
            <a:off x="9801095" y="1923125"/>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53" name="object 206">
            <a:extLst>
              <a:ext uri="{FF2B5EF4-FFF2-40B4-BE49-F238E27FC236}">
                <a16:creationId xmlns:a16="http://schemas.microsoft.com/office/drawing/2014/main" id="{E490079A-9580-B49A-2847-6E76C51D9FA5}"/>
              </a:ext>
            </a:extLst>
          </p:cNvPr>
          <p:cNvSpPr/>
          <p:nvPr/>
        </p:nvSpPr>
        <p:spPr>
          <a:xfrm>
            <a:off x="10076559" y="2077430"/>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54" name="object 207">
            <a:extLst>
              <a:ext uri="{FF2B5EF4-FFF2-40B4-BE49-F238E27FC236}">
                <a16:creationId xmlns:a16="http://schemas.microsoft.com/office/drawing/2014/main" id="{64E16E64-1B00-5BCE-2916-16FD38C66ADC}"/>
              </a:ext>
            </a:extLst>
          </p:cNvPr>
          <p:cNvSpPr/>
          <p:nvPr/>
        </p:nvSpPr>
        <p:spPr>
          <a:xfrm>
            <a:off x="10057127" y="2093431"/>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55" name="object 208">
            <a:extLst>
              <a:ext uri="{FF2B5EF4-FFF2-40B4-BE49-F238E27FC236}">
                <a16:creationId xmlns:a16="http://schemas.microsoft.com/office/drawing/2014/main" id="{5191EACD-E3C2-FCB9-EE8F-901334438053}"/>
              </a:ext>
            </a:extLst>
          </p:cNvPr>
          <p:cNvSpPr/>
          <p:nvPr/>
        </p:nvSpPr>
        <p:spPr>
          <a:xfrm>
            <a:off x="10053697" y="2077430"/>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56" name="object 209">
            <a:extLst>
              <a:ext uri="{FF2B5EF4-FFF2-40B4-BE49-F238E27FC236}">
                <a16:creationId xmlns:a16="http://schemas.microsoft.com/office/drawing/2014/main" id="{5E5FED9A-1861-99C7-9A56-43ECE613DD10}"/>
              </a:ext>
            </a:extLst>
          </p:cNvPr>
          <p:cNvSpPr/>
          <p:nvPr/>
        </p:nvSpPr>
        <p:spPr>
          <a:xfrm>
            <a:off x="10034267" y="2093431"/>
            <a:ext cx="39052" cy="0"/>
          </a:xfrm>
          <a:custGeom>
            <a:avLst/>
            <a:gdLst/>
            <a:ahLst/>
            <a:cxnLst/>
            <a:rect l="l" t="t" r="r" b="b"/>
            <a:pathLst>
              <a:path w="52070">
                <a:moveTo>
                  <a:pt x="0" y="0"/>
                </a:moveTo>
                <a:lnTo>
                  <a:pt x="51689"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57" name="object 210">
            <a:extLst>
              <a:ext uri="{FF2B5EF4-FFF2-40B4-BE49-F238E27FC236}">
                <a16:creationId xmlns:a16="http://schemas.microsoft.com/office/drawing/2014/main" id="{9CA18410-8AD4-714A-07F3-B87539C4A366}"/>
              </a:ext>
            </a:extLst>
          </p:cNvPr>
          <p:cNvSpPr/>
          <p:nvPr/>
        </p:nvSpPr>
        <p:spPr>
          <a:xfrm>
            <a:off x="10103800" y="2077430"/>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58" name="object 211">
            <a:extLst>
              <a:ext uri="{FF2B5EF4-FFF2-40B4-BE49-F238E27FC236}">
                <a16:creationId xmlns:a16="http://schemas.microsoft.com/office/drawing/2014/main" id="{3BDCEE38-C679-A495-C9AF-628D7BA346B4}"/>
              </a:ext>
            </a:extLst>
          </p:cNvPr>
          <p:cNvSpPr/>
          <p:nvPr/>
        </p:nvSpPr>
        <p:spPr>
          <a:xfrm>
            <a:off x="10089131" y="2093431"/>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59" name="object 212">
            <a:extLst>
              <a:ext uri="{FF2B5EF4-FFF2-40B4-BE49-F238E27FC236}">
                <a16:creationId xmlns:a16="http://schemas.microsoft.com/office/drawing/2014/main" id="{ED307E7C-46CF-1555-62E6-6781B36C7F9F}"/>
              </a:ext>
            </a:extLst>
          </p:cNvPr>
          <p:cNvSpPr/>
          <p:nvPr/>
        </p:nvSpPr>
        <p:spPr>
          <a:xfrm>
            <a:off x="10086655" y="2077430"/>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60" name="object 213">
            <a:extLst>
              <a:ext uri="{FF2B5EF4-FFF2-40B4-BE49-F238E27FC236}">
                <a16:creationId xmlns:a16="http://schemas.microsoft.com/office/drawing/2014/main" id="{ED5FCFE8-8DD0-B8A6-EA64-873FFAA1D8EA}"/>
              </a:ext>
            </a:extLst>
          </p:cNvPr>
          <p:cNvSpPr/>
          <p:nvPr/>
        </p:nvSpPr>
        <p:spPr>
          <a:xfrm>
            <a:off x="10070843" y="2088670"/>
            <a:ext cx="39052" cy="9525"/>
          </a:xfrm>
          <a:custGeom>
            <a:avLst/>
            <a:gdLst/>
            <a:ahLst/>
            <a:cxnLst/>
            <a:rect l="l" t="t" r="r" b="b"/>
            <a:pathLst>
              <a:path w="52070" h="12700">
                <a:moveTo>
                  <a:pt x="0" y="12700"/>
                </a:moveTo>
                <a:lnTo>
                  <a:pt x="51689" y="12700"/>
                </a:lnTo>
                <a:lnTo>
                  <a:pt x="51689" y="0"/>
                </a:lnTo>
                <a:lnTo>
                  <a:pt x="0" y="0"/>
                </a:lnTo>
                <a:lnTo>
                  <a:pt x="0" y="1270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61" name="object 214">
            <a:extLst>
              <a:ext uri="{FF2B5EF4-FFF2-40B4-BE49-F238E27FC236}">
                <a16:creationId xmlns:a16="http://schemas.microsoft.com/office/drawing/2014/main" id="{25C70EB2-1302-288F-C1E2-4560028BB6BA}"/>
              </a:ext>
            </a:extLst>
          </p:cNvPr>
          <p:cNvSpPr/>
          <p:nvPr/>
        </p:nvSpPr>
        <p:spPr>
          <a:xfrm>
            <a:off x="10226102" y="2077430"/>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62" name="object 215">
            <a:extLst>
              <a:ext uri="{FF2B5EF4-FFF2-40B4-BE49-F238E27FC236}">
                <a16:creationId xmlns:a16="http://schemas.microsoft.com/office/drawing/2014/main" id="{FA49E228-922B-66EC-486A-1A2F71219493}"/>
              </a:ext>
            </a:extLst>
          </p:cNvPr>
          <p:cNvSpPr/>
          <p:nvPr/>
        </p:nvSpPr>
        <p:spPr>
          <a:xfrm>
            <a:off x="10211433" y="2093431"/>
            <a:ext cx="39052" cy="0"/>
          </a:xfrm>
          <a:custGeom>
            <a:avLst/>
            <a:gdLst/>
            <a:ahLst/>
            <a:cxnLst/>
            <a:rect l="l" t="t" r="r" b="b"/>
            <a:pathLst>
              <a:path w="52070">
                <a:moveTo>
                  <a:pt x="0" y="0"/>
                </a:moveTo>
                <a:lnTo>
                  <a:pt x="51689"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63" name="object 216">
            <a:extLst>
              <a:ext uri="{FF2B5EF4-FFF2-40B4-BE49-F238E27FC236}">
                <a16:creationId xmlns:a16="http://schemas.microsoft.com/office/drawing/2014/main" id="{AB075B63-C265-AD26-306A-D02D85CC881E}"/>
              </a:ext>
            </a:extLst>
          </p:cNvPr>
          <p:cNvSpPr/>
          <p:nvPr/>
        </p:nvSpPr>
        <p:spPr>
          <a:xfrm>
            <a:off x="10235244" y="2077430"/>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64" name="object 217">
            <a:extLst>
              <a:ext uri="{FF2B5EF4-FFF2-40B4-BE49-F238E27FC236}">
                <a16:creationId xmlns:a16="http://schemas.microsoft.com/office/drawing/2014/main" id="{44E130FA-593A-B932-3128-7A3099EC3014}"/>
              </a:ext>
            </a:extLst>
          </p:cNvPr>
          <p:cNvSpPr/>
          <p:nvPr/>
        </p:nvSpPr>
        <p:spPr>
          <a:xfrm>
            <a:off x="10221719" y="2093431"/>
            <a:ext cx="39052" cy="0"/>
          </a:xfrm>
          <a:custGeom>
            <a:avLst/>
            <a:gdLst/>
            <a:ahLst/>
            <a:cxnLst/>
            <a:rect l="l" t="t" r="r" b="b"/>
            <a:pathLst>
              <a:path w="52070">
                <a:moveTo>
                  <a:pt x="0" y="0"/>
                </a:moveTo>
                <a:lnTo>
                  <a:pt x="51688"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65" name="object 218">
            <a:extLst>
              <a:ext uri="{FF2B5EF4-FFF2-40B4-BE49-F238E27FC236}">
                <a16:creationId xmlns:a16="http://schemas.microsoft.com/office/drawing/2014/main" id="{C48CE01D-D543-3C47-AD84-79F0705C2B30}"/>
              </a:ext>
            </a:extLst>
          </p:cNvPr>
          <p:cNvSpPr/>
          <p:nvPr/>
        </p:nvSpPr>
        <p:spPr>
          <a:xfrm>
            <a:off x="10123420" y="2077430"/>
            <a:ext cx="0" cy="33815"/>
          </a:xfrm>
          <a:custGeom>
            <a:avLst/>
            <a:gdLst/>
            <a:ahLst/>
            <a:cxnLst/>
            <a:rect l="l" t="t" r="r" b="b"/>
            <a:pathLst>
              <a:path h="45085">
                <a:moveTo>
                  <a:pt x="0" y="0"/>
                </a:moveTo>
                <a:lnTo>
                  <a:pt x="0" y="44831"/>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66" name="object 219">
            <a:extLst>
              <a:ext uri="{FF2B5EF4-FFF2-40B4-BE49-F238E27FC236}">
                <a16:creationId xmlns:a16="http://schemas.microsoft.com/office/drawing/2014/main" id="{C93941AF-76D0-BC4F-0D2C-0005EEB6E1CE}"/>
              </a:ext>
            </a:extLst>
          </p:cNvPr>
          <p:cNvSpPr/>
          <p:nvPr/>
        </p:nvSpPr>
        <p:spPr>
          <a:xfrm>
            <a:off x="10102848" y="2093431"/>
            <a:ext cx="40005" cy="0"/>
          </a:xfrm>
          <a:custGeom>
            <a:avLst/>
            <a:gdLst/>
            <a:ahLst/>
            <a:cxnLst/>
            <a:rect l="l" t="t" r="r" b="b"/>
            <a:pathLst>
              <a:path w="53340">
                <a:moveTo>
                  <a:pt x="0" y="0"/>
                </a:moveTo>
                <a:lnTo>
                  <a:pt x="53340"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67" name="object 220">
            <a:extLst>
              <a:ext uri="{FF2B5EF4-FFF2-40B4-BE49-F238E27FC236}">
                <a16:creationId xmlns:a16="http://schemas.microsoft.com/office/drawing/2014/main" id="{0B944B2E-C120-B9F5-6505-606F75F50BA1}"/>
              </a:ext>
            </a:extLst>
          </p:cNvPr>
          <p:cNvSpPr/>
          <p:nvPr/>
        </p:nvSpPr>
        <p:spPr>
          <a:xfrm>
            <a:off x="10091227" y="2077430"/>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68" name="object 221">
            <a:extLst>
              <a:ext uri="{FF2B5EF4-FFF2-40B4-BE49-F238E27FC236}">
                <a16:creationId xmlns:a16="http://schemas.microsoft.com/office/drawing/2014/main" id="{1DA65CF5-3A85-A302-7CEA-5B27ECD212A2}"/>
              </a:ext>
            </a:extLst>
          </p:cNvPr>
          <p:cNvSpPr/>
          <p:nvPr/>
        </p:nvSpPr>
        <p:spPr>
          <a:xfrm>
            <a:off x="10076559" y="2088670"/>
            <a:ext cx="39052" cy="9525"/>
          </a:xfrm>
          <a:custGeom>
            <a:avLst/>
            <a:gdLst/>
            <a:ahLst/>
            <a:cxnLst/>
            <a:rect l="l" t="t" r="r" b="b"/>
            <a:pathLst>
              <a:path w="52070" h="12700">
                <a:moveTo>
                  <a:pt x="0" y="12700"/>
                </a:moveTo>
                <a:lnTo>
                  <a:pt x="51689" y="12700"/>
                </a:lnTo>
                <a:lnTo>
                  <a:pt x="51689" y="0"/>
                </a:lnTo>
                <a:lnTo>
                  <a:pt x="0" y="0"/>
                </a:lnTo>
                <a:lnTo>
                  <a:pt x="0" y="1270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69" name="object 222">
            <a:extLst>
              <a:ext uri="{FF2B5EF4-FFF2-40B4-BE49-F238E27FC236}">
                <a16:creationId xmlns:a16="http://schemas.microsoft.com/office/drawing/2014/main" id="{7D9AE28D-53BB-E6B1-028A-2CEF20CDB2BF}"/>
              </a:ext>
            </a:extLst>
          </p:cNvPr>
          <p:cNvSpPr/>
          <p:nvPr/>
        </p:nvSpPr>
        <p:spPr>
          <a:xfrm>
            <a:off x="10480991" y="2077430"/>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70" name="object 223">
            <a:extLst>
              <a:ext uri="{FF2B5EF4-FFF2-40B4-BE49-F238E27FC236}">
                <a16:creationId xmlns:a16="http://schemas.microsoft.com/office/drawing/2014/main" id="{64A98C69-0E6D-EDEC-EEAA-78F575917566}"/>
              </a:ext>
            </a:extLst>
          </p:cNvPr>
          <p:cNvSpPr/>
          <p:nvPr/>
        </p:nvSpPr>
        <p:spPr>
          <a:xfrm>
            <a:off x="10465179" y="2093431"/>
            <a:ext cx="39052" cy="0"/>
          </a:xfrm>
          <a:custGeom>
            <a:avLst/>
            <a:gdLst/>
            <a:ahLst/>
            <a:cxnLst/>
            <a:rect l="l" t="t" r="r" b="b"/>
            <a:pathLst>
              <a:path w="52070">
                <a:moveTo>
                  <a:pt x="0" y="0"/>
                </a:moveTo>
                <a:lnTo>
                  <a:pt x="51689" y="0"/>
                </a:lnTo>
              </a:path>
            </a:pathLst>
          </a:custGeom>
          <a:ln w="12700">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71" name="object 224">
            <a:extLst>
              <a:ext uri="{FF2B5EF4-FFF2-40B4-BE49-F238E27FC236}">
                <a16:creationId xmlns:a16="http://schemas.microsoft.com/office/drawing/2014/main" id="{CC29CD36-53E7-17CC-366D-EB412CE1DB36}"/>
              </a:ext>
            </a:extLst>
          </p:cNvPr>
          <p:cNvSpPr/>
          <p:nvPr/>
        </p:nvSpPr>
        <p:spPr>
          <a:xfrm>
            <a:off x="10494707" y="2077430"/>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72" name="object 225">
            <a:extLst>
              <a:ext uri="{FF2B5EF4-FFF2-40B4-BE49-F238E27FC236}">
                <a16:creationId xmlns:a16="http://schemas.microsoft.com/office/drawing/2014/main" id="{F42EC412-12F1-579B-9FEF-645C05A7FF10}"/>
              </a:ext>
            </a:extLst>
          </p:cNvPr>
          <p:cNvSpPr/>
          <p:nvPr/>
        </p:nvSpPr>
        <p:spPr>
          <a:xfrm>
            <a:off x="10478894" y="2088670"/>
            <a:ext cx="40005" cy="9525"/>
          </a:xfrm>
          <a:custGeom>
            <a:avLst/>
            <a:gdLst/>
            <a:ahLst/>
            <a:cxnLst/>
            <a:rect l="l" t="t" r="r" b="b"/>
            <a:pathLst>
              <a:path w="53340" h="12700">
                <a:moveTo>
                  <a:pt x="0" y="12700"/>
                </a:moveTo>
                <a:lnTo>
                  <a:pt x="53340" y="12700"/>
                </a:lnTo>
                <a:lnTo>
                  <a:pt x="53340" y="0"/>
                </a:lnTo>
                <a:lnTo>
                  <a:pt x="0" y="0"/>
                </a:lnTo>
                <a:lnTo>
                  <a:pt x="0" y="1270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73" name="object 226">
            <a:extLst>
              <a:ext uri="{FF2B5EF4-FFF2-40B4-BE49-F238E27FC236}">
                <a16:creationId xmlns:a16="http://schemas.microsoft.com/office/drawing/2014/main" id="{441262E4-AEFE-2289-37A1-B3791841BFE0}"/>
              </a:ext>
            </a:extLst>
          </p:cNvPr>
          <p:cNvSpPr/>
          <p:nvPr/>
        </p:nvSpPr>
        <p:spPr>
          <a:xfrm>
            <a:off x="10499279" y="2077430"/>
            <a:ext cx="9525" cy="33815"/>
          </a:xfrm>
          <a:custGeom>
            <a:avLst/>
            <a:gdLst/>
            <a:ahLst/>
            <a:cxnLst/>
            <a:rect l="l" t="t" r="r" b="b"/>
            <a:pathLst>
              <a:path w="12700" h="45085">
                <a:moveTo>
                  <a:pt x="0" y="44831"/>
                </a:moveTo>
                <a:lnTo>
                  <a:pt x="12700" y="44831"/>
                </a:lnTo>
                <a:lnTo>
                  <a:pt x="12700" y="0"/>
                </a:lnTo>
                <a:lnTo>
                  <a:pt x="0" y="0"/>
                </a:lnTo>
                <a:lnTo>
                  <a:pt x="0" y="44831"/>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74" name="object 227">
            <a:extLst>
              <a:ext uri="{FF2B5EF4-FFF2-40B4-BE49-F238E27FC236}">
                <a16:creationId xmlns:a16="http://schemas.microsoft.com/office/drawing/2014/main" id="{523D10E8-F5E7-8B7F-2189-5DDA83DFEB82}"/>
              </a:ext>
            </a:extLst>
          </p:cNvPr>
          <p:cNvSpPr/>
          <p:nvPr/>
        </p:nvSpPr>
        <p:spPr>
          <a:xfrm>
            <a:off x="10485753" y="2088670"/>
            <a:ext cx="39052" cy="9525"/>
          </a:xfrm>
          <a:custGeom>
            <a:avLst/>
            <a:gdLst/>
            <a:ahLst/>
            <a:cxnLst/>
            <a:rect l="l" t="t" r="r" b="b"/>
            <a:pathLst>
              <a:path w="52070" h="12700">
                <a:moveTo>
                  <a:pt x="0" y="12700"/>
                </a:moveTo>
                <a:lnTo>
                  <a:pt x="51688" y="12700"/>
                </a:lnTo>
                <a:lnTo>
                  <a:pt x="51688" y="0"/>
                </a:lnTo>
                <a:lnTo>
                  <a:pt x="0" y="0"/>
                </a:lnTo>
                <a:lnTo>
                  <a:pt x="0" y="12700"/>
                </a:lnTo>
                <a:close/>
              </a:path>
            </a:pathLst>
          </a:custGeom>
          <a:solidFill>
            <a:srgbClr val="4471C4"/>
          </a:solidFill>
          <a:ln>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75" name="object 228">
            <a:extLst>
              <a:ext uri="{FF2B5EF4-FFF2-40B4-BE49-F238E27FC236}">
                <a16:creationId xmlns:a16="http://schemas.microsoft.com/office/drawing/2014/main" id="{FE10DE5F-9646-4A27-F7F8-76320F9E6706}"/>
              </a:ext>
            </a:extLst>
          </p:cNvPr>
          <p:cNvSpPr/>
          <p:nvPr/>
        </p:nvSpPr>
        <p:spPr>
          <a:xfrm>
            <a:off x="7664827" y="1718529"/>
            <a:ext cx="2974659" cy="1368743"/>
          </a:xfrm>
          <a:custGeom>
            <a:avLst/>
            <a:gdLst/>
            <a:ahLst/>
            <a:cxnLst/>
            <a:rect l="l" t="t" r="r" b="b"/>
            <a:pathLst>
              <a:path w="3966209" h="1824989">
                <a:moveTo>
                  <a:pt x="3966210" y="1824609"/>
                </a:moveTo>
                <a:lnTo>
                  <a:pt x="2423541" y="1824609"/>
                </a:lnTo>
                <a:lnTo>
                  <a:pt x="2423541" y="1616583"/>
                </a:lnTo>
                <a:lnTo>
                  <a:pt x="2343404" y="1616583"/>
                </a:lnTo>
                <a:lnTo>
                  <a:pt x="2343404" y="1520063"/>
                </a:lnTo>
                <a:lnTo>
                  <a:pt x="2278888" y="1520063"/>
                </a:lnTo>
                <a:lnTo>
                  <a:pt x="2278888" y="1425575"/>
                </a:lnTo>
                <a:lnTo>
                  <a:pt x="2159508" y="1425575"/>
                </a:lnTo>
                <a:lnTo>
                  <a:pt x="2159508" y="1324737"/>
                </a:lnTo>
                <a:lnTo>
                  <a:pt x="2159508" y="1242949"/>
                </a:lnTo>
                <a:lnTo>
                  <a:pt x="2124329" y="1242949"/>
                </a:lnTo>
                <a:lnTo>
                  <a:pt x="2124329" y="1169670"/>
                </a:lnTo>
                <a:lnTo>
                  <a:pt x="1935734" y="1169670"/>
                </a:lnTo>
                <a:lnTo>
                  <a:pt x="1935734" y="1098550"/>
                </a:lnTo>
                <a:lnTo>
                  <a:pt x="1904365" y="1098550"/>
                </a:lnTo>
                <a:lnTo>
                  <a:pt x="1904365" y="1023239"/>
                </a:lnTo>
                <a:lnTo>
                  <a:pt x="1832102" y="1023239"/>
                </a:lnTo>
                <a:lnTo>
                  <a:pt x="1832102" y="947928"/>
                </a:lnTo>
                <a:lnTo>
                  <a:pt x="1616964" y="947928"/>
                </a:lnTo>
                <a:lnTo>
                  <a:pt x="1616964" y="694182"/>
                </a:lnTo>
                <a:lnTo>
                  <a:pt x="1586611" y="694182"/>
                </a:lnTo>
                <a:lnTo>
                  <a:pt x="1586611" y="625221"/>
                </a:lnTo>
                <a:lnTo>
                  <a:pt x="1145794" y="625221"/>
                </a:lnTo>
                <a:lnTo>
                  <a:pt x="1145794" y="564642"/>
                </a:lnTo>
                <a:lnTo>
                  <a:pt x="1074420" y="564642"/>
                </a:lnTo>
                <a:lnTo>
                  <a:pt x="1074420" y="379984"/>
                </a:lnTo>
                <a:lnTo>
                  <a:pt x="977646" y="379984"/>
                </a:lnTo>
                <a:lnTo>
                  <a:pt x="977646" y="317373"/>
                </a:lnTo>
                <a:lnTo>
                  <a:pt x="778129" y="317373"/>
                </a:lnTo>
                <a:lnTo>
                  <a:pt x="778129" y="254762"/>
                </a:lnTo>
                <a:lnTo>
                  <a:pt x="755650" y="254762"/>
                </a:lnTo>
                <a:lnTo>
                  <a:pt x="755650" y="185800"/>
                </a:lnTo>
                <a:lnTo>
                  <a:pt x="546481" y="185800"/>
                </a:lnTo>
                <a:lnTo>
                  <a:pt x="546481" y="127381"/>
                </a:lnTo>
                <a:lnTo>
                  <a:pt x="524001" y="127381"/>
                </a:lnTo>
                <a:lnTo>
                  <a:pt x="524001" y="68961"/>
                </a:lnTo>
                <a:lnTo>
                  <a:pt x="374396" y="68961"/>
                </a:lnTo>
                <a:lnTo>
                  <a:pt x="374396" y="0"/>
                </a:lnTo>
                <a:lnTo>
                  <a:pt x="0" y="0"/>
                </a:lnTo>
              </a:path>
            </a:pathLst>
          </a:custGeom>
          <a:ln w="12699">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76" name="object 229">
            <a:extLst>
              <a:ext uri="{FF2B5EF4-FFF2-40B4-BE49-F238E27FC236}">
                <a16:creationId xmlns:a16="http://schemas.microsoft.com/office/drawing/2014/main" id="{CB940BBA-D8F0-C73A-0E41-7FFA77DB8480}"/>
              </a:ext>
            </a:extLst>
          </p:cNvPr>
          <p:cNvSpPr/>
          <p:nvPr/>
        </p:nvSpPr>
        <p:spPr>
          <a:xfrm>
            <a:off x="8925368" y="2412330"/>
            <a:ext cx="9525" cy="33815"/>
          </a:xfrm>
          <a:custGeom>
            <a:avLst/>
            <a:gdLst/>
            <a:ahLst/>
            <a:cxnLst/>
            <a:rect l="l" t="t" r="r" b="b"/>
            <a:pathLst>
              <a:path w="12700" h="45085">
                <a:moveTo>
                  <a:pt x="0" y="44830"/>
                </a:moveTo>
                <a:lnTo>
                  <a:pt x="12700" y="44830"/>
                </a:lnTo>
                <a:lnTo>
                  <a:pt x="12700" y="0"/>
                </a:lnTo>
                <a:lnTo>
                  <a:pt x="0" y="0"/>
                </a:lnTo>
                <a:lnTo>
                  <a:pt x="0" y="44830"/>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77" name="object 230">
            <a:extLst>
              <a:ext uri="{FF2B5EF4-FFF2-40B4-BE49-F238E27FC236}">
                <a16:creationId xmlns:a16="http://schemas.microsoft.com/office/drawing/2014/main" id="{4B5ADBBB-AE42-77A8-B029-EE8472191965}"/>
              </a:ext>
            </a:extLst>
          </p:cNvPr>
          <p:cNvSpPr/>
          <p:nvPr/>
        </p:nvSpPr>
        <p:spPr>
          <a:xfrm>
            <a:off x="8911842" y="2424712"/>
            <a:ext cx="39052" cy="9525"/>
          </a:xfrm>
          <a:custGeom>
            <a:avLst/>
            <a:gdLst/>
            <a:ahLst/>
            <a:cxnLst/>
            <a:rect l="l" t="t" r="r" b="b"/>
            <a:pathLst>
              <a:path w="52070" h="12700">
                <a:moveTo>
                  <a:pt x="0" y="12700"/>
                </a:moveTo>
                <a:lnTo>
                  <a:pt x="51688" y="12700"/>
                </a:lnTo>
                <a:lnTo>
                  <a:pt x="51688" y="0"/>
                </a:lnTo>
                <a:lnTo>
                  <a:pt x="0" y="0"/>
                </a:lnTo>
                <a:lnTo>
                  <a:pt x="0" y="12700"/>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78" name="object 231">
            <a:extLst>
              <a:ext uri="{FF2B5EF4-FFF2-40B4-BE49-F238E27FC236}">
                <a16:creationId xmlns:a16="http://schemas.microsoft.com/office/drawing/2014/main" id="{E2B1291D-2224-2E53-2994-012EB0E50B2E}"/>
              </a:ext>
            </a:extLst>
          </p:cNvPr>
          <p:cNvSpPr/>
          <p:nvPr/>
        </p:nvSpPr>
        <p:spPr>
          <a:xfrm>
            <a:off x="8877551" y="2364325"/>
            <a:ext cx="0" cy="34767"/>
          </a:xfrm>
          <a:custGeom>
            <a:avLst/>
            <a:gdLst/>
            <a:ahLst/>
            <a:cxnLst/>
            <a:rect l="l" t="t" r="r" b="b"/>
            <a:pathLst>
              <a:path h="46354">
                <a:moveTo>
                  <a:pt x="0" y="0"/>
                </a:moveTo>
                <a:lnTo>
                  <a:pt x="0" y="45847"/>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79" name="object 232">
            <a:extLst>
              <a:ext uri="{FF2B5EF4-FFF2-40B4-BE49-F238E27FC236}">
                <a16:creationId xmlns:a16="http://schemas.microsoft.com/office/drawing/2014/main" id="{1A15E82B-1ED5-A117-B469-F37229B7FACA}"/>
              </a:ext>
            </a:extLst>
          </p:cNvPr>
          <p:cNvSpPr/>
          <p:nvPr/>
        </p:nvSpPr>
        <p:spPr>
          <a:xfrm>
            <a:off x="8858121" y="2381468"/>
            <a:ext cx="39052" cy="0"/>
          </a:xfrm>
          <a:custGeom>
            <a:avLst/>
            <a:gdLst/>
            <a:ahLst/>
            <a:cxnLst/>
            <a:rect l="l" t="t" r="r" b="b"/>
            <a:pathLst>
              <a:path w="52070">
                <a:moveTo>
                  <a:pt x="0" y="0"/>
                </a:moveTo>
                <a:lnTo>
                  <a:pt x="51688"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80" name="object 233">
            <a:extLst>
              <a:ext uri="{FF2B5EF4-FFF2-40B4-BE49-F238E27FC236}">
                <a16:creationId xmlns:a16="http://schemas.microsoft.com/office/drawing/2014/main" id="{69589745-1612-BF3E-4717-32E9A673F662}"/>
              </a:ext>
            </a:extLst>
          </p:cNvPr>
          <p:cNvSpPr/>
          <p:nvPr/>
        </p:nvSpPr>
        <p:spPr>
          <a:xfrm>
            <a:off x="8911840" y="2412330"/>
            <a:ext cx="0" cy="33815"/>
          </a:xfrm>
          <a:custGeom>
            <a:avLst/>
            <a:gdLst/>
            <a:ahLst/>
            <a:cxnLst/>
            <a:rect l="l" t="t" r="r" b="b"/>
            <a:pathLst>
              <a:path h="45085">
                <a:moveTo>
                  <a:pt x="0" y="0"/>
                </a:moveTo>
                <a:lnTo>
                  <a:pt x="0" y="4483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81" name="object 234">
            <a:extLst>
              <a:ext uri="{FF2B5EF4-FFF2-40B4-BE49-F238E27FC236}">
                <a16:creationId xmlns:a16="http://schemas.microsoft.com/office/drawing/2014/main" id="{EA53FAD3-A741-EBF4-1611-B2DA6131731E}"/>
              </a:ext>
            </a:extLst>
          </p:cNvPr>
          <p:cNvSpPr/>
          <p:nvPr/>
        </p:nvSpPr>
        <p:spPr>
          <a:xfrm>
            <a:off x="8891267" y="2429475"/>
            <a:ext cx="39052" cy="0"/>
          </a:xfrm>
          <a:custGeom>
            <a:avLst/>
            <a:gdLst/>
            <a:ahLst/>
            <a:cxnLst/>
            <a:rect l="l" t="t" r="r" b="b"/>
            <a:pathLst>
              <a:path w="52070">
                <a:moveTo>
                  <a:pt x="0" y="0"/>
                </a:moveTo>
                <a:lnTo>
                  <a:pt x="51689"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82" name="object 235">
            <a:extLst>
              <a:ext uri="{FF2B5EF4-FFF2-40B4-BE49-F238E27FC236}">
                <a16:creationId xmlns:a16="http://schemas.microsoft.com/office/drawing/2014/main" id="{FAAA077E-3DF2-950B-436C-2E4D8B9B2F48}"/>
              </a:ext>
            </a:extLst>
          </p:cNvPr>
          <p:cNvSpPr/>
          <p:nvPr/>
        </p:nvSpPr>
        <p:spPr>
          <a:xfrm>
            <a:off x="8895839" y="2412330"/>
            <a:ext cx="0" cy="33815"/>
          </a:xfrm>
          <a:custGeom>
            <a:avLst/>
            <a:gdLst/>
            <a:ahLst/>
            <a:cxnLst/>
            <a:rect l="l" t="t" r="r" b="b"/>
            <a:pathLst>
              <a:path h="45085">
                <a:moveTo>
                  <a:pt x="0" y="0"/>
                </a:moveTo>
                <a:lnTo>
                  <a:pt x="0" y="4483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83" name="object 236">
            <a:extLst>
              <a:ext uri="{FF2B5EF4-FFF2-40B4-BE49-F238E27FC236}">
                <a16:creationId xmlns:a16="http://schemas.microsoft.com/office/drawing/2014/main" id="{C590BC6D-CB82-AD23-474B-52D5802425FE}"/>
              </a:ext>
            </a:extLst>
          </p:cNvPr>
          <p:cNvSpPr/>
          <p:nvPr/>
        </p:nvSpPr>
        <p:spPr>
          <a:xfrm>
            <a:off x="8876408" y="2429475"/>
            <a:ext cx="40005" cy="0"/>
          </a:xfrm>
          <a:custGeom>
            <a:avLst/>
            <a:gdLst/>
            <a:ahLst/>
            <a:cxnLst/>
            <a:rect l="l" t="t" r="r" b="b"/>
            <a:pathLst>
              <a:path w="53340">
                <a:moveTo>
                  <a:pt x="0" y="0"/>
                </a:moveTo>
                <a:lnTo>
                  <a:pt x="53340"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84" name="object 237">
            <a:extLst>
              <a:ext uri="{FF2B5EF4-FFF2-40B4-BE49-F238E27FC236}">
                <a16:creationId xmlns:a16="http://schemas.microsoft.com/office/drawing/2014/main" id="{406F9AF5-58BC-72BE-2989-249956E68C64}"/>
              </a:ext>
            </a:extLst>
          </p:cNvPr>
          <p:cNvSpPr/>
          <p:nvPr/>
        </p:nvSpPr>
        <p:spPr>
          <a:xfrm>
            <a:off x="8926511" y="2412330"/>
            <a:ext cx="9525" cy="33815"/>
          </a:xfrm>
          <a:custGeom>
            <a:avLst/>
            <a:gdLst/>
            <a:ahLst/>
            <a:cxnLst/>
            <a:rect l="l" t="t" r="r" b="b"/>
            <a:pathLst>
              <a:path w="12700" h="45085">
                <a:moveTo>
                  <a:pt x="0" y="44830"/>
                </a:moveTo>
                <a:lnTo>
                  <a:pt x="12700" y="44830"/>
                </a:lnTo>
                <a:lnTo>
                  <a:pt x="12700" y="0"/>
                </a:lnTo>
                <a:lnTo>
                  <a:pt x="0" y="0"/>
                </a:lnTo>
                <a:lnTo>
                  <a:pt x="0" y="44830"/>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85" name="object 238">
            <a:extLst>
              <a:ext uri="{FF2B5EF4-FFF2-40B4-BE49-F238E27FC236}">
                <a16:creationId xmlns:a16="http://schemas.microsoft.com/office/drawing/2014/main" id="{A97693B0-FD14-4D5F-674F-6A9AA4CF0B88}"/>
              </a:ext>
            </a:extLst>
          </p:cNvPr>
          <p:cNvSpPr/>
          <p:nvPr/>
        </p:nvSpPr>
        <p:spPr>
          <a:xfrm>
            <a:off x="8911842" y="2424712"/>
            <a:ext cx="39052" cy="9525"/>
          </a:xfrm>
          <a:custGeom>
            <a:avLst/>
            <a:gdLst/>
            <a:ahLst/>
            <a:cxnLst/>
            <a:rect l="l" t="t" r="r" b="b"/>
            <a:pathLst>
              <a:path w="52070" h="12700">
                <a:moveTo>
                  <a:pt x="0" y="12700"/>
                </a:moveTo>
                <a:lnTo>
                  <a:pt x="51688" y="12700"/>
                </a:lnTo>
                <a:lnTo>
                  <a:pt x="51688" y="0"/>
                </a:lnTo>
                <a:lnTo>
                  <a:pt x="0" y="0"/>
                </a:lnTo>
                <a:lnTo>
                  <a:pt x="0" y="12700"/>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86" name="object 239">
            <a:extLst>
              <a:ext uri="{FF2B5EF4-FFF2-40B4-BE49-F238E27FC236}">
                <a16:creationId xmlns:a16="http://schemas.microsoft.com/office/drawing/2014/main" id="{AF02E0AB-F00D-ACE1-873F-FDB3ECFECF4C}"/>
              </a:ext>
            </a:extLst>
          </p:cNvPr>
          <p:cNvSpPr/>
          <p:nvPr/>
        </p:nvSpPr>
        <p:spPr>
          <a:xfrm>
            <a:off x="10633199" y="3069554"/>
            <a:ext cx="0" cy="34767"/>
          </a:xfrm>
          <a:custGeom>
            <a:avLst/>
            <a:gdLst/>
            <a:ahLst/>
            <a:cxnLst/>
            <a:rect l="l" t="t" r="r" b="b"/>
            <a:pathLst>
              <a:path h="46354">
                <a:moveTo>
                  <a:pt x="0" y="0"/>
                </a:moveTo>
                <a:lnTo>
                  <a:pt x="0" y="45846"/>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87" name="object 240">
            <a:extLst>
              <a:ext uri="{FF2B5EF4-FFF2-40B4-BE49-F238E27FC236}">
                <a16:creationId xmlns:a16="http://schemas.microsoft.com/office/drawing/2014/main" id="{45C83F40-811E-4AF7-9EAF-11D9396D1CC8}"/>
              </a:ext>
            </a:extLst>
          </p:cNvPr>
          <p:cNvSpPr/>
          <p:nvPr/>
        </p:nvSpPr>
        <p:spPr>
          <a:xfrm>
            <a:off x="10613768" y="3087843"/>
            <a:ext cx="40005" cy="0"/>
          </a:xfrm>
          <a:custGeom>
            <a:avLst/>
            <a:gdLst/>
            <a:ahLst/>
            <a:cxnLst/>
            <a:rect l="l" t="t" r="r" b="b"/>
            <a:pathLst>
              <a:path w="53340">
                <a:moveTo>
                  <a:pt x="0" y="0"/>
                </a:moveTo>
                <a:lnTo>
                  <a:pt x="53340"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88" name="object 241">
            <a:extLst>
              <a:ext uri="{FF2B5EF4-FFF2-40B4-BE49-F238E27FC236}">
                <a16:creationId xmlns:a16="http://schemas.microsoft.com/office/drawing/2014/main" id="{00F5D5B1-7594-8D86-1679-B91BEA715796}"/>
              </a:ext>
            </a:extLst>
          </p:cNvPr>
          <p:cNvSpPr/>
          <p:nvPr/>
        </p:nvSpPr>
        <p:spPr>
          <a:xfrm>
            <a:off x="9285603" y="2700366"/>
            <a:ext cx="0" cy="33815"/>
          </a:xfrm>
          <a:custGeom>
            <a:avLst/>
            <a:gdLst/>
            <a:ahLst/>
            <a:cxnLst/>
            <a:rect l="l" t="t" r="r" b="b"/>
            <a:pathLst>
              <a:path h="45085">
                <a:moveTo>
                  <a:pt x="0" y="0"/>
                </a:moveTo>
                <a:lnTo>
                  <a:pt x="0" y="4483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89" name="object 242">
            <a:extLst>
              <a:ext uri="{FF2B5EF4-FFF2-40B4-BE49-F238E27FC236}">
                <a16:creationId xmlns:a16="http://schemas.microsoft.com/office/drawing/2014/main" id="{042F329E-13B8-54E6-BDDB-FAAF367801C8}"/>
              </a:ext>
            </a:extLst>
          </p:cNvPr>
          <p:cNvSpPr/>
          <p:nvPr/>
        </p:nvSpPr>
        <p:spPr>
          <a:xfrm>
            <a:off x="9265029" y="2717509"/>
            <a:ext cx="39052" cy="0"/>
          </a:xfrm>
          <a:custGeom>
            <a:avLst/>
            <a:gdLst/>
            <a:ahLst/>
            <a:cxnLst/>
            <a:rect l="l" t="t" r="r" b="b"/>
            <a:pathLst>
              <a:path w="52070">
                <a:moveTo>
                  <a:pt x="0" y="0"/>
                </a:moveTo>
                <a:lnTo>
                  <a:pt x="51689"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90" name="object 243">
            <a:extLst>
              <a:ext uri="{FF2B5EF4-FFF2-40B4-BE49-F238E27FC236}">
                <a16:creationId xmlns:a16="http://schemas.microsoft.com/office/drawing/2014/main" id="{5D1B0582-52FD-6CDD-47ED-521B6256565F}"/>
              </a:ext>
            </a:extLst>
          </p:cNvPr>
          <p:cNvSpPr/>
          <p:nvPr/>
        </p:nvSpPr>
        <p:spPr>
          <a:xfrm>
            <a:off x="9270743" y="2630642"/>
            <a:ext cx="0" cy="33815"/>
          </a:xfrm>
          <a:custGeom>
            <a:avLst/>
            <a:gdLst/>
            <a:ahLst/>
            <a:cxnLst/>
            <a:rect l="l" t="t" r="r" b="b"/>
            <a:pathLst>
              <a:path h="45085">
                <a:moveTo>
                  <a:pt x="0" y="0"/>
                </a:moveTo>
                <a:lnTo>
                  <a:pt x="0" y="44831"/>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91" name="object 244">
            <a:extLst>
              <a:ext uri="{FF2B5EF4-FFF2-40B4-BE49-F238E27FC236}">
                <a16:creationId xmlns:a16="http://schemas.microsoft.com/office/drawing/2014/main" id="{F85DBB10-9D81-1BBA-37A1-225E2578F752}"/>
              </a:ext>
            </a:extLst>
          </p:cNvPr>
          <p:cNvSpPr/>
          <p:nvPr/>
        </p:nvSpPr>
        <p:spPr>
          <a:xfrm>
            <a:off x="9251313" y="2647787"/>
            <a:ext cx="39052" cy="0"/>
          </a:xfrm>
          <a:custGeom>
            <a:avLst/>
            <a:gdLst/>
            <a:ahLst/>
            <a:cxnLst/>
            <a:rect l="l" t="t" r="r" b="b"/>
            <a:pathLst>
              <a:path w="52070">
                <a:moveTo>
                  <a:pt x="0" y="0"/>
                </a:moveTo>
                <a:lnTo>
                  <a:pt x="51688"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92" name="object 245">
            <a:extLst>
              <a:ext uri="{FF2B5EF4-FFF2-40B4-BE49-F238E27FC236}">
                <a16:creationId xmlns:a16="http://schemas.microsoft.com/office/drawing/2014/main" id="{CB9D4BC2-767F-8227-7297-B60C8B46E144}"/>
              </a:ext>
            </a:extLst>
          </p:cNvPr>
          <p:cNvSpPr/>
          <p:nvPr/>
        </p:nvSpPr>
        <p:spPr>
          <a:xfrm>
            <a:off x="9523345" y="3069554"/>
            <a:ext cx="0" cy="34767"/>
          </a:xfrm>
          <a:custGeom>
            <a:avLst/>
            <a:gdLst/>
            <a:ahLst/>
            <a:cxnLst/>
            <a:rect l="l" t="t" r="r" b="b"/>
            <a:pathLst>
              <a:path h="46354">
                <a:moveTo>
                  <a:pt x="0" y="0"/>
                </a:moveTo>
                <a:lnTo>
                  <a:pt x="0" y="45846"/>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93" name="object 246">
            <a:extLst>
              <a:ext uri="{FF2B5EF4-FFF2-40B4-BE49-F238E27FC236}">
                <a16:creationId xmlns:a16="http://schemas.microsoft.com/office/drawing/2014/main" id="{ABA319B7-64C5-82CC-1C04-2239342A9B62}"/>
              </a:ext>
            </a:extLst>
          </p:cNvPr>
          <p:cNvSpPr/>
          <p:nvPr/>
        </p:nvSpPr>
        <p:spPr>
          <a:xfrm>
            <a:off x="9503916" y="3087843"/>
            <a:ext cx="40005" cy="0"/>
          </a:xfrm>
          <a:custGeom>
            <a:avLst/>
            <a:gdLst/>
            <a:ahLst/>
            <a:cxnLst/>
            <a:rect l="l" t="t" r="r" b="b"/>
            <a:pathLst>
              <a:path w="53340">
                <a:moveTo>
                  <a:pt x="0" y="0"/>
                </a:moveTo>
                <a:lnTo>
                  <a:pt x="53340"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94" name="object 247">
            <a:extLst>
              <a:ext uri="{FF2B5EF4-FFF2-40B4-BE49-F238E27FC236}">
                <a16:creationId xmlns:a16="http://schemas.microsoft.com/office/drawing/2014/main" id="{7CEF915A-09C0-6548-1C15-BC585794D6F1}"/>
              </a:ext>
            </a:extLst>
          </p:cNvPr>
          <p:cNvSpPr/>
          <p:nvPr/>
        </p:nvSpPr>
        <p:spPr>
          <a:xfrm>
            <a:off x="9465624" y="2912391"/>
            <a:ext cx="0" cy="33815"/>
          </a:xfrm>
          <a:custGeom>
            <a:avLst/>
            <a:gdLst/>
            <a:ahLst/>
            <a:cxnLst/>
            <a:rect l="l" t="t" r="r" b="b"/>
            <a:pathLst>
              <a:path h="45085">
                <a:moveTo>
                  <a:pt x="0" y="0"/>
                </a:moveTo>
                <a:lnTo>
                  <a:pt x="0" y="44831"/>
                </a:lnTo>
              </a:path>
            </a:pathLst>
          </a:custGeom>
          <a:ln w="10728">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95" name="object 248">
            <a:extLst>
              <a:ext uri="{FF2B5EF4-FFF2-40B4-BE49-F238E27FC236}">
                <a16:creationId xmlns:a16="http://schemas.microsoft.com/office/drawing/2014/main" id="{E8E4E589-29D7-7D40-F90F-7385EFF9B2C9}"/>
              </a:ext>
            </a:extLst>
          </p:cNvPr>
          <p:cNvSpPr/>
          <p:nvPr/>
        </p:nvSpPr>
        <p:spPr>
          <a:xfrm>
            <a:off x="9446195" y="2928395"/>
            <a:ext cx="39052" cy="0"/>
          </a:xfrm>
          <a:custGeom>
            <a:avLst/>
            <a:gdLst/>
            <a:ahLst/>
            <a:cxnLst/>
            <a:rect l="l" t="t" r="r" b="b"/>
            <a:pathLst>
              <a:path w="52070">
                <a:moveTo>
                  <a:pt x="0" y="0"/>
                </a:moveTo>
                <a:lnTo>
                  <a:pt x="51688" y="0"/>
                </a:lnTo>
              </a:path>
            </a:pathLst>
          </a:custGeom>
          <a:ln w="10728">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96" name="object 249">
            <a:extLst>
              <a:ext uri="{FF2B5EF4-FFF2-40B4-BE49-F238E27FC236}">
                <a16:creationId xmlns:a16="http://schemas.microsoft.com/office/drawing/2014/main" id="{CB0449CD-33D7-D6A9-F8E9-522F4424675D}"/>
              </a:ext>
            </a:extLst>
          </p:cNvPr>
          <p:cNvSpPr/>
          <p:nvPr/>
        </p:nvSpPr>
        <p:spPr>
          <a:xfrm>
            <a:off x="9671747" y="3069554"/>
            <a:ext cx="9525" cy="34767"/>
          </a:xfrm>
          <a:custGeom>
            <a:avLst/>
            <a:gdLst/>
            <a:ahLst/>
            <a:cxnLst/>
            <a:rect l="l" t="t" r="r" b="b"/>
            <a:pathLst>
              <a:path w="12700" h="46354">
                <a:moveTo>
                  <a:pt x="0" y="45846"/>
                </a:moveTo>
                <a:lnTo>
                  <a:pt x="12700" y="45846"/>
                </a:lnTo>
                <a:lnTo>
                  <a:pt x="12700" y="0"/>
                </a:lnTo>
                <a:lnTo>
                  <a:pt x="0" y="0"/>
                </a:lnTo>
                <a:lnTo>
                  <a:pt x="0" y="45846"/>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97" name="object 250">
            <a:extLst>
              <a:ext uri="{FF2B5EF4-FFF2-40B4-BE49-F238E27FC236}">
                <a16:creationId xmlns:a16="http://schemas.microsoft.com/office/drawing/2014/main" id="{E956B008-C76E-AA9B-9052-5467DF4C2607}"/>
              </a:ext>
            </a:extLst>
          </p:cNvPr>
          <p:cNvSpPr/>
          <p:nvPr/>
        </p:nvSpPr>
        <p:spPr>
          <a:xfrm>
            <a:off x="9657078" y="3087843"/>
            <a:ext cx="39052" cy="0"/>
          </a:xfrm>
          <a:custGeom>
            <a:avLst/>
            <a:gdLst/>
            <a:ahLst/>
            <a:cxnLst/>
            <a:rect l="l" t="t" r="r" b="b"/>
            <a:pathLst>
              <a:path w="52070">
                <a:moveTo>
                  <a:pt x="0" y="0"/>
                </a:moveTo>
                <a:lnTo>
                  <a:pt x="51688"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98" name="object 251">
            <a:extLst>
              <a:ext uri="{FF2B5EF4-FFF2-40B4-BE49-F238E27FC236}">
                <a16:creationId xmlns:a16="http://schemas.microsoft.com/office/drawing/2014/main" id="{49909D9F-3544-370C-3764-07B0AED4268B}"/>
              </a:ext>
            </a:extLst>
          </p:cNvPr>
          <p:cNvSpPr/>
          <p:nvPr/>
        </p:nvSpPr>
        <p:spPr>
          <a:xfrm>
            <a:off x="9703750" y="3069554"/>
            <a:ext cx="9525" cy="34767"/>
          </a:xfrm>
          <a:custGeom>
            <a:avLst/>
            <a:gdLst/>
            <a:ahLst/>
            <a:cxnLst/>
            <a:rect l="l" t="t" r="r" b="b"/>
            <a:pathLst>
              <a:path w="12700" h="46354">
                <a:moveTo>
                  <a:pt x="0" y="45846"/>
                </a:moveTo>
                <a:lnTo>
                  <a:pt x="12700" y="45846"/>
                </a:lnTo>
                <a:lnTo>
                  <a:pt x="12700" y="0"/>
                </a:lnTo>
                <a:lnTo>
                  <a:pt x="0" y="0"/>
                </a:lnTo>
                <a:lnTo>
                  <a:pt x="0" y="45846"/>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99" name="object 252">
            <a:extLst>
              <a:ext uri="{FF2B5EF4-FFF2-40B4-BE49-F238E27FC236}">
                <a16:creationId xmlns:a16="http://schemas.microsoft.com/office/drawing/2014/main" id="{AB0D16EE-0142-9EDB-8941-EC38DED970CD}"/>
              </a:ext>
            </a:extLst>
          </p:cNvPr>
          <p:cNvSpPr/>
          <p:nvPr/>
        </p:nvSpPr>
        <p:spPr>
          <a:xfrm>
            <a:off x="9687939" y="3087843"/>
            <a:ext cx="40005" cy="0"/>
          </a:xfrm>
          <a:custGeom>
            <a:avLst/>
            <a:gdLst/>
            <a:ahLst/>
            <a:cxnLst/>
            <a:rect l="l" t="t" r="r" b="b"/>
            <a:pathLst>
              <a:path w="53340">
                <a:moveTo>
                  <a:pt x="0" y="0"/>
                </a:moveTo>
                <a:lnTo>
                  <a:pt x="53339"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00" name="object 253">
            <a:extLst>
              <a:ext uri="{FF2B5EF4-FFF2-40B4-BE49-F238E27FC236}">
                <a16:creationId xmlns:a16="http://schemas.microsoft.com/office/drawing/2014/main" id="{62B03859-4D18-C8DB-9B16-52CCB9FF75EC}"/>
              </a:ext>
            </a:extLst>
          </p:cNvPr>
          <p:cNvSpPr/>
          <p:nvPr/>
        </p:nvSpPr>
        <p:spPr>
          <a:xfrm>
            <a:off x="9685463" y="3069554"/>
            <a:ext cx="9525" cy="34767"/>
          </a:xfrm>
          <a:custGeom>
            <a:avLst/>
            <a:gdLst/>
            <a:ahLst/>
            <a:cxnLst/>
            <a:rect l="l" t="t" r="r" b="b"/>
            <a:pathLst>
              <a:path w="12700" h="46354">
                <a:moveTo>
                  <a:pt x="0" y="45846"/>
                </a:moveTo>
                <a:lnTo>
                  <a:pt x="12700" y="45846"/>
                </a:lnTo>
                <a:lnTo>
                  <a:pt x="12700" y="0"/>
                </a:lnTo>
                <a:lnTo>
                  <a:pt x="0" y="0"/>
                </a:lnTo>
                <a:lnTo>
                  <a:pt x="0" y="45846"/>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01" name="object 254">
            <a:extLst>
              <a:ext uri="{FF2B5EF4-FFF2-40B4-BE49-F238E27FC236}">
                <a16:creationId xmlns:a16="http://schemas.microsoft.com/office/drawing/2014/main" id="{F954CFFF-DD91-FCA1-53E0-14542EBB3A64}"/>
              </a:ext>
            </a:extLst>
          </p:cNvPr>
          <p:cNvSpPr/>
          <p:nvPr/>
        </p:nvSpPr>
        <p:spPr>
          <a:xfrm>
            <a:off x="9670794" y="3083080"/>
            <a:ext cx="39052" cy="9525"/>
          </a:xfrm>
          <a:custGeom>
            <a:avLst/>
            <a:gdLst/>
            <a:ahLst/>
            <a:cxnLst/>
            <a:rect l="l" t="t" r="r" b="b"/>
            <a:pathLst>
              <a:path w="52070" h="12700">
                <a:moveTo>
                  <a:pt x="0" y="12700"/>
                </a:moveTo>
                <a:lnTo>
                  <a:pt x="51689" y="12700"/>
                </a:lnTo>
                <a:lnTo>
                  <a:pt x="51689" y="0"/>
                </a:lnTo>
                <a:lnTo>
                  <a:pt x="0" y="0"/>
                </a:lnTo>
                <a:lnTo>
                  <a:pt x="0" y="12700"/>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02" name="object 255">
            <a:extLst>
              <a:ext uri="{FF2B5EF4-FFF2-40B4-BE49-F238E27FC236}">
                <a16:creationId xmlns:a16="http://schemas.microsoft.com/office/drawing/2014/main" id="{61FB1179-5A57-3060-2C83-1F4D7F3811DA}"/>
              </a:ext>
            </a:extLst>
          </p:cNvPr>
          <p:cNvSpPr/>
          <p:nvPr/>
        </p:nvSpPr>
        <p:spPr>
          <a:xfrm>
            <a:off x="10170284" y="3069554"/>
            <a:ext cx="0" cy="34767"/>
          </a:xfrm>
          <a:custGeom>
            <a:avLst/>
            <a:gdLst/>
            <a:ahLst/>
            <a:cxnLst/>
            <a:rect l="l" t="t" r="r" b="b"/>
            <a:pathLst>
              <a:path h="46354">
                <a:moveTo>
                  <a:pt x="0" y="0"/>
                </a:moveTo>
                <a:lnTo>
                  <a:pt x="0" y="45846"/>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03" name="object 256">
            <a:extLst>
              <a:ext uri="{FF2B5EF4-FFF2-40B4-BE49-F238E27FC236}">
                <a16:creationId xmlns:a16="http://schemas.microsoft.com/office/drawing/2014/main" id="{68004200-C6AB-0853-2E51-3CC54FF98E1F}"/>
              </a:ext>
            </a:extLst>
          </p:cNvPr>
          <p:cNvSpPr/>
          <p:nvPr/>
        </p:nvSpPr>
        <p:spPr>
          <a:xfrm>
            <a:off x="10150854" y="3087843"/>
            <a:ext cx="39529" cy="0"/>
          </a:xfrm>
          <a:custGeom>
            <a:avLst/>
            <a:gdLst/>
            <a:ahLst/>
            <a:cxnLst/>
            <a:rect l="l" t="t" r="r" b="b"/>
            <a:pathLst>
              <a:path w="52704">
                <a:moveTo>
                  <a:pt x="0" y="0"/>
                </a:moveTo>
                <a:lnTo>
                  <a:pt x="52705"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04" name="object 257">
            <a:extLst>
              <a:ext uri="{FF2B5EF4-FFF2-40B4-BE49-F238E27FC236}">
                <a16:creationId xmlns:a16="http://schemas.microsoft.com/office/drawing/2014/main" id="{B53E5454-F0C2-A20B-86E7-55DEB89B49EC}"/>
              </a:ext>
            </a:extLst>
          </p:cNvPr>
          <p:cNvSpPr/>
          <p:nvPr/>
        </p:nvSpPr>
        <p:spPr>
          <a:xfrm>
            <a:off x="10098086" y="3069554"/>
            <a:ext cx="9525" cy="34767"/>
          </a:xfrm>
          <a:custGeom>
            <a:avLst/>
            <a:gdLst/>
            <a:ahLst/>
            <a:cxnLst/>
            <a:rect l="l" t="t" r="r" b="b"/>
            <a:pathLst>
              <a:path w="12700" h="46354">
                <a:moveTo>
                  <a:pt x="0" y="45846"/>
                </a:moveTo>
                <a:lnTo>
                  <a:pt x="12700" y="45846"/>
                </a:lnTo>
                <a:lnTo>
                  <a:pt x="12700" y="0"/>
                </a:lnTo>
                <a:lnTo>
                  <a:pt x="0" y="0"/>
                </a:lnTo>
                <a:lnTo>
                  <a:pt x="0" y="45846"/>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05" name="object 258">
            <a:extLst>
              <a:ext uri="{FF2B5EF4-FFF2-40B4-BE49-F238E27FC236}">
                <a16:creationId xmlns:a16="http://schemas.microsoft.com/office/drawing/2014/main" id="{84CD75E4-F9B2-128B-26D4-C9697047BA1F}"/>
              </a:ext>
            </a:extLst>
          </p:cNvPr>
          <p:cNvSpPr/>
          <p:nvPr/>
        </p:nvSpPr>
        <p:spPr>
          <a:xfrm>
            <a:off x="10084559" y="3087843"/>
            <a:ext cx="39052" cy="0"/>
          </a:xfrm>
          <a:custGeom>
            <a:avLst/>
            <a:gdLst/>
            <a:ahLst/>
            <a:cxnLst/>
            <a:rect l="l" t="t" r="r" b="b"/>
            <a:pathLst>
              <a:path w="52070">
                <a:moveTo>
                  <a:pt x="0" y="0"/>
                </a:moveTo>
                <a:lnTo>
                  <a:pt x="51688"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06" name="object 259">
            <a:extLst>
              <a:ext uri="{FF2B5EF4-FFF2-40B4-BE49-F238E27FC236}">
                <a16:creationId xmlns:a16="http://schemas.microsoft.com/office/drawing/2014/main" id="{7A286F90-07CF-C092-73B5-8304A29B9E55}"/>
              </a:ext>
            </a:extLst>
          </p:cNvPr>
          <p:cNvSpPr/>
          <p:nvPr/>
        </p:nvSpPr>
        <p:spPr>
          <a:xfrm>
            <a:off x="10086655" y="3069554"/>
            <a:ext cx="9525" cy="34767"/>
          </a:xfrm>
          <a:custGeom>
            <a:avLst/>
            <a:gdLst/>
            <a:ahLst/>
            <a:cxnLst/>
            <a:rect l="l" t="t" r="r" b="b"/>
            <a:pathLst>
              <a:path w="12700" h="46354">
                <a:moveTo>
                  <a:pt x="0" y="45846"/>
                </a:moveTo>
                <a:lnTo>
                  <a:pt x="12700" y="45846"/>
                </a:lnTo>
                <a:lnTo>
                  <a:pt x="12700" y="0"/>
                </a:lnTo>
                <a:lnTo>
                  <a:pt x="0" y="0"/>
                </a:lnTo>
                <a:lnTo>
                  <a:pt x="0" y="45846"/>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07" name="object 260">
            <a:extLst>
              <a:ext uri="{FF2B5EF4-FFF2-40B4-BE49-F238E27FC236}">
                <a16:creationId xmlns:a16="http://schemas.microsoft.com/office/drawing/2014/main" id="{26B3AF3D-C932-39A0-702F-0A5C2F1EEF0A}"/>
              </a:ext>
            </a:extLst>
          </p:cNvPr>
          <p:cNvSpPr/>
          <p:nvPr/>
        </p:nvSpPr>
        <p:spPr>
          <a:xfrm>
            <a:off x="10070843" y="3087843"/>
            <a:ext cx="39052" cy="0"/>
          </a:xfrm>
          <a:custGeom>
            <a:avLst/>
            <a:gdLst/>
            <a:ahLst/>
            <a:cxnLst/>
            <a:rect l="l" t="t" r="r" b="b"/>
            <a:pathLst>
              <a:path w="52070">
                <a:moveTo>
                  <a:pt x="0" y="0"/>
                </a:moveTo>
                <a:lnTo>
                  <a:pt x="51689" y="0"/>
                </a:lnTo>
              </a:path>
            </a:pathLst>
          </a:custGeom>
          <a:ln w="12700">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08" name="object 261">
            <a:extLst>
              <a:ext uri="{FF2B5EF4-FFF2-40B4-BE49-F238E27FC236}">
                <a16:creationId xmlns:a16="http://schemas.microsoft.com/office/drawing/2014/main" id="{4CEC4514-43D1-DCA8-F5AF-CCFC53DB5762}"/>
              </a:ext>
            </a:extLst>
          </p:cNvPr>
          <p:cNvSpPr/>
          <p:nvPr/>
        </p:nvSpPr>
        <p:spPr>
          <a:xfrm>
            <a:off x="9691176" y="3069554"/>
            <a:ext cx="9525" cy="34767"/>
          </a:xfrm>
          <a:custGeom>
            <a:avLst/>
            <a:gdLst/>
            <a:ahLst/>
            <a:cxnLst/>
            <a:rect l="l" t="t" r="r" b="b"/>
            <a:pathLst>
              <a:path w="12700" h="46354">
                <a:moveTo>
                  <a:pt x="0" y="45846"/>
                </a:moveTo>
                <a:lnTo>
                  <a:pt x="12700" y="45846"/>
                </a:lnTo>
                <a:lnTo>
                  <a:pt x="12700" y="0"/>
                </a:lnTo>
                <a:lnTo>
                  <a:pt x="0" y="0"/>
                </a:lnTo>
                <a:lnTo>
                  <a:pt x="0" y="45846"/>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09" name="object 262">
            <a:extLst>
              <a:ext uri="{FF2B5EF4-FFF2-40B4-BE49-F238E27FC236}">
                <a16:creationId xmlns:a16="http://schemas.microsoft.com/office/drawing/2014/main" id="{C6379742-B2D1-5E23-2F22-623C338F1E76}"/>
              </a:ext>
            </a:extLst>
          </p:cNvPr>
          <p:cNvSpPr/>
          <p:nvPr/>
        </p:nvSpPr>
        <p:spPr>
          <a:xfrm>
            <a:off x="9676509" y="3083080"/>
            <a:ext cx="39052" cy="9525"/>
          </a:xfrm>
          <a:custGeom>
            <a:avLst/>
            <a:gdLst/>
            <a:ahLst/>
            <a:cxnLst/>
            <a:rect l="l" t="t" r="r" b="b"/>
            <a:pathLst>
              <a:path w="52070" h="12700">
                <a:moveTo>
                  <a:pt x="0" y="12700"/>
                </a:moveTo>
                <a:lnTo>
                  <a:pt x="51689" y="12700"/>
                </a:lnTo>
                <a:lnTo>
                  <a:pt x="51689" y="0"/>
                </a:lnTo>
                <a:lnTo>
                  <a:pt x="0" y="0"/>
                </a:lnTo>
                <a:lnTo>
                  <a:pt x="0" y="12700"/>
                </a:lnTo>
                <a:close/>
              </a:path>
            </a:pathLst>
          </a:custGeom>
          <a:solidFill>
            <a:srgbClr val="6FAC46"/>
          </a:solidFill>
          <a:ln>
            <a:solidFill>
              <a:schemeClr val="bg1">
                <a:lumMod val="50000"/>
              </a:schemeClr>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10" name="object 263">
            <a:extLst>
              <a:ext uri="{FF2B5EF4-FFF2-40B4-BE49-F238E27FC236}">
                <a16:creationId xmlns:a16="http://schemas.microsoft.com/office/drawing/2014/main" id="{12803114-DFD1-9989-1267-8BD5982ACB8E}"/>
              </a:ext>
            </a:extLst>
          </p:cNvPr>
          <p:cNvSpPr/>
          <p:nvPr/>
        </p:nvSpPr>
        <p:spPr>
          <a:xfrm>
            <a:off x="7679687" y="1702528"/>
            <a:ext cx="0" cy="32385"/>
          </a:xfrm>
          <a:custGeom>
            <a:avLst/>
            <a:gdLst/>
            <a:ahLst/>
            <a:cxnLst/>
            <a:rect l="l" t="t" r="r" b="b"/>
            <a:pathLst>
              <a:path h="43180">
                <a:moveTo>
                  <a:pt x="0" y="0"/>
                </a:moveTo>
                <a:lnTo>
                  <a:pt x="0" y="43179"/>
                </a:lnTo>
              </a:path>
            </a:pathLst>
          </a:custGeom>
          <a:ln w="12700">
            <a:solidFill>
              <a:srgbClr val="6FAC46"/>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11" name="object 264">
            <a:extLst>
              <a:ext uri="{FF2B5EF4-FFF2-40B4-BE49-F238E27FC236}">
                <a16:creationId xmlns:a16="http://schemas.microsoft.com/office/drawing/2014/main" id="{187E209B-5900-CBAD-399C-39DC4601C272}"/>
              </a:ext>
            </a:extLst>
          </p:cNvPr>
          <p:cNvSpPr/>
          <p:nvPr/>
        </p:nvSpPr>
        <p:spPr>
          <a:xfrm>
            <a:off x="7659114" y="1718527"/>
            <a:ext cx="39052" cy="0"/>
          </a:xfrm>
          <a:custGeom>
            <a:avLst/>
            <a:gdLst/>
            <a:ahLst/>
            <a:cxnLst/>
            <a:rect l="l" t="t" r="r" b="b"/>
            <a:pathLst>
              <a:path w="52070">
                <a:moveTo>
                  <a:pt x="0" y="0"/>
                </a:moveTo>
                <a:lnTo>
                  <a:pt x="51688" y="0"/>
                </a:lnTo>
              </a:path>
            </a:pathLst>
          </a:custGeom>
          <a:ln w="12700">
            <a:solidFill>
              <a:srgbClr val="6FAC46"/>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12" name="object 265">
            <a:extLst>
              <a:ext uri="{FF2B5EF4-FFF2-40B4-BE49-F238E27FC236}">
                <a16:creationId xmlns:a16="http://schemas.microsoft.com/office/drawing/2014/main" id="{F139C4BF-2752-8E2A-1DD6-11799057017B}"/>
              </a:ext>
            </a:extLst>
          </p:cNvPr>
          <p:cNvSpPr/>
          <p:nvPr/>
        </p:nvSpPr>
        <p:spPr>
          <a:xfrm>
            <a:off x="7646540" y="1716243"/>
            <a:ext cx="0" cy="2050733"/>
          </a:xfrm>
          <a:custGeom>
            <a:avLst/>
            <a:gdLst/>
            <a:ahLst/>
            <a:cxnLst/>
            <a:rect l="l" t="t" r="r" b="b"/>
            <a:pathLst>
              <a:path h="2734310">
                <a:moveTo>
                  <a:pt x="0" y="2734310"/>
                </a:moveTo>
                <a:lnTo>
                  <a:pt x="0" y="0"/>
                </a:lnTo>
              </a:path>
            </a:pathLst>
          </a:custGeom>
          <a:ln w="12700">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13" name="object 266">
            <a:extLst>
              <a:ext uri="{FF2B5EF4-FFF2-40B4-BE49-F238E27FC236}">
                <a16:creationId xmlns:a16="http://schemas.microsoft.com/office/drawing/2014/main" id="{AB452F59-F6BF-A6A0-38EC-981895FBE9D7}"/>
              </a:ext>
            </a:extLst>
          </p:cNvPr>
          <p:cNvSpPr/>
          <p:nvPr/>
        </p:nvSpPr>
        <p:spPr>
          <a:xfrm>
            <a:off x="7869997"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14" name="object 267">
            <a:extLst>
              <a:ext uri="{FF2B5EF4-FFF2-40B4-BE49-F238E27FC236}">
                <a16:creationId xmlns:a16="http://schemas.microsoft.com/office/drawing/2014/main" id="{C9EAA619-8782-013E-9564-9EC74989F6BB}"/>
              </a:ext>
            </a:extLst>
          </p:cNvPr>
          <p:cNvSpPr/>
          <p:nvPr/>
        </p:nvSpPr>
        <p:spPr>
          <a:xfrm>
            <a:off x="8086024"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15" name="object 268">
            <a:extLst>
              <a:ext uri="{FF2B5EF4-FFF2-40B4-BE49-F238E27FC236}">
                <a16:creationId xmlns:a16="http://schemas.microsoft.com/office/drawing/2014/main" id="{E3F9766B-40B0-C4C1-59F7-00AC4DC81564}"/>
              </a:ext>
            </a:extLst>
          </p:cNvPr>
          <p:cNvSpPr/>
          <p:nvPr/>
        </p:nvSpPr>
        <p:spPr>
          <a:xfrm>
            <a:off x="8306623"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16" name="object 269">
            <a:extLst>
              <a:ext uri="{FF2B5EF4-FFF2-40B4-BE49-F238E27FC236}">
                <a16:creationId xmlns:a16="http://schemas.microsoft.com/office/drawing/2014/main" id="{582303B2-7AB3-915F-AF35-5F36EA8883B1}"/>
              </a:ext>
            </a:extLst>
          </p:cNvPr>
          <p:cNvSpPr/>
          <p:nvPr/>
        </p:nvSpPr>
        <p:spPr>
          <a:xfrm>
            <a:off x="8526079"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17" name="object 270">
            <a:extLst>
              <a:ext uri="{FF2B5EF4-FFF2-40B4-BE49-F238E27FC236}">
                <a16:creationId xmlns:a16="http://schemas.microsoft.com/office/drawing/2014/main" id="{3164FD0A-4D5D-2180-3141-B6F5237118E2}"/>
              </a:ext>
            </a:extLst>
          </p:cNvPr>
          <p:cNvSpPr/>
          <p:nvPr/>
        </p:nvSpPr>
        <p:spPr>
          <a:xfrm>
            <a:off x="8747821"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18" name="object 271">
            <a:extLst>
              <a:ext uri="{FF2B5EF4-FFF2-40B4-BE49-F238E27FC236}">
                <a16:creationId xmlns:a16="http://schemas.microsoft.com/office/drawing/2014/main" id="{2497446A-3148-DF69-E2B1-6C993F7AA09A}"/>
              </a:ext>
            </a:extLst>
          </p:cNvPr>
          <p:cNvSpPr/>
          <p:nvPr/>
        </p:nvSpPr>
        <p:spPr>
          <a:xfrm>
            <a:off x="8970707"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19" name="object 272">
            <a:extLst>
              <a:ext uri="{FF2B5EF4-FFF2-40B4-BE49-F238E27FC236}">
                <a16:creationId xmlns:a16="http://schemas.microsoft.com/office/drawing/2014/main" id="{D4EFB46E-B7BA-768F-5C2A-B7EFE0EAF718}"/>
              </a:ext>
            </a:extLst>
          </p:cNvPr>
          <p:cNvSpPr/>
          <p:nvPr/>
        </p:nvSpPr>
        <p:spPr>
          <a:xfrm>
            <a:off x="9190163"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20" name="object 273">
            <a:extLst>
              <a:ext uri="{FF2B5EF4-FFF2-40B4-BE49-F238E27FC236}">
                <a16:creationId xmlns:a16="http://schemas.microsoft.com/office/drawing/2014/main" id="{A4D0B2E1-802B-B329-85C2-979C5E35AB57}"/>
              </a:ext>
            </a:extLst>
          </p:cNvPr>
          <p:cNvSpPr/>
          <p:nvPr/>
        </p:nvSpPr>
        <p:spPr>
          <a:xfrm>
            <a:off x="9411903"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21" name="object 274">
            <a:extLst>
              <a:ext uri="{FF2B5EF4-FFF2-40B4-BE49-F238E27FC236}">
                <a16:creationId xmlns:a16="http://schemas.microsoft.com/office/drawing/2014/main" id="{FCEB682B-A41C-0D71-8E94-4FEE619428AE}"/>
              </a:ext>
            </a:extLst>
          </p:cNvPr>
          <p:cNvSpPr/>
          <p:nvPr/>
        </p:nvSpPr>
        <p:spPr>
          <a:xfrm>
            <a:off x="9625644"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22" name="object 275">
            <a:extLst>
              <a:ext uri="{FF2B5EF4-FFF2-40B4-BE49-F238E27FC236}">
                <a16:creationId xmlns:a16="http://schemas.microsoft.com/office/drawing/2014/main" id="{54B33D03-D22C-99B2-E117-9E4A1F4ECDF8}"/>
              </a:ext>
            </a:extLst>
          </p:cNvPr>
          <p:cNvSpPr/>
          <p:nvPr/>
        </p:nvSpPr>
        <p:spPr>
          <a:xfrm>
            <a:off x="9850815"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23" name="object 276">
            <a:extLst>
              <a:ext uri="{FF2B5EF4-FFF2-40B4-BE49-F238E27FC236}">
                <a16:creationId xmlns:a16="http://schemas.microsoft.com/office/drawing/2014/main" id="{C33E0690-10F4-A769-B3D5-B25D4872256F}"/>
              </a:ext>
            </a:extLst>
          </p:cNvPr>
          <p:cNvSpPr/>
          <p:nvPr/>
        </p:nvSpPr>
        <p:spPr>
          <a:xfrm>
            <a:off x="10066843"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24" name="object 277">
            <a:extLst>
              <a:ext uri="{FF2B5EF4-FFF2-40B4-BE49-F238E27FC236}">
                <a16:creationId xmlns:a16="http://schemas.microsoft.com/office/drawing/2014/main" id="{2AF26A7A-A303-801B-7604-B537CBC4E5A9}"/>
              </a:ext>
            </a:extLst>
          </p:cNvPr>
          <p:cNvSpPr/>
          <p:nvPr/>
        </p:nvSpPr>
        <p:spPr>
          <a:xfrm>
            <a:off x="10286299"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25" name="object 278">
            <a:extLst>
              <a:ext uri="{FF2B5EF4-FFF2-40B4-BE49-F238E27FC236}">
                <a16:creationId xmlns:a16="http://schemas.microsoft.com/office/drawing/2014/main" id="{F9E0D01B-4A2D-6D75-94E8-80F752032C3B}"/>
              </a:ext>
            </a:extLst>
          </p:cNvPr>
          <p:cNvSpPr/>
          <p:nvPr/>
        </p:nvSpPr>
        <p:spPr>
          <a:xfrm>
            <a:off x="10513756"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26" name="object 279">
            <a:extLst>
              <a:ext uri="{FF2B5EF4-FFF2-40B4-BE49-F238E27FC236}">
                <a16:creationId xmlns:a16="http://schemas.microsoft.com/office/drawing/2014/main" id="{A2EC3A28-4C2C-0BE7-E726-B5399868330C}"/>
              </a:ext>
            </a:extLst>
          </p:cNvPr>
          <p:cNvSpPr/>
          <p:nvPr/>
        </p:nvSpPr>
        <p:spPr>
          <a:xfrm>
            <a:off x="10732069" y="3730780"/>
            <a:ext cx="0" cy="42387"/>
          </a:xfrm>
          <a:custGeom>
            <a:avLst/>
            <a:gdLst/>
            <a:ahLst/>
            <a:cxnLst/>
            <a:rect l="l" t="t" r="r" b="b"/>
            <a:pathLst>
              <a:path h="56514">
                <a:moveTo>
                  <a:pt x="0" y="0"/>
                </a:moveTo>
                <a:lnTo>
                  <a:pt x="0" y="56515"/>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27" name="object 280">
            <a:extLst>
              <a:ext uri="{FF2B5EF4-FFF2-40B4-BE49-F238E27FC236}">
                <a16:creationId xmlns:a16="http://schemas.microsoft.com/office/drawing/2014/main" id="{0C98C17F-7E8B-45D6-0A7C-01DB5CDAEBB3}"/>
              </a:ext>
            </a:extLst>
          </p:cNvPr>
          <p:cNvSpPr/>
          <p:nvPr/>
        </p:nvSpPr>
        <p:spPr>
          <a:xfrm>
            <a:off x="10957240" y="3726207"/>
            <a:ext cx="0" cy="42387"/>
          </a:xfrm>
          <a:custGeom>
            <a:avLst/>
            <a:gdLst/>
            <a:ahLst/>
            <a:cxnLst/>
            <a:rect l="l" t="t" r="r" b="b"/>
            <a:pathLst>
              <a:path h="56514">
                <a:moveTo>
                  <a:pt x="0" y="0"/>
                </a:moveTo>
                <a:lnTo>
                  <a:pt x="0" y="56514"/>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28" name="object 281">
            <a:extLst>
              <a:ext uri="{FF2B5EF4-FFF2-40B4-BE49-F238E27FC236}">
                <a16:creationId xmlns:a16="http://schemas.microsoft.com/office/drawing/2014/main" id="{3693316C-C8F3-AAD7-8661-23028FC378AC}"/>
              </a:ext>
            </a:extLst>
          </p:cNvPr>
          <p:cNvSpPr/>
          <p:nvPr/>
        </p:nvSpPr>
        <p:spPr>
          <a:xfrm>
            <a:off x="7607677" y="3730208"/>
            <a:ext cx="3351848" cy="0"/>
          </a:xfrm>
          <a:custGeom>
            <a:avLst/>
            <a:gdLst/>
            <a:ahLst/>
            <a:cxnLst/>
            <a:rect l="l" t="t" r="r" b="b"/>
            <a:pathLst>
              <a:path w="4469130">
                <a:moveTo>
                  <a:pt x="0" y="0"/>
                </a:moveTo>
                <a:lnTo>
                  <a:pt x="4468749" y="0"/>
                </a:lnTo>
              </a:path>
            </a:pathLst>
          </a:custGeom>
          <a:ln w="12700">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29" name="object 282">
            <a:extLst>
              <a:ext uri="{FF2B5EF4-FFF2-40B4-BE49-F238E27FC236}">
                <a16:creationId xmlns:a16="http://schemas.microsoft.com/office/drawing/2014/main" id="{DE173AF9-3FD2-D70A-1380-74DC482312F7}"/>
              </a:ext>
            </a:extLst>
          </p:cNvPr>
          <p:cNvSpPr/>
          <p:nvPr/>
        </p:nvSpPr>
        <p:spPr>
          <a:xfrm>
            <a:off x="7613965" y="3335303"/>
            <a:ext cx="34291" cy="0"/>
          </a:xfrm>
          <a:custGeom>
            <a:avLst/>
            <a:gdLst/>
            <a:ahLst/>
            <a:cxnLst/>
            <a:rect l="l" t="t" r="r" b="b"/>
            <a:pathLst>
              <a:path w="45720">
                <a:moveTo>
                  <a:pt x="0" y="0"/>
                </a:moveTo>
                <a:lnTo>
                  <a:pt x="45592"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30" name="object 283">
            <a:extLst>
              <a:ext uri="{FF2B5EF4-FFF2-40B4-BE49-F238E27FC236}">
                <a16:creationId xmlns:a16="http://schemas.microsoft.com/office/drawing/2014/main" id="{64BD1D12-E501-1A41-A410-EFFDC1EDCD93}"/>
              </a:ext>
            </a:extLst>
          </p:cNvPr>
          <p:cNvSpPr/>
          <p:nvPr/>
        </p:nvSpPr>
        <p:spPr>
          <a:xfrm>
            <a:off x="7613965" y="2734083"/>
            <a:ext cx="34291" cy="0"/>
          </a:xfrm>
          <a:custGeom>
            <a:avLst/>
            <a:gdLst/>
            <a:ahLst/>
            <a:cxnLst/>
            <a:rect l="l" t="t" r="r" b="b"/>
            <a:pathLst>
              <a:path w="45720">
                <a:moveTo>
                  <a:pt x="0" y="0"/>
                </a:moveTo>
                <a:lnTo>
                  <a:pt x="45592"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31" name="object 284">
            <a:extLst>
              <a:ext uri="{FF2B5EF4-FFF2-40B4-BE49-F238E27FC236}">
                <a16:creationId xmlns:a16="http://schemas.microsoft.com/office/drawing/2014/main" id="{8FF5EA59-2620-8403-8FDD-2F72317C1D26}"/>
              </a:ext>
            </a:extLst>
          </p:cNvPr>
          <p:cNvSpPr/>
          <p:nvPr/>
        </p:nvSpPr>
        <p:spPr>
          <a:xfrm>
            <a:off x="7613965" y="2122579"/>
            <a:ext cx="34291" cy="0"/>
          </a:xfrm>
          <a:custGeom>
            <a:avLst/>
            <a:gdLst/>
            <a:ahLst/>
            <a:cxnLst/>
            <a:rect l="l" t="t" r="r" b="b"/>
            <a:pathLst>
              <a:path w="45720">
                <a:moveTo>
                  <a:pt x="0" y="0"/>
                </a:moveTo>
                <a:lnTo>
                  <a:pt x="45592"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32" name="object 285">
            <a:extLst>
              <a:ext uri="{FF2B5EF4-FFF2-40B4-BE49-F238E27FC236}">
                <a16:creationId xmlns:a16="http://schemas.microsoft.com/office/drawing/2014/main" id="{3C578B2B-E1A1-AB2D-FAD1-57F0D01BB6AE}"/>
              </a:ext>
            </a:extLst>
          </p:cNvPr>
          <p:cNvSpPr/>
          <p:nvPr/>
        </p:nvSpPr>
        <p:spPr>
          <a:xfrm>
            <a:off x="7615108" y="1720243"/>
            <a:ext cx="35243" cy="0"/>
          </a:xfrm>
          <a:custGeom>
            <a:avLst/>
            <a:gdLst/>
            <a:ahLst/>
            <a:cxnLst/>
            <a:rect l="l" t="t" r="r" b="b"/>
            <a:pathLst>
              <a:path w="46990">
                <a:moveTo>
                  <a:pt x="0" y="0"/>
                </a:moveTo>
                <a:lnTo>
                  <a:pt x="46608"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33" name="object 286">
            <a:extLst>
              <a:ext uri="{FF2B5EF4-FFF2-40B4-BE49-F238E27FC236}">
                <a16:creationId xmlns:a16="http://schemas.microsoft.com/office/drawing/2014/main" id="{FA025D94-6B2C-A3C6-5F95-DB8AECA6A681}"/>
              </a:ext>
            </a:extLst>
          </p:cNvPr>
          <p:cNvSpPr/>
          <p:nvPr/>
        </p:nvSpPr>
        <p:spPr>
          <a:xfrm>
            <a:off x="7613965" y="3526183"/>
            <a:ext cx="34291" cy="0"/>
          </a:xfrm>
          <a:custGeom>
            <a:avLst/>
            <a:gdLst/>
            <a:ahLst/>
            <a:cxnLst/>
            <a:rect l="l" t="t" r="r" b="b"/>
            <a:pathLst>
              <a:path w="45720">
                <a:moveTo>
                  <a:pt x="0" y="0"/>
                </a:moveTo>
                <a:lnTo>
                  <a:pt x="45592"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34" name="object 287">
            <a:extLst>
              <a:ext uri="{FF2B5EF4-FFF2-40B4-BE49-F238E27FC236}">
                <a16:creationId xmlns:a16="http://schemas.microsoft.com/office/drawing/2014/main" id="{8952AE53-296B-F46F-C777-C45C4E634A6E}"/>
              </a:ext>
            </a:extLst>
          </p:cNvPr>
          <p:cNvSpPr/>
          <p:nvPr/>
        </p:nvSpPr>
        <p:spPr>
          <a:xfrm>
            <a:off x="7613965" y="2926107"/>
            <a:ext cx="34291" cy="0"/>
          </a:xfrm>
          <a:custGeom>
            <a:avLst/>
            <a:gdLst/>
            <a:ahLst/>
            <a:cxnLst/>
            <a:rect l="l" t="t" r="r" b="b"/>
            <a:pathLst>
              <a:path w="45720">
                <a:moveTo>
                  <a:pt x="0" y="0"/>
                </a:moveTo>
                <a:lnTo>
                  <a:pt x="45592"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35" name="object 288">
            <a:extLst>
              <a:ext uri="{FF2B5EF4-FFF2-40B4-BE49-F238E27FC236}">
                <a16:creationId xmlns:a16="http://schemas.microsoft.com/office/drawing/2014/main" id="{49BF03BA-CC44-CF27-E5FE-3D721D4BF54D}"/>
              </a:ext>
            </a:extLst>
          </p:cNvPr>
          <p:cNvSpPr/>
          <p:nvPr/>
        </p:nvSpPr>
        <p:spPr>
          <a:xfrm>
            <a:off x="7613965" y="3132991"/>
            <a:ext cx="34291" cy="0"/>
          </a:xfrm>
          <a:custGeom>
            <a:avLst/>
            <a:gdLst/>
            <a:ahLst/>
            <a:cxnLst/>
            <a:rect l="l" t="t" r="r" b="b"/>
            <a:pathLst>
              <a:path w="45720">
                <a:moveTo>
                  <a:pt x="0" y="0"/>
                </a:moveTo>
                <a:lnTo>
                  <a:pt x="45592"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36" name="object 289">
            <a:extLst>
              <a:ext uri="{FF2B5EF4-FFF2-40B4-BE49-F238E27FC236}">
                <a16:creationId xmlns:a16="http://schemas.microsoft.com/office/drawing/2014/main" id="{1559E3DB-C7DA-D400-B102-A715E5EAECBC}"/>
              </a:ext>
            </a:extLst>
          </p:cNvPr>
          <p:cNvSpPr/>
          <p:nvPr/>
        </p:nvSpPr>
        <p:spPr>
          <a:xfrm>
            <a:off x="7613965" y="2528344"/>
            <a:ext cx="34291" cy="0"/>
          </a:xfrm>
          <a:custGeom>
            <a:avLst/>
            <a:gdLst/>
            <a:ahLst/>
            <a:cxnLst/>
            <a:rect l="l" t="t" r="r" b="b"/>
            <a:pathLst>
              <a:path w="45720">
                <a:moveTo>
                  <a:pt x="0" y="0"/>
                </a:moveTo>
                <a:lnTo>
                  <a:pt x="45592"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37" name="object 290">
            <a:extLst>
              <a:ext uri="{FF2B5EF4-FFF2-40B4-BE49-F238E27FC236}">
                <a16:creationId xmlns:a16="http://schemas.microsoft.com/office/drawing/2014/main" id="{5CA439CF-9ECB-54FA-2367-DBB7F1345030}"/>
              </a:ext>
            </a:extLst>
          </p:cNvPr>
          <p:cNvSpPr/>
          <p:nvPr/>
        </p:nvSpPr>
        <p:spPr>
          <a:xfrm>
            <a:off x="7613965" y="2328319"/>
            <a:ext cx="34291" cy="0"/>
          </a:xfrm>
          <a:custGeom>
            <a:avLst/>
            <a:gdLst/>
            <a:ahLst/>
            <a:cxnLst/>
            <a:rect l="l" t="t" r="r" b="b"/>
            <a:pathLst>
              <a:path w="45720">
                <a:moveTo>
                  <a:pt x="0" y="0"/>
                </a:moveTo>
                <a:lnTo>
                  <a:pt x="45592"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38" name="object 291">
            <a:extLst>
              <a:ext uri="{FF2B5EF4-FFF2-40B4-BE49-F238E27FC236}">
                <a16:creationId xmlns:a16="http://schemas.microsoft.com/office/drawing/2014/main" id="{EF43BF52-11F2-1348-6259-17E0F34A2043}"/>
              </a:ext>
            </a:extLst>
          </p:cNvPr>
          <p:cNvSpPr/>
          <p:nvPr/>
        </p:nvSpPr>
        <p:spPr>
          <a:xfrm>
            <a:off x="7613965" y="1930555"/>
            <a:ext cx="34291" cy="0"/>
          </a:xfrm>
          <a:custGeom>
            <a:avLst/>
            <a:gdLst/>
            <a:ahLst/>
            <a:cxnLst/>
            <a:rect l="l" t="t" r="r" b="b"/>
            <a:pathLst>
              <a:path w="45720">
                <a:moveTo>
                  <a:pt x="0" y="0"/>
                </a:moveTo>
                <a:lnTo>
                  <a:pt x="45592" y="0"/>
                </a:lnTo>
              </a:path>
            </a:pathLst>
          </a:custGeom>
          <a:ln w="10728">
            <a:solidFill>
              <a:srgbClr val="000000"/>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39" name="object 292">
            <a:extLst>
              <a:ext uri="{FF2B5EF4-FFF2-40B4-BE49-F238E27FC236}">
                <a16:creationId xmlns:a16="http://schemas.microsoft.com/office/drawing/2014/main" id="{42F1DEFE-31CD-BDED-E47D-A4E2BEEA59A1}"/>
              </a:ext>
            </a:extLst>
          </p:cNvPr>
          <p:cNvSpPr txBox="1"/>
          <p:nvPr/>
        </p:nvSpPr>
        <p:spPr>
          <a:xfrm>
            <a:off x="7562529" y="4250807"/>
            <a:ext cx="3184208" cy="265329"/>
          </a:xfrm>
          <a:prstGeom prst="rect">
            <a:avLst/>
          </a:prstGeom>
        </p:spPr>
        <p:txBody>
          <a:bodyPr vert="horz" wrap="square" lIns="0" tIns="9525" rIns="0" bIns="0" rtlCol="0">
            <a:spAutoFit/>
          </a:bodyPr>
          <a:lstStyle/>
          <a:p>
            <a:pPr marL="9525" marR="0" lvl="0" indent="0" algn="l" defTabSz="685783" rtl="0" eaLnBrk="1" fontAlgn="auto" latinLnBrk="0" hangingPunct="1">
              <a:lnSpc>
                <a:spcPct val="100000"/>
              </a:lnSpc>
              <a:spcBef>
                <a:spcPts val="0"/>
              </a:spcBef>
              <a:spcAft>
                <a:spcPts val="0"/>
              </a:spcAft>
              <a:buClrTx/>
              <a:buSzTx/>
              <a:buFontTx/>
              <a:buNone/>
              <a:tabLst>
                <a:tab pos="230024" algn="l"/>
                <a:tab pos="448139" algn="l"/>
                <a:tab pos="669591" algn="l"/>
                <a:tab pos="888660" algn="l"/>
                <a:tab pos="1110111" algn="l"/>
                <a:tab pos="1328228" algn="l"/>
                <a:tab pos="1549203" algn="l"/>
                <a:tab pos="1766844" algn="l"/>
                <a:tab pos="1987818" algn="l"/>
                <a:tab pos="2206412" algn="l"/>
                <a:tab pos="2427386" algn="l"/>
                <a:tab pos="2675982" algn="l"/>
                <a:tab pos="2897433" algn="l"/>
                <a:tab pos="3115550" algn="l"/>
              </a:tabLst>
              <a:defRPr/>
            </a:pP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7</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8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7</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7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7</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6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7</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5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7</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3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7</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3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6</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0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6</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0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4</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0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3</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5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9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4	6	3	0</a:t>
            </a:r>
          </a:p>
          <a:p>
            <a:pPr marL="9525" marR="0" lvl="0" indent="0" algn="l" defTabSz="685783" rtl="0" eaLnBrk="1" fontAlgn="auto" latinLnBrk="0" hangingPunct="1">
              <a:lnSpc>
                <a:spcPct val="100000"/>
              </a:lnSpc>
              <a:spcBef>
                <a:spcPts val="0"/>
              </a:spcBef>
              <a:spcAft>
                <a:spcPts val="0"/>
              </a:spcAft>
              <a:buClrTx/>
              <a:buSzTx/>
              <a:buFontTx/>
              <a:buNone/>
              <a:tabLst>
                <a:tab pos="230024" algn="l"/>
                <a:tab pos="448139" algn="l"/>
                <a:tab pos="669591" algn="l"/>
                <a:tab pos="888660" algn="l"/>
                <a:tab pos="1110111" algn="l"/>
                <a:tab pos="1328228" algn="l"/>
                <a:tab pos="1549203" algn="l"/>
                <a:tab pos="1766844" algn="l"/>
                <a:tab pos="2017820" algn="l"/>
                <a:tab pos="2235939" algn="l"/>
                <a:tab pos="2456913" algn="l"/>
                <a:tab pos="2675982" algn="l"/>
                <a:tab pos="2897433" algn="l"/>
                <a:tab pos="3115550" algn="l"/>
              </a:tabLst>
              <a:defRPr/>
            </a:pP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4</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3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4</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2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3</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9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3</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7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3</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2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3</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2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2</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3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2</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0	</a:t>
            </a:r>
            <a:r>
              <a:rPr kumimoji="0" lang="en-US" sz="831" b="0"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1</a:t>
            </a:r>
            <a:r>
              <a:rPr kumimoji="0" lang="en-US" sz="831" b="0"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rPr>
              <a:t>2	7	3	3	1	1	0</a:t>
            </a:r>
          </a:p>
        </p:txBody>
      </p:sp>
      <p:sp>
        <p:nvSpPr>
          <p:cNvPr id="440" name="object 293">
            <a:extLst>
              <a:ext uri="{FF2B5EF4-FFF2-40B4-BE49-F238E27FC236}">
                <a16:creationId xmlns:a16="http://schemas.microsoft.com/office/drawing/2014/main" id="{6603E3F4-8EC6-234D-382D-3FA69E4E4326}"/>
              </a:ext>
            </a:extLst>
          </p:cNvPr>
          <p:cNvSpPr txBox="1"/>
          <p:nvPr/>
        </p:nvSpPr>
        <p:spPr>
          <a:xfrm>
            <a:off x="6515860" y="4249269"/>
            <a:ext cx="1158361" cy="265329"/>
          </a:xfrm>
          <a:prstGeom prst="rect">
            <a:avLst/>
          </a:prstGeom>
        </p:spPr>
        <p:txBody>
          <a:bodyPr vert="horz" wrap="square" lIns="0" tIns="9525" rIns="0" bIns="0" rtlCol="0">
            <a:spAutoFit/>
          </a:bodyPr>
          <a:lstStyle/>
          <a:p>
            <a:pPr marL="25241" marR="3811" lvl="0" indent="-16193" algn="l" defTabSz="685783" rtl="0" eaLnBrk="1" fontAlgn="auto" latinLnBrk="0" hangingPunct="1">
              <a:lnSpc>
                <a:spcPct val="100000"/>
              </a:lnSpc>
              <a:spcBef>
                <a:spcPts val="0"/>
              </a:spcBef>
              <a:spcAft>
                <a:spcPts val="0"/>
              </a:spcAft>
              <a:buClrTx/>
              <a:buSzTx/>
              <a:buFontTx/>
              <a:buNone/>
              <a:tabLst/>
              <a:defRPr/>
            </a:pPr>
            <a:r>
              <a:rPr kumimoji="0" lang="en-US" sz="831" b="1"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Olaparib +</a:t>
            </a:r>
            <a:r>
              <a:rPr kumimoji="0" lang="en-US" sz="831" b="1" i="0" u="none" strike="noStrike" kern="1200" cap="none" spc="-56"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1" i="0" u="none" strike="noStrike" kern="1200" cap="none" spc="-8" normalizeH="0" baseline="0" noProof="0" dirty="0" err="1">
                <a:ln>
                  <a:noFill/>
                </a:ln>
                <a:solidFill>
                  <a:srgbClr val="251607"/>
                </a:solidFill>
                <a:effectLst/>
                <a:uLnTx/>
                <a:uFillTx/>
                <a:latin typeface="Arial" panose="020B0604020202020204"/>
                <a:ea typeface="MS PGothic" panose="020B0600070205080204" pitchFamily="34" charset="-128"/>
                <a:cs typeface="+mn-cs"/>
              </a:rPr>
              <a:t>bev</a:t>
            </a:r>
            <a:endParaRPr kumimoji="0" lang="en-US" sz="831" b="1" i="0" u="none" strike="noStrike" kern="1200" cap="none" spc="-8" normalizeH="0" baseline="0" noProof="0" dirty="0">
              <a:ln>
                <a:noFill/>
              </a:ln>
              <a:solidFill>
                <a:srgbClr val="251607"/>
              </a:solidFill>
              <a:effectLst/>
              <a:uLnTx/>
              <a:uFillTx/>
              <a:latin typeface="Arial" panose="020B0604020202020204"/>
              <a:ea typeface="MS PGothic" panose="020B0600070205080204" pitchFamily="34" charset="-128"/>
              <a:cs typeface="+mn-cs"/>
            </a:endParaRPr>
          </a:p>
          <a:p>
            <a:pPr marL="0" marR="3811" lvl="0" indent="7938" algn="l" defTabSz="685783" rtl="0" eaLnBrk="1" fontAlgn="auto" latinLnBrk="0" hangingPunct="1">
              <a:lnSpc>
                <a:spcPct val="100000"/>
              </a:lnSpc>
              <a:spcBef>
                <a:spcPts val="0"/>
              </a:spcBef>
              <a:spcAft>
                <a:spcPts val="0"/>
              </a:spcAft>
              <a:buClrTx/>
              <a:buSzTx/>
              <a:buFontTx/>
              <a:buNone/>
              <a:tabLst/>
              <a:defRPr/>
            </a:pPr>
            <a:r>
              <a:rPr kumimoji="0" lang="en-US" sz="831" b="1"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Placebo +</a:t>
            </a:r>
            <a:r>
              <a:rPr kumimoji="0" lang="en-US" sz="831" b="1" i="0" u="none" strike="noStrike" kern="1200" cap="none" spc="-60"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1" i="0" u="none" strike="noStrike" kern="1200" cap="none" spc="-8" normalizeH="0" baseline="0" noProof="0" dirty="0" err="1">
                <a:ln>
                  <a:noFill/>
                </a:ln>
                <a:solidFill>
                  <a:srgbClr val="251607"/>
                </a:solidFill>
                <a:effectLst/>
                <a:uLnTx/>
                <a:uFillTx/>
                <a:latin typeface="Arial" panose="020B0604020202020204"/>
                <a:ea typeface="MS PGothic" panose="020B0600070205080204" pitchFamily="34" charset="-128"/>
                <a:cs typeface="+mn-cs"/>
              </a:rPr>
              <a:t>bev</a:t>
            </a:r>
            <a:endParaRPr kumimoji="0" lang="en-US" sz="831" b="1"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endParaRPr>
          </a:p>
        </p:txBody>
      </p:sp>
      <p:sp>
        <p:nvSpPr>
          <p:cNvPr id="441" name="object 294">
            <a:extLst>
              <a:ext uri="{FF2B5EF4-FFF2-40B4-BE49-F238E27FC236}">
                <a16:creationId xmlns:a16="http://schemas.microsoft.com/office/drawing/2014/main" id="{9BBD3809-9831-7E62-7B85-0CDB3B409408}"/>
              </a:ext>
            </a:extLst>
          </p:cNvPr>
          <p:cNvSpPr txBox="1"/>
          <p:nvPr/>
        </p:nvSpPr>
        <p:spPr>
          <a:xfrm>
            <a:off x="7371698" y="1600173"/>
            <a:ext cx="194309" cy="2217819"/>
          </a:xfrm>
          <a:prstGeom prst="rect">
            <a:avLst/>
          </a:prstGeom>
        </p:spPr>
        <p:txBody>
          <a:bodyPr vert="horz" wrap="square" lIns="0" tIns="10001" rIns="0" bIns="0" rtlCol="0">
            <a:spAutoFit/>
          </a:bodyPr>
          <a:lstStyle/>
          <a:p>
            <a:pPr marL="9525"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10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9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8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7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6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5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4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3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2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10</a:t>
            </a:r>
          </a:p>
          <a:p>
            <a:pPr marL="67626" marR="0" lvl="0" indent="0" algn="r" defTabSz="685783" rtl="0" eaLnBrk="1" fontAlgn="auto" latinLnBrk="0" hangingPunct="1">
              <a:lnSpc>
                <a:spcPct val="160000"/>
              </a:lnSpc>
              <a:spcBef>
                <a:spcPts val="0"/>
              </a:spcBef>
              <a:spcAft>
                <a:spcPts val="0"/>
              </a:spcAft>
              <a:buClrTx/>
              <a:buSzTx/>
              <a:buFontTx/>
              <a:buNone/>
              <a:tabLst/>
              <a:defRPr/>
            </a:pP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0</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p:txBody>
      </p:sp>
      <p:sp>
        <p:nvSpPr>
          <p:cNvPr id="442" name="object 295">
            <a:extLst>
              <a:ext uri="{FF2B5EF4-FFF2-40B4-BE49-F238E27FC236}">
                <a16:creationId xmlns:a16="http://schemas.microsoft.com/office/drawing/2014/main" id="{9861D910-7547-9A4B-87B7-3292AFD74F8B}"/>
              </a:ext>
            </a:extLst>
          </p:cNvPr>
          <p:cNvSpPr txBox="1"/>
          <p:nvPr/>
        </p:nvSpPr>
        <p:spPr>
          <a:xfrm>
            <a:off x="7533005" y="3656484"/>
            <a:ext cx="3484721" cy="240450"/>
          </a:xfrm>
          <a:prstGeom prst="rect">
            <a:avLst/>
          </a:prstGeom>
        </p:spPr>
        <p:txBody>
          <a:bodyPr vert="horz" wrap="square" lIns="0" tIns="9525" rIns="0" bIns="0" rtlCol="0">
            <a:spAutoFit/>
          </a:bodyPr>
          <a:lstStyle/>
          <a:p>
            <a:pPr marL="9525" marR="0" lvl="0" indent="0" algn="l" defTabSz="685783" rtl="0" eaLnBrk="1" fontAlgn="auto" latinLnBrk="0" hangingPunct="1">
              <a:lnSpc>
                <a:spcPts val="907"/>
              </a:lnSpc>
              <a:spcBef>
                <a:spcPts val="75"/>
              </a:spcBef>
              <a:spcAft>
                <a:spcPts val="0"/>
              </a:spcAft>
              <a:buClrTx/>
              <a:buSzTx/>
              <a:buFontTx/>
              <a:buNone/>
              <a:tabLst/>
              <a:defRPr/>
            </a:pP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a:p>
            <a:pPr marL="77627" marR="0" lvl="0" indent="0" algn="ctr" defTabSz="685783" rtl="0" eaLnBrk="1" fontAlgn="auto" latinLnBrk="0" hangingPunct="1">
              <a:lnSpc>
                <a:spcPts val="907"/>
              </a:lnSpc>
              <a:spcBef>
                <a:spcPts val="0"/>
              </a:spcBef>
              <a:spcAft>
                <a:spcPts val="0"/>
              </a:spcAft>
              <a:buClrTx/>
              <a:buSzTx/>
              <a:buFontTx/>
              <a:buNone/>
              <a:tabLst>
                <a:tab pos="297649" algn="l"/>
                <a:tab pos="520052" algn="l"/>
                <a:tab pos="737692" algn="l"/>
                <a:tab pos="928187" algn="l"/>
                <a:tab pos="1147734" algn="l"/>
                <a:tab pos="1368232" algn="l"/>
                <a:tab pos="1590635" algn="l"/>
                <a:tab pos="1808276" algn="l"/>
                <a:tab pos="2028299" algn="l"/>
                <a:tab pos="2248797" algn="l"/>
                <a:tab pos="2468818" algn="l"/>
                <a:tab pos="2691222" algn="l"/>
                <a:tab pos="2908862" algn="l"/>
                <a:tab pos="3128884" algn="l"/>
                <a:tab pos="3348431" algn="l"/>
              </a:tabLst>
              <a:defRPr/>
            </a:pP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0	3	6	9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1</a:t>
            </a: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2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1</a:t>
            </a: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5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1</a:t>
            </a: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8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2</a:t>
            </a: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1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2</a:t>
            </a: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4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2</a:t>
            </a: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7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3</a:t>
            </a: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0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3</a:t>
            </a: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3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3</a:t>
            </a: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6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3</a:t>
            </a: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9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4</a:t>
            </a:r>
            <a:r>
              <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2	</a:t>
            </a:r>
            <a:r>
              <a:rPr kumimoji="0" lang="en-US" sz="825" b="0"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45</a:t>
            </a:r>
            <a:endParaRPr kumimoji="0" lang="en-US" sz="825"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p:txBody>
      </p:sp>
      <p:sp>
        <p:nvSpPr>
          <p:cNvPr id="443" name="object 296">
            <a:extLst>
              <a:ext uri="{FF2B5EF4-FFF2-40B4-BE49-F238E27FC236}">
                <a16:creationId xmlns:a16="http://schemas.microsoft.com/office/drawing/2014/main" id="{AF4F17D8-ECBF-5167-FE53-3A0A007B0DB3}"/>
              </a:ext>
            </a:extLst>
          </p:cNvPr>
          <p:cNvSpPr txBox="1"/>
          <p:nvPr/>
        </p:nvSpPr>
        <p:spPr>
          <a:xfrm>
            <a:off x="6517732" y="4107930"/>
            <a:ext cx="1122045" cy="124682"/>
          </a:xfrm>
          <a:prstGeom prst="rect">
            <a:avLst/>
          </a:prstGeom>
        </p:spPr>
        <p:txBody>
          <a:bodyPr vert="horz" wrap="square" lIns="0" tIns="9049" rIns="0" bIns="0" rtlCol="0">
            <a:spAutoFit/>
          </a:bodyPr>
          <a:lstStyle/>
          <a:p>
            <a:pPr marL="9525" marR="0" lvl="0" indent="0" algn="l" defTabSz="685783" rtl="0" eaLnBrk="1" fontAlgn="auto" latinLnBrk="0" hangingPunct="1">
              <a:lnSpc>
                <a:spcPct val="100000"/>
              </a:lnSpc>
              <a:spcBef>
                <a:spcPts val="71"/>
              </a:spcBef>
              <a:spcAft>
                <a:spcPts val="0"/>
              </a:spcAft>
              <a:buClrTx/>
              <a:buSzTx/>
              <a:buFontTx/>
              <a:buNone/>
              <a:tabLst/>
              <a:defRPr/>
            </a:pPr>
            <a:r>
              <a:rPr kumimoji="0" lang="en-US" sz="751"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Patients at risk, n</a:t>
            </a:r>
            <a:r>
              <a:rPr kumimoji="0" lang="en-US" sz="600"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a:t>
            </a:r>
          </a:p>
        </p:txBody>
      </p:sp>
      <p:sp>
        <p:nvSpPr>
          <p:cNvPr id="444" name="object 297">
            <a:extLst>
              <a:ext uri="{FF2B5EF4-FFF2-40B4-BE49-F238E27FC236}">
                <a16:creationId xmlns:a16="http://schemas.microsoft.com/office/drawing/2014/main" id="{B5C28C19-1BD4-4638-F629-0DA23B5954BF}"/>
              </a:ext>
            </a:extLst>
          </p:cNvPr>
          <p:cNvSpPr txBox="1"/>
          <p:nvPr/>
        </p:nvSpPr>
        <p:spPr>
          <a:xfrm>
            <a:off x="10084579" y="2701840"/>
            <a:ext cx="954287" cy="147637"/>
          </a:xfrm>
          <a:prstGeom prst="rect">
            <a:avLst/>
          </a:prstGeom>
        </p:spPr>
        <p:txBody>
          <a:bodyPr vert="horz" wrap="square" lIns="0" tIns="9049" rIns="0" bIns="0" rtlCol="0">
            <a:spAutoFit/>
          </a:bodyPr>
          <a:lstStyle/>
          <a:p>
            <a:pPr marL="9525" marR="0" lvl="0" indent="0" algn="l" defTabSz="685783" rtl="0" eaLnBrk="1" fontAlgn="auto" latinLnBrk="0" hangingPunct="1">
              <a:lnSpc>
                <a:spcPct val="100000"/>
              </a:lnSpc>
              <a:spcBef>
                <a:spcPts val="71"/>
              </a:spcBef>
              <a:spcAft>
                <a:spcPts val="0"/>
              </a:spcAft>
              <a:buClrTx/>
              <a:buSzTx/>
              <a:buFontTx/>
              <a:buNone/>
              <a:tabLst/>
              <a:defRPr/>
            </a:pPr>
            <a:r>
              <a:rPr kumimoji="0" lang="en-US" sz="900" b="1" i="0" u="none" strike="noStrike" kern="1200" cap="none" spc="-4" normalizeH="0" baseline="0" noProof="0" dirty="0">
                <a:ln>
                  <a:noFill/>
                </a:ln>
                <a:solidFill>
                  <a:srgbClr val="830051"/>
                </a:solidFill>
                <a:effectLst/>
                <a:uLnTx/>
                <a:uFillTx/>
                <a:latin typeface="Arial" panose="020B0604020202020204"/>
                <a:ea typeface="MS PGothic" panose="020B0600070205080204" pitchFamily="34" charset="-128"/>
                <a:cs typeface="+mn-cs"/>
              </a:rPr>
              <a:t>Olaparib plus</a:t>
            </a:r>
            <a:r>
              <a:rPr kumimoji="0" lang="en-US" sz="900" b="1" i="0" u="none" strike="noStrike" kern="1200" cap="none" spc="-49" normalizeH="0" baseline="0" noProof="0" dirty="0">
                <a:ln>
                  <a:noFill/>
                </a:ln>
                <a:solidFill>
                  <a:srgbClr val="830051"/>
                </a:solidFill>
                <a:effectLst/>
                <a:uLnTx/>
                <a:uFillTx/>
                <a:latin typeface="Arial" panose="020B0604020202020204"/>
                <a:ea typeface="MS PGothic" panose="020B0600070205080204" pitchFamily="34" charset="-128"/>
                <a:cs typeface="+mn-cs"/>
              </a:rPr>
              <a:t> </a:t>
            </a:r>
            <a:r>
              <a:rPr kumimoji="0" lang="en-US" sz="900" b="1" i="0" u="none" strike="noStrike" kern="1200" cap="none" spc="-8" normalizeH="0" baseline="0" noProof="0" dirty="0" err="1">
                <a:ln>
                  <a:noFill/>
                </a:ln>
                <a:solidFill>
                  <a:srgbClr val="830051"/>
                </a:solidFill>
                <a:effectLst/>
                <a:uLnTx/>
                <a:uFillTx/>
                <a:latin typeface="Arial" panose="020B0604020202020204"/>
                <a:ea typeface="MS PGothic" panose="020B0600070205080204" pitchFamily="34" charset="-128"/>
                <a:cs typeface="+mn-cs"/>
              </a:rPr>
              <a:t>bev</a:t>
            </a:r>
            <a:endParaRPr kumimoji="0" lang="en-US" sz="900" b="1" i="0" u="none" strike="noStrike" kern="1200" cap="none" spc="0" normalizeH="0" baseline="0" noProof="0" dirty="0">
              <a:ln>
                <a:noFill/>
              </a:ln>
              <a:solidFill>
                <a:srgbClr val="830051"/>
              </a:solidFill>
              <a:effectLst/>
              <a:uLnTx/>
              <a:uFillTx/>
              <a:latin typeface="Arial" panose="020B0604020202020204"/>
              <a:ea typeface="MS PGothic" panose="020B0600070205080204" pitchFamily="34" charset="-128"/>
              <a:cs typeface="+mn-cs"/>
            </a:endParaRPr>
          </a:p>
        </p:txBody>
      </p:sp>
      <p:sp>
        <p:nvSpPr>
          <p:cNvPr id="445" name="object 298">
            <a:extLst>
              <a:ext uri="{FF2B5EF4-FFF2-40B4-BE49-F238E27FC236}">
                <a16:creationId xmlns:a16="http://schemas.microsoft.com/office/drawing/2014/main" id="{3B9C28FF-04AF-9416-08E0-205397152BAF}"/>
              </a:ext>
            </a:extLst>
          </p:cNvPr>
          <p:cNvSpPr txBox="1"/>
          <p:nvPr/>
        </p:nvSpPr>
        <p:spPr>
          <a:xfrm>
            <a:off x="10106373" y="3135907"/>
            <a:ext cx="1302431" cy="147637"/>
          </a:xfrm>
          <a:prstGeom prst="rect">
            <a:avLst/>
          </a:prstGeom>
        </p:spPr>
        <p:txBody>
          <a:bodyPr vert="horz" wrap="square" lIns="0" tIns="9049" rIns="0" bIns="0" rtlCol="0">
            <a:spAutoFit/>
          </a:bodyPr>
          <a:lstStyle/>
          <a:p>
            <a:pPr marL="9525" marR="0" lvl="0" indent="0" algn="l" defTabSz="685783" rtl="0" eaLnBrk="1" fontAlgn="auto" latinLnBrk="0" hangingPunct="1">
              <a:lnSpc>
                <a:spcPct val="100000"/>
              </a:lnSpc>
              <a:spcBef>
                <a:spcPts val="71"/>
              </a:spcBef>
              <a:spcAft>
                <a:spcPts val="0"/>
              </a:spcAft>
              <a:buClrTx/>
              <a:buSzTx/>
              <a:buFontTx/>
              <a:buNone/>
              <a:tabLst/>
              <a:defRPr/>
            </a:pPr>
            <a:r>
              <a:rPr kumimoji="0" lang="en-US" sz="900" b="1" i="0" u="none" strike="noStrike" kern="1200" cap="none" spc="-8" normalizeH="0" baseline="0" noProof="0" dirty="0">
                <a:ln>
                  <a:noFill/>
                </a:ln>
                <a:solidFill>
                  <a:srgbClr val="7F7F7F"/>
                </a:solidFill>
                <a:effectLst/>
                <a:uLnTx/>
                <a:uFillTx/>
                <a:latin typeface="Arial" panose="020B0604020202020204"/>
                <a:ea typeface="MS PGothic" panose="020B0600070205080204" pitchFamily="34" charset="-128"/>
                <a:cs typeface="+mn-cs"/>
              </a:rPr>
              <a:t>Placebo plus</a:t>
            </a:r>
            <a:r>
              <a:rPr kumimoji="0" lang="en-US" sz="900" b="1" i="0" u="none" strike="noStrike" kern="1200" cap="none" spc="-23" normalizeH="0" baseline="0" noProof="0" dirty="0">
                <a:ln>
                  <a:noFill/>
                </a:ln>
                <a:solidFill>
                  <a:srgbClr val="7F7F7F"/>
                </a:solidFill>
                <a:effectLst/>
                <a:uLnTx/>
                <a:uFillTx/>
                <a:latin typeface="Arial" panose="020B0604020202020204"/>
                <a:ea typeface="MS PGothic" panose="020B0600070205080204" pitchFamily="34" charset="-128"/>
                <a:cs typeface="+mn-cs"/>
              </a:rPr>
              <a:t> </a:t>
            </a:r>
            <a:r>
              <a:rPr kumimoji="0" lang="en-US" sz="900" b="1" i="0" u="none" strike="noStrike" kern="1200" cap="none" spc="-8" normalizeH="0" baseline="0" noProof="0" dirty="0" err="1">
                <a:ln>
                  <a:noFill/>
                </a:ln>
                <a:solidFill>
                  <a:srgbClr val="7F7F7F"/>
                </a:solidFill>
                <a:effectLst/>
                <a:uLnTx/>
                <a:uFillTx/>
                <a:latin typeface="Arial" panose="020B0604020202020204"/>
                <a:ea typeface="MS PGothic" panose="020B0600070205080204" pitchFamily="34" charset="-128"/>
                <a:cs typeface="+mn-cs"/>
              </a:rPr>
              <a:t>bev</a:t>
            </a:r>
            <a:endParaRPr kumimoji="0" lang="en-US" sz="900" b="1" i="0" u="none" strike="noStrike" kern="1200" cap="none" spc="0" normalizeH="0" baseline="0" noProof="0" dirty="0">
              <a:ln>
                <a:noFill/>
              </a:ln>
              <a:solidFill>
                <a:srgbClr val="7F7F7F"/>
              </a:solidFill>
              <a:effectLst/>
              <a:uLnTx/>
              <a:uFillTx/>
              <a:latin typeface="Arial" panose="020B0604020202020204"/>
              <a:ea typeface="MS PGothic" panose="020B0600070205080204" pitchFamily="34" charset="-128"/>
              <a:cs typeface="+mn-cs"/>
            </a:endParaRPr>
          </a:p>
        </p:txBody>
      </p:sp>
      <p:sp>
        <p:nvSpPr>
          <p:cNvPr id="447" name="object 300">
            <a:extLst>
              <a:ext uri="{FF2B5EF4-FFF2-40B4-BE49-F238E27FC236}">
                <a16:creationId xmlns:a16="http://schemas.microsoft.com/office/drawing/2014/main" id="{417B37AC-C4DB-A610-6CFC-7D1BF78CD87B}"/>
              </a:ext>
            </a:extLst>
          </p:cNvPr>
          <p:cNvSpPr txBox="1"/>
          <p:nvPr/>
        </p:nvSpPr>
        <p:spPr>
          <a:xfrm>
            <a:off x="8565323" y="1987580"/>
            <a:ext cx="383468" cy="148598"/>
          </a:xfrm>
          <a:prstGeom prst="rect">
            <a:avLst/>
          </a:prstGeom>
        </p:spPr>
        <p:txBody>
          <a:bodyPr vert="horz" wrap="square" lIns="0" tIns="10001" rIns="0" bIns="0" rtlCol="0">
            <a:spAutoFit/>
          </a:bodyPr>
          <a:lstStyle/>
          <a:p>
            <a:pPr marL="9525" marR="0" lvl="0" indent="0" algn="l" defTabSz="685783" rtl="0" eaLnBrk="1" fontAlgn="auto" latinLnBrk="0" hangingPunct="1">
              <a:lnSpc>
                <a:spcPct val="100000"/>
              </a:lnSpc>
              <a:spcBef>
                <a:spcPts val="79"/>
              </a:spcBef>
              <a:spcAft>
                <a:spcPts val="0"/>
              </a:spcAft>
              <a:buClrTx/>
              <a:buSzTx/>
              <a:buFontTx/>
              <a:buNone/>
              <a:tabLst/>
              <a:defRPr/>
            </a:pPr>
            <a:r>
              <a:rPr kumimoji="0" lang="en-US" sz="900" b="1" i="0" u="none" strike="noStrike" kern="1200" cap="none" spc="-4" normalizeH="0" baseline="0" noProof="0" dirty="0">
                <a:ln>
                  <a:noFill/>
                </a:ln>
                <a:solidFill>
                  <a:srgbClr val="7F7F7F"/>
                </a:solidFill>
                <a:effectLst/>
                <a:uLnTx/>
                <a:uFillTx/>
                <a:latin typeface="Arial" panose="020B0604020202020204"/>
                <a:ea typeface="MS PGothic" panose="020B0600070205080204" pitchFamily="34" charset="-128"/>
                <a:cs typeface="+mn-cs"/>
              </a:rPr>
              <a:t>76%</a:t>
            </a:r>
            <a:endParaRPr kumimoji="0" lang="en-US" sz="900" b="1" i="0" u="none" strike="noStrike" kern="1200" cap="none" spc="0" normalizeH="0" baseline="0" noProof="0" dirty="0">
              <a:ln>
                <a:noFill/>
              </a:ln>
              <a:solidFill>
                <a:srgbClr val="7F7F7F"/>
              </a:solidFill>
              <a:effectLst/>
              <a:uLnTx/>
              <a:uFillTx/>
              <a:latin typeface="Arial" panose="020B0604020202020204"/>
              <a:ea typeface="MS PGothic" panose="020B0600070205080204" pitchFamily="34" charset="-128"/>
              <a:cs typeface="+mn-cs"/>
            </a:endParaRPr>
          </a:p>
        </p:txBody>
      </p:sp>
      <p:sp>
        <p:nvSpPr>
          <p:cNvPr id="448" name="object 301">
            <a:extLst>
              <a:ext uri="{FF2B5EF4-FFF2-40B4-BE49-F238E27FC236}">
                <a16:creationId xmlns:a16="http://schemas.microsoft.com/office/drawing/2014/main" id="{A4FAC79A-1A65-A83A-5B28-4F7FC954728A}"/>
              </a:ext>
            </a:extLst>
          </p:cNvPr>
          <p:cNvSpPr txBox="1"/>
          <p:nvPr/>
        </p:nvSpPr>
        <p:spPr>
          <a:xfrm>
            <a:off x="9384472" y="1733007"/>
            <a:ext cx="310477" cy="148598"/>
          </a:xfrm>
          <a:prstGeom prst="rect">
            <a:avLst/>
          </a:prstGeom>
        </p:spPr>
        <p:txBody>
          <a:bodyPr vert="horz" wrap="square" lIns="0" tIns="10001" rIns="0" bIns="0" rtlCol="0">
            <a:spAutoFit/>
          </a:bodyPr>
          <a:lstStyle/>
          <a:p>
            <a:pPr marL="9525" marR="0" lvl="0" indent="0" algn="l" defTabSz="685783" rtl="0" eaLnBrk="1" fontAlgn="auto" latinLnBrk="0" hangingPunct="1">
              <a:lnSpc>
                <a:spcPct val="100000"/>
              </a:lnSpc>
              <a:spcBef>
                <a:spcPts val="79"/>
              </a:spcBef>
              <a:spcAft>
                <a:spcPts val="0"/>
              </a:spcAft>
              <a:buClrTx/>
              <a:buSzTx/>
              <a:buFontTx/>
              <a:buNone/>
              <a:tabLst/>
              <a:defRPr/>
            </a:pPr>
            <a:r>
              <a:rPr kumimoji="0" lang="en-US" sz="900" b="1" i="0" u="none" strike="noStrike" kern="1200" cap="none" spc="-4" normalizeH="0" baseline="0" noProof="0" dirty="0">
                <a:ln>
                  <a:noFill/>
                </a:ln>
                <a:solidFill>
                  <a:srgbClr val="830051"/>
                </a:solidFill>
                <a:effectLst/>
                <a:uLnTx/>
                <a:uFillTx/>
                <a:latin typeface="Arial" panose="020B0604020202020204"/>
                <a:ea typeface="MS PGothic" panose="020B0600070205080204" pitchFamily="34" charset="-128"/>
                <a:cs typeface="+mn-cs"/>
              </a:rPr>
              <a:t>90%</a:t>
            </a:r>
            <a:endParaRPr kumimoji="0" lang="en-US" sz="900" b="1" i="0" u="none" strike="noStrike" kern="1200" cap="none" spc="0" normalizeH="0" baseline="0" noProof="0" dirty="0">
              <a:ln>
                <a:noFill/>
              </a:ln>
              <a:solidFill>
                <a:srgbClr val="830051"/>
              </a:solidFill>
              <a:effectLst/>
              <a:uLnTx/>
              <a:uFillTx/>
              <a:latin typeface="Arial" panose="020B0604020202020204"/>
              <a:ea typeface="MS PGothic" panose="020B0600070205080204" pitchFamily="34" charset="-128"/>
              <a:cs typeface="+mn-cs"/>
            </a:endParaRPr>
          </a:p>
        </p:txBody>
      </p:sp>
      <p:sp>
        <p:nvSpPr>
          <p:cNvPr id="449" name="object 302">
            <a:extLst>
              <a:ext uri="{FF2B5EF4-FFF2-40B4-BE49-F238E27FC236}">
                <a16:creationId xmlns:a16="http://schemas.microsoft.com/office/drawing/2014/main" id="{E3CC3E6B-9E61-AF9D-D7B8-0625654F860E}"/>
              </a:ext>
            </a:extLst>
          </p:cNvPr>
          <p:cNvSpPr txBox="1"/>
          <p:nvPr/>
        </p:nvSpPr>
        <p:spPr>
          <a:xfrm>
            <a:off x="9083301" y="2880585"/>
            <a:ext cx="447264" cy="148117"/>
          </a:xfrm>
          <a:prstGeom prst="rect">
            <a:avLst/>
          </a:prstGeom>
        </p:spPr>
        <p:txBody>
          <a:bodyPr vert="horz" wrap="square" lIns="0" tIns="9525" rIns="0" bIns="0" rtlCol="0">
            <a:spAutoFit/>
          </a:bodyPr>
          <a:lstStyle/>
          <a:p>
            <a:pPr marL="9525" marR="0" lvl="0" indent="0" algn="l" defTabSz="685783" rtl="0" eaLnBrk="1" fontAlgn="auto" latinLnBrk="0" hangingPunct="1">
              <a:lnSpc>
                <a:spcPct val="100000"/>
              </a:lnSpc>
              <a:spcBef>
                <a:spcPts val="75"/>
              </a:spcBef>
              <a:spcAft>
                <a:spcPts val="0"/>
              </a:spcAft>
              <a:buClrTx/>
              <a:buSzTx/>
              <a:buFontTx/>
              <a:buNone/>
              <a:tabLst/>
              <a:defRPr/>
            </a:pPr>
            <a:r>
              <a:rPr kumimoji="0" lang="en-US" sz="900" b="1" i="0" u="none" strike="noStrike" kern="1200" cap="none" spc="-4" normalizeH="0" baseline="0" noProof="0" dirty="0">
                <a:ln>
                  <a:noFill/>
                </a:ln>
                <a:solidFill>
                  <a:srgbClr val="7F7F7F"/>
                </a:solidFill>
                <a:effectLst/>
                <a:uLnTx/>
                <a:uFillTx/>
                <a:latin typeface="Arial" panose="020B0604020202020204"/>
                <a:ea typeface="MS PGothic" panose="020B0600070205080204" pitchFamily="34" charset="-128"/>
                <a:cs typeface="+mn-cs"/>
              </a:rPr>
              <a:t>43%</a:t>
            </a:r>
            <a:endParaRPr kumimoji="0" lang="en-US" sz="900" b="1" i="0" u="none" strike="noStrike" kern="1200" cap="none" spc="0" normalizeH="0" baseline="0" noProof="0" dirty="0">
              <a:ln>
                <a:noFill/>
              </a:ln>
              <a:solidFill>
                <a:srgbClr val="7F7F7F"/>
              </a:solidFill>
              <a:effectLst/>
              <a:uLnTx/>
              <a:uFillTx/>
              <a:latin typeface="Arial" panose="020B0604020202020204"/>
              <a:ea typeface="MS PGothic" panose="020B0600070205080204" pitchFamily="34" charset="-128"/>
              <a:cs typeface="+mn-cs"/>
            </a:endParaRPr>
          </a:p>
        </p:txBody>
      </p:sp>
      <p:sp>
        <p:nvSpPr>
          <p:cNvPr id="450" name="object 303">
            <a:extLst>
              <a:ext uri="{FF2B5EF4-FFF2-40B4-BE49-F238E27FC236}">
                <a16:creationId xmlns:a16="http://schemas.microsoft.com/office/drawing/2014/main" id="{D52B3BEF-01E4-5E37-84E9-9C0346C0EC4E}"/>
              </a:ext>
            </a:extLst>
          </p:cNvPr>
          <p:cNvSpPr/>
          <p:nvPr/>
        </p:nvSpPr>
        <p:spPr>
          <a:xfrm>
            <a:off x="7664828" y="1718529"/>
            <a:ext cx="2903696" cy="912495"/>
          </a:xfrm>
          <a:custGeom>
            <a:avLst/>
            <a:gdLst/>
            <a:ahLst/>
            <a:cxnLst/>
            <a:rect l="l" t="t" r="r" b="b"/>
            <a:pathLst>
              <a:path w="3871595" h="1216660">
                <a:moveTo>
                  <a:pt x="0" y="0"/>
                </a:moveTo>
                <a:lnTo>
                  <a:pt x="544576" y="0"/>
                </a:lnTo>
                <a:lnTo>
                  <a:pt x="544576" y="39243"/>
                </a:lnTo>
                <a:lnTo>
                  <a:pt x="838835" y="39243"/>
                </a:lnTo>
                <a:lnTo>
                  <a:pt x="838835" y="78486"/>
                </a:lnTo>
                <a:lnTo>
                  <a:pt x="1075436" y="78486"/>
                </a:lnTo>
                <a:lnTo>
                  <a:pt x="1075436" y="110362"/>
                </a:lnTo>
                <a:lnTo>
                  <a:pt x="1637665" y="110362"/>
                </a:lnTo>
                <a:lnTo>
                  <a:pt x="1637665" y="151765"/>
                </a:lnTo>
                <a:lnTo>
                  <a:pt x="1679702" y="151765"/>
                </a:lnTo>
                <a:lnTo>
                  <a:pt x="1679702" y="185800"/>
                </a:lnTo>
                <a:lnTo>
                  <a:pt x="2049145" y="185800"/>
                </a:lnTo>
                <a:lnTo>
                  <a:pt x="2049145" y="230378"/>
                </a:lnTo>
                <a:lnTo>
                  <a:pt x="2158746" y="230378"/>
                </a:lnTo>
                <a:lnTo>
                  <a:pt x="2158746" y="269621"/>
                </a:lnTo>
                <a:lnTo>
                  <a:pt x="2880233" y="269621"/>
                </a:lnTo>
                <a:lnTo>
                  <a:pt x="2880233" y="390652"/>
                </a:lnTo>
                <a:lnTo>
                  <a:pt x="2916428" y="390652"/>
                </a:lnTo>
                <a:lnTo>
                  <a:pt x="2916428" y="499999"/>
                </a:lnTo>
                <a:lnTo>
                  <a:pt x="3836416" y="499999"/>
                </a:lnTo>
                <a:lnTo>
                  <a:pt x="3836416" y="1216406"/>
                </a:lnTo>
                <a:lnTo>
                  <a:pt x="3871595" y="1216406"/>
                </a:lnTo>
              </a:path>
            </a:pathLst>
          </a:custGeom>
          <a:ln w="12699">
            <a:solidFill>
              <a:schemeClr val="tx2"/>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51" name="object 304">
            <a:extLst>
              <a:ext uri="{FF2B5EF4-FFF2-40B4-BE49-F238E27FC236}">
                <a16:creationId xmlns:a16="http://schemas.microsoft.com/office/drawing/2014/main" id="{65E71553-73D2-8C69-4A71-980FF9E7D4FC}"/>
              </a:ext>
            </a:extLst>
          </p:cNvPr>
          <p:cNvSpPr txBox="1"/>
          <p:nvPr/>
        </p:nvSpPr>
        <p:spPr>
          <a:xfrm>
            <a:off x="1303561" y="1521704"/>
            <a:ext cx="153888" cy="2371725"/>
          </a:xfrm>
          <a:prstGeom prst="rect">
            <a:avLst/>
          </a:prstGeom>
        </p:spPr>
        <p:txBody>
          <a:bodyPr vert="vert270" wrap="square" lIns="0" tIns="476" rIns="0" bIns="0" rtlCol="0">
            <a:spAutoFit/>
          </a:bodyPr>
          <a:lstStyle/>
          <a:p>
            <a:pPr marL="9525" marR="0" lvl="0" indent="0" algn="ctr" defTabSz="685783" rtl="0" eaLnBrk="1" fontAlgn="auto" latinLnBrk="0" hangingPunct="1">
              <a:lnSpc>
                <a:spcPct val="100000"/>
              </a:lnSpc>
              <a:spcBef>
                <a:spcPts val="4"/>
              </a:spcBef>
              <a:spcAft>
                <a:spcPts val="0"/>
              </a:spcAft>
              <a:buClrTx/>
              <a:buSzTx/>
              <a:buFontTx/>
              <a:buNone/>
              <a:tabLst/>
              <a:defRPr/>
            </a:pPr>
            <a:r>
              <a:rPr kumimoji="0" lang="en-US" sz="1000" b="1"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Progression-free survival, %</a:t>
            </a:r>
            <a:endParaRPr kumimoji="0" lang="en-US" sz="1000"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p:txBody>
      </p:sp>
      <p:sp>
        <p:nvSpPr>
          <p:cNvPr id="452" name="object 305">
            <a:extLst>
              <a:ext uri="{FF2B5EF4-FFF2-40B4-BE49-F238E27FC236}">
                <a16:creationId xmlns:a16="http://schemas.microsoft.com/office/drawing/2014/main" id="{CF675DA3-8F95-320E-88EF-6B7FC18ECBDA}"/>
              </a:ext>
            </a:extLst>
          </p:cNvPr>
          <p:cNvSpPr txBox="1"/>
          <p:nvPr/>
        </p:nvSpPr>
        <p:spPr>
          <a:xfrm>
            <a:off x="7189479" y="1555113"/>
            <a:ext cx="153888" cy="2372201"/>
          </a:xfrm>
          <a:prstGeom prst="rect">
            <a:avLst/>
          </a:prstGeom>
        </p:spPr>
        <p:txBody>
          <a:bodyPr vert="vert270" wrap="square" lIns="0" tIns="476" rIns="0" bIns="0" rtlCol="0">
            <a:spAutoFit/>
          </a:bodyPr>
          <a:lstStyle/>
          <a:p>
            <a:pPr marL="9525" marR="0" lvl="0" indent="0" algn="ctr" defTabSz="685783" rtl="0" eaLnBrk="1" fontAlgn="auto" latinLnBrk="0" hangingPunct="1">
              <a:lnSpc>
                <a:spcPct val="100000"/>
              </a:lnSpc>
              <a:spcBef>
                <a:spcPts val="4"/>
              </a:spcBef>
              <a:spcAft>
                <a:spcPts val="0"/>
              </a:spcAft>
              <a:buClrTx/>
              <a:buSzTx/>
              <a:buFontTx/>
              <a:buNone/>
              <a:tabLst/>
              <a:defRPr/>
            </a:pPr>
            <a:r>
              <a:rPr kumimoji="0" lang="en-US" sz="1000" b="1" i="0" u="none" strike="noStrike" kern="1200" cap="none" spc="-4" normalizeH="0" baseline="0" noProof="0" dirty="0">
                <a:ln>
                  <a:noFill/>
                </a:ln>
                <a:solidFill>
                  <a:prstClr val="black"/>
                </a:solidFill>
                <a:effectLst/>
                <a:uLnTx/>
                <a:uFillTx/>
                <a:latin typeface="Arial" panose="020B0604020202020204"/>
                <a:ea typeface="MS PGothic" panose="020B0600070205080204" pitchFamily="34" charset="-128"/>
                <a:cs typeface="+mn-cs"/>
              </a:rPr>
              <a:t>Progression-free survival, %</a:t>
            </a:r>
            <a:endParaRPr kumimoji="0" lang="en-US" sz="1000"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endParaRPr>
          </a:p>
        </p:txBody>
      </p:sp>
      <p:sp>
        <p:nvSpPr>
          <p:cNvPr id="5" name="object 138">
            <a:extLst>
              <a:ext uri="{FF2B5EF4-FFF2-40B4-BE49-F238E27FC236}">
                <a16:creationId xmlns:a16="http://schemas.microsoft.com/office/drawing/2014/main" id="{0C1CF738-BFD7-962B-9FA7-06FC8CCE91AF}"/>
              </a:ext>
            </a:extLst>
          </p:cNvPr>
          <p:cNvSpPr txBox="1"/>
          <p:nvPr/>
        </p:nvSpPr>
        <p:spPr>
          <a:xfrm>
            <a:off x="8122688" y="3972323"/>
            <a:ext cx="2343929" cy="163987"/>
          </a:xfrm>
          <a:prstGeom prst="rect">
            <a:avLst/>
          </a:prstGeom>
        </p:spPr>
        <p:txBody>
          <a:bodyPr vert="horz" wrap="square" lIns="0" tIns="10001" rIns="0" bIns="0" rtlCol="0">
            <a:spAutoFit/>
          </a:bodyPr>
          <a:lstStyle/>
          <a:p>
            <a:pPr marL="9525" marR="0" lvl="0" indent="0" algn="ctr" defTabSz="685783" rtl="0" eaLnBrk="1" fontAlgn="auto" latinLnBrk="0" hangingPunct="1">
              <a:lnSpc>
                <a:spcPct val="100000"/>
              </a:lnSpc>
              <a:spcBef>
                <a:spcPts val="79"/>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Time from</a:t>
            </a:r>
            <a:r>
              <a:rPr kumimoji="0" lang="en-US" sz="1000" b="1" i="0" u="none" strike="noStrike" kern="1200" cap="none" spc="-53" normalizeH="0" baseline="0" noProof="0" dirty="0">
                <a:ln>
                  <a:noFill/>
                </a:ln>
                <a:solidFill>
                  <a:prstClr val="black"/>
                </a:solidFill>
                <a:effectLst/>
                <a:uLnTx/>
                <a:uFillTx/>
                <a:latin typeface="Arial" panose="020B0604020202020204"/>
                <a:ea typeface="MS PGothic" panose="020B0600070205080204" pitchFamily="34" charset="-128"/>
                <a:cs typeface="+mn-cs"/>
              </a:rPr>
              <a:t> </a:t>
            </a:r>
            <a:r>
              <a:rPr kumimoji="0" lang="en-US" sz="1000" b="1" i="0" u="none" strike="noStrike" kern="1200" cap="none" spc="-53" normalizeH="0" baseline="0" noProof="0" dirty="0" err="1">
                <a:ln>
                  <a:noFill/>
                </a:ln>
                <a:solidFill>
                  <a:prstClr val="black"/>
                </a:solidFill>
                <a:effectLst/>
                <a:uLnTx/>
                <a:uFillTx/>
                <a:latin typeface="Arial" panose="020B0604020202020204"/>
                <a:ea typeface="MS PGothic" panose="020B0600070205080204" pitchFamily="34" charset="-128"/>
                <a:cs typeface="+mn-cs"/>
              </a:rPr>
              <a:t>r</a:t>
            </a:r>
            <a:r>
              <a:rPr kumimoji="0" lang="en-US" sz="1000" b="1" i="0" u="none" strike="noStrike" kern="1200" cap="none" spc="0" normalizeH="0" baseline="0" noProof="0" dirty="0" err="1">
                <a:ln>
                  <a:noFill/>
                </a:ln>
                <a:solidFill>
                  <a:prstClr val="black"/>
                </a:solidFill>
                <a:effectLst/>
                <a:uLnTx/>
                <a:uFillTx/>
                <a:latin typeface="Arial" panose="020B0604020202020204"/>
                <a:ea typeface="MS PGothic" panose="020B0600070205080204" pitchFamily="34" charset="-128"/>
                <a:cs typeface="+mn-cs"/>
              </a:rPr>
              <a:t>andomisation</a:t>
            </a:r>
            <a:r>
              <a:rPr kumimoji="0" lang="en-US" sz="1000"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 months</a:t>
            </a:r>
          </a:p>
        </p:txBody>
      </p:sp>
      <p:sp>
        <p:nvSpPr>
          <p:cNvPr id="7" name="TextBox 6">
            <a:extLst>
              <a:ext uri="{FF2B5EF4-FFF2-40B4-BE49-F238E27FC236}">
                <a16:creationId xmlns:a16="http://schemas.microsoft.com/office/drawing/2014/main" id="{243D20E6-B3E7-A7DA-1DF5-FBC1FDC17983}"/>
              </a:ext>
            </a:extLst>
          </p:cNvPr>
          <p:cNvSpPr txBox="1"/>
          <p:nvPr/>
        </p:nvSpPr>
        <p:spPr>
          <a:xfrm>
            <a:off x="8415212" y="1574143"/>
            <a:ext cx="569939"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4" normalizeH="0" baseline="0" noProof="0" dirty="0">
                <a:ln>
                  <a:noFill/>
                </a:ln>
                <a:solidFill>
                  <a:srgbClr val="830051"/>
                </a:solidFill>
                <a:effectLst/>
                <a:uLnTx/>
                <a:uFillTx/>
                <a:latin typeface="Arial" panose="020B0604020202020204"/>
                <a:ea typeface="MS PGothic" panose="020B0600070205080204" pitchFamily="34" charset="-128"/>
                <a:cs typeface="+mn-cs"/>
              </a:rPr>
              <a:t>96%</a:t>
            </a:r>
            <a:endParaRPr kumimoji="0" lang="en-US" sz="900" b="1" i="0" u="none" strike="noStrike" kern="1200" cap="none" spc="0" normalizeH="0" baseline="0" noProof="0" dirty="0">
              <a:ln>
                <a:noFill/>
              </a:ln>
              <a:solidFill>
                <a:srgbClr val="830051"/>
              </a:solidFill>
              <a:effectLst/>
              <a:uLnTx/>
              <a:uFillTx/>
              <a:latin typeface="Arial" panose="020B0604020202020204"/>
              <a:ea typeface="+mn-ea"/>
              <a:cs typeface="+mn-cs"/>
            </a:endParaRPr>
          </a:p>
        </p:txBody>
      </p:sp>
      <p:sp>
        <p:nvSpPr>
          <p:cNvPr id="10" name="object 297">
            <a:extLst>
              <a:ext uri="{FF2B5EF4-FFF2-40B4-BE49-F238E27FC236}">
                <a16:creationId xmlns:a16="http://schemas.microsoft.com/office/drawing/2014/main" id="{81290694-0106-7FD6-884F-490CF7761101}"/>
              </a:ext>
            </a:extLst>
          </p:cNvPr>
          <p:cNvSpPr txBox="1"/>
          <p:nvPr/>
        </p:nvSpPr>
        <p:spPr>
          <a:xfrm>
            <a:off x="4578565" y="3104448"/>
            <a:ext cx="954287" cy="147637"/>
          </a:xfrm>
          <a:prstGeom prst="rect">
            <a:avLst/>
          </a:prstGeom>
        </p:spPr>
        <p:txBody>
          <a:bodyPr vert="horz" wrap="square" lIns="0" tIns="9049" rIns="0" bIns="0" rtlCol="0">
            <a:spAutoFit/>
          </a:bodyPr>
          <a:lstStyle/>
          <a:p>
            <a:pPr marL="9525" marR="0" lvl="0" indent="0" algn="l" defTabSz="685783" rtl="0" eaLnBrk="1" fontAlgn="auto" latinLnBrk="0" hangingPunct="1">
              <a:lnSpc>
                <a:spcPct val="100000"/>
              </a:lnSpc>
              <a:spcBef>
                <a:spcPts val="71"/>
              </a:spcBef>
              <a:spcAft>
                <a:spcPts val="0"/>
              </a:spcAft>
              <a:buClrTx/>
              <a:buSzTx/>
              <a:buFontTx/>
              <a:buNone/>
              <a:tabLst/>
              <a:defRPr/>
            </a:pPr>
            <a:r>
              <a:rPr kumimoji="0" lang="en-US" sz="900" b="1" i="0" u="none" strike="noStrike" kern="1200" cap="none" spc="-4" normalizeH="0" baseline="0" noProof="0" dirty="0">
                <a:ln>
                  <a:noFill/>
                </a:ln>
                <a:solidFill>
                  <a:srgbClr val="830051"/>
                </a:solidFill>
                <a:effectLst/>
                <a:uLnTx/>
                <a:uFillTx/>
                <a:latin typeface="Arial" panose="020B0604020202020204"/>
                <a:ea typeface="MS PGothic" panose="020B0600070205080204" pitchFamily="34" charset="-128"/>
                <a:cs typeface="+mn-cs"/>
              </a:rPr>
              <a:t>Olaparib +</a:t>
            </a:r>
            <a:r>
              <a:rPr kumimoji="0" lang="en-US" sz="900" b="1" i="0" u="none" strike="noStrike" kern="1200" cap="none" spc="-49" normalizeH="0" baseline="0" noProof="0" dirty="0">
                <a:ln>
                  <a:noFill/>
                </a:ln>
                <a:solidFill>
                  <a:srgbClr val="830051"/>
                </a:solidFill>
                <a:effectLst/>
                <a:uLnTx/>
                <a:uFillTx/>
                <a:latin typeface="Arial" panose="020B0604020202020204"/>
                <a:ea typeface="MS PGothic" panose="020B0600070205080204" pitchFamily="34" charset="-128"/>
                <a:cs typeface="+mn-cs"/>
              </a:rPr>
              <a:t> </a:t>
            </a:r>
            <a:r>
              <a:rPr kumimoji="0" lang="en-US" sz="900" b="1" i="0" u="none" strike="noStrike" kern="1200" cap="none" spc="-8" normalizeH="0" baseline="0" noProof="0" dirty="0" err="1">
                <a:ln>
                  <a:noFill/>
                </a:ln>
                <a:solidFill>
                  <a:srgbClr val="830051"/>
                </a:solidFill>
                <a:effectLst/>
                <a:uLnTx/>
                <a:uFillTx/>
                <a:latin typeface="Arial" panose="020B0604020202020204"/>
                <a:ea typeface="MS PGothic" panose="020B0600070205080204" pitchFamily="34" charset="-128"/>
                <a:cs typeface="+mn-cs"/>
              </a:rPr>
              <a:t>bev</a:t>
            </a:r>
            <a:endParaRPr kumimoji="0" lang="en-US" sz="900" b="1" i="0" u="none" strike="noStrike" kern="1200" cap="none" spc="0" normalizeH="0" baseline="0" noProof="0" dirty="0">
              <a:ln>
                <a:noFill/>
              </a:ln>
              <a:solidFill>
                <a:srgbClr val="830051"/>
              </a:solidFill>
              <a:effectLst/>
              <a:uLnTx/>
              <a:uFillTx/>
              <a:latin typeface="Arial" panose="020B0604020202020204"/>
              <a:ea typeface="MS PGothic" panose="020B0600070205080204" pitchFamily="34" charset="-128"/>
              <a:cs typeface="+mn-cs"/>
            </a:endParaRPr>
          </a:p>
        </p:txBody>
      </p:sp>
      <p:sp>
        <p:nvSpPr>
          <p:cNvPr id="11" name="object 298">
            <a:extLst>
              <a:ext uri="{FF2B5EF4-FFF2-40B4-BE49-F238E27FC236}">
                <a16:creationId xmlns:a16="http://schemas.microsoft.com/office/drawing/2014/main" id="{FDEFAA7B-136F-54C2-928D-9855BB884A36}"/>
              </a:ext>
            </a:extLst>
          </p:cNvPr>
          <p:cNvSpPr txBox="1"/>
          <p:nvPr/>
        </p:nvSpPr>
        <p:spPr>
          <a:xfrm>
            <a:off x="4248904" y="3362876"/>
            <a:ext cx="1052723" cy="132248"/>
          </a:xfrm>
          <a:prstGeom prst="rect">
            <a:avLst/>
          </a:prstGeom>
        </p:spPr>
        <p:txBody>
          <a:bodyPr vert="horz" wrap="square" lIns="0" tIns="9049" rIns="0" bIns="0" rtlCol="0">
            <a:spAutoFit/>
          </a:bodyPr>
          <a:lstStyle/>
          <a:p>
            <a:pPr marL="9525" marR="0" lvl="0" indent="0" algn="l" defTabSz="685783" rtl="0" eaLnBrk="1" fontAlgn="auto" latinLnBrk="0" hangingPunct="1">
              <a:lnSpc>
                <a:spcPct val="100000"/>
              </a:lnSpc>
              <a:spcBef>
                <a:spcPts val="71"/>
              </a:spcBef>
              <a:spcAft>
                <a:spcPts val="0"/>
              </a:spcAft>
              <a:buClrTx/>
              <a:buSzTx/>
              <a:buFontTx/>
              <a:buNone/>
              <a:tabLst/>
              <a:defRPr/>
            </a:pPr>
            <a:r>
              <a:rPr kumimoji="0" lang="en-US" sz="800" b="1" i="0" u="none" strike="noStrike" kern="1200" cap="none" spc="-8" normalizeH="0" baseline="0" noProof="0" dirty="0">
                <a:ln>
                  <a:noFill/>
                </a:ln>
                <a:solidFill>
                  <a:srgbClr val="7F7F7F"/>
                </a:solidFill>
                <a:effectLst/>
                <a:uLnTx/>
                <a:uFillTx/>
                <a:latin typeface="Arial" panose="020B0604020202020204"/>
                <a:ea typeface="MS PGothic" panose="020B0600070205080204" pitchFamily="34" charset="-128"/>
                <a:cs typeface="+mn-cs"/>
              </a:rPr>
              <a:t>Placebo +</a:t>
            </a:r>
            <a:r>
              <a:rPr kumimoji="0" lang="en-US" sz="800" b="1" i="0" u="none" strike="noStrike" kern="1200" cap="none" spc="-23" normalizeH="0" baseline="0" noProof="0" dirty="0">
                <a:ln>
                  <a:noFill/>
                </a:ln>
                <a:solidFill>
                  <a:srgbClr val="7F7F7F"/>
                </a:solidFill>
                <a:effectLst/>
                <a:uLnTx/>
                <a:uFillTx/>
                <a:latin typeface="Arial" panose="020B0604020202020204"/>
                <a:ea typeface="MS PGothic" panose="020B0600070205080204" pitchFamily="34" charset="-128"/>
                <a:cs typeface="+mn-cs"/>
              </a:rPr>
              <a:t> </a:t>
            </a:r>
            <a:r>
              <a:rPr kumimoji="0" lang="en-US" sz="800" b="1" i="0" u="none" strike="noStrike" kern="1200" cap="none" spc="-8" normalizeH="0" baseline="0" noProof="0" dirty="0" err="1">
                <a:ln>
                  <a:noFill/>
                </a:ln>
                <a:solidFill>
                  <a:srgbClr val="7F7F7F"/>
                </a:solidFill>
                <a:effectLst/>
                <a:uLnTx/>
                <a:uFillTx/>
                <a:latin typeface="Arial" panose="020B0604020202020204"/>
                <a:ea typeface="MS PGothic" panose="020B0600070205080204" pitchFamily="34" charset="-128"/>
                <a:cs typeface="+mn-cs"/>
              </a:rPr>
              <a:t>bev</a:t>
            </a:r>
            <a:endParaRPr kumimoji="0" lang="en-US" sz="800" b="1" i="0" u="none" strike="noStrike" kern="1200" cap="none" spc="0" normalizeH="0" baseline="0" noProof="0" dirty="0">
              <a:ln>
                <a:noFill/>
              </a:ln>
              <a:solidFill>
                <a:srgbClr val="7F7F7F"/>
              </a:solidFill>
              <a:effectLst/>
              <a:uLnTx/>
              <a:uFillTx/>
              <a:latin typeface="Arial" panose="020B0604020202020204"/>
              <a:ea typeface="MS PGothic" panose="020B0600070205080204" pitchFamily="34" charset="-128"/>
              <a:cs typeface="+mn-cs"/>
            </a:endParaRPr>
          </a:p>
        </p:txBody>
      </p:sp>
      <p:graphicFrame>
        <p:nvGraphicFramePr>
          <p:cNvPr id="8" name="Table 7">
            <a:extLst>
              <a:ext uri="{FF2B5EF4-FFF2-40B4-BE49-F238E27FC236}">
                <a16:creationId xmlns:a16="http://schemas.microsoft.com/office/drawing/2014/main" id="{B7583D7D-A628-C519-676C-FCB26B9E5BB9}"/>
              </a:ext>
            </a:extLst>
          </p:cNvPr>
          <p:cNvGraphicFramePr>
            <a:graphicFrameLocks noGrp="1"/>
          </p:cNvGraphicFramePr>
          <p:nvPr/>
        </p:nvGraphicFramePr>
        <p:xfrm>
          <a:off x="411432" y="4767904"/>
          <a:ext cx="4500009" cy="1481256"/>
        </p:xfrm>
        <a:graphic>
          <a:graphicData uri="http://schemas.openxmlformats.org/drawingml/2006/table">
            <a:tbl>
              <a:tblPr firstRow="1" bandRow="1">
                <a:tableStyleId>{B301B821-A1FF-4177-AEE7-76D212191A09}</a:tableStyleId>
              </a:tblPr>
              <a:tblGrid>
                <a:gridCol w="1433133">
                  <a:extLst>
                    <a:ext uri="{9D8B030D-6E8A-4147-A177-3AD203B41FA5}">
                      <a16:colId xmlns:a16="http://schemas.microsoft.com/office/drawing/2014/main" val="2244434444"/>
                    </a:ext>
                  </a:extLst>
                </a:gridCol>
                <a:gridCol w="1631951">
                  <a:extLst>
                    <a:ext uri="{9D8B030D-6E8A-4147-A177-3AD203B41FA5}">
                      <a16:colId xmlns:a16="http://schemas.microsoft.com/office/drawing/2014/main" val="3804996999"/>
                    </a:ext>
                  </a:extLst>
                </a:gridCol>
                <a:gridCol w="1434925">
                  <a:extLst>
                    <a:ext uri="{9D8B030D-6E8A-4147-A177-3AD203B41FA5}">
                      <a16:colId xmlns:a16="http://schemas.microsoft.com/office/drawing/2014/main" val="227492736"/>
                    </a:ext>
                  </a:extLst>
                </a:gridCol>
              </a:tblGrid>
              <a:tr h="436608">
                <a:tc>
                  <a:txBody>
                    <a:bodyPr/>
                    <a:lstStyle/>
                    <a:p>
                      <a:pPr>
                        <a:lnSpc>
                          <a:spcPct val="90000"/>
                        </a:lnSpc>
                      </a:pPr>
                      <a:endParaRPr lang="en-US" sz="1100" b="1" noProof="0" dirty="0">
                        <a:latin typeface="Arial" panose="020B0604020202020204" pitchFamily="34" charset="0"/>
                        <a:cs typeface="Arial" panose="020B0604020202020204" pitchFamily="34" charset="0"/>
                      </a:endParaRPr>
                    </a:p>
                  </a:txBody>
                  <a:tcPr marL="72000" marR="72000" marT="72000" marB="72000" anchor="b">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100" noProof="0" dirty="0">
                          <a:latin typeface="Arial" panose="020B0604020202020204" pitchFamily="34" charset="0"/>
                          <a:cs typeface="Arial" panose="020B0604020202020204" pitchFamily="34" charset="0"/>
                        </a:rPr>
                        <a:t>Olaparib + </a:t>
                      </a:r>
                      <a:r>
                        <a:rPr lang="en-US" sz="1100" noProof="0" dirty="0" err="1">
                          <a:latin typeface="Arial" panose="020B0604020202020204" pitchFamily="34" charset="0"/>
                          <a:cs typeface="Arial" panose="020B0604020202020204" pitchFamily="34" charset="0"/>
                        </a:rPr>
                        <a:t>bev</a:t>
                      </a:r>
                      <a:r>
                        <a:rPr lang="en-US" sz="1100" noProof="0" dirty="0">
                          <a:latin typeface="Arial" panose="020B0604020202020204" pitchFamily="34" charset="0"/>
                          <a:cs typeface="Arial" panose="020B0604020202020204" pitchFamily="34" charset="0"/>
                        </a:rPr>
                        <a:t> </a:t>
                      </a:r>
                    </a:p>
                    <a:p>
                      <a:pPr algn="ctr">
                        <a:lnSpc>
                          <a:spcPct val="90000"/>
                        </a:lnSpc>
                      </a:pPr>
                      <a:r>
                        <a:rPr lang="en-US" sz="1100" noProof="0" dirty="0">
                          <a:latin typeface="Arial" panose="020B0604020202020204" pitchFamily="34" charset="0"/>
                          <a:cs typeface="Arial" panose="020B0604020202020204" pitchFamily="34" charset="0"/>
                        </a:rPr>
                        <a:t>(n=177)</a:t>
                      </a:r>
                    </a:p>
                  </a:txBody>
                  <a:tcPr marL="72000" marR="72000" marT="72000" marB="72000" anchor="b">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100" noProof="0" dirty="0">
                          <a:latin typeface="Arial" panose="020B0604020202020204" pitchFamily="34" charset="0"/>
                          <a:cs typeface="Arial" panose="020B0604020202020204" pitchFamily="34" charset="0"/>
                        </a:rPr>
                        <a:t>Placebo + </a:t>
                      </a:r>
                      <a:r>
                        <a:rPr lang="en-US" sz="1100" noProof="0" dirty="0" err="1">
                          <a:latin typeface="Arial" panose="020B0604020202020204" pitchFamily="34" charset="0"/>
                          <a:cs typeface="Arial" panose="020B0604020202020204" pitchFamily="34" charset="0"/>
                        </a:rPr>
                        <a:t>bev</a:t>
                      </a:r>
                      <a:r>
                        <a:rPr lang="en-US" sz="1100" noProof="0" dirty="0">
                          <a:latin typeface="Arial" panose="020B0604020202020204" pitchFamily="34" charset="0"/>
                          <a:cs typeface="Arial" panose="020B0604020202020204" pitchFamily="34" charset="0"/>
                        </a:rPr>
                        <a:t> (n=89)</a:t>
                      </a:r>
                    </a:p>
                  </a:txBody>
                  <a:tcPr marL="72000" marR="72000" marT="72000" marB="72000" anchor="b">
                    <a:lnL>
                      <a:noFill/>
                    </a:lnL>
                    <a:lnR w="12700" cmpd="sng">
                      <a:noFill/>
                    </a:lnR>
                    <a:lnT w="12700" cmpd="sng">
                      <a:noFill/>
                    </a:lnT>
                    <a:lnB w="12700" cmpd="sng">
                      <a:noFill/>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422251691"/>
                  </a:ext>
                </a:extLst>
              </a:tr>
              <a:tr h="290304">
                <a:tc>
                  <a:txBody>
                    <a:bodyPr/>
                    <a:lstStyle/>
                    <a:p>
                      <a:pPr algn="r">
                        <a:lnSpc>
                          <a:spcPct val="90000"/>
                        </a:lnSpc>
                      </a:pPr>
                      <a:r>
                        <a:rPr lang="en-US" sz="1100" b="1" noProof="0" dirty="0">
                          <a:solidFill>
                            <a:srgbClr val="000000"/>
                          </a:solidFill>
                          <a:latin typeface="Arial" panose="020B0604020202020204" pitchFamily="34" charset="0"/>
                          <a:cs typeface="Arial" panose="020B0604020202020204" pitchFamily="34" charset="0"/>
                        </a:rPr>
                        <a:t>Events</a:t>
                      </a:r>
                      <a:r>
                        <a:rPr lang="en-US" sz="1100" b="0" noProof="0" dirty="0">
                          <a:solidFill>
                            <a:srgbClr val="000000"/>
                          </a:solidFill>
                          <a:latin typeface="Arial" panose="020B0604020202020204" pitchFamily="34" charset="0"/>
                          <a:cs typeface="Arial" panose="020B0604020202020204" pitchFamily="34" charset="0"/>
                        </a:rPr>
                        <a:t>,</a:t>
                      </a:r>
                      <a:r>
                        <a:rPr lang="en-US" sz="1100" b="1" noProof="0" dirty="0">
                          <a:solidFill>
                            <a:srgbClr val="000000"/>
                          </a:solidFill>
                          <a:latin typeface="Arial" panose="020B0604020202020204" pitchFamily="34" charset="0"/>
                          <a:cs typeface="Arial" panose="020B0604020202020204" pitchFamily="34" charset="0"/>
                        </a:rPr>
                        <a:t> </a:t>
                      </a:r>
                      <a:r>
                        <a:rPr lang="en-US" sz="1100" b="0" noProof="0" dirty="0">
                          <a:solidFill>
                            <a:srgbClr val="000000"/>
                          </a:solidFill>
                          <a:latin typeface="Arial" panose="020B0604020202020204" pitchFamily="34" charset="0"/>
                          <a:cs typeface="Arial" panose="020B0604020202020204" pitchFamily="34" charset="0"/>
                        </a:rPr>
                        <a:t>n (%)</a:t>
                      </a:r>
                    </a:p>
                  </a:txBody>
                  <a:tcPr marL="72000" marR="72000" marT="72000" marB="72000">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100" noProof="0" dirty="0">
                          <a:solidFill>
                            <a:srgbClr val="000000"/>
                          </a:solidFill>
                          <a:latin typeface="Arial" panose="020B0604020202020204" pitchFamily="34" charset="0"/>
                          <a:cs typeface="Arial" panose="020B0604020202020204" pitchFamily="34" charset="0"/>
                        </a:rPr>
                        <a:t> 77 (44)</a:t>
                      </a:r>
                    </a:p>
                  </a:txBody>
                  <a:tcPr marL="72000" marR="72000" marT="72000" marB="72000"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noProof="0" dirty="0">
                          <a:solidFill>
                            <a:srgbClr val="000000"/>
                          </a:solidFill>
                          <a:latin typeface="Arial" panose="020B0604020202020204" pitchFamily="34" charset="0"/>
                          <a:cs typeface="Arial" panose="020B0604020202020204" pitchFamily="34" charset="0"/>
                        </a:rPr>
                        <a:t>67 (75)</a:t>
                      </a:r>
                    </a:p>
                  </a:txBody>
                  <a:tcPr marL="72000" marR="72000" marT="72000" marB="72000"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1884274"/>
                  </a:ext>
                </a:extLst>
              </a:tr>
              <a:tr h="436608">
                <a:tc>
                  <a:txBody>
                    <a:bodyPr/>
                    <a:lstStyle/>
                    <a:p>
                      <a:pPr marL="0" marR="0" lvl="0" indent="0" algn="r" defTabSz="457200" rtl="0" eaLnBrk="1" fontAlgn="auto" latinLnBrk="0" hangingPunct="1">
                        <a:lnSpc>
                          <a:spcPct val="90000"/>
                        </a:lnSpc>
                        <a:spcBef>
                          <a:spcPts val="0"/>
                        </a:spcBef>
                        <a:spcAft>
                          <a:spcPts val="0"/>
                        </a:spcAft>
                        <a:buClr>
                          <a:srgbClr val="000000"/>
                        </a:buClr>
                        <a:buSzTx/>
                        <a:buFont typeface="Arial"/>
                        <a:buNone/>
                        <a:tabLst/>
                        <a:defRPr/>
                      </a:pPr>
                      <a:r>
                        <a:rPr lang="en-US" sz="1100" b="1" kern="1200" noProof="0" dirty="0">
                          <a:solidFill>
                            <a:srgbClr val="000000"/>
                          </a:solidFill>
                          <a:latin typeface="Arial" panose="020B0604020202020204" pitchFamily="34" charset="0"/>
                          <a:ea typeface="+mn-ea"/>
                          <a:cs typeface="Arial" panose="020B0604020202020204" pitchFamily="34" charset="0"/>
                        </a:rPr>
                        <a:t>Median PFS</a:t>
                      </a:r>
                      <a:r>
                        <a:rPr lang="en-US" sz="1100" b="0" kern="1200" noProof="0" dirty="0">
                          <a:solidFill>
                            <a:srgbClr val="000000"/>
                          </a:solidFill>
                          <a:latin typeface="Arial" panose="020B0604020202020204" pitchFamily="34" charset="0"/>
                          <a:ea typeface="+mn-ea"/>
                          <a:cs typeface="Arial" panose="020B0604020202020204" pitchFamily="34" charset="0"/>
                        </a:rPr>
                        <a:t>, months </a:t>
                      </a:r>
                    </a:p>
                  </a:txBody>
                  <a:tcPr marL="72000" marR="72000" marT="72000" marB="72000">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90000"/>
                        </a:lnSpc>
                      </a:pPr>
                      <a:r>
                        <a:rPr lang="en-US" sz="1100" b="1" kern="1200" noProof="0" dirty="0">
                          <a:solidFill>
                            <a:srgbClr val="000000"/>
                          </a:solidFill>
                          <a:latin typeface="Arial" panose="020B0604020202020204" pitchFamily="34" charset="0"/>
                          <a:ea typeface="+mn-ea"/>
                          <a:cs typeface="Arial" panose="020B0604020202020204" pitchFamily="34" charset="0"/>
                        </a:rPr>
                        <a:t>36.0</a:t>
                      </a:r>
                      <a:r>
                        <a:rPr lang="en-US" sz="1100" b="1" kern="1200" baseline="30000" noProof="0" dirty="0">
                          <a:solidFill>
                            <a:srgbClr val="000000"/>
                          </a:solidFill>
                          <a:latin typeface="Arial" panose="020B0604020202020204" pitchFamily="34" charset="0"/>
                          <a:ea typeface="+mn-ea"/>
                          <a:cs typeface="Arial" panose="020B0604020202020204" pitchFamily="34" charset="0"/>
                        </a:rPr>
                        <a:t>a</a:t>
                      </a:r>
                    </a:p>
                  </a:txBody>
                  <a:tcPr marL="72000" marR="72000" marT="72000" marB="7200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457200" rtl="0" eaLnBrk="1" latinLnBrk="0" hangingPunct="1">
                        <a:lnSpc>
                          <a:spcPct val="90000"/>
                        </a:lnSpc>
                      </a:pPr>
                      <a:r>
                        <a:rPr lang="en-US" sz="1100" b="1" kern="1200" noProof="0" dirty="0">
                          <a:solidFill>
                            <a:srgbClr val="000000"/>
                          </a:solidFill>
                          <a:latin typeface="Arial" panose="020B0604020202020204" pitchFamily="34" charset="0"/>
                          <a:ea typeface="+mn-ea"/>
                          <a:cs typeface="Arial" panose="020B0604020202020204" pitchFamily="34" charset="0"/>
                        </a:rPr>
                        <a:t>16.0</a:t>
                      </a:r>
                    </a:p>
                  </a:txBody>
                  <a:tcPr marL="72000" marR="72000" marT="72000" marB="72000" anchor="ctr">
                    <a:lnL>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37382897"/>
                  </a:ext>
                </a:extLst>
              </a:tr>
              <a:tr h="290304">
                <a:tc>
                  <a:txBody>
                    <a:bodyPr/>
                    <a:lstStyle/>
                    <a:p>
                      <a:pPr algn="r">
                        <a:lnSpc>
                          <a:spcPct val="90000"/>
                        </a:lnSpc>
                      </a:pPr>
                      <a:endParaRPr lang="en-US" sz="1100" b="1" noProof="0" dirty="0">
                        <a:solidFill>
                          <a:srgbClr val="000000"/>
                        </a:solidFill>
                        <a:latin typeface="Arial" panose="020B0604020202020204" pitchFamily="34" charset="0"/>
                        <a:cs typeface="Arial" panose="020B0604020202020204" pitchFamily="34" charset="0"/>
                      </a:endParaRPr>
                    </a:p>
                  </a:txBody>
                  <a:tcPr marL="72000" marR="72000" marT="72000" marB="72000">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100" b="1" noProof="0" dirty="0">
                          <a:solidFill>
                            <a:srgbClr val="000000"/>
                          </a:solidFill>
                          <a:latin typeface="Arial" panose="020B0604020202020204" pitchFamily="34" charset="0"/>
                          <a:cs typeface="Arial" panose="020B0604020202020204" pitchFamily="34" charset="0"/>
                        </a:rPr>
                        <a:t>HR 0.39 </a:t>
                      </a:r>
                      <a:r>
                        <a:rPr lang="en-US" sz="1100" b="0" noProof="0" dirty="0">
                          <a:solidFill>
                            <a:srgbClr val="000000"/>
                          </a:solidFill>
                          <a:latin typeface="Arial" panose="020B0604020202020204" pitchFamily="34" charset="0"/>
                          <a:cs typeface="Arial" panose="020B0604020202020204" pitchFamily="34" charset="0"/>
                        </a:rPr>
                        <a:t>(</a:t>
                      </a:r>
                      <a:r>
                        <a:rPr lang="en-US" sz="1100" noProof="0" dirty="0">
                          <a:solidFill>
                            <a:srgbClr val="000000"/>
                          </a:solidFill>
                          <a:latin typeface="Arial" panose="020B0604020202020204" pitchFamily="34" charset="0"/>
                          <a:cs typeface="Arial" panose="020B0604020202020204" pitchFamily="34" charset="0"/>
                        </a:rPr>
                        <a:t>95% CI, 0.28–0.54)</a:t>
                      </a:r>
                      <a:endParaRPr lang="en-US" sz="1100" b="1" i="0" noProof="0" dirty="0">
                        <a:solidFill>
                          <a:srgbClr val="000000"/>
                        </a:solidFill>
                        <a:latin typeface="Arial" panose="020B0604020202020204" pitchFamily="34" charset="0"/>
                        <a:cs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89620145"/>
                  </a:ext>
                </a:extLst>
              </a:tr>
            </a:tbl>
          </a:graphicData>
        </a:graphic>
      </p:graphicFrame>
      <p:graphicFrame>
        <p:nvGraphicFramePr>
          <p:cNvPr id="12" name="Table 11">
            <a:extLst>
              <a:ext uri="{FF2B5EF4-FFF2-40B4-BE49-F238E27FC236}">
                <a16:creationId xmlns:a16="http://schemas.microsoft.com/office/drawing/2014/main" id="{FE3F6984-1619-0AA7-3786-1AA431524F3C}"/>
              </a:ext>
            </a:extLst>
          </p:cNvPr>
          <p:cNvGraphicFramePr>
            <a:graphicFrameLocks noGrp="1"/>
          </p:cNvGraphicFramePr>
          <p:nvPr/>
        </p:nvGraphicFramePr>
        <p:xfrm>
          <a:off x="6409293" y="4767904"/>
          <a:ext cx="4500009" cy="1481256"/>
        </p:xfrm>
        <a:graphic>
          <a:graphicData uri="http://schemas.openxmlformats.org/drawingml/2006/table">
            <a:tbl>
              <a:tblPr firstRow="1" bandRow="1">
                <a:tableStyleId>{B301B821-A1FF-4177-AEE7-76D212191A09}</a:tableStyleId>
              </a:tblPr>
              <a:tblGrid>
                <a:gridCol w="1433133">
                  <a:extLst>
                    <a:ext uri="{9D8B030D-6E8A-4147-A177-3AD203B41FA5}">
                      <a16:colId xmlns:a16="http://schemas.microsoft.com/office/drawing/2014/main" val="2244434444"/>
                    </a:ext>
                  </a:extLst>
                </a:gridCol>
                <a:gridCol w="1631951">
                  <a:extLst>
                    <a:ext uri="{9D8B030D-6E8A-4147-A177-3AD203B41FA5}">
                      <a16:colId xmlns:a16="http://schemas.microsoft.com/office/drawing/2014/main" val="3804996999"/>
                    </a:ext>
                  </a:extLst>
                </a:gridCol>
                <a:gridCol w="1434925">
                  <a:extLst>
                    <a:ext uri="{9D8B030D-6E8A-4147-A177-3AD203B41FA5}">
                      <a16:colId xmlns:a16="http://schemas.microsoft.com/office/drawing/2014/main" val="227492736"/>
                    </a:ext>
                  </a:extLst>
                </a:gridCol>
              </a:tblGrid>
              <a:tr h="436608">
                <a:tc>
                  <a:txBody>
                    <a:bodyPr/>
                    <a:lstStyle/>
                    <a:p>
                      <a:pPr>
                        <a:lnSpc>
                          <a:spcPct val="90000"/>
                        </a:lnSpc>
                      </a:pPr>
                      <a:endParaRPr lang="en-US" sz="1100" b="1" noProof="0" dirty="0">
                        <a:latin typeface="Arial" panose="020B0604020202020204" pitchFamily="34" charset="0"/>
                        <a:cs typeface="Arial" panose="020B0604020202020204" pitchFamily="34" charset="0"/>
                      </a:endParaRPr>
                    </a:p>
                  </a:txBody>
                  <a:tcPr marL="72000" marR="72000" marT="72000" marB="72000" anchor="b">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100" noProof="0" dirty="0">
                          <a:latin typeface="Arial" panose="020B0604020202020204" pitchFamily="34" charset="0"/>
                          <a:cs typeface="Arial" panose="020B0604020202020204" pitchFamily="34" charset="0"/>
                        </a:rPr>
                        <a:t>Olaparib + </a:t>
                      </a:r>
                      <a:r>
                        <a:rPr lang="en-US" sz="1100" noProof="0" dirty="0" err="1">
                          <a:latin typeface="Arial" panose="020B0604020202020204" pitchFamily="34" charset="0"/>
                          <a:cs typeface="Arial" panose="020B0604020202020204" pitchFamily="34" charset="0"/>
                        </a:rPr>
                        <a:t>bev</a:t>
                      </a:r>
                      <a:r>
                        <a:rPr lang="en-US" sz="1100" noProof="0" dirty="0">
                          <a:latin typeface="Arial" panose="020B0604020202020204" pitchFamily="34" charset="0"/>
                          <a:cs typeface="Arial" panose="020B0604020202020204" pitchFamily="34" charset="0"/>
                        </a:rPr>
                        <a:t> </a:t>
                      </a:r>
                    </a:p>
                    <a:p>
                      <a:pPr algn="ctr">
                        <a:lnSpc>
                          <a:spcPct val="90000"/>
                        </a:lnSpc>
                      </a:pPr>
                      <a:r>
                        <a:rPr lang="en-US" sz="1100" noProof="0" dirty="0">
                          <a:latin typeface="Arial" panose="020B0604020202020204" pitchFamily="34" charset="0"/>
                          <a:cs typeface="Arial" panose="020B0604020202020204" pitchFamily="34" charset="0"/>
                        </a:rPr>
                        <a:t>(n=78)</a:t>
                      </a:r>
                    </a:p>
                  </a:txBody>
                  <a:tcPr marL="72000" marR="72000" marT="72000" marB="72000" anchor="b">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100" noProof="0" dirty="0">
                          <a:latin typeface="Arial" panose="020B0604020202020204" pitchFamily="34" charset="0"/>
                          <a:cs typeface="Arial" panose="020B0604020202020204" pitchFamily="34" charset="0"/>
                        </a:rPr>
                        <a:t>Placebo + </a:t>
                      </a:r>
                      <a:r>
                        <a:rPr lang="en-US" sz="1100" noProof="0" dirty="0" err="1">
                          <a:latin typeface="Arial" panose="020B0604020202020204" pitchFamily="34" charset="0"/>
                          <a:cs typeface="Arial" panose="020B0604020202020204" pitchFamily="34" charset="0"/>
                        </a:rPr>
                        <a:t>bev</a:t>
                      </a:r>
                      <a:r>
                        <a:rPr lang="en-US" sz="1100" noProof="0" dirty="0">
                          <a:latin typeface="Arial" panose="020B0604020202020204" pitchFamily="34" charset="0"/>
                          <a:cs typeface="Arial" panose="020B0604020202020204" pitchFamily="34" charset="0"/>
                        </a:rPr>
                        <a:t> (n=43)</a:t>
                      </a:r>
                    </a:p>
                  </a:txBody>
                  <a:tcPr marL="72000" marR="72000" marT="72000" marB="72000" anchor="b">
                    <a:lnL>
                      <a:noFill/>
                    </a:lnL>
                    <a:lnR w="12700" cmpd="sng">
                      <a:noFill/>
                    </a:lnR>
                    <a:lnT w="12700" cmpd="sng">
                      <a:noFill/>
                    </a:lnT>
                    <a:lnB w="12700" cmpd="sng">
                      <a:noFill/>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422251691"/>
                  </a:ext>
                </a:extLst>
              </a:tr>
              <a:tr h="290304">
                <a:tc>
                  <a:txBody>
                    <a:bodyPr/>
                    <a:lstStyle/>
                    <a:p>
                      <a:pPr algn="r">
                        <a:lnSpc>
                          <a:spcPct val="90000"/>
                        </a:lnSpc>
                      </a:pPr>
                      <a:r>
                        <a:rPr lang="en-US" sz="1100" b="1" noProof="0" dirty="0">
                          <a:solidFill>
                            <a:srgbClr val="000000"/>
                          </a:solidFill>
                          <a:latin typeface="Arial" panose="020B0604020202020204" pitchFamily="34" charset="0"/>
                          <a:cs typeface="Arial" panose="020B0604020202020204" pitchFamily="34" charset="0"/>
                        </a:rPr>
                        <a:t>Events</a:t>
                      </a:r>
                      <a:r>
                        <a:rPr lang="en-US" sz="1100" b="0" noProof="0" dirty="0">
                          <a:solidFill>
                            <a:srgbClr val="000000"/>
                          </a:solidFill>
                          <a:latin typeface="Arial" panose="020B0604020202020204" pitchFamily="34" charset="0"/>
                          <a:cs typeface="Arial" panose="020B0604020202020204" pitchFamily="34" charset="0"/>
                        </a:rPr>
                        <a:t>,</a:t>
                      </a:r>
                      <a:r>
                        <a:rPr lang="en-US" sz="1100" b="1" noProof="0" dirty="0">
                          <a:solidFill>
                            <a:srgbClr val="000000"/>
                          </a:solidFill>
                          <a:latin typeface="Arial" panose="020B0604020202020204" pitchFamily="34" charset="0"/>
                          <a:cs typeface="Arial" panose="020B0604020202020204" pitchFamily="34" charset="0"/>
                        </a:rPr>
                        <a:t> </a:t>
                      </a:r>
                      <a:r>
                        <a:rPr lang="en-US" sz="1100" b="0" noProof="0" dirty="0">
                          <a:solidFill>
                            <a:srgbClr val="000000"/>
                          </a:solidFill>
                          <a:latin typeface="Arial" panose="020B0604020202020204" pitchFamily="34" charset="0"/>
                          <a:cs typeface="Arial" panose="020B0604020202020204" pitchFamily="34" charset="0"/>
                        </a:rPr>
                        <a:t>n (%)</a:t>
                      </a:r>
                    </a:p>
                  </a:txBody>
                  <a:tcPr marL="72000" marR="72000" marT="72000" marB="72000">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100" noProof="0" dirty="0">
                          <a:solidFill>
                            <a:srgbClr val="000000"/>
                          </a:solidFill>
                          <a:latin typeface="Arial" panose="020B0604020202020204" pitchFamily="34" charset="0"/>
                          <a:cs typeface="Arial" panose="020B0604020202020204" pitchFamily="34" charset="0"/>
                        </a:rPr>
                        <a:t> 10 (13)</a:t>
                      </a:r>
                    </a:p>
                  </a:txBody>
                  <a:tcPr marL="72000" marR="72000" marT="72000" marB="72000"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noProof="0" dirty="0">
                          <a:solidFill>
                            <a:srgbClr val="000000"/>
                          </a:solidFill>
                          <a:latin typeface="Arial" panose="020B0604020202020204" pitchFamily="34" charset="0"/>
                          <a:cs typeface="Arial" panose="020B0604020202020204" pitchFamily="34" charset="0"/>
                        </a:rPr>
                        <a:t>25 (58)</a:t>
                      </a:r>
                    </a:p>
                  </a:txBody>
                  <a:tcPr marL="72000" marR="72000" marT="72000" marB="72000"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1884274"/>
                  </a:ext>
                </a:extLst>
              </a:tr>
              <a:tr h="436608">
                <a:tc>
                  <a:txBody>
                    <a:bodyPr/>
                    <a:lstStyle/>
                    <a:p>
                      <a:pPr marL="0" marR="0" lvl="0" indent="0" algn="r" defTabSz="457200" rtl="0" eaLnBrk="1" fontAlgn="auto" latinLnBrk="0" hangingPunct="1">
                        <a:lnSpc>
                          <a:spcPct val="90000"/>
                        </a:lnSpc>
                        <a:spcBef>
                          <a:spcPts val="0"/>
                        </a:spcBef>
                        <a:spcAft>
                          <a:spcPts val="0"/>
                        </a:spcAft>
                        <a:buClr>
                          <a:srgbClr val="000000"/>
                        </a:buClr>
                        <a:buSzTx/>
                        <a:buFont typeface="Arial"/>
                        <a:buNone/>
                        <a:tabLst/>
                        <a:defRPr/>
                      </a:pPr>
                      <a:r>
                        <a:rPr lang="en-US" sz="1100" b="1" kern="1200" noProof="0" dirty="0">
                          <a:solidFill>
                            <a:srgbClr val="000000"/>
                          </a:solidFill>
                          <a:latin typeface="Arial" panose="020B0604020202020204" pitchFamily="34" charset="0"/>
                          <a:ea typeface="+mn-ea"/>
                          <a:cs typeface="Arial" panose="020B0604020202020204" pitchFamily="34" charset="0"/>
                        </a:rPr>
                        <a:t>Median PFS</a:t>
                      </a:r>
                      <a:r>
                        <a:rPr lang="en-US" sz="1100" b="0" kern="1200" noProof="0" dirty="0">
                          <a:solidFill>
                            <a:srgbClr val="000000"/>
                          </a:solidFill>
                          <a:latin typeface="Arial" panose="020B0604020202020204" pitchFamily="34" charset="0"/>
                          <a:ea typeface="+mn-ea"/>
                          <a:cs typeface="Arial" panose="020B0604020202020204" pitchFamily="34" charset="0"/>
                        </a:rPr>
                        <a:t>, months </a:t>
                      </a:r>
                    </a:p>
                  </a:txBody>
                  <a:tcPr marL="72000" marR="72000" marT="72000" marB="72000">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90000"/>
                        </a:lnSpc>
                      </a:pPr>
                      <a:r>
                        <a:rPr lang="en-US" sz="1100" b="1" kern="1200" noProof="0" dirty="0">
                          <a:solidFill>
                            <a:srgbClr val="000000"/>
                          </a:solidFill>
                          <a:latin typeface="Arial" panose="020B0604020202020204" pitchFamily="34" charset="0"/>
                          <a:ea typeface="+mn-ea"/>
                          <a:cs typeface="Arial" panose="020B0604020202020204" pitchFamily="34" charset="0"/>
                        </a:rPr>
                        <a:t>NR</a:t>
                      </a:r>
                      <a:endParaRPr lang="en-US" sz="1100" b="1" kern="1200" baseline="30000" noProof="0" dirty="0">
                        <a:solidFill>
                          <a:srgbClr val="000000"/>
                        </a:solidFill>
                        <a:latin typeface="Arial" panose="020B0604020202020204" pitchFamily="34" charset="0"/>
                        <a:ea typeface="+mn-ea"/>
                        <a:cs typeface="Arial" panose="020B0604020202020204" pitchFamily="34" charset="0"/>
                      </a:endParaRPr>
                    </a:p>
                  </a:txBody>
                  <a:tcPr marL="72000" marR="72000" marT="72000" marB="7200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457200" rtl="0" eaLnBrk="1" latinLnBrk="0" hangingPunct="1">
                        <a:lnSpc>
                          <a:spcPct val="90000"/>
                        </a:lnSpc>
                      </a:pPr>
                      <a:r>
                        <a:rPr lang="en-US" sz="1100" b="1" kern="1200" noProof="0" dirty="0">
                          <a:solidFill>
                            <a:srgbClr val="000000"/>
                          </a:solidFill>
                          <a:latin typeface="Arial" panose="020B0604020202020204" pitchFamily="34" charset="0"/>
                          <a:ea typeface="+mn-ea"/>
                          <a:cs typeface="Arial" panose="020B0604020202020204" pitchFamily="34" charset="0"/>
                        </a:rPr>
                        <a:t>22.1</a:t>
                      </a:r>
                    </a:p>
                  </a:txBody>
                  <a:tcPr marL="72000" marR="72000" marT="72000" marB="72000" anchor="ctr">
                    <a:lnL>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37382897"/>
                  </a:ext>
                </a:extLst>
              </a:tr>
              <a:tr h="290304">
                <a:tc>
                  <a:txBody>
                    <a:bodyPr/>
                    <a:lstStyle/>
                    <a:p>
                      <a:pPr algn="r">
                        <a:lnSpc>
                          <a:spcPct val="90000"/>
                        </a:lnSpc>
                      </a:pPr>
                      <a:endParaRPr lang="en-US" sz="1100" b="1" noProof="0" dirty="0">
                        <a:solidFill>
                          <a:srgbClr val="000000"/>
                        </a:solidFill>
                        <a:latin typeface="Arial" panose="020B0604020202020204" pitchFamily="34" charset="0"/>
                        <a:cs typeface="Arial" panose="020B0604020202020204" pitchFamily="34" charset="0"/>
                      </a:endParaRPr>
                    </a:p>
                  </a:txBody>
                  <a:tcPr marL="72000" marR="72000" marT="72000" marB="72000">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100" b="1" noProof="0" dirty="0">
                          <a:solidFill>
                            <a:srgbClr val="000000"/>
                          </a:solidFill>
                          <a:latin typeface="Arial" panose="020B0604020202020204" pitchFamily="34" charset="0"/>
                          <a:cs typeface="Arial" panose="020B0604020202020204" pitchFamily="34" charset="0"/>
                        </a:rPr>
                        <a:t>HR 0.15 </a:t>
                      </a:r>
                      <a:r>
                        <a:rPr lang="en-US" sz="1100" b="0" noProof="0" dirty="0">
                          <a:solidFill>
                            <a:srgbClr val="000000"/>
                          </a:solidFill>
                          <a:latin typeface="Arial" panose="020B0604020202020204" pitchFamily="34" charset="0"/>
                          <a:cs typeface="Arial" panose="020B0604020202020204" pitchFamily="34" charset="0"/>
                        </a:rPr>
                        <a:t>(</a:t>
                      </a:r>
                      <a:r>
                        <a:rPr lang="en-US" sz="1100" noProof="0" dirty="0">
                          <a:solidFill>
                            <a:srgbClr val="000000"/>
                          </a:solidFill>
                          <a:latin typeface="Arial" panose="020B0604020202020204" pitchFamily="34" charset="0"/>
                          <a:cs typeface="Arial" panose="020B0604020202020204" pitchFamily="34" charset="0"/>
                        </a:rPr>
                        <a:t>95% CI, 0.07–0.30)</a:t>
                      </a:r>
                      <a:endParaRPr lang="en-US" sz="1100" b="1" i="0" noProof="0" dirty="0">
                        <a:solidFill>
                          <a:srgbClr val="000000"/>
                        </a:solidFill>
                        <a:latin typeface="Arial" panose="020B0604020202020204" pitchFamily="34" charset="0"/>
                        <a:cs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89620145"/>
                  </a:ext>
                </a:extLst>
              </a:tr>
            </a:tbl>
          </a:graphicData>
        </a:graphic>
      </p:graphicFrame>
      <p:sp>
        <p:nvSpPr>
          <p:cNvPr id="13" name="object 293">
            <a:extLst>
              <a:ext uri="{FF2B5EF4-FFF2-40B4-BE49-F238E27FC236}">
                <a16:creationId xmlns:a16="http://schemas.microsoft.com/office/drawing/2014/main" id="{A857E904-63A3-3BE5-5D7E-791845A4A247}"/>
              </a:ext>
            </a:extLst>
          </p:cNvPr>
          <p:cNvSpPr txBox="1"/>
          <p:nvPr/>
        </p:nvSpPr>
        <p:spPr>
          <a:xfrm>
            <a:off x="741837" y="4249269"/>
            <a:ext cx="1158361" cy="265329"/>
          </a:xfrm>
          <a:prstGeom prst="rect">
            <a:avLst/>
          </a:prstGeom>
        </p:spPr>
        <p:txBody>
          <a:bodyPr vert="horz" wrap="square" lIns="0" tIns="9525" rIns="0" bIns="0" rtlCol="0">
            <a:spAutoFit/>
          </a:bodyPr>
          <a:lstStyle/>
          <a:p>
            <a:pPr marL="25241" marR="3811" lvl="0" indent="-16193" algn="l" defTabSz="685783" rtl="0" eaLnBrk="1" fontAlgn="auto" latinLnBrk="0" hangingPunct="1">
              <a:lnSpc>
                <a:spcPct val="100000"/>
              </a:lnSpc>
              <a:spcBef>
                <a:spcPts val="0"/>
              </a:spcBef>
              <a:spcAft>
                <a:spcPts val="0"/>
              </a:spcAft>
              <a:buClrTx/>
              <a:buSzTx/>
              <a:buFontTx/>
              <a:buNone/>
              <a:tabLst/>
              <a:defRPr/>
            </a:pPr>
            <a:r>
              <a:rPr kumimoji="0" lang="en-US" sz="831" b="1"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Olaparib +</a:t>
            </a:r>
            <a:r>
              <a:rPr kumimoji="0" lang="en-US" sz="831" b="1" i="0" u="none" strike="noStrike" kern="1200" cap="none" spc="-56"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1" i="0" u="none" strike="noStrike" kern="1200" cap="none" spc="-8" normalizeH="0" baseline="0" noProof="0" dirty="0" err="1">
                <a:ln>
                  <a:noFill/>
                </a:ln>
                <a:solidFill>
                  <a:srgbClr val="251607"/>
                </a:solidFill>
                <a:effectLst/>
                <a:uLnTx/>
                <a:uFillTx/>
                <a:latin typeface="Arial" panose="020B0604020202020204"/>
                <a:ea typeface="MS PGothic" panose="020B0600070205080204" pitchFamily="34" charset="-128"/>
                <a:cs typeface="+mn-cs"/>
              </a:rPr>
              <a:t>bev</a:t>
            </a:r>
            <a:endParaRPr kumimoji="0" lang="en-US" sz="831" b="1" i="0" u="none" strike="noStrike" kern="1200" cap="none" spc="-8" normalizeH="0" baseline="0" noProof="0" dirty="0">
              <a:ln>
                <a:noFill/>
              </a:ln>
              <a:solidFill>
                <a:srgbClr val="251607"/>
              </a:solidFill>
              <a:effectLst/>
              <a:uLnTx/>
              <a:uFillTx/>
              <a:latin typeface="Arial" panose="020B0604020202020204"/>
              <a:ea typeface="MS PGothic" panose="020B0600070205080204" pitchFamily="34" charset="-128"/>
              <a:cs typeface="+mn-cs"/>
            </a:endParaRPr>
          </a:p>
          <a:p>
            <a:pPr marL="0" marR="3811" lvl="0" indent="7938" algn="l" defTabSz="685783" rtl="0" eaLnBrk="1" fontAlgn="auto" latinLnBrk="0" hangingPunct="1">
              <a:lnSpc>
                <a:spcPct val="100000"/>
              </a:lnSpc>
              <a:spcBef>
                <a:spcPts val="0"/>
              </a:spcBef>
              <a:spcAft>
                <a:spcPts val="0"/>
              </a:spcAft>
              <a:buClrTx/>
              <a:buSzTx/>
              <a:buFontTx/>
              <a:buNone/>
              <a:tabLst/>
              <a:defRPr/>
            </a:pPr>
            <a:r>
              <a:rPr kumimoji="0" lang="en-US" sz="831" b="1" i="0" u="none" strike="noStrike" kern="1200" cap="none" spc="-4" normalizeH="0" baseline="0" noProof="0" dirty="0">
                <a:ln>
                  <a:noFill/>
                </a:ln>
                <a:solidFill>
                  <a:srgbClr val="251607"/>
                </a:solidFill>
                <a:effectLst/>
                <a:uLnTx/>
                <a:uFillTx/>
                <a:latin typeface="Arial" panose="020B0604020202020204"/>
                <a:ea typeface="MS PGothic" panose="020B0600070205080204" pitchFamily="34" charset="-128"/>
                <a:cs typeface="+mn-cs"/>
              </a:rPr>
              <a:t>Placebo +</a:t>
            </a:r>
            <a:r>
              <a:rPr kumimoji="0" lang="en-US" sz="831" b="1" i="0" u="none" strike="noStrike" kern="1200" cap="none" spc="-60" normalizeH="0" baseline="0" noProof="0" dirty="0">
                <a:ln>
                  <a:noFill/>
                </a:ln>
                <a:solidFill>
                  <a:srgbClr val="251607"/>
                </a:solidFill>
                <a:effectLst/>
                <a:uLnTx/>
                <a:uFillTx/>
                <a:latin typeface="Arial" panose="020B0604020202020204"/>
                <a:ea typeface="MS PGothic" panose="020B0600070205080204" pitchFamily="34" charset="-128"/>
                <a:cs typeface="+mn-cs"/>
              </a:rPr>
              <a:t> </a:t>
            </a:r>
            <a:r>
              <a:rPr kumimoji="0" lang="en-US" sz="831" b="1" i="0" u="none" strike="noStrike" kern="1200" cap="none" spc="-8" normalizeH="0" baseline="0" noProof="0" dirty="0" err="1">
                <a:ln>
                  <a:noFill/>
                </a:ln>
                <a:solidFill>
                  <a:srgbClr val="251607"/>
                </a:solidFill>
                <a:effectLst/>
                <a:uLnTx/>
                <a:uFillTx/>
                <a:latin typeface="Arial" panose="020B0604020202020204"/>
                <a:ea typeface="MS PGothic" panose="020B0600070205080204" pitchFamily="34" charset="-128"/>
                <a:cs typeface="+mn-cs"/>
              </a:rPr>
              <a:t>bev</a:t>
            </a:r>
            <a:endParaRPr kumimoji="0" lang="en-US" sz="831" b="1" i="0" u="none" strike="noStrike" kern="1200" cap="none" spc="0" normalizeH="0" baseline="0" noProof="0" dirty="0">
              <a:ln>
                <a:noFill/>
              </a:ln>
              <a:solidFill>
                <a:srgbClr val="251607"/>
              </a:solidFill>
              <a:effectLst/>
              <a:uLnTx/>
              <a:uFillTx/>
              <a:latin typeface="Arial" panose="020B0604020202020204"/>
              <a:ea typeface="MS PGothic" panose="020B0600070205080204" pitchFamily="34" charset="-128"/>
              <a:cs typeface="+mn-cs"/>
            </a:endParaRPr>
          </a:p>
        </p:txBody>
      </p:sp>
      <p:sp>
        <p:nvSpPr>
          <p:cNvPr id="14" name="object 296">
            <a:extLst>
              <a:ext uri="{FF2B5EF4-FFF2-40B4-BE49-F238E27FC236}">
                <a16:creationId xmlns:a16="http://schemas.microsoft.com/office/drawing/2014/main" id="{5A14E0C4-C50B-6B08-D5C3-BE271EBA752A}"/>
              </a:ext>
            </a:extLst>
          </p:cNvPr>
          <p:cNvSpPr txBox="1"/>
          <p:nvPr/>
        </p:nvSpPr>
        <p:spPr>
          <a:xfrm>
            <a:off x="743710" y="4107930"/>
            <a:ext cx="1122045" cy="124682"/>
          </a:xfrm>
          <a:prstGeom prst="rect">
            <a:avLst/>
          </a:prstGeom>
        </p:spPr>
        <p:txBody>
          <a:bodyPr vert="horz" wrap="square" lIns="0" tIns="9049" rIns="0" bIns="0" rtlCol="0">
            <a:spAutoFit/>
          </a:bodyPr>
          <a:lstStyle/>
          <a:p>
            <a:pPr marL="9525" marR="0" lvl="0" indent="0" algn="l" defTabSz="685783" rtl="0" eaLnBrk="1" fontAlgn="auto" latinLnBrk="0" hangingPunct="1">
              <a:lnSpc>
                <a:spcPct val="100000"/>
              </a:lnSpc>
              <a:spcBef>
                <a:spcPts val="71"/>
              </a:spcBef>
              <a:spcAft>
                <a:spcPts val="0"/>
              </a:spcAft>
              <a:buClrTx/>
              <a:buSzTx/>
              <a:buFontTx/>
              <a:buNone/>
              <a:tabLst/>
              <a:defRPr/>
            </a:pPr>
            <a:r>
              <a:rPr kumimoji="0" lang="en-US" sz="751"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Patients at risk, n</a:t>
            </a:r>
            <a:r>
              <a:rPr kumimoji="0" lang="en-US" sz="600"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a:t>
            </a:r>
          </a:p>
        </p:txBody>
      </p:sp>
    </p:spTree>
    <p:extLst>
      <p:ext uri="{BB962C8B-B14F-4D97-AF65-F5344CB8AC3E}">
        <p14:creationId xmlns:p14="http://schemas.microsoft.com/office/powerpoint/2010/main" val="13540120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ángulo 33">
            <a:extLst>
              <a:ext uri="{FF2B5EF4-FFF2-40B4-BE49-F238E27FC236}">
                <a16:creationId xmlns:a16="http://schemas.microsoft.com/office/drawing/2014/main" id="{0AAF5479-E040-4E1E-E43E-49F7EB7766AF}"/>
              </a:ext>
            </a:extLst>
          </p:cNvPr>
          <p:cNvSpPr/>
          <p:nvPr/>
        </p:nvSpPr>
        <p:spPr>
          <a:xfrm>
            <a:off x="4042525" y="3332364"/>
            <a:ext cx="1927131" cy="1705064"/>
          </a:xfrm>
          <a:prstGeom prst="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CuadroTexto 3">
            <a:extLst>
              <a:ext uri="{FF2B5EF4-FFF2-40B4-BE49-F238E27FC236}">
                <a16:creationId xmlns:a16="http://schemas.microsoft.com/office/drawing/2014/main" id="{B82CA2A6-C26A-0C1F-C707-CD520E123342}"/>
              </a:ext>
            </a:extLst>
          </p:cNvPr>
          <p:cNvSpPr txBox="1"/>
          <p:nvPr/>
        </p:nvSpPr>
        <p:spPr>
          <a:xfrm>
            <a:off x="92530" y="787455"/>
            <a:ext cx="12006943" cy="461665"/>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a:ea typeface="+mn-ea"/>
                <a:cs typeface="+mn-cs"/>
              </a:rPr>
              <a:t>Integrating Molecular Diagnosis &amp; Response to Platinum into Maintenance Therapy Selection</a:t>
            </a:r>
            <a:endParaRPr kumimoji="0" lang="en-US" sz="2400" b="1" i="0" u="none" strike="noStrike" kern="1200" cap="none" spc="0" normalizeH="0" baseline="0" noProof="0" dirty="0">
              <a:ln>
                <a:noFill/>
              </a:ln>
              <a:solidFill>
                <a:srgbClr val="002060"/>
              </a:solidFill>
              <a:effectLst/>
              <a:uLnTx/>
              <a:uFillTx/>
              <a:latin typeface="Roboto" panose="02000000000000000000" pitchFamily="2" charset="0"/>
              <a:ea typeface="+mn-ea"/>
              <a:cs typeface="+mn-cs"/>
            </a:endParaRPr>
          </a:p>
        </p:txBody>
      </p:sp>
      <p:sp>
        <p:nvSpPr>
          <p:cNvPr id="5" name="CuadroTexto 4">
            <a:extLst>
              <a:ext uri="{FF2B5EF4-FFF2-40B4-BE49-F238E27FC236}">
                <a16:creationId xmlns:a16="http://schemas.microsoft.com/office/drawing/2014/main" id="{85256EF2-CBDE-D656-7C75-B68AA96667BB}"/>
              </a:ext>
            </a:extLst>
          </p:cNvPr>
          <p:cNvSpPr txBox="1"/>
          <p:nvPr/>
        </p:nvSpPr>
        <p:spPr>
          <a:xfrm>
            <a:off x="92528" y="3897092"/>
            <a:ext cx="2097882" cy="92333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Advanced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Ovarian Cancer</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 Assessment for PCS</a:t>
            </a:r>
          </a:p>
        </p:txBody>
      </p:sp>
      <p:sp>
        <p:nvSpPr>
          <p:cNvPr id="7" name="CuadroTexto 6">
            <a:extLst>
              <a:ext uri="{FF2B5EF4-FFF2-40B4-BE49-F238E27FC236}">
                <a16:creationId xmlns:a16="http://schemas.microsoft.com/office/drawing/2014/main" id="{7D5D0444-0D5E-649A-A34E-0679046CBC8B}"/>
              </a:ext>
            </a:extLst>
          </p:cNvPr>
          <p:cNvSpPr txBox="1"/>
          <p:nvPr/>
        </p:nvSpPr>
        <p:spPr>
          <a:xfrm>
            <a:off x="1537577" y="2033370"/>
            <a:ext cx="2250616" cy="1200329"/>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Primary Surger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residual disease or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CA-125 elevated after</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surgery)</a:t>
            </a:r>
          </a:p>
        </p:txBody>
      </p:sp>
      <p:sp>
        <p:nvSpPr>
          <p:cNvPr id="8" name="CuadroTexto 7">
            <a:extLst>
              <a:ext uri="{FF2B5EF4-FFF2-40B4-BE49-F238E27FC236}">
                <a16:creationId xmlns:a16="http://schemas.microsoft.com/office/drawing/2014/main" id="{CBA9C7C3-80BB-E461-2994-A2CCA77C1B22}"/>
              </a:ext>
            </a:extLst>
          </p:cNvPr>
          <p:cNvSpPr txBox="1"/>
          <p:nvPr/>
        </p:nvSpPr>
        <p:spPr>
          <a:xfrm>
            <a:off x="1966990" y="5218281"/>
            <a:ext cx="1391791" cy="369332"/>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NACT </a:t>
            </a: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sym typeface="Wingdings" pitchFamily="2" charset="2"/>
              </a:rPr>
              <a:t> I</a:t>
            </a: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CS </a:t>
            </a:r>
          </a:p>
        </p:txBody>
      </p:sp>
      <p:sp>
        <p:nvSpPr>
          <p:cNvPr id="15" name="CuadroTexto 14">
            <a:extLst>
              <a:ext uri="{FF2B5EF4-FFF2-40B4-BE49-F238E27FC236}">
                <a16:creationId xmlns:a16="http://schemas.microsoft.com/office/drawing/2014/main" id="{A8C8EDA9-F336-40B5-E4D4-54E124CF2D0B}"/>
              </a:ext>
            </a:extLst>
          </p:cNvPr>
          <p:cNvSpPr txBox="1"/>
          <p:nvPr/>
        </p:nvSpPr>
        <p:spPr>
          <a:xfrm>
            <a:off x="6188529" y="4000229"/>
            <a:ext cx="1109855" cy="369332"/>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 Cycle 4</a:t>
            </a:r>
          </a:p>
        </p:txBody>
      </p:sp>
      <p:sp>
        <p:nvSpPr>
          <p:cNvPr id="16" name="CuadroTexto 15">
            <a:extLst>
              <a:ext uri="{FF2B5EF4-FFF2-40B4-BE49-F238E27FC236}">
                <a16:creationId xmlns:a16="http://schemas.microsoft.com/office/drawing/2014/main" id="{49B01DD2-F2BF-52C7-0F6D-B6A966257539}"/>
              </a:ext>
            </a:extLst>
          </p:cNvPr>
          <p:cNvSpPr txBox="1"/>
          <p:nvPr/>
        </p:nvSpPr>
        <p:spPr>
          <a:xfrm>
            <a:off x="7183579" y="2524778"/>
            <a:ext cx="1902124" cy="646331"/>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Add Bevacizumab</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 if poor responder</a:t>
            </a:r>
          </a:p>
        </p:txBody>
      </p:sp>
      <p:sp>
        <p:nvSpPr>
          <p:cNvPr id="18" name="CuadroTexto 17">
            <a:extLst>
              <a:ext uri="{FF2B5EF4-FFF2-40B4-BE49-F238E27FC236}">
                <a16:creationId xmlns:a16="http://schemas.microsoft.com/office/drawing/2014/main" id="{6D7FDC87-F4B9-DE9C-3CB8-C22839E58109}"/>
              </a:ext>
            </a:extLst>
          </p:cNvPr>
          <p:cNvSpPr txBox="1"/>
          <p:nvPr/>
        </p:nvSpPr>
        <p:spPr>
          <a:xfrm>
            <a:off x="7398675" y="4895117"/>
            <a:ext cx="1927131" cy="646331"/>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No need for BEV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if good  responder</a:t>
            </a:r>
          </a:p>
        </p:txBody>
      </p:sp>
      <p:sp>
        <p:nvSpPr>
          <p:cNvPr id="20" name="CuadroTexto 19">
            <a:extLst>
              <a:ext uri="{FF2B5EF4-FFF2-40B4-BE49-F238E27FC236}">
                <a16:creationId xmlns:a16="http://schemas.microsoft.com/office/drawing/2014/main" id="{68089AE7-B5AE-C0AD-5DDD-A1D17B9E2CD0}"/>
              </a:ext>
            </a:extLst>
          </p:cNvPr>
          <p:cNvSpPr txBox="1"/>
          <p:nvPr/>
        </p:nvSpPr>
        <p:spPr>
          <a:xfrm>
            <a:off x="9116378" y="1581918"/>
            <a:ext cx="2991909" cy="646331"/>
          </a:xfrm>
          <a:prstGeom prst="rect">
            <a:avLst/>
          </a:prstGeom>
          <a:solidFill>
            <a:schemeClr val="accent4"/>
          </a:solid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Maintenance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after platinum-based therapy</a:t>
            </a:r>
          </a:p>
        </p:txBody>
      </p:sp>
      <p:sp>
        <p:nvSpPr>
          <p:cNvPr id="21" name="CuadroTexto 20">
            <a:extLst>
              <a:ext uri="{FF2B5EF4-FFF2-40B4-BE49-F238E27FC236}">
                <a16:creationId xmlns:a16="http://schemas.microsoft.com/office/drawing/2014/main" id="{B5390493-0643-7484-3301-441C784CC14B}"/>
              </a:ext>
            </a:extLst>
          </p:cNvPr>
          <p:cNvSpPr txBox="1"/>
          <p:nvPr/>
        </p:nvSpPr>
        <p:spPr>
          <a:xfrm>
            <a:off x="9920238" y="2505549"/>
            <a:ext cx="1665328" cy="646331"/>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Add </a:t>
            </a:r>
            <a:r>
              <a:rPr kumimoji="0" lang="en-US" sz="1800" b="1" i="0" u="none" strike="noStrike" kern="1200" cap="none" spc="0" normalizeH="0" baseline="0" noProof="0" dirty="0" err="1">
                <a:ln>
                  <a:noFill/>
                </a:ln>
                <a:solidFill>
                  <a:srgbClr val="002060"/>
                </a:solidFill>
                <a:effectLst/>
                <a:uLnTx/>
                <a:uFillTx/>
                <a:latin typeface="Calibri" panose="020F0502020204030204"/>
                <a:ea typeface="+mn-ea"/>
                <a:cs typeface="+mn-cs"/>
              </a:rPr>
              <a:t>PARPi</a:t>
            </a:r>
            <a:endPar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 if HRD-positive</a:t>
            </a:r>
          </a:p>
        </p:txBody>
      </p:sp>
      <p:sp>
        <p:nvSpPr>
          <p:cNvPr id="22" name="CuadroTexto 21">
            <a:extLst>
              <a:ext uri="{FF2B5EF4-FFF2-40B4-BE49-F238E27FC236}">
                <a16:creationId xmlns:a16="http://schemas.microsoft.com/office/drawing/2014/main" id="{A2713C49-5F02-3F2B-FA48-5A1C31B2C95D}"/>
              </a:ext>
            </a:extLst>
          </p:cNvPr>
          <p:cNvSpPr txBox="1"/>
          <p:nvPr/>
        </p:nvSpPr>
        <p:spPr>
          <a:xfrm>
            <a:off x="10162642" y="5037428"/>
            <a:ext cx="1180516" cy="369332"/>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Add </a:t>
            </a:r>
            <a:r>
              <a:rPr kumimoji="0" lang="en-US" sz="1800" b="1" i="0" u="none" strike="noStrike" kern="1200" cap="none" spc="0" normalizeH="0" baseline="0" noProof="0" dirty="0" err="1">
                <a:ln>
                  <a:noFill/>
                </a:ln>
                <a:solidFill>
                  <a:srgbClr val="002060"/>
                </a:solidFill>
                <a:effectLst/>
                <a:uLnTx/>
                <a:uFillTx/>
                <a:latin typeface="Calibri" panose="020F0502020204030204"/>
                <a:ea typeface="+mn-ea"/>
                <a:cs typeface="+mn-cs"/>
              </a:rPr>
              <a:t>PARPi</a:t>
            </a:r>
            <a:endPar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cxnSp>
        <p:nvCxnSpPr>
          <p:cNvPr id="24" name="Conector angular 23">
            <a:extLst>
              <a:ext uri="{FF2B5EF4-FFF2-40B4-BE49-F238E27FC236}">
                <a16:creationId xmlns:a16="http://schemas.microsoft.com/office/drawing/2014/main" id="{7D7BA458-DFBD-73EF-6F2A-071D7A8DF078}"/>
              </a:ext>
            </a:extLst>
          </p:cNvPr>
          <p:cNvCxnSpPr>
            <a:stCxn id="5" idx="0"/>
            <a:endCxn id="7" idx="1"/>
          </p:cNvCxnSpPr>
          <p:nvPr/>
        </p:nvCxnSpPr>
        <p:spPr>
          <a:xfrm rot="5400000" flipH="1" flipV="1">
            <a:off x="707745" y="3067260"/>
            <a:ext cx="1263557" cy="39610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ector angular 25">
            <a:extLst>
              <a:ext uri="{FF2B5EF4-FFF2-40B4-BE49-F238E27FC236}">
                <a16:creationId xmlns:a16="http://schemas.microsoft.com/office/drawing/2014/main" id="{632C5072-3A2B-D5EE-616E-6AC9E3395F91}"/>
              </a:ext>
            </a:extLst>
          </p:cNvPr>
          <p:cNvCxnSpPr>
            <a:stCxn id="5" idx="2"/>
            <a:endCxn id="8" idx="1"/>
          </p:cNvCxnSpPr>
          <p:nvPr/>
        </p:nvCxnSpPr>
        <p:spPr>
          <a:xfrm rot="16200000" flipH="1">
            <a:off x="1262967" y="4698923"/>
            <a:ext cx="582525" cy="82552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Conector angular 28">
            <a:extLst>
              <a:ext uri="{FF2B5EF4-FFF2-40B4-BE49-F238E27FC236}">
                <a16:creationId xmlns:a16="http://schemas.microsoft.com/office/drawing/2014/main" id="{866B89A1-FCAE-21FD-AF62-830B9223E4FF}"/>
              </a:ext>
            </a:extLst>
          </p:cNvPr>
          <p:cNvCxnSpPr>
            <a:stCxn id="7" idx="3"/>
            <a:endCxn id="10" idx="1"/>
          </p:cNvCxnSpPr>
          <p:nvPr/>
        </p:nvCxnSpPr>
        <p:spPr>
          <a:xfrm>
            <a:off x="3788193" y="2633535"/>
            <a:ext cx="233078" cy="155136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Conector angular 30">
            <a:extLst>
              <a:ext uri="{FF2B5EF4-FFF2-40B4-BE49-F238E27FC236}">
                <a16:creationId xmlns:a16="http://schemas.microsoft.com/office/drawing/2014/main" id="{39949CBA-A896-5004-9EC3-4F69ED8EFC2D}"/>
              </a:ext>
            </a:extLst>
          </p:cNvPr>
          <p:cNvCxnSpPr>
            <a:stCxn id="8" idx="3"/>
            <a:endCxn id="10" idx="1"/>
          </p:cNvCxnSpPr>
          <p:nvPr/>
        </p:nvCxnSpPr>
        <p:spPr>
          <a:xfrm flipV="1">
            <a:off x="3358781" y="4184899"/>
            <a:ext cx="662490" cy="121804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5BE072AE-0855-4F47-4185-FF7C359DC88F}"/>
              </a:ext>
            </a:extLst>
          </p:cNvPr>
          <p:cNvGrpSpPr/>
          <p:nvPr/>
        </p:nvGrpSpPr>
        <p:grpSpPr>
          <a:xfrm>
            <a:off x="4021271" y="3332366"/>
            <a:ext cx="1944635" cy="1705065"/>
            <a:chOff x="3515941" y="2480322"/>
            <a:chExt cx="1962300" cy="1705063"/>
          </a:xfrm>
        </p:grpSpPr>
        <p:sp>
          <p:nvSpPr>
            <p:cNvPr id="10" name="CuadroTexto 9">
              <a:extLst>
                <a:ext uri="{FF2B5EF4-FFF2-40B4-BE49-F238E27FC236}">
                  <a16:creationId xmlns:a16="http://schemas.microsoft.com/office/drawing/2014/main" id="{62FB8F8E-7BEF-2DC4-B55A-9EEBD57B35C5}"/>
                </a:ext>
              </a:extLst>
            </p:cNvPr>
            <p:cNvSpPr txBox="1"/>
            <p:nvPr/>
          </p:nvSpPr>
          <p:spPr>
            <a:xfrm>
              <a:off x="3515941" y="3148188"/>
              <a:ext cx="1962300" cy="369332"/>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BRCA/HRD Testing</a:t>
              </a:r>
            </a:p>
          </p:txBody>
        </p:sp>
        <p:sp>
          <p:nvSpPr>
            <p:cNvPr id="12" name="CuadroTexto 11">
              <a:extLst>
                <a:ext uri="{FF2B5EF4-FFF2-40B4-BE49-F238E27FC236}">
                  <a16:creationId xmlns:a16="http://schemas.microsoft.com/office/drawing/2014/main" id="{020108AE-B1A6-ACCB-A105-A18395496DB2}"/>
                </a:ext>
              </a:extLst>
            </p:cNvPr>
            <p:cNvSpPr txBox="1"/>
            <p:nvPr/>
          </p:nvSpPr>
          <p:spPr>
            <a:xfrm>
              <a:off x="3517097" y="2480322"/>
              <a:ext cx="1705496" cy="369332"/>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KELIM Cycle 1-3</a:t>
              </a:r>
            </a:p>
          </p:txBody>
        </p:sp>
        <p:sp>
          <p:nvSpPr>
            <p:cNvPr id="14" name="CuadroTexto 13">
              <a:extLst>
                <a:ext uri="{FF2B5EF4-FFF2-40B4-BE49-F238E27FC236}">
                  <a16:creationId xmlns:a16="http://schemas.microsoft.com/office/drawing/2014/main" id="{C49299A7-487E-ABF4-D37F-8074818DE5C3}"/>
                </a:ext>
              </a:extLst>
            </p:cNvPr>
            <p:cNvSpPr txBox="1"/>
            <p:nvPr/>
          </p:nvSpPr>
          <p:spPr>
            <a:xfrm>
              <a:off x="3756951" y="3816053"/>
              <a:ext cx="1225791" cy="369332"/>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CRS (if ICS)</a:t>
              </a:r>
            </a:p>
          </p:txBody>
        </p:sp>
      </p:grpSp>
      <p:cxnSp>
        <p:nvCxnSpPr>
          <p:cNvPr id="36" name="Conector recto de flecha 35">
            <a:extLst>
              <a:ext uri="{FF2B5EF4-FFF2-40B4-BE49-F238E27FC236}">
                <a16:creationId xmlns:a16="http://schemas.microsoft.com/office/drawing/2014/main" id="{21130B0C-7978-4C5E-794E-B58745217C6F}"/>
              </a:ext>
            </a:extLst>
          </p:cNvPr>
          <p:cNvCxnSpPr>
            <a:stCxn id="10" idx="3"/>
            <a:endCxn id="15" idx="1"/>
          </p:cNvCxnSpPr>
          <p:nvPr/>
        </p:nvCxnSpPr>
        <p:spPr>
          <a:xfrm flipV="1">
            <a:off x="5965906" y="4184895"/>
            <a:ext cx="222623" cy="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Conector angular 37">
            <a:extLst>
              <a:ext uri="{FF2B5EF4-FFF2-40B4-BE49-F238E27FC236}">
                <a16:creationId xmlns:a16="http://schemas.microsoft.com/office/drawing/2014/main" id="{D133488F-A115-EB8A-7577-710A127C8DDA}"/>
              </a:ext>
            </a:extLst>
          </p:cNvPr>
          <p:cNvCxnSpPr>
            <a:stCxn id="15" idx="0"/>
            <a:endCxn id="16" idx="1"/>
          </p:cNvCxnSpPr>
          <p:nvPr/>
        </p:nvCxnSpPr>
        <p:spPr>
          <a:xfrm rot="5400000" flipH="1" flipV="1">
            <a:off x="6387376" y="3204026"/>
            <a:ext cx="1152285" cy="44012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Conector angular 39">
            <a:extLst>
              <a:ext uri="{FF2B5EF4-FFF2-40B4-BE49-F238E27FC236}">
                <a16:creationId xmlns:a16="http://schemas.microsoft.com/office/drawing/2014/main" id="{EC64F7EA-2E2C-3658-6D31-0AAF175D54AE}"/>
              </a:ext>
            </a:extLst>
          </p:cNvPr>
          <p:cNvCxnSpPr>
            <a:stCxn id="15" idx="2"/>
            <a:endCxn id="18" idx="1"/>
          </p:cNvCxnSpPr>
          <p:nvPr/>
        </p:nvCxnSpPr>
        <p:spPr>
          <a:xfrm rot="16200000" flipH="1">
            <a:off x="6646705" y="4466313"/>
            <a:ext cx="848722" cy="655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Conector recto de flecha 41">
            <a:extLst>
              <a:ext uri="{FF2B5EF4-FFF2-40B4-BE49-F238E27FC236}">
                <a16:creationId xmlns:a16="http://schemas.microsoft.com/office/drawing/2014/main" id="{9F832DD6-1456-97DD-69C2-A8F3DC7A4C3D}"/>
              </a:ext>
            </a:extLst>
          </p:cNvPr>
          <p:cNvCxnSpPr>
            <a:stCxn id="16" idx="3"/>
            <a:endCxn id="21" idx="1"/>
          </p:cNvCxnSpPr>
          <p:nvPr/>
        </p:nvCxnSpPr>
        <p:spPr>
          <a:xfrm flipV="1">
            <a:off x="9085703" y="2828715"/>
            <a:ext cx="834535" cy="192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ector recto de flecha 43">
            <a:extLst>
              <a:ext uri="{FF2B5EF4-FFF2-40B4-BE49-F238E27FC236}">
                <a16:creationId xmlns:a16="http://schemas.microsoft.com/office/drawing/2014/main" id="{2DB992E7-7FDD-1C14-85EF-FCBB42063133}"/>
              </a:ext>
            </a:extLst>
          </p:cNvPr>
          <p:cNvCxnSpPr>
            <a:stCxn id="18" idx="3"/>
          </p:cNvCxnSpPr>
          <p:nvPr/>
        </p:nvCxnSpPr>
        <p:spPr>
          <a:xfrm flipV="1">
            <a:off x="9325806" y="5217916"/>
            <a:ext cx="772458" cy="3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sellaDiTesto 27">
            <a:extLst>
              <a:ext uri="{FF2B5EF4-FFF2-40B4-BE49-F238E27FC236}">
                <a16:creationId xmlns:a16="http://schemas.microsoft.com/office/drawing/2014/main" id="{6437470D-E32B-440C-905A-B0B2E668BCEF}"/>
              </a:ext>
            </a:extLst>
          </p:cNvPr>
          <p:cNvSpPr txBox="1"/>
          <p:nvPr/>
        </p:nvSpPr>
        <p:spPr>
          <a:xfrm>
            <a:off x="94533" y="219194"/>
            <a:ext cx="11851577" cy="502766"/>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C00000"/>
                </a:solidFill>
                <a:effectLst/>
                <a:uLnTx/>
                <a:uFillTx/>
                <a:latin typeface="Calibri" panose="020F0502020204030204"/>
                <a:ea typeface="+mn-ea"/>
                <a:cs typeface="+mn-cs"/>
              </a:rPr>
              <a:t>To Be(v) or not to Be(v): </a:t>
            </a:r>
            <a:r>
              <a:rPr kumimoji="0" lang="en-US" sz="2667" b="1" i="0" u="sng" strike="noStrike" kern="1200" cap="none" spc="0" normalizeH="0" baseline="0" noProof="0" dirty="0">
                <a:ln>
                  <a:noFill/>
                </a:ln>
                <a:solidFill>
                  <a:srgbClr val="C00000"/>
                </a:solidFill>
                <a:effectLst/>
                <a:uLnTx/>
                <a:uFillTx/>
                <a:latin typeface="Calibri" panose="020F0502020204030204"/>
                <a:ea typeface="+mn-ea"/>
                <a:cs typeface="+mn-cs"/>
              </a:rPr>
              <a:t>response to chemotherapy </a:t>
            </a:r>
            <a:r>
              <a:rPr kumimoji="0" lang="en-US" sz="2667" b="1" i="0" u="none" strike="noStrike" kern="1200" cap="none" spc="0" normalizeH="0" baseline="0" noProof="0" dirty="0">
                <a:ln>
                  <a:noFill/>
                </a:ln>
                <a:solidFill>
                  <a:srgbClr val="C00000"/>
                </a:solidFill>
                <a:effectLst/>
                <a:uLnTx/>
                <a:uFillTx/>
                <a:latin typeface="Calibri" panose="020F0502020204030204"/>
                <a:ea typeface="+mn-ea"/>
                <a:cs typeface="+mn-cs"/>
              </a:rPr>
              <a:t>as predictive factor for </a:t>
            </a:r>
            <a:r>
              <a:rPr kumimoji="0" lang="en-US" sz="2667" b="1" i="0" u="none" strike="noStrike" kern="1200" cap="none" spc="0" normalizeH="0" baseline="0" noProof="0" dirty="0" err="1">
                <a:ln>
                  <a:noFill/>
                </a:ln>
                <a:solidFill>
                  <a:srgbClr val="C00000"/>
                </a:solidFill>
                <a:effectLst/>
                <a:uLnTx/>
                <a:uFillTx/>
                <a:latin typeface="Calibri" panose="020F0502020204030204"/>
                <a:ea typeface="+mn-ea"/>
                <a:cs typeface="+mn-cs"/>
              </a:rPr>
              <a:t>PARPi</a:t>
            </a:r>
            <a:r>
              <a:rPr kumimoji="0" lang="en-US" sz="2667" b="1" i="0" u="none" strike="noStrike" kern="1200" cap="none" spc="0" normalizeH="0" baseline="0" noProof="0" dirty="0">
                <a:ln>
                  <a:noFill/>
                </a:ln>
                <a:solidFill>
                  <a:srgbClr val="C00000"/>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12917161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8" grpId="0"/>
      <p:bldP spid="21" grpId="0"/>
      <p:bldP spid="2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D1CAB9-FAA7-BB1D-CDFB-BB8AC6D7A7C3}"/>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39791C33-E86E-4547-301E-DD0B5633204A}"/>
              </a:ext>
            </a:extLst>
          </p:cNvPr>
          <p:cNvSpPr>
            <a:spLocks noGrp="1"/>
          </p:cNvSpPr>
          <p:nvPr>
            <p:ph type="title"/>
          </p:nvPr>
        </p:nvSpPr>
        <p:spPr/>
        <p:txBody>
          <a:bodyPr/>
          <a:lstStyle/>
          <a:p>
            <a:r>
              <a:rPr lang="en-US" u="sng" noProof="0" dirty="0"/>
              <a:t>Safety profile </a:t>
            </a:r>
            <a:r>
              <a:rPr lang="en-US" noProof="0" dirty="0"/>
              <a:t>across first-line maintenance trials: Summary</a:t>
            </a:r>
          </a:p>
        </p:txBody>
      </p:sp>
      <p:sp>
        <p:nvSpPr>
          <p:cNvPr id="11" name="Text Placeholder 3">
            <a:extLst>
              <a:ext uri="{FF2B5EF4-FFF2-40B4-BE49-F238E27FC236}">
                <a16:creationId xmlns:a16="http://schemas.microsoft.com/office/drawing/2014/main" id="{0913596D-F509-C4A9-4093-B82E16668D8B}"/>
              </a:ext>
            </a:extLst>
          </p:cNvPr>
          <p:cNvSpPr>
            <a:spLocks noGrp="1"/>
          </p:cNvSpPr>
          <p:nvPr>
            <p:ph type="body" sz="quarter" idx="10"/>
          </p:nvPr>
        </p:nvSpPr>
        <p:spPr>
          <a:xfrm>
            <a:off x="357433" y="6437314"/>
            <a:ext cx="11529723" cy="420687"/>
          </a:xfrm>
        </p:spPr>
        <p:txBody>
          <a:bodyPr anchor="b">
            <a:noAutofit/>
          </a:bodyPr>
          <a:lstStyle/>
          <a:p>
            <a:pPr>
              <a:spcBef>
                <a:spcPts val="200"/>
              </a:spcBef>
            </a:pPr>
            <a:r>
              <a:rPr lang="en-US" sz="700" b="1" dirty="0"/>
              <a:t>Please note that head-to-head studies were not conducted between these products. These data are for information purposes only and no comparative claims of non-inferiority or superiority in terms of efficacy or safety are implied or intended. Cross-trial comparisons are not head-to-head studies; varying study designs, methodology and populations limit ability to draw conclusions of comparative efficacy and safety. </a:t>
            </a:r>
          </a:p>
          <a:p>
            <a:pPr>
              <a:spcBef>
                <a:spcPts val="200"/>
              </a:spcBef>
            </a:pPr>
            <a:r>
              <a:rPr lang="en-US" sz="700" baseline="30000" dirty="0" err="1"/>
              <a:t>a</a:t>
            </a:r>
            <a:r>
              <a:rPr lang="en-US" sz="700" dirty="0" err="1"/>
              <a:t>Median</a:t>
            </a:r>
            <a:r>
              <a:rPr lang="en-US" sz="700" dirty="0"/>
              <a:t> follow-up of 89 months for olaparib and 87 months for placebo. </a:t>
            </a:r>
            <a:r>
              <a:rPr lang="en-US" sz="700" baseline="30000" dirty="0" err="1"/>
              <a:t>b</a:t>
            </a:r>
            <a:r>
              <a:rPr lang="en-US" sz="700" dirty="0" err="1"/>
              <a:t>Median</a:t>
            </a:r>
            <a:r>
              <a:rPr lang="en-US" sz="700" dirty="0"/>
              <a:t> follow-up of 24 months in the olaparib arm and 23 months in the placebo arm. </a:t>
            </a:r>
            <a:r>
              <a:rPr lang="en-US" sz="700" baseline="30000" dirty="0" err="1"/>
              <a:t>c</a:t>
            </a:r>
            <a:r>
              <a:rPr lang="en-US" sz="700" dirty="0" err="1"/>
              <a:t>In</a:t>
            </a:r>
            <a:r>
              <a:rPr lang="en-US" sz="700" dirty="0"/>
              <a:t> both arms, median follow-up of 6.2 years. </a:t>
            </a:r>
          </a:p>
          <a:p>
            <a:pPr>
              <a:spcBef>
                <a:spcPts val="200"/>
              </a:spcBef>
            </a:pPr>
            <a:r>
              <a:rPr lang="en-US" sz="700" dirty="0"/>
              <a:t>AE, adverse event; AML, acute myeloid </a:t>
            </a:r>
            <a:r>
              <a:rPr lang="en-US" sz="700" dirty="0" err="1"/>
              <a:t>leukaemia</a:t>
            </a:r>
            <a:r>
              <a:rPr lang="en-US" sz="700" dirty="0"/>
              <a:t>; </a:t>
            </a:r>
            <a:r>
              <a:rPr lang="en-US" sz="700" dirty="0" err="1"/>
              <a:t>bev</a:t>
            </a:r>
            <a:r>
              <a:rPr lang="en-US" sz="700" dirty="0"/>
              <a:t>, bevacizumab; FSD, fixed starting dose; ISD, </a:t>
            </a:r>
            <a:r>
              <a:rPr lang="en-US" sz="700" dirty="0" err="1"/>
              <a:t>individualised</a:t>
            </a:r>
            <a:r>
              <a:rPr lang="en-US" sz="700" dirty="0"/>
              <a:t> starting dose; MDS, myelodysplastic syndrome; OS, overall survival.</a:t>
            </a:r>
          </a:p>
          <a:p>
            <a:pPr>
              <a:spcBef>
                <a:spcPts val="200"/>
              </a:spcBef>
            </a:pPr>
            <a:r>
              <a:rPr lang="en-US" sz="700" dirty="0"/>
              <a:t>1. DiSilvestro P, et al. </a:t>
            </a:r>
            <a:r>
              <a:rPr lang="en-US" sz="700" i="1" dirty="0"/>
              <a:t>J Clin Oncol</a:t>
            </a:r>
            <a:r>
              <a:rPr lang="en-US" sz="700" dirty="0"/>
              <a:t>. 2023;41(3):609–617; 2. Ray-Coquard I, et al. </a:t>
            </a:r>
            <a:r>
              <a:rPr lang="en-US" sz="700" i="1" dirty="0"/>
              <a:t>N Engl J Med</a:t>
            </a:r>
            <a:r>
              <a:rPr lang="en-US" sz="700" dirty="0"/>
              <a:t>. 2019;381(25):2416–2428; 3. Monk BJ, et al. </a:t>
            </a:r>
            <a:r>
              <a:rPr lang="en-US" sz="700" i="1" dirty="0"/>
              <a:t>Ann Oncol</a:t>
            </a:r>
            <a:r>
              <a:rPr lang="en-US" sz="700" dirty="0"/>
              <a:t>. 2024;35(11):981–992; </a:t>
            </a:r>
            <a:br>
              <a:rPr lang="en-US" sz="700" dirty="0"/>
            </a:br>
            <a:r>
              <a:rPr lang="en-US" sz="700" dirty="0"/>
              <a:t>4. Monk BJ, et al. Presented at: ASCO Annual Meeting; 3–7 June 2022; Chicago, IL, USA [Abstract LBA5500]. </a:t>
            </a:r>
          </a:p>
        </p:txBody>
      </p:sp>
      <p:graphicFrame>
        <p:nvGraphicFramePr>
          <p:cNvPr id="12" name="Table 11">
            <a:extLst>
              <a:ext uri="{FF2B5EF4-FFF2-40B4-BE49-F238E27FC236}">
                <a16:creationId xmlns:a16="http://schemas.microsoft.com/office/drawing/2014/main" id="{4DDE8BCF-794F-24EC-9D46-72501FFC3B08}"/>
              </a:ext>
            </a:extLst>
          </p:cNvPr>
          <p:cNvGraphicFramePr>
            <a:graphicFrameLocks noGrp="1"/>
          </p:cNvGraphicFramePr>
          <p:nvPr/>
        </p:nvGraphicFramePr>
        <p:xfrm>
          <a:off x="357433" y="1150073"/>
          <a:ext cx="11529723" cy="3292200"/>
        </p:xfrm>
        <a:graphic>
          <a:graphicData uri="http://schemas.openxmlformats.org/drawingml/2006/table">
            <a:tbl>
              <a:tblPr firstRow="1" bandRow="1"/>
              <a:tblGrid>
                <a:gridCol w="1897394">
                  <a:extLst>
                    <a:ext uri="{9D8B030D-6E8A-4147-A177-3AD203B41FA5}">
                      <a16:colId xmlns:a16="http://schemas.microsoft.com/office/drawing/2014/main" val="4215643429"/>
                    </a:ext>
                  </a:extLst>
                </a:gridCol>
                <a:gridCol w="968917">
                  <a:extLst>
                    <a:ext uri="{9D8B030D-6E8A-4147-A177-3AD203B41FA5}">
                      <a16:colId xmlns:a16="http://schemas.microsoft.com/office/drawing/2014/main" val="3418559668"/>
                    </a:ext>
                  </a:extLst>
                </a:gridCol>
                <a:gridCol w="858898">
                  <a:extLst>
                    <a:ext uri="{9D8B030D-6E8A-4147-A177-3AD203B41FA5}">
                      <a16:colId xmlns:a16="http://schemas.microsoft.com/office/drawing/2014/main" val="460209008"/>
                    </a:ext>
                  </a:extLst>
                </a:gridCol>
                <a:gridCol w="1114247">
                  <a:extLst>
                    <a:ext uri="{9D8B030D-6E8A-4147-A177-3AD203B41FA5}">
                      <a16:colId xmlns:a16="http://schemas.microsoft.com/office/drawing/2014/main" val="3973372612"/>
                    </a:ext>
                  </a:extLst>
                </a:gridCol>
                <a:gridCol w="1195494">
                  <a:extLst>
                    <a:ext uri="{9D8B030D-6E8A-4147-A177-3AD203B41FA5}">
                      <a16:colId xmlns:a16="http://schemas.microsoft.com/office/drawing/2014/main" val="2699284704"/>
                    </a:ext>
                  </a:extLst>
                </a:gridCol>
                <a:gridCol w="1172281">
                  <a:extLst>
                    <a:ext uri="{9D8B030D-6E8A-4147-A177-3AD203B41FA5}">
                      <a16:colId xmlns:a16="http://schemas.microsoft.com/office/drawing/2014/main" val="146040013"/>
                    </a:ext>
                  </a:extLst>
                </a:gridCol>
                <a:gridCol w="1397015">
                  <a:extLst>
                    <a:ext uri="{9D8B030D-6E8A-4147-A177-3AD203B41FA5}">
                      <a16:colId xmlns:a16="http://schemas.microsoft.com/office/drawing/2014/main" val="899611142"/>
                    </a:ext>
                  </a:extLst>
                </a:gridCol>
                <a:gridCol w="850181">
                  <a:extLst>
                    <a:ext uri="{9D8B030D-6E8A-4147-A177-3AD203B41FA5}">
                      <a16:colId xmlns:a16="http://schemas.microsoft.com/office/drawing/2014/main" val="2712548879"/>
                    </a:ext>
                  </a:extLst>
                </a:gridCol>
                <a:gridCol w="1140158">
                  <a:extLst>
                    <a:ext uri="{9D8B030D-6E8A-4147-A177-3AD203B41FA5}">
                      <a16:colId xmlns:a16="http://schemas.microsoft.com/office/drawing/2014/main" val="882310788"/>
                    </a:ext>
                  </a:extLst>
                </a:gridCol>
                <a:gridCol w="935138">
                  <a:extLst>
                    <a:ext uri="{9D8B030D-6E8A-4147-A177-3AD203B41FA5}">
                      <a16:colId xmlns:a16="http://schemas.microsoft.com/office/drawing/2014/main" val="1716108975"/>
                    </a:ext>
                  </a:extLst>
                </a:gridCol>
              </a:tblGrid>
              <a:tr h="309920">
                <a:tc>
                  <a:txBody>
                    <a:bodyPr/>
                    <a:lstStyle>
                      <a:lvl1pPr marL="0" algn="l" defTabSz="609585" rtl="0" eaLnBrk="1" latinLnBrk="0" hangingPunct="1">
                        <a:defRPr sz="2400" b="1" kern="1200">
                          <a:solidFill>
                            <a:schemeClr val="lt1"/>
                          </a:solidFill>
                          <a:latin typeface="Arial"/>
                        </a:defRPr>
                      </a:lvl1pPr>
                      <a:lvl2pPr marL="609585" algn="l" defTabSz="609585" rtl="0" eaLnBrk="1" latinLnBrk="0" hangingPunct="1">
                        <a:defRPr sz="2400" b="1" kern="1200">
                          <a:solidFill>
                            <a:schemeClr val="lt1"/>
                          </a:solidFill>
                          <a:latin typeface="Arial"/>
                        </a:defRPr>
                      </a:lvl2pPr>
                      <a:lvl3pPr marL="1219170" algn="l" defTabSz="609585" rtl="0" eaLnBrk="1" latinLnBrk="0" hangingPunct="1">
                        <a:defRPr sz="2400" b="1" kern="1200">
                          <a:solidFill>
                            <a:schemeClr val="lt1"/>
                          </a:solidFill>
                          <a:latin typeface="Arial"/>
                        </a:defRPr>
                      </a:lvl3pPr>
                      <a:lvl4pPr marL="1828754" algn="l" defTabSz="609585" rtl="0" eaLnBrk="1" latinLnBrk="0" hangingPunct="1">
                        <a:defRPr sz="2400" b="1" kern="1200">
                          <a:solidFill>
                            <a:schemeClr val="lt1"/>
                          </a:solidFill>
                          <a:latin typeface="Arial"/>
                        </a:defRPr>
                      </a:lvl4pPr>
                      <a:lvl5pPr marL="2438339" algn="l" defTabSz="609585" rtl="0" eaLnBrk="1" latinLnBrk="0" hangingPunct="1">
                        <a:defRPr sz="2400" b="1" kern="1200">
                          <a:solidFill>
                            <a:schemeClr val="lt1"/>
                          </a:solidFill>
                          <a:latin typeface="Arial"/>
                        </a:defRPr>
                      </a:lvl5pPr>
                      <a:lvl6pPr marL="3047924" algn="l" defTabSz="609585" rtl="0" eaLnBrk="1" latinLnBrk="0" hangingPunct="1">
                        <a:defRPr sz="2400" b="1" kern="1200">
                          <a:solidFill>
                            <a:schemeClr val="lt1"/>
                          </a:solidFill>
                          <a:latin typeface="Arial"/>
                        </a:defRPr>
                      </a:lvl6pPr>
                      <a:lvl7pPr marL="3657509" algn="l" defTabSz="609585" rtl="0" eaLnBrk="1" latinLnBrk="0" hangingPunct="1">
                        <a:defRPr sz="2400" b="1" kern="1200">
                          <a:solidFill>
                            <a:schemeClr val="lt1"/>
                          </a:solidFill>
                          <a:latin typeface="Arial"/>
                        </a:defRPr>
                      </a:lvl7pPr>
                      <a:lvl8pPr marL="4267093" algn="l" defTabSz="609585" rtl="0" eaLnBrk="1" latinLnBrk="0" hangingPunct="1">
                        <a:defRPr sz="2400" b="1" kern="1200">
                          <a:solidFill>
                            <a:schemeClr val="lt1"/>
                          </a:solidFill>
                          <a:latin typeface="Arial"/>
                        </a:defRPr>
                      </a:lvl8pPr>
                      <a:lvl9pPr marL="4876678" algn="l" defTabSz="609585" rtl="0" eaLnBrk="1" latinLnBrk="0" hangingPunct="1">
                        <a:defRPr sz="2400" b="1" kern="1200">
                          <a:solidFill>
                            <a:schemeClr val="lt1"/>
                          </a:solidFill>
                          <a:latin typeface="Arial"/>
                        </a:defRPr>
                      </a:lvl9pPr>
                    </a:lstStyle>
                    <a:p>
                      <a:pPr marL="0" algn="l">
                        <a:lnSpc>
                          <a:spcPct val="100000"/>
                        </a:lnSpc>
                        <a:spcBef>
                          <a:spcPts val="0"/>
                        </a:spcBef>
                      </a:pPr>
                      <a:endParaRPr lang="en-US" sz="1500" noProof="0" dirty="0">
                        <a:effectLst/>
                        <a:latin typeface="Arial" panose="020B0604020202020204" pitchFamily="34" charset="0"/>
                        <a:cs typeface="Arial" panose="020B0604020202020204" pitchFamily="34" charset="0"/>
                      </a:endParaRP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solidFill>
                  </a:tcPr>
                </a:tc>
                <a:tc gridSpan="2">
                  <a:txBody>
                    <a:bodyPr/>
                    <a:lstStyle>
                      <a:lvl1pPr marL="0" algn="l" defTabSz="609585" rtl="0" eaLnBrk="1" latinLnBrk="0" hangingPunct="1">
                        <a:defRPr sz="2400" b="1" kern="1200">
                          <a:solidFill>
                            <a:schemeClr val="lt1"/>
                          </a:solidFill>
                          <a:latin typeface="Arial"/>
                        </a:defRPr>
                      </a:lvl1pPr>
                      <a:lvl2pPr marL="609585" algn="l" defTabSz="609585" rtl="0" eaLnBrk="1" latinLnBrk="0" hangingPunct="1">
                        <a:defRPr sz="2400" b="1" kern="1200">
                          <a:solidFill>
                            <a:schemeClr val="lt1"/>
                          </a:solidFill>
                          <a:latin typeface="Arial"/>
                        </a:defRPr>
                      </a:lvl2pPr>
                      <a:lvl3pPr marL="1219170" algn="l" defTabSz="609585" rtl="0" eaLnBrk="1" latinLnBrk="0" hangingPunct="1">
                        <a:defRPr sz="2400" b="1" kern="1200">
                          <a:solidFill>
                            <a:schemeClr val="lt1"/>
                          </a:solidFill>
                          <a:latin typeface="Arial"/>
                        </a:defRPr>
                      </a:lvl3pPr>
                      <a:lvl4pPr marL="1828754" algn="l" defTabSz="609585" rtl="0" eaLnBrk="1" latinLnBrk="0" hangingPunct="1">
                        <a:defRPr sz="2400" b="1" kern="1200">
                          <a:solidFill>
                            <a:schemeClr val="lt1"/>
                          </a:solidFill>
                          <a:latin typeface="Arial"/>
                        </a:defRPr>
                      </a:lvl4pPr>
                      <a:lvl5pPr marL="2438339" algn="l" defTabSz="609585" rtl="0" eaLnBrk="1" latinLnBrk="0" hangingPunct="1">
                        <a:defRPr sz="2400" b="1" kern="1200">
                          <a:solidFill>
                            <a:schemeClr val="lt1"/>
                          </a:solidFill>
                          <a:latin typeface="Arial"/>
                        </a:defRPr>
                      </a:lvl5pPr>
                      <a:lvl6pPr marL="3047924" algn="l" defTabSz="609585" rtl="0" eaLnBrk="1" latinLnBrk="0" hangingPunct="1">
                        <a:defRPr sz="2400" b="1" kern="1200">
                          <a:solidFill>
                            <a:schemeClr val="lt1"/>
                          </a:solidFill>
                          <a:latin typeface="Arial"/>
                        </a:defRPr>
                      </a:lvl6pPr>
                      <a:lvl7pPr marL="3657509" algn="l" defTabSz="609585" rtl="0" eaLnBrk="1" latinLnBrk="0" hangingPunct="1">
                        <a:defRPr sz="2400" b="1" kern="1200">
                          <a:solidFill>
                            <a:schemeClr val="lt1"/>
                          </a:solidFill>
                          <a:latin typeface="Arial"/>
                        </a:defRPr>
                      </a:lvl7pPr>
                      <a:lvl8pPr marL="4267093" algn="l" defTabSz="609585" rtl="0" eaLnBrk="1" latinLnBrk="0" hangingPunct="1">
                        <a:defRPr sz="2400" b="1" kern="1200">
                          <a:solidFill>
                            <a:schemeClr val="lt1"/>
                          </a:solidFill>
                          <a:latin typeface="Arial"/>
                        </a:defRPr>
                      </a:lvl8pPr>
                      <a:lvl9pPr marL="4876678" algn="l" defTabSz="609585" rtl="0" eaLnBrk="1" latinLnBrk="0" hangingPunct="1">
                        <a:defRPr sz="2400" b="1" kern="1200">
                          <a:solidFill>
                            <a:schemeClr val="lt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500" noProof="0" dirty="0">
                          <a:solidFill>
                            <a:schemeClr val="bg1"/>
                          </a:solidFill>
                          <a:effectLst/>
                          <a:latin typeface="Arial" panose="020B0604020202020204" pitchFamily="34" charset="0"/>
                          <a:cs typeface="Arial" panose="020B0604020202020204" pitchFamily="34" charset="0"/>
                        </a:rPr>
                        <a:t>SOLO1</a:t>
                      </a:r>
                      <a:r>
                        <a:rPr lang="en-US" sz="1500" baseline="30000" noProof="0" dirty="0">
                          <a:solidFill>
                            <a:schemeClr val="bg1"/>
                          </a:solidFill>
                          <a:effectLst/>
                          <a:latin typeface="Arial" panose="020B0604020202020204" pitchFamily="34" charset="0"/>
                          <a:cs typeface="Arial" panose="020B0604020202020204" pitchFamily="34" charset="0"/>
                        </a:rPr>
                        <a:t>a,1</a:t>
                      </a: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marL="0" marR="0" indent="0" algn="ctr" defTabSz="609585" rtl="0" eaLnBrk="1" fontAlgn="auto" latinLnBrk="0" hangingPunct="1">
                        <a:lnSpc>
                          <a:spcPct val="100000"/>
                        </a:lnSpc>
                        <a:spcBef>
                          <a:spcPts val="0"/>
                        </a:spcBef>
                        <a:spcAft>
                          <a:spcPts val="0"/>
                        </a:spcAft>
                        <a:buClrTx/>
                        <a:buSzTx/>
                        <a:buFontTx/>
                        <a:buNone/>
                        <a:tabLst/>
                        <a:defRPr/>
                      </a:pPr>
                      <a:endParaRPr lang="en-US" sz="1400" noProof="0">
                        <a:solidFill>
                          <a:schemeClr val="bg1"/>
                        </a:solidFill>
                        <a:effectLst/>
                        <a:latin typeface="+mn-lt"/>
                      </a:endParaRPr>
                    </a:p>
                  </a:txBody>
                  <a:tcPr marL="64945" marR="64945" marT="32473" marB="32473"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865"/>
                    </a:solidFill>
                  </a:tcPr>
                </a:tc>
                <a:tc gridSpan="2">
                  <a:txBody>
                    <a:bodyPr/>
                    <a:lstStyle>
                      <a:lvl1pPr marL="0" algn="l" defTabSz="609585" rtl="0" eaLnBrk="1" latinLnBrk="0" hangingPunct="1">
                        <a:defRPr sz="2400" b="1" kern="1200">
                          <a:solidFill>
                            <a:schemeClr val="lt1"/>
                          </a:solidFill>
                          <a:latin typeface="Arial"/>
                        </a:defRPr>
                      </a:lvl1pPr>
                      <a:lvl2pPr marL="609585" algn="l" defTabSz="609585" rtl="0" eaLnBrk="1" latinLnBrk="0" hangingPunct="1">
                        <a:defRPr sz="2400" b="1" kern="1200">
                          <a:solidFill>
                            <a:schemeClr val="lt1"/>
                          </a:solidFill>
                          <a:latin typeface="Arial"/>
                        </a:defRPr>
                      </a:lvl2pPr>
                      <a:lvl3pPr marL="1219170" algn="l" defTabSz="609585" rtl="0" eaLnBrk="1" latinLnBrk="0" hangingPunct="1">
                        <a:defRPr sz="2400" b="1" kern="1200">
                          <a:solidFill>
                            <a:schemeClr val="lt1"/>
                          </a:solidFill>
                          <a:latin typeface="Arial"/>
                        </a:defRPr>
                      </a:lvl3pPr>
                      <a:lvl4pPr marL="1828754" algn="l" defTabSz="609585" rtl="0" eaLnBrk="1" latinLnBrk="0" hangingPunct="1">
                        <a:defRPr sz="2400" b="1" kern="1200">
                          <a:solidFill>
                            <a:schemeClr val="lt1"/>
                          </a:solidFill>
                          <a:latin typeface="Arial"/>
                        </a:defRPr>
                      </a:lvl4pPr>
                      <a:lvl5pPr marL="2438339" algn="l" defTabSz="609585" rtl="0" eaLnBrk="1" latinLnBrk="0" hangingPunct="1">
                        <a:defRPr sz="2400" b="1" kern="1200">
                          <a:solidFill>
                            <a:schemeClr val="lt1"/>
                          </a:solidFill>
                          <a:latin typeface="Arial"/>
                        </a:defRPr>
                      </a:lvl5pPr>
                      <a:lvl6pPr marL="3047924" algn="l" defTabSz="609585" rtl="0" eaLnBrk="1" latinLnBrk="0" hangingPunct="1">
                        <a:defRPr sz="2400" b="1" kern="1200">
                          <a:solidFill>
                            <a:schemeClr val="lt1"/>
                          </a:solidFill>
                          <a:latin typeface="Arial"/>
                        </a:defRPr>
                      </a:lvl6pPr>
                      <a:lvl7pPr marL="3657509" algn="l" defTabSz="609585" rtl="0" eaLnBrk="1" latinLnBrk="0" hangingPunct="1">
                        <a:defRPr sz="2400" b="1" kern="1200">
                          <a:solidFill>
                            <a:schemeClr val="lt1"/>
                          </a:solidFill>
                          <a:latin typeface="Arial"/>
                        </a:defRPr>
                      </a:lvl7pPr>
                      <a:lvl8pPr marL="4267093" algn="l" defTabSz="609585" rtl="0" eaLnBrk="1" latinLnBrk="0" hangingPunct="1">
                        <a:defRPr sz="2400" b="1" kern="1200">
                          <a:solidFill>
                            <a:schemeClr val="lt1"/>
                          </a:solidFill>
                          <a:latin typeface="Arial"/>
                        </a:defRPr>
                      </a:lvl8pPr>
                      <a:lvl9pPr marL="4876678" algn="l" defTabSz="609585" rtl="0" eaLnBrk="1" latinLnBrk="0" hangingPunct="1">
                        <a:defRPr sz="2400" b="1" kern="1200">
                          <a:solidFill>
                            <a:schemeClr val="lt1"/>
                          </a:solidFill>
                          <a:latin typeface="Arial"/>
                        </a:defRPr>
                      </a:lvl9p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1500" noProof="0" dirty="0">
                          <a:solidFill>
                            <a:schemeClr val="bg1"/>
                          </a:solidFill>
                          <a:effectLst/>
                          <a:latin typeface="Arial" panose="020B0604020202020204" pitchFamily="34" charset="0"/>
                          <a:cs typeface="Arial" panose="020B0604020202020204" pitchFamily="34" charset="0"/>
                        </a:rPr>
                        <a:t>PAOLA-1</a:t>
                      </a:r>
                      <a:r>
                        <a:rPr lang="en-US" sz="1500" baseline="30000" noProof="0" dirty="0">
                          <a:solidFill>
                            <a:schemeClr val="bg1"/>
                          </a:solidFill>
                          <a:effectLst/>
                          <a:latin typeface="Arial" panose="020B0604020202020204" pitchFamily="34" charset="0"/>
                          <a:cs typeface="Arial" panose="020B0604020202020204" pitchFamily="34" charset="0"/>
                        </a:rPr>
                        <a:t>b,2</a:t>
                      </a:r>
                      <a:endParaRPr lang="en-US" sz="1500" noProof="0" dirty="0">
                        <a:solidFill>
                          <a:schemeClr val="bg1"/>
                        </a:solidFill>
                        <a:effectLst/>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indent="0" algn="ctr" defTabSz="609585" rtl="0" eaLnBrk="1" fontAlgn="auto" latinLnBrk="0" hangingPunct="1">
                        <a:lnSpc>
                          <a:spcPct val="100000"/>
                        </a:lnSpc>
                        <a:spcBef>
                          <a:spcPts val="0"/>
                        </a:spcBef>
                        <a:spcAft>
                          <a:spcPts val="0"/>
                        </a:spcAft>
                        <a:buClrTx/>
                        <a:buSzTx/>
                        <a:buFontTx/>
                        <a:buNone/>
                        <a:tabLst/>
                        <a:defRPr/>
                      </a:pPr>
                      <a:endParaRPr lang="en-US" sz="1400" noProof="0">
                        <a:solidFill>
                          <a:schemeClr val="bg1"/>
                        </a:solidFill>
                        <a:effectLst/>
                        <a:latin typeface="+mn-lt"/>
                      </a:endParaRPr>
                    </a:p>
                  </a:txBody>
                  <a:tcPr marL="64945" marR="64945" marT="32473" marB="32473"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865"/>
                    </a:solidFill>
                  </a:tcPr>
                </a:tc>
                <a:tc gridSpan="3">
                  <a:txBody>
                    <a:bodyPr/>
                    <a:lstStyle>
                      <a:lvl1pPr marL="0" algn="l" defTabSz="609585" rtl="0" eaLnBrk="1" latinLnBrk="0" hangingPunct="1">
                        <a:defRPr sz="2400" b="1" kern="1200">
                          <a:solidFill>
                            <a:schemeClr val="lt1"/>
                          </a:solidFill>
                          <a:latin typeface="Arial"/>
                        </a:defRPr>
                      </a:lvl1pPr>
                      <a:lvl2pPr marL="609585" algn="l" defTabSz="609585" rtl="0" eaLnBrk="1" latinLnBrk="0" hangingPunct="1">
                        <a:defRPr sz="2400" b="1" kern="1200">
                          <a:solidFill>
                            <a:schemeClr val="lt1"/>
                          </a:solidFill>
                          <a:latin typeface="Arial"/>
                        </a:defRPr>
                      </a:lvl2pPr>
                      <a:lvl3pPr marL="1219170" algn="l" defTabSz="609585" rtl="0" eaLnBrk="1" latinLnBrk="0" hangingPunct="1">
                        <a:defRPr sz="2400" b="1" kern="1200">
                          <a:solidFill>
                            <a:schemeClr val="lt1"/>
                          </a:solidFill>
                          <a:latin typeface="Arial"/>
                        </a:defRPr>
                      </a:lvl3pPr>
                      <a:lvl4pPr marL="1828754" algn="l" defTabSz="609585" rtl="0" eaLnBrk="1" latinLnBrk="0" hangingPunct="1">
                        <a:defRPr sz="2400" b="1" kern="1200">
                          <a:solidFill>
                            <a:schemeClr val="lt1"/>
                          </a:solidFill>
                          <a:latin typeface="Arial"/>
                        </a:defRPr>
                      </a:lvl4pPr>
                      <a:lvl5pPr marL="2438339" algn="l" defTabSz="609585" rtl="0" eaLnBrk="1" latinLnBrk="0" hangingPunct="1">
                        <a:defRPr sz="2400" b="1" kern="1200">
                          <a:solidFill>
                            <a:schemeClr val="lt1"/>
                          </a:solidFill>
                          <a:latin typeface="Arial"/>
                        </a:defRPr>
                      </a:lvl5pPr>
                      <a:lvl6pPr marL="3047924" algn="l" defTabSz="609585" rtl="0" eaLnBrk="1" latinLnBrk="0" hangingPunct="1">
                        <a:defRPr sz="2400" b="1" kern="1200">
                          <a:solidFill>
                            <a:schemeClr val="lt1"/>
                          </a:solidFill>
                          <a:latin typeface="Arial"/>
                        </a:defRPr>
                      </a:lvl6pPr>
                      <a:lvl7pPr marL="3657509" algn="l" defTabSz="609585" rtl="0" eaLnBrk="1" latinLnBrk="0" hangingPunct="1">
                        <a:defRPr sz="2400" b="1" kern="1200">
                          <a:solidFill>
                            <a:schemeClr val="lt1"/>
                          </a:solidFill>
                          <a:latin typeface="Arial"/>
                        </a:defRPr>
                      </a:lvl7pPr>
                      <a:lvl8pPr marL="4267093" algn="l" defTabSz="609585" rtl="0" eaLnBrk="1" latinLnBrk="0" hangingPunct="1">
                        <a:defRPr sz="2400" b="1" kern="1200">
                          <a:solidFill>
                            <a:schemeClr val="lt1"/>
                          </a:solidFill>
                          <a:latin typeface="Arial"/>
                        </a:defRPr>
                      </a:lvl8pPr>
                      <a:lvl9pPr marL="4876678" algn="l" defTabSz="609585" rtl="0" eaLnBrk="1" latinLnBrk="0" hangingPunct="1">
                        <a:defRPr sz="2400" b="1" kern="1200">
                          <a:solidFill>
                            <a:schemeClr val="lt1"/>
                          </a:solidFill>
                          <a:latin typeface="Arial"/>
                        </a:defRPr>
                      </a:lvl9p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1500" noProof="0" dirty="0">
                          <a:solidFill>
                            <a:schemeClr val="tx1"/>
                          </a:solidFill>
                          <a:effectLst/>
                          <a:latin typeface="Arial" panose="020B0604020202020204" pitchFamily="34" charset="0"/>
                          <a:cs typeface="Arial" panose="020B0604020202020204" pitchFamily="34" charset="0"/>
                        </a:rPr>
                        <a:t>PRIMA</a:t>
                      </a:r>
                      <a:r>
                        <a:rPr lang="en-US" sz="1500" baseline="30000" noProof="0" dirty="0">
                          <a:solidFill>
                            <a:schemeClr val="tx1"/>
                          </a:solidFill>
                          <a:effectLst/>
                          <a:latin typeface="Arial" panose="020B0604020202020204" pitchFamily="34" charset="0"/>
                          <a:cs typeface="Arial" panose="020B0604020202020204" pitchFamily="34" charset="0"/>
                        </a:rPr>
                        <a:t>c,3</a:t>
                      </a:r>
                      <a:endParaRPr lang="en-US" sz="1500" noProof="0" dirty="0">
                        <a:solidFill>
                          <a:schemeClr val="tx1"/>
                        </a:solidFill>
                        <a:effectLst/>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hMerge="1">
                  <a:txBody>
                    <a:bodyPr/>
                    <a:lstStyle/>
                    <a:p>
                      <a:pPr marL="0" marR="0" indent="0" algn="ctr" defTabSz="609585" rtl="0" eaLnBrk="1" fontAlgn="auto" latinLnBrk="0" hangingPunct="1">
                        <a:lnSpc>
                          <a:spcPct val="100000"/>
                        </a:lnSpc>
                        <a:spcBef>
                          <a:spcPts val="0"/>
                        </a:spcBef>
                        <a:spcAft>
                          <a:spcPts val="0"/>
                        </a:spcAft>
                        <a:buClrTx/>
                        <a:buSzTx/>
                        <a:buFontTx/>
                        <a:buNone/>
                        <a:tabLst/>
                        <a:defRPr/>
                      </a:pPr>
                      <a:endParaRPr lang="en-US" sz="1400" noProof="0">
                        <a:solidFill>
                          <a:schemeClr val="bg1"/>
                        </a:solidFill>
                        <a:effectLst/>
                        <a:latin typeface="+mn-lt"/>
                      </a:endParaRPr>
                    </a:p>
                  </a:txBody>
                  <a:tcPr marL="64945" marR="64945" marT="32473" marB="32473" anchor="ctr">
                    <a:gradFill flip="none" rotWithShape="1">
                      <a:gsLst>
                        <a:gs pos="0">
                          <a:schemeClr val="accent3">
                            <a:lumMod val="50000"/>
                          </a:schemeClr>
                        </a:gs>
                        <a:gs pos="100000">
                          <a:schemeClr val="accent1"/>
                        </a:gs>
                      </a:gsLst>
                      <a:lin ang="0" scaled="1"/>
                      <a:tileRect/>
                    </a:gradFill>
                  </a:tcPr>
                </a:tc>
                <a:tc gridSpan="2">
                  <a:txBody>
                    <a:body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1500" b="1" noProof="0" dirty="0">
                          <a:solidFill>
                            <a:schemeClr val="bg1"/>
                          </a:solidFill>
                          <a:effectLst/>
                          <a:latin typeface="Arial" panose="020B0604020202020204" pitchFamily="34" charset="0"/>
                          <a:cs typeface="Arial" panose="020B0604020202020204" pitchFamily="34" charset="0"/>
                        </a:rPr>
                        <a:t>ATHENA-MONO</a:t>
                      </a:r>
                      <a:r>
                        <a:rPr lang="en-US" sz="1500" b="1" baseline="30000" noProof="0" dirty="0">
                          <a:solidFill>
                            <a:schemeClr val="bg1"/>
                          </a:solidFill>
                          <a:effectLst/>
                          <a:latin typeface="Arial" panose="020B0604020202020204" pitchFamily="34" charset="0"/>
                          <a:cs typeface="Arial" panose="020B0604020202020204" pitchFamily="34" charset="0"/>
                        </a:rPr>
                        <a:t>4</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indent="0" algn="ctr" defTabSz="609585" rtl="0" eaLnBrk="1" fontAlgn="auto" latinLnBrk="0" hangingPunct="1">
                        <a:lnSpc>
                          <a:spcPct val="85000"/>
                        </a:lnSpc>
                        <a:spcBef>
                          <a:spcPts val="0"/>
                        </a:spcBef>
                        <a:spcAft>
                          <a:spcPts val="0"/>
                        </a:spcAft>
                        <a:buClrTx/>
                        <a:buSzTx/>
                        <a:buFontTx/>
                        <a:buNone/>
                        <a:tabLst/>
                        <a:defRPr/>
                      </a:pPr>
                      <a:endParaRPr lang="en-US" sz="1600" noProof="0">
                        <a:solidFill>
                          <a:schemeClr val="bg1"/>
                        </a:solidFill>
                        <a:effectLst/>
                        <a:latin typeface="Arial" panose="020B0604020202020204" pitchFamily="34" charset="0"/>
                        <a:cs typeface="Arial" panose="020B0604020202020204" pitchFamily="34" charset="0"/>
                      </a:endParaRPr>
                    </a:p>
                  </a:txBody>
                  <a:tcPr marL="64945" marR="64945" marT="32473" marB="3247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8D2DF">
                            <a:lumMod val="50000"/>
                          </a:srgbClr>
                        </a:gs>
                        <a:gs pos="100000">
                          <a:srgbClr val="830051"/>
                        </a:gs>
                      </a:gsLst>
                      <a:lin ang="0" scaled="1"/>
                      <a:tileRect/>
                    </a:gradFill>
                  </a:tcPr>
                </a:tc>
                <a:extLst>
                  <a:ext uri="{0D108BD9-81ED-4DB2-BD59-A6C34878D82A}">
                    <a16:rowId xmlns:a16="http://schemas.microsoft.com/office/drawing/2014/main" val="3621500228"/>
                  </a:ext>
                </a:extLst>
              </a:tr>
              <a:tr h="533440">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algn="l">
                        <a:lnSpc>
                          <a:spcPct val="100000"/>
                        </a:lnSpc>
                        <a:spcBef>
                          <a:spcPts val="0"/>
                        </a:spcBef>
                      </a:pPr>
                      <a:endParaRPr lang="en-US" sz="1500" noProof="0" dirty="0">
                        <a:effectLst/>
                        <a:latin typeface="Arial" panose="020B0604020202020204" pitchFamily="34" charset="0"/>
                        <a:cs typeface="Arial" panose="020B0604020202020204" pitchFamily="34" charset="0"/>
                      </a:endParaRP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1500" b="1" baseline="0" noProof="0" dirty="0">
                          <a:solidFill>
                            <a:schemeClr val="bg1"/>
                          </a:solidFill>
                          <a:effectLst/>
                          <a:latin typeface="Arial" panose="020B0604020202020204" pitchFamily="34" charset="0"/>
                          <a:cs typeface="Arial" panose="020B0604020202020204" pitchFamily="34" charset="0"/>
                        </a:rPr>
                        <a:t>Olaparib</a:t>
                      </a: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1500" b="1" baseline="0" noProof="0" dirty="0">
                          <a:solidFill>
                            <a:schemeClr val="bg1"/>
                          </a:solidFill>
                          <a:effectLst/>
                          <a:latin typeface="Arial" panose="020B0604020202020204" pitchFamily="34" charset="0"/>
                          <a:cs typeface="Arial" panose="020B0604020202020204" pitchFamily="34" charset="0"/>
                        </a:rPr>
                        <a:t>Placebo</a:t>
                      </a: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500" b="1" noProof="0" dirty="0">
                          <a:solidFill>
                            <a:schemeClr val="bg1"/>
                          </a:solidFill>
                          <a:latin typeface="Arial" panose="020B0604020202020204" pitchFamily="34" charset="0"/>
                          <a:cs typeface="Arial" panose="020B0604020202020204" pitchFamily="34" charset="0"/>
                        </a:rPr>
                        <a:t>Olaparib + </a:t>
                      </a:r>
                      <a:r>
                        <a:rPr lang="en-US" sz="1500" b="1" noProof="0" dirty="0" err="1">
                          <a:solidFill>
                            <a:schemeClr val="bg1"/>
                          </a:solidFill>
                          <a:latin typeface="Arial" panose="020B0604020202020204" pitchFamily="34" charset="0"/>
                          <a:cs typeface="Arial" panose="020B0604020202020204" pitchFamily="34" charset="0"/>
                        </a:rPr>
                        <a:t>bev</a:t>
                      </a:r>
                      <a:endParaRPr lang="en-US" sz="1500" b="1" noProof="0" dirty="0">
                        <a:solidFill>
                          <a:schemeClr val="bg1"/>
                        </a:solidFill>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500" b="1" noProof="0" dirty="0">
                          <a:solidFill>
                            <a:schemeClr val="bg1"/>
                          </a:solidFill>
                          <a:latin typeface="Arial" panose="020B0604020202020204" pitchFamily="34" charset="0"/>
                          <a:cs typeface="Arial" panose="020B0604020202020204" pitchFamily="34" charset="0"/>
                        </a:rPr>
                        <a:t>Bev + placebo</a:t>
                      </a: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1500" b="1" noProof="0" dirty="0">
                          <a:solidFill>
                            <a:schemeClr val="tx1"/>
                          </a:solidFill>
                          <a:effectLst/>
                          <a:latin typeface="Arial" panose="020B0604020202020204" pitchFamily="34" charset="0"/>
                          <a:cs typeface="Arial" panose="020B0604020202020204" pitchFamily="34" charset="0"/>
                        </a:rPr>
                        <a:t>Niraparib (Overall)</a:t>
                      </a:r>
                    </a:p>
                  </a:txBody>
                  <a:tcPr marL="72000" marR="36000" marT="43200" marB="4320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1500" b="1" noProof="0" dirty="0">
                          <a:solidFill>
                            <a:schemeClr val="tx1"/>
                          </a:solidFill>
                          <a:effectLst/>
                          <a:latin typeface="Arial" panose="020B0604020202020204" pitchFamily="34" charset="0"/>
                          <a:cs typeface="Arial" panose="020B0604020202020204" pitchFamily="34" charset="0"/>
                        </a:rPr>
                        <a:t>Niraparib </a:t>
                      </a:r>
                      <a:br>
                        <a:rPr lang="en-US" sz="1500" b="1" noProof="0" dirty="0">
                          <a:solidFill>
                            <a:schemeClr val="tx1"/>
                          </a:solidFill>
                          <a:effectLst/>
                          <a:latin typeface="Arial" panose="020B0604020202020204" pitchFamily="34" charset="0"/>
                          <a:cs typeface="Arial" panose="020B0604020202020204" pitchFamily="34" charset="0"/>
                        </a:rPr>
                      </a:br>
                      <a:r>
                        <a:rPr lang="en-US" sz="1500" b="1" noProof="0" dirty="0">
                          <a:solidFill>
                            <a:schemeClr val="tx1"/>
                          </a:solidFill>
                          <a:effectLst/>
                          <a:latin typeface="Arial" panose="020B0604020202020204" pitchFamily="34" charset="0"/>
                          <a:cs typeface="Arial" panose="020B0604020202020204" pitchFamily="34" charset="0"/>
                        </a:rPr>
                        <a:t>FSD | ISD</a:t>
                      </a:r>
                    </a:p>
                  </a:txBody>
                  <a:tcPr marL="72000" marR="36000" marT="43200" marB="4320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500" b="1" noProof="0" dirty="0">
                          <a:solidFill>
                            <a:schemeClr val="bg1"/>
                          </a:solidFill>
                          <a:latin typeface="Arial" panose="020B0604020202020204" pitchFamily="34" charset="0"/>
                          <a:cs typeface="Arial" panose="020B0604020202020204" pitchFamily="34" charset="0"/>
                        </a:rPr>
                        <a:t>Placebo</a:t>
                      </a: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50000"/>
                      </a:srgb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500" b="1" noProof="0" dirty="0">
                          <a:solidFill>
                            <a:schemeClr val="bg1"/>
                          </a:solidFill>
                          <a:latin typeface="Arial" panose="020B0604020202020204" pitchFamily="34" charset="0"/>
                          <a:cs typeface="Arial" panose="020B0604020202020204" pitchFamily="34" charset="0"/>
                        </a:rPr>
                        <a:t>Rucaparib</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500" b="1" noProof="0" dirty="0">
                          <a:solidFill>
                            <a:schemeClr val="bg1"/>
                          </a:solidFill>
                          <a:latin typeface="Arial" panose="020B0604020202020204" pitchFamily="34" charset="0"/>
                          <a:cs typeface="Arial" panose="020B0604020202020204" pitchFamily="34" charset="0"/>
                        </a:rPr>
                        <a:t>Placebo</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954700361"/>
                  </a:ext>
                </a:extLst>
              </a:tr>
              <a:tr h="309920">
                <a:tc>
                  <a:txBody>
                    <a:bodyPr/>
                    <a:lstStyle/>
                    <a:p>
                      <a:pPr marL="0">
                        <a:lnSpc>
                          <a:spcPct val="100000"/>
                        </a:lnSpc>
                        <a:spcBef>
                          <a:spcPts val="0"/>
                        </a:spcBef>
                      </a:pPr>
                      <a:r>
                        <a:rPr lang="en-US" sz="1500" b="1" spc="-50" noProof="0" dirty="0">
                          <a:latin typeface="Arial" panose="020B0604020202020204" pitchFamily="34" charset="0"/>
                          <a:cs typeface="Arial" panose="020B0604020202020204" pitchFamily="34" charset="0"/>
                        </a:rPr>
                        <a:t>N</a:t>
                      </a:r>
                      <a:endParaRPr lang="en-US" sz="1500" noProof="0" dirty="0">
                        <a:latin typeface="Arial" panose="020B0604020202020204" pitchFamily="34" charset="0"/>
                        <a:cs typeface="Arial" panose="020B0604020202020204" pitchFamily="34" charset="0"/>
                      </a:endParaRP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a:lnSpc>
                          <a:spcPct val="100000"/>
                        </a:lnSpc>
                        <a:spcBef>
                          <a:spcPts val="0"/>
                        </a:spcBef>
                      </a:pPr>
                      <a:r>
                        <a:rPr lang="en-US" sz="1500" spc="-25" noProof="0" dirty="0">
                          <a:latin typeface="Arial" panose="020B0604020202020204" pitchFamily="34" charset="0"/>
                          <a:cs typeface="Arial" panose="020B0604020202020204" pitchFamily="34" charset="0"/>
                        </a:rPr>
                        <a:t>260</a:t>
                      </a:r>
                      <a:endParaRPr lang="en-US" sz="1500" noProof="0" dirty="0">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a:lnSpc>
                          <a:spcPct val="100000"/>
                        </a:lnSpc>
                        <a:spcBef>
                          <a:spcPts val="0"/>
                        </a:spcBef>
                      </a:pPr>
                      <a:r>
                        <a:rPr lang="en-US" sz="1500" spc="-25" noProof="0" dirty="0">
                          <a:latin typeface="Arial" panose="020B0604020202020204" pitchFamily="34" charset="0"/>
                          <a:cs typeface="Arial" panose="020B0604020202020204" pitchFamily="34" charset="0"/>
                        </a:rPr>
                        <a:t>130</a:t>
                      </a:r>
                      <a:endParaRPr lang="en-US" sz="1500" noProof="0" dirty="0">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a:lnSpc>
                          <a:spcPct val="100000"/>
                        </a:lnSpc>
                        <a:spcBef>
                          <a:spcPts val="0"/>
                        </a:spcBef>
                      </a:pPr>
                      <a:r>
                        <a:rPr lang="en-US" sz="1500" spc="-25" noProof="0" dirty="0">
                          <a:latin typeface="Arial" panose="020B0604020202020204" pitchFamily="34" charset="0"/>
                          <a:cs typeface="Arial" panose="020B0604020202020204" pitchFamily="34" charset="0"/>
                        </a:rPr>
                        <a:t>535</a:t>
                      </a:r>
                      <a:endParaRPr lang="en-US" sz="1500" noProof="0" dirty="0">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a:lnSpc>
                          <a:spcPct val="100000"/>
                        </a:lnSpc>
                        <a:spcBef>
                          <a:spcPts val="0"/>
                        </a:spcBef>
                      </a:pPr>
                      <a:r>
                        <a:rPr lang="en-US" sz="1500" spc="-25" noProof="0" dirty="0">
                          <a:latin typeface="Arial" panose="020B0604020202020204" pitchFamily="34" charset="0"/>
                          <a:cs typeface="Arial" panose="020B0604020202020204" pitchFamily="34" charset="0"/>
                        </a:rPr>
                        <a:t>267</a:t>
                      </a:r>
                      <a:endParaRPr lang="en-US" sz="1500" noProof="0" dirty="0">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a:lnSpc>
                          <a:spcPct val="100000"/>
                        </a:lnSpc>
                        <a:spcBef>
                          <a:spcPts val="0"/>
                        </a:spcBef>
                      </a:pPr>
                      <a:r>
                        <a:rPr lang="en-US" sz="1500" spc="-25" noProof="0" dirty="0">
                          <a:latin typeface="Arial" panose="020B0604020202020204" pitchFamily="34" charset="0"/>
                          <a:cs typeface="Arial" panose="020B0604020202020204" pitchFamily="34" charset="0"/>
                        </a:rPr>
                        <a:t>484</a:t>
                      </a:r>
                      <a:endParaRPr lang="en-US" sz="1500" noProof="0" dirty="0">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a:lnSpc>
                          <a:spcPct val="100000"/>
                        </a:lnSpc>
                        <a:spcBef>
                          <a:spcPts val="0"/>
                        </a:spcBef>
                      </a:pPr>
                      <a:r>
                        <a:rPr lang="en-US" sz="1500" noProof="0" dirty="0">
                          <a:latin typeface="Arial" panose="020B0604020202020204" pitchFamily="34" charset="0"/>
                          <a:cs typeface="Arial" panose="020B0604020202020204" pitchFamily="34" charset="0"/>
                        </a:rPr>
                        <a:t>313 | 169</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a:lnSpc>
                          <a:spcPct val="100000"/>
                        </a:lnSpc>
                        <a:spcBef>
                          <a:spcPts val="0"/>
                        </a:spcBef>
                      </a:pPr>
                      <a:r>
                        <a:rPr lang="en-US" sz="1500" spc="-25" noProof="0" dirty="0">
                          <a:latin typeface="Arial" panose="020B0604020202020204" pitchFamily="34" charset="0"/>
                          <a:cs typeface="Arial" panose="020B0604020202020204" pitchFamily="34" charset="0"/>
                        </a:rPr>
                        <a:t>244</a:t>
                      </a:r>
                      <a:endParaRPr lang="en-US" sz="1500" noProof="0" dirty="0">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a:lnSpc>
                          <a:spcPct val="100000"/>
                        </a:lnSpc>
                        <a:spcBef>
                          <a:spcPts val="0"/>
                        </a:spcBef>
                      </a:pPr>
                      <a:r>
                        <a:rPr lang="en-US" sz="1500" spc="-25" noProof="0" dirty="0">
                          <a:latin typeface="Arial" panose="020B0604020202020204" pitchFamily="34" charset="0"/>
                          <a:cs typeface="Arial" panose="020B0604020202020204" pitchFamily="34" charset="0"/>
                        </a:rPr>
                        <a:t>425</a:t>
                      </a:r>
                      <a:endParaRPr lang="en-US" sz="1500" noProof="0" dirty="0">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a:lnSpc>
                          <a:spcPct val="100000"/>
                        </a:lnSpc>
                        <a:spcBef>
                          <a:spcPts val="0"/>
                        </a:spcBef>
                      </a:pPr>
                      <a:r>
                        <a:rPr lang="en-US" sz="1500" spc="-25" noProof="0" dirty="0">
                          <a:latin typeface="Arial" panose="020B0604020202020204" pitchFamily="34" charset="0"/>
                          <a:cs typeface="Arial" panose="020B0604020202020204" pitchFamily="34" charset="0"/>
                        </a:rPr>
                        <a:t>110</a:t>
                      </a:r>
                      <a:endParaRPr lang="en-US" sz="1500" noProof="0" dirty="0">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6431403"/>
                  </a:ext>
                </a:extLst>
              </a:tr>
              <a:tr h="309920">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a:lnSpc>
                          <a:spcPct val="100000"/>
                        </a:lnSpc>
                        <a:spcBef>
                          <a:spcPts val="0"/>
                        </a:spcBef>
                      </a:pPr>
                      <a:r>
                        <a:rPr lang="en-US" sz="1500" b="1" noProof="0" dirty="0">
                          <a:solidFill>
                            <a:schemeClr val="tx1"/>
                          </a:solidFill>
                          <a:latin typeface="Arial" panose="020B0604020202020204" pitchFamily="34" charset="0"/>
                          <a:cs typeface="Arial" panose="020B0604020202020204" pitchFamily="34" charset="0"/>
                        </a:rPr>
                        <a:t>Grade </a:t>
                      </a:r>
                      <a:r>
                        <a:rPr lang="en-US" sz="1500" b="1" kern="1200" noProof="0" dirty="0">
                          <a:solidFill>
                            <a:schemeClr val="tx1"/>
                          </a:solidFill>
                          <a:effectLst/>
                          <a:latin typeface="Arial" panose="020B0604020202020204" pitchFamily="34" charset="0"/>
                          <a:cs typeface="Arial" panose="020B0604020202020204" pitchFamily="34" charset="0"/>
                        </a:rPr>
                        <a:t>≥</a:t>
                      </a:r>
                      <a:r>
                        <a:rPr lang="en-US" sz="1500" b="1" noProof="0" dirty="0">
                          <a:solidFill>
                            <a:schemeClr val="tx1"/>
                          </a:solidFill>
                          <a:latin typeface="Arial" panose="020B0604020202020204" pitchFamily="34" charset="0"/>
                          <a:cs typeface="Arial" panose="020B0604020202020204" pitchFamily="34" charset="0"/>
                        </a:rPr>
                        <a:t>3 AEs, %</a:t>
                      </a:r>
                      <a:endParaRPr lang="en-US" sz="1500" b="1" noProof="0" dirty="0">
                        <a:solidFill>
                          <a:schemeClr val="tx1"/>
                        </a:solidFill>
                        <a:latin typeface="Arial" panose="020B0604020202020204" pitchFamily="34" charset="0"/>
                        <a:ea typeface="Arial" charset="0"/>
                        <a:cs typeface="Arial" panose="020B0604020202020204" pitchFamily="34" charset="0"/>
                      </a:endParaRP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algn="ctr">
                        <a:lnSpc>
                          <a:spcPct val="100000"/>
                        </a:lnSpc>
                        <a:spcBef>
                          <a:spcPts val="0"/>
                        </a:spcBef>
                      </a:pPr>
                      <a:r>
                        <a:rPr lang="en-US" sz="1500" b="0" noProof="0" dirty="0">
                          <a:solidFill>
                            <a:schemeClr val="tx1"/>
                          </a:solidFill>
                          <a:latin typeface="Arial" panose="020B0604020202020204" pitchFamily="34" charset="0"/>
                          <a:cs typeface="Arial" panose="020B0604020202020204" pitchFamily="34" charset="0"/>
                        </a:rPr>
                        <a:t>39.6</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algn="ctr">
                        <a:lnSpc>
                          <a:spcPct val="100000"/>
                        </a:lnSpc>
                        <a:spcBef>
                          <a:spcPts val="0"/>
                        </a:spcBef>
                      </a:pPr>
                      <a:r>
                        <a:rPr lang="en-US" sz="1500" b="0" noProof="0" dirty="0">
                          <a:solidFill>
                            <a:schemeClr val="tx1"/>
                          </a:solidFill>
                          <a:latin typeface="Arial" panose="020B0604020202020204" pitchFamily="34" charset="0"/>
                          <a:cs typeface="Arial" panose="020B0604020202020204" pitchFamily="34" charset="0"/>
                        </a:rPr>
                        <a:t>20.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algn="ctr">
                        <a:lnSpc>
                          <a:spcPct val="100000"/>
                        </a:lnSpc>
                        <a:spcBef>
                          <a:spcPts val="0"/>
                        </a:spcBef>
                      </a:pPr>
                      <a:r>
                        <a:rPr kumimoji="0" lang="en-US" sz="15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57.0</a:t>
                      </a:r>
                      <a:endParaRPr lang="en-US" sz="1500" b="0" i="0" noProof="0" dirty="0">
                        <a:solidFill>
                          <a:schemeClr val="tx1"/>
                        </a:solidFill>
                        <a:latin typeface="Arial" panose="020B0604020202020204" pitchFamily="34" charset="0"/>
                        <a:ea typeface="Arial"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algn="ctr">
                        <a:lnSpc>
                          <a:spcPct val="100000"/>
                        </a:lnSpc>
                        <a:spcBef>
                          <a:spcPts val="0"/>
                        </a:spcBef>
                      </a:pPr>
                      <a:r>
                        <a:rPr lang="en-US" sz="1500" b="0" i="0" noProof="0" dirty="0">
                          <a:solidFill>
                            <a:schemeClr val="tx1"/>
                          </a:solidFill>
                          <a:latin typeface="Arial" panose="020B0604020202020204" pitchFamily="34" charset="0"/>
                          <a:ea typeface="Arial" charset="0"/>
                          <a:cs typeface="Arial" panose="020B0604020202020204" pitchFamily="34" charset="0"/>
                        </a:rPr>
                        <a:t>51.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algn="ctr">
                        <a:lnSpc>
                          <a:spcPct val="100000"/>
                        </a:lnSpc>
                        <a:spcBef>
                          <a:spcPts val="0"/>
                        </a:spcBef>
                      </a:pPr>
                      <a:r>
                        <a:rPr lang="en-US" sz="1500" b="0" noProof="0" dirty="0">
                          <a:solidFill>
                            <a:schemeClr val="tx1"/>
                          </a:solidFill>
                          <a:latin typeface="Arial" panose="020B0604020202020204" pitchFamily="34" charset="0"/>
                          <a:cs typeface="Arial" panose="020B0604020202020204" pitchFamily="34" charset="0"/>
                        </a:rPr>
                        <a:t>73.8</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a:lnSpc>
                          <a:spcPct val="100000"/>
                        </a:lnSpc>
                        <a:spcBef>
                          <a:spcPts val="0"/>
                        </a:spcBef>
                      </a:pPr>
                      <a:r>
                        <a:rPr lang="en-US" sz="1500" b="0" noProof="0" dirty="0">
                          <a:solidFill>
                            <a:schemeClr val="tx1"/>
                          </a:solidFill>
                          <a:latin typeface="Arial" panose="020B0604020202020204" pitchFamily="34" charset="0"/>
                          <a:cs typeface="Arial" panose="020B0604020202020204" pitchFamily="34" charset="0"/>
                        </a:rPr>
                        <a:t>79.0 | 63.9</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algn="ctr">
                        <a:lnSpc>
                          <a:spcPct val="100000"/>
                        </a:lnSpc>
                        <a:spcBef>
                          <a:spcPts val="0"/>
                        </a:spcBef>
                      </a:pPr>
                      <a:r>
                        <a:rPr lang="en-US" sz="1500" b="0" i="0" noProof="0" dirty="0">
                          <a:solidFill>
                            <a:schemeClr val="tx1"/>
                          </a:solidFill>
                          <a:latin typeface="Arial" panose="020B0604020202020204" pitchFamily="34" charset="0"/>
                          <a:ea typeface="Arial" charset="0"/>
                          <a:cs typeface="Arial" panose="020B0604020202020204" pitchFamily="34" charset="0"/>
                        </a:rPr>
                        <a:t>23.8</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a:lnSpc>
                          <a:spcPct val="100000"/>
                        </a:lnSpc>
                        <a:spcBef>
                          <a:spcPts val="0"/>
                        </a:spcBef>
                      </a:pPr>
                      <a:r>
                        <a:rPr lang="en-US" sz="1500" b="0" i="0" noProof="0" dirty="0">
                          <a:solidFill>
                            <a:schemeClr val="tx1"/>
                          </a:solidFill>
                          <a:latin typeface="Arial" panose="020B0604020202020204" pitchFamily="34" charset="0"/>
                          <a:ea typeface="Arial" charset="0"/>
                          <a:cs typeface="Arial" panose="020B0604020202020204" pitchFamily="34" charset="0"/>
                        </a:rPr>
                        <a:t>60.5</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a:lnSpc>
                          <a:spcPct val="100000"/>
                        </a:lnSpc>
                        <a:spcBef>
                          <a:spcPts val="0"/>
                        </a:spcBef>
                      </a:pPr>
                      <a:r>
                        <a:rPr lang="en-US" sz="1500" b="0" i="0" noProof="0" dirty="0">
                          <a:solidFill>
                            <a:schemeClr val="tx1"/>
                          </a:solidFill>
                          <a:latin typeface="Arial" panose="020B0604020202020204" pitchFamily="34" charset="0"/>
                          <a:ea typeface="Arial" charset="0"/>
                          <a:cs typeface="Arial" panose="020B0604020202020204" pitchFamily="34" charset="0"/>
                        </a:rPr>
                        <a:t>23.6</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93938579"/>
                  </a:ext>
                </a:extLst>
              </a:tr>
              <a:tr h="309920">
                <a:tc>
                  <a:txBody>
                    <a:bodyPr/>
                    <a:lstStyle/>
                    <a:p>
                      <a:pPr marL="180000">
                        <a:lnSpc>
                          <a:spcPct val="100000"/>
                        </a:lnSpc>
                        <a:spcBef>
                          <a:spcPts val="0"/>
                        </a:spcBef>
                      </a:pPr>
                      <a:r>
                        <a:rPr lang="en-US" sz="1500" b="0" noProof="0" dirty="0">
                          <a:solidFill>
                            <a:schemeClr val="tx1"/>
                          </a:solidFill>
                          <a:latin typeface="Arial" panose="020B0604020202020204" pitchFamily="34" charset="0"/>
                          <a:ea typeface="Arial" charset="0"/>
                          <a:cs typeface="Arial" panose="020B0604020202020204" pitchFamily="34" charset="0"/>
                        </a:rPr>
                        <a:t>Thrombocytopenia</a:t>
                      </a: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0.8</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2.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2.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lt;1.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cs typeface="Arial" panose="020B0604020202020204" pitchFamily="34" charset="0"/>
                        </a:rPr>
                        <a:t>39.9</a:t>
                      </a:r>
                      <a:endParaRPr kumimoji="0" lang="en-US" sz="1500" b="0" i="0" u="none" strike="noStrike" kern="1200" cap="none" spc="0" baseline="30000" noProof="0" dirty="0">
                        <a:solidFill>
                          <a:schemeClr val="tx1"/>
                        </a:solidFill>
                        <a:latin typeface="Arial" panose="020B0604020202020204" pitchFamily="34"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cs typeface="Arial" panose="020B0604020202020204" pitchFamily="34" charset="0"/>
                        </a:rPr>
                        <a:t>49.2 | 22.5</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lt;1</a:t>
                      </a:r>
                      <a:endParaRPr kumimoji="0" lang="en-US" sz="1500" b="0" i="0" u="none" strike="noStrike" kern="1200" cap="none" spc="0" baseline="30000" noProof="0" dirty="0">
                        <a:solidFill>
                          <a:schemeClr val="tx1"/>
                        </a:solidFill>
                        <a:latin typeface="Arial" panose="020B0604020202020204" pitchFamily="34" charset="0"/>
                        <a:ea typeface="Arial"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7.1</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0.0</a:t>
                      </a:r>
                      <a:endPar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02983434"/>
                  </a:ext>
                </a:extLst>
              </a:tr>
              <a:tr h="309920">
                <a:tc>
                  <a:txBody>
                    <a:bodyPr/>
                    <a:lstStyle/>
                    <a:p>
                      <a:pPr marL="180000">
                        <a:lnSpc>
                          <a:spcPct val="100000"/>
                        </a:lnSpc>
                        <a:spcBef>
                          <a:spcPts val="0"/>
                        </a:spcBef>
                      </a:pPr>
                      <a:r>
                        <a:rPr lang="en-US" sz="1500" b="0" noProof="0" dirty="0" err="1">
                          <a:solidFill>
                            <a:schemeClr val="tx1"/>
                          </a:solidFill>
                          <a:latin typeface="Arial" panose="020B0604020202020204" pitchFamily="34" charset="0"/>
                          <a:ea typeface="Arial" charset="0"/>
                          <a:cs typeface="Arial" panose="020B0604020202020204" pitchFamily="34" charset="0"/>
                        </a:rPr>
                        <a:t>Anaemia</a:t>
                      </a:r>
                      <a:endParaRPr lang="en-US" sz="1500" b="0" noProof="0" dirty="0">
                        <a:solidFill>
                          <a:schemeClr val="tx1"/>
                        </a:solidFill>
                        <a:latin typeface="Arial" panose="020B0604020202020204" pitchFamily="34" charset="0"/>
                        <a:ea typeface="Arial" charset="0"/>
                        <a:cs typeface="Arial" panose="020B0604020202020204" pitchFamily="34" charset="0"/>
                      </a:endParaRP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21.9</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1.5</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17.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lt;1.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cs typeface="Arial" panose="020B0604020202020204" pitchFamily="34" charset="0"/>
                        </a:rPr>
                        <a:t>32.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cs typeface="Arial" panose="020B0604020202020204" pitchFamily="34" charset="0"/>
                        </a:rPr>
                        <a:t>36.5 | 23.7</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2.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28.7</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0.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43989770"/>
                  </a:ext>
                </a:extLst>
              </a:tr>
              <a:tr h="309920">
                <a:tc>
                  <a:txBody>
                    <a:bodyPr/>
                    <a:lstStyle/>
                    <a:p>
                      <a:pPr marL="180000">
                        <a:lnSpc>
                          <a:spcPct val="100000"/>
                        </a:lnSpc>
                        <a:spcBef>
                          <a:spcPts val="0"/>
                        </a:spcBef>
                      </a:pPr>
                      <a:r>
                        <a:rPr lang="en-US" sz="1500" b="0" noProof="0" dirty="0">
                          <a:solidFill>
                            <a:schemeClr val="tx1"/>
                          </a:solidFill>
                          <a:latin typeface="Arial" panose="020B0604020202020204" pitchFamily="34" charset="0"/>
                          <a:ea typeface="Arial" charset="0"/>
                          <a:cs typeface="Arial" panose="020B0604020202020204" pitchFamily="34" charset="0"/>
                        </a:rPr>
                        <a:t>Neutropenia</a:t>
                      </a: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8.5</a:t>
                      </a:r>
                      <a:endPar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4.6</a:t>
                      </a:r>
                      <a:endPar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6.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3.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21.3</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24.8 | 14.8</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1"/>
                          </a:solidFill>
                          <a:effectLst/>
                          <a:uLnTx/>
                          <a:uFillTx/>
                          <a:latin typeface="Arial" panose="020B0604020202020204" pitchFamily="34" charset="0"/>
                          <a:ea typeface="Arial" charset="0"/>
                          <a:cs typeface="Arial" panose="020B0604020202020204" pitchFamily="34" charset="0"/>
                        </a:rPr>
                        <a:t>1.6</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14.6</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0.9</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949191"/>
                  </a:ext>
                </a:extLst>
              </a:tr>
              <a:tr h="533440">
                <a:tc>
                  <a:txBody>
                    <a:bodyPr/>
                    <a:lstStyle/>
                    <a:p>
                      <a:pPr marL="180000">
                        <a:lnSpc>
                          <a:spcPct val="100000"/>
                        </a:lnSpc>
                        <a:spcBef>
                          <a:spcPts val="0"/>
                        </a:spcBef>
                      </a:pPr>
                      <a:r>
                        <a:rPr lang="en-US" sz="1500" b="0" noProof="0" dirty="0">
                          <a:solidFill>
                            <a:schemeClr val="tx1"/>
                          </a:solidFill>
                          <a:latin typeface="Arial" panose="020B0604020202020204" pitchFamily="34" charset="0"/>
                          <a:ea typeface="Arial" charset="0"/>
                          <a:cs typeface="Arial" panose="020B0604020202020204" pitchFamily="34" charset="0"/>
                        </a:rPr>
                        <a:t>Hypertension</a:t>
                      </a: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Not reported</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Not reported</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19.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30.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7.2</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8.3 | 5.3</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1"/>
                          </a:solidFill>
                          <a:effectLst/>
                          <a:uLnTx/>
                          <a:uFillTx/>
                          <a:latin typeface="Arial" panose="020B0604020202020204" pitchFamily="34" charset="0"/>
                          <a:ea typeface="Arial" charset="0"/>
                          <a:cs typeface="Arial" panose="020B0604020202020204" pitchFamily="34" charset="0"/>
                        </a:rPr>
                        <a:t>2.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Not </a:t>
                      </a:r>
                    </a:p>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reported</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85" rtl="0" eaLnBrk="1" latinLnBrk="0" hangingPunct="1">
                        <a:defRPr sz="2400" kern="1200">
                          <a:solidFill>
                            <a:schemeClr val="dk1"/>
                          </a:solidFill>
                          <a:latin typeface="Arial"/>
                        </a:defRPr>
                      </a:lvl1pPr>
                      <a:lvl2pPr marL="609585" algn="l" defTabSz="609585" rtl="0" eaLnBrk="1" latinLnBrk="0" hangingPunct="1">
                        <a:defRPr sz="2400" kern="1200">
                          <a:solidFill>
                            <a:schemeClr val="dk1"/>
                          </a:solidFill>
                          <a:latin typeface="Arial"/>
                        </a:defRPr>
                      </a:lvl2pPr>
                      <a:lvl3pPr marL="1219170" algn="l" defTabSz="609585" rtl="0" eaLnBrk="1" latinLnBrk="0" hangingPunct="1">
                        <a:defRPr sz="2400" kern="1200">
                          <a:solidFill>
                            <a:schemeClr val="dk1"/>
                          </a:solidFill>
                          <a:latin typeface="Arial"/>
                        </a:defRPr>
                      </a:lvl3pPr>
                      <a:lvl4pPr marL="1828754" algn="l" defTabSz="609585" rtl="0" eaLnBrk="1" latinLnBrk="0" hangingPunct="1">
                        <a:defRPr sz="2400" kern="1200">
                          <a:solidFill>
                            <a:schemeClr val="dk1"/>
                          </a:solidFill>
                          <a:latin typeface="Arial"/>
                        </a:defRPr>
                      </a:lvl4pPr>
                      <a:lvl5pPr marL="2438339" algn="l" defTabSz="609585" rtl="0" eaLnBrk="1" latinLnBrk="0" hangingPunct="1">
                        <a:defRPr sz="2400" kern="1200">
                          <a:solidFill>
                            <a:schemeClr val="dk1"/>
                          </a:solidFill>
                          <a:latin typeface="Arial"/>
                        </a:defRPr>
                      </a:lvl5pPr>
                      <a:lvl6pPr marL="3047924" algn="l" defTabSz="609585" rtl="0" eaLnBrk="1" latinLnBrk="0" hangingPunct="1">
                        <a:defRPr sz="2400" kern="1200">
                          <a:solidFill>
                            <a:schemeClr val="dk1"/>
                          </a:solidFill>
                          <a:latin typeface="Arial"/>
                        </a:defRPr>
                      </a:lvl6pPr>
                      <a:lvl7pPr marL="3657509" algn="l" defTabSz="609585" rtl="0" eaLnBrk="1" latinLnBrk="0" hangingPunct="1">
                        <a:defRPr sz="2400" kern="1200">
                          <a:solidFill>
                            <a:schemeClr val="dk1"/>
                          </a:solidFill>
                          <a:latin typeface="Arial"/>
                        </a:defRPr>
                      </a:lvl7pPr>
                      <a:lvl8pPr marL="4267093" algn="l" defTabSz="609585" rtl="0" eaLnBrk="1" latinLnBrk="0" hangingPunct="1">
                        <a:defRPr sz="2400" kern="1200">
                          <a:solidFill>
                            <a:schemeClr val="dk1"/>
                          </a:solidFill>
                          <a:latin typeface="Arial"/>
                        </a:defRPr>
                      </a:lvl8pPr>
                      <a:lvl9pPr marL="4876678" algn="l" defTabSz="609585" rtl="0" eaLnBrk="1" latinLnBrk="0" hangingPunct="1">
                        <a:defRPr sz="2400" kern="1200">
                          <a:solidFill>
                            <a:schemeClr val="dk1"/>
                          </a:solidFill>
                          <a:latin typeface="Arial"/>
                        </a:defRPr>
                      </a:lvl9p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Not reported</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81084371"/>
                  </a:ext>
                </a:extLst>
              </a:tr>
              <a:tr h="309920">
                <a:tc>
                  <a:txBody>
                    <a:bodyPr/>
                    <a:lstStyle/>
                    <a:p>
                      <a:pPr marL="0">
                        <a:lnSpc>
                          <a:spcPct val="100000"/>
                        </a:lnSpc>
                        <a:spcBef>
                          <a:spcPts val="0"/>
                        </a:spcBef>
                      </a:pPr>
                      <a:r>
                        <a:rPr lang="en-US" sz="1500" b="1" noProof="0" dirty="0">
                          <a:solidFill>
                            <a:schemeClr val="tx1"/>
                          </a:solidFill>
                          <a:latin typeface="Arial" panose="020B0604020202020204" pitchFamily="34" charset="0"/>
                          <a:ea typeface="Arial" charset="0"/>
                          <a:cs typeface="Arial" panose="020B0604020202020204" pitchFamily="34" charset="0"/>
                        </a:rPr>
                        <a:t>AML/MDS, %</a:t>
                      </a:r>
                    </a:p>
                  </a:txBody>
                  <a:tcPr marL="72000" marR="36000" marT="43200" marB="4320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1.5</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0.8</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1.7</a:t>
                      </a:r>
                      <a:endParaRPr kumimoji="0" lang="en-US" sz="1500" b="0" i="0" u="none" strike="noStrike" kern="1200" cap="none" spc="0" baseline="30000" noProof="0" dirty="0">
                        <a:solidFill>
                          <a:schemeClr val="tx1"/>
                        </a:solidFill>
                        <a:latin typeface="Arial" panose="020B0604020202020204" pitchFamily="34" charset="0"/>
                        <a:ea typeface="Arial"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latin typeface="Arial" panose="020B0604020202020204" pitchFamily="34" charset="0"/>
                          <a:ea typeface="Arial" charset="0"/>
                          <a:cs typeface="Arial" panose="020B0604020202020204" pitchFamily="34" charset="0"/>
                        </a:rPr>
                        <a:t>2.2</a:t>
                      </a:r>
                      <a:endParaRPr kumimoji="0" lang="en-US" sz="1500" b="0" i="0" u="none" strike="noStrike" kern="1200" cap="none" spc="0" baseline="30000" noProof="0" dirty="0">
                        <a:solidFill>
                          <a:schemeClr val="tx1"/>
                        </a:solidFill>
                        <a:latin typeface="Arial" panose="020B0604020202020204" pitchFamily="34" charset="0"/>
                        <a:ea typeface="Arial" charset="0"/>
                        <a:cs typeface="Arial" panose="020B0604020202020204" pitchFamily="34" charset="0"/>
                      </a:endParaRP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2.3</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Not reported</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1"/>
                          </a:solidFill>
                          <a:effectLst/>
                          <a:uLnTx/>
                          <a:uFillTx/>
                          <a:latin typeface="Arial" panose="020B0604020202020204" pitchFamily="34" charset="0"/>
                          <a:ea typeface="Arial" charset="0"/>
                          <a:cs typeface="Arial" panose="020B0604020202020204" pitchFamily="34" charset="0"/>
                        </a:rPr>
                        <a:t>1.6</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0.5</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09585" rtl="0" eaLnBrk="1" fontAlgn="auto" hangingPunct="1">
                        <a:lnSpc>
                          <a:spcPct val="100000"/>
                        </a:lnSpc>
                        <a:spcBef>
                          <a:spcPts val="0"/>
                        </a:spcBef>
                        <a:spcAft>
                          <a:spcPts val="0"/>
                        </a:spcAft>
                        <a:buFontTx/>
                        <a:buNone/>
                      </a:pPr>
                      <a:r>
                        <a:rPr kumimoji="0" lang="en-US" sz="1500" b="0" i="0" u="none" strike="noStrike" kern="1200" cap="none" spc="0" baseline="0" noProof="0" dirty="0">
                          <a:solidFill>
                            <a:schemeClr val="tx1"/>
                          </a:solidFill>
                          <a:effectLst/>
                          <a:latin typeface="Arial" panose="020B0604020202020204" pitchFamily="34" charset="0"/>
                          <a:ea typeface="Arial" charset="0"/>
                          <a:cs typeface="Arial" panose="020B0604020202020204" pitchFamily="34" charset="0"/>
                        </a:rPr>
                        <a:t>0.0</a:t>
                      </a:r>
                    </a:p>
                  </a:txBody>
                  <a:tcPr marL="72000" marR="36000" marT="43200" marB="43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4066753"/>
                  </a:ext>
                </a:extLst>
              </a:tr>
            </a:tbl>
          </a:graphicData>
        </a:graphic>
      </p:graphicFrame>
      <p:sp>
        <p:nvSpPr>
          <p:cNvPr id="13" name="TextBox 12">
            <a:extLst>
              <a:ext uri="{FF2B5EF4-FFF2-40B4-BE49-F238E27FC236}">
                <a16:creationId xmlns:a16="http://schemas.microsoft.com/office/drawing/2014/main" id="{55DF957A-AA09-4E0E-F99B-323F90C0AA49}"/>
              </a:ext>
            </a:extLst>
          </p:cNvPr>
          <p:cNvSpPr txBox="1"/>
          <p:nvPr/>
        </p:nvSpPr>
        <p:spPr>
          <a:xfrm>
            <a:off x="357433" y="5340078"/>
            <a:ext cx="11529723" cy="52322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LO1 data from 7-year descriptive OS analysis; PAOLA-1 data from primary analysis and final OS analysis (for AML/MDS rates only); PRIMA data from 5-year final OS analysis; ATHENA-MONO from primary analysis.</a:t>
            </a:r>
          </a:p>
        </p:txBody>
      </p:sp>
    </p:spTree>
    <p:extLst>
      <p:ext uri="{BB962C8B-B14F-4D97-AF65-F5344CB8AC3E}">
        <p14:creationId xmlns:p14="http://schemas.microsoft.com/office/powerpoint/2010/main" val="403699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7E757EB-3849-0C01-A34E-03B41C458FAD}"/>
              </a:ext>
            </a:extLst>
          </p:cNvPr>
          <p:cNvSpPr>
            <a:spLocks noGrp="1"/>
          </p:cNvSpPr>
          <p:nvPr>
            <p:ph type="body" sz="quarter" idx="4294967295"/>
          </p:nvPr>
        </p:nvSpPr>
        <p:spPr>
          <a:xfrm>
            <a:off x="978592" y="342764"/>
            <a:ext cx="10327554" cy="766763"/>
          </a:xfrm>
        </p:spPr>
        <p:txBody>
          <a:bodyPr vert="horz" lIns="91440" tIns="45720" rIns="91440" bIns="45720" rtlCol="0">
            <a:noAutofit/>
          </a:bodyPr>
          <a:lstStyle/>
          <a:p>
            <a:pPr marL="0" indent="0">
              <a:buNone/>
            </a:pPr>
            <a:r>
              <a:rPr lang="en-US" b="1" dirty="0">
                <a:solidFill>
                  <a:srgbClr val="1C428D"/>
                </a:solidFill>
                <a:latin typeface="Arial" panose="020B0604020202020204" pitchFamily="34" charset="0"/>
                <a:cs typeface="Arial" panose="020B0604020202020204" pitchFamily="34" charset="0"/>
              </a:rPr>
              <a:t>Ongoing trials will allow a direct comparison of 1L </a:t>
            </a:r>
            <a:r>
              <a:rPr lang="en-US" b="1" dirty="0" err="1">
                <a:solidFill>
                  <a:srgbClr val="1C428D"/>
                </a:solidFill>
                <a:latin typeface="Arial" panose="020B0604020202020204" pitchFamily="34" charset="0"/>
                <a:cs typeface="Arial" panose="020B0604020202020204" pitchFamily="34" charset="0"/>
              </a:rPr>
              <a:t>PARPi</a:t>
            </a:r>
            <a:r>
              <a:rPr lang="en-US" b="1" dirty="0">
                <a:solidFill>
                  <a:srgbClr val="1C428D"/>
                </a:solidFill>
                <a:latin typeface="Arial" panose="020B0604020202020204" pitchFamily="34" charset="0"/>
                <a:cs typeface="Arial" panose="020B0604020202020204" pitchFamily="34" charset="0"/>
              </a:rPr>
              <a:t> with or without bevacizumab</a:t>
            </a:r>
          </a:p>
        </p:txBody>
      </p:sp>
      <p:sp>
        <p:nvSpPr>
          <p:cNvPr id="6" name="Rectangle 5">
            <a:extLst>
              <a:ext uri="{FF2B5EF4-FFF2-40B4-BE49-F238E27FC236}">
                <a16:creationId xmlns:a16="http://schemas.microsoft.com/office/drawing/2014/main" id="{1CE6AA1B-5D09-6CDB-1C49-42809C096B94}"/>
              </a:ext>
            </a:extLst>
          </p:cNvPr>
          <p:cNvSpPr/>
          <p:nvPr/>
        </p:nvSpPr>
        <p:spPr>
          <a:xfrm>
            <a:off x="2365186" y="2371024"/>
            <a:ext cx="2447636" cy="378691"/>
          </a:xfrm>
          <a:prstGeom prst="rect">
            <a:avLst/>
          </a:prstGeom>
          <a:solidFill>
            <a:srgbClr val="EFA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NIRVANA-1</a:t>
            </a:r>
            <a:r>
              <a:rPr kumimoji="0" lang="en-US" sz="1800" b="1" i="0" u="none" strike="noStrike" kern="1200" cap="none" spc="0" normalizeH="0" baseline="30000" noProof="0" dirty="0">
                <a:ln>
                  <a:noFill/>
                </a:ln>
                <a:solidFill>
                  <a:srgbClr val="FFFFFF"/>
                </a:solidFill>
                <a:effectLst/>
                <a:uLnTx/>
                <a:uFillTx/>
                <a:latin typeface="Arial"/>
                <a:ea typeface="+mn-ea"/>
                <a:cs typeface="+mn-cs"/>
              </a:rPr>
              <a:t>1</a:t>
            </a:r>
          </a:p>
        </p:txBody>
      </p:sp>
      <p:sp>
        <p:nvSpPr>
          <p:cNvPr id="7" name="Rectangle 6">
            <a:extLst>
              <a:ext uri="{FF2B5EF4-FFF2-40B4-BE49-F238E27FC236}">
                <a16:creationId xmlns:a16="http://schemas.microsoft.com/office/drawing/2014/main" id="{6C25A474-7852-278F-5565-061E9984984D}"/>
              </a:ext>
            </a:extLst>
          </p:cNvPr>
          <p:cNvSpPr/>
          <p:nvPr/>
        </p:nvSpPr>
        <p:spPr>
          <a:xfrm>
            <a:off x="4937513" y="2371024"/>
            <a:ext cx="2447636" cy="378691"/>
          </a:xfrm>
          <a:prstGeom prst="rect">
            <a:avLst/>
          </a:prstGeom>
          <a:solidFill>
            <a:srgbClr val="EFA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AGO-OVAR 28</a:t>
            </a:r>
            <a:r>
              <a:rPr kumimoji="0" lang="en-US" sz="1800" b="1" i="0" u="none" strike="noStrike" kern="1200" cap="none" spc="0" normalizeH="0" baseline="30000" noProof="0" dirty="0">
                <a:ln>
                  <a:noFill/>
                </a:ln>
                <a:solidFill>
                  <a:srgbClr val="FFFFFF"/>
                </a:solidFill>
                <a:effectLst/>
                <a:uLnTx/>
                <a:uFillTx/>
                <a:latin typeface="Arial"/>
                <a:ea typeface="+mn-ea"/>
                <a:cs typeface="+mn-cs"/>
              </a:rPr>
              <a:t>2</a:t>
            </a:r>
          </a:p>
        </p:txBody>
      </p:sp>
      <p:sp>
        <p:nvSpPr>
          <p:cNvPr id="8" name="Rectangle 7">
            <a:extLst>
              <a:ext uri="{FF2B5EF4-FFF2-40B4-BE49-F238E27FC236}">
                <a16:creationId xmlns:a16="http://schemas.microsoft.com/office/drawing/2014/main" id="{3FC25AA7-61AF-9F7B-3F47-EA1030F44098}"/>
              </a:ext>
            </a:extLst>
          </p:cNvPr>
          <p:cNvSpPr/>
          <p:nvPr/>
        </p:nvSpPr>
        <p:spPr>
          <a:xfrm>
            <a:off x="7509841" y="2371024"/>
            <a:ext cx="2447636" cy="378691"/>
          </a:xfrm>
          <a:prstGeom prst="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MITO25</a:t>
            </a:r>
            <a:r>
              <a:rPr kumimoji="0" lang="en-US" sz="1800" b="1" i="0" u="none" strike="noStrike" kern="1200" cap="none" spc="0" normalizeH="0" baseline="30000" noProof="0" dirty="0">
                <a:ln>
                  <a:noFill/>
                </a:ln>
                <a:solidFill>
                  <a:prstClr val="black"/>
                </a:solidFill>
                <a:effectLst/>
                <a:uLnTx/>
                <a:uFillTx/>
                <a:latin typeface="Arial"/>
                <a:ea typeface="+mn-ea"/>
                <a:cs typeface="+mn-cs"/>
              </a:rPr>
              <a:t>3</a:t>
            </a:r>
          </a:p>
        </p:txBody>
      </p:sp>
      <p:sp>
        <p:nvSpPr>
          <p:cNvPr id="14" name="TextBox 13">
            <a:extLst>
              <a:ext uri="{FF2B5EF4-FFF2-40B4-BE49-F238E27FC236}">
                <a16:creationId xmlns:a16="http://schemas.microsoft.com/office/drawing/2014/main" id="{71FDE0B2-860C-7635-9A32-620582743028}"/>
              </a:ext>
            </a:extLst>
          </p:cNvPr>
          <p:cNvSpPr txBox="1"/>
          <p:nvPr/>
        </p:nvSpPr>
        <p:spPr>
          <a:xfrm>
            <a:off x="2356983" y="2784988"/>
            <a:ext cx="2432116" cy="73866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Arial"/>
                <a:ea typeface="+mn-ea"/>
                <a:cs typeface="+mn-cs"/>
              </a:rPr>
              <a:t>Niraparib ± bevacizumab </a:t>
            </a:r>
            <a:br>
              <a:rPr kumimoji="0" lang="en-US" sz="1400" b="0" i="0" u="none" strike="noStrike" kern="1200" cap="none" spc="0" normalizeH="0" baseline="0" noProof="0" dirty="0">
                <a:ln>
                  <a:noFill/>
                </a:ln>
                <a:solidFill>
                  <a:srgbClr val="3F4444"/>
                </a:solidFill>
                <a:effectLst/>
                <a:uLnTx/>
                <a:uFillTx/>
                <a:latin typeface="Arial"/>
                <a:ea typeface="+mn-ea"/>
                <a:cs typeface="+mn-cs"/>
              </a:rPr>
            </a:br>
            <a:r>
              <a:rPr kumimoji="0" lang="en-US" sz="1400" b="0" i="0" u="none" strike="noStrike" kern="1200" cap="none" spc="0" normalizeH="0" baseline="0" noProof="0" dirty="0">
                <a:ln>
                  <a:noFill/>
                </a:ln>
                <a:solidFill>
                  <a:srgbClr val="3F4444"/>
                </a:solidFill>
                <a:effectLst/>
                <a:uLnTx/>
                <a:uFillTx/>
                <a:latin typeface="Arial"/>
                <a:ea typeface="+mn-ea"/>
                <a:cs typeface="+mn-cs"/>
              </a:rPr>
              <a:t>as maintenance after complete cytoreduction</a:t>
            </a:r>
          </a:p>
        </p:txBody>
      </p:sp>
      <p:sp>
        <p:nvSpPr>
          <p:cNvPr id="15" name="TextBox 14">
            <a:extLst>
              <a:ext uri="{FF2B5EF4-FFF2-40B4-BE49-F238E27FC236}">
                <a16:creationId xmlns:a16="http://schemas.microsoft.com/office/drawing/2014/main" id="{DF20B69F-97DA-A7F1-AC9E-6575C1A01D6B}"/>
              </a:ext>
            </a:extLst>
          </p:cNvPr>
          <p:cNvSpPr txBox="1"/>
          <p:nvPr/>
        </p:nvSpPr>
        <p:spPr>
          <a:xfrm>
            <a:off x="4926311" y="2784987"/>
            <a:ext cx="2432116" cy="95410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Arial"/>
                <a:ea typeface="+mn-ea"/>
                <a:cs typeface="+mn-cs"/>
              </a:rPr>
              <a:t>Niraparib vs niraparib + bevacizumab as maintenance after </a:t>
            </a:r>
            <a:br>
              <a:rPr kumimoji="0" lang="en-US" sz="1400" b="0" i="0" u="none" strike="noStrike" kern="1200" cap="none" spc="0" normalizeH="0" baseline="0" noProof="0" dirty="0">
                <a:ln>
                  <a:noFill/>
                </a:ln>
                <a:solidFill>
                  <a:srgbClr val="3F4444"/>
                </a:solidFill>
                <a:effectLst/>
                <a:uLnTx/>
                <a:uFillTx/>
                <a:latin typeface="Arial"/>
                <a:ea typeface="+mn-ea"/>
                <a:cs typeface="+mn-cs"/>
              </a:rPr>
            </a:br>
            <a:r>
              <a:rPr kumimoji="0" lang="en-US" sz="1400" b="0" i="0" u="none" strike="noStrike" kern="1200" cap="none" spc="0" normalizeH="0" baseline="0" noProof="0" dirty="0">
                <a:ln>
                  <a:noFill/>
                </a:ln>
                <a:solidFill>
                  <a:srgbClr val="3F4444"/>
                </a:solidFill>
                <a:effectLst/>
                <a:uLnTx/>
                <a:uFillTx/>
                <a:latin typeface="Arial"/>
                <a:ea typeface="+mn-ea"/>
                <a:cs typeface="+mn-cs"/>
              </a:rPr>
              <a:t>platinum + bevacizumab </a:t>
            </a:r>
          </a:p>
        </p:txBody>
      </p:sp>
      <p:sp>
        <p:nvSpPr>
          <p:cNvPr id="16" name="TextBox 15">
            <a:extLst>
              <a:ext uri="{FF2B5EF4-FFF2-40B4-BE49-F238E27FC236}">
                <a16:creationId xmlns:a16="http://schemas.microsoft.com/office/drawing/2014/main" id="{8ED88267-C834-08D5-F92F-379437BD7A5B}"/>
              </a:ext>
            </a:extLst>
          </p:cNvPr>
          <p:cNvSpPr txBox="1"/>
          <p:nvPr/>
        </p:nvSpPr>
        <p:spPr>
          <a:xfrm>
            <a:off x="7494459" y="2784987"/>
            <a:ext cx="2432116" cy="116955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Arial"/>
                <a:ea typeface="+mn-ea"/>
                <a:cs typeface="+mn-cs"/>
              </a:rPr>
              <a:t>Chemotherapy ± bevacizumab followed by rucaparib maintenance ± bevacizumab or bevacizumab alone </a:t>
            </a:r>
          </a:p>
        </p:txBody>
      </p:sp>
      <p:sp>
        <p:nvSpPr>
          <p:cNvPr id="19" name="Rectangle 18">
            <a:extLst>
              <a:ext uri="{FF2B5EF4-FFF2-40B4-BE49-F238E27FC236}">
                <a16:creationId xmlns:a16="http://schemas.microsoft.com/office/drawing/2014/main" id="{8CFE7B30-ADDD-B0C7-2B04-CAB4C1890044}"/>
              </a:ext>
            </a:extLst>
          </p:cNvPr>
          <p:cNvSpPr/>
          <p:nvPr/>
        </p:nvSpPr>
        <p:spPr>
          <a:xfrm>
            <a:off x="2076061" y="1723760"/>
            <a:ext cx="8039879" cy="322839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7EB9F99A-48E5-B922-218C-7491C37B77DB}"/>
              </a:ext>
            </a:extLst>
          </p:cNvPr>
          <p:cNvSpPr txBox="1"/>
          <p:nvPr/>
        </p:nvSpPr>
        <p:spPr>
          <a:xfrm>
            <a:off x="111699" y="6013379"/>
            <a:ext cx="12061340" cy="766763"/>
          </a:xfrm>
          <a:prstGeom prst="rect">
            <a:avLst/>
          </a:prstGeom>
          <a:noFill/>
        </p:spPr>
        <p:txBody>
          <a:bodyPr wrap="square" anchor="b">
            <a:noAutofit/>
          </a:bodyPr>
          <a:lstStyle>
            <a:defPPr>
              <a:defRPr lang="en-US"/>
            </a:defPPr>
            <a:lvl1pPr>
              <a:defRPr sz="1000">
                <a:solidFill>
                  <a:schemeClr val="bg1"/>
                </a:solidFill>
                <a:latin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1. ClinicalTrials.gov. NCT0518398; 2. </a:t>
            </a:r>
            <a:r>
              <a:rPr kumimoji="0" lang="en-US" sz="1000" b="0" i="0" u="none" strike="noStrike" kern="1200" cap="none" spc="0" normalizeH="0" baseline="0" noProof="0" dirty="0" err="1">
                <a:ln>
                  <a:noFill/>
                </a:ln>
                <a:solidFill>
                  <a:srgbClr val="1C428D"/>
                </a:solidFill>
                <a:effectLst/>
                <a:uLnTx/>
                <a:uFillTx/>
                <a:latin typeface="Arial" panose="020B0604020202020204" pitchFamily="34" charset="0"/>
                <a:ea typeface="+mn-ea"/>
                <a:cs typeface="Arial" panose="020B0604020202020204" pitchFamily="34" charset="0"/>
              </a:rPr>
              <a:t>ClinicalTrials.gov</a:t>
            </a: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 NCT05009082; 3. </a:t>
            </a:r>
            <a:r>
              <a:rPr kumimoji="0" lang="en-US" sz="1000" b="0" i="0" u="none" strike="noStrike" kern="1200" cap="none" spc="0" normalizeH="0" baseline="0" noProof="0" dirty="0" err="1">
                <a:ln>
                  <a:noFill/>
                </a:ln>
                <a:solidFill>
                  <a:srgbClr val="1C428D"/>
                </a:solidFill>
                <a:effectLst/>
                <a:uLnTx/>
                <a:uFillTx/>
                <a:latin typeface="Arial" panose="020B0604020202020204" pitchFamily="34" charset="0"/>
                <a:ea typeface="+mn-ea"/>
                <a:cs typeface="Arial" panose="020B0604020202020204" pitchFamily="34" charset="0"/>
              </a:rPr>
              <a:t>ClinicalTrials.gov</a:t>
            </a: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 NCT03462212. </a:t>
            </a:r>
            <a:r>
              <a:rPr kumimoji="0" lang="en-US" sz="1000" b="0" i="0" u="none" strike="noStrike" kern="1200" cap="none" spc="0" normalizeH="0" baseline="0" noProof="0" dirty="0" err="1">
                <a:ln>
                  <a:noFill/>
                </a:ln>
                <a:solidFill>
                  <a:srgbClr val="1C428D"/>
                </a:solidFill>
                <a:effectLst/>
                <a:uLnTx/>
                <a:uFillTx/>
                <a:latin typeface="Arial" panose="020B0604020202020204" pitchFamily="34" charset="0"/>
                <a:ea typeface="+mn-ea"/>
                <a:cs typeface="Arial" panose="020B0604020202020204" pitchFamily="34" charset="0"/>
              </a:rPr>
              <a:t>ClinicalTrials.gov</a:t>
            </a:r>
            <a:r>
              <a:rPr kumimoji="0" lang="en-US" sz="1000" b="0" i="0" u="none" strike="noStrike" kern="1200" cap="none" spc="0" normalizeH="0" baseline="0" noProof="0" dirty="0">
                <a:ln>
                  <a:noFill/>
                </a:ln>
                <a:solidFill>
                  <a:srgbClr val="1C428D"/>
                </a:solidFill>
                <a:effectLst/>
                <a:uLnTx/>
                <a:uFillTx/>
                <a:latin typeface="Arial" panose="020B0604020202020204" pitchFamily="34" charset="0"/>
                <a:ea typeface="+mn-ea"/>
                <a:cs typeface="Arial" panose="020B0604020202020204" pitchFamily="34" charset="0"/>
              </a:rPr>
              <a:t> website accessed 29 June 2024.</a:t>
            </a:r>
          </a:p>
        </p:txBody>
      </p:sp>
    </p:spTree>
    <p:extLst>
      <p:ext uri="{BB962C8B-B14F-4D97-AF65-F5344CB8AC3E}">
        <p14:creationId xmlns:p14="http://schemas.microsoft.com/office/powerpoint/2010/main" val="38270331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CuadroTexto 8">
            <a:extLst>
              <a:ext uri="{FF2B5EF4-FFF2-40B4-BE49-F238E27FC236}">
                <a16:creationId xmlns:a16="http://schemas.microsoft.com/office/drawing/2014/main" id="{92BABF2F-889C-0BCC-4677-DC57E2FA2B85}"/>
              </a:ext>
            </a:extLst>
          </p:cNvPr>
          <p:cNvSpPr txBox="1"/>
          <p:nvPr/>
        </p:nvSpPr>
        <p:spPr>
          <a:xfrm>
            <a:off x="727871" y="1444334"/>
            <a:ext cx="3583304" cy="2246769"/>
          </a:xfrm>
          <a:prstGeom prst="rect">
            <a:avLst/>
          </a:prstGeom>
          <a:noFill/>
          <a:ln>
            <a:solidFill>
              <a:schemeClr val="bg2">
                <a:lumMod val="25000"/>
              </a:schemeClr>
            </a:solidFill>
          </a:ln>
        </p:spPr>
        <p:txBody>
          <a:bodyPr wrap="square" rtlCol="0">
            <a:spAutoFit/>
          </a:bodyPr>
          <a:lstStyle/>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Age </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Performance status (ECOG)</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Co-morbidities </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Expectations</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Desires and own vision of life</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Caregivers' availability and support </a:t>
            </a:r>
          </a:p>
        </p:txBody>
      </p:sp>
      <p:sp>
        <p:nvSpPr>
          <p:cNvPr id="10" name="CuadroTexto 9">
            <a:extLst>
              <a:ext uri="{FF2B5EF4-FFF2-40B4-BE49-F238E27FC236}">
                <a16:creationId xmlns:a16="http://schemas.microsoft.com/office/drawing/2014/main" id="{E76EBEBB-D57D-48F1-44FF-52E17AB304A7}"/>
              </a:ext>
            </a:extLst>
          </p:cNvPr>
          <p:cNvSpPr txBox="1"/>
          <p:nvPr/>
        </p:nvSpPr>
        <p:spPr>
          <a:xfrm>
            <a:off x="7784149" y="1158351"/>
            <a:ext cx="3710303" cy="2246769"/>
          </a:xfrm>
          <a:prstGeom prst="rect">
            <a:avLst/>
          </a:prstGeom>
          <a:noFill/>
          <a:ln>
            <a:solidFill>
              <a:schemeClr val="bg2">
                <a:lumMod val="25000"/>
              </a:schemeClr>
            </a:solidFill>
          </a:ln>
        </p:spPr>
        <p:txBody>
          <a:bodyPr wrap="square" rtlCol="0">
            <a:spAutoFit/>
          </a:bodyPr>
          <a:lstStyle/>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Histology</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BRCA and HRD status</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Other Genomics (CCNE1, RAD51,…)</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srgbClr val="002060"/>
                </a:solidFill>
                <a:effectLst/>
                <a:uLnTx/>
                <a:uFillTx/>
                <a:latin typeface="Calibri" panose="020F0502020204030204"/>
                <a:ea typeface="+mn-ea"/>
                <a:cs typeface="Arial"/>
                <a:sym typeface="Arial"/>
              </a:rPr>
              <a:t>Tumour</a:t>
            </a: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 microenvironment</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Mechanisms of resistance to platinum and/or </a:t>
            </a:r>
            <a:r>
              <a:rPr kumimoji="0" lang="en-US" sz="2000" b="0" i="0" u="none" strike="noStrike" kern="1200" cap="none" spc="0" normalizeH="0" baseline="0" noProof="0" dirty="0" err="1">
                <a:ln>
                  <a:noFill/>
                </a:ln>
                <a:solidFill>
                  <a:srgbClr val="002060"/>
                </a:solidFill>
                <a:effectLst/>
                <a:uLnTx/>
                <a:uFillTx/>
                <a:latin typeface="Calibri" panose="020F0502020204030204"/>
                <a:ea typeface="+mn-ea"/>
                <a:cs typeface="Arial"/>
                <a:sym typeface="Arial"/>
              </a:rPr>
              <a:t>PARPi</a:t>
            </a:r>
            <a:endPar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endParaRPr>
          </a:p>
        </p:txBody>
      </p:sp>
      <p:sp>
        <p:nvSpPr>
          <p:cNvPr id="11" name="CuadroTexto 10">
            <a:extLst>
              <a:ext uri="{FF2B5EF4-FFF2-40B4-BE49-F238E27FC236}">
                <a16:creationId xmlns:a16="http://schemas.microsoft.com/office/drawing/2014/main" id="{9CD39CE4-CCC7-A29E-BADC-293F60A49020}"/>
              </a:ext>
            </a:extLst>
          </p:cNvPr>
          <p:cNvSpPr txBox="1"/>
          <p:nvPr/>
        </p:nvSpPr>
        <p:spPr>
          <a:xfrm>
            <a:off x="697551" y="4117850"/>
            <a:ext cx="4009571" cy="1938992"/>
          </a:xfrm>
          <a:prstGeom prst="rect">
            <a:avLst/>
          </a:prstGeom>
          <a:noFill/>
          <a:ln>
            <a:solidFill>
              <a:schemeClr val="bg2">
                <a:lumMod val="25000"/>
              </a:schemeClr>
            </a:solidFill>
          </a:ln>
        </p:spPr>
        <p:txBody>
          <a:bodyPr wrap="square" rtlCol="0">
            <a:spAutoFit/>
          </a:bodyPr>
          <a:lstStyle/>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Pre-surgical assessment (CT vs PET vs laparoscopy)</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Skills of the surgical team (level of specialization)</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Residual </a:t>
            </a:r>
            <a:r>
              <a:rPr kumimoji="0" lang="en-US" sz="2000" b="0" i="0" u="none" strike="noStrike" kern="1200" cap="none" spc="0" normalizeH="0" baseline="0" noProof="0" dirty="0" err="1">
                <a:ln>
                  <a:noFill/>
                </a:ln>
                <a:solidFill>
                  <a:srgbClr val="002060"/>
                </a:solidFill>
                <a:effectLst/>
                <a:uLnTx/>
                <a:uFillTx/>
                <a:latin typeface="Calibri" panose="020F0502020204030204"/>
                <a:ea typeface="+mn-ea"/>
                <a:cs typeface="Arial"/>
                <a:sym typeface="Arial"/>
              </a:rPr>
              <a:t>tumour</a:t>
            </a: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 after PCS or ICS</a:t>
            </a:r>
          </a:p>
          <a:p>
            <a:pPr marL="285737" marR="0" lvl="0" indent="-285737"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Surgical complications</a:t>
            </a:r>
          </a:p>
        </p:txBody>
      </p:sp>
      <p:sp>
        <p:nvSpPr>
          <p:cNvPr id="12" name="CuadroTexto 11">
            <a:extLst>
              <a:ext uri="{FF2B5EF4-FFF2-40B4-BE49-F238E27FC236}">
                <a16:creationId xmlns:a16="http://schemas.microsoft.com/office/drawing/2014/main" id="{6C186B4E-B725-9C8B-2CBB-4B773EC30B1D}"/>
              </a:ext>
            </a:extLst>
          </p:cNvPr>
          <p:cNvSpPr txBox="1"/>
          <p:nvPr/>
        </p:nvSpPr>
        <p:spPr>
          <a:xfrm>
            <a:off x="7668586" y="4171362"/>
            <a:ext cx="3803185" cy="1938992"/>
          </a:xfrm>
          <a:prstGeom prst="rect">
            <a:avLst/>
          </a:prstGeom>
          <a:noFill/>
          <a:ln>
            <a:solidFill>
              <a:schemeClr val="bg2">
                <a:lumMod val="25000"/>
              </a:schemeClr>
            </a:solidFill>
          </a:ln>
        </p:spPr>
        <p:txBody>
          <a:bodyPr wrap="square" rtlCol="0">
            <a:spAutoFit/>
          </a:bodyPr>
          <a:lstStyle/>
          <a:p>
            <a:pPr marL="342882" marR="0" lvl="0" indent="-342882"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Response to chemo (RECIST)</a:t>
            </a:r>
          </a:p>
          <a:p>
            <a:pPr marL="342882" marR="0" lvl="0" indent="-342882"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CA-125 kinetic of elimination (KELIM)</a:t>
            </a:r>
          </a:p>
          <a:p>
            <a:pPr marL="342882" marR="0" lvl="0" indent="-342882"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Bevacizumab and / or </a:t>
            </a:r>
            <a:r>
              <a:rPr kumimoji="0" lang="en-US" sz="2000" b="0" i="0" u="none" strike="noStrike" kern="1200" cap="none" spc="0" normalizeH="0" baseline="0" noProof="0" dirty="0" err="1">
                <a:ln>
                  <a:noFill/>
                </a:ln>
                <a:solidFill>
                  <a:srgbClr val="002060"/>
                </a:solidFill>
                <a:effectLst/>
                <a:uLnTx/>
                <a:uFillTx/>
                <a:latin typeface="Calibri" panose="020F0502020204030204"/>
                <a:ea typeface="+mn-ea"/>
                <a:cs typeface="Arial"/>
                <a:sym typeface="Arial"/>
              </a:rPr>
              <a:t>PARPi</a:t>
            </a:r>
            <a:endPar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endParaRPr>
          </a:p>
          <a:p>
            <a:pPr marL="342882" marR="0" lvl="0" indent="-342882"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Safety &amp; profile of drugs</a:t>
            </a:r>
          </a:p>
          <a:p>
            <a:pPr marL="342882" marR="0" lvl="0" indent="-342882"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Arial"/>
                <a:sym typeface="Arial"/>
              </a:rPr>
              <a:t>Access and reimbursement</a:t>
            </a:r>
          </a:p>
        </p:txBody>
      </p:sp>
      <p:graphicFrame>
        <p:nvGraphicFramePr>
          <p:cNvPr id="7" name="Marcador de contenido 6">
            <a:extLst>
              <a:ext uri="{FF2B5EF4-FFF2-40B4-BE49-F238E27FC236}">
                <a16:creationId xmlns:a16="http://schemas.microsoft.com/office/drawing/2014/main" id="{68FDC0B6-78EF-A13C-753D-BB96CFB7BA9E}"/>
              </a:ext>
            </a:extLst>
          </p:cNvPr>
          <p:cNvGraphicFramePr>
            <a:graphicFrameLocks noGrp="1"/>
          </p:cNvGraphicFramePr>
          <p:nvPr>
            <p:ph idx="1"/>
          </p:nvPr>
        </p:nvGraphicFramePr>
        <p:xfrm>
          <a:off x="838200" y="1601673"/>
          <a:ext cx="10515600" cy="43513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CuadroTexto 12">
            <a:extLst>
              <a:ext uri="{FF2B5EF4-FFF2-40B4-BE49-F238E27FC236}">
                <a16:creationId xmlns:a16="http://schemas.microsoft.com/office/drawing/2014/main" id="{DDB463D3-964D-F1E4-265D-C46851F64772}"/>
              </a:ext>
            </a:extLst>
          </p:cNvPr>
          <p:cNvSpPr txBox="1"/>
          <p:nvPr/>
        </p:nvSpPr>
        <p:spPr>
          <a:xfrm>
            <a:off x="130630" y="134556"/>
            <a:ext cx="11669487" cy="1077218"/>
          </a:xfrm>
          <a:prstGeom prst="rect">
            <a:avLst/>
          </a:prstGeom>
          <a:noFill/>
        </p:spPr>
        <p:txBody>
          <a:bodyPr wrap="square">
            <a:spAutoFit/>
          </a:bodyP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Aptos Display" panose="02110004020202020204"/>
                <a:ea typeface="+mn-ea"/>
                <a:cs typeface="Arial"/>
                <a:sym typeface="Arial"/>
              </a:rPr>
              <a:t>The Complexity of Personalized Therapy: </a:t>
            </a:r>
          </a:p>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Aptos Display" panose="02110004020202020204"/>
                <a:ea typeface="+mn-ea"/>
                <a:cs typeface="Arial"/>
                <a:sym typeface="Arial"/>
              </a:rPr>
              <a:t>Addressing the Heterogeneity of AOC</a:t>
            </a:r>
          </a:p>
        </p:txBody>
      </p:sp>
      <p:sp>
        <p:nvSpPr>
          <p:cNvPr id="3" name="CuadroTexto 2">
            <a:extLst>
              <a:ext uri="{FF2B5EF4-FFF2-40B4-BE49-F238E27FC236}">
                <a16:creationId xmlns:a16="http://schemas.microsoft.com/office/drawing/2014/main" id="{069FB659-6B99-D50D-CC4A-B42771E6CB8E}"/>
              </a:ext>
            </a:extLst>
          </p:cNvPr>
          <p:cNvSpPr txBox="1"/>
          <p:nvPr/>
        </p:nvSpPr>
        <p:spPr>
          <a:xfrm>
            <a:off x="130630" y="6261782"/>
            <a:ext cx="11669487" cy="461665"/>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Arial" charset="0"/>
              </a:rPr>
              <a:t>1. Caruso G, </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Arial" charset="0"/>
              </a:rPr>
              <a:t>TomaoF</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Arial" charset="0"/>
              </a:rPr>
              <a:t>, Parma G, et al. Poly(ADP-ribose)</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Arial" charset="0"/>
              </a:rPr>
              <a:t>polymeraseinhibitors</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Arial" charset="0"/>
              </a:rPr>
              <a:t>(</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Arial" charset="0"/>
              </a:rPr>
              <a:t>PARPi</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Arial" charset="0"/>
              </a:rPr>
              <a:t>) in </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Arial" charset="0"/>
              </a:rPr>
              <a:t>ovariancancer:lessonslearnedand</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Arial" charset="0"/>
              </a:rPr>
              <a:t> future </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Arial" charset="0"/>
              </a:rPr>
              <a:t>directions.IntJ</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Arial" charset="0"/>
              </a:rPr>
              <a:t> </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Arial" charset="0"/>
              </a:rPr>
              <a:t>Gynecol</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Arial" charset="0"/>
              </a:rPr>
              <a:t> Cancer. 2023;33(4):431–43 2. Mirza MR, Coleman RL, González-Martín A, et al. The forefront of ovarian cancer therapy: update on PARP inhibitors. Ann Oncol. 2020;31(9):1148–59.  3. </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Arial" charset="0"/>
              </a:rPr>
              <a:t>O’Cearbhaill</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Arial" charset="0"/>
              </a:rPr>
              <a:t> RE. Using PARP inhibitors in advanced ovarian cancer. Oncology (Williston Park). 2018;32(7):339–43.  4. </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Arial" charset="0"/>
              </a:rPr>
              <a:t>Havrilesky</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Arial" charset="0"/>
              </a:rPr>
              <a:t> LJ, Lim S, Ehrisman JA, et al. Patient preferences for maintenance PARP inhibitor therapy in ovarian cancer treatment. </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Arial" charset="0"/>
              </a:rPr>
              <a:t>Gynecol</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Arial" charset="0"/>
              </a:rPr>
              <a:t> Oncol. 2020;156(3):561–7.</a:t>
            </a:r>
          </a:p>
        </p:txBody>
      </p:sp>
    </p:spTree>
    <p:extLst>
      <p:ext uri="{BB962C8B-B14F-4D97-AF65-F5344CB8AC3E}">
        <p14:creationId xmlns:p14="http://schemas.microsoft.com/office/powerpoint/2010/main" val="17426370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EC86038-00DE-5547-5042-D90DE5AEAC12}"/>
              </a:ext>
            </a:extLst>
          </p:cNvPr>
          <p:cNvSpPr>
            <a:spLocks noGrp="1"/>
          </p:cNvSpPr>
          <p:nvPr>
            <p:ph type="title" idx="4294967295"/>
          </p:nvPr>
        </p:nvSpPr>
        <p:spPr>
          <a:xfrm>
            <a:off x="613064" y="242311"/>
            <a:ext cx="10515600" cy="968376"/>
          </a:xfrm>
        </p:spPr>
        <p:txBody>
          <a:bodyPr>
            <a:normAutofit/>
          </a:bodyPr>
          <a:lstStyle/>
          <a:p>
            <a:r>
              <a:rPr lang="en-US" sz="3600" b="1" dirty="0">
                <a:solidFill>
                  <a:srgbClr val="1C428D"/>
                </a:solidFill>
                <a:latin typeface="Arial" panose="020B0604020202020204" pitchFamily="34" charset="0"/>
                <a:cs typeface="Arial" panose="020B0604020202020204" pitchFamily="34" charset="0"/>
              </a:rPr>
              <a:t>Take home message</a:t>
            </a:r>
          </a:p>
        </p:txBody>
      </p:sp>
      <p:sp>
        <p:nvSpPr>
          <p:cNvPr id="3" name="Marcador de contenido 2">
            <a:extLst>
              <a:ext uri="{FF2B5EF4-FFF2-40B4-BE49-F238E27FC236}">
                <a16:creationId xmlns:a16="http://schemas.microsoft.com/office/drawing/2014/main" id="{8C7CBD64-C697-EBDC-39F4-3B68EC512E6F}"/>
              </a:ext>
            </a:extLst>
          </p:cNvPr>
          <p:cNvSpPr>
            <a:spLocks noGrp="1"/>
          </p:cNvSpPr>
          <p:nvPr>
            <p:ph idx="4294967295"/>
          </p:nvPr>
        </p:nvSpPr>
        <p:spPr>
          <a:xfrm>
            <a:off x="613064" y="1210686"/>
            <a:ext cx="10515600" cy="5184775"/>
          </a:xfrm>
        </p:spPr>
        <p:txBody>
          <a:bodyPr>
            <a:noAutofit/>
          </a:bodyPr>
          <a:lstStyle/>
          <a:p>
            <a:pPr>
              <a:spcBef>
                <a:spcPts val="600"/>
              </a:spcBef>
            </a:pPr>
            <a:r>
              <a:rPr lang="en-US" sz="2000" dirty="0">
                <a:latin typeface="Arial" panose="020B0604020202020204" pitchFamily="34" charset="0"/>
                <a:cs typeface="Arial" panose="020B0604020202020204" pitchFamily="34" charset="0"/>
              </a:rPr>
              <a:t>Maintenance therapy with PARP inhibitors in front line has changed the natural history of patients with HGSOC and GIS+ tumors</a:t>
            </a:r>
          </a:p>
          <a:p>
            <a:pPr>
              <a:spcBef>
                <a:spcPts val="600"/>
              </a:spcBef>
            </a:pPr>
            <a:r>
              <a:rPr lang="en-US" sz="2000" dirty="0">
                <a:latin typeface="Arial" panose="020B0604020202020204" pitchFamily="34" charset="0"/>
                <a:cs typeface="Arial" panose="020B0604020202020204" pitchFamily="34" charset="0"/>
              </a:rPr>
              <a:t>BRCA and HRD Testing is mandatory for patient treatment selection</a:t>
            </a:r>
          </a:p>
          <a:p>
            <a:pPr>
              <a:spcBef>
                <a:spcPts val="600"/>
              </a:spcBef>
            </a:pPr>
            <a:r>
              <a:rPr lang="en-US" sz="2000" dirty="0">
                <a:latin typeface="Arial" panose="020B0604020202020204" pitchFamily="34" charset="0"/>
                <a:cs typeface="Arial" panose="020B0604020202020204" pitchFamily="34" charset="0"/>
              </a:rPr>
              <a:t>Therapeutic management of ovarian cancer in multiple settings has shifted dramatically, with the first-line overall survival data from SOLO-1 and PAOLA-1 raising the hope of a potential cure</a:t>
            </a:r>
          </a:p>
          <a:p>
            <a:pPr>
              <a:spcBef>
                <a:spcPts val="600"/>
              </a:spcBef>
            </a:pPr>
            <a:r>
              <a:rPr lang="en-US" sz="2000" dirty="0">
                <a:latin typeface="Arial" panose="020B0604020202020204" pitchFamily="34" charset="0"/>
                <a:cs typeface="Arial" panose="020B0604020202020204" pitchFamily="34" charset="0"/>
              </a:rPr>
              <a:t>The role of bevacizumab added to </a:t>
            </a:r>
            <a:r>
              <a:rPr lang="en-US" sz="2000" dirty="0" err="1">
                <a:latin typeface="Arial" panose="020B0604020202020204" pitchFamily="34" charset="0"/>
                <a:cs typeface="Arial" panose="020B0604020202020204" pitchFamily="34" charset="0"/>
              </a:rPr>
              <a:t>PARPi</a:t>
            </a:r>
            <a:r>
              <a:rPr lang="en-US" sz="2000" dirty="0">
                <a:latin typeface="Arial" panose="020B0604020202020204" pitchFamily="34" charset="0"/>
                <a:cs typeface="Arial" panose="020B0604020202020204" pitchFamily="34" charset="0"/>
              </a:rPr>
              <a:t> in patients with GIS tumors is still a matter of debate.</a:t>
            </a:r>
          </a:p>
          <a:p>
            <a:pPr lvl="1">
              <a:spcBef>
                <a:spcPts val="600"/>
              </a:spcBef>
            </a:pPr>
            <a:r>
              <a:rPr lang="en-US" sz="2000" dirty="0">
                <a:latin typeface="Arial" panose="020B0604020202020204" pitchFamily="34" charset="0"/>
                <a:cs typeface="Arial" panose="020B0604020202020204" pitchFamily="34" charset="0"/>
              </a:rPr>
              <a:t>Clinical characteristics may not play a major  role</a:t>
            </a:r>
          </a:p>
          <a:p>
            <a:pPr lvl="1">
              <a:spcBef>
                <a:spcPts val="600"/>
              </a:spcBef>
            </a:pPr>
            <a:r>
              <a:rPr lang="en-US" sz="2000" dirty="0">
                <a:latin typeface="Arial" panose="020B0604020202020204" pitchFamily="34" charset="0"/>
                <a:cs typeface="Arial" panose="020B0604020202020204" pitchFamily="34" charset="0"/>
              </a:rPr>
              <a:t>Optimal Response  to chemotherapy may </a:t>
            </a:r>
            <a:r>
              <a:rPr lang="en-US" sz="2000" dirty="0" err="1">
                <a:latin typeface="Arial" panose="020B0604020202020204" pitchFamily="34" charset="0"/>
                <a:cs typeface="Arial" panose="020B0604020202020204" pitchFamily="34" charset="0"/>
              </a:rPr>
              <a:t>favour</a:t>
            </a:r>
            <a:r>
              <a:rPr lang="en-US" sz="2000" dirty="0">
                <a:latin typeface="Arial" panose="020B0604020202020204" pitchFamily="34" charset="0"/>
                <a:cs typeface="Arial" panose="020B0604020202020204" pitchFamily="34" charset="0"/>
              </a:rPr>
              <a:t> PARP-</a:t>
            </a:r>
            <a:r>
              <a:rPr lang="en-US" sz="2000" dirty="0" err="1">
                <a:latin typeface="Arial" panose="020B0604020202020204" pitchFamily="34" charset="0"/>
                <a:cs typeface="Arial" panose="020B0604020202020204" pitchFamily="34" charset="0"/>
              </a:rPr>
              <a:t>i</a:t>
            </a:r>
            <a:r>
              <a:rPr lang="en-US" sz="2000" dirty="0">
                <a:latin typeface="Arial" panose="020B0604020202020204" pitchFamily="34" charset="0"/>
                <a:cs typeface="Arial" panose="020B0604020202020204" pitchFamily="34" charset="0"/>
              </a:rPr>
              <a:t> monotherapy </a:t>
            </a:r>
          </a:p>
          <a:p>
            <a:pPr lvl="1">
              <a:spcBef>
                <a:spcPts val="600"/>
              </a:spcBef>
            </a:pPr>
            <a:r>
              <a:rPr lang="en-US" sz="2000" dirty="0">
                <a:latin typeface="Arial" panose="020B0604020202020204" pitchFamily="34" charset="0"/>
                <a:cs typeface="Arial" panose="020B0604020202020204" pitchFamily="34" charset="0"/>
              </a:rPr>
              <a:t>KELIM  score can help select patients with the greater benefit from bevacizumab but randomized clinical trials are eagerly awaited</a:t>
            </a:r>
          </a:p>
          <a:p>
            <a:pPr>
              <a:spcBef>
                <a:spcPts val="600"/>
              </a:spcBef>
            </a:pPr>
            <a:r>
              <a:rPr lang="en-US" sz="2000" dirty="0">
                <a:latin typeface="Arial" panose="020B0604020202020204" pitchFamily="34" charset="0"/>
                <a:cs typeface="Arial" panose="020B0604020202020204" pitchFamily="34" charset="0"/>
              </a:rPr>
              <a:t>New biomarkers beyond BRCA and GIS (such as ctDNA ) are needed to identify patients that will progress on or shortly after </a:t>
            </a:r>
            <a:r>
              <a:rPr lang="en-US" sz="2000" dirty="0" err="1">
                <a:latin typeface="Arial" panose="020B0604020202020204" pitchFamily="34" charset="0"/>
                <a:cs typeface="Arial" panose="020B0604020202020204" pitchFamily="34" charset="0"/>
              </a:rPr>
              <a:t>PARPi</a:t>
            </a:r>
            <a:endParaRPr lang="en-US" sz="2000" dirty="0">
              <a:latin typeface="Arial" panose="020B0604020202020204" pitchFamily="34" charset="0"/>
              <a:cs typeface="Arial" panose="020B0604020202020204" pitchFamily="34" charset="0"/>
            </a:endParaRPr>
          </a:p>
          <a:p>
            <a:pPr>
              <a:spcBef>
                <a:spcPts val="600"/>
              </a:spcBef>
            </a:pPr>
            <a:r>
              <a:rPr lang="en-US" sz="2000" dirty="0">
                <a:latin typeface="Arial" panose="020B0604020202020204" pitchFamily="34" charset="0"/>
                <a:cs typeface="Arial" panose="020B0604020202020204" pitchFamily="34" charset="0"/>
              </a:rPr>
              <a:t>Taken together, current evidence highlights the importance of introducing </a:t>
            </a:r>
            <a:r>
              <a:rPr lang="en-US" sz="2000" dirty="0" err="1">
                <a:latin typeface="Arial" panose="020B0604020202020204" pitchFamily="34" charset="0"/>
                <a:cs typeface="Arial" panose="020B0604020202020204" pitchFamily="34" charset="0"/>
              </a:rPr>
              <a:t>PARPi</a:t>
            </a:r>
            <a:r>
              <a:rPr lang="en-US" sz="2000" dirty="0">
                <a:latin typeface="Arial" panose="020B0604020202020204" pitchFamily="34" charset="0"/>
                <a:cs typeface="Arial" panose="020B0604020202020204" pitchFamily="34" charset="0"/>
              </a:rPr>
              <a:t> as early as possible for eligible patients</a:t>
            </a:r>
          </a:p>
          <a:p>
            <a:pPr>
              <a:spcBef>
                <a:spcPts val="600"/>
              </a:spcBef>
            </a:pP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6820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EAA1C-6F3D-BCBE-B6C1-96408E5C038B}"/>
            </a:ext>
          </a:extLst>
        </p:cNvPr>
        <p:cNvGrpSpPr/>
        <p:nvPr/>
      </p:nvGrpSpPr>
      <p:grpSpPr>
        <a:xfrm>
          <a:off x="0" y="0"/>
          <a:ext cx="0" cy="0"/>
          <a:chOff x="0" y="0"/>
          <a:chExt cx="0" cy="0"/>
        </a:xfrm>
      </p:grpSpPr>
      <p:pic>
        <p:nvPicPr>
          <p:cNvPr id="9" name="Picture 8" descr="A person wearing glasses and a headset&#10;&#10;AI-generated content may be incorrect.">
            <a:extLst>
              <a:ext uri="{FF2B5EF4-FFF2-40B4-BE49-F238E27FC236}">
                <a16:creationId xmlns:a16="http://schemas.microsoft.com/office/drawing/2014/main" id="{9D75AD72-1C7C-AB38-37D3-1EB7DBAB52DD}"/>
              </a:ext>
            </a:extLst>
          </p:cNvPr>
          <p:cNvPicPr>
            <a:picLocks noChangeAspect="1"/>
          </p:cNvPicPr>
          <p:nvPr/>
        </p:nvPicPr>
        <p:blipFill rotWithShape="1">
          <a:blip r:embed="rId2"/>
          <a:srcRect l="19298" r="24452"/>
          <a:stretch>
            <a:fillRect/>
          </a:stretch>
        </p:blipFill>
        <p:spPr>
          <a:xfrm>
            <a:off x="2297368" y="2570972"/>
            <a:ext cx="2651760" cy="2651760"/>
          </a:xfrm>
          <a:prstGeom prst="ellipse">
            <a:avLst/>
          </a:prstGeom>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8869C4E4-9687-4B82-C701-1F133955C9F0}"/>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639F364A-41EF-DE40-FDA2-841FD7D4FC7B}"/>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8" name="Title 1">
            <a:extLst>
              <a:ext uri="{FF2B5EF4-FFF2-40B4-BE49-F238E27FC236}">
                <a16:creationId xmlns:a16="http://schemas.microsoft.com/office/drawing/2014/main" id="{8CA9A4A7-C2E5-439F-42F4-CB6D11E21731}"/>
              </a:ext>
            </a:extLst>
          </p:cNvPr>
          <p:cNvSpPr txBox="1">
            <a:spLocks/>
          </p:cNvSpPr>
          <p:nvPr/>
        </p:nvSpPr>
        <p:spPr bwMode="auto">
          <a:xfrm>
            <a:off x="1432146"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Professor Jonathan A Ledermann</a:t>
            </a:r>
          </a:p>
        </p:txBody>
      </p:sp>
      <p:sp>
        <p:nvSpPr>
          <p:cNvPr id="5" name="Title 1">
            <a:extLst>
              <a:ext uri="{FF2B5EF4-FFF2-40B4-BE49-F238E27FC236}">
                <a16:creationId xmlns:a16="http://schemas.microsoft.com/office/drawing/2014/main" id="{DA71EFD6-C6BE-C093-4D8C-AA6F1CAEE7F2}"/>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FF3C4EBD-F22D-364E-17FF-9C46D0F6BBB6}"/>
              </a:ext>
            </a:extLst>
          </p:cNvPr>
          <p:cNvPicPr>
            <a:picLocks noChangeAspect="1"/>
          </p:cNvPicPr>
          <p:nvPr/>
        </p:nvPicPr>
        <p:blipFill>
          <a:blip r:embed="rId3"/>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sp>
        <p:nvSpPr>
          <p:cNvPr id="2" name="Oval 1">
            <a:extLst>
              <a:ext uri="{FF2B5EF4-FFF2-40B4-BE49-F238E27FC236}">
                <a16:creationId xmlns:a16="http://schemas.microsoft.com/office/drawing/2014/main" id="{47090B64-3136-4824-AD34-F1DBE5B97BCD}"/>
              </a:ext>
            </a:extLst>
          </p:cNvPr>
          <p:cNvSpPr/>
          <p:nvPr/>
        </p:nvSpPr>
        <p:spPr bwMode="auto">
          <a:xfrm>
            <a:off x="3792586" y="4444141"/>
            <a:ext cx="2655065" cy="2655065"/>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6142290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7FA3D3-2ED9-3C48-F1C9-4ECCB8BF1677}"/>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EEC180E5-E338-80C8-C17A-798FCB48A6A7}"/>
              </a:ext>
            </a:extLst>
          </p:cNvPr>
          <p:cNvSpPr txBox="1"/>
          <p:nvPr/>
        </p:nvSpPr>
        <p:spPr>
          <a:xfrm>
            <a:off x="974109" y="1261204"/>
            <a:ext cx="10074891" cy="48320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How do you think through up-front and maintenance therapy for patients with advanced ovarian cancer with somatic/germline BRCA mutations with and without ascites or pleural effusions? Which PARP inhibitor do you prefer, how do you decide on bevacizumab use and how long would you continue maintenance therap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How, if at all, does your thinking on these questions differ for patients with BRCA wild-type, HRD-positive disea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1E92B7DD-CA8B-8AC6-16B0-2E7CC2160D4D}"/>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27058002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32EB30-C606-2233-609B-BF01090AF3C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9BABAA62-C93C-E7D2-FDBA-E5F2273E2309}"/>
              </a:ext>
            </a:extLst>
          </p:cNvPr>
          <p:cNvSpPr txBox="1"/>
          <p:nvPr/>
        </p:nvSpPr>
        <p:spPr>
          <a:xfrm>
            <a:off x="974109" y="1261204"/>
            <a:ext cx="10074891" cy="5025991"/>
          </a:xfrm>
          <a:prstGeom prst="rect">
            <a:avLst/>
          </a:prstGeom>
          <a:noFill/>
        </p:spPr>
        <p:txBody>
          <a:bodyPr wrap="square">
            <a:spAutoFit/>
          </a:bodyPr>
          <a:lstStyle/>
          <a:p>
            <a:pPr marR="0" lvl="0">
              <a:lnSpc>
                <a:spcPct val="115000"/>
              </a:lnSpc>
            </a:pPr>
            <a:r>
              <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Are there any situations in which you currently offer up-front PARP inhibitor maintenance to your patients with BRCA wild-type, HRD-negative disea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Do you prefer a particular genetic testing platform? Are some of these more effective than others at detecting somatic/germline BRCA mutations? What about HRD? Have you encountered inconclusive HRD results? How do you approach maintenance therapy for these patien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9A4B6679-8963-45E8-68F9-12E66C3DE693}"/>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207068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3B11A-6F9C-C59E-60A1-DFCD5C7A39EE}"/>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FFC41441-290F-85A2-086F-686B20EAFA80}"/>
              </a:ext>
            </a:extLst>
          </p:cNvPr>
          <p:cNvSpPr txBox="1"/>
          <p:nvPr/>
        </p:nvSpPr>
        <p:spPr>
          <a:xfrm>
            <a:off x="974109" y="1261204"/>
            <a:ext cx="10074891" cy="5456878"/>
          </a:xfrm>
          <a:prstGeom prst="rect">
            <a:avLst/>
          </a:prstGeom>
          <a:noFill/>
        </p:spPr>
        <p:txBody>
          <a:bodyPr wrap="square">
            <a:spAutoFit/>
          </a:bodyPr>
          <a:lstStyle/>
          <a:p>
            <a:pPr marR="0" lvl="0">
              <a:lnSpc>
                <a:spcPct val="115000"/>
              </a:lnSpc>
            </a:pPr>
            <a:r>
              <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How often do you encounter patients with recurrent disease on imaging without CA-125? What role, if any, do you see for </a:t>
            </a:r>
            <a:r>
              <a:rPr lang="en-US" sz="2800" kern="100" dirty="0" err="1">
                <a:solidFill>
                  <a:schemeClr val="tx1"/>
                </a:solidFill>
                <a:effectLst/>
                <a:latin typeface="Calibri" panose="020F0502020204030204" pitchFamily="34" charset="0"/>
                <a:ea typeface="Aptos" panose="020B0004020202020204" pitchFamily="34" charset="0"/>
                <a:cs typeface="Calibri" panose="020F0502020204030204" pitchFamily="34" charset="0"/>
              </a:rPr>
              <a:t>ctDNA</a:t>
            </a:r>
            <a:r>
              <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 testing in ovarian canc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n which situations, if any, will you rechallenge with a PARP inhibitor for a patient who has received one in the up-front maintenance setting and subsequently experienced disease progression? How does time off treatment factor into your decision? Do you generally use the same or a different PARP inhibitor in this situ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6465DD22-622A-4F4B-1872-E5ED936CEC04}"/>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3715299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4027DB-2AED-CD04-70C5-ED532B88E9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AA47CD-B01F-D9B0-9C66-B83A51543F09}"/>
              </a:ext>
            </a:extLst>
          </p:cNvPr>
          <p:cNvSpPr>
            <a:spLocks noGrp="1"/>
          </p:cNvSpPr>
          <p:nvPr>
            <p:ph type="title"/>
          </p:nvPr>
        </p:nvSpPr>
        <p:spPr>
          <a:xfrm>
            <a:off x="916516" y="116633"/>
            <a:ext cx="10358967" cy="1008112"/>
          </a:xfrm>
        </p:spPr>
        <p:txBody>
          <a:bodyPr/>
          <a:lstStyle/>
          <a:p>
            <a:r>
              <a:rPr lang="en-US" sz="3200" dirty="0">
                <a:solidFill>
                  <a:srgbClr val="0432FF"/>
                </a:solidFill>
              </a:rPr>
              <a:t>Dr </a:t>
            </a:r>
            <a:r>
              <a:rPr lang="en-US" sz="3200" dirty="0" err="1">
                <a:solidFill>
                  <a:srgbClr val="0432FF"/>
                </a:solidFill>
              </a:rPr>
              <a:t>Olawaiye</a:t>
            </a:r>
            <a:r>
              <a:rPr lang="en-US" sz="3200" dirty="0">
                <a:solidFill>
                  <a:srgbClr val="0432FF"/>
                </a:solidFill>
              </a:rPr>
              <a:t> — Disclosures</a:t>
            </a:r>
            <a:br>
              <a:rPr lang="en-US" sz="3200" dirty="0">
                <a:solidFill>
                  <a:srgbClr val="0432FF"/>
                </a:solidFill>
              </a:rPr>
            </a:br>
            <a:r>
              <a:rPr lang="en-US" dirty="0"/>
              <a:t>Faculty</a:t>
            </a:r>
            <a:endParaRPr lang="en-US" sz="3200" dirty="0">
              <a:solidFill>
                <a:srgbClr val="0432FF"/>
              </a:solidFill>
            </a:endParaRPr>
          </a:p>
        </p:txBody>
      </p:sp>
      <p:graphicFrame>
        <p:nvGraphicFramePr>
          <p:cNvPr id="3" name="Content Placeholder 3">
            <a:extLst>
              <a:ext uri="{FF2B5EF4-FFF2-40B4-BE49-F238E27FC236}">
                <a16:creationId xmlns:a16="http://schemas.microsoft.com/office/drawing/2014/main" id="{37C0725A-31E0-5DBF-3CA4-C4200C2C3C0D}"/>
              </a:ext>
            </a:extLst>
          </p:cNvPr>
          <p:cNvGraphicFramePr>
            <a:graphicFrameLocks/>
          </p:cNvGraphicFramePr>
          <p:nvPr>
            <p:extLst>
              <p:ext uri="{D42A27DB-BD31-4B8C-83A1-F6EECF244321}">
                <p14:modId xmlns:p14="http://schemas.microsoft.com/office/powerpoint/2010/main" val="2651273012"/>
              </p:ext>
            </p:extLst>
          </p:nvPr>
        </p:nvGraphicFramePr>
        <p:xfrm>
          <a:off x="1302977" y="1916833"/>
          <a:ext cx="9586045" cy="2880320"/>
        </p:xfrm>
        <a:graphic>
          <a:graphicData uri="http://schemas.openxmlformats.org/drawingml/2006/table">
            <a:tbl>
              <a:tblPr firstRow="1" bandRow="1">
                <a:tableStyleId>{F2DE63D5-997A-4646-A377-4702673A728D}</a:tableStyleId>
              </a:tblPr>
              <a:tblGrid>
                <a:gridCol w="2850281">
                  <a:extLst>
                    <a:ext uri="{9D8B030D-6E8A-4147-A177-3AD203B41FA5}">
                      <a16:colId xmlns:a16="http://schemas.microsoft.com/office/drawing/2014/main" val="20000"/>
                    </a:ext>
                  </a:extLst>
                </a:gridCol>
                <a:gridCol w="6735764">
                  <a:extLst>
                    <a:ext uri="{9D8B030D-6E8A-4147-A177-3AD203B41FA5}">
                      <a16:colId xmlns:a16="http://schemas.microsoft.com/office/drawing/2014/main" val="20001"/>
                    </a:ext>
                  </a:extLst>
                </a:gridCol>
              </a:tblGrid>
              <a:tr h="919724">
                <a:tc>
                  <a:txBody>
                    <a:bodyPr/>
                    <a:lstStyle/>
                    <a:p>
                      <a:r>
                        <a:rPr lang="en-US" sz="17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straZeneca Pharmaceuticals LP, </a:t>
                      </a:r>
                      <a:r>
                        <a:rPr lang="en-US" sz="1700" b="0" kern="1200" dirty="0" err="1">
                          <a:solidFill>
                            <a:schemeClr val="tx1"/>
                          </a:solidFill>
                          <a:effectLst/>
                          <a:latin typeface="+mn-lt"/>
                          <a:ea typeface="+mn-ea"/>
                          <a:cs typeface="+mn-cs"/>
                        </a:rPr>
                        <a:t>Corcept</a:t>
                      </a:r>
                      <a:r>
                        <a:rPr lang="en-US" sz="1700" b="0" kern="1200" dirty="0">
                          <a:solidFill>
                            <a:schemeClr val="tx1"/>
                          </a:solidFill>
                          <a:effectLst/>
                          <a:latin typeface="+mn-lt"/>
                          <a:ea typeface="+mn-ea"/>
                          <a:cs typeface="+mn-cs"/>
                        </a:rPr>
                        <a:t> Therapeutics Inc, Daiichi Sankyo Inc, Eisai Inc, GSK, Lilly,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80298">
                <a:tc>
                  <a:txBody>
                    <a:bodyPr/>
                    <a:lstStyle/>
                    <a:p>
                      <a:r>
                        <a:rPr lang="en-US" sz="17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err="1">
                          <a:solidFill>
                            <a:schemeClr val="tx1"/>
                          </a:solidFill>
                          <a:effectLst/>
                          <a:latin typeface="+mn-lt"/>
                          <a:ea typeface="+mn-ea"/>
                          <a:cs typeface="+mn-cs"/>
                        </a:rPr>
                        <a:t>Corcept</a:t>
                      </a:r>
                      <a:r>
                        <a:rPr lang="en-US" sz="1700" b="0" kern="1200" dirty="0">
                          <a:solidFill>
                            <a:schemeClr val="tx1"/>
                          </a:solidFill>
                          <a:effectLst/>
                          <a:latin typeface="+mn-lt"/>
                          <a:ea typeface="+mn-ea"/>
                          <a:cs typeface="+mn-cs"/>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3242662"/>
                  </a:ext>
                </a:extLst>
              </a:tr>
              <a:tr h="980298">
                <a:tc>
                  <a:txBody>
                    <a:bodyPr/>
                    <a:lstStyle/>
                    <a:p>
                      <a:r>
                        <a:rPr lang="en-US" sz="17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Foundation Medicin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0622801"/>
                  </a:ext>
                </a:extLst>
              </a:tr>
            </a:tbl>
          </a:graphicData>
        </a:graphic>
      </p:graphicFrame>
    </p:spTree>
    <p:custDataLst>
      <p:tags r:id="rId1"/>
    </p:custDataLst>
    <p:extLst>
      <p:ext uri="{BB962C8B-B14F-4D97-AF65-F5344CB8AC3E}">
        <p14:creationId xmlns:p14="http://schemas.microsoft.com/office/powerpoint/2010/main" val="3209909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B11C75-0984-A529-5B69-31D21D5EA9A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B991DEF8-D165-712A-7E00-2A0E415206B1}"/>
              </a:ext>
            </a:extLst>
          </p:cNvPr>
          <p:cNvSpPr txBox="1"/>
          <p:nvPr/>
        </p:nvSpPr>
        <p:spPr>
          <a:xfrm>
            <a:off x="974109" y="1261204"/>
            <a:ext cx="10074891" cy="2376035"/>
          </a:xfrm>
          <a:prstGeom prst="rect">
            <a:avLst/>
          </a:prstGeom>
          <a:noFill/>
        </p:spPr>
        <p:txBody>
          <a:bodyPr wrap="square">
            <a:spAutoFit/>
          </a:bodyPr>
          <a:lstStyle/>
          <a:p>
            <a:pPr marR="0" lvl="0">
              <a:lnSpc>
                <a:spcPct val="115000"/>
              </a:lnSpc>
            </a:pPr>
            <a:r>
              <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How do you decide on the use of repeat debulking surgery for patients with recurrent ovarian canc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DB459C65-7D26-3CB3-2CD2-89EAEA22653D}"/>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24125703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A85863-F29B-5557-1795-11449ED8E90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E9B1CD23-2CCA-2FCA-7BAD-5A61D75D98F0}"/>
              </a:ext>
            </a:extLst>
          </p:cNvPr>
          <p:cNvSpPr/>
          <p:nvPr/>
        </p:nvSpPr>
        <p:spPr bwMode="auto">
          <a:xfrm>
            <a:off x="740128" y="2348880"/>
            <a:ext cx="10828480" cy="83485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2AC71881-4E1E-205D-AEBD-69CAD02FC47B}"/>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FF418301-FD34-64A7-6525-3DDF9633413B}"/>
              </a:ext>
            </a:extLst>
          </p:cNvPr>
          <p:cNvSpPr>
            <a:spLocks noGrp="1"/>
          </p:cNvSpPr>
          <p:nvPr>
            <p:ph idx="1"/>
          </p:nvPr>
        </p:nvSpPr>
        <p:spPr>
          <a:xfrm>
            <a:off x="767407" y="1416053"/>
            <a:ext cx="10503845"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urrent Role of PARP Inhibitors in Advanced Ovarian Cancer (OC) </a:t>
            </a:r>
            <a:br>
              <a:rPr lang="en-US" sz="2500" dirty="0">
                <a:solidFill>
                  <a:schemeClr val="tx1"/>
                </a:solidFill>
              </a:rPr>
            </a:br>
            <a:r>
              <a:rPr lang="en-US" sz="2500" dirty="0">
                <a:solidFill>
                  <a:schemeClr val="tx1"/>
                </a:solidFill>
              </a:rPr>
              <a:t>— Prof Colombo </a:t>
            </a:r>
          </a:p>
          <a:p>
            <a:pPr marL="98425" indent="0">
              <a:lnSpc>
                <a:spcPct val="100000"/>
              </a:lnSpc>
              <a:spcBef>
                <a:spcPts val="1600"/>
              </a:spcBef>
              <a:spcAft>
                <a:spcPts val="0"/>
              </a:spcAft>
              <a:buNone/>
            </a:pPr>
            <a:r>
              <a:rPr lang="en-US" sz="2500" dirty="0">
                <a:solidFill>
                  <a:schemeClr val="bg1"/>
                </a:solidFill>
              </a:rPr>
              <a:t>Module 2: Strategies Targeting Folate Receptor Alpha in Advanced OC </a:t>
            </a:r>
            <a:br>
              <a:rPr lang="en-US" sz="2500" dirty="0">
                <a:solidFill>
                  <a:schemeClr val="bg1"/>
                </a:solidFill>
              </a:rPr>
            </a:br>
            <a:r>
              <a:rPr lang="en-US" sz="2500" dirty="0">
                <a:solidFill>
                  <a:schemeClr val="bg1"/>
                </a:solidFill>
              </a:rPr>
              <a:t>— Dr Westin </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ther Novel Agents and Strategies for Advanced OC — Dr </a:t>
            </a:r>
            <a:r>
              <a:rPr lang="en-US" sz="2500" dirty="0" err="1">
                <a:solidFill>
                  <a:schemeClr val="tx1"/>
                </a:solidFill>
              </a:rPr>
              <a:t>Olawaiye</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Diagnosis and Management of Adverse Events Associated with Commonly Employed Therapies for Advanced OC — Dr Konecny</a:t>
            </a:r>
          </a:p>
        </p:txBody>
      </p:sp>
    </p:spTree>
    <p:extLst>
      <p:ext uri="{BB962C8B-B14F-4D97-AF65-F5344CB8AC3E}">
        <p14:creationId xmlns:p14="http://schemas.microsoft.com/office/powerpoint/2010/main" val="16681543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txBox="1">
            <a:spLocks noChangeArrowheads="1"/>
          </p:cNvSpPr>
          <p:nvPr/>
        </p:nvSpPr>
        <p:spPr bwMode="auto">
          <a:xfrm>
            <a:off x="719191" y="623578"/>
            <a:ext cx="10866926" cy="1277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ＭＳ Ｐゴシック" charset="0"/>
                <a:cs typeface="+mn-cs"/>
              </a:rPr>
              <a:t> </a:t>
            </a:r>
            <a:r>
              <a:rPr kumimoji="0" lang="en-US" sz="3600" b="1" i="0" u="none" strike="noStrike" kern="1200" cap="none" spc="0" normalizeH="0" baseline="0" noProof="0" dirty="0">
                <a:ln>
                  <a:noFill/>
                </a:ln>
                <a:solidFill>
                  <a:srgbClr val="000000"/>
                </a:solidFill>
                <a:effectLst/>
                <a:uLnTx/>
                <a:uFillTx/>
                <a:latin typeface="Aptos" panose="020B0004020202020204" pitchFamily="34" charset="0"/>
                <a:ea typeface="ＭＳ Ｐゴシック" charset="0"/>
                <a:cs typeface="+mn-cs"/>
              </a:rPr>
              <a:t>Strategies Targeting Folate Receptor Alpha in Advanced Ovarian Cancer</a:t>
            </a:r>
            <a:endParaRPr kumimoji="0" lang="en-US" sz="3600" b="1"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
        <p:nvSpPr>
          <p:cNvPr id="4" name="Rectangle 3"/>
          <p:cNvSpPr txBox="1">
            <a:spLocks noChangeArrowheads="1"/>
          </p:cNvSpPr>
          <p:nvPr/>
        </p:nvSpPr>
        <p:spPr bwMode="auto">
          <a:xfrm>
            <a:off x="821935" y="2588489"/>
            <a:ext cx="11267146" cy="1960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marR="0" lvl="0" indent="0" algn="l" defTabSz="914400" rtl="0" eaLnBrk="1" fontAlgn="base" latinLnBrk="0" hangingPunct="1">
              <a:lnSpc>
                <a:spcPct val="100000"/>
              </a:lnSpc>
              <a:spcBef>
                <a:spcPts val="900"/>
              </a:spcBef>
              <a:spcAft>
                <a:spcPct val="0"/>
              </a:spcAft>
              <a:buClrTx/>
              <a:buSzTx/>
              <a:buFontTx/>
              <a:buNone/>
              <a:tabLst/>
              <a:defRPr/>
            </a:pPr>
            <a:r>
              <a:rPr kumimoji="0" lang="en-US" sz="2900" b="0" i="0" u="none" strike="noStrike" kern="1200" cap="none" spc="0" normalizeH="0" baseline="0" noProof="0" dirty="0">
                <a:ln>
                  <a:noFill/>
                </a:ln>
                <a:solidFill>
                  <a:srgbClr val="000000"/>
                </a:solidFill>
                <a:effectLst/>
                <a:uLnTx/>
                <a:uFillTx/>
                <a:latin typeface="Arial"/>
                <a:ea typeface="ＭＳ Ｐゴシック" charset="0"/>
                <a:cs typeface="Times New Roman" charset="0"/>
              </a:rPr>
              <a:t>Shannon N. Westin, MD, MPH</a:t>
            </a:r>
          </a:p>
          <a:p>
            <a:pPr marL="0" marR="0" lvl="0" indent="0" algn="l" defTabSz="914400" rtl="0" eaLnBrk="1" fontAlgn="base" latinLnBrk="0" hangingPunct="1">
              <a:lnSpc>
                <a:spcPct val="100000"/>
              </a:lnSpc>
              <a:spcBef>
                <a:spcPts val="900"/>
              </a:spcBef>
              <a:spcAft>
                <a:spcPct val="0"/>
              </a:spcAft>
              <a:buClrTx/>
              <a:buSzTx/>
              <a:buFontTx/>
              <a:buNone/>
              <a:tabLst/>
              <a:defRPr/>
            </a:pPr>
            <a:r>
              <a:rPr kumimoji="0" lang="en-US" sz="2900" b="0" i="0" u="none" strike="noStrike" kern="1200" cap="none" spc="0" normalizeH="0" baseline="0" noProof="0" dirty="0">
                <a:ln>
                  <a:noFill/>
                </a:ln>
                <a:solidFill>
                  <a:srgbClr val="000000"/>
                </a:solidFill>
                <a:effectLst/>
                <a:uLnTx/>
                <a:uFillTx/>
                <a:latin typeface="Arial"/>
                <a:ea typeface="ＭＳ Ｐゴシック" charset="0"/>
                <a:cs typeface="Times New Roman" charset="0"/>
              </a:rPr>
              <a:t>Professor</a:t>
            </a:r>
          </a:p>
          <a:p>
            <a:pPr marL="0" marR="0" lvl="0" indent="0" algn="l" defTabSz="914400" rtl="0" eaLnBrk="1" fontAlgn="base" latinLnBrk="0" hangingPunct="1">
              <a:lnSpc>
                <a:spcPct val="100000"/>
              </a:lnSpc>
              <a:spcBef>
                <a:spcPts val="900"/>
              </a:spcBef>
              <a:spcAft>
                <a:spcPct val="0"/>
              </a:spcAft>
              <a:buClrTx/>
              <a:buSzTx/>
              <a:buFontTx/>
              <a:buNone/>
              <a:tabLst/>
              <a:defRPr/>
            </a:pPr>
            <a:r>
              <a:rPr kumimoji="0" lang="en-US" sz="2900" b="0" i="0" u="none" strike="noStrike" kern="1200" cap="none" spc="0" normalizeH="0" baseline="0" noProof="0" dirty="0">
                <a:ln>
                  <a:noFill/>
                </a:ln>
                <a:solidFill>
                  <a:srgbClr val="000000"/>
                </a:solidFill>
                <a:effectLst/>
                <a:uLnTx/>
                <a:uFillTx/>
                <a:latin typeface="Arial"/>
                <a:ea typeface="ＭＳ Ｐゴシック" charset="0"/>
                <a:cs typeface="Times New Roman" charset="0"/>
              </a:rPr>
              <a:t>Department of Gynecologic Oncology </a:t>
            </a:r>
            <a:br>
              <a:rPr kumimoji="0" lang="en-US" sz="2900" b="0" i="0" u="none" strike="noStrike" kern="1200" cap="none" spc="0" normalizeH="0" baseline="0" noProof="0" dirty="0">
                <a:ln>
                  <a:noFill/>
                </a:ln>
                <a:solidFill>
                  <a:srgbClr val="000000"/>
                </a:solidFill>
                <a:effectLst/>
                <a:uLnTx/>
                <a:uFillTx/>
                <a:latin typeface="Arial"/>
                <a:ea typeface="ＭＳ Ｐゴシック" charset="0"/>
                <a:cs typeface="Times New Roman" charset="0"/>
              </a:rPr>
            </a:br>
            <a:r>
              <a:rPr kumimoji="0" lang="en-US" sz="2900" b="0" i="0" u="none" strike="noStrike" kern="1200" cap="none" spc="0" normalizeH="0" baseline="0" noProof="0" dirty="0">
                <a:ln>
                  <a:noFill/>
                </a:ln>
                <a:solidFill>
                  <a:srgbClr val="000000"/>
                </a:solidFill>
                <a:effectLst/>
                <a:uLnTx/>
                <a:uFillTx/>
                <a:latin typeface="Arial"/>
                <a:ea typeface="ＭＳ Ｐゴシック" charset="0"/>
                <a:cs typeface="Times New Roman" charset="0"/>
              </a:rPr>
              <a:t>and Reproductive Medicin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44A630-F054-F64C-9804-284616D4E8C5}"/>
              </a:ext>
            </a:extLst>
          </p:cNvPr>
          <p:cNvSpPr>
            <a:spLocks noGrp="1"/>
          </p:cNvSpPr>
          <p:nvPr>
            <p:ph type="title" idx="4294967295"/>
          </p:nvPr>
        </p:nvSpPr>
        <p:spPr>
          <a:xfrm>
            <a:off x="209322" y="158926"/>
            <a:ext cx="11931650" cy="568325"/>
          </a:xfrm>
        </p:spPr>
        <p:txBody>
          <a:bodyPr>
            <a:noAutofit/>
          </a:bodyPr>
          <a:lstStyle/>
          <a:p>
            <a:r>
              <a:rPr lang="en-US" sz="3200" b="1" dirty="0">
                <a:solidFill>
                  <a:schemeClr val="tx1"/>
                </a:solidFill>
                <a:cs typeface="Calibri" panose="020F0502020204030204" pitchFamily="34" charset="0"/>
              </a:rPr>
              <a:t>Targeting Folate Receptor Alpha</a:t>
            </a:r>
          </a:p>
        </p:txBody>
      </p:sp>
      <p:sp>
        <p:nvSpPr>
          <p:cNvPr id="5" name="Rectangle 13"/>
          <p:cNvSpPr txBox="1">
            <a:spLocks noChangeArrowheads="1"/>
          </p:cNvSpPr>
          <p:nvPr/>
        </p:nvSpPr>
        <p:spPr bwMode="auto">
          <a:xfrm>
            <a:off x="69087" y="975003"/>
            <a:ext cx="7790268" cy="1586433"/>
          </a:xfrm>
          <a:prstGeom prst="rect">
            <a:avLst/>
          </a:prstGeom>
          <a:noFill/>
          <a:ln w="9525">
            <a:noFill/>
            <a:miter lim="800000"/>
            <a:headEnd/>
            <a:tailEnd/>
          </a:ln>
        </p:spPr>
        <p:txBody>
          <a:bodyPr vert="horz" wrap="square" lIns="121920" tIns="60960" rIns="121920" bIns="60960" numCol="1" rtlCol="0" anchor="t" anchorCtr="0" compatLnSpc="1">
            <a:prstTxWarp prst="textNoShape">
              <a:avLst/>
            </a:prstTxWarp>
            <a:noAutofit/>
          </a:bodyPr>
          <a:lstStyle>
            <a:lvl1pPr marL="171450" indent="-171450" algn="l" defTabSz="685800" rtl="0" eaLnBrk="1" latinLnBrk="0" hangingPunct="1">
              <a:lnSpc>
                <a:spcPct val="90000"/>
              </a:lnSpc>
              <a:spcBef>
                <a:spcPts val="750"/>
              </a:spcBef>
              <a:buClr>
                <a:schemeClr val="bg2"/>
              </a:buClr>
              <a:buFont typeface="Arial" panose="020B0604020202020204" pitchFamily="34" charset="0"/>
              <a:buChar char="•"/>
              <a:defRPr sz="1400" kern="1200">
                <a:solidFill>
                  <a:schemeClr val="tx1"/>
                </a:solidFill>
                <a:latin typeface="+mn-lt"/>
                <a:ea typeface="+mn-ea"/>
                <a:cs typeface="+mn-cs"/>
              </a:defRPr>
            </a:lvl1pPr>
            <a:lvl2pPr marL="342900" indent="-171450" algn="l" defTabSz="685800" rtl="0" eaLnBrk="1" latinLnBrk="0" hangingPunct="1">
              <a:lnSpc>
                <a:spcPct val="90000"/>
              </a:lnSpc>
              <a:spcBef>
                <a:spcPts val="375"/>
              </a:spcBef>
              <a:buFont typeface=".AppleSystemUIFont"/>
              <a:buChar char="–"/>
              <a:tabLst/>
              <a:defRPr sz="1200" kern="1200">
                <a:solidFill>
                  <a:schemeClr val="tx1"/>
                </a:solidFill>
                <a:latin typeface="+mn-lt"/>
                <a:ea typeface="+mn-ea"/>
                <a:cs typeface="+mn-cs"/>
              </a:defRPr>
            </a:lvl2pPr>
            <a:lvl3pPr marL="514350" indent="-171450" algn="l" defTabSz="685800" rtl="0" eaLnBrk="1" latinLnBrk="0" hangingPunct="1">
              <a:lnSpc>
                <a:spcPct val="90000"/>
              </a:lnSpc>
              <a:spcBef>
                <a:spcPts val="375"/>
              </a:spcBef>
              <a:buFont typeface="Arial" panose="020B0604020202020204" pitchFamily="34" charset="0"/>
              <a:buChar char="•"/>
              <a:tabLst/>
              <a:defRPr sz="1200" kern="1200">
                <a:solidFill>
                  <a:schemeClr val="tx1"/>
                </a:solidFill>
                <a:latin typeface="+mn-lt"/>
                <a:ea typeface="+mn-ea"/>
                <a:cs typeface="+mn-cs"/>
              </a:defRPr>
            </a:lvl3pPr>
            <a:lvl4pPr marL="685800" indent="-171450" algn="l" defTabSz="685800" rtl="0" eaLnBrk="1" latinLnBrk="0" hangingPunct="1">
              <a:lnSpc>
                <a:spcPct val="90000"/>
              </a:lnSpc>
              <a:spcBef>
                <a:spcPts val="375"/>
              </a:spcBef>
              <a:buFont typeface=".AppleSystemUIFont"/>
              <a:buChar char="–"/>
              <a:tabLst/>
              <a:defRPr sz="2000" kern="1200">
                <a:solidFill>
                  <a:schemeClr val="tx1"/>
                </a:solidFill>
                <a:latin typeface="+mn-lt"/>
                <a:ea typeface="+mn-ea"/>
                <a:cs typeface="+mn-cs"/>
              </a:defRPr>
            </a:lvl4pPr>
            <a:lvl5pPr marL="858838" indent="-173038" algn="l" defTabSz="685800" rtl="0" eaLnBrk="1" latinLnBrk="0" hangingPunct="1">
              <a:lnSpc>
                <a:spcPct val="90000"/>
              </a:lnSpc>
              <a:spcBef>
                <a:spcPts val="375"/>
              </a:spcBef>
              <a:buFont typeface="Arial" panose="020B0604020202020204" pitchFamily="34" charset="0"/>
              <a:buChar char="•"/>
              <a:tabLst/>
              <a:defRPr sz="1000" kern="1200">
                <a:solidFill>
                  <a:schemeClr val="tx1"/>
                </a:solidFill>
                <a:latin typeface="+mn-lt"/>
                <a:ea typeface="+mn-ea"/>
                <a:cs typeface="+mn-cs"/>
              </a:defRPr>
            </a:lvl5pPr>
            <a:lvl6pPr marL="1030288" indent="-171450" algn="l" defTabSz="685800" rtl="0" eaLnBrk="1" latinLnBrk="0" hangingPunct="1">
              <a:lnSpc>
                <a:spcPct val="90000"/>
              </a:lnSpc>
              <a:spcBef>
                <a:spcPts val="375"/>
              </a:spcBef>
              <a:buFont typeface=".AppleSystemUIFont"/>
              <a:buChar char="–"/>
              <a:tabLst/>
              <a:defRPr sz="1000" kern="1200">
                <a:solidFill>
                  <a:schemeClr val="tx1"/>
                </a:solidFill>
                <a:latin typeface="+mn-lt"/>
                <a:ea typeface="+mn-ea"/>
                <a:cs typeface="+mn-cs"/>
              </a:defRPr>
            </a:lvl6pPr>
            <a:lvl7pPr marL="1201738" indent="-171450" algn="l" defTabSz="685800" rtl="0" eaLnBrk="1" latinLnBrk="0" hangingPunct="1">
              <a:lnSpc>
                <a:spcPct val="90000"/>
              </a:lnSpc>
              <a:spcBef>
                <a:spcPts val="375"/>
              </a:spcBef>
              <a:buFont typeface="Arial" panose="020B0604020202020204" pitchFamily="34" charset="0"/>
              <a:buChar char="•"/>
              <a:tabLst/>
              <a:defRPr sz="900" kern="1200">
                <a:solidFill>
                  <a:schemeClr val="tx1"/>
                </a:solidFill>
                <a:latin typeface="+mn-lt"/>
                <a:ea typeface="+mn-ea"/>
                <a:cs typeface="+mn-cs"/>
              </a:defRPr>
            </a:lvl7pPr>
            <a:lvl8pPr marL="1373188" indent="-171450" algn="l" defTabSz="685800" rtl="0" eaLnBrk="1" latinLnBrk="0" hangingPunct="1">
              <a:lnSpc>
                <a:spcPct val="90000"/>
              </a:lnSpc>
              <a:spcBef>
                <a:spcPts val="375"/>
              </a:spcBef>
              <a:buFont typeface=".AppleSystemUIFont"/>
              <a:buChar char="–"/>
              <a:tabLst/>
              <a:defRPr sz="900" kern="1200">
                <a:solidFill>
                  <a:schemeClr val="tx1"/>
                </a:solidFill>
                <a:latin typeface="+mn-lt"/>
                <a:ea typeface="+mn-ea"/>
                <a:cs typeface="+mn-cs"/>
              </a:defRPr>
            </a:lvl8pPr>
            <a:lvl9pPr marL="1546225" indent="-173038" algn="l" defTabSz="685800" rtl="0" eaLnBrk="1" latinLnBrk="0" hangingPunct="1">
              <a:lnSpc>
                <a:spcPct val="90000"/>
              </a:lnSpc>
              <a:spcBef>
                <a:spcPts val="375"/>
              </a:spcBef>
              <a:buFont typeface="Arial" panose="020B0604020202020204" pitchFamily="34" charset="0"/>
              <a:buChar char="•"/>
              <a:tabLst/>
              <a:defRPr sz="800" kern="1200">
                <a:solidFill>
                  <a:schemeClr val="tx1"/>
                </a:solidFill>
                <a:latin typeface="+mn-lt"/>
                <a:ea typeface="+mn-ea"/>
                <a:cs typeface="+mn-cs"/>
              </a:defRPr>
            </a:lvl9pPr>
          </a:lstStyle>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Cell surface folate receptor  - mediates folate transport into epithelial cells. </a:t>
            </a: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FR</a:t>
            </a:r>
            <a:r>
              <a:rPr kumimoji="0" lang="el-GR"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α</a:t>
            </a:r>
            <a:r>
              <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 expression</a:t>
            </a:r>
          </a:p>
          <a:p>
            <a:pPr marL="400039" marR="0" lvl="1" indent="-228589" algn="l" defTabSz="914354" rtl="0" eaLnBrk="1" fontAlgn="auto" latinLnBrk="0" hangingPunct="1">
              <a:lnSpc>
                <a:spcPct val="90000"/>
              </a:lnSpc>
              <a:spcBef>
                <a:spcPts val="1000"/>
              </a:spcBef>
              <a:spcAft>
                <a:spcPts val="0"/>
              </a:spcAft>
              <a:buClr>
                <a:srgbClr val="FF585D"/>
              </a:buClr>
              <a:buSzTx/>
              <a:buFont typeface=".AppleSystemUIFont"/>
              <a:buChar char="–"/>
              <a:tabLst/>
              <a:defRPr/>
            </a:pPr>
            <a:r>
              <a:rPr kumimoji="0" lang="en-US" sz="16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Limited on normal cells</a:t>
            </a:r>
          </a:p>
          <a:p>
            <a:pPr marL="400039" marR="0" lvl="1" indent="-228589" algn="l" defTabSz="914354" rtl="0" eaLnBrk="1" fontAlgn="auto" latinLnBrk="0" hangingPunct="1">
              <a:lnSpc>
                <a:spcPct val="90000"/>
              </a:lnSpc>
              <a:spcBef>
                <a:spcPts val="1000"/>
              </a:spcBef>
              <a:spcAft>
                <a:spcPts val="0"/>
              </a:spcAft>
              <a:buClr>
                <a:srgbClr val="FF585D"/>
              </a:buClr>
              <a:buSzTx/>
              <a:buFont typeface=".AppleSystemUIFont"/>
              <a:buChar char="–"/>
              <a:tabLst/>
              <a:defRPr/>
            </a:pPr>
            <a:r>
              <a:rPr kumimoji="0" lang="en-US" sz="16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Upregulated on cancers, primarily ovarian, but also endometrial, TNBC</a:t>
            </a: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20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FR</a:t>
            </a:r>
            <a:r>
              <a:rPr kumimoji="0" lang="el-GR" sz="20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α</a:t>
            </a:r>
            <a:r>
              <a:rPr kumimoji="0" lang="en-US" sz="20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 may be expressed on the alveoli of the lungs and on renal proximal tubules </a:t>
            </a:r>
          </a:p>
          <a:p>
            <a:pPr marL="400039" marR="0" lvl="1" indent="-228589" algn="l" defTabSz="914354" rtl="0" eaLnBrk="1" fontAlgn="auto" latinLnBrk="0" hangingPunct="1">
              <a:lnSpc>
                <a:spcPct val="90000"/>
              </a:lnSpc>
              <a:spcBef>
                <a:spcPts val="1000"/>
              </a:spcBef>
              <a:spcAft>
                <a:spcPts val="0"/>
              </a:spcAft>
              <a:buClr>
                <a:srgbClr val="FF585D"/>
              </a:buClr>
              <a:buSzTx/>
              <a:buFont typeface=".AppleSystemUIFont"/>
              <a:buChar char="–"/>
              <a:tabLst/>
              <a:defRPr/>
            </a:pPr>
            <a:r>
              <a:rPr kumimoji="0" lang="en-US" sz="16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Located on the surface of the cell facing the alveolar and tubular lumen</a:t>
            </a:r>
          </a:p>
          <a:p>
            <a:pPr marL="400039" marR="0" lvl="1" indent="-228589" algn="l" defTabSz="914354" rtl="0" eaLnBrk="1" fontAlgn="auto" latinLnBrk="0" hangingPunct="1">
              <a:lnSpc>
                <a:spcPct val="90000"/>
              </a:lnSpc>
              <a:spcBef>
                <a:spcPts val="1000"/>
              </a:spcBef>
              <a:spcAft>
                <a:spcPts val="0"/>
              </a:spcAft>
              <a:buClr>
                <a:srgbClr val="FF585D"/>
              </a:buClr>
              <a:buSzTx/>
              <a:buFont typeface=".AppleSystemUIFont"/>
              <a:buChar char="–"/>
              <a:tabLst/>
              <a:defRPr/>
            </a:pPr>
            <a:r>
              <a:rPr kumimoji="0" lang="en-US" sz="16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Reduces the exposure of the targets to circulating anti-folate agents</a:t>
            </a: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Expression in ovarian cancer varies by histology (total expression 80-90% all OC)</a:t>
            </a:r>
          </a:p>
          <a:p>
            <a:pPr marL="400039" marR="0" lvl="1" indent="-228589" algn="l" defTabSz="914354" rtl="0" eaLnBrk="1" fontAlgn="auto" latinLnBrk="0" hangingPunct="1">
              <a:lnSpc>
                <a:spcPct val="90000"/>
              </a:lnSpc>
              <a:spcBef>
                <a:spcPts val="1000"/>
              </a:spcBef>
              <a:spcAft>
                <a:spcPts val="0"/>
              </a:spcAft>
              <a:buClr>
                <a:srgbClr val="FF585D"/>
              </a:buClr>
              <a:buSzTx/>
              <a:buFont typeface=".AppleSystemUIFont"/>
              <a:buChar char="–"/>
              <a:tabLst/>
              <a:defRPr/>
            </a:pPr>
            <a:r>
              <a:rPr kumimoji="0" lang="en-US" sz="16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35-40% with high expression</a:t>
            </a:r>
          </a:p>
          <a:p>
            <a:pPr marL="571484" marR="0" lvl="2"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6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76% HGS, 50% LGS, 32% Clear cell</a:t>
            </a: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Association with prognosis has been mixed – may be associated with worse outcomes. </a:t>
            </a: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p:txBody>
      </p:sp>
      <p:sp>
        <p:nvSpPr>
          <p:cNvPr id="2" name="TextBox 1">
            <a:extLst>
              <a:ext uri="{FF2B5EF4-FFF2-40B4-BE49-F238E27FC236}">
                <a16:creationId xmlns:a16="http://schemas.microsoft.com/office/drawing/2014/main" id="{A7A987AF-92CC-4275-802E-EA6B93C9FE99}"/>
              </a:ext>
            </a:extLst>
          </p:cNvPr>
          <p:cNvSpPr txBox="1"/>
          <p:nvPr/>
        </p:nvSpPr>
        <p:spPr>
          <a:xfrm>
            <a:off x="122719" y="6444952"/>
            <a:ext cx="11099463" cy="36933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Arial"/>
                <a:sym typeface="Arial"/>
              </a:rPr>
              <a:t>Chen Mol Oncol 2012, Kobel Br. J Cancer 2014; </a:t>
            </a:r>
            <a:r>
              <a:rPr kumimoji="0" lang="en-US" sz="1800" b="0" i="0" u="none" strike="noStrike" kern="0" cap="none" spc="0" normalizeH="0" baseline="0" noProof="0" dirty="0">
                <a:ln>
                  <a:noFill/>
                </a:ln>
                <a:solidFill>
                  <a:srgbClr val="000000"/>
                </a:solidFill>
                <a:effectLst/>
                <a:uLnTx/>
                <a:uFillTx/>
                <a:latin typeface="Calibri" panose="020F0502020204030204"/>
                <a:ea typeface="Helvetica Neue"/>
                <a:cs typeface="Helvetica Neue"/>
                <a:sym typeface="Helvetica Neue"/>
              </a:rPr>
              <a:t>Moore KN ESMO. 2019; </a:t>
            </a:r>
            <a:r>
              <a:rPr kumimoji="0" lang="en-US" sz="1800" b="0" i="0" u="none" strike="noStrike" kern="0" cap="none" spc="0" normalizeH="0" baseline="0" noProof="0" dirty="0" err="1">
                <a:ln>
                  <a:noFill/>
                </a:ln>
                <a:solidFill>
                  <a:srgbClr val="000000"/>
                </a:solidFill>
                <a:effectLst/>
                <a:uLnTx/>
                <a:uFillTx/>
                <a:latin typeface="Calibri" panose="020F0502020204030204"/>
                <a:ea typeface="Helvetica Neue"/>
                <a:cs typeface="Helvetica Neue"/>
                <a:sym typeface="Helvetica Neue"/>
              </a:rPr>
              <a:t>Oaknin</a:t>
            </a:r>
            <a:r>
              <a:rPr kumimoji="0" lang="en-US" sz="1800" b="0" i="0" u="none" strike="noStrike" kern="0" cap="none" spc="0" normalizeH="0" baseline="0" noProof="0" dirty="0">
                <a:ln>
                  <a:noFill/>
                </a:ln>
                <a:solidFill>
                  <a:srgbClr val="000000"/>
                </a:solidFill>
                <a:effectLst/>
                <a:uLnTx/>
                <a:uFillTx/>
                <a:latin typeface="Calibri" panose="020F0502020204030204"/>
                <a:ea typeface="Helvetica Neue"/>
                <a:cs typeface="Helvetica Neue"/>
                <a:sym typeface="Helvetica Neue"/>
              </a:rPr>
              <a:t> A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Helvetica Neue"/>
                <a:cs typeface="Calibri" panose="020F0502020204030204" pitchFamily="34" charset="0"/>
                <a:sym typeface="Helvetica Neue"/>
              </a:rPr>
              <a:t>ASCO 2023</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3" name="Picture 2">
            <a:extLst>
              <a:ext uri="{FF2B5EF4-FFF2-40B4-BE49-F238E27FC236}">
                <a16:creationId xmlns:a16="http://schemas.microsoft.com/office/drawing/2014/main" id="{72651769-F457-3422-1693-3971D1750AA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r="51946" b="819"/>
          <a:stretch>
            <a:fillRect/>
          </a:stretch>
        </p:blipFill>
        <p:spPr>
          <a:xfrm>
            <a:off x="8347140" y="158926"/>
            <a:ext cx="3306047" cy="3105058"/>
          </a:xfrm>
          <a:prstGeom prst="rect">
            <a:avLst/>
          </a:prstGeom>
        </p:spPr>
      </p:pic>
      <p:pic>
        <p:nvPicPr>
          <p:cNvPr id="6" name="Picture 5">
            <a:extLst>
              <a:ext uri="{FF2B5EF4-FFF2-40B4-BE49-F238E27FC236}">
                <a16:creationId xmlns:a16="http://schemas.microsoft.com/office/drawing/2014/main" id="{8C340728-E1A4-F2DA-DBBF-CF3DB25CA08A}"/>
              </a:ext>
            </a:extLst>
          </p:cNvPr>
          <p:cNvPicPr>
            <a:picLocks noChangeAspect="1"/>
          </p:cNvPicPr>
          <p:nvPr/>
        </p:nvPicPr>
        <p:blipFill>
          <a:blip r:embed="rId2">
            <a:extLst>
              <a:ext uri="{BEBA8EAE-BF5A-486C-A8C5-ECC9F3942E4B}">
                <a14:imgProps xmlns:a14="http://schemas.microsoft.com/office/drawing/2010/main">
                  <a14:imgLayer r:embed="rId4">
                    <a14:imgEffect>
                      <a14:sharpenSoften amount="25000"/>
                    </a14:imgEffect>
                  </a14:imgLayer>
                </a14:imgProps>
              </a:ext>
            </a:extLst>
          </a:blip>
          <a:srcRect l="47567" b="2323"/>
          <a:stretch>
            <a:fillRect/>
          </a:stretch>
        </p:blipFill>
        <p:spPr>
          <a:xfrm>
            <a:off x="8347140" y="3358686"/>
            <a:ext cx="3476559" cy="2947111"/>
          </a:xfrm>
          <a:prstGeom prst="rect">
            <a:avLst/>
          </a:prstGeom>
        </p:spPr>
      </p:pic>
    </p:spTree>
    <p:extLst>
      <p:ext uri="{BB962C8B-B14F-4D97-AF65-F5344CB8AC3E}">
        <p14:creationId xmlns:p14="http://schemas.microsoft.com/office/powerpoint/2010/main" val="30795709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B559BD-7808-4F71-AD7B-935303214C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A3B559BD-7808-4F71-AD7B-935303214C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extBox 20">
            <a:extLst>
              <a:ext uri="{FF2B5EF4-FFF2-40B4-BE49-F238E27FC236}">
                <a16:creationId xmlns:a16="http://schemas.microsoft.com/office/drawing/2014/main" id="{5154EF55-2127-40BE-836B-FE92C5D9F211}"/>
              </a:ext>
            </a:extLst>
          </p:cNvPr>
          <p:cNvSpPr txBox="1"/>
          <p:nvPr/>
        </p:nvSpPr>
        <p:spPr>
          <a:xfrm>
            <a:off x="213957" y="6537942"/>
            <a:ext cx="11545943" cy="307777"/>
          </a:xfrm>
          <a:prstGeom prst="rect">
            <a:avLst/>
          </a:prstGeom>
          <a:noFill/>
        </p:spPr>
        <p:txBody>
          <a:bodyPr wrap="square" rtlCol="0">
            <a:spAutoFit/>
          </a:bodyPr>
          <a:lstStyle/>
          <a:p>
            <a:pPr marL="0" marR="0" lvl="0" indent="0" algn="l" defTabSz="412750" rtl="0" eaLnBrk="1" fontAlgn="base" latinLnBrk="0" hangingPunct="0">
              <a:lnSpc>
                <a:spcPct val="100000"/>
              </a:lnSpc>
              <a:spcBef>
                <a:spcPct val="0"/>
              </a:spcBef>
              <a:spcAft>
                <a:spcPct val="0"/>
              </a:spcAft>
              <a:buClr>
                <a:srgbClr val="D5D5D5"/>
              </a:buClr>
              <a:buSzTx/>
              <a:buFontTx/>
              <a:buNone/>
              <a:tabLst/>
              <a:defRPr/>
            </a:pPr>
            <a:r>
              <a:rPr kumimoji="0" lang="en-US" sz="1400" b="0" i="0" u="none" strike="noStrike" kern="0" cap="none" spc="0" normalizeH="0" baseline="0" noProof="0" dirty="0">
                <a:ln>
                  <a:noFill/>
                </a:ln>
                <a:solidFill>
                  <a:srgbClr val="000000"/>
                </a:solidFill>
                <a:effectLst/>
                <a:uLnTx/>
                <a:uFillTx/>
                <a:latin typeface="Calibri" panose="020F0502020204030204"/>
                <a:ea typeface="Helvetica Neue"/>
                <a:cs typeface="Helvetica Neue"/>
                <a:sym typeface="Helvetica Neue"/>
              </a:rPr>
              <a:t>Moore KN et al.  ESMO. 2019; </a:t>
            </a:r>
            <a:r>
              <a:rPr kumimoji="0" lang="en-US" sz="1400" b="0" i="0" u="none" strike="noStrike" kern="0" cap="none" spc="0" normalizeH="0" baseline="0" noProof="0" dirty="0" err="1">
                <a:ln>
                  <a:noFill/>
                </a:ln>
                <a:solidFill>
                  <a:srgbClr val="000000"/>
                </a:solidFill>
                <a:effectLst/>
                <a:uLnTx/>
                <a:uFillTx/>
                <a:latin typeface="Calibri" panose="020F0502020204030204"/>
                <a:ea typeface="Helvetica Neue"/>
                <a:cs typeface="Helvetica Neue"/>
                <a:sym typeface="Helvetica Neue"/>
              </a:rPr>
              <a:t>Oaknin</a:t>
            </a:r>
            <a:r>
              <a:rPr kumimoji="0" lang="en-US" sz="1400" b="0" i="0" u="none" strike="noStrike" kern="0" cap="none" spc="0" normalizeH="0" baseline="0" noProof="0" dirty="0">
                <a:ln>
                  <a:noFill/>
                </a:ln>
                <a:solidFill>
                  <a:srgbClr val="000000"/>
                </a:solidFill>
                <a:effectLst/>
                <a:uLnTx/>
                <a:uFillTx/>
                <a:latin typeface="Calibri" panose="020F0502020204030204"/>
                <a:ea typeface="Helvetica Neue"/>
                <a:cs typeface="Helvetica Neue"/>
                <a:sym typeface="Helvetica Neue"/>
              </a:rPr>
              <a:t> A </a:t>
            </a: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Helvetica Neue"/>
                <a:cs typeface="Calibri" panose="020F0502020204030204" pitchFamily="34" charset="0"/>
                <a:sym typeface="Helvetica Neue"/>
              </a:rPr>
              <a:t>et al. ASCO 2023;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en YL, et al. </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ol Oncol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12, Path slides courtesy of Anais Malpica, MD</a:t>
            </a:r>
          </a:p>
        </p:txBody>
      </p:sp>
      <p:sp>
        <p:nvSpPr>
          <p:cNvPr id="3" name="Title 1">
            <a:extLst>
              <a:ext uri="{FF2B5EF4-FFF2-40B4-BE49-F238E27FC236}">
                <a16:creationId xmlns:a16="http://schemas.microsoft.com/office/drawing/2014/main" id="{F4B29720-2122-8C5F-CB36-B2F5E14AB89A}"/>
              </a:ext>
            </a:extLst>
          </p:cNvPr>
          <p:cNvSpPr txBox="1">
            <a:spLocks/>
          </p:cNvSpPr>
          <p:nvPr/>
        </p:nvSpPr>
        <p:spPr>
          <a:xfrm>
            <a:off x="261457" y="161714"/>
            <a:ext cx="11243402" cy="103695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FOLR1 Testing – Assessment of FR</a:t>
            </a:r>
            <a:r>
              <a:rPr kumimoji="0" lang="el-GR" sz="36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Helvetica Neue"/>
              </a:rPr>
              <a:t>α</a:t>
            </a:r>
            <a:r>
              <a:rPr kumimoji="0" lang="en-US" sz="36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Helvetica Neue"/>
              </a:rPr>
              <a:t> Expression</a:t>
            </a:r>
            <a:r>
              <a:rPr kumimoji="0" lang="en-US" sz="36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a:t>
            </a:r>
          </a:p>
        </p:txBody>
      </p:sp>
      <p:pic>
        <p:nvPicPr>
          <p:cNvPr id="2" name="Picture 1">
            <a:extLst>
              <a:ext uri="{FF2B5EF4-FFF2-40B4-BE49-F238E27FC236}">
                <a16:creationId xmlns:a16="http://schemas.microsoft.com/office/drawing/2014/main" id="{5249E161-A611-0A10-33FA-DF3A2534FD31}"/>
              </a:ext>
            </a:extLst>
          </p:cNvPr>
          <p:cNvPicPr>
            <a:picLocks noChangeAspect="1"/>
          </p:cNvPicPr>
          <p:nvPr/>
        </p:nvPicPr>
        <p:blipFill>
          <a:blip r:embed="rId6"/>
          <a:stretch>
            <a:fillRect/>
          </a:stretch>
        </p:blipFill>
        <p:spPr>
          <a:xfrm>
            <a:off x="2739164" y="3902816"/>
            <a:ext cx="8765695" cy="1842130"/>
          </a:xfrm>
          <a:prstGeom prst="rect">
            <a:avLst/>
          </a:prstGeom>
        </p:spPr>
      </p:pic>
      <p:sp>
        <p:nvSpPr>
          <p:cNvPr id="4" name="TextBox 3">
            <a:extLst>
              <a:ext uri="{FF2B5EF4-FFF2-40B4-BE49-F238E27FC236}">
                <a16:creationId xmlns:a16="http://schemas.microsoft.com/office/drawing/2014/main" id="{BB6DAB82-FA2C-49EF-8F67-56CCC35FED06}"/>
              </a:ext>
            </a:extLst>
          </p:cNvPr>
          <p:cNvSpPr txBox="1"/>
          <p:nvPr/>
        </p:nvSpPr>
        <p:spPr>
          <a:xfrm>
            <a:off x="5105729" y="1221713"/>
            <a:ext cx="6087258" cy="2400657"/>
          </a:xfrm>
          <a:prstGeom prst="rect">
            <a:avLst/>
          </a:prstGeom>
          <a:solidFill>
            <a:schemeClr val="accent1">
              <a:lumMod val="40000"/>
              <a:lumOff val="60000"/>
            </a:schemeClr>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charset="0"/>
                <a:ea typeface="ＭＳ Ｐゴシック" charset="0"/>
                <a:cs typeface="+mn-cs"/>
              </a:rPr>
              <a:t>Commercial and institutional options available</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err="1">
                <a:ln>
                  <a:noFill/>
                </a:ln>
                <a:solidFill>
                  <a:srgbClr val="000000"/>
                </a:solidFill>
                <a:effectLst/>
                <a:uLnTx/>
                <a:uFillTx/>
                <a:latin typeface="Arial" charset="0"/>
                <a:ea typeface="ＭＳ Ｐゴシック" charset="0"/>
                <a:cs typeface="+mn-cs"/>
              </a:rPr>
              <a:t>CDx</a:t>
            </a: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 – </a:t>
            </a:r>
            <a:r>
              <a:rPr kumimoji="0" lang="en-US" sz="1800" b="1" i="0" u="none" strike="noStrike" kern="1200" cap="none" spc="0" normalizeH="0" baseline="0" noProof="0" dirty="0" err="1">
                <a:ln>
                  <a:noFill/>
                </a:ln>
                <a:solidFill>
                  <a:srgbClr val="000000"/>
                </a:solidFill>
                <a:effectLst/>
                <a:uLnTx/>
                <a:uFillTx/>
                <a:latin typeface="Arial" charset="0"/>
                <a:ea typeface="ＭＳ Ｐゴシック" charset="0"/>
                <a:cs typeface="+mn-cs"/>
              </a:rPr>
              <a:t>mirvetuximab</a:t>
            </a: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 </a:t>
            </a:r>
            <a:r>
              <a:rPr kumimoji="0" lang="en-US" sz="1800" b="1" i="0" u="none" strike="noStrike" kern="1200" cap="none" spc="0" normalizeH="0" baseline="0" noProof="0" dirty="0" err="1">
                <a:ln>
                  <a:noFill/>
                </a:ln>
                <a:solidFill>
                  <a:srgbClr val="000000"/>
                </a:solidFill>
                <a:effectLst/>
                <a:uLnTx/>
                <a:uFillTx/>
                <a:latin typeface="Arial" charset="0"/>
                <a:ea typeface="ＭＳ Ｐゴシック" charset="0"/>
                <a:cs typeface="+mn-cs"/>
              </a:rPr>
              <a:t>sorvtansine</a:t>
            </a: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 at &gt;/= 75%</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NCCN – </a:t>
            </a:r>
            <a:r>
              <a:rPr kumimoji="0" lang="en-US" sz="1800" b="1" i="0" u="none" strike="noStrike" kern="1200" cap="none" spc="0" normalizeH="0" baseline="0" noProof="0" dirty="0" err="1">
                <a:ln>
                  <a:noFill/>
                </a:ln>
                <a:solidFill>
                  <a:srgbClr val="000000"/>
                </a:solidFill>
                <a:effectLst/>
                <a:uLnTx/>
                <a:uFillTx/>
                <a:latin typeface="Arial" charset="0"/>
                <a:ea typeface="ＭＳ Ｐゴシック" charset="0"/>
                <a:cs typeface="+mn-cs"/>
              </a:rPr>
              <a:t>mirvetuximab</a:t>
            </a: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 + bevacizumab at &gt;/= 25%</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Future indications for next generation antibody-drug conjugates – potentially at lower expression levels </a:t>
            </a: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pic>
        <p:nvPicPr>
          <p:cNvPr id="7" name="Picture 6">
            <a:extLst>
              <a:ext uri="{FF2B5EF4-FFF2-40B4-BE49-F238E27FC236}">
                <a16:creationId xmlns:a16="http://schemas.microsoft.com/office/drawing/2014/main" id="{85C92AD9-71ED-7955-CED9-A0EE72DD612D}"/>
              </a:ext>
            </a:extLst>
          </p:cNvPr>
          <p:cNvPicPr>
            <a:picLocks noChangeAspect="1"/>
          </p:cNvPicPr>
          <p:nvPr/>
        </p:nvPicPr>
        <p:blipFill>
          <a:blip r:embed="rId7"/>
          <a:stretch>
            <a:fillRect/>
          </a:stretch>
        </p:blipFill>
        <p:spPr>
          <a:xfrm>
            <a:off x="310493" y="903099"/>
            <a:ext cx="4229861" cy="3172396"/>
          </a:xfrm>
          <a:prstGeom prst="rect">
            <a:avLst/>
          </a:prstGeom>
        </p:spPr>
      </p:pic>
      <p:sp>
        <p:nvSpPr>
          <p:cNvPr id="12" name="TextBox 11">
            <a:extLst>
              <a:ext uri="{FF2B5EF4-FFF2-40B4-BE49-F238E27FC236}">
                <a16:creationId xmlns:a16="http://schemas.microsoft.com/office/drawing/2014/main" id="{36BB6569-41BA-82A3-F44A-7F667F348EE9}"/>
              </a:ext>
            </a:extLst>
          </p:cNvPr>
          <p:cNvSpPr txBox="1"/>
          <p:nvPr/>
        </p:nvSpPr>
        <p:spPr>
          <a:xfrm>
            <a:off x="2950281" y="5655790"/>
            <a:ext cx="1702401" cy="33855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cs typeface="+mn-cs"/>
              </a:rPr>
              <a:t>Low Grade Serous </a:t>
            </a:r>
          </a:p>
        </p:txBody>
      </p:sp>
      <p:sp>
        <p:nvSpPr>
          <p:cNvPr id="23" name="TextBox 22">
            <a:extLst>
              <a:ext uri="{FF2B5EF4-FFF2-40B4-BE49-F238E27FC236}">
                <a16:creationId xmlns:a16="http://schemas.microsoft.com/office/drawing/2014/main" id="{E02910DD-1894-07FB-45FC-B3E1C6E2A638}"/>
              </a:ext>
            </a:extLst>
          </p:cNvPr>
          <p:cNvSpPr txBox="1"/>
          <p:nvPr/>
        </p:nvSpPr>
        <p:spPr>
          <a:xfrm>
            <a:off x="5356272" y="5598492"/>
            <a:ext cx="2195459" cy="584775"/>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cs typeface="+mn-cs"/>
              </a:rPr>
              <a:t>Mod/Strong Membranous Staining</a:t>
            </a:r>
          </a:p>
        </p:txBody>
      </p:sp>
      <p:sp>
        <p:nvSpPr>
          <p:cNvPr id="25" name="TextBox 24">
            <a:extLst>
              <a:ext uri="{FF2B5EF4-FFF2-40B4-BE49-F238E27FC236}">
                <a16:creationId xmlns:a16="http://schemas.microsoft.com/office/drawing/2014/main" id="{079246C1-7012-FB8C-C1F8-EDB1E94EE54D}"/>
              </a:ext>
            </a:extLst>
          </p:cNvPr>
          <p:cNvSpPr txBox="1"/>
          <p:nvPr/>
        </p:nvSpPr>
        <p:spPr>
          <a:xfrm>
            <a:off x="7449530" y="5598492"/>
            <a:ext cx="2195459" cy="584775"/>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cs typeface="+mn-cs"/>
              </a:rPr>
              <a:t>Variable Staining - &lt;75% of cells </a:t>
            </a:r>
          </a:p>
        </p:txBody>
      </p:sp>
      <p:sp>
        <p:nvSpPr>
          <p:cNvPr id="29" name="TextBox 28">
            <a:extLst>
              <a:ext uri="{FF2B5EF4-FFF2-40B4-BE49-F238E27FC236}">
                <a16:creationId xmlns:a16="http://schemas.microsoft.com/office/drawing/2014/main" id="{FAC36891-49BB-EEDD-0D4B-3E7C6B4C9769}"/>
              </a:ext>
            </a:extLst>
          </p:cNvPr>
          <p:cNvSpPr txBox="1"/>
          <p:nvPr/>
        </p:nvSpPr>
        <p:spPr>
          <a:xfrm>
            <a:off x="9452836" y="5598492"/>
            <a:ext cx="2195459" cy="33855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cs typeface="+mn-cs"/>
              </a:rPr>
              <a:t>Cytoplasmic Staining</a:t>
            </a:r>
          </a:p>
        </p:txBody>
      </p:sp>
      <p:sp>
        <p:nvSpPr>
          <p:cNvPr id="31" name="TextBox 30">
            <a:extLst>
              <a:ext uri="{FF2B5EF4-FFF2-40B4-BE49-F238E27FC236}">
                <a16:creationId xmlns:a16="http://schemas.microsoft.com/office/drawing/2014/main" id="{8C5FABD3-A4A9-E3B7-741A-159A05739B0C}"/>
              </a:ext>
            </a:extLst>
          </p:cNvPr>
          <p:cNvSpPr txBox="1"/>
          <p:nvPr/>
        </p:nvSpPr>
        <p:spPr>
          <a:xfrm>
            <a:off x="7449530" y="6106386"/>
            <a:ext cx="3940129" cy="400110"/>
          </a:xfrm>
          <a:prstGeom prst="rect">
            <a:avLst/>
          </a:prstGeom>
          <a:solidFill>
            <a:schemeClr val="accent1">
              <a:lumMod val="40000"/>
              <a:lumOff val="60000"/>
            </a:schemeClr>
          </a:solidFill>
          <a:ln>
            <a:no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charset="0"/>
                <a:ea typeface="ＭＳ Ｐゴシック" charset="0"/>
                <a:cs typeface="+mn-cs"/>
              </a:rPr>
              <a:t>Irrelevant Findings</a:t>
            </a:r>
          </a:p>
        </p:txBody>
      </p:sp>
    </p:spTree>
    <p:extLst>
      <p:ext uri="{BB962C8B-B14F-4D97-AF65-F5344CB8AC3E}">
        <p14:creationId xmlns:p14="http://schemas.microsoft.com/office/powerpoint/2010/main" val="29310507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36458-A0F4-A5E9-8EBD-800633D832CF}"/>
            </a:ext>
          </a:extLst>
        </p:cNvPr>
        <p:cNvGrpSpPr/>
        <p:nvPr/>
      </p:nvGrpSpPr>
      <p:grpSpPr>
        <a:xfrm>
          <a:off x="0" y="0"/>
          <a:ext cx="0" cy="0"/>
          <a:chOff x="0" y="0"/>
          <a:chExt cx="0" cy="0"/>
        </a:xfrm>
      </p:grpSpPr>
      <p:grpSp>
        <p:nvGrpSpPr>
          <p:cNvPr id="18" name="Group 17">
            <a:extLst>
              <a:ext uri="{FF2B5EF4-FFF2-40B4-BE49-F238E27FC236}">
                <a16:creationId xmlns:a16="http://schemas.microsoft.com/office/drawing/2014/main" id="{8EDBE440-63D5-E3AB-CCFD-264335B9D857}"/>
              </a:ext>
            </a:extLst>
          </p:cNvPr>
          <p:cNvGrpSpPr/>
          <p:nvPr/>
        </p:nvGrpSpPr>
        <p:grpSpPr>
          <a:xfrm>
            <a:off x="216095" y="2660269"/>
            <a:ext cx="3684393" cy="3127337"/>
            <a:chOff x="4887421" y="1134161"/>
            <a:chExt cx="4059117" cy="3393503"/>
          </a:xfrm>
        </p:grpSpPr>
        <p:pic>
          <p:nvPicPr>
            <p:cNvPr id="19" name="Picture 18">
              <a:extLst>
                <a:ext uri="{FF2B5EF4-FFF2-40B4-BE49-F238E27FC236}">
                  <a16:creationId xmlns:a16="http://schemas.microsoft.com/office/drawing/2014/main" id="{0D4A303B-2AB0-7678-75A1-A24E17603D30}"/>
                </a:ext>
              </a:extLst>
            </p:cNvPr>
            <p:cNvPicPr>
              <a:picLocks noChangeAspect="1"/>
            </p:cNvPicPr>
            <p:nvPr/>
          </p:nvPicPr>
          <p:blipFill>
            <a:blip r:embed="rId4"/>
            <a:stretch>
              <a:fillRect/>
            </a:stretch>
          </p:blipFill>
          <p:spPr>
            <a:xfrm flipH="1">
              <a:off x="5832053" y="1134161"/>
              <a:ext cx="2899082" cy="3348736"/>
            </a:xfrm>
            <a:prstGeom prst="rect">
              <a:avLst/>
            </a:prstGeom>
          </p:spPr>
        </p:pic>
        <p:sp>
          <p:nvSpPr>
            <p:cNvPr id="20" name="Arrow: Down 46">
              <a:extLst>
                <a:ext uri="{FF2B5EF4-FFF2-40B4-BE49-F238E27FC236}">
                  <a16:creationId xmlns:a16="http://schemas.microsoft.com/office/drawing/2014/main" id="{53BEC45C-C14A-1B6A-288B-B8BBE8D70526}"/>
                </a:ext>
              </a:extLst>
            </p:cNvPr>
            <p:cNvSpPr/>
            <p:nvPr/>
          </p:nvSpPr>
          <p:spPr>
            <a:xfrm rot="18162145">
              <a:off x="7657786" y="3653937"/>
              <a:ext cx="136554" cy="249950"/>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7" b="0" i="0" u="none" strike="noStrike" kern="1200" cap="none" spc="0" normalizeH="0" baseline="0" noProof="0" dirty="0">
                <a:ln>
                  <a:noFill/>
                </a:ln>
                <a:solidFill>
                  <a:srgbClr val="00539B"/>
                </a:solidFill>
                <a:effectLst/>
                <a:uLnTx/>
                <a:uFillTx/>
                <a:latin typeface="Trebuchet MS" panose="020B0603020202020204"/>
                <a:ea typeface="+mn-ea"/>
                <a:cs typeface="+mn-cs"/>
              </a:endParaRPr>
            </a:p>
          </p:txBody>
        </p:sp>
        <p:sp>
          <p:nvSpPr>
            <p:cNvPr id="21" name="Arrow: Down 57">
              <a:extLst>
                <a:ext uri="{FF2B5EF4-FFF2-40B4-BE49-F238E27FC236}">
                  <a16:creationId xmlns:a16="http://schemas.microsoft.com/office/drawing/2014/main" id="{B54567D6-E2EB-B1A9-C982-A24957F02131}"/>
                </a:ext>
              </a:extLst>
            </p:cNvPr>
            <p:cNvSpPr/>
            <p:nvPr/>
          </p:nvSpPr>
          <p:spPr>
            <a:xfrm rot="14191067">
              <a:off x="7793588" y="2683322"/>
              <a:ext cx="131636" cy="228655"/>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7" b="0" i="0" u="none" strike="noStrike" kern="1200" cap="none" spc="0" normalizeH="0" baseline="0" noProof="0" dirty="0">
                <a:ln>
                  <a:noFill/>
                </a:ln>
                <a:solidFill>
                  <a:srgbClr val="00539B"/>
                </a:solidFill>
                <a:effectLst/>
                <a:uLnTx/>
                <a:uFillTx/>
                <a:latin typeface="Trebuchet MS" panose="020B0603020202020204"/>
                <a:ea typeface="+mn-ea"/>
                <a:cs typeface="+mn-cs"/>
              </a:endParaRPr>
            </a:p>
          </p:txBody>
        </p:sp>
        <p:sp>
          <p:nvSpPr>
            <p:cNvPr id="22" name="Rectangle 21">
              <a:extLst>
                <a:ext uri="{FF2B5EF4-FFF2-40B4-BE49-F238E27FC236}">
                  <a16:creationId xmlns:a16="http://schemas.microsoft.com/office/drawing/2014/main" id="{FA344288-2369-9CA5-CC68-8297458DB110}"/>
                </a:ext>
              </a:extLst>
            </p:cNvPr>
            <p:cNvSpPr/>
            <p:nvPr/>
          </p:nvSpPr>
          <p:spPr>
            <a:xfrm>
              <a:off x="5636358" y="1408613"/>
              <a:ext cx="766306"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ADC Binding</a:t>
              </a:r>
            </a:p>
          </p:txBody>
        </p:sp>
        <p:sp>
          <p:nvSpPr>
            <p:cNvPr id="23" name="Flowchart: Connector 39">
              <a:extLst>
                <a:ext uri="{FF2B5EF4-FFF2-40B4-BE49-F238E27FC236}">
                  <a16:creationId xmlns:a16="http://schemas.microsoft.com/office/drawing/2014/main" id="{5C93E75F-F82C-B786-4E8F-0F9BF9426332}"/>
                </a:ext>
              </a:extLst>
            </p:cNvPr>
            <p:cNvSpPr/>
            <p:nvPr/>
          </p:nvSpPr>
          <p:spPr>
            <a:xfrm>
              <a:off x="6620890" y="1768255"/>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1</a:t>
              </a:r>
            </a:p>
          </p:txBody>
        </p:sp>
        <p:cxnSp>
          <p:nvCxnSpPr>
            <p:cNvPr id="24" name="Straight Connector 23">
              <a:extLst>
                <a:ext uri="{FF2B5EF4-FFF2-40B4-BE49-F238E27FC236}">
                  <a16:creationId xmlns:a16="http://schemas.microsoft.com/office/drawing/2014/main" id="{A33B5C0B-E839-02D6-ED08-D32EAD0AC39B}"/>
                </a:ext>
              </a:extLst>
            </p:cNvPr>
            <p:cNvCxnSpPr>
              <a:cxnSpLocks/>
            </p:cNvCxnSpPr>
            <p:nvPr/>
          </p:nvCxnSpPr>
          <p:spPr>
            <a:xfrm>
              <a:off x="6409714" y="1584094"/>
              <a:ext cx="189373" cy="189373"/>
            </a:xfrm>
            <a:prstGeom prst="line">
              <a:avLst/>
            </a:prstGeom>
            <a:ln w="12700" cap="rnd">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94F0F145-BB24-4F6A-D378-7550F89D8B92}"/>
                </a:ext>
              </a:extLst>
            </p:cNvPr>
            <p:cNvSpPr/>
            <p:nvPr/>
          </p:nvSpPr>
          <p:spPr>
            <a:xfrm>
              <a:off x="4887421" y="1851339"/>
              <a:ext cx="1012491"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90000"/>
                </a:lnSpc>
                <a:spcBef>
                  <a:spcPts val="0"/>
                </a:spcBef>
                <a:spcAft>
                  <a:spcPts val="0"/>
                </a:spcAft>
                <a:buClr>
                  <a:srgbClr val="FFFFFE"/>
                </a:buClr>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Internalization</a:t>
              </a:r>
              <a:endParaRPr kumimoji="0" lang="en-US" sz="700" b="1" i="0" u="none" strike="noStrike" kern="1200" cap="none" spc="0" normalizeH="0" baseline="0" noProof="0" dirty="0">
                <a:ln>
                  <a:noFill/>
                </a:ln>
                <a:solidFill>
                  <a:srgbClr val="00539B"/>
                </a:solidFill>
                <a:effectLst/>
                <a:uLnTx/>
                <a:uFillTx/>
                <a:latin typeface="Calibri" panose="020F0502020204030204"/>
                <a:ea typeface="+mn-ea"/>
                <a:cs typeface="+mn-cs"/>
              </a:endParaRPr>
            </a:p>
          </p:txBody>
        </p:sp>
        <p:sp>
          <p:nvSpPr>
            <p:cNvPr id="28" name="Flowchart: Connector 39">
              <a:extLst>
                <a:ext uri="{FF2B5EF4-FFF2-40B4-BE49-F238E27FC236}">
                  <a16:creationId xmlns:a16="http://schemas.microsoft.com/office/drawing/2014/main" id="{B56388E0-B61B-9663-A34D-D6EDD0794574}"/>
                </a:ext>
              </a:extLst>
            </p:cNvPr>
            <p:cNvSpPr/>
            <p:nvPr/>
          </p:nvSpPr>
          <p:spPr>
            <a:xfrm>
              <a:off x="6085277" y="2156626"/>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2</a:t>
              </a:r>
            </a:p>
          </p:txBody>
        </p:sp>
        <p:cxnSp>
          <p:nvCxnSpPr>
            <p:cNvPr id="30" name="Straight Connector 29">
              <a:extLst>
                <a:ext uri="{FF2B5EF4-FFF2-40B4-BE49-F238E27FC236}">
                  <a16:creationId xmlns:a16="http://schemas.microsoft.com/office/drawing/2014/main" id="{7FEE13AF-9A30-A99A-B421-6991A9A37793}"/>
                </a:ext>
              </a:extLst>
            </p:cNvPr>
            <p:cNvCxnSpPr>
              <a:cxnSpLocks/>
            </p:cNvCxnSpPr>
            <p:nvPr/>
          </p:nvCxnSpPr>
          <p:spPr>
            <a:xfrm>
              <a:off x="5931374" y="2026763"/>
              <a:ext cx="132100" cy="135075"/>
            </a:xfrm>
            <a:prstGeom prst="line">
              <a:avLst/>
            </a:prstGeom>
            <a:ln w="12700" cap="rnd">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C57E5509-B92B-CD01-F1E6-3D4C9CC6D0DA}"/>
                </a:ext>
              </a:extLst>
            </p:cNvPr>
            <p:cNvSpPr/>
            <p:nvPr/>
          </p:nvSpPr>
          <p:spPr>
            <a:xfrm>
              <a:off x="4923024" y="3680213"/>
              <a:ext cx="1012491" cy="274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90000"/>
                </a:lnSpc>
                <a:spcBef>
                  <a:spcPts val="0"/>
                </a:spcBef>
                <a:spcAft>
                  <a:spcPts val="0"/>
                </a:spcAft>
                <a:buClr>
                  <a:srgbClr val="FFFFFE"/>
                </a:buClr>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Lysosomal Degradation</a:t>
              </a:r>
            </a:p>
          </p:txBody>
        </p:sp>
        <p:sp>
          <p:nvSpPr>
            <p:cNvPr id="35" name="Flowchart: Connector 39">
              <a:extLst>
                <a:ext uri="{FF2B5EF4-FFF2-40B4-BE49-F238E27FC236}">
                  <a16:creationId xmlns:a16="http://schemas.microsoft.com/office/drawing/2014/main" id="{C013C692-3C6D-9308-A725-E1B90B1E9E58}"/>
                </a:ext>
              </a:extLst>
            </p:cNvPr>
            <p:cNvSpPr/>
            <p:nvPr/>
          </p:nvSpPr>
          <p:spPr>
            <a:xfrm>
              <a:off x="6100320" y="3354803"/>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3</a:t>
              </a:r>
            </a:p>
          </p:txBody>
        </p:sp>
        <p:cxnSp>
          <p:nvCxnSpPr>
            <p:cNvPr id="36" name="Straight Connector 35">
              <a:extLst>
                <a:ext uri="{FF2B5EF4-FFF2-40B4-BE49-F238E27FC236}">
                  <a16:creationId xmlns:a16="http://schemas.microsoft.com/office/drawing/2014/main" id="{A7A88CD4-6F21-B50F-A9FA-88BDAF41344C}"/>
                </a:ext>
              </a:extLst>
            </p:cNvPr>
            <p:cNvCxnSpPr>
              <a:cxnSpLocks/>
            </p:cNvCxnSpPr>
            <p:nvPr/>
          </p:nvCxnSpPr>
          <p:spPr>
            <a:xfrm flipH="1">
              <a:off x="5996544" y="3620282"/>
              <a:ext cx="121416" cy="158477"/>
            </a:xfrm>
            <a:prstGeom prst="line">
              <a:avLst/>
            </a:prstGeom>
            <a:ln w="12700" cap="rnd">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1B36E32E-9932-4FF4-4404-4A8A55E60E0E}"/>
                </a:ext>
              </a:extLst>
            </p:cNvPr>
            <p:cNvSpPr/>
            <p:nvPr/>
          </p:nvSpPr>
          <p:spPr>
            <a:xfrm>
              <a:off x="5347129" y="4059334"/>
              <a:ext cx="1382252"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90000"/>
                </a:lnSpc>
                <a:spcBef>
                  <a:spcPts val="0"/>
                </a:spcBef>
                <a:spcAft>
                  <a:spcPts val="0"/>
                </a:spcAft>
                <a:buClr>
                  <a:srgbClr val="FFFFFE"/>
                </a:buClr>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Release of Payload</a:t>
              </a:r>
            </a:p>
          </p:txBody>
        </p:sp>
        <p:sp>
          <p:nvSpPr>
            <p:cNvPr id="45" name="Flowchart: Connector 39">
              <a:extLst>
                <a:ext uri="{FF2B5EF4-FFF2-40B4-BE49-F238E27FC236}">
                  <a16:creationId xmlns:a16="http://schemas.microsoft.com/office/drawing/2014/main" id="{64DA8840-A4A8-609C-ADCB-E96216FC008D}"/>
                </a:ext>
              </a:extLst>
            </p:cNvPr>
            <p:cNvSpPr/>
            <p:nvPr/>
          </p:nvSpPr>
          <p:spPr>
            <a:xfrm>
              <a:off x="6845665" y="3715435"/>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4</a:t>
              </a:r>
            </a:p>
          </p:txBody>
        </p:sp>
        <p:sp>
          <p:nvSpPr>
            <p:cNvPr id="46" name="Rectangle 45">
              <a:extLst>
                <a:ext uri="{FF2B5EF4-FFF2-40B4-BE49-F238E27FC236}">
                  <a16:creationId xmlns:a16="http://schemas.microsoft.com/office/drawing/2014/main" id="{76DEAA7E-BF5D-A2CA-844E-DCD62FB4E294}"/>
                </a:ext>
              </a:extLst>
            </p:cNvPr>
            <p:cNvSpPr/>
            <p:nvPr/>
          </p:nvSpPr>
          <p:spPr>
            <a:xfrm>
              <a:off x="6463655" y="4253344"/>
              <a:ext cx="1012491"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90000"/>
                </a:lnSpc>
                <a:spcBef>
                  <a:spcPts val="0"/>
                </a:spcBef>
                <a:spcAft>
                  <a:spcPts val="0"/>
                </a:spcAft>
                <a:buClr>
                  <a:srgbClr val="FFFFFE"/>
                </a:buClr>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Bystander Killing</a:t>
              </a:r>
            </a:p>
          </p:txBody>
        </p:sp>
        <p:sp>
          <p:nvSpPr>
            <p:cNvPr id="47" name="Flowchart: Connector 39">
              <a:extLst>
                <a:ext uri="{FF2B5EF4-FFF2-40B4-BE49-F238E27FC236}">
                  <a16:creationId xmlns:a16="http://schemas.microsoft.com/office/drawing/2014/main" id="{EF05201F-EE79-31C4-69BB-38566F7FA0C9}"/>
                </a:ext>
              </a:extLst>
            </p:cNvPr>
            <p:cNvSpPr/>
            <p:nvPr/>
          </p:nvSpPr>
          <p:spPr>
            <a:xfrm>
              <a:off x="7605539" y="3903886"/>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5</a:t>
              </a:r>
            </a:p>
          </p:txBody>
        </p:sp>
        <p:grpSp>
          <p:nvGrpSpPr>
            <p:cNvPr id="48" name="Group 47">
              <a:extLst>
                <a:ext uri="{FF2B5EF4-FFF2-40B4-BE49-F238E27FC236}">
                  <a16:creationId xmlns:a16="http://schemas.microsoft.com/office/drawing/2014/main" id="{3620E425-2FFB-322C-5457-ACEF28962462}"/>
                </a:ext>
              </a:extLst>
            </p:cNvPr>
            <p:cNvGrpSpPr/>
            <p:nvPr/>
          </p:nvGrpSpPr>
          <p:grpSpPr>
            <a:xfrm>
              <a:off x="7940081" y="2915618"/>
              <a:ext cx="1006457" cy="282817"/>
              <a:chOff x="8727541" y="2010295"/>
              <a:chExt cx="1006457" cy="282817"/>
            </a:xfrm>
          </p:grpSpPr>
          <p:sp>
            <p:nvSpPr>
              <p:cNvPr id="51" name="Rectangle 50">
                <a:extLst>
                  <a:ext uri="{FF2B5EF4-FFF2-40B4-BE49-F238E27FC236}">
                    <a16:creationId xmlns:a16="http://schemas.microsoft.com/office/drawing/2014/main" id="{2F6A726A-987C-B638-DAB4-91272AB61038}"/>
                  </a:ext>
                </a:extLst>
              </p:cNvPr>
              <p:cNvSpPr/>
              <p:nvPr/>
            </p:nvSpPr>
            <p:spPr>
              <a:xfrm>
                <a:off x="9060274" y="2010295"/>
                <a:ext cx="673724"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0000"/>
                  </a:lnSpc>
                  <a:spcBef>
                    <a:spcPts val="0"/>
                  </a:spcBef>
                  <a:spcAft>
                    <a:spcPts val="0"/>
                  </a:spcAft>
                  <a:buClr>
                    <a:srgbClr val="FFFFFE"/>
                  </a:buClr>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Cell Death</a:t>
                </a:r>
              </a:p>
            </p:txBody>
          </p:sp>
          <p:sp>
            <p:nvSpPr>
              <p:cNvPr id="52" name="Flowchart: Connector 39">
                <a:extLst>
                  <a:ext uri="{FF2B5EF4-FFF2-40B4-BE49-F238E27FC236}">
                    <a16:creationId xmlns:a16="http://schemas.microsoft.com/office/drawing/2014/main" id="{A482C0C2-D28E-F72E-7C01-4874671415E9}"/>
                  </a:ext>
                </a:extLst>
              </p:cNvPr>
              <p:cNvSpPr/>
              <p:nvPr/>
            </p:nvSpPr>
            <p:spPr>
              <a:xfrm>
                <a:off x="8727541" y="2014438"/>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5</a:t>
                </a:r>
              </a:p>
            </p:txBody>
          </p:sp>
        </p:grpSp>
        <p:cxnSp>
          <p:nvCxnSpPr>
            <p:cNvPr id="49" name="Straight Connector 48">
              <a:extLst>
                <a:ext uri="{FF2B5EF4-FFF2-40B4-BE49-F238E27FC236}">
                  <a16:creationId xmlns:a16="http://schemas.microsoft.com/office/drawing/2014/main" id="{0E8B3953-FA9D-2A54-4DEB-F5B81DC69BF3}"/>
                </a:ext>
              </a:extLst>
            </p:cNvPr>
            <p:cNvCxnSpPr>
              <a:cxnSpLocks/>
            </p:cNvCxnSpPr>
            <p:nvPr/>
          </p:nvCxnSpPr>
          <p:spPr>
            <a:xfrm flipH="1">
              <a:off x="6749055" y="4008665"/>
              <a:ext cx="121416" cy="158477"/>
            </a:xfrm>
            <a:prstGeom prst="line">
              <a:avLst/>
            </a:prstGeom>
            <a:ln w="12700" cap="rnd">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79C7230-E17C-A6BE-195E-96103301A614}"/>
                </a:ext>
              </a:extLst>
            </p:cNvPr>
            <p:cNvCxnSpPr>
              <a:cxnSpLocks/>
            </p:cNvCxnSpPr>
            <p:nvPr/>
          </p:nvCxnSpPr>
          <p:spPr>
            <a:xfrm flipH="1">
              <a:off x="7527569" y="4194519"/>
              <a:ext cx="121416" cy="158477"/>
            </a:xfrm>
            <a:prstGeom prst="line">
              <a:avLst/>
            </a:prstGeom>
            <a:ln w="12700" cap="rnd">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9851E450-1204-AB8F-391A-3932ACEA3A29}"/>
              </a:ext>
            </a:extLst>
          </p:cNvPr>
          <p:cNvSpPr txBox="1"/>
          <p:nvPr/>
        </p:nvSpPr>
        <p:spPr>
          <a:xfrm>
            <a:off x="839841" y="1294640"/>
            <a:ext cx="10953641" cy="584775"/>
          </a:xfrm>
          <a:prstGeom prst="rect">
            <a:avLst/>
          </a:prstGeom>
          <a:noFill/>
        </p:spPr>
        <p:txBody>
          <a:bodyPr wrap="square" rtlCol="0">
            <a:spAutoFit/>
          </a:bodyPr>
          <a:lstStyle/>
          <a:p>
            <a:pPr marL="0" marR="0" lvl="0" indent="0" algn="l" defTabSz="54422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ＭＳ Ｐゴシック" charset="0"/>
                <a:cs typeface="+mn-cs"/>
              </a:rPr>
              <a:t>A</a:t>
            </a:r>
            <a:r>
              <a:rPr kumimoji="0" lang="en-US" sz="1600" b="1" i="0" u="none" strike="noStrike" kern="1200" cap="none" spc="0" normalizeH="0" baseline="0" noProof="0" dirty="0" err="1">
                <a:ln>
                  <a:noFill/>
                </a:ln>
                <a:solidFill>
                  <a:srgbClr val="000000"/>
                </a:solidFill>
                <a:effectLst/>
                <a:uLnTx/>
                <a:uFillTx/>
                <a:latin typeface="Arial"/>
                <a:ea typeface="ＭＳ Ｐゴシック" charset="0"/>
                <a:cs typeface="+mn-cs"/>
              </a:rPr>
              <a:t>ntibody</a:t>
            </a:r>
            <a:r>
              <a:rPr kumimoji="0" lang="en-US" sz="1600" b="1" i="0" u="none" strike="noStrike" kern="1200" cap="none" spc="0" normalizeH="0" baseline="0" noProof="0" dirty="0">
                <a:ln>
                  <a:noFill/>
                </a:ln>
                <a:solidFill>
                  <a:srgbClr val="000000"/>
                </a:solidFill>
                <a:effectLst/>
                <a:uLnTx/>
                <a:uFillTx/>
                <a:latin typeface="Arial"/>
                <a:ea typeface="ＭＳ Ｐゴシック" charset="0"/>
                <a:cs typeface="+mn-cs"/>
              </a:rPr>
              <a:t>-drug conjugate (ADC) comprising an FR</a:t>
            </a:r>
            <a:r>
              <a:rPr kumimoji="0" lang="el-GR" sz="1600" b="1" i="0" u="none" strike="noStrike" kern="1200" cap="none" spc="0" normalizeH="0" baseline="0" noProof="0" dirty="0">
                <a:ln>
                  <a:noFill/>
                </a:ln>
                <a:solidFill>
                  <a:srgbClr val="000000"/>
                </a:solidFill>
                <a:effectLst/>
                <a:uLnTx/>
                <a:uFillTx/>
                <a:latin typeface="Arial"/>
                <a:ea typeface="ＭＳ Ｐゴシック" charset="0"/>
                <a:cs typeface="+mn-cs"/>
              </a:rPr>
              <a:t>α-</a:t>
            </a:r>
            <a:r>
              <a:rPr kumimoji="0" lang="en-US" sz="1600" b="1" i="0" u="none" strike="noStrike" kern="1200" cap="none" spc="0" normalizeH="0" baseline="0" noProof="0" dirty="0">
                <a:ln>
                  <a:noFill/>
                </a:ln>
                <a:solidFill>
                  <a:srgbClr val="000000"/>
                </a:solidFill>
                <a:effectLst/>
                <a:uLnTx/>
                <a:uFillTx/>
                <a:latin typeface="Arial"/>
                <a:ea typeface="ＭＳ Ｐゴシック" charset="0"/>
                <a:cs typeface="+mn-cs"/>
              </a:rPr>
              <a:t>binding  antibody, cleavable linker, and a maytansinoid DM4 payload</a:t>
            </a:r>
            <a:endParaRPr kumimoji="0" lang="en-US" sz="1600" b="1" i="0" u="none" strike="noStrike" kern="1200" cap="none" spc="0" normalizeH="0" baseline="30000" noProof="0" dirty="0">
              <a:ln>
                <a:noFill/>
              </a:ln>
              <a:solidFill>
                <a:srgbClr val="000000"/>
              </a:solidFill>
              <a:effectLst/>
              <a:uLnTx/>
              <a:uFillTx/>
              <a:latin typeface="Arial"/>
              <a:ea typeface="ＭＳ Ｐゴシック" charset="0"/>
              <a:cs typeface="+mn-cs"/>
            </a:endParaRPr>
          </a:p>
        </p:txBody>
      </p:sp>
      <p:sp>
        <p:nvSpPr>
          <p:cNvPr id="11" name="Title 10">
            <a:extLst>
              <a:ext uri="{FF2B5EF4-FFF2-40B4-BE49-F238E27FC236}">
                <a16:creationId xmlns:a16="http://schemas.microsoft.com/office/drawing/2014/main" id="{F017F6E6-34F1-A7D4-B0B7-85ECA9D87688}"/>
              </a:ext>
            </a:extLst>
          </p:cNvPr>
          <p:cNvSpPr>
            <a:spLocks noGrp="1"/>
          </p:cNvSpPr>
          <p:nvPr>
            <p:ph type="title" idx="4294967295"/>
          </p:nvPr>
        </p:nvSpPr>
        <p:spPr>
          <a:xfrm>
            <a:off x="441325" y="103188"/>
            <a:ext cx="11750675" cy="1036637"/>
          </a:xfrm>
        </p:spPr>
        <p:txBody>
          <a:bodyPr anchor="t">
            <a:noAutofit/>
          </a:bodyPr>
          <a:lstStyle/>
          <a:p>
            <a:r>
              <a:rPr lang="en-US" sz="3200" dirty="0" err="1">
                <a:solidFill>
                  <a:schemeClr val="tx1"/>
                </a:solidFill>
              </a:rPr>
              <a:t>Mirvetuximab</a:t>
            </a:r>
            <a:r>
              <a:rPr lang="en-US" sz="3200" dirty="0">
                <a:solidFill>
                  <a:schemeClr val="tx1"/>
                </a:solidFill>
              </a:rPr>
              <a:t> </a:t>
            </a:r>
            <a:r>
              <a:rPr lang="en-US" sz="3200" dirty="0" err="1">
                <a:solidFill>
                  <a:schemeClr val="tx1"/>
                </a:solidFill>
              </a:rPr>
              <a:t>soravtansine</a:t>
            </a:r>
            <a:r>
              <a:rPr lang="en-US" sz="3200" dirty="0">
                <a:solidFill>
                  <a:schemeClr val="tx1"/>
                </a:solidFill>
              </a:rPr>
              <a:t>, first FR</a:t>
            </a:r>
            <a:r>
              <a:rPr lang="el-GR" sz="3200" dirty="0">
                <a:solidFill>
                  <a:schemeClr val="tx1"/>
                </a:solidFill>
              </a:rPr>
              <a:t>α</a:t>
            </a:r>
            <a:r>
              <a:rPr lang="en-US" sz="3200" dirty="0">
                <a:solidFill>
                  <a:schemeClr val="tx1"/>
                </a:solidFill>
              </a:rPr>
              <a:t>-targeted ADC approved for PROC</a:t>
            </a:r>
          </a:p>
        </p:txBody>
      </p:sp>
      <p:sp>
        <p:nvSpPr>
          <p:cNvPr id="13" name="Text Placeholder 12">
            <a:extLst>
              <a:ext uri="{FF2B5EF4-FFF2-40B4-BE49-F238E27FC236}">
                <a16:creationId xmlns:a16="http://schemas.microsoft.com/office/drawing/2014/main" id="{7A7ED23B-519A-BF1F-CA12-2B27687E9DFC}"/>
              </a:ext>
            </a:extLst>
          </p:cNvPr>
          <p:cNvSpPr>
            <a:spLocks noGrp="1"/>
          </p:cNvSpPr>
          <p:nvPr>
            <p:ph type="body" sz="quarter" idx="4294967295"/>
          </p:nvPr>
        </p:nvSpPr>
        <p:spPr>
          <a:xfrm>
            <a:off x="480557" y="6439693"/>
            <a:ext cx="7575550" cy="630237"/>
          </a:xfrm>
        </p:spPr>
        <p:txBody>
          <a:bodyPr>
            <a:noAutofit/>
          </a:bodyPr>
          <a:lstStyle/>
          <a:p>
            <a:pPr defTabSz="914377">
              <a:buClr>
                <a:srgbClr val="48A1A0"/>
              </a:buClr>
              <a:defRPr/>
            </a:pPr>
            <a:r>
              <a:rPr lang="en-US" sz="1400" dirty="0">
                <a:solidFill>
                  <a:schemeClr val="tx2"/>
                </a:solidFill>
              </a:rPr>
              <a:t>Moore KN et al. </a:t>
            </a:r>
            <a:r>
              <a:rPr lang="en-US" sz="1400" i="1" dirty="0">
                <a:solidFill>
                  <a:schemeClr val="tx2"/>
                </a:solidFill>
              </a:rPr>
              <a:t>Cancer</a:t>
            </a:r>
            <a:r>
              <a:rPr lang="en-US" sz="1400" dirty="0">
                <a:solidFill>
                  <a:schemeClr val="tx2"/>
                </a:solidFill>
              </a:rPr>
              <a:t>. 2017; Matulonis UA et al. </a:t>
            </a:r>
            <a:r>
              <a:rPr lang="en-US" sz="1400" i="1" dirty="0">
                <a:solidFill>
                  <a:schemeClr val="tx2"/>
                </a:solidFill>
              </a:rPr>
              <a:t>J Clin Oncol</a:t>
            </a:r>
            <a:r>
              <a:rPr lang="en-US" sz="1400" dirty="0">
                <a:solidFill>
                  <a:schemeClr val="tx2"/>
                </a:solidFill>
              </a:rPr>
              <a:t>. 2023</a:t>
            </a:r>
          </a:p>
        </p:txBody>
      </p:sp>
      <p:pic>
        <p:nvPicPr>
          <p:cNvPr id="7" name="Picture 6">
            <a:extLst>
              <a:ext uri="{FF2B5EF4-FFF2-40B4-BE49-F238E27FC236}">
                <a16:creationId xmlns:a16="http://schemas.microsoft.com/office/drawing/2014/main" id="{B9F11994-C5B2-D2F7-65BE-50D2C748B311}"/>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50000"/>
                    </a14:imgEffect>
                  </a14:imgLayer>
                </a14:imgProps>
              </a:ext>
            </a:extLst>
          </a:blip>
          <a:srcRect l="1601" r="868"/>
          <a:stretch/>
        </p:blipFill>
        <p:spPr>
          <a:xfrm>
            <a:off x="4442899" y="2192950"/>
            <a:ext cx="7074728" cy="4137997"/>
          </a:xfrm>
          <a:prstGeom prst="rect">
            <a:avLst/>
          </a:prstGeom>
          <a:effectLst>
            <a:outerShdw blurRad="50800" dist="38100" dir="5400000" algn="t" rotWithShape="0">
              <a:prstClr val="black">
                <a:alpha val="40000"/>
              </a:prstClr>
            </a:outerShdw>
          </a:effectLst>
        </p:spPr>
      </p:pic>
    </p:spTree>
    <p:custDataLst>
      <p:tags r:id="rId1"/>
    </p:custDataLst>
    <p:extLst>
      <p:ext uri="{BB962C8B-B14F-4D97-AF65-F5344CB8AC3E}">
        <p14:creationId xmlns:p14="http://schemas.microsoft.com/office/powerpoint/2010/main" val="25421685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0EF4C-72A4-43AD-2466-3BD5E06AE7D5}"/>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C09567D0-F05F-133F-4E39-554216300482}"/>
              </a:ext>
            </a:extLst>
          </p:cNvPr>
          <p:cNvSpPr>
            <a:spLocks noGrp="1"/>
          </p:cNvSpPr>
          <p:nvPr>
            <p:ph type="title" idx="4294967295"/>
          </p:nvPr>
        </p:nvSpPr>
        <p:spPr>
          <a:xfrm>
            <a:off x="441325" y="103188"/>
            <a:ext cx="11750675" cy="1036637"/>
          </a:xfrm>
        </p:spPr>
        <p:txBody>
          <a:bodyPr anchor="t">
            <a:noAutofit/>
          </a:bodyPr>
          <a:lstStyle/>
          <a:p>
            <a:r>
              <a:rPr lang="en-US" sz="3200" dirty="0" err="1">
                <a:solidFill>
                  <a:schemeClr val="tx1"/>
                </a:solidFill>
              </a:rPr>
              <a:t>Mirvetuximab</a:t>
            </a:r>
            <a:r>
              <a:rPr lang="en-US" sz="3200" dirty="0">
                <a:solidFill>
                  <a:schemeClr val="tx1"/>
                </a:solidFill>
              </a:rPr>
              <a:t> </a:t>
            </a:r>
            <a:r>
              <a:rPr lang="en-US" sz="3200" dirty="0" err="1">
                <a:solidFill>
                  <a:schemeClr val="tx1"/>
                </a:solidFill>
              </a:rPr>
              <a:t>soravtansine</a:t>
            </a:r>
            <a:r>
              <a:rPr lang="en-US" sz="3200" dirty="0">
                <a:solidFill>
                  <a:schemeClr val="tx1"/>
                </a:solidFill>
              </a:rPr>
              <a:t>: SORAYA trial (NCT04296890)</a:t>
            </a:r>
          </a:p>
        </p:txBody>
      </p:sp>
      <p:sp>
        <p:nvSpPr>
          <p:cNvPr id="13" name="Text Placeholder 12">
            <a:extLst>
              <a:ext uri="{FF2B5EF4-FFF2-40B4-BE49-F238E27FC236}">
                <a16:creationId xmlns:a16="http://schemas.microsoft.com/office/drawing/2014/main" id="{589E182D-5CE9-0DF6-3009-3303124C729D}"/>
              </a:ext>
            </a:extLst>
          </p:cNvPr>
          <p:cNvSpPr>
            <a:spLocks noGrp="1"/>
          </p:cNvSpPr>
          <p:nvPr>
            <p:ph type="body" sz="quarter" idx="4294967295"/>
          </p:nvPr>
        </p:nvSpPr>
        <p:spPr>
          <a:xfrm>
            <a:off x="480557" y="6439693"/>
            <a:ext cx="7575550" cy="630237"/>
          </a:xfrm>
        </p:spPr>
        <p:txBody>
          <a:bodyPr>
            <a:noAutofit/>
          </a:bodyPr>
          <a:lstStyle/>
          <a:p>
            <a:pPr defTabSz="914377">
              <a:buClr>
                <a:srgbClr val="48A1A0"/>
              </a:buClr>
              <a:defRPr/>
            </a:pPr>
            <a:r>
              <a:rPr lang="en-US" sz="1400" dirty="0">
                <a:solidFill>
                  <a:schemeClr val="tx2"/>
                </a:solidFill>
              </a:rPr>
              <a:t>Moore KN et al. </a:t>
            </a:r>
            <a:r>
              <a:rPr lang="en-US" sz="1400" i="1" dirty="0">
                <a:solidFill>
                  <a:schemeClr val="tx2"/>
                </a:solidFill>
              </a:rPr>
              <a:t>Cancer</a:t>
            </a:r>
            <a:r>
              <a:rPr lang="en-US" sz="1400" dirty="0">
                <a:solidFill>
                  <a:schemeClr val="tx2"/>
                </a:solidFill>
              </a:rPr>
              <a:t>. 2017; Matulonis UA et al. </a:t>
            </a:r>
            <a:r>
              <a:rPr lang="en-US" sz="1400" i="1" dirty="0">
                <a:solidFill>
                  <a:schemeClr val="tx2"/>
                </a:solidFill>
              </a:rPr>
              <a:t>J Clin Oncol</a:t>
            </a:r>
            <a:r>
              <a:rPr lang="en-US" sz="1400" dirty="0">
                <a:solidFill>
                  <a:schemeClr val="tx2"/>
                </a:solidFill>
              </a:rPr>
              <a:t>. 2023</a:t>
            </a:r>
          </a:p>
        </p:txBody>
      </p:sp>
      <p:sp>
        <p:nvSpPr>
          <p:cNvPr id="4" name="TextBox 3">
            <a:extLst>
              <a:ext uri="{FF2B5EF4-FFF2-40B4-BE49-F238E27FC236}">
                <a16:creationId xmlns:a16="http://schemas.microsoft.com/office/drawing/2014/main" id="{BA0084BF-2272-29AE-B6A3-4775F7D7D408}"/>
              </a:ext>
            </a:extLst>
          </p:cNvPr>
          <p:cNvSpPr txBox="1"/>
          <p:nvPr/>
        </p:nvSpPr>
        <p:spPr>
          <a:xfrm>
            <a:off x="1908245" y="1782049"/>
            <a:ext cx="3813644" cy="3293902"/>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Key eligibility criteria</a:t>
            </a:r>
            <a:endParaRPr kumimoji="0" lang="en-US" sz="2000" b="1" i="0" u="none" strike="noStrike" kern="1200" cap="none" spc="0" normalizeH="0" baseline="30000" noProof="0" dirty="0">
              <a:ln>
                <a:noFill/>
              </a:ln>
              <a:solidFill>
                <a:srgbClr val="000000"/>
              </a:solidFill>
              <a:effectLst/>
              <a:uLnTx/>
              <a:uFillTx/>
              <a:latin typeface="Calibri" panose="020F0502020204030204"/>
              <a:ea typeface="ＭＳ Ｐゴシック" charset="0"/>
              <a:cs typeface="+mn-cs"/>
            </a:endParaRP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Platinum-resistant ovarian cancer</a:t>
            </a: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Prior bevacizumab required, prior PARPi allowed</a:t>
            </a: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1–3 prior lines of therapy </a:t>
            </a: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Patients with </a:t>
            </a:r>
            <a:r>
              <a:rPr kumimoji="0" lang="en-US" sz="2000" b="0" i="1"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BRCA</a:t>
            </a: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 mutations allowed</a:t>
            </a: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FR</a:t>
            </a:r>
            <a:r>
              <a:rPr kumimoji="0" lang="el-GR"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α-</a:t>
            </a: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positive (≥75% of cells staining positive with ≥2+ staining intensity)</a:t>
            </a:r>
            <a:endParaRPr kumimoji="0" lang="en-US" sz="2000" b="0" i="0" u="none" strike="noStrike" kern="1200" cap="none" spc="0" normalizeH="0" baseline="30000" noProof="0" dirty="0">
              <a:ln>
                <a:noFill/>
              </a:ln>
              <a:solidFill>
                <a:srgbClr val="000000"/>
              </a:solidFill>
              <a:effectLst/>
              <a:uLnTx/>
              <a:uFillTx/>
              <a:latin typeface="Calibri" panose="020F0502020204030204"/>
              <a:ea typeface="ＭＳ Ｐゴシック" charset="0"/>
              <a:cs typeface="+mn-cs"/>
            </a:endParaRPr>
          </a:p>
        </p:txBody>
      </p:sp>
      <p:sp>
        <p:nvSpPr>
          <p:cNvPr id="5" name="TextBox 4">
            <a:extLst>
              <a:ext uri="{FF2B5EF4-FFF2-40B4-BE49-F238E27FC236}">
                <a16:creationId xmlns:a16="http://schemas.microsoft.com/office/drawing/2014/main" id="{ECFB20C9-E626-4469-2E9F-F6B6A72CFFFC}"/>
              </a:ext>
            </a:extLst>
          </p:cNvPr>
          <p:cNvSpPr txBox="1"/>
          <p:nvPr/>
        </p:nvSpPr>
        <p:spPr>
          <a:xfrm>
            <a:off x="6492221" y="2061143"/>
            <a:ext cx="2314944" cy="1805623"/>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Mirvetuximab soravtansine </a:t>
            </a: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N=106)</a:t>
            </a:r>
            <a:endParaRPr kumimoji="0" lang="en-US" sz="2000" b="0" i="0" u="none" strike="noStrike" kern="1200" cap="none" spc="0" normalizeH="0" baseline="30000" noProof="0" dirty="0">
              <a:ln>
                <a:noFill/>
              </a:ln>
              <a:solidFill>
                <a:srgbClr val="000000"/>
              </a:solidFill>
              <a:effectLst/>
              <a:uLnTx/>
              <a:uFillTx/>
              <a:latin typeface="Calibri" panose="020F0502020204030204"/>
              <a:ea typeface="ＭＳ Ｐゴシック" charset="0"/>
              <a:cs typeface="+mn-cs"/>
            </a:endParaRP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6.0 mg/kg adjusted ideal body weight (AIBW) q3w </a:t>
            </a:r>
          </a:p>
        </p:txBody>
      </p:sp>
      <p:sp>
        <p:nvSpPr>
          <p:cNvPr id="6" name="TextBox 5">
            <a:extLst>
              <a:ext uri="{FF2B5EF4-FFF2-40B4-BE49-F238E27FC236}">
                <a16:creationId xmlns:a16="http://schemas.microsoft.com/office/drawing/2014/main" id="{93F658E6-9952-1B7C-37C3-C092A38165E3}"/>
              </a:ext>
            </a:extLst>
          </p:cNvPr>
          <p:cNvSpPr txBox="1"/>
          <p:nvPr/>
        </p:nvSpPr>
        <p:spPr>
          <a:xfrm>
            <a:off x="6067923" y="4312365"/>
            <a:ext cx="4037702" cy="1631216"/>
          </a:xfrm>
          <a:prstGeom prst="rect">
            <a:avLst/>
          </a:prstGeom>
          <a:solidFill>
            <a:srgbClr val="D9E5F3"/>
          </a:solidFill>
        </p:spPr>
        <p:txBody>
          <a:bodyPr wrap="square" rtlCol="0">
            <a:sp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Primary endpoint</a:t>
            </a:r>
            <a:endParaRPr kumimoji="0" lang="en-US" sz="2000" b="1" i="0" u="none" strike="noStrike" kern="1200" cap="none" spc="0" normalizeH="0" baseline="30000" noProof="0" dirty="0">
              <a:ln>
                <a:noFill/>
              </a:ln>
              <a:solidFill>
                <a:srgbClr val="000000"/>
              </a:solidFill>
              <a:effectLst/>
              <a:uLnTx/>
              <a:uFillTx/>
              <a:latin typeface="Calibri" panose="020F0502020204030204"/>
              <a:ea typeface="ＭＳ Ｐゴシック" charset="0"/>
              <a:cs typeface="+mn-cs"/>
            </a:endParaRP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ORR per Investigator</a:t>
            </a:r>
            <a:endParaRPr kumimoji="0" lang="en-US" sz="2000"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endParaRP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Secondary endpoints</a:t>
            </a:r>
            <a:endParaRPr kumimoji="0" lang="en-US" sz="2000" b="1" i="0" u="none" strike="noStrike" kern="1200" cap="none" spc="0" normalizeH="0" baseline="30000" noProof="0" dirty="0">
              <a:ln>
                <a:noFill/>
              </a:ln>
              <a:solidFill>
                <a:srgbClr val="000000"/>
              </a:solidFill>
              <a:effectLst/>
              <a:uLnTx/>
              <a:uFillTx/>
              <a:latin typeface="Calibri" panose="020F0502020204030204"/>
              <a:ea typeface="ＭＳ Ｐゴシック" charset="0"/>
              <a:cs typeface="+mn-cs"/>
            </a:endParaRP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DOR, PFS, OS, CA-125 response by GCIG criteria, safety</a:t>
            </a:r>
          </a:p>
        </p:txBody>
      </p:sp>
      <p:cxnSp>
        <p:nvCxnSpPr>
          <p:cNvPr id="25" name="Straight Arrow Connector 24">
            <a:extLst>
              <a:ext uri="{FF2B5EF4-FFF2-40B4-BE49-F238E27FC236}">
                <a16:creationId xmlns:a16="http://schemas.microsoft.com/office/drawing/2014/main" id="{CE077ADC-A045-2FCB-DD7C-ED6F90021BB4}"/>
              </a:ext>
            </a:extLst>
          </p:cNvPr>
          <p:cNvCxnSpPr>
            <a:cxnSpLocks/>
          </p:cNvCxnSpPr>
          <p:nvPr/>
        </p:nvCxnSpPr>
        <p:spPr>
          <a:xfrm flipV="1">
            <a:off x="5721889" y="2991067"/>
            <a:ext cx="692068" cy="1539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38805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F95CFE-A818-75D2-3DF2-EAF80111012B}"/>
            </a:ext>
          </a:extLst>
        </p:cNvPr>
        <p:cNvGrpSpPr/>
        <p:nvPr/>
      </p:nvGrpSpPr>
      <p:grpSpPr>
        <a:xfrm>
          <a:off x="0" y="0"/>
          <a:ext cx="0" cy="0"/>
          <a:chOff x="0" y="0"/>
          <a:chExt cx="0" cy="0"/>
        </a:xfrm>
      </p:grpSpPr>
      <p:sp>
        <p:nvSpPr>
          <p:cNvPr id="13" name="Text Placeholder 12">
            <a:extLst>
              <a:ext uri="{FF2B5EF4-FFF2-40B4-BE49-F238E27FC236}">
                <a16:creationId xmlns:a16="http://schemas.microsoft.com/office/drawing/2014/main" id="{39603EBC-75F7-8189-7CD9-DB0B3B14ED2C}"/>
              </a:ext>
            </a:extLst>
          </p:cNvPr>
          <p:cNvSpPr>
            <a:spLocks noGrp="1"/>
          </p:cNvSpPr>
          <p:nvPr>
            <p:ph type="body" sz="quarter" idx="4294967295"/>
          </p:nvPr>
        </p:nvSpPr>
        <p:spPr>
          <a:xfrm>
            <a:off x="480557" y="6439693"/>
            <a:ext cx="7575550" cy="630237"/>
          </a:xfrm>
        </p:spPr>
        <p:txBody>
          <a:bodyPr>
            <a:noAutofit/>
          </a:bodyPr>
          <a:lstStyle/>
          <a:p>
            <a:pPr defTabSz="914377">
              <a:buClr>
                <a:srgbClr val="48A1A0"/>
              </a:buClr>
              <a:defRPr/>
            </a:pPr>
            <a:r>
              <a:rPr lang="en-US" sz="1400" dirty="0">
                <a:solidFill>
                  <a:schemeClr val="tx2"/>
                </a:solidFill>
              </a:rPr>
              <a:t>Moore KN et al. </a:t>
            </a:r>
            <a:r>
              <a:rPr lang="en-US" sz="1400" i="1" dirty="0">
                <a:solidFill>
                  <a:schemeClr val="tx2"/>
                </a:solidFill>
              </a:rPr>
              <a:t>Cancer</a:t>
            </a:r>
            <a:r>
              <a:rPr lang="en-US" sz="1400" dirty="0">
                <a:solidFill>
                  <a:schemeClr val="tx2"/>
                </a:solidFill>
              </a:rPr>
              <a:t>. 2017; Matulonis UA et al. </a:t>
            </a:r>
            <a:r>
              <a:rPr lang="en-US" sz="1400" i="1" dirty="0">
                <a:solidFill>
                  <a:schemeClr val="tx2"/>
                </a:solidFill>
              </a:rPr>
              <a:t>J Clin Oncol</a:t>
            </a:r>
            <a:r>
              <a:rPr lang="en-US" sz="1400" dirty="0">
                <a:solidFill>
                  <a:schemeClr val="tx2"/>
                </a:solidFill>
              </a:rPr>
              <a:t>. 2023</a:t>
            </a:r>
          </a:p>
        </p:txBody>
      </p:sp>
      <p:pic>
        <p:nvPicPr>
          <p:cNvPr id="10" name="Picture 9">
            <a:extLst>
              <a:ext uri="{FF2B5EF4-FFF2-40B4-BE49-F238E27FC236}">
                <a16:creationId xmlns:a16="http://schemas.microsoft.com/office/drawing/2014/main" id="{66E9698B-6AFD-F636-BE6C-6AB78DBB72B7}"/>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a:ext>
            </a:extLst>
          </a:blip>
          <a:srcRect l="4493" r="3503"/>
          <a:stretch>
            <a:fillRect/>
          </a:stretch>
        </p:blipFill>
        <p:spPr>
          <a:xfrm>
            <a:off x="1282122" y="1472042"/>
            <a:ext cx="9627756" cy="4128658"/>
          </a:xfrm>
          <a:prstGeom prst="rect">
            <a:avLst/>
          </a:prstGeom>
        </p:spPr>
      </p:pic>
      <p:sp>
        <p:nvSpPr>
          <p:cNvPr id="8" name="Title 10">
            <a:extLst>
              <a:ext uri="{FF2B5EF4-FFF2-40B4-BE49-F238E27FC236}">
                <a16:creationId xmlns:a16="http://schemas.microsoft.com/office/drawing/2014/main" id="{D6C1FF3A-F4A3-8D3D-670B-4914D4D3D1F7}"/>
              </a:ext>
            </a:extLst>
          </p:cNvPr>
          <p:cNvSpPr txBox="1">
            <a:spLocks/>
          </p:cNvSpPr>
          <p:nvPr/>
        </p:nvSpPr>
        <p:spPr bwMode="auto">
          <a:xfrm>
            <a:off x="441325" y="103188"/>
            <a:ext cx="11474450" cy="1036637"/>
          </a:xfrm>
          <a:prstGeom prst="rect">
            <a:avLst/>
          </a:prstGeom>
          <a:noFill/>
          <a:ln w="9525">
            <a:noFill/>
            <a:miter lim="800000"/>
            <a:headEnd/>
            <a:tailEnd/>
          </a:ln>
        </p:spPr>
        <p:txBody>
          <a:bodyPr vert="horz" wrap="square" lIns="68580" tIns="34290" rIns="68580" bIns="34290" numCol="1" anchor="t" anchorCtr="0" compatLnSpc="1">
            <a:prstTxWarp prst="textNoShape">
              <a:avLst/>
            </a:prstTxWarp>
            <a:noAutofit/>
          </a:bodyPr>
          <a:lstStyle>
            <a:lvl1pPr algn="l" rtl="0" eaLnBrk="1" fontAlgn="base" hangingPunct="1">
              <a:spcBef>
                <a:spcPct val="0"/>
              </a:spcBef>
              <a:spcAft>
                <a:spcPct val="0"/>
              </a:spcAft>
              <a:defRPr sz="2667" b="1">
                <a:solidFill>
                  <a:schemeClr val="accent3"/>
                </a:solidFill>
                <a:latin typeface="+mj-lt"/>
                <a:ea typeface="+mj-ea"/>
                <a:cs typeface="+mj-cs"/>
              </a:defRPr>
            </a:lvl1pPr>
            <a:lvl2pPr algn="l" rtl="0" eaLnBrk="1" fontAlgn="base" hangingPunct="1">
              <a:spcBef>
                <a:spcPct val="0"/>
              </a:spcBef>
              <a:spcAft>
                <a:spcPct val="0"/>
              </a:spcAft>
              <a:defRPr sz="2800" b="1">
                <a:solidFill>
                  <a:schemeClr val="tx2"/>
                </a:solidFill>
                <a:latin typeface="Arial" charset="0"/>
              </a:defRPr>
            </a:lvl2pPr>
            <a:lvl3pPr algn="l" rtl="0" eaLnBrk="1" fontAlgn="base" hangingPunct="1">
              <a:spcBef>
                <a:spcPct val="0"/>
              </a:spcBef>
              <a:spcAft>
                <a:spcPct val="0"/>
              </a:spcAft>
              <a:defRPr sz="2800" b="1">
                <a:solidFill>
                  <a:schemeClr val="tx2"/>
                </a:solidFill>
                <a:latin typeface="Arial" charset="0"/>
              </a:defRPr>
            </a:lvl3pPr>
            <a:lvl4pPr algn="l" rtl="0" eaLnBrk="1" fontAlgn="base" hangingPunct="1">
              <a:spcBef>
                <a:spcPct val="0"/>
              </a:spcBef>
              <a:spcAft>
                <a:spcPct val="0"/>
              </a:spcAft>
              <a:defRPr sz="2800" b="1">
                <a:solidFill>
                  <a:schemeClr val="tx2"/>
                </a:solidFill>
                <a:latin typeface="Arial" charset="0"/>
              </a:defRPr>
            </a:lvl4pPr>
            <a:lvl5pPr algn="l" rtl="0" eaLnBrk="1" fontAlgn="base" hangingPunct="1">
              <a:spcBef>
                <a:spcPct val="0"/>
              </a:spcBef>
              <a:spcAft>
                <a:spcPct val="0"/>
              </a:spcAft>
              <a:defRPr sz="2800" b="1">
                <a:solidFill>
                  <a:schemeClr val="tx2"/>
                </a:solidFill>
                <a:latin typeface="Arial" charset="0"/>
              </a:defRPr>
            </a:lvl5pPr>
            <a:lvl6pPr marL="457189" algn="l" rtl="0" eaLnBrk="1" fontAlgn="base" hangingPunct="1">
              <a:spcBef>
                <a:spcPct val="0"/>
              </a:spcBef>
              <a:spcAft>
                <a:spcPct val="0"/>
              </a:spcAft>
              <a:defRPr sz="2800" b="1">
                <a:solidFill>
                  <a:schemeClr val="tx2"/>
                </a:solidFill>
                <a:latin typeface="Arial" charset="0"/>
              </a:defRPr>
            </a:lvl6pPr>
            <a:lvl7pPr marL="914377" algn="l" rtl="0" eaLnBrk="1" fontAlgn="base" hangingPunct="1">
              <a:spcBef>
                <a:spcPct val="0"/>
              </a:spcBef>
              <a:spcAft>
                <a:spcPct val="0"/>
              </a:spcAft>
              <a:defRPr sz="2800" b="1">
                <a:solidFill>
                  <a:schemeClr val="tx2"/>
                </a:solidFill>
                <a:latin typeface="Arial" charset="0"/>
              </a:defRPr>
            </a:lvl7pPr>
            <a:lvl8pPr marL="1371566" algn="l" rtl="0" eaLnBrk="1" fontAlgn="base" hangingPunct="1">
              <a:spcBef>
                <a:spcPct val="0"/>
              </a:spcBef>
              <a:spcAft>
                <a:spcPct val="0"/>
              </a:spcAft>
              <a:defRPr sz="2800" b="1">
                <a:solidFill>
                  <a:schemeClr val="tx2"/>
                </a:solidFill>
                <a:latin typeface="Arial" charset="0"/>
              </a:defRPr>
            </a:lvl8pPr>
            <a:lvl9pPr marL="1828754" algn="l" rtl="0" eaLnBrk="1" fontAlgn="base" hangingPunct="1">
              <a:spcBef>
                <a:spcPct val="0"/>
              </a:spcBef>
              <a:spcAft>
                <a:spcPct val="0"/>
              </a:spcAft>
              <a:defRPr sz="2800" b="1">
                <a:solidFill>
                  <a:schemeClr val="tx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0" cap="none" spc="0" normalizeH="0" baseline="0" noProof="0" dirty="0" err="1">
                <a:ln>
                  <a:noFill/>
                </a:ln>
                <a:solidFill>
                  <a:srgbClr val="000000"/>
                </a:solidFill>
                <a:effectLst/>
                <a:uLnTx/>
                <a:uFillTx/>
                <a:latin typeface="Arial"/>
                <a:ea typeface="+mj-ea"/>
                <a:cs typeface="+mj-cs"/>
              </a:rPr>
              <a:t>Mirvetuximab</a:t>
            </a:r>
            <a:r>
              <a:rPr kumimoji="0" lang="en-US" sz="3200" b="1" i="0" u="none" strike="noStrike" kern="0" cap="none" spc="0" normalizeH="0" baseline="0" noProof="0" dirty="0">
                <a:ln>
                  <a:noFill/>
                </a:ln>
                <a:solidFill>
                  <a:srgbClr val="000000"/>
                </a:solidFill>
                <a:effectLst/>
                <a:uLnTx/>
                <a:uFillTx/>
                <a:latin typeface="Arial"/>
                <a:ea typeface="+mj-ea"/>
                <a:cs typeface="+mj-cs"/>
              </a:rPr>
              <a:t> </a:t>
            </a:r>
            <a:r>
              <a:rPr kumimoji="0" lang="en-US" sz="3200" b="1" i="0" u="none" strike="noStrike" kern="0" cap="none" spc="0" normalizeH="0" baseline="0" noProof="0" dirty="0" err="1">
                <a:ln>
                  <a:noFill/>
                </a:ln>
                <a:solidFill>
                  <a:srgbClr val="000000"/>
                </a:solidFill>
                <a:effectLst/>
                <a:uLnTx/>
                <a:uFillTx/>
                <a:latin typeface="Arial"/>
                <a:ea typeface="+mj-ea"/>
                <a:cs typeface="+mj-cs"/>
              </a:rPr>
              <a:t>soravtansine</a:t>
            </a:r>
            <a:r>
              <a:rPr kumimoji="0" lang="en-US" sz="3200" b="1" i="0" u="none" strike="noStrike" kern="0" cap="none" spc="0" normalizeH="0" baseline="0" noProof="0" dirty="0">
                <a:ln>
                  <a:noFill/>
                </a:ln>
                <a:solidFill>
                  <a:srgbClr val="000000"/>
                </a:solidFill>
                <a:effectLst/>
                <a:uLnTx/>
                <a:uFillTx/>
                <a:latin typeface="Arial"/>
                <a:ea typeface="+mj-ea"/>
                <a:cs typeface="+mj-cs"/>
              </a:rPr>
              <a:t>: SORAYA trial (NCT04296890)</a:t>
            </a:r>
          </a:p>
        </p:txBody>
      </p:sp>
      <p:sp>
        <p:nvSpPr>
          <p:cNvPr id="9" name="TextBox 8">
            <a:extLst>
              <a:ext uri="{FF2B5EF4-FFF2-40B4-BE49-F238E27FC236}">
                <a16:creationId xmlns:a16="http://schemas.microsoft.com/office/drawing/2014/main" id="{64247519-6FC2-6B7F-8C10-EB3DE56E6907}"/>
              </a:ext>
            </a:extLst>
          </p:cNvPr>
          <p:cNvSpPr txBox="1"/>
          <p:nvPr/>
        </p:nvSpPr>
        <p:spPr>
          <a:xfrm>
            <a:off x="2500605" y="1978818"/>
            <a:ext cx="2332652" cy="523220"/>
          </a:xfrm>
          <a:prstGeom prst="rect">
            <a:avLst/>
          </a:prstGeom>
          <a:solidFill>
            <a:schemeClr val="bg2"/>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32.4%</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Arial" charset="0"/>
                <a:ea typeface="ＭＳ Ｐゴシック" charset="0"/>
                <a:cs typeface="+mn-cs"/>
              </a:rPr>
              <a:t>(23.6 to 42.2)</a:t>
            </a:r>
          </a:p>
        </p:txBody>
      </p:sp>
      <p:sp>
        <p:nvSpPr>
          <p:cNvPr id="12" name="TextBox 11">
            <a:extLst>
              <a:ext uri="{FF2B5EF4-FFF2-40B4-BE49-F238E27FC236}">
                <a16:creationId xmlns:a16="http://schemas.microsoft.com/office/drawing/2014/main" id="{A02F723D-7DF5-1D7A-C3DB-B4B4D9F64E2C}"/>
              </a:ext>
            </a:extLst>
          </p:cNvPr>
          <p:cNvSpPr txBox="1"/>
          <p:nvPr/>
        </p:nvSpPr>
        <p:spPr>
          <a:xfrm>
            <a:off x="2881871" y="5204667"/>
            <a:ext cx="1570120" cy="369332"/>
          </a:xfrm>
          <a:prstGeom prst="rect">
            <a:avLst/>
          </a:prstGeom>
          <a:solidFill>
            <a:schemeClr val="bg2"/>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N=105</a:t>
            </a:r>
            <a:endParaRPr kumimoji="0" lang="en-US" sz="1800" b="1" i="1"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custDataLst>
      <p:tags r:id="rId1"/>
    </p:custDataLst>
    <p:extLst>
      <p:ext uri="{BB962C8B-B14F-4D97-AF65-F5344CB8AC3E}">
        <p14:creationId xmlns:p14="http://schemas.microsoft.com/office/powerpoint/2010/main" val="2334127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35F6897-B73F-D7F3-D07F-977C09A3A7DE}"/>
              </a:ext>
            </a:extLst>
          </p:cNvPr>
          <p:cNvSpPr>
            <a:spLocks noGrp="1"/>
          </p:cNvSpPr>
          <p:nvPr>
            <p:ph type="ftr" sz="quarter" idx="11"/>
          </p:nvPr>
        </p:nvSpPr>
        <p:spPr>
          <a:xfrm>
            <a:off x="185710" y="6459349"/>
            <a:ext cx="9772255" cy="366183"/>
          </a:xfrm>
        </p:spPr>
        <p:txBody>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br>
              <a:rPr kumimoji="0" lang="en-US" sz="1067" b="0" i="0" u="none" strike="noStrike" kern="0" cap="none" spc="0" normalizeH="0" baseline="0" noProof="0" dirty="0">
                <a:ln>
                  <a:noFill/>
                </a:ln>
                <a:solidFill>
                  <a:srgbClr val="000000"/>
                </a:solidFill>
                <a:effectLst/>
                <a:uLnTx/>
                <a:uFillTx/>
                <a:latin typeface="Arial"/>
                <a:ea typeface="ＭＳ Ｐゴシック" charset="0"/>
                <a:cs typeface="Arial"/>
                <a:sym typeface="Arial"/>
              </a:rPr>
            </a:br>
            <a:r>
              <a:rPr kumimoji="0" lang="en-US" sz="1600" b="1" i="0" u="none" strike="noStrike" kern="0" cap="none" spc="0" normalizeH="0" baseline="0" noProof="0" dirty="0">
                <a:ln>
                  <a:noFill/>
                </a:ln>
                <a:solidFill>
                  <a:srgbClr val="000000"/>
                </a:solidFill>
                <a:effectLst/>
                <a:uLnTx/>
                <a:uFillTx/>
                <a:latin typeface="Arial"/>
                <a:ea typeface="ＭＳ Ｐゴシック" charset="0"/>
                <a:cs typeface="Arial"/>
                <a:sym typeface="Arial"/>
              </a:rPr>
              <a:t>Moore KN, et al. ​N Engl J Med. 2023;389(23):2162-2174</a:t>
            </a:r>
          </a:p>
        </p:txBody>
      </p:sp>
      <p:sp>
        <p:nvSpPr>
          <p:cNvPr id="2" name="Title 1">
            <a:extLst>
              <a:ext uri="{FF2B5EF4-FFF2-40B4-BE49-F238E27FC236}">
                <a16:creationId xmlns:a16="http://schemas.microsoft.com/office/drawing/2014/main" id="{6D1BB20E-0C4C-A95D-DAFD-43D3B246EA87}"/>
              </a:ext>
            </a:extLst>
          </p:cNvPr>
          <p:cNvSpPr>
            <a:spLocks noGrp="1"/>
          </p:cNvSpPr>
          <p:nvPr>
            <p:ph type="title" idx="4294967295"/>
          </p:nvPr>
        </p:nvSpPr>
        <p:spPr>
          <a:xfrm>
            <a:off x="593765" y="320943"/>
            <a:ext cx="11109285" cy="987425"/>
          </a:xfrm>
        </p:spPr>
        <p:txBody>
          <a:bodyPr/>
          <a:lstStyle/>
          <a:p>
            <a:r>
              <a:rPr lang="en-GB" sz="3200" b="1" dirty="0">
                <a:solidFill>
                  <a:schemeClr val="tx1"/>
                </a:solidFill>
                <a:latin typeface="Calibri" panose="020F0502020204030204" pitchFamily="34" charset="0"/>
                <a:cs typeface="Calibri" panose="020F0502020204030204" pitchFamily="34" charset="0"/>
              </a:rPr>
              <a:t>MIRASOL (</a:t>
            </a:r>
            <a:r>
              <a:rPr lang="en-US" sz="3200" b="1" dirty="0">
                <a:solidFill>
                  <a:schemeClr val="tx1"/>
                </a:solidFill>
                <a:latin typeface="Calibri" panose="020F0502020204030204" pitchFamily="34" charset="0"/>
                <a:cs typeface="Calibri" panose="020F0502020204030204" pitchFamily="34" charset="0"/>
              </a:rPr>
              <a:t>NCT04209855): </a:t>
            </a:r>
            <a:r>
              <a:rPr lang="en-US" sz="3200" dirty="0">
                <a:solidFill>
                  <a:schemeClr val="tx1"/>
                </a:solidFill>
                <a:latin typeface="Calibri" panose="020F0502020204030204" pitchFamily="34" charset="0"/>
                <a:cs typeface="Calibri" panose="020F0502020204030204" pitchFamily="34" charset="0"/>
              </a:rPr>
              <a:t>R</a:t>
            </a:r>
            <a:r>
              <a:rPr lang="en-US" sz="3200" b="1" dirty="0">
                <a:solidFill>
                  <a:schemeClr val="tx1"/>
                </a:solidFill>
                <a:latin typeface="Calibri" panose="020F0502020204030204" pitchFamily="34" charset="0"/>
                <a:cs typeface="Calibri" panose="020F0502020204030204" pitchFamily="34" charset="0"/>
              </a:rPr>
              <a:t>andomized, phase 3 study of MIRV vs chemotherapy in FRα-high </a:t>
            </a:r>
            <a:r>
              <a:rPr lang="en-US" sz="3200" dirty="0">
                <a:solidFill>
                  <a:schemeClr val="tx1"/>
                </a:solidFill>
                <a:latin typeface="Calibri" panose="020F0502020204030204" pitchFamily="34" charset="0"/>
                <a:cs typeface="Calibri" panose="020F0502020204030204" pitchFamily="34" charset="0"/>
              </a:rPr>
              <a:t>Platinum–Resistant Ovarian Cancer </a:t>
            </a:r>
            <a:endParaRPr lang="en-GB" sz="3200" b="1" dirty="0">
              <a:solidFill>
                <a:schemeClr val="tx1"/>
              </a:solidFill>
              <a:latin typeface="Calibri" panose="020F0502020204030204" pitchFamily="34" charset="0"/>
              <a:cs typeface="Calibri" panose="020F0502020204030204" pitchFamily="34" charset="0"/>
            </a:endParaRPr>
          </a:p>
        </p:txBody>
      </p:sp>
      <p:sp>
        <p:nvSpPr>
          <p:cNvPr id="6" name="Rounded Rectangle 11">
            <a:extLst>
              <a:ext uri="{FF2B5EF4-FFF2-40B4-BE49-F238E27FC236}">
                <a16:creationId xmlns:a16="http://schemas.microsoft.com/office/drawing/2014/main" id="{F64175F2-D7BF-DD32-7B8F-E1701C69C829}"/>
              </a:ext>
            </a:extLst>
          </p:cNvPr>
          <p:cNvSpPr/>
          <p:nvPr/>
        </p:nvSpPr>
        <p:spPr>
          <a:xfrm>
            <a:off x="4423505" y="3189685"/>
            <a:ext cx="2361835" cy="924789"/>
          </a:xfrm>
          <a:prstGeom prst="rect">
            <a:avLst/>
          </a:prstGeom>
          <a:solidFill>
            <a:srgbClr val="0B6C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90000"/>
              </a:lnSpc>
              <a:spcBef>
                <a:spcPts val="0"/>
              </a:spcBef>
              <a:spcAft>
                <a:spcPts val="0"/>
              </a:spcAft>
              <a:buClr>
                <a:srgbClr val="FF585D"/>
              </a:buClr>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sym typeface="Arial"/>
              </a:rPr>
              <a:t>IC Chemotherapy</a:t>
            </a:r>
            <a:endParaRPr kumimoji="0" lang="en-US" sz="1400" b="1" i="0" u="none" strike="noStrike" kern="1200" cap="none" spc="0" normalizeH="0" baseline="0" noProof="0" dirty="0">
              <a:ln>
                <a:noFill/>
              </a:ln>
              <a:solidFill>
                <a:srgbClr val="FFFFFF"/>
              </a:solidFill>
              <a:effectLst/>
              <a:uLnTx/>
              <a:uFillTx/>
              <a:latin typeface="Arial"/>
              <a:ea typeface="+mn-ea"/>
              <a:cs typeface="+mn-cs"/>
              <a:sym typeface="Arial"/>
            </a:endParaRPr>
          </a:p>
          <a:p>
            <a:pPr marL="0" marR="0" lvl="0" indent="0" algn="ctr" defTabSz="685783" rtl="0" eaLnBrk="1" fontAlgn="auto" latinLnBrk="0" hangingPunct="1">
              <a:lnSpc>
                <a:spcPct val="90000"/>
              </a:lnSpc>
              <a:spcBef>
                <a:spcPts val="0"/>
              </a:spcBef>
              <a:spcAft>
                <a:spcPts val="0"/>
              </a:spcAft>
              <a:buClr>
                <a:srgbClr val="FF585D"/>
              </a:buClr>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sym typeface="Arial"/>
              </a:rPr>
              <a:t>Paclitaxel, PLD, or topotecan</a:t>
            </a:r>
          </a:p>
        </p:txBody>
      </p:sp>
      <p:sp>
        <p:nvSpPr>
          <p:cNvPr id="17" name="TextBox 16">
            <a:extLst>
              <a:ext uri="{FF2B5EF4-FFF2-40B4-BE49-F238E27FC236}">
                <a16:creationId xmlns:a16="http://schemas.microsoft.com/office/drawing/2014/main" id="{ED47A105-A993-ACA7-1A1F-DB49E0796801}"/>
              </a:ext>
            </a:extLst>
          </p:cNvPr>
          <p:cNvSpPr txBox="1"/>
          <p:nvPr/>
        </p:nvSpPr>
        <p:spPr>
          <a:xfrm>
            <a:off x="3224070" y="4276825"/>
            <a:ext cx="3561271" cy="777019"/>
          </a:xfrm>
          <a:prstGeom prst="rect">
            <a:avLst/>
          </a:prstGeom>
          <a:solidFill>
            <a:schemeClr val="bg1">
              <a:lumMod val="95000"/>
            </a:schemeClr>
          </a:solidFill>
        </p:spPr>
        <p:txBody>
          <a:bodyPr wrap="square" rtlCol="0">
            <a:noAutofit/>
          </a:bodyPr>
          <a:lstStyle/>
          <a:p>
            <a:pPr marL="0" marR="0" lvl="0" indent="0" algn="l" defTabSz="685734" rtl="0" eaLnBrk="1" fontAlgn="base" latinLnBrk="0" hangingPunct="1">
              <a:lnSpc>
                <a:spcPct val="100000"/>
              </a:lnSpc>
              <a:spcBef>
                <a:spcPts val="0"/>
              </a:spcBef>
              <a:spcAft>
                <a:spcPts val="0"/>
              </a:spcAft>
              <a:buClr>
                <a:srgbClr val="FFFFFF"/>
              </a:buClr>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ＭＳ Ｐゴシック" charset="0"/>
                <a:cs typeface="Arial"/>
                <a:sym typeface="Arial"/>
              </a:rPr>
              <a:t>Stratification:</a:t>
            </a:r>
          </a:p>
          <a:p>
            <a:pPr marL="171446" marR="0" lvl="0" indent="-171446" algn="l" defTabSz="685734" rtl="0" eaLnBrk="1" fontAlgn="base"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ＭＳ Ｐゴシック" charset="0"/>
                <a:cs typeface="Arial"/>
                <a:sym typeface="Arial"/>
              </a:rPr>
              <a:t>IC chemotherapy: paclitaxel, PLD, or topotecan</a:t>
            </a:r>
          </a:p>
          <a:p>
            <a:pPr marL="171446" marR="0" lvl="0" indent="-171446" algn="l" defTabSz="685734" rtl="0" eaLnBrk="1" fontAlgn="base" latinLnBrk="0" hangingPunct="1">
              <a:lnSpc>
                <a:spcPct val="100000"/>
              </a:lnSpc>
              <a:spcBef>
                <a:spcPct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ＭＳ Ｐゴシック" charset="0"/>
                <a:cs typeface="Arial"/>
                <a:sym typeface="Arial"/>
              </a:rPr>
              <a:t>Prior lines of therapy: 1 vs 2 vs 3</a:t>
            </a:r>
          </a:p>
        </p:txBody>
      </p:sp>
      <p:cxnSp>
        <p:nvCxnSpPr>
          <p:cNvPr id="18" name="Straight Connector 17">
            <a:extLst>
              <a:ext uri="{FF2B5EF4-FFF2-40B4-BE49-F238E27FC236}">
                <a16:creationId xmlns:a16="http://schemas.microsoft.com/office/drawing/2014/main" id="{28F38868-9E0C-84C1-503D-5CBC39042741}"/>
              </a:ext>
            </a:extLst>
          </p:cNvPr>
          <p:cNvCxnSpPr>
            <a:cxnSpLocks/>
          </p:cNvCxnSpPr>
          <p:nvPr/>
        </p:nvCxnSpPr>
        <p:spPr>
          <a:xfrm>
            <a:off x="4012436" y="3017790"/>
            <a:ext cx="11561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Left Bracket 18">
            <a:extLst>
              <a:ext uri="{FF2B5EF4-FFF2-40B4-BE49-F238E27FC236}">
                <a16:creationId xmlns:a16="http://schemas.microsoft.com/office/drawing/2014/main" id="{465842A2-ABAD-2748-3585-BA8F1415B90B}"/>
              </a:ext>
            </a:extLst>
          </p:cNvPr>
          <p:cNvSpPr/>
          <p:nvPr/>
        </p:nvSpPr>
        <p:spPr>
          <a:xfrm>
            <a:off x="4121662" y="2405170"/>
            <a:ext cx="301844" cy="1246909"/>
          </a:xfrm>
          <a:prstGeom prst="leftBracket">
            <a:avLst>
              <a:gd name="adj" fmla="val 0"/>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a:ea typeface="+mn-ea"/>
              <a:cs typeface="+mn-cs"/>
              <a:sym typeface="Arial"/>
            </a:endParaRPr>
          </a:p>
        </p:txBody>
      </p:sp>
      <p:pic>
        <p:nvPicPr>
          <p:cNvPr id="9" name="Graphic 8">
            <a:extLst>
              <a:ext uri="{FF2B5EF4-FFF2-40B4-BE49-F238E27FC236}">
                <a16:creationId xmlns:a16="http://schemas.microsoft.com/office/drawing/2014/main" id="{7FBDF5B7-82D0-FC8F-A260-D6CBC327894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021195" y="3789851"/>
            <a:ext cx="50643" cy="146307"/>
          </a:xfrm>
          <a:prstGeom prst="rect">
            <a:avLst/>
          </a:prstGeom>
        </p:spPr>
      </p:pic>
      <p:sp>
        <p:nvSpPr>
          <p:cNvPr id="10" name="Rounded Rectangle 31">
            <a:extLst>
              <a:ext uri="{FF2B5EF4-FFF2-40B4-BE49-F238E27FC236}">
                <a16:creationId xmlns:a16="http://schemas.microsoft.com/office/drawing/2014/main" id="{73DB9DCB-8B22-4E06-80CB-87A4EC9EFEBF}"/>
              </a:ext>
            </a:extLst>
          </p:cNvPr>
          <p:cNvSpPr/>
          <p:nvPr/>
        </p:nvSpPr>
        <p:spPr>
          <a:xfrm>
            <a:off x="982663" y="1969687"/>
            <a:ext cx="2142792" cy="32612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90000"/>
              </a:lnSpc>
              <a:spcBef>
                <a:spcPts val="0"/>
              </a:spcBef>
              <a:spcAft>
                <a:spcPts val="0"/>
              </a:spcAft>
              <a:buClr>
                <a:srgbClr val="FF585D"/>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sym typeface="Arial"/>
              </a:rPr>
              <a:t>Eligible patients:</a:t>
            </a:r>
          </a:p>
          <a:p>
            <a:pPr marL="171446" marR="0" lvl="0" indent="-171446" algn="l" defTabSz="914354" rtl="0" eaLnBrk="1" fontAlgn="auto" latinLnBrk="0" hangingPunct="1">
              <a:lnSpc>
                <a:spcPct val="9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PROC (PFI ≤6 mo)</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FR</a:t>
            </a:r>
            <a:r>
              <a:rPr kumimoji="0" lang="en-US" sz="1200" b="0" i="0" u="none" strike="noStrike" kern="1200" cap="none" spc="0" normalizeH="0" baseline="0" noProof="0" dirty="0">
                <a:ln>
                  <a:noFill/>
                </a:ln>
                <a:solidFill>
                  <a:srgbClr val="000000"/>
                </a:solidFill>
                <a:effectLst/>
                <a:uLnTx/>
                <a:uFillTx/>
                <a:latin typeface="Arial"/>
                <a:ea typeface="+mn-ea"/>
                <a:cs typeface="+mn-cs"/>
                <a:sym typeface="Symbol" panose="05050102010706020507" pitchFamily="18" charset="2"/>
              </a:rPr>
              <a:t></a:t>
            </a: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 detected by IHC with PS2+ among ≥75% of viable tumor cells</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High-grade serous histology</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1–3 prior lines of therapy</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Prior BEV and PARPi allowed</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Participants with </a:t>
            </a:r>
            <a:r>
              <a:rPr kumimoji="0" lang="en-US" sz="1200" b="0" i="1" u="none" strike="noStrike" kern="1200" cap="none" spc="0" normalizeH="0" baseline="0" noProof="0" dirty="0">
                <a:ln>
                  <a:noFill/>
                </a:ln>
                <a:solidFill>
                  <a:srgbClr val="000000"/>
                </a:solidFill>
                <a:effectLst/>
                <a:uLnTx/>
                <a:uFillTx/>
                <a:latin typeface="Arial"/>
                <a:ea typeface="+mn-ea"/>
                <a:cs typeface="+mn-cs"/>
                <a:sym typeface="Arial"/>
              </a:rPr>
              <a:t>BRCA</a:t>
            </a: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 mutations allowed</a:t>
            </a:r>
          </a:p>
          <a:p>
            <a:pPr marL="0" marR="0" lvl="0" indent="0" algn="l" defTabSz="914332" rtl="0" eaLnBrk="1" fontAlgn="base" latinLnBrk="0" hangingPunct="1">
              <a:lnSpc>
                <a:spcPct val="100000"/>
              </a:lnSpc>
              <a:spcBef>
                <a:spcPct val="0"/>
              </a:spcBef>
              <a:spcAft>
                <a:spcPts val="40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sym typeface="Arial"/>
              </a:rPr>
              <a:t>Excluded patients:</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1⁰ platinum-refractory disease (primary PFI &lt;3 mo)</a:t>
            </a:r>
          </a:p>
        </p:txBody>
      </p:sp>
      <p:sp>
        <p:nvSpPr>
          <p:cNvPr id="12" name="Rectangle 11">
            <a:extLst>
              <a:ext uri="{FF2B5EF4-FFF2-40B4-BE49-F238E27FC236}">
                <a16:creationId xmlns:a16="http://schemas.microsoft.com/office/drawing/2014/main" id="{CC6E4381-8668-0993-E0DB-77895C5963DC}"/>
              </a:ext>
            </a:extLst>
          </p:cNvPr>
          <p:cNvSpPr/>
          <p:nvPr/>
        </p:nvSpPr>
        <p:spPr>
          <a:xfrm>
            <a:off x="4413457" y="1960604"/>
            <a:ext cx="2371883" cy="901700"/>
          </a:xfrm>
          <a:prstGeom prst="rect">
            <a:avLst/>
          </a:prstGeom>
          <a:solidFill>
            <a:srgbClr val="FF5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90000"/>
              </a:lnSpc>
              <a:spcBef>
                <a:spcPts val="0"/>
              </a:spcBef>
              <a:spcAft>
                <a:spcPts val="0"/>
              </a:spcAft>
              <a:buClr>
                <a:srgbClr val="FF585D"/>
              </a:buClr>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sym typeface="Arial"/>
              </a:rPr>
              <a:t>MIRV</a:t>
            </a:r>
            <a:endParaRPr kumimoji="0" lang="en-US" sz="1400" b="1" i="0" u="none" strike="noStrike" kern="1200" cap="none" spc="0" normalizeH="0" baseline="0" noProof="0" dirty="0">
              <a:ln>
                <a:noFill/>
              </a:ln>
              <a:solidFill>
                <a:srgbClr val="FFFFFF"/>
              </a:solidFill>
              <a:effectLst/>
              <a:uLnTx/>
              <a:uFillTx/>
              <a:latin typeface="Arial"/>
              <a:ea typeface="+mn-ea"/>
              <a:cs typeface="+mn-cs"/>
              <a:sym typeface="Arial"/>
            </a:endParaRPr>
          </a:p>
          <a:p>
            <a:pPr marL="0" marR="0" lvl="0" indent="0" algn="ctr" defTabSz="685783" rtl="0" eaLnBrk="1" fontAlgn="auto" latinLnBrk="0" hangingPunct="1">
              <a:lnSpc>
                <a:spcPct val="90000"/>
              </a:lnSpc>
              <a:spcBef>
                <a:spcPts val="0"/>
              </a:spcBef>
              <a:spcAft>
                <a:spcPts val="0"/>
              </a:spcAft>
              <a:buClr>
                <a:srgbClr val="FF585D"/>
              </a:buClr>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sym typeface="Arial"/>
              </a:rPr>
              <a:t>6 mg/kg AIBW Q3W</a:t>
            </a:r>
          </a:p>
        </p:txBody>
      </p:sp>
      <p:sp>
        <p:nvSpPr>
          <p:cNvPr id="14" name="Rounded Rectangle 16">
            <a:extLst>
              <a:ext uri="{FF2B5EF4-FFF2-40B4-BE49-F238E27FC236}">
                <a16:creationId xmlns:a16="http://schemas.microsoft.com/office/drawing/2014/main" id="{8E50D10C-73B0-C717-AB65-81CBCF04B0BD}"/>
              </a:ext>
            </a:extLst>
          </p:cNvPr>
          <p:cNvSpPr/>
          <p:nvPr/>
        </p:nvSpPr>
        <p:spPr>
          <a:xfrm>
            <a:off x="6923849" y="1942874"/>
            <a:ext cx="2602115" cy="21716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numCol="1"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66"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Primary endpoint</a:t>
            </a:r>
            <a:r>
              <a:rPr kumimoji="0" lang="en-US" sz="1200" b="1" i="0" u="none" strike="noStrike" kern="1200" cap="none" spc="0" normalizeH="0" baseline="30000" noProof="0" dirty="0">
                <a:ln>
                  <a:noFill/>
                </a:ln>
                <a:solidFill>
                  <a:srgbClr val="000000"/>
                </a:solidFill>
                <a:effectLst/>
                <a:uLnTx/>
                <a:uFillTx/>
                <a:latin typeface="Arial"/>
                <a:ea typeface="Verdana" panose="020B0604030504040204" pitchFamily="34" charset="0"/>
                <a:cs typeface="+mn-cs"/>
                <a:sym typeface="Arial"/>
              </a:rPr>
              <a:t>a</a:t>
            </a:r>
            <a:r>
              <a:rPr kumimoji="0" lang="en-US" sz="1200" b="1"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endParaRPr>
          </a:p>
          <a:p>
            <a:pPr marL="171446" marR="0" lvl="0" indent="-171446" algn="l" defTabSz="685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PFS by INV</a:t>
            </a: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Arial"/>
                <a:sym typeface="Arial"/>
              </a:rPr>
              <a:t> </a:t>
            </a: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BICR sensitivity analysis)</a:t>
            </a:r>
          </a:p>
          <a:p>
            <a:pPr marL="0" marR="0" lvl="0" indent="0" algn="l" defTabSz="685766"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Select secondary endpoints:</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endParaRPr>
          </a:p>
          <a:p>
            <a:pPr marL="171446" marR="0" lvl="0" indent="-171446" algn="l" defTabSz="685766" rtl="0" eaLnBrk="1" fontAlgn="auto" latinLnBrk="0" hangingPunct="1">
              <a:lnSpc>
                <a:spcPct val="100000"/>
              </a:lnSpc>
              <a:spcBef>
                <a:spcPts val="0"/>
              </a:spcBef>
              <a:spcAft>
                <a:spcPts val="2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ORR by INV (BICR sensitivity analysis)</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Arial"/>
              <a:sym typeface="Arial"/>
            </a:endParaRPr>
          </a:p>
          <a:p>
            <a:pPr marL="171446" marR="0" lvl="0" indent="-171446" algn="l" defTabSz="685766" rtl="0" eaLnBrk="1" fontAlgn="auto" latinLnBrk="0" hangingPunct="1">
              <a:lnSpc>
                <a:spcPct val="100000"/>
              </a:lnSpc>
              <a:spcBef>
                <a:spcPts val="0"/>
              </a:spcBef>
              <a:spcAft>
                <a:spcPts val="2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OS OV28 abdominal/GI subscale</a:t>
            </a:r>
            <a:r>
              <a:rPr kumimoji="0" lang="en-US" sz="1200" b="0" i="0" u="none" strike="noStrike" kern="1200" cap="none" spc="0" normalizeH="0" baseline="30000" noProof="0" dirty="0">
                <a:ln>
                  <a:noFill/>
                </a:ln>
                <a:solidFill>
                  <a:srgbClr val="000000"/>
                </a:solidFill>
                <a:effectLst/>
                <a:uLnTx/>
                <a:uFillTx/>
                <a:latin typeface="Arial"/>
                <a:ea typeface="Verdana" panose="020B0604030504040204" pitchFamily="34" charset="0"/>
                <a:cs typeface="+mn-cs"/>
                <a:sym typeface="Arial"/>
              </a:rPr>
              <a:t>b</a:t>
            </a: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 </a:t>
            </a:r>
            <a:endParaRPr kumimoji="0" lang="en-US" sz="1200" b="1"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endParaRPr>
          </a:p>
          <a:p>
            <a:pPr marL="171446" marR="0" lvl="0" indent="-171446" algn="l" defTabSz="685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Safety and tolerability</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Arial"/>
              <a:sym typeface="Arial"/>
            </a:endParaRPr>
          </a:p>
          <a:p>
            <a:pPr marL="171446" marR="0" lvl="0" indent="-171446" algn="l" defTabSz="685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DOR</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Arial"/>
              <a:sym typeface="Arial"/>
            </a:endParaRPr>
          </a:p>
          <a:p>
            <a:pPr marL="171446" marR="0" lvl="0" indent="-171446" algn="l" defTabSz="685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CA-125 response</a:t>
            </a:r>
            <a:r>
              <a:rPr kumimoji="0" lang="en-US" sz="1200" b="0" i="0" u="none" strike="noStrike" kern="1200" cap="none" spc="0" normalizeH="0" baseline="30000" noProof="0" dirty="0">
                <a:ln>
                  <a:noFill/>
                </a:ln>
                <a:solidFill>
                  <a:srgbClr val="000000"/>
                </a:solidFill>
                <a:effectLst/>
                <a:uLnTx/>
                <a:uFillTx/>
                <a:latin typeface="Arial"/>
                <a:ea typeface="Verdana" panose="020B0604030504040204" pitchFamily="34" charset="0"/>
                <a:cs typeface="+mn-cs"/>
                <a:sym typeface="Arial"/>
              </a:rPr>
              <a:t>c</a:t>
            </a:r>
          </a:p>
          <a:p>
            <a:pPr marL="171446" marR="0" lvl="0" indent="-171446" algn="l" defTabSz="685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PFS2</a:t>
            </a:r>
          </a:p>
        </p:txBody>
      </p:sp>
      <p:sp>
        <p:nvSpPr>
          <p:cNvPr id="24" name="Rectangle 23">
            <a:extLst>
              <a:ext uri="{FF2B5EF4-FFF2-40B4-BE49-F238E27FC236}">
                <a16:creationId xmlns:a16="http://schemas.microsoft.com/office/drawing/2014/main" id="{81403ACF-0C54-E8A6-93FC-B8F3059E3C21}"/>
              </a:ext>
            </a:extLst>
          </p:cNvPr>
          <p:cNvSpPr/>
          <p:nvPr/>
        </p:nvSpPr>
        <p:spPr>
          <a:xfrm>
            <a:off x="3224070" y="2486714"/>
            <a:ext cx="788365" cy="1089064"/>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sym typeface="Arial"/>
              </a:rPr>
              <a:t>R</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sym typeface="Arial"/>
              </a:rPr>
              <a:t>1:1</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sym typeface="Arial"/>
              </a:rPr>
              <a:t>(N</a:t>
            </a:r>
            <a:r>
              <a:rPr kumimoji="0" lang="en-US" sz="1200" b="0" i="0" u="none" strike="noStrike" kern="1200" cap="none" spc="0" normalizeH="0" baseline="0" noProof="0" dirty="0">
                <a:ln>
                  <a:noFill/>
                </a:ln>
                <a:solidFill>
                  <a:srgbClr val="FFFFFF"/>
                </a:solidFill>
                <a:effectLst/>
                <a:uLnTx/>
                <a:uFillTx/>
                <a:latin typeface="Arial"/>
                <a:ea typeface="+mn-ea"/>
                <a:cs typeface="+mn-cs"/>
                <a:sym typeface="Arial"/>
              </a:rPr>
              <a:t>=453</a:t>
            </a:r>
            <a:r>
              <a:rPr kumimoji="0" lang="en-US" sz="1200" b="1" i="0" u="none" strike="noStrike" kern="1200" cap="none" spc="0" normalizeH="0" baseline="0" noProof="0" dirty="0">
                <a:ln>
                  <a:noFill/>
                </a:ln>
                <a:solidFill>
                  <a:srgbClr val="FFFFFF"/>
                </a:solidFill>
                <a:effectLst/>
                <a:uLnTx/>
                <a:uFillTx/>
                <a:latin typeface="Arial"/>
                <a:ea typeface="+mn-ea"/>
                <a:cs typeface="+mn-cs"/>
                <a:sym typeface="Symbol" panose="05050102010706020507" pitchFamily="18" charset="2"/>
              </a:rPr>
              <a:t>)</a:t>
            </a:r>
            <a:endParaRPr kumimoji="0" lang="en-US" sz="1200" b="1" i="0" u="none" strike="noStrike" kern="1200" cap="none" spc="0" normalizeH="0" baseline="0" noProof="0" dirty="0">
              <a:ln>
                <a:noFill/>
              </a:ln>
              <a:solidFill>
                <a:srgbClr val="FFFFFF"/>
              </a:solidFill>
              <a:effectLst/>
              <a:uLnTx/>
              <a:uFillTx/>
              <a:latin typeface="Arial"/>
              <a:ea typeface="+mn-ea"/>
              <a:cs typeface="+mn-cs"/>
              <a:sym typeface="Arial"/>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27" name="TextBox 26">
            <a:extLst>
              <a:ext uri="{FF2B5EF4-FFF2-40B4-BE49-F238E27FC236}">
                <a16:creationId xmlns:a16="http://schemas.microsoft.com/office/drawing/2014/main" id="{155CF9AD-2CFD-628B-0DCD-198FF577ACB1}"/>
              </a:ext>
            </a:extLst>
          </p:cNvPr>
          <p:cNvSpPr txBox="1"/>
          <p:nvPr/>
        </p:nvSpPr>
        <p:spPr>
          <a:xfrm>
            <a:off x="6923848" y="4260942"/>
            <a:ext cx="2306131" cy="792901"/>
          </a:xfrm>
          <a:prstGeom prst="rect">
            <a:avLst/>
          </a:prstGeom>
          <a:solidFill>
            <a:schemeClr val="bg1">
              <a:lumMod val="95000"/>
            </a:schemeClr>
          </a:solidFill>
        </p:spPr>
        <p:txBody>
          <a:bodyPr wrap="square" rtlCol="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ＭＳ Ｐゴシック" charset="0"/>
                <a:cs typeface="Arial"/>
                <a:sym typeface="Arial"/>
              </a:rPr>
              <a:t>ITT population:</a:t>
            </a:r>
          </a:p>
          <a:p>
            <a:pPr marL="285744" marR="0" lvl="0" indent="-28574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ＭＳ Ｐゴシック" charset="0"/>
                <a:cs typeface="Arial"/>
                <a:sym typeface="Arial"/>
              </a:rPr>
              <a:t>All r</a:t>
            </a:r>
            <a:r>
              <a:rPr kumimoji="0" lang="en-US" sz="1200" b="0" i="0" u="none" strike="noStrike" kern="1200" cap="none" spc="0" normalizeH="0" baseline="0" noProof="0" dirty="0">
                <a:ln>
                  <a:noFill/>
                </a:ln>
                <a:solidFill>
                  <a:srgbClr val="000000"/>
                </a:solidFill>
                <a:effectLst/>
                <a:uLnTx/>
                <a:uFillTx/>
                <a:latin typeface="Arial"/>
                <a:ea typeface="ＭＳ Ｐゴシック" charset="0"/>
                <a:cs typeface="Arial"/>
                <a:sym typeface="Arial"/>
              </a:rPr>
              <a:t>andomized patients, regardless of receipt of assigned treatment</a:t>
            </a:r>
          </a:p>
        </p:txBody>
      </p:sp>
      <p:sp>
        <p:nvSpPr>
          <p:cNvPr id="28" name="Rounded Rectangle 16">
            <a:extLst>
              <a:ext uri="{FF2B5EF4-FFF2-40B4-BE49-F238E27FC236}">
                <a16:creationId xmlns:a16="http://schemas.microsoft.com/office/drawing/2014/main" id="{4BA8FD15-13B1-54B9-D4A4-4569FC7D6C98}"/>
              </a:ext>
            </a:extLst>
          </p:cNvPr>
          <p:cNvSpPr/>
          <p:nvPr/>
        </p:nvSpPr>
        <p:spPr>
          <a:xfrm>
            <a:off x="9779369" y="1918892"/>
            <a:ext cx="2062595" cy="21716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numCol="1"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66"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Select exploratory:</a:t>
            </a:r>
          </a:p>
          <a:p>
            <a:pPr marL="171446" marR="0" lvl="0" indent="-171446" algn="l" defTabSz="685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Additional PRO assessments</a:t>
            </a:r>
            <a:r>
              <a:rPr kumimoji="0" lang="en-US" sz="1200" b="0" i="0" u="none" strike="noStrike" kern="1200" cap="none" spc="0" normalizeH="0" baseline="30000" noProof="0" dirty="0">
                <a:ln>
                  <a:noFill/>
                </a:ln>
                <a:solidFill>
                  <a:srgbClr val="000000"/>
                </a:solidFill>
                <a:effectLst/>
                <a:uLnTx/>
                <a:uFillTx/>
                <a:latin typeface="Arial"/>
                <a:ea typeface="Verdana" panose="020B0604030504040204" pitchFamily="34" charset="0"/>
                <a:cs typeface="+mn-cs"/>
                <a:sym typeface="Arial"/>
              </a:rPr>
              <a:t>d</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endParaRPr>
          </a:p>
        </p:txBody>
      </p:sp>
      <p:sp>
        <p:nvSpPr>
          <p:cNvPr id="29" name="TextBox 28">
            <a:extLst>
              <a:ext uri="{FF2B5EF4-FFF2-40B4-BE49-F238E27FC236}">
                <a16:creationId xmlns:a16="http://schemas.microsoft.com/office/drawing/2014/main" id="{B21FA698-AE5F-75BD-D3D9-473BCE00DBD0}"/>
              </a:ext>
            </a:extLst>
          </p:cNvPr>
          <p:cNvSpPr txBox="1"/>
          <p:nvPr/>
        </p:nvSpPr>
        <p:spPr>
          <a:xfrm>
            <a:off x="9396920" y="4256337"/>
            <a:ext cx="2306131" cy="792901"/>
          </a:xfrm>
          <a:prstGeom prst="rect">
            <a:avLst/>
          </a:prstGeom>
          <a:solidFill>
            <a:schemeClr val="bg1">
              <a:lumMod val="95000"/>
            </a:schemeClr>
          </a:solidFill>
        </p:spPr>
        <p:txBody>
          <a:bodyPr wrap="square" rtlCol="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ＭＳ Ｐゴシック" charset="0"/>
                <a:cs typeface="Arial"/>
                <a:sym typeface="Arial"/>
              </a:rPr>
              <a:t>Safety population:</a:t>
            </a:r>
          </a:p>
          <a:p>
            <a:pPr marL="171446" marR="0" lvl="0" indent="-171446"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charset="0"/>
                <a:cs typeface="Arial"/>
                <a:sym typeface="Arial"/>
              </a:rPr>
              <a:t>All randomized patients who received ≥1 dose of assigned treatment</a:t>
            </a:r>
          </a:p>
        </p:txBody>
      </p:sp>
      <p:pic>
        <p:nvPicPr>
          <p:cNvPr id="5" name="Picture 4">
            <a:extLst>
              <a:ext uri="{FF2B5EF4-FFF2-40B4-BE49-F238E27FC236}">
                <a16:creationId xmlns:a16="http://schemas.microsoft.com/office/drawing/2014/main" id="{79342FDC-A599-48B6-AE2E-A720D3056B20}"/>
              </a:ext>
            </a:extLst>
          </p:cNvPr>
          <p:cNvPicPr>
            <a:picLocks noChangeAspect="1"/>
          </p:cNvPicPr>
          <p:nvPr/>
        </p:nvPicPr>
        <p:blipFill>
          <a:blip r:embed="rId4"/>
          <a:srcRect l="1753" r="3446"/>
          <a:stretch/>
        </p:blipFill>
        <p:spPr>
          <a:xfrm>
            <a:off x="232475" y="1565010"/>
            <a:ext cx="11652166" cy="4394390"/>
          </a:xfrm>
          <a:prstGeom prst="rect">
            <a:avLst/>
          </a:prstGeom>
        </p:spPr>
      </p:pic>
      <p:sp>
        <p:nvSpPr>
          <p:cNvPr id="4" name="Rectangle 3">
            <a:extLst>
              <a:ext uri="{FF2B5EF4-FFF2-40B4-BE49-F238E27FC236}">
                <a16:creationId xmlns:a16="http://schemas.microsoft.com/office/drawing/2014/main" id="{B4F4DDDC-ED59-6826-282C-D3F263143DE6}"/>
              </a:ext>
            </a:extLst>
          </p:cNvPr>
          <p:cNvSpPr/>
          <p:nvPr/>
        </p:nvSpPr>
        <p:spPr bwMode="auto">
          <a:xfrm>
            <a:off x="4750755" y="3850105"/>
            <a:ext cx="165004" cy="240388"/>
          </a:xfrm>
          <a:prstGeom prst="rect">
            <a:avLst/>
          </a:prstGeom>
          <a:solidFill>
            <a:srgbClr val="0B6CA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18766864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8855E-7FD6-3D26-B599-A6FBFA6CB7A0}"/>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8A886494-0417-EF32-01F5-642D7426372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5792542" y="2859503"/>
            <a:ext cx="6229109" cy="3302398"/>
          </a:xfrm>
          <a:prstGeom prst="rect">
            <a:avLst/>
          </a:prstGeom>
        </p:spPr>
      </p:pic>
      <p:sp>
        <p:nvSpPr>
          <p:cNvPr id="5" name="Text Placeholder 4">
            <a:extLst>
              <a:ext uri="{FF2B5EF4-FFF2-40B4-BE49-F238E27FC236}">
                <a16:creationId xmlns:a16="http://schemas.microsoft.com/office/drawing/2014/main" id="{C4FDAB40-31D6-8360-EF04-27132646CB4C}"/>
              </a:ext>
            </a:extLst>
          </p:cNvPr>
          <p:cNvSpPr>
            <a:spLocks noGrp="1"/>
          </p:cNvSpPr>
          <p:nvPr>
            <p:ph type="body" sz="quarter" idx="4294967295"/>
          </p:nvPr>
        </p:nvSpPr>
        <p:spPr>
          <a:xfrm>
            <a:off x="213756" y="241300"/>
            <a:ext cx="8864600" cy="796925"/>
          </a:xfrm>
        </p:spPr>
        <p:txBody>
          <a:bodyPr>
            <a:normAutofit fontScale="92500"/>
          </a:bodyPr>
          <a:lstStyle/>
          <a:p>
            <a:pPr algn="l"/>
            <a:r>
              <a:rPr lang="en-US" sz="3600" dirty="0">
                <a:latin typeface="+mj-lt"/>
                <a:cs typeface="Calibri" panose="020F0502020204030204" pitchFamily="34" charset="0"/>
              </a:rPr>
              <a:t>Confirmation of Superiority – OS Benefit!!!!</a:t>
            </a:r>
          </a:p>
        </p:txBody>
      </p:sp>
      <p:sp>
        <p:nvSpPr>
          <p:cNvPr id="3" name="TextBox 2">
            <a:extLst>
              <a:ext uri="{FF2B5EF4-FFF2-40B4-BE49-F238E27FC236}">
                <a16:creationId xmlns:a16="http://schemas.microsoft.com/office/drawing/2014/main" id="{7A59A348-FF76-89EF-B4B4-DF2238D3DC58}"/>
              </a:ext>
            </a:extLst>
          </p:cNvPr>
          <p:cNvSpPr txBox="1"/>
          <p:nvPr/>
        </p:nvSpPr>
        <p:spPr>
          <a:xfrm>
            <a:off x="3472783" y="6529021"/>
            <a:ext cx="5246433" cy="338554"/>
          </a:xfrm>
          <a:prstGeom prst="rect">
            <a:avLst/>
          </a:prstGeom>
          <a:noFill/>
        </p:spPr>
        <p:txBody>
          <a:bodyPr wrap="square" rtlCol="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pPr marL="0" marR="0" lvl="1" indent="114300" algn="ctr" defTabSz="412750" rtl="0" eaLnBrk="1" fontAlgn="auto" latinLnBrk="0" hangingPunct="0">
              <a:lnSpc>
                <a:spcPct val="100000"/>
              </a:lnSpc>
              <a:spcBef>
                <a:spcPts val="0"/>
              </a:spcBef>
              <a:spcAft>
                <a:spcPts val="0"/>
              </a:spcAft>
              <a:buClrTx/>
              <a:buSzTx/>
              <a:buFontTx/>
              <a:buNone/>
              <a:tabLst/>
              <a:defRPr/>
            </a:pPr>
            <a:r>
              <a:rPr kumimoji="0" lang="da-DK" sz="1600" b="1" i="1" u="none" strike="noStrike" kern="120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Moore et al. ASCO 2023; Moore et al. NEJM 2023</a:t>
            </a:r>
          </a:p>
        </p:txBody>
      </p:sp>
      <p:pic>
        <p:nvPicPr>
          <p:cNvPr id="2" name="Picture 1">
            <a:extLst>
              <a:ext uri="{FF2B5EF4-FFF2-40B4-BE49-F238E27FC236}">
                <a16:creationId xmlns:a16="http://schemas.microsoft.com/office/drawing/2014/main" id="{AC8ACF6B-1571-5E9A-719B-2A6CAE4CD734}"/>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347063" y="2735596"/>
            <a:ext cx="5113126" cy="3555861"/>
          </a:xfrm>
          <a:prstGeom prst="rect">
            <a:avLst/>
          </a:prstGeom>
        </p:spPr>
      </p:pic>
      <p:pic>
        <p:nvPicPr>
          <p:cNvPr id="9" name="Picture 8">
            <a:extLst>
              <a:ext uri="{FF2B5EF4-FFF2-40B4-BE49-F238E27FC236}">
                <a16:creationId xmlns:a16="http://schemas.microsoft.com/office/drawing/2014/main" id="{4081983E-6BF1-C911-4AD6-F0F17ABDCB5E}"/>
              </a:ext>
            </a:extLst>
          </p:cNvPr>
          <p:cNvPicPr>
            <a:picLocks noChangeAspect="1"/>
          </p:cNvPicPr>
          <p:nvPr/>
        </p:nvPicPr>
        <p:blipFill>
          <a:blip r:embed="rId6"/>
          <a:stretch>
            <a:fillRect/>
          </a:stretch>
        </p:blipFill>
        <p:spPr>
          <a:xfrm>
            <a:off x="2210626" y="1479231"/>
            <a:ext cx="3123149" cy="1337628"/>
          </a:xfrm>
          <a:prstGeom prst="rect">
            <a:avLst/>
          </a:prstGeom>
        </p:spPr>
      </p:pic>
      <p:pic>
        <p:nvPicPr>
          <p:cNvPr id="11" name="Picture 10">
            <a:extLst>
              <a:ext uri="{FF2B5EF4-FFF2-40B4-BE49-F238E27FC236}">
                <a16:creationId xmlns:a16="http://schemas.microsoft.com/office/drawing/2014/main" id="{41F42B6B-EE22-D4AF-D565-8053C708F0A6}"/>
              </a:ext>
            </a:extLst>
          </p:cNvPr>
          <p:cNvPicPr>
            <a:picLocks noChangeAspect="1"/>
          </p:cNvPicPr>
          <p:nvPr/>
        </p:nvPicPr>
        <p:blipFill>
          <a:blip r:embed="rId7"/>
          <a:stretch>
            <a:fillRect/>
          </a:stretch>
        </p:blipFill>
        <p:spPr>
          <a:xfrm>
            <a:off x="8573117" y="1562030"/>
            <a:ext cx="3515474" cy="1337628"/>
          </a:xfrm>
          <a:prstGeom prst="rect">
            <a:avLst/>
          </a:prstGeom>
        </p:spPr>
      </p:pic>
      <p:sp>
        <p:nvSpPr>
          <p:cNvPr id="4" name="TextBox 3">
            <a:extLst>
              <a:ext uri="{FF2B5EF4-FFF2-40B4-BE49-F238E27FC236}">
                <a16:creationId xmlns:a16="http://schemas.microsoft.com/office/drawing/2014/main" id="{AEA60494-4282-8A63-B69F-6D7DAEF21C1A}"/>
              </a:ext>
            </a:extLst>
          </p:cNvPr>
          <p:cNvSpPr txBox="1"/>
          <p:nvPr/>
        </p:nvSpPr>
        <p:spPr>
          <a:xfrm>
            <a:off x="6123499" y="5955482"/>
            <a:ext cx="449180" cy="199544"/>
          </a:xfrm>
          <a:prstGeom prst="rect">
            <a:avLst/>
          </a:prstGeom>
          <a:solidFill>
            <a:schemeClr val="bg1"/>
          </a:solidFill>
        </p:spPr>
        <p:txBody>
          <a:bodyPr wrap="none" lIns="0" tIns="0" rIns="0" bIns="0"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5ABE"/>
                </a:solidFill>
                <a:effectLst/>
                <a:uLnTx/>
                <a:uFillTx/>
                <a:latin typeface="Arial" charset="0"/>
                <a:ea typeface="ＭＳ Ｐゴシック" charset="0"/>
                <a:cs typeface="+mn-cs"/>
              </a:rPr>
              <a:t>IC Chemo</a:t>
            </a:r>
          </a:p>
        </p:txBody>
      </p:sp>
      <p:sp>
        <p:nvSpPr>
          <p:cNvPr id="6" name="TextBox 5">
            <a:extLst>
              <a:ext uri="{FF2B5EF4-FFF2-40B4-BE49-F238E27FC236}">
                <a16:creationId xmlns:a16="http://schemas.microsoft.com/office/drawing/2014/main" id="{025B949E-65CE-5F7B-E154-00E4BE27045E}"/>
              </a:ext>
            </a:extLst>
          </p:cNvPr>
          <p:cNvSpPr txBox="1"/>
          <p:nvPr/>
        </p:nvSpPr>
        <p:spPr>
          <a:xfrm>
            <a:off x="7862914" y="5955482"/>
            <a:ext cx="242007" cy="151709"/>
          </a:xfrm>
          <a:prstGeom prst="rect">
            <a:avLst/>
          </a:prstGeom>
          <a:solidFill>
            <a:schemeClr val="bg1"/>
          </a:solidFill>
        </p:spPr>
        <p:txBody>
          <a:bodyPr wrap="none" lIns="0" tIns="0" rIns="0" bIns="0"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5ABE"/>
                </a:solidFill>
                <a:effectLst/>
                <a:uLnTx/>
                <a:uFillTx/>
                <a:latin typeface="Arial" charset="0"/>
                <a:ea typeface="ＭＳ Ｐゴシック" charset="0"/>
                <a:cs typeface="+mn-cs"/>
              </a:rPr>
              <a:t>157</a:t>
            </a:r>
          </a:p>
        </p:txBody>
      </p:sp>
    </p:spTree>
    <p:extLst>
      <p:ext uri="{BB962C8B-B14F-4D97-AF65-F5344CB8AC3E}">
        <p14:creationId xmlns:p14="http://schemas.microsoft.com/office/powerpoint/2010/main" val="12439434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4027DB-2AED-CD04-70C5-ED532B88E9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AA47CD-B01F-D9B0-9C66-B83A51543F09}"/>
              </a:ext>
            </a:extLst>
          </p:cNvPr>
          <p:cNvSpPr>
            <a:spLocks noGrp="1"/>
          </p:cNvSpPr>
          <p:nvPr>
            <p:ph type="title"/>
          </p:nvPr>
        </p:nvSpPr>
        <p:spPr>
          <a:xfrm>
            <a:off x="916516" y="116633"/>
            <a:ext cx="10358967" cy="1008112"/>
          </a:xfrm>
        </p:spPr>
        <p:txBody>
          <a:bodyPr/>
          <a:lstStyle/>
          <a:p>
            <a:r>
              <a:rPr lang="en-US" sz="3200" dirty="0">
                <a:solidFill>
                  <a:srgbClr val="0432FF"/>
                </a:solidFill>
              </a:rPr>
              <a:t>Dr Westin — Disclosures</a:t>
            </a:r>
            <a:br>
              <a:rPr lang="en-US" sz="3200">
                <a:solidFill>
                  <a:srgbClr val="0432FF"/>
                </a:solidFill>
              </a:rPr>
            </a:br>
            <a:r>
              <a:rPr lang="en-US"/>
              <a:t>Moderator</a:t>
            </a:r>
            <a:endParaRPr lang="en-US" sz="3200" dirty="0">
              <a:solidFill>
                <a:srgbClr val="0432FF"/>
              </a:solidFill>
            </a:endParaRPr>
          </a:p>
        </p:txBody>
      </p:sp>
      <p:graphicFrame>
        <p:nvGraphicFramePr>
          <p:cNvPr id="3" name="Content Placeholder 3">
            <a:extLst>
              <a:ext uri="{FF2B5EF4-FFF2-40B4-BE49-F238E27FC236}">
                <a16:creationId xmlns:a16="http://schemas.microsoft.com/office/drawing/2014/main" id="{37C0725A-31E0-5DBF-3CA4-C4200C2C3C0D}"/>
              </a:ext>
            </a:extLst>
          </p:cNvPr>
          <p:cNvGraphicFramePr>
            <a:graphicFrameLocks/>
          </p:cNvGraphicFramePr>
          <p:nvPr>
            <p:extLst>
              <p:ext uri="{D42A27DB-BD31-4B8C-83A1-F6EECF244321}">
                <p14:modId xmlns:p14="http://schemas.microsoft.com/office/powerpoint/2010/main" val="3002951290"/>
              </p:ext>
            </p:extLst>
          </p:nvPr>
        </p:nvGraphicFramePr>
        <p:xfrm>
          <a:off x="1302977" y="1546860"/>
          <a:ext cx="9586045" cy="3764280"/>
        </p:xfrm>
        <a:graphic>
          <a:graphicData uri="http://schemas.openxmlformats.org/drawingml/2006/table">
            <a:tbl>
              <a:tblPr firstRow="1" bandRow="1">
                <a:tableStyleId>{F2DE63D5-997A-4646-A377-4702673A728D}</a:tableStyleId>
              </a:tblPr>
              <a:tblGrid>
                <a:gridCol w="2850281">
                  <a:extLst>
                    <a:ext uri="{9D8B030D-6E8A-4147-A177-3AD203B41FA5}">
                      <a16:colId xmlns:a16="http://schemas.microsoft.com/office/drawing/2014/main" val="20000"/>
                    </a:ext>
                  </a:extLst>
                </a:gridCol>
                <a:gridCol w="6735764">
                  <a:extLst>
                    <a:ext uri="{9D8B030D-6E8A-4147-A177-3AD203B41FA5}">
                      <a16:colId xmlns:a16="http://schemas.microsoft.com/office/drawing/2014/main" val="20001"/>
                    </a:ext>
                  </a:extLst>
                </a:gridCol>
              </a:tblGrid>
              <a:tr h="919724">
                <a:tc>
                  <a:txBody>
                    <a:bodyPr/>
                    <a:lstStyle/>
                    <a:p>
                      <a:r>
                        <a:rPr lang="en-US" sz="17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bbVie Inc, AstraZeneca Pharmaceuticals LP, Bayer HealthCare Pharmaceuticals, Caris Life Sciences, </a:t>
                      </a:r>
                      <a:r>
                        <a:rPr lang="en-US" sz="1700" b="0" kern="1200" dirty="0" err="1">
                          <a:solidFill>
                            <a:schemeClr val="tx1"/>
                          </a:solidFill>
                          <a:effectLst/>
                          <a:latin typeface="+mn-lt"/>
                          <a:ea typeface="+mn-ea"/>
                          <a:cs typeface="+mn-cs"/>
                        </a:rPr>
                        <a:t>Corcept</a:t>
                      </a:r>
                      <a:r>
                        <a:rPr lang="en-US" sz="1700" b="0" kern="1200" dirty="0">
                          <a:solidFill>
                            <a:schemeClr val="tx1"/>
                          </a:solidFill>
                          <a:effectLst/>
                          <a:latin typeface="+mn-lt"/>
                          <a:ea typeface="+mn-ea"/>
                          <a:cs typeface="+mn-cs"/>
                        </a:rPr>
                        <a:t> Therapeutics Inc, Daiichi Sankyo Inc, Eisai Inc, Genentech, a member of the Roche Group, Genmab US Inc, Gilead Sciences Inc, GSK, Immunocore, </a:t>
                      </a:r>
                      <a:r>
                        <a:rPr lang="en-US" sz="1700" b="0" kern="1200" dirty="0" err="1">
                          <a:solidFill>
                            <a:schemeClr val="tx1"/>
                          </a:solidFill>
                          <a:effectLst/>
                          <a:latin typeface="+mn-lt"/>
                          <a:ea typeface="+mn-ea"/>
                          <a:cs typeface="+mn-cs"/>
                        </a:rPr>
                        <a:t>ImmunoGen</a:t>
                      </a:r>
                      <a:r>
                        <a:rPr lang="en-US" sz="1700" b="0" kern="1200" dirty="0">
                          <a:solidFill>
                            <a:schemeClr val="tx1"/>
                          </a:solidFill>
                          <a:effectLst/>
                          <a:latin typeface="+mn-lt"/>
                          <a:ea typeface="+mn-ea"/>
                          <a:cs typeface="+mn-cs"/>
                        </a:rPr>
                        <a:t> Inc, Incyte Corporation, Lilly, </a:t>
                      </a:r>
                      <a:r>
                        <a:rPr lang="en-US" sz="1700" b="0" kern="1200" dirty="0" err="1">
                          <a:solidFill>
                            <a:schemeClr val="tx1"/>
                          </a:solidFill>
                          <a:effectLst/>
                          <a:latin typeface="+mn-lt"/>
                          <a:ea typeface="+mn-ea"/>
                          <a:cs typeface="+mn-cs"/>
                        </a:rPr>
                        <a:t>Loxo</a:t>
                      </a:r>
                      <a:r>
                        <a:rPr lang="en-US" sz="1700" b="0" kern="1200" dirty="0">
                          <a:solidFill>
                            <a:schemeClr val="tx1"/>
                          </a:solidFill>
                          <a:effectLst/>
                          <a:latin typeface="+mn-lt"/>
                          <a:ea typeface="+mn-ea"/>
                          <a:cs typeface="+mn-cs"/>
                        </a:rPr>
                        <a:t> Oncology Inc, a wholly owned subsidiary of Eli Lilly &amp; Company, Merck, Mereo BioPharma, NGM Biopharmaceuticals, </a:t>
                      </a:r>
                      <a:r>
                        <a:rPr lang="en-US" sz="1700" b="0" kern="1200" dirty="0" err="1">
                          <a:solidFill>
                            <a:schemeClr val="tx1"/>
                          </a:solidFill>
                          <a:effectLst/>
                          <a:latin typeface="+mn-lt"/>
                          <a:ea typeface="+mn-ea"/>
                          <a:cs typeface="+mn-cs"/>
                        </a:rPr>
                        <a:t>Nuvectis</a:t>
                      </a:r>
                      <a:r>
                        <a:rPr lang="en-US" sz="1700" b="0" kern="1200" dirty="0">
                          <a:solidFill>
                            <a:schemeClr val="tx1"/>
                          </a:solidFill>
                          <a:effectLst/>
                          <a:latin typeface="+mn-lt"/>
                          <a:ea typeface="+mn-ea"/>
                          <a:cs typeface="+mn-cs"/>
                        </a:rPr>
                        <a:t> Pharma Inc, Ottimo Pharma, Pfizer Inc, </a:t>
                      </a:r>
                      <a:r>
                        <a:rPr lang="en-US" sz="1700" b="0" kern="1200" dirty="0" err="1">
                          <a:solidFill>
                            <a:schemeClr val="tx1"/>
                          </a:solidFill>
                          <a:effectLst/>
                          <a:latin typeface="+mn-lt"/>
                          <a:ea typeface="+mn-ea"/>
                          <a:cs typeface="+mn-cs"/>
                        </a:rPr>
                        <a:t>pharmaand</a:t>
                      </a:r>
                      <a:r>
                        <a:rPr lang="en-US" sz="1700" b="0" kern="1200" dirty="0">
                          <a:solidFill>
                            <a:schemeClr val="tx1"/>
                          </a:solidFill>
                          <a:effectLst/>
                          <a:latin typeface="+mn-lt"/>
                          <a:ea typeface="+mn-ea"/>
                          <a:cs typeface="+mn-cs"/>
                        </a:rPr>
                        <a:t> GmbH, PMV Pharma, </a:t>
                      </a:r>
                      <a:r>
                        <a:rPr lang="en-US" sz="1700" b="0" kern="1200" dirty="0" err="1">
                          <a:solidFill>
                            <a:schemeClr val="tx1"/>
                          </a:solidFill>
                          <a:effectLst/>
                          <a:latin typeface="+mn-lt"/>
                          <a:ea typeface="+mn-ea"/>
                          <a:cs typeface="+mn-cs"/>
                        </a:rPr>
                        <a:t>Seagen</a:t>
                      </a:r>
                      <a:r>
                        <a:rPr lang="en-US" sz="1700" b="0" kern="1200" dirty="0">
                          <a:solidFill>
                            <a:schemeClr val="tx1"/>
                          </a:solidFill>
                          <a:effectLst/>
                          <a:latin typeface="+mn-lt"/>
                          <a:ea typeface="+mn-ea"/>
                          <a:cs typeface="+mn-cs"/>
                        </a:rPr>
                        <a:t> Inc, </a:t>
                      </a:r>
                      <a:r>
                        <a:rPr lang="en-US" sz="1700" b="0" kern="1200" dirty="0" err="1">
                          <a:solidFill>
                            <a:schemeClr val="tx1"/>
                          </a:solidFill>
                          <a:effectLst/>
                          <a:latin typeface="+mn-lt"/>
                          <a:ea typeface="+mn-ea"/>
                          <a:cs typeface="+mn-cs"/>
                        </a:rPr>
                        <a:t>Verastem</a:t>
                      </a:r>
                      <a:r>
                        <a:rPr lang="en-US" sz="1700" b="0" kern="1200" dirty="0">
                          <a:solidFill>
                            <a:schemeClr val="tx1"/>
                          </a:solidFill>
                          <a:effectLst/>
                          <a:latin typeface="+mn-lt"/>
                          <a:ea typeface="+mn-ea"/>
                          <a:cs typeface="+mn-cs"/>
                        </a:rPr>
                        <a:t> Inc, </a:t>
                      </a:r>
                      <a:r>
                        <a:rPr lang="en-US" sz="1700" b="0" kern="1200" dirty="0" err="1">
                          <a:solidFill>
                            <a:schemeClr val="tx1"/>
                          </a:solidFill>
                          <a:effectLst/>
                          <a:latin typeface="+mn-lt"/>
                          <a:ea typeface="+mn-ea"/>
                          <a:cs typeface="+mn-cs"/>
                        </a:rPr>
                        <a:t>Zentalis</a:t>
                      </a:r>
                      <a:r>
                        <a:rPr lang="en-US" sz="1700" b="0" kern="1200" dirty="0">
                          <a:solidFill>
                            <a:schemeClr val="tx1"/>
                          </a:solidFill>
                          <a:effectLst/>
                          <a:latin typeface="+mn-lt"/>
                          <a:ea typeface="+mn-ea"/>
                          <a:cs typeface="+mn-cs"/>
                        </a:rPr>
                        <a:t> Pharmaceuticals, </a:t>
                      </a:r>
                      <a:r>
                        <a:rPr lang="en-US" sz="1700" b="0" kern="1200" dirty="0" err="1">
                          <a:solidFill>
                            <a:schemeClr val="tx1"/>
                          </a:solidFill>
                          <a:effectLst/>
                          <a:latin typeface="+mn-lt"/>
                          <a:ea typeface="+mn-ea"/>
                          <a:cs typeface="+mn-cs"/>
                        </a:rPr>
                        <a:t>ZielBio</a:t>
                      </a:r>
                      <a:endParaRPr lang="en-US" sz="17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80298">
                <a:tc>
                  <a:txBody>
                    <a:bodyPr/>
                    <a:lstStyle/>
                    <a:p>
                      <a:r>
                        <a:rPr lang="en-US" sz="17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straZeneca Pharmaceuticals LP, Avenge Bio, Bayer HealthCare Pharmaceuticals, Bio-Path Holdings Inc, Daiichi Sankyo Inc, Genentech, a member of the Roche Group, GSK, Jazz Pharmaceuticals, </a:t>
                      </a:r>
                      <a:r>
                        <a:rPr lang="en-US" sz="1700" b="0" kern="1200" dirty="0" err="1">
                          <a:solidFill>
                            <a:schemeClr val="tx1"/>
                          </a:solidFill>
                          <a:effectLst/>
                          <a:latin typeface="+mn-lt"/>
                          <a:ea typeface="+mn-ea"/>
                          <a:cs typeface="+mn-cs"/>
                        </a:rPr>
                        <a:t>Loxo</a:t>
                      </a:r>
                      <a:r>
                        <a:rPr lang="en-US" sz="1700" b="0" kern="1200" dirty="0">
                          <a:solidFill>
                            <a:schemeClr val="tx1"/>
                          </a:solidFill>
                          <a:effectLst/>
                          <a:latin typeface="+mn-lt"/>
                          <a:ea typeface="+mn-ea"/>
                          <a:cs typeface="+mn-cs"/>
                        </a:rPr>
                        <a:t> Oncology Inc, a wholly owned subsidiary of Eli Lilly &amp; Company, Mereo BioPharma, Novartis, </a:t>
                      </a:r>
                      <a:r>
                        <a:rPr lang="en-US" sz="1700" b="0" kern="1200" dirty="0" err="1">
                          <a:solidFill>
                            <a:schemeClr val="tx1"/>
                          </a:solidFill>
                          <a:effectLst/>
                          <a:latin typeface="+mn-lt"/>
                          <a:ea typeface="+mn-ea"/>
                          <a:cs typeface="+mn-cs"/>
                        </a:rPr>
                        <a:t>Nuvectis</a:t>
                      </a:r>
                      <a:r>
                        <a:rPr lang="en-US" sz="1700" b="0" kern="1200" dirty="0">
                          <a:solidFill>
                            <a:schemeClr val="tx1"/>
                          </a:solidFill>
                          <a:effectLst/>
                          <a:latin typeface="+mn-lt"/>
                          <a:ea typeface="+mn-ea"/>
                          <a:cs typeface="+mn-cs"/>
                        </a:rPr>
                        <a:t> Pharma Inc, </a:t>
                      </a:r>
                      <a:r>
                        <a:rPr lang="en-US" sz="1700" b="0" kern="1200" dirty="0" err="1">
                          <a:solidFill>
                            <a:schemeClr val="tx1"/>
                          </a:solidFill>
                          <a:effectLst/>
                          <a:latin typeface="+mn-lt"/>
                          <a:ea typeface="+mn-ea"/>
                          <a:cs typeface="+mn-cs"/>
                        </a:rPr>
                        <a:t>pharmaand</a:t>
                      </a:r>
                      <a:r>
                        <a:rPr lang="en-US" sz="1700" b="0" kern="1200" dirty="0">
                          <a:solidFill>
                            <a:schemeClr val="tx1"/>
                          </a:solidFill>
                          <a:effectLst/>
                          <a:latin typeface="+mn-lt"/>
                          <a:ea typeface="+mn-ea"/>
                          <a:cs typeface="+mn-cs"/>
                        </a:rPr>
                        <a:t> GmbH, Pfizer Inc, </a:t>
                      </a:r>
                      <a:r>
                        <a:rPr lang="en-US" sz="1700" b="0" kern="1200" dirty="0" err="1">
                          <a:solidFill>
                            <a:schemeClr val="tx1"/>
                          </a:solidFill>
                          <a:effectLst/>
                          <a:latin typeface="+mn-lt"/>
                          <a:ea typeface="+mn-ea"/>
                          <a:cs typeface="+mn-cs"/>
                        </a:rPr>
                        <a:t>Verastem</a:t>
                      </a:r>
                      <a:r>
                        <a:rPr lang="en-US" sz="1700" b="0" kern="1200" dirty="0">
                          <a:solidFill>
                            <a:schemeClr val="tx1"/>
                          </a:solidFill>
                          <a:effectLst/>
                          <a:latin typeface="+mn-lt"/>
                          <a:ea typeface="+mn-ea"/>
                          <a:cs typeface="+mn-cs"/>
                        </a:rPr>
                        <a:t> Inc, </a:t>
                      </a:r>
                      <a:r>
                        <a:rPr lang="en-US" sz="1700" b="0" kern="1200" dirty="0" err="1">
                          <a:solidFill>
                            <a:schemeClr val="tx1"/>
                          </a:solidFill>
                          <a:effectLst/>
                          <a:latin typeface="+mn-lt"/>
                          <a:ea typeface="+mn-ea"/>
                          <a:cs typeface="+mn-cs"/>
                        </a:rPr>
                        <a:t>Zentalis</a:t>
                      </a:r>
                      <a:r>
                        <a:rPr lang="en-US" sz="17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3242662"/>
                  </a:ext>
                </a:extLst>
              </a:tr>
            </a:tbl>
          </a:graphicData>
        </a:graphic>
      </p:graphicFrame>
    </p:spTree>
    <p:custDataLst>
      <p:tags r:id="rId1"/>
    </p:custDataLst>
    <p:extLst>
      <p:ext uri="{BB962C8B-B14F-4D97-AF65-F5344CB8AC3E}">
        <p14:creationId xmlns:p14="http://schemas.microsoft.com/office/powerpoint/2010/main" val="20641746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3081E-7C46-F522-42FA-004AC1DA288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C01B3DD-1587-FDAF-711D-97BA242B3DB7}"/>
              </a:ext>
            </a:extLst>
          </p:cNvPr>
          <p:cNvSpPr>
            <a:spLocks noGrp="1"/>
          </p:cNvSpPr>
          <p:nvPr>
            <p:ph type="body" sz="quarter" idx="4294967295"/>
          </p:nvPr>
        </p:nvSpPr>
        <p:spPr>
          <a:xfrm>
            <a:off x="213755" y="241300"/>
            <a:ext cx="10573307" cy="796925"/>
          </a:xfrm>
        </p:spPr>
        <p:txBody>
          <a:bodyPr>
            <a:normAutofit fontScale="77500" lnSpcReduction="20000"/>
          </a:bodyPr>
          <a:lstStyle/>
          <a:p>
            <a:pPr algn="l"/>
            <a:r>
              <a:rPr lang="en-US" sz="3600" dirty="0">
                <a:latin typeface="+mj-lt"/>
                <a:cs typeface="Calibri" panose="020F0502020204030204" pitchFamily="34" charset="0"/>
              </a:rPr>
              <a:t>Confirmation of Superiority – ORR and Tumor Reduction</a:t>
            </a:r>
          </a:p>
        </p:txBody>
      </p:sp>
      <p:sp>
        <p:nvSpPr>
          <p:cNvPr id="3" name="TextBox 2">
            <a:extLst>
              <a:ext uri="{FF2B5EF4-FFF2-40B4-BE49-F238E27FC236}">
                <a16:creationId xmlns:a16="http://schemas.microsoft.com/office/drawing/2014/main" id="{107BEB99-BCA5-58F9-4342-D9D50EA1736C}"/>
              </a:ext>
            </a:extLst>
          </p:cNvPr>
          <p:cNvSpPr txBox="1"/>
          <p:nvPr/>
        </p:nvSpPr>
        <p:spPr>
          <a:xfrm>
            <a:off x="3472783" y="6529021"/>
            <a:ext cx="5246433" cy="338554"/>
          </a:xfrm>
          <a:prstGeom prst="rect">
            <a:avLst/>
          </a:prstGeom>
          <a:noFill/>
        </p:spPr>
        <p:txBody>
          <a:bodyPr wrap="square" rtlCol="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pPr marL="0" marR="0" lvl="1" indent="114300" algn="ctr" defTabSz="412750" rtl="0" eaLnBrk="1" fontAlgn="auto" latinLnBrk="0" hangingPunct="0">
              <a:lnSpc>
                <a:spcPct val="100000"/>
              </a:lnSpc>
              <a:spcBef>
                <a:spcPts val="0"/>
              </a:spcBef>
              <a:spcAft>
                <a:spcPts val="0"/>
              </a:spcAft>
              <a:buClrTx/>
              <a:buSzTx/>
              <a:buFontTx/>
              <a:buNone/>
              <a:tabLst/>
              <a:defRPr/>
            </a:pPr>
            <a:r>
              <a:rPr kumimoji="0" lang="da-DK" sz="1600" b="1" i="1" u="none" strike="noStrike" kern="120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Moore et al. ASCO 2023; Moore et al. NEJM 2023</a:t>
            </a:r>
          </a:p>
        </p:txBody>
      </p:sp>
      <p:pic>
        <p:nvPicPr>
          <p:cNvPr id="12" name="Picture 11">
            <a:extLst>
              <a:ext uri="{FF2B5EF4-FFF2-40B4-BE49-F238E27FC236}">
                <a16:creationId xmlns:a16="http://schemas.microsoft.com/office/drawing/2014/main" id="{03C9A59E-A23E-D25C-755A-9635FD18CC8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632601" y="1963922"/>
            <a:ext cx="10926797" cy="3693928"/>
          </a:xfrm>
          <a:prstGeom prst="rect">
            <a:avLst/>
          </a:prstGeom>
        </p:spPr>
      </p:pic>
    </p:spTree>
    <p:extLst>
      <p:ext uri="{BB962C8B-B14F-4D97-AF65-F5344CB8AC3E}">
        <p14:creationId xmlns:p14="http://schemas.microsoft.com/office/powerpoint/2010/main" val="24292170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5E480-D41A-3E0D-B3E1-64EA2F77A836}"/>
            </a:ext>
          </a:extLst>
        </p:cNvPr>
        <p:cNvGrpSpPr/>
        <p:nvPr/>
      </p:nvGrpSpPr>
      <p:grpSpPr>
        <a:xfrm>
          <a:off x="0" y="0"/>
          <a:ext cx="0" cy="0"/>
          <a:chOff x="0" y="0"/>
          <a:chExt cx="0" cy="0"/>
        </a:xfrm>
      </p:grpSpPr>
      <p:pic>
        <p:nvPicPr>
          <p:cNvPr id="118" name="Picture 117">
            <a:extLst>
              <a:ext uri="{FF2B5EF4-FFF2-40B4-BE49-F238E27FC236}">
                <a16:creationId xmlns:a16="http://schemas.microsoft.com/office/drawing/2014/main" id="{219A3C80-95E5-E2EB-0334-59F8207C272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5724327" y="730778"/>
            <a:ext cx="5714180" cy="3262487"/>
          </a:xfrm>
          <a:prstGeom prst="rect">
            <a:avLst/>
          </a:prstGeom>
        </p:spPr>
      </p:pic>
      <p:graphicFrame>
        <p:nvGraphicFramePr>
          <p:cNvPr id="114" name="Table 113">
            <a:extLst>
              <a:ext uri="{FF2B5EF4-FFF2-40B4-BE49-F238E27FC236}">
                <a16:creationId xmlns:a16="http://schemas.microsoft.com/office/drawing/2014/main" id="{E2D9E0C7-0B22-9D9C-E5D2-A6B6D3B2C2F0}"/>
              </a:ext>
            </a:extLst>
          </p:cNvPr>
          <p:cNvGraphicFramePr>
            <a:graphicFrameLocks/>
          </p:cNvGraphicFramePr>
          <p:nvPr/>
        </p:nvGraphicFramePr>
        <p:xfrm>
          <a:off x="152403" y="4340894"/>
          <a:ext cx="4822323" cy="2121408"/>
        </p:xfrm>
        <a:graphic>
          <a:graphicData uri="http://schemas.openxmlformats.org/drawingml/2006/table">
            <a:tbl>
              <a:tblPr firstRow="1" bandRow="1">
                <a:tableStyleId>{69012ECD-51FC-41F1-AA8D-1B2483CD663E}</a:tableStyleId>
              </a:tblPr>
              <a:tblGrid>
                <a:gridCol w="3433791">
                  <a:extLst>
                    <a:ext uri="{9D8B030D-6E8A-4147-A177-3AD203B41FA5}">
                      <a16:colId xmlns:a16="http://schemas.microsoft.com/office/drawing/2014/main" val="2418690212"/>
                    </a:ext>
                  </a:extLst>
                </a:gridCol>
                <a:gridCol w="1388532">
                  <a:extLst>
                    <a:ext uri="{9D8B030D-6E8A-4147-A177-3AD203B41FA5}">
                      <a16:colId xmlns:a16="http://schemas.microsoft.com/office/drawing/2014/main" val="2123684449"/>
                    </a:ext>
                  </a:extLst>
                </a:gridCol>
              </a:tblGrid>
              <a:tr h="365760">
                <a:tc>
                  <a:txBody>
                    <a:bodyPr/>
                    <a:lstStyle/>
                    <a:p>
                      <a:pPr>
                        <a:lnSpc>
                          <a:spcPts val="1100"/>
                        </a:lnSpc>
                        <a:spcAft>
                          <a:spcPts val="0"/>
                        </a:spcAft>
                      </a:pPr>
                      <a:r>
                        <a:rPr lang="en-GB" sz="1700" b="1" i="0">
                          <a:solidFill>
                            <a:schemeClr val="bg1"/>
                          </a:solidFill>
                          <a:latin typeface="Arial Narrow" panose="020B0604020202020204" pitchFamily="34" charset="0"/>
                          <a:cs typeface="Arial Narrow" panose="020B0604020202020204" pitchFamily="34" charset="0"/>
                        </a:rPr>
                        <a:t>Characteristics</a:t>
                      </a:r>
                    </a:p>
                  </a:txBody>
                  <a:tcPr marL="90000" marR="0" anchor="b">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ts val="1100"/>
                        </a:lnSpc>
                        <a:spcAft>
                          <a:spcPts val="0"/>
                        </a:spcAft>
                      </a:pPr>
                      <a:r>
                        <a:rPr lang="en-GB" sz="1700" b="1" i="0">
                          <a:solidFill>
                            <a:schemeClr val="bg1"/>
                          </a:solidFill>
                          <a:latin typeface="Arial Narrow" panose="020B0604020202020204" pitchFamily="34" charset="0"/>
                          <a:cs typeface="Arial Narrow" panose="020B0604020202020204" pitchFamily="34" charset="0"/>
                        </a:rPr>
                        <a:t>N=79</a:t>
                      </a:r>
                    </a:p>
                  </a:txBody>
                  <a:tcPr marL="0" marR="0" anchor="b">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52806899"/>
                  </a:ext>
                </a:extLst>
              </a:tr>
              <a:tr h="292608">
                <a:tc>
                  <a:txBody>
                    <a:bodyPr/>
                    <a:lstStyle/>
                    <a:p>
                      <a:pP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Prior exposure to </a:t>
                      </a:r>
                      <a:r>
                        <a:rPr lang="en-GB" sz="1700" b="0" i="0" dirty="0" err="1">
                          <a:solidFill>
                            <a:schemeClr val="tx1"/>
                          </a:solidFill>
                          <a:latin typeface="Arial Narrow" panose="020B0604020202020204" pitchFamily="34" charset="0"/>
                          <a:cs typeface="Arial Narrow" panose="020B0604020202020204" pitchFamily="34" charset="0"/>
                        </a:rPr>
                        <a:t>PARPi</a:t>
                      </a:r>
                      <a:r>
                        <a:rPr lang="en-GB" sz="1700" b="0" i="0" baseline="30000" dirty="0" err="1">
                          <a:solidFill>
                            <a:schemeClr val="tx1"/>
                          </a:solidFill>
                          <a:latin typeface="Arial Narrow" panose="020B0604020202020204" pitchFamily="34" charset="0"/>
                          <a:cs typeface="Arial Narrow" panose="020B0604020202020204" pitchFamily="34" charset="0"/>
                        </a:rPr>
                        <a:t>b</a:t>
                      </a:r>
                      <a:r>
                        <a:rPr lang="en-GB" sz="1700" b="0" i="0" dirty="0" err="1">
                          <a:solidFill>
                            <a:schemeClr val="tx1"/>
                          </a:solidFill>
                          <a:latin typeface="Arial Narrow" panose="020B0604020202020204" pitchFamily="34" charset="0"/>
                          <a:cs typeface="Arial Narrow" panose="020B0604020202020204" pitchFamily="34" charset="0"/>
                        </a:rPr>
                        <a:t>,n</a:t>
                      </a:r>
                      <a:r>
                        <a:rPr lang="en-GB" sz="1700" b="0" i="0" dirty="0">
                          <a:solidFill>
                            <a:schemeClr val="tx1"/>
                          </a:solidFill>
                          <a:latin typeface="Arial Narrow" panose="020B0604020202020204" pitchFamily="34" charset="0"/>
                          <a:cs typeface="Arial Narrow" panose="020B0604020202020204" pitchFamily="34" charset="0"/>
                        </a:rPr>
                        <a:t> (%), Yes</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64 (81.0)</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571543656"/>
                  </a:ext>
                </a:extLst>
              </a:tr>
              <a:tr h="292608">
                <a:tc>
                  <a:txBody>
                    <a:bodyPr/>
                    <a:lstStyle/>
                    <a:p>
                      <a:pPr marL="0" indent="114300">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Progression on </a:t>
                      </a:r>
                      <a:r>
                        <a:rPr lang="en-GB" sz="1700" b="0" i="0" dirty="0" err="1">
                          <a:solidFill>
                            <a:schemeClr val="tx1"/>
                          </a:solidFill>
                          <a:latin typeface="Arial Narrow" panose="020B0604020202020204" pitchFamily="34" charset="0"/>
                          <a:cs typeface="Arial Narrow" panose="020B0604020202020204" pitchFamily="34" charset="0"/>
                        </a:rPr>
                        <a:t>PARPi</a:t>
                      </a:r>
                      <a:r>
                        <a:rPr lang="en-GB" sz="1700" b="0" i="0" baseline="30000" dirty="0" err="1">
                          <a:solidFill>
                            <a:schemeClr val="tx1"/>
                          </a:solidFill>
                          <a:latin typeface="Arial Narrow" panose="020B0604020202020204" pitchFamily="34" charset="0"/>
                          <a:cs typeface="Arial Narrow" panose="020B0604020202020204" pitchFamily="34" charset="0"/>
                        </a:rPr>
                        <a:t>c</a:t>
                      </a:r>
                      <a:r>
                        <a:rPr lang="en-GB" sz="1700" b="0" i="0" dirty="0">
                          <a:solidFill>
                            <a:schemeClr val="tx1"/>
                          </a:solidFill>
                          <a:latin typeface="Arial Narrow" panose="020B0604020202020204" pitchFamily="34" charset="0"/>
                          <a:cs typeface="Arial Narrow" panose="020B0604020202020204" pitchFamily="34" charset="0"/>
                        </a:rPr>
                        <a:t> </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59 (74.7)</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135802"/>
                  </a:ext>
                </a:extLst>
              </a:tr>
              <a:tr h="292608">
                <a:tc>
                  <a:txBody>
                    <a:bodyPr/>
                    <a:lstStyle/>
                    <a:p>
                      <a:pP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Prior exposure to </a:t>
                      </a:r>
                      <a:r>
                        <a:rPr lang="en-GB" sz="1700" b="0" i="0" dirty="0" err="1">
                          <a:solidFill>
                            <a:schemeClr val="tx1"/>
                          </a:solidFill>
                          <a:latin typeface="Arial Narrow" panose="020B0604020202020204" pitchFamily="34" charset="0"/>
                          <a:cs typeface="Arial Narrow" panose="020B0604020202020204" pitchFamily="34" charset="0"/>
                        </a:rPr>
                        <a:t>bev</a:t>
                      </a:r>
                      <a:r>
                        <a:rPr lang="en-GB" sz="1700" b="0" i="0" dirty="0">
                          <a:solidFill>
                            <a:schemeClr val="tx1"/>
                          </a:solidFill>
                          <a:latin typeface="Arial Narrow" panose="020B0604020202020204" pitchFamily="34" charset="0"/>
                          <a:cs typeface="Arial Narrow" panose="020B0604020202020204" pitchFamily="34" charset="0"/>
                        </a:rPr>
                        <a:t>, n (%), Yes</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51 (64.6)</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256895207"/>
                  </a:ext>
                </a:extLst>
              </a:tr>
              <a:tr h="292608">
                <a:tc>
                  <a:txBody>
                    <a:bodyPr/>
                    <a:lstStyle/>
                    <a:p>
                      <a:pP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 Most recent PFI  (months)</a:t>
                      </a:r>
                      <a:r>
                        <a:rPr lang="en-GB" sz="1700" b="0" i="0" baseline="30000" dirty="0">
                          <a:solidFill>
                            <a:schemeClr val="tx1"/>
                          </a:solidFill>
                          <a:latin typeface="Arial Narrow" panose="020B0604020202020204" pitchFamily="34" charset="0"/>
                          <a:cs typeface="Arial Narrow" panose="020B0604020202020204" pitchFamily="34" charset="0"/>
                        </a:rPr>
                        <a:t>d</a:t>
                      </a:r>
                      <a:r>
                        <a:rPr lang="en-GB" sz="1700" b="0" i="0" dirty="0">
                          <a:solidFill>
                            <a:schemeClr val="tx1"/>
                          </a:solidFill>
                          <a:latin typeface="Arial Narrow" panose="020B0604020202020204" pitchFamily="34" charset="0"/>
                          <a:cs typeface="Arial Narrow" panose="020B0604020202020204" pitchFamily="34" charset="0"/>
                        </a:rPr>
                        <a:t>, n (%)</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endParaRPr lang="en-GB" sz="1700" b="0" i="0" dirty="0">
                        <a:solidFill>
                          <a:schemeClr val="tx1"/>
                        </a:solidFill>
                        <a:latin typeface="Arial Narrow" panose="020B0604020202020204" pitchFamily="34" charset="0"/>
                        <a:cs typeface="Arial Narrow" panose="020B0604020202020204" pitchFamily="34" charset="0"/>
                      </a:endParaRP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55655545"/>
                  </a:ext>
                </a:extLst>
              </a:tr>
              <a:tr h="292608">
                <a:tc>
                  <a:txBody>
                    <a:bodyPr/>
                    <a:lstStyle/>
                    <a:p>
                      <a:pPr marL="72000">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      ≤12</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43 (54.4)</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6629962"/>
                  </a:ext>
                </a:extLst>
              </a:tr>
              <a:tr h="292608">
                <a:tc>
                  <a:txBody>
                    <a:bodyPr/>
                    <a:lstStyle/>
                    <a:p>
                      <a:pPr marL="72000">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      &gt;12</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34 (43.0)</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09491896"/>
                  </a:ext>
                </a:extLst>
              </a:tr>
            </a:tbl>
          </a:graphicData>
        </a:graphic>
      </p:graphicFrame>
      <p:graphicFrame>
        <p:nvGraphicFramePr>
          <p:cNvPr id="3" name="Table 2">
            <a:extLst>
              <a:ext uri="{FF2B5EF4-FFF2-40B4-BE49-F238E27FC236}">
                <a16:creationId xmlns:a16="http://schemas.microsoft.com/office/drawing/2014/main" id="{684963BC-B3E3-93F1-2318-4E5990D93ED1}"/>
              </a:ext>
            </a:extLst>
          </p:cNvPr>
          <p:cNvGraphicFramePr>
            <a:graphicFrameLocks noGrp="1"/>
          </p:cNvGraphicFramePr>
          <p:nvPr/>
        </p:nvGraphicFramePr>
        <p:xfrm>
          <a:off x="5527067" y="4101457"/>
          <a:ext cx="2966664" cy="2600283"/>
        </p:xfrm>
        <a:graphic>
          <a:graphicData uri="http://schemas.openxmlformats.org/drawingml/2006/table">
            <a:tbl>
              <a:tblPr firstRow="1" bandRow="1">
                <a:tableStyleId>{5C22544A-7EE6-4342-B048-85BDC9FD1C3A}</a:tableStyleId>
              </a:tblPr>
              <a:tblGrid>
                <a:gridCol w="1994484">
                  <a:extLst>
                    <a:ext uri="{9D8B030D-6E8A-4147-A177-3AD203B41FA5}">
                      <a16:colId xmlns:a16="http://schemas.microsoft.com/office/drawing/2014/main" val="1577698366"/>
                    </a:ext>
                  </a:extLst>
                </a:gridCol>
                <a:gridCol w="972180">
                  <a:extLst>
                    <a:ext uri="{9D8B030D-6E8A-4147-A177-3AD203B41FA5}">
                      <a16:colId xmlns:a16="http://schemas.microsoft.com/office/drawing/2014/main" val="2912065973"/>
                    </a:ext>
                  </a:extLst>
                </a:gridCol>
              </a:tblGrid>
              <a:tr h="308187">
                <a:tc>
                  <a:txBody>
                    <a:bodyPr/>
                    <a:lstStyle/>
                    <a:p>
                      <a:pPr marR="0" algn="l" rtl="0">
                        <a:lnSpc>
                          <a:spcPts val="1100"/>
                        </a:lnSpc>
                        <a:spcBef>
                          <a:spcPts val="0"/>
                        </a:spcBef>
                        <a:spcAft>
                          <a:spcPts val="0"/>
                        </a:spcAft>
                        <a:buClr>
                          <a:srgbClr val="000000"/>
                        </a:buClr>
                        <a:buFont typeface="Arial"/>
                      </a:pPr>
                      <a:r>
                        <a:rPr lang="en-US" sz="1600" b="1" i="0" u="none" strike="noStrike" cap="none">
                          <a:solidFill>
                            <a:schemeClr val="bg1"/>
                          </a:solidFill>
                          <a:latin typeface="Arial Narrow" panose="020B0604020202020204" pitchFamily="34" charset="0"/>
                          <a:ea typeface="+mn-ea"/>
                          <a:cs typeface="Arial Narrow" panose="020B0604020202020204" pitchFamily="34" charset="0"/>
                          <a:sym typeface="Arial"/>
                        </a:rPr>
                        <a:t>Primary Endpoint</a:t>
                      </a:r>
                      <a:endParaRPr lang="en-US" sz="1600" b="1" i="0" u="none" strike="noStrike" cap="none" baseline="30000">
                        <a:solidFill>
                          <a:schemeClr val="bg1"/>
                        </a:solidFill>
                        <a:latin typeface="Arial Narrow" panose="020B0604020202020204" pitchFamily="34" charset="0"/>
                        <a:ea typeface="+mn-ea"/>
                        <a:cs typeface="Arial Narrow" panose="020B0604020202020204" pitchFamily="34" charset="0"/>
                        <a:sym typeface="Arial"/>
                      </a:endParaRP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tc>
                  <a:txBody>
                    <a:bodyPr/>
                    <a:lstStyle/>
                    <a:p>
                      <a:pPr marR="0" algn="ctr" rtl="0">
                        <a:lnSpc>
                          <a:spcPts val="1100"/>
                        </a:lnSpc>
                        <a:spcBef>
                          <a:spcPts val="0"/>
                        </a:spcBef>
                        <a:spcAft>
                          <a:spcPts val="0"/>
                        </a:spcAft>
                        <a:buClr>
                          <a:srgbClr val="000000"/>
                        </a:buClr>
                        <a:buFont typeface="Arial"/>
                      </a:pPr>
                      <a:r>
                        <a:rPr lang="en-US" sz="1600" b="1" i="0" u="none" strike="noStrike" cap="none">
                          <a:solidFill>
                            <a:schemeClr val="bg1"/>
                          </a:solidFill>
                          <a:latin typeface="Arial Narrow" panose="020B0604020202020204" pitchFamily="34" charset="0"/>
                          <a:ea typeface="+mn-ea"/>
                          <a:cs typeface="Arial Narrow" panose="020B0604020202020204" pitchFamily="34" charset="0"/>
                          <a:sym typeface="Arial"/>
                        </a:rPr>
                        <a:t>N=79</a:t>
                      </a: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507050863"/>
                  </a:ext>
                </a:extLst>
              </a:tr>
              <a:tr h="536448">
                <a:tc>
                  <a:txBody>
                    <a:bodyPr/>
                    <a:lstStyle/>
                    <a:p>
                      <a:r>
                        <a:rPr lang="en-US" sz="1600" b="1" i="0">
                          <a:latin typeface="Arial Narrow" panose="020B0604020202020204" pitchFamily="34" charset="0"/>
                          <a:cs typeface="Arial Narrow" panose="020B0604020202020204" pitchFamily="34" charset="0"/>
                        </a:rPr>
                        <a:t>ORR, n (%)</a:t>
                      </a:r>
                    </a:p>
                    <a:p>
                      <a:pPr marL="0" indent="57150"/>
                      <a:r>
                        <a:rPr lang="en-US" sz="1600" b="0" i="0">
                          <a:latin typeface="Arial Narrow" panose="020B0604020202020204" pitchFamily="34" charset="0"/>
                          <a:cs typeface="Arial Narrow" panose="020B0604020202020204" pitchFamily="34" charset="0"/>
                        </a:rPr>
                        <a:t>95% CI</a:t>
                      </a:r>
                    </a:p>
                  </a:txBody>
                  <a:tcPr marL="121920" marR="121920" marT="24384" marB="24384" anchor="ctr">
                    <a:lnR w="12700" cap="flat" cmpd="sng" algn="ctr">
                      <a:solidFill>
                        <a:schemeClr val="bg1">
                          <a:lumMod val="7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algn="ctr"/>
                      <a:r>
                        <a:rPr lang="en-US" sz="1600" b="0" i="0" dirty="0">
                          <a:latin typeface="Arial Narrow" panose="020B0604020202020204" pitchFamily="34" charset="0"/>
                          <a:cs typeface="Arial Narrow" panose="020B0604020202020204" pitchFamily="34" charset="0"/>
                        </a:rPr>
                        <a:t>41 (51.9)</a:t>
                      </a:r>
                    </a:p>
                    <a:p>
                      <a:pPr algn="ctr"/>
                      <a:r>
                        <a:rPr lang="en-US" sz="1600" b="0" i="0" dirty="0">
                          <a:latin typeface="Arial Narrow" panose="020B0604020202020204" pitchFamily="34" charset="0"/>
                          <a:cs typeface="Arial Narrow" panose="020B0604020202020204" pitchFamily="34" charset="0"/>
                        </a:rPr>
                        <a:t>40.4-63.3</a:t>
                      </a:r>
                    </a:p>
                  </a:txBody>
                  <a:tcPr marL="121920" marR="121920" marT="24384" marB="24384" anchor="ctr">
                    <a:lnL w="12700" cap="flat" cmpd="sng" algn="ctr">
                      <a:solidFill>
                        <a:schemeClr val="bg1">
                          <a:lumMod val="7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401444085"/>
                  </a:ext>
                </a:extLst>
              </a:tr>
              <a:tr h="292608">
                <a:tc>
                  <a:txBody>
                    <a:bodyPr/>
                    <a:lstStyle/>
                    <a:p>
                      <a:r>
                        <a:rPr lang="en-US" sz="1600" b="1" i="0" dirty="0">
                          <a:latin typeface="Arial Narrow" panose="020B0604020202020204" pitchFamily="34" charset="0"/>
                          <a:cs typeface="Arial Narrow" panose="020B0604020202020204" pitchFamily="34" charset="0"/>
                        </a:rPr>
                        <a:t>Best Response, n (%)</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600" b="0" i="0">
                        <a:latin typeface="Arial Narrow" panose="020B0604020202020204" pitchFamily="34" charset="0"/>
                        <a:cs typeface="Arial Narrow" panose="020B0604020202020204" pitchFamily="34" charset="0"/>
                      </a:endParaRP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70082016"/>
                  </a:ext>
                </a:extLst>
              </a:tr>
              <a:tr h="292608">
                <a:tc>
                  <a:txBody>
                    <a:bodyPr/>
                    <a:lstStyle/>
                    <a:p>
                      <a:pPr marL="0" indent="57150"/>
                      <a:r>
                        <a:rPr lang="en-US" sz="1600" b="0" i="0">
                          <a:latin typeface="Arial Narrow" panose="020B0604020202020204" pitchFamily="34" charset="0"/>
                          <a:cs typeface="Arial Narrow" panose="020B0604020202020204" pitchFamily="34" charset="0"/>
                        </a:rPr>
                        <a:t>CR</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algn="ctr"/>
                      <a:r>
                        <a:rPr lang="en-US" sz="1600" b="0" i="0">
                          <a:latin typeface="Arial Narrow" panose="020B0604020202020204" pitchFamily="34" charset="0"/>
                          <a:cs typeface="Arial Narrow" panose="020B0604020202020204" pitchFamily="34" charset="0"/>
                        </a:rPr>
                        <a:t>6 (7.6)</a:t>
                      </a: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208920900"/>
                  </a:ext>
                </a:extLst>
              </a:tr>
              <a:tr h="292608">
                <a:tc>
                  <a:txBody>
                    <a:bodyPr/>
                    <a:lstStyle/>
                    <a:p>
                      <a:pPr marL="0" indent="57150"/>
                      <a:r>
                        <a:rPr lang="en-US" sz="1600" b="0" i="0">
                          <a:latin typeface="Arial Narrow" panose="020B0604020202020204" pitchFamily="34" charset="0"/>
                          <a:cs typeface="Arial Narrow" panose="020B0604020202020204" pitchFamily="34" charset="0"/>
                        </a:rPr>
                        <a:t>PR</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b="0" i="0">
                          <a:latin typeface="Arial Narrow" panose="020B0604020202020204" pitchFamily="34" charset="0"/>
                          <a:cs typeface="Arial Narrow" panose="020B0604020202020204" pitchFamily="34" charset="0"/>
                        </a:rPr>
                        <a:t>35 (44.3)</a:t>
                      </a: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20003302"/>
                  </a:ext>
                </a:extLst>
              </a:tr>
              <a:tr h="292608">
                <a:tc>
                  <a:txBody>
                    <a:bodyPr/>
                    <a:lstStyle/>
                    <a:p>
                      <a:pPr marL="0" indent="57150"/>
                      <a:r>
                        <a:rPr lang="en-US" sz="1600" b="0" i="0" dirty="0">
                          <a:latin typeface="Arial Narrow" panose="020B0604020202020204" pitchFamily="34" charset="0"/>
                          <a:cs typeface="Arial Narrow" panose="020B0604020202020204" pitchFamily="34" charset="0"/>
                        </a:rPr>
                        <a:t>SD</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algn="ctr"/>
                      <a:r>
                        <a:rPr lang="en-US" sz="1600" b="0" i="0">
                          <a:latin typeface="Arial Narrow" panose="020B0604020202020204" pitchFamily="34" charset="0"/>
                          <a:cs typeface="Arial Narrow" panose="020B0604020202020204" pitchFamily="34" charset="0"/>
                        </a:rPr>
                        <a:t>29 (36.7)</a:t>
                      </a: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334765663"/>
                  </a:ext>
                </a:extLst>
              </a:tr>
              <a:tr h="292608">
                <a:tc>
                  <a:txBody>
                    <a:bodyPr/>
                    <a:lstStyle/>
                    <a:p>
                      <a:pPr marL="0" indent="57150"/>
                      <a:r>
                        <a:rPr lang="en-US" sz="1600" b="0" i="0" dirty="0">
                          <a:latin typeface="Arial Narrow" panose="020B0604020202020204" pitchFamily="34" charset="0"/>
                          <a:cs typeface="Arial Narrow" panose="020B0604020202020204" pitchFamily="34" charset="0"/>
                        </a:rPr>
                        <a:t>PD</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b="0" i="0" dirty="0">
                          <a:latin typeface="Arial Narrow" panose="020B0604020202020204" pitchFamily="34" charset="0"/>
                          <a:cs typeface="Arial Narrow" panose="020B0604020202020204" pitchFamily="34" charset="0"/>
                        </a:rPr>
                        <a:t>7 (8.9)</a:t>
                      </a: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45758422"/>
                  </a:ext>
                </a:extLst>
              </a:tr>
              <a:tr h="292608">
                <a:tc>
                  <a:txBody>
                    <a:bodyPr/>
                    <a:lstStyle/>
                    <a:p>
                      <a:pPr marL="0" indent="57150"/>
                      <a:r>
                        <a:rPr lang="en-US" sz="1600" b="0" i="0" dirty="0">
                          <a:latin typeface="Arial Narrow" panose="020B0604020202020204" pitchFamily="34" charset="0"/>
                          <a:cs typeface="Arial Narrow" panose="020B0604020202020204" pitchFamily="34" charset="0"/>
                        </a:rPr>
                        <a:t>Not evaluable</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algn="ctr"/>
                      <a:r>
                        <a:rPr lang="en-US" sz="1600" b="0" i="0" dirty="0">
                          <a:latin typeface="Arial Narrow" panose="020B0604020202020204" pitchFamily="34" charset="0"/>
                          <a:cs typeface="Arial Narrow" panose="020B0604020202020204" pitchFamily="34" charset="0"/>
                        </a:rPr>
                        <a:t>2 (2.5)</a:t>
                      </a: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747132032"/>
                  </a:ext>
                </a:extLst>
              </a:tr>
            </a:tbl>
          </a:graphicData>
        </a:graphic>
      </p:graphicFrame>
      <p:graphicFrame>
        <p:nvGraphicFramePr>
          <p:cNvPr id="112" name="Table 111">
            <a:extLst>
              <a:ext uri="{FF2B5EF4-FFF2-40B4-BE49-F238E27FC236}">
                <a16:creationId xmlns:a16="http://schemas.microsoft.com/office/drawing/2014/main" id="{85CDCC9F-B11A-0C5D-B7B8-D293CD3F7D31}"/>
              </a:ext>
            </a:extLst>
          </p:cNvPr>
          <p:cNvGraphicFramePr>
            <a:graphicFrameLocks noGrp="1"/>
          </p:cNvGraphicFramePr>
          <p:nvPr/>
        </p:nvGraphicFramePr>
        <p:xfrm>
          <a:off x="8737598" y="4673465"/>
          <a:ext cx="3302000" cy="1646144"/>
        </p:xfrm>
        <a:graphic>
          <a:graphicData uri="http://schemas.openxmlformats.org/drawingml/2006/table">
            <a:tbl>
              <a:tblPr firstRow="1" bandRow="1">
                <a:tableStyleId>{5C22544A-7EE6-4342-B048-85BDC9FD1C3A}</a:tableStyleId>
              </a:tblPr>
              <a:tblGrid>
                <a:gridCol w="1981200">
                  <a:extLst>
                    <a:ext uri="{9D8B030D-6E8A-4147-A177-3AD203B41FA5}">
                      <a16:colId xmlns:a16="http://schemas.microsoft.com/office/drawing/2014/main" val="1577698366"/>
                    </a:ext>
                  </a:extLst>
                </a:gridCol>
                <a:gridCol w="1320800">
                  <a:extLst>
                    <a:ext uri="{9D8B030D-6E8A-4147-A177-3AD203B41FA5}">
                      <a16:colId xmlns:a16="http://schemas.microsoft.com/office/drawing/2014/main" val="512195394"/>
                    </a:ext>
                  </a:extLst>
                </a:gridCol>
              </a:tblGrid>
              <a:tr h="474692">
                <a:tc>
                  <a:txBody>
                    <a:bodyPr/>
                    <a:lstStyle/>
                    <a:p>
                      <a:pPr marR="0" algn="l" rtl="0">
                        <a:lnSpc>
                          <a:spcPts val="1100"/>
                        </a:lnSpc>
                        <a:spcBef>
                          <a:spcPts val="0"/>
                        </a:spcBef>
                        <a:spcAft>
                          <a:spcPts val="0"/>
                        </a:spcAft>
                        <a:buClr>
                          <a:srgbClr val="000000"/>
                        </a:buClr>
                        <a:buFont typeface="Arial"/>
                      </a:pPr>
                      <a:r>
                        <a:rPr lang="en-US" sz="1600" b="1" i="0" u="none" strike="noStrike" cap="none" dirty="0">
                          <a:solidFill>
                            <a:schemeClr val="bg1"/>
                          </a:solidFill>
                          <a:latin typeface="Arial Narrow" panose="020B0604020202020204" pitchFamily="34" charset="0"/>
                          <a:ea typeface="+mn-ea"/>
                          <a:cs typeface="Arial Narrow" panose="020B0604020202020204" pitchFamily="34" charset="0"/>
                          <a:sym typeface="Arial"/>
                        </a:rPr>
                        <a:t>Secondary Endpoints</a:t>
                      </a:r>
                      <a:endParaRPr lang="en-US" sz="1600" b="1" i="0" u="none" strike="noStrike" cap="none" baseline="30000" dirty="0">
                        <a:solidFill>
                          <a:schemeClr val="bg1"/>
                        </a:solidFill>
                        <a:latin typeface="Arial Narrow" panose="020B0604020202020204" pitchFamily="34" charset="0"/>
                        <a:ea typeface="+mn-ea"/>
                        <a:cs typeface="Arial Narrow" panose="020B0604020202020204" pitchFamily="34" charset="0"/>
                        <a:sym typeface="Arial"/>
                      </a:endParaRP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tc>
                  <a:txBody>
                    <a:bodyPr/>
                    <a:lstStyle/>
                    <a:p>
                      <a:pPr marR="0" algn="l" rtl="0">
                        <a:lnSpc>
                          <a:spcPts val="1100"/>
                        </a:lnSpc>
                        <a:spcBef>
                          <a:spcPts val="0"/>
                        </a:spcBef>
                        <a:spcAft>
                          <a:spcPts val="0"/>
                        </a:spcAft>
                        <a:buClr>
                          <a:srgbClr val="000000"/>
                        </a:buClr>
                        <a:buFont typeface="Arial"/>
                      </a:pPr>
                      <a:endParaRPr lang="en-US" sz="1600" b="1" i="0" u="none" strike="noStrike" cap="none" dirty="0">
                        <a:solidFill>
                          <a:schemeClr val="bg1"/>
                        </a:solidFill>
                        <a:latin typeface="Arial Narrow" panose="020B0604020202020204" pitchFamily="34" charset="0"/>
                        <a:ea typeface="+mn-ea"/>
                        <a:cs typeface="Arial Narrow" panose="020B0604020202020204" pitchFamily="34" charset="0"/>
                        <a:sym typeface="Arial"/>
                      </a:endParaRP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507050863"/>
                  </a:ext>
                </a:extLst>
              </a:tr>
              <a:tr h="292863">
                <a:tc>
                  <a:txBody>
                    <a:bodyPr/>
                    <a:lstStyle/>
                    <a:p>
                      <a:pPr marL="0" marR="0" indent="60325">
                        <a:lnSpc>
                          <a:spcPct val="107000"/>
                        </a:lnSpc>
                        <a:spcBef>
                          <a:spcPts val="0"/>
                        </a:spcBef>
                        <a:spcAft>
                          <a:spcPts val="0"/>
                        </a:spcAft>
                      </a:pPr>
                      <a:r>
                        <a:rPr lang="en-US" sz="1600" b="1" kern="1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Median </a:t>
                      </a:r>
                      <a:r>
                        <a:rPr lang="en-US" sz="1600" b="1" kern="100" dirty="0" err="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DOR</a:t>
                      </a:r>
                      <a:r>
                        <a:rPr lang="en-US" sz="1600" b="1" kern="100" baseline="30000" dirty="0" err="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a</a:t>
                      </a:r>
                      <a:endParaRPr lang="en-US" sz="1600" kern="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12700" marR="12700" marT="12700" marB="0" anchor="ctr">
                    <a:lnR w="12700" cap="flat" cmpd="sng" algn="ctr">
                      <a:solidFill>
                        <a:schemeClr val="bg1">
                          <a:lumMod val="7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b="0" kern="10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n=41</a:t>
                      </a:r>
                    </a:p>
                  </a:txBody>
                  <a:tcPr marL="12700" marR="12700" marT="12700" marB="0" anchor="ctr">
                    <a:lnL w="12700" cap="flat" cmpd="sng" algn="ctr">
                      <a:solidFill>
                        <a:schemeClr val="bg1">
                          <a:lumMod val="7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401444085"/>
                  </a:ext>
                </a:extLst>
              </a:tr>
              <a:tr h="292863">
                <a:tc>
                  <a:txBody>
                    <a:bodyPr/>
                    <a:lstStyle/>
                    <a:p>
                      <a:pPr marL="0" marR="0" indent="162560">
                        <a:lnSpc>
                          <a:spcPct val="107000"/>
                        </a:lnSpc>
                        <a:spcBef>
                          <a:spcPts val="0"/>
                        </a:spcBef>
                        <a:spcAft>
                          <a:spcPts val="0"/>
                        </a:spcAft>
                      </a:pPr>
                      <a:r>
                        <a:rPr lang="en-US" sz="1600" kern="1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Months (95% CI)</a:t>
                      </a:r>
                      <a:endParaRPr lang="en-US" sz="1600" kern="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25 (5.6-10.8)</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256574509"/>
                  </a:ext>
                </a:extLst>
              </a:tr>
              <a:tr h="292863">
                <a:tc>
                  <a:txBody>
                    <a:bodyPr/>
                    <a:lstStyle/>
                    <a:p>
                      <a:pPr marL="0" marR="0" indent="60325">
                        <a:lnSpc>
                          <a:spcPct val="107000"/>
                        </a:lnSpc>
                        <a:spcBef>
                          <a:spcPts val="0"/>
                        </a:spcBef>
                        <a:spcAft>
                          <a:spcPts val="0"/>
                        </a:spcAft>
                      </a:pPr>
                      <a:r>
                        <a:rPr lang="en-US" sz="1600" b="1" kern="100">
                          <a:effectLst/>
                          <a:latin typeface="Arial Narrow" panose="020B0606020202030204" pitchFamily="34" charset="0"/>
                          <a:ea typeface="Calibri" panose="020F0502020204030204" pitchFamily="34" charset="0"/>
                          <a:cs typeface="Times New Roman" panose="02020603050405020304" pitchFamily="18" charset="0"/>
                        </a:rPr>
                        <a:t>Median PFS</a:t>
                      </a:r>
                      <a:endParaRPr lang="en-US" sz="1600" kern="100">
                        <a:effectLst/>
                        <a:latin typeface="Arial Narrow" panose="020B0606020202030204" pitchFamily="34" charset="0"/>
                        <a:ea typeface="Calibri" panose="020F0502020204030204" pitchFamily="34" charset="0"/>
                        <a:cs typeface="Times New Roman" panose="02020603050405020304" pitchFamily="18" charset="0"/>
                      </a:endParaRP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600" b="0" kern="10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N=79</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18742099"/>
                  </a:ext>
                </a:extLst>
              </a:tr>
              <a:tr h="292863">
                <a:tc>
                  <a:txBody>
                    <a:bodyPr/>
                    <a:lstStyle/>
                    <a:p>
                      <a:pPr marL="0" marR="0" indent="162560">
                        <a:lnSpc>
                          <a:spcPct val="107000"/>
                        </a:lnSpc>
                        <a:spcBef>
                          <a:spcPts val="0"/>
                        </a:spcBef>
                        <a:spcAft>
                          <a:spcPts val="0"/>
                        </a:spcAft>
                      </a:pPr>
                      <a:r>
                        <a:rPr lang="en-US" sz="1600" kern="100">
                          <a:effectLst/>
                          <a:latin typeface="Arial Narrow" panose="020B0606020202030204" pitchFamily="34" charset="0"/>
                          <a:ea typeface="Calibri" panose="020F0502020204030204" pitchFamily="34" charset="0"/>
                          <a:cs typeface="Times New Roman" panose="02020603050405020304" pitchFamily="18" charset="0"/>
                        </a:rPr>
                        <a:t>Months (95% CI)</a:t>
                      </a: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60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6.93 (5.8-9.6)</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38740783"/>
                  </a:ext>
                </a:extLst>
              </a:tr>
            </a:tbl>
          </a:graphicData>
        </a:graphic>
      </p:graphicFrame>
      <p:graphicFrame>
        <p:nvGraphicFramePr>
          <p:cNvPr id="113" name="Table 112">
            <a:extLst>
              <a:ext uri="{FF2B5EF4-FFF2-40B4-BE49-F238E27FC236}">
                <a16:creationId xmlns:a16="http://schemas.microsoft.com/office/drawing/2014/main" id="{1526BA79-1919-D95A-3686-C2BDB1467422}"/>
              </a:ext>
            </a:extLst>
          </p:cNvPr>
          <p:cNvGraphicFramePr>
            <a:graphicFrameLocks/>
          </p:cNvGraphicFramePr>
          <p:nvPr/>
        </p:nvGraphicFramePr>
        <p:xfrm>
          <a:off x="152404" y="1355205"/>
          <a:ext cx="4822322" cy="3291840"/>
        </p:xfrm>
        <a:graphic>
          <a:graphicData uri="http://schemas.openxmlformats.org/drawingml/2006/table">
            <a:tbl>
              <a:tblPr firstRow="1" bandRow="1">
                <a:tableStyleId>{69012ECD-51FC-41F1-AA8D-1B2483CD663E}</a:tableStyleId>
              </a:tblPr>
              <a:tblGrid>
                <a:gridCol w="3399922">
                  <a:extLst>
                    <a:ext uri="{9D8B030D-6E8A-4147-A177-3AD203B41FA5}">
                      <a16:colId xmlns:a16="http://schemas.microsoft.com/office/drawing/2014/main" val="2418690212"/>
                    </a:ext>
                  </a:extLst>
                </a:gridCol>
                <a:gridCol w="1422400">
                  <a:extLst>
                    <a:ext uri="{9D8B030D-6E8A-4147-A177-3AD203B41FA5}">
                      <a16:colId xmlns:a16="http://schemas.microsoft.com/office/drawing/2014/main" val="2123684449"/>
                    </a:ext>
                  </a:extLst>
                </a:gridCol>
              </a:tblGrid>
              <a:tr h="365760">
                <a:tc>
                  <a:txBody>
                    <a:bodyPr/>
                    <a:lstStyle/>
                    <a:p>
                      <a:pPr>
                        <a:lnSpc>
                          <a:spcPts val="1100"/>
                        </a:lnSpc>
                        <a:spcAft>
                          <a:spcPts val="0"/>
                        </a:spcAft>
                      </a:pPr>
                      <a:r>
                        <a:rPr lang="en-GB" sz="1700" b="1" i="0">
                          <a:solidFill>
                            <a:schemeClr val="bg1"/>
                          </a:solidFill>
                          <a:latin typeface="Arial Narrow" panose="020B0604020202020204" pitchFamily="34" charset="0"/>
                          <a:cs typeface="Arial Narrow" panose="020B0604020202020204" pitchFamily="34" charset="0"/>
                        </a:rPr>
                        <a:t>Characteristics</a:t>
                      </a:r>
                    </a:p>
                  </a:txBody>
                  <a:tcPr marL="90000" marR="0" anchor="b">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ts val="1100"/>
                        </a:lnSpc>
                        <a:spcAft>
                          <a:spcPts val="0"/>
                        </a:spcAft>
                      </a:pPr>
                      <a:r>
                        <a:rPr lang="en-GB" sz="1700" b="1" i="0">
                          <a:solidFill>
                            <a:schemeClr val="bg1"/>
                          </a:solidFill>
                          <a:latin typeface="Arial Narrow" panose="020B0604020202020204" pitchFamily="34" charset="0"/>
                          <a:cs typeface="Arial Narrow" panose="020B0604020202020204" pitchFamily="34" charset="0"/>
                        </a:rPr>
                        <a:t>N=79</a:t>
                      </a:r>
                    </a:p>
                  </a:txBody>
                  <a:tcPr marL="0" marR="0" anchor="b">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2806899"/>
                  </a:ext>
                </a:extLst>
              </a:tr>
              <a:tr h="292608">
                <a:tc>
                  <a:txBody>
                    <a:bodyPr/>
                    <a:lstStyle/>
                    <a:p>
                      <a:pPr>
                        <a:lnSpc>
                          <a:spcPts val="1100"/>
                        </a:lnSpc>
                        <a:spcAft>
                          <a:spcPts val="0"/>
                        </a:spcAft>
                      </a:pPr>
                      <a:r>
                        <a:rPr lang="en-GB" sz="1700" b="0" i="0">
                          <a:solidFill>
                            <a:schemeClr val="tx1"/>
                          </a:solidFill>
                          <a:latin typeface="Arial Narrow" panose="020B0604020202020204" pitchFamily="34" charset="0"/>
                          <a:cs typeface="Arial Narrow" panose="020B0604020202020204" pitchFamily="34" charset="0"/>
                        </a:rPr>
                        <a:t>Age, median (range), years</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r>
                        <a:rPr lang="en-GB" sz="1700" b="0" i="0">
                          <a:solidFill>
                            <a:schemeClr val="tx1"/>
                          </a:solidFill>
                          <a:latin typeface="Arial Narrow" panose="020B0604020202020204" pitchFamily="34" charset="0"/>
                          <a:cs typeface="Arial Narrow" panose="020B0604020202020204" pitchFamily="34" charset="0"/>
                        </a:rPr>
                        <a:t>66 (41-84)</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81806742"/>
                  </a:ext>
                </a:extLst>
              </a:tr>
              <a:tr h="292608">
                <a:tc>
                  <a:txBody>
                    <a:bodyPr/>
                    <a:lstStyle/>
                    <a:p>
                      <a:pPr>
                        <a:lnSpc>
                          <a:spcPts val="1100"/>
                        </a:lnSpc>
                        <a:spcAft>
                          <a:spcPts val="0"/>
                        </a:spcAft>
                      </a:pPr>
                      <a:r>
                        <a:rPr lang="en-GB" sz="1700" b="0" i="0">
                          <a:solidFill>
                            <a:schemeClr val="tx1"/>
                          </a:solidFill>
                          <a:latin typeface="Arial Narrow" panose="020B0604020202020204" pitchFamily="34" charset="0"/>
                          <a:cs typeface="Arial Narrow" panose="020B0604020202020204" pitchFamily="34" charset="0"/>
                        </a:rPr>
                        <a:t>Race, n (%)</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endParaRPr lang="en-GB" sz="1700" b="0" i="0" dirty="0">
                        <a:solidFill>
                          <a:schemeClr val="tx1"/>
                        </a:solidFill>
                        <a:latin typeface="Arial Narrow" panose="020B0604020202020204" pitchFamily="34" charset="0"/>
                        <a:cs typeface="Arial Narrow" panose="020B0604020202020204" pitchFamily="34" charset="0"/>
                      </a:endParaRP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976513280"/>
                  </a:ext>
                </a:extLst>
              </a:tr>
              <a:tr h="292608">
                <a:tc>
                  <a:txBody>
                    <a:bodyPr/>
                    <a:lstStyle/>
                    <a:p>
                      <a:pPr marL="72000">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White</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65 (82.3)</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2486030"/>
                  </a:ext>
                </a:extLst>
              </a:tr>
              <a:tr h="292608">
                <a:tc>
                  <a:txBody>
                    <a:bodyPr/>
                    <a:lstStyle/>
                    <a:p>
                      <a:pPr marL="72000">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Black or African American</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GB" sz="1700" b="0" i="0">
                          <a:solidFill>
                            <a:schemeClr val="tx1"/>
                          </a:solidFill>
                          <a:latin typeface="Arial Narrow" panose="020B0604020202020204" pitchFamily="34" charset="0"/>
                          <a:cs typeface="Arial Narrow" panose="020B0604020202020204" pitchFamily="34" charset="0"/>
                        </a:rPr>
                        <a:t>4 (5.1)</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7923498"/>
                  </a:ext>
                </a:extLst>
              </a:tr>
              <a:tr h="292608">
                <a:tc>
                  <a:txBody>
                    <a:bodyPr/>
                    <a:lstStyle/>
                    <a:p>
                      <a:pPr marL="72000">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Asian</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GB" sz="1700" b="0" i="0">
                          <a:solidFill>
                            <a:schemeClr val="tx1"/>
                          </a:solidFill>
                          <a:latin typeface="Arial Narrow" panose="020B0604020202020204" pitchFamily="34" charset="0"/>
                          <a:cs typeface="Arial Narrow" panose="020B0604020202020204" pitchFamily="34" charset="0"/>
                        </a:rPr>
                        <a:t>1 (1.3)</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0153403"/>
                  </a:ext>
                </a:extLst>
              </a:tr>
              <a:tr h="292608">
                <a:tc>
                  <a:txBody>
                    <a:bodyPr/>
                    <a:lstStyle/>
                    <a:p>
                      <a:pP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 prior lines of systemic therapy, n (%) </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endParaRPr lang="en-GB" sz="1700" b="0" i="0" dirty="0">
                        <a:solidFill>
                          <a:schemeClr val="tx1"/>
                        </a:solidFill>
                        <a:latin typeface="Arial Narrow" panose="020B0604020202020204" pitchFamily="34" charset="0"/>
                        <a:cs typeface="Arial Narrow" panose="020B0604020202020204" pitchFamily="34" charset="0"/>
                      </a:endParaRP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856364154"/>
                  </a:ext>
                </a:extLst>
              </a:tr>
              <a:tr h="292608">
                <a:tc>
                  <a:txBody>
                    <a:bodyPr/>
                    <a:lstStyle/>
                    <a:p>
                      <a:pPr marL="72000" marR="0" lvl="0" indent="0" algn="l" defTabSz="914377" rtl="0" eaLnBrk="1" fontAlgn="auto" latinLnBrk="0" hangingPunct="1">
                        <a:lnSpc>
                          <a:spcPts val="1100"/>
                        </a:lnSpc>
                        <a:spcBef>
                          <a:spcPts val="0"/>
                        </a:spcBef>
                        <a:spcAft>
                          <a:spcPts val="0"/>
                        </a:spcAft>
                        <a:buClrTx/>
                        <a:buSzTx/>
                        <a:buFont typeface="Arial" panose="020B0604020202020204" pitchFamily="34" charset="0"/>
                        <a:buNone/>
                        <a:tabLst/>
                        <a:defRPr/>
                      </a:pPr>
                      <a:r>
                        <a:rPr lang="en-GB" sz="1700" b="0" i="0">
                          <a:solidFill>
                            <a:schemeClr val="tx1"/>
                          </a:solidFill>
                          <a:latin typeface="Arial Narrow" panose="020B0604020202020204" pitchFamily="34" charset="0"/>
                          <a:cs typeface="Arial Narrow" panose="020B0604020202020204" pitchFamily="34" charset="0"/>
                        </a:rPr>
                        <a:t>1-2</a:t>
                      </a:r>
                      <a:r>
                        <a:rPr lang="en-GB" sz="1700" b="0" i="0" baseline="30000">
                          <a:solidFill>
                            <a:schemeClr val="tx1"/>
                          </a:solidFill>
                          <a:latin typeface="Arial Narrow" panose="020B0604020202020204" pitchFamily="34" charset="0"/>
                          <a:cs typeface="Arial Narrow" panose="020B0604020202020204" pitchFamily="34" charset="0"/>
                        </a:rPr>
                        <a:t>a</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49 (62.0)</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68135778"/>
                  </a:ext>
                </a:extLst>
              </a:tr>
              <a:tr h="292608">
                <a:tc>
                  <a:txBody>
                    <a:bodyPr/>
                    <a:lstStyle/>
                    <a:p>
                      <a:pPr marL="72000" marR="0" lvl="0" indent="0" algn="l" defTabSz="914377" rtl="0" eaLnBrk="1" fontAlgn="auto" latinLnBrk="0" hangingPunct="1">
                        <a:lnSpc>
                          <a:spcPts val="1100"/>
                        </a:lnSpc>
                        <a:spcBef>
                          <a:spcPts val="0"/>
                        </a:spcBef>
                        <a:spcAft>
                          <a:spcPts val="0"/>
                        </a:spcAft>
                        <a:buClrTx/>
                        <a:buSzTx/>
                        <a:buFont typeface="Arial" panose="020B0604020202020204" pitchFamily="34" charset="0"/>
                        <a:buNone/>
                        <a:tabLst/>
                        <a:defRPr/>
                      </a:pPr>
                      <a:r>
                        <a:rPr lang="en-GB" sz="1700" b="0" i="0" dirty="0">
                          <a:solidFill>
                            <a:schemeClr val="tx1"/>
                          </a:solidFill>
                          <a:latin typeface="Arial Narrow" panose="020B0604020202020204" pitchFamily="34" charset="0"/>
                          <a:cs typeface="Arial Narrow" panose="020B0604020202020204" pitchFamily="34" charset="0"/>
                        </a:rPr>
                        <a:t>≥3</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latinLnBrk="0" hangingPunct="1">
                        <a:lnSpc>
                          <a:spcPts val="1100"/>
                        </a:lnSpc>
                        <a:spcAft>
                          <a:spcPts val="0"/>
                        </a:spcAft>
                      </a:pPr>
                      <a:r>
                        <a:rPr lang="en-US" sz="1700" b="0" i="0" kern="1200">
                          <a:solidFill>
                            <a:schemeClr val="tx1"/>
                          </a:solidFill>
                          <a:latin typeface="Arial Narrow" panose="020B0604020202020204" pitchFamily="34" charset="0"/>
                          <a:ea typeface="+mn-ea"/>
                          <a:cs typeface="Arial Narrow" panose="020B0604020202020204" pitchFamily="34" charset="0"/>
                        </a:rPr>
                        <a:t>30 (37.9)</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30324141"/>
                  </a:ext>
                </a:extLst>
              </a:tr>
              <a:tr h="292608">
                <a:tc>
                  <a:txBody>
                    <a:bodyPr/>
                    <a:lstStyle/>
                    <a:p>
                      <a:pP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Prior exposure to </a:t>
                      </a:r>
                      <a:r>
                        <a:rPr lang="en-GB" sz="1700" b="0" i="0" dirty="0" err="1">
                          <a:solidFill>
                            <a:schemeClr val="tx1"/>
                          </a:solidFill>
                          <a:latin typeface="Arial Narrow" panose="020B0604020202020204" pitchFamily="34" charset="0"/>
                          <a:cs typeface="Arial Narrow" panose="020B0604020202020204" pitchFamily="34" charset="0"/>
                        </a:rPr>
                        <a:t>taxanes</a:t>
                      </a:r>
                      <a:r>
                        <a:rPr lang="en-GB" sz="1700" b="0" i="0" dirty="0">
                          <a:solidFill>
                            <a:schemeClr val="tx1"/>
                          </a:solidFill>
                          <a:latin typeface="Arial Narrow" panose="020B0604020202020204" pitchFamily="34" charset="0"/>
                          <a:cs typeface="Arial Narrow" panose="020B0604020202020204" pitchFamily="34" charset="0"/>
                        </a:rPr>
                        <a:t>, n (%), Yes</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377" rtl="0" eaLnBrk="1" latinLnBrk="0" hangingPunct="1">
                        <a:lnSpc>
                          <a:spcPts val="1100"/>
                        </a:lnSpc>
                        <a:spcAft>
                          <a:spcPts val="0"/>
                        </a:spcAft>
                      </a:pPr>
                      <a:r>
                        <a:rPr lang="en-US" sz="1700" b="0" i="0" kern="1200" dirty="0">
                          <a:solidFill>
                            <a:schemeClr val="tx1"/>
                          </a:solidFill>
                          <a:latin typeface="Arial Narrow" panose="020B0604020202020204" pitchFamily="34" charset="0"/>
                          <a:ea typeface="+mn-ea"/>
                          <a:cs typeface="Arial Narrow" panose="020B0604020202020204" pitchFamily="34" charset="0"/>
                        </a:rPr>
                        <a:t>77 (97.5)</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468045300"/>
                  </a:ext>
                </a:extLst>
              </a:tr>
              <a:tr h="292608">
                <a:tc>
                  <a:txBody>
                    <a:bodyPr/>
                    <a:lstStyle/>
                    <a:p>
                      <a:pPr marL="144000">
                        <a:lnSpc>
                          <a:spcPts val="1100"/>
                        </a:lnSpc>
                        <a:spcAft>
                          <a:spcPts val="0"/>
                        </a:spcAft>
                      </a:pPr>
                      <a:r>
                        <a:rPr lang="en-GB" sz="1700" b="0" i="0">
                          <a:solidFill>
                            <a:schemeClr val="tx1"/>
                          </a:solidFill>
                          <a:latin typeface="Arial Narrow" panose="020B0604020202020204" pitchFamily="34" charset="0"/>
                          <a:cs typeface="Arial Narrow" panose="020B0604020202020204" pitchFamily="34" charset="0"/>
                        </a:rPr>
                        <a:t>Exposed in multiple lines</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GB" sz="1700" b="0" i="0" dirty="0">
                          <a:solidFill>
                            <a:schemeClr val="tx1"/>
                          </a:solidFill>
                          <a:latin typeface="Arial Narrow" panose="020B0604020202020204" pitchFamily="34" charset="0"/>
                          <a:cs typeface="Arial Narrow" panose="020B0604020202020204" pitchFamily="34" charset="0"/>
                        </a:rPr>
                        <a:t>20 (25.3)</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8214550"/>
                  </a:ext>
                </a:extLst>
              </a:tr>
            </a:tbl>
          </a:graphicData>
        </a:graphic>
      </p:graphicFrame>
      <p:sp>
        <p:nvSpPr>
          <p:cNvPr id="115" name="TextBox 114">
            <a:extLst>
              <a:ext uri="{FF2B5EF4-FFF2-40B4-BE49-F238E27FC236}">
                <a16:creationId xmlns:a16="http://schemas.microsoft.com/office/drawing/2014/main" id="{5E4A6EF1-974E-AFF4-A617-003740615FD5}"/>
              </a:ext>
            </a:extLst>
          </p:cNvPr>
          <p:cNvSpPr txBox="1"/>
          <p:nvPr/>
        </p:nvSpPr>
        <p:spPr>
          <a:xfrm>
            <a:off x="152402" y="6505571"/>
            <a:ext cx="293356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ＭＳ Ｐゴシック" charset="0"/>
                <a:cs typeface="+mn-cs"/>
              </a:rPr>
              <a:t>Alvarez Secord; Ann Oncol 2025</a:t>
            </a:r>
          </a:p>
        </p:txBody>
      </p:sp>
      <p:sp>
        <p:nvSpPr>
          <p:cNvPr id="116" name="Title 10">
            <a:extLst>
              <a:ext uri="{FF2B5EF4-FFF2-40B4-BE49-F238E27FC236}">
                <a16:creationId xmlns:a16="http://schemas.microsoft.com/office/drawing/2014/main" id="{4D75D0A5-C219-1008-394E-0A6BE04C42E6}"/>
              </a:ext>
            </a:extLst>
          </p:cNvPr>
          <p:cNvSpPr>
            <a:spLocks noGrp="1"/>
          </p:cNvSpPr>
          <p:nvPr>
            <p:ph type="title" idx="4294967295"/>
          </p:nvPr>
        </p:nvSpPr>
        <p:spPr>
          <a:xfrm>
            <a:off x="152402" y="156260"/>
            <a:ext cx="11453813" cy="574675"/>
          </a:xfrm>
        </p:spPr>
        <p:txBody>
          <a:bodyPr anchor="t">
            <a:noAutofit/>
          </a:bodyPr>
          <a:lstStyle/>
          <a:p>
            <a:r>
              <a:rPr lang="en-US" sz="3200" dirty="0">
                <a:solidFill>
                  <a:schemeClr val="tx1"/>
                </a:solidFill>
              </a:rPr>
              <a:t>PICCOLO: </a:t>
            </a:r>
            <a:r>
              <a:rPr lang="en-US" sz="3200" dirty="0" err="1">
                <a:solidFill>
                  <a:schemeClr val="tx1"/>
                </a:solidFill>
              </a:rPr>
              <a:t>Mirvetuximab</a:t>
            </a:r>
            <a:r>
              <a:rPr lang="en-US" sz="3200" dirty="0">
                <a:solidFill>
                  <a:schemeClr val="tx1"/>
                </a:solidFill>
              </a:rPr>
              <a:t> </a:t>
            </a:r>
            <a:r>
              <a:rPr lang="en-US" sz="3200" dirty="0" err="1">
                <a:solidFill>
                  <a:schemeClr val="tx1"/>
                </a:solidFill>
              </a:rPr>
              <a:t>soravtansine</a:t>
            </a:r>
            <a:r>
              <a:rPr lang="en-US" sz="3200" dirty="0">
                <a:solidFill>
                  <a:schemeClr val="tx1"/>
                </a:solidFill>
              </a:rPr>
              <a:t> in platinum sensitive ovarian cancer</a:t>
            </a:r>
          </a:p>
        </p:txBody>
      </p:sp>
      <p:sp>
        <p:nvSpPr>
          <p:cNvPr id="117" name="TextBox 116">
            <a:extLst>
              <a:ext uri="{FF2B5EF4-FFF2-40B4-BE49-F238E27FC236}">
                <a16:creationId xmlns:a16="http://schemas.microsoft.com/office/drawing/2014/main" id="{69B5ACAC-73FE-94C9-AD9D-5EA83DFCD19D}"/>
              </a:ext>
            </a:extLst>
          </p:cNvPr>
          <p:cNvSpPr txBox="1"/>
          <p:nvPr/>
        </p:nvSpPr>
        <p:spPr>
          <a:xfrm>
            <a:off x="5527067" y="825262"/>
            <a:ext cx="61087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mn-cs"/>
              </a:rPr>
              <a:t>Maximum Tumor % Change From Baseline</a:t>
            </a:r>
            <a:endParaRPr kumimoji="0" lang="en-US" sz="18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endParaRPr>
          </a:p>
        </p:txBody>
      </p:sp>
    </p:spTree>
    <p:extLst>
      <p:ext uri="{BB962C8B-B14F-4D97-AF65-F5344CB8AC3E}">
        <p14:creationId xmlns:p14="http://schemas.microsoft.com/office/powerpoint/2010/main" val="3333406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1449B-96D4-187E-E210-DE6EF903D256}"/>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29723F63-29D8-CE64-4C31-270AEB1B3301}"/>
              </a:ext>
            </a:extLst>
          </p:cNvPr>
          <p:cNvSpPr txBox="1">
            <a:spLocks/>
          </p:cNvSpPr>
          <p:nvPr/>
        </p:nvSpPr>
        <p:spPr>
          <a:xfrm>
            <a:off x="144792" y="220508"/>
            <a:ext cx="9275053" cy="5760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Arial"/>
                <a:ea typeface="+mj-ea"/>
                <a:cs typeface="+mj-cs"/>
              </a:rPr>
              <a:t>PICCOLO: Subgroup Analyses</a:t>
            </a:r>
          </a:p>
        </p:txBody>
      </p:sp>
      <p:grpSp>
        <p:nvGrpSpPr>
          <p:cNvPr id="4" name="Group 3">
            <a:extLst>
              <a:ext uri="{FF2B5EF4-FFF2-40B4-BE49-F238E27FC236}">
                <a16:creationId xmlns:a16="http://schemas.microsoft.com/office/drawing/2014/main" id="{EA6D0910-B0FA-7299-FC8C-56F866477318}"/>
              </a:ext>
            </a:extLst>
          </p:cNvPr>
          <p:cNvGrpSpPr/>
          <p:nvPr/>
        </p:nvGrpSpPr>
        <p:grpSpPr>
          <a:xfrm>
            <a:off x="154247" y="1188159"/>
            <a:ext cx="12096543" cy="4834413"/>
            <a:chOff x="83183" y="889384"/>
            <a:chExt cx="9072407" cy="3625810"/>
          </a:xfrm>
        </p:grpSpPr>
        <p:grpSp>
          <p:nvGrpSpPr>
            <p:cNvPr id="5" name="Group 4">
              <a:extLst>
                <a:ext uri="{FF2B5EF4-FFF2-40B4-BE49-F238E27FC236}">
                  <a16:creationId xmlns:a16="http://schemas.microsoft.com/office/drawing/2014/main" id="{DF0EFA6B-69A2-AFAF-2B17-5B74F71D3EE4}"/>
                </a:ext>
              </a:extLst>
            </p:cNvPr>
            <p:cNvGrpSpPr/>
            <p:nvPr/>
          </p:nvGrpSpPr>
          <p:grpSpPr>
            <a:xfrm>
              <a:off x="323319" y="889384"/>
              <a:ext cx="2024329" cy="3229870"/>
              <a:chOff x="562784" y="1188684"/>
              <a:chExt cx="2024329" cy="3229870"/>
            </a:xfrm>
          </p:grpSpPr>
          <p:sp>
            <p:nvSpPr>
              <p:cNvPr id="87" name="TextBox 86">
                <a:extLst>
                  <a:ext uri="{FF2B5EF4-FFF2-40B4-BE49-F238E27FC236}">
                    <a16:creationId xmlns:a16="http://schemas.microsoft.com/office/drawing/2014/main" id="{9C4E5EA5-E9DA-8770-B75C-FF762CE4B42F}"/>
                  </a:ext>
                </a:extLst>
              </p:cNvPr>
              <p:cNvSpPr txBox="1"/>
              <p:nvPr/>
            </p:nvSpPr>
            <p:spPr>
              <a:xfrm>
                <a:off x="791501" y="4072305"/>
                <a:ext cx="655172"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1 or 2</a:t>
                </a:r>
                <a:b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br>
                <a:endPar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endParaRPr>
              </a:p>
            </p:txBody>
          </p:sp>
          <p:grpSp>
            <p:nvGrpSpPr>
              <p:cNvPr id="88" name="Group 87">
                <a:extLst>
                  <a:ext uri="{FF2B5EF4-FFF2-40B4-BE49-F238E27FC236}">
                    <a16:creationId xmlns:a16="http://schemas.microsoft.com/office/drawing/2014/main" id="{2689CBFD-786B-2501-977B-4CEDD8BBE292}"/>
                  </a:ext>
                </a:extLst>
              </p:cNvPr>
              <p:cNvGrpSpPr/>
              <p:nvPr/>
            </p:nvGrpSpPr>
            <p:grpSpPr>
              <a:xfrm>
                <a:off x="562784" y="1188684"/>
                <a:ext cx="2024329" cy="3091370"/>
                <a:chOff x="562784" y="1188684"/>
                <a:chExt cx="2024329" cy="3091370"/>
              </a:xfrm>
            </p:grpSpPr>
            <p:sp>
              <p:nvSpPr>
                <p:cNvPr id="89" name="TextBox 88">
                  <a:extLst>
                    <a:ext uri="{FF2B5EF4-FFF2-40B4-BE49-F238E27FC236}">
                      <a16:creationId xmlns:a16="http://schemas.microsoft.com/office/drawing/2014/main" id="{4B0326AF-F867-4EB9-C9DF-7FFE106BADB1}"/>
                    </a:ext>
                  </a:extLst>
                </p:cNvPr>
                <p:cNvSpPr txBox="1"/>
                <p:nvPr/>
              </p:nvSpPr>
              <p:spPr>
                <a:xfrm>
                  <a:off x="1269190" y="4072305"/>
                  <a:ext cx="655172"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3</a:t>
                  </a:r>
                </a:p>
              </p:txBody>
            </p:sp>
            <p:sp>
              <p:nvSpPr>
                <p:cNvPr id="90" name="TextBox 89">
                  <a:extLst>
                    <a:ext uri="{FF2B5EF4-FFF2-40B4-BE49-F238E27FC236}">
                      <a16:creationId xmlns:a16="http://schemas.microsoft.com/office/drawing/2014/main" id="{8B629A6E-1E59-E7CC-E976-7A2A814584C4}"/>
                    </a:ext>
                  </a:extLst>
                </p:cNvPr>
                <p:cNvSpPr txBox="1"/>
                <p:nvPr/>
              </p:nvSpPr>
              <p:spPr>
                <a:xfrm>
                  <a:off x="1712414" y="4072305"/>
                  <a:ext cx="655172"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4</a:t>
                  </a:r>
                </a:p>
              </p:txBody>
            </p:sp>
            <p:grpSp>
              <p:nvGrpSpPr>
                <p:cNvPr id="91" name="Group 90">
                  <a:extLst>
                    <a:ext uri="{FF2B5EF4-FFF2-40B4-BE49-F238E27FC236}">
                      <a16:creationId xmlns:a16="http://schemas.microsoft.com/office/drawing/2014/main" id="{4193D72D-5759-F5B8-5487-FA8FC054681E}"/>
                    </a:ext>
                  </a:extLst>
                </p:cNvPr>
                <p:cNvGrpSpPr/>
                <p:nvPr/>
              </p:nvGrpSpPr>
              <p:grpSpPr>
                <a:xfrm>
                  <a:off x="562784" y="1188684"/>
                  <a:ext cx="2024329" cy="3017520"/>
                  <a:chOff x="-29321" y="2755156"/>
                  <a:chExt cx="2024329" cy="3017520"/>
                </a:xfrm>
              </p:grpSpPr>
              <p:graphicFrame>
                <p:nvGraphicFramePr>
                  <p:cNvPr id="92" name="Chart 91">
                    <a:extLst>
                      <a:ext uri="{FF2B5EF4-FFF2-40B4-BE49-F238E27FC236}">
                        <a16:creationId xmlns:a16="http://schemas.microsoft.com/office/drawing/2014/main" id="{7E81C74D-2856-F1CB-9F86-EA26B547904C}"/>
                      </a:ext>
                    </a:extLst>
                  </p:cNvPr>
                  <p:cNvGraphicFramePr/>
                  <p:nvPr/>
                </p:nvGraphicFramePr>
                <p:xfrm>
                  <a:off x="-29321" y="2755156"/>
                  <a:ext cx="2024329" cy="3017520"/>
                </p:xfrm>
                <a:graphic>
                  <a:graphicData uri="http://schemas.openxmlformats.org/drawingml/2006/chart">
                    <c:chart xmlns:c="http://schemas.openxmlformats.org/drawingml/2006/chart" xmlns:r="http://schemas.openxmlformats.org/officeDocument/2006/relationships" r:id="rId2"/>
                  </a:graphicData>
                </a:graphic>
              </p:graphicFrame>
              <p:sp>
                <p:nvSpPr>
                  <p:cNvPr id="93" name="TextBox 92">
                    <a:extLst>
                      <a:ext uri="{FF2B5EF4-FFF2-40B4-BE49-F238E27FC236}">
                        <a16:creationId xmlns:a16="http://schemas.microsoft.com/office/drawing/2014/main" id="{51C048AF-F8E0-97EA-0406-ECA6827C3E06}"/>
                      </a:ext>
                    </a:extLst>
                  </p:cNvPr>
                  <p:cNvSpPr txBox="1"/>
                  <p:nvPr/>
                </p:nvSpPr>
                <p:spPr>
                  <a:xfrm>
                    <a:off x="596179" y="3903626"/>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5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29.1-70.9</a:t>
                    </a:r>
                  </a:p>
                </p:txBody>
              </p:sp>
              <p:sp>
                <p:nvSpPr>
                  <p:cNvPr id="94" name="TextBox 93">
                    <a:extLst>
                      <a:ext uri="{FF2B5EF4-FFF2-40B4-BE49-F238E27FC236}">
                        <a16:creationId xmlns:a16="http://schemas.microsoft.com/office/drawing/2014/main" id="{14C86107-44C1-2A0E-02F8-CB744C690D11}"/>
                      </a:ext>
                    </a:extLst>
                  </p:cNvPr>
                  <p:cNvSpPr txBox="1"/>
                  <p:nvPr/>
                </p:nvSpPr>
                <p:spPr>
                  <a:xfrm>
                    <a:off x="118490" y="3770290"/>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5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40.2-69.3</a:t>
                    </a:r>
                  </a:p>
                </p:txBody>
              </p:sp>
              <p:sp>
                <p:nvSpPr>
                  <p:cNvPr id="95" name="TextBox 94">
                    <a:extLst>
                      <a:ext uri="{FF2B5EF4-FFF2-40B4-BE49-F238E27FC236}">
                        <a16:creationId xmlns:a16="http://schemas.microsoft.com/office/drawing/2014/main" id="{BF58FB5C-EB1F-A044-980D-21A911655353}"/>
                      </a:ext>
                    </a:extLst>
                  </p:cNvPr>
                  <p:cNvSpPr txBox="1"/>
                  <p:nvPr/>
                </p:nvSpPr>
                <p:spPr>
                  <a:xfrm>
                    <a:off x="1039403" y="4379340"/>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3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4.3-77.7</a:t>
                    </a:r>
                  </a:p>
                </p:txBody>
              </p:sp>
              <p:sp>
                <p:nvSpPr>
                  <p:cNvPr id="96" name="TextBox 95">
                    <a:extLst>
                      <a:ext uri="{FF2B5EF4-FFF2-40B4-BE49-F238E27FC236}">
                        <a16:creationId xmlns:a16="http://schemas.microsoft.com/office/drawing/2014/main" id="{DF11521C-3466-D7D0-843F-9421F2C45390}"/>
                      </a:ext>
                    </a:extLst>
                  </p:cNvPr>
                  <p:cNvSpPr txBox="1"/>
                  <p:nvPr/>
                </p:nvSpPr>
                <p:spPr>
                  <a:xfrm>
                    <a:off x="249742" y="5421499"/>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49)</a:t>
                    </a:r>
                  </a:p>
                </p:txBody>
              </p:sp>
              <p:sp>
                <p:nvSpPr>
                  <p:cNvPr id="97" name="TextBox 96">
                    <a:extLst>
                      <a:ext uri="{FF2B5EF4-FFF2-40B4-BE49-F238E27FC236}">
                        <a16:creationId xmlns:a16="http://schemas.microsoft.com/office/drawing/2014/main" id="{E2D502DF-8C42-60F7-F1B6-978FEC5E62C8}"/>
                      </a:ext>
                    </a:extLst>
                  </p:cNvPr>
                  <p:cNvSpPr txBox="1"/>
                  <p:nvPr/>
                </p:nvSpPr>
                <p:spPr>
                  <a:xfrm>
                    <a:off x="712441" y="5421499"/>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24)</a:t>
                    </a:r>
                  </a:p>
                </p:txBody>
              </p:sp>
              <p:sp>
                <p:nvSpPr>
                  <p:cNvPr id="98" name="TextBox 97">
                    <a:extLst>
                      <a:ext uri="{FF2B5EF4-FFF2-40B4-BE49-F238E27FC236}">
                        <a16:creationId xmlns:a16="http://schemas.microsoft.com/office/drawing/2014/main" id="{008BB13A-058F-179C-A130-4490E7B5EDE2}"/>
                      </a:ext>
                    </a:extLst>
                  </p:cNvPr>
                  <p:cNvSpPr txBox="1"/>
                  <p:nvPr/>
                </p:nvSpPr>
                <p:spPr>
                  <a:xfrm>
                    <a:off x="1163160" y="5421499"/>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6)</a:t>
                    </a:r>
                  </a:p>
                </p:txBody>
              </p:sp>
            </p:grpSp>
          </p:grpSp>
        </p:grpSp>
        <p:sp>
          <p:nvSpPr>
            <p:cNvPr id="6" name="TextBox 5">
              <a:extLst>
                <a:ext uri="{FF2B5EF4-FFF2-40B4-BE49-F238E27FC236}">
                  <a16:creationId xmlns:a16="http://schemas.microsoft.com/office/drawing/2014/main" id="{0E16B5C5-F41E-8E7B-2E2F-A5C70DF20088}"/>
                </a:ext>
              </a:extLst>
            </p:cNvPr>
            <p:cNvSpPr txBox="1"/>
            <p:nvPr/>
          </p:nvSpPr>
          <p:spPr>
            <a:xfrm rot="16200000">
              <a:off x="-478966" y="2276790"/>
              <a:ext cx="1355132" cy="2308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110004020202020204"/>
                  <a:ea typeface="ＭＳ Ｐゴシック" charset="0"/>
                  <a:cs typeface="+mn-cs"/>
                </a:rPr>
                <a:t>ORR</a:t>
              </a:r>
            </a:p>
          </p:txBody>
        </p:sp>
        <p:grpSp>
          <p:nvGrpSpPr>
            <p:cNvPr id="7" name="Group 6">
              <a:extLst>
                <a:ext uri="{FF2B5EF4-FFF2-40B4-BE49-F238E27FC236}">
                  <a16:creationId xmlns:a16="http://schemas.microsoft.com/office/drawing/2014/main" id="{1E83B4AA-5AD0-FD51-BF3C-09A213ABF2F5}"/>
                </a:ext>
              </a:extLst>
            </p:cNvPr>
            <p:cNvGrpSpPr/>
            <p:nvPr/>
          </p:nvGrpSpPr>
          <p:grpSpPr>
            <a:xfrm>
              <a:off x="182299" y="894607"/>
              <a:ext cx="2024329" cy="3590233"/>
              <a:chOff x="167059" y="864127"/>
              <a:chExt cx="2024329" cy="3590233"/>
            </a:xfrm>
          </p:grpSpPr>
          <p:grpSp>
            <p:nvGrpSpPr>
              <p:cNvPr id="83" name="Group 82">
                <a:extLst>
                  <a:ext uri="{FF2B5EF4-FFF2-40B4-BE49-F238E27FC236}">
                    <a16:creationId xmlns:a16="http://schemas.microsoft.com/office/drawing/2014/main" id="{F8D07B69-AC97-3BF6-12E5-DEBF0F507F3A}"/>
                  </a:ext>
                </a:extLst>
              </p:cNvPr>
              <p:cNvGrpSpPr/>
              <p:nvPr/>
            </p:nvGrpSpPr>
            <p:grpSpPr>
              <a:xfrm>
                <a:off x="167059" y="864127"/>
                <a:ext cx="2024329" cy="3590233"/>
                <a:chOff x="167059" y="1193907"/>
                <a:chExt cx="2024329" cy="3590233"/>
              </a:xfrm>
            </p:grpSpPr>
            <p:graphicFrame>
              <p:nvGraphicFramePr>
                <p:cNvPr id="85" name="Chart 84">
                  <a:extLst>
                    <a:ext uri="{FF2B5EF4-FFF2-40B4-BE49-F238E27FC236}">
                      <a16:creationId xmlns:a16="http://schemas.microsoft.com/office/drawing/2014/main" id="{01E69BC5-BB90-0EF2-DDE6-B6AD2B556C7C}"/>
                    </a:ext>
                  </a:extLst>
                </p:cNvPr>
                <p:cNvGraphicFramePr/>
                <p:nvPr/>
              </p:nvGraphicFramePr>
              <p:xfrm>
                <a:off x="167059" y="1193907"/>
                <a:ext cx="2024329" cy="3017520"/>
              </p:xfrm>
              <a:graphic>
                <a:graphicData uri="http://schemas.openxmlformats.org/drawingml/2006/chart">
                  <c:chart xmlns:c="http://schemas.openxmlformats.org/drawingml/2006/chart" xmlns:r="http://schemas.openxmlformats.org/officeDocument/2006/relationships" r:id="rId3"/>
                </a:graphicData>
              </a:graphic>
            </p:graphicFrame>
            <p:sp>
              <p:nvSpPr>
                <p:cNvPr id="86" name="TextBox 85">
                  <a:extLst>
                    <a:ext uri="{FF2B5EF4-FFF2-40B4-BE49-F238E27FC236}">
                      <a16:creationId xmlns:a16="http://schemas.microsoft.com/office/drawing/2014/main" id="{9AD6D343-F830-E9BE-9AD7-C9E0317A5C69}"/>
                    </a:ext>
                  </a:extLst>
                </p:cNvPr>
                <p:cNvSpPr txBox="1"/>
                <p:nvPr/>
              </p:nvSpPr>
              <p:spPr>
                <a:xfrm>
                  <a:off x="532283" y="4376240"/>
                  <a:ext cx="1544376" cy="4079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No. Prior Lines </a:t>
                  </a:r>
                  <a:br>
                    <a:rPr kumimoji="0" lang="en-US" sz="1467"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br>
                  <a:r>
                    <a:rPr kumimoji="0" lang="en-US" sz="1467"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of Therapy</a:t>
                  </a:r>
                </a:p>
              </p:txBody>
            </p:sp>
          </p:grpSp>
          <p:cxnSp>
            <p:nvCxnSpPr>
              <p:cNvPr id="84" name="Straight Connector 83">
                <a:extLst>
                  <a:ext uri="{FF2B5EF4-FFF2-40B4-BE49-F238E27FC236}">
                    <a16:creationId xmlns:a16="http://schemas.microsoft.com/office/drawing/2014/main" id="{D35F0B22-ADC6-29F6-6896-E564FF6F5913}"/>
                  </a:ext>
                </a:extLst>
              </p:cNvPr>
              <p:cNvCxnSpPr>
                <a:cxnSpLocks/>
              </p:cNvCxnSpPr>
              <p:nvPr/>
            </p:nvCxnSpPr>
            <p:spPr>
              <a:xfrm>
                <a:off x="671473" y="4091804"/>
                <a:ext cx="1259174" cy="0"/>
              </a:xfrm>
              <a:prstGeom prst="line">
                <a:avLst/>
              </a:prstGeom>
            </p:spPr>
            <p:style>
              <a:lnRef idx="1">
                <a:schemeClr val="dk1"/>
              </a:lnRef>
              <a:fillRef idx="0">
                <a:schemeClr val="dk1"/>
              </a:fillRef>
              <a:effectRef idx="0">
                <a:schemeClr val="dk1"/>
              </a:effectRef>
              <a:fontRef idx="minor">
                <a:schemeClr val="tx1"/>
              </a:fontRef>
            </p:style>
          </p:cxnSp>
        </p:grpSp>
        <p:grpSp>
          <p:nvGrpSpPr>
            <p:cNvPr id="8" name="Group 7">
              <a:extLst>
                <a:ext uri="{FF2B5EF4-FFF2-40B4-BE49-F238E27FC236}">
                  <a16:creationId xmlns:a16="http://schemas.microsoft.com/office/drawing/2014/main" id="{2A6DE689-F59E-AB25-8EBD-7711CB8DA238}"/>
                </a:ext>
              </a:extLst>
            </p:cNvPr>
            <p:cNvGrpSpPr/>
            <p:nvPr/>
          </p:nvGrpSpPr>
          <p:grpSpPr>
            <a:xfrm>
              <a:off x="2087885" y="893019"/>
              <a:ext cx="1398033" cy="3445355"/>
              <a:chOff x="2072645" y="854919"/>
              <a:chExt cx="1398033" cy="3445355"/>
            </a:xfrm>
          </p:grpSpPr>
          <p:grpSp>
            <p:nvGrpSpPr>
              <p:cNvPr id="71" name="Group 70">
                <a:extLst>
                  <a:ext uri="{FF2B5EF4-FFF2-40B4-BE49-F238E27FC236}">
                    <a16:creationId xmlns:a16="http://schemas.microsoft.com/office/drawing/2014/main" id="{C708153E-7AEE-22AF-382B-35623875D829}"/>
                  </a:ext>
                </a:extLst>
              </p:cNvPr>
              <p:cNvGrpSpPr/>
              <p:nvPr/>
            </p:nvGrpSpPr>
            <p:grpSpPr>
              <a:xfrm>
                <a:off x="2072645" y="854919"/>
                <a:ext cx="1398033" cy="3445355"/>
                <a:chOff x="2072645" y="1184699"/>
                <a:chExt cx="1398033" cy="3445355"/>
              </a:xfrm>
            </p:grpSpPr>
            <p:grpSp>
              <p:nvGrpSpPr>
                <p:cNvPr id="73" name="Group 72">
                  <a:extLst>
                    <a:ext uri="{FF2B5EF4-FFF2-40B4-BE49-F238E27FC236}">
                      <a16:creationId xmlns:a16="http://schemas.microsoft.com/office/drawing/2014/main" id="{2AFACA74-5088-A32A-6445-E67DCBE723D0}"/>
                    </a:ext>
                  </a:extLst>
                </p:cNvPr>
                <p:cNvGrpSpPr/>
                <p:nvPr/>
              </p:nvGrpSpPr>
              <p:grpSpPr>
                <a:xfrm>
                  <a:off x="2075343" y="1184699"/>
                  <a:ext cx="1395335" cy="3234958"/>
                  <a:chOff x="2430259" y="1184699"/>
                  <a:chExt cx="1395335" cy="3234958"/>
                </a:xfrm>
              </p:grpSpPr>
              <p:grpSp>
                <p:nvGrpSpPr>
                  <p:cNvPr id="75" name="Group 74">
                    <a:extLst>
                      <a:ext uri="{FF2B5EF4-FFF2-40B4-BE49-F238E27FC236}">
                        <a16:creationId xmlns:a16="http://schemas.microsoft.com/office/drawing/2014/main" id="{60F8FB97-13A4-B30F-17AD-9D36B5D2167F}"/>
                      </a:ext>
                    </a:extLst>
                  </p:cNvPr>
                  <p:cNvGrpSpPr/>
                  <p:nvPr/>
                </p:nvGrpSpPr>
                <p:grpSpPr>
                  <a:xfrm>
                    <a:off x="2430259" y="1184699"/>
                    <a:ext cx="1395335" cy="3017520"/>
                    <a:chOff x="2610139" y="1184699"/>
                    <a:chExt cx="1395335" cy="3017520"/>
                  </a:xfrm>
                </p:grpSpPr>
                <p:graphicFrame>
                  <p:nvGraphicFramePr>
                    <p:cNvPr id="78" name="Chart 77">
                      <a:extLst>
                        <a:ext uri="{FF2B5EF4-FFF2-40B4-BE49-F238E27FC236}">
                          <a16:creationId xmlns:a16="http://schemas.microsoft.com/office/drawing/2014/main" id="{741BB484-EAB5-C1BB-2472-3B9991B713B9}"/>
                        </a:ext>
                      </a:extLst>
                    </p:cNvPr>
                    <p:cNvGraphicFramePr/>
                    <p:nvPr/>
                  </p:nvGraphicFramePr>
                  <p:xfrm>
                    <a:off x="2610139" y="1184699"/>
                    <a:ext cx="1395335" cy="3017520"/>
                  </p:xfrm>
                  <a:graphic>
                    <a:graphicData uri="http://schemas.openxmlformats.org/drawingml/2006/chart">
                      <c:chart xmlns:c="http://schemas.openxmlformats.org/drawingml/2006/chart" xmlns:r="http://schemas.openxmlformats.org/officeDocument/2006/relationships" r:id="rId4"/>
                    </a:graphicData>
                  </a:graphic>
                </p:graphicFrame>
                <p:sp>
                  <p:nvSpPr>
                    <p:cNvPr id="79" name="TextBox 78">
                      <a:extLst>
                        <a:ext uri="{FF2B5EF4-FFF2-40B4-BE49-F238E27FC236}">
                          <a16:creationId xmlns:a16="http://schemas.microsoft.com/office/drawing/2014/main" id="{8539AB11-449E-BA8A-E2BE-497E2F61E17E}"/>
                        </a:ext>
                      </a:extLst>
                    </p:cNvPr>
                    <p:cNvSpPr txBox="1"/>
                    <p:nvPr/>
                  </p:nvSpPr>
                  <p:spPr>
                    <a:xfrm>
                      <a:off x="2667430" y="1735738"/>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72.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49.8-89.3</a:t>
                      </a:r>
                    </a:p>
                  </p:txBody>
                </p:sp>
                <p:sp>
                  <p:nvSpPr>
                    <p:cNvPr id="80" name="TextBox 79">
                      <a:extLst>
                        <a:ext uri="{FF2B5EF4-FFF2-40B4-BE49-F238E27FC236}">
                          <a16:creationId xmlns:a16="http://schemas.microsoft.com/office/drawing/2014/main" id="{7AABFE03-1A20-8DB4-46DC-0158FFD3CB94}"/>
                        </a:ext>
                      </a:extLst>
                    </p:cNvPr>
                    <p:cNvSpPr txBox="1"/>
                    <p:nvPr/>
                  </p:nvSpPr>
                  <p:spPr>
                    <a:xfrm>
                      <a:off x="3128996" y="2521820"/>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4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30.7-57.6</a:t>
                      </a:r>
                    </a:p>
                  </p:txBody>
                </p:sp>
                <p:sp>
                  <p:nvSpPr>
                    <p:cNvPr id="81" name="TextBox 80">
                      <a:extLst>
                        <a:ext uri="{FF2B5EF4-FFF2-40B4-BE49-F238E27FC236}">
                          <a16:creationId xmlns:a16="http://schemas.microsoft.com/office/drawing/2014/main" id="{8DFAA582-F13E-292E-EA17-ADFB16BC4D7B}"/>
                        </a:ext>
                      </a:extLst>
                    </p:cNvPr>
                    <p:cNvSpPr txBox="1"/>
                    <p:nvPr/>
                  </p:nvSpPr>
                  <p:spPr>
                    <a:xfrm>
                      <a:off x="2806177"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22)</a:t>
                      </a:r>
                    </a:p>
                  </p:txBody>
                </p:sp>
                <p:sp>
                  <p:nvSpPr>
                    <p:cNvPr id="82" name="TextBox 81">
                      <a:extLst>
                        <a:ext uri="{FF2B5EF4-FFF2-40B4-BE49-F238E27FC236}">
                          <a16:creationId xmlns:a16="http://schemas.microsoft.com/office/drawing/2014/main" id="{92BA9C39-A515-D64F-99BC-258B46370204}"/>
                        </a:ext>
                      </a:extLst>
                    </p:cNvPr>
                    <p:cNvSpPr txBox="1"/>
                    <p:nvPr/>
                  </p:nvSpPr>
                  <p:spPr>
                    <a:xfrm>
                      <a:off x="3267743"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57)</a:t>
                      </a:r>
                    </a:p>
                  </p:txBody>
                </p:sp>
              </p:grpSp>
              <p:sp>
                <p:nvSpPr>
                  <p:cNvPr id="76" name="TextBox 75">
                    <a:extLst>
                      <a:ext uri="{FF2B5EF4-FFF2-40B4-BE49-F238E27FC236}">
                        <a16:creationId xmlns:a16="http://schemas.microsoft.com/office/drawing/2014/main" id="{A03C893C-6E14-F51E-88A8-1F0D732F4B93}"/>
                      </a:ext>
                    </a:extLst>
                  </p:cNvPr>
                  <p:cNvSpPr txBox="1"/>
                  <p:nvPr/>
                </p:nvSpPr>
                <p:spPr>
                  <a:xfrm>
                    <a:off x="2568456" y="4073408"/>
                    <a:ext cx="655172"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Positive</a:t>
                    </a:r>
                  </a:p>
                </p:txBody>
              </p:sp>
              <p:sp>
                <p:nvSpPr>
                  <p:cNvPr id="77" name="TextBox 76">
                    <a:extLst>
                      <a:ext uri="{FF2B5EF4-FFF2-40B4-BE49-F238E27FC236}">
                        <a16:creationId xmlns:a16="http://schemas.microsoft.com/office/drawing/2014/main" id="{40EE61EF-4D35-4D1A-CA78-0F50D9EBFF82}"/>
                      </a:ext>
                    </a:extLst>
                  </p:cNvPr>
                  <p:cNvSpPr txBox="1"/>
                  <p:nvPr/>
                </p:nvSpPr>
                <p:spPr>
                  <a:xfrm>
                    <a:off x="3030022" y="4073408"/>
                    <a:ext cx="655172"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Negative/</a:t>
                    </a:r>
                    <a:b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b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Unknown</a:t>
                    </a:r>
                  </a:p>
                </p:txBody>
              </p:sp>
            </p:grpSp>
            <p:sp>
              <p:nvSpPr>
                <p:cNvPr id="74" name="TextBox 73">
                  <a:extLst>
                    <a:ext uri="{FF2B5EF4-FFF2-40B4-BE49-F238E27FC236}">
                      <a16:creationId xmlns:a16="http://schemas.microsoft.com/office/drawing/2014/main" id="{77C84912-2365-C11E-E09B-F866F52FFCFC}"/>
                    </a:ext>
                  </a:extLst>
                </p:cNvPr>
                <p:cNvSpPr txBox="1"/>
                <p:nvPr/>
              </p:nvSpPr>
              <p:spPr>
                <a:xfrm>
                  <a:off x="2072645" y="4391479"/>
                  <a:ext cx="1381228" cy="2385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1"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BRCA</a:t>
                  </a:r>
                  <a:r>
                    <a:rPr kumimoji="0" lang="en-US" sz="1467"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 Mutation</a:t>
                  </a:r>
                </a:p>
              </p:txBody>
            </p:sp>
          </p:grpSp>
          <p:cxnSp>
            <p:nvCxnSpPr>
              <p:cNvPr id="72" name="Straight Connector 71">
                <a:extLst>
                  <a:ext uri="{FF2B5EF4-FFF2-40B4-BE49-F238E27FC236}">
                    <a16:creationId xmlns:a16="http://schemas.microsoft.com/office/drawing/2014/main" id="{BAFBC2B8-8BDB-DEA2-5A99-1F189FB25F7F}"/>
                  </a:ext>
                </a:extLst>
              </p:cNvPr>
              <p:cNvCxnSpPr>
                <a:cxnSpLocks/>
              </p:cNvCxnSpPr>
              <p:nvPr/>
            </p:nvCxnSpPr>
            <p:spPr>
              <a:xfrm>
                <a:off x="2360364" y="4086684"/>
                <a:ext cx="822960" cy="0"/>
              </a:xfrm>
              <a:prstGeom prst="line">
                <a:avLst/>
              </a:prstGeom>
            </p:spPr>
            <p:style>
              <a:lnRef idx="1">
                <a:schemeClr val="dk1"/>
              </a:lnRef>
              <a:fillRef idx="0">
                <a:schemeClr val="dk1"/>
              </a:fillRef>
              <a:effectRef idx="0">
                <a:schemeClr val="dk1"/>
              </a:effectRef>
              <a:fontRef idx="minor">
                <a:schemeClr val="tx1"/>
              </a:fontRef>
            </p:style>
          </p:cxnSp>
        </p:grpSp>
        <p:grpSp>
          <p:nvGrpSpPr>
            <p:cNvPr id="9" name="Group 8">
              <a:extLst>
                <a:ext uri="{FF2B5EF4-FFF2-40B4-BE49-F238E27FC236}">
                  <a16:creationId xmlns:a16="http://schemas.microsoft.com/office/drawing/2014/main" id="{A11486FF-7AC9-4958-B8D3-5E20DB3DC511}"/>
                </a:ext>
              </a:extLst>
            </p:cNvPr>
            <p:cNvGrpSpPr/>
            <p:nvPr/>
          </p:nvGrpSpPr>
          <p:grpSpPr>
            <a:xfrm>
              <a:off x="3358393" y="893019"/>
              <a:ext cx="2320381" cy="3445358"/>
              <a:chOff x="3221233" y="854919"/>
              <a:chExt cx="2320381" cy="3445358"/>
            </a:xfrm>
          </p:grpSpPr>
          <p:grpSp>
            <p:nvGrpSpPr>
              <p:cNvPr id="52" name="Group 51">
                <a:extLst>
                  <a:ext uri="{FF2B5EF4-FFF2-40B4-BE49-F238E27FC236}">
                    <a16:creationId xmlns:a16="http://schemas.microsoft.com/office/drawing/2014/main" id="{D24D0580-DED5-6F47-32AC-707AE741272B}"/>
                  </a:ext>
                </a:extLst>
              </p:cNvPr>
              <p:cNvGrpSpPr/>
              <p:nvPr/>
            </p:nvGrpSpPr>
            <p:grpSpPr>
              <a:xfrm>
                <a:off x="3221233" y="854919"/>
                <a:ext cx="2320381" cy="3445358"/>
                <a:chOff x="3221233" y="1184699"/>
                <a:chExt cx="2320381" cy="3445358"/>
              </a:xfrm>
            </p:grpSpPr>
            <p:grpSp>
              <p:nvGrpSpPr>
                <p:cNvPr id="54" name="Group 53">
                  <a:extLst>
                    <a:ext uri="{FF2B5EF4-FFF2-40B4-BE49-F238E27FC236}">
                      <a16:creationId xmlns:a16="http://schemas.microsoft.com/office/drawing/2014/main" id="{646CDF6E-B774-2D64-528E-3185805E412C}"/>
                    </a:ext>
                  </a:extLst>
                </p:cNvPr>
                <p:cNvGrpSpPr/>
                <p:nvPr/>
              </p:nvGrpSpPr>
              <p:grpSpPr>
                <a:xfrm>
                  <a:off x="3221233" y="1184699"/>
                  <a:ext cx="2320381" cy="3234958"/>
                  <a:chOff x="3719911" y="1184699"/>
                  <a:chExt cx="2320381" cy="3234958"/>
                </a:xfrm>
              </p:grpSpPr>
              <p:grpSp>
                <p:nvGrpSpPr>
                  <p:cNvPr id="56" name="Group 55">
                    <a:extLst>
                      <a:ext uri="{FF2B5EF4-FFF2-40B4-BE49-F238E27FC236}">
                        <a16:creationId xmlns:a16="http://schemas.microsoft.com/office/drawing/2014/main" id="{DDE2C8AE-5556-341C-81A6-D4AA91C626EC}"/>
                      </a:ext>
                    </a:extLst>
                  </p:cNvPr>
                  <p:cNvGrpSpPr/>
                  <p:nvPr/>
                </p:nvGrpSpPr>
                <p:grpSpPr>
                  <a:xfrm>
                    <a:off x="3719911" y="1184699"/>
                    <a:ext cx="2320381" cy="3234958"/>
                    <a:chOff x="3719911" y="1184699"/>
                    <a:chExt cx="2320381" cy="3234958"/>
                  </a:xfrm>
                </p:grpSpPr>
                <p:graphicFrame>
                  <p:nvGraphicFramePr>
                    <p:cNvPr id="66" name="Chart 65">
                      <a:extLst>
                        <a:ext uri="{FF2B5EF4-FFF2-40B4-BE49-F238E27FC236}">
                          <a16:creationId xmlns:a16="http://schemas.microsoft.com/office/drawing/2014/main" id="{532587A9-1FAD-28DA-AC3B-3BB38358CD29}"/>
                        </a:ext>
                      </a:extLst>
                    </p:cNvPr>
                    <p:cNvGraphicFramePr/>
                    <p:nvPr/>
                  </p:nvGraphicFramePr>
                  <p:xfrm>
                    <a:off x="3719911" y="1184699"/>
                    <a:ext cx="2320381" cy="3017520"/>
                  </p:xfrm>
                  <a:graphic>
                    <a:graphicData uri="http://schemas.openxmlformats.org/drawingml/2006/chart">
                      <c:chart xmlns:c="http://schemas.openxmlformats.org/drawingml/2006/chart" xmlns:r="http://schemas.openxmlformats.org/officeDocument/2006/relationships" r:id="rId5"/>
                    </a:graphicData>
                  </a:graphic>
                </p:graphicFrame>
                <p:sp>
                  <p:nvSpPr>
                    <p:cNvPr id="67" name="TextBox 66">
                      <a:extLst>
                        <a:ext uri="{FF2B5EF4-FFF2-40B4-BE49-F238E27FC236}">
                          <a16:creationId xmlns:a16="http://schemas.microsoft.com/office/drawing/2014/main" id="{B88A1B43-E11D-8232-87B9-97B902FC8E63}"/>
                        </a:ext>
                      </a:extLst>
                    </p:cNvPr>
                    <p:cNvSpPr txBox="1"/>
                    <p:nvPr/>
                  </p:nvSpPr>
                  <p:spPr>
                    <a:xfrm>
                      <a:off x="4307219" y="4073408"/>
                      <a:ext cx="655172"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Treated</a:t>
                      </a:r>
                    </a:p>
                  </p:txBody>
                </p:sp>
                <p:sp>
                  <p:nvSpPr>
                    <p:cNvPr id="68" name="TextBox 67">
                      <a:extLst>
                        <a:ext uri="{FF2B5EF4-FFF2-40B4-BE49-F238E27FC236}">
                          <a16:creationId xmlns:a16="http://schemas.microsoft.com/office/drawing/2014/main" id="{BCCE1525-2BEF-3FDF-B636-5462750FFA37}"/>
                        </a:ext>
                      </a:extLst>
                    </p:cNvPr>
                    <p:cNvSpPr txBox="1"/>
                    <p:nvPr/>
                  </p:nvSpPr>
                  <p:spPr>
                    <a:xfrm>
                      <a:off x="4729939" y="4073408"/>
                      <a:ext cx="768499"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PD wi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prstClr val="black"/>
                          </a:solidFill>
                          <a:effectLst/>
                          <a:uLnTx/>
                          <a:uFillTx/>
                          <a:latin typeface="Arial Narrow" panose="020B0606020202030204" pitchFamily="34" charset="0"/>
                          <a:ea typeface="ＭＳ Ｐゴシック" charset="0"/>
                          <a:cs typeface="+mn-cs"/>
                        </a:rPr>
                        <a:t>PARPi</a:t>
                      </a:r>
                      <a:r>
                        <a:rPr kumimoji="0" lang="en-US" sz="1200" b="0" i="0" u="none" strike="noStrike" kern="1200" cap="none" spc="0" normalizeH="0" baseline="30000" noProof="0" err="1">
                          <a:ln>
                            <a:noFill/>
                          </a:ln>
                          <a:solidFill>
                            <a:prstClr val="black"/>
                          </a:solidFill>
                          <a:effectLst/>
                          <a:uLnTx/>
                          <a:uFillTx/>
                          <a:latin typeface="Arial Narrow" panose="020B0606020202030204" pitchFamily="34" charset="0"/>
                          <a:ea typeface="ＭＳ Ｐゴシック" charset="0"/>
                          <a:cs typeface="+mn-cs"/>
                        </a:rPr>
                        <a:t>a</a:t>
                      </a:r>
                      <a:endParaRPr kumimoji="0" lang="en-US" sz="1200" b="0" i="0" u="none" strike="noStrike" kern="1200" cap="none" spc="0" normalizeH="0" baseline="30000" noProof="0">
                        <a:ln>
                          <a:noFill/>
                        </a:ln>
                        <a:solidFill>
                          <a:prstClr val="black"/>
                        </a:solidFill>
                        <a:effectLst/>
                        <a:uLnTx/>
                        <a:uFillTx/>
                        <a:latin typeface="Arial Narrow" panose="020B0606020202030204" pitchFamily="34" charset="0"/>
                        <a:ea typeface="ＭＳ Ｐゴシック" charset="0"/>
                        <a:cs typeface="+mn-cs"/>
                      </a:endParaRPr>
                    </a:p>
                  </p:txBody>
                </p:sp>
                <p:sp>
                  <p:nvSpPr>
                    <p:cNvPr id="69" name="TextBox 68">
                      <a:extLst>
                        <a:ext uri="{FF2B5EF4-FFF2-40B4-BE49-F238E27FC236}">
                          <a16:creationId xmlns:a16="http://schemas.microsoft.com/office/drawing/2014/main" id="{3279A4EB-AEEC-789D-7F06-FFC775A749D2}"/>
                        </a:ext>
                      </a:extLst>
                    </p:cNvPr>
                    <p:cNvSpPr txBox="1"/>
                    <p:nvPr/>
                  </p:nvSpPr>
                  <p:spPr>
                    <a:xfrm>
                      <a:off x="3860972" y="4073408"/>
                      <a:ext cx="655172"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Naïve</a:t>
                      </a:r>
                    </a:p>
                  </p:txBody>
                </p:sp>
                <p:sp>
                  <p:nvSpPr>
                    <p:cNvPr id="70" name="TextBox 69">
                      <a:extLst>
                        <a:ext uri="{FF2B5EF4-FFF2-40B4-BE49-F238E27FC236}">
                          <a16:creationId xmlns:a16="http://schemas.microsoft.com/office/drawing/2014/main" id="{96216F78-99AF-13FF-C871-6877ECD40118}"/>
                        </a:ext>
                      </a:extLst>
                    </p:cNvPr>
                    <p:cNvSpPr txBox="1"/>
                    <p:nvPr/>
                  </p:nvSpPr>
                  <p:spPr>
                    <a:xfrm>
                      <a:off x="5203355" y="4073408"/>
                      <a:ext cx="759703"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No PD </a:t>
                      </a:r>
                      <a:b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b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with PARPi</a:t>
                      </a:r>
                    </a:p>
                  </p:txBody>
                </p:sp>
              </p:grpSp>
              <p:grpSp>
                <p:nvGrpSpPr>
                  <p:cNvPr id="57" name="Group 56">
                    <a:extLst>
                      <a:ext uri="{FF2B5EF4-FFF2-40B4-BE49-F238E27FC236}">
                        <a16:creationId xmlns:a16="http://schemas.microsoft.com/office/drawing/2014/main" id="{99DFB24B-F167-0784-2754-AF1BA74C4D01}"/>
                      </a:ext>
                    </a:extLst>
                  </p:cNvPr>
                  <p:cNvGrpSpPr/>
                  <p:nvPr/>
                </p:nvGrpSpPr>
                <p:grpSpPr>
                  <a:xfrm>
                    <a:off x="3780066" y="1665673"/>
                    <a:ext cx="2211632" cy="2368479"/>
                    <a:chOff x="3780066" y="1665673"/>
                    <a:chExt cx="2211632" cy="2368479"/>
                  </a:xfrm>
                </p:grpSpPr>
                <p:sp>
                  <p:nvSpPr>
                    <p:cNvPr id="58" name="TextBox 57">
                      <a:extLst>
                        <a:ext uri="{FF2B5EF4-FFF2-40B4-BE49-F238E27FC236}">
                          <a16:creationId xmlns:a16="http://schemas.microsoft.com/office/drawing/2014/main" id="{CEBFCC72-708F-11D6-9E4E-D9556BC2A935}"/>
                        </a:ext>
                      </a:extLst>
                    </p:cNvPr>
                    <p:cNvSpPr txBox="1"/>
                    <p:nvPr/>
                  </p:nvSpPr>
                  <p:spPr>
                    <a:xfrm>
                      <a:off x="4226313" y="2440811"/>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46.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34.3-59.8</a:t>
                      </a:r>
                    </a:p>
                  </p:txBody>
                </p:sp>
                <p:sp>
                  <p:nvSpPr>
                    <p:cNvPr id="59" name="TextBox 58">
                      <a:extLst>
                        <a:ext uri="{FF2B5EF4-FFF2-40B4-BE49-F238E27FC236}">
                          <a16:creationId xmlns:a16="http://schemas.microsoft.com/office/drawing/2014/main" id="{D82CA070-06BE-8DB7-BFA2-D85942338D52}"/>
                        </a:ext>
                      </a:extLst>
                    </p:cNvPr>
                    <p:cNvSpPr txBox="1"/>
                    <p:nvPr/>
                  </p:nvSpPr>
                  <p:spPr>
                    <a:xfrm>
                      <a:off x="4705696" y="2468740"/>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45.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32.7-59.2</a:t>
                      </a:r>
                    </a:p>
                  </p:txBody>
                </p:sp>
                <p:sp>
                  <p:nvSpPr>
                    <p:cNvPr id="60" name="TextBox 59">
                      <a:extLst>
                        <a:ext uri="{FF2B5EF4-FFF2-40B4-BE49-F238E27FC236}">
                          <a16:creationId xmlns:a16="http://schemas.microsoft.com/office/drawing/2014/main" id="{52C43807-7D37-7DF2-F370-BF14543A5E22}"/>
                        </a:ext>
                      </a:extLst>
                    </p:cNvPr>
                    <p:cNvSpPr txBox="1"/>
                    <p:nvPr/>
                  </p:nvSpPr>
                  <p:spPr>
                    <a:xfrm>
                      <a:off x="5174714" y="2082752"/>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6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14.7-94.7</a:t>
                      </a:r>
                    </a:p>
                  </p:txBody>
                </p:sp>
                <p:sp>
                  <p:nvSpPr>
                    <p:cNvPr id="61" name="TextBox 60">
                      <a:extLst>
                        <a:ext uri="{FF2B5EF4-FFF2-40B4-BE49-F238E27FC236}">
                          <a16:creationId xmlns:a16="http://schemas.microsoft.com/office/drawing/2014/main" id="{17FFC8DC-B6B6-B966-76B1-25AD34E677C1}"/>
                        </a:ext>
                      </a:extLst>
                    </p:cNvPr>
                    <p:cNvSpPr txBox="1"/>
                    <p:nvPr/>
                  </p:nvSpPr>
                  <p:spPr>
                    <a:xfrm>
                      <a:off x="3780066" y="1665673"/>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7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42.8-94.5</a:t>
                      </a:r>
                    </a:p>
                  </p:txBody>
                </p:sp>
                <p:sp>
                  <p:nvSpPr>
                    <p:cNvPr id="62" name="TextBox 61">
                      <a:extLst>
                        <a:ext uri="{FF2B5EF4-FFF2-40B4-BE49-F238E27FC236}">
                          <a16:creationId xmlns:a16="http://schemas.microsoft.com/office/drawing/2014/main" id="{45F1CAB6-CF94-8709-237F-E00D06206C92}"/>
                        </a:ext>
                      </a:extLst>
                    </p:cNvPr>
                    <p:cNvSpPr txBox="1"/>
                    <p:nvPr/>
                  </p:nvSpPr>
                  <p:spPr>
                    <a:xfrm>
                      <a:off x="4372680"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64)</a:t>
                      </a:r>
                    </a:p>
                  </p:txBody>
                </p:sp>
                <p:sp>
                  <p:nvSpPr>
                    <p:cNvPr id="63" name="TextBox 62">
                      <a:extLst>
                        <a:ext uri="{FF2B5EF4-FFF2-40B4-BE49-F238E27FC236}">
                          <a16:creationId xmlns:a16="http://schemas.microsoft.com/office/drawing/2014/main" id="{792254AD-C995-2367-5002-D28F3D5D5895}"/>
                        </a:ext>
                      </a:extLst>
                    </p:cNvPr>
                    <p:cNvSpPr txBox="1"/>
                    <p:nvPr/>
                  </p:nvSpPr>
                  <p:spPr>
                    <a:xfrm>
                      <a:off x="4844443"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59)</a:t>
                      </a:r>
                    </a:p>
                  </p:txBody>
                </p:sp>
                <p:sp>
                  <p:nvSpPr>
                    <p:cNvPr id="64" name="TextBox 63">
                      <a:extLst>
                        <a:ext uri="{FF2B5EF4-FFF2-40B4-BE49-F238E27FC236}">
                          <a16:creationId xmlns:a16="http://schemas.microsoft.com/office/drawing/2014/main" id="{471641A8-E27A-BBF5-8995-49A2C630CCEE}"/>
                        </a:ext>
                      </a:extLst>
                    </p:cNvPr>
                    <p:cNvSpPr txBox="1"/>
                    <p:nvPr/>
                  </p:nvSpPr>
                  <p:spPr>
                    <a:xfrm>
                      <a:off x="5313461"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5)</a:t>
                      </a:r>
                    </a:p>
                  </p:txBody>
                </p:sp>
                <p:sp>
                  <p:nvSpPr>
                    <p:cNvPr id="65" name="TextBox 64">
                      <a:extLst>
                        <a:ext uri="{FF2B5EF4-FFF2-40B4-BE49-F238E27FC236}">
                          <a16:creationId xmlns:a16="http://schemas.microsoft.com/office/drawing/2014/main" id="{E60EB61C-145D-20F2-21A3-3C772C2CD36E}"/>
                        </a:ext>
                      </a:extLst>
                    </p:cNvPr>
                    <p:cNvSpPr txBox="1"/>
                    <p:nvPr/>
                  </p:nvSpPr>
                  <p:spPr>
                    <a:xfrm>
                      <a:off x="3918813"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12)</a:t>
                      </a:r>
                    </a:p>
                  </p:txBody>
                </p:sp>
              </p:grpSp>
            </p:grpSp>
            <p:sp>
              <p:nvSpPr>
                <p:cNvPr id="55" name="TextBox 54">
                  <a:extLst>
                    <a:ext uri="{FF2B5EF4-FFF2-40B4-BE49-F238E27FC236}">
                      <a16:creationId xmlns:a16="http://schemas.microsoft.com/office/drawing/2014/main" id="{0E394A5A-D0DF-F8A3-ADA2-1398E26A152E}"/>
                    </a:ext>
                  </a:extLst>
                </p:cNvPr>
                <p:cNvSpPr txBox="1"/>
                <p:nvPr/>
              </p:nvSpPr>
              <p:spPr>
                <a:xfrm>
                  <a:off x="3454372" y="4391482"/>
                  <a:ext cx="1859727" cy="2385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PARPi Exposure</a:t>
                  </a:r>
                </a:p>
              </p:txBody>
            </p:sp>
          </p:grpSp>
          <p:cxnSp>
            <p:nvCxnSpPr>
              <p:cNvPr id="53" name="Straight Connector 52">
                <a:extLst>
                  <a:ext uri="{FF2B5EF4-FFF2-40B4-BE49-F238E27FC236}">
                    <a16:creationId xmlns:a16="http://schemas.microsoft.com/office/drawing/2014/main" id="{2FB76C57-9D85-238F-3C70-A9D05E77F1E3}"/>
                  </a:ext>
                </a:extLst>
              </p:cNvPr>
              <p:cNvCxnSpPr>
                <a:cxnSpLocks/>
              </p:cNvCxnSpPr>
              <p:nvPr/>
            </p:nvCxnSpPr>
            <p:spPr>
              <a:xfrm>
                <a:off x="3522102" y="4086684"/>
                <a:ext cx="1737360" cy="0"/>
              </a:xfrm>
              <a:prstGeom prst="line">
                <a:avLst/>
              </a:prstGeom>
            </p:spPr>
            <p:style>
              <a:lnRef idx="1">
                <a:schemeClr val="dk1"/>
              </a:lnRef>
              <a:fillRef idx="0">
                <a:schemeClr val="dk1"/>
              </a:fillRef>
              <a:effectRef idx="0">
                <a:schemeClr val="dk1"/>
              </a:effectRef>
              <a:fontRef idx="minor">
                <a:schemeClr val="tx1"/>
              </a:fontRef>
            </p:style>
          </p:cxnSp>
        </p:grpSp>
        <p:grpSp>
          <p:nvGrpSpPr>
            <p:cNvPr id="10" name="Group 9">
              <a:extLst>
                <a:ext uri="{FF2B5EF4-FFF2-40B4-BE49-F238E27FC236}">
                  <a16:creationId xmlns:a16="http://schemas.microsoft.com/office/drawing/2014/main" id="{9D393F4A-0745-0030-951F-324EABBAF74E}"/>
                </a:ext>
              </a:extLst>
            </p:cNvPr>
            <p:cNvGrpSpPr/>
            <p:nvPr/>
          </p:nvGrpSpPr>
          <p:grpSpPr>
            <a:xfrm>
              <a:off x="5406672" y="893019"/>
              <a:ext cx="1671676" cy="3445360"/>
              <a:chOff x="5239032" y="854919"/>
              <a:chExt cx="1671676" cy="3445360"/>
            </a:xfrm>
          </p:grpSpPr>
          <p:grpSp>
            <p:nvGrpSpPr>
              <p:cNvPr id="40" name="Group 39">
                <a:extLst>
                  <a:ext uri="{FF2B5EF4-FFF2-40B4-BE49-F238E27FC236}">
                    <a16:creationId xmlns:a16="http://schemas.microsoft.com/office/drawing/2014/main" id="{59C3AE44-1465-5DC8-946F-4E7E25B50B60}"/>
                  </a:ext>
                </a:extLst>
              </p:cNvPr>
              <p:cNvGrpSpPr/>
              <p:nvPr/>
            </p:nvGrpSpPr>
            <p:grpSpPr>
              <a:xfrm>
                <a:off x="5239032" y="854919"/>
                <a:ext cx="1671676" cy="3445360"/>
                <a:chOff x="5239032" y="1184699"/>
                <a:chExt cx="1671676" cy="3445360"/>
              </a:xfrm>
            </p:grpSpPr>
            <p:grpSp>
              <p:nvGrpSpPr>
                <p:cNvPr id="42" name="Group 41">
                  <a:extLst>
                    <a:ext uri="{FF2B5EF4-FFF2-40B4-BE49-F238E27FC236}">
                      <a16:creationId xmlns:a16="http://schemas.microsoft.com/office/drawing/2014/main" id="{8C8EDB3E-2F89-14CE-77CA-960C1BD30C2F}"/>
                    </a:ext>
                  </a:extLst>
                </p:cNvPr>
                <p:cNvGrpSpPr/>
                <p:nvPr/>
              </p:nvGrpSpPr>
              <p:grpSpPr>
                <a:xfrm>
                  <a:off x="5367119" y="1184699"/>
                  <a:ext cx="1399032" cy="3111800"/>
                  <a:chOff x="5773982" y="1184699"/>
                  <a:chExt cx="1399032" cy="3111800"/>
                </a:xfrm>
              </p:grpSpPr>
              <p:sp>
                <p:nvSpPr>
                  <p:cNvPr id="44" name="TextBox 43">
                    <a:extLst>
                      <a:ext uri="{FF2B5EF4-FFF2-40B4-BE49-F238E27FC236}">
                        <a16:creationId xmlns:a16="http://schemas.microsoft.com/office/drawing/2014/main" id="{30C04356-5E11-043B-30C5-810B8D1C7E50}"/>
                      </a:ext>
                    </a:extLst>
                  </p:cNvPr>
                  <p:cNvSpPr txBox="1"/>
                  <p:nvPr/>
                </p:nvSpPr>
                <p:spPr>
                  <a:xfrm>
                    <a:off x="5837835" y="4073408"/>
                    <a:ext cx="796206"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Naïve </a:t>
                    </a:r>
                  </a:p>
                </p:txBody>
              </p:sp>
              <p:sp>
                <p:nvSpPr>
                  <p:cNvPr id="45" name="TextBox 44">
                    <a:extLst>
                      <a:ext uri="{FF2B5EF4-FFF2-40B4-BE49-F238E27FC236}">
                        <a16:creationId xmlns:a16="http://schemas.microsoft.com/office/drawing/2014/main" id="{5B425764-9294-05BC-DE27-04EE8C6F965F}"/>
                      </a:ext>
                    </a:extLst>
                  </p:cNvPr>
                  <p:cNvSpPr txBox="1"/>
                  <p:nvPr/>
                </p:nvSpPr>
                <p:spPr>
                  <a:xfrm>
                    <a:off x="6331309" y="4073408"/>
                    <a:ext cx="759703" cy="2230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Treated</a:t>
                    </a:r>
                  </a:p>
                </p:txBody>
              </p:sp>
              <p:grpSp>
                <p:nvGrpSpPr>
                  <p:cNvPr id="46" name="Group 45">
                    <a:extLst>
                      <a:ext uri="{FF2B5EF4-FFF2-40B4-BE49-F238E27FC236}">
                        <a16:creationId xmlns:a16="http://schemas.microsoft.com/office/drawing/2014/main" id="{F118325E-BE2F-E371-7876-86CC5501189B}"/>
                      </a:ext>
                    </a:extLst>
                  </p:cNvPr>
                  <p:cNvGrpSpPr/>
                  <p:nvPr/>
                </p:nvGrpSpPr>
                <p:grpSpPr>
                  <a:xfrm>
                    <a:off x="5773982" y="1184699"/>
                    <a:ext cx="1399032" cy="3017520"/>
                    <a:chOff x="5773982" y="1184699"/>
                    <a:chExt cx="1399032" cy="3017520"/>
                  </a:xfrm>
                </p:grpSpPr>
                <p:graphicFrame>
                  <p:nvGraphicFramePr>
                    <p:cNvPr id="47" name="Chart 46">
                      <a:extLst>
                        <a:ext uri="{FF2B5EF4-FFF2-40B4-BE49-F238E27FC236}">
                          <a16:creationId xmlns:a16="http://schemas.microsoft.com/office/drawing/2014/main" id="{578990A3-3983-345D-8F89-57B82F5163FF}"/>
                        </a:ext>
                      </a:extLst>
                    </p:cNvPr>
                    <p:cNvGraphicFramePr/>
                    <p:nvPr/>
                  </p:nvGraphicFramePr>
                  <p:xfrm>
                    <a:off x="5773982" y="1184699"/>
                    <a:ext cx="1399032" cy="3017520"/>
                  </p:xfrm>
                  <a:graphic>
                    <a:graphicData uri="http://schemas.openxmlformats.org/drawingml/2006/chart">
                      <c:chart xmlns:c="http://schemas.openxmlformats.org/drawingml/2006/chart" xmlns:r="http://schemas.openxmlformats.org/officeDocument/2006/relationships" r:id="rId6"/>
                    </a:graphicData>
                  </a:graphic>
                </p:graphicFrame>
                <p:sp>
                  <p:nvSpPr>
                    <p:cNvPr id="48" name="TextBox 47">
                      <a:extLst>
                        <a:ext uri="{FF2B5EF4-FFF2-40B4-BE49-F238E27FC236}">
                          <a16:creationId xmlns:a16="http://schemas.microsoft.com/office/drawing/2014/main" id="{6E48A9A2-E788-C7BF-7086-25EFBFF565D3}"/>
                        </a:ext>
                      </a:extLst>
                    </p:cNvPr>
                    <p:cNvSpPr txBox="1"/>
                    <p:nvPr/>
                  </p:nvSpPr>
                  <p:spPr>
                    <a:xfrm>
                      <a:off x="6302668" y="2376942"/>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49.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34.8-63.4</a:t>
                      </a:r>
                    </a:p>
                  </p:txBody>
                </p:sp>
                <p:sp>
                  <p:nvSpPr>
                    <p:cNvPr id="49" name="TextBox 48">
                      <a:extLst>
                        <a:ext uri="{FF2B5EF4-FFF2-40B4-BE49-F238E27FC236}">
                          <a16:creationId xmlns:a16="http://schemas.microsoft.com/office/drawing/2014/main" id="{727E2DB5-DB3D-4828-F169-A5DCEA719F26}"/>
                        </a:ext>
                      </a:extLst>
                    </p:cNvPr>
                    <p:cNvSpPr txBox="1"/>
                    <p:nvPr/>
                  </p:nvSpPr>
                  <p:spPr>
                    <a:xfrm>
                      <a:off x="5827446" y="2155688"/>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57.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37.2-75.5</a:t>
                      </a:r>
                    </a:p>
                  </p:txBody>
                </p:sp>
                <p:sp>
                  <p:nvSpPr>
                    <p:cNvPr id="50" name="TextBox 49">
                      <a:extLst>
                        <a:ext uri="{FF2B5EF4-FFF2-40B4-BE49-F238E27FC236}">
                          <a16:creationId xmlns:a16="http://schemas.microsoft.com/office/drawing/2014/main" id="{C3D6B0F1-47D2-3D8F-683C-0118A6CAAF49}"/>
                        </a:ext>
                      </a:extLst>
                    </p:cNvPr>
                    <p:cNvSpPr txBox="1"/>
                    <p:nvPr/>
                  </p:nvSpPr>
                  <p:spPr>
                    <a:xfrm>
                      <a:off x="5966193"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28)</a:t>
                      </a:r>
                    </a:p>
                  </p:txBody>
                </p:sp>
                <p:sp>
                  <p:nvSpPr>
                    <p:cNvPr id="51" name="TextBox 50">
                      <a:extLst>
                        <a:ext uri="{FF2B5EF4-FFF2-40B4-BE49-F238E27FC236}">
                          <a16:creationId xmlns:a16="http://schemas.microsoft.com/office/drawing/2014/main" id="{6452CB61-62BD-E705-7D54-80EC3DC4331A}"/>
                        </a:ext>
                      </a:extLst>
                    </p:cNvPr>
                    <p:cNvSpPr txBox="1"/>
                    <p:nvPr/>
                  </p:nvSpPr>
                  <p:spPr>
                    <a:xfrm>
                      <a:off x="6441415"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51)</a:t>
                      </a:r>
                    </a:p>
                  </p:txBody>
                </p:sp>
              </p:grpSp>
            </p:grpSp>
            <p:sp>
              <p:nvSpPr>
                <p:cNvPr id="43" name="TextBox 42">
                  <a:extLst>
                    <a:ext uri="{FF2B5EF4-FFF2-40B4-BE49-F238E27FC236}">
                      <a16:creationId xmlns:a16="http://schemas.microsoft.com/office/drawing/2014/main" id="{0109A13B-F0C6-8F10-32C5-44ABC3DEC470}"/>
                    </a:ext>
                  </a:extLst>
                </p:cNvPr>
                <p:cNvSpPr txBox="1"/>
                <p:nvPr/>
              </p:nvSpPr>
              <p:spPr>
                <a:xfrm>
                  <a:off x="5239032" y="4391484"/>
                  <a:ext cx="1671676" cy="2385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BEV Exposure</a:t>
                  </a:r>
                </a:p>
              </p:txBody>
            </p:sp>
          </p:grpSp>
          <p:cxnSp>
            <p:nvCxnSpPr>
              <p:cNvPr id="41" name="Straight Connector 40">
                <a:extLst>
                  <a:ext uri="{FF2B5EF4-FFF2-40B4-BE49-F238E27FC236}">
                    <a16:creationId xmlns:a16="http://schemas.microsoft.com/office/drawing/2014/main" id="{155B8406-3D42-EA68-99DC-4B9B7413F393}"/>
                  </a:ext>
                </a:extLst>
              </p:cNvPr>
              <p:cNvCxnSpPr>
                <a:cxnSpLocks/>
              </p:cNvCxnSpPr>
              <p:nvPr/>
            </p:nvCxnSpPr>
            <p:spPr>
              <a:xfrm>
                <a:off x="5660701" y="4081689"/>
                <a:ext cx="822960" cy="0"/>
              </a:xfrm>
              <a:prstGeom prst="line">
                <a:avLst/>
              </a:prstGeom>
            </p:spPr>
            <p:style>
              <a:lnRef idx="1">
                <a:schemeClr val="dk1"/>
              </a:lnRef>
              <a:fillRef idx="0">
                <a:schemeClr val="dk1"/>
              </a:fillRef>
              <a:effectRef idx="0">
                <a:schemeClr val="dk1"/>
              </a:effectRef>
              <a:fontRef idx="minor">
                <a:schemeClr val="tx1"/>
              </a:fontRef>
            </p:style>
          </p:cxnSp>
        </p:grpSp>
        <p:grpSp>
          <p:nvGrpSpPr>
            <p:cNvPr id="11" name="Group 10">
              <a:extLst>
                <a:ext uri="{FF2B5EF4-FFF2-40B4-BE49-F238E27FC236}">
                  <a16:creationId xmlns:a16="http://schemas.microsoft.com/office/drawing/2014/main" id="{267B1222-B64A-79C0-3788-1D99032E08AC}"/>
                </a:ext>
              </a:extLst>
            </p:cNvPr>
            <p:cNvGrpSpPr/>
            <p:nvPr/>
          </p:nvGrpSpPr>
          <p:grpSpPr>
            <a:xfrm>
              <a:off x="6524951" y="893019"/>
              <a:ext cx="1505831" cy="3622175"/>
              <a:chOff x="6479231" y="854919"/>
              <a:chExt cx="1505831" cy="3622175"/>
            </a:xfrm>
          </p:grpSpPr>
          <p:grpSp>
            <p:nvGrpSpPr>
              <p:cNvPr id="31" name="Group 30">
                <a:extLst>
                  <a:ext uri="{FF2B5EF4-FFF2-40B4-BE49-F238E27FC236}">
                    <a16:creationId xmlns:a16="http://schemas.microsoft.com/office/drawing/2014/main" id="{B9D50899-C46C-E231-A168-5DAEF991EBC3}"/>
                  </a:ext>
                </a:extLst>
              </p:cNvPr>
              <p:cNvGrpSpPr/>
              <p:nvPr/>
            </p:nvGrpSpPr>
            <p:grpSpPr>
              <a:xfrm>
                <a:off x="6479231" y="854919"/>
                <a:ext cx="1505831" cy="3622175"/>
                <a:chOff x="6479231" y="1184699"/>
                <a:chExt cx="1505831" cy="3622175"/>
              </a:xfrm>
            </p:grpSpPr>
            <p:grpSp>
              <p:nvGrpSpPr>
                <p:cNvPr id="33" name="Group 32">
                  <a:extLst>
                    <a:ext uri="{FF2B5EF4-FFF2-40B4-BE49-F238E27FC236}">
                      <a16:creationId xmlns:a16="http://schemas.microsoft.com/office/drawing/2014/main" id="{7249E4E6-260D-3FAD-B7EC-85A5D8EBB564}"/>
                    </a:ext>
                  </a:extLst>
                </p:cNvPr>
                <p:cNvGrpSpPr/>
                <p:nvPr/>
              </p:nvGrpSpPr>
              <p:grpSpPr>
                <a:xfrm>
                  <a:off x="6479231" y="1184699"/>
                  <a:ext cx="1505831" cy="3234958"/>
                  <a:chOff x="6743359" y="1184699"/>
                  <a:chExt cx="1505831" cy="3234958"/>
                </a:xfrm>
              </p:grpSpPr>
              <p:sp>
                <p:nvSpPr>
                  <p:cNvPr id="35" name="TextBox 34">
                    <a:extLst>
                      <a:ext uri="{FF2B5EF4-FFF2-40B4-BE49-F238E27FC236}">
                        <a16:creationId xmlns:a16="http://schemas.microsoft.com/office/drawing/2014/main" id="{BFA7D9C8-3535-B493-BEDD-36BCA691E6E8}"/>
                      </a:ext>
                    </a:extLst>
                  </p:cNvPr>
                  <p:cNvSpPr txBox="1"/>
                  <p:nvPr/>
                </p:nvSpPr>
                <p:spPr>
                  <a:xfrm>
                    <a:off x="7104560" y="4073408"/>
                    <a:ext cx="796205"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PARPi and BEV</a:t>
                    </a:r>
                  </a:p>
                </p:txBody>
              </p:sp>
              <p:grpSp>
                <p:nvGrpSpPr>
                  <p:cNvPr id="36" name="Group 35">
                    <a:extLst>
                      <a:ext uri="{FF2B5EF4-FFF2-40B4-BE49-F238E27FC236}">
                        <a16:creationId xmlns:a16="http://schemas.microsoft.com/office/drawing/2014/main" id="{354CDE4D-EF15-8FEA-3F10-27977C997216}"/>
                      </a:ext>
                    </a:extLst>
                  </p:cNvPr>
                  <p:cNvGrpSpPr/>
                  <p:nvPr/>
                </p:nvGrpSpPr>
                <p:grpSpPr>
                  <a:xfrm>
                    <a:off x="6743359" y="1184699"/>
                    <a:ext cx="1505831" cy="3017520"/>
                    <a:chOff x="6743359" y="1184699"/>
                    <a:chExt cx="1505831" cy="3017520"/>
                  </a:xfrm>
                </p:grpSpPr>
                <p:graphicFrame>
                  <p:nvGraphicFramePr>
                    <p:cNvPr id="37" name="Chart 36">
                      <a:extLst>
                        <a:ext uri="{FF2B5EF4-FFF2-40B4-BE49-F238E27FC236}">
                          <a16:creationId xmlns:a16="http://schemas.microsoft.com/office/drawing/2014/main" id="{B277263E-FD41-0679-02A6-BDFBB1FA2C8C}"/>
                        </a:ext>
                      </a:extLst>
                    </p:cNvPr>
                    <p:cNvGraphicFramePr/>
                    <p:nvPr/>
                  </p:nvGraphicFramePr>
                  <p:xfrm>
                    <a:off x="6743359" y="1184699"/>
                    <a:ext cx="1505831" cy="3017520"/>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Box 37">
                      <a:extLst>
                        <a:ext uri="{FF2B5EF4-FFF2-40B4-BE49-F238E27FC236}">
                          <a16:creationId xmlns:a16="http://schemas.microsoft.com/office/drawing/2014/main" id="{A1156BE0-985D-C991-78D0-DB8B748B5018}"/>
                        </a:ext>
                      </a:extLst>
                    </p:cNvPr>
                    <p:cNvSpPr txBox="1"/>
                    <p:nvPr/>
                  </p:nvSpPr>
                  <p:spPr>
                    <a:xfrm>
                      <a:off x="7094170" y="2522620"/>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4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28.5-60.3</a:t>
                      </a:r>
                    </a:p>
                  </p:txBody>
                </p:sp>
                <p:sp>
                  <p:nvSpPr>
                    <p:cNvPr id="39" name="TextBox 38">
                      <a:extLst>
                        <a:ext uri="{FF2B5EF4-FFF2-40B4-BE49-F238E27FC236}">
                          <a16:creationId xmlns:a16="http://schemas.microsoft.com/office/drawing/2014/main" id="{B5C3678C-0316-B614-45D0-0578C4EA3E2F}"/>
                        </a:ext>
                      </a:extLst>
                    </p:cNvPr>
                    <p:cNvSpPr txBox="1"/>
                    <p:nvPr/>
                  </p:nvSpPr>
                  <p:spPr>
                    <a:xfrm>
                      <a:off x="7232917"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41)</a:t>
                      </a:r>
                    </a:p>
                  </p:txBody>
                </p:sp>
              </p:grpSp>
            </p:grpSp>
            <p:sp>
              <p:nvSpPr>
                <p:cNvPr id="34" name="TextBox 33">
                  <a:extLst>
                    <a:ext uri="{FF2B5EF4-FFF2-40B4-BE49-F238E27FC236}">
                      <a16:creationId xmlns:a16="http://schemas.microsoft.com/office/drawing/2014/main" id="{C29B03E8-C651-6DC5-7F21-547A4EB5B788}"/>
                    </a:ext>
                  </a:extLst>
                </p:cNvPr>
                <p:cNvSpPr txBox="1"/>
                <p:nvPr/>
              </p:nvSpPr>
              <p:spPr>
                <a:xfrm>
                  <a:off x="6688509" y="4398974"/>
                  <a:ext cx="1132245" cy="4079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Both PARPi &amp; BEV Exposure</a:t>
                  </a:r>
                </a:p>
              </p:txBody>
            </p:sp>
          </p:grpSp>
          <p:cxnSp>
            <p:nvCxnSpPr>
              <p:cNvPr id="32" name="Straight Connector 31">
                <a:extLst>
                  <a:ext uri="{FF2B5EF4-FFF2-40B4-BE49-F238E27FC236}">
                    <a16:creationId xmlns:a16="http://schemas.microsoft.com/office/drawing/2014/main" id="{8BE4B086-417B-6D33-912F-A256B23B5467}"/>
                  </a:ext>
                </a:extLst>
              </p:cNvPr>
              <p:cNvCxnSpPr>
                <a:cxnSpLocks/>
              </p:cNvCxnSpPr>
              <p:nvPr/>
            </p:nvCxnSpPr>
            <p:spPr>
              <a:xfrm>
                <a:off x="6834276" y="4081689"/>
                <a:ext cx="822960" cy="0"/>
              </a:xfrm>
              <a:prstGeom prst="line">
                <a:avLst/>
              </a:prstGeom>
            </p:spPr>
            <p:style>
              <a:lnRef idx="1">
                <a:schemeClr val="dk1"/>
              </a:lnRef>
              <a:fillRef idx="0">
                <a:schemeClr val="dk1"/>
              </a:fillRef>
              <a:effectRef idx="0">
                <a:schemeClr val="dk1"/>
              </a:effectRef>
              <a:fontRef idx="minor">
                <a:schemeClr val="tx1"/>
              </a:fontRef>
            </p:style>
          </p:cxnSp>
        </p:grpSp>
        <p:grpSp>
          <p:nvGrpSpPr>
            <p:cNvPr id="12" name="Group 11">
              <a:extLst>
                <a:ext uri="{FF2B5EF4-FFF2-40B4-BE49-F238E27FC236}">
                  <a16:creationId xmlns:a16="http://schemas.microsoft.com/office/drawing/2014/main" id="{B1A3EFC8-2089-A4C9-DB76-14A979B4D8EB}"/>
                </a:ext>
              </a:extLst>
            </p:cNvPr>
            <p:cNvGrpSpPr/>
            <p:nvPr/>
          </p:nvGrpSpPr>
          <p:grpSpPr>
            <a:xfrm>
              <a:off x="7483914" y="893019"/>
              <a:ext cx="1671676" cy="3614686"/>
              <a:chOff x="7560114" y="854919"/>
              <a:chExt cx="1671676" cy="3614686"/>
            </a:xfrm>
          </p:grpSpPr>
          <p:grpSp>
            <p:nvGrpSpPr>
              <p:cNvPr id="19" name="Group 18">
                <a:extLst>
                  <a:ext uri="{FF2B5EF4-FFF2-40B4-BE49-F238E27FC236}">
                    <a16:creationId xmlns:a16="http://schemas.microsoft.com/office/drawing/2014/main" id="{407E688E-9C42-4D75-801E-0F863ACB8C15}"/>
                  </a:ext>
                </a:extLst>
              </p:cNvPr>
              <p:cNvGrpSpPr/>
              <p:nvPr/>
            </p:nvGrpSpPr>
            <p:grpSpPr>
              <a:xfrm>
                <a:off x="7560114" y="854919"/>
                <a:ext cx="1671676" cy="3614686"/>
                <a:chOff x="7560114" y="1184699"/>
                <a:chExt cx="1671676" cy="3614686"/>
              </a:xfrm>
            </p:grpSpPr>
            <p:grpSp>
              <p:nvGrpSpPr>
                <p:cNvPr id="21" name="Group 20">
                  <a:extLst>
                    <a:ext uri="{FF2B5EF4-FFF2-40B4-BE49-F238E27FC236}">
                      <a16:creationId xmlns:a16="http://schemas.microsoft.com/office/drawing/2014/main" id="{A67BDAA4-BBA6-2297-D177-FBF0823E6C8B}"/>
                    </a:ext>
                  </a:extLst>
                </p:cNvPr>
                <p:cNvGrpSpPr/>
                <p:nvPr/>
              </p:nvGrpSpPr>
              <p:grpSpPr>
                <a:xfrm>
                  <a:off x="7698144" y="1184699"/>
                  <a:ext cx="1399032" cy="3096458"/>
                  <a:chOff x="7840549" y="1184699"/>
                  <a:chExt cx="1399032" cy="3096458"/>
                </a:xfrm>
              </p:grpSpPr>
              <p:sp>
                <p:nvSpPr>
                  <p:cNvPr id="23" name="TextBox 22">
                    <a:extLst>
                      <a:ext uri="{FF2B5EF4-FFF2-40B4-BE49-F238E27FC236}">
                        <a16:creationId xmlns:a16="http://schemas.microsoft.com/office/drawing/2014/main" id="{F9F37C8B-A4E3-413A-0957-A238DE6BCAC8}"/>
                      </a:ext>
                    </a:extLst>
                  </p:cNvPr>
                  <p:cNvSpPr txBox="1"/>
                  <p:nvPr/>
                </p:nvSpPr>
                <p:spPr>
                  <a:xfrm>
                    <a:off x="7902508" y="4073408"/>
                    <a:ext cx="796205"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12 </a:t>
                    </a:r>
                    <a:r>
                      <a:rPr kumimoji="0" lang="en-US" sz="1200" b="0" i="0" u="none" strike="noStrike" kern="1200" cap="none" spc="0" normalizeH="0" baseline="0" noProof="0" err="1">
                        <a:ln>
                          <a:noFill/>
                        </a:ln>
                        <a:solidFill>
                          <a:prstClr val="black"/>
                        </a:solidFill>
                        <a:effectLst/>
                        <a:uLnTx/>
                        <a:uFillTx/>
                        <a:latin typeface="Arial Narrow" panose="020B0606020202030204" pitchFamily="34" charset="0"/>
                        <a:ea typeface="ＭＳ Ｐゴシック" charset="0"/>
                        <a:cs typeface="+mn-cs"/>
                      </a:rPr>
                      <a:t>mo</a:t>
                    </a:r>
                    <a:endPar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endParaRPr>
                  </a:p>
                </p:txBody>
              </p:sp>
              <p:sp>
                <p:nvSpPr>
                  <p:cNvPr id="24" name="TextBox 23">
                    <a:extLst>
                      <a:ext uri="{FF2B5EF4-FFF2-40B4-BE49-F238E27FC236}">
                        <a16:creationId xmlns:a16="http://schemas.microsoft.com/office/drawing/2014/main" id="{663365EE-FAFF-F362-79B1-2362807DE109}"/>
                      </a:ext>
                    </a:extLst>
                  </p:cNvPr>
                  <p:cNvSpPr txBox="1"/>
                  <p:nvPr/>
                </p:nvSpPr>
                <p:spPr>
                  <a:xfrm>
                    <a:off x="8368373" y="4073408"/>
                    <a:ext cx="796205"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gt;12 </a:t>
                    </a:r>
                    <a:r>
                      <a:rPr kumimoji="0" lang="en-US" sz="1200" b="0" i="0" u="none" strike="noStrike" kern="1200" cap="none" spc="0" normalizeH="0" baseline="0" noProof="0" err="1">
                        <a:ln>
                          <a:noFill/>
                        </a:ln>
                        <a:solidFill>
                          <a:prstClr val="black"/>
                        </a:solidFill>
                        <a:effectLst/>
                        <a:uLnTx/>
                        <a:uFillTx/>
                        <a:latin typeface="Arial Narrow" panose="020B0606020202030204" pitchFamily="34" charset="0"/>
                        <a:ea typeface="ＭＳ Ｐゴシック" charset="0"/>
                        <a:cs typeface="+mn-cs"/>
                      </a:rPr>
                      <a:t>mo</a:t>
                    </a:r>
                    <a:endParaRPr kumimoji="0" lang="en-US" sz="1200" b="0"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endParaRPr>
                  </a:p>
                </p:txBody>
              </p:sp>
              <p:grpSp>
                <p:nvGrpSpPr>
                  <p:cNvPr id="25" name="Group 24">
                    <a:extLst>
                      <a:ext uri="{FF2B5EF4-FFF2-40B4-BE49-F238E27FC236}">
                        <a16:creationId xmlns:a16="http://schemas.microsoft.com/office/drawing/2014/main" id="{21878A8F-F942-3382-F549-CB5AAAFCCF1D}"/>
                      </a:ext>
                    </a:extLst>
                  </p:cNvPr>
                  <p:cNvGrpSpPr/>
                  <p:nvPr/>
                </p:nvGrpSpPr>
                <p:grpSpPr>
                  <a:xfrm>
                    <a:off x="7840549" y="1184699"/>
                    <a:ext cx="1399032" cy="3017520"/>
                    <a:chOff x="7840549" y="1184699"/>
                    <a:chExt cx="1399032" cy="3017520"/>
                  </a:xfrm>
                </p:grpSpPr>
                <p:graphicFrame>
                  <p:nvGraphicFramePr>
                    <p:cNvPr id="26" name="Chart 25">
                      <a:extLst>
                        <a:ext uri="{FF2B5EF4-FFF2-40B4-BE49-F238E27FC236}">
                          <a16:creationId xmlns:a16="http://schemas.microsoft.com/office/drawing/2014/main" id="{FF5BCD8C-3C1E-82F0-27ED-6ABA00A3E772}"/>
                        </a:ext>
                      </a:extLst>
                    </p:cNvPr>
                    <p:cNvGraphicFramePr/>
                    <p:nvPr/>
                  </p:nvGraphicFramePr>
                  <p:xfrm>
                    <a:off x="7840549" y="1184699"/>
                    <a:ext cx="1399032" cy="3017520"/>
                  </p:xfrm>
                  <a:graphic>
                    <a:graphicData uri="http://schemas.openxmlformats.org/drawingml/2006/chart">
                      <c:chart xmlns:c="http://schemas.openxmlformats.org/drawingml/2006/chart" xmlns:r="http://schemas.openxmlformats.org/officeDocument/2006/relationships" r:id="rId8"/>
                    </a:graphicData>
                  </a:graphic>
                </p:graphicFrame>
                <p:sp>
                  <p:nvSpPr>
                    <p:cNvPr id="27" name="TextBox 26">
                      <a:extLst>
                        <a:ext uri="{FF2B5EF4-FFF2-40B4-BE49-F238E27FC236}">
                          <a16:creationId xmlns:a16="http://schemas.microsoft.com/office/drawing/2014/main" id="{AC23056E-25EE-52EF-C0FB-7CE81A555040}"/>
                        </a:ext>
                      </a:extLst>
                    </p:cNvPr>
                    <p:cNvSpPr txBox="1"/>
                    <p:nvPr/>
                  </p:nvSpPr>
                  <p:spPr>
                    <a:xfrm>
                      <a:off x="7892118" y="2570014"/>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4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27.0-57.9</a:t>
                      </a:r>
                    </a:p>
                  </p:txBody>
                </p:sp>
                <p:sp>
                  <p:nvSpPr>
                    <p:cNvPr id="28" name="TextBox 27">
                      <a:extLst>
                        <a:ext uri="{FF2B5EF4-FFF2-40B4-BE49-F238E27FC236}">
                          <a16:creationId xmlns:a16="http://schemas.microsoft.com/office/drawing/2014/main" id="{6F426574-A974-3684-E795-A8CEE061B481}"/>
                        </a:ext>
                      </a:extLst>
                    </p:cNvPr>
                    <p:cNvSpPr txBox="1"/>
                    <p:nvPr/>
                  </p:nvSpPr>
                  <p:spPr>
                    <a:xfrm>
                      <a:off x="8357983" y="1950492"/>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64.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ＭＳ Ｐゴシック" charset="0"/>
                          <a:cs typeface="+mn-cs"/>
                        </a:rPr>
                        <a:t>46.5-80.3</a:t>
                      </a:r>
                    </a:p>
                  </p:txBody>
                </p:sp>
                <p:sp>
                  <p:nvSpPr>
                    <p:cNvPr id="29" name="TextBox 28">
                      <a:extLst>
                        <a:ext uri="{FF2B5EF4-FFF2-40B4-BE49-F238E27FC236}">
                          <a16:creationId xmlns:a16="http://schemas.microsoft.com/office/drawing/2014/main" id="{DCB1EE04-9D04-CD22-F161-00AD24AB3624}"/>
                        </a:ext>
                      </a:extLst>
                    </p:cNvPr>
                    <p:cNvSpPr txBox="1"/>
                    <p:nvPr/>
                  </p:nvSpPr>
                  <p:spPr>
                    <a:xfrm>
                      <a:off x="8030865"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43)</a:t>
                      </a:r>
                    </a:p>
                  </p:txBody>
                </p:sp>
                <p:sp>
                  <p:nvSpPr>
                    <p:cNvPr id="30" name="TextBox 29">
                      <a:extLst>
                        <a:ext uri="{FF2B5EF4-FFF2-40B4-BE49-F238E27FC236}">
                          <a16:creationId xmlns:a16="http://schemas.microsoft.com/office/drawing/2014/main" id="{C654EB33-70F5-FC34-554A-36999B30F4F3}"/>
                        </a:ext>
                      </a:extLst>
                    </p:cNvPr>
                    <p:cNvSpPr txBox="1"/>
                    <p:nvPr/>
                  </p:nvSpPr>
                  <p:spPr>
                    <a:xfrm>
                      <a:off x="8496730"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Narrow" panose="020B0606020202030204" pitchFamily="34" charset="0"/>
                          <a:ea typeface="ＭＳ Ｐゴシック" charset="0"/>
                          <a:cs typeface="+mn-cs"/>
                        </a:rPr>
                        <a:t>(n=34)</a:t>
                      </a:r>
                    </a:p>
                  </p:txBody>
                </p:sp>
              </p:grpSp>
            </p:grpSp>
            <p:sp>
              <p:nvSpPr>
                <p:cNvPr id="22" name="TextBox 21">
                  <a:extLst>
                    <a:ext uri="{FF2B5EF4-FFF2-40B4-BE49-F238E27FC236}">
                      <a16:creationId xmlns:a16="http://schemas.microsoft.com/office/drawing/2014/main" id="{343D5B69-DB36-4361-1E7F-5ED17BB36DC2}"/>
                    </a:ext>
                  </a:extLst>
                </p:cNvPr>
                <p:cNvSpPr txBox="1"/>
                <p:nvPr/>
              </p:nvSpPr>
              <p:spPr>
                <a:xfrm>
                  <a:off x="7560114" y="4391485"/>
                  <a:ext cx="1671676" cy="4079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t>Most Recent </a:t>
                  </a:r>
                  <a:br>
                    <a:rPr kumimoji="0" lang="en-US" sz="1467"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rPr>
                  </a:br>
                  <a:r>
                    <a:rPr kumimoji="0" lang="en-US" sz="1467" b="1" i="0" u="none" strike="noStrike" kern="1200" cap="none" spc="0" normalizeH="0" baseline="0" noProof="0" err="1">
                      <a:ln>
                        <a:noFill/>
                      </a:ln>
                      <a:solidFill>
                        <a:prstClr val="black"/>
                      </a:solidFill>
                      <a:effectLst/>
                      <a:uLnTx/>
                      <a:uFillTx/>
                      <a:latin typeface="Arial Narrow" panose="020B0606020202030204" pitchFamily="34" charset="0"/>
                      <a:ea typeface="ＭＳ Ｐゴシック" charset="0"/>
                      <a:cs typeface="+mn-cs"/>
                    </a:rPr>
                    <a:t>PFI</a:t>
                  </a:r>
                  <a:r>
                    <a:rPr kumimoji="0" lang="en-US" sz="1467" b="1" i="0" u="none" strike="noStrike" kern="1200" cap="none" spc="0" normalizeH="0" baseline="30000" noProof="0" err="1">
                      <a:ln>
                        <a:noFill/>
                      </a:ln>
                      <a:solidFill>
                        <a:prstClr val="black"/>
                      </a:solidFill>
                      <a:effectLst/>
                      <a:uLnTx/>
                      <a:uFillTx/>
                      <a:latin typeface="Arial Narrow" panose="020B0606020202030204" pitchFamily="34" charset="0"/>
                      <a:ea typeface="ＭＳ Ｐゴシック" charset="0"/>
                      <a:cs typeface="+mn-cs"/>
                    </a:rPr>
                    <a:t>b</a:t>
                  </a:r>
                  <a:endParaRPr kumimoji="0" lang="en-US" sz="1467" b="1" i="0" u="none" strike="noStrike" kern="1200" cap="none" spc="0" normalizeH="0" baseline="0" noProof="0">
                    <a:ln>
                      <a:noFill/>
                    </a:ln>
                    <a:solidFill>
                      <a:prstClr val="black"/>
                    </a:solidFill>
                    <a:effectLst/>
                    <a:uLnTx/>
                    <a:uFillTx/>
                    <a:latin typeface="Arial Narrow" panose="020B0606020202030204" pitchFamily="34" charset="0"/>
                    <a:ea typeface="ＭＳ Ｐゴシック" charset="0"/>
                    <a:cs typeface="+mn-cs"/>
                  </a:endParaRPr>
                </a:p>
              </p:txBody>
            </p:sp>
          </p:grpSp>
          <p:cxnSp>
            <p:nvCxnSpPr>
              <p:cNvPr id="20" name="Straight Connector 19">
                <a:extLst>
                  <a:ext uri="{FF2B5EF4-FFF2-40B4-BE49-F238E27FC236}">
                    <a16:creationId xmlns:a16="http://schemas.microsoft.com/office/drawing/2014/main" id="{D4E18218-9E6E-E6A7-F3AE-6CABCDDA0AE4}"/>
                  </a:ext>
                </a:extLst>
              </p:cNvPr>
              <p:cNvCxnSpPr>
                <a:cxnSpLocks/>
              </p:cNvCxnSpPr>
              <p:nvPr/>
            </p:nvCxnSpPr>
            <p:spPr>
              <a:xfrm>
                <a:off x="7977871" y="4081689"/>
                <a:ext cx="822960" cy="0"/>
              </a:xfrm>
              <a:prstGeom prst="line">
                <a:avLst/>
              </a:prstGeom>
            </p:spPr>
            <p:style>
              <a:lnRef idx="1">
                <a:schemeClr val="dk1"/>
              </a:lnRef>
              <a:fillRef idx="0">
                <a:schemeClr val="dk1"/>
              </a:fillRef>
              <a:effectRef idx="0">
                <a:schemeClr val="dk1"/>
              </a:effectRef>
              <a:fontRef idx="minor">
                <a:schemeClr val="tx1"/>
              </a:fontRef>
            </p:style>
          </p:cxnSp>
        </p:grpSp>
        <p:cxnSp>
          <p:nvCxnSpPr>
            <p:cNvPr id="13" name="Straight Connector 12">
              <a:extLst>
                <a:ext uri="{FF2B5EF4-FFF2-40B4-BE49-F238E27FC236}">
                  <a16:creationId xmlns:a16="http://schemas.microsoft.com/office/drawing/2014/main" id="{17AD4A1A-3769-BA37-44E8-A85D0CEFD9BD}"/>
                </a:ext>
              </a:extLst>
            </p:cNvPr>
            <p:cNvCxnSpPr>
              <a:cxnSpLocks/>
            </p:cNvCxnSpPr>
            <p:nvPr/>
          </p:nvCxnSpPr>
          <p:spPr>
            <a:xfrm>
              <a:off x="501610" y="3768888"/>
              <a:ext cx="8380031" cy="0"/>
            </a:xfrm>
            <a:prstGeom prst="line">
              <a:avLst/>
            </a:prstGeom>
            <a:ln w="15875"/>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569D9EE-3A2C-B556-BF92-DC662E76D3C8}"/>
                </a:ext>
              </a:extLst>
            </p:cNvPr>
            <p:cNvCxnSpPr>
              <a:cxnSpLocks/>
            </p:cNvCxnSpPr>
            <p:nvPr/>
          </p:nvCxnSpPr>
          <p:spPr>
            <a:xfrm>
              <a:off x="2162770" y="1018068"/>
              <a:ext cx="0" cy="2743200"/>
            </a:xfrm>
            <a:prstGeom prst="line">
              <a:avLst/>
            </a:prstGeom>
            <a:ln>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cxnSp>
          <p:nvCxnSpPr>
            <p:cNvPr id="15" name="Straight Connector 14">
              <a:extLst>
                <a:ext uri="{FF2B5EF4-FFF2-40B4-BE49-F238E27FC236}">
                  <a16:creationId xmlns:a16="http://schemas.microsoft.com/office/drawing/2014/main" id="{BBB84B9B-A127-8292-C7A1-C7D8E2D36E7E}"/>
                </a:ext>
              </a:extLst>
            </p:cNvPr>
            <p:cNvCxnSpPr>
              <a:cxnSpLocks/>
            </p:cNvCxnSpPr>
            <p:nvPr/>
          </p:nvCxnSpPr>
          <p:spPr>
            <a:xfrm>
              <a:off x="3404830" y="1018068"/>
              <a:ext cx="0" cy="2743200"/>
            </a:xfrm>
            <a:prstGeom prst="line">
              <a:avLst/>
            </a:prstGeom>
            <a:ln>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cxnSp>
          <p:nvCxnSpPr>
            <p:cNvPr id="16" name="Straight Connector 15">
              <a:extLst>
                <a:ext uri="{FF2B5EF4-FFF2-40B4-BE49-F238E27FC236}">
                  <a16:creationId xmlns:a16="http://schemas.microsoft.com/office/drawing/2014/main" id="{4CA7E8EA-978D-45D5-CD16-C7EE35614FB6}"/>
                </a:ext>
              </a:extLst>
            </p:cNvPr>
            <p:cNvCxnSpPr>
              <a:cxnSpLocks/>
            </p:cNvCxnSpPr>
            <p:nvPr/>
          </p:nvCxnSpPr>
          <p:spPr>
            <a:xfrm>
              <a:off x="5607010" y="1018068"/>
              <a:ext cx="0" cy="2743200"/>
            </a:xfrm>
            <a:prstGeom prst="line">
              <a:avLst/>
            </a:prstGeom>
            <a:ln>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cxnSp>
          <p:nvCxnSpPr>
            <p:cNvPr id="17" name="Straight Connector 16">
              <a:extLst>
                <a:ext uri="{FF2B5EF4-FFF2-40B4-BE49-F238E27FC236}">
                  <a16:creationId xmlns:a16="http://schemas.microsoft.com/office/drawing/2014/main" id="{C7739F43-5A89-8706-D7BA-7F066C5C2356}"/>
                </a:ext>
              </a:extLst>
            </p:cNvPr>
            <p:cNvCxnSpPr>
              <a:cxnSpLocks/>
            </p:cNvCxnSpPr>
            <p:nvPr/>
          </p:nvCxnSpPr>
          <p:spPr>
            <a:xfrm>
              <a:off x="6871930" y="1018068"/>
              <a:ext cx="0" cy="2743200"/>
            </a:xfrm>
            <a:prstGeom prst="line">
              <a:avLst/>
            </a:prstGeom>
            <a:ln>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cxnSp>
          <p:nvCxnSpPr>
            <p:cNvPr id="18" name="Straight Connector 17">
              <a:extLst>
                <a:ext uri="{FF2B5EF4-FFF2-40B4-BE49-F238E27FC236}">
                  <a16:creationId xmlns:a16="http://schemas.microsoft.com/office/drawing/2014/main" id="{463F9CF6-9266-3E66-01CB-5FC545984962}"/>
                </a:ext>
              </a:extLst>
            </p:cNvPr>
            <p:cNvCxnSpPr>
              <a:cxnSpLocks/>
            </p:cNvCxnSpPr>
            <p:nvPr/>
          </p:nvCxnSpPr>
          <p:spPr>
            <a:xfrm>
              <a:off x="7694890" y="1018068"/>
              <a:ext cx="0" cy="2743200"/>
            </a:xfrm>
            <a:prstGeom prst="line">
              <a:avLst/>
            </a:prstGeom>
            <a:ln>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grpSp>
      <p:sp>
        <p:nvSpPr>
          <p:cNvPr id="99" name="TextBox 98">
            <a:extLst>
              <a:ext uri="{FF2B5EF4-FFF2-40B4-BE49-F238E27FC236}">
                <a16:creationId xmlns:a16="http://schemas.microsoft.com/office/drawing/2014/main" id="{EF3E5211-0267-EBD9-E6E6-08D0FD7DECF8}"/>
              </a:ext>
            </a:extLst>
          </p:cNvPr>
          <p:cNvSpPr txBox="1"/>
          <p:nvPr/>
        </p:nvSpPr>
        <p:spPr>
          <a:xfrm>
            <a:off x="489635" y="870059"/>
            <a:ext cx="5977823" cy="3181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prstClr val="black">
                    <a:lumMod val="65000"/>
                    <a:lumOff val="35000"/>
                  </a:prstClr>
                </a:solidFill>
                <a:effectLst/>
                <a:uLnTx/>
                <a:uFillTx/>
                <a:latin typeface="Aptos" panose="02110004020202020204"/>
                <a:ea typeface="ＭＳ Ｐゴシック" charset="0"/>
                <a:cs typeface="+mn-cs"/>
              </a:rPr>
              <a:t>Total population ORR: 51.9% (95% CI, 40.4-63.3)</a:t>
            </a:r>
          </a:p>
        </p:txBody>
      </p:sp>
      <p:sp>
        <p:nvSpPr>
          <p:cNvPr id="100" name="Rectangle 99">
            <a:extLst>
              <a:ext uri="{FF2B5EF4-FFF2-40B4-BE49-F238E27FC236}">
                <a16:creationId xmlns:a16="http://schemas.microsoft.com/office/drawing/2014/main" id="{702946BC-3983-3A20-735B-0E0644167EDD}"/>
              </a:ext>
            </a:extLst>
          </p:cNvPr>
          <p:cNvSpPr/>
          <p:nvPr/>
        </p:nvSpPr>
        <p:spPr>
          <a:xfrm>
            <a:off x="6002411" y="1975524"/>
            <a:ext cx="662896" cy="351851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1" name="5-Point Star 100">
            <a:extLst>
              <a:ext uri="{FF2B5EF4-FFF2-40B4-BE49-F238E27FC236}">
                <a16:creationId xmlns:a16="http://schemas.microsoft.com/office/drawing/2014/main" id="{9C063206-D0D2-84E2-8467-D8E0BE8283B7}"/>
              </a:ext>
            </a:extLst>
          </p:cNvPr>
          <p:cNvSpPr/>
          <p:nvPr/>
        </p:nvSpPr>
        <p:spPr>
          <a:xfrm>
            <a:off x="4908457" y="1343654"/>
            <a:ext cx="492479" cy="506204"/>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2" name="5-Point Star 101">
            <a:extLst>
              <a:ext uri="{FF2B5EF4-FFF2-40B4-BE49-F238E27FC236}">
                <a16:creationId xmlns:a16="http://schemas.microsoft.com/office/drawing/2014/main" id="{D8DA561C-2D0B-6C53-39A6-2DA0568B3628}"/>
              </a:ext>
            </a:extLst>
          </p:cNvPr>
          <p:cNvSpPr/>
          <p:nvPr/>
        </p:nvSpPr>
        <p:spPr>
          <a:xfrm>
            <a:off x="3198196" y="1377521"/>
            <a:ext cx="485668" cy="506204"/>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3" name="5-Point Star 102">
            <a:extLst>
              <a:ext uri="{FF2B5EF4-FFF2-40B4-BE49-F238E27FC236}">
                <a16:creationId xmlns:a16="http://schemas.microsoft.com/office/drawing/2014/main" id="{3A2BB2D6-366B-E6A0-D46B-D86DF06B7F05}"/>
              </a:ext>
            </a:extLst>
          </p:cNvPr>
          <p:cNvSpPr/>
          <p:nvPr/>
        </p:nvSpPr>
        <p:spPr>
          <a:xfrm>
            <a:off x="11157073" y="1496054"/>
            <a:ext cx="511510" cy="461665"/>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105" name="Table 104">
            <a:extLst>
              <a:ext uri="{FF2B5EF4-FFF2-40B4-BE49-F238E27FC236}">
                <a16:creationId xmlns:a16="http://schemas.microsoft.com/office/drawing/2014/main" id="{24A466BF-9C4F-77DD-9928-1A7DECB021AA}"/>
              </a:ext>
            </a:extLst>
          </p:cNvPr>
          <p:cNvGraphicFramePr>
            <a:graphicFrameLocks noGrp="1"/>
          </p:cNvGraphicFramePr>
          <p:nvPr/>
        </p:nvGraphicFramePr>
        <p:xfrm>
          <a:off x="7296930" y="410749"/>
          <a:ext cx="3483103" cy="1509441"/>
        </p:xfrm>
        <a:graphic>
          <a:graphicData uri="http://schemas.openxmlformats.org/drawingml/2006/table">
            <a:tbl>
              <a:tblPr firstRow="1" bandRow="1">
                <a:tableStyleId>{5C22544A-7EE6-4342-B048-85BDC9FD1C3A}</a:tableStyleId>
              </a:tblPr>
              <a:tblGrid>
                <a:gridCol w="1661943">
                  <a:extLst>
                    <a:ext uri="{9D8B030D-6E8A-4147-A177-3AD203B41FA5}">
                      <a16:colId xmlns:a16="http://schemas.microsoft.com/office/drawing/2014/main" val="1577698366"/>
                    </a:ext>
                  </a:extLst>
                </a:gridCol>
                <a:gridCol w="1821160">
                  <a:extLst>
                    <a:ext uri="{9D8B030D-6E8A-4147-A177-3AD203B41FA5}">
                      <a16:colId xmlns:a16="http://schemas.microsoft.com/office/drawing/2014/main" val="512195394"/>
                    </a:ext>
                  </a:extLst>
                </a:gridCol>
              </a:tblGrid>
              <a:tr h="494453">
                <a:tc>
                  <a:txBody>
                    <a:bodyPr/>
                    <a:lstStyle/>
                    <a:p>
                      <a:pPr marL="0" marR="0" lvl="0" indent="0" algn="ctr" defTabSz="914400" rtl="0" eaLnBrk="1" fontAlgn="auto" latinLnBrk="0" hangingPunct="1">
                        <a:lnSpc>
                          <a:spcPts val="1100"/>
                        </a:lnSpc>
                        <a:spcBef>
                          <a:spcPts val="0"/>
                        </a:spcBef>
                        <a:spcAft>
                          <a:spcPts val="0"/>
                        </a:spcAft>
                        <a:buClr>
                          <a:srgbClr val="000000"/>
                        </a:buClr>
                        <a:buSzTx/>
                        <a:buFont typeface="Arial"/>
                        <a:buNone/>
                        <a:tabLst/>
                        <a:defRPr/>
                      </a:pPr>
                      <a:r>
                        <a:rPr lang="en-US" sz="1600" b="1" kern="100" dirty="0">
                          <a:effectLst/>
                          <a:latin typeface="Arial Narrow" panose="020B0606020202030204" pitchFamily="34" charset="0"/>
                          <a:ea typeface="Calibri" panose="020F0502020204030204" pitchFamily="34" charset="0"/>
                          <a:cs typeface="Times New Roman" panose="02020603050405020304" pitchFamily="18" charset="0"/>
                        </a:rPr>
                        <a:t>Exposure to </a:t>
                      </a:r>
                      <a:r>
                        <a:rPr lang="en-US" sz="1600" b="1" kern="100" dirty="0" err="1">
                          <a:effectLst/>
                          <a:latin typeface="Arial Narrow" panose="020B0606020202030204" pitchFamily="34" charset="0"/>
                          <a:ea typeface="Calibri" panose="020F0502020204030204" pitchFamily="34" charset="0"/>
                          <a:cs typeface="Times New Roman" panose="02020603050405020304" pitchFamily="18" charset="0"/>
                        </a:rPr>
                        <a:t>PARPis</a:t>
                      </a:r>
                      <a:endParaRPr lang="en-US" sz="1600" b="1" kern="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tc>
                  <a:txBody>
                    <a:bodyPr/>
                    <a:lstStyle/>
                    <a:p>
                      <a:pPr marR="0" algn="ctr" rtl="0">
                        <a:lnSpc>
                          <a:spcPts val="1100"/>
                        </a:lnSpc>
                        <a:spcBef>
                          <a:spcPts val="0"/>
                        </a:spcBef>
                        <a:spcAft>
                          <a:spcPts val="0"/>
                        </a:spcAft>
                        <a:buClr>
                          <a:srgbClr val="000000"/>
                        </a:buClr>
                        <a:buFont typeface="Arial"/>
                      </a:pPr>
                      <a:r>
                        <a:rPr lang="en-US" sz="1600" b="1" i="0" u="none" strike="noStrike" cap="none" baseline="0" dirty="0">
                          <a:solidFill>
                            <a:schemeClr val="bg1"/>
                          </a:solidFill>
                          <a:latin typeface="Arial Narrow" panose="020B0604020202020204" pitchFamily="34" charset="0"/>
                          <a:ea typeface="+mn-ea"/>
                          <a:cs typeface="Arial Narrow" panose="020B0604020202020204" pitchFamily="34" charset="0"/>
                          <a:sym typeface="Arial"/>
                        </a:rPr>
                        <a:t>Median DOR </a:t>
                      </a:r>
                    </a:p>
                    <a:p>
                      <a:pPr marR="0" algn="ctr" rtl="0">
                        <a:lnSpc>
                          <a:spcPts val="1100"/>
                        </a:lnSpc>
                        <a:spcBef>
                          <a:spcPts val="0"/>
                        </a:spcBef>
                        <a:spcAft>
                          <a:spcPts val="0"/>
                        </a:spcAft>
                        <a:buClr>
                          <a:srgbClr val="000000"/>
                        </a:buClr>
                        <a:buFont typeface="Arial"/>
                      </a:pPr>
                      <a:r>
                        <a:rPr lang="en-US" sz="1600" b="1" i="0" u="none" strike="noStrike" cap="none" baseline="0" dirty="0">
                          <a:solidFill>
                            <a:schemeClr val="bg1"/>
                          </a:solidFill>
                          <a:latin typeface="Arial Narrow" panose="020B0604020202020204" pitchFamily="34" charset="0"/>
                          <a:ea typeface="+mn-ea"/>
                          <a:cs typeface="Arial Narrow" panose="020B0604020202020204" pitchFamily="34" charset="0"/>
                          <a:sym typeface="Arial"/>
                        </a:rPr>
                        <a:t>months (95% CI) </a:t>
                      </a:r>
                      <a:endParaRPr lang="en-US" sz="1600" b="1" i="0" u="none" strike="noStrike" cap="none" dirty="0">
                        <a:solidFill>
                          <a:schemeClr val="bg1"/>
                        </a:solidFill>
                        <a:latin typeface="Arial Narrow" panose="020B0604020202020204" pitchFamily="34" charset="0"/>
                        <a:ea typeface="+mn-ea"/>
                        <a:cs typeface="Arial Narrow" panose="020B0604020202020204" pitchFamily="34" charset="0"/>
                        <a:sym typeface="Arial"/>
                      </a:endParaRP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507050863"/>
                  </a:ext>
                </a:extLst>
              </a:tr>
              <a:tr h="253747">
                <a:tc>
                  <a:txBody>
                    <a:bodyPr/>
                    <a:lstStyle/>
                    <a:p>
                      <a:pPr marL="0" marR="0" indent="111125">
                        <a:lnSpc>
                          <a:spcPct val="107000"/>
                        </a:lnSpc>
                        <a:spcBef>
                          <a:spcPts val="0"/>
                        </a:spcBef>
                        <a:spcAft>
                          <a:spcPts val="0"/>
                        </a:spcAft>
                      </a:pPr>
                      <a:r>
                        <a:rPr lang="en-US" sz="1600" b="0" kern="100">
                          <a:effectLst/>
                          <a:latin typeface="Arial Narrow" panose="020B0606020202030204" pitchFamily="34" charset="0"/>
                          <a:ea typeface="Calibri" panose="020F0502020204030204" pitchFamily="34" charset="0"/>
                          <a:cs typeface="Times New Roman" panose="02020603050405020304" pitchFamily="18" charset="0"/>
                        </a:rPr>
                        <a:t>Naïve </a:t>
                      </a:r>
                    </a:p>
                  </a:txBody>
                  <a:tcPr marL="12700" marR="12700" marT="12700" marB="0" anchor="ctr">
                    <a:lnR w="12700" cap="flat" cmpd="sng" algn="ctr">
                      <a:solidFill>
                        <a:schemeClr val="bg1">
                          <a:lumMod val="7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b="0" kern="10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8 (3.5-NR)</a:t>
                      </a:r>
                    </a:p>
                  </a:txBody>
                  <a:tcPr marL="12700" marR="12700" marT="12700" marB="0" anchor="ctr">
                    <a:lnL w="12700" cap="flat" cmpd="sng" algn="ctr">
                      <a:solidFill>
                        <a:schemeClr val="bg1">
                          <a:lumMod val="7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913186082"/>
                  </a:ext>
                </a:extLst>
              </a:tr>
              <a:tr h="253747">
                <a:tc>
                  <a:txBody>
                    <a:bodyPr/>
                    <a:lstStyle/>
                    <a:p>
                      <a:pPr marL="0" marR="0" indent="111125">
                        <a:lnSpc>
                          <a:spcPct val="107000"/>
                        </a:lnSpc>
                        <a:spcBef>
                          <a:spcPts val="0"/>
                        </a:spcBef>
                        <a:spcAft>
                          <a:spcPts val="0"/>
                        </a:spcAft>
                      </a:pPr>
                      <a:r>
                        <a:rPr lang="en-US" sz="1600" b="0" kern="100">
                          <a:effectLst/>
                          <a:latin typeface="Arial Narrow" panose="020B0606020202030204" pitchFamily="34" charset="0"/>
                          <a:ea typeface="Calibri" panose="020F0502020204030204" pitchFamily="34" charset="0"/>
                          <a:cs typeface="Times New Roman" panose="02020603050405020304" pitchFamily="18" charset="0"/>
                        </a:rPr>
                        <a:t>Treated</a:t>
                      </a: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b="0" kern="10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3 (5.5-10.8)</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042151275"/>
                  </a:ext>
                </a:extLst>
              </a:tr>
              <a:tr h="253747">
                <a:tc>
                  <a:txBody>
                    <a:bodyPr/>
                    <a:lstStyle/>
                    <a:p>
                      <a:pPr marL="0" marR="0" lvl="0" indent="176213" algn="l" defTabSz="914400" rtl="0" eaLnBrk="1" fontAlgn="auto" latinLnBrk="0" hangingPunct="1">
                        <a:lnSpc>
                          <a:spcPct val="107000"/>
                        </a:lnSpc>
                        <a:spcBef>
                          <a:spcPts val="0"/>
                        </a:spcBef>
                        <a:spcAft>
                          <a:spcPts val="0"/>
                        </a:spcAft>
                        <a:buClr>
                          <a:srgbClr val="000000"/>
                        </a:buClr>
                        <a:buSzTx/>
                        <a:buFont typeface="Arial"/>
                        <a:buNone/>
                        <a:tabLst/>
                        <a:defRPr/>
                      </a:pPr>
                      <a:r>
                        <a:rPr lang="en-US" sz="1600" b="0" kern="100">
                          <a:effectLst/>
                          <a:latin typeface="Arial Narrow" panose="020B0606020202030204" pitchFamily="34" charset="0"/>
                          <a:ea typeface="Calibri" panose="020F0502020204030204" pitchFamily="34" charset="0"/>
                          <a:cs typeface="Times New Roman" panose="02020603050405020304" pitchFamily="18" charset="0"/>
                        </a:rPr>
                        <a:t>PD with PARPi</a:t>
                      </a:r>
                      <a:r>
                        <a:rPr lang="en-US" sz="1600" b="0" kern="100" baseline="30000">
                          <a:effectLst/>
                          <a:latin typeface="Arial Narrow" panose="020B0606020202030204" pitchFamily="34" charset="0"/>
                          <a:ea typeface="Calibri" panose="020F0502020204030204" pitchFamily="34" charset="0"/>
                          <a:cs typeface="Times New Roman" panose="02020603050405020304" pitchFamily="18" charset="0"/>
                        </a:rPr>
                        <a:t>a</a:t>
                      </a: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b="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7.3 (5.0-10.8)</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38352163"/>
                  </a:ext>
                </a:extLst>
              </a:tr>
              <a:tr h="253747">
                <a:tc>
                  <a:txBody>
                    <a:bodyPr/>
                    <a:lstStyle/>
                    <a:p>
                      <a:pPr marL="0" marR="0" lvl="0" indent="176213" algn="l" defTabSz="914400" rtl="0" eaLnBrk="1" fontAlgn="auto" latinLnBrk="0" hangingPunct="1">
                        <a:lnSpc>
                          <a:spcPct val="107000"/>
                        </a:lnSpc>
                        <a:spcBef>
                          <a:spcPts val="0"/>
                        </a:spcBef>
                        <a:spcAft>
                          <a:spcPts val="0"/>
                        </a:spcAft>
                        <a:buClr>
                          <a:srgbClr val="000000"/>
                        </a:buClr>
                        <a:buSzTx/>
                        <a:buFont typeface="Arial"/>
                        <a:buNone/>
                        <a:tabLst/>
                        <a:defRPr/>
                      </a:pPr>
                      <a:r>
                        <a:rPr lang="en-US" sz="1600" b="0" kern="100">
                          <a:effectLst/>
                          <a:latin typeface="Arial Narrow" panose="020B0606020202030204" pitchFamily="34" charset="0"/>
                          <a:ea typeface="Calibri" panose="020F0502020204030204" pitchFamily="34" charset="0"/>
                          <a:cs typeface="Times New Roman" panose="02020603050405020304" pitchFamily="18" charset="0"/>
                        </a:rPr>
                        <a:t>No PD with PARPi</a:t>
                      </a: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b="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4 (7.0-NR)</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161982374"/>
                  </a:ext>
                </a:extLst>
              </a:tr>
            </a:tbl>
          </a:graphicData>
        </a:graphic>
      </p:graphicFrame>
      <p:sp>
        <p:nvSpPr>
          <p:cNvPr id="104" name="TextBox 103">
            <a:extLst>
              <a:ext uri="{FF2B5EF4-FFF2-40B4-BE49-F238E27FC236}">
                <a16:creationId xmlns:a16="http://schemas.microsoft.com/office/drawing/2014/main" id="{D73689EE-0A51-EE10-EAB9-58BA4A8B316F}"/>
              </a:ext>
            </a:extLst>
          </p:cNvPr>
          <p:cNvSpPr txBox="1"/>
          <p:nvPr/>
        </p:nvSpPr>
        <p:spPr>
          <a:xfrm>
            <a:off x="152402" y="6505571"/>
            <a:ext cx="293356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ＭＳ Ｐゴシック" charset="0"/>
                <a:cs typeface="+mn-cs"/>
              </a:rPr>
              <a:t>Alvarez Secord; Ann Oncol 2025</a:t>
            </a:r>
          </a:p>
        </p:txBody>
      </p:sp>
    </p:spTree>
    <p:extLst>
      <p:ext uri="{BB962C8B-B14F-4D97-AF65-F5344CB8AC3E}">
        <p14:creationId xmlns:p14="http://schemas.microsoft.com/office/powerpoint/2010/main" val="2787712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0">
            <a:extLst>
              <a:ext uri="{FF2B5EF4-FFF2-40B4-BE49-F238E27FC236}">
                <a16:creationId xmlns:a16="http://schemas.microsoft.com/office/drawing/2014/main" id="{B800E6D1-E919-447A-8769-DE54BF3B5587}"/>
              </a:ext>
            </a:extLst>
          </p:cNvPr>
          <p:cNvSpPr txBox="1">
            <a:spLocks/>
          </p:cNvSpPr>
          <p:nvPr/>
        </p:nvSpPr>
        <p:spPr>
          <a:xfrm>
            <a:off x="157037" y="328907"/>
            <a:ext cx="10966268" cy="836622"/>
          </a:xfrm>
          <a:prstGeom prst="rect">
            <a:avLst/>
          </a:prstGeom>
        </p:spPr>
        <p:txBody>
          <a:bodyPr/>
          <a:lstStyle>
            <a:lvl1pPr algn="l" defTabSz="457200" rtl="0" eaLnBrk="1" latinLnBrk="0" hangingPunct="1">
              <a:lnSpc>
                <a:spcPct val="90000"/>
              </a:lnSpc>
              <a:spcBef>
                <a:spcPct val="0"/>
              </a:spcBef>
              <a:buNone/>
              <a:defRPr sz="3000" b="1" kern="1200">
                <a:solidFill>
                  <a:schemeClr val="tx1"/>
                </a:solidFill>
                <a:latin typeface="+mj-lt"/>
                <a:ea typeface="+mj-ea"/>
                <a:cs typeface="+mj-cs"/>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29305A"/>
                </a:solidFill>
                <a:effectLst/>
                <a:uLnTx/>
                <a:uFillTx/>
                <a:latin typeface="Arial" panose="020B0604020202020204" pitchFamily="34" charset="0"/>
                <a:ea typeface="+mj-ea"/>
                <a:cs typeface="Arial" panose="020B0604020202020204" pitchFamily="34" charset="0"/>
                <a:sym typeface="Helvetica Neue"/>
              </a:rPr>
              <a:t>GOG-3078/IMGN853-0421/GLORIOSA</a:t>
            </a:r>
          </a:p>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1800" b="1" i="0" u="none" strike="noStrike" kern="0" cap="none" spc="0" normalizeH="0" baseline="0" noProof="0">
                <a:ln>
                  <a:noFill/>
                </a:ln>
                <a:solidFill>
                  <a:srgbClr val="29305A"/>
                </a:solidFill>
                <a:effectLst/>
                <a:uLnTx/>
                <a:uFillTx/>
                <a:latin typeface="Arial" panose="020B0604020202020204" pitchFamily="34" charset="0"/>
                <a:ea typeface="+mj-ea"/>
                <a:cs typeface="Arial" panose="020B0604020202020204" pitchFamily="34" charset="0"/>
                <a:sym typeface="Helvetica Neue"/>
              </a:rPr>
              <a:t>Randomized Phase 3 Trial for </a:t>
            </a:r>
            <a:r>
              <a:rPr kumimoji="0" lang="en-US" sz="1800" b="1" i="0" u="none" strike="noStrike" kern="0" cap="none" spc="0" normalizeH="0" baseline="0" noProof="0" err="1">
                <a:ln>
                  <a:noFill/>
                </a:ln>
                <a:solidFill>
                  <a:srgbClr val="29305A"/>
                </a:solidFill>
                <a:effectLst/>
                <a:uLnTx/>
                <a:uFillTx/>
                <a:latin typeface="Arial" panose="020B0604020202020204" pitchFamily="34" charset="0"/>
                <a:ea typeface="+mj-ea"/>
                <a:cs typeface="Arial" panose="020B0604020202020204" pitchFamily="34" charset="0"/>
                <a:sym typeface="Helvetica Neue"/>
              </a:rPr>
              <a:t>Mirvetuximab</a:t>
            </a:r>
            <a:r>
              <a:rPr kumimoji="0" lang="en-US" sz="1800" b="1" i="0" u="none" strike="noStrike" kern="0" cap="none" spc="0" normalizeH="0" baseline="0" noProof="0">
                <a:ln>
                  <a:noFill/>
                </a:ln>
                <a:solidFill>
                  <a:srgbClr val="29305A"/>
                </a:solidFill>
                <a:effectLst/>
                <a:uLnTx/>
                <a:uFillTx/>
                <a:latin typeface="Arial" panose="020B0604020202020204" pitchFamily="34" charset="0"/>
                <a:ea typeface="+mj-ea"/>
                <a:cs typeface="Arial" panose="020B0604020202020204" pitchFamily="34" charset="0"/>
                <a:sym typeface="Helvetica Neue"/>
              </a:rPr>
              <a:t> + Bevacizumab Maintenance in FR</a:t>
            </a:r>
            <a:r>
              <a:rPr kumimoji="0" lang="el-GR" sz="1800" b="1" i="0" u="none" strike="noStrike" kern="0" cap="none" spc="0" normalizeH="0" baseline="0" noProof="0">
                <a:ln>
                  <a:noFill/>
                </a:ln>
                <a:solidFill>
                  <a:srgbClr val="29305A"/>
                </a:solidFill>
                <a:effectLst/>
                <a:uLnTx/>
                <a:uFillTx/>
                <a:latin typeface="Arial" panose="020B0604020202020204" pitchFamily="34" charset="0"/>
                <a:ea typeface="+mj-ea"/>
                <a:cs typeface="Arial" panose="020B0604020202020204" pitchFamily="34" charset="0"/>
                <a:sym typeface="Helvetica Neue"/>
              </a:rPr>
              <a:t>α-</a:t>
            </a:r>
            <a:r>
              <a:rPr kumimoji="0" lang="en-US" sz="1800" b="1" i="0" u="none" strike="noStrike" kern="0" cap="none" spc="0" normalizeH="0" baseline="0" noProof="0">
                <a:ln>
                  <a:noFill/>
                </a:ln>
                <a:solidFill>
                  <a:srgbClr val="29305A"/>
                </a:solidFill>
                <a:effectLst/>
                <a:uLnTx/>
                <a:uFillTx/>
                <a:latin typeface="Arial" panose="020B0604020202020204" pitchFamily="34" charset="0"/>
                <a:ea typeface="+mj-ea"/>
                <a:cs typeface="Arial" panose="020B0604020202020204" pitchFamily="34" charset="0"/>
                <a:sym typeface="Helvetica Neue"/>
              </a:rPr>
              <a:t>high Platinum Sensitive Ovarian Cancer </a:t>
            </a:r>
            <a:r>
              <a:rPr kumimoji="0" lang="en-US" sz="1800" b="0" i="0" u="none" strike="noStrike" kern="0" cap="none" spc="0" normalizeH="0" baseline="0" noProof="0">
                <a:ln>
                  <a:noFill/>
                </a:ln>
                <a:solidFill>
                  <a:srgbClr val="29305A"/>
                </a:solidFill>
                <a:effectLst/>
                <a:uLnTx/>
                <a:uFillTx/>
                <a:latin typeface="Arial" panose="020B0604020202020204" pitchFamily="34" charset="0"/>
                <a:ea typeface="+mj-ea"/>
                <a:cs typeface="Arial" panose="020B0604020202020204" pitchFamily="34" charset="0"/>
                <a:sym typeface="Helvetica Neue"/>
              </a:rPr>
              <a:t>(PI: David O’Malley, MD, Co-PI: Tashanna Myers, MD)</a:t>
            </a:r>
          </a:p>
          <a:p>
            <a:pPr marL="0" marR="0" lvl="0" indent="0" algn="l" defTabSz="4572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4472C4"/>
              </a:solidFill>
              <a:effectLst/>
              <a:uLnTx/>
              <a:uFillTx/>
              <a:latin typeface="Arial" panose="020B0604020202020204" pitchFamily="34" charset="0"/>
              <a:ea typeface="+mj-ea"/>
              <a:cs typeface="Arial" panose="020B0604020202020204" pitchFamily="34" charset="0"/>
              <a:sym typeface="Helvetica Neue"/>
            </a:endParaRPr>
          </a:p>
        </p:txBody>
      </p:sp>
      <p:sp>
        <p:nvSpPr>
          <p:cNvPr id="12" name="TextBox 11">
            <a:extLst>
              <a:ext uri="{FF2B5EF4-FFF2-40B4-BE49-F238E27FC236}">
                <a16:creationId xmlns:a16="http://schemas.microsoft.com/office/drawing/2014/main" id="{7464455A-B0DB-40CA-8B90-4692DB4E0FFB}"/>
              </a:ext>
            </a:extLst>
          </p:cNvPr>
          <p:cNvSpPr txBox="1"/>
          <p:nvPr/>
        </p:nvSpPr>
        <p:spPr>
          <a:xfrm>
            <a:off x="-254850" y="5930833"/>
            <a:ext cx="179396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sym typeface="Helvetica Neue"/>
              </a:rPr>
              <a:t>NCT05445778</a:t>
            </a:r>
            <a:endParaRPr kumimoji="0" lang="en-US" sz="2200" b="1" i="0" u="none" strike="noStrike" kern="1200" cap="none" spc="0" normalizeH="0" baseline="0" noProof="0">
              <a:ln>
                <a:noFill/>
              </a:ln>
              <a:solidFill>
                <a:prstClr val="black"/>
              </a:solidFill>
              <a:effectLst/>
              <a:uLnTx/>
              <a:uFillTx/>
              <a:latin typeface="Arial" panose="020B0604020202020204" pitchFamily="34" charset="0"/>
              <a:ea typeface="ＭＳ Ｐゴシック" charset="0"/>
              <a:cs typeface="Arial" panose="020B0604020202020204" pitchFamily="34" charset="0"/>
              <a:sym typeface="Helvetica Neue"/>
            </a:endParaRPr>
          </a:p>
        </p:txBody>
      </p:sp>
      <p:pic>
        <p:nvPicPr>
          <p:cNvPr id="4" name="Picture 3" descr="Logo&#10;&#10;Description automatically generated">
            <a:extLst>
              <a:ext uri="{FF2B5EF4-FFF2-40B4-BE49-F238E27FC236}">
                <a16:creationId xmlns:a16="http://schemas.microsoft.com/office/drawing/2014/main" id="{FDC3B78A-A8E2-79DD-AAB8-79D6F3BF13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5437" y="6192443"/>
            <a:ext cx="1698644" cy="653129"/>
          </a:xfrm>
          <a:prstGeom prst="rect">
            <a:avLst/>
          </a:prstGeom>
        </p:spPr>
      </p:pic>
      <p:sp>
        <p:nvSpPr>
          <p:cNvPr id="10" name="TextBox 9">
            <a:extLst>
              <a:ext uri="{FF2B5EF4-FFF2-40B4-BE49-F238E27FC236}">
                <a16:creationId xmlns:a16="http://schemas.microsoft.com/office/drawing/2014/main" id="{48B5EF14-8E24-C9B7-CEF7-9E2C4EE0E152}"/>
              </a:ext>
            </a:extLst>
          </p:cNvPr>
          <p:cNvSpPr txBox="1">
            <a:spLocks/>
          </p:cNvSpPr>
          <p:nvPr/>
        </p:nvSpPr>
        <p:spPr>
          <a:xfrm>
            <a:off x="3315058" y="5044012"/>
            <a:ext cx="5029200" cy="1015663"/>
          </a:xfrm>
          <a:prstGeom prst="rect">
            <a:avLst/>
          </a:prstGeom>
          <a:solidFill>
            <a:srgbClr val="489E9F"/>
          </a:solidFill>
          <a:ln w="38100">
            <a:solidFill>
              <a:srgbClr val="002060"/>
            </a:solidFill>
          </a:ln>
        </p:spPr>
        <p:txBody>
          <a:bodyPr wrap="square" rtlCol="0">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Helvetica Neue Medium"/>
                <a:ea typeface="ＭＳ Ｐゴシック" charset="0"/>
                <a:cs typeface="+mn-cs"/>
                <a:sym typeface="Helvetica Neue"/>
              </a:rPr>
              <a:t>Key Eligibility Criteria:</a:t>
            </a:r>
          </a:p>
          <a:p>
            <a:pPr marL="250826" marR="0" lvl="0" indent="-228600" algn="l" defTabSz="914412"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Helvetica Neue Medium"/>
                <a:ea typeface="ＭＳ Ｐゴシック" charset="0"/>
                <a:cs typeface="Arial"/>
                <a:sym typeface="Helvetica Neue"/>
              </a:rPr>
              <a:t>Platinum-sensitive HGS ovarian cancer  </a:t>
            </a:r>
          </a:p>
          <a:p>
            <a:pPr marL="250826" marR="0" lvl="0" indent="-228600" algn="l" defTabSz="914412"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Helvetica Neue Medium"/>
                <a:ea typeface="ＭＳ Ｐゴシック" charset="0"/>
                <a:cs typeface="Arial"/>
                <a:sym typeface="Helvetica Neue"/>
              </a:rPr>
              <a:t>1 prior platinum treatment</a:t>
            </a:r>
          </a:p>
          <a:p>
            <a:pPr marL="250826" marR="0" lvl="0" indent="-228600" algn="l" defTabSz="914412"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Helvetica Neue Medium"/>
                <a:ea typeface="ＭＳ Ｐゴシック" charset="0"/>
                <a:cs typeface="Arial"/>
                <a:sym typeface="Helvetica Neue"/>
              </a:rPr>
              <a:t>Prior </a:t>
            </a:r>
            <a:r>
              <a:rPr kumimoji="0" lang="en-US" sz="1000" b="0" i="0" u="none" strike="noStrike" kern="1200" cap="none" spc="0" normalizeH="0" baseline="0" noProof="0" dirty="0" err="1">
                <a:ln>
                  <a:noFill/>
                </a:ln>
                <a:solidFill>
                  <a:srgbClr val="FFFFFF"/>
                </a:solidFill>
                <a:effectLst/>
                <a:uLnTx/>
                <a:uFillTx/>
                <a:latin typeface="Helvetica Neue Medium"/>
                <a:ea typeface="ＭＳ Ｐゴシック" charset="0"/>
                <a:cs typeface="Arial"/>
                <a:sym typeface="Helvetica Neue"/>
              </a:rPr>
              <a:t>PARPi</a:t>
            </a:r>
            <a:r>
              <a:rPr kumimoji="0" lang="en-US" sz="1000" b="0" i="0" u="none" strike="noStrike" kern="1200" cap="none" spc="0" normalizeH="0" baseline="0" noProof="0" dirty="0">
                <a:ln>
                  <a:noFill/>
                </a:ln>
                <a:solidFill>
                  <a:srgbClr val="FFFFFF"/>
                </a:solidFill>
                <a:effectLst/>
                <a:uLnTx/>
                <a:uFillTx/>
                <a:latin typeface="Helvetica Neue Medium"/>
                <a:ea typeface="ＭＳ Ｐゴシック" charset="0"/>
                <a:cs typeface="Arial"/>
                <a:sym typeface="Helvetica Neue"/>
              </a:rPr>
              <a:t> required if BRCA+</a:t>
            </a:r>
          </a:p>
          <a:p>
            <a:pPr marL="250826" marR="0" lvl="0" indent="-228600" algn="l" defTabSz="914412"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Helvetica Neue Medium"/>
                <a:ea typeface="ＭＳ Ｐゴシック" charset="0"/>
                <a:cs typeface="Arial"/>
                <a:sym typeface="Helvetica Neue"/>
              </a:rPr>
              <a:t>CR, PR, or SD after treatment with platinum-based doublet + bevacizumab required</a:t>
            </a:r>
            <a:endParaRPr kumimoji="0" lang="en-US" sz="1000" b="0" i="0" u="none" strike="noStrike" kern="0" cap="none" spc="0" normalizeH="0" baseline="0" noProof="0" dirty="0">
              <a:ln>
                <a:noFill/>
              </a:ln>
              <a:solidFill>
                <a:srgbClr val="FFFFFF"/>
              </a:solidFill>
              <a:effectLst/>
              <a:uLnTx/>
              <a:uFillTx/>
              <a:latin typeface="Helvetica Neue Medium"/>
              <a:ea typeface="ＭＳ Ｐゴシック" charset="0"/>
              <a:cs typeface="Arial"/>
              <a:sym typeface="Helvetica Neue"/>
            </a:endParaRPr>
          </a:p>
        </p:txBody>
      </p:sp>
      <p:pic>
        <p:nvPicPr>
          <p:cNvPr id="3" name="Picture 2">
            <a:extLst>
              <a:ext uri="{FF2B5EF4-FFF2-40B4-BE49-F238E27FC236}">
                <a16:creationId xmlns:a16="http://schemas.microsoft.com/office/drawing/2014/main" id="{C8D78DDE-9609-D73D-B7A6-2FDF226036A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0" y="1219628"/>
            <a:ext cx="12192000" cy="3781425"/>
          </a:xfrm>
          <a:prstGeom prst="rect">
            <a:avLst/>
          </a:prstGeom>
        </p:spPr>
      </p:pic>
      <p:pic>
        <p:nvPicPr>
          <p:cNvPr id="2" name="Picture 1" descr="A flag with stars and stripes">
            <a:extLst>
              <a:ext uri="{FF2B5EF4-FFF2-40B4-BE49-F238E27FC236}">
                <a16:creationId xmlns:a16="http://schemas.microsoft.com/office/drawing/2014/main" id="{BE0C0BA8-177E-59B1-FDE6-49BD96548C5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157037" y="5166739"/>
            <a:ext cx="495333" cy="260876"/>
          </a:xfrm>
          <a:prstGeom prst="rect">
            <a:avLst/>
          </a:prstGeom>
        </p:spPr>
      </p:pic>
      <p:pic>
        <p:nvPicPr>
          <p:cNvPr id="6" name="Picture 5" descr="A red and white flag with a leaf">
            <a:extLst>
              <a:ext uri="{FF2B5EF4-FFF2-40B4-BE49-F238E27FC236}">
                <a16:creationId xmlns:a16="http://schemas.microsoft.com/office/drawing/2014/main" id="{E68F3722-6ED1-D3A7-FAF1-BC3BA477AD56}"/>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789669" y="5149100"/>
            <a:ext cx="495389" cy="316843"/>
          </a:xfrm>
          <a:prstGeom prst="rect">
            <a:avLst/>
          </a:prstGeom>
        </p:spPr>
      </p:pic>
      <p:pic>
        <p:nvPicPr>
          <p:cNvPr id="7" name="Picture 6" descr="A picture containing graphics, circle, logo, graphic design&#10;&#10;Description automatically generated">
            <a:extLst>
              <a:ext uri="{FF2B5EF4-FFF2-40B4-BE49-F238E27FC236}">
                <a16:creationId xmlns:a16="http://schemas.microsoft.com/office/drawing/2014/main" id="{6F030F8C-270A-7C05-6358-78F8D59185C1}"/>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1417878" y="5168150"/>
            <a:ext cx="369956" cy="261610"/>
          </a:xfrm>
          <a:prstGeom prst="rect">
            <a:avLst/>
          </a:prstGeom>
        </p:spPr>
      </p:pic>
      <p:sp>
        <p:nvSpPr>
          <p:cNvPr id="8" name="TextBox 7">
            <a:extLst>
              <a:ext uri="{FF2B5EF4-FFF2-40B4-BE49-F238E27FC236}">
                <a16:creationId xmlns:a16="http://schemas.microsoft.com/office/drawing/2014/main" id="{A17D03DE-F887-11E4-EA76-6AAA4FDFD160}"/>
              </a:ext>
            </a:extLst>
          </p:cNvPr>
          <p:cNvSpPr txBox="1"/>
          <p:nvPr/>
        </p:nvSpPr>
        <p:spPr>
          <a:xfrm>
            <a:off x="2166939" y="6519007"/>
            <a:ext cx="291996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ＭＳ Ｐゴシック" charset="0"/>
                <a:cs typeface="+mn-cs"/>
              </a:rPr>
              <a:t>O’Malley. Future Oncology. </a:t>
            </a:r>
            <a:r>
              <a:rPr kumimoji="0" lang="en-US" sz="1400" b="1" i="0" u="none" strike="noStrike" kern="1200" cap="none" spc="0" normalizeH="0" baseline="0" noProof="0">
                <a:ln>
                  <a:noFill/>
                </a:ln>
                <a:solidFill>
                  <a:srgbClr val="000000"/>
                </a:solidFill>
                <a:effectLst/>
                <a:uLnTx/>
                <a:uFillTx/>
                <a:latin typeface="Arial"/>
                <a:ea typeface="ＭＳ Ｐゴシック" charset="0"/>
                <a:cs typeface="+mn-cs"/>
              </a:rPr>
              <a:t>2024</a:t>
            </a:r>
            <a:endParaRPr kumimoji="0" lang="en-US" sz="1400" b="1"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Tree>
    <p:extLst>
      <p:ext uri="{BB962C8B-B14F-4D97-AF65-F5344CB8AC3E}">
        <p14:creationId xmlns:p14="http://schemas.microsoft.com/office/powerpoint/2010/main" val="24723732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C660D-1056-FEC6-6AB8-41A33F125DB9}"/>
              </a:ext>
            </a:extLst>
          </p:cNvPr>
          <p:cNvSpPr>
            <a:spLocks noGrp="1"/>
          </p:cNvSpPr>
          <p:nvPr>
            <p:ph type="title"/>
          </p:nvPr>
        </p:nvSpPr>
        <p:spPr>
          <a:xfrm>
            <a:off x="290201" y="166443"/>
            <a:ext cx="10720699" cy="750127"/>
          </a:xfrm>
        </p:spPr>
        <p:txBody>
          <a:bodyPr/>
          <a:lstStyle/>
          <a:p>
            <a:r>
              <a:rPr lang="en-US" sz="3200" dirty="0">
                <a:solidFill>
                  <a:schemeClr val="accent6"/>
                </a:solidFill>
                <a:cs typeface="Calibri Light" panose="020F0302020204030204" pitchFamily="34" charset="0"/>
              </a:rPr>
              <a:t>The Folate Receptor Alpha Landscape</a:t>
            </a:r>
            <a:endParaRPr lang="en-GB" sz="3200" dirty="0">
              <a:solidFill>
                <a:schemeClr val="accent6"/>
              </a:solidFill>
              <a:cs typeface="Calibri Light" panose="020F0302020204030204" pitchFamily="34" charset="0"/>
            </a:endParaRPr>
          </a:p>
        </p:txBody>
      </p:sp>
      <p:graphicFrame>
        <p:nvGraphicFramePr>
          <p:cNvPr id="3" name="Table 2">
            <a:extLst>
              <a:ext uri="{FF2B5EF4-FFF2-40B4-BE49-F238E27FC236}">
                <a16:creationId xmlns:a16="http://schemas.microsoft.com/office/drawing/2014/main" id="{DB1F1A35-1BA7-FCBE-7361-DCEB3928785A}"/>
              </a:ext>
            </a:extLst>
          </p:cNvPr>
          <p:cNvGraphicFramePr>
            <a:graphicFrameLocks noGrp="1"/>
          </p:cNvGraphicFramePr>
          <p:nvPr/>
        </p:nvGraphicFramePr>
        <p:xfrm>
          <a:off x="928687" y="1183640"/>
          <a:ext cx="10082213" cy="5125720"/>
        </p:xfrm>
        <a:graphic>
          <a:graphicData uri="http://schemas.openxmlformats.org/drawingml/2006/table">
            <a:tbl>
              <a:tblPr firstRow="1" bandRow="1">
                <a:tableStyleId>{5C22544A-7EE6-4342-B048-85BDC9FD1C3A}</a:tableStyleId>
              </a:tblPr>
              <a:tblGrid>
                <a:gridCol w="1114426">
                  <a:extLst>
                    <a:ext uri="{9D8B030D-6E8A-4147-A177-3AD203B41FA5}">
                      <a16:colId xmlns:a16="http://schemas.microsoft.com/office/drawing/2014/main" val="3562623238"/>
                    </a:ext>
                  </a:extLst>
                </a:gridCol>
                <a:gridCol w="1661988">
                  <a:extLst>
                    <a:ext uri="{9D8B030D-6E8A-4147-A177-3AD203B41FA5}">
                      <a16:colId xmlns:a16="http://schemas.microsoft.com/office/drawing/2014/main" val="866967539"/>
                    </a:ext>
                  </a:extLst>
                </a:gridCol>
                <a:gridCol w="1563812">
                  <a:extLst>
                    <a:ext uri="{9D8B030D-6E8A-4147-A177-3AD203B41FA5}">
                      <a16:colId xmlns:a16="http://schemas.microsoft.com/office/drawing/2014/main" val="1562212346"/>
                    </a:ext>
                  </a:extLst>
                </a:gridCol>
                <a:gridCol w="1917700">
                  <a:extLst>
                    <a:ext uri="{9D8B030D-6E8A-4147-A177-3AD203B41FA5}">
                      <a16:colId xmlns:a16="http://schemas.microsoft.com/office/drawing/2014/main" val="1601632368"/>
                    </a:ext>
                  </a:extLst>
                </a:gridCol>
                <a:gridCol w="1625600">
                  <a:extLst>
                    <a:ext uri="{9D8B030D-6E8A-4147-A177-3AD203B41FA5}">
                      <a16:colId xmlns:a16="http://schemas.microsoft.com/office/drawing/2014/main" val="1069883849"/>
                    </a:ext>
                  </a:extLst>
                </a:gridCol>
                <a:gridCol w="2198687">
                  <a:extLst>
                    <a:ext uri="{9D8B030D-6E8A-4147-A177-3AD203B41FA5}">
                      <a16:colId xmlns:a16="http://schemas.microsoft.com/office/drawing/2014/main" val="1398104888"/>
                    </a:ext>
                  </a:extLst>
                </a:gridCol>
              </a:tblGrid>
              <a:tr h="762000">
                <a:tc>
                  <a:txBody>
                    <a:bodyPr/>
                    <a:lstStyle/>
                    <a:p>
                      <a:endParaRPr lang="en-US" sz="1500" b="1" dirty="0"/>
                    </a:p>
                  </a:txBody>
                  <a:tcPr anchor="ctr">
                    <a:solidFill>
                      <a:srgbClr val="53B2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dirty="0" err="1">
                          <a:solidFill>
                            <a:schemeClr val="bg1"/>
                          </a:solidFill>
                          <a:effectLst/>
                        </a:rPr>
                        <a:t>Mirvetuximab</a:t>
                      </a:r>
                      <a:r>
                        <a:rPr lang="en-US" sz="1500" b="1" kern="1200" dirty="0">
                          <a:solidFill>
                            <a:schemeClr val="bg1"/>
                          </a:solidFill>
                          <a:effectLst/>
                        </a:rPr>
                        <a:t> </a:t>
                      </a:r>
                      <a:r>
                        <a:rPr lang="en-US" sz="1500" b="1" kern="1200" dirty="0" err="1">
                          <a:solidFill>
                            <a:schemeClr val="bg1"/>
                          </a:solidFill>
                          <a:effectLst/>
                        </a:rPr>
                        <a:t>soravtansine</a:t>
                      </a:r>
                      <a:endParaRPr lang="en-US" sz="1500" b="1" baseline="30000" dirty="0">
                        <a:solidFill>
                          <a:schemeClr val="bg1"/>
                        </a:solidFill>
                        <a:latin typeface="+mn-lt"/>
                      </a:endParaRPr>
                    </a:p>
                  </a:txBody>
                  <a:tcPr anchor="ctr">
                    <a:solidFill>
                      <a:srgbClr val="53B2BD"/>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500" b="1" dirty="0" err="1"/>
                        <a:t>Sofetabart</a:t>
                      </a:r>
                      <a:r>
                        <a:rPr lang="en-US" sz="1500" b="1" dirty="0"/>
                        <a:t> </a:t>
                      </a:r>
                      <a:r>
                        <a:rPr lang="en-US" sz="1500" b="1" dirty="0" err="1"/>
                        <a:t>mipitecan</a:t>
                      </a:r>
                      <a:endParaRPr lang="en-US" sz="1500" b="1" dirty="0"/>
                    </a:p>
                  </a:txBody>
                  <a:tcPr anchor="ctr">
                    <a:solidFill>
                      <a:srgbClr val="53B2BD"/>
                    </a:solidFill>
                  </a:tcPr>
                </a:tc>
                <a:tc>
                  <a:txBody>
                    <a:bodyPr/>
                    <a:lstStyle/>
                    <a:p>
                      <a:pPr algn="ctr"/>
                      <a:r>
                        <a:rPr lang="en-US" sz="1500" b="1" dirty="0" err="1"/>
                        <a:t>Rinatabart</a:t>
                      </a:r>
                      <a:r>
                        <a:rPr lang="en-US" sz="1500" b="1" dirty="0"/>
                        <a:t> </a:t>
                      </a:r>
                      <a:r>
                        <a:rPr lang="en-US" sz="1500" b="1" dirty="0" err="1"/>
                        <a:t>sesutecan</a:t>
                      </a:r>
                      <a:endParaRPr lang="en-US" sz="1500" b="1" dirty="0"/>
                    </a:p>
                  </a:txBody>
                  <a:tcPr anchor="ctr">
                    <a:solidFill>
                      <a:srgbClr val="53B2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baseline="0" dirty="0" err="1">
                          <a:solidFill>
                            <a:schemeClr val="bg1"/>
                          </a:solidFill>
                          <a:latin typeface="+mn-lt"/>
                        </a:rPr>
                        <a:t>Torvutatug</a:t>
                      </a:r>
                      <a:r>
                        <a:rPr lang="en-US" sz="1500" b="1" baseline="0" dirty="0">
                          <a:solidFill>
                            <a:schemeClr val="bg1"/>
                          </a:solidFill>
                          <a:latin typeface="+mn-lt"/>
                        </a:rPr>
                        <a:t> </a:t>
                      </a:r>
                      <a:r>
                        <a:rPr lang="en-US" sz="1500" b="1" baseline="0" dirty="0" err="1">
                          <a:solidFill>
                            <a:schemeClr val="bg1"/>
                          </a:solidFill>
                          <a:latin typeface="+mn-lt"/>
                        </a:rPr>
                        <a:t>samrotecan</a:t>
                      </a:r>
                      <a:r>
                        <a:rPr lang="en-US" sz="1500" b="1" baseline="0" dirty="0">
                          <a:solidFill>
                            <a:schemeClr val="bg1"/>
                          </a:solidFill>
                          <a:latin typeface="+mn-lt"/>
                        </a:rPr>
                        <a:t> (AZD5335)</a:t>
                      </a:r>
                    </a:p>
                  </a:txBody>
                  <a:tcPr anchor="ctr">
                    <a:solidFill>
                      <a:srgbClr val="53B2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baseline="0" dirty="0" err="1">
                          <a:solidFill>
                            <a:schemeClr val="bg1"/>
                          </a:solidFill>
                          <a:effectLst/>
                          <a:latin typeface="+mn-lt"/>
                        </a:rPr>
                        <a:t>Luveltamab</a:t>
                      </a:r>
                      <a:r>
                        <a:rPr lang="en-US" sz="1500" b="1" baseline="0" dirty="0">
                          <a:solidFill>
                            <a:schemeClr val="bg1"/>
                          </a:solidFill>
                          <a:effectLst/>
                          <a:latin typeface="+mn-lt"/>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baseline="0" dirty="0" err="1">
                          <a:solidFill>
                            <a:schemeClr val="bg1"/>
                          </a:solidFill>
                          <a:effectLst/>
                          <a:latin typeface="+mn-lt"/>
                        </a:rPr>
                        <a:t>Tazevibulin</a:t>
                      </a:r>
                      <a:endParaRPr lang="en-US" sz="1500" b="1" baseline="0" dirty="0">
                        <a:solidFill>
                          <a:schemeClr val="bg1"/>
                        </a:solidFill>
                        <a:latin typeface="+mn-lt"/>
                      </a:endParaRPr>
                    </a:p>
                  </a:txBody>
                  <a:tcPr anchor="ctr">
                    <a:solidFill>
                      <a:srgbClr val="53B2BD"/>
                    </a:solidFill>
                  </a:tcPr>
                </a:tc>
                <a:extLst>
                  <a:ext uri="{0D108BD9-81ED-4DB2-BD59-A6C34878D82A}">
                    <a16:rowId xmlns:a16="http://schemas.microsoft.com/office/drawing/2014/main" val="3256725774"/>
                  </a:ext>
                </a:extLst>
              </a:tr>
              <a:tr h="762000">
                <a:tc>
                  <a:txBody>
                    <a:bodyPr/>
                    <a:lstStyle/>
                    <a:p>
                      <a:r>
                        <a:rPr lang="en-US" sz="1500" b="1" dirty="0">
                          <a:latin typeface="+mn-lt"/>
                        </a:rPr>
                        <a:t>Payload</a:t>
                      </a:r>
                    </a:p>
                  </a:txBody>
                  <a:tcPr anchor="ctr"/>
                </a:tc>
                <a:tc>
                  <a:txBody>
                    <a:bodyPr/>
                    <a:lstStyle/>
                    <a:p>
                      <a:pPr algn="ctr"/>
                      <a:r>
                        <a:rPr lang="en-US" sz="1500" dirty="0">
                          <a:latin typeface="+mn-lt"/>
                        </a:rPr>
                        <a:t>DM4</a:t>
                      </a:r>
                    </a:p>
                  </a:txBody>
                  <a:tcPr anchor="ctr"/>
                </a:tc>
                <a:tc>
                  <a:txBody>
                    <a:bodyPr/>
                    <a:lstStyle/>
                    <a:p>
                      <a:pPr algn="ctr"/>
                      <a:r>
                        <a:rPr lang="en-US" sz="1500" dirty="0" err="1">
                          <a:latin typeface="+mn-lt"/>
                        </a:rPr>
                        <a:t>Exatecan</a:t>
                      </a:r>
                      <a:endParaRPr lang="en-US" sz="1500" dirty="0">
                        <a:latin typeface="+mn-lt"/>
                      </a:endParaRPr>
                    </a:p>
                  </a:txBody>
                  <a:tcPr anchor="ctr"/>
                </a:tc>
                <a:tc>
                  <a:txBody>
                    <a:bodyPr/>
                    <a:lstStyle/>
                    <a:p>
                      <a:pPr algn="ctr"/>
                      <a:r>
                        <a:rPr lang="en-US" sz="1500" dirty="0" err="1">
                          <a:latin typeface="+mn-lt"/>
                        </a:rPr>
                        <a:t>Exatecan</a:t>
                      </a:r>
                      <a:endParaRPr lang="en-US" sz="1500" dirty="0">
                        <a:latin typeface="+mn-lt"/>
                      </a:endParaRPr>
                    </a:p>
                  </a:txBody>
                  <a:tcPr anchor="ctr"/>
                </a:tc>
                <a:tc>
                  <a:txBody>
                    <a:bodyPr/>
                    <a:lstStyle/>
                    <a:p>
                      <a:pPr algn="ctr"/>
                      <a:r>
                        <a:rPr lang="en-US" sz="1500" dirty="0" err="1">
                          <a:latin typeface="+mn-lt"/>
                        </a:rPr>
                        <a:t>Samrotecan</a:t>
                      </a:r>
                      <a:endParaRPr lang="en-US" sz="1500" dirty="0">
                        <a:latin typeface="+mn-lt"/>
                      </a:endParaRPr>
                    </a:p>
                  </a:txBody>
                  <a:tcPr anchor="ctr"/>
                </a:tc>
                <a:tc>
                  <a:txBody>
                    <a:bodyPr/>
                    <a:lstStyle/>
                    <a:p>
                      <a:pPr algn="ctr"/>
                      <a:r>
                        <a:rPr lang="en-US" sz="1500" dirty="0">
                          <a:latin typeface="+mn-lt"/>
                        </a:rPr>
                        <a:t>SC-209 – </a:t>
                      </a:r>
                      <a:r>
                        <a:rPr lang="en-US" sz="1500" dirty="0" err="1">
                          <a:latin typeface="+mn-lt"/>
                        </a:rPr>
                        <a:t>Hemiasterelin</a:t>
                      </a:r>
                      <a:r>
                        <a:rPr lang="en-US" sz="1500" dirty="0">
                          <a:latin typeface="+mn-lt"/>
                        </a:rPr>
                        <a:t> derivative cytotoxic</a:t>
                      </a:r>
                    </a:p>
                  </a:txBody>
                  <a:tcPr anchor="ctr"/>
                </a:tc>
                <a:extLst>
                  <a:ext uri="{0D108BD9-81ED-4DB2-BD59-A6C34878D82A}">
                    <a16:rowId xmlns:a16="http://schemas.microsoft.com/office/drawing/2014/main" val="1190536308"/>
                  </a:ext>
                </a:extLst>
              </a:tr>
              <a:tr h="370840">
                <a:tc>
                  <a:txBody>
                    <a:bodyPr/>
                    <a:lstStyle/>
                    <a:p>
                      <a:r>
                        <a:rPr lang="en-US" sz="1500" b="1" dirty="0">
                          <a:latin typeface="+mn-lt"/>
                        </a:rPr>
                        <a:t>DAR</a:t>
                      </a:r>
                    </a:p>
                  </a:txBody>
                  <a:tcPr anchor="ctr"/>
                </a:tc>
                <a:tc>
                  <a:txBody>
                    <a:bodyPr/>
                    <a:lstStyle/>
                    <a:p>
                      <a:pPr algn="ctr"/>
                      <a:r>
                        <a:rPr lang="en-US" sz="1500" dirty="0">
                          <a:latin typeface="+mn-lt"/>
                        </a:rPr>
                        <a:t>4</a:t>
                      </a:r>
                    </a:p>
                  </a:txBody>
                  <a:tcPr anchor="ctr"/>
                </a:tc>
                <a:tc>
                  <a:txBody>
                    <a:bodyPr/>
                    <a:lstStyle/>
                    <a:p>
                      <a:pPr algn="ctr"/>
                      <a:r>
                        <a:rPr lang="en-US" sz="1500" dirty="0">
                          <a:latin typeface="+mn-lt"/>
                        </a:rPr>
                        <a:t>ND</a:t>
                      </a:r>
                    </a:p>
                  </a:txBody>
                  <a:tcPr anchor="ctr"/>
                </a:tc>
                <a:tc>
                  <a:txBody>
                    <a:bodyPr/>
                    <a:lstStyle/>
                    <a:p>
                      <a:pPr algn="ctr"/>
                      <a:r>
                        <a:rPr lang="en-US" sz="1500" dirty="0">
                          <a:latin typeface="+mn-lt"/>
                        </a:rPr>
                        <a:t>8</a:t>
                      </a:r>
                    </a:p>
                  </a:txBody>
                  <a:tcPr anchor="ctr"/>
                </a:tc>
                <a:tc>
                  <a:txBody>
                    <a:bodyPr/>
                    <a:lstStyle/>
                    <a:p>
                      <a:pPr algn="ctr"/>
                      <a:r>
                        <a:rPr lang="en-US" sz="1500" dirty="0">
                          <a:latin typeface="+mn-lt"/>
                        </a:rPr>
                        <a:t>8</a:t>
                      </a:r>
                    </a:p>
                  </a:txBody>
                  <a:tcPr anchor="ctr"/>
                </a:tc>
                <a:tc>
                  <a:txBody>
                    <a:bodyPr/>
                    <a:lstStyle/>
                    <a:p>
                      <a:pPr algn="ctr"/>
                      <a:r>
                        <a:rPr lang="en-US" sz="1500" dirty="0">
                          <a:latin typeface="+mn-lt"/>
                        </a:rPr>
                        <a:t>4</a:t>
                      </a:r>
                    </a:p>
                  </a:txBody>
                  <a:tcPr anchor="ctr"/>
                </a:tc>
                <a:extLst>
                  <a:ext uri="{0D108BD9-81ED-4DB2-BD59-A6C34878D82A}">
                    <a16:rowId xmlns:a16="http://schemas.microsoft.com/office/drawing/2014/main" val="4213496780"/>
                  </a:ext>
                </a:extLst>
              </a:tr>
              <a:tr h="762000">
                <a:tc>
                  <a:txBody>
                    <a:bodyPr/>
                    <a:lstStyle/>
                    <a:p>
                      <a:r>
                        <a:rPr lang="en-US" sz="1500" b="1" dirty="0">
                          <a:latin typeface="+mn-lt"/>
                        </a:rPr>
                        <a:t>Linker</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500" b="0" dirty="0" err="1">
                          <a:solidFill>
                            <a:schemeClr val="tx1"/>
                          </a:solidFill>
                          <a:latin typeface="+mn-lt"/>
                        </a:rPr>
                        <a:t>Sulfo</a:t>
                      </a:r>
                      <a:r>
                        <a:rPr lang="en-US" sz="1500" b="0" dirty="0">
                          <a:solidFill>
                            <a:schemeClr val="tx1"/>
                          </a:solidFill>
                          <a:latin typeface="+mn-lt"/>
                        </a:rPr>
                        <a:t>-SPDB linker</a:t>
                      </a:r>
                    </a:p>
                  </a:txBody>
                  <a:tcPr anchor="ctr"/>
                </a:tc>
                <a:tc>
                  <a:txBody>
                    <a:bodyPr/>
                    <a:lstStyle/>
                    <a:p>
                      <a:pPr algn="ctr"/>
                      <a:r>
                        <a:rPr lang="en-US" sz="1500" dirty="0">
                          <a:latin typeface="+mn-lt"/>
                        </a:rPr>
                        <a:t>Proprietary</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500" dirty="0">
                          <a:latin typeface="+mn-lt"/>
                        </a:rPr>
                        <a:t>A novel hydrophilic protease-cleavable linker </a:t>
                      </a:r>
                    </a:p>
                  </a:txBody>
                  <a:tcPr anchor="ctr"/>
                </a:tc>
                <a:tc>
                  <a:txBody>
                    <a:bodyPr/>
                    <a:lstStyle/>
                    <a:p>
                      <a:pPr algn="ctr"/>
                      <a:r>
                        <a:rPr lang="en-US" sz="1500" dirty="0">
                          <a:latin typeface="+mn-lt"/>
                        </a:rPr>
                        <a:t>Novel conjugated linker</a:t>
                      </a:r>
                    </a:p>
                  </a:txBody>
                  <a:tcPr anchor="ctr"/>
                </a:tc>
                <a:tc>
                  <a:txBody>
                    <a:bodyPr/>
                    <a:lstStyle/>
                    <a:p>
                      <a:pPr algn="ctr"/>
                      <a:r>
                        <a:rPr lang="en-US" sz="1500" dirty="0">
                          <a:latin typeface="+mn-lt"/>
                        </a:rPr>
                        <a:t>Cathepsin B</a:t>
                      </a:r>
                    </a:p>
                  </a:txBody>
                  <a:tcPr anchor="ctr"/>
                </a:tc>
                <a:extLst>
                  <a:ext uri="{0D108BD9-81ED-4DB2-BD59-A6C34878D82A}">
                    <a16:rowId xmlns:a16="http://schemas.microsoft.com/office/drawing/2014/main" val="979550296"/>
                  </a:ext>
                </a:extLst>
              </a:tr>
              <a:tr h="518160">
                <a:tc>
                  <a:txBody>
                    <a:bodyPr/>
                    <a:lstStyle/>
                    <a:p>
                      <a:r>
                        <a:rPr lang="en-US" sz="1500" b="1" dirty="0">
                          <a:latin typeface="+mn-lt"/>
                        </a:rPr>
                        <a:t>Trial</a:t>
                      </a:r>
                    </a:p>
                  </a:txBody>
                  <a:tcPr anchor="ctr"/>
                </a:tc>
                <a:tc>
                  <a:txBody>
                    <a:bodyPr/>
                    <a:lstStyle/>
                    <a:p>
                      <a:pPr algn="ctr"/>
                      <a:r>
                        <a:rPr lang="en-US" sz="1500" dirty="0">
                          <a:latin typeface="+mn-lt"/>
                        </a:rPr>
                        <a:t>MIRASOL</a:t>
                      </a:r>
                    </a:p>
                  </a:txBody>
                  <a:tcPr anchor="ctr"/>
                </a:tc>
                <a:tc>
                  <a:txBody>
                    <a:bodyPr/>
                    <a:lstStyle/>
                    <a:p>
                      <a:pPr algn="ctr"/>
                      <a:r>
                        <a:rPr lang="en-US" sz="1500" dirty="0">
                          <a:latin typeface="+mn-lt"/>
                        </a:rPr>
                        <a:t>NCT07213804</a:t>
                      </a:r>
                    </a:p>
                  </a:txBody>
                  <a:tcPr anchor="ctr"/>
                </a:tc>
                <a:tc>
                  <a:txBody>
                    <a:bodyPr/>
                    <a:lstStyle/>
                    <a:p>
                      <a:pPr algn="ctr"/>
                      <a:r>
                        <a:rPr lang="en-US" sz="1500" spc="-20" dirty="0">
                          <a:latin typeface="+mn-lt"/>
                          <a:cs typeface="Calibri"/>
                        </a:rPr>
                        <a:t>NCT05579366</a:t>
                      </a:r>
                      <a:endParaRPr lang="en-US" sz="1500" dirty="0">
                        <a:latin typeface="+mn-lt"/>
                      </a:endParaRPr>
                    </a:p>
                  </a:txBody>
                  <a:tcPr anchor="ctr"/>
                </a:tc>
                <a:tc>
                  <a:txBody>
                    <a:bodyPr/>
                    <a:lstStyle/>
                    <a:p>
                      <a:pPr algn="ctr"/>
                      <a:r>
                        <a:rPr lang="en-US" sz="1500" dirty="0">
                          <a:latin typeface="+mn-lt"/>
                        </a:rPr>
                        <a:t>NCT 05797168</a:t>
                      </a:r>
                    </a:p>
                    <a:p>
                      <a:pPr algn="ctr"/>
                      <a:endParaRPr lang="en-US" sz="1500" dirty="0">
                        <a:latin typeface="+mn-lt"/>
                      </a:endParaRPr>
                    </a:p>
                  </a:txBody>
                  <a:tcPr anchor="ctr"/>
                </a:tc>
                <a:tc>
                  <a:txBody>
                    <a:bodyPr/>
                    <a:lstStyle/>
                    <a:p>
                      <a:pPr algn="ctr"/>
                      <a:r>
                        <a:rPr lang="en-US" sz="1800" b="0" i="0" u="none" strike="noStrike" kern="1200" baseline="0" dirty="0">
                          <a:solidFill>
                            <a:schemeClr val="dk1"/>
                          </a:solidFill>
                          <a:latin typeface="+mn-lt"/>
                          <a:ea typeface="+mn-ea"/>
                          <a:cs typeface="+mn-cs"/>
                        </a:rPr>
                        <a:t> </a:t>
                      </a:r>
                      <a:r>
                        <a:rPr lang="en-US" sz="1500" b="0" i="0" u="none" strike="noStrike" kern="1200" baseline="0" dirty="0">
                          <a:solidFill>
                            <a:schemeClr val="dk1"/>
                          </a:solidFill>
                          <a:latin typeface="+mn-lt"/>
                          <a:ea typeface="+mn-ea"/>
                          <a:cs typeface="+mn-cs"/>
                        </a:rPr>
                        <a:t>NCT03748186</a:t>
                      </a:r>
                      <a:endParaRPr lang="en-US" sz="1500" dirty="0">
                        <a:latin typeface="+mn-lt"/>
                      </a:endParaRPr>
                    </a:p>
                  </a:txBody>
                  <a:tcPr anchor="ctr"/>
                </a:tc>
                <a:extLst>
                  <a:ext uri="{0D108BD9-81ED-4DB2-BD59-A6C34878D82A}">
                    <a16:rowId xmlns:a16="http://schemas.microsoft.com/office/drawing/2014/main" val="2342880047"/>
                  </a:ext>
                </a:extLst>
              </a:tr>
              <a:tr h="762000">
                <a:tc>
                  <a:txBody>
                    <a:bodyPr/>
                    <a:lstStyle/>
                    <a:p>
                      <a:r>
                        <a:rPr lang="en-US" sz="1500" b="1" dirty="0">
                          <a:latin typeface="+mn-lt"/>
                        </a:rPr>
                        <a:t>ORR</a:t>
                      </a:r>
                    </a:p>
                  </a:txBody>
                  <a:tcPr anchor="ctr"/>
                </a:tc>
                <a:tc>
                  <a:txBody>
                    <a:bodyPr/>
                    <a:lstStyle/>
                    <a:p>
                      <a:pPr algn="ctr"/>
                      <a:r>
                        <a:rPr lang="en-US" sz="1500" dirty="0">
                          <a:latin typeface="+mn-lt"/>
                        </a:rPr>
                        <a:t>42 vs. 15%</a:t>
                      </a:r>
                    </a:p>
                  </a:txBody>
                  <a:tcPr anchor="ctr"/>
                </a:tc>
                <a:tc>
                  <a:txBody>
                    <a:bodyPr/>
                    <a:lstStyle/>
                    <a:p>
                      <a:pPr algn="ctr"/>
                      <a:r>
                        <a:rPr lang="en-US" sz="1500" dirty="0">
                          <a:latin typeface="+mn-lt"/>
                        </a:rPr>
                        <a:t>50%ORR</a:t>
                      </a:r>
                    </a:p>
                    <a:p>
                      <a:pPr algn="ctr"/>
                      <a:r>
                        <a:rPr lang="en-US" sz="1500" dirty="0">
                          <a:latin typeface="+mn-lt"/>
                        </a:rPr>
                        <a:t>54%(high)</a:t>
                      </a:r>
                    </a:p>
                    <a:p>
                      <a:pPr algn="ctr"/>
                      <a:r>
                        <a:rPr lang="en-US" sz="1500" dirty="0">
                          <a:latin typeface="+mn-lt"/>
                        </a:rPr>
                        <a:t>40% (low) </a:t>
                      </a:r>
                    </a:p>
                  </a:txBody>
                  <a:tcPr anchor="ctr"/>
                </a:tc>
                <a:tc>
                  <a:txBody>
                    <a:bodyPr/>
                    <a:lstStyle/>
                    <a:p>
                      <a:pPr algn="ctr"/>
                      <a:r>
                        <a:rPr lang="en-US" sz="1500" dirty="0">
                          <a:latin typeface="+mn-lt"/>
                        </a:rPr>
                        <a:t>38% ORR</a:t>
                      </a:r>
                    </a:p>
                    <a:p>
                      <a:pPr algn="ctr"/>
                      <a:r>
                        <a:rPr lang="en-US" sz="1500" dirty="0">
                          <a:latin typeface="+mn-lt"/>
                        </a:rPr>
                        <a:t>68% (high)</a:t>
                      </a:r>
                    </a:p>
                    <a:p>
                      <a:pPr algn="ctr"/>
                      <a:r>
                        <a:rPr lang="en-US" sz="1500" dirty="0">
                          <a:latin typeface="+mn-lt"/>
                        </a:rPr>
                        <a:t>30% (low)</a:t>
                      </a:r>
                    </a:p>
                  </a:txBody>
                  <a:tcPr anchor="ctr"/>
                </a:tc>
                <a:tc>
                  <a:txBody>
                    <a:bodyPr/>
                    <a:lstStyle/>
                    <a:p>
                      <a:pPr algn="ctr"/>
                      <a:r>
                        <a:rPr lang="en-US" sz="1500" dirty="0">
                          <a:latin typeface="+mn-lt"/>
                        </a:rPr>
                        <a:t>53% ORR</a:t>
                      </a:r>
                    </a:p>
                    <a:p>
                      <a:pPr algn="ctr"/>
                      <a:r>
                        <a:rPr lang="en-US" sz="1500" dirty="0">
                          <a:latin typeface="+mn-lt"/>
                        </a:rPr>
                        <a:t>61% (high)</a:t>
                      </a:r>
                    </a:p>
                    <a:p>
                      <a:pPr algn="ctr"/>
                      <a:r>
                        <a:rPr lang="en-US" sz="1500" dirty="0">
                          <a:latin typeface="+mn-lt"/>
                        </a:rPr>
                        <a:t>48% (low)</a:t>
                      </a:r>
                    </a:p>
                  </a:txBody>
                  <a:tcPr anchor="ctr"/>
                </a:tc>
                <a:tc>
                  <a:txBody>
                    <a:bodyPr/>
                    <a:lstStyle/>
                    <a:p>
                      <a:pPr algn="ctr"/>
                      <a:r>
                        <a:rPr lang="en-US" sz="1500" dirty="0">
                          <a:latin typeface="+mn-lt"/>
                        </a:rPr>
                        <a:t>43.8% FR</a:t>
                      </a:r>
                      <a:r>
                        <a:rPr lang="en-US" sz="1500" dirty="0">
                          <a:latin typeface="+mn-lt"/>
                          <a:cs typeface="Calibri" panose="020F0502020204030204" pitchFamily="34" charset="0"/>
                        </a:rPr>
                        <a:t>α &gt;25% by TPS (5.2mg/kg)</a:t>
                      </a:r>
                    </a:p>
                    <a:p>
                      <a:pPr algn="ctr"/>
                      <a:r>
                        <a:rPr lang="en-US" sz="1500" dirty="0">
                          <a:latin typeface="+mn-lt"/>
                          <a:cs typeface="Calibri" panose="020F0502020204030204" pitchFamily="34" charset="0"/>
                        </a:rPr>
                        <a:t>31.2% (4.3mg/kg)</a:t>
                      </a:r>
                      <a:endParaRPr lang="en-US" sz="1500" dirty="0">
                        <a:latin typeface="+mn-lt"/>
                      </a:endParaRPr>
                    </a:p>
                  </a:txBody>
                  <a:tcPr anchor="ctr"/>
                </a:tc>
                <a:extLst>
                  <a:ext uri="{0D108BD9-81ED-4DB2-BD59-A6C34878D82A}">
                    <a16:rowId xmlns:a16="http://schemas.microsoft.com/office/drawing/2014/main" val="4292538917"/>
                  </a:ext>
                </a:extLst>
              </a:tr>
              <a:tr h="538480">
                <a:tc>
                  <a:txBody>
                    <a:bodyPr/>
                    <a:lstStyle/>
                    <a:p>
                      <a:r>
                        <a:rPr lang="en-US" sz="1500" b="1" dirty="0" err="1">
                          <a:latin typeface="+mn-lt"/>
                        </a:rPr>
                        <a:t>mPFS</a:t>
                      </a:r>
                      <a:endParaRPr lang="en-US" sz="1500" b="1" dirty="0">
                        <a:latin typeface="+mn-lt"/>
                      </a:endParaRPr>
                    </a:p>
                  </a:txBody>
                  <a:tcPr anchor="ctr"/>
                </a:tc>
                <a:tc>
                  <a:txBody>
                    <a:bodyPr/>
                    <a:lstStyle/>
                    <a:p>
                      <a:pPr algn="ctr"/>
                      <a:r>
                        <a:rPr lang="en-US" sz="1500" dirty="0">
                          <a:latin typeface="+mn-lt"/>
                        </a:rPr>
                        <a:t>5.62 vs. 3.98  </a:t>
                      </a:r>
                      <a:br>
                        <a:rPr lang="en-US" sz="1500" dirty="0">
                          <a:latin typeface="+mn-lt"/>
                        </a:rPr>
                      </a:br>
                      <a:r>
                        <a:rPr lang="en-US" sz="1500" dirty="0">
                          <a:latin typeface="+mn-lt"/>
                        </a:rPr>
                        <a:t>HR = 0.65</a:t>
                      </a:r>
                    </a:p>
                  </a:txBody>
                  <a:tcPr anchor="ctr"/>
                </a:tc>
                <a:tc>
                  <a:txBody>
                    <a:bodyPr/>
                    <a:lstStyle/>
                    <a:p>
                      <a:pPr algn="ctr"/>
                      <a:r>
                        <a:rPr lang="en-US" sz="1500" dirty="0">
                          <a:latin typeface="+mn-lt"/>
                        </a:rPr>
                        <a:t>NR</a:t>
                      </a:r>
                    </a:p>
                  </a:txBody>
                  <a:tcPr anchor="ctr"/>
                </a:tc>
                <a:tc>
                  <a:txBody>
                    <a:bodyPr/>
                    <a:lstStyle/>
                    <a:p>
                      <a:pPr algn="ctr"/>
                      <a:r>
                        <a:rPr lang="en-US" sz="1500" dirty="0">
                          <a:latin typeface="+mn-lt"/>
                        </a:rPr>
                        <a:t>NR</a:t>
                      </a:r>
                    </a:p>
                  </a:txBody>
                  <a:tcPr anchor="ctr"/>
                </a:tc>
                <a:tc>
                  <a:txBody>
                    <a:bodyPr/>
                    <a:lstStyle/>
                    <a:p>
                      <a:pPr algn="ctr"/>
                      <a:r>
                        <a:rPr lang="en-US" sz="1800" b="0" i="0" u="none" strike="noStrike" kern="1200" baseline="0" dirty="0">
                          <a:solidFill>
                            <a:schemeClr val="dk1"/>
                          </a:solidFill>
                          <a:latin typeface="+mn-lt"/>
                          <a:ea typeface="+mn-ea"/>
                          <a:cs typeface="+mn-cs"/>
                        </a:rPr>
                        <a:t>NR</a:t>
                      </a:r>
                    </a:p>
                  </a:txBody>
                  <a:tcPr anchor="ctr"/>
                </a:tc>
                <a:tc>
                  <a:txBody>
                    <a:bodyPr/>
                    <a:lstStyle/>
                    <a:p>
                      <a:pPr algn="ctr"/>
                      <a:r>
                        <a:rPr lang="en-US" sz="1500" b="0" i="0" u="none" strike="noStrike" kern="1200" baseline="0" dirty="0">
                          <a:solidFill>
                            <a:schemeClr val="dk1"/>
                          </a:solidFill>
                          <a:latin typeface="+mn-lt"/>
                          <a:ea typeface="+mn-ea"/>
                          <a:cs typeface="+mn-cs"/>
                        </a:rPr>
                        <a:t>FR</a:t>
                      </a:r>
                      <a:r>
                        <a:rPr lang="el-GR" sz="1500" b="0" i="0" u="none" strike="noStrike" kern="1200" baseline="0" dirty="0">
                          <a:solidFill>
                            <a:schemeClr val="dk1"/>
                          </a:solidFill>
                          <a:latin typeface="+mn-lt"/>
                          <a:ea typeface="+mn-ea"/>
                          <a:cs typeface="Calibri" panose="020F0502020204030204" pitchFamily="34" charset="0"/>
                        </a:rPr>
                        <a:t>α</a:t>
                      </a:r>
                      <a:r>
                        <a:rPr lang="en-US" sz="1500" b="0" i="0" u="none" strike="noStrike" kern="1200" baseline="0" dirty="0">
                          <a:solidFill>
                            <a:schemeClr val="dk1"/>
                          </a:solidFill>
                          <a:latin typeface="+mn-lt"/>
                          <a:ea typeface="+mn-ea"/>
                          <a:cs typeface="Calibri" panose="020F0502020204030204" pitchFamily="34" charset="0"/>
                        </a:rPr>
                        <a:t> &gt; 25%</a:t>
                      </a:r>
                      <a:endParaRPr lang="en-US" sz="1500" b="0" i="0" u="none" strike="noStrike" kern="1200" baseline="0" dirty="0">
                        <a:solidFill>
                          <a:schemeClr val="dk1"/>
                        </a:solidFill>
                        <a:latin typeface="+mn-lt"/>
                        <a:ea typeface="+mn-ea"/>
                        <a:cs typeface="+mn-cs"/>
                      </a:endParaRPr>
                    </a:p>
                    <a:p>
                      <a:pPr algn="ctr"/>
                      <a:r>
                        <a:rPr lang="en-US" sz="1500" b="0" i="0" u="none" strike="noStrike" kern="1200" baseline="0" dirty="0">
                          <a:solidFill>
                            <a:schemeClr val="dk1"/>
                          </a:solidFill>
                          <a:latin typeface="+mn-lt"/>
                          <a:ea typeface="+mn-ea"/>
                          <a:cs typeface="+mn-cs"/>
                        </a:rPr>
                        <a:t>6.1 (95% CI 4.1- 7.2)</a:t>
                      </a:r>
                      <a:endParaRPr lang="en-US" sz="1800" b="0" i="0" u="none" strike="noStrike" kern="1200" baseline="0" dirty="0">
                        <a:solidFill>
                          <a:schemeClr val="dk1"/>
                        </a:solidFill>
                        <a:latin typeface="+mn-lt"/>
                        <a:ea typeface="+mn-ea"/>
                        <a:cs typeface="+mn-cs"/>
                      </a:endParaRPr>
                    </a:p>
                  </a:txBody>
                  <a:tcPr anchor="ctr"/>
                </a:tc>
                <a:extLst>
                  <a:ext uri="{0D108BD9-81ED-4DB2-BD59-A6C34878D82A}">
                    <a16:rowId xmlns:a16="http://schemas.microsoft.com/office/drawing/2014/main" val="1315164718"/>
                  </a:ext>
                </a:extLst>
              </a:tr>
              <a:tr h="538480">
                <a:tc>
                  <a:txBody>
                    <a:bodyPr/>
                    <a:lstStyle/>
                    <a:p>
                      <a:r>
                        <a:rPr lang="en-US" sz="1500" b="1" dirty="0" err="1">
                          <a:latin typeface="+mn-lt"/>
                        </a:rPr>
                        <a:t>mOS</a:t>
                      </a:r>
                      <a:endParaRPr lang="en-US" sz="1500" b="1" dirty="0">
                        <a:latin typeface="+mn-lt"/>
                      </a:endParaRPr>
                    </a:p>
                  </a:txBody>
                  <a:tcPr anchor="ctr"/>
                </a:tc>
                <a:tc>
                  <a:txBody>
                    <a:bodyPr/>
                    <a:lstStyle/>
                    <a:p>
                      <a:pPr algn="ctr"/>
                      <a:r>
                        <a:rPr lang="en-US" sz="1500" dirty="0">
                          <a:latin typeface="+mn-lt"/>
                        </a:rPr>
                        <a:t>16.46 vs. 12.75  </a:t>
                      </a:r>
                      <a:br>
                        <a:rPr lang="en-US" sz="1500" dirty="0">
                          <a:latin typeface="+mn-lt"/>
                        </a:rPr>
                      </a:br>
                      <a:r>
                        <a:rPr lang="en-US" sz="1500" dirty="0">
                          <a:latin typeface="+mn-lt"/>
                        </a:rPr>
                        <a:t>HR= 0.67</a:t>
                      </a:r>
                    </a:p>
                  </a:txBody>
                  <a:tcPr anchor="ctr"/>
                </a:tc>
                <a:tc>
                  <a:txBody>
                    <a:bodyPr/>
                    <a:lstStyle/>
                    <a:p>
                      <a:pPr algn="ctr"/>
                      <a:r>
                        <a:rPr lang="en-US" sz="1500" dirty="0">
                          <a:latin typeface="+mn-lt"/>
                        </a:rPr>
                        <a:t>NR</a:t>
                      </a:r>
                    </a:p>
                  </a:txBody>
                  <a:tcPr anchor="ctr"/>
                </a:tc>
                <a:tc>
                  <a:txBody>
                    <a:bodyPr/>
                    <a:lstStyle/>
                    <a:p>
                      <a:pPr algn="ctr"/>
                      <a:r>
                        <a:rPr lang="en-US" sz="1500" dirty="0">
                          <a:latin typeface="+mn-lt"/>
                        </a:rPr>
                        <a:t>NR</a:t>
                      </a:r>
                    </a:p>
                  </a:txBody>
                  <a:tcPr anchor="ctr"/>
                </a:tc>
                <a:tc>
                  <a:txBody>
                    <a:bodyPr/>
                    <a:lstStyle/>
                    <a:p>
                      <a:pPr algn="ctr"/>
                      <a:r>
                        <a:rPr lang="en-US" sz="1500" dirty="0">
                          <a:latin typeface="+mn-lt"/>
                        </a:rPr>
                        <a:t>NR</a:t>
                      </a:r>
                    </a:p>
                  </a:txBody>
                  <a:tcPr anchor="ctr"/>
                </a:tc>
                <a:tc>
                  <a:txBody>
                    <a:bodyPr/>
                    <a:lstStyle/>
                    <a:p>
                      <a:pPr algn="ctr"/>
                      <a:r>
                        <a:rPr lang="en-US" sz="1500" dirty="0">
                          <a:latin typeface="+mn-lt"/>
                        </a:rPr>
                        <a:t>NR</a:t>
                      </a:r>
                    </a:p>
                  </a:txBody>
                  <a:tcPr anchor="ctr"/>
                </a:tc>
                <a:extLst>
                  <a:ext uri="{0D108BD9-81ED-4DB2-BD59-A6C34878D82A}">
                    <a16:rowId xmlns:a16="http://schemas.microsoft.com/office/drawing/2014/main" val="876692296"/>
                  </a:ext>
                </a:extLst>
              </a:tr>
            </a:tbl>
          </a:graphicData>
        </a:graphic>
      </p:graphicFrame>
    </p:spTree>
    <p:extLst>
      <p:ext uri="{BB962C8B-B14F-4D97-AF65-F5344CB8AC3E}">
        <p14:creationId xmlns:p14="http://schemas.microsoft.com/office/powerpoint/2010/main" val="901987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6D3A4-84D4-4967-F057-A4127F02B845}"/>
              </a:ext>
            </a:extLst>
          </p:cNvPr>
          <p:cNvSpPr>
            <a:spLocks noGrp="1"/>
          </p:cNvSpPr>
          <p:nvPr>
            <p:ph type="ctrTitle"/>
          </p:nvPr>
        </p:nvSpPr>
        <p:spPr/>
        <p:txBody>
          <a:bodyPr/>
          <a:lstStyle/>
          <a:p>
            <a:r>
              <a:rPr lang="en-US" dirty="0"/>
              <a:t>The Data Are Promising (and Consistent!)</a:t>
            </a:r>
          </a:p>
        </p:txBody>
      </p:sp>
      <p:sp>
        <p:nvSpPr>
          <p:cNvPr id="5" name="Rectangle 4">
            <a:extLst>
              <a:ext uri="{FF2B5EF4-FFF2-40B4-BE49-F238E27FC236}">
                <a16:creationId xmlns:a16="http://schemas.microsoft.com/office/drawing/2014/main" id="{5E64DA4B-4E86-1B37-2A60-C062F51ED3B8}"/>
              </a:ext>
            </a:extLst>
          </p:cNvPr>
          <p:cNvSpPr/>
          <p:nvPr/>
        </p:nvSpPr>
        <p:spPr bwMode="auto">
          <a:xfrm>
            <a:off x="6907576" y="132202"/>
            <a:ext cx="5045725" cy="11547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3" name="Rectangle 2">
            <a:extLst>
              <a:ext uri="{FF2B5EF4-FFF2-40B4-BE49-F238E27FC236}">
                <a16:creationId xmlns:a16="http://schemas.microsoft.com/office/drawing/2014/main" id="{76D0EA63-556D-070B-D5F3-4218FBA9A108}"/>
              </a:ext>
            </a:extLst>
          </p:cNvPr>
          <p:cNvSpPr/>
          <p:nvPr/>
        </p:nvSpPr>
        <p:spPr bwMode="auto">
          <a:xfrm>
            <a:off x="3647728" y="5703252"/>
            <a:ext cx="5045725" cy="11547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1651180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78A21C-E121-4DF7-6DCC-2DAE2EA8A9B7}"/>
            </a:ext>
          </a:extLst>
        </p:cNvPr>
        <p:cNvGrpSpPr/>
        <p:nvPr/>
      </p:nvGrpSpPr>
      <p:grpSpPr>
        <a:xfrm>
          <a:off x="0" y="0"/>
          <a:ext cx="0" cy="0"/>
          <a:chOff x="0" y="0"/>
          <a:chExt cx="0" cy="0"/>
        </a:xfrm>
      </p:grpSpPr>
      <p:pic>
        <p:nvPicPr>
          <p:cNvPr id="20" name="Picture 19">
            <a:extLst>
              <a:ext uri="{FF2B5EF4-FFF2-40B4-BE49-F238E27FC236}">
                <a16:creationId xmlns:a16="http://schemas.microsoft.com/office/drawing/2014/main" id="{6DC91150-C055-9A24-A902-2AEB75F2697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491342" y="981240"/>
            <a:ext cx="9209314" cy="5568983"/>
          </a:xfrm>
          <a:prstGeom prst="rect">
            <a:avLst/>
          </a:prstGeom>
        </p:spPr>
      </p:pic>
      <p:sp>
        <p:nvSpPr>
          <p:cNvPr id="2" name="Title 1">
            <a:extLst>
              <a:ext uri="{FF2B5EF4-FFF2-40B4-BE49-F238E27FC236}">
                <a16:creationId xmlns:a16="http://schemas.microsoft.com/office/drawing/2014/main" id="{93F4D912-6629-2A38-8433-261DF3706E4B}"/>
              </a:ext>
            </a:extLst>
          </p:cNvPr>
          <p:cNvSpPr>
            <a:spLocks noGrp="1"/>
          </p:cNvSpPr>
          <p:nvPr>
            <p:ph type="title"/>
          </p:nvPr>
        </p:nvSpPr>
        <p:spPr>
          <a:xfrm>
            <a:off x="485774" y="202388"/>
            <a:ext cx="11220451" cy="690561"/>
          </a:xfrm>
        </p:spPr>
        <p:txBody>
          <a:bodyPr/>
          <a:lstStyle/>
          <a:p>
            <a:r>
              <a:rPr lang="en-US" sz="3200" b="0" dirty="0" err="1">
                <a:solidFill>
                  <a:schemeClr val="accent6"/>
                </a:solidFill>
              </a:rPr>
              <a:t>Torvutatug</a:t>
            </a:r>
            <a:r>
              <a:rPr lang="en-US" sz="3200" b="0" dirty="0">
                <a:solidFill>
                  <a:schemeClr val="accent6"/>
                </a:solidFill>
              </a:rPr>
              <a:t> </a:t>
            </a:r>
            <a:r>
              <a:rPr lang="en-US" sz="3200" b="0" dirty="0" err="1">
                <a:solidFill>
                  <a:schemeClr val="accent6"/>
                </a:solidFill>
              </a:rPr>
              <a:t>samrotecan</a:t>
            </a:r>
            <a:r>
              <a:rPr lang="en-US" sz="3200" b="0" dirty="0">
                <a:solidFill>
                  <a:schemeClr val="accent6"/>
                </a:solidFill>
              </a:rPr>
              <a:t> (AZD5335)</a:t>
            </a:r>
            <a:endParaRPr lang="en-GB" sz="3200" b="0" dirty="0">
              <a:solidFill>
                <a:schemeClr val="accent6"/>
              </a:solidFill>
            </a:endParaRPr>
          </a:p>
        </p:txBody>
      </p:sp>
      <p:sp>
        <p:nvSpPr>
          <p:cNvPr id="10" name="TextBox 9">
            <a:extLst>
              <a:ext uri="{FF2B5EF4-FFF2-40B4-BE49-F238E27FC236}">
                <a16:creationId xmlns:a16="http://schemas.microsoft.com/office/drawing/2014/main" id="{938C549B-6159-2D3C-CB01-35B6F006FEFF}"/>
              </a:ext>
            </a:extLst>
          </p:cNvPr>
          <p:cNvSpPr txBox="1"/>
          <p:nvPr/>
        </p:nvSpPr>
        <p:spPr>
          <a:xfrm>
            <a:off x="135468" y="6550223"/>
            <a:ext cx="10464108" cy="30777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Shapira-Frommer ESMO 2024</a:t>
            </a:r>
          </a:p>
        </p:txBody>
      </p:sp>
      <p:sp>
        <p:nvSpPr>
          <p:cNvPr id="18" name="TextBox 17">
            <a:extLst>
              <a:ext uri="{FF2B5EF4-FFF2-40B4-BE49-F238E27FC236}">
                <a16:creationId xmlns:a16="http://schemas.microsoft.com/office/drawing/2014/main" id="{7DA98FAC-9FD4-98F3-A8ED-40B456D02D66}"/>
              </a:ext>
            </a:extLst>
          </p:cNvPr>
          <p:cNvSpPr txBox="1"/>
          <p:nvPr/>
        </p:nvSpPr>
        <p:spPr>
          <a:xfrm>
            <a:off x="3095849" y="1443306"/>
            <a:ext cx="1549400" cy="4001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charset="0"/>
                <a:ea typeface="ＭＳ Ｐゴシック" charset="0"/>
                <a:cs typeface="+mn-cs"/>
              </a:rPr>
              <a:t>AZD5335</a:t>
            </a:r>
          </a:p>
        </p:txBody>
      </p:sp>
      <p:sp>
        <p:nvSpPr>
          <p:cNvPr id="19" name="TextBox 18">
            <a:extLst>
              <a:ext uri="{FF2B5EF4-FFF2-40B4-BE49-F238E27FC236}">
                <a16:creationId xmlns:a16="http://schemas.microsoft.com/office/drawing/2014/main" id="{C86C8732-A7AA-1275-E08F-8C7B13B80072}"/>
              </a:ext>
            </a:extLst>
          </p:cNvPr>
          <p:cNvSpPr txBox="1"/>
          <p:nvPr/>
        </p:nvSpPr>
        <p:spPr>
          <a:xfrm>
            <a:off x="3095849" y="4814530"/>
            <a:ext cx="1549400" cy="4001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charset="0"/>
                <a:ea typeface="ＭＳ Ｐゴシック" charset="0"/>
                <a:cs typeface="+mn-cs"/>
              </a:rPr>
              <a:t>53% ORR</a:t>
            </a:r>
          </a:p>
        </p:txBody>
      </p:sp>
    </p:spTree>
    <p:extLst>
      <p:ext uri="{BB962C8B-B14F-4D97-AF65-F5344CB8AC3E}">
        <p14:creationId xmlns:p14="http://schemas.microsoft.com/office/powerpoint/2010/main" val="1046636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4E534-6FC1-D991-C62B-51183D5E7EA4}"/>
            </a:ext>
          </a:extLst>
        </p:cNvPr>
        <p:cNvGrpSpPr/>
        <p:nvPr/>
      </p:nvGrpSpPr>
      <p:grpSpPr>
        <a:xfrm>
          <a:off x="0" y="0"/>
          <a:ext cx="0" cy="0"/>
          <a:chOff x="0" y="0"/>
          <a:chExt cx="0" cy="0"/>
        </a:xfrm>
      </p:grpSpPr>
      <p:pic>
        <p:nvPicPr>
          <p:cNvPr id="14" name="Picture 13">
            <a:extLst>
              <a:ext uri="{FF2B5EF4-FFF2-40B4-BE49-F238E27FC236}">
                <a16:creationId xmlns:a16="http://schemas.microsoft.com/office/drawing/2014/main" id="{8DFB7A58-6FC8-547E-E03F-0726F3CF0E0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2960"/>
          <a:stretch>
            <a:fillRect/>
          </a:stretch>
        </p:blipFill>
        <p:spPr>
          <a:xfrm>
            <a:off x="733936" y="1490865"/>
            <a:ext cx="10464108" cy="4568497"/>
          </a:xfrm>
          <a:prstGeom prst="rect">
            <a:avLst/>
          </a:prstGeom>
        </p:spPr>
      </p:pic>
      <p:sp>
        <p:nvSpPr>
          <p:cNvPr id="2" name="Title 1">
            <a:extLst>
              <a:ext uri="{FF2B5EF4-FFF2-40B4-BE49-F238E27FC236}">
                <a16:creationId xmlns:a16="http://schemas.microsoft.com/office/drawing/2014/main" id="{8F41F87D-413A-4032-495E-DE7DD072D307}"/>
              </a:ext>
            </a:extLst>
          </p:cNvPr>
          <p:cNvSpPr>
            <a:spLocks noGrp="1"/>
          </p:cNvSpPr>
          <p:nvPr>
            <p:ph type="title"/>
          </p:nvPr>
        </p:nvSpPr>
        <p:spPr>
          <a:xfrm>
            <a:off x="485774" y="338136"/>
            <a:ext cx="11220451" cy="690561"/>
          </a:xfrm>
        </p:spPr>
        <p:txBody>
          <a:bodyPr/>
          <a:lstStyle/>
          <a:p>
            <a:r>
              <a:rPr lang="en-US" sz="3200" b="0" dirty="0" err="1">
                <a:solidFill>
                  <a:schemeClr val="accent6"/>
                </a:solidFill>
              </a:rPr>
              <a:t>Sofetabart</a:t>
            </a:r>
            <a:r>
              <a:rPr lang="en-US" sz="3200" b="0" dirty="0">
                <a:solidFill>
                  <a:schemeClr val="accent6"/>
                </a:solidFill>
              </a:rPr>
              <a:t> </a:t>
            </a:r>
            <a:r>
              <a:rPr lang="en-US" sz="3200" b="0" dirty="0" err="1">
                <a:solidFill>
                  <a:schemeClr val="accent6"/>
                </a:solidFill>
              </a:rPr>
              <a:t>mipitecan</a:t>
            </a:r>
            <a:endParaRPr lang="en-GB" sz="3200" dirty="0">
              <a:solidFill>
                <a:schemeClr val="accent6"/>
              </a:solidFill>
            </a:endParaRPr>
          </a:p>
        </p:txBody>
      </p:sp>
      <p:sp>
        <p:nvSpPr>
          <p:cNvPr id="6" name="Rectangle 5">
            <a:extLst>
              <a:ext uri="{FF2B5EF4-FFF2-40B4-BE49-F238E27FC236}">
                <a16:creationId xmlns:a16="http://schemas.microsoft.com/office/drawing/2014/main" id="{7ABC0CE6-852E-27B8-E6AA-9843FF8363BB}"/>
              </a:ext>
            </a:extLst>
          </p:cNvPr>
          <p:cNvSpPr/>
          <p:nvPr/>
        </p:nvSpPr>
        <p:spPr>
          <a:xfrm>
            <a:off x="10315457" y="6089721"/>
            <a:ext cx="1514975" cy="4301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F3121923-CBA4-7B59-9CDA-A1DCEDA430EA}"/>
              </a:ext>
            </a:extLst>
          </p:cNvPr>
          <p:cNvSpPr txBox="1"/>
          <p:nvPr/>
        </p:nvSpPr>
        <p:spPr>
          <a:xfrm>
            <a:off x="135468" y="6550223"/>
            <a:ext cx="10464108" cy="30777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Ray-</a:t>
            </a:r>
            <a:r>
              <a:rPr kumimoji="0" lang="en-US" sz="1400" b="0" i="0" u="none" strike="noStrike" kern="1200" cap="none" spc="0" normalizeH="0" baseline="0" noProof="0" dirty="0" err="1">
                <a:ln>
                  <a:noFill/>
                </a:ln>
                <a:solidFill>
                  <a:srgbClr val="000000"/>
                </a:solidFill>
                <a:effectLst/>
                <a:uLnTx/>
                <a:uFillTx/>
                <a:latin typeface="Arial" charset="0"/>
                <a:ea typeface="ＭＳ Ｐゴシック" charset="0"/>
                <a:cs typeface="+mn-cs"/>
              </a:rPr>
              <a:t>Coquard</a:t>
            </a:r>
            <a:r>
              <a:rPr kumimoji="0" 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 ESMO 2025</a:t>
            </a:r>
          </a:p>
        </p:txBody>
      </p:sp>
      <p:sp>
        <p:nvSpPr>
          <p:cNvPr id="13" name="TextBox 12">
            <a:extLst>
              <a:ext uri="{FF2B5EF4-FFF2-40B4-BE49-F238E27FC236}">
                <a16:creationId xmlns:a16="http://schemas.microsoft.com/office/drawing/2014/main" id="{4B16E5F8-6AA8-9780-3B28-0580DCD66F89}"/>
              </a:ext>
            </a:extLst>
          </p:cNvPr>
          <p:cNvSpPr txBox="1"/>
          <p:nvPr/>
        </p:nvSpPr>
        <p:spPr>
          <a:xfrm>
            <a:off x="7380628" y="4957267"/>
            <a:ext cx="1549400" cy="4001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charset="0"/>
                <a:ea typeface="ＭＳ Ｐゴシック" charset="0"/>
                <a:cs typeface="+mn-cs"/>
              </a:rPr>
              <a:t>50% ORR</a:t>
            </a:r>
          </a:p>
        </p:txBody>
      </p:sp>
    </p:spTree>
    <p:extLst>
      <p:ext uri="{BB962C8B-B14F-4D97-AF65-F5344CB8AC3E}">
        <p14:creationId xmlns:p14="http://schemas.microsoft.com/office/powerpoint/2010/main" val="805295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02ECC-C318-8AD7-745E-1CB3B6875D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F78D0C-8D12-4D4B-7CF4-9E853D0EFE9E}"/>
              </a:ext>
            </a:extLst>
          </p:cNvPr>
          <p:cNvSpPr>
            <a:spLocks noGrp="1"/>
          </p:cNvSpPr>
          <p:nvPr>
            <p:ph type="title"/>
          </p:nvPr>
        </p:nvSpPr>
        <p:spPr>
          <a:xfrm>
            <a:off x="485774" y="211724"/>
            <a:ext cx="11220451" cy="690561"/>
          </a:xfrm>
        </p:spPr>
        <p:txBody>
          <a:bodyPr/>
          <a:lstStyle/>
          <a:p>
            <a:r>
              <a:rPr lang="en-US" sz="3200" b="0" dirty="0" err="1">
                <a:solidFill>
                  <a:schemeClr val="accent6"/>
                </a:solidFill>
              </a:rPr>
              <a:t>Rinatabart</a:t>
            </a:r>
            <a:r>
              <a:rPr lang="en-US" sz="3200" b="0" dirty="0">
                <a:solidFill>
                  <a:schemeClr val="accent6"/>
                </a:solidFill>
              </a:rPr>
              <a:t> </a:t>
            </a:r>
            <a:r>
              <a:rPr lang="en-US" sz="3200" b="0" dirty="0" err="1">
                <a:solidFill>
                  <a:schemeClr val="accent6"/>
                </a:solidFill>
              </a:rPr>
              <a:t>Sesutecan</a:t>
            </a:r>
            <a:endParaRPr lang="en-GB" sz="3200" b="0" dirty="0">
              <a:solidFill>
                <a:schemeClr val="accent6"/>
              </a:solidFill>
            </a:endParaRPr>
          </a:p>
        </p:txBody>
      </p:sp>
      <p:sp>
        <p:nvSpPr>
          <p:cNvPr id="6" name="Rectangle 5">
            <a:extLst>
              <a:ext uri="{FF2B5EF4-FFF2-40B4-BE49-F238E27FC236}">
                <a16:creationId xmlns:a16="http://schemas.microsoft.com/office/drawing/2014/main" id="{9E040E57-942E-417C-D8CA-C97A3F297312}"/>
              </a:ext>
            </a:extLst>
          </p:cNvPr>
          <p:cNvSpPr/>
          <p:nvPr/>
        </p:nvSpPr>
        <p:spPr>
          <a:xfrm>
            <a:off x="10315457" y="6089721"/>
            <a:ext cx="1514975" cy="4301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8" name="Picture 7">
            <a:extLst>
              <a:ext uri="{FF2B5EF4-FFF2-40B4-BE49-F238E27FC236}">
                <a16:creationId xmlns:a16="http://schemas.microsoft.com/office/drawing/2014/main" id="{50991481-6CA7-5AD6-8D09-36F983BE7C5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095544" y="1123171"/>
            <a:ext cx="9732957" cy="5206166"/>
          </a:xfrm>
          <a:prstGeom prst="rect">
            <a:avLst/>
          </a:prstGeom>
        </p:spPr>
      </p:pic>
      <p:sp>
        <p:nvSpPr>
          <p:cNvPr id="10" name="TextBox 9">
            <a:extLst>
              <a:ext uri="{FF2B5EF4-FFF2-40B4-BE49-F238E27FC236}">
                <a16:creationId xmlns:a16="http://schemas.microsoft.com/office/drawing/2014/main" id="{C7452CB2-0217-5A19-E3C0-CEA3086E6AF9}"/>
              </a:ext>
            </a:extLst>
          </p:cNvPr>
          <p:cNvSpPr txBox="1"/>
          <p:nvPr/>
        </p:nvSpPr>
        <p:spPr>
          <a:xfrm>
            <a:off x="135468" y="6550223"/>
            <a:ext cx="10464108" cy="52322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
        <p:nvSpPr>
          <p:cNvPr id="11" name="TextBox 10">
            <a:extLst>
              <a:ext uri="{FF2B5EF4-FFF2-40B4-BE49-F238E27FC236}">
                <a16:creationId xmlns:a16="http://schemas.microsoft.com/office/drawing/2014/main" id="{65B8BF6A-91AD-6CFD-5D89-2B8916BFFC30}"/>
              </a:ext>
            </a:extLst>
          </p:cNvPr>
          <p:cNvSpPr txBox="1"/>
          <p:nvPr/>
        </p:nvSpPr>
        <p:spPr>
          <a:xfrm>
            <a:off x="2200781" y="4520797"/>
            <a:ext cx="1880146" cy="4001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charset="0"/>
                <a:ea typeface="ＭＳ Ｐゴシック" charset="0"/>
                <a:cs typeface="+mn-cs"/>
              </a:rPr>
              <a:t>50% ORR</a:t>
            </a:r>
          </a:p>
        </p:txBody>
      </p:sp>
      <p:sp>
        <p:nvSpPr>
          <p:cNvPr id="4" name="TextBox 3">
            <a:extLst>
              <a:ext uri="{FF2B5EF4-FFF2-40B4-BE49-F238E27FC236}">
                <a16:creationId xmlns:a16="http://schemas.microsoft.com/office/drawing/2014/main" id="{DC5F1FD8-E1CE-13D5-61BB-C3F9A311A484}"/>
              </a:ext>
            </a:extLst>
          </p:cNvPr>
          <p:cNvSpPr txBox="1"/>
          <p:nvPr/>
        </p:nvSpPr>
        <p:spPr>
          <a:xfrm>
            <a:off x="135468" y="6550223"/>
            <a:ext cx="10464108" cy="30777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Lee EK ESMO 2024</a:t>
            </a:r>
          </a:p>
        </p:txBody>
      </p:sp>
    </p:spTree>
    <p:extLst>
      <p:ext uri="{BB962C8B-B14F-4D97-AF65-F5344CB8AC3E}">
        <p14:creationId xmlns:p14="http://schemas.microsoft.com/office/powerpoint/2010/main" val="4255584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15ED3-3010-3510-BDDC-4F0B1EA39F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E460B8-7C72-2228-4941-E4855077F399}"/>
              </a:ext>
            </a:extLst>
          </p:cNvPr>
          <p:cNvSpPr>
            <a:spLocks noGrp="1"/>
          </p:cNvSpPr>
          <p:nvPr>
            <p:ph type="ctrTitle"/>
          </p:nvPr>
        </p:nvSpPr>
        <p:spPr/>
        <p:txBody>
          <a:bodyPr/>
          <a:lstStyle/>
          <a:p>
            <a:r>
              <a:rPr lang="en-US" dirty="0"/>
              <a:t>Here Come the Phase III Trials!</a:t>
            </a:r>
          </a:p>
        </p:txBody>
      </p:sp>
      <p:sp>
        <p:nvSpPr>
          <p:cNvPr id="5" name="Rectangle 4">
            <a:extLst>
              <a:ext uri="{FF2B5EF4-FFF2-40B4-BE49-F238E27FC236}">
                <a16:creationId xmlns:a16="http://schemas.microsoft.com/office/drawing/2014/main" id="{0A0E7AD7-3714-3926-A29B-F4847F21F38A}"/>
              </a:ext>
            </a:extLst>
          </p:cNvPr>
          <p:cNvSpPr/>
          <p:nvPr/>
        </p:nvSpPr>
        <p:spPr bwMode="auto">
          <a:xfrm>
            <a:off x="6907576" y="132202"/>
            <a:ext cx="5045725" cy="11547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3" name="Rectangle 2">
            <a:extLst>
              <a:ext uri="{FF2B5EF4-FFF2-40B4-BE49-F238E27FC236}">
                <a16:creationId xmlns:a16="http://schemas.microsoft.com/office/drawing/2014/main" id="{2BED42B6-B587-87FD-F3DF-B45AAA189A28}"/>
              </a:ext>
            </a:extLst>
          </p:cNvPr>
          <p:cNvSpPr/>
          <p:nvPr/>
        </p:nvSpPr>
        <p:spPr bwMode="auto">
          <a:xfrm>
            <a:off x="3719736" y="5703252"/>
            <a:ext cx="5045725" cy="11547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8129282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FCD92-EC72-7C77-35AD-3D2C496B20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A9D419-1DEB-0423-F223-74C941A85DFE}"/>
              </a:ext>
            </a:extLst>
          </p:cNvPr>
          <p:cNvSpPr>
            <a:spLocks noGrp="1"/>
          </p:cNvSpPr>
          <p:nvPr>
            <p:ph type="title"/>
          </p:nvPr>
        </p:nvSpPr>
        <p:spPr>
          <a:xfrm>
            <a:off x="916516" y="116632"/>
            <a:ext cx="10358967" cy="1196752"/>
          </a:xfrm>
        </p:spPr>
        <p:txBody>
          <a:bodyPr/>
          <a:lstStyle/>
          <a:p>
            <a:r>
              <a:rPr lang="en-US" sz="3200" dirty="0">
                <a:solidFill>
                  <a:srgbClr val="0432FF"/>
                </a:solidFill>
              </a:rPr>
              <a:t>Prof Ledermann — Disclosures</a:t>
            </a:r>
            <a:br>
              <a:rPr lang="en-US" sz="3200" dirty="0">
                <a:solidFill>
                  <a:srgbClr val="0432FF"/>
                </a:solidFill>
              </a:rPr>
            </a:br>
            <a:r>
              <a:rPr lang="en-US" sz="3200" dirty="0">
                <a:solidFill>
                  <a:srgbClr val="0432FF"/>
                </a:solidFill>
              </a:rPr>
              <a:t>Consulting Clinical Investigator</a:t>
            </a:r>
          </a:p>
        </p:txBody>
      </p:sp>
      <p:graphicFrame>
        <p:nvGraphicFramePr>
          <p:cNvPr id="3" name="Content Placeholder 3">
            <a:extLst>
              <a:ext uri="{FF2B5EF4-FFF2-40B4-BE49-F238E27FC236}">
                <a16:creationId xmlns:a16="http://schemas.microsoft.com/office/drawing/2014/main" id="{9C9D68C9-5E60-0EF8-84F5-08DCB0E31E47}"/>
              </a:ext>
            </a:extLst>
          </p:cNvPr>
          <p:cNvGraphicFramePr>
            <a:graphicFrameLocks/>
          </p:cNvGraphicFramePr>
          <p:nvPr/>
        </p:nvGraphicFramePr>
        <p:xfrm>
          <a:off x="1236096" y="2564904"/>
          <a:ext cx="9719807" cy="1196752"/>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196752">
                <a:tc>
                  <a:txBody>
                    <a:bodyPr/>
                    <a:lstStyle/>
                    <a:p>
                      <a:pPr algn="ctr"/>
                      <a:r>
                        <a:rPr lang="en-US" sz="2000" b="0" dirty="0">
                          <a:solidFill>
                            <a:schemeClr val="tx1"/>
                          </a:solidFill>
                        </a:rPr>
                        <a:t>Financial-relationship disclosures have been requested.</a:t>
                      </a:r>
                      <a:endParaRPr lang="en-US" sz="20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0128468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26140-E91B-1D16-4667-1C25BBB26D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F02C86-EB4D-6249-8532-11D99DDA363C}"/>
              </a:ext>
            </a:extLst>
          </p:cNvPr>
          <p:cNvSpPr>
            <a:spLocks noGrp="1"/>
          </p:cNvSpPr>
          <p:nvPr>
            <p:ph type="title"/>
          </p:nvPr>
        </p:nvSpPr>
        <p:spPr/>
        <p:txBody>
          <a:bodyPr/>
          <a:lstStyle/>
          <a:p>
            <a:r>
              <a:rPr lang="en-US" sz="3200" kern="1200" dirty="0">
                <a:solidFill>
                  <a:srgbClr val="0432FF"/>
                </a:solidFill>
                <a:latin typeface="Calibri" panose="020F0502020204030204" pitchFamily="34" charset="0"/>
                <a:cs typeface="Calibri" panose="020F0502020204030204" pitchFamily="34" charset="0"/>
              </a:rPr>
              <a:t>Phase III TREVI OC 01/GOG 3127/ENGOT ov93 trial</a:t>
            </a:r>
            <a:endParaRPr lang="en-GB" sz="3200" b="1" dirty="0"/>
          </a:p>
        </p:txBody>
      </p:sp>
      <p:sp>
        <p:nvSpPr>
          <p:cNvPr id="8" name="TextBox 7">
            <a:extLst>
              <a:ext uri="{FF2B5EF4-FFF2-40B4-BE49-F238E27FC236}">
                <a16:creationId xmlns:a16="http://schemas.microsoft.com/office/drawing/2014/main" id="{AEB1199D-64D3-CC93-CD57-F7CCD8BDF43A}"/>
              </a:ext>
            </a:extLst>
          </p:cNvPr>
          <p:cNvSpPr txBox="1"/>
          <p:nvPr/>
        </p:nvSpPr>
        <p:spPr>
          <a:xfrm>
            <a:off x="997693" y="4883674"/>
            <a:ext cx="10216767" cy="815608"/>
          </a:xfrm>
          <a:prstGeom prst="rect">
            <a:avLst/>
          </a:prstGeom>
          <a:noFill/>
        </p:spPr>
        <p:txBody>
          <a:bodyPr wrap="square" rtlCol="0">
            <a:spAutoFit/>
          </a:bodyPr>
          <a:lstStyle/>
          <a:p>
            <a:pPr marL="0" marR="0" lvl="0" indent="0" algn="l" defTabSz="455613" rtl="0" eaLnBrk="1" fontAlgn="base" latinLnBrk="0" hangingPunct="1">
              <a:lnSpc>
                <a:spcPct val="100000"/>
              </a:lnSpc>
              <a:spcBef>
                <a:spcPts val="300"/>
              </a:spcBef>
              <a:spcAft>
                <a:spcPts val="30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Primary endpoint: </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Progression-free survival </a:t>
            </a:r>
          </a:p>
          <a:p>
            <a:pPr marL="0" marR="0" lvl="0" indent="0" algn="l" defTabSz="455613" rtl="0" eaLnBrk="1" fontAlgn="base" latinLnBrk="0" hangingPunct="1">
              <a:lnSpc>
                <a:spcPct val="100000"/>
              </a:lnSpc>
              <a:spcBef>
                <a:spcPts val="300"/>
              </a:spcBef>
              <a:spcAft>
                <a:spcPts val="30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Secondary endpoint: </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Overall survival</a:t>
            </a:r>
            <a:endPar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endParaRPr>
          </a:p>
        </p:txBody>
      </p:sp>
      <p:cxnSp>
        <p:nvCxnSpPr>
          <p:cNvPr id="10" name="Straight Connector 10">
            <a:extLst>
              <a:ext uri="{FF2B5EF4-FFF2-40B4-BE49-F238E27FC236}">
                <a16:creationId xmlns:a16="http://schemas.microsoft.com/office/drawing/2014/main" id="{36CB8BAD-F332-D3AB-7C7C-0B546410F13A}"/>
              </a:ext>
            </a:extLst>
          </p:cNvPr>
          <p:cNvCxnSpPr>
            <a:cxnSpLocks noChangeShapeType="1"/>
          </p:cNvCxnSpPr>
          <p:nvPr/>
        </p:nvCxnSpPr>
        <p:spPr bwMode="auto">
          <a:xfrm>
            <a:off x="5285489" y="3158073"/>
            <a:ext cx="457200" cy="0"/>
          </a:xfrm>
          <a:prstGeom prst="line">
            <a:avLst/>
          </a:prstGeom>
          <a:noFill/>
          <a:ln w="19050" cmpd="sng">
            <a:solidFill>
              <a:schemeClr val="tx1"/>
            </a:solidFill>
            <a:round/>
            <a:headEnd/>
            <a:tailEnd/>
          </a:ln>
          <a:extLst>
            <a:ext uri="{909E8E84-426E-40DD-AFC4-6F175D3DCCD1}">
              <a14:hiddenFill xmlns:a14="http://schemas.microsoft.com/office/drawing/2010/main">
                <a:noFill/>
              </a14:hiddenFill>
            </a:ext>
          </a:extLst>
        </p:spPr>
      </p:cxnSp>
      <p:cxnSp>
        <p:nvCxnSpPr>
          <p:cNvPr id="11" name="Straight Arrow Connector 10">
            <a:extLst>
              <a:ext uri="{FF2B5EF4-FFF2-40B4-BE49-F238E27FC236}">
                <a16:creationId xmlns:a16="http://schemas.microsoft.com/office/drawing/2014/main" id="{0827685F-F060-7A11-DF3A-063C83B9BED0}"/>
              </a:ext>
            </a:extLst>
          </p:cNvPr>
          <p:cNvCxnSpPr>
            <a:cxnSpLocks/>
          </p:cNvCxnSpPr>
          <p:nvPr/>
        </p:nvCxnSpPr>
        <p:spPr bwMode="auto">
          <a:xfrm flipV="1">
            <a:off x="5748776" y="2480091"/>
            <a:ext cx="0" cy="1410527"/>
          </a:xfrm>
          <a:prstGeom prst="straightConnector1">
            <a:avLst/>
          </a:prstGeom>
          <a:ln w="19050"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2F87200-35BB-29C3-0DAF-4D48B94C770A}"/>
              </a:ext>
            </a:extLst>
          </p:cNvPr>
          <p:cNvCxnSpPr/>
          <p:nvPr/>
        </p:nvCxnSpPr>
        <p:spPr bwMode="auto">
          <a:xfrm>
            <a:off x="5748776" y="2480091"/>
            <a:ext cx="529940"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CE6CB7B-E730-695F-C1A0-C3C1AFD304F4}"/>
              </a:ext>
            </a:extLst>
          </p:cNvPr>
          <p:cNvCxnSpPr/>
          <p:nvPr/>
        </p:nvCxnSpPr>
        <p:spPr bwMode="auto">
          <a:xfrm>
            <a:off x="5748776" y="3892129"/>
            <a:ext cx="529937"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5" name="Group 31">
            <a:extLst>
              <a:ext uri="{FF2B5EF4-FFF2-40B4-BE49-F238E27FC236}">
                <a16:creationId xmlns:a16="http://schemas.microsoft.com/office/drawing/2014/main" id="{23A97CA6-8051-E5E3-8DFA-F476A8C3182A}"/>
              </a:ext>
            </a:extLst>
          </p:cNvPr>
          <p:cNvGraphicFramePr>
            <a:graphicFrameLocks noGrp="1"/>
          </p:cNvGraphicFramePr>
          <p:nvPr/>
        </p:nvGraphicFramePr>
        <p:xfrm>
          <a:off x="857253" y="1934519"/>
          <a:ext cx="4410178" cy="2273962"/>
        </p:xfrm>
        <a:graphic>
          <a:graphicData uri="http://schemas.openxmlformats.org/drawingml/2006/table">
            <a:tbl>
              <a:tblPr/>
              <a:tblGrid>
                <a:gridCol w="4410178">
                  <a:extLst>
                    <a:ext uri="{9D8B030D-6E8A-4147-A177-3AD203B41FA5}">
                      <a16:colId xmlns:a16="http://schemas.microsoft.com/office/drawing/2014/main" val="20000"/>
                    </a:ext>
                  </a:extLst>
                </a:gridCol>
              </a:tblGrid>
              <a:tr h="283748">
                <a:tc>
                  <a:txBody>
                    <a:bodyPr/>
                    <a:lstStyle/>
                    <a:p>
                      <a:pPr marL="0" marR="0" lvl="0" indent="0" algn="l" defTabSz="914400" rtl="0" eaLnBrk="1" fontAlgn="base" latinLnBrk="0" hangingPunct="1">
                        <a:lnSpc>
                          <a:spcPct val="100000"/>
                        </a:lnSpc>
                        <a:spcBef>
                          <a:spcPts val="1200"/>
                        </a:spcBef>
                        <a:spcAft>
                          <a:spcPct val="0"/>
                        </a:spcAft>
                        <a:buClrTx/>
                        <a:buSzTx/>
                        <a:buFontTx/>
                        <a:buNone/>
                        <a:tabLst/>
                      </a:pPr>
                      <a:r>
                        <a:rPr kumimoji="0" lang="en-US" sz="2000" b="1" i="0" u="none" strike="noStrike" cap="none" normalizeH="0" baseline="0" dirty="0">
                          <a:ln>
                            <a:noFill/>
                          </a:ln>
                          <a:solidFill>
                            <a:schemeClr val="bg1"/>
                          </a:solidFill>
                          <a:effectLst/>
                          <a:latin typeface="Calibri" panose="020F0502020204030204" pitchFamily="34" charset="0"/>
                          <a:ea typeface="Calibri" charset="0"/>
                          <a:cs typeface="Calibri" panose="020F0502020204030204" pitchFamily="34" charset="0"/>
                        </a:rPr>
                        <a:t>Estimated enrollment N = 1100</a:t>
                      </a:r>
                    </a:p>
                  </a:txBody>
                  <a:tcPr marL="68580" marR="68580" marT="34308" marB="343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92F5D"/>
                    </a:solidFill>
                  </a:tcPr>
                </a:tc>
                <a:extLst>
                  <a:ext uri="{0D108BD9-81ED-4DB2-BD59-A6C34878D82A}">
                    <a16:rowId xmlns:a16="http://schemas.microsoft.com/office/drawing/2014/main" val="10000"/>
                  </a:ext>
                </a:extLst>
              </a:tr>
              <a:tr h="1900546">
                <a:tc>
                  <a:txBody>
                    <a:bodyPr/>
                    <a:lstStyle/>
                    <a:p>
                      <a:pPr marL="177800" marR="0" lvl="0" indent="-177800" algn="l" defTabSz="914400" rtl="0" eaLnBrk="1" fontAlgn="base" latinLnBrk="0" hangingPunct="1">
                        <a:lnSpc>
                          <a:spcPct val="100000"/>
                        </a:lnSpc>
                        <a:spcBef>
                          <a:spcPts val="600"/>
                        </a:spcBef>
                        <a:spcAft>
                          <a:spcPts val="600"/>
                        </a:spcAft>
                        <a:buClrTx/>
                        <a:buSzTx/>
                        <a:buFont typeface="Arial"/>
                        <a:buChar char="•"/>
                        <a:tabLst/>
                        <a:defRPr/>
                      </a:pPr>
                      <a:r>
                        <a:rPr kumimoji="0" lang="en-US" sz="2000" b="0" i="0" u="none" strike="noStrike" cap="none" normalizeH="0" baseline="0" dirty="0">
                          <a:ln>
                            <a:noFill/>
                          </a:ln>
                          <a:solidFill>
                            <a:schemeClr val="bg1"/>
                          </a:solidFill>
                          <a:effectLst/>
                          <a:latin typeface="Calibri" panose="020F0502020204030204" pitchFamily="34" charset="0"/>
                          <a:ea typeface="Calibri" charset="0"/>
                          <a:cs typeface="Calibri" panose="020F0502020204030204" pitchFamily="34" charset="0"/>
                        </a:rPr>
                        <a:t>High-grade platinum-resistant ovarian, fallopian tube, or primary peritoneal cancer expressing FR-alpha</a:t>
                      </a:r>
                    </a:p>
                  </a:txBody>
                  <a:tcPr marL="68580" marR="68580" marT="34308" marB="343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5696"/>
                    </a:solidFill>
                  </a:tcPr>
                </a:tc>
                <a:extLst>
                  <a:ext uri="{0D108BD9-81ED-4DB2-BD59-A6C34878D82A}">
                    <a16:rowId xmlns:a16="http://schemas.microsoft.com/office/drawing/2014/main" val="10001"/>
                  </a:ext>
                </a:extLst>
              </a:tr>
            </a:tbl>
          </a:graphicData>
        </a:graphic>
      </p:graphicFrame>
      <p:sp>
        <p:nvSpPr>
          <p:cNvPr id="16" name="Rectangle 18">
            <a:extLst>
              <a:ext uri="{FF2B5EF4-FFF2-40B4-BE49-F238E27FC236}">
                <a16:creationId xmlns:a16="http://schemas.microsoft.com/office/drawing/2014/main" id="{ACFA105E-4B08-4163-048E-779396B4D9D8}"/>
              </a:ext>
            </a:extLst>
          </p:cNvPr>
          <p:cNvSpPr>
            <a:spLocks noChangeArrowheads="1"/>
          </p:cNvSpPr>
          <p:nvPr/>
        </p:nvSpPr>
        <p:spPr bwMode="auto">
          <a:xfrm>
            <a:off x="6620967" y="1387437"/>
            <a:ext cx="1856676" cy="1084326"/>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12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AZD5335</a:t>
            </a:r>
          </a:p>
        </p:txBody>
      </p:sp>
      <p:sp>
        <p:nvSpPr>
          <p:cNvPr id="17" name="Rectangle 18">
            <a:extLst>
              <a:ext uri="{FF2B5EF4-FFF2-40B4-BE49-F238E27FC236}">
                <a16:creationId xmlns:a16="http://schemas.microsoft.com/office/drawing/2014/main" id="{84863440-865B-D55A-B46F-76DA296022C2}"/>
              </a:ext>
            </a:extLst>
          </p:cNvPr>
          <p:cNvSpPr>
            <a:spLocks noChangeArrowheads="1"/>
          </p:cNvSpPr>
          <p:nvPr/>
        </p:nvSpPr>
        <p:spPr bwMode="auto">
          <a:xfrm>
            <a:off x="6720206" y="3482907"/>
            <a:ext cx="1856676" cy="1075935"/>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6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AZD5335</a:t>
            </a:r>
          </a:p>
        </p:txBody>
      </p:sp>
      <p:grpSp>
        <p:nvGrpSpPr>
          <p:cNvPr id="18" name="Group 17">
            <a:extLst>
              <a:ext uri="{FF2B5EF4-FFF2-40B4-BE49-F238E27FC236}">
                <a16:creationId xmlns:a16="http://schemas.microsoft.com/office/drawing/2014/main" id="{C6A24E86-8F88-9040-0AE7-71613922AFB5}"/>
              </a:ext>
            </a:extLst>
          </p:cNvPr>
          <p:cNvGrpSpPr>
            <a:grpSpLocks/>
          </p:cNvGrpSpPr>
          <p:nvPr/>
        </p:nvGrpSpPr>
        <p:grpSpPr bwMode="auto">
          <a:xfrm>
            <a:off x="5805806" y="2700873"/>
            <a:ext cx="914400" cy="914400"/>
            <a:chOff x="2112" y="2421"/>
            <a:chExt cx="576" cy="576"/>
          </a:xfrm>
        </p:grpSpPr>
        <p:sp>
          <p:nvSpPr>
            <p:cNvPr id="19" name="Oval 18">
              <a:extLst>
                <a:ext uri="{FF2B5EF4-FFF2-40B4-BE49-F238E27FC236}">
                  <a16:creationId xmlns:a16="http://schemas.microsoft.com/office/drawing/2014/main" id="{0F7B02BD-76AC-CD98-2A9B-4F783A563481}"/>
                </a:ext>
              </a:extLst>
            </p:cNvPr>
            <p:cNvSpPr>
              <a:spLocks noChangeArrowheads="1"/>
            </p:cNvSpPr>
            <p:nvPr/>
          </p:nvSpPr>
          <p:spPr bwMode="auto">
            <a:xfrm>
              <a:off x="2112" y="2421"/>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l" defTabSz="455613"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333399"/>
                </a:solidFill>
                <a:effectLst/>
                <a:uLnTx/>
                <a:uFillTx/>
                <a:latin typeface="Calibri" panose="020F0502020204030204" pitchFamily="34" charset="0"/>
                <a:ea typeface="Arial" charset="0"/>
                <a:cs typeface="Calibri" panose="020F0502020204030204" pitchFamily="34" charset="0"/>
              </a:endParaRPr>
            </a:p>
          </p:txBody>
        </p:sp>
        <p:sp>
          <p:nvSpPr>
            <p:cNvPr id="20" name="Rectangle 19">
              <a:extLst>
                <a:ext uri="{FF2B5EF4-FFF2-40B4-BE49-F238E27FC236}">
                  <a16:creationId xmlns:a16="http://schemas.microsoft.com/office/drawing/2014/main" id="{75ED9A35-20BF-6748-5CCE-4E8578E77500}"/>
                </a:ext>
              </a:extLst>
            </p:cNvPr>
            <p:cNvSpPr>
              <a:spLocks noChangeArrowheads="1"/>
            </p:cNvSpPr>
            <p:nvPr/>
          </p:nvSpPr>
          <p:spPr bwMode="auto">
            <a:xfrm>
              <a:off x="2131" y="2483"/>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ctr" defTabSz="455613"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rPr>
                <a:t>R</a:t>
              </a:r>
            </a:p>
          </p:txBody>
        </p:sp>
      </p:grpSp>
      <p:sp>
        <p:nvSpPr>
          <p:cNvPr id="23" name="TextBox 22">
            <a:extLst>
              <a:ext uri="{FF2B5EF4-FFF2-40B4-BE49-F238E27FC236}">
                <a16:creationId xmlns:a16="http://schemas.microsoft.com/office/drawing/2014/main" id="{C7AA59FC-2D63-8730-3BA8-9E618078BABA}"/>
              </a:ext>
            </a:extLst>
          </p:cNvPr>
          <p:cNvSpPr txBox="1"/>
          <p:nvPr/>
        </p:nvSpPr>
        <p:spPr>
          <a:xfrm>
            <a:off x="5685659" y="1844824"/>
            <a:ext cx="914397" cy="646331"/>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ＭＳ Ｐゴシック" charset="0"/>
                <a:cs typeface="+mn-cs"/>
              </a:rPr>
              <a:t>FR</a:t>
            </a:r>
            <a:r>
              <a:rPr kumimoji="0" lang="el-GR" sz="1800" b="0" i="0" u="none" strike="noStrike" kern="1200" cap="none" spc="0" normalizeH="0" baseline="0" noProof="0" dirty="0">
                <a:ln>
                  <a:noFill/>
                </a:ln>
                <a:solidFill>
                  <a:srgbClr val="000000"/>
                </a:solidFill>
                <a:effectLst/>
                <a:uLnTx/>
                <a:uFillTx/>
                <a:latin typeface="Arial" charset="0"/>
                <a:ea typeface="ＭＳ Ｐゴシック" charset="0"/>
                <a:cs typeface="+mn-cs"/>
              </a:rPr>
              <a:t>α</a:t>
            </a:r>
            <a:r>
              <a:rPr kumimoji="0" lang="en-US" sz="1800" b="0" i="0" u="none" strike="noStrike" kern="1200" cap="none" spc="0" normalizeH="0" baseline="0" noProof="0" dirty="0">
                <a:ln>
                  <a:noFill/>
                </a:ln>
                <a:solidFill>
                  <a:srgbClr val="000000"/>
                </a:solidFill>
                <a:effectLst/>
                <a:uLnTx/>
                <a:uFillTx/>
                <a:latin typeface="Arial" charset="0"/>
                <a:ea typeface="ＭＳ Ｐゴシック" charset="0"/>
                <a:cs typeface="+mn-cs"/>
              </a:rPr>
              <a:t>-high</a:t>
            </a:r>
          </a:p>
        </p:txBody>
      </p:sp>
      <p:sp>
        <p:nvSpPr>
          <p:cNvPr id="24" name="TextBox 23">
            <a:extLst>
              <a:ext uri="{FF2B5EF4-FFF2-40B4-BE49-F238E27FC236}">
                <a16:creationId xmlns:a16="http://schemas.microsoft.com/office/drawing/2014/main" id="{7EDC2D4C-402B-4DB5-C671-939FF62558D0}"/>
              </a:ext>
            </a:extLst>
          </p:cNvPr>
          <p:cNvSpPr txBox="1"/>
          <p:nvPr/>
        </p:nvSpPr>
        <p:spPr>
          <a:xfrm>
            <a:off x="5649540" y="3877018"/>
            <a:ext cx="914397" cy="646331"/>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ＭＳ Ｐゴシック" charset="0"/>
                <a:cs typeface="+mn-cs"/>
              </a:rPr>
              <a:t>FR</a:t>
            </a:r>
            <a:r>
              <a:rPr kumimoji="0" lang="el-GR" sz="1800" b="0" i="0" u="none" strike="noStrike" kern="1200" cap="none" spc="0" normalizeH="0" baseline="0" noProof="0" dirty="0">
                <a:ln>
                  <a:noFill/>
                </a:ln>
                <a:solidFill>
                  <a:srgbClr val="000000"/>
                </a:solidFill>
                <a:effectLst/>
                <a:uLnTx/>
                <a:uFillTx/>
                <a:latin typeface="Arial" charset="0"/>
                <a:ea typeface="ＭＳ Ｐゴシック" charset="0"/>
                <a:cs typeface="+mn-cs"/>
              </a:rPr>
              <a:t>α</a:t>
            </a:r>
            <a:r>
              <a:rPr kumimoji="0" lang="en-US" sz="1800" b="0" i="0" u="none" strike="noStrike" kern="1200" cap="none" spc="0" normalizeH="0" baseline="0" noProof="0" dirty="0">
                <a:ln>
                  <a:noFill/>
                </a:ln>
                <a:solidFill>
                  <a:srgbClr val="000000"/>
                </a:solidFill>
                <a:effectLst/>
                <a:uLnTx/>
                <a:uFillTx/>
                <a:latin typeface="Arial" charset="0"/>
                <a:ea typeface="ＭＳ Ｐゴシック" charset="0"/>
                <a:cs typeface="+mn-cs"/>
              </a:rPr>
              <a:t>-low</a:t>
            </a:r>
          </a:p>
        </p:txBody>
      </p:sp>
      <p:sp>
        <p:nvSpPr>
          <p:cNvPr id="25" name="Rectangle 18">
            <a:extLst>
              <a:ext uri="{FF2B5EF4-FFF2-40B4-BE49-F238E27FC236}">
                <a16:creationId xmlns:a16="http://schemas.microsoft.com/office/drawing/2014/main" id="{6B2A1B64-5F78-C1AE-C019-D43AA6C12864}"/>
              </a:ext>
            </a:extLst>
          </p:cNvPr>
          <p:cNvSpPr>
            <a:spLocks noChangeArrowheads="1"/>
          </p:cNvSpPr>
          <p:nvPr/>
        </p:nvSpPr>
        <p:spPr bwMode="auto">
          <a:xfrm>
            <a:off x="9423098" y="1387437"/>
            <a:ext cx="1856676" cy="1084326"/>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12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MIRV</a:t>
            </a:r>
          </a:p>
        </p:txBody>
      </p:sp>
      <p:sp>
        <p:nvSpPr>
          <p:cNvPr id="26" name="Rectangle 18">
            <a:extLst>
              <a:ext uri="{FF2B5EF4-FFF2-40B4-BE49-F238E27FC236}">
                <a16:creationId xmlns:a16="http://schemas.microsoft.com/office/drawing/2014/main" id="{8BC3A544-8225-A794-CEA4-78D5114C7E28}"/>
              </a:ext>
            </a:extLst>
          </p:cNvPr>
          <p:cNvSpPr>
            <a:spLocks noChangeArrowheads="1"/>
          </p:cNvSpPr>
          <p:nvPr/>
        </p:nvSpPr>
        <p:spPr bwMode="auto">
          <a:xfrm>
            <a:off x="9491281" y="3482907"/>
            <a:ext cx="1856676" cy="1075935"/>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6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Investigator Choice CT</a:t>
            </a:r>
          </a:p>
        </p:txBody>
      </p:sp>
      <p:sp>
        <p:nvSpPr>
          <p:cNvPr id="28" name="TextBox 27">
            <a:extLst>
              <a:ext uri="{FF2B5EF4-FFF2-40B4-BE49-F238E27FC236}">
                <a16:creationId xmlns:a16="http://schemas.microsoft.com/office/drawing/2014/main" id="{B82914B0-338A-F167-14F9-0AACF64C732A}"/>
              </a:ext>
            </a:extLst>
          </p:cNvPr>
          <p:cNvSpPr txBox="1"/>
          <p:nvPr/>
        </p:nvSpPr>
        <p:spPr>
          <a:xfrm>
            <a:off x="8698836" y="1744934"/>
            <a:ext cx="503068"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vs</a:t>
            </a:r>
          </a:p>
        </p:txBody>
      </p:sp>
      <p:sp>
        <p:nvSpPr>
          <p:cNvPr id="29" name="TextBox 28">
            <a:extLst>
              <a:ext uri="{FF2B5EF4-FFF2-40B4-BE49-F238E27FC236}">
                <a16:creationId xmlns:a16="http://schemas.microsoft.com/office/drawing/2014/main" id="{12C3D0A9-D9C5-79E8-FAD3-E9D726F4915D}"/>
              </a:ext>
            </a:extLst>
          </p:cNvPr>
          <p:cNvSpPr txBox="1"/>
          <p:nvPr/>
        </p:nvSpPr>
        <p:spPr>
          <a:xfrm>
            <a:off x="8782547" y="3880141"/>
            <a:ext cx="503068"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vs</a:t>
            </a:r>
          </a:p>
        </p:txBody>
      </p:sp>
      <p:sp>
        <p:nvSpPr>
          <p:cNvPr id="30" name="TextBox 29">
            <a:extLst>
              <a:ext uri="{FF2B5EF4-FFF2-40B4-BE49-F238E27FC236}">
                <a16:creationId xmlns:a16="http://schemas.microsoft.com/office/drawing/2014/main" id="{2A964AB5-38BF-8485-36C6-2F05007FA03E}"/>
              </a:ext>
            </a:extLst>
          </p:cNvPr>
          <p:cNvSpPr txBox="1"/>
          <p:nvPr/>
        </p:nvSpPr>
        <p:spPr>
          <a:xfrm>
            <a:off x="191344" y="6442545"/>
            <a:ext cx="9459032"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https://clinicaltrials.gov/ct2/show/NCT07218809. Accessed April 2026.</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Tree>
    <p:extLst>
      <p:ext uri="{BB962C8B-B14F-4D97-AF65-F5344CB8AC3E}">
        <p14:creationId xmlns:p14="http://schemas.microsoft.com/office/powerpoint/2010/main" val="907474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CCBB9-A80F-2036-652F-B8AF629AB1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D488DC-B996-11FD-5FB1-3814ADACD87D}"/>
              </a:ext>
            </a:extLst>
          </p:cNvPr>
          <p:cNvSpPr>
            <a:spLocks noGrp="1"/>
          </p:cNvSpPr>
          <p:nvPr>
            <p:ph type="title"/>
          </p:nvPr>
        </p:nvSpPr>
        <p:spPr/>
        <p:txBody>
          <a:bodyPr/>
          <a:lstStyle/>
          <a:p>
            <a:r>
              <a:rPr lang="en-US" sz="3200" kern="1200" dirty="0">
                <a:solidFill>
                  <a:srgbClr val="0432FF"/>
                </a:solidFill>
                <a:latin typeface="Calibri" panose="020F0502020204030204" pitchFamily="34" charset="0"/>
                <a:cs typeface="Calibri" panose="020F0502020204030204" pitchFamily="34" charset="0"/>
              </a:rPr>
              <a:t>Phase III FRAmework-01</a:t>
            </a:r>
            <a:endParaRPr lang="en-GB" sz="3200" b="1" dirty="0"/>
          </a:p>
        </p:txBody>
      </p:sp>
      <p:sp>
        <p:nvSpPr>
          <p:cNvPr id="8" name="TextBox 7">
            <a:extLst>
              <a:ext uri="{FF2B5EF4-FFF2-40B4-BE49-F238E27FC236}">
                <a16:creationId xmlns:a16="http://schemas.microsoft.com/office/drawing/2014/main" id="{4276FCB0-6E91-F4BF-32E1-4C7FAFD41CBF}"/>
              </a:ext>
            </a:extLst>
          </p:cNvPr>
          <p:cNvSpPr txBox="1"/>
          <p:nvPr/>
        </p:nvSpPr>
        <p:spPr>
          <a:xfrm>
            <a:off x="410938" y="4946570"/>
            <a:ext cx="10216767" cy="415498"/>
          </a:xfrm>
          <a:prstGeom prst="rect">
            <a:avLst/>
          </a:prstGeom>
          <a:noFill/>
        </p:spPr>
        <p:txBody>
          <a:bodyPr wrap="square" rtlCol="0">
            <a:spAutoFit/>
          </a:bodyPr>
          <a:lstStyle/>
          <a:p>
            <a:pPr marL="0" marR="0" lvl="0" indent="0" algn="l" defTabSz="455613" rtl="0" eaLnBrk="1" fontAlgn="base" latinLnBrk="0" hangingPunct="1">
              <a:lnSpc>
                <a:spcPct val="100000"/>
              </a:lnSpc>
              <a:spcBef>
                <a:spcPts val="300"/>
              </a:spcBef>
              <a:spcAft>
                <a:spcPts val="30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Primary endpoint: </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Progression-free survival </a:t>
            </a:r>
          </a:p>
        </p:txBody>
      </p:sp>
      <p:cxnSp>
        <p:nvCxnSpPr>
          <p:cNvPr id="10" name="Straight Connector 10">
            <a:extLst>
              <a:ext uri="{FF2B5EF4-FFF2-40B4-BE49-F238E27FC236}">
                <a16:creationId xmlns:a16="http://schemas.microsoft.com/office/drawing/2014/main" id="{5015360E-AED2-286C-4749-669352D0194E}"/>
              </a:ext>
            </a:extLst>
          </p:cNvPr>
          <p:cNvCxnSpPr>
            <a:cxnSpLocks noChangeShapeType="1"/>
          </p:cNvCxnSpPr>
          <p:nvPr/>
        </p:nvCxnSpPr>
        <p:spPr bwMode="auto">
          <a:xfrm>
            <a:off x="4799856" y="3158073"/>
            <a:ext cx="457200" cy="0"/>
          </a:xfrm>
          <a:prstGeom prst="line">
            <a:avLst/>
          </a:prstGeom>
          <a:noFill/>
          <a:ln w="19050" cmpd="sng">
            <a:solidFill>
              <a:schemeClr val="tx1"/>
            </a:solidFill>
            <a:round/>
            <a:headEnd/>
            <a:tailEnd/>
          </a:ln>
          <a:extLst>
            <a:ext uri="{909E8E84-426E-40DD-AFC4-6F175D3DCCD1}">
              <a14:hiddenFill xmlns:a14="http://schemas.microsoft.com/office/drawing/2010/main">
                <a:noFill/>
              </a14:hiddenFill>
            </a:ext>
          </a:extLst>
        </p:spPr>
      </p:cxnSp>
      <p:cxnSp>
        <p:nvCxnSpPr>
          <p:cNvPr id="11" name="Straight Arrow Connector 10">
            <a:extLst>
              <a:ext uri="{FF2B5EF4-FFF2-40B4-BE49-F238E27FC236}">
                <a16:creationId xmlns:a16="http://schemas.microsoft.com/office/drawing/2014/main" id="{68290E20-667C-8E78-0499-D9DC24032F99}"/>
              </a:ext>
            </a:extLst>
          </p:cNvPr>
          <p:cNvCxnSpPr>
            <a:cxnSpLocks/>
          </p:cNvCxnSpPr>
          <p:nvPr/>
        </p:nvCxnSpPr>
        <p:spPr bwMode="auto">
          <a:xfrm flipV="1">
            <a:off x="5259132" y="2529381"/>
            <a:ext cx="0" cy="1410527"/>
          </a:xfrm>
          <a:prstGeom prst="straightConnector1">
            <a:avLst/>
          </a:prstGeom>
          <a:ln w="19050"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37E9E44-0B0A-9DCF-6766-1DDEBD730B44}"/>
              </a:ext>
            </a:extLst>
          </p:cNvPr>
          <p:cNvCxnSpPr/>
          <p:nvPr/>
        </p:nvCxnSpPr>
        <p:spPr bwMode="auto">
          <a:xfrm>
            <a:off x="5259132" y="2529381"/>
            <a:ext cx="529940"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6C3F6B8-81B8-DF65-3308-3F74CCE82BAF}"/>
              </a:ext>
            </a:extLst>
          </p:cNvPr>
          <p:cNvCxnSpPr/>
          <p:nvPr/>
        </p:nvCxnSpPr>
        <p:spPr bwMode="auto">
          <a:xfrm>
            <a:off x="5259132" y="3941419"/>
            <a:ext cx="529937"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5" name="Group 31">
            <a:extLst>
              <a:ext uri="{FF2B5EF4-FFF2-40B4-BE49-F238E27FC236}">
                <a16:creationId xmlns:a16="http://schemas.microsoft.com/office/drawing/2014/main" id="{720D677C-14EF-94FC-2300-025E33B79D2D}"/>
              </a:ext>
            </a:extLst>
          </p:cNvPr>
          <p:cNvGraphicFramePr>
            <a:graphicFrameLocks noGrp="1"/>
          </p:cNvGraphicFramePr>
          <p:nvPr/>
        </p:nvGraphicFramePr>
        <p:xfrm>
          <a:off x="410938" y="1934519"/>
          <a:ext cx="4410178" cy="2273962"/>
        </p:xfrm>
        <a:graphic>
          <a:graphicData uri="http://schemas.openxmlformats.org/drawingml/2006/table">
            <a:tbl>
              <a:tblPr/>
              <a:tblGrid>
                <a:gridCol w="4410178">
                  <a:extLst>
                    <a:ext uri="{9D8B030D-6E8A-4147-A177-3AD203B41FA5}">
                      <a16:colId xmlns:a16="http://schemas.microsoft.com/office/drawing/2014/main" val="20000"/>
                    </a:ext>
                  </a:extLst>
                </a:gridCol>
              </a:tblGrid>
              <a:tr h="283748">
                <a:tc>
                  <a:txBody>
                    <a:bodyPr/>
                    <a:lstStyle/>
                    <a:p>
                      <a:pPr marL="0" marR="0" lvl="0" indent="0" algn="l" defTabSz="914400" rtl="0" eaLnBrk="1" fontAlgn="base" latinLnBrk="0" hangingPunct="1">
                        <a:lnSpc>
                          <a:spcPct val="100000"/>
                        </a:lnSpc>
                        <a:spcBef>
                          <a:spcPts val="1200"/>
                        </a:spcBef>
                        <a:spcAft>
                          <a:spcPct val="0"/>
                        </a:spcAft>
                        <a:buClrTx/>
                        <a:buSzTx/>
                        <a:buFontTx/>
                        <a:buNone/>
                        <a:tabLst/>
                      </a:pPr>
                      <a:r>
                        <a:rPr kumimoji="0" lang="en-US" sz="2000" b="1" i="0" u="none" strike="noStrike" cap="none" normalizeH="0" baseline="0" dirty="0">
                          <a:ln>
                            <a:noFill/>
                          </a:ln>
                          <a:solidFill>
                            <a:schemeClr val="bg1"/>
                          </a:solidFill>
                          <a:effectLst/>
                          <a:latin typeface="Calibri" panose="020F0502020204030204" pitchFamily="34" charset="0"/>
                          <a:ea typeface="Calibri" charset="0"/>
                          <a:cs typeface="Calibri" panose="020F0502020204030204" pitchFamily="34" charset="0"/>
                        </a:rPr>
                        <a:t>Estimated enrollment N = 1080</a:t>
                      </a:r>
                    </a:p>
                  </a:txBody>
                  <a:tcPr marL="68580" marR="68580" marT="34308" marB="343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92F5D"/>
                    </a:solidFill>
                  </a:tcPr>
                </a:tc>
                <a:extLst>
                  <a:ext uri="{0D108BD9-81ED-4DB2-BD59-A6C34878D82A}">
                    <a16:rowId xmlns:a16="http://schemas.microsoft.com/office/drawing/2014/main" val="10000"/>
                  </a:ext>
                </a:extLst>
              </a:tr>
              <a:tr h="1900546">
                <a:tc>
                  <a:txBody>
                    <a:bodyPr/>
                    <a:lstStyle/>
                    <a:p>
                      <a:pPr marL="177800" marR="0" lvl="0" indent="-177800" algn="l" defTabSz="914400" rtl="0" eaLnBrk="1" fontAlgn="base" latinLnBrk="0" hangingPunct="1">
                        <a:lnSpc>
                          <a:spcPct val="100000"/>
                        </a:lnSpc>
                        <a:spcBef>
                          <a:spcPts val="600"/>
                        </a:spcBef>
                        <a:spcAft>
                          <a:spcPts val="600"/>
                        </a:spcAft>
                        <a:buClrTx/>
                        <a:buSzTx/>
                        <a:buFont typeface="Arial"/>
                        <a:buChar char="•"/>
                        <a:tabLst/>
                        <a:defRPr/>
                      </a:pPr>
                      <a:r>
                        <a:rPr kumimoji="0" lang="en-US" sz="2000" b="0" i="0" u="none" strike="noStrike" cap="none" normalizeH="0" baseline="0" dirty="0">
                          <a:ln>
                            <a:noFill/>
                          </a:ln>
                          <a:solidFill>
                            <a:schemeClr val="bg1"/>
                          </a:solidFill>
                          <a:effectLst/>
                          <a:latin typeface="Calibri" panose="020F0502020204030204" pitchFamily="34" charset="0"/>
                          <a:ea typeface="Calibri" charset="0"/>
                          <a:cs typeface="Calibri" panose="020F0502020204030204" pitchFamily="34" charset="0"/>
                        </a:rPr>
                        <a:t>High-grade ovarian, fallopian tube, or primary peritoneal cancer</a:t>
                      </a:r>
                    </a:p>
                  </a:txBody>
                  <a:tcPr marL="68580" marR="68580" marT="34308" marB="343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5696"/>
                    </a:solidFill>
                  </a:tcPr>
                </a:tc>
                <a:extLst>
                  <a:ext uri="{0D108BD9-81ED-4DB2-BD59-A6C34878D82A}">
                    <a16:rowId xmlns:a16="http://schemas.microsoft.com/office/drawing/2014/main" val="10001"/>
                  </a:ext>
                </a:extLst>
              </a:tr>
            </a:tbl>
          </a:graphicData>
        </a:graphic>
      </p:graphicFrame>
      <p:sp>
        <p:nvSpPr>
          <p:cNvPr id="16" name="Rectangle 18">
            <a:extLst>
              <a:ext uri="{FF2B5EF4-FFF2-40B4-BE49-F238E27FC236}">
                <a16:creationId xmlns:a16="http://schemas.microsoft.com/office/drawing/2014/main" id="{0F8744A0-8C63-EB01-9EFE-44C32B2FFCDB}"/>
              </a:ext>
            </a:extLst>
          </p:cNvPr>
          <p:cNvSpPr>
            <a:spLocks noChangeArrowheads="1"/>
          </p:cNvSpPr>
          <p:nvPr/>
        </p:nvSpPr>
        <p:spPr bwMode="auto">
          <a:xfrm>
            <a:off x="6304053" y="1734789"/>
            <a:ext cx="1856676" cy="1084326"/>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12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SOFE-M</a:t>
            </a:r>
          </a:p>
        </p:txBody>
      </p:sp>
      <p:sp>
        <p:nvSpPr>
          <p:cNvPr id="17" name="Rectangle 18">
            <a:extLst>
              <a:ext uri="{FF2B5EF4-FFF2-40B4-BE49-F238E27FC236}">
                <a16:creationId xmlns:a16="http://schemas.microsoft.com/office/drawing/2014/main" id="{E926AF28-5FFA-14B8-5B21-8652620EE019}"/>
              </a:ext>
            </a:extLst>
          </p:cNvPr>
          <p:cNvSpPr>
            <a:spLocks noChangeArrowheads="1"/>
          </p:cNvSpPr>
          <p:nvPr/>
        </p:nvSpPr>
        <p:spPr bwMode="auto">
          <a:xfrm>
            <a:off x="6273891" y="3482907"/>
            <a:ext cx="1856676" cy="1075935"/>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6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SOFE-M + Beva</a:t>
            </a:r>
          </a:p>
        </p:txBody>
      </p:sp>
      <p:grpSp>
        <p:nvGrpSpPr>
          <p:cNvPr id="18" name="Group 17">
            <a:extLst>
              <a:ext uri="{FF2B5EF4-FFF2-40B4-BE49-F238E27FC236}">
                <a16:creationId xmlns:a16="http://schemas.microsoft.com/office/drawing/2014/main" id="{640855D9-DE8A-8307-83AA-518FFC95EFC9}"/>
              </a:ext>
            </a:extLst>
          </p:cNvPr>
          <p:cNvGrpSpPr>
            <a:grpSpLocks/>
          </p:cNvGrpSpPr>
          <p:nvPr/>
        </p:nvGrpSpPr>
        <p:grpSpPr bwMode="auto">
          <a:xfrm>
            <a:off x="5359491" y="2700873"/>
            <a:ext cx="914400" cy="914400"/>
            <a:chOff x="2112" y="2421"/>
            <a:chExt cx="576" cy="576"/>
          </a:xfrm>
        </p:grpSpPr>
        <p:sp>
          <p:nvSpPr>
            <p:cNvPr id="19" name="Oval 18">
              <a:extLst>
                <a:ext uri="{FF2B5EF4-FFF2-40B4-BE49-F238E27FC236}">
                  <a16:creationId xmlns:a16="http://schemas.microsoft.com/office/drawing/2014/main" id="{0817DB8E-473E-6A03-765F-45E19970A479}"/>
                </a:ext>
              </a:extLst>
            </p:cNvPr>
            <p:cNvSpPr>
              <a:spLocks noChangeArrowheads="1"/>
            </p:cNvSpPr>
            <p:nvPr/>
          </p:nvSpPr>
          <p:spPr bwMode="auto">
            <a:xfrm>
              <a:off x="2112" y="2421"/>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l" defTabSz="455613"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333399"/>
                </a:solidFill>
                <a:effectLst/>
                <a:uLnTx/>
                <a:uFillTx/>
                <a:latin typeface="Calibri" panose="020F0502020204030204" pitchFamily="34" charset="0"/>
                <a:ea typeface="Arial" charset="0"/>
                <a:cs typeface="Calibri" panose="020F0502020204030204" pitchFamily="34" charset="0"/>
              </a:endParaRPr>
            </a:p>
          </p:txBody>
        </p:sp>
        <p:sp>
          <p:nvSpPr>
            <p:cNvPr id="20" name="Rectangle 19">
              <a:extLst>
                <a:ext uri="{FF2B5EF4-FFF2-40B4-BE49-F238E27FC236}">
                  <a16:creationId xmlns:a16="http://schemas.microsoft.com/office/drawing/2014/main" id="{BD9D93F8-2943-E3AE-C32F-C9E8874D0354}"/>
                </a:ext>
              </a:extLst>
            </p:cNvPr>
            <p:cNvSpPr>
              <a:spLocks noChangeArrowheads="1"/>
            </p:cNvSpPr>
            <p:nvPr/>
          </p:nvSpPr>
          <p:spPr bwMode="auto">
            <a:xfrm>
              <a:off x="2131" y="2483"/>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ctr" defTabSz="455613"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rPr>
                <a:t>R</a:t>
              </a:r>
            </a:p>
          </p:txBody>
        </p:sp>
      </p:grpSp>
      <p:sp>
        <p:nvSpPr>
          <p:cNvPr id="23" name="TextBox 22">
            <a:extLst>
              <a:ext uri="{FF2B5EF4-FFF2-40B4-BE49-F238E27FC236}">
                <a16:creationId xmlns:a16="http://schemas.microsoft.com/office/drawing/2014/main" id="{406265F1-E409-7B8F-A087-7B2AF6FED440}"/>
              </a:ext>
            </a:extLst>
          </p:cNvPr>
          <p:cNvSpPr txBox="1"/>
          <p:nvPr/>
        </p:nvSpPr>
        <p:spPr>
          <a:xfrm>
            <a:off x="5196015" y="2144576"/>
            <a:ext cx="914397"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ＭＳ Ｐゴシック" charset="0"/>
                <a:cs typeface="+mn-cs"/>
              </a:rPr>
              <a:t>PROC</a:t>
            </a:r>
          </a:p>
        </p:txBody>
      </p:sp>
      <p:sp>
        <p:nvSpPr>
          <p:cNvPr id="24" name="TextBox 23">
            <a:extLst>
              <a:ext uri="{FF2B5EF4-FFF2-40B4-BE49-F238E27FC236}">
                <a16:creationId xmlns:a16="http://schemas.microsoft.com/office/drawing/2014/main" id="{3681EF9B-1963-F421-1147-5975122428E8}"/>
              </a:ext>
            </a:extLst>
          </p:cNvPr>
          <p:cNvSpPr txBox="1"/>
          <p:nvPr/>
        </p:nvSpPr>
        <p:spPr>
          <a:xfrm>
            <a:off x="5159896" y="3926308"/>
            <a:ext cx="914397"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ＭＳ Ｐゴシック" charset="0"/>
                <a:cs typeface="+mn-cs"/>
              </a:rPr>
              <a:t>PSOC</a:t>
            </a:r>
          </a:p>
        </p:txBody>
      </p:sp>
      <p:sp>
        <p:nvSpPr>
          <p:cNvPr id="25" name="Rectangle 18">
            <a:extLst>
              <a:ext uri="{FF2B5EF4-FFF2-40B4-BE49-F238E27FC236}">
                <a16:creationId xmlns:a16="http://schemas.microsoft.com/office/drawing/2014/main" id="{8CFB531F-FEE2-A954-FE89-CEAE0FF75E47}"/>
              </a:ext>
            </a:extLst>
          </p:cNvPr>
          <p:cNvSpPr>
            <a:spLocks noChangeArrowheads="1"/>
          </p:cNvSpPr>
          <p:nvPr/>
        </p:nvSpPr>
        <p:spPr bwMode="auto">
          <a:xfrm>
            <a:off x="9044965" y="1718932"/>
            <a:ext cx="2613634" cy="1084326"/>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12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MIRV or Investigator Choice CT</a:t>
            </a:r>
          </a:p>
        </p:txBody>
      </p:sp>
      <p:sp>
        <p:nvSpPr>
          <p:cNvPr id="26" name="Rectangle 18">
            <a:extLst>
              <a:ext uri="{FF2B5EF4-FFF2-40B4-BE49-F238E27FC236}">
                <a16:creationId xmlns:a16="http://schemas.microsoft.com/office/drawing/2014/main" id="{AEE1EF89-8044-DCF8-01FB-5F96D7A03A6F}"/>
              </a:ext>
            </a:extLst>
          </p:cNvPr>
          <p:cNvSpPr>
            <a:spLocks noChangeArrowheads="1"/>
          </p:cNvSpPr>
          <p:nvPr/>
        </p:nvSpPr>
        <p:spPr bwMode="auto">
          <a:xfrm>
            <a:off x="9044965" y="3482907"/>
            <a:ext cx="2613634" cy="1075935"/>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6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Investigator Choice Platinum Doublet CT + Beva</a:t>
            </a:r>
          </a:p>
        </p:txBody>
      </p:sp>
      <p:sp>
        <p:nvSpPr>
          <p:cNvPr id="28" name="TextBox 27">
            <a:extLst>
              <a:ext uri="{FF2B5EF4-FFF2-40B4-BE49-F238E27FC236}">
                <a16:creationId xmlns:a16="http://schemas.microsoft.com/office/drawing/2014/main" id="{F232EFB2-322B-D347-53F4-1F595D6FFE4B}"/>
              </a:ext>
            </a:extLst>
          </p:cNvPr>
          <p:cNvSpPr txBox="1"/>
          <p:nvPr/>
        </p:nvSpPr>
        <p:spPr>
          <a:xfrm>
            <a:off x="8252521" y="2159422"/>
            <a:ext cx="503068"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vs</a:t>
            </a:r>
          </a:p>
        </p:txBody>
      </p:sp>
      <p:sp>
        <p:nvSpPr>
          <p:cNvPr id="29" name="TextBox 28">
            <a:extLst>
              <a:ext uri="{FF2B5EF4-FFF2-40B4-BE49-F238E27FC236}">
                <a16:creationId xmlns:a16="http://schemas.microsoft.com/office/drawing/2014/main" id="{D210CCCC-7D50-22E9-A3D3-12DEF7DA4315}"/>
              </a:ext>
            </a:extLst>
          </p:cNvPr>
          <p:cNvSpPr txBox="1"/>
          <p:nvPr/>
        </p:nvSpPr>
        <p:spPr>
          <a:xfrm>
            <a:off x="8336232" y="3880141"/>
            <a:ext cx="503068"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cs typeface="+mn-cs"/>
              </a:rPr>
              <a:t>vs</a:t>
            </a:r>
          </a:p>
        </p:txBody>
      </p:sp>
      <p:sp>
        <p:nvSpPr>
          <p:cNvPr id="30" name="TextBox 29">
            <a:extLst>
              <a:ext uri="{FF2B5EF4-FFF2-40B4-BE49-F238E27FC236}">
                <a16:creationId xmlns:a16="http://schemas.microsoft.com/office/drawing/2014/main" id="{588852F6-9E22-B49B-C6CC-E8D0A93C643A}"/>
              </a:ext>
            </a:extLst>
          </p:cNvPr>
          <p:cNvSpPr txBox="1"/>
          <p:nvPr/>
        </p:nvSpPr>
        <p:spPr>
          <a:xfrm>
            <a:off x="191344" y="6442545"/>
            <a:ext cx="9459032"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https://clinicaltrials.gov/ct2/show/NCT07213804. Accessed April 2026.</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Tree>
    <p:extLst>
      <p:ext uri="{BB962C8B-B14F-4D97-AF65-F5344CB8AC3E}">
        <p14:creationId xmlns:p14="http://schemas.microsoft.com/office/powerpoint/2010/main" val="634660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FF291D-576A-9CAB-3EEF-01465054365D}"/>
            </a:ext>
          </a:extLst>
        </p:cNvPr>
        <p:cNvGrpSpPr/>
        <p:nvPr/>
      </p:nvGrpSpPr>
      <p:grpSpPr>
        <a:xfrm>
          <a:off x="0" y="0"/>
          <a:ext cx="0" cy="0"/>
          <a:chOff x="0" y="0"/>
          <a:chExt cx="0" cy="0"/>
        </a:xfrm>
      </p:grpSpPr>
      <p:cxnSp>
        <p:nvCxnSpPr>
          <p:cNvPr id="6" name="Straight Connector 10">
            <a:extLst>
              <a:ext uri="{FF2B5EF4-FFF2-40B4-BE49-F238E27FC236}">
                <a16:creationId xmlns:a16="http://schemas.microsoft.com/office/drawing/2014/main" id="{5F419F18-02E9-956B-3C83-90DC0D332662}"/>
              </a:ext>
            </a:extLst>
          </p:cNvPr>
          <p:cNvCxnSpPr>
            <a:cxnSpLocks noChangeShapeType="1"/>
          </p:cNvCxnSpPr>
          <p:nvPr/>
        </p:nvCxnSpPr>
        <p:spPr bwMode="auto">
          <a:xfrm>
            <a:off x="6335228" y="3691473"/>
            <a:ext cx="457200" cy="0"/>
          </a:xfrm>
          <a:prstGeom prst="line">
            <a:avLst/>
          </a:prstGeom>
          <a:noFill/>
          <a:ln w="19050" cmpd="sng">
            <a:solidFill>
              <a:schemeClr val="tx1"/>
            </a:solidFill>
            <a:round/>
            <a:headEnd/>
            <a:tailEnd/>
          </a:ln>
          <a:extLst>
            <a:ext uri="{909E8E84-426E-40DD-AFC4-6F175D3DCCD1}">
              <a14:hiddenFill xmlns:a14="http://schemas.microsoft.com/office/drawing/2010/main">
                <a:noFill/>
              </a14:hiddenFill>
            </a:ext>
          </a:extLst>
        </p:spPr>
      </p:cxnSp>
      <p:cxnSp>
        <p:nvCxnSpPr>
          <p:cNvPr id="21" name="Straight Arrow Connector 20">
            <a:extLst>
              <a:ext uri="{FF2B5EF4-FFF2-40B4-BE49-F238E27FC236}">
                <a16:creationId xmlns:a16="http://schemas.microsoft.com/office/drawing/2014/main" id="{48639F53-AEF7-0DE0-49BD-BDEF42C587AF}"/>
              </a:ext>
            </a:extLst>
          </p:cNvPr>
          <p:cNvCxnSpPr>
            <a:cxnSpLocks/>
          </p:cNvCxnSpPr>
          <p:nvPr/>
        </p:nvCxnSpPr>
        <p:spPr bwMode="auto">
          <a:xfrm flipV="1">
            <a:off x="7188291" y="2983450"/>
            <a:ext cx="0" cy="1410527"/>
          </a:xfrm>
          <a:prstGeom prst="straightConnector1">
            <a:avLst/>
          </a:prstGeom>
          <a:ln w="19050"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A7F5855-0BD1-3CE1-79A2-FBFD427B2189}"/>
              </a:ext>
            </a:extLst>
          </p:cNvPr>
          <p:cNvSpPr>
            <a:spLocks noGrp="1"/>
          </p:cNvSpPr>
          <p:nvPr>
            <p:ph type="title"/>
          </p:nvPr>
        </p:nvSpPr>
        <p:spPr/>
        <p:txBody>
          <a:bodyPr/>
          <a:lstStyle/>
          <a:p>
            <a:r>
              <a:rPr lang="en-US" sz="3200" kern="1200" dirty="0">
                <a:solidFill>
                  <a:srgbClr val="0432FF"/>
                </a:solidFill>
                <a:latin typeface="Calibri" panose="020F0502020204030204" pitchFamily="34" charset="0"/>
                <a:cs typeface="Calibri" panose="020F0502020204030204" pitchFamily="34" charset="0"/>
              </a:rPr>
              <a:t>Phase III RAINFOL-04</a:t>
            </a:r>
            <a:endParaRPr lang="en-GB" sz="3200" b="1" dirty="0"/>
          </a:p>
        </p:txBody>
      </p:sp>
      <p:sp>
        <p:nvSpPr>
          <p:cNvPr id="8" name="TextBox 7">
            <a:extLst>
              <a:ext uri="{FF2B5EF4-FFF2-40B4-BE49-F238E27FC236}">
                <a16:creationId xmlns:a16="http://schemas.microsoft.com/office/drawing/2014/main" id="{EE8AB821-BCBF-684F-D398-F5ADC6875FDD}"/>
              </a:ext>
            </a:extLst>
          </p:cNvPr>
          <p:cNvSpPr txBox="1"/>
          <p:nvPr/>
        </p:nvSpPr>
        <p:spPr>
          <a:xfrm>
            <a:off x="191344" y="5809319"/>
            <a:ext cx="10216767" cy="415498"/>
          </a:xfrm>
          <a:prstGeom prst="rect">
            <a:avLst/>
          </a:prstGeom>
          <a:noFill/>
        </p:spPr>
        <p:txBody>
          <a:bodyPr wrap="square" rtlCol="0">
            <a:spAutoFit/>
          </a:bodyPr>
          <a:lstStyle/>
          <a:p>
            <a:pPr marL="0" marR="0" lvl="0" indent="0" algn="l" defTabSz="455613" rtl="0" eaLnBrk="1" fontAlgn="base" latinLnBrk="0" hangingPunct="1">
              <a:lnSpc>
                <a:spcPct val="100000"/>
              </a:lnSpc>
              <a:spcBef>
                <a:spcPts val="300"/>
              </a:spcBef>
              <a:spcAft>
                <a:spcPts val="30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Primary endpoint: </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Progression-free survival </a:t>
            </a:r>
          </a:p>
        </p:txBody>
      </p:sp>
      <p:graphicFrame>
        <p:nvGraphicFramePr>
          <p:cNvPr id="15" name="Group 31">
            <a:extLst>
              <a:ext uri="{FF2B5EF4-FFF2-40B4-BE49-F238E27FC236}">
                <a16:creationId xmlns:a16="http://schemas.microsoft.com/office/drawing/2014/main" id="{F0303618-3B70-7A21-445C-6F5B020AB1EE}"/>
              </a:ext>
            </a:extLst>
          </p:cNvPr>
          <p:cNvGraphicFramePr>
            <a:graphicFrameLocks noGrp="1"/>
          </p:cNvGraphicFramePr>
          <p:nvPr/>
        </p:nvGraphicFramePr>
        <p:xfrm>
          <a:off x="1972520" y="2563640"/>
          <a:ext cx="4410178" cy="2273962"/>
        </p:xfrm>
        <a:graphic>
          <a:graphicData uri="http://schemas.openxmlformats.org/drawingml/2006/table">
            <a:tbl>
              <a:tblPr/>
              <a:tblGrid>
                <a:gridCol w="4410178">
                  <a:extLst>
                    <a:ext uri="{9D8B030D-6E8A-4147-A177-3AD203B41FA5}">
                      <a16:colId xmlns:a16="http://schemas.microsoft.com/office/drawing/2014/main" val="20000"/>
                    </a:ext>
                  </a:extLst>
                </a:gridCol>
              </a:tblGrid>
              <a:tr h="283748">
                <a:tc>
                  <a:txBody>
                    <a:bodyPr/>
                    <a:lstStyle/>
                    <a:p>
                      <a:pPr marL="0" marR="0" lvl="0" indent="0" algn="l" defTabSz="914400" rtl="0" eaLnBrk="1" fontAlgn="base" latinLnBrk="0" hangingPunct="1">
                        <a:lnSpc>
                          <a:spcPct val="100000"/>
                        </a:lnSpc>
                        <a:spcBef>
                          <a:spcPts val="1200"/>
                        </a:spcBef>
                        <a:spcAft>
                          <a:spcPct val="0"/>
                        </a:spcAft>
                        <a:buClrTx/>
                        <a:buSzTx/>
                        <a:buFontTx/>
                        <a:buNone/>
                        <a:tabLst/>
                      </a:pPr>
                      <a:r>
                        <a:rPr kumimoji="0" lang="en-US" sz="2000" b="1" i="0" u="none" strike="noStrike" cap="none" normalizeH="0" baseline="0" dirty="0">
                          <a:ln>
                            <a:noFill/>
                          </a:ln>
                          <a:solidFill>
                            <a:schemeClr val="bg1"/>
                          </a:solidFill>
                          <a:effectLst/>
                          <a:latin typeface="Calibri" panose="020F0502020204030204" pitchFamily="34" charset="0"/>
                          <a:ea typeface="Calibri" charset="0"/>
                          <a:cs typeface="Calibri" panose="020F0502020204030204" pitchFamily="34" charset="0"/>
                        </a:rPr>
                        <a:t>Estimated enrollment N = 1080</a:t>
                      </a:r>
                    </a:p>
                  </a:txBody>
                  <a:tcPr marL="68580" marR="68580" marT="34308" marB="343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92F5D"/>
                    </a:solidFill>
                  </a:tcPr>
                </a:tc>
                <a:extLst>
                  <a:ext uri="{0D108BD9-81ED-4DB2-BD59-A6C34878D82A}">
                    <a16:rowId xmlns:a16="http://schemas.microsoft.com/office/drawing/2014/main" val="10000"/>
                  </a:ext>
                </a:extLst>
              </a:tr>
              <a:tr h="1900546">
                <a:tc>
                  <a:txBody>
                    <a:bodyPr/>
                    <a:lstStyle/>
                    <a:p>
                      <a:pPr marL="177800" marR="0" lvl="0" indent="-177800" algn="l" defTabSz="914400" rtl="0" eaLnBrk="1" fontAlgn="base" latinLnBrk="0" hangingPunct="1">
                        <a:lnSpc>
                          <a:spcPct val="100000"/>
                        </a:lnSpc>
                        <a:spcBef>
                          <a:spcPts val="600"/>
                        </a:spcBef>
                        <a:spcAft>
                          <a:spcPts val="600"/>
                        </a:spcAft>
                        <a:buClrTx/>
                        <a:buSzTx/>
                        <a:buFont typeface="Arial"/>
                        <a:buChar char="•"/>
                        <a:tabLst/>
                        <a:defRPr/>
                      </a:pPr>
                      <a:r>
                        <a:rPr kumimoji="0" lang="en-US" sz="2000" b="0" i="0" u="none" strike="noStrike" cap="none" normalizeH="0" baseline="0" dirty="0">
                          <a:ln>
                            <a:noFill/>
                          </a:ln>
                          <a:solidFill>
                            <a:schemeClr val="bg1"/>
                          </a:solidFill>
                          <a:effectLst/>
                          <a:latin typeface="Calibri" panose="020F0502020204030204" pitchFamily="34" charset="0"/>
                          <a:ea typeface="Calibri" charset="0"/>
                          <a:cs typeface="Calibri" panose="020F0502020204030204" pitchFamily="34" charset="0"/>
                        </a:rPr>
                        <a:t>High-grade ovarian, primary peritoneal or fallopian tube cancer</a:t>
                      </a:r>
                    </a:p>
                    <a:p>
                      <a:pPr marL="177800" marR="0" lvl="0" indent="-177800" algn="l" defTabSz="914400" rtl="0" eaLnBrk="1" fontAlgn="base" latinLnBrk="0" hangingPunct="1">
                        <a:lnSpc>
                          <a:spcPct val="100000"/>
                        </a:lnSpc>
                        <a:spcBef>
                          <a:spcPts val="600"/>
                        </a:spcBef>
                        <a:spcAft>
                          <a:spcPts val="600"/>
                        </a:spcAft>
                        <a:buClrTx/>
                        <a:buSzTx/>
                        <a:buFont typeface="Arial"/>
                        <a:buChar char="•"/>
                        <a:tabLst/>
                        <a:defRPr/>
                      </a:pPr>
                      <a:r>
                        <a:rPr kumimoji="0" lang="en-US" sz="2000" b="0" i="0" u="none" strike="noStrike" cap="none" normalizeH="0" baseline="0" dirty="0">
                          <a:ln>
                            <a:noFill/>
                          </a:ln>
                          <a:solidFill>
                            <a:schemeClr val="bg1"/>
                          </a:solidFill>
                          <a:effectLst/>
                          <a:latin typeface="Calibri" panose="020F0502020204030204" pitchFamily="34" charset="0"/>
                          <a:ea typeface="Calibri" charset="0"/>
                          <a:cs typeface="Calibri" panose="020F0502020204030204" pitchFamily="34" charset="0"/>
                        </a:rPr>
                        <a:t>Recurrent PSOC </a:t>
                      </a:r>
                    </a:p>
                    <a:p>
                      <a:pPr marL="177800" marR="0" lvl="0" indent="-177800" algn="l" defTabSz="914400" rtl="0" eaLnBrk="1" fontAlgn="base" latinLnBrk="0" hangingPunct="1">
                        <a:lnSpc>
                          <a:spcPct val="100000"/>
                        </a:lnSpc>
                        <a:spcBef>
                          <a:spcPts val="600"/>
                        </a:spcBef>
                        <a:spcAft>
                          <a:spcPts val="600"/>
                        </a:spcAft>
                        <a:buClrTx/>
                        <a:buSzTx/>
                        <a:buFont typeface="Arial"/>
                        <a:buChar char="•"/>
                        <a:tabLst/>
                        <a:defRPr/>
                      </a:pPr>
                      <a:r>
                        <a:rPr kumimoji="0" lang="en-US" sz="2000" b="0" i="0" u="none" strike="noStrike" cap="none" normalizeH="0" baseline="0" dirty="0">
                          <a:ln>
                            <a:noFill/>
                          </a:ln>
                          <a:solidFill>
                            <a:schemeClr val="bg1"/>
                          </a:solidFill>
                          <a:effectLst/>
                          <a:latin typeface="Calibri" panose="020F0502020204030204" pitchFamily="34" charset="0"/>
                          <a:ea typeface="Calibri" charset="0"/>
                          <a:cs typeface="Calibri" panose="020F0502020204030204" pitchFamily="34" charset="0"/>
                        </a:rPr>
                        <a:t>2L platinum-based CT</a:t>
                      </a:r>
                    </a:p>
                  </a:txBody>
                  <a:tcPr marL="68580" marR="68580" marT="34308" marB="343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5696"/>
                    </a:solidFill>
                  </a:tcPr>
                </a:tc>
                <a:extLst>
                  <a:ext uri="{0D108BD9-81ED-4DB2-BD59-A6C34878D82A}">
                    <a16:rowId xmlns:a16="http://schemas.microsoft.com/office/drawing/2014/main" val="10001"/>
                  </a:ext>
                </a:extLst>
              </a:tr>
            </a:tbl>
          </a:graphicData>
        </a:graphic>
      </p:graphicFrame>
      <p:sp>
        <p:nvSpPr>
          <p:cNvPr id="17" name="Rectangle 18">
            <a:extLst>
              <a:ext uri="{FF2B5EF4-FFF2-40B4-BE49-F238E27FC236}">
                <a16:creationId xmlns:a16="http://schemas.microsoft.com/office/drawing/2014/main" id="{5F38D22A-D4B5-4C30-08F1-D525A5E16D98}"/>
              </a:ext>
            </a:extLst>
          </p:cNvPr>
          <p:cNvSpPr>
            <a:spLocks noChangeArrowheads="1"/>
          </p:cNvSpPr>
          <p:nvPr/>
        </p:nvSpPr>
        <p:spPr bwMode="auto">
          <a:xfrm>
            <a:off x="8014392" y="2306391"/>
            <a:ext cx="1856676" cy="1075935"/>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6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RINA-S + </a:t>
            </a:r>
          </a:p>
          <a:p>
            <a:pPr marL="0" marR="0" lvl="0" indent="0" algn="ctr" defTabSz="455613" rtl="0" eaLnBrk="1" fontAlgn="base" latinLnBrk="0" hangingPunct="1">
              <a:lnSpc>
                <a:spcPct val="100000"/>
              </a:lnSpc>
              <a:spcBef>
                <a:spcPct val="0"/>
              </a:spcBef>
              <a:spcAft>
                <a:spcPts val="6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BEVA</a:t>
            </a:r>
          </a:p>
        </p:txBody>
      </p:sp>
      <p:grpSp>
        <p:nvGrpSpPr>
          <p:cNvPr id="18" name="Group 17">
            <a:extLst>
              <a:ext uri="{FF2B5EF4-FFF2-40B4-BE49-F238E27FC236}">
                <a16:creationId xmlns:a16="http://schemas.microsoft.com/office/drawing/2014/main" id="{DCDF1173-FD93-8889-4E22-F247426A2A48}"/>
              </a:ext>
            </a:extLst>
          </p:cNvPr>
          <p:cNvGrpSpPr>
            <a:grpSpLocks/>
          </p:cNvGrpSpPr>
          <p:nvPr/>
        </p:nvGrpSpPr>
        <p:grpSpPr bwMode="auto">
          <a:xfrm>
            <a:off x="6746390" y="3224223"/>
            <a:ext cx="914400" cy="914400"/>
            <a:chOff x="1891" y="3189"/>
            <a:chExt cx="576" cy="576"/>
          </a:xfrm>
        </p:grpSpPr>
        <p:sp>
          <p:nvSpPr>
            <p:cNvPr id="19" name="Oval 18">
              <a:extLst>
                <a:ext uri="{FF2B5EF4-FFF2-40B4-BE49-F238E27FC236}">
                  <a16:creationId xmlns:a16="http://schemas.microsoft.com/office/drawing/2014/main" id="{371007A3-1C7B-6EBF-6A4A-7204725D00E6}"/>
                </a:ext>
              </a:extLst>
            </p:cNvPr>
            <p:cNvSpPr>
              <a:spLocks noChangeArrowheads="1"/>
            </p:cNvSpPr>
            <p:nvPr/>
          </p:nvSpPr>
          <p:spPr bwMode="auto">
            <a:xfrm>
              <a:off x="1891" y="3189"/>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l" defTabSz="455613"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333399"/>
                </a:solidFill>
                <a:effectLst/>
                <a:uLnTx/>
                <a:uFillTx/>
                <a:latin typeface="Calibri" panose="020F0502020204030204" pitchFamily="34" charset="0"/>
                <a:ea typeface="Arial" charset="0"/>
                <a:cs typeface="Calibri" panose="020F0502020204030204" pitchFamily="34" charset="0"/>
              </a:endParaRPr>
            </a:p>
          </p:txBody>
        </p:sp>
        <p:sp>
          <p:nvSpPr>
            <p:cNvPr id="20" name="Rectangle 19">
              <a:extLst>
                <a:ext uri="{FF2B5EF4-FFF2-40B4-BE49-F238E27FC236}">
                  <a16:creationId xmlns:a16="http://schemas.microsoft.com/office/drawing/2014/main" id="{1E9C2E2C-A426-90D5-E084-EA9734B9883A}"/>
                </a:ext>
              </a:extLst>
            </p:cNvPr>
            <p:cNvSpPr>
              <a:spLocks noChangeArrowheads="1"/>
            </p:cNvSpPr>
            <p:nvPr/>
          </p:nvSpPr>
          <p:spPr bwMode="auto">
            <a:xfrm>
              <a:off x="1920" y="3250"/>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ctr" defTabSz="455613"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rPr>
                <a:t>R</a:t>
              </a:r>
            </a:p>
          </p:txBody>
        </p:sp>
      </p:grpSp>
      <p:sp>
        <p:nvSpPr>
          <p:cNvPr id="30" name="TextBox 29">
            <a:extLst>
              <a:ext uri="{FF2B5EF4-FFF2-40B4-BE49-F238E27FC236}">
                <a16:creationId xmlns:a16="http://schemas.microsoft.com/office/drawing/2014/main" id="{EE5779D0-6D95-CFF4-9153-5D18DB392297}"/>
              </a:ext>
            </a:extLst>
          </p:cNvPr>
          <p:cNvSpPr txBox="1"/>
          <p:nvPr/>
        </p:nvSpPr>
        <p:spPr>
          <a:xfrm>
            <a:off x="191344" y="6483294"/>
            <a:ext cx="9459032"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https://clinicaltrials.gov/ct2/show/NCT07225270. Accessed April 2026.</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
        <p:nvSpPr>
          <p:cNvPr id="3" name="Rectangle 18">
            <a:extLst>
              <a:ext uri="{FF2B5EF4-FFF2-40B4-BE49-F238E27FC236}">
                <a16:creationId xmlns:a16="http://schemas.microsoft.com/office/drawing/2014/main" id="{C6A135CD-7296-96B7-74CF-2F3A7333B6F8}"/>
              </a:ext>
            </a:extLst>
          </p:cNvPr>
          <p:cNvSpPr>
            <a:spLocks noChangeArrowheads="1"/>
          </p:cNvSpPr>
          <p:nvPr/>
        </p:nvSpPr>
        <p:spPr bwMode="auto">
          <a:xfrm>
            <a:off x="8024483" y="3805219"/>
            <a:ext cx="1856676" cy="1075935"/>
          </a:xfrm>
          <a:prstGeom prst="rect">
            <a:avLst/>
          </a:prstGeom>
          <a:solidFill>
            <a:srgbClr val="FFFF00"/>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6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BEVA</a:t>
            </a:r>
          </a:p>
        </p:txBody>
      </p:sp>
      <p:sp>
        <p:nvSpPr>
          <p:cNvPr id="5" name="TextBox 4">
            <a:extLst>
              <a:ext uri="{FF2B5EF4-FFF2-40B4-BE49-F238E27FC236}">
                <a16:creationId xmlns:a16="http://schemas.microsoft.com/office/drawing/2014/main" id="{F25C5EA2-BA3B-CBE1-37BB-3B2495FBD268}"/>
              </a:ext>
            </a:extLst>
          </p:cNvPr>
          <p:cNvSpPr txBox="1"/>
          <p:nvPr/>
        </p:nvSpPr>
        <p:spPr>
          <a:xfrm>
            <a:off x="8024483" y="1883498"/>
            <a:ext cx="3608141"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ＭＳ Ｐゴシック" charset="0"/>
                <a:cs typeface="+mn-cs"/>
              </a:rPr>
              <a:t>(Maintenance)</a:t>
            </a:r>
          </a:p>
        </p:txBody>
      </p:sp>
      <p:cxnSp>
        <p:nvCxnSpPr>
          <p:cNvPr id="22" name="Straight Arrow Connector 21">
            <a:extLst>
              <a:ext uri="{FF2B5EF4-FFF2-40B4-BE49-F238E27FC236}">
                <a16:creationId xmlns:a16="http://schemas.microsoft.com/office/drawing/2014/main" id="{53BF9840-E62D-55FE-CE41-CDFE77764587}"/>
              </a:ext>
            </a:extLst>
          </p:cNvPr>
          <p:cNvCxnSpPr/>
          <p:nvPr/>
        </p:nvCxnSpPr>
        <p:spPr bwMode="auto">
          <a:xfrm>
            <a:off x="7188291" y="2983450"/>
            <a:ext cx="529940"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3A8053E-7D05-2E18-AB6A-8CCBB56C4F65}"/>
              </a:ext>
            </a:extLst>
          </p:cNvPr>
          <p:cNvCxnSpPr/>
          <p:nvPr/>
        </p:nvCxnSpPr>
        <p:spPr bwMode="auto">
          <a:xfrm>
            <a:off x="7188291" y="4393977"/>
            <a:ext cx="529940"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4701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00DC4A-8399-56F5-EDA9-686F148C1B08}"/>
            </a:ext>
          </a:extLst>
        </p:cNvPr>
        <p:cNvGrpSpPr/>
        <p:nvPr/>
      </p:nvGrpSpPr>
      <p:grpSpPr>
        <a:xfrm>
          <a:off x="0" y="0"/>
          <a:ext cx="0" cy="0"/>
          <a:chOff x="0" y="0"/>
          <a:chExt cx="0" cy="0"/>
        </a:xfrm>
      </p:grpSpPr>
      <p:cxnSp>
        <p:nvCxnSpPr>
          <p:cNvPr id="6" name="Straight Connector 10">
            <a:extLst>
              <a:ext uri="{FF2B5EF4-FFF2-40B4-BE49-F238E27FC236}">
                <a16:creationId xmlns:a16="http://schemas.microsoft.com/office/drawing/2014/main" id="{439BC990-86ED-C93F-1C93-AEDD35D5BB07}"/>
              </a:ext>
            </a:extLst>
          </p:cNvPr>
          <p:cNvCxnSpPr>
            <a:cxnSpLocks noChangeShapeType="1"/>
          </p:cNvCxnSpPr>
          <p:nvPr/>
        </p:nvCxnSpPr>
        <p:spPr bwMode="auto">
          <a:xfrm>
            <a:off x="6335228" y="3691473"/>
            <a:ext cx="457200" cy="0"/>
          </a:xfrm>
          <a:prstGeom prst="line">
            <a:avLst/>
          </a:prstGeom>
          <a:noFill/>
          <a:ln w="19050" cmpd="sng">
            <a:solidFill>
              <a:schemeClr val="tx1"/>
            </a:solidFill>
            <a:round/>
            <a:headEnd/>
            <a:tailEnd/>
          </a:ln>
          <a:extLst>
            <a:ext uri="{909E8E84-426E-40DD-AFC4-6F175D3DCCD1}">
              <a14:hiddenFill xmlns:a14="http://schemas.microsoft.com/office/drawing/2010/main">
                <a:noFill/>
              </a14:hiddenFill>
            </a:ext>
          </a:extLst>
        </p:spPr>
      </p:cxnSp>
      <p:cxnSp>
        <p:nvCxnSpPr>
          <p:cNvPr id="21" name="Straight Arrow Connector 20">
            <a:extLst>
              <a:ext uri="{FF2B5EF4-FFF2-40B4-BE49-F238E27FC236}">
                <a16:creationId xmlns:a16="http://schemas.microsoft.com/office/drawing/2014/main" id="{737165A7-0D89-024F-A0D8-8165B4002C5B}"/>
              </a:ext>
            </a:extLst>
          </p:cNvPr>
          <p:cNvCxnSpPr>
            <a:cxnSpLocks/>
          </p:cNvCxnSpPr>
          <p:nvPr/>
        </p:nvCxnSpPr>
        <p:spPr bwMode="auto">
          <a:xfrm flipV="1">
            <a:off x="7188291" y="2983450"/>
            <a:ext cx="0" cy="1410527"/>
          </a:xfrm>
          <a:prstGeom prst="straightConnector1">
            <a:avLst/>
          </a:prstGeom>
          <a:ln w="19050"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A4F5261-89BD-7A34-A470-74F1435725DD}"/>
              </a:ext>
            </a:extLst>
          </p:cNvPr>
          <p:cNvSpPr>
            <a:spLocks noGrp="1"/>
          </p:cNvSpPr>
          <p:nvPr>
            <p:ph type="title"/>
          </p:nvPr>
        </p:nvSpPr>
        <p:spPr/>
        <p:txBody>
          <a:bodyPr/>
          <a:lstStyle/>
          <a:p>
            <a:r>
              <a:rPr lang="en-US" sz="3200" kern="1200" dirty="0">
                <a:solidFill>
                  <a:srgbClr val="0432FF"/>
                </a:solidFill>
                <a:latin typeface="Calibri" panose="020F0502020204030204" pitchFamily="34" charset="0"/>
                <a:cs typeface="Calibri" panose="020F0502020204030204" pitchFamily="34" charset="0"/>
              </a:rPr>
              <a:t>Phase III RAINFOL-02</a:t>
            </a:r>
            <a:endParaRPr lang="en-GB" sz="3200" b="1" dirty="0"/>
          </a:p>
        </p:txBody>
      </p:sp>
      <p:sp>
        <p:nvSpPr>
          <p:cNvPr id="8" name="TextBox 7">
            <a:extLst>
              <a:ext uri="{FF2B5EF4-FFF2-40B4-BE49-F238E27FC236}">
                <a16:creationId xmlns:a16="http://schemas.microsoft.com/office/drawing/2014/main" id="{4A4D9F52-2FD6-0B92-67CD-4F89D3EF3F68}"/>
              </a:ext>
            </a:extLst>
          </p:cNvPr>
          <p:cNvSpPr txBox="1"/>
          <p:nvPr/>
        </p:nvSpPr>
        <p:spPr>
          <a:xfrm>
            <a:off x="191344" y="5809319"/>
            <a:ext cx="10216767" cy="415498"/>
          </a:xfrm>
          <a:prstGeom prst="rect">
            <a:avLst/>
          </a:prstGeom>
          <a:noFill/>
        </p:spPr>
        <p:txBody>
          <a:bodyPr wrap="square" rtlCol="0">
            <a:spAutoFit/>
          </a:bodyPr>
          <a:lstStyle/>
          <a:p>
            <a:pPr marL="0" marR="0" lvl="0" indent="0" algn="l" defTabSz="455613" rtl="0" eaLnBrk="1" fontAlgn="base" latinLnBrk="0" hangingPunct="1">
              <a:lnSpc>
                <a:spcPct val="100000"/>
              </a:lnSpc>
              <a:spcBef>
                <a:spcPts val="300"/>
              </a:spcBef>
              <a:spcAft>
                <a:spcPts val="30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Primary endpoint: </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Progression-free survival </a:t>
            </a:r>
          </a:p>
        </p:txBody>
      </p:sp>
      <p:graphicFrame>
        <p:nvGraphicFramePr>
          <p:cNvPr id="15" name="Group 31">
            <a:extLst>
              <a:ext uri="{FF2B5EF4-FFF2-40B4-BE49-F238E27FC236}">
                <a16:creationId xmlns:a16="http://schemas.microsoft.com/office/drawing/2014/main" id="{AF99F519-F617-4F46-2DE5-4FC366E0E30D}"/>
              </a:ext>
            </a:extLst>
          </p:cNvPr>
          <p:cNvGraphicFramePr>
            <a:graphicFrameLocks noGrp="1"/>
          </p:cNvGraphicFramePr>
          <p:nvPr/>
        </p:nvGraphicFramePr>
        <p:xfrm>
          <a:off x="1972520" y="2563640"/>
          <a:ext cx="4410178" cy="2273962"/>
        </p:xfrm>
        <a:graphic>
          <a:graphicData uri="http://schemas.openxmlformats.org/drawingml/2006/table">
            <a:tbl>
              <a:tblPr/>
              <a:tblGrid>
                <a:gridCol w="4410178">
                  <a:extLst>
                    <a:ext uri="{9D8B030D-6E8A-4147-A177-3AD203B41FA5}">
                      <a16:colId xmlns:a16="http://schemas.microsoft.com/office/drawing/2014/main" val="20000"/>
                    </a:ext>
                  </a:extLst>
                </a:gridCol>
              </a:tblGrid>
              <a:tr h="283748">
                <a:tc>
                  <a:txBody>
                    <a:bodyPr/>
                    <a:lstStyle/>
                    <a:p>
                      <a:pPr marL="0" marR="0" lvl="0" indent="0" algn="l" defTabSz="914400" rtl="0" eaLnBrk="1" fontAlgn="base" latinLnBrk="0" hangingPunct="1">
                        <a:lnSpc>
                          <a:spcPct val="100000"/>
                        </a:lnSpc>
                        <a:spcBef>
                          <a:spcPts val="1200"/>
                        </a:spcBef>
                        <a:spcAft>
                          <a:spcPct val="0"/>
                        </a:spcAft>
                        <a:buClrTx/>
                        <a:buSzTx/>
                        <a:buFontTx/>
                        <a:buNone/>
                        <a:tabLst/>
                      </a:pPr>
                      <a:r>
                        <a:rPr kumimoji="0" lang="en-US" sz="2000" b="1" i="0" u="none" strike="noStrike" cap="none" normalizeH="0" baseline="0" dirty="0">
                          <a:ln>
                            <a:noFill/>
                          </a:ln>
                          <a:solidFill>
                            <a:schemeClr val="bg1"/>
                          </a:solidFill>
                          <a:effectLst/>
                          <a:latin typeface="Calibri" panose="020F0502020204030204" pitchFamily="34" charset="0"/>
                          <a:ea typeface="Calibri" charset="0"/>
                          <a:cs typeface="Calibri" panose="020F0502020204030204" pitchFamily="34" charset="0"/>
                        </a:rPr>
                        <a:t>Estimated enrollment N = 1080</a:t>
                      </a:r>
                    </a:p>
                  </a:txBody>
                  <a:tcPr marL="68580" marR="68580" marT="34308" marB="343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92F5D"/>
                    </a:solidFill>
                  </a:tcPr>
                </a:tc>
                <a:extLst>
                  <a:ext uri="{0D108BD9-81ED-4DB2-BD59-A6C34878D82A}">
                    <a16:rowId xmlns:a16="http://schemas.microsoft.com/office/drawing/2014/main" val="10000"/>
                  </a:ext>
                </a:extLst>
              </a:tr>
              <a:tr h="1900546">
                <a:tc>
                  <a:txBody>
                    <a:bodyPr/>
                    <a:lstStyle/>
                    <a:p>
                      <a:pPr marL="177800" marR="0" lvl="0" indent="-177800" algn="l" defTabSz="914400" rtl="0" eaLnBrk="1" fontAlgn="base" latinLnBrk="0" hangingPunct="1">
                        <a:lnSpc>
                          <a:spcPct val="100000"/>
                        </a:lnSpc>
                        <a:spcBef>
                          <a:spcPts val="600"/>
                        </a:spcBef>
                        <a:spcAft>
                          <a:spcPts val="600"/>
                        </a:spcAft>
                        <a:buClrTx/>
                        <a:buSzTx/>
                        <a:buFont typeface="Arial"/>
                        <a:buChar char="•"/>
                        <a:tabLst/>
                        <a:defRPr/>
                      </a:pPr>
                      <a:r>
                        <a:rPr kumimoji="0" lang="en-US" sz="2000" b="0" i="0" u="none" strike="noStrike" cap="none" normalizeH="0" baseline="0" dirty="0">
                          <a:ln>
                            <a:noFill/>
                          </a:ln>
                          <a:solidFill>
                            <a:schemeClr val="bg1"/>
                          </a:solidFill>
                          <a:effectLst/>
                          <a:latin typeface="Calibri" panose="020F0502020204030204" pitchFamily="34" charset="0"/>
                          <a:ea typeface="Calibri" charset="0"/>
                          <a:cs typeface="Calibri" panose="020F0502020204030204" pitchFamily="34" charset="0"/>
                        </a:rPr>
                        <a:t>High-grade ovarian, primary peritoneal or fallopian tube cancer</a:t>
                      </a:r>
                    </a:p>
                    <a:p>
                      <a:pPr marL="177800" marR="0" lvl="0" indent="-177800" algn="l" defTabSz="914400" rtl="0" eaLnBrk="1" fontAlgn="base" latinLnBrk="0" hangingPunct="1">
                        <a:lnSpc>
                          <a:spcPct val="100000"/>
                        </a:lnSpc>
                        <a:spcBef>
                          <a:spcPts val="600"/>
                        </a:spcBef>
                        <a:spcAft>
                          <a:spcPts val="600"/>
                        </a:spcAft>
                        <a:buClrTx/>
                        <a:buSzTx/>
                        <a:buFont typeface="Arial"/>
                        <a:buChar char="•"/>
                        <a:tabLst/>
                        <a:defRPr/>
                      </a:pPr>
                      <a:r>
                        <a:rPr kumimoji="0" lang="en-US" sz="2000" b="0" i="0" u="none" strike="noStrike" cap="none" normalizeH="0" baseline="0" dirty="0">
                          <a:ln>
                            <a:noFill/>
                          </a:ln>
                          <a:solidFill>
                            <a:schemeClr val="bg1"/>
                          </a:solidFill>
                          <a:effectLst/>
                          <a:latin typeface="Calibri" panose="020F0502020204030204" pitchFamily="34" charset="0"/>
                          <a:ea typeface="Calibri" charset="0"/>
                          <a:cs typeface="Calibri" panose="020F0502020204030204" pitchFamily="34" charset="0"/>
                        </a:rPr>
                        <a:t>Recurrent PROC</a:t>
                      </a:r>
                    </a:p>
                  </a:txBody>
                  <a:tcPr marL="68580" marR="68580" marT="34308" marB="343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5696"/>
                    </a:solidFill>
                  </a:tcPr>
                </a:tc>
                <a:extLst>
                  <a:ext uri="{0D108BD9-81ED-4DB2-BD59-A6C34878D82A}">
                    <a16:rowId xmlns:a16="http://schemas.microsoft.com/office/drawing/2014/main" val="10001"/>
                  </a:ext>
                </a:extLst>
              </a:tr>
            </a:tbl>
          </a:graphicData>
        </a:graphic>
      </p:graphicFrame>
      <p:sp>
        <p:nvSpPr>
          <p:cNvPr id="17" name="Rectangle 18">
            <a:extLst>
              <a:ext uri="{FF2B5EF4-FFF2-40B4-BE49-F238E27FC236}">
                <a16:creationId xmlns:a16="http://schemas.microsoft.com/office/drawing/2014/main" id="{BBA63477-6347-DECD-6171-11B788BA9B84}"/>
              </a:ext>
            </a:extLst>
          </p:cNvPr>
          <p:cNvSpPr>
            <a:spLocks noChangeArrowheads="1"/>
          </p:cNvSpPr>
          <p:nvPr/>
        </p:nvSpPr>
        <p:spPr bwMode="auto">
          <a:xfrm>
            <a:off x="8014392" y="2306391"/>
            <a:ext cx="1856676" cy="1075935"/>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6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RINA-S</a:t>
            </a:r>
          </a:p>
        </p:txBody>
      </p:sp>
      <p:grpSp>
        <p:nvGrpSpPr>
          <p:cNvPr id="18" name="Group 17">
            <a:extLst>
              <a:ext uri="{FF2B5EF4-FFF2-40B4-BE49-F238E27FC236}">
                <a16:creationId xmlns:a16="http://schemas.microsoft.com/office/drawing/2014/main" id="{C94505BE-3C54-0295-399F-7D828D5C86A1}"/>
              </a:ext>
            </a:extLst>
          </p:cNvPr>
          <p:cNvGrpSpPr>
            <a:grpSpLocks/>
          </p:cNvGrpSpPr>
          <p:nvPr/>
        </p:nvGrpSpPr>
        <p:grpSpPr bwMode="auto">
          <a:xfrm>
            <a:off x="6746390" y="3224223"/>
            <a:ext cx="914400" cy="914400"/>
            <a:chOff x="1891" y="3189"/>
            <a:chExt cx="576" cy="576"/>
          </a:xfrm>
        </p:grpSpPr>
        <p:sp>
          <p:nvSpPr>
            <p:cNvPr id="19" name="Oval 18">
              <a:extLst>
                <a:ext uri="{FF2B5EF4-FFF2-40B4-BE49-F238E27FC236}">
                  <a16:creationId xmlns:a16="http://schemas.microsoft.com/office/drawing/2014/main" id="{BCD12598-68FB-487C-97A4-479EEA1E5CCD}"/>
                </a:ext>
              </a:extLst>
            </p:cNvPr>
            <p:cNvSpPr>
              <a:spLocks noChangeArrowheads="1"/>
            </p:cNvSpPr>
            <p:nvPr/>
          </p:nvSpPr>
          <p:spPr bwMode="auto">
            <a:xfrm>
              <a:off x="1891" y="3189"/>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l" defTabSz="455613"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333399"/>
                </a:solidFill>
                <a:effectLst/>
                <a:uLnTx/>
                <a:uFillTx/>
                <a:latin typeface="Calibri" panose="020F0502020204030204" pitchFamily="34" charset="0"/>
                <a:ea typeface="Arial" charset="0"/>
                <a:cs typeface="Calibri" panose="020F0502020204030204" pitchFamily="34" charset="0"/>
              </a:endParaRPr>
            </a:p>
          </p:txBody>
        </p:sp>
        <p:sp>
          <p:nvSpPr>
            <p:cNvPr id="20" name="Rectangle 19">
              <a:extLst>
                <a:ext uri="{FF2B5EF4-FFF2-40B4-BE49-F238E27FC236}">
                  <a16:creationId xmlns:a16="http://schemas.microsoft.com/office/drawing/2014/main" id="{70AFD9D2-FD69-AAD9-53AA-4E54256FF15C}"/>
                </a:ext>
              </a:extLst>
            </p:cNvPr>
            <p:cNvSpPr>
              <a:spLocks noChangeArrowheads="1"/>
            </p:cNvSpPr>
            <p:nvPr/>
          </p:nvSpPr>
          <p:spPr bwMode="auto">
            <a:xfrm>
              <a:off x="1920" y="3250"/>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ctr" defTabSz="455613"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rPr>
                <a:t>R</a:t>
              </a:r>
            </a:p>
          </p:txBody>
        </p:sp>
      </p:grpSp>
      <p:sp>
        <p:nvSpPr>
          <p:cNvPr id="30" name="TextBox 29">
            <a:extLst>
              <a:ext uri="{FF2B5EF4-FFF2-40B4-BE49-F238E27FC236}">
                <a16:creationId xmlns:a16="http://schemas.microsoft.com/office/drawing/2014/main" id="{5351975B-21E9-53EB-910F-EE789C069090}"/>
              </a:ext>
            </a:extLst>
          </p:cNvPr>
          <p:cNvSpPr txBox="1"/>
          <p:nvPr/>
        </p:nvSpPr>
        <p:spPr>
          <a:xfrm>
            <a:off x="191344" y="6483294"/>
            <a:ext cx="9459032"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https://clinicaltrials.gov/ct2/show/NCT06619236. Accessed April 2026.</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
        <p:nvSpPr>
          <p:cNvPr id="3" name="Rectangle 18">
            <a:extLst>
              <a:ext uri="{FF2B5EF4-FFF2-40B4-BE49-F238E27FC236}">
                <a16:creationId xmlns:a16="http://schemas.microsoft.com/office/drawing/2014/main" id="{66956384-1EEE-4CB1-CDA5-7C6D8FCF8118}"/>
              </a:ext>
            </a:extLst>
          </p:cNvPr>
          <p:cNvSpPr>
            <a:spLocks noChangeArrowheads="1"/>
          </p:cNvSpPr>
          <p:nvPr/>
        </p:nvSpPr>
        <p:spPr bwMode="auto">
          <a:xfrm>
            <a:off x="8024483" y="3805219"/>
            <a:ext cx="1856676" cy="1075935"/>
          </a:xfrm>
          <a:prstGeom prst="rect">
            <a:avLst/>
          </a:prstGeom>
          <a:solidFill>
            <a:srgbClr val="FFFF00"/>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ts val="6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Investigator Choice CT</a:t>
            </a:r>
          </a:p>
        </p:txBody>
      </p:sp>
      <p:sp>
        <p:nvSpPr>
          <p:cNvPr id="5" name="TextBox 4">
            <a:extLst>
              <a:ext uri="{FF2B5EF4-FFF2-40B4-BE49-F238E27FC236}">
                <a16:creationId xmlns:a16="http://schemas.microsoft.com/office/drawing/2014/main" id="{07AC5DCB-2DCE-5792-E562-83C4CFCD0380}"/>
              </a:ext>
            </a:extLst>
          </p:cNvPr>
          <p:cNvSpPr txBox="1"/>
          <p:nvPr/>
        </p:nvSpPr>
        <p:spPr>
          <a:xfrm>
            <a:off x="8024483" y="1883498"/>
            <a:ext cx="3608141"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ＭＳ Ｐゴシック" charset="0"/>
                <a:cs typeface="+mn-cs"/>
              </a:rPr>
              <a:t>(Maintenance)</a:t>
            </a:r>
          </a:p>
        </p:txBody>
      </p:sp>
      <p:cxnSp>
        <p:nvCxnSpPr>
          <p:cNvPr id="22" name="Straight Arrow Connector 21">
            <a:extLst>
              <a:ext uri="{FF2B5EF4-FFF2-40B4-BE49-F238E27FC236}">
                <a16:creationId xmlns:a16="http://schemas.microsoft.com/office/drawing/2014/main" id="{16D72868-936E-5630-0732-E874CCD41B2D}"/>
              </a:ext>
            </a:extLst>
          </p:cNvPr>
          <p:cNvCxnSpPr/>
          <p:nvPr/>
        </p:nvCxnSpPr>
        <p:spPr bwMode="auto">
          <a:xfrm>
            <a:off x="7188291" y="2983450"/>
            <a:ext cx="529940"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2E6C6EB-67E6-2367-1F46-78D6511C98E2}"/>
              </a:ext>
            </a:extLst>
          </p:cNvPr>
          <p:cNvCxnSpPr/>
          <p:nvPr/>
        </p:nvCxnSpPr>
        <p:spPr bwMode="auto">
          <a:xfrm>
            <a:off x="7188291" y="4393977"/>
            <a:ext cx="529940"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09039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A6BCA-7369-DCF6-39C3-CDEDD139716F}"/>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6A293666-F48F-1979-D05D-979E5EC5C7D4}"/>
              </a:ext>
            </a:extLst>
          </p:cNvPr>
          <p:cNvSpPr txBox="1">
            <a:spLocks/>
          </p:cNvSpPr>
          <p:nvPr/>
        </p:nvSpPr>
        <p:spPr bwMode="auto">
          <a:xfrm>
            <a:off x="1804861" y="5222732"/>
            <a:ext cx="3636773"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Ursula Matulonis, MD</a:t>
            </a:r>
          </a:p>
        </p:txBody>
      </p:sp>
      <p:pic>
        <p:nvPicPr>
          <p:cNvPr id="9" name="Picture 8" descr="A person wearing headphones and smiling&#10;&#10;AI-generated content may be incorrect.">
            <a:extLst>
              <a:ext uri="{FF2B5EF4-FFF2-40B4-BE49-F238E27FC236}">
                <a16:creationId xmlns:a16="http://schemas.microsoft.com/office/drawing/2014/main" id="{712187B9-550B-7E4E-1B34-86A3861425EF}"/>
              </a:ext>
            </a:extLst>
          </p:cNvPr>
          <p:cNvPicPr>
            <a:picLocks noChangeAspect="1"/>
          </p:cNvPicPr>
          <p:nvPr/>
        </p:nvPicPr>
        <p:blipFill rotWithShape="1">
          <a:blip r:embed="rId2"/>
          <a:srcRect l="21875" r="21875"/>
          <a:stretch>
            <a:fillRect/>
          </a:stretch>
        </p:blipFill>
        <p:spPr>
          <a:xfrm>
            <a:off x="2297368" y="2545118"/>
            <a:ext cx="2651760" cy="2651760"/>
          </a:xfrm>
          <a:prstGeom prst="ellipse">
            <a:avLst/>
          </a:prstGeom>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2E84BB08-5A98-1EB7-42BD-07C7584B8BD5}"/>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0" name="Title 1">
            <a:extLst>
              <a:ext uri="{FF2B5EF4-FFF2-40B4-BE49-F238E27FC236}">
                <a16:creationId xmlns:a16="http://schemas.microsoft.com/office/drawing/2014/main" id="{665AA92D-D588-8FF5-0F66-416B4F9B262A}"/>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14" name="Title 1">
            <a:extLst>
              <a:ext uri="{FF2B5EF4-FFF2-40B4-BE49-F238E27FC236}">
                <a16:creationId xmlns:a16="http://schemas.microsoft.com/office/drawing/2014/main" id="{CE4061E4-4070-C5AE-544A-9570B30A8C7C}"/>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5" name="Picture 14" descr="A person in a white shirt&#10;&#10;AI-generated content may be incorrect.">
            <a:extLst>
              <a:ext uri="{FF2B5EF4-FFF2-40B4-BE49-F238E27FC236}">
                <a16:creationId xmlns:a16="http://schemas.microsoft.com/office/drawing/2014/main" id="{00ECD7B1-E69D-7667-B5CE-44DA937629C1}"/>
              </a:ext>
            </a:extLst>
          </p:cNvPr>
          <p:cNvPicPr>
            <a:picLocks noChangeAspect="1"/>
          </p:cNvPicPr>
          <p:nvPr/>
        </p:nvPicPr>
        <p:blipFill>
          <a:blip r:embed="rId3"/>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95980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DE078-E020-E974-7BC0-08425990561E}"/>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5767256-D8A0-FB63-1D34-43AB72150127}"/>
              </a:ext>
            </a:extLst>
          </p:cNvPr>
          <p:cNvSpPr txBox="1"/>
          <p:nvPr/>
        </p:nvSpPr>
        <p:spPr>
          <a:xfrm>
            <a:off x="974109" y="1261204"/>
            <a:ext cx="10074891" cy="5844677"/>
          </a:xfrm>
          <a:prstGeom prst="rect">
            <a:avLst/>
          </a:prstGeom>
          <a:noFill/>
        </p:spPr>
        <p:txBody>
          <a:bodyPr wrap="square">
            <a:spAutoFit/>
          </a:bodyPr>
          <a:lstStyle/>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How are you currently sequencing mirvetuximab soravtansine for your patients with FR</a:t>
            </a:r>
            <a:r>
              <a:rPr kumimoji="0" lang="el-GR"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α-</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ositive, platinum-resistant ovarian cancer? Do you always use it as monotherapy, or do you ever combine it with other agents (</a:t>
            </a:r>
            <a:r>
              <a:rPr kumimoji="0" lang="en-US" sz="2800" b="1" i="0" u="none" strike="noStrike" kern="10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eg</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bevacizumab)?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R="0" lvl="0">
              <a:lnSpc>
                <a:spcPct val="115000"/>
              </a:lnSpc>
            </a:pPr>
            <a:r>
              <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What is your threshold for FRα positivity for mirvetuximab soravtansine use? Are there any situations in which you would be tempted to try mirvetuximab soravtansine for a patient with low or no FRα expression who has exhausted other treatments? What about for a patient with platinum-sensitive recurrent disea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D3E52E85-0427-4831-2571-A2B5D71F84B0}"/>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37847307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D3695-2429-7291-58C0-A3C0A1CE3EBD}"/>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FC46763E-C54C-5B1F-F54E-4506216CAB32}"/>
              </a:ext>
            </a:extLst>
          </p:cNvPr>
          <p:cNvSpPr txBox="1"/>
          <p:nvPr/>
        </p:nvSpPr>
        <p:spPr>
          <a:xfrm>
            <a:off x="974109" y="1261204"/>
            <a:ext cx="10074891" cy="5413790"/>
          </a:xfrm>
          <a:prstGeom prst="rect">
            <a:avLst/>
          </a:prstGeom>
          <a:noFill/>
        </p:spPr>
        <p:txBody>
          <a:bodyPr wrap="square">
            <a:spAutoFit/>
          </a:bodyPr>
          <a:lstStyle/>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How do you generally screen for ocular toxicities in patients receiving mirvetuximab soravtansine? How often do you recommend consultation with an ophthalmologist? </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R="0" lvl="0">
              <a:lnSpc>
                <a:spcPct val="115000"/>
              </a:lnSpc>
            </a:pPr>
            <a:r>
              <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What is your threshold for dose reducing or holding mirvetuximab soravtansine due to ocular toxicities? For Dr Matulonis’s patient, would you have reduced the dose of mirvetuximab soravtansine from 6 mg/kg to 5 mg/kg, or would you have continued at </a:t>
            </a:r>
            <a:br>
              <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br>
            <a:r>
              <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6 mg/k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D6A506F0-6696-B654-3FEA-310A5DB32847}"/>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37536894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9B669-56BD-0E5A-75FD-0B1834B56E4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5CF2CEA5-785E-09BC-F5CE-C5F7BB2287BD}"/>
              </a:ext>
            </a:extLst>
          </p:cNvPr>
          <p:cNvSpPr txBox="1"/>
          <p:nvPr/>
        </p:nvSpPr>
        <p:spPr>
          <a:xfrm>
            <a:off x="974109" y="1261204"/>
            <a:ext cx="10074891" cy="3431709"/>
          </a:xfrm>
          <a:prstGeom prst="rect">
            <a:avLst/>
          </a:prstGeom>
          <a:noFill/>
        </p:spPr>
        <p:txBody>
          <a:bodyPr wrap="square">
            <a:spAutoFit/>
          </a:bodyPr>
          <a:lstStyle/>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How do you monitor for pneumonitis in patients receiving mirvetuximab soravtansine? How do you manage Grade 1 versus Grade 2 pneumonitis? In which situations will you rechallenge after resolution of symptoms? </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D58AF60A-BDD3-15A8-9711-44688D3520D2}"/>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20654364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27C66-C851-D7E8-00AA-583B1E4B63EB}"/>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3448420-8FF9-B618-2314-E43FD6053D2E}"/>
              </a:ext>
            </a:extLst>
          </p:cNvPr>
          <p:cNvSpPr txBox="1"/>
          <p:nvPr/>
        </p:nvSpPr>
        <p:spPr>
          <a:xfrm>
            <a:off x="974109" y="1261204"/>
            <a:ext cx="10074891" cy="4918269"/>
          </a:xfrm>
          <a:prstGeom prst="rect">
            <a:avLst/>
          </a:prstGeom>
          <a:noFill/>
        </p:spPr>
        <p:txBody>
          <a:bodyPr wrap="square">
            <a:spAutoFit/>
          </a:bodyPr>
          <a:lstStyle/>
          <a:p>
            <a:pPr marL="0" marR="0" lvl="0" indent="0" algn="l" defTabSz="455613" rtl="0" eaLnBrk="1" fontAlgn="base" latinLnBrk="0" hangingPunct="1">
              <a:lnSpc>
                <a:spcPct val="115000"/>
              </a:lnSpc>
              <a:spcBef>
                <a:spcPct val="0"/>
              </a:spcBef>
              <a:spcAft>
                <a:spcPct val="0"/>
              </a:spcAft>
              <a:buClrTx/>
              <a:buSzTx/>
              <a:buFontTx/>
              <a:buNone/>
              <a:tabLst/>
              <a:defRPr/>
            </a:pP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Do you believe that any of the FR</a:t>
            </a:r>
            <a:r>
              <a:rPr kumimoji="0" lang="el-GR"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α-</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targeted antibody-drug conjugates in development (</a:t>
            </a:r>
            <a:r>
              <a:rPr kumimoji="0" lang="en-US" sz="2800" b="1" i="0" u="none" strike="noStrike" kern="10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eg</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2800" b="1" i="0" u="none" strike="noStrike" kern="10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rinatabart</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2800" b="1" i="0" u="none" strike="noStrike" kern="10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sesutecan</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2800" b="1" i="0" u="none" strike="noStrike" kern="10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torvutatug</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2800" b="1" i="0" u="none" strike="noStrike" kern="10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samrotecan</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2800" b="1" i="0" u="none" strike="noStrike" kern="10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sofetabart</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2800" b="1" i="0" u="none" strike="noStrike" kern="10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mipitecan</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will have significant activity in patients with disease progression on mirvetuximab soravtansine? Do you believe any of these agents may prove more effective than mirvetuximab soravtansine or that they might have activity in patients with lower levels of FR</a:t>
            </a:r>
            <a:r>
              <a:rPr kumimoji="0" lang="el-GR"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α </a:t>
            </a:r>
            <a:r>
              <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expression? </a:t>
            </a: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D328A2C5-7724-8F2E-557E-A1E1DE37D6E6}"/>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3364312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C0230-6924-CBE0-43F3-141F5FE57004}"/>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829D4B1-6632-4F61-8F43-06B1C8D5DA65}"/>
              </a:ext>
            </a:extLst>
          </p:cNvPr>
          <p:cNvSpPr txBox="1"/>
          <p:nvPr/>
        </p:nvSpPr>
        <p:spPr>
          <a:xfrm>
            <a:off x="974109" y="1261204"/>
            <a:ext cx="10074891" cy="5909310"/>
          </a:xfrm>
          <a:prstGeom prst="rect">
            <a:avLst/>
          </a:prstGeom>
          <a:noFill/>
        </p:spPr>
        <p:txBody>
          <a:bodyPr wrap="square">
            <a:spAutoFit/>
          </a:bodyPr>
          <a:lstStyle/>
          <a:p>
            <a:pPr marR="0" lvl="0">
              <a:lnSpc>
                <a:spcPct val="115000"/>
              </a:lnSpc>
            </a:pPr>
            <a:r>
              <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In your view, are any of the investigational FRα-targeting ADCs significantly better tolerated than mirvetuximab soravtansine? Do any of them have significantly less or no ocular toxicities associated with them?</a:t>
            </a:r>
          </a:p>
          <a:p>
            <a:pPr marR="0" lvl="0">
              <a:lnSpc>
                <a:spcPct val="115000"/>
              </a:lnSpc>
            </a:pPr>
            <a:endParaRPr lang="en-US" sz="2800" kern="100" dirty="0">
              <a:solidFill>
                <a:schemeClr val="tx1"/>
              </a:solidFill>
              <a:latin typeface="Calibri" panose="020F0502020204030204" pitchFamily="34" charset="0"/>
              <a:ea typeface="Aptos" panose="020B0004020202020204" pitchFamily="34" charset="0"/>
              <a:cs typeface="Calibri" panose="020F0502020204030204" pitchFamily="34" charset="0"/>
            </a:endParaRPr>
          </a:p>
          <a:p>
            <a:pPr marR="0" lvl="0">
              <a:lnSpc>
                <a:spcPct val="115000"/>
              </a:lnSpc>
            </a:pPr>
            <a:r>
              <a:rPr lang="en-US" sz="2800" kern="100" dirty="0">
                <a:solidFill>
                  <a:schemeClr val="tx1"/>
                </a:solidFill>
                <a:latin typeface="Calibri" panose="020F0502020204030204" pitchFamily="34" charset="0"/>
                <a:ea typeface="Aptos" panose="020B0004020202020204" pitchFamily="34" charset="0"/>
                <a:cs typeface="Calibri" panose="020F0502020204030204" pitchFamily="34" charset="0"/>
              </a:rPr>
              <a:t>What ongoing clinical trials of FR</a:t>
            </a:r>
            <a:r>
              <a:rPr lang="el-GR" sz="2800" kern="100" dirty="0">
                <a:solidFill>
                  <a:schemeClr val="tx1"/>
                </a:solidFill>
                <a:latin typeface="Calibri" panose="020F0502020204030204" pitchFamily="34" charset="0"/>
                <a:ea typeface="Aptos" panose="020B0004020202020204" pitchFamily="34" charset="0"/>
                <a:cs typeface="Calibri" panose="020F0502020204030204" pitchFamily="34" charset="0"/>
              </a:rPr>
              <a:t>α-</a:t>
            </a:r>
            <a:r>
              <a:rPr lang="en-US" sz="2800" kern="100" dirty="0">
                <a:solidFill>
                  <a:schemeClr val="tx1"/>
                </a:solidFill>
                <a:latin typeface="Calibri" panose="020F0502020204030204" pitchFamily="34" charset="0"/>
                <a:ea typeface="Aptos" panose="020B0004020202020204" pitchFamily="34" charset="0"/>
                <a:cs typeface="Calibri" panose="020F0502020204030204" pitchFamily="34" charset="0"/>
              </a:rPr>
              <a:t>targeted antibody-drug conjugates in development are you most excited about? </a:t>
            </a:r>
          </a:p>
          <a:p>
            <a:pPr marR="0" lvl="0">
              <a:lnSpc>
                <a:spcPct val="115000"/>
              </a:lnSpc>
            </a:pPr>
            <a:endParaRPr lang="en-US" sz="2800" kern="100" dirty="0">
              <a:solidFill>
                <a:schemeClr val="tx1"/>
              </a:solidFill>
              <a:latin typeface="Calibri" panose="020F0502020204030204" pitchFamily="34" charset="0"/>
              <a:ea typeface="Aptos" panose="020B0004020202020204" pitchFamily="34" charset="0"/>
              <a:cs typeface="Calibri" panose="020F0502020204030204" pitchFamily="34" charset="0"/>
            </a:endParaRPr>
          </a:p>
          <a:p>
            <a:pPr marR="0" lvl="0">
              <a:lnSpc>
                <a:spcPct val="115000"/>
              </a:lnSpc>
            </a:pPr>
            <a:endParaRPr lang="en-US" sz="28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endParaRPr>
          </a:p>
          <a:p>
            <a:pPr marL="0" marR="0" lvl="0" indent="0" algn="l" defTabSz="455613" rtl="0" eaLnBrk="1" fontAlgn="base" latinLnBrk="0" hangingPunct="1">
              <a:lnSpc>
                <a:spcPct val="115000"/>
              </a:lnSpc>
              <a:spcBef>
                <a:spcPct val="0"/>
              </a:spcBef>
              <a:spcAft>
                <a:spcPct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1138CAD6-6AEE-41B1-F4F5-E402A4B26C57}"/>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17628880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FCD92-EC72-7C77-35AD-3D2C496B20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A9D419-1DEB-0423-F223-74C941A85DFE}"/>
              </a:ext>
            </a:extLst>
          </p:cNvPr>
          <p:cNvSpPr>
            <a:spLocks noGrp="1"/>
          </p:cNvSpPr>
          <p:nvPr>
            <p:ph type="title"/>
          </p:nvPr>
        </p:nvSpPr>
        <p:spPr>
          <a:xfrm>
            <a:off x="916516" y="116632"/>
            <a:ext cx="10358967" cy="1196752"/>
          </a:xfrm>
        </p:spPr>
        <p:txBody>
          <a:bodyPr/>
          <a:lstStyle/>
          <a:p>
            <a:r>
              <a:rPr lang="en-US" sz="3200" dirty="0">
                <a:solidFill>
                  <a:srgbClr val="0432FF"/>
                </a:solidFill>
              </a:rPr>
              <a:t>Dr Matulonis — Disclosures</a:t>
            </a:r>
            <a:br>
              <a:rPr lang="en-US" sz="3200" dirty="0">
                <a:solidFill>
                  <a:srgbClr val="0432FF"/>
                </a:solidFill>
              </a:rPr>
            </a:br>
            <a:r>
              <a:rPr lang="en-US" sz="3200" dirty="0">
                <a:solidFill>
                  <a:srgbClr val="0432FF"/>
                </a:solidFill>
              </a:rPr>
              <a:t>Consulting Clinical Investigator</a:t>
            </a:r>
          </a:p>
        </p:txBody>
      </p:sp>
      <p:graphicFrame>
        <p:nvGraphicFramePr>
          <p:cNvPr id="5" name="Content Placeholder 3">
            <a:extLst>
              <a:ext uri="{FF2B5EF4-FFF2-40B4-BE49-F238E27FC236}">
                <a16:creationId xmlns:a16="http://schemas.microsoft.com/office/drawing/2014/main" id="{197F58FD-80AF-53DD-A67B-446CCEB7D4A8}"/>
              </a:ext>
            </a:extLst>
          </p:cNvPr>
          <p:cNvGraphicFramePr>
            <a:graphicFrameLocks/>
          </p:cNvGraphicFramePr>
          <p:nvPr/>
        </p:nvGraphicFramePr>
        <p:xfrm>
          <a:off x="1236095" y="2204864"/>
          <a:ext cx="9719807" cy="3122394"/>
        </p:xfrm>
        <a:graphic>
          <a:graphicData uri="http://schemas.openxmlformats.org/drawingml/2006/table">
            <a:tbl>
              <a:tblPr firstRow="1" bandRow="1">
                <a:tableStyleId>{F2DE63D5-997A-4646-A377-4702673A728D}</a:tableStyleId>
              </a:tblPr>
              <a:tblGrid>
                <a:gridCol w="2771673">
                  <a:extLst>
                    <a:ext uri="{9D8B030D-6E8A-4147-A177-3AD203B41FA5}">
                      <a16:colId xmlns:a16="http://schemas.microsoft.com/office/drawing/2014/main" val="20000"/>
                    </a:ext>
                  </a:extLst>
                </a:gridCol>
                <a:gridCol w="6948134">
                  <a:extLst>
                    <a:ext uri="{9D8B030D-6E8A-4147-A177-3AD203B41FA5}">
                      <a16:colId xmlns:a16="http://schemas.microsoft.com/office/drawing/2014/main" val="20001"/>
                    </a:ext>
                  </a:extLst>
                </a:gridCol>
              </a:tblGrid>
              <a:tr h="1224136">
                <a:tc>
                  <a:txBody>
                    <a:bodyPr/>
                    <a:lstStyle/>
                    <a:p>
                      <a:r>
                        <a:rPr lang="en-US" sz="20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bbVie Inc, AstraZeneca Pharmaceuticals LP, Daiichi Sankyo Inc, Day One Biopharmaceuticals, GSK, </a:t>
                      </a:r>
                      <a:r>
                        <a:rPr lang="en-US" sz="2000" b="0" kern="1200" dirty="0" err="1">
                          <a:solidFill>
                            <a:schemeClr val="tx1"/>
                          </a:solidFill>
                          <a:effectLst/>
                          <a:latin typeface="+mn-lt"/>
                          <a:ea typeface="+mn-ea"/>
                          <a:cs typeface="+mn-cs"/>
                        </a:rPr>
                        <a:t>NextCure</a:t>
                      </a:r>
                      <a:r>
                        <a:rPr lang="en-US" sz="2000" b="0" kern="1200" dirty="0">
                          <a:solidFill>
                            <a:schemeClr val="tx1"/>
                          </a:solidFill>
                          <a:effectLst/>
                          <a:latin typeface="+mn-lt"/>
                          <a:ea typeface="+mn-ea"/>
                          <a:cs typeface="+mn-cs"/>
                        </a:rPr>
                        <a:t>, Novartis, Tango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15278">
                <a:tc>
                  <a:txBody>
                    <a:bodyPr/>
                    <a:lstStyle/>
                    <a:p>
                      <a:r>
                        <a:rPr lang="en-US" sz="20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Whitehawk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3242662"/>
                  </a:ext>
                </a:extLst>
              </a:tr>
              <a:tr h="915278">
                <a:tc>
                  <a:txBody>
                    <a:bodyPr/>
                    <a:lstStyle/>
                    <a:p>
                      <a:r>
                        <a:rPr lang="en-US" sz="20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Daiichi Sankyo Inc, </a:t>
                      </a:r>
                      <a:r>
                        <a:rPr lang="en-US" sz="2000" b="0" kern="1200" dirty="0" err="1">
                          <a:solidFill>
                            <a:schemeClr val="tx1"/>
                          </a:solidFill>
                          <a:effectLst/>
                          <a:latin typeface="+mn-lt"/>
                          <a:ea typeface="+mn-ea"/>
                          <a:cs typeface="+mn-cs"/>
                        </a:rPr>
                        <a:t>MacroGenics</a:t>
                      </a:r>
                      <a:r>
                        <a:rPr lang="en-US" sz="2000" b="0" kern="1200" dirty="0">
                          <a:solidFill>
                            <a:schemeClr val="tx1"/>
                          </a:solidFill>
                          <a:effectLst/>
                          <a:latin typeface="+mn-lt"/>
                          <a:ea typeface="+mn-ea"/>
                          <a:cs typeface="+mn-cs"/>
                        </a:rPr>
                        <a:t> Inc, Mural Oncology Inc, </a:t>
                      </a:r>
                      <a:r>
                        <a:rPr lang="en-US" sz="2000" b="0" kern="1200" dirty="0" err="1">
                          <a:solidFill>
                            <a:schemeClr val="tx1"/>
                          </a:solidFill>
                          <a:effectLst/>
                          <a:latin typeface="+mn-lt"/>
                          <a:ea typeface="+mn-ea"/>
                          <a:cs typeface="+mn-cs"/>
                        </a:rPr>
                        <a:t>Symphogen</a:t>
                      </a:r>
                      <a:r>
                        <a:rPr lang="en-US" sz="2000" b="0" kern="1200" dirty="0">
                          <a:solidFill>
                            <a:schemeClr val="tx1"/>
                          </a:solidFill>
                          <a:effectLst/>
                          <a:latin typeface="+mn-lt"/>
                          <a:ea typeface="+mn-ea"/>
                          <a:cs typeface="+mn-cs"/>
                        </a:rPr>
                        <a:t> A/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4472921"/>
                  </a:ext>
                </a:extLst>
              </a:tr>
            </a:tbl>
          </a:graphicData>
        </a:graphic>
      </p:graphicFrame>
    </p:spTree>
    <p:custDataLst>
      <p:tags r:id="rId1"/>
    </p:custDataLst>
    <p:extLst>
      <p:ext uri="{BB962C8B-B14F-4D97-AF65-F5344CB8AC3E}">
        <p14:creationId xmlns:p14="http://schemas.microsoft.com/office/powerpoint/2010/main" val="10715029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A56AD-4438-4C05-49FD-C6B510F3D042}"/>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3D06DFF2-1F06-26F6-AEE7-2C3FF5671D00}"/>
              </a:ext>
            </a:extLst>
          </p:cNvPr>
          <p:cNvSpPr/>
          <p:nvPr/>
        </p:nvSpPr>
        <p:spPr bwMode="auto">
          <a:xfrm>
            <a:off x="740128" y="3284984"/>
            <a:ext cx="10828480" cy="54681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5260E583-9EDA-C44A-CF7E-5FF92B699206}"/>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2E05DC7-6027-407C-BDD7-DE297203F524}"/>
              </a:ext>
            </a:extLst>
          </p:cNvPr>
          <p:cNvSpPr>
            <a:spLocks noGrp="1"/>
          </p:cNvSpPr>
          <p:nvPr>
            <p:ph idx="1"/>
          </p:nvPr>
        </p:nvSpPr>
        <p:spPr>
          <a:xfrm>
            <a:off x="767407" y="1416053"/>
            <a:ext cx="10503845"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urrent Role of PARP Inhibitors in Advanced Ovarian Cancer (OC) </a:t>
            </a:r>
            <a:br>
              <a:rPr lang="en-US" sz="2500" dirty="0">
                <a:solidFill>
                  <a:schemeClr val="tx1"/>
                </a:solidFill>
              </a:rPr>
            </a:br>
            <a:r>
              <a:rPr lang="en-US" sz="2500" dirty="0">
                <a:solidFill>
                  <a:schemeClr val="tx1"/>
                </a:solidFill>
              </a:rPr>
              <a:t>— Prof Colombo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trategies Targeting Folate Receptor Alpha in Advanced OC </a:t>
            </a:r>
            <a:br>
              <a:rPr lang="en-US" sz="2500" dirty="0">
                <a:solidFill>
                  <a:schemeClr val="tx1"/>
                </a:solidFill>
              </a:rPr>
            </a:br>
            <a:r>
              <a:rPr lang="en-US" sz="2500" dirty="0">
                <a:solidFill>
                  <a:schemeClr val="tx1"/>
                </a:solidFill>
              </a:rPr>
              <a:t>— Dr Westin </a:t>
            </a:r>
          </a:p>
          <a:p>
            <a:pPr marL="98425" indent="0">
              <a:lnSpc>
                <a:spcPct val="100000"/>
              </a:lnSpc>
              <a:spcBef>
                <a:spcPts val="1600"/>
              </a:spcBef>
              <a:spcAft>
                <a:spcPts val="0"/>
              </a:spcAft>
              <a:buNone/>
            </a:pPr>
            <a:r>
              <a:rPr lang="en-US" sz="2500" dirty="0">
                <a:solidFill>
                  <a:schemeClr val="bg1"/>
                </a:solidFill>
              </a:rPr>
              <a:t>Module 3: Other Novel Agents and Strategies for Advanced OC — Dr </a:t>
            </a:r>
            <a:r>
              <a:rPr lang="en-US" sz="2500" dirty="0" err="1">
                <a:solidFill>
                  <a:schemeClr val="bg1"/>
                </a:solidFill>
              </a:rPr>
              <a:t>Olawaiye</a:t>
            </a:r>
            <a:endParaRPr lang="en-US" sz="2500" dirty="0">
              <a:solidFill>
                <a:schemeClr val="bg1"/>
              </a:solidFill>
            </a:endParaRP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Diagnosis and Management of Adverse Events Associated with Commonly Employed Therapies for Advanced OC — Dr Konecny</a:t>
            </a:r>
          </a:p>
        </p:txBody>
      </p:sp>
    </p:spTree>
    <p:extLst>
      <p:ext uri="{BB962C8B-B14F-4D97-AF65-F5344CB8AC3E}">
        <p14:creationId xmlns:p14="http://schemas.microsoft.com/office/powerpoint/2010/main" val="1752732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F4369B-5759-6423-1D5F-549C5DC9B03F}"/>
            </a:ext>
          </a:extLst>
        </p:cNvPr>
        <p:cNvGrpSpPr/>
        <p:nvPr/>
      </p:nvGrpSpPr>
      <p:grpSpPr>
        <a:xfrm>
          <a:off x="0" y="0"/>
          <a:ext cx="0" cy="0"/>
          <a:chOff x="0" y="0"/>
          <a:chExt cx="0" cy="0"/>
        </a:xfrm>
      </p:grpSpPr>
      <p:sp>
        <p:nvSpPr>
          <p:cNvPr id="28673" name="Rectangle 3">
            <a:extLst>
              <a:ext uri="{FF2B5EF4-FFF2-40B4-BE49-F238E27FC236}">
                <a16:creationId xmlns:a16="http://schemas.microsoft.com/office/drawing/2014/main" id="{77B2E4CF-52A4-A67D-52B0-8FF962684CAA}"/>
              </a:ext>
            </a:extLst>
          </p:cNvPr>
          <p:cNvSpPr>
            <a:spLocks noChangeArrowheads="1"/>
          </p:cNvSpPr>
          <p:nvPr/>
        </p:nvSpPr>
        <p:spPr bwMode="auto">
          <a:xfrm>
            <a:off x="862013" y="1002496"/>
            <a:ext cx="10467974"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840" b="1" i="0" u="none" strike="noStrike" kern="1200" cap="none" spc="0" normalizeH="0" baseline="0" noProof="0" dirty="0">
                <a:ln>
                  <a:noFill/>
                </a:ln>
                <a:solidFill>
                  <a:srgbClr val="0F9ED5">
                    <a:lumMod val="50000"/>
                  </a:srgbClr>
                </a:solidFill>
                <a:effectLst/>
                <a:uLnTx/>
                <a:uFillTx/>
                <a:latin typeface="Calibri" panose="020F0502020204030204" pitchFamily="34" charset="0"/>
                <a:ea typeface="+mn-ea"/>
                <a:cs typeface="+mn-cs"/>
              </a:rPr>
              <a:t>Other Novel Agents and Strategies </a:t>
            </a:r>
            <a:br>
              <a:rPr kumimoji="0" lang="en-US" sz="3840" b="1" i="0" u="none" strike="noStrike" kern="1200" cap="none" spc="0" normalizeH="0" baseline="0" noProof="0" dirty="0">
                <a:ln>
                  <a:noFill/>
                </a:ln>
                <a:solidFill>
                  <a:srgbClr val="0F9ED5">
                    <a:lumMod val="50000"/>
                  </a:srgbClr>
                </a:solidFill>
                <a:effectLst/>
                <a:uLnTx/>
                <a:uFillTx/>
                <a:latin typeface="Calibri" panose="020F0502020204030204" pitchFamily="34" charset="0"/>
                <a:ea typeface="+mn-ea"/>
                <a:cs typeface="+mn-cs"/>
              </a:rPr>
            </a:br>
            <a:r>
              <a:rPr kumimoji="0" lang="en-US" sz="3840" b="1" i="0" u="none" strike="noStrike" kern="1200" cap="none" spc="0" normalizeH="0" baseline="0" noProof="0" dirty="0">
                <a:ln>
                  <a:noFill/>
                </a:ln>
                <a:solidFill>
                  <a:srgbClr val="0F9ED5">
                    <a:lumMod val="50000"/>
                  </a:srgbClr>
                </a:solidFill>
                <a:effectLst/>
                <a:uLnTx/>
                <a:uFillTx/>
                <a:latin typeface="Calibri" panose="020F0502020204030204" pitchFamily="34" charset="0"/>
                <a:ea typeface="+mn-ea"/>
                <a:cs typeface="+mn-cs"/>
              </a:rPr>
              <a:t>for Advanced Ovarian Cancer</a:t>
            </a:r>
            <a:endParaRPr kumimoji="0" lang="en-US" altLang="en-US" sz="3840" b="1" i="1" u="none" strike="noStrike" kern="1200" cap="none" spc="0" normalizeH="0" baseline="0" noProof="0" dirty="0">
              <a:ln>
                <a:noFill/>
              </a:ln>
              <a:solidFill>
                <a:srgbClr val="0F9ED5">
                  <a:lumMod val="50000"/>
                </a:srgbClr>
              </a:solidFill>
              <a:effectLst/>
              <a:uLnTx/>
              <a:uFillTx/>
              <a:latin typeface="Calibri" panose="020F0502020204030204" pitchFamily="34" charset="0"/>
              <a:ea typeface="MS PGothic" panose="020B0600070205080204" pitchFamily="34" charset="-128"/>
              <a:cs typeface="+mn-cs"/>
            </a:endParaRPr>
          </a:p>
        </p:txBody>
      </p:sp>
      <p:pic>
        <p:nvPicPr>
          <p:cNvPr id="28674" name="Picture 4" descr="logo U pitt 1[1]">
            <a:extLst>
              <a:ext uri="{FF2B5EF4-FFF2-40B4-BE49-F238E27FC236}">
                <a16:creationId xmlns:a16="http://schemas.microsoft.com/office/drawing/2014/main" id="{A0FBEA11-439C-E8AD-3DF8-7B4526D71BD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Rectangle 1">
            <a:extLst>
              <a:ext uri="{FF2B5EF4-FFF2-40B4-BE49-F238E27FC236}">
                <a16:creationId xmlns:a16="http://schemas.microsoft.com/office/drawing/2014/main" id="{B16D89C4-295F-CBFF-46AE-0A8CF8DF9203}"/>
              </a:ext>
            </a:extLst>
          </p:cNvPr>
          <p:cNvSpPr>
            <a:spLocks noChangeArrowheads="1"/>
          </p:cNvSpPr>
          <p:nvPr/>
        </p:nvSpPr>
        <p:spPr bwMode="auto">
          <a:xfrm>
            <a:off x="2532766" y="3022133"/>
            <a:ext cx="7564754"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altLang="en-US" sz="2880" b="1" i="1" u="none" strike="noStrike" kern="1200" cap="none" spc="0" normalizeH="0" baseline="0" noProof="0" dirty="0">
                <a:ln>
                  <a:noFill/>
                </a:ln>
                <a:solidFill>
                  <a:srgbClr val="156082"/>
                </a:solidFill>
                <a:effectLst/>
                <a:uLnTx/>
                <a:uFillTx/>
                <a:latin typeface="Calibri" panose="020F0502020204030204" pitchFamily="34" charset="0"/>
                <a:ea typeface="+mn-ea"/>
                <a:cs typeface="+mn-cs"/>
              </a:rPr>
              <a:t>Alexander B. Olawaiye, MD</a:t>
            </a:r>
          </a:p>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altLang="en-US" sz="2880" b="1" i="1" u="none" strike="noStrike" kern="1200" cap="none" spc="0" normalizeH="0" baseline="0" noProof="0" dirty="0">
                <a:ln>
                  <a:noFill/>
                </a:ln>
                <a:solidFill>
                  <a:srgbClr val="156082"/>
                </a:solidFill>
                <a:effectLst/>
                <a:uLnTx/>
                <a:uFillTx/>
                <a:latin typeface="Calibri" panose="020F0502020204030204" pitchFamily="34" charset="0"/>
                <a:ea typeface="+mn-ea"/>
                <a:cs typeface="+mn-cs"/>
              </a:rPr>
              <a:t>Professor</a:t>
            </a:r>
          </a:p>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altLang="en-US" sz="2880" b="1" i="0" u="none" strike="noStrike" kern="1200" cap="none" spc="0" normalizeH="0" baseline="0" noProof="0" dirty="0">
                <a:ln>
                  <a:noFill/>
                </a:ln>
                <a:solidFill>
                  <a:srgbClr val="156082"/>
                </a:solidFill>
                <a:effectLst/>
                <a:uLnTx/>
                <a:uFillTx/>
                <a:latin typeface="Calibri" panose="020F0502020204030204" pitchFamily="34" charset="0"/>
                <a:ea typeface="+mn-ea"/>
                <a:cs typeface="+mn-cs"/>
              </a:rPr>
              <a:t>University of Pittsburgh School of Medicine</a:t>
            </a:r>
          </a:p>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altLang="en-US" sz="2880" b="1" i="0" u="none" strike="noStrike" kern="1200" cap="none" spc="0" normalizeH="0" baseline="0" noProof="0" dirty="0">
                <a:ln>
                  <a:noFill/>
                </a:ln>
                <a:solidFill>
                  <a:srgbClr val="156082"/>
                </a:solidFill>
                <a:effectLst/>
                <a:uLnTx/>
                <a:uFillTx/>
                <a:latin typeface="Calibri" panose="020F0502020204030204" pitchFamily="34" charset="0"/>
                <a:ea typeface="+mn-ea"/>
                <a:cs typeface="+mn-cs"/>
              </a:rPr>
              <a:t>Pittsburgh</a:t>
            </a:r>
          </a:p>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altLang="en-US" sz="2880" b="1" i="0" u="none" strike="noStrike" kern="1200" cap="none" spc="0" normalizeH="0" baseline="0" noProof="0" dirty="0">
                <a:ln>
                  <a:noFill/>
                </a:ln>
                <a:solidFill>
                  <a:srgbClr val="156082"/>
                </a:solidFill>
                <a:effectLst/>
                <a:uLnTx/>
                <a:uFillTx/>
                <a:latin typeface="Calibri" panose="020F0502020204030204" pitchFamily="34" charset="0"/>
                <a:ea typeface="+mn-ea"/>
                <a:cs typeface="+mn-cs"/>
              </a:rPr>
              <a:t>Pennsylvania, USA</a:t>
            </a:r>
          </a:p>
        </p:txBody>
      </p:sp>
    </p:spTree>
    <p:extLst>
      <p:ext uri="{BB962C8B-B14F-4D97-AF65-F5344CB8AC3E}">
        <p14:creationId xmlns:p14="http://schemas.microsoft.com/office/powerpoint/2010/main" val="11736851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9042" y="629966"/>
            <a:ext cx="9999821" cy="856518"/>
          </a:xfrm>
        </p:spPr>
        <p:txBody>
          <a:bodyPr/>
          <a:lstStyle/>
          <a:p>
            <a:r>
              <a:rPr lang="en-US" sz="2400" dirty="0">
                <a:solidFill>
                  <a:schemeClr val="accent4">
                    <a:lumMod val="50000"/>
                  </a:schemeClr>
                </a:solidFill>
                <a:latin typeface="Arial" panose="020B0604020202020204" pitchFamily="34" charset="0"/>
                <a:cs typeface="Arial" panose="020B0604020202020204" pitchFamily="34" charset="0"/>
              </a:rPr>
              <a:t>The Typical Course of Advanced Ovarian Cancer: Almost Ubiquitous Recurrence Following Front Line Chemotherapy</a:t>
            </a:r>
            <a:endParaRPr lang="en-US" sz="2400" baseline="30000" dirty="0">
              <a:solidFill>
                <a:schemeClr val="accent4">
                  <a:lumMod val="50000"/>
                </a:schemeClr>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8ABB3B78-000B-4C8F-8447-0B95E40A98D0}"/>
              </a:ext>
            </a:extLst>
          </p:cNvPr>
          <p:cNvSpPr txBox="1"/>
          <p:nvPr/>
        </p:nvSpPr>
        <p:spPr>
          <a:xfrm>
            <a:off x="282553" y="6401838"/>
            <a:ext cx="9445341" cy="229938"/>
          </a:xfrm>
          <a:prstGeom prst="rect">
            <a:avLst/>
          </a:prstGeom>
          <a:noFill/>
        </p:spPr>
        <p:txBody>
          <a:bodyPr wrap="square" lIns="0" tIns="0" rIns="0" bIns="0" rtlCol="0" anchor="b" anchorCtr="0">
            <a:spAutoFit/>
          </a:bodyPr>
          <a:lstStyle/>
          <a:p>
            <a:pPr marL="0" marR="0" lvl="0" indent="0" algn="l" defTabSz="548640" rtl="0" eaLnBrk="0" fontAlgn="base" latinLnBrk="0" hangingPunct="0">
              <a:lnSpc>
                <a:spcPct val="80000"/>
              </a:lnSpc>
              <a:spcBef>
                <a:spcPts val="216"/>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a:t>
            </a:r>
            <a:r>
              <a:rPr kumimoji="0" lang="da-DK" sz="9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 Ledermann JA et al. </a:t>
            </a:r>
            <a:r>
              <a:rPr kumimoji="0" lang="da-DK" sz="900" b="0" i="1"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Ann Oncol. </a:t>
            </a:r>
            <a:r>
              <a:rPr kumimoji="0" lang="da-DK" sz="9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2013;24(Suppl 6):vi24-vi32. 2. Giornelli GH. </a:t>
            </a:r>
            <a:r>
              <a:rPr kumimoji="0" lang="da-DK" sz="900" b="0" i="1"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Springerplus</a:t>
            </a:r>
            <a:r>
              <a:rPr kumimoji="0" lang="da-DK" sz="9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 2016;5(1):1197. 3. </a:t>
            </a:r>
            <a:r>
              <a:rPr kumimoji="0" lang="it-IT" sz="9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Pignata S et al. </a:t>
            </a:r>
            <a:r>
              <a:rPr kumimoji="0" lang="it-IT" sz="900" b="0" i="1"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Ann Oncol. </a:t>
            </a:r>
            <a:r>
              <a:rPr kumimoji="0" lang="it-IT" sz="9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2017;28(suppl_8):viii51-viii56. 4. </a:t>
            </a:r>
            <a:r>
              <a:rPr kumimoji="0" lang="fr-FR" sz="9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du Bois A et al. </a:t>
            </a:r>
            <a:r>
              <a:rPr kumimoji="0" lang="fr-FR" sz="900" b="0"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Cancer</a:t>
            </a:r>
            <a:r>
              <a:rPr kumimoji="0" lang="fr-FR" sz="9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 2009;115(6):1234-1244.</a:t>
            </a:r>
            <a:r>
              <a:rPr kumimoji="0" lang="it-IT" sz="9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 5. </a:t>
            </a:r>
            <a:r>
              <a:rPr kumimoji="0" lang="nb-NO" sz="9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Wilson MK et al. </a:t>
            </a:r>
            <a:r>
              <a:rPr kumimoji="0" lang="nb-NO" sz="900" b="0"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Ann Oncol</a:t>
            </a:r>
            <a:r>
              <a:rPr kumimoji="0" lang="nb-NO" sz="9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 2017;28(4):727-732.</a:t>
            </a:r>
            <a:r>
              <a:rPr kumimoji="0" lang="it-IT" sz="9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  </a:t>
            </a:r>
            <a:endParaRPr kumimoji="0" lang="da-DK" sz="9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23" name="Rectangle 22">
            <a:extLst>
              <a:ext uri="{FF2B5EF4-FFF2-40B4-BE49-F238E27FC236}">
                <a16:creationId xmlns:a16="http://schemas.microsoft.com/office/drawing/2014/main" id="{F090FEDB-CCD2-4F49-A91C-2F16165644D3}"/>
              </a:ext>
            </a:extLst>
          </p:cNvPr>
          <p:cNvSpPr>
            <a:spLocks noChangeArrowheads="1"/>
          </p:cNvSpPr>
          <p:nvPr/>
        </p:nvSpPr>
        <p:spPr bwMode="auto">
          <a:xfrm>
            <a:off x="1033939" y="3216335"/>
            <a:ext cx="1316736" cy="822960"/>
          </a:xfrm>
          <a:prstGeom prst="rect">
            <a:avLst/>
          </a:prstGeom>
          <a:solidFill>
            <a:schemeClr val="accent1"/>
          </a:solidFill>
          <a:ln w="9525">
            <a:noFill/>
            <a:miter lim="800000"/>
            <a:headEnd/>
            <a:tailEnd/>
          </a:ln>
        </p:spPr>
        <p:txBody>
          <a:bodyPr wrap="square" anchor="ctr">
            <a:noAutofit/>
          </a:bodyPr>
          <a:lstStyle/>
          <a:p>
            <a:pPr marL="0" marR="0" lvl="0" indent="0" algn="ctr" defTabSz="616134" rtl="0" eaLnBrk="0" fontAlgn="base" latinLnBrk="0" hangingPunct="0">
              <a:lnSpc>
                <a:spcPct val="100000"/>
              </a:lnSpc>
              <a:spcBef>
                <a:spcPct val="0"/>
              </a:spcBef>
              <a:spcAft>
                <a:spcPct val="0"/>
              </a:spcAft>
              <a:buClrTx/>
              <a:buSzTx/>
              <a:buFontTx/>
              <a:buNone/>
              <a:tabLst/>
              <a:defRPr/>
            </a:pPr>
            <a:r>
              <a:rPr kumimoji="0" lang="en-US"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First-Line </a:t>
            </a:r>
            <a:br>
              <a:rPr kumimoji="0" lang="en-US"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br>
            <a:r>
              <a:rPr kumimoji="0" lang="en-US"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Treatment</a:t>
            </a:r>
          </a:p>
          <a:p>
            <a:pPr marL="0" marR="0" lvl="0" indent="0" algn="ctr" defTabSz="616134" rtl="0" eaLnBrk="0" fontAlgn="base" latinLnBrk="0" hangingPunct="0">
              <a:lnSpc>
                <a:spcPct val="100000"/>
              </a:lnSpc>
              <a:spcBef>
                <a:spcPct val="0"/>
              </a:spcBef>
              <a:spcAft>
                <a:spcPct val="0"/>
              </a:spcAft>
              <a:buClrTx/>
              <a:buSzTx/>
              <a:buFontTx/>
              <a:buNone/>
              <a:tabLst/>
              <a:defRPr/>
            </a:pPr>
            <a:r>
              <a:rPr kumimoji="0" lang="en-US"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Stage III, IV</a:t>
            </a:r>
          </a:p>
        </p:txBody>
      </p:sp>
      <p:sp>
        <p:nvSpPr>
          <p:cNvPr id="24" name="Rectangle 23">
            <a:extLst>
              <a:ext uri="{FF2B5EF4-FFF2-40B4-BE49-F238E27FC236}">
                <a16:creationId xmlns:a16="http://schemas.microsoft.com/office/drawing/2014/main" id="{D992E82C-9483-445F-870D-84671E4BFA99}"/>
              </a:ext>
            </a:extLst>
          </p:cNvPr>
          <p:cNvSpPr>
            <a:spLocks noChangeArrowheads="1"/>
          </p:cNvSpPr>
          <p:nvPr/>
        </p:nvSpPr>
        <p:spPr bwMode="auto">
          <a:xfrm>
            <a:off x="3239536" y="3216335"/>
            <a:ext cx="1316736" cy="822960"/>
          </a:xfrm>
          <a:prstGeom prst="rect">
            <a:avLst/>
          </a:prstGeom>
          <a:solidFill>
            <a:schemeClr val="tx2"/>
          </a:solidFill>
          <a:ln w="9525">
            <a:noFill/>
            <a:miter lim="800000"/>
            <a:headEnd/>
            <a:tailEnd/>
          </a:ln>
        </p:spPr>
        <p:txBody>
          <a:bodyPr wrap="none" anchor="ctr">
            <a:noAutofit/>
          </a:bodyPr>
          <a:lstStyle/>
          <a:p>
            <a:pPr marL="0" marR="0" lvl="0" indent="0" algn="ctr" defTabSz="616134" rtl="0" eaLnBrk="0" fontAlgn="base" latinLnBrk="0" hangingPunct="0">
              <a:lnSpc>
                <a:spcPct val="100000"/>
              </a:lnSpc>
              <a:spcBef>
                <a:spcPct val="0"/>
              </a:spcBef>
              <a:spcAft>
                <a:spcPct val="0"/>
              </a:spcAft>
              <a:buClrTx/>
              <a:buSzTx/>
              <a:buFontTx/>
              <a:buNone/>
              <a:tabLst/>
              <a:defRPr/>
            </a:pPr>
            <a:r>
              <a:rPr kumimoji="0" lang="en-US"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First Response*</a:t>
            </a:r>
          </a:p>
        </p:txBody>
      </p:sp>
      <p:cxnSp>
        <p:nvCxnSpPr>
          <p:cNvPr id="26" name="Straight Arrow Connector 25">
            <a:extLst>
              <a:ext uri="{FF2B5EF4-FFF2-40B4-BE49-F238E27FC236}">
                <a16:creationId xmlns:a16="http://schemas.microsoft.com/office/drawing/2014/main" id="{3AA40AAA-0D24-431C-855E-05226959D6FB}"/>
              </a:ext>
            </a:extLst>
          </p:cNvPr>
          <p:cNvCxnSpPr>
            <a:cxnSpLocks/>
            <a:stCxn id="23" idx="3"/>
            <a:endCxn id="24" idx="1"/>
          </p:cNvCxnSpPr>
          <p:nvPr/>
        </p:nvCxnSpPr>
        <p:spPr>
          <a:xfrm>
            <a:off x="2350678" y="3627815"/>
            <a:ext cx="888860" cy="0"/>
          </a:xfrm>
          <a:prstGeom prst="straightConnector1">
            <a:avLst/>
          </a:prstGeom>
          <a:noFill/>
          <a:ln w="19050">
            <a:solidFill>
              <a:schemeClr val="accent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Rectangle 26">
            <a:extLst>
              <a:ext uri="{FF2B5EF4-FFF2-40B4-BE49-F238E27FC236}">
                <a16:creationId xmlns:a16="http://schemas.microsoft.com/office/drawing/2014/main" id="{B903C1A4-B07C-4B0D-A5D8-32FE677D1753}"/>
              </a:ext>
            </a:extLst>
          </p:cNvPr>
          <p:cNvSpPr>
            <a:spLocks noChangeArrowheads="1"/>
          </p:cNvSpPr>
          <p:nvPr/>
        </p:nvSpPr>
        <p:spPr bwMode="auto">
          <a:xfrm>
            <a:off x="1282559" y="2426665"/>
            <a:ext cx="3101927" cy="768287"/>
          </a:xfrm>
          <a:prstGeom prst="rect">
            <a:avLst/>
          </a:prstGeom>
          <a:noFill/>
          <a:ln w="57150">
            <a:noFill/>
            <a:miter lim="800000"/>
            <a:headEnd/>
            <a:tailEnd/>
          </a:ln>
        </p:spPr>
        <p:txBody>
          <a:bodyPr wrap="square" anchor="ctr">
            <a:spAutoFit/>
          </a:bodyPr>
          <a:lstStyle/>
          <a:p>
            <a:pPr marL="0" marR="0" lvl="0" indent="0" algn="ctr" defTabSz="616134" rtl="0" eaLnBrk="0" fontAlgn="base" latinLnBrk="0" hangingPunct="0">
              <a:lnSpc>
                <a:spcPct val="120000"/>
              </a:lnSpc>
              <a:spcBef>
                <a:spcPct val="0"/>
              </a:spcBef>
              <a:spcAft>
                <a:spcPct val="0"/>
              </a:spcAft>
              <a:buClrTx/>
              <a:buSzTx/>
              <a:buFontTx/>
              <a:buNone/>
              <a:tabLst/>
              <a:defRPr/>
            </a:pPr>
            <a:r>
              <a:rPr kumimoji="0" lang="en-US" sz="126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Surgery (primary or IDS) </a:t>
            </a:r>
            <a:br>
              <a:rPr kumimoji="0" lang="en-US" sz="126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br>
            <a:r>
              <a:rPr kumimoji="0" lang="en-US" sz="126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 primary or adjuvant chemotherapy </a:t>
            </a:r>
            <a:br>
              <a:rPr kumimoji="0" lang="en-US" sz="126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br>
            <a:r>
              <a:rPr kumimoji="0" lang="en-US" sz="126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 bevacizumab</a:t>
            </a:r>
          </a:p>
        </p:txBody>
      </p:sp>
      <p:cxnSp>
        <p:nvCxnSpPr>
          <p:cNvPr id="34" name="Straight Arrow Connector 33">
            <a:extLst>
              <a:ext uri="{FF2B5EF4-FFF2-40B4-BE49-F238E27FC236}">
                <a16:creationId xmlns:a16="http://schemas.microsoft.com/office/drawing/2014/main" id="{6F6E3629-430C-40C5-AE5A-815749C50308}"/>
              </a:ext>
            </a:extLst>
          </p:cNvPr>
          <p:cNvCxnSpPr>
            <a:cxnSpLocks/>
            <a:stCxn id="24" idx="3"/>
            <a:endCxn id="31" idx="1"/>
          </p:cNvCxnSpPr>
          <p:nvPr/>
        </p:nvCxnSpPr>
        <p:spPr>
          <a:xfrm>
            <a:off x="4556275" y="3627817"/>
            <a:ext cx="888860" cy="7465"/>
          </a:xfrm>
          <a:prstGeom prst="straightConnector1">
            <a:avLst/>
          </a:prstGeom>
          <a:noFill/>
          <a:ln w="19050">
            <a:solidFill>
              <a:schemeClr val="accent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2" name="Rectangle 41">
            <a:extLst>
              <a:ext uri="{FF2B5EF4-FFF2-40B4-BE49-F238E27FC236}">
                <a16:creationId xmlns:a16="http://schemas.microsoft.com/office/drawing/2014/main" id="{BB70B9BD-8466-4C7B-99A8-0DB3A757E3F2}"/>
              </a:ext>
            </a:extLst>
          </p:cNvPr>
          <p:cNvSpPr>
            <a:spLocks noChangeArrowheads="1"/>
          </p:cNvSpPr>
          <p:nvPr/>
        </p:nvSpPr>
        <p:spPr bwMode="auto">
          <a:xfrm>
            <a:off x="7650730" y="3018331"/>
            <a:ext cx="1316736" cy="1234440"/>
          </a:xfrm>
          <a:prstGeom prst="rect">
            <a:avLst/>
          </a:prstGeom>
          <a:solidFill>
            <a:schemeClr val="accent3"/>
          </a:solidFill>
          <a:ln w="9525">
            <a:noFill/>
            <a:miter lim="800000"/>
            <a:headEnd/>
            <a:tailEnd/>
          </a:ln>
        </p:spPr>
        <p:txBody>
          <a:bodyPr wrap="square" anchor="ctr">
            <a:noAutofit/>
          </a:bodyPr>
          <a:lstStyle/>
          <a:p>
            <a:pPr marL="0" marR="0" lvl="0" indent="0" algn="ctr" defTabSz="616134" rtl="0" eaLnBrk="0" fontAlgn="base" latinLnBrk="0" hangingPunct="0">
              <a:lnSpc>
                <a:spcPct val="100000"/>
              </a:lnSpc>
              <a:spcBef>
                <a:spcPct val="0"/>
              </a:spcBef>
              <a:spcAft>
                <a:spcPct val="0"/>
              </a:spcAft>
              <a:buClrTx/>
              <a:buSzTx/>
              <a:buFontTx/>
              <a:buNone/>
              <a:tabLst/>
              <a:defRPr/>
            </a:pPr>
            <a:r>
              <a:rPr kumimoji="0" lang="fr-FR"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Second </a:t>
            </a:r>
            <a:br>
              <a:rPr kumimoji="0" lang="fr-FR"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br>
            <a:r>
              <a:rPr kumimoji="0" lang="fr-FR" sz="1260" b="1" i="0" u="none" strike="noStrike" kern="1200" cap="none" spc="0" normalizeH="0" baseline="0" noProof="0" dirty="0" err="1">
                <a:ln>
                  <a:noFill/>
                </a:ln>
                <a:solidFill>
                  <a:srgbClr val="FFFFFF"/>
                </a:solidFill>
                <a:effectLst/>
                <a:uLnTx/>
                <a:uFillTx/>
                <a:latin typeface="Arial Narrow"/>
                <a:ea typeface="ヒラギノ角ゴ Pro W3"/>
                <a:cs typeface="Arial" panose="020B0604020202020204" pitchFamily="34" charset="0"/>
              </a:rPr>
              <a:t>Response</a:t>
            </a:r>
            <a:r>
              <a:rPr kumimoji="0" lang="fr-FR"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a:t>
            </a:r>
            <a:br>
              <a:rPr kumimoji="0" lang="fr-FR"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br>
            <a:r>
              <a:rPr kumimoji="0" lang="fr-FR" sz="1260" b="1" i="0" u="none" strike="noStrike" kern="1200" cap="none" spc="0" normalizeH="0" baseline="0" noProof="0" dirty="0" err="1">
                <a:ln>
                  <a:noFill/>
                </a:ln>
                <a:solidFill>
                  <a:srgbClr val="FFFFFF"/>
                </a:solidFill>
                <a:effectLst/>
                <a:uLnTx/>
                <a:uFillTx/>
                <a:latin typeface="Arial Narrow"/>
                <a:ea typeface="ヒラギノ角ゴ Pro W3"/>
                <a:cs typeface="Arial" panose="020B0604020202020204" pitchFamily="34" charset="0"/>
              </a:rPr>
              <a:t>Disease</a:t>
            </a:r>
            <a:r>
              <a:rPr kumimoji="0" lang="fr-FR"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 </a:t>
            </a:r>
            <a:r>
              <a:rPr kumimoji="0" lang="fr-FR" sz="1260" b="1" i="0" u="none" strike="noStrike" kern="1200" cap="none" spc="0" normalizeH="0" baseline="0" noProof="0" dirty="0" err="1">
                <a:ln>
                  <a:noFill/>
                </a:ln>
                <a:solidFill>
                  <a:srgbClr val="FFFFFF"/>
                </a:solidFill>
                <a:effectLst/>
                <a:uLnTx/>
                <a:uFillTx/>
                <a:latin typeface="Arial Narrow"/>
                <a:ea typeface="ヒラギノ角ゴ Pro W3"/>
                <a:cs typeface="Arial" panose="020B0604020202020204" pitchFamily="34" charset="0"/>
              </a:rPr>
              <a:t>Stabilization</a:t>
            </a:r>
            <a:endParaRPr kumimoji="0" lang="fr-FR"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endParaRPr>
          </a:p>
        </p:txBody>
      </p:sp>
      <p:sp>
        <p:nvSpPr>
          <p:cNvPr id="43" name="Rectangle 42">
            <a:extLst>
              <a:ext uri="{FF2B5EF4-FFF2-40B4-BE49-F238E27FC236}">
                <a16:creationId xmlns:a16="http://schemas.microsoft.com/office/drawing/2014/main" id="{B4DA8EF4-740C-404D-8AB7-93DE3C149513}"/>
              </a:ext>
            </a:extLst>
          </p:cNvPr>
          <p:cNvSpPr>
            <a:spLocks noChangeArrowheads="1"/>
          </p:cNvSpPr>
          <p:nvPr/>
        </p:nvSpPr>
        <p:spPr bwMode="auto">
          <a:xfrm>
            <a:off x="5696526" y="2028795"/>
            <a:ext cx="3019549" cy="886397"/>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tIns="82296" bIns="82296" anchor="ctr">
            <a:spAutoFit/>
          </a:bodyPr>
          <a:lstStyle/>
          <a:p>
            <a:pPr marL="0" marR="0" lvl="0" indent="0" algn="ctr" defTabSz="616134" rtl="0" eaLnBrk="0" fontAlgn="base" latinLnBrk="0" hangingPunct="0">
              <a:lnSpc>
                <a:spcPct val="100000"/>
              </a:lnSpc>
              <a:spcBef>
                <a:spcPct val="0"/>
              </a:spcBef>
              <a:spcAft>
                <a:spcPct val="0"/>
              </a:spcAft>
              <a:buClrTx/>
              <a:buSzTx/>
              <a:buFontTx/>
              <a:buNone/>
              <a:tabLst/>
              <a:defRPr/>
            </a:pPr>
            <a:r>
              <a:rPr kumimoji="0" lang="fr-FR" sz="126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Patients for </a:t>
            </a:r>
            <a:r>
              <a:rPr kumimoji="0" lang="fr-FR" sz="1260" b="0" i="0" u="none" strike="noStrike" kern="1200" cap="none" spc="0" normalizeH="0" baseline="0" noProof="0" dirty="0" err="1">
                <a:ln>
                  <a:noFill/>
                </a:ln>
                <a:solidFill>
                  <a:prstClr val="black"/>
                </a:solidFill>
                <a:effectLst/>
                <a:uLnTx/>
                <a:uFillTx/>
                <a:latin typeface="Arial Narrow"/>
                <a:ea typeface="ヒラギノ角ゴ Pro W3"/>
                <a:cs typeface="Arial" panose="020B0604020202020204" pitchFamily="34" charset="0"/>
              </a:rPr>
              <a:t>whom</a:t>
            </a:r>
            <a:r>
              <a:rPr kumimoji="0" lang="fr-FR" sz="126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 </a:t>
            </a:r>
            <a:r>
              <a:rPr kumimoji="0" lang="fr-FR" sz="1260" b="1" i="0" u="none" strike="noStrike" kern="1200" cap="none" spc="0" normalizeH="0" baseline="0" noProof="0" dirty="0" err="1">
                <a:ln>
                  <a:noFill/>
                </a:ln>
                <a:solidFill>
                  <a:prstClr val="black"/>
                </a:solidFill>
                <a:effectLst/>
                <a:uLnTx/>
                <a:uFillTx/>
                <a:latin typeface="Arial Narrow"/>
                <a:ea typeface="ヒラギノ角ゴ Pro W3"/>
                <a:cs typeface="Arial" panose="020B0604020202020204" pitchFamily="34" charset="0"/>
              </a:rPr>
              <a:t>platinum</a:t>
            </a:r>
            <a:r>
              <a:rPr kumimoji="0" lang="fr-FR" sz="1260" b="1"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 </a:t>
            </a:r>
            <a:r>
              <a:rPr kumimoji="0" lang="fr-FR" sz="1260" b="1" i="0" u="none" strike="noStrike" kern="1200" cap="none" spc="0" normalizeH="0" baseline="0" noProof="0" dirty="0" err="1">
                <a:ln>
                  <a:noFill/>
                </a:ln>
                <a:solidFill>
                  <a:prstClr val="black"/>
                </a:solidFill>
                <a:effectLst/>
                <a:uLnTx/>
                <a:uFillTx/>
                <a:latin typeface="Arial Narrow"/>
                <a:ea typeface="ヒラギノ角ゴ Pro W3"/>
                <a:cs typeface="Arial" panose="020B0604020202020204" pitchFamily="34" charset="0"/>
              </a:rPr>
              <a:t>is</a:t>
            </a:r>
            <a:r>
              <a:rPr kumimoji="0" lang="fr-FR" sz="1260" b="1"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 an option, </a:t>
            </a:r>
            <a:r>
              <a:rPr kumimoji="0" lang="fr-FR" sz="1260" b="0" i="0" u="none" strike="noStrike" kern="1200" cap="none" spc="0" normalizeH="0" baseline="0" noProof="0" dirty="0" err="1">
                <a:ln>
                  <a:noFill/>
                </a:ln>
                <a:solidFill>
                  <a:prstClr val="black"/>
                </a:solidFill>
                <a:effectLst/>
                <a:uLnTx/>
                <a:uFillTx/>
                <a:latin typeface="Arial Narrow"/>
                <a:ea typeface="ヒラギノ角ゴ Pro W3"/>
                <a:cs typeface="Arial" panose="020B0604020202020204" pitchFamily="34" charset="0"/>
              </a:rPr>
              <a:t>formerly</a:t>
            </a:r>
            <a:r>
              <a:rPr kumimoji="0" lang="fr-FR" sz="1260" b="1"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 ‘Platinum-Sensitive’</a:t>
            </a:r>
          </a:p>
          <a:p>
            <a:pPr marL="0" marR="0" lvl="0" indent="0" algn="ctr" defTabSz="616134" rtl="0" eaLnBrk="0" fontAlgn="base" latinLnBrk="0" hangingPunct="0">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Progression &gt;6 months after completion </a:t>
            </a:r>
            <a:br>
              <a:rPr kumimoji="0" lang="en-US" sz="108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br>
            <a:r>
              <a:rPr kumimoji="0" lang="en-US" sz="108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of platinum-based chemotherapy</a:t>
            </a:r>
            <a:endParaRPr kumimoji="0" lang="fr-FR" sz="108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endParaRPr>
          </a:p>
        </p:txBody>
      </p:sp>
      <p:sp>
        <p:nvSpPr>
          <p:cNvPr id="44" name="Rectangle 43">
            <a:extLst>
              <a:ext uri="{FF2B5EF4-FFF2-40B4-BE49-F238E27FC236}">
                <a16:creationId xmlns:a16="http://schemas.microsoft.com/office/drawing/2014/main" id="{759F19E6-6A43-4CEC-8949-84C221A75431}"/>
              </a:ext>
            </a:extLst>
          </p:cNvPr>
          <p:cNvSpPr>
            <a:spLocks noChangeArrowheads="1"/>
          </p:cNvSpPr>
          <p:nvPr/>
        </p:nvSpPr>
        <p:spPr bwMode="auto">
          <a:xfrm>
            <a:off x="5696526" y="4423116"/>
            <a:ext cx="3019549" cy="886397"/>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tIns="82296" bIns="82296" anchor="ctr">
            <a:spAutoFit/>
          </a:bodyPr>
          <a:lstStyle/>
          <a:p>
            <a:pPr marL="0" marR="0" lvl="0" indent="0" algn="ctr" defTabSz="616134" rtl="0" eaLnBrk="0" fontAlgn="base" latinLnBrk="0" hangingPunct="0">
              <a:lnSpc>
                <a:spcPct val="100000"/>
              </a:lnSpc>
              <a:spcBef>
                <a:spcPct val="0"/>
              </a:spcBef>
              <a:spcAft>
                <a:spcPct val="0"/>
              </a:spcAft>
              <a:buClrTx/>
              <a:buSzTx/>
              <a:buFontTx/>
              <a:buNone/>
              <a:tabLst/>
              <a:defRPr/>
            </a:pPr>
            <a:r>
              <a:rPr kumimoji="0" lang="en-GB" sz="1260" b="0" i="0" u="none" strike="noStrike" kern="1200" cap="none" spc="0" normalizeH="0" baseline="0" noProof="0" dirty="0">
                <a:ln>
                  <a:noFill/>
                </a:ln>
                <a:solidFill>
                  <a:prstClr val="black"/>
                </a:solidFill>
                <a:effectLst/>
                <a:uLnTx/>
                <a:uFillTx/>
                <a:latin typeface="Arial Narrow"/>
                <a:ea typeface="+mn-ea"/>
                <a:cs typeface="+mn-cs"/>
              </a:rPr>
              <a:t>Patients </a:t>
            </a:r>
            <a:r>
              <a:rPr kumimoji="0" lang="en-US" sz="1260" b="0" i="0" u="none" strike="noStrike" kern="1200" cap="none" spc="0" normalizeH="0" baseline="0" noProof="0" dirty="0">
                <a:ln>
                  <a:noFill/>
                </a:ln>
                <a:solidFill>
                  <a:prstClr val="black"/>
                </a:solidFill>
                <a:effectLst/>
                <a:uLnTx/>
                <a:uFillTx/>
                <a:latin typeface="Arial Narrow"/>
                <a:ea typeface="+mn-ea"/>
                <a:cs typeface="+mn-cs"/>
              </a:rPr>
              <a:t>for whom </a:t>
            </a:r>
            <a:r>
              <a:rPr kumimoji="0" lang="en-US" sz="1260" b="1" i="0" u="none" strike="noStrike" kern="1200" cap="none" spc="0" normalizeH="0" baseline="0" noProof="0" dirty="0">
                <a:ln>
                  <a:noFill/>
                </a:ln>
                <a:solidFill>
                  <a:prstClr val="black"/>
                </a:solidFill>
                <a:effectLst/>
                <a:uLnTx/>
                <a:uFillTx/>
                <a:latin typeface="Arial Narrow"/>
                <a:ea typeface="+mn-ea"/>
                <a:cs typeface="+mn-cs"/>
              </a:rPr>
              <a:t>platinum is not an option, </a:t>
            </a:r>
            <a:r>
              <a:rPr kumimoji="0" lang="en-US" sz="1260" b="0" i="0" u="none" strike="noStrike" kern="1200" cap="none" spc="0" normalizeH="0" baseline="0" noProof="0" dirty="0">
                <a:ln>
                  <a:noFill/>
                </a:ln>
                <a:solidFill>
                  <a:prstClr val="black"/>
                </a:solidFill>
                <a:effectLst/>
                <a:uLnTx/>
                <a:uFillTx/>
                <a:latin typeface="Arial Narrow"/>
                <a:ea typeface="+mn-ea"/>
                <a:cs typeface="+mn-cs"/>
              </a:rPr>
              <a:t>formerly</a:t>
            </a:r>
            <a:r>
              <a:rPr kumimoji="0" lang="en-US" sz="1260" b="1" i="0" u="none" strike="noStrike" kern="1200" cap="none" spc="0" normalizeH="0" baseline="0" noProof="0" dirty="0">
                <a:ln>
                  <a:noFill/>
                </a:ln>
                <a:solidFill>
                  <a:prstClr val="black"/>
                </a:solidFill>
                <a:effectLst/>
                <a:uLnTx/>
                <a:uFillTx/>
                <a:latin typeface="Arial Narrow"/>
                <a:ea typeface="+mn-ea"/>
                <a:cs typeface="+mn-cs"/>
              </a:rPr>
              <a:t> </a:t>
            </a:r>
            <a:r>
              <a:rPr kumimoji="0" lang="fr-FR" sz="1260" b="1"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Platinum-</a:t>
            </a:r>
            <a:r>
              <a:rPr kumimoji="0" lang="fr-FR" sz="1260" b="1" i="0" u="none" strike="noStrike" kern="1200" cap="none" spc="0" normalizeH="0" baseline="0" noProof="0" dirty="0" err="1">
                <a:ln>
                  <a:noFill/>
                </a:ln>
                <a:solidFill>
                  <a:prstClr val="black"/>
                </a:solidFill>
                <a:effectLst/>
                <a:uLnTx/>
                <a:uFillTx/>
                <a:latin typeface="Arial Narrow"/>
                <a:ea typeface="ヒラギノ角ゴ Pro W3"/>
                <a:cs typeface="Arial" panose="020B0604020202020204" pitchFamily="34" charset="0"/>
              </a:rPr>
              <a:t>Resistant</a:t>
            </a:r>
            <a:r>
              <a:rPr kumimoji="0" lang="fr-FR" sz="1260" b="1"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 </a:t>
            </a:r>
          </a:p>
          <a:p>
            <a:pPr marL="0" marR="0" lvl="0" indent="0" algn="ctr" defTabSz="616134" rtl="0" eaLnBrk="0" fontAlgn="base" latinLnBrk="0" hangingPunct="0">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Progression &lt;6 months after completion of </a:t>
            </a:r>
            <a:br>
              <a:rPr kumimoji="0" lang="en-US" sz="108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br>
            <a:r>
              <a:rPr kumimoji="0" lang="en-US" sz="1080" b="0" i="0" u="none" strike="noStrike" kern="1200" cap="none" spc="0" normalizeH="0" baseline="0" noProof="0" dirty="0">
                <a:ln>
                  <a:noFill/>
                </a:ln>
                <a:solidFill>
                  <a:prstClr val="black"/>
                </a:solidFill>
                <a:effectLst/>
                <a:uLnTx/>
                <a:uFillTx/>
                <a:latin typeface="Arial Narrow"/>
                <a:ea typeface="ヒラギノ角ゴ Pro W3"/>
                <a:cs typeface="Arial" panose="020B0604020202020204" pitchFamily="34" charset="0"/>
              </a:rPr>
              <a:t>platinum-based chemotherapy</a:t>
            </a:r>
          </a:p>
        </p:txBody>
      </p:sp>
      <p:cxnSp>
        <p:nvCxnSpPr>
          <p:cNvPr id="45" name="Straight Arrow Connector 44">
            <a:extLst>
              <a:ext uri="{FF2B5EF4-FFF2-40B4-BE49-F238E27FC236}">
                <a16:creationId xmlns:a16="http://schemas.microsoft.com/office/drawing/2014/main" id="{0734EC94-D86C-4026-AA62-6388F828364F}"/>
              </a:ext>
            </a:extLst>
          </p:cNvPr>
          <p:cNvCxnSpPr>
            <a:cxnSpLocks/>
            <a:stCxn id="31" idx="3"/>
            <a:endCxn id="42" idx="1"/>
          </p:cNvCxnSpPr>
          <p:nvPr/>
        </p:nvCxnSpPr>
        <p:spPr>
          <a:xfrm>
            <a:off x="6761871" y="3635280"/>
            <a:ext cx="888860" cy="271"/>
          </a:xfrm>
          <a:prstGeom prst="straightConnector1">
            <a:avLst/>
          </a:prstGeom>
          <a:noFill/>
          <a:ln w="19050">
            <a:solidFill>
              <a:schemeClr val="accent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5" name="Rectangle 54">
            <a:extLst>
              <a:ext uri="{FF2B5EF4-FFF2-40B4-BE49-F238E27FC236}">
                <a16:creationId xmlns:a16="http://schemas.microsoft.com/office/drawing/2014/main" id="{3F60BF8D-C491-4461-ADA8-DF5BE9236988}"/>
              </a:ext>
            </a:extLst>
          </p:cNvPr>
          <p:cNvSpPr>
            <a:spLocks noChangeArrowheads="1"/>
          </p:cNvSpPr>
          <p:nvPr/>
        </p:nvSpPr>
        <p:spPr bwMode="auto">
          <a:xfrm>
            <a:off x="9856327" y="3018331"/>
            <a:ext cx="1316736" cy="1234440"/>
          </a:xfrm>
          <a:prstGeom prst="rect">
            <a:avLst/>
          </a:prstGeom>
          <a:solidFill>
            <a:schemeClr val="accent6"/>
          </a:solidFill>
          <a:ln w="9525">
            <a:noFill/>
            <a:miter lim="800000"/>
            <a:headEnd/>
            <a:tailEnd/>
          </a:ln>
        </p:spPr>
        <p:txBody>
          <a:bodyPr wrap="square" anchor="ctr">
            <a:noAutofit/>
          </a:bodyPr>
          <a:lstStyle/>
          <a:p>
            <a:pPr marL="0" marR="0" lvl="0" indent="0" algn="ctr" defTabSz="616134" rtl="0" eaLnBrk="0" fontAlgn="base" latinLnBrk="0" hangingPunct="0">
              <a:lnSpc>
                <a:spcPct val="100000"/>
              </a:lnSpc>
              <a:spcBef>
                <a:spcPct val="0"/>
              </a:spcBef>
              <a:spcAft>
                <a:spcPct val="0"/>
              </a:spcAft>
              <a:buClrTx/>
              <a:buSzTx/>
              <a:buFontTx/>
              <a:buNone/>
              <a:tabLst/>
              <a:defRPr/>
            </a:pPr>
            <a:r>
              <a:rPr kumimoji="0" lang="fr-FR"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Relapse/</a:t>
            </a:r>
            <a:br>
              <a:rPr kumimoji="0" lang="fr-FR"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br>
            <a:r>
              <a:rPr kumimoji="0" lang="fr-FR"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Progression </a:t>
            </a:r>
            <a:br>
              <a:rPr kumimoji="0" lang="fr-FR"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br>
            <a:r>
              <a:rPr kumimoji="0" lang="fr-FR"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100%)</a:t>
            </a:r>
          </a:p>
        </p:txBody>
      </p:sp>
      <p:sp>
        <p:nvSpPr>
          <p:cNvPr id="31" name="Rectangle 30">
            <a:extLst>
              <a:ext uri="{FF2B5EF4-FFF2-40B4-BE49-F238E27FC236}">
                <a16:creationId xmlns:a16="http://schemas.microsoft.com/office/drawing/2014/main" id="{58671BE2-732D-4344-95C4-85F775BD18FD}"/>
              </a:ext>
            </a:extLst>
          </p:cNvPr>
          <p:cNvSpPr>
            <a:spLocks noChangeArrowheads="1"/>
          </p:cNvSpPr>
          <p:nvPr/>
        </p:nvSpPr>
        <p:spPr bwMode="auto">
          <a:xfrm>
            <a:off x="5445133" y="3223800"/>
            <a:ext cx="1316736" cy="822960"/>
          </a:xfrm>
          <a:prstGeom prst="rect">
            <a:avLst/>
          </a:prstGeom>
          <a:solidFill>
            <a:schemeClr val="accent3"/>
          </a:solidFill>
          <a:ln w="9525">
            <a:noFill/>
            <a:miter lim="800000"/>
            <a:headEnd/>
            <a:tailEnd/>
          </a:ln>
        </p:spPr>
        <p:txBody>
          <a:bodyPr wrap="none" anchor="ctr">
            <a:noAutofit/>
          </a:bodyPr>
          <a:lstStyle/>
          <a:p>
            <a:pPr marL="0" marR="0" lvl="0" indent="0" algn="ctr" defTabSz="616134" rtl="0" eaLnBrk="0" fontAlgn="base" latinLnBrk="0" hangingPunct="0">
              <a:lnSpc>
                <a:spcPct val="100000"/>
              </a:lnSpc>
              <a:spcBef>
                <a:spcPct val="0"/>
              </a:spcBef>
              <a:spcAft>
                <a:spcPct val="0"/>
              </a:spcAft>
              <a:buClrTx/>
              <a:buSzTx/>
              <a:buFontTx/>
              <a:buNone/>
              <a:tabLst/>
              <a:defRPr/>
            </a:pPr>
            <a:r>
              <a:rPr kumimoji="0" lang="en-US"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Relapse/</a:t>
            </a:r>
            <a:br>
              <a:rPr kumimoji="0" lang="en-US"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br>
            <a:r>
              <a:rPr kumimoji="0" lang="en-US"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Progression </a:t>
            </a:r>
            <a:br>
              <a:rPr kumimoji="0" lang="en-US"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br>
            <a:r>
              <a:rPr kumimoji="0" lang="en-US" sz="1260" b="1" i="0" u="none" strike="noStrike" kern="1200" cap="none" spc="0" normalizeH="0" baseline="0" noProof="0" dirty="0">
                <a:ln>
                  <a:noFill/>
                </a:ln>
                <a:solidFill>
                  <a:srgbClr val="FFFFFF"/>
                </a:solidFill>
                <a:effectLst/>
                <a:uLnTx/>
                <a:uFillTx/>
                <a:latin typeface="Arial Narrow"/>
                <a:ea typeface="ヒラギノ角ゴ Pro W3"/>
                <a:cs typeface="Arial" panose="020B0604020202020204" pitchFamily="34" charset="0"/>
              </a:rPr>
              <a:t>(70%–80%)</a:t>
            </a:r>
          </a:p>
        </p:txBody>
      </p:sp>
      <p:cxnSp>
        <p:nvCxnSpPr>
          <p:cNvPr id="41" name="Straight Arrow Connector 40">
            <a:extLst>
              <a:ext uri="{FF2B5EF4-FFF2-40B4-BE49-F238E27FC236}">
                <a16:creationId xmlns:a16="http://schemas.microsoft.com/office/drawing/2014/main" id="{9E29541E-24BC-4D95-943C-864908F25A3D}"/>
              </a:ext>
            </a:extLst>
          </p:cNvPr>
          <p:cNvCxnSpPr>
            <a:cxnSpLocks/>
            <a:stCxn id="42" idx="3"/>
            <a:endCxn id="55" idx="1"/>
          </p:cNvCxnSpPr>
          <p:nvPr/>
        </p:nvCxnSpPr>
        <p:spPr>
          <a:xfrm>
            <a:off x="8967465" y="3635551"/>
            <a:ext cx="888862" cy="0"/>
          </a:xfrm>
          <a:prstGeom prst="straightConnector1">
            <a:avLst/>
          </a:prstGeom>
          <a:noFill/>
          <a:ln w="19050">
            <a:solidFill>
              <a:schemeClr val="accent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7" name="Rectangle 16">
            <a:extLst>
              <a:ext uri="{FF2B5EF4-FFF2-40B4-BE49-F238E27FC236}">
                <a16:creationId xmlns:a16="http://schemas.microsoft.com/office/drawing/2014/main" id="{3C4AA429-AA3D-4567-A801-5D3A2E303223}"/>
              </a:ext>
            </a:extLst>
          </p:cNvPr>
          <p:cNvSpPr>
            <a:spLocks noChangeArrowheads="1"/>
          </p:cNvSpPr>
          <p:nvPr/>
        </p:nvSpPr>
        <p:spPr bwMode="auto">
          <a:xfrm>
            <a:off x="4497389" y="2648329"/>
            <a:ext cx="901208" cy="332592"/>
          </a:xfrm>
          <a:prstGeom prst="rect">
            <a:avLst/>
          </a:prstGeom>
          <a:noFill/>
          <a:ln w="57150">
            <a:noFill/>
            <a:miter lim="800000"/>
            <a:headEnd/>
            <a:tailEnd/>
          </a:ln>
        </p:spPr>
        <p:txBody>
          <a:bodyPr wrap="none" anchor="t">
            <a:spAutoFit/>
          </a:bodyPr>
          <a:lstStyle/>
          <a:p>
            <a:pPr marL="0" marR="0" lvl="0" indent="0" algn="ctr" defTabSz="616134" rtl="0" eaLnBrk="0" fontAlgn="base" latinLnBrk="0" hangingPunct="0">
              <a:lnSpc>
                <a:spcPct val="120000"/>
              </a:lnSpc>
              <a:spcBef>
                <a:spcPct val="0"/>
              </a:spcBef>
              <a:spcAft>
                <a:spcPct val="0"/>
              </a:spcAft>
              <a:buClrTx/>
              <a:buSzTx/>
              <a:buFontTx/>
              <a:buNone/>
              <a:tabLst/>
              <a:defRPr/>
            </a:pPr>
            <a:r>
              <a:rPr kumimoji="0" lang="en-US" sz="1440" b="1" i="0" u="none" strike="noStrike" kern="1200" cap="none" spc="0" normalizeH="0" baseline="0" noProof="0" dirty="0">
                <a:ln>
                  <a:noFill/>
                </a:ln>
                <a:solidFill>
                  <a:srgbClr val="6E1E50"/>
                </a:solidFill>
                <a:effectLst/>
                <a:uLnTx/>
                <a:uFillTx/>
                <a:latin typeface="Arial Narrow"/>
                <a:ea typeface="ヒラギノ角ゴ Pro W3"/>
                <a:cs typeface="Arial" panose="020B0604020202020204" pitchFamily="34" charset="0"/>
              </a:rPr>
              <a:t>Follow-up</a:t>
            </a:r>
          </a:p>
        </p:txBody>
      </p:sp>
      <p:pic>
        <p:nvPicPr>
          <p:cNvPr id="4" name="Picture 4" descr="logo U pitt 1[1]">
            <a:extLst>
              <a:ext uri="{FF2B5EF4-FFF2-40B4-BE49-F238E27FC236}">
                <a16:creationId xmlns:a16="http://schemas.microsoft.com/office/drawing/2014/main" id="{519A0CCE-1F2D-EFCA-D900-372FA0E62C3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88891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193DE-F8E6-B2C8-610D-F3C0D6356E0D}"/>
              </a:ext>
            </a:extLst>
          </p:cNvPr>
          <p:cNvSpPr>
            <a:spLocks noGrp="1"/>
          </p:cNvSpPr>
          <p:nvPr>
            <p:ph type="title"/>
          </p:nvPr>
        </p:nvSpPr>
        <p:spPr>
          <a:xfrm>
            <a:off x="926783" y="520486"/>
            <a:ext cx="10424159" cy="1028700"/>
          </a:xfrm>
        </p:spPr>
        <p:txBody>
          <a:bodyPr>
            <a:normAutofit fontScale="90000"/>
          </a:bodyPr>
          <a:lstStyle/>
          <a:p>
            <a:pPr algn="ctr"/>
            <a:r>
              <a:rPr lang="en-US" i="0" dirty="0">
                <a:solidFill>
                  <a:schemeClr val="accent4">
                    <a:lumMod val="50000"/>
                  </a:schemeClr>
                </a:solidFill>
                <a:effectLst/>
              </a:rPr>
              <a:t>Second-line Platinum </a:t>
            </a:r>
            <a:r>
              <a:rPr lang="en-US" dirty="0">
                <a:solidFill>
                  <a:schemeClr val="accent4">
                    <a:lumMod val="50000"/>
                  </a:schemeClr>
                </a:solidFill>
              </a:rPr>
              <a:t>T</a:t>
            </a:r>
            <a:r>
              <a:rPr lang="en-US" i="0" dirty="0">
                <a:solidFill>
                  <a:schemeClr val="accent4">
                    <a:lumMod val="50000"/>
                  </a:schemeClr>
                </a:solidFill>
                <a:effectLst/>
              </a:rPr>
              <a:t>herapy in Patients with Ovarian </a:t>
            </a:r>
            <a:r>
              <a:rPr lang="en-US" dirty="0">
                <a:solidFill>
                  <a:schemeClr val="accent4">
                    <a:lumMod val="50000"/>
                  </a:schemeClr>
                </a:solidFill>
              </a:rPr>
              <a:t>C</a:t>
            </a:r>
            <a:r>
              <a:rPr lang="en-US" i="0" dirty="0">
                <a:solidFill>
                  <a:schemeClr val="accent4">
                    <a:lumMod val="50000"/>
                  </a:schemeClr>
                </a:solidFill>
                <a:effectLst/>
              </a:rPr>
              <a:t>ancer </a:t>
            </a:r>
            <a:r>
              <a:rPr lang="en-US" dirty="0">
                <a:solidFill>
                  <a:schemeClr val="accent4">
                    <a:lumMod val="50000"/>
                  </a:schemeClr>
                </a:solidFill>
              </a:rPr>
              <a:t>P</a:t>
            </a:r>
            <a:r>
              <a:rPr lang="en-US" i="0" dirty="0">
                <a:solidFill>
                  <a:schemeClr val="accent4">
                    <a:lumMod val="50000"/>
                  </a:schemeClr>
                </a:solidFill>
                <a:effectLst/>
              </a:rPr>
              <a:t>reviously </a:t>
            </a:r>
            <a:r>
              <a:rPr lang="en-US" dirty="0">
                <a:solidFill>
                  <a:schemeClr val="accent4">
                    <a:lumMod val="50000"/>
                  </a:schemeClr>
                </a:solidFill>
              </a:rPr>
              <a:t>T</a:t>
            </a:r>
            <a:r>
              <a:rPr lang="en-US" i="0" dirty="0">
                <a:solidFill>
                  <a:schemeClr val="accent4">
                    <a:lumMod val="50000"/>
                  </a:schemeClr>
                </a:solidFill>
                <a:effectLst/>
              </a:rPr>
              <a:t>reated with Cisplatin</a:t>
            </a:r>
            <a:endParaRPr lang="en-US" dirty="0">
              <a:solidFill>
                <a:schemeClr val="accent4">
                  <a:lumMod val="50000"/>
                </a:schemeClr>
              </a:solidFill>
            </a:endParaRPr>
          </a:p>
        </p:txBody>
      </p:sp>
      <p:sp>
        <p:nvSpPr>
          <p:cNvPr id="3" name="Content Placeholder 2">
            <a:extLst>
              <a:ext uri="{FF2B5EF4-FFF2-40B4-BE49-F238E27FC236}">
                <a16:creationId xmlns:a16="http://schemas.microsoft.com/office/drawing/2014/main" id="{1E26E70C-080B-744B-EB22-00AAD92CDAB4}"/>
              </a:ext>
            </a:extLst>
          </p:cNvPr>
          <p:cNvSpPr>
            <a:spLocks noGrp="1"/>
          </p:cNvSpPr>
          <p:nvPr>
            <p:ph idx="1"/>
          </p:nvPr>
        </p:nvSpPr>
        <p:spPr>
          <a:xfrm>
            <a:off x="926783" y="1711640"/>
            <a:ext cx="10106977" cy="4073366"/>
          </a:xfrm>
        </p:spPr>
        <p:txBody>
          <a:bodyPr>
            <a:normAutofit/>
            <a:scene3d>
              <a:camera prst="orthographicFront"/>
              <a:lightRig rig="threePt" dir="t"/>
            </a:scene3d>
            <a:sp3d extrusionH="57150">
              <a:bevelT w="38100" h="38100" prst="relaxedInset"/>
            </a:sp3d>
          </a:bodyPr>
          <a:lstStyle/>
          <a:p>
            <a:r>
              <a:rPr lang="en-US" sz="1980" dirty="0"/>
              <a:t>Cisplatin-free interval (PFI) of </a:t>
            </a:r>
            <a:r>
              <a:rPr lang="en-US" b="1" dirty="0">
                <a:solidFill>
                  <a:schemeClr val="tx2"/>
                </a:solidFill>
              </a:rPr>
              <a:t>&gt; 4 </a:t>
            </a:r>
            <a:r>
              <a:rPr lang="en-US" sz="1980" dirty="0"/>
              <a:t>months between the completion of their first regimen and the institution of a second cisplatin/carboplatin program</a:t>
            </a:r>
          </a:p>
          <a:p>
            <a:pPr marL="0" indent="0">
              <a:buNone/>
            </a:pPr>
            <a:endParaRPr lang="en-US" sz="1980" dirty="0"/>
          </a:p>
          <a:p>
            <a:r>
              <a:rPr lang="en-US" sz="1980" b="1" dirty="0"/>
              <a:t>31/62 (50% response rate {RR})</a:t>
            </a:r>
          </a:p>
          <a:p>
            <a:pPr lvl="1"/>
            <a:r>
              <a:rPr lang="en-US" sz="1980" dirty="0"/>
              <a:t>PFI = 5 to 12 months, RR= 27%</a:t>
            </a:r>
          </a:p>
          <a:p>
            <a:pPr lvl="1"/>
            <a:r>
              <a:rPr lang="en-US" sz="1980" dirty="0"/>
              <a:t> PFI = 13 to 24 months, RR = 33% </a:t>
            </a:r>
          </a:p>
          <a:p>
            <a:pPr lvl="1"/>
            <a:r>
              <a:rPr lang="en-US" sz="1980" dirty="0"/>
              <a:t>PFI &gt; 24 months, RR= 59% </a:t>
            </a:r>
          </a:p>
          <a:p>
            <a:pPr marL="411480" lvl="1" indent="0">
              <a:buNone/>
            </a:pPr>
            <a:endParaRPr lang="en-US" sz="1980" dirty="0"/>
          </a:p>
          <a:p>
            <a:pPr marL="411480" lvl="1" indent="0">
              <a:buNone/>
            </a:pPr>
            <a:r>
              <a:rPr lang="en-US" sz="1980" b="1" i="1" dirty="0"/>
              <a:t>“In conclusion, secondary responses to cisplatin/carboplatin-based treatment are common in patients with ovarian cancer who have previously responded to the agents and increase in frequency with greater distance from the initial therapy”</a:t>
            </a:r>
          </a:p>
        </p:txBody>
      </p:sp>
      <p:sp>
        <p:nvSpPr>
          <p:cNvPr id="5" name="Text Placeholder 3">
            <a:extLst>
              <a:ext uri="{FF2B5EF4-FFF2-40B4-BE49-F238E27FC236}">
                <a16:creationId xmlns:a16="http://schemas.microsoft.com/office/drawing/2014/main" id="{71EA4AA8-65F2-2E19-2810-F988FB80AD3B}"/>
              </a:ext>
            </a:extLst>
          </p:cNvPr>
          <p:cNvSpPr txBox="1">
            <a:spLocks/>
          </p:cNvSpPr>
          <p:nvPr/>
        </p:nvSpPr>
        <p:spPr>
          <a:xfrm>
            <a:off x="609601" y="6067224"/>
            <a:ext cx="3103246" cy="270290"/>
          </a:xfrm>
          <a:prstGeom prst="rect">
            <a:avLst/>
          </a:prstGeom>
        </p:spPr>
        <p:txBody>
          <a:bodyPr>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4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20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22960" rtl="0" eaLnBrk="1" fontAlgn="auto" latinLnBrk="0" hangingPunct="1">
              <a:lnSpc>
                <a:spcPct val="90000"/>
              </a:lnSpc>
              <a:spcBef>
                <a:spcPts val="900"/>
              </a:spcBef>
              <a:spcAft>
                <a:spcPts val="0"/>
              </a:spcAft>
              <a:buClr>
                <a:srgbClr val="489F9E"/>
              </a:buClr>
              <a:buSzTx/>
              <a:buFont typeface="Arial" panose="020B0604020202020204" pitchFamily="34" charset="0"/>
              <a:buNone/>
              <a:tabLst/>
              <a:defRPr/>
            </a:pPr>
            <a:r>
              <a:rPr kumimoji="0" lang="en-US" sz="720" b="0" i="0" u="none" strike="noStrike" kern="1200" cap="none" spc="0" normalizeH="0" baseline="0" noProof="0">
                <a:ln>
                  <a:noFill/>
                </a:ln>
                <a:solidFill>
                  <a:prstClr val="black"/>
                </a:solidFill>
                <a:effectLst/>
                <a:uLnTx/>
                <a:uFillTx/>
                <a:latin typeface="Arial" panose="020B0604020202020204"/>
                <a:ea typeface="+mn-ea"/>
                <a:cs typeface="+mn-cs"/>
              </a:rPr>
              <a:t>Markman M, et al. </a:t>
            </a:r>
            <a:r>
              <a:rPr kumimoji="0" lang="en-US" sz="720" b="0" i="1" u="none" strike="noStrike" kern="1200" cap="none" spc="0" normalizeH="0" baseline="0" noProof="0">
                <a:ln>
                  <a:noFill/>
                </a:ln>
                <a:solidFill>
                  <a:prstClr val="black"/>
                </a:solidFill>
                <a:effectLst/>
                <a:uLnTx/>
                <a:uFillTx/>
                <a:latin typeface="Arial" panose="020B0604020202020204"/>
                <a:ea typeface="+mn-ea"/>
                <a:cs typeface="+mn-cs"/>
              </a:rPr>
              <a:t>J Clin Oncol. </a:t>
            </a:r>
            <a:r>
              <a:rPr kumimoji="0" lang="en-US" sz="720" b="0" i="0" u="none" strike="noStrike" kern="1200" cap="none" spc="0" normalizeH="0" baseline="0" noProof="0">
                <a:ln>
                  <a:noFill/>
                </a:ln>
                <a:solidFill>
                  <a:prstClr val="black"/>
                </a:solidFill>
                <a:effectLst/>
                <a:uLnTx/>
                <a:uFillTx/>
                <a:latin typeface="Arial" panose="020B0604020202020204"/>
                <a:ea typeface="+mn-ea"/>
                <a:cs typeface="+mn-cs"/>
              </a:rPr>
              <a:t>1991;Mar;9(3):389-93.</a:t>
            </a:r>
          </a:p>
        </p:txBody>
      </p:sp>
      <p:pic>
        <p:nvPicPr>
          <p:cNvPr id="6" name="Picture 4" descr="logo U pitt 1[1]">
            <a:extLst>
              <a:ext uri="{FF2B5EF4-FFF2-40B4-BE49-F238E27FC236}">
                <a16:creationId xmlns:a16="http://schemas.microsoft.com/office/drawing/2014/main" id="{0736E5A3-57C5-600B-D9DD-227596CEE25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70831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8A394-668E-8DBD-C9F7-662EB93ED88F}"/>
            </a:ext>
          </a:extLst>
        </p:cNvPr>
        <p:cNvGrpSpPr/>
        <p:nvPr/>
      </p:nvGrpSpPr>
      <p:grpSpPr>
        <a:xfrm>
          <a:off x="0" y="0"/>
          <a:ext cx="0" cy="0"/>
          <a:chOff x="0" y="0"/>
          <a:chExt cx="0" cy="0"/>
        </a:xfrm>
      </p:grpSpPr>
      <p:pic>
        <p:nvPicPr>
          <p:cNvPr id="2" name="Picture 4" descr="logo U pitt 1[1]">
            <a:extLst>
              <a:ext uri="{FF2B5EF4-FFF2-40B4-BE49-F238E27FC236}">
                <a16:creationId xmlns:a16="http://schemas.microsoft.com/office/drawing/2014/main" id="{A39E367B-57F6-BFD5-96B6-12A7AE69951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90E82E95-3F8D-E99B-CCC5-CB860456C0D6}"/>
              </a:ext>
            </a:extLst>
          </p:cNvPr>
          <p:cNvPicPr>
            <a:picLocks noChangeAspect="1"/>
          </p:cNvPicPr>
          <p:nvPr/>
        </p:nvPicPr>
        <p:blipFill>
          <a:blip r:embed="rId3"/>
          <a:stretch>
            <a:fillRect/>
          </a:stretch>
        </p:blipFill>
        <p:spPr>
          <a:xfrm>
            <a:off x="740333" y="291464"/>
            <a:ext cx="9326880" cy="5247907"/>
          </a:xfrm>
          <a:prstGeom prst="rect">
            <a:avLst/>
          </a:prstGeom>
        </p:spPr>
      </p:pic>
    </p:spTree>
    <p:extLst>
      <p:ext uri="{BB962C8B-B14F-4D97-AF65-F5344CB8AC3E}">
        <p14:creationId xmlns:p14="http://schemas.microsoft.com/office/powerpoint/2010/main" val="17637760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8A394-668E-8DBD-C9F7-662EB93ED88F}"/>
            </a:ext>
          </a:extLst>
        </p:cNvPr>
        <p:cNvGrpSpPr/>
        <p:nvPr/>
      </p:nvGrpSpPr>
      <p:grpSpPr>
        <a:xfrm>
          <a:off x="0" y="0"/>
          <a:ext cx="0" cy="0"/>
          <a:chOff x="0" y="0"/>
          <a:chExt cx="0" cy="0"/>
        </a:xfrm>
      </p:grpSpPr>
      <p:pic>
        <p:nvPicPr>
          <p:cNvPr id="4" name="Picture 4" descr="logo U pitt 1[1]">
            <a:extLst>
              <a:ext uri="{FF2B5EF4-FFF2-40B4-BE49-F238E27FC236}">
                <a16:creationId xmlns:a16="http://schemas.microsoft.com/office/drawing/2014/main" id="{229610F8-21A2-73E4-37F6-6DEDE5AB307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3">
            <a:extLst>
              <a:ext uri="{FF2B5EF4-FFF2-40B4-BE49-F238E27FC236}">
                <a16:creationId xmlns:a16="http://schemas.microsoft.com/office/drawing/2014/main" id="{C08F4EB5-4D6F-F54B-9EE2-E219B9829A01}"/>
              </a:ext>
            </a:extLst>
          </p:cNvPr>
          <p:cNvSpPr>
            <a:spLocks noChangeArrowheads="1"/>
          </p:cNvSpPr>
          <p:nvPr/>
        </p:nvSpPr>
        <p:spPr bwMode="auto">
          <a:xfrm>
            <a:off x="937261" y="1458484"/>
            <a:ext cx="10467974"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3840" b="1" i="0" u="none" strike="noStrike" kern="1200" cap="none" spc="0" normalizeH="0" baseline="0" noProof="0" dirty="0">
              <a:ln>
                <a:noFill/>
              </a:ln>
              <a:solidFill>
                <a:srgbClr val="0E2841"/>
              </a:solidFill>
              <a:effectLst/>
              <a:uLnTx/>
              <a:uFillTx/>
              <a:latin typeface="Calibri" panose="020F0502020204030204" pitchFamily="34" charset="0"/>
              <a:ea typeface="MS PGothic" panose="020B0600070205080204" pitchFamily="34"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3840" b="1"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pic>
        <p:nvPicPr>
          <p:cNvPr id="3" name="Picture 2">
            <a:extLst>
              <a:ext uri="{FF2B5EF4-FFF2-40B4-BE49-F238E27FC236}">
                <a16:creationId xmlns:a16="http://schemas.microsoft.com/office/drawing/2014/main" id="{8DF473F0-2B9D-7093-41AD-33533ED65A10}"/>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r="1020"/>
          <a:stretch>
            <a:fillRect/>
          </a:stretch>
        </p:blipFill>
        <p:spPr>
          <a:xfrm>
            <a:off x="290863" y="423899"/>
            <a:ext cx="9706577" cy="5379684"/>
          </a:xfrm>
          <a:prstGeom prst="rect">
            <a:avLst/>
          </a:prstGeom>
        </p:spPr>
      </p:pic>
      <p:sp>
        <p:nvSpPr>
          <p:cNvPr id="6" name="Text Placeholder 5">
            <a:extLst>
              <a:ext uri="{FF2B5EF4-FFF2-40B4-BE49-F238E27FC236}">
                <a16:creationId xmlns:a16="http://schemas.microsoft.com/office/drawing/2014/main" id="{66DD8DD9-8BD9-DB65-4BBF-0EEC6759B12E}"/>
              </a:ext>
            </a:extLst>
          </p:cNvPr>
          <p:cNvSpPr txBox="1">
            <a:spLocks/>
          </p:cNvSpPr>
          <p:nvPr/>
        </p:nvSpPr>
        <p:spPr>
          <a:xfrm>
            <a:off x="692757" y="6368544"/>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Colombo N et al. ESMO 2025. LBA3</a:t>
            </a:r>
          </a:p>
        </p:txBody>
      </p:sp>
    </p:spTree>
    <p:extLst>
      <p:ext uri="{BB962C8B-B14F-4D97-AF65-F5344CB8AC3E}">
        <p14:creationId xmlns:p14="http://schemas.microsoft.com/office/powerpoint/2010/main" val="27045321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8A394-668E-8DBD-C9F7-662EB93ED88F}"/>
            </a:ext>
          </a:extLst>
        </p:cNvPr>
        <p:cNvGrpSpPr/>
        <p:nvPr/>
      </p:nvGrpSpPr>
      <p:grpSpPr>
        <a:xfrm>
          <a:off x="0" y="0"/>
          <a:ext cx="0" cy="0"/>
          <a:chOff x="0" y="0"/>
          <a:chExt cx="0" cy="0"/>
        </a:xfrm>
      </p:grpSpPr>
      <p:pic>
        <p:nvPicPr>
          <p:cNvPr id="3" name="Picture 4" descr="logo U pitt 1[1]">
            <a:extLst>
              <a:ext uri="{FF2B5EF4-FFF2-40B4-BE49-F238E27FC236}">
                <a16:creationId xmlns:a16="http://schemas.microsoft.com/office/drawing/2014/main" id="{0202C2F9-3BC1-B269-8F5E-E8F5B66E8B9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3">
            <a:extLst>
              <a:ext uri="{FF2B5EF4-FFF2-40B4-BE49-F238E27FC236}">
                <a16:creationId xmlns:a16="http://schemas.microsoft.com/office/drawing/2014/main" id="{C08F4EB5-4D6F-F54B-9EE2-E219B9829A01}"/>
              </a:ext>
            </a:extLst>
          </p:cNvPr>
          <p:cNvSpPr>
            <a:spLocks noChangeArrowheads="1"/>
          </p:cNvSpPr>
          <p:nvPr/>
        </p:nvSpPr>
        <p:spPr bwMode="auto">
          <a:xfrm>
            <a:off x="937261" y="1458484"/>
            <a:ext cx="10467974"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3840" b="1" i="0" u="none" strike="noStrike" kern="1200" cap="none" spc="0" normalizeH="0" baseline="0" noProof="0" dirty="0">
              <a:ln>
                <a:noFill/>
              </a:ln>
              <a:solidFill>
                <a:srgbClr val="0E2841"/>
              </a:solidFill>
              <a:effectLst/>
              <a:uLnTx/>
              <a:uFillTx/>
              <a:latin typeface="Calibri" panose="020F0502020204030204" pitchFamily="34" charset="0"/>
              <a:ea typeface="MS PGothic" panose="020B0600070205080204" pitchFamily="34"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3840" b="1"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pic>
        <p:nvPicPr>
          <p:cNvPr id="4" name="Picture 3">
            <a:extLst>
              <a:ext uri="{FF2B5EF4-FFF2-40B4-BE49-F238E27FC236}">
                <a16:creationId xmlns:a16="http://schemas.microsoft.com/office/drawing/2014/main" id="{996A1552-97A9-6BF4-17AA-86D1A0D96C2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06390" y="177164"/>
            <a:ext cx="10480660" cy="5900992"/>
          </a:xfrm>
          <a:prstGeom prst="rect">
            <a:avLst/>
          </a:prstGeom>
        </p:spPr>
      </p:pic>
      <p:sp>
        <p:nvSpPr>
          <p:cNvPr id="7" name="Text Placeholder 5">
            <a:extLst>
              <a:ext uri="{FF2B5EF4-FFF2-40B4-BE49-F238E27FC236}">
                <a16:creationId xmlns:a16="http://schemas.microsoft.com/office/drawing/2014/main" id="{7411A84A-9F8D-3581-60DB-A53B35A51D72}"/>
              </a:ext>
            </a:extLst>
          </p:cNvPr>
          <p:cNvSpPr txBox="1">
            <a:spLocks/>
          </p:cNvSpPr>
          <p:nvPr/>
        </p:nvSpPr>
        <p:spPr>
          <a:xfrm>
            <a:off x="692757" y="6368544"/>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Colombo N et al. ESMO 2025. LBA3</a:t>
            </a:r>
          </a:p>
        </p:txBody>
      </p:sp>
      <p:sp>
        <p:nvSpPr>
          <p:cNvPr id="6" name="TextBox 5">
            <a:extLst>
              <a:ext uri="{FF2B5EF4-FFF2-40B4-BE49-F238E27FC236}">
                <a16:creationId xmlns:a16="http://schemas.microsoft.com/office/drawing/2014/main" id="{94FA6FBA-A4E5-070A-2E8B-F959B020A0F5}"/>
              </a:ext>
            </a:extLst>
          </p:cNvPr>
          <p:cNvSpPr txBox="1"/>
          <p:nvPr/>
        </p:nvSpPr>
        <p:spPr>
          <a:xfrm>
            <a:off x="9240253" y="362387"/>
            <a:ext cx="300082"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t>
            </a:r>
          </a:p>
        </p:txBody>
      </p:sp>
      <p:sp>
        <p:nvSpPr>
          <p:cNvPr id="8" name="TextBox 7">
            <a:extLst>
              <a:ext uri="{FF2B5EF4-FFF2-40B4-BE49-F238E27FC236}">
                <a16:creationId xmlns:a16="http://schemas.microsoft.com/office/drawing/2014/main" id="{6A9508FF-CD85-9252-8515-EB1733B385A5}"/>
              </a:ext>
            </a:extLst>
          </p:cNvPr>
          <p:cNvSpPr txBox="1"/>
          <p:nvPr/>
        </p:nvSpPr>
        <p:spPr>
          <a:xfrm>
            <a:off x="106390" y="6068855"/>
            <a:ext cx="2897204"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A2 = interim analysis 2</a:t>
            </a:r>
          </a:p>
        </p:txBody>
      </p:sp>
    </p:spTree>
    <p:extLst>
      <p:ext uri="{BB962C8B-B14F-4D97-AF65-F5344CB8AC3E}">
        <p14:creationId xmlns:p14="http://schemas.microsoft.com/office/powerpoint/2010/main" val="259517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8A394-668E-8DBD-C9F7-662EB93ED88F}"/>
            </a:ext>
          </a:extLst>
        </p:cNvPr>
        <p:cNvGrpSpPr/>
        <p:nvPr/>
      </p:nvGrpSpPr>
      <p:grpSpPr>
        <a:xfrm>
          <a:off x="0" y="0"/>
          <a:ext cx="0" cy="0"/>
          <a:chOff x="0" y="0"/>
          <a:chExt cx="0" cy="0"/>
        </a:xfrm>
      </p:grpSpPr>
      <p:pic>
        <p:nvPicPr>
          <p:cNvPr id="4" name="Picture 4" descr="logo U pitt 1[1]">
            <a:extLst>
              <a:ext uri="{FF2B5EF4-FFF2-40B4-BE49-F238E27FC236}">
                <a16:creationId xmlns:a16="http://schemas.microsoft.com/office/drawing/2014/main" id="{4C4F49DA-3627-CE23-4F24-BE6DE3F7D4B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3">
            <a:extLst>
              <a:ext uri="{FF2B5EF4-FFF2-40B4-BE49-F238E27FC236}">
                <a16:creationId xmlns:a16="http://schemas.microsoft.com/office/drawing/2014/main" id="{C08F4EB5-4D6F-F54B-9EE2-E219B9829A01}"/>
              </a:ext>
            </a:extLst>
          </p:cNvPr>
          <p:cNvSpPr>
            <a:spLocks noChangeArrowheads="1"/>
          </p:cNvSpPr>
          <p:nvPr/>
        </p:nvSpPr>
        <p:spPr bwMode="auto">
          <a:xfrm>
            <a:off x="937261" y="1458484"/>
            <a:ext cx="10467974"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3840" b="1" i="0" u="none" strike="noStrike" kern="1200" cap="none" spc="0" normalizeH="0" baseline="0" noProof="0" dirty="0">
              <a:ln>
                <a:noFill/>
              </a:ln>
              <a:solidFill>
                <a:srgbClr val="0E2841"/>
              </a:solidFill>
              <a:effectLst/>
              <a:uLnTx/>
              <a:uFillTx/>
              <a:latin typeface="Calibri" panose="020F0502020204030204" pitchFamily="34" charset="0"/>
              <a:ea typeface="MS PGothic" panose="020B0600070205080204" pitchFamily="34"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3840" b="1"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pic>
        <p:nvPicPr>
          <p:cNvPr id="3" name="Picture 2">
            <a:extLst>
              <a:ext uri="{FF2B5EF4-FFF2-40B4-BE49-F238E27FC236}">
                <a16:creationId xmlns:a16="http://schemas.microsoft.com/office/drawing/2014/main" id="{3E3B61F6-3F10-8972-BDAA-2C89E1005A9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00603" y="103668"/>
            <a:ext cx="10508495" cy="5867474"/>
          </a:xfrm>
          <a:prstGeom prst="rect">
            <a:avLst/>
          </a:prstGeom>
        </p:spPr>
      </p:pic>
      <p:sp>
        <p:nvSpPr>
          <p:cNvPr id="7" name="Text Placeholder 5">
            <a:extLst>
              <a:ext uri="{FF2B5EF4-FFF2-40B4-BE49-F238E27FC236}">
                <a16:creationId xmlns:a16="http://schemas.microsoft.com/office/drawing/2014/main" id="{7C7825D1-3AA5-A325-4FEB-D3702D6CE324}"/>
              </a:ext>
            </a:extLst>
          </p:cNvPr>
          <p:cNvSpPr txBox="1">
            <a:spLocks/>
          </p:cNvSpPr>
          <p:nvPr/>
        </p:nvSpPr>
        <p:spPr>
          <a:xfrm>
            <a:off x="692757" y="6368544"/>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Colombo N et al. ESMO 2025. LBA3</a:t>
            </a:r>
          </a:p>
        </p:txBody>
      </p:sp>
      <p:sp>
        <p:nvSpPr>
          <p:cNvPr id="6" name="TextBox 5">
            <a:extLst>
              <a:ext uri="{FF2B5EF4-FFF2-40B4-BE49-F238E27FC236}">
                <a16:creationId xmlns:a16="http://schemas.microsoft.com/office/drawing/2014/main" id="{7F85590E-523C-EF44-79C5-851887F59C76}"/>
              </a:ext>
            </a:extLst>
          </p:cNvPr>
          <p:cNvSpPr txBox="1"/>
          <p:nvPr/>
        </p:nvSpPr>
        <p:spPr>
          <a:xfrm>
            <a:off x="10106531" y="689645"/>
            <a:ext cx="300082"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t>
            </a:r>
          </a:p>
        </p:txBody>
      </p:sp>
      <p:sp>
        <p:nvSpPr>
          <p:cNvPr id="8" name="TextBox 7">
            <a:extLst>
              <a:ext uri="{FF2B5EF4-FFF2-40B4-BE49-F238E27FC236}">
                <a16:creationId xmlns:a16="http://schemas.microsoft.com/office/drawing/2014/main" id="{AD120455-E082-A765-3726-D6D1EA005120}"/>
              </a:ext>
            </a:extLst>
          </p:cNvPr>
          <p:cNvSpPr txBox="1"/>
          <p:nvPr/>
        </p:nvSpPr>
        <p:spPr>
          <a:xfrm>
            <a:off x="57490" y="5956657"/>
            <a:ext cx="2897204"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A2 = interim analysis 2</a:t>
            </a:r>
          </a:p>
        </p:txBody>
      </p:sp>
    </p:spTree>
    <p:extLst>
      <p:ext uri="{BB962C8B-B14F-4D97-AF65-F5344CB8AC3E}">
        <p14:creationId xmlns:p14="http://schemas.microsoft.com/office/powerpoint/2010/main" val="592858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8A394-668E-8DBD-C9F7-662EB93ED88F}"/>
            </a:ext>
          </a:extLst>
        </p:cNvPr>
        <p:cNvGrpSpPr/>
        <p:nvPr/>
      </p:nvGrpSpPr>
      <p:grpSpPr>
        <a:xfrm>
          <a:off x="0" y="0"/>
          <a:ext cx="0" cy="0"/>
          <a:chOff x="0" y="0"/>
          <a:chExt cx="0" cy="0"/>
        </a:xfrm>
      </p:grpSpPr>
      <p:pic>
        <p:nvPicPr>
          <p:cNvPr id="4" name="Picture 4" descr="logo U pitt 1[1]">
            <a:extLst>
              <a:ext uri="{FF2B5EF4-FFF2-40B4-BE49-F238E27FC236}">
                <a16:creationId xmlns:a16="http://schemas.microsoft.com/office/drawing/2014/main" id="{58766408-F89C-99CB-63FE-FA10A0C5A4D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3">
            <a:extLst>
              <a:ext uri="{FF2B5EF4-FFF2-40B4-BE49-F238E27FC236}">
                <a16:creationId xmlns:a16="http://schemas.microsoft.com/office/drawing/2014/main" id="{C08F4EB5-4D6F-F54B-9EE2-E219B9829A01}"/>
              </a:ext>
            </a:extLst>
          </p:cNvPr>
          <p:cNvSpPr>
            <a:spLocks noChangeArrowheads="1"/>
          </p:cNvSpPr>
          <p:nvPr/>
        </p:nvSpPr>
        <p:spPr bwMode="auto">
          <a:xfrm>
            <a:off x="937261" y="1458484"/>
            <a:ext cx="10467974"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3840" b="1" i="0" u="none" strike="noStrike" kern="1200" cap="none" spc="0" normalizeH="0" baseline="0" noProof="0" dirty="0">
              <a:ln>
                <a:noFill/>
              </a:ln>
              <a:solidFill>
                <a:srgbClr val="0E2841"/>
              </a:solidFill>
              <a:effectLst/>
              <a:uLnTx/>
              <a:uFillTx/>
              <a:latin typeface="Calibri" panose="020F0502020204030204" pitchFamily="34" charset="0"/>
              <a:ea typeface="MS PGothic" panose="020B0600070205080204" pitchFamily="34"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3840" b="1"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pic>
        <p:nvPicPr>
          <p:cNvPr id="3" name="Picture 2">
            <a:extLst>
              <a:ext uri="{FF2B5EF4-FFF2-40B4-BE49-F238E27FC236}">
                <a16:creationId xmlns:a16="http://schemas.microsoft.com/office/drawing/2014/main" id="{751F1B3F-8EE6-9749-381F-8F36657C178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b="1351"/>
          <a:stretch>
            <a:fillRect/>
          </a:stretch>
        </p:blipFill>
        <p:spPr>
          <a:xfrm>
            <a:off x="334337" y="166877"/>
            <a:ext cx="10147677" cy="5627995"/>
          </a:xfrm>
          <a:prstGeom prst="rect">
            <a:avLst/>
          </a:prstGeom>
        </p:spPr>
      </p:pic>
      <p:sp>
        <p:nvSpPr>
          <p:cNvPr id="7" name="Text Placeholder 5">
            <a:extLst>
              <a:ext uri="{FF2B5EF4-FFF2-40B4-BE49-F238E27FC236}">
                <a16:creationId xmlns:a16="http://schemas.microsoft.com/office/drawing/2014/main" id="{86B393B1-8E58-35B6-CB67-D15E8D3D61AB}"/>
              </a:ext>
            </a:extLst>
          </p:cNvPr>
          <p:cNvSpPr txBox="1">
            <a:spLocks/>
          </p:cNvSpPr>
          <p:nvPr/>
        </p:nvSpPr>
        <p:spPr>
          <a:xfrm>
            <a:off x="692757" y="6368544"/>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Colombo N et al. ESMO 2025. LBA3</a:t>
            </a:r>
          </a:p>
        </p:txBody>
      </p:sp>
      <p:sp>
        <p:nvSpPr>
          <p:cNvPr id="6" name="TextBox 5">
            <a:extLst>
              <a:ext uri="{FF2B5EF4-FFF2-40B4-BE49-F238E27FC236}">
                <a16:creationId xmlns:a16="http://schemas.microsoft.com/office/drawing/2014/main" id="{FD6BD602-858D-C238-B2D2-258B1CE8046B}"/>
              </a:ext>
            </a:extLst>
          </p:cNvPr>
          <p:cNvSpPr txBox="1"/>
          <p:nvPr/>
        </p:nvSpPr>
        <p:spPr>
          <a:xfrm>
            <a:off x="6171248" y="372011"/>
            <a:ext cx="300082"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t>
            </a:r>
          </a:p>
        </p:txBody>
      </p:sp>
      <p:sp>
        <p:nvSpPr>
          <p:cNvPr id="8" name="TextBox 7">
            <a:extLst>
              <a:ext uri="{FF2B5EF4-FFF2-40B4-BE49-F238E27FC236}">
                <a16:creationId xmlns:a16="http://schemas.microsoft.com/office/drawing/2014/main" id="{12BED738-DE77-6C48-DDCE-D3D97ADDF938}"/>
              </a:ext>
            </a:extLst>
          </p:cNvPr>
          <p:cNvSpPr txBox="1"/>
          <p:nvPr/>
        </p:nvSpPr>
        <p:spPr>
          <a:xfrm>
            <a:off x="261384" y="5794872"/>
            <a:ext cx="2897204"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A2 = interim analysis 2</a:t>
            </a:r>
          </a:p>
        </p:txBody>
      </p:sp>
    </p:spTree>
    <p:extLst>
      <p:ext uri="{BB962C8B-B14F-4D97-AF65-F5344CB8AC3E}">
        <p14:creationId xmlns:p14="http://schemas.microsoft.com/office/powerpoint/2010/main" val="1110009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8A394-668E-8DBD-C9F7-662EB93ED88F}"/>
            </a:ext>
          </a:extLst>
        </p:cNvPr>
        <p:cNvGrpSpPr/>
        <p:nvPr/>
      </p:nvGrpSpPr>
      <p:grpSpPr>
        <a:xfrm>
          <a:off x="0" y="0"/>
          <a:ext cx="0" cy="0"/>
          <a:chOff x="0" y="0"/>
          <a:chExt cx="0" cy="0"/>
        </a:xfrm>
      </p:grpSpPr>
      <p:pic>
        <p:nvPicPr>
          <p:cNvPr id="2" name="Picture 4" descr="logo U pitt 1[1]">
            <a:extLst>
              <a:ext uri="{FF2B5EF4-FFF2-40B4-BE49-F238E27FC236}">
                <a16:creationId xmlns:a16="http://schemas.microsoft.com/office/drawing/2014/main" id="{FFCEB764-2BBA-448D-E937-179D73704AA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FF256542-1BAE-07E1-5ED2-E6381326B87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42738" y="110170"/>
            <a:ext cx="10332146" cy="5772837"/>
          </a:xfrm>
          <a:prstGeom prst="rect">
            <a:avLst/>
          </a:prstGeom>
        </p:spPr>
      </p:pic>
      <p:sp>
        <p:nvSpPr>
          <p:cNvPr id="6" name="Text Placeholder 5">
            <a:extLst>
              <a:ext uri="{FF2B5EF4-FFF2-40B4-BE49-F238E27FC236}">
                <a16:creationId xmlns:a16="http://schemas.microsoft.com/office/drawing/2014/main" id="{CEA87631-D864-70EC-2C8F-DAD1F19189D0}"/>
              </a:ext>
            </a:extLst>
          </p:cNvPr>
          <p:cNvSpPr txBox="1">
            <a:spLocks/>
          </p:cNvSpPr>
          <p:nvPr/>
        </p:nvSpPr>
        <p:spPr>
          <a:xfrm>
            <a:off x="692757" y="6368544"/>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Colombo N et al. ESMO 2025. LBA3</a:t>
            </a:r>
          </a:p>
        </p:txBody>
      </p:sp>
      <p:sp>
        <p:nvSpPr>
          <p:cNvPr id="7" name="TextBox 6">
            <a:extLst>
              <a:ext uri="{FF2B5EF4-FFF2-40B4-BE49-F238E27FC236}">
                <a16:creationId xmlns:a16="http://schemas.microsoft.com/office/drawing/2014/main" id="{630EDA91-454B-56A9-9FA7-872FC21CB632}"/>
              </a:ext>
            </a:extLst>
          </p:cNvPr>
          <p:cNvSpPr txBox="1"/>
          <p:nvPr/>
        </p:nvSpPr>
        <p:spPr>
          <a:xfrm>
            <a:off x="9395711" y="323885"/>
            <a:ext cx="300082"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t>
            </a:r>
          </a:p>
        </p:txBody>
      </p:sp>
      <p:sp>
        <p:nvSpPr>
          <p:cNvPr id="8" name="TextBox 7">
            <a:extLst>
              <a:ext uri="{FF2B5EF4-FFF2-40B4-BE49-F238E27FC236}">
                <a16:creationId xmlns:a16="http://schemas.microsoft.com/office/drawing/2014/main" id="{D5F3F5DA-F27A-404A-DC17-D54723F4DEDE}"/>
              </a:ext>
            </a:extLst>
          </p:cNvPr>
          <p:cNvSpPr txBox="1"/>
          <p:nvPr/>
        </p:nvSpPr>
        <p:spPr>
          <a:xfrm>
            <a:off x="168514" y="5817601"/>
            <a:ext cx="2897204"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A2 = interim analysis 2</a:t>
            </a:r>
          </a:p>
        </p:txBody>
      </p:sp>
    </p:spTree>
    <p:extLst>
      <p:ext uri="{BB962C8B-B14F-4D97-AF65-F5344CB8AC3E}">
        <p14:creationId xmlns:p14="http://schemas.microsoft.com/office/powerpoint/2010/main" val="186041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FCD92-EC72-7C77-35AD-3D2C496B20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A9D419-1DEB-0423-F223-74C941A85DFE}"/>
              </a:ext>
            </a:extLst>
          </p:cNvPr>
          <p:cNvSpPr>
            <a:spLocks noGrp="1"/>
          </p:cNvSpPr>
          <p:nvPr>
            <p:ph type="title"/>
          </p:nvPr>
        </p:nvSpPr>
        <p:spPr>
          <a:xfrm>
            <a:off x="916516" y="116632"/>
            <a:ext cx="10358967" cy="1196752"/>
          </a:xfrm>
        </p:spPr>
        <p:txBody>
          <a:bodyPr/>
          <a:lstStyle/>
          <a:p>
            <a:r>
              <a:rPr lang="en-US" sz="3200" dirty="0">
                <a:solidFill>
                  <a:srgbClr val="0432FF"/>
                </a:solidFill>
              </a:rPr>
              <a:t>Dr Secord — Disclosures</a:t>
            </a:r>
            <a:br>
              <a:rPr lang="en-US" sz="3200" dirty="0">
                <a:solidFill>
                  <a:srgbClr val="0432FF"/>
                </a:solidFill>
              </a:rPr>
            </a:br>
            <a:r>
              <a:rPr lang="en-US" sz="3200" dirty="0">
                <a:solidFill>
                  <a:srgbClr val="0432FF"/>
                </a:solidFill>
              </a:rPr>
              <a:t>Consulting Clinical Investigator</a:t>
            </a:r>
          </a:p>
        </p:txBody>
      </p:sp>
      <p:graphicFrame>
        <p:nvGraphicFramePr>
          <p:cNvPr id="5" name="Content Placeholder 3">
            <a:extLst>
              <a:ext uri="{FF2B5EF4-FFF2-40B4-BE49-F238E27FC236}">
                <a16:creationId xmlns:a16="http://schemas.microsoft.com/office/drawing/2014/main" id="{197F58FD-80AF-53DD-A67B-446CCEB7D4A8}"/>
              </a:ext>
            </a:extLst>
          </p:cNvPr>
          <p:cNvGraphicFramePr>
            <a:graphicFrameLocks/>
          </p:cNvGraphicFramePr>
          <p:nvPr>
            <p:extLst>
              <p:ext uri="{D42A27DB-BD31-4B8C-83A1-F6EECF244321}">
                <p14:modId xmlns:p14="http://schemas.microsoft.com/office/powerpoint/2010/main" val="3279147389"/>
              </p:ext>
            </p:extLst>
          </p:nvPr>
        </p:nvGraphicFramePr>
        <p:xfrm>
          <a:off x="1236095" y="1484784"/>
          <a:ext cx="9719807" cy="4631033"/>
        </p:xfrm>
        <a:graphic>
          <a:graphicData uri="http://schemas.openxmlformats.org/drawingml/2006/table">
            <a:tbl>
              <a:tblPr firstRow="1" bandRow="1">
                <a:tableStyleId>{F2DE63D5-997A-4646-A377-4702673A728D}</a:tableStyleId>
              </a:tblPr>
              <a:tblGrid>
                <a:gridCol w="2843681">
                  <a:extLst>
                    <a:ext uri="{9D8B030D-6E8A-4147-A177-3AD203B41FA5}">
                      <a16:colId xmlns:a16="http://schemas.microsoft.com/office/drawing/2014/main" val="20000"/>
                    </a:ext>
                  </a:extLst>
                </a:gridCol>
                <a:gridCol w="6876126">
                  <a:extLst>
                    <a:ext uri="{9D8B030D-6E8A-4147-A177-3AD203B41FA5}">
                      <a16:colId xmlns:a16="http://schemas.microsoft.com/office/drawing/2014/main" val="20001"/>
                    </a:ext>
                  </a:extLst>
                </a:gridCol>
              </a:tblGrid>
              <a:tr h="1115965">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raZeneca Pharmaceuticals LP, Daiichi Sankyo Inc, Foundation Medicine, Genmab US Inc, Gilead Sciences Inc, GSK, </a:t>
                      </a:r>
                      <a:r>
                        <a:rPr lang="en-US" sz="1800" b="0" kern="1200" dirty="0" err="1">
                          <a:solidFill>
                            <a:schemeClr val="tx1"/>
                          </a:solidFill>
                          <a:effectLst/>
                          <a:latin typeface="+mn-lt"/>
                          <a:ea typeface="+mn-ea"/>
                          <a:cs typeface="+mn-cs"/>
                        </a:rPr>
                        <a:t>HistoSonics</a:t>
                      </a:r>
                      <a:r>
                        <a:rPr lang="en-US" sz="1800" b="0" kern="1200" dirty="0">
                          <a:solidFill>
                            <a:schemeClr val="tx1"/>
                          </a:solidFill>
                          <a:effectLst/>
                          <a:latin typeface="+mn-lt"/>
                          <a:ea typeface="+mn-ea"/>
                          <a:cs typeface="+mn-cs"/>
                        </a:rPr>
                        <a:t>, Medtronic Inc,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566128">
                <a:tc>
                  <a:txBody>
                    <a:bodyPr/>
                    <a:lstStyle/>
                    <a:p>
                      <a:r>
                        <a:rPr lang="en-US" sz="1800" b="1" kern="1200" dirty="0">
                          <a:solidFill>
                            <a:schemeClr val="tx1"/>
                          </a:solidFill>
                          <a:effectLst/>
                          <a:latin typeface="+mn-lt"/>
                          <a:ea typeface="+mn-ea"/>
                          <a:cs typeface="+mn-cs"/>
                        </a:rPr>
                        <a:t>Clinical Trial Steering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enmab US Inc, </a:t>
                      </a:r>
                      <a:r>
                        <a:rPr lang="en-US" sz="1800" b="0" kern="1200" dirty="0" err="1">
                          <a:solidFill>
                            <a:schemeClr val="tx1"/>
                          </a:solidFill>
                          <a:effectLst/>
                          <a:latin typeface="+mn-lt"/>
                          <a:ea typeface="+mn-ea"/>
                          <a:cs typeface="+mn-cs"/>
                        </a:rPr>
                        <a:t>OncoQuest</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3242662"/>
                  </a:ext>
                </a:extLst>
              </a:tr>
              <a:tr h="566128">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SK,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7504049"/>
                  </a:ext>
                </a:extLst>
              </a:tr>
              <a:tr h="1362116">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t>
                      </a:r>
                      <a:r>
                        <a:rPr lang="en-US" sz="1800" b="0" kern="1200" dirty="0" err="1">
                          <a:solidFill>
                            <a:schemeClr val="tx1"/>
                          </a:solidFill>
                          <a:effectLst/>
                          <a:latin typeface="+mn-lt"/>
                          <a:ea typeface="+mn-ea"/>
                          <a:cs typeface="+mn-cs"/>
                        </a:rPr>
                        <a:t>Aravive</a:t>
                      </a:r>
                      <a:r>
                        <a:rPr lang="en-US" sz="1800" b="0" kern="1200" dirty="0">
                          <a:solidFill>
                            <a:schemeClr val="tx1"/>
                          </a:solidFill>
                          <a:effectLst/>
                          <a:latin typeface="+mn-lt"/>
                          <a:ea typeface="+mn-ea"/>
                          <a:cs typeface="+mn-cs"/>
                        </a:rPr>
                        <a:t> Inc, AstraZeneca Pharmaceuticals LP, Canaria Bio Inc, Daiichi Sankyo Inc, Ellipses Pharma, Genentech, a member of the Roche Group, Genmab US Inc, GSK,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Karyopharm</a:t>
                      </a:r>
                      <a:r>
                        <a:rPr lang="en-US" sz="1800" b="0" kern="1200" dirty="0">
                          <a:solidFill>
                            <a:schemeClr val="tx1"/>
                          </a:solidFill>
                          <a:effectLst/>
                          <a:latin typeface="+mn-lt"/>
                          <a:ea typeface="+mn-ea"/>
                          <a:cs typeface="+mn-cs"/>
                        </a:rPr>
                        <a:t> Therapeutics, Merck, Mersana Therapeutics Inc, Myriad Genetic Laboratories Inc, </a:t>
                      </a:r>
                      <a:r>
                        <a:rPr lang="en-US" sz="1800" b="0" kern="1200" dirty="0" err="1">
                          <a:solidFill>
                            <a:schemeClr val="tx1"/>
                          </a:solidFill>
                          <a:effectLst/>
                          <a:latin typeface="+mn-lt"/>
                          <a:ea typeface="+mn-ea"/>
                          <a:cs typeface="+mn-cs"/>
                        </a:rPr>
                        <a:t>OncoQuest</a:t>
                      </a:r>
                      <a:r>
                        <a:rPr lang="en-US" sz="1800" b="0" kern="1200" dirty="0">
                          <a:solidFill>
                            <a:schemeClr val="tx1"/>
                          </a:solidFill>
                          <a:effectLst/>
                          <a:latin typeface="+mn-lt"/>
                          <a:ea typeface="+mn-ea"/>
                          <a:cs typeface="+mn-cs"/>
                        </a:rPr>
                        <a:t> Inc, TORL </a:t>
                      </a:r>
                      <a:r>
                        <a:rPr lang="en-US" sz="1800" b="0" kern="1200" dirty="0" err="1">
                          <a:solidFill>
                            <a:schemeClr val="tx1"/>
                          </a:solidFill>
                          <a:effectLst/>
                          <a:latin typeface="+mn-lt"/>
                          <a:ea typeface="+mn-ea"/>
                          <a:cs typeface="+mn-cs"/>
                        </a:rPr>
                        <a:t>BioTherapeutic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Zentalis</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1159672"/>
                  </a:ext>
                </a:extLst>
              </a:tr>
              <a:tr h="566128">
                <a:tc>
                  <a:txBody>
                    <a:bodyPr/>
                    <a:lstStyle/>
                    <a:p>
                      <a:r>
                        <a:rPr lang="en-US" sz="1800" b="1" kern="1200" dirty="0">
                          <a:solidFill>
                            <a:schemeClr val="tx1"/>
                          </a:solidFill>
                          <a:effectLst/>
                          <a:latin typeface="+mn-lt"/>
                          <a:ea typeface="+mn-ea"/>
                          <a:cs typeface="+mn-cs"/>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Stock in Amgen Inc and Johnson &amp; Johnson, divested in June 2024</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9778301"/>
                  </a:ext>
                </a:extLst>
              </a:tr>
            </a:tbl>
          </a:graphicData>
        </a:graphic>
      </p:graphicFrame>
    </p:spTree>
    <p:custDataLst>
      <p:tags r:id="rId1"/>
    </p:custDataLst>
    <p:extLst>
      <p:ext uri="{BB962C8B-B14F-4D97-AF65-F5344CB8AC3E}">
        <p14:creationId xmlns:p14="http://schemas.microsoft.com/office/powerpoint/2010/main" val="3986299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74AE5-89A2-5B30-755D-02B91467A4C2}"/>
              </a:ext>
            </a:extLst>
          </p:cNvPr>
          <p:cNvSpPr>
            <a:spLocks noGrp="1"/>
          </p:cNvSpPr>
          <p:nvPr>
            <p:ph type="title"/>
          </p:nvPr>
        </p:nvSpPr>
        <p:spPr/>
        <p:txBody>
          <a:bodyPr>
            <a:normAutofit fontScale="90000"/>
          </a:bodyPr>
          <a:lstStyle/>
          <a:p>
            <a:r>
              <a:rPr lang="en-US" b="1" dirty="0">
                <a:solidFill>
                  <a:schemeClr val="accent6">
                    <a:lumMod val="50000"/>
                  </a:schemeClr>
                </a:solidFill>
              </a:rPr>
              <a:t>FDA approves pembrolizumab with paclitaxel for platinum-resistant epithelial ovarian, fallopian tube, or primary peritoneal carcinoma</a:t>
            </a:r>
          </a:p>
        </p:txBody>
      </p:sp>
      <p:sp>
        <p:nvSpPr>
          <p:cNvPr id="3" name="Content Placeholder 2">
            <a:extLst>
              <a:ext uri="{FF2B5EF4-FFF2-40B4-BE49-F238E27FC236}">
                <a16:creationId xmlns:a16="http://schemas.microsoft.com/office/drawing/2014/main" id="{B169E8A2-FF16-EE7D-640C-80947DEC899C}"/>
              </a:ext>
            </a:extLst>
          </p:cNvPr>
          <p:cNvSpPr>
            <a:spLocks noGrp="1"/>
          </p:cNvSpPr>
          <p:nvPr>
            <p:ph idx="1"/>
          </p:nvPr>
        </p:nvSpPr>
        <p:spPr>
          <a:xfrm>
            <a:off x="838200" y="1998880"/>
            <a:ext cx="10515600" cy="4351338"/>
          </a:xfrm>
        </p:spPr>
        <p:txBody>
          <a:bodyPr>
            <a:normAutofit fontScale="92500" lnSpcReduction="10000"/>
          </a:bodyPr>
          <a:lstStyle/>
          <a:p>
            <a:pPr marL="0" indent="0">
              <a:buNone/>
            </a:pPr>
            <a:r>
              <a:rPr lang="en-US" dirty="0"/>
              <a:t>“On February 10, 2026, the Food and Drug Administration approved pembrolizumab as well as pembrolizumab and </a:t>
            </a:r>
            <a:r>
              <a:rPr lang="en-US" dirty="0" err="1"/>
              <a:t>berahyaluronidase</a:t>
            </a:r>
            <a:r>
              <a:rPr lang="en-US" dirty="0"/>
              <a:t> alfa-</a:t>
            </a:r>
            <a:r>
              <a:rPr lang="en-US" dirty="0" err="1"/>
              <a:t>pmph</a:t>
            </a:r>
            <a:r>
              <a:rPr lang="en-US" dirty="0"/>
              <a:t> in combination with paclitaxel, with or without bevacizumab, for adult patients with platinum-resistant epithelial ovarian, fallopian tube, or primary peritoneal carcinoma whose tumors express PD-L1 (CPS≥1) as determined by an FDA-authorized test, and who have received one or two prior systemic treatment regimens.</a:t>
            </a:r>
          </a:p>
          <a:p>
            <a:pPr marL="0" indent="0">
              <a:buNone/>
            </a:pPr>
            <a:r>
              <a:rPr lang="en-US" dirty="0"/>
              <a:t>…Efficacy was evaluated in KEYNOTE-B96 (NCT05116189), a multicenter, randomized, double-blind, placebo-controlled trial that enrolled 643 patients with platinum-resistant, epithelial ovarian, fallopian tube, or primary peritoneal carcinoma who received one or two prior lines of systemic therapy for ovarian carcinoma.” </a:t>
            </a:r>
          </a:p>
        </p:txBody>
      </p:sp>
      <p:sp>
        <p:nvSpPr>
          <p:cNvPr id="4" name="Text Placeholder 5">
            <a:extLst>
              <a:ext uri="{FF2B5EF4-FFF2-40B4-BE49-F238E27FC236}">
                <a16:creationId xmlns:a16="http://schemas.microsoft.com/office/drawing/2014/main" id="{74CFE6B6-1F0A-BE4A-C7F4-0039A4F873E7}"/>
              </a:ext>
            </a:extLst>
          </p:cNvPr>
          <p:cNvSpPr txBox="1">
            <a:spLocks/>
          </p:cNvSpPr>
          <p:nvPr/>
        </p:nvSpPr>
        <p:spPr>
          <a:xfrm>
            <a:off x="692756" y="6368544"/>
            <a:ext cx="10337795"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ttps://www.fda.gov/drugs/resources-information-approved-drugs/fda-approves-pembrolizumab-paclitaxel-platinum-resistant-epithelial-ovarian-fallopian-tube-or</a:t>
            </a:r>
          </a:p>
        </p:txBody>
      </p:sp>
    </p:spTree>
    <p:extLst>
      <p:ext uri="{BB962C8B-B14F-4D97-AF65-F5344CB8AC3E}">
        <p14:creationId xmlns:p14="http://schemas.microsoft.com/office/powerpoint/2010/main" val="42570973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3E967C-2C5B-77EB-A7AD-91382D6F7866}"/>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B14580DD-089E-B81E-E8C4-E3C17A207126}"/>
              </a:ext>
            </a:extLst>
          </p:cNvPr>
          <p:cNvPicPr>
            <a:picLocks noChangeAspect="1"/>
          </p:cNvPicPr>
          <p:nvPr/>
        </p:nvPicPr>
        <p:blipFill>
          <a:blip r:embed="rId3"/>
          <a:stretch>
            <a:fillRect/>
          </a:stretch>
        </p:blipFill>
        <p:spPr>
          <a:xfrm>
            <a:off x="1060400" y="1388126"/>
            <a:ext cx="10071200" cy="3488520"/>
          </a:xfrm>
          <a:prstGeom prst="rect">
            <a:avLst/>
          </a:prstGeom>
        </p:spPr>
      </p:pic>
      <p:pic>
        <p:nvPicPr>
          <p:cNvPr id="3" name="Picture 4" descr="logo U pitt 1[1]">
            <a:extLst>
              <a:ext uri="{FF2B5EF4-FFF2-40B4-BE49-F238E27FC236}">
                <a16:creationId xmlns:a16="http://schemas.microsoft.com/office/drawing/2014/main" id="{FB4B0C08-A436-D2EF-9D53-DB9C70B5409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Placeholder 5">
            <a:extLst>
              <a:ext uri="{FF2B5EF4-FFF2-40B4-BE49-F238E27FC236}">
                <a16:creationId xmlns:a16="http://schemas.microsoft.com/office/drawing/2014/main" id="{FF354F4E-C338-3909-7102-E022048DB40A}"/>
              </a:ext>
            </a:extLst>
          </p:cNvPr>
          <p:cNvSpPr txBox="1">
            <a:spLocks/>
          </p:cNvSpPr>
          <p:nvPr/>
        </p:nvSpPr>
        <p:spPr>
          <a:xfrm>
            <a:off x="692757" y="6368544"/>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Olawaiye</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A et al. Lancet. 2025;405(10496):P2205-2216</a:t>
            </a:r>
          </a:p>
        </p:txBody>
      </p:sp>
    </p:spTree>
    <p:extLst>
      <p:ext uri="{BB962C8B-B14F-4D97-AF65-F5344CB8AC3E}">
        <p14:creationId xmlns:p14="http://schemas.microsoft.com/office/powerpoint/2010/main" val="10272047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8A394-668E-8DBD-C9F7-662EB93ED88F}"/>
            </a:ext>
          </a:extLst>
        </p:cNvPr>
        <p:cNvGrpSpPr/>
        <p:nvPr/>
      </p:nvGrpSpPr>
      <p:grpSpPr>
        <a:xfrm>
          <a:off x="0" y="0"/>
          <a:ext cx="0" cy="0"/>
          <a:chOff x="0" y="0"/>
          <a:chExt cx="0" cy="0"/>
        </a:xfrm>
      </p:grpSpPr>
      <p:pic>
        <p:nvPicPr>
          <p:cNvPr id="4" name="Picture 4" descr="logo U pitt 1[1]">
            <a:extLst>
              <a:ext uri="{FF2B5EF4-FFF2-40B4-BE49-F238E27FC236}">
                <a16:creationId xmlns:a16="http://schemas.microsoft.com/office/drawing/2014/main" id="{5CEA2E17-72BC-0385-9C35-A1BBAF7BED7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B6835DDB-5CB2-FAA9-2EDB-D3A81C5E312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408444" y="131489"/>
            <a:ext cx="5525607" cy="6595021"/>
          </a:xfrm>
          <a:prstGeom prst="rect">
            <a:avLst/>
          </a:prstGeom>
        </p:spPr>
      </p:pic>
      <p:sp>
        <p:nvSpPr>
          <p:cNvPr id="6" name="Text Placeholder 5">
            <a:extLst>
              <a:ext uri="{FF2B5EF4-FFF2-40B4-BE49-F238E27FC236}">
                <a16:creationId xmlns:a16="http://schemas.microsoft.com/office/drawing/2014/main" id="{9072C051-CF7C-ACB5-E909-9978B6BF5248}"/>
              </a:ext>
            </a:extLst>
          </p:cNvPr>
          <p:cNvSpPr txBox="1">
            <a:spLocks/>
          </p:cNvSpPr>
          <p:nvPr/>
        </p:nvSpPr>
        <p:spPr>
          <a:xfrm>
            <a:off x="692757" y="6368544"/>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Olawaiye</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A et al. ASCO 2025</a:t>
            </a:r>
          </a:p>
        </p:txBody>
      </p:sp>
    </p:spTree>
    <p:extLst>
      <p:ext uri="{BB962C8B-B14F-4D97-AF65-F5344CB8AC3E}">
        <p14:creationId xmlns:p14="http://schemas.microsoft.com/office/powerpoint/2010/main" val="2026928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79CE899-01CC-77DF-B620-C8DDA857FD61}"/>
              </a:ext>
            </a:extLst>
          </p:cNvPr>
          <p:cNvSpPr>
            <a:spLocks noGrp="1"/>
          </p:cNvSpPr>
          <p:nvPr>
            <p:ph type="body" sz="quarter" idx="15"/>
          </p:nvPr>
        </p:nvSpPr>
        <p:spPr>
          <a:xfrm>
            <a:off x="326704" y="5998484"/>
            <a:ext cx="7490592" cy="431482"/>
          </a:xfrm>
        </p:spPr>
        <p:txBody>
          <a:bodyPr vert="horz" lIns="82296" tIns="41148" rIns="82296" bIns="41148" rtlCol="0" anchor="b" anchorCtr="0">
            <a:noAutofit/>
          </a:bodyPr>
          <a:lstStyle/>
          <a:p>
            <a:pPr>
              <a:spcAft>
                <a:spcPts val="270"/>
              </a:spcAft>
            </a:pPr>
            <a:r>
              <a:rPr lang="en-US" sz="720" dirty="0">
                <a:latin typeface="+mj-lt"/>
              </a:rPr>
              <a:t>CA, cancer antigen; CBR, clinical benefit rate; </a:t>
            </a:r>
            <a:r>
              <a:rPr lang="en-US" sz="720" dirty="0" err="1">
                <a:latin typeface="+mj-lt"/>
              </a:rPr>
              <a:t>DoR</a:t>
            </a:r>
            <a:r>
              <a:rPr lang="en-US" sz="720" dirty="0">
                <a:latin typeface="+mj-lt"/>
              </a:rPr>
              <a:t>, duration of response; ECOG, Eastern Cooperative Oncology Group; GCIG, Gynecologic Cancer Intergroup; IV, intravenous; ORR, objective response rate; PFS, progression-free survival; PO, by mouth; RECIST, Response Evaluation Criteria in Solid Tumors.</a:t>
            </a:r>
          </a:p>
        </p:txBody>
      </p:sp>
      <p:grpSp>
        <p:nvGrpSpPr>
          <p:cNvPr id="10" name="Group 9">
            <a:extLst>
              <a:ext uri="{FF2B5EF4-FFF2-40B4-BE49-F238E27FC236}">
                <a16:creationId xmlns:a16="http://schemas.microsoft.com/office/drawing/2014/main" id="{9D71A354-D24F-5DA4-36D4-1559B333115C}"/>
              </a:ext>
            </a:extLst>
          </p:cNvPr>
          <p:cNvGrpSpPr/>
          <p:nvPr/>
        </p:nvGrpSpPr>
        <p:grpSpPr>
          <a:xfrm>
            <a:off x="437136" y="1475752"/>
            <a:ext cx="11317728" cy="4060191"/>
            <a:chOff x="892028" y="1745698"/>
            <a:chExt cx="10508200" cy="3769776"/>
          </a:xfrm>
        </p:grpSpPr>
        <p:grpSp>
          <p:nvGrpSpPr>
            <p:cNvPr id="192" name="Group 191">
              <a:extLst>
                <a:ext uri="{FF2B5EF4-FFF2-40B4-BE49-F238E27FC236}">
                  <a16:creationId xmlns:a16="http://schemas.microsoft.com/office/drawing/2014/main" id="{7E3AF3A2-E96A-0E54-0811-D4277637CD89}"/>
                </a:ext>
              </a:extLst>
            </p:cNvPr>
            <p:cNvGrpSpPr/>
            <p:nvPr/>
          </p:nvGrpSpPr>
          <p:grpSpPr>
            <a:xfrm>
              <a:off x="3246981" y="1815755"/>
              <a:ext cx="5380602" cy="2032319"/>
              <a:chOff x="3169070" y="2431226"/>
              <a:chExt cx="5978446" cy="2258130"/>
            </a:xfrm>
          </p:grpSpPr>
          <p:grpSp>
            <p:nvGrpSpPr>
              <p:cNvPr id="71" name="object 35">
                <a:extLst>
                  <a:ext uri="{FF2B5EF4-FFF2-40B4-BE49-F238E27FC236}">
                    <a16:creationId xmlns:a16="http://schemas.microsoft.com/office/drawing/2014/main" id="{EDC098CB-6477-AD17-ECD3-5229BE75F9B3}"/>
                  </a:ext>
                </a:extLst>
              </p:cNvPr>
              <p:cNvGrpSpPr/>
              <p:nvPr/>
            </p:nvGrpSpPr>
            <p:grpSpPr>
              <a:xfrm>
                <a:off x="4582444" y="2530471"/>
                <a:ext cx="173643" cy="71976"/>
                <a:chOff x="5779057" y="4724446"/>
                <a:chExt cx="490220" cy="203200"/>
              </a:xfrm>
            </p:grpSpPr>
            <p:pic>
              <p:nvPicPr>
                <p:cNvPr id="72" name="object 36">
                  <a:extLst>
                    <a:ext uri="{FF2B5EF4-FFF2-40B4-BE49-F238E27FC236}">
                      <a16:creationId xmlns:a16="http://schemas.microsoft.com/office/drawing/2014/main" id="{760F1EAD-3E8D-6C78-E5F3-36FBEDFDA0C8}"/>
                    </a:ext>
                  </a:extLst>
                </p:cNvPr>
                <p:cNvPicPr/>
                <p:nvPr/>
              </p:nvPicPr>
              <p:blipFill>
                <a:blip r:embed="rId3" cstate="print"/>
                <a:stretch>
                  <a:fillRect/>
                </a:stretch>
              </p:blipFill>
              <p:spPr>
                <a:xfrm>
                  <a:off x="5779057" y="4724446"/>
                  <a:ext cx="234615" cy="203192"/>
                </a:xfrm>
                <a:prstGeom prst="rect">
                  <a:avLst/>
                </a:prstGeom>
              </p:spPr>
            </p:pic>
            <p:pic>
              <p:nvPicPr>
                <p:cNvPr id="73" name="object 37">
                  <a:extLst>
                    <a:ext uri="{FF2B5EF4-FFF2-40B4-BE49-F238E27FC236}">
                      <a16:creationId xmlns:a16="http://schemas.microsoft.com/office/drawing/2014/main" id="{81E3FE69-AE58-2D2F-6133-18E6413D42FA}"/>
                    </a:ext>
                  </a:extLst>
                </p:cNvPr>
                <p:cNvPicPr/>
                <p:nvPr/>
              </p:nvPicPr>
              <p:blipFill>
                <a:blip r:embed="rId4" cstate="print"/>
                <a:stretch>
                  <a:fillRect/>
                </a:stretch>
              </p:blipFill>
              <p:spPr>
                <a:xfrm>
                  <a:off x="6034353" y="4724446"/>
                  <a:ext cx="234615" cy="203192"/>
                </a:xfrm>
                <a:prstGeom prst="rect">
                  <a:avLst/>
                </a:prstGeom>
              </p:spPr>
            </p:pic>
          </p:grpSp>
          <p:grpSp>
            <p:nvGrpSpPr>
              <p:cNvPr id="74" name="object 38">
                <a:extLst>
                  <a:ext uri="{FF2B5EF4-FFF2-40B4-BE49-F238E27FC236}">
                    <a16:creationId xmlns:a16="http://schemas.microsoft.com/office/drawing/2014/main" id="{4EE7C75F-6A3D-DFCC-0E38-9B7BE47C087C}"/>
                  </a:ext>
                </a:extLst>
              </p:cNvPr>
              <p:cNvGrpSpPr/>
              <p:nvPr/>
            </p:nvGrpSpPr>
            <p:grpSpPr>
              <a:xfrm>
                <a:off x="5125021" y="2530471"/>
                <a:ext cx="261589" cy="71976"/>
                <a:chOff x="7310831" y="4724446"/>
                <a:chExt cx="738505" cy="203200"/>
              </a:xfrm>
            </p:grpSpPr>
            <p:pic>
              <p:nvPicPr>
                <p:cNvPr id="75" name="object 39">
                  <a:extLst>
                    <a:ext uri="{FF2B5EF4-FFF2-40B4-BE49-F238E27FC236}">
                      <a16:creationId xmlns:a16="http://schemas.microsoft.com/office/drawing/2014/main" id="{895B3033-86C5-3F35-CE3A-5617872971BB}"/>
                    </a:ext>
                  </a:extLst>
                </p:cNvPr>
                <p:cNvPicPr/>
                <p:nvPr/>
              </p:nvPicPr>
              <p:blipFill>
                <a:blip r:embed="rId5" cstate="print"/>
                <a:stretch>
                  <a:fillRect/>
                </a:stretch>
              </p:blipFill>
              <p:spPr>
                <a:xfrm>
                  <a:off x="7310831" y="4724446"/>
                  <a:ext cx="483059" cy="203192"/>
                </a:xfrm>
                <a:prstGeom prst="rect">
                  <a:avLst/>
                </a:prstGeom>
              </p:spPr>
            </p:pic>
            <p:pic>
              <p:nvPicPr>
                <p:cNvPr id="77" name="object 40">
                  <a:extLst>
                    <a:ext uri="{FF2B5EF4-FFF2-40B4-BE49-F238E27FC236}">
                      <a16:creationId xmlns:a16="http://schemas.microsoft.com/office/drawing/2014/main" id="{7216AC77-C914-13B6-F040-E7D4660523B4}"/>
                    </a:ext>
                  </a:extLst>
                </p:cNvPr>
                <p:cNvPicPr/>
                <p:nvPr/>
              </p:nvPicPr>
              <p:blipFill>
                <a:blip r:embed="rId4" cstate="print"/>
                <a:stretch>
                  <a:fillRect/>
                </a:stretch>
              </p:blipFill>
              <p:spPr>
                <a:xfrm>
                  <a:off x="7814570" y="4724446"/>
                  <a:ext cx="234615" cy="203192"/>
                </a:xfrm>
                <a:prstGeom prst="rect">
                  <a:avLst/>
                </a:prstGeom>
              </p:spPr>
            </p:pic>
          </p:grpSp>
          <p:grpSp>
            <p:nvGrpSpPr>
              <p:cNvPr id="78" name="object 41">
                <a:extLst>
                  <a:ext uri="{FF2B5EF4-FFF2-40B4-BE49-F238E27FC236}">
                    <a16:creationId xmlns:a16="http://schemas.microsoft.com/office/drawing/2014/main" id="{C7D050F5-DBF1-EC72-4B81-9FFFA6FE47C6}"/>
                  </a:ext>
                </a:extLst>
              </p:cNvPr>
              <p:cNvGrpSpPr/>
              <p:nvPr/>
            </p:nvGrpSpPr>
            <p:grpSpPr>
              <a:xfrm>
                <a:off x="5755597" y="2530471"/>
                <a:ext cx="259340" cy="71976"/>
                <a:chOff x="9091041" y="4724446"/>
                <a:chExt cx="732155" cy="203200"/>
              </a:xfrm>
            </p:grpSpPr>
            <p:pic>
              <p:nvPicPr>
                <p:cNvPr id="79" name="object 42">
                  <a:extLst>
                    <a:ext uri="{FF2B5EF4-FFF2-40B4-BE49-F238E27FC236}">
                      <a16:creationId xmlns:a16="http://schemas.microsoft.com/office/drawing/2014/main" id="{CE46E1EF-C305-A66E-DB97-AD6BBBEE08C6}"/>
                    </a:ext>
                  </a:extLst>
                </p:cNvPr>
                <p:cNvPicPr/>
                <p:nvPr/>
              </p:nvPicPr>
              <p:blipFill>
                <a:blip r:embed="rId6" cstate="print"/>
                <a:stretch>
                  <a:fillRect/>
                </a:stretch>
              </p:blipFill>
              <p:spPr>
                <a:xfrm>
                  <a:off x="9091041" y="4724446"/>
                  <a:ext cx="476283" cy="203192"/>
                </a:xfrm>
                <a:prstGeom prst="rect">
                  <a:avLst/>
                </a:prstGeom>
              </p:spPr>
            </p:pic>
            <p:pic>
              <p:nvPicPr>
                <p:cNvPr id="80" name="object 43">
                  <a:extLst>
                    <a:ext uri="{FF2B5EF4-FFF2-40B4-BE49-F238E27FC236}">
                      <a16:creationId xmlns:a16="http://schemas.microsoft.com/office/drawing/2014/main" id="{BD7CBF9B-6144-FE02-FCE1-2A91C23D2D1C}"/>
                    </a:ext>
                  </a:extLst>
                </p:cNvPr>
                <p:cNvPicPr/>
                <p:nvPr/>
              </p:nvPicPr>
              <p:blipFill>
                <a:blip r:embed="rId4" cstate="print"/>
                <a:stretch>
                  <a:fillRect/>
                </a:stretch>
              </p:blipFill>
              <p:spPr>
                <a:xfrm>
                  <a:off x="9588003" y="4724446"/>
                  <a:ext cx="234615" cy="203192"/>
                </a:xfrm>
                <a:prstGeom prst="rect">
                  <a:avLst/>
                </a:prstGeom>
              </p:spPr>
            </p:pic>
          </p:grpSp>
          <p:pic>
            <p:nvPicPr>
              <p:cNvPr id="81" name="object 44">
                <a:extLst>
                  <a:ext uri="{FF2B5EF4-FFF2-40B4-BE49-F238E27FC236}">
                    <a16:creationId xmlns:a16="http://schemas.microsoft.com/office/drawing/2014/main" id="{6CA7EB71-6096-19D3-A70B-58122E190512}"/>
                  </a:ext>
                </a:extLst>
              </p:cNvPr>
              <p:cNvPicPr/>
              <p:nvPr/>
            </p:nvPicPr>
            <p:blipFill>
              <a:blip r:embed="rId4" cstate="print"/>
              <a:stretch>
                <a:fillRect/>
              </a:stretch>
            </p:blipFill>
            <p:spPr>
              <a:xfrm>
                <a:off x="6961264" y="2530471"/>
                <a:ext cx="83106" cy="71974"/>
              </a:xfrm>
              <a:prstGeom prst="rect">
                <a:avLst/>
              </a:prstGeom>
            </p:spPr>
          </p:pic>
          <p:grpSp>
            <p:nvGrpSpPr>
              <p:cNvPr id="82" name="object 45">
                <a:extLst>
                  <a:ext uri="{FF2B5EF4-FFF2-40B4-BE49-F238E27FC236}">
                    <a16:creationId xmlns:a16="http://schemas.microsoft.com/office/drawing/2014/main" id="{3183127D-8A68-2813-D97A-3E4E441C90BA}"/>
                  </a:ext>
                </a:extLst>
              </p:cNvPr>
              <p:cNvGrpSpPr/>
              <p:nvPr/>
            </p:nvGrpSpPr>
            <p:grpSpPr>
              <a:xfrm>
                <a:off x="4561525" y="2698288"/>
                <a:ext cx="2488808" cy="131582"/>
                <a:chOff x="5719999" y="5198217"/>
                <a:chExt cx="7026275" cy="371475"/>
              </a:xfrm>
            </p:grpSpPr>
            <p:sp>
              <p:nvSpPr>
                <p:cNvPr id="83" name="object 46">
                  <a:extLst>
                    <a:ext uri="{FF2B5EF4-FFF2-40B4-BE49-F238E27FC236}">
                      <a16:creationId xmlns:a16="http://schemas.microsoft.com/office/drawing/2014/main" id="{79DD4B20-7A87-0E95-C432-A490CE1764F7}"/>
                    </a:ext>
                  </a:extLst>
                </p:cNvPr>
                <p:cNvSpPr/>
                <p:nvPr/>
              </p:nvSpPr>
              <p:spPr>
                <a:xfrm>
                  <a:off x="7480451" y="5206154"/>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84" name="object 47">
                  <a:extLst>
                    <a:ext uri="{FF2B5EF4-FFF2-40B4-BE49-F238E27FC236}">
                      <a16:creationId xmlns:a16="http://schemas.microsoft.com/office/drawing/2014/main" id="{45B12B0F-41AC-C2B5-4A11-864B4B612173}"/>
                    </a:ext>
                  </a:extLst>
                </p:cNvPr>
                <p:cNvSpPr/>
                <p:nvPr/>
              </p:nvSpPr>
              <p:spPr>
                <a:xfrm>
                  <a:off x="9232962" y="5206154"/>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85" name="object 48">
                  <a:extLst>
                    <a:ext uri="{FF2B5EF4-FFF2-40B4-BE49-F238E27FC236}">
                      <a16:creationId xmlns:a16="http://schemas.microsoft.com/office/drawing/2014/main" id="{8F260E2A-4630-4220-392B-5EC1DAB3271A}"/>
                    </a:ext>
                  </a:extLst>
                </p:cNvPr>
                <p:cNvSpPr/>
                <p:nvPr/>
              </p:nvSpPr>
              <p:spPr>
                <a:xfrm>
                  <a:off x="5727936" y="5423075"/>
                  <a:ext cx="7010400" cy="0"/>
                </a:xfrm>
                <a:custGeom>
                  <a:avLst/>
                  <a:gdLst/>
                  <a:ahLst/>
                  <a:cxnLst/>
                  <a:rect l="l" t="t" r="r" b="b"/>
                  <a:pathLst>
                    <a:path w="7010400">
                      <a:moveTo>
                        <a:pt x="7010048" y="0"/>
                      </a:moveTo>
                      <a:lnTo>
                        <a:pt x="0" y="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86" name="object 49">
                <a:extLst>
                  <a:ext uri="{FF2B5EF4-FFF2-40B4-BE49-F238E27FC236}">
                    <a16:creationId xmlns:a16="http://schemas.microsoft.com/office/drawing/2014/main" id="{1E7054AB-5209-B2BD-DAD4-69A02E69D64D}"/>
                  </a:ext>
                </a:extLst>
              </p:cNvPr>
              <p:cNvSpPr txBox="1"/>
              <p:nvPr/>
            </p:nvSpPr>
            <p:spPr>
              <a:xfrm>
                <a:off x="5196872" y="2823407"/>
                <a:ext cx="62756" cy="116622"/>
              </a:xfrm>
              <a:prstGeom prst="rect">
                <a:avLst/>
              </a:prstGeom>
            </p:spPr>
            <p:txBody>
              <a:bodyPr vert="horz" wrap="square" lIns="0" tIns="4250" rIns="0" bIns="0" rtlCol="0">
                <a:spAutoFit/>
              </a:bodyPr>
              <a:lstStyle/>
              <a:p>
                <a:pPr marL="4049" marR="0" lvl="0" indent="0" algn="l" defTabSz="822960" rtl="0" eaLnBrk="1" fontAlgn="auto" latinLnBrk="0" hangingPunct="1">
                  <a:lnSpc>
                    <a:spcPct val="100000"/>
                  </a:lnSpc>
                  <a:spcBef>
                    <a:spcPts val="34"/>
                  </a:spcBef>
                  <a:spcAft>
                    <a:spcPts val="0"/>
                  </a:spcAft>
                  <a:buClr>
                    <a:srgbClr val="000000"/>
                  </a:buClr>
                  <a:buSzTx/>
                  <a:buFontTx/>
                  <a:buNone/>
                  <a:tabLst/>
                  <a:defRPr/>
                </a:pPr>
                <a:r>
                  <a:rPr kumimoji="0" sz="654" b="0" i="0" u="none" strike="noStrike" kern="0" cap="none" spc="-17"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8</a:t>
                </a:r>
                <a:endParaRPr kumimoji="0" sz="654"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87" name="object 50">
                <a:extLst>
                  <a:ext uri="{FF2B5EF4-FFF2-40B4-BE49-F238E27FC236}">
                    <a16:creationId xmlns:a16="http://schemas.microsoft.com/office/drawing/2014/main" id="{2BD018AB-408E-E437-17FC-3290EB22106D}"/>
                  </a:ext>
                </a:extLst>
              </p:cNvPr>
              <p:cNvSpPr txBox="1"/>
              <p:nvPr/>
            </p:nvSpPr>
            <p:spPr>
              <a:xfrm>
                <a:off x="5816132" y="2823407"/>
                <a:ext cx="116512" cy="116622"/>
              </a:xfrm>
              <a:prstGeom prst="rect">
                <a:avLst/>
              </a:prstGeom>
            </p:spPr>
            <p:txBody>
              <a:bodyPr vert="horz" wrap="square" lIns="0" tIns="4250" rIns="0" bIns="0" rtlCol="0">
                <a:spAutoFit/>
              </a:bodyPr>
              <a:lstStyle/>
              <a:p>
                <a:pPr marL="4049" marR="0" lvl="0" indent="0" algn="l" defTabSz="822960" rtl="0" eaLnBrk="1" fontAlgn="auto" latinLnBrk="0" hangingPunct="1">
                  <a:lnSpc>
                    <a:spcPct val="100000"/>
                  </a:lnSpc>
                  <a:spcBef>
                    <a:spcPts val="34"/>
                  </a:spcBef>
                  <a:spcAft>
                    <a:spcPts val="0"/>
                  </a:spcAft>
                  <a:buClr>
                    <a:srgbClr val="000000"/>
                  </a:buClr>
                  <a:buSzTx/>
                  <a:buFontTx/>
                  <a:buNone/>
                  <a:tabLst/>
                  <a:defRPr/>
                </a:pPr>
                <a:r>
                  <a:rPr kumimoji="0" sz="654" b="0" i="0" u="none" strike="noStrike" kern="0" cap="none" spc="-25"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15</a:t>
                </a:r>
                <a:endParaRPr kumimoji="0" sz="654"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88" name="object 51">
                <a:extLst>
                  <a:ext uri="{FF2B5EF4-FFF2-40B4-BE49-F238E27FC236}">
                    <a16:creationId xmlns:a16="http://schemas.microsoft.com/office/drawing/2014/main" id="{70EE5CCD-E1F5-44DB-87DB-09361CF75B98}"/>
                  </a:ext>
                </a:extLst>
              </p:cNvPr>
              <p:cNvSpPr txBox="1"/>
              <p:nvPr/>
            </p:nvSpPr>
            <p:spPr>
              <a:xfrm>
                <a:off x="6931726" y="2823407"/>
                <a:ext cx="116512" cy="116622"/>
              </a:xfrm>
              <a:prstGeom prst="rect">
                <a:avLst/>
              </a:prstGeom>
            </p:spPr>
            <p:txBody>
              <a:bodyPr vert="horz" wrap="square" lIns="0" tIns="4250" rIns="0" bIns="0" rtlCol="0">
                <a:spAutoFit/>
              </a:bodyPr>
              <a:lstStyle/>
              <a:p>
                <a:pPr marL="4049" marR="0" lvl="0" indent="0" algn="l" defTabSz="822960" rtl="0" eaLnBrk="1" fontAlgn="auto" latinLnBrk="0" hangingPunct="1">
                  <a:lnSpc>
                    <a:spcPct val="100000"/>
                  </a:lnSpc>
                  <a:spcBef>
                    <a:spcPts val="34"/>
                  </a:spcBef>
                  <a:spcAft>
                    <a:spcPts val="0"/>
                  </a:spcAft>
                  <a:buClr>
                    <a:srgbClr val="000000"/>
                  </a:buClr>
                  <a:buSzTx/>
                  <a:buFontTx/>
                  <a:buNone/>
                  <a:tabLst/>
                  <a:defRPr/>
                </a:pPr>
                <a:r>
                  <a:rPr kumimoji="0" sz="654" b="0" i="0" u="none" strike="noStrike" kern="0" cap="none" spc="-25"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28</a:t>
                </a:r>
                <a:endParaRPr kumimoji="0" sz="654"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89" name="object 52">
                <a:extLst>
                  <a:ext uri="{FF2B5EF4-FFF2-40B4-BE49-F238E27FC236}">
                    <a16:creationId xmlns:a16="http://schemas.microsoft.com/office/drawing/2014/main" id="{3D3D4C5B-580C-1C7E-6949-A97CA60CE048}"/>
                  </a:ext>
                </a:extLst>
              </p:cNvPr>
              <p:cNvSpPr/>
              <p:nvPr/>
            </p:nvSpPr>
            <p:spPr>
              <a:xfrm>
                <a:off x="4587727"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90" name="object 53">
                <a:extLst>
                  <a:ext uri="{FF2B5EF4-FFF2-40B4-BE49-F238E27FC236}">
                    <a16:creationId xmlns:a16="http://schemas.microsoft.com/office/drawing/2014/main" id="{1D311382-7FEF-8A14-D269-9F10E0E50A9E}"/>
                  </a:ext>
                </a:extLst>
              </p:cNvPr>
              <p:cNvSpPr/>
              <p:nvPr/>
            </p:nvSpPr>
            <p:spPr>
              <a:xfrm>
                <a:off x="5212908"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91" name="object 54">
                <a:extLst>
                  <a:ext uri="{FF2B5EF4-FFF2-40B4-BE49-F238E27FC236}">
                    <a16:creationId xmlns:a16="http://schemas.microsoft.com/office/drawing/2014/main" id="{69F86D6F-99A6-7240-DEF9-3F9BCF7DB052}"/>
                  </a:ext>
                </a:extLst>
              </p:cNvPr>
              <p:cNvSpPr/>
              <p:nvPr/>
            </p:nvSpPr>
            <p:spPr>
              <a:xfrm>
                <a:off x="5834645"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92" name="object 55">
                <a:extLst>
                  <a:ext uri="{FF2B5EF4-FFF2-40B4-BE49-F238E27FC236}">
                    <a16:creationId xmlns:a16="http://schemas.microsoft.com/office/drawing/2014/main" id="{25FAB923-A17A-F77B-A986-1F3DC80AF700}"/>
                  </a:ext>
                </a:extLst>
              </p:cNvPr>
              <p:cNvGrpSpPr/>
              <p:nvPr/>
            </p:nvGrpSpPr>
            <p:grpSpPr>
              <a:xfrm>
                <a:off x="4562594" y="2710272"/>
                <a:ext cx="2487684" cy="125959"/>
                <a:chOff x="5723019" y="5232050"/>
                <a:chExt cx="7023100" cy="355600"/>
              </a:xfrm>
            </p:grpSpPr>
            <p:sp>
              <p:nvSpPr>
                <p:cNvPr id="93" name="object 56">
                  <a:extLst>
                    <a:ext uri="{FF2B5EF4-FFF2-40B4-BE49-F238E27FC236}">
                      <a16:creationId xmlns:a16="http://schemas.microsoft.com/office/drawing/2014/main" id="{AA88D6A2-2C17-1FA9-FEC0-28F630DBB4C5}"/>
                    </a:ext>
                  </a:extLst>
                </p:cNvPr>
                <p:cNvSpPr/>
                <p:nvPr/>
              </p:nvSpPr>
              <p:spPr>
                <a:xfrm>
                  <a:off x="5730775" y="5232059"/>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97" name="object 57">
                  <a:extLst>
                    <a:ext uri="{FF2B5EF4-FFF2-40B4-BE49-F238E27FC236}">
                      <a16:creationId xmlns:a16="http://schemas.microsoft.com/office/drawing/2014/main" id="{2068C320-CCBF-4B47-BA83-7C579C05B03F}"/>
                    </a:ext>
                  </a:extLst>
                </p:cNvPr>
                <p:cNvSpPr/>
                <p:nvPr/>
              </p:nvSpPr>
              <p:spPr>
                <a:xfrm>
                  <a:off x="12737984" y="523205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99" name="object 58">
                <a:extLst>
                  <a:ext uri="{FF2B5EF4-FFF2-40B4-BE49-F238E27FC236}">
                    <a16:creationId xmlns:a16="http://schemas.microsoft.com/office/drawing/2014/main" id="{1CA31BF0-17BE-D633-B44E-AACF3E8050EE}"/>
                  </a:ext>
                </a:extLst>
              </p:cNvPr>
              <p:cNvSpPr txBox="1"/>
              <p:nvPr/>
            </p:nvSpPr>
            <p:spPr>
              <a:xfrm>
                <a:off x="4278941" y="2823407"/>
                <a:ext cx="361681" cy="116622"/>
              </a:xfrm>
              <a:prstGeom prst="rect">
                <a:avLst/>
              </a:prstGeom>
            </p:spPr>
            <p:txBody>
              <a:bodyPr vert="horz" wrap="square" lIns="0" tIns="4250" rIns="0" bIns="0" rtlCol="0">
                <a:spAutoFit/>
              </a:bodyPr>
              <a:lstStyle/>
              <a:p>
                <a:pPr marL="4049" marR="0" lvl="0" indent="0" algn="l" defTabSz="822960" rtl="0" eaLnBrk="1" fontAlgn="auto" latinLnBrk="0" hangingPunct="1">
                  <a:lnSpc>
                    <a:spcPct val="100000"/>
                  </a:lnSpc>
                  <a:spcBef>
                    <a:spcPts val="34"/>
                  </a:spcBef>
                  <a:spcAft>
                    <a:spcPts val="0"/>
                  </a:spcAft>
                  <a:buClr>
                    <a:srgbClr val="000000"/>
                  </a:buClr>
                  <a:buSzTx/>
                  <a:buFontTx/>
                  <a:buNone/>
                  <a:tabLst>
                    <a:tab pos="273072" algn="l"/>
                  </a:tabLst>
                  <a:defRPr/>
                </a:pPr>
                <a:r>
                  <a:rPr kumimoji="0" sz="654" b="0" i="0" u="none" strike="noStrike" kern="0" cap="none" spc="-8"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DAY</a:t>
                </a:r>
                <a:r>
                  <a:rPr kumimoji="0" sz="654"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654" b="0" i="0" u="none" strike="noStrike" kern="0" cap="none" spc="-17"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1</a:t>
                </a:r>
                <a:endParaRPr kumimoji="0" sz="654"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00" name="object 59">
                <a:extLst>
                  <a:ext uri="{FF2B5EF4-FFF2-40B4-BE49-F238E27FC236}">
                    <a16:creationId xmlns:a16="http://schemas.microsoft.com/office/drawing/2014/main" id="{74D03EB3-3761-9B28-4661-4951580679E1}"/>
                  </a:ext>
                </a:extLst>
              </p:cNvPr>
              <p:cNvSpPr txBox="1"/>
              <p:nvPr/>
            </p:nvSpPr>
            <p:spPr>
              <a:xfrm>
                <a:off x="7524590" y="2431226"/>
                <a:ext cx="1561965" cy="365346"/>
              </a:xfrm>
              <a:prstGeom prst="rect">
                <a:avLst/>
              </a:prstGeom>
            </p:spPr>
            <p:txBody>
              <a:bodyPr vert="horz" wrap="square" lIns="0" tIns="25912" rIns="0" bIns="0" rtlCol="0">
                <a:spAutoFit/>
              </a:bodyPr>
              <a:lstStyle/>
              <a:p>
                <a:pPr marL="12145" marR="0" lvl="0" indent="0" algn="l" defTabSz="822960" rtl="0" eaLnBrk="1" fontAlgn="auto" latinLnBrk="0" hangingPunct="1">
                  <a:lnSpc>
                    <a:spcPct val="100000"/>
                  </a:lnSpc>
                  <a:spcBef>
                    <a:spcPts val="204"/>
                  </a:spcBef>
                  <a:spcAft>
                    <a:spcPts val="0"/>
                  </a:spcAft>
                  <a:buClr>
                    <a:srgbClr val="000000"/>
                  </a:buClr>
                  <a:buSzTx/>
                  <a:buFontTx/>
                  <a:buNone/>
                  <a:tabLst/>
                  <a:defRPr/>
                </a:pPr>
                <a:r>
                  <a:rPr kumimoji="0" lang="en-US" sz="900" b="0" i="0" u="none" strike="noStrike" kern="0" cap="none" spc="-35"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R</a:t>
                </a:r>
                <a:r>
                  <a:rPr kumimoji="0" sz="900" b="0" i="0" u="none" strike="noStrike" kern="0" cap="none" spc="-35" normalizeH="0" baseline="0" noProof="0" err="1">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elacorilant</a:t>
                </a:r>
                <a:r>
                  <a:rPr kumimoji="0" sz="900" b="0" i="0" u="none" strike="noStrike" kern="0" cap="none" spc="6"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00" b="0" i="0" u="none" strike="noStrike" kern="0" cap="none" spc="0"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150</a:t>
                </a:r>
                <a:r>
                  <a:rPr kumimoji="0" sz="900" b="0" i="0" u="none" strike="noStrike" kern="0" cap="none" spc="-68"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00" b="0" i="0" u="none" strike="noStrike" kern="0" cap="none" spc="-20"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mg</a:t>
                </a:r>
                <a:r>
                  <a:rPr kumimoji="0" lang="en-US" sz="900" b="0" i="0" u="none" strike="noStrike" kern="0" cap="none" spc="-67"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PO</a:t>
                </a:r>
                <a:r>
                  <a:rPr kumimoji="0" sz="900" b="0" i="0" u="none" strike="noStrike" kern="0" cap="none" spc="-4"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t>
                </a:r>
                <a:endParaRPr kumimoji="0" sz="900" b="0" i="0" u="none" strike="noStrike" kern="0" cap="none" spc="0"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a:p>
                <a:pPr marL="12145" marR="0" lvl="0" indent="0" algn="l" defTabSz="822960" rtl="0" eaLnBrk="1" fontAlgn="auto" latinLnBrk="0" hangingPunct="1">
                  <a:lnSpc>
                    <a:spcPct val="100000"/>
                  </a:lnSpc>
                  <a:spcBef>
                    <a:spcPts val="174"/>
                  </a:spcBef>
                  <a:spcAft>
                    <a:spcPts val="0"/>
                  </a:spcAft>
                  <a:buClr>
                    <a:srgbClr val="000000"/>
                  </a:buClr>
                  <a:buSzTx/>
                  <a:buFontTx/>
                  <a:buNone/>
                  <a:tabLst/>
                  <a:defRPr/>
                </a:pPr>
                <a:r>
                  <a:rPr kumimoji="0" lang="en-US" sz="900" b="0" i="0" u="none" strike="noStrike" kern="0" cap="none" spc="-6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N</a:t>
                </a:r>
                <a:r>
                  <a:rPr kumimoji="0" sz="900" b="0" i="0" u="none" strike="noStrike" kern="0" cap="none" spc="-6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b-</a:t>
                </a:r>
                <a:r>
                  <a:rPr kumimoji="0" sz="900" b="0" i="0" u="none" strike="noStrike" kern="0" cap="none" spc="-49"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aclitaxel</a:t>
                </a:r>
                <a:r>
                  <a:rPr kumimoji="0" sz="900" b="0" i="0" u="none" strike="noStrike" kern="0" cap="none" spc="-46"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00" b="0" i="0" u="none" strike="noStrike" kern="0" cap="none" spc="-6"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80</a:t>
                </a:r>
                <a:r>
                  <a:rPr kumimoji="0" sz="900" b="0" i="0" u="none" strike="noStrike" kern="0" cap="none" spc="-78"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00" b="0" i="0" u="none" strike="noStrike" kern="0" cap="none" spc="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mg</a:t>
                </a:r>
                <a:r>
                  <a:rPr kumimoji="0" lang="en-US" sz="900" b="0" i="0" u="none" strike="noStrike" kern="0" cap="none" spc="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t>
                </a:r>
                <a:r>
                  <a:rPr kumimoji="0" lang="en-US" sz="900" b="0" i="0" u="none" strike="noStrike" kern="0" cap="none" spc="-1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m</a:t>
                </a:r>
                <a:r>
                  <a:rPr kumimoji="0" lang="en-US" sz="900" b="0" i="0" u="none" strike="noStrike" kern="0" cap="none" spc="-14" normalizeH="0" baseline="32407"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2</a:t>
                </a:r>
                <a:r>
                  <a:rPr kumimoji="0" lang="en-US" sz="900" b="0" i="0" u="none" strike="noStrike" kern="0" cap="none" spc="17"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IV</a:t>
                </a:r>
                <a:r>
                  <a:rPr kumimoji="0" lang="en-US" sz="900" b="0" i="0" u="none" strike="noStrike" kern="0" cap="none" spc="-2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t>
                </a:r>
                <a:endParaRPr kumimoji="0" sz="900" b="0" i="0" u="none" strike="noStrike" kern="0" cap="none" spc="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101" name="object 60">
                <a:extLst>
                  <a:ext uri="{FF2B5EF4-FFF2-40B4-BE49-F238E27FC236}">
                    <a16:creationId xmlns:a16="http://schemas.microsoft.com/office/drawing/2014/main" id="{608A42A9-2A83-0370-F780-AF686E73B5C1}"/>
                  </a:ext>
                </a:extLst>
              </p:cNvPr>
              <p:cNvGrpSpPr/>
              <p:nvPr/>
            </p:nvGrpSpPr>
            <p:grpSpPr>
              <a:xfrm>
                <a:off x="4554477" y="4450954"/>
                <a:ext cx="2488808" cy="131582"/>
                <a:chOff x="5700102" y="10146252"/>
                <a:chExt cx="7026275" cy="371475"/>
              </a:xfrm>
            </p:grpSpPr>
            <p:sp>
              <p:nvSpPr>
                <p:cNvPr id="102" name="object 61">
                  <a:extLst>
                    <a:ext uri="{FF2B5EF4-FFF2-40B4-BE49-F238E27FC236}">
                      <a16:creationId xmlns:a16="http://schemas.microsoft.com/office/drawing/2014/main" id="{13939ABF-51CA-8BEC-00DF-85DFCF37355B}"/>
                    </a:ext>
                  </a:extLst>
                </p:cNvPr>
                <p:cNvSpPr/>
                <p:nvPr/>
              </p:nvSpPr>
              <p:spPr>
                <a:xfrm>
                  <a:off x="7460554" y="1015419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03" name="object 62">
                  <a:extLst>
                    <a:ext uri="{FF2B5EF4-FFF2-40B4-BE49-F238E27FC236}">
                      <a16:creationId xmlns:a16="http://schemas.microsoft.com/office/drawing/2014/main" id="{BE7C00CF-1B04-9617-3802-7F8F5ECEE478}"/>
                    </a:ext>
                  </a:extLst>
                </p:cNvPr>
                <p:cNvSpPr/>
                <p:nvPr/>
              </p:nvSpPr>
              <p:spPr>
                <a:xfrm>
                  <a:off x="9213064" y="1015419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04" name="object 63">
                  <a:extLst>
                    <a:ext uri="{FF2B5EF4-FFF2-40B4-BE49-F238E27FC236}">
                      <a16:creationId xmlns:a16="http://schemas.microsoft.com/office/drawing/2014/main" id="{BE3DED2A-A6E1-5DAC-E1C9-B52A39291774}"/>
                    </a:ext>
                  </a:extLst>
                </p:cNvPr>
                <p:cNvSpPr/>
                <p:nvPr/>
              </p:nvSpPr>
              <p:spPr>
                <a:xfrm>
                  <a:off x="5708039" y="10362118"/>
                  <a:ext cx="7010400" cy="0"/>
                </a:xfrm>
                <a:custGeom>
                  <a:avLst/>
                  <a:gdLst/>
                  <a:ahLst/>
                  <a:cxnLst/>
                  <a:rect l="l" t="t" r="r" b="b"/>
                  <a:pathLst>
                    <a:path w="7010400">
                      <a:moveTo>
                        <a:pt x="7010048" y="0"/>
                      </a:moveTo>
                      <a:lnTo>
                        <a:pt x="0" y="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05" name="object 64">
                <a:extLst>
                  <a:ext uri="{FF2B5EF4-FFF2-40B4-BE49-F238E27FC236}">
                    <a16:creationId xmlns:a16="http://schemas.microsoft.com/office/drawing/2014/main" id="{5C7EBB08-E01E-D4B7-9A50-F24D57645FF0}"/>
                  </a:ext>
                </a:extLst>
              </p:cNvPr>
              <p:cNvSpPr txBox="1"/>
              <p:nvPr/>
            </p:nvSpPr>
            <p:spPr>
              <a:xfrm>
                <a:off x="5186696" y="4572733"/>
                <a:ext cx="62756" cy="116622"/>
              </a:xfrm>
              <a:prstGeom prst="rect">
                <a:avLst/>
              </a:prstGeom>
            </p:spPr>
            <p:txBody>
              <a:bodyPr vert="horz" wrap="square" lIns="0" tIns="4250" rIns="0" bIns="0" rtlCol="0">
                <a:spAutoFit/>
              </a:bodyPr>
              <a:lstStyle/>
              <a:p>
                <a:pPr marL="4049" marR="0" lvl="0" indent="0" algn="l" defTabSz="822960" rtl="0" eaLnBrk="1" fontAlgn="auto" latinLnBrk="0" hangingPunct="1">
                  <a:lnSpc>
                    <a:spcPct val="100000"/>
                  </a:lnSpc>
                  <a:spcBef>
                    <a:spcPts val="34"/>
                  </a:spcBef>
                  <a:spcAft>
                    <a:spcPts val="0"/>
                  </a:spcAft>
                  <a:buClr>
                    <a:srgbClr val="000000"/>
                  </a:buClr>
                  <a:buSzTx/>
                  <a:buFontTx/>
                  <a:buNone/>
                  <a:tabLst/>
                  <a:defRPr/>
                </a:pPr>
                <a:r>
                  <a:rPr kumimoji="0" sz="654" b="0" i="0" u="none" strike="noStrike" kern="0" cap="none" spc="-17"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8</a:t>
                </a:r>
                <a:endParaRPr kumimoji="0" sz="654"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06" name="object 65">
                <a:extLst>
                  <a:ext uri="{FF2B5EF4-FFF2-40B4-BE49-F238E27FC236}">
                    <a16:creationId xmlns:a16="http://schemas.microsoft.com/office/drawing/2014/main" id="{DF3F9688-BA6C-EA9F-7029-CCEF877D214A}"/>
                  </a:ext>
                </a:extLst>
              </p:cNvPr>
              <p:cNvSpPr txBox="1"/>
              <p:nvPr/>
            </p:nvSpPr>
            <p:spPr>
              <a:xfrm>
                <a:off x="5805864" y="4572733"/>
                <a:ext cx="116512" cy="116622"/>
              </a:xfrm>
              <a:prstGeom prst="rect">
                <a:avLst/>
              </a:prstGeom>
            </p:spPr>
            <p:txBody>
              <a:bodyPr vert="horz" wrap="square" lIns="0" tIns="4250" rIns="0" bIns="0" rtlCol="0">
                <a:spAutoFit/>
              </a:bodyPr>
              <a:lstStyle/>
              <a:p>
                <a:pPr marL="4049" marR="0" lvl="0" indent="0" algn="l" defTabSz="822960" rtl="0" eaLnBrk="1" fontAlgn="auto" latinLnBrk="0" hangingPunct="1">
                  <a:lnSpc>
                    <a:spcPct val="100000"/>
                  </a:lnSpc>
                  <a:spcBef>
                    <a:spcPts val="34"/>
                  </a:spcBef>
                  <a:spcAft>
                    <a:spcPts val="0"/>
                  </a:spcAft>
                  <a:buClr>
                    <a:srgbClr val="000000"/>
                  </a:buClr>
                  <a:buSzTx/>
                  <a:buFontTx/>
                  <a:buNone/>
                  <a:tabLst/>
                  <a:defRPr/>
                </a:pPr>
                <a:r>
                  <a:rPr kumimoji="0" sz="654" b="0" i="0" u="none" strike="noStrike" kern="0" cap="none" spc="-25"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15</a:t>
                </a:r>
                <a:endParaRPr kumimoji="0" sz="654"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07" name="object 66">
                <a:extLst>
                  <a:ext uri="{FF2B5EF4-FFF2-40B4-BE49-F238E27FC236}">
                    <a16:creationId xmlns:a16="http://schemas.microsoft.com/office/drawing/2014/main" id="{825283B9-1F3E-B5EE-452F-014211769B97}"/>
                  </a:ext>
                </a:extLst>
              </p:cNvPr>
              <p:cNvSpPr txBox="1"/>
              <p:nvPr/>
            </p:nvSpPr>
            <p:spPr>
              <a:xfrm>
                <a:off x="4278941" y="4572734"/>
                <a:ext cx="351560" cy="116622"/>
              </a:xfrm>
              <a:prstGeom prst="rect">
                <a:avLst/>
              </a:prstGeom>
            </p:spPr>
            <p:txBody>
              <a:bodyPr vert="horz" wrap="square" lIns="0" tIns="4250" rIns="0" bIns="0" rtlCol="0">
                <a:spAutoFit/>
              </a:bodyPr>
              <a:lstStyle/>
              <a:p>
                <a:pPr marL="4049" marR="0" lvl="0" indent="0" algn="l" defTabSz="822960" rtl="0" eaLnBrk="1" fontAlgn="auto" latinLnBrk="0" hangingPunct="1">
                  <a:lnSpc>
                    <a:spcPct val="100000"/>
                  </a:lnSpc>
                  <a:spcBef>
                    <a:spcPts val="34"/>
                  </a:spcBef>
                  <a:spcAft>
                    <a:spcPts val="0"/>
                  </a:spcAft>
                  <a:buClr>
                    <a:srgbClr val="000000"/>
                  </a:buClr>
                  <a:buSzTx/>
                  <a:buFontTx/>
                  <a:buNone/>
                  <a:tabLst>
                    <a:tab pos="263760" algn="l"/>
                  </a:tabLst>
                  <a:defRPr/>
                </a:pPr>
                <a:r>
                  <a:rPr kumimoji="0" sz="654" b="0" i="0" u="none" strike="noStrike" kern="0" cap="none" spc="-8"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DAY</a:t>
                </a:r>
                <a:r>
                  <a:rPr kumimoji="0" sz="654"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654" b="0" i="0" u="none" strike="noStrike" kern="0" cap="none" spc="-17"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1</a:t>
                </a:r>
                <a:endParaRPr kumimoji="0" sz="654"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08" name="object 67">
                <a:extLst>
                  <a:ext uri="{FF2B5EF4-FFF2-40B4-BE49-F238E27FC236}">
                    <a16:creationId xmlns:a16="http://schemas.microsoft.com/office/drawing/2014/main" id="{D1C6DADD-269D-B938-4FD4-6B4D9D326F1B}"/>
                  </a:ext>
                </a:extLst>
              </p:cNvPr>
              <p:cNvSpPr txBox="1"/>
              <p:nvPr/>
            </p:nvSpPr>
            <p:spPr>
              <a:xfrm>
                <a:off x="6926732" y="4572734"/>
                <a:ext cx="116512" cy="116622"/>
              </a:xfrm>
              <a:prstGeom prst="rect">
                <a:avLst/>
              </a:prstGeom>
            </p:spPr>
            <p:txBody>
              <a:bodyPr vert="horz" wrap="square" lIns="0" tIns="4250" rIns="0" bIns="0" rtlCol="0">
                <a:spAutoFit/>
              </a:bodyPr>
              <a:lstStyle/>
              <a:p>
                <a:pPr marL="4049" marR="0" lvl="0" indent="0" algn="l" defTabSz="822960" rtl="0" eaLnBrk="1" fontAlgn="auto" latinLnBrk="0" hangingPunct="1">
                  <a:lnSpc>
                    <a:spcPct val="100000"/>
                  </a:lnSpc>
                  <a:spcBef>
                    <a:spcPts val="34"/>
                  </a:spcBef>
                  <a:spcAft>
                    <a:spcPts val="0"/>
                  </a:spcAft>
                  <a:buClr>
                    <a:srgbClr val="000000"/>
                  </a:buClr>
                  <a:buSzTx/>
                  <a:buFontTx/>
                  <a:buNone/>
                  <a:tabLst/>
                  <a:defRPr/>
                </a:pPr>
                <a:r>
                  <a:rPr kumimoji="0" sz="654" b="0" i="0" u="none" strike="noStrike" kern="0" cap="none" spc="-25"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28</a:t>
                </a:r>
                <a:endParaRPr kumimoji="0" sz="654"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09" name="object 68">
                <a:extLst>
                  <a:ext uri="{FF2B5EF4-FFF2-40B4-BE49-F238E27FC236}">
                    <a16:creationId xmlns:a16="http://schemas.microsoft.com/office/drawing/2014/main" id="{E57B6C45-8F85-067A-47FE-EE84D8C03E6C}"/>
                  </a:ext>
                </a:extLst>
              </p:cNvPr>
              <p:cNvSpPr/>
              <p:nvPr/>
            </p:nvSpPr>
            <p:spPr>
              <a:xfrm>
                <a:off x="4580679" y="4414800"/>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0" name="object 69">
                <a:extLst>
                  <a:ext uri="{FF2B5EF4-FFF2-40B4-BE49-F238E27FC236}">
                    <a16:creationId xmlns:a16="http://schemas.microsoft.com/office/drawing/2014/main" id="{C2A6123F-8813-C22C-3AE4-F08767B75DAA}"/>
                  </a:ext>
                </a:extLst>
              </p:cNvPr>
              <p:cNvSpPr/>
              <p:nvPr/>
            </p:nvSpPr>
            <p:spPr>
              <a:xfrm>
                <a:off x="5205862" y="4414800"/>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1" name="object 70">
                <a:extLst>
                  <a:ext uri="{FF2B5EF4-FFF2-40B4-BE49-F238E27FC236}">
                    <a16:creationId xmlns:a16="http://schemas.microsoft.com/office/drawing/2014/main" id="{903FFF76-9EC2-0BDD-4451-C403065C3179}"/>
                  </a:ext>
                </a:extLst>
              </p:cNvPr>
              <p:cNvSpPr/>
              <p:nvPr/>
            </p:nvSpPr>
            <p:spPr>
              <a:xfrm>
                <a:off x="5827597" y="4414800"/>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112" name="object 71">
                <a:extLst>
                  <a:ext uri="{FF2B5EF4-FFF2-40B4-BE49-F238E27FC236}">
                    <a16:creationId xmlns:a16="http://schemas.microsoft.com/office/drawing/2014/main" id="{C46EC4D4-DCB2-9710-970B-748C4BED1D11}"/>
                  </a:ext>
                </a:extLst>
              </p:cNvPr>
              <p:cNvGrpSpPr/>
              <p:nvPr/>
            </p:nvGrpSpPr>
            <p:grpSpPr>
              <a:xfrm>
                <a:off x="4555546" y="4451144"/>
                <a:ext cx="2487684" cy="139454"/>
                <a:chOff x="5703121" y="10146790"/>
                <a:chExt cx="7023100" cy="393700"/>
              </a:xfrm>
            </p:grpSpPr>
            <p:sp>
              <p:nvSpPr>
                <p:cNvPr id="113" name="object 72">
                  <a:extLst>
                    <a:ext uri="{FF2B5EF4-FFF2-40B4-BE49-F238E27FC236}">
                      <a16:creationId xmlns:a16="http://schemas.microsoft.com/office/drawing/2014/main" id="{A60DE457-C2BA-36AD-4B10-3635765765B4}"/>
                    </a:ext>
                  </a:extLst>
                </p:cNvPr>
                <p:cNvSpPr/>
                <p:nvPr/>
              </p:nvSpPr>
              <p:spPr>
                <a:xfrm>
                  <a:off x="5710877" y="1014679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4" name="object 73">
                  <a:extLst>
                    <a:ext uri="{FF2B5EF4-FFF2-40B4-BE49-F238E27FC236}">
                      <a16:creationId xmlns:a16="http://schemas.microsoft.com/office/drawing/2014/main" id="{9C64DCE9-0CC5-9D0A-2F68-A30558C59FD8}"/>
                    </a:ext>
                  </a:extLst>
                </p:cNvPr>
                <p:cNvSpPr/>
                <p:nvPr/>
              </p:nvSpPr>
              <p:spPr>
                <a:xfrm>
                  <a:off x="12718088" y="10184327"/>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15" name="object 74">
                <a:extLst>
                  <a:ext uri="{FF2B5EF4-FFF2-40B4-BE49-F238E27FC236}">
                    <a16:creationId xmlns:a16="http://schemas.microsoft.com/office/drawing/2014/main" id="{198E746C-81F1-DA46-55FB-9DD8E92928F1}"/>
                  </a:ext>
                </a:extLst>
              </p:cNvPr>
              <p:cNvSpPr txBox="1"/>
              <p:nvPr/>
            </p:nvSpPr>
            <p:spPr>
              <a:xfrm>
                <a:off x="7524590" y="4368208"/>
                <a:ext cx="1622926" cy="159793"/>
              </a:xfrm>
              <a:prstGeom prst="rect">
                <a:avLst/>
              </a:prstGeom>
            </p:spPr>
            <p:txBody>
              <a:bodyPr vert="horz" wrap="square" lIns="0" tIns="5263" rIns="0" bIns="0" rtlCol="0">
                <a:spAutoFit/>
              </a:bodyPr>
              <a:lstStyle/>
              <a:p>
                <a:pPr marL="12145" marR="0" lvl="0" indent="0" algn="l" defTabSz="822960" rtl="0" eaLnBrk="1" fontAlgn="auto" latinLnBrk="0" hangingPunct="1">
                  <a:lnSpc>
                    <a:spcPct val="100000"/>
                  </a:lnSpc>
                  <a:spcBef>
                    <a:spcPts val="42"/>
                  </a:spcBef>
                  <a:spcAft>
                    <a:spcPts val="0"/>
                  </a:spcAft>
                  <a:buClr>
                    <a:srgbClr val="000000"/>
                  </a:buClr>
                  <a:buSzTx/>
                  <a:buFontTx/>
                  <a:buNone/>
                  <a:tabLst/>
                  <a:defRPr/>
                </a:pPr>
                <a:r>
                  <a:rPr kumimoji="0" lang="en-US" sz="900" b="0" i="0" u="none" strike="noStrike" kern="0" cap="none" spc="-6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N</a:t>
                </a:r>
                <a:r>
                  <a:rPr kumimoji="0" sz="900" b="0" i="0" u="none" strike="noStrike" kern="0" cap="none" spc="-6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b-</a:t>
                </a:r>
                <a:r>
                  <a:rPr kumimoji="0" sz="900" b="0" i="0" u="none" strike="noStrike" kern="0" cap="none" spc="-49"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aclitaxel</a:t>
                </a:r>
                <a:r>
                  <a:rPr kumimoji="0" sz="900" b="0" i="0" u="none" strike="noStrike" kern="0" cap="none" spc="-38"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00" b="0" i="0" u="none" strike="noStrike" kern="0" cap="none" spc="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100</a:t>
                </a:r>
                <a:r>
                  <a:rPr kumimoji="0" sz="900" b="0" i="0" u="none" strike="noStrike" kern="0" cap="none" spc="-74"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00" b="0" i="0" u="none" strike="noStrike" kern="0" cap="none" spc="-1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mg/m</a:t>
                </a:r>
                <a:r>
                  <a:rPr kumimoji="0" sz="900" b="0" i="0" u="none" strike="noStrike" kern="0" cap="none" spc="-14" normalizeH="0" baseline="32407"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2</a:t>
                </a:r>
                <a:r>
                  <a:rPr kumimoji="0" sz="900" b="0" i="0" u="none" strike="noStrike" kern="0" cap="none" spc="17"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lang="en-US" sz="900" b="0" i="0" u="none" strike="noStrike" kern="0" cap="none" spc="17"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IV</a:t>
                </a:r>
                <a:r>
                  <a:rPr kumimoji="0" sz="900" b="0" i="0" u="none" strike="noStrike" kern="0" cap="none" spc="-23"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t>
                </a:r>
                <a:endParaRPr kumimoji="0" sz="900" b="0" i="0" u="none" strike="noStrike" kern="0" cap="none" spc="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116" name="object 75">
                <a:extLst>
                  <a:ext uri="{FF2B5EF4-FFF2-40B4-BE49-F238E27FC236}">
                    <a16:creationId xmlns:a16="http://schemas.microsoft.com/office/drawing/2014/main" id="{E69741FD-949D-0EE5-C8FA-6FE4224270DF}"/>
                  </a:ext>
                </a:extLst>
              </p:cNvPr>
              <p:cNvGrpSpPr/>
              <p:nvPr/>
            </p:nvGrpSpPr>
            <p:grpSpPr>
              <a:xfrm>
                <a:off x="3169070" y="3009398"/>
                <a:ext cx="5783302" cy="1223374"/>
                <a:chOff x="1788892" y="6076526"/>
                <a:chExt cx="16327119" cy="3453765"/>
              </a:xfrm>
            </p:grpSpPr>
            <p:pic>
              <p:nvPicPr>
                <p:cNvPr id="117" name="object 76">
                  <a:extLst>
                    <a:ext uri="{FF2B5EF4-FFF2-40B4-BE49-F238E27FC236}">
                      <a16:creationId xmlns:a16="http://schemas.microsoft.com/office/drawing/2014/main" id="{E21F528A-0A06-7062-D541-5713203D884A}"/>
                    </a:ext>
                  </a:extLst>
                </p:cNvPr>
                <p:cNvPicPr/>
                <p:nvPr/>
              </p:nvPicPr>
              <p:blipFill>
                <a:blip r:embed="rId7" cstate="print"/>
                <a:stretch>
                  <a:fillRect/>
                </a:stretch>
              </p:blipFill>
              <p:spPr>
                <a:xfrm>
                  <a:off x="1788892" y="6076526"/>
                  <a:ext cx="16326514" cy="3453685"/>
                </a:xfrm>
                <a:prstGeom prst="rect">
                  <a:avLst/>
                </a:prstGeom>
              </p:spPr>
            </p:pic>
            <p:sp>
              <p:nvSpPr>
                <p:cNvPr id="118" name="object 77">
                  <a:extLst>
                    <a:ext uri="{FF2B5EF4-FFF2-40B4-BE49-F238E27FC236}">
                      <a16:creationId xmlns:a16="http://schemas.microsoft.com/office/drawing/2014/main" id="{8D1C18D6-DCD5-AD7F-3B48-B10963A6F76D}"/>
                    </a:ext>
                  </a:extLst>
                </p:cNvPr>
                <p:cNvSpPr/>
                <p:nvPr/>
              </p:nvSpPr>
              <p:spPr>
                <a:xfrm>
                  <a:off x="4183298" y="7802958"/>
                  <a:ext cx="11003280" cy="1601470"/>
                </a:xfrm>
                <a:custGeom>
                  <a:avLst/>
                  <a:gdLst/>
                  <a:ahLst/>
                  <a:cxnLst/>
                  <a:rect l="l" t="t" r="r" b="b"/>
                  <a:pathLst>
                    <a:path w="11003280" h="1601470">
                      <a:moveTo>
                        <a:pt x="11002992" y="0"/>
                      </a:moveTo>
                      <a:lnTo>
                        <a:pt x="10358234" y="0"/>
                      </a:lnTo>
                      <a:lnTo>
                        <a:pt x="9249866" y="1073723"/>
                      </a:lnTo>
                      <a:lnTo>
                        <a:pt x="9216858" y="1098537"/>
                      </a:lnTo>
                      <a:lnTo>
                        <a:pt x="9176133" y="1119971"/>
                      </a:lnTo>
                      <a:lnTo>
                        <a:pt x="9129936" y="1137866"/>
                      </a:lnTo>
                      <a:lnTo>
                        <a:pt x="9080510" y="1152063"/>
                      </a:lnTo>
                      <a:lnTo>
                        <a:pt x="9030100" y="1162400"/>
                      </a:lnTo>
                      <a:lnTo>
                        <a:pt x="8980950" y="1168720"/>
                      </a:lnTo>
                      <a:lnTo>
                        <a:pt x="8935305" y="1170862"/>
                      </a:lnTo>
                      <a:lnTo>
                        <a:pt x="2099218" y="1170862"/>
                      </a:lnTo>
                      <a:lnTo>
                        <a:pt x="2052877" y="1168720"/>
                      </a:lnTo>
                      <a:lnTo>
                        <a:pt x="2002978" y="1162400"/>
                      </a:lnTo>
                      <a:lnTo>
                        <a:pt x="1951799" y="1152063"/>
                      </a:lnTo>
                      <a:lnTo>
                        <a:pt x="1901619" y="1137866"/>
                      </a:lnTo>
                      <a:lnTo>
                        <a:pt x="1854717" y="1119971"/>
                      </a:lnTo>
                      <a:lnTo>
                        <a:pt x="1813371" y="1098537"/>
                      </a:lnTo>
                      <a:lnTo>
                        <a:pt x="1779859" y="1073723"/>
                      </a:lnTo>
                      <a:lnTo>
                        <a:pt x="654598" y="0"/>
                      </a:lnTo>
                      <a:lnTo>
                        <a:pt x="0" y="0"/>
                      </a:lnTo>
                      <a:lnTo>
                        <a:pt x="1476301" y="1492414"/>
                      </a:lnTo>
                      <a:lnTo>
                        <a:pt x="1510696" y="1520156"/>
                      </a:lnTo>
                      <a:lnTo>
                        <a:pt x="1548687" y="1544116"/>
                      </a:lnTo>
                      <a:lnTo>
                        <a:pt x="1589788" y="1564116"/>
                      </a:lnTo>
                      <a:lnTo>
                        <a:pt x="1633513" y="1579979"/>
                      </a:lnTo>
                      <a:lnTo>
                        <a:pt x="1679377" y="1591528"/>
                      </a:lnTo>
                      <a:lnTo>
                        <a:pt x="1726892" y="1598587"/>
                      </a:lnTo>
                      <a:lnTo>
                        <a:pt x="1775572" y="1600980"/>
                      </a:lnTo>
                      <a:lnTo>
                        <a:pt x="9254096" y="1600980"/>
                      </a:lnTo>
                      <a:lnTo>
                        <a:pt x="9309936" y="1597730"/>
                      </a:lnTo>
                      <a:lnTo>
                        <a:pt x="9364105" y="1588168"/>
                      </a:lnTo>
                      <a:lnTo>
                        <a:pt x="9415844" y="1572575"/>
                      </a:lnTo>
                      <a:lnTo>
                        <a:pt x="9464392" y="1551231"/>
                      </a:lnTo>
                      <a:lnTo>
                        <a:pt x="9508986" y="1524417"/>
                      </a:lnTo>
                      <a:lnTo>
                        <a:pt x="9548868" y="1492414"/>
                      </a:lnTo>
                      <a:lnTo>
                        <a:pt x="11002992" y="0"/>
                      </a:lnTo>
                      <a:close/>
                    </a:path>
                  </a:pathLst>
                </a:custGeom>
                <a:solidFill>
                  <a:srgbClr val="8C3177"/>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9" name="object 78">
                  <a:extLst>
                    <a:ext uri="{FF2B5EF4-FFF2-40B4-BE49-F238E27FC236}">
                      <a16:creationId xmlns:a16="http://schemas.microsoft.com/office/drawing/2014/main" id="{8E52BCE4-BBE4-1880-2F5E-0D4F8F5F75BD}"/>
                    </a:ext>
                  </a:extLst>
                </p:cNvPr>
                <p:cNvSpPr/>
                <p:nvPr/>
              </p:nvSpPr>
              <p:spPr>
                <a:xfrm>
                  <a:off x="4183298" y="6201983"/>
                  <a:ext cx="11003280" cy="1601470"/>
                </a:xfrm>
                <a:custGeom>
                  <a:avLst/>
                  <a:gdLst/>
                  <a:ahLst/>
                  <a:cxnLst/>
                  <a:rect l="l" t="t" r="r" b="b"/>
                  <a:pathLst>
                    <a:path w="11003280" h="1601470">
                      <a:moveTo>
                        <a:pt x="9374410" y="0"/>
                      </a:moveTo>
                      <a:lnTo>
                        <a:pt x="1653417" y="0"/>
                      </a:lnTo>
                      <a:lnTo>
                        <a:pt x="1599541" y="3248"/>
                      </a:lnTo>
                      <a:lnTo>
                        <a:pt x="1547276" y="12808"/>
                      </a:lnTo>
                      <a:lnTo>
                        <a:pt x="1497356" y="28399"/>
                      </a:lnTo>
                      <a:lnTo>
                        <a:pt x="1450514" y="49740"/>
                      </a:lnTo>
                      <a:lnTo>
                        <a:pt x="1407486" y="76553"/>
                      </a:lnTo>
                      <a:lnTo>
                        <a:pt x="1369007" y="108555"/>
                      </a:lnTo>
                      <a:lnTo>
                        <a:pt x="0" y="1600980"/>
                      </a:lnTo>
                      <a:lnTo>
                        <a:pt x="654598" y="1600980"/>
                      </a:lnTo>
                      <a:lnTo>
                        <a:pt x="1654885" y="527256"/>
                      </a:lnTo>
                      <a:lnTo>
                        <a:pt x="1686876" y="502439"/>
                      </a:lnTo>
                      <a:lnTo>
                        <a:pt x="1726542" y="481002"/>
                      </a:lnTo>
                      <a:lnTo>
                        <a:pt x="1771624" y="463106"/>
                      </a:lnTo>
                      <a:lnTo>
                        <a:pt x="1819868" y="448910"/>
                      </a:lnTo>
                      <a:lnTo>
                        <a:pt x="1869015" y="438573"/>
                      </a:lnTo>
                      <a:lnTo>
                        <a:pt x="1916808" y="432254"/>
                      </a:lnTo>
                      <a:lnTo>
                        <a:pt x="1960992" y="430112"/>
                      </a:lnTo>
                      <a:lnTo>
                        <a:pt x="9071458" y="430112"/>
                      </a:lnTo>
                      <a:lnTo>
                        <a:pt x="9114978" y="432254"/>
                      </a:lnTo>
                      <a:lnTo>
                        <a:pt x="9162054" y="438573"/>
                      </a:lnTo>
                      <a:lnTo>
                        <a:pt x="9210462" y="448910"/>
                      </a:lnTo>
                      <a:lnTo>
                        <a:pt x="9257981" y="463106"/>
                      </a:lnTo>
                      <a:lnTo>
                        <a:pt x="9302388" y="481002"/>
                      </a:lnTo>
                      <a:lnTo>
                        <a:pt x="9341459" y="502439"/>
                      </a:lnTo>
                      <a:lnTo>
                        <a:pt x="9372973" y="527256"/>
                      </a:lnTo>
                      <a:lnTo>
                        <a:pt x="10358234" y="1600980"/>
                      </a:lnTo>
                      <a:lnTo>
                        <a:pt x="11002992" y="1600980"/>
                      </a:lnTo>
                      <a:lnTo>
                        <a:pt x="9654549" y="108555"/>
                      </a:lnTo>
                      <a:lnTo>
                        <a:pt x="9616648" y="76553"/>
                      </a:lnTo>
                      <a:lnTo>
                        <a:pt x="9574268" y="49740"/>
                      </a:lnTo>
                      <a:lnTo>
                        <a:pt x="9528130" y="28399"/>
                      </a:lnTo>
                      <a:lnTo>
                        <a:pt x="9478960" y="12808"/>
                      </a:lnTo>
                      <a:lnTo>
                        <a:pt x="9427479" y="3248"/>
                      </a:lnTo>
                      <a:lnTo>
                        <a:pt x="9374410" y="0"/>
                      </a:lnTo>
                      <a:close/>
                    </a:path>
                  </a:pathLst>
                </a:custGeom>
                <a:solidFill>
                  <a:srgbClr val="156168"/>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20" name="object 79">
                  <a:extLst>
                    <a:ext uri="{FF2B5EF4-FFF2-40B4-BE49-F238E27FC236}">
                      <a16:creationId xmlns:a16="http://schemas.microsoft.com/office/drawing/2014/main" id="{5FAC2A27-6314-FCCC-11EA-0FA22616725B}"/>
                    </a:ext>
                  </a:extLst>
                </p:cNvPr>
                <p:cNvSpPr/>
                <p:nvPr/>
              </p:nvSpPr>
              <p:spPr>
                <a:xfrm>
                  <a:off x="1914232" y="7415216"/>
                  <a:ext cx="16099790" cy="789940"/>
                </a:xfrm>
                <a:custGeom>
                  <a:avLst/>
                  <a:gdLst/>
                  <a:ahLst/>
                  <a:cxnLst/>
                  <a:rect l="l" t="t" r="r" b="b"/>
                  <a:pathLst>
                    <a:path w="16099790" h="789940">
                      <a:moveTo>
                        <a:pt x="2923654" y="387743"/>
                      </a:moveTo>
                      <a:lnTo>
                        <a:pt x="2471242" y="143840"/>
                      </a:lnTo>
                      <a:lnTo>
                        <a:pt x="0" y="143840"/>
                      </a:lnTo>
                      <a:lnTo>
                        <a:pt x="0" y="617588"/>
                      </a:lnTo>
                      <a:lnTo>
                        <a:pt x="2474506" y="617588"/>
                      </a:lnTo>
                      <a:lnTo>
                        <a:pt x="2923654" y="387743"/>
                      </a:lnTo>
                      <a:close/>
                    </a:path>
                    <a:path w="16099790" h="789940">
                      <a:moveTo>
                        <a:pt x="16099193" y="394779"/>
                      </a:moveTo>
                      <a:lnTo>
                        <a:pt x="15569299" y="0"/>
                      </a:lnTo>
                      <a:lnTo>
                        <a:pt x="15569299" y="157911"/>
                      </a:lnTo>
                      <a:lnTo>
                        <a:pt x="13084391" y="157899"/>
                      </a:lnTo>
                      <a:lnTo>
                        <a:pt x="12627293" y="387743"/>
                      </a:lnTo>
                      <a:lnTo>
                        <a:pt x="13054140" y="631647"/>
                      </a:lnTo>
                      <a:lnTo>
                        <a:pt x="15569299" y="631647"/>
                      </a:lnTo>
                      <a:lnTo>
                        <a:pt x="15569299" y="789571"/>
                      </a:lnTo>
                      <a:lnTo>
                        <a:pt x="16099193" y="394779"/>
                      </a:lnTo>
                      <a:close/>
                    </a:path>
                  </a:pathLst>
                </a:custGeom>
                <a:solidFill>
                  <a:srgbClr val="BFBEBF"/>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21" name="object 80">
                <a:extLst>
                  <a:ext uri="{FF2B5EF4-FFF2-40B4-BE49-F238E27FC236}">
                    <a16:creationId xmlns:a16="http://schemas.microsoft.com/office/drawing/2014/main" id="{8AA96388-D029-D2CA-2F63-8EFC8F3081C1}"/>
                  </a:ext>
                </a:extLst>
              </p:cNvPr>
              <p:cNvSpPr txBox="1"/>
              <p:nvPr/>
            </p:nvSpPr>
            <p:spPr>
              <a:xfrm>
                <a:off x="4383767" y="3241964"/>
                <a:ext cx="2641982" cy="750373"/>
              </a:xfrm>
              <a:prstGeom prst="rect">
                <a:avLst/>
              </a:prstGeom>
            </p:spPr>
            <p:txBody>
              <a:bodyPr vert="horz" wrap="square" lIns="0" tIns="14374" rIns="0" bIns="0" rtlCol="0">
                <a:spAutoFit/>
              </a:bodyPr>
              <a:lstStyle/>
              <a:p>
                <a:pPr marL="441692" marR="0" lvl="0" indent="0" algn="ctr" defTabSz="822960" rtl="0" eaLnBrk="1" fontAlgn="auto" latinLnBrk="0" hangingPunct="1">
                  <a:lnSpc>
                    <a:spcPct val="100000"/>
                  </a:lnSpc>
                  <a:spcBef>
                    <a:spcPts val="114"/>
                  </a:spcBef>
                  <a:spcAft>
                    <a:spcPts val="0"/>
                  </a:spcAft>
                  <a:buClr>
                    <a:srgbClr val="000000"/>
                  </a:buClr>
                  <a:buSzTx/>
                  <a:buFontTx/>
                  <a:buNone/>
                  <a:tabLst/>
                  <a:defRPr/>
                </a:pPr>
                <a:r>
                  <a:rPr kumimoji="0" lang="en-US" sz="1147" b="0" i="0" u="none" strike="noStrike" kern="0" cap="none" spc="-20"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R</a:t>
                </a:r>
                <a:r>
                  <a:rPr kumimoji="0" sz="1147" b="0" i="0" u="none" strike="noStrike" kern="0" cap="none" spc="-20" normalizeH="0" baseline="0" noProof="0" err="1">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elacorilant</a:t>
                </a:r>
                <a:r>
                  <a:rPr kumimoji="0" sz="1147" b="0" i="0" u="none" strike="noStrike" kern="0" cap="none" spc="-72"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1147" b="0" i="0" u="none" strike="noStrike" kern="0" cap="none" spc="-275"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t>
                </a:r>
                <a:r>
                  <a:rPr kumimoji="0" sz="1147" b="0" i="0" u="none" strike="noStrike" kern="0" cap="none" spc="-89"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lang="en-US" sz="1147" b="0" i="0" u="none" strike="noStrike" kern="0" cap="none" spc="-89"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lang="en-US" sz="1147" b="0" i="0" u="none" strike="noStrike" kern="0" cap="none" spc="-56"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N</a:t>
                </a:r>
                <a:r>
                  <a:rPr kumimoji="0" sz="1147" b="0" i="0" u="none" strike="noStrike" kern="0" cap="none" spc="-56"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b-</a:t>
                </a:r>
                <a:r>
                  <a:rPr kumimoji="0" sz="1147" b="0" i="0" u="none" strike="noStrike" kern="0" cap="none" spc="-35"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aclitaxel</a:t>
                </a:r>
                <a:endParaRPr kumimoji="0" sz="1147" b="0" i="0" u="none" strike="noStrike" kern="0" cap="none" spc="0"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a:p>
                <a:pPr marL="2857" marR="1744704" lvl="0" indent="-2857" algn="ctr" defTabSz="822960" rtl="0" eaLnBrk="1" fontAlgn="auto" latinLnBrk="0" hangingPunct="1">
                  <a:lnSpc>
                    <a:spcPts val="727"/>
                  </a:lnSpc>
                  <a:spcBef>
                    <a:spcPts val="193"/>
                  </a:spcBef>
                  <a:spcAft>
                    <a:spcPts val="0"/>
                  </a:spcAft>
                  <a:buClr>
                    <a:srgbClr val="000000"/>
                  </a:buClr>
                  <a:buSzTx/>
                  <a:buFontTx/>
                  <a:buNone/>
                  <a:tabLst/>
                  <a:defRPr/>
                </a:pPr>
                <a:r>
                  <a:rPr kumimoji="0" sz="718" b="0" i="0" u="none" strike="noStrike" kern="0" cap="none" spc="-38"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Open-</a:t>
                </a:r>
                <a:r>
                  <a:rPr kumimoji="0" sz="718" b="0" i="0" u="none" strike="noStrike" kern="0" cap="none" spc="-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label </a:t>
                </a:r>
                <a:r>
                  <a:rPr kumimoji="0" lang="en-US" sz="718" b="0" i="0" u="none" strike="noStrike" kern="0" cap="none" spc="-42"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r</a:t>
                </a:r>
                <a:r>
                  <a:rPr kumimoji="0" sz="718" b="0" i="0" u="none" strike="noStrike" kern="0" cap="none" spc="-42" normalizeH="0" baseline="0" noProof="0" err="1">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ndomization</a:t>
                </a:r>
                <a:r>
                  <a:rPr kumimoji="0" sz="718" b="0" i="0" u="none" strike="noStrike" kern="0" cap="none" spc="-42"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718" b="0" i="0" u="none" strike="noStrike" kern="0" cap="none" spc="-8"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1:1</a:t>
                </a:r>
                <a:endParaRPr kumimoji="0" sz="718"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a:p>
                <a:pPr marL="426713" marR="0" lvl="0" indent="0" algn="ctr" defTabSz="822960" rtl="0" eaLnBrk="1" fontAlgn="auto" latinLnBrk="0" hangingPunct="1">
                  <a:lnSpc>
                    <a:spcPct val="100000"/>
                  </a:lnSpc>
                  <a:spcBef>
                    <a:spcPts val="58"/>
                  </a:spcBef>
                  <a:spcAft>
                    <a:spcPts val="0"/>
                  </a:spcAft>
                  <a:buClr>
                    <a:srgbClr val="000000"/>
                  </a:buClr>
                  <a:buSzTx/>
                  <a:buFontTx/>
                  <a:buNone/>
                  <a:tabLst/>
                  <a:defRPr/>
                </a:pPr>
                <a:r>
                  <a:rPr kumimoji="0" lang="en-US" sz="1147" b="0" i="0" u="none" strike="noStrike" kern="0" cap="none" spc="-56"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N</a:t>
                </a:r>
                <a:r>
                  <a:rPr kumimoji="0" sz="1147" b="0" i="0" u="none" strike="noStrike" kern="0" cap="none" spc="-56"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b-</a:t>
                </a:r>
                <a:r>
                  <a:rPr kumimoji="0" sz="1147" b="0" i="0" u="none" strike="noStrike" kern="0" cap="none" spc="-11"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aclitaxel</a:t>
                </a:r>
                <a:endParaRPr kumimoji="0" sz="1147" b="0" i="0" u="none" strike="noStrike" kern="0" cap="none" spc="0" normalizeH="0" baseline="0" noProof="0">
                  <a:ln>
                    <a:noFill/>
                  </a:ln>
                  <a:solidFill>
                    <a:srgbClr val="8C317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22" name="object 81">
                <a:extLst>
                  <a:ext uri="{FF2B5EF4-FFF2-40B4-BE49-F238E27FC236}">
                    <a16:creationId xmlns:a16="http://schemas.microsoft.com/office/drawing/2014/main" id="{26AB4C67-8660-F987-B6F8-D3151AE73F70}"/>
                  </a:ext>
                </a:extLst>
              </p:cNvPr>
              <p:cNvSpPr txBox="1"/>
              <p:nvPr/>
            </p:nvSpPr>
            <p:spPr>
              <a:xfrm>
                <a:off x="3360001" y="3497374"/>
                <a:ext cx="619897" cy="353069"/>
              </a:xfrm>
              <a:prstGeom prst="rect">
                <a:avLst/>
              </a:prstGeom>
            </p:spPr>
            <p:txBody>
              <a:bodyPr vert="horz" wrap="square" lIns="0" tIns="48179" rIns="0" bIns="0" rtlCol="0">
                <a:spAutoFit/>
              </a:bodyPr>
              <a:lstStyle/>
              <a:p>
                <a:pPr marL="4049" marR="0" lvl="0" indent="0" algn="l" defTabSz="822960" rtl="0" eaLnBrk="1" fontAlgn="auto" latinLnBrk="0" hangingPunct="1">
                  <a:lnSpc>
                    <a:spcPct val="100000"/>
                  </a:lnSpc>
                  <a:spcBef>
                    <a:spcPts val="379"/>
                  </a:spcBef>
                  <a:spcAft>
                    <a:spcPts val="0"/>
                  </a:spcAft>
                  <a:buClr>
                    <a:srgbClr val="000000"/>
                  </a:buClr>
                  <a:buSzTx/>
                  <a:buFontTx/>
                  <a:buNone/>
                  <a:tabLst/>
                  <a:defRPr/>
                </a:pPr>
                <a:r>
                  <a:rPr kumimoji="0" sz="781" b="0" i="0" u="none" strike="noStrike" kern="0" cap="none" spc="-43"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SCREENING</a:t>
                </a:r>
                <a:endParaRPr kumimoji="0" sz="781"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a:p>
                <a:pPr marL="14980" marR="0" lvl="0" indent="0" algn="l" defTabSz="822960" rtl="0" eaLnBrk="1" fontAlgn="auto" latinLnBrk="0" hangingPunct="1">
                  <a:lnSpc>
                    <a:spcPct val="100000"/>
                  </a:lnSpc>
                  <a:spcBef>
                    <a:spcPts val="324"/>
                  </a:spcBef>
                  <a:spcAft>
                    <a:spcPts val="0"/>
                  </a:spcAft>
                  <a:buClr>
                    <a:srgbClr val="000000"/>
                  </a:buClr>
                  <a:buSzTx/>
                  <a:buFontTx/>
                  <a:buNone/>
                  <a:tabLst/>
                  <a:defRPr/>
                </a:pPr>
                <a:r>
                  <a:rPr kumimoji="0" sz="718" b="0" i="0" u="none" strike="noStrike" kern="0" cap="none" spc="-38"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Day</a:t>
                </a:r>
                <a:r>
                  <a:rPr kumimoji="0" sz="718" b="0" i="0" u="none" strike="noStrike" kern="0" cap="none" spc="-65"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718" b="0" i="0" u="none" strike="noStrike" kern="0" cap="none" spc="-36"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t>
                </a:r>
                <a:r>
                  <a:rPr kumimoji="0" sz="718" b="0" i="0" u="none" strike="noStrike" kern="0" cap="none" spc="-53"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28</a:t>
                </a:r>
                <a:r>
                  <a:rPr kumimoji="0" sz="718" b="0" i="0" u="none" strike="noStrike" kern="0" cap="none" spc="-65"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718" b="0" i="0" u="none" strike="noStrike" kern="0" cap="none" spc="-3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to</a:t>
                </a:r>
                <a:r>
                  <a:rPr kumimoji="0" sz="718" b="0" i="0" u="none" strike="noStrike" kern="0" cap="none" spc="-6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718" b="0" i="0" u="none" strike="noStrike" kern="0" cap="none" spc="-43"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t>
                </a:r>
                <a:r>
                  <a:rPr kumimoji="0" sz="718" b="0" i="0" u="none" strike="noStrike" kern="0" cap="none" spc="-17"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1</a:t>
                </a:r>
                <a:endParaRPr kumimoji="0" sz="718"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23" name="object 82">
                <a:extLst>
                  <a:ext uri="{FF2B5EF4-FFF2-40B4-BE49-F238E27FC236}">
                    <a16:creationId xmlns:a16="http://schemas.microsoft.com/office/drawing/2014/main" id="{189722CC-FDB6-A555-D1C5-5D7D3B165396}"/>
                  </a:ext>
                </a:extLst>
              </p:cNvPr>
              <p:cNvSpPr txBox="1"/>
              <p:nvPr/>
            </p:nvSpPr>
            <p:spPr>
              <a:xfrm>
                <a:off x="7964799" y="3551662"/>
                <a:ext cx="657459" cy="137829"/>
              </a:xfrm>
              <a:prstGeom prst="rect">
                <a:avLst/>
              </a:prstGeom>
            </p:spPr>
            <p:txBody>
              <a:bodyPr vert="horz" wrap="square" lIns="0" tIns="3847" rIns="0" bIns="0" rtlCol="0">
                <a:spAutoFit/>
              </a:bodyPr>
              <a:lstStyle/>
              <a:p>
                <a:pPr marL="4049" marR="0" lvl="0" indent="0" algn="l" defTabSz="822960" rtl="0" eaLnBrk="1" fontAlgn="auto" latinLnBrk="0" hangingPunct="1">
                  <a:lnSpc>
                    <a:spcPct val="100000"/>
                  </a:lnSpc>
                  <a:spcBef>
                    <a:spcPts val="31"/>
                  </a:spcBef>
                  <a:spcAft>
                    <a:spcPts val="0"/>
                  </a:spcAft>
                  <a:buClr>
                    <a:srgbClr val="000000"/>
                  </a:buClr>
                  <a:buSzTx/>
                  <a:buFontTx/>
                  <a:buNone/>
                  <a:tabLst/>
                  <a:defRPr/>
                </a:pPr>
                <a:r>
                  <a:rPr kumimoji="0" sz="781" b="0" i="0" u="none" strike="noStrike" kern="0" cap="none" spc="-23"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FOLLOW-</a:t>
                </a:r>
                <a:r>
                  <a:rPr kumimoji="0" sz="781" b="0" i="0" u="none" strike="noStrike" kern="0" cap="none" spc="-2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UP</a:t>
                </a:r>
                <a:endParaRPr kumimoji="0" sz="781"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124" name="object 83">
                <a:extLst>
                  <a:ext uri="{FF2B5EF4-FFF2-40B4-BE49-F238E27FC236}">
                    <a16:creationId xmlns:a16="http://schemas.microsoft.com/office/drawing/2014/main" id="{71684C37-D231-49D4-55BA-9D539A2B8E8F}"/>
                  </a:ext>
                </a:extLst>
              </p:cNvPr>
              <p:cNvGrpSpPr/>
              <p:nvPr/>
            </p:nvGrpSpPr>
            <p:grpSpPr>
              <a:xfrm>
                <a:off x="7079444" y="2710272"/>
                <a:ext cx="374052" cy="125959"/>
                <a:chOff x="12828458" y="5232050"/>
                <a:chExt cx="1056005" cy="355600"/>
              </a:xfrm>
            </p:grpSpPr>
            <p:sp>
              <p:nvSpPr>
                <p:cNvPr id="125" name="object 84">
                  <a:extLst>
                    <a:ext uri="{FF2B5EF4-FFF2-40B4-BE49-F238E27FC236}">
                      <a16:creationId xmlns:a16="http://schemas.microsoft.com/office/drawing/2014/main" id="{BA9769E0-5863-6044-A059-8E81DCB3BFC7}"/>
                    </a:ext>
                  </a:extLst>
                </p:cNvPr>
                <p:cNvSpPr/>
                <p:nvPr/>
              </p:nvSpPr>
              <p:spPr>
                <a:xfrm>
                  <a:off x="12836214" y="5411596"/>
                  <a:ext cx="1040130" cy="0"/>
                </a:xfrm>
                <a:custGeom>
                  <a:avLst/>
                  <a:gdLst/>
                  <a:ahLst/>
                  <a:cxnLst/>
                  <a:rect l="l" t="t" r="r" b="b"/>
                  <a:pathLst>
                    <a:path w="1040130">
                      <a:moveTo>
                        <a:pt x="0" y="0"/>
                      </a:moveTo>
                      <a:lnTo>
                        <a:pt x="1039999" y="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26" name="object 85">
                  <a:extLst>
                    <a:ext uri="{FF2B5EF4-FFF2-40B4-BE49-F238E27FC236}">
                      <a16:creationId xmlns:a16="http://schemas.microsoft.com/office/drawing/2014/main" id="{57954606-CE63-763C-C190-C0FC033B7F8B}"/>
                    </a:ext>
                  </a:extLst>
                </p:cNvPr>
                <p:cNvSpPr/>
                <p:nvPr/>
              </p:nvSpPr>
              <p:spPr>
                <a:xfrm>
                  <a:off x="12836214" y="523205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27" name="object 86">
                  <a:extLst>
                    <a:ext uri="{FF2B5EF4-FFF2-40B4-BE49-F238E27FC236}">
                      <a16:creationId xmlns:a16="http://schemas.microsoft.com/office/drawing/2014/main" id="{CEDE0677-E8BF-955D-04F0-172F7A5B7A57}"/>
                    </a:ext>
                  </a:extLst>
                </p:cNvPr>
                <p:cNvSpPr/>
                <p:nvPr/>
              </p:nvSpPr>
              <p:spPr>
                <a:xfrm>
                  <a:off x="13876214" y="523205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pic>
            <p:nvPicPr>
              <p:cNvPr id="128" name="object 87">
                <a:extLst>
                  <a:ext uri="{FF2B5EF4-FFF2-40B4-BE49-F238E27FC236}">
                    <a16:creationId xmlns:a16="http://schemas.microsoft.com/office/drawing/2014/main" id="{12AD9218-F52F-AB0D-7538-45063EA8CDE9}"/>
                  </a:ext>
                </a:extLst>
              </p:cNvPr>
              <p:cNvPicPr/>
              <p:nvPr/>
            </p:nvPicPr>
            <p:blipFill>
              <a:blip r:embed="rId4" cstate="print"/>
              <a:stretch>
                <a:fillRect/>
              </a:stretch>
            </p:blipFill>
            <p:spPr>
              <a:xfrm>
                <a:off x="7224831" y="2530471"/>
                <a:ext cx="83104" cy="71974"/>
              </a:xfrm>
              <a:prstGeom prst="rect">
                <a:avLst/>
              </a:prstGeom>
            </p:spPr>
          </p:pic>
          <p:sp>
            <p:nvSpPr>
              <p:cNvPr id="129" name="object 88">
                <a:extLst>
                  <a:ext uri="{FF2B5EF4-FFF2-40B4-BE49-F238E27FC236}">
                    <a16:creationId xmlns:a16="http://schemas.microsoft.com/office/drawing/2014/main" id="{41AA5200-DACF-1F25-DE0A-1CB2C472C140}"/>
                  </a:ext>
                </a:extLst>
              </p:cNvPr>
              <p:cNvSpPr/>
              <p:nvPr/>
            </p:nvSpPr>
            <p:spPr>
              <a:xfrm>
                <a:off x="7230395"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130" name="object 89">
                <a:extLst>
                  <a:ext uri="{FF2B5EF4-FFF2-40B4-BE49-F238E27FC236}">
                    <a16:creationId xmlns:a16="http://schemas.microsoft.com/office/drawing/2014/main" id="{81C7BCE0-21DD-AD12-8A74-C31A573CB85C}"/>
                  </a:ext>
                </a:extLst>
              </p:cNvPr>
              <p:cNvGrpSpPr/>
              <p:nvPr/>
            </p:nvGrpSpPr>
            <p:grpSpPr>
              <a:xfrm>
                <a:off x="7079444" y="4464440"/>
                <a:ext cx="374052" cy="125959"/>
                <a:chOff x="12828458" y="10184327"/>
                <a:chExt cx="1056005" cy="355600"/>
              </a:xfrm>
            </p:grpSpPr>
            <p:sp>
              <p:nvSpPr>
                <p:cNvPr id="131" name="object 90">
                  <a:extLst>
                    <a:ext uri="{FF2B5EF4-FFF2-40B4-BE49-F238E27FC236}">
                      <a16:creationId xmlns:a16="http://schemas.microsoft.com/office/drawing/2014/main" id="{9CF24F9B-04EF-AACA-8B87-7764910A9B3E}"/>
                    </a:ext>
                  </a:extLst>
                </p:cNvPr>
                <p:cNvSpPr/>
                <p:nvPr/>
              </p:nvSpPr>
              <p:spPr>
                <a:xfrm>
                  <a:off x="12836214" y="10362118"/>
                  <a:ext cx="1040130" cy="0"/>
                </a:xfrm>
                <a:custGeom>
                  <a:avLst/>
                  <a:gdLst/>
                  <a:ahLst/>
                  <a:cxnLst/>
                  <a:rect l="l" t="t" r="r" b="b"/>
                  <a:pathLst>
                    <a:path w="1040130">
                      <a:moveTo>
                        <a:pt x="0" y="0"/>
                      </a:moveTo>
                      <a:lnTo>
                        <a:pt x="1039999" y="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32" name="object 91">
                  <a:extLst>
                    <a:ext uri="{FF2B5EF4-FFF2-40B4-BE49-F238E27FC236}">
                      <a16:creationId xmlns:a16="http://schemas.microsoft.com/office/drawing/2014/main" id="{3467B33A-20A1-53C5-A99C-28AC6BB82220}"/>
                    </a:ext>
                  </a:extLst>
                </p:cNvPr>
                <p:cNvSpPr/>
                <p:nvPr/>
              </p:nvSpPr>
              <p:spPr>
                <a:xfrm>
                  <a:off x="12836214" y="10184327"/>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33" name="object 92">
                  <a:extLst>
                    <a:ext uri="{FF2B5EF4-FFF2-40B4-BE49-F238E27FC236}">
                      <a16:creationId xmlns:a16="http://schemas.microsoft.com/office/drawing/2014/main" id="{2B895C4C-CE6B-C099-EE8D-0F3FCBE3370D}"/>
                    </a:ext>
                  </a:extLst>
                </p:cNvPr>
                <p:cNvSpPr/>
                <p:nvPr/>
              </p:nvSpPr>
              <p:spPr>
                <a:xfrm>
                  <a:off x="13876214" y="10184327"/>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34" name="object 93">
                <a:extLst>
                  <a:ext uri="{FF2B5EF4-FFF2-40B4-BE49-F238E27FC236}">
                    <a16:creationId xmlns:a16="http://schemas.microsoft.com/office/drawing/2014/main" id="{3E61A711-6A40-3ECB-A97D-CE6FD832BBF8}"/>
                  </a:ext>
                </a:extLst>
              </p:cNvPr>
              <p:cNvSpPr/>
              <p:nvPr/>
            </p:nvSpPr>
            <p:spPr>
              <a:xfrm>
                <a:off x="7230395" y="4426544"/>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35" name="object 94">
                <a:extLst>
                  <a:ext uri="{FF2B5EF4-FFF2-40B4-BE49-F238E27FC236}">
                    <a16:creationId xmlns:a16="http://schemas.microsoft.com/office/drawing/2014/main" id="{E6FEFEE2-A4E5-6450-E151-2F427D32BCDC}"/>
                  </a:ext>
                </a:extLst>
              </p:cNvPr>
              <p:cNvSpPr txBox="1"/>
              <p:nvPr/>
            </p:nvSpPr>
            <p:spPr>
              <a:xfrm>
                <a:off x="7312746" y="2482590"/>
                <a:ext cx="49936" cy="143951"/>
              </a:xfrm>
              <a:prstGeom prst="rect">
                <a:avLst/>
              </a:prstGeom>
            </p:spPr>
            <p:txBody>
              <a:bodyPr vert="horz" wrap="square" lIns="0" tIns="4859" rIns="0" bIns="0" rtlCol="0">
                <a:spAutoFit/>
              </a:bodyPr>
              <a:lstStyle/>
              <a:p>
                <a:pPr marL="4049" marR="0" lvl="0" indent="0" algn="l" defTabSz="822960" rtl="0" eaLnBrk="1" fontAlgn="auto" latinLnBrk="0" hangingPunct="1">
                  <a:lnSpc>
                    <a:spcPct val="100000"/>
                  </a:lnSpc>
                  <a:spcBef>
                    <a:spcPts val="38"/>
                  </a:spcBef>
                  <a:spcAft>
                    <a:spcPts val="0"/>
                  </a:spcAft>
                  <a:buClr>
                    <a:srgbClr val="000000"/>
                  </a:buClr>
                  <a:buSzTx/>
                  <a:buFontTx/>
                  <a:buNone/>
                  <a:tabLst/>
                  <a:defRPr/>
                </a:pPr>
                <a:r>
                  <a:rPr kumimoji="0" sz="810" b="0" i="0" u="none" strike="noStrike" kern="0" cap="none" spc="-118"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t>
                </a:r>
                <a:endParaRPr kumimoji="0" sz="81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36" name="object 95">
                <a:extLst>
                  <a:ext uri="{FF2B5EF4-FFF2-40B4-BE49-F238E27FC236}">
                    <a16:creationId xmlns:a16="http://schemas.microsoft.com/office/drawing/2014/main" id="{0D602E7B-3B74-F419-3833-FA16420401E7}"/>
                  </a:ext>
                </a:extLst>
              </p:cNvPr>
              <p:cNvSpPr txBox="1"/>
              <p:nvPr/>
            </p:nvSpPr>
            <p:spPr>
              <a:xfrm>
                <a:off x="7312746" y="4356936"/>
                <a:ext cx="49936" cy="143951"/>
              </a:xfrm>
              <a:prstGeom prst="rect">
                <a:avLst/>
              </a:prstGeom>
            </p:spPr>
            <p:txBody>
              <a:bodyPr vert="horz" wrap="square" lIns="0" tIns="4859" rIns="0" bIns="0" rtlCol="0">
                <a:spAutoFit/>
              </a:bodyPr>
              <a:lstStyle/>
              <a:p>
                <a:pPr marL="4049" marR="0" lvl="0" indent="0" algn="l" defTabSz="822960" rtl="0" eaLnBrk="1" fontAlgn="auto" latinLnBrk="0" hangingPunct="1">
                  <a:lnSpc>
                    <a:spcPct val="100000"/>
                  </a:lnSpc>
                  <a:spcBef>
                    <a:spcPts val="38"/>
                  </a:spcBef>
                  <a:spcAft>
                    <a:spcPts val="0"/>
                  </a:spcAft>
                  <a:buClr>
                    <a:srgbClr val="000000"/>
                  </a:buClr>
                  <a:buSzTx/>
                  <a:buFontTx/>
                  <a:buNone/>
                  <a:tabLst/>
                  <a:defRPr/>
                </a:pPr>
                <a:r>
                  <a:rPr kumimoji="0" sz="810" b="0" i="0" u="none" strike="noStrike" kern="0" cap="none" spc="-118"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t>
                </a:r>
                <a:endParaRPr kumimoji="0" sz="81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94" name="object 18">
              <a:extLst>
                <a:ext uri="{FF2B5EF4-FFF2-40B4-BE49-F238E27FC236}">
                  <a16:creationId xmlns:a16="http://schemas.microsoft.com/office/drawing/2014/main" id="{3166C2C8-48B5-C5AD-1B83-0EAEA9BCC32E}"/>
                </a:ext>
              </a:extLst>
            </p:cNvPr>
            <p:cNvSpPr/>
            <p:nvPr/>
          </p:nvSpPr>
          <p:spPr>
            <a:xfrm>
              <a:off x="1032999" y="1907168"/>
              <a:ext cx="2095490" cy="2875513"/>
            </a:xfrm>
            <a:custGeom>
              <a:avLst/>
              <a:gdLst/>
              <a:ahLst/>
              <a:cxnLst/>
              <a:rect l="l" t="t" r="r" b="b"/>
              <a:pathLst>
                <a:path w="8113395" h="3266440">
                  <a:moveTo>
                    <a:pt x="8113023" y="0"/>
                  </a:moveTo>
                  <a:lnTo>
                    <a:pt x="0" y="0"/>
                  </a:lnTo>
                  <a:lnTo>
                    <a:pt x="0" y="3266171"/>
                  </a:lnTo>
                  <a:lnTo>
                    <a:pt x="8113023" y="3266171"/>
                  </a:lnTo>
                  <a:lnTo>
                    <a:pt x="8113023" y="0"/>
                  </a:lnTo>
                  <a:close/>
                </a:path>
              </a:pathLst>
            </a:custGeom>
            <a:ln w="28575">
              <a:solidFill>
                <a:srgbClr val="002557"/>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202" name="Group 201">
              <a:extLst>
                <a:ext uri="{FF2B5EF4-FFF2-40B4-BE49-F238E27FC236}">
                  <a16:creationId xmlns:a16="http://schemas.microsoft.com/office/drawing/2014/main" id="{D5BE76C0-1B92-430B-23D0-45996AF11A2D}"/>
                </a:ext>
              </a:extLst>
            </p:cNvPr>
            <p:cNvGrpSpPr/>
            <p:nvPr/>
          </p:nvGrpSpPr>
          <p:grpSpPr>
            <a:xfrm>
              <a:off x="892028" y="1766056"/>
              <a:ext cx="275917" cy="318428"/>
              <a:chOff x="584255" y="2617030"/>
              <a:chExt cx="306574" cy="353809"/>
            </a:xfrm>
          </p:grpSpPr>
          <p:sp>
            <p:nvSpPr>
              <p:cNvPr id="195" name="object 19">
                <a:extLst>
                  <a:ext uri="{FF2B5EF4-FFF2-40B4-BE49-F238E27FC236}">
                    <a16:creationId xmlns:a16="http://schemas.microsoft.com/office/drawing/2014/main" id="{2D42BCD5-715D-C81C-7F35-DB6678A51FAA}"/>
                  </a:ext>
                </a:extLst>
              </p:cNvPr>
              <p:cNvSpPr/>
              <p:nvPr/>
            </p:nvSpPr>
            <p:spPr>
              <a:xfrm>
                <a:off x="584255" y="2617030"/>
                <a:ext cx="306574" cy="353809"/>
              </a:xfrm>
              <a:custGeom>
                <a:avLst/>
                <a:gdLst/>
                <a:ahLst/>
                <a:cxnLst/>
                <a:rect l="l" t="t" r="r" b="b"/>
                <a:pathLst>
                  <a:path w="865505" h="998854">
                    <a:moveTo>
                      <a:pt x="432512" y="0"/>
                    </a:moveTo>
                    <a:lnTo>
                      <a:pt x="0" y="249708"/>
                    </a:lnTo>
                    <a:lnTo>
                      <a:pt x="0" y="749131"/>
                    </a:lnTo>
                    <a:lnTo>
                      <a:pt x="432512" y="998834"/>
                    </a:lnTo>
                    <a:lnTo>
                      <a:pt x="865019" y="749131"/>
                    </a:lnTo>
                    <a:lnTo>
                      <a:pt x="865019" y="249708"/>
                    </a:lnTo>
                    <a:lnTo>
                      <a:pt x="432512" y="0"/>
                    </a:lnTo>
                    <a:close/>
                  </a:path>
                </a:pathLst>
              </a:custGeom>
              <a:solidFill>
                <a:srgbClr val="002557"/>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196" name="object 20">
                <a:extLst>
                  <a:ext uri="{FF2B5EF4-FFF2-40B4-BE49-F238E27FC236}">
                    <a16:creationId xmlns:a16="http://schemas.microsoft.com/office/drawing/2014/main" id="{1CB0B9BF-04DA-E99B-28C9-372BD25A6A93}"/>
                  </a:ext>
                </a:extLst>
              </p:cNvPr>
              <p:cNvPicPr/>
              <p:nvPr/>
            </p:nvPicPr>
            <p:blipFill>
              <a:blip r:embed="rId8" cstate="print"/>
              <a:stretch>
                <a:fillRect/>
              </a:stretch>
            </p:blipFill>
            <p:spPr>
              <a:xfrm>
                <a:off x="709816" y="2695618"/>
                <a:ext cx="102078" cy="116001"/>
              </a:xfrm>
              <a:prstGeom prst="rect">
                <a:avLst/>
              </a:prstGeom>
            </p:spPr>
          </p:pic>
          <p:sp>
            <p:nvSpPr>
              <p:cNvPr id="197" name="object 21">
                <a:extLst>
                  <a:ext uri="{FF2B5EF4-FFF2-40B4-BE49-F238E27FC236}">
                    <a16:creationId xmlns:a16="http://schemas.microsoft.com/office/drawing/2014/main" id="{5F468CAB-7DBC-474B-A637-D77CA86999EB}"/>
                  </a:ext>
                </a:extLst>
              </p:cNvPr>
              <p:cNvSpPr/>
              <p:nvPr/>
            </p:nvSpPr>
            <p:spPr>
              <a:xfrm>
                <a:off x="733449" y="2810480"/>
                <a:ext cx="110214" cy="50608"/>
              </a:xfrm>
              <a:custGeom>
                <a:avLst/>
                <a:gdLst/>
                <a:ahLst/>
                <a:cxnLst/>
                <a:rect l="l" t="t" r="r" b="b"/>
                <a:pathLst>
                  <a:path w="311150" h="142875">
                    <a:moveTo>
                      <a:pt x="184639" y="0"/>
                    </a:moveTo>
                    <a:lnTo>
                      <a:pt x="101818" y="0"/>
                    </a:lnTo>
                    <a:lnTo>
                      <a:pt x="73881" y="3101"/>
                    </a:lnTo>
                    <a:lnTo>
                      <a:pt x="47699" y="12136"/>
                    </a:lnTo>
                    <a:lnTo>
                      <a:pt x="24128" y="26698"/>
                    </a:lnTo>
                    <a:lnTo>
                      <a:pt x="4028" y="46382"/>
                    </a:lnTo>
                    <a:lnTo>
                      <a:pt x="0" y="51309"/>
                    </a:lnTo>
                    <a:lnTo>
                      <a:pt x="723" y="58569"/>
                    </a:lnTo>
                    <a:lnTo>
                      <a:pt x="10579" y="66641"/>
                    </a:lnTo>
                    <a:lnTo>
                      <a:pt x="17834" y="65896"/>
                    </a:lnTo>
                    <a:lnTo>
                      <a:pt x="21867" y="60979"/>
                    </a:lnTo>
                    <a:lnTo>
                      <a:pt x="38304" y="44879"/>
                    </a:lnTo>
                    <a:lnTo>
                      <a:pt x="57575" y="32968"/>
                    </a:lnTo>
                    <a:lnTo>
                      <a:pt x="78979" y="25578"/>
                    </a:lnTo>
                    <a:lnTo>
                      <a:pt x="101818" y="23041"/>
                    </a:lnTo>
                    <a:lnTo>
                      <a:pt x="184639" y="23041"/>
                    </a:lnTo>
                    <a:lnTo>
                      <a:pt x="223258" y="30538"/>
                    </a:lnTo>
                    <a:lnTo>
                      <a:pt x="255265" y="51061"/>
                    </a:lnTo>
                    <a:lnTo>
                      <a:pt x="277705" y="81654"/>
                    </a:lnTo>
                    <a:lnTo>
                      <a:pt x="287626" y="119362"/>
                    </a:lnTo>
                    <a:lnTo>
                      <a:pt x="32519" y="119362"/>
                    </a:lnTo>
                    <a:lnTo>
                      <a:pt x="27363" y="124518"/>
                    </a:lnTo>
                    <a:lnTo>
                      <a:pt x="27363" y="137243"/>
                    </a:lnTo>
                    <a:lnTo>
                      <a:pt x="32519" y="142404"/>
                    </a:lnTo>
                    <a:lnTo>
                      <a:pt x="299374" y="142404"/>
                    </a:lnTo>
                    <a:lnTo>
                      <a:pt x="305739" y="142404"/>
                    </a:lnTo>
                    <a:lnTo>
                      <a:pt x="310899" y="137243"/>
                    </a:lnTo>
                    <a:lnTo>
                      <a:pt x="310899" y="126260"/>
                    </a:lnTo>
                    <a:lnTo>
                      <a:pt x="300961" y="77159"/>
                    </a:lnTo>
                    <a:lnTo>
                      <a:pt x="273875" y="37021"/>
                    </a:lnTo>
                    <a:lnTo>
                      <a:pt x="233736" y="9937"/>
                    </a:lnTo>
                    <a:lnTo>
                      <a:pt x="184639" y="0"/>
                    </a:lnTo>
                    <a:close/>
                  </a:path>
                </a:pathLst>
              </a:custGeom>
              <a:solidFill>
                <a:srgbClr val="FFFFFF"/>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198" name="object 22">
                <a:extLst>
                  <a:ext uri="{FF2B5EF4-FFF2-40B4-BE49-F238E27FC236}">
                    <a16:creationId xmlns:a16="http://schemas.microsoft.com/office/drawing/2014/main" id="{38C3153D-C4FC-5D19-61C1-A3DFAD3E9091}"/>
                  </a:ext>
                </a:extLst>
              </p:cNvPr>
              <p:cNvPicPr/>
              <p:nvPr/>
            </p:nvPicPr>
            <p:blipFill>
              <a:blip r:embed="rId9" cstate="print"/>
              <a:stretch>
                <a:fillRect/>
              </a:stretch>
            </p:blipFill>
            <p:spPr>
              <a:xfrm>
                <a:off x="663020" y="2742142"/>
                <a:ext cx="55423" cy="69477"/>
              </a:xfrm>
              <a:prstGeom prst="rect">
                <a:avLst/>
              </a:prstGeom>
            </p:spPr>
          </p:pic>
          <p:sp>
            <p:nvSpPr>
              <p:cNvPr id="199" name="object 23">
                <a:extLst>
                  <a:ext uri="{FF2B5EF4-FFF2-40B4-BE49-F238E27FC236}">
                    <a16:creationId xmlns:a16="http://schemas.microsoft.com/office/drawing/2014/main" id="{2931930B-C3C8-6E5F-FC9F-FC91E9B9EBA3}"/>
                  </a:ext>
                </a:extLst>
              </p:cNvPr>
              <p:cNvSpPr/>
              <p:nvPr/>
            </p:nvSpPr>
            <p:spPr>
              <a:xfrm>
                <a:off x="631340" y="2810478"/>
                <a:ext cx="118986" cy="50608"/>
              </a:xfrm>
              <a:custGeom>
                <a:avLst/>
                <a:gdLst/>
                <a:ahLst/>
                <a:cxnLst/>
                <a:rect l="l" t="t" r="r" b="b"/>
                <a:pathLst>
                  <a:path w="335914" h="142875">
                    <a:moveTo>
                      <a:pt x="209081" y="0"/>
                    </a:moveTo>
                    <a:lnTo>
                      <a:pt x="126260" y="0"/>
                    </a:lnTo>
                    <a:lnTo>
                      <a:pt x="77161" y="9938"/>
                    </a:lnTo>
                    <a:lnTo>
                      <a:pt x="37022" y="37025"/>
                    </a:lnTo>
                    <a:lnTo>
                      <a:pt x="9937" y="77166"/>
                    </a:lnTo>
                    <a:lnTo>
                      <a:pt x="0" y="126265"/>
                    </a:lnTo>
                    <a:lnTo>
                      <a:pt x="0" y="137248"/>
                    </a:lnTo>
                    <a:lnTo>
                      <a:pt x="5155" y="142404"/>
                    </a:lnTo>
                    <a:lnTo>
                      <a:pt x="330181" y="142404"/>
                    </a:lnTo>
                    <a:lnTo>
                      <a:pt x="335342" y="137248"/>
                    </a:lnTo>
                    <a:lnTo>
                      <a:pt x="335342" y="126265"/>
                    </a:lnTo>
                    <a:lnTo>
                      <a:pt x="333945" y="119362"/>
                    </a:lnTo>
                    <a:lnTo>
                      <a:pt x="23273" y="119362"/>
                    </a:lnTo>
                    <a:lnTo>
                      <a:pt x="33193" y="81655"/>
                    </a:lnTo>
                    <a:lnTo>
                      <a:pt x="55632" y="51066"/>
                    </a:lnTo>
                    <a:lnTo>
                      <a:pt x="87639" y="30547"/>
                    </a:lnTo>
                    <a:lnTo>
                      <a:pt x="126260" y="23051"/>
                    </a:lnTo>
                    <a:lnTo>
                      <a:pt x="277609" y="23051"/>
                    </a:lnTo>
                    <a:lnTo>
                      <a:pt x="258178" y="9938"/>
                    </a:lnTo>
                    <a:lnTo>
                      <a:pt x="209081" y="0"/>
                    </a:lnTo>
                    <a:close/>
                  </a:path>
                  <a:path w="335914" h="142875">
                    <a:moveTo>
                      <a:pt x="277609" y="23051"/>
                    </a:moveTo>
                    <a:lnTo>
                      <a:pt x="209081" y="23051"/>
                    </a:lnTo>
                    <a:lnTo>
                      <a:pt x="247701" y="30547"/>
                    </a:lnTo>
                    <a:lnTo>
                      <a:pt x="279709" y="51066"/>
                    </a:lnTo>
                    <a:lnTo>
                      <a:pt x="302150" y="81655"/>
                    </a:lnTo>
                    <a:lnTo>
                      <a:pt x="312068" y="119362"/>
                    </a:lnTo>
                    <a:lnTo>
                      <a:pt x="333945" y="119362"/>
                    </a:lnTo>
                    <a:lnTo>
                      <a:pt x="325403" y="77166"/>
                    </a:lnTo>
                    <a:lnTo>
                      <a:pt x="298317" y="37025"/>
                    </a:lnTo>
                    <a:lnTo>
                      <a:pt x="277609" y="23051"/>
                    </a:lnTo>
                    <a:close/>
                  </a:path>
                </a:pathLst>
              </a:custGeom>
              <a:solidFill>
                <a:srgbClr val="FFFFFF"/>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44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200" name="object 32">
              <a:extLst>
                <a:ext uri="{FF2B5EF4-FFF2-40B4-BE49-F238E27FC236}">
                  <a16:creationId xmlns:a16="http://schemas.microsoft.com/office/drawing/2014/main" id="{F3F79B8A-BAD0-7870-3B7B-773A3EC9DB25}"/>
                </a:ext>
              </a:extLst>
            </p:cNvPr>
            <p:cNvSpPr txBox="1"/>
            <p:nvPr/>
          </p:nvSpPr>
          <p:spPr>
            <a:xfrm>
              <a:off x="1092136" y="2123577"/>
              <a:ext cx="1860942" cy="2489331"/>
            </a:xfrm>
            <a:prstGeom prst="rect">
              <a:avLst/>
            </a:prstGeom>
          </p:spPr>
          <p:txBody>
            <a:bodyPr vert="horz" wrap="square" lIns="0" tIns="4250" rIns="0" bIns="0" rtlCol="0">
              <a:spAutoFit/>
            </a:bodyPr>
            <a:lstStyle/>
            <a:p>
              <a:pPr marL="9716" marR="0" lvl="0" indent="0" algn="l" defTabSz="822960" rtl="0" eaLnBrk="1" fontAlgn="auto" latinLnBrk="0" hangingPunct="1">
                <a:lnSpc>
                  <a:spcPts val="1220"/>
                </a:lnSpc>
                <a:spcBef>
                  <a:spcPts val="34"/>
                </a:spcBef>
                <a:spcAft>
                  <a:spcPts val="0"/>
                </a:spcAft>
                <a:buClr>
                  <a:srgbClr val="000000"/>
                </a:buClr>
                <a:buSzTx/>
                <a:buFontTx/>
                <a:buNone/>
                <a:tabLst/>
                <a:defRPr/>
              </a:pPr>
              <a:r>
                <a:rPr kumimoji="0" lang="en-US" sz="1440" b="1" i="0" u="none" strike="noStrike" kern="0" cap="none" spc="-46"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a:t>
              </a:r>
              <a:r>
                <a:rPr kumimoji="0" sz="1440" b="1" i="0" u="none" strike="noStrike" kern="0" cap="none" spc="-43"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opulation</a:t>
              </a:r>
              <a:endParaRPr kumimoji="0" sz="360" b="1"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a:p>
              <a:pPr marL="157163" marR="129552" lvl="0" indent="-138589" algn="l" defTabSz="822960" rtl="0" eaLnBrk="1" fontAlgn="auto" latinLnBrk="0" hangingPunct="1">
                <a:lnSpc>
                  <a:spcPct val="101800"/>
                </a:lnSpc>
                <a:spcBef>
                  <a:spcPts val="524"/>
                </a:spcBef>
                <a:spcAft>
                  <a:spcPts val="0"/>
                </a:spcAft>
                <a:buClr>
                  <a:srgbClr val="000000"/>
                </a:buClr>
                <a:buSzTx/>
                <a:buFont typeface="Wingdings" pitchFamily="2" charset="2"/>
                <a:buChar char="§"/>
                <a:tabLst>
                  <a:tab pos="157163" algn="l"/>
                </a:tabLst>
                <a:defRPr/>
              </a:pP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Epithelial ovarian, primary peritoneal or fallopian tube cancer</a:t>
              </a:r>
            </a:p>
            <a:p>
              <a:pPr marL="157163" marR="129552" lvl="0" indent="-138589" algn="l" defTabSz="822960" rtl="0" eaLnBrk="1" fontAlgn="auto" latinLnBrk="0" hangingPunct="1">
                <a:lnSpc>
                  <a:spcPct val="101800"/>
                </a:lnSpc>
                <a:spcBef>
                  <a:spcPts val="524"/>
                </a:spcBef>
                <a:spcAft>
                  <a:spcPts val="0"/>
                </a:spcAft>
                <a:buClr>
                  <a:srgbClr val="000000"/>
                </a:buClr>
                <a:buSzTx/>
                <a:buFont typeface="Wingdings" pitchFamily="2" charset="2"/>
                <a:buChar char="§"/>
                <a:tabLst>
                  <a:tab pos="157163" algn="l"/>
                </a:tabLst>
                <a:defRPr/>
              </a:pP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ECOG performance status 0 or 1</a:t>
              </a:r>
            </a:p>
            <a:p>
              <a:pPr marL="157163" marR="129552" lvl="0" indent="-138589" algn="l" defTabSz="822960" rtl="0" eaLnBrk="1" fontAlgn="auto" latinLnBrk="0" hangingPunct="1">
                <a:lnSpc>
                  <a:spcPct val="101800"/>
                </a:lnSpc>
                <a:spcBef>
                  <a:spcPts val="524"/>
                </a:spcBef>
                <a:spcAft>
                  <a:spcPts val="0"/>
                </a:spcAft>
                <a:buClr>
                  <a:srgbClr val="000000"/>
                </a:buClr>
                <a:buSzTx/>
                <a:buFont typeface="Wingdings" pitchFamily="2" charset="2"/>
                <a:buChar char="§"/>
                <a:tabLst>
                  <a:tab pos="157163" algn="l"/>
                </a:tabLst>
                <a:defRPr/>
              </a:pPr>
              <a:r>
                <a:rPr kumimoji="0"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rogression</a:t>
              </a:r>
              <a:r>
                <a:rPr kumimoji="0" sz="990" b="0" i="0" u="none" strike="noStrike" kern="0" cap="none" spc="-1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90" b="0" i="0" u="none" strike="noStrike" kern="0" cap="none" spc="-31"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lt;6</a:t>
              </a:r>
              <a:r>
                <a:rPr kumimoji="0" sz="990" b="0" i="0" u="none" strike="noStrike" kern="0" cap="none" spc="-1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months</a:t>
              </a:r>
              <a:r>
                <a:rPr kumimoji="0" sz="990" b="0" i="0" u="none" strike="noStrike" kern="0" cap="none" spc="-13"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90" b="0" i="0" u="none" strike="noStrike" kern="0" cap="none" spc="-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fter</a:t>
              </a:r>
              <a:r>
                <a:rPr kumimoji="0" lang="en-US" sz="990" b="0" i="0" u="none" strike="noStrike" kern="0" cap="none" spc="-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the </a:t>
              </a:r>
              <a:r>
                <a:rPr kumimoji="0"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last</a:t>
              </a:r>
              <a:r>
                <a:rPr kumimoji="0" sz="990" b="0" i="0" u="none" strike="noStrike" kern="0" cap="none" spc="-35"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dose</a:t>
              </a:r>
              <a:r>
                <a:rPr kumimoji="0" sz="990" b="0" i="0" u="none" strike="noStrike" kern="0" cap="none" spc="-35"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of</a:t>
              </a:r>
              <a:r>
                <a:rPr kumimoji="0" sz="990" b="0" i="0" u="none" strike="noStrike" kern="0" cap="none" spc="-35"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latinum</a:t>
              </a: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therapy</a:t>
              </a:r>
              <a:r>
                <a:rPr kumimoji="0" sz="990" b="0" i="0" u="none" strike="noStrike" kern="0" cap="none" spc="-31"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sz="990" b="0" i="0" u="none" strike="noStrike" kern="0" cap="none" spc="-8"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exclud</a:t>
              </a:r>
              <a:r>
                <a:rPr kumimoji="0" lang="en-US" sz="990" b="0" i="0" u="none" strike="noStrike" kern="0" cap="none" spc="-8"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ing</a:t>
              </a:r>
              <a:r>
                <a:rPr kumimoji="0" sz="990" b="0" i="0" u="none" strike="noStrike" kern="0" cap="none" spc="-31"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a:t>
              </a:r>
              <a:r>
                <a:rPr kumimoji="0" lang="en-US" sz="990" b="0" i="0" u="none" strike="noStrike" kern="0" cap="none" spc="-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no response to, or progression in &lt;1 month of primary platinum</a:t>
              </a:r>
              <a:r>
                <a:rPr kumimoji="0" sz="990" b="0" i="0" u="none" strike="noStrike" kern="0" cap="none" spc="-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a:t>
              </a:r>
              <a:endParaRPr kumimoji="0" lang="en-US" sz="990" b="0" i="0" u="none" strike="noStrike" kern="0" cap="none" spc="-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a:p>
              <a:pPr marL="157163" marR="129552" lvl="0" indent="-138589" algn="l" defTabSz="822960" rtl="0" eaLnBrk="1" fontAlgn="auto" latinLnBrk="0" hangingPunct="1">
                <a:lnSpc>
                  <a:spcPct val="101800"/>
                </a:lnSpc>
                <a:spcBef>
                  <a:spcPts val="524"/>
                </a:spcBef>
                <a:spcAft>
                  <a:spcPts val="0"/>
                </a:spcAft>
                <a:buClr>
                  <a:srgbClr val="000000"/>
                </a:buClr>
                <a:buSzTx/>
                <a:buFont typeface="Wingdings" pitchFamily="2" charset="2"/>
                <a:buChar char="§"/>
                <a:tabLst>
                  <a:tab pos="157163" algn="l"/>
                </a:tabLst>
                <a:defRPr/>
              </a:pP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1–3 prior lines of therapy</a:t>
              </a:r>
            </a:p>
            <a:p>
              <a:pPr marL="157163" marR="129552" lvl="0" indent="-138589" algn="l" defTabSz="822960" rtl="0" eaLnBrk="1" fontAlgn="auto" latinLnBrk="0" hangingPunct="1">
                <a:lnSpc>
                  <a:spcPct val="101800"/>
                </a:lnSpc>
                <a:spcBef>
                  <a:spcPts val="524"/>
                </a:spcBef>
                <a:spcAft>
                  <a:spcPts val="0"/>
                </a:spcAft>
                <a:buClr>
                  <a:srgbClr val="000000"/>
                </a:buClr>
                <a:buSzTx/>
                <a:buFont typeface="Wingdings" pitchFamily="2" charset="2"/>
                <a:buChar char="§"/>
                <a:tabLst>
                  <a:tab pos="157163" algn="l"/>
                </a:tabLst>
                <a:defRPr/>
              </a:pP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rior bevacizumab required</a:t>
              </a:r>
            </a:p>
          </p:txBody>
        </p:sp>
        <p:sp>
          <p:nvSpPr>
            <p:cNvPr id="205" name="object 25">
              <a:extLst>
                <a:ext uri="{FF2B5EF4-FFF2-40B4-BE49-F238E27FC236}">
                  <a16:creationId xmlns:a16="http://schemas.microsoft.com/office/drawing/2014/main" id="{93FCF593-2570-1E15-1E78-303626DF4842}"/>
                </a:ext>
              </a:extLst>
            </p:cNvPr>
            <p:cNvSpPr/>
            <p:nvPr/>
          </p:nvSpPr>
          <p:spPr>
            <a:xfrm>
              <a:off x="8859099" y="1895342"/>
              <a:ext cx="2541127" cy="2909524"/>
            </a:xfrm>
            <a:custGeom>
              <a:avLst/>
              <a:gdLst/>
              <a:ahLst/>
              <a:cxnLst/>
              <a:rect l="l" t="t" r="r" b="b"/>
              <a:pathLst>
                <a:path w="8126094" h="3266440">
                  <a:moveTo>
                    <a:pt x="0" y="3266171"/>
                  </a:moveTo>
                  <a:lnTo>
                    <a:pt x="8125541" y="3266171"/>
                  </a:lnTo>
                  <a:lnTo>
                    <a:pt x="8125541" y="0"/>
                  </a:lnTo>
                  <a:lnTo>
                    <a:pt x="0" y="0"/>
                  </a:lnTo>
                  <a:lnTo>
                    <a:pt x="0" y="3266171"/>
                  </a:lnTo>
                  <a:close/>
                </a:path>
              </a:pathLst>
            </a:custGeom>
            <a:solidFill>
              <a:srgbClr val="002557">
                <a:alpha val="18039"/>
              </a:srgbClr>
            </a:solidFill>
            <a:ln w="28575">
              <a:solidFill>
                <a:srgbClr val="002557"/>
              </a:solidFill>
            </a:ln>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63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215" name="Group 214">
              <a:extLst>
                <a:ext uri="{FF2B5EF4-FFF2-40B4-BE49-F238E27FC236}">
                  <a16:creationId xmlns:a16="http://schemas.microsoft.com/office/drawing/2014/main" id="{31EE3715-FADF-CE7E-B7B0-000A37081564}"/>
                </a:ext>
              </a:extLst>
            </p:cNvPr>
            <p:cNvGrpSpPr/>
            <p:nvPr/>
          </p:nvGrpSpPr>
          <p:grpSpPr>
            <a:xfrm>
              <a:off x="8721314" y="1745698"/>
              <a:ext cx="275917" cy="318428"/>
              <a:chOff x="-4406749" y="6221916"/>
              <a:chExt cx="306574" cy="353809"/>
            </a:xfrm>
          </p:grpSpPr>
          <p:sp>
            <p:nvSpPr>
              <p:cNvPr id="206" name="object 26">
                <a:extLst>
                  <a:ext uri="{FF2B5EF4-FFF2-40B4-BE49-F238E27FC236}">
                    <a16:creationId xmlns:a16="http://schemas.microsoft.com/office/drawing/2014/main" id="{51382ABD-D4D8-1324-2D90-8EACFA186591}"/>
                  </a:ext>
                </a:extLst>
              </p:cNvPr>
              <p:cNvSpPr/>
              <p:nvPr/>
            </p:nvSpPr>
            <p:spPr>
              <a:xfrm>
                <a:off x="-4406749" y="6221916"/>
                <a:ext cx="306574" cy="353809"/>
              </a:xfrm>
              <a:custGeom>
                <a:avLst/>
                <a:gdLst/>
                <a:ahLst/>
                <a:cxnLst/>
                <a:rect l="l" t="t" r="r" b="b"/>
                <a:pathLst>
                  <a:path w="865504" h="998854">
                    <a:moveTo>
                      <a:pt x="432512" y="0"/>
                    </a:moveTo>
                    <a:lnTo>
                      <a:pt x="0" y="249708"/>
                    </a:lnTo>
                    <a:lnTo>
                      <a:pt x="0" y="749131"/>
                    </a:lnTo>
                    <a:lnTo>
                      <a:pt x="432512" y="998834"/>
                    </a:lnTo>
                    <a:lnTo>
                      <a:pt x="865019" y="749131"/>
                    </a:lnTo>
                    <a:lnTo>
                      <a:pt x="865019" y="249708"/>
                    </a:lnTo>
                    <a:lnTo>
                      <a:pt x="432512" y="0"/>
                    </a:lnTo>
                    <a:close/>
                  </a:path>
                </a:pathLst>
              </a:custGeom>
              <a:solidFill>
                <a:srgbClr val="002557"/>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63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207" name="object 27">
                <a:extLst>
                  <a:ext uri="{FF2B5EF4-FFF2-40B4-BE49-F238E27FC236}">
                    <a16:creationId xmlns:a16="http://schemas.microsoft.com/office/drawing/2014/main" id="{DBCC34AC-4F49-F732-82A8-3BD22C4478AB}"/>
                  </a:ext>
                </a:extLst>
              </p:cNvPr>
              <p:cNvSpPr/>
              <p:nvPr/>
            </p:nvSpPr>
            <p:spPr>
              <a:xfrm>
                <a:off x="-4318225" y="6337980"/>
                <a:ext cx="121685" cy="121460"/>
              </a:xfrm>
              <a:custGeom>
                <a:avLst/>
                <a:gdLst/>
                <a:ahLst/>
                <a:cxnLst/>
                <a:rect l="l" t="t" r="r" b="b"/>
                <a:pathLst>
                  <a:path w="343534" h="342900">
                    <a:moveTo>
                      <a:pt x="336195" y="0"/>
                    </a:moveTo>
                    <a:lnTo>
                      <a:pt x="330259" y="0"/>
                    </a:lnTo>
                    <a:lnTo>
                      <a:pt x="0" y="330264"/>
                    </a:lnTo>
                    <a:lnTo>
                      <a:pt x="0" y="336195"/>
                    </a:lnTo>
                    <a:lnTo>
                      <a:pt x="5481" y="341676"/>
                    </a:lnTo>
                    <a:lnTo>
                      <a:pt x="7880" y="342591"/>
                    </a:lnTo>
                    <a:lnTo>
                      <a:pt x="10274" y="342591"/>
                    </a:lnTo>
                    <a:lnTo>
                      <a:pt x="12668" y="342591"/>
                    </a:lnTo>
                    <a:lnTo>
                      <a:pt x="15067" y="341676"/>
                    </a:lnTo>
                    <a:lnTo>
                      <a:pt x="343501" y="13232"/>
                    </a:lnTo>
                    <a:lnTo>
                      <a:pt x="343501" y="7311"/>
                    </a:lnTo>
                    <a:lnTo>
                      <a:pt x="336195" y="0"/>
                    </a:lnTo>
                    <a:close/>
                  </a:path>
                </a:pathLst>
              </a:custGeom>
              <a:solidFill>
                <a:srgbClr val="FFFFFF"/>
              </a:solidFill>
            </p:spPr>
            <p:txBody>
              <a:bodyPr wrap="square" lIns="0" tIns="0" rIns="0" bIns="0" rtlCol="0"/>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endParaRPr kumimoji="0" sz="63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208" name="object 28">
                <a:extLst>
                  <a:ext uri="{FF2B5EF4-FFF2-40B4-BE49-F238E27FC236}">
                    <a16:creationId xmlns:a16="http://schemas.microsoft.com/office/drawing/2014/main" id="{FB8D1B29-48CE-E59D-B0F1-66350F5ECE1E}"/>
                  </a:ext>
                </a:extLst>
              </p:cNvPr>
              <p:cNvPicPr/>
              <p:nvPr/>
            </p:nvPicPr>
            <p:blipFill>
              <a:blip r:embed="rId10" cstate="print"/>
              <a:stretch>
                <a:fillRect/>
              </a:stretch>
            </p:blipFill>
            <p:spPr>
              <a:xfrm>
                <a:off x="-4206033" y="6312615"/>
                <a:ext cx="34845" cy="34849"/>
              </a:xfrm>
              <a:prstGeom prst="rect">
                <a:avLst/>
              </a:prstGeom>
            </p:spPr>
          </p:pic>
          <p:pic>
            <p:nvPicPr>
              <p:cNvPr id="209" name="object 29">
                <a:extLst>
                  <a:ext uri="{FF2B5EF4-FFF2-40B4-BE49-F238E27FC236}">
                    <a16:creationId xmlns:a16="http://schemas.microsoft.com/office/drawing/2014/main" id="{0E404168-5614-E12A-03D2-26509CA0A4FD}"/>
                  </a:ext>
                </a:extLst>
              </p:cNvPr>
              <p:cNvPicPr/>
              <p:nvPr/>
            </p:nvPicPr>
            <p:blipFill>
              <a:blip r:embed="rId11" cstate="print"/>
              <a:stretch>
                <a:fillRect/>
              </a:stretch>
            </p:blipFill>
            <p:spPr>
              <a:xfrm>
                <a:off x="-4343588" y="6450171"/>
                <a:ext cx="34845" cy="34849"/>
              </a:xfrm>
              <a:prstGeom prst="rect">
                <a:avLst/>
              </a:prstGeom>
            </p:spPr>
          </p:pic>
        </p:grpSp>
        <p:sp>
          <p:nvSpPr>
            <p:cNvPr id="214" name="object 32">
              <a:extLst>
                <a:ext uri="{FF2B5EF4-FFF2-40B4-BE49-F238E27FC236}">
                  <a16:creationId xmlns:a16="http://schemas.microsoft.com/office/drawing/2014/main" id="{2C6D5E46-BFE1-B24F-A3B5-4D3C302D7B7E}"/>
                </a:ext>
              </a:extLst>
            </p:cNvPr>
            <p:cNvSpPr txBox="1"/>
            <p:nvPr/>
          </p:nvSpPr>
          <p:spPr>
            <a:xfrm>
              <a:off x="8953256" y="2130272"/>
              <a:ext cx="2446972" cy="2441434"/>
            </a:xfrm>
            <a:prstGeom prst="rect">
              <a:avLst/>
            </a:prstGeom>
          </p:spPr>
          <p:txBody>
            <a:bodyPr vert="horz" wrap="square" lIns="0" tIns="4250" rIns="0" bIns="0" rtlCol="0">
              <a:spAutoFit/>
            </a:bodyPr>
            <a:lstStyle/>
            <a:p>
              <a:pPr marL="9716" marR="0" lvl="0" indent="0" algn="l" defTabSz="822960" rtl="0" eaLnBrk="1" fontAlgn="auto" latinLnBrk="0" hangingPunct="1">
                <a:lnSpc>
                  <a:spcPts val="1220"/>
                </a:lnSpc>
                <a:spcBef>
                  <a:spcPts val="540"/>
                </a:spcBef>
                <a:spcAft>
                  <a:spcPts val="0"/>
                </a:spcAft>
                <a:buClr>
                  <a:srgbClr val="000000"/>
                </a:buClr>
                <a:buSzTx/>
                <a:buFontTx/>
                <a:buNone/>
                <a:tabLst/>
                <a:defRPr/>
              </a:pPr>
              <a:r>
                <a:rPr kumimoji="0" lang="en-US" sz="1440" b="1"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Dual Primary Endpoints</a:t>
              </a:r>
              <a:endParaRPr kumimoji="0" sz="1440" b="1"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a:p>
              <a:pPr marL="207169" marR="129552" lvl="0" indent="-140017" algn="l" defTabSz="822960" rtl="0" eaLnBrk="1" fontAlgn="auto" latinLnBrk="0" hangingPunct="1">
                <a:lnSpc>
                  <a:spcPct val="101800"/>
                </a:lnSpc>
                <a:spcBef>
                  <a:spcPts val="524"/>
                </a:spcBef>
                <a:spcAft>
                  <a:spcPts val="0"/>
                </a:spcAft>
                <a:buClr>
                  <a:srgbClr val="000000"/>
                </a:buClr>
                <a:buSzTx/>
                <a:buFont typeface="Wingdings" pitchFamily="2" charset="2"/>
                <a:buChar char="§"/>
                <a:tabLst>
                  <a:tab pos="50006" algn="l"/>
                </a:tabLst>
                <a:defRPr/>
              </a:pP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rogression-free survival (PFS) by RECIST v1.1 per blinded independent central review</a:t>
              </a:r>
            </a:p>
            <a:p>
              <a:pPr marL="207169" marR="129552" lvl="0" indent="-140017" algn="l" defTabSz="822960" rtl="0" eaLnBrk="1" fontAlgn="auto" latinLnBrk="0" hangingPunct="1">
                <a:lnSpc>
                  <a:spcPct val="101800"/>
                </a:lnSpc>
                <a:spcBef>
                  <a:spcPts val="524"/>
                </a:spcBef>
                <a:spcAft>
                  <a:spcPts val="0"/>
                </a:spcAft>
                <a:buClr>
                  <a:srgbClr val="000000"/>
                </a:buClr>
                <a:buSzTx/>
                <a:buFont typeface="Wingdings" pitchFamily="2" charset="2"/>
                <a:buChar char="§"/>
                <a:tabLst>
                  <a:tab pos="50006" algn="l"/>
                </a:tabLst>
                <a:defRPr/>
              </a:pP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Overall survival</a:t>
              </a:r>
            </a:p>
            <a:p>
              <a:pPr marL="18420" marR="129552" lvl="0" indent="0" algn="l" defTabSz="822960" rtl="0" eaLnBrk="1" fontAlgn="auto" latinLnBrk="0" hangingPunct="1">
                <a:lnSpc>
                  <a:spcPct val="101800"/>
                </a:lnSpc>
                <a:spcBef>
                  <a:spcPts val="524"/>
                </a:spcBef>
                <a:spcAft>
                  <a:spcPts val="0"/>
                </a:spcAft>
                <a:buClr>
                  <a:srgbClr val="000000"/>
                </a:buClr>
                <a:buSzTx/>
                <a:buFontTx/>
                <a:buNone/>
                <a:tabLst>
                  <a:tab pos="66193" algn="l"/>
                </a:tabLst>
                <a:defRPr/>
              </a:pPr>
              <a:r>
                <a:rPr kumimoji="0" lang="en-US" sz="1440" b="1"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Secondary Endpoints</a:t>
              </a:r>
            </a:p>
            <a:p>
              <a:pPr marL="207169" marR="129552" lvl="0" indent="-140017" algn="l" defTabSz="914400" rtl="0" eaLnBrk="0" fontAlgn="base" latinLnBrk="0" hangingPunct="0">
                <a:lnSpc>
                  <a:spcPct val="101800"/>
                </a:lnSpc>
                <a:spcBef>
                  <a:spcPts val="524"/>
                </a:spcBef>
                <a:spcAft>
                  <a:spcPct val="0"/>
                </a:spcAft>
                <a:buClr>
                  <a:srgbClr val="000000"/>
                </a:buClr>
                <a:buSzTx/>
                <a:buFont typeface="Wingdings" pitchFamily="2" charset="2"/>
                <a:buChar char="§"/>
                <a:tabLst>
                  <a:tab pos="66193" algn="l"/>
                </a:tabLst>
                <a:defRPr/>
              </a:pP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FS by RECIST v1.1 per Investigator</a:t>
              </a:r>
            </a:p>
            <a:p>
              <a:pPr marL="207169" marR="129552" lvl="0" indent="-140017" algn="l" defTabSz="822960" rtl="0" eaLnBrk="1" fontAlgn="auto" latinLnBrk="0" hangingPunct="1">
                <a:lnSpc>
                  <a:spcPct val="101800"/>
                </a:lnSpc>
                <a:spcBef>
                  <a:spcPts val="524"/>
                </a:spcBef>
                <a:spcAft>
                  <a:spcPts val="0"/>
                </a:spcAft>
                <a:buClr>
                  <a:srgbClr val="000000"/>
                </a:buClr>
                <a:buSzTx/>
                <a:buFont typeface="Wingdings" pitchFamily="2" charset="2"/>
                <a:buChar char="§"/>
                <a:tabLst>
                  <a:tab pos="66193" algn="l"/>
                </a:tabLst>
                <a:defRPr/>
              </a:pP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ORR, </a:t>
              </a:r>
              <a:r>
                <a:rPr kumimoji="0" lang="en-US" sz="990" b="0" i="0" u="none" strike="noStrike" kern="0" cap="none" spc="0" normalizeH="0" baseline="0" noProof="0" err="1">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DoR</a:t>
              </a: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 CBR (RECIST v1.1)</a:t>
              </a:r>
            </a:p>
            <a:p>
              <a:pPr marL="207169" marR="129552" lvl="0" indent="-140017" algn="l" defTabSz="822960" rtl="0" eaLnBrk="1" fontAlgn="auto" latinLnBrk="0" hangingPunct="1">
                <a:lnSpc>
                  <a:spcPct val="101800"/>
                </a:lnSpc>
                <a:spcBef>
                  <a:spcPts val="524"/>
                </a:spcBef>
                <a:spcAft>
                  <a:spcPts val="0"/>
                </a:spcAft>
                <a:buClr>
                  <a:srgbClr val="000000"/>
                </a:buClr>
                <a:buSzTx/>
                <a:buFont typeface="Wingdings" pitchFamily="2" charset="2"/>
                <a:buChar char="§"/>
                <a:tabLst>
                  <a:tab pos="66193" algn="l"/>
                </a:tabLst>
                <a:defRPr/>
              </a:pP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Response by CA-125 GCIG criteria</a:t>
              </a:r>
            </a:p>
            <a:p>
              <a:pPr marL="207169" marR="129552" lvl="0" indent="-140017" algn="l" defTabSz="822960" rtl="0" eaLnBrk="1" fontAlgn="auto" latinLnBrk="0" hangingPunct="1">
                <a:lnSpc>
                  <a:spcPct val="101800"/>
                </a:lnSpc>
                <a:spcBef>
                  <a:spcPts val="524"/>
                </a:spcBef>
                <a:spcAft>
                  <a:spcPts val="0"/>
                </a:spcAft>
                <a:buClr>
                  <a:srgbClr val="000000"/>
                </a:buClr>
                <a:buSzTx/>
                <a:buFont typeface="Wingdings" pitchFamily="2" charset="2"/>
                <a:buChar char="§"/>
                <a:tabLst>
                  <a:tab pos="66193" algn="l"/>
                </a:tabLst>
                <a:defRPr/>
              </a:pP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Combined response (RECIST v1.1 and CA-125 GCIG criteria)</a:t>
              </a:r>
            </a:p>
            <a:p>
              <a:pPr marL="207169" marR="129552" lvl="0" indent="-140017" algn="l" defTabSz="822960" rtl="0" eaLnBrk="1" fontAlgn="auto" latinLnBrk="0" hangingPunct="1">
                <a:lnSpc>
                  <a:spcPct val="101800"/>
                </a:lnSpc>
                <a:spcBef>
                  <a:spcPts val="524"/>
                </a:spcBef>
                <a:spcAft>
                  <a:spcPts val="0"/>
                </a:spcAft>
                <a:buClr>
                  <a:srgbClr val="000000"/>
                </a:buClr>
                <a:buSzTx/>
                <a:buFont typeface="Wingdings" pitchFamily="2" charset="2"/>
                <a:buChar char="§"/>
                <a:tabLst>
                  <a:tab pos="66193" algn="l"/>
                </a:tabLst>
                <a:defRPr/>
              </a:pPr>
              <a:r>
                <a:rPr kumimoji="0" lang="en-US" sz="99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Safety</a:t>
              </a:r>
            </a:p>
          </p:txBody>
        </p:sp>
        <p:sp>
          <p:nvSpPr>
            <p:cNvPr id="8" name="Text Placeholder 4">
              <a:extLst>
                <a:ext uri="{FF2B5EF4-FFF2-40B4-BE49-F238E27FC236}">
                  <a16:creationId xmlns:a16="http://schemas.microsoft.com/office/drawing/2014/main" id="{0885922B-8068-AF31-1873-3C88BE6B7407}"/>
                </a:ext>
              </a:extLst>
            </p:cNvPr>
            <p:cNvSpPr txBox="1">
              <a:spLocks/>
            </p:cNvSpPr>
            <p:nvPr/>
          </p:nvSpPr>
          <p:spPr>
            <a:xfrm>
              <a:off x="4102913" y="3892009"/>
              <a:ext cx="844710" cy="195384"/>
            </a:xfrm>
            <a:prstGeom prst="rect">
              <a:avLst/>
            </a:prstGeom>
          </p:spPr>
          <p:txBody>
            <a:bodyPr vert="horz" lIns="82296" tIns="41148" rIns="82296" bIns="41148"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822960" rtl="0" eaLnBrk="1" fontAlgn="auto" latinLnBrk="0" hangingPunct="1">
                <a:lnSpc>
                  <a:spcPct val="90000"/>
                </a:lnSpc>
                <a:spcBef>
                  <a:spcPts val="0"/>
                </a:spcBef>
                <a:spcAft>
                  <a:spcPts val="270"/>
                </a:spcAft>
                <a:buClrTx/>
                <a:buSzPct val="120000"/>
                <a:buFont typeface="Arial" panose="020B0604020202020204" pitchFamily="34" charset="0"/>
                <a:buNone/>
                <a:tabLst/>
                <a:defRPr/>
              </a:pPr>
              <a:r>
                <a:rPr kumimoji="0" lang="en-US" sz="720" b="0" i="0" u="none" strike="noStrike" kern="0" cap="none" spc="0" normalizeH="0" baseline="0" noProof="0">
                  <a:ln>
                    <a:noFill/>
                  </a:ln>
                  <a:solidFill>
                    <a:srgbClr val="002557"/>
                  </a:solidFill>
                  <a:effectLst/>
                  <a:uLnTx/>
                  <a:uFillTx/>
                  <a:latin typeface="Aptos Display" panose="02110004020202020204"/>
                  <a:ea typeface="Lato"/>
                  <a:cs typeface="Lato"/>
                  <a:sym typeface="Lato"/>
                </a:rPr>
                <a:t>*Ongoing cycles</a:t>
              </a:r>
            </a:p>
          </p:txBody>
        </p:sp>
        <p:sp>
          <p:nvSpPr>
            <p:cNvPr id="11" name="TextBox 10">
              <a:extLst>
                <a:ext uri="{FF2B5EF4-FFF2-40B4-BE49-F238E27FC236}">
                  <a16:creationId xmlns:a16="http://schemas.microsoft.com/office/drawing/2014/main" id="{78A9CC3A-C2FC-4DF7-67B0-822B8AF594ED}"/>
                </a:ext>
              </a:extLst>
            </p:cNvPr>
            <p:cNvSpPr txBox="1"/>
            <p:nvPr/>
          </p:nvSpPr>
          <p:spPr>
            <a:xfrm>
              <a:off x="947079" y="4818601"/>
              <a:ext cx="2178431" cy="286232"/>
            </a:xfrm>
            <a:prstGeom prst="rect">
              <a:avLst/>
            </a:prstGeom>
            <a:noFill/>
          </p:spPr>
          <p:txBody>
            <a:bodyPr wrap="square">
              <a:spAutoFit/>
            </a:bodyPr>
            <a:lstStyle/>
            <a:p>
              <a:pPr marL="0" marR="0" lvl="0" indent="0" algn="ctr" defTabSz="822960" rtl="0" eaLnBrk="1" fontAlgn="auto" latinLnBrk="0" hangingPunct="1">
                <a:lnSpc>
                  <a:spcPct val="100000"/>
                </a:lnSpc>
                <a:spcBef>
                  <a:spcPts val="0"/>
                </a:spcBef>
                <a:spcAft>
                  <a:spcPts val="0"/>
                </a:spcAft>
                <a:buClr>
                  <a:srgbClr val="000000"/>
                </a:buClr>
                <a:buSzTx/>
                <a:buFontTx/>
                <a:buNone/>
                <a:tabLst/>
                <a:defRPr/>
              </a:pPr>
              <a:r>
                <a:rPr kumimoji="0" lang="en-US" sz="1260" b="0" i="0" u="none" strike="noStrike" kern="0" cap="none" spc="0" normalizeH="0" baseline="0" noProof="0">
                  <a:ln>
                    <a:noFill/>
                  </a:ln>
                  <a:solidFill>
                    <a:srgbClr val="002557"/>
                  </a:solidFill>
                  <a:effectLst/>
                  <a:uLnTx/>
                  <a:uFillTx/>
                  <a:latin typeface="Aptos Display" panose="02110004020202020204"/>
                  <a:ea typeface="+mn-ea"/>
                  <a:cs typeface="Arial"/>
                  <a:sym typeface="Arial"/>
                  <a:hlinkClick r:id="rId12">
                    <a:extLst>
                      <a:ext uri="{A12FA001-AC4F-418D-AE19-62706E023703}">
                        <ahyp:hlinkClr xmlns:ahyp="http://schemas.microsoft.com/office/drawing/2018/hyperlinkcolor" val="tx"/>
                      </a:ext>
                    </a:extLst>
                  </a:hlinkClick>
                </a:rPr>
                <a:t>NCT05257408</a:t>
              </a:r>
              <a:endParaRPr kumimoji="0" lang="en-US" sz="1260" b="0" i="0" u="none" strike="noStrike" kern="0" cap="none" spc="0" normalizeH="0" baseline="0" noProof="0">
                <a:ln>
                  <a:noFill/>
                </a:ln>
                <a:solidFill>
                  <a:srgbClr val="002557"/>
                </a:solidFill>
                <a:effectLst/>
                <a:uLnTx/>
                <a:uFillTx/>
                <a:latin typeface="Aptos Display" panose="02110004020202020204"/>
                <a:ea typeface="+mn-ea"/>
                <a:cs typeface="Arial"/>
                <a:sym typeface="Arial"/>
              </a:endParaRPr>
            </a:p>
          </p:txBody>
        </p:sp>
        <p:sp>
          <p:nvSpPr>
            <p:cNvPr id="12" name="Content Placeholder 2">
              <a:extLst>
                <a:ext uri="{FF2B5EF4-FFF2-40B4-BE49-F238E27FC236}">
                  <a16:creationId xmlns:a16="http://schemas.microsoft.com/office/drawing/2014/main" id="{2B75FD97-BE66-D109-A11A-9735913BF096}"/>
                </a:ext>
              </a:extLst>
            </p:cNvPr>
            <p:cNvSpPr txBox="1">
              <a:spLocks/>
            </p:cNvSpPr>
            <p:nvPr/>
          </p:nvSpPr>
          <p:spPr>
            <a:xfrm>
              <a:off x="3352511" y="4169235"/>
              <a:ext cx="5023514" cy="652739"/>
            </a:xfrm>
            <a:prstGeom prst="rect">
              <a:avLst/>
            </a:prstGeom>
            <a:solidFill>
              <a:srgbClr val="F2F2F2"/>
            </a:solidFill>
            <a:ln w="9525" cap="flat" cmpd="sng" algn="ctr">
              <a:solidFill>
                <a:srgbClr val="D0CECE"/>
              </a:solidFill>
              <a:prstDash val="solid"/>
              <a:miter lim="800000"/>
            </a:ln>
            <a:effectLst/>
          </p:spPr>
          <p:txBody>
            <a:bodyPr vert="horz" wrap="square" lIns="82296" tIns="82296" rIns="82296" bIns="82296" rtlCol="0" anchor="ctr">
              <a:noAutofit/>
            </a:bodyPr>
            <a:lstStyle>
              <a:lvl1pPr marL="230188" indent="-230188"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2400" kern="1200">
                  <a:solidFill>
                    <a:schemeClr val="tx2"/>
                  </a:solidFill>
                  <a:latin typeface="+mn-lt"/>
                  <a:ea typeface="+mn-ea"/>
                  <a:cs typeface="+mn-cs"/>
                </a:defRPr>
              </a:lvl1pPr>
              <a:lvl2pPr marL="514350" indent="-284163"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2400" kern="1200">
                  <a:solidFill>
                    <a:schemeClr val="tx2"/>
                  </a:solidFill>
                  <a:latin typeface="+mn-lt"/>
                  <a:ea typeface="+mn-ea"/>
                  <a:cs typeface="+mn-cs"/>
                </a:defRPr>
              </a:lvl2pPr>
              <a:lvl3pPr marL="684213" indent="-169863" algn="l" defTabSz="457200" rtl="0" eaLnBrk="1" latinLnBrk="0" hangingPunct="1">
                <a:lnSpc>
                  <a:spcPct val="95000"/>
                </a:lnSpc>
                <a:spcBef>
                  <a:spcPts val="0"/>
                </a:spcBef>
                <a:spcAft>
                  <a:spcPts val="1200"/>
                </a:spcAft>
                <a:buClr>
                  <a:schemeClr val="accent1"/>
                </a:buClr>
                <a:buFont typeface="Wingdings" charset="2"/>
                <a:buChar char="§"/>
                <a:defRPr sz="1800" kern="1200">
                  <a:solidFill>
                    <a:schemeClr val="tx2"/>
                  </a:solidFill>
                  <a:latin typeface="+mn-lt"/>
                  <a:ea typeface="+mn-ea"/>
                  <a:cs typeface="+mn-cs"/>
                </a:defRPr>
              </a:lvl3pPr>
              <a:lvl4pPr marL="914400" indent="-230188"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1600" kern="1200">
                  <a:solidFill>
                    <a:schemeClr val="tx2"/>
                  </a:solidFill>
                  <a:latin typeface="+mn-lt"/>
                  <a:ea typeface="+mn-ea"/>
                  <a:cs typeface="+mn-cs"/>
                </a:defRPr>
              </a:lvl4pPr>
              <a:lvl5pPr marL="1146175" indent="-231775"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1400" kern="1200">
                  <a:solidFill>
                    <a:schemeClr val="tx2"/>
                  </a:solidFill>
                  <a:latin typeface="+mn-lt"/>
                  <a:ea typeface="+mn-ea"/>
                  <a:cs typeface="+mn-cs"/>
                </a:defRPr>
              </a:lvl5pPr>
              <a:lvl6pPr marL="25146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9pPr>
            </a:lstStyle>
            <a:p>
              <a:pPr marL="311467" marR="0" lvl="0" indent="-207169" algn="l" defTabSz="548627" rtl="0" eaLnBrk="1" fontAlgn="auto" latinLnBrk="0" hangingPunct="1">
                <a:lnSpc>
                  <a:spcPct val="95000"/>
                </a:lnSpc>
                <a:spcBef>
                  <a:spcPts val="0"/>
                </a:spcBef>
                <a:spcAft>
                  <a:spcPts val="0"/>
                </a:spcAft>
                <a:buClr>
                  <a:srgbClr val="000000">
                    <a:lumMod val="75000"/>
                    <a:lumOff val="25000"/>
                  </a:srgbClr>
                </a:buClr>
                <a:buSzPct val="70000"/>
                <a:buFont typeface="Lato" panose="020F0502020204030203" pitchFamily="34" charset="0"/>
                <a:buNone/>
                <a:tabLst/>
                <a:defRPr/>
              </a:pPr>
              <a:r>
                <a:rPr kumimoji="0" lang="en-US" sz="1080" b="1" i="0" u="none" strike="noStrike" kern="1200" cap="none" spc="0" normalizeH="0" baseline="0" noProof="0" dirty="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Stratification Factors</a:t>
              </a:r>
            </a:p>
            <a:p>
              <a:pPr marL="311467" marR="0" lvl="0" indent="-207169" algn="l" defTabSz="548627" rtl="0" eaLnBrk="1" fontAlgn="auto" latinLnBrk="0" hangingPunct="1">
                <a:lnSpc>
                  <a:spcPct val="95000"/>
                </a:lnSpc>
                <a:spcBef>
                  <a:spcPts val="0"/>
                </a:spcBef>
                <a:spcAft>
                  <a:spcPts val="0"/>
                </a:spcAft>
                <a:buClr>
                  <a:srgbClr val="000000">
                    <a:lumMod val="75000"/>
                    <a:lumOff val="25000"/>
                  </a:srgbClr>
                </a:buClr>
                <a:buSzPct val="70000"/>
                <a:buFont typeface="Lato" panose="020F0502020204030203" pitchFamily="34" charset="0"/>
                <a:buChar char="►"/>
                <a:tabLst/>
                <a:defRPr/>
              </a:pPr>
              <a:r>
                <a:rPr kumimoji="0" lang="en-US" sz="1080" b="0" i="0" u="none" strike="noStrike" kern="1200" cap="none" spc="0" normalizeH="0" baseline="0" noProof="0" dirty="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rior lines of therapy (1 vs &gt;1)</a:t>
              </a:r>
            </a:p>
            <a:p>
              <a:pPr marL="311467" marR="0" lvl="0" indent="-207169" algn="l" defTabSz="548627" rtl="0" eaLnBrk="1" fontAlgn="auto" latinLnBrk="0" hangingPunct="1">
                <a:lnSpc>
                  <a:spcPct val="95000"/>
                </a:lnSpc>
                <a:spcBef>
                  <a:spcPts val="0"/>
                </a:spcBef>
                <a:spcAft>
                  <a:spcPts val="0"/>
                </a:spcAft>
                <a:buClr>
                  <a:srgbClr val="000000">
                    <a:lumMod val="75000"/>
                    <a:lumOff val="25000"/>
                  </a:srgbClr>
                </a:buClr>
                <a:buSzPct val="70000"/>
                <a:buFont typeface="Lato" panose="020F0502020204030203" pitchFamily="34" charset="0"/>
                <a:buChar char="►"/>
                <a:tabLst/>
                <a:defRPr/>
              </a:pPr>
              <a:r>
                <a:rPr kumimoji="0" lang="en-US" sz="1080" b="0" i="0" u="none" strike="noStrike" kern="1200" cap="none" spc="0" normalizeH="0" baseline="0" noProof="0" dirty="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Region (North America vs Europe vs Korea, Australia, &amp; Latin America)</a:t>
              </a:r>
            </a:p>
          </p:txBody>
        </p:sp>
        <p:sp>
          <p:nvSpPr>
            <p:cNvPr id="3" name="TextBox 2">
              <a:extLst>
                <a:ext uri="{FF2B5EF4-FFF2-40B4-BE49-F238E27FC236}">
                  <a16:creationId xmlns:a16="http://schemas.microsoft.com/office/drawing/2014/main" id="{191798E6-BABF-62E7-A4EC-0CA9C3658008}"/>
                </a:ext>
              </a:extLst>
            </p:cNvPr>
            <p:cNvSpPr txBox="1"/>
            <p:nvPr/>
          </p:nvSpPr>
          <p:spPr>
            <a:xfrm>
              <a:off x="8757660" y="4840930"/>
              <a:ext cx="2281394" cy="674544"/>
            </a:xfrm>
            <a:prstGeom prst="rect">
              <a:avLst/>
            </a:prstGeom>
          </p:spPr>
          <p:txBody>
            <a:bodyPr wrap="none" rtlCol="0">
              <a:spAutoFit/>
            </a:bodyPr>
            <a:lstStyle/>
            <a:p>
              <a:pPr marL="0" marR="0" lvl="0" indent="0" algn="l" defTabSz="822960" rtl="0" eaLnBrk="1" fontAlgn="auto" latinLnBrk="0" hangingPunct="1">
                <a:lnSpc>
                  <a:spcPct val="100000"/>
                </a:lnSpc>
                <a:spcBef>
                  <a:spcPts val="0"/>
                </a:spcBef>
                <a:spcAft>
                  <a:spcPts val="0"/>
                </a:spcAft>
                <a:buClr>
                  <a:srgbClr val="000000"/>
                </a:buClr>
                <a:buSzTx/>
                <a:buFontTx/>
                <a:buNone/>
                <a:tabLst/>
                <a:defRPr/>
              </a:pPr>
              <a:r>
                <a:rPr kumimoji="0" lang="en-US" sz="946" b="0" i="0" u="none" strike="noStrike" kern="0" cap="none" spc="0" normalizeH="0" baseline="0" noProof="0">
                  <a:ln>
                    <a:noFill/>
                  </a:ln>
                  <a:solidFill>
                    <a:srgbClr val="002557"/>
                  </a:solidFill>
                  <a:effectLst/>
                  <a:uLnTx/>
                  <a:uFillTx/>
                  <a:latin typeface="Aptos Display" panose="02110004020202020204"/>
                  <a:ea typeface="+mn-ea"/>
                  <a:cs typeface="Arial"/>
                  <a:sym typeface="Arial"/>
                </a:rPr>
                <a:t>First patient enrolled: 5</a:t>
              </a:r>
              <a:r>
                <a:rPr kumimoji="0" lang="en-US" sz="946" b="0" i="0" u="none" strike="noStrike" kern="0" cap="none" spc="0" normalizeH="0" baseline="30000" noProof="0">
                  <a:ln>
                    <a:noFill/>
                  </a:ln>
                  <a:solidFill>
                    <a:srgbClr val="002557"/>
                  </a:solidFill>
                  <a:effectLst/>
                  <a:uLnTx/>
                  <a:uFillTx/>
                  <a:latin typeface="Aptos Display" panose="02110004020202020204"/>
                  <a:ea typeface="+mn-ea"/>
                  <a:cs typeface="Arial"/>
                  <a:sym typeface="Arial"/>
                </a:rPr>
                <a:t>th</a:t>
              </a:r>
              <a:r>
                <a:rPr kumimoji="0" lang="en-US" sz="946" b="0" i="0" u="none" strike="noStrike" kern="0" cap="none" spc="0" normalizeH="0" baseline="0" noProof="0">
                  <a:ln>
                    <a:noFill/>
                  </a:ln>
                  <a:solidFill>
                    <a:srgbClr val="002557"/>
                  </a:solidFill>
                  <a:effectLst/>
                  <a:uLnTx/>
                  <a:uFillTx/>
                  <a:latin typeface="Aptos Display" panose="02110004020202020204"/>
                  <a:ea typeface="+mn-ea"/>
                  <a:cs typeface="Arial"/>
                  <a:sym typeface="Arial"/>
                </a:rPr>
                <a:t> January 2023</a:t>
              </a:r>
            </a:p>
            <a:p>
              <a:pPr marL="0" marR="0" lvl="0" indent="0" algn="l" defTabSz="822960" rtl="0" eaLnBrk="1" fontAlgn="auto" latinLnBrk="0" hangingPunct="1">
                <a:lnSpc>
                  <a:spcPct val="100000"/>
                </a:lnSpc>
                <a:spcBef>
                  <a:spcPts val="0"/>
                </a:spcBef>
                <a:spcAft>
                  <a:spcPts val="0"/>
                </a:spcAft>
                <a:buClr>
                  <a:srgbClr val="000000"/>
                </a:buClr>
                <a:buSzTx/>
                <a:buFontTx/>
                <a:buNone/>
                <a:tabLst/>
                <a:defRPr/>
              </a:pPr>
              <a:r>
                <a:rPr kumimoji="0" lang="en-US" sz="946" b="0" i="0" u="none" strike="noStrike" kern="0" cap="none" spc="0" normalizeH="0" baseline="0" noProof="0">
                  <a:ln>
                    <a:noFill/>
                  </a:ln>
                  <a:solidFill>
                    <a:srgbClr val="002557"/>
                  </a:solidFill>
                  <a:effectLst/>
                  <a:uLnTx/>
                  <a:uFillTx/>
                  <a:latin typeface="Aptos Display" panose="02110004020202020204"/>
                  <a:ea typeface="+mn-ea"/>
                  <a:cs typeface="Arial"/>
                  <a:sym typeface="Arial"/>
                </a:rPr>
                <a:t>Last patient enrolled: 8</a:t>
              </a:r>
              <a:r>
                <a:rPr kumimoji="0" lang="en-US" sz="946" b="0" i="0" u="none" strike="noStrike" kern="0" cap="none" spc="0" normalizeH="0" baseline="30000" noProof="0">
                  <a:ln>
                    <a:noFill/>
                  </a:ln>
                  <a:solidFill>
                    <a:srgbClr val="002557"/>
                  </a:solidFill>
                  <a:effectLst/>
                  <a:uLnTx/>
                  <a:uFillTx/>
                  <a:latin typeface="Aptos Display" panose="02110004020202020204"/>
                  <a:ea typeface="+mn-ea"/>
                  <a:cs typeface="Arial"/>
                  <a:sym typeface="Arial"/>
                </a:rPr>
                <a:t>th</a:t>
              </a:r>
              <a:r>
                <a:rPr kumimoji="0" lang="en-US" sz="946" b="0" i="0" u="none" strike="noStrike" kern="0" cap="none" spc="0" normalizeH="0" baseline="0" noProof="0">
                  <a:ln>
                    <a:noFill/>
                  </a:ln>
                  <a:solidFill>
                    <a:srgbClr val="002557"/>
                  </a:solidFill>
                  <a:effectLst/>
                  <a:uLnTx/>
                  <a:uFillTx/>
                  <a:latin typeface="Aptos Display" panose="02110004020202020204"/>
                  <a:ea typeface="+mn-ea"/>
                  <a:cs typeface="Arial"/>
                  <a:sym typeface="Arial"/>
                </a:rPr>
                <a:t> April 2024</a:t>
              </a:r>
            </a:p>
            <a:p>
              <a:pPr marL="0" marR="0" lvl="0" indent="0" algn="l" defTabSz="822960" rtl="0" eaLnBrk="1" fontAlgn="auto" latinLnBrk="0" hangingPunct="1">
                <a:lnSpc>
                  <a:spcPct val="100000"/>
                </a:lnSpc>
                <a:spcBef>
                  <a:spcPts val="0"/>
                </a:spcBef>
                <a:spcAft>
                  <a:spcPts val="0"/>
                </a:spcAft>
                <a:buClr>
                  <a:srgbClr val="000000"/>
                </a:buClr>
                <a:buSzTx/>
                <a:buFontTx/>
                <a:buNone/>
                <a:tabLst/>
                <a:defRPr/>
              </a:pPr>
              <a:r>
                <a:rPr kumimoji="0" lang="en-US" sz="946" b="0" i="0" u="none" strike="noStrike" kern="0" cap="none" spc="0" normalizeH="0" baseline="0" noProof="0">
                  <a:ln>
                    <a:noFill/>
                  </a:ln>
                  <a:solidFill>
                    <a:srgbClr val="002557"/>
                  </a:solidFill>
                  <a:effectLst/>
                  <a:uLnTx/>
                  <a:uFillTx/>
                  <a:latin typeface="Aptos Display" panose="02110004020202020204"/>
                  <a:ea typeface="+mn-ea"/>
                  <a:cs typeface="Arial"/>
                  <a:sym typeface="Arial"/>
                </a:rPr>
                <a:t>Data cutoff: 24</a:t>
              </a:r>
              <a:r>
                <a:rPr kumimoji="0" lang="en-US" sz="946" b="0" i="0" u="none" strike="noStrike" kern="0" cap="none" spc="0" normalizeH="0" baseline="30000" noProof="0">
                  <a:ln>
                    <a:noFill/>
                  </a:ln>
                  <a:solidFill>
                    <a:srgbClr val="002557"/>
                  </a:solidFill>
                  <a:effectLst/>
                  <a:uLnTx/>
                  <a:uFillTx/>
                  <a:latin typeface="Aptos Display" panose="02110004020202020204"/>
                  <a:ea typeface="+mn-ea"/>
                  <a:cs typeface="Arial"/>
                  <a:sym typeface="Arial"/>
                </a:rPr>
                <a:t>th</a:t>
              </a:r>
              <a:r>
                <a:rPr kumimoji="0" lang="en-US" sz="946" b="0" i="0" u="none" strike="noStrike" kern="0" cap="none" spc="0" normalizeH="0" baseline="0" noProof="0">
                  <a:ln>
                    <a:noFill/>
                  </a:ln>
                  <a:solidFill>
                    <a:srgbClr val="002557"/>
                  </a:solidFill>
                  <a:effectLst/>
                  <a:uLnTx/>
                  <a:uFillTx/>
                  <a:latin typeface="Aptos Display" panose="02110004020202020204"/>
                  <a:ea typeface="+mn-ea"/>
                  <a:cs typeface="Arial"/>
                  <a:sym typeface="Arial"/>
                </a:rPr>
                <a:t> February 2025</a:t>
              </a:r>
            </a:p>
            <a:p>
              <a:pPr marL="0" marR="0" lvl="0" indent="0" algn="l" defTabSz="822960" rtl="0" eaLnBrk="1" fontAlgn="auto" latinLnBrk="0" hangingPunct="1">
                <a:lnSpc>
                  <a:spcPct val="100000"/>
                </a:lnSpc>
                <a:spcBef>
                  <a:spcPts val="0"/>
                </a:spcBef>
                <a:spcAft>
                  <a:spcPts val="0"/>
                </a:spcAft>
                <a:buClr>
                  <a:srgbClr val="000000"/>
                </a:buClr>
                <a:buSzTx/>
                <a:buFontTx/>
                <a:buNone/>
                <a:tabLst/>
                <a:defRPr/>
              </a:pPr>
              <a:r>
                <a:rPr kumimoji="0" lang="en-US" sz="946" b="0" i="0" u="none" strike="noStrike" kern="0" cap="none" spc="0" normalizeH="0" baseline="0" noProof="0">
                  <a:ln>
                    <a:noFill/>
                  </a:ln>
                  <a:solidFill>
                    <a:srgbClr val="002557"/>
                  </a:solidFill>
                  <a:effectLst/>
                  <a:uLnTx/>
                  <a:uFillTx/>
                  <a:latin typeface="Aptos Display" panose="02110004020202020204"/>
                  <a:ea typeface="+mn-ea"/>
                  <a:cs typeface="Arial"/>
                  <a:sym typeface="Arial"/>
                </a:rPr>
                <a:t>Conducted at 117 sites in 14 countries.</a:t>
              </a:r>
            </a:p>
          </p:txBody>
        </p:sp>
        <p:sp>
          <p:nvSpPr>
            <p:cNvPr id="4" name="Rectangle 3">
              <a:extLst>
                <a:ext uri="{FF2B5EF4-FFF2-40B4-BE49-F238E27FC236}">
                  <a16:creationId xmlns:a16="http://schemas.microsoft.com/office/drawing/2014/main" id="{25BA8089-4F52-EB08-A92A-2170B575E8F8}"/>
                </a:ext>
              </a:extLst>
            </p:cNvPr>
            <p:cNvSpPr/>
            <p:nvPr/>
          </p:nvSpPr>
          <p:spPr>
            <a:xfrm>
              <a:off x="7263330" y="2972837"/>
              <a:ext cx="1191326" cy="5569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82296"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
                  <a:prstClr val="black">
                    <a:lumMod val="75000"/>
                    <a:lumOff val="25000"/>
                  </a:prstClr>
                </a:buClr>
                <a:buSzTx/>
                <a:buFontTx/>
                <a:buNone/>
                <a:tabLst/>
                <a:defRPr/>
              </a:pPr>
              <a:r>
                <a:rPr kumimoji="0" lang="en-US" sz="810" b="0" i="0" u="none" strike="noStrike" kern="120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rPr>
                <a:t>Treatment to progression or unmanageable toxicity</a:t>
              </a:r>
            </a:p>
          </p:txBody>
        </p:sp>
        <p:sp>
          <p:nvSpPr>
            <p:cNvPr id="7" name="TextBox 6">
              <a:extLst>
                <a:ext uri="{FF2B5EF4-FFF2-40B4-BE49-F238E27FC236}">
                  <a16:creationId xmlns:a16="http://schemas.microsoft.com/office/drawing/2014/main" id="{4EF5DE01-1A93-7C7A-2747-09AC5696AFF2}"/>
                </a:ext>
              </a:extLst>
            </p:cNvPr>
            <p:cNvSpPr txBox="1"/>
            <p:nvPr/>
          </p:nvSpPr>
          <p:spPr>
            <a:xfrm>
              <a:off x="3501498" y="2600727"/>
              <a:ext cx="942073" cy="207749"/>
            </a:xfrm>
            <a:prstGeom prst="rect">
              <a:avLst/>
            </a:prstGeom>
            <a:noFill/>
          </p:spPr>
          <p:txBody>
            <a:bodyPr wrap="square">
              <a:spAutoFit/>
            </a:bodyPr>
            <a:lstStyle/>
            <a:p>
              <a:pPr marL="0" marR="0" lvl="0" indent="0" algn="ctr" defTabSz="822960" rtl="0" eaLnBrk="1" fontAlgn="auto" latinLnBrk="0" hangingPunct="1">
                <a:lnSpc>
                  <a:spcPts val="877"/>
                </a:lnSpc>
                <a:spcBef>
                  <a:spcPts val="270"/>
                </a:spcBef>
                <a:spcAft>
                  <a:spcPts val="0"/>
                </a:spcAft>
                <a:buClr>
                  <a:srgbClr val="000000"/>
                </a:buClr>
                <a:buSzTx/>
                <a:buFontTx/>
                <a:buNone/>
                <a:tabLst/>
                <a:defRPr/>
              </a:pPr>
              <a:r>
                <a:rPr kumimoji="0" lang="en-US" sz="810" b="1" i="0" u="none" strike="noStrike" kern="0" cap="none" spc="-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N=381</a:t>
              </a:r>
              <a:endParaRPr kumimoji="0" lang="en-US" sz="810" b="1"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6" name="Title 1">
            <a:extLst>
              <a:ext uri="{FF2B5EF4-FFF2-40B4-BE49-F238E27FC236}">
                <a16:creationId xmlns:a16="http://schemas.microsoft.com/office/drawing/2014/main" id="{AA1C2634-3274-F6A7-199D-E796E34CF025}"/>
              </a:ext>
            </a:extLst>
          </p:cNvPr>
          <p:cNvSpPr txBox="1">
            <a:spLocks/>
          </p:cNvSpPr>
          <p:nvPr/>
        </p:nvSpPr>
        <p:spPr>
          <a:xfrm>
            <a:off x="1092136" y="258943"/>
            <a:ext cx="9875520" cy="807857"/>
          </a:xfrm>
          <a:prstGeom prst="rect">
            <a:avLst/>
          </a:prstGeom>
        </p:spPr>
        <p:txBody>
          <a:bodyPr vert="horz" lIns="82296" tIns="41148" rIns="82296" bIns="41148"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3240" b="1" i="0" u="none" strike="noStrike" kern="1200" cap="none" spc="0" normalizeH="0" baseline="0" noProof="0" dirty="0">
                <a:ln>
                  <a:noFill/>
                </a:ln>
                <a:solidFill>
                  <a:srgbClr val="002557"/>
                </a:solidFill>
                <a:effectLst/>
                <a:uLnTx/>
                <a:uFillTx/>
                <a:latin typeface="Aptos" panose="02110004020202020204"/>
                <a:ea typeface="+mj-ea"/>
                <a:cs typeface="Arial" panose="020B0604020202020204" pitchFamily="34" charset="0"/>
              </a:rPr>
              <a:t>ROSELLA | Study Schema </a:t>
            </a:r>
          </a:p>
        </p:txBody>
      </p:sp>
      <p:pic>
        <p:nvPicPr>
          <p:cNvPr id="9" name="Picture 4" descr="logo U pitt 1[1]">
            <a:extLst>
              <a:ext uri="{FF2B5EF4-FFF2-40B4-BE49-F238E27FC236}">
                <a16:creationId xmlns:a16="http://schemas.microsoft.com/office/drawing/2014/main" id="{6EC90C82-A724-1963-6CF3-91E7C2D5A88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Placeholder 5">
            <a:extLst>
              <a:ext uri="{FF2B5EF4-FFF2-40B4-BE49-F238E27FC236}">
                <a16:creationId xmlns:a16="http://schemas.microsoft.com/office/drawing/2014/main" id="{06DF80FD-DBDC-CCED-F260-BA899EA72305}"/>
              </a:ext>
            </a:extLst>
          </p:cNvPr>
          <p:cNvSpPr txBox="1">
            <a:spLocks/>
          </p:cNvSpPr>
          <p:nvPr/>
        </p:nvSpPr>
        <p:spPr>
          <a:xfrm>
            <a:off x="113148" y="6599057"/>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Olawaiye</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A et al. ASCO 2025</a:t>
            </a:r>
          </a:p>
        </p:txBody>
      </p:sp>
    </p:spTree>
    <p:extLst>
      <p:ext uri="{BB962C8B-B14F-4D97-AF65-F5344CB8AC3E}">
        <p14:creationId xmlns:p14="http://schemas.microsoft.com/office/powerpoint/2010/main" val="32233424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26EDB8-87E9-7A87-478E-E47AA5B1F53F}"/>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6C3BFCA6-F4B5-F9E7-02F5-712D2ED36F1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121017" y="1391281"/>
            <a:ext cx="8723376" cy="4245145"/>
          </a:xfrm>
          <a:prstGeom prst="rect">
            <a:avLst/>
          </a:prstGeom>
        </p:spPr>
      </p:pic>
      <p:graphicFrame>
        <p:nvGraphicFramePr>
          <p:cNvPr id="26" name="Table 25">
            <a:extLst>
              <a:ext uri="{FF2B5EF4-FFF2-40B4-BE49-F238E27FC236}">
                <a16:creationId xmlns:a16="http://schemas.microsoft.com/office/drawing/2014/main" id="{C4ECD931-0440-1AEE-59F6-921C98CD0B47}"/>
              </a:ext>
            </a:extLst>
          </p:cNvPr>
          <p:cNvGraphicFramePr>
            <a:graphicFrameLocks noGrp="1"/>
          </p:cNvGraphicFramePr>
          <p:nvPr/>
        </p:nvGraphicFramePr>
        <p:xfrm>
          <a:off x="5365377" y="1499586"/>
          <a:ext cx="4251691" cy="1420370"/>
        </p:xfrm>
        <a:graphic>
          <a:graphicData uri="http://schemas.openxmlformats.org/drawingml/2006/table">
            <a:tbl>
              <a:tblPr firstRow="1" bandRow="1">
                <a:tableStyleId>{5940675A-B579-460E-94D1-54222C63F5DA}</a:tableStyleId>
              </a:tblPr>
              <a:tblGrid>
                <a:gridCol w="1906256">
                  <a:extLst>
                    <a:ext uri="{9D8B030D-6E8A-4147-A177-3AD203B41FA5}">
                      <a16:colId xmlns:a16="http://schemas.microsoft.com/office/drawing/2014/main" val="2706910499"/>
                    </a:ext>
                  </a:extLst>
                </a:gridCol>
                <a:gridCol w="1143755">
                  <a:extLst>
                    <a:ext uri="{9D8B030D-6E8A-4147-A177-3AD203B41FA5}">
                      <a16:colId xmlns:a16="http://schemas.microsoft.com/office/drawing/2014/main" val="3340891562"/>
                    </a:ext>
                  </a:extLst>
                </a:gridCol>
                <a:gridCol w="1201680">
                  <a:extLst>
                    <a:ext uri="{9D8B030D-6E8A-4147-A177-3AD203B41FA5}">
                      <a16:colId xmlns:a16="http://schemas.microsoft.com/office/drawing/2014/main" val="1986841803"/>
                    </a:ext>
                  </a:extLst>
                </a:gridCol>
              </a:tblGrid>
              <a:tr h="543154">
                <a:tc>
                  <a:txBody>
                    <a:bodyPr/>
                    <a:lstStyle/>
                    <a:p>
                      <a:pPr algn="ctr"/>
                      <a:endParaRPr lang="en-US" sz="1100"/>
                    </a:p>
                  </a:txBody>
                  <a:tcPr marL="41148" marR="41148" marT="24689" marB="24689"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a:solidFill>
                            <a:schemeClr val="bg1"/>
                          </a:solidFill>
                        </a:rPr>
                        <a:t>Relacorilant +</a:t>
                      </a:r>
                      <a:br>
                        <a:rPr lang="en-US" sz="1100" b="1">
                          <a:solidFill>
                            <a:schemeClr val="bg1"/>
                          </a:solidFill>
                        </a:rPr>
                      </a:br>
                      <a:r>
                        <a:rPr lang="en-US" sz="1100" b="1">
                          <a:solidFill>
                            <a:schemeClr val="bg1"/>
                          </a:solidFill>
                        </a:rPr>
                        <a:t>Nab-paclitaxel</a:t>
                      </a:r>
                      <a:br>
                        <a:rPr lang="en-US" sz="1100" b="1">
                          <a:solidFill>
                            <a:schemeClr val="bg1"/>
                          </a:solidFill>
                        </a:rPr>
                      </a:br>
                      <a:r>
                        <a:rPr lang="en-US" sz="1100" b="0">
                          <a:solidFill>
                            <a:schemeClr val="bg1"/>
                          </a:solidFill>
                        </a:rPr>
                        <a:t>N=188</a:t>
                      </a:r>
                    </a:p>
                  </a:txBody>
                  <a:tcPr marL="41148" marR="41148" marT="24689" marB="24689"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6168"/>
                    </a:solidFill>
                  </a:tcPr>
                </a:tc>
                <a:tc>
                  <a:txBody>
                    <a:bodyPr/>
                    <a:lstStyle/>
                    <a:p>
                      <a:pPr algn="ctr"/>
                      <a:r>
                        <a:rPr lang="en-US" sz="1100" b="1">
                          <a:solidFill>
                            <a:schemeClr val="bg1"/>
                          </a:solidFill>
                        </a:rPr>
                        <a:t>Nab-paclitaxel</a:t>
                      </a:r>
                    </a:p>
                    <a:p>
                      <a:pPr algn="ctr"/>
                      <a:r>
                        <a:rPr lang="en-US" sz="1100">
                          <a:solidFill>
                            <a:schemeClr val="bg1"/>
                          </a:solidFill>
                        </a:rPr>
                        <a:t>N=193</a:t>
                      </a:r>
                    </a:p>
                  </a:txBody>
                  <a:tcPr marL="41148" marR="41148" marT="24689" marB="24689"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3177"/>
                    </a:solidFill>
                  </a:tcPr>
                </a:tc>
                <a:extLst>
                  <a:ext uri="{0D108BD9-81ED-4DB2-BD59-A6C34878D82A}">
                    <a16:rowId xmlns:a16="http://schemas.microsoft.com/office/drawing/2014/main" val="3457531373"/>
                  </a:ext>
                </a:extLst>
              </a:tr>
              <a:tr h="213970">
                <a:tc>
                  <a:txBody>
                    <a:bodyPr/>
                    <a:lstStyle/>
                    <a:p>
                      <a:pPr marL="55563" indent="0" algn="ctr"/>
                      <a:r>
                        <a:rPr lang="en-US" sz="1100" b="1">
                          <a:solidFill>
                            <a:srgbClr val="002557"/>
                          </a:solidFill>
                        </a:rPr>
                        <a:t>Events</a:t>
                      </a:r>
                      <a:r>
                        <a:rPr lang="en-US" sz="1100">
                          <a:solidFill>
                            <a:srgbClr val="002557"/>
                          </a:solidFill>
                        </a:rPr>
                        <a:t>, n (%)</a:t>
                      </a:r>
                    </a:p>
                  </a:txBody>
                  <a:tcPr marL="41148" marR="41148" marT="24689" marB="24689"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156168"/>
                          </a:solidFill>
                        </a:rPr>
                        <a:t>113 (60.1)</a:t>
                      </a:r>
                    </a:p>
                  </a:txBody>
                  <a:tcPr marL="41148" marR="41148" marT="24689" marB="24689"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8C3177"/>
                          </a:solidFill>
                        </a:rPr>
                        <a:t>121 (62.7)</a:t>
                      </a:r>
                    </a:p>
                  </a:txBody>
                  <a:tcPr marL="41148" marR="41148" marT="24689" marB="24689"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7222284"/>
                  </a:ext>
                </a:extLst>
              </a:tr>
              <a:tr h="213970">
                <a:tc>
                  <a:txBody>
                    <a:bodyPr/>
                    <a:lstStyle/>
                    <a:p>
                      <a:pPr marL="55563" indent="0" algn="ctr"/>
                      <a:r>
                        <a:rPr lang="en-US" sz="1100" b="1">
                          <a:solidFill>
                            <a:srgbClr val="002557"/>
                          </a:solidFill>
                        </a:rPr>
                        <a:t>Median PFS</a:t>
                      </a:r>
                      <a:r>
                        <a:rPr lang="en-US" sz="1100">
                          <a:solidFill>
                            <a:srgbClr val="002557"/>
                          </a:solidFill>
                        </a:rPr>
                        <a:t>, m (95% CI)</a:t>
                      </a:r>
                    </a:p>
                  </a:txBody>
                  <a:tcPr marL="41148" marR="41148" marT="24689" marB="24689"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a:solidFill>
                            <a:srgbClr val="156168"/>
                          </a:solidFill>
                        </a:rPr>
                        <a:t>6.54</a:t>
                      </a:r>
                      <a:r>
                        <a:rPr lang="en-US" sz="1100">
                          <a:solidFill>
                            <a:srgbClr val="156168"/>
                          </a:solidFill>
                        </a:rPr>
                        <a:t> (5.55–7.43)</a:t>
                      </a:r>
                    </a:p>
                  </a:txBody>
                  <a:tcPr marL="41148" marR="41148" marT="24689" marB="24689"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b="1">
                          <a:solidFill>
                            <a:srgbClr val="8C3177"/>
                          </a:solidFill>
                        </a:rPr>
                        <a:t>5.52</a:t>
                      </a:r>
                      <a:r>
                        <a:rPr lang="en-US" sz="1100">
                          <a:solidFill>
                            <a:srgbClr val="8C3177"/>
                          </a:solidFill>
                        </a:rPr>
                        <a:t> (3.94–5.88)</a:t>
                      </a:r>
                    </a:p>
                  </a:txBody>
                  <a:tcPr marL="41148" marR="41148" marT="24689" marB="24689"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5226786"/>
                  </a:ext>
                </a:extLst>
              </a:tr>
              <a:tr h="213970">
                <a:tc>
                  <a:txBody>
                    <a:bodyPr/>
                    <a:lstStyle/>
                    <a:p>
                      <a:pPr marL="55563" indent="0" algn="ctr"/>
                      <a:r>
                        <a:rPr lang="en-US" sz="1100" b="1">
                          <a:solidFill>
                            <a:srgbClr val="002557"/>
                          </a:solidFill>
                        </a:rPr>
                        <a:t>HR</a:t>
                      </a:r>
                      <a:r>
                        <a:rPr lang="en-US" sz="1100">
                          <a:solidFill>
                            <a:srgbClr val="002557"/>
                          </a:solidFill>
                        </a:rPr>
                        <a:t> (95% CI)</a:t>
                      </a:r>
                    </a:p>
                  </a:txBody>
                  <a:tcPr marL="41148" marR="41148" marT="24689" marB="24689"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100" b="1">
                          <a:solidFill>
                            <a:srgbClr val="156168"/>
                          </a:solidFill>
                        </a:rPr>
                        <a:t>0.70</a:t>
                      </a:r>
                      <a:r>
                        <a:rPr lang="en-US" sz="1100">
                          <a:solidFill>
                            <a:srgbClr val="156168"/>
                          </a:solidFill>
                        </a:rPr>
                        <a:t> (0.54–0.91)</a:t>
                      </a:r>
                    </a:p>
                  </a:txBody>
                  <a:tcPr marL="41148" marR="41148" marT="24689" marB="24689"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a:solidFill>
                          <a:srgbClr val="8C3177"/>
                        </a:solidFil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1926542"/>
                  </a:ext>
                </a:extLst>
              </a:tr>
              <a:tr h="213970">
                <a:tc gridSpan="3">
                  <a:txBody>
                    <a:bodyPr/>
                    <a:lstStyle/>
                    <a:p>
                      <a:pPr marL="55563" lvl="1" indent="0" algn="ctr"/>
                      <a:r>
                        <a:rPr lang="en-US" sz="1100" b="1">
                          <a:solidFill>
                            <a:srgbClr val="002557"/>
                          </a:solidFill>
                        </a:rPr>
                        <a:t>                                               P=0.0076 (Log-rank Test)</a:t>
                      </a:r>
                      <a:endParaRPr lang="en-US" sz="1100">
                        <a:solidFill>
                          <a:srgbClr val="002557"/>
                        </a:solidFill>
                      </a:endParaRPr>
                    </a:p>
                  </a:txBody>
                  <a:tcPr marL="41148" marR="41148" marT="24689" marB="24689" anchor="ctr">
                    <a:lnL w="9525" cap="flat" cmpd="sng" algn="ctr">
                      <a:solidFill>
                        <a:schemeClr val="bg1"/>
                      </a:solidFill>
                      <a:prstDash val="sysDot"/>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50">
                        <a:solidFill>
                          <a:srgbClr val="156168"/>
                        </a:solidFil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a:solidFill>
                          <a:srgbClr val="8C3177"/>
                        </a:solidFil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solidFill>
                      <a:prstDash val="sysDot"/>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72733417"/>
                  </a:ext>
                </a:extLst>
              </a:tr>
            </a:tbl>
          </a:graphicData>
        </a:graphic>
      </p:graphicFrame>
      <p:sp>
        <p:nvSpPr>
          <p:cNvPr id="2" name="Title 1">
            <a:extLst>
              <a:ext uri="{FF2B5EF4-FFF2-40B4-BE49-F238E27FC236}">
                <a16:creationId xmlns:a16="http://schemas.microsoft.com/office/drawing/2014/main" id="{47D24AC1-2795-F030-DE25-96FE244AF43E}"/>
              </a:ext>
            </a:extLst>
          </p:cNvPr>
          <p:cNvSpPr>
            <a:spLocks noGrp="1"/>
          </p:cNvSpPr>
          <p:nvPr>
            <p:ph type="title"/>
          </p:nvPr>
        </p:nvSpPr>
        <p:spPr>
          <a:xfrm>
            <a:off x="557759" y="200656"/>
            <a:ext cx="9615235" cy="846314"/>
          </a:xfrm>
        </p:spPr>
        <p:txBody>
          <a:bodyPr>
            <a:normAutofit/>
          </a:bodyPr>
          <a:lstStyle/>
          <a:p>
            <a:pPr>
              <a:lnSpc>
                <a:spcPct val="80000"/>
              </a:lnSpc>
            </a:pPr>
            <a:r>
              <a:rPr lang="en-US" sz="2700" dirty="0">
                <a:solidFill>
                  <a:schemeClr val="accent4">
                    <a:lumMod val="50000"/>
                  </a:schemeClr>
                </a:solidFill>
              </a:rPr>
              <a:t>ROSELLA</a:t>
            </a:r>
            <a:r>
              <a:rPr lang="en-US" sz="2700" dirty="0">
                <a:solidFill>
                  <a:schemeClr val="accent4">
                    <a:lumMod val="50000"/>
                  </a:schemeClr>
                </a:solidFill>
                <a:latin typeface="+mn-lt"/>
              </a:rPr>
              <a:t> | </a:t>
            </a:r>
            <a:r>
              <a:rPr lang="en-US" sz="2700" dirty="0" err="1">
                <a:solidFill>
                  <a:schemeClr val="accent4">
                    <a:lumMod val="50000"/>
                  </a:schemeClr>
                </a:solidFill>
                <a:latin typeface="+mn-lt"/>
              </a:rPr>
              <a:t>Relacorilant</a:t>
            </a:r>
            <a:r>
              <a:rPr lang="en-US" sz="2700" dirty="0">
                <a:solidFill>
                  <a:schemeClr val="accent4">
                    <a:lumMod val="50000"/>
                  </a:schemeClr>
                </a:solidFill>
                <a:latin typeface="+mn-lt"/>
              </a:rPr>
              <a:t> Significantly Improved Progression-Free Survival Assessed by Blinded Review </a:t>
            </a:r>
          </a:p>
        </p:txBody>
      </p:sp>
      <p:sp>
        <p:nvSpPr>
          <p:cNvPr id="5" name="Text Placeholder 4">
            <a:extLst>
              <a:ext uri="{FF2B5EF4-FFF2-40B4-BE49-F238E27FC236}">
                <a16:creationId xmlns:a16="http://schemas.microsoft.com/office/drawing/2014/main" id="{7211E1F7-FB94-3F9C-3CA0-9913C5173F94}"/>
              </a:ext>
            </a:extLst>
          </p:cNvPr>
          <p:cNvSpPr>
            <a:spLocks noGrp="1"/>
          </p:cNvSpPr>
          <p:nvPr>
            <p:ph type="body" sz="quarter" idx="15"/>
          </p:nvPr>
        </p:nvSpPr>
        <p:spPr/>
        <p:txBody>
          <a:bodyPr/>
          <a:lstStyle/>
          <a:p>
            <a:endParaRPr lang="en-US"/>
          </a:p>
        </p:txBody>
      </p:sp>
      <p:sp>
        <p:nvSpPr>
          <p:cNvPr id="9" name="Text Placeholder 4">
            <a:extLst>
              <a:ext uri="{FF2B5EF4-FFF2-40B4-BE49-F238E27FC236}">
                <a16:creationId xmlns:a16="http://schemas.microsoft.com/office/drawing/2014/main" id="{5F919847-F2BA-C655-9DFC-EE052CEDECF1}"/>
              </a:ext>
            </a:extLst>
          </p:cNvPr>
          <p:cNvSpPr txBox="1">
            <a:spLocks/>
          </p:cNvSpPr>
          <p:nvPr/>
        </p:nvSpPr>
        <p:spPr>
          <a:xfrm>
            <a:off x="1288645" y="5675530"/>
            <a:ext cx="8823313" cy="374857"/>
          </a:xfrm>
          <a:prstGeom prst="rect">
            <a:avLst/>
          </a:prstGeom>
        </p:spPr>
        <p:txBody>
          <a:bodyPr vert="horz" lIns="82296" tIns="41148" rIns="82296" bIns="41148"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822960" rtl="0" eaLnBrk="1" fontAlgn="auto" latinLnBrk="0" hangingPunct="1">
              <a:lnSpc>
                <a:spcPct val="75000"/>
              </a:lnSpc>
              <a:spcBef>
                <a:spcPts val="0"/>
              </a:spcBef>
              <a:spcAft>
                <a:spcPts val="270"/>
              </a:spcAft>
              <a:buClrTx/>
              <a:buSzTx/>
              <a:buFont typeface="Arial" panose="020B0604020202020204" pitchFamily="34" charset="0"/>
              <a:buNone/>
              <a:tabLst/>
              <a:defRPr/>
            </a:pPr>
            <a:r>
              <a:rPr kumimoji="0" lang="en-US" sz="720" b="0" i="0" u="none" strike="noStrike" kern="1200" cap="none" spc="0" normalizeH="0" baseline="0" noProof="0" dirty="0">
                <a:ln>
                  <a:noFill/>
                </a:ln>
                <a:solidFill>
                  <a:srgbClr val="002557"/>
                </a:solidFill>
                <a:effectLst/>
                <a:uLnTx/>
                <a:uFillTx/>
                <a:latin typeface="Arial" panose="020B0604020202020204"/>
                <a:ea typeface="Lato"/>
                <a:cs typeface="Lato"/>
                <a:sym typeface="Lato"/>
              </a:rPr>
              <a:t>Median follow-up time: 9.0 months; statistical significance threshold: P≤0.04. </a:t>
            </a:r>
            <a:r>
              <a:rPr kumimoji="0" lang="en-US" sz="720" b="0" i="0" u="none" strike="noStrike" kern="0" cap="none" spc="0" normalizeH="0" baseline="0" noProof="0" dirty="0">
                <a:ln>
                  <a:noFill/>
                </a:ln>
                <a:solidFill>
                  <a:srgbClr val="002557"/>
                </a:solidFill>
                <a:effectLst/>
                <a:uLnTx/>
                <a:uFillTx/>
                <a:latin typeface="Arial" panose="020B0604020202020204"/>
                <a:ea typeface="Lato"/>
                <a:cs typeface="Lato"/>
                <a:sym typeface="Lato"/>
              </a:rPr>
              <a:t>The Kaplan–Meier method was used to estimate the curves, median estimates and the 95% CIs for progression-free survival in each treatment arm. The HR and the associated 95% CI were estimated using a Cox regression model with treatment group as the main effect and stratification factors at randomization as covariates. </a:t>
            </a:r>
            <a:br>
              <a:rPr kumimoji="0" lang="en-US" sz="720" b="0" i="0" u="none" strike="noStrike" kern="0" cap="none" spc="0" normalizeH="0" baseline="0" noProof="0" dirty="0">
                <a:ln>
                  <a:noFill/>
                </a:ln>
                <a:solidFill>
                  <a:srgbClr val="002557"/>
                </a:solidFill>
                <a:effectLst/>
                <a:uLnTx/>
                <a:uFillTx/>
                <a:latin typeface="Arial" panose="020B0604020202020204"/>
                <a:ea typeface="Lato"/>
                <a:cs typeface="Lato"/>
                <a:sym typeface="Lato"/>
              </a:rPr>
            </a:br>
            <a:r>
              <a:rPr kumimoji="0" lang="en-US" sz="720" b="0" i="0" u="none" strike="noStrike" kern="0" cap="none" spc="0" normalizeH="0" baseline="0" noProof="0" dirty="0">
                <a:ln>
                  <a:noFill/>
                </a:ln>
                <a:solidFill>
                  <a:srgbClr val="002557"/>
                </a:solidFill>
                <a:effectLst/>
                <a:uLnTx/>
                <a:uFillTx/>
                <a:latin typeface="Arial" panose="020B0604020202020204"/>
                <a:ea typeface="Lato"/>
                <a:cs typeface="Lato"/>
                <a:sym typeface="Lato"/>
              </a:rPr>
              <a:t>BICR, blinded-independent central review; CI, confidence interval; HR, hazard ratio; m, months; PFS, progression-free survival.</a:t>
            </a:r>
          </a:p>
        </p:txBody>
      </p:sp>
      <p:grpSp>
        <p:nvGrpSpPr>
          <p:cNvPr id="7" name="Group 6">
            <a:extLst>
              <a:ext uri="{FF2B5EF4-FFF2-40B4-BE49-F238E27FC236}">
                <a16:creationId xmlns:a16="http://schemas.microsoft.com/office/drawing/2014/main" id="{EE37097B-9311-A788-C74A-F34884E9DDD9}"/>
              </a:ext>
            </a:extLst>
          </p:cNvPr>
          <p:cNvGrpSpPr/>
          <p:nvPr/>
        </p:nvGrpSpPr>
        <p:grpSpPr>
          <a:xfrm>
            <a:off x="4531069" y="2185565"/>
            <a:ext cx="792559" cy="2477875"/>
            <a:chOff x="4543389" y="2047406"/>
            <a:chExt cx="880621" cy="2753194"/>
          </a:xfrm>
        </p:grpSpPr>
        <p:cxnSp>
          <p:nvCxnSpPr>
            <p:cNvPr id="8" name="Straight Connector 7">
              <a:extLst>
                <a:ext uri="{FF2B5EF4-FFF2-40B4-BE49-F238E27FC236}">
                  <a16:creationId xmlns:a16="http://schemas.microsoft.com/office/drawing/2014/main" id="{D349AA61-107E-A830-84FC-DEC1D6B0C314}"/>
                </a:ext>
              </a:extLst>
            </p:cNvPr>
            <p:cNvCxnSpPr>
              <a:cxnSpLocks/>
            </p:cNvCxnSpPr>
            <p:nvPr/>
          </p:nvCxnSpPr>
          <p:spPr>
            <a:xfrm flipV="1">
              <a:off x="4965285" y="2324100"/>
              <a:ext cx="0" cy="247650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F953E20E-99F7-87ED-68DE-5A2312169DC5}"/>
                </a:ext>
              </a:extLst>
            </p:cNvPr>
            <p:cNvSpPr/>
            <p:nvPr/>
          </p:nvSpPr>
          <p:spPr>
            <a:xfrm>
              <a:off x="4892310" y="2507353"/>
              <a:ext cx="502030" cy="321257"/>
            </a:xfrm>
            <a:prstGeom prst="round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tIns="82296" rtlCol="0" anchor="t"/>
            <a:lstStyle/>
            <a:p>
              <a:pPr marL="0" marR="0" lvl="0" indent="0" algn="ctr" defTabSz="914400" rtl="0" eaLnBrk="0" fontAlgn="base" latinLnBrk="0" hangingPunct="0">
                <a:lnSpc>
                  <a:spcPct val="100000"/>
                </a:lnSpc>
                <a:spcBef>
                  <a:spcPct val="0"/>
                </a:spcBef>
                <a:spcAft>
                  <a:spcPct val="0"/>
                </a:spcAft>
                <a:buClr>
                  <a:prstClr val="black">
                    <a:lumMod val="75000"/>
                    <a:lumOff val="25000"/>
                  </a:prstClr>
                </a:buClr>
                <a:buSzTx/>
                <a:buFontTx/>
                <a:buNone/>
                <a:tabLst/>
                <a:defRPr/>
              </a:pPr>
              <a:endParaRPr kumimoji="0" lang="en-US" sz="9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2" name="Rectangle: Rounded Corners 11">
              <a:extLst>
                <a:ext uri="{FF2B5EF4-FFF2-40B4-BE49-F238E27FC236}">
                  <a16:creationId xmlns:a16="http://schemas.microsoft.com/office/drawing/2014/main" id="{3106C029-3467-A572-2240-F7D80C232B8A}"/>
                </a:ext>
              </a:extLst>
            </p:cNvPr>
            <p:cNvSpPr/>
            <p:nvPr/>
          </p:nvSpPr>
          <p:spPr>
            <a:xfrm>
              <a:off x="4573060" y="3623763"/>
              <a:ext cx="502030" cy="307940"/>
            </a:xfrm>
            <a:prstGeom prst="roundRect">
              <a:avLst/>
            </a:prstGeom>
            <a:solidFill>
              <a:srgbClr val="8C3177"/>
            </a:solidFill>
            <a:ln>
              <a:noFill/>
            </a:ln>
          </p:spPr>
          <p:style>
            <a:lnRef idx="2">
              <a:schemeClr val="accent1">
                <a:shade val="15000"/>
              </a:schemeClr>
            </a:lnRef>
            <a:fillRef idx="1">
              <a:schemeClr val="accent1"/>
            </a:fillRef>
            <a:effectRef idx="0">
              <a:schemeClr val="accent1"/>
            </a:effectRef>
            <a:fontRef idx="minor">
              <a:schemeClr val="lt1"/>
            </a:fontRef>
          </p:style>
          <p:txBody>
            <a:bodyPr tIns="82296" rtlCol="0" anchor="t"/>
            <a:lstStyle/>
            <a:p>
              <a:pPr marL="0" marR="0" lvl="0" indent="0" algn="ctr" defTabSz="914400" rtl="0" eaLnBrk="0" fontAlgn="base" latinLnBrk="0" hangingPunct="0">
                <a:lnSpc>
                  <a:spcPct val="100000"/>
                </a:lnSpc>
                <a:spcBef>
                  <a:spcPct val="0"/>
                </a:spcBef>
                <a:spcAft>
                  <a:spcPct val="0"/>
                </a:spcAft>
                <a:buClr>
                  <a:prstClr val="black">
                    <a:lumMod val="75000"/>
                    <a:lumOff val="25000"/>
                  </a:prstClr>
                </a:buClr>
                <a:buSzTx/>
                <a:buFontTx/>
                <a:buNone/>
                <a:tabLst/>
                <a:defRPr/>
              </a:pPr>
              <a:endParaRPr kumimoji="0" lang="en-US" sz="9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3" name="TextBox 12">
              <a:extLst>
                <a:ext uri="{FF2B5EF4-FFF2-40B4-BE49-F238E27FC236}">
                  <a16:creationId xmlns:a16="http://schemas.microsoft.com/office/drawing/2014/main" id="{AB937FB8-0221-A54C-157D-91DD5475C607}"/>
                </a:ext>
              </a:extLst>
            </p:cNvPr>
            <p:cNvSpPr txBox="1"/>
            <p:nvPr/>
          </p:nvSpPr>
          <p:spPr>
            <a:xfrm>
              <a:off x="4636501" y="2047406"/>
              <a:ext cx="652244" cy="271869"/>
            </a:xfrm>
            <a:prstGeom prst="rect">
              <a:avLst/>
            </a:prstGeom>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90" b="1" i="0" u="none" strike="noStrike" kern="1200" cap="none" spc="0" normalizeH="0" baseline="0" noProof="0">
                  <a:ln>
                    <a:noFill/>
                  </a:ln>
                  <a:solidFill>
                    <a:prstClr val="black"/>
                  </a:solidFill>
                  <a:effectLst/>
                  <a:uLnTx/>
                  <a:uFillTx/>
                  <a:latin typeface="Aptos" panose="02110004020202020204"/>
                  <a:ea typeface="+mn-ea"/>
                  <a:cs typeface="+mn-cs"/>
                </a:rPr>
                <a:t>6m </a:t>
              </a:r>
              <a:r>
                <a:rPr kumimoji="0" lang="en-US" sz="990" b="1" i="0" u="none" strike="noStrike" kern="1200" cap="none" spc="0" normalizeH="0" baseline="0" noProof="0">
                  <a:ln>
                    <a:noFill/>
                  </a:ln>
                  <a:solidFill>
                    <a:prstClr val="black"/>
                  </a:solidFill>
                  <a:effectLst/>
                  <a:uLnTx/>
                  <a:uFillTx/>
                  <a:latin typeface="Calibri" panose="020F0502020204030204" pitchFamily="34" charset="0"/>
                  <a:ea typeface="+mn-ea"/>
                  <a:cs typeface="+mn-cs"/>
                </a:rPr>
                <a:t>PFS</a:t>
              </a:r>
              <a:endParaRPr kumimoji="0" lang="en-US" sz="990" b="1"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 name="TextBox 13">
              <a:extLst>
                <a:ext uri="{FF2B5EF4-FFF2-40B4-BE49-F238E27FC236}">
                  <a16:creationId xmlns:a16="http://schemas.microsoft.com/office/drawing/2014/main" id="{01EFD78F-6BA2-0053-6563-D57FE8D69E57}"/>
                </a:ext>
              </a:extLst>
            </p:cNvPr>
            <p:cNvSpPr txBox="1"/>
            <p:nvPr/>
          </p:nvSpPr>
          <p:spPr>
            <a:xfrm>
              <a:off x="4862640" y="2523041"/>
              <a:ext cx="561370" cy="287258"/>
            </a:xfrm>
            <a:prstGeom prst="rect">
              <a:avLst/>
            </a:prstGeom>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80" b="1" i="0" u="none" strike="noStrike" kern="1200" cap="none" spc="0" normalizeH="0" baseline="0" noProof="0">
                  <a:ln>
                    <a:noFill/>
                  </a:ln>
                  <a:solidFill>
                    <a:prstClr val="white"/>
                  </a:solidFill>
                  <a:effectLst/>
                  <a:uLnTx/>
                  <a:uFillTx/>
                  <a:latin typeface="Aptos" panose="02110004020202020204"/>
                  <a:ea typeface="+mn-ea"/>
                  <a:cs typeface="+mn-cs"/>
                </a:rPr>
                <a:t>52%</a:t>
              </a:r>
            </a:p>
          </p:txBody>
        </p:sp>
        <p:sp>
          <p:nvSpPr>
            <p:cNvPr id="15" name="TextBox 14">
              <a:extLst>
                <a:ext uri="{FF2B5EF4-FFF2-40B4-BE49-F238E27FC236}">
                  <a16:creationId xmlns:a16="http://schemas.microsoft.com/office/drawing/2014/main" id="{73D3C1A6-0E9B-15E4-BBA3-16159949AC44}"/>
                </a:ext>
              </a:extLst>
            </p:cNvPr>
            <p:cNvSpPr txBox="1"/>
            <p:nvPr/>
          </p:nvSpPr>
          <p:spPr>
            <a:xfrm>
              <a:off x="4543389" y="3638528"/>
              <a:ext cx="561370" cy="287258"/>
            </a:xfrm>
            <a:prstGeom prst="rect">
              <a:avLst/>
            </a:prstGeom>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80" b="1" i="0" u="none" strike="noStrike" kern="1200" cap="none" spc="0" normalizeH="0" baseline="0" noProof="0">
                  <a:ln>
                    <a:noFill/>
                  </a:ln>
                  <a:solidFill>
                    <a:prstClr val="white"/>
                  </a:solidFill>
                  <a:effectLst/>
                  <a:uLnTx/>
                  <a:uFillTx/>
                  <a:latin typeface="Aptos" panose="02110004020202020204"/>
                  <a:ea typeface="+mn-ea"/>
                  <a:cs typeface="+mn-cs"/>
                </a:rPr>
                <a:t>42%</a:t>
              </a:r>
            </a:p>
          </p:txBody>
        </p:sp>
      </p:grpSp>
      <p:grpSp>
        <p:nvGrpSpPr>
          <p:cNvPr id="16" name="Group 15">
            <a:extLst>
              <a:ext uri="{FF2B5EF4-FFF2-40B4-BE49-F238E27FC236}">
                <a16:creationId xmlns:a16="http://schemas.microsoft.com/office/drawing/2014/main" id="{F536F72B-E080-29CA-FF08-2D4D7D005758}"/>
              </a:ext>
            </a:extLst>
          </p:cNvPr>
          <p:cNvGrpSpPr/>
          <p:nvPr/>
        </p:nvGrpSpPr>
        <p:grpSpPr>
          <a:xfrm>
            <a:off x="6504583" y="3177630"/>
            <a:ext cx="812263" cy="1485808"/>
            <a:chOff x="6781250" y="3149701"/>
            <a:chExt cx="902515" cy="1650899"/>
          </a:xfrm>
        </p:grpSpPr>
        <p:cxnSp>
          <p:nvCxnSpPr>
            <p:cNvPr id="17" name="Straight Connector 16">
              <a:extLst>
                <a:ext uri="{FF2B5EF4-FFF2-40B4-BE49-F238E27FC236}">
                  <a16:creationId xmlns:a16="http://schemas.microsoft.com/office/drawing/2014/main" id="{F241190E-8821-81D3-62F2-3BA681A14DEB}"/>
                </a:ext>
              </a:extLst>
            </p:cNvPr>
            <p:cNvCxnSpPr>
              <a:cxnSpLocks/>
            </p:cNvCxnSpPr>
            <p:nvPr/>
          </p:nvCxnSpPr>
          <p:spPr>
            <a:xfrm flipV="1">
              <a:off x="7233568" y="3384550"/>
              <a:ext cx="0" cy="141605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EBBFD096-9F80-69EB-97E0-4B520224FBE4}"/>
                </a:ext>
              </a:extLst>
            </p:cNvPr>
            <p:cNvSpPr/>
            <p:nvPr/>
          </p:nvSpPr>
          <p:spPr>
            <a:xfrm>
              <a:off x="7142852" y="3444557"/>
              <a:ext cx="502030" cy="321257"/>
            </a:xfrm>
            <a:prstGeom prst="round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tIns="82296" rtlCol="0" anchor="t"/>
            <a:lstStyle/>
            <a:p>
              <a:pPr marL="0" marR="0" lvl="0" indent="0" algn="ctr" defTabSz="914400" rtl="0" eaLnBrk="0" fontAlgn="base" latinLnBrk="0" hangingPunct="0">
                <a:lnSpc>
                  <a:spcPct val="100000"/>
                </a:lnSpc>
                <a:spcBef>
                  <a:spcPct val="0"/>
                </a:spcBef>
                <a:spcAft>
                  <a:spcPct val="0"/>
                </a:spcAft>
                <a:buClr>
                  <a:prstClr val="black">
                    <a:lumMod val="75000"/>
                    <a:lumOff val="25000"/>
                  </a:prstClr>
                </a:buClr>
                <a:buSzTx/>
                <a:buFontTx/>
                <a:buNone/>
                <a:tabLst/>
                <a:defRPr/>
              </a:pPr>
              <a:endParaRPr kumimoji="0" lang="en-US" sz="9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9" name="Rectangle: Rounded Corners 18">
              <a:extLst>
                <a:ext uri="{FF2B5EF4-FFF2-40B4-BE49-F238E27FC236}">
                  <a16:creationId xmlns:a16="http://schemas.microsoft.com/office/drawing/2014/main" id="{CF1DC9C4-6071-E454-1377-DD68BA0E6ED3}"/>
                </a:ext>
              </a:extLst>
            </p:cNvPr>
            <p:cNvSpPr/>
            <p:nvPr/>
          </p:nvSpPr>
          <p:spPr>
            <a:xfrm>
              <a:off x="6824848" y="4304918"/>
              <a:ext cx="502030" cy="307940"/>
            </a:xfrm>
            <a:prstGeom prst="roundRect">
              <a:avLst/>
            </a:prstGeom>
            <a:solidFill>
              <a:srgbClr val="8C3177"/>
            </a:solidFill>
            <a:ln>
              <a:noFill/>
            </a:ln>
          </p:spPr>
          <p:style>
            <a:lnRef idx="2">
              <a:schemeClr val="accent1">
                <a:shade val="15000"/>
              </a:schemeClr>
            </a:lnRef>
            <a:fillRef idx="1">
              <a:schemeClr val="accent1"/>
            </a:fillRef>
            <a:effectRef idx="0">
              <a:schemeClr val="accent1"/>
            </a:effectRef>
            <a:fontRef idx="minor">
              <a:schemeClr val="lt1"/>
            </a:fontRef>
          </p:style>
          <p:txBody>
            <a:bodyPr tIns="82296" rtlCol="0" anchor="t"/>
            <a:lstStyle/>
            <a:p>
              <a:pPr marL="0" marR="0" lvl="0" indent="0" algn="ctr" defTabSz="914400" rtl="0" eaLnBrk="0" fontAlgn="base" latinLnBrk="0" hangingPunct="0">
                <a:lnSpc>
                  <a:spcPct val="100000"/>
                </a:lnSpc>
                <a:spcBef>
                  <a:spcPct val="0"/>
                </a:spcBef>
                <a:spcAft>
                  <a:spcPct val="0"/>
                </a:spcAft>
                <a:buClr>
                  <a:prstClr val="black">
                    <a:lumMod val="75000"/>
                    <a:lumOff val="25000"/>
                  </a:prstClr>
                </a:buClr>
                <a:buSzTx/>
                <a:buFontTx/>
                <a:buNone/>
                <a:tabLst/>
                <a:defRPr/>
              </a:pPr>
              <a:endParaRPr kumimoji="0" lang="en-US" sz="9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0" name="TextBox 19">
              <a:extLst>
                <a:ext uri="{FF2B5EF4-FFF2-40B4-BE49-F238E27FC236}">
                  <a16:creationId xmlns:a16="http://schemas.microsoft.com/office/drawing/2014/main" id="{68F762EE-4F96-C7E8-E40F-E9FA4C97187C}"/>
                </a:ext>
              </a:extLst>
            </p:cNvPr>
            <p:cNvSpPr txBox="1"/>
            <p:nvPr/>
          </p:nvSpPr>
          <p:spPr>
            <a:xfrm>
              <a:off x="7112954" y="3460910"/>
              <a:ext cx="561371" cy="287258"/>
            </a:xfrm>
            <a:prstGeom prst="rect">
              <a:avLst/>
            </a:prstGeom>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80" b="1" i="0" u="none" strike="noStrike" kern="1200" cap="none" spc="0" normalizeH="0" baseline="0" noProof="0">
                  <a:ln>
                    <a:noFill/>
                  </a:ln>
                  <a:solidFill>
                    <a:prstClr val="white"/>
                  </a:solidFill>
                  <a:effectLst/>
                  <a:uLnTx/>
                  <a:uFillTx/>
                  <a:latin typeface="Aptos" panose="02110004020202020204"/>
                  <a:ea typeface="+mn-ea"/>
                  <a:cs typeface="+mn-cs"/>
                </a:rPr>
                <a:t>25%</a:t>
              </a:r>
            </a:p>
          </p:txBody>
        </p:sp>
        <p:sp>
          <p:nvSpPr>
            <p:cNvPr id="22" name="TextBox 21">
              <a:extLst>
                <a:ext uri="{FF2B5EF4-FFF2-40B4-BE49-F238E27FC236}">
                  <a16:creationId xmlns:a16="http://schemas.microsoft.com/office/drawing/2014/main" id="{3D8AF3C8-3331-5D7B-5696-F9CB6B883E3C}"/>
                </a:ext>
              </a:extLst>
            </p:cNvPr>
            <p:cNvSpPr txBox="1"/>
            <p:nvPr/>
          </p:nvSpPr>
          <p:spPr>
            <a:xfrm>
              <a:off x="6791958" y="4312609"/>
              <a:ext cx="561371" cy="287258"/>
            </a:xfrm>
            <a:prstGeom prst="rect">
              <a:avLst/>
            </a:prstGeom>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80" b="1" i="0" u="none" strike="noStrike" kern="1200" cap="none" spc="0" normalizeH="0" baseline="0" noProof="0">
                  <a:ln>
                    <a:noFill/>
                  </a:ln>
                  <a:solidFill>
                    <a:prstClr val="white"/>
                  </a:solidFill>
                  <a:effectLst/>
                  <a:uLnTx/>
                  <a:uFillTx/>
                  <a:latin typeface="Aptos" panose="02110004020202020204"/>
                  <a:ea typeface="+mn-ea"/>
                  <a:cs typeface="+mn-cs"/>
                </a:rPr>
                <a:t>13%</a:t>
              </a:r>
            </a:p>
          </p:txBody>
        </p:sp>
        <p:sp>
          <p:nvSpPr>
            <p:cNvPr id="23" name="TextBox 22">
              <a:extLst>
                <a:ext uri="{FF2B5EF4-FFF2-40B4-BE49-F238E27FC236}">
                  <a16:creationId xmlns:a16="http://schemas.microsoft.com/office/drawing/2014/main" id="{380384EF-9D69-5AE8-8D84-378371CF7E62}"/>
                </a:ext>
              </a:extLst>
            </p:cNvPr>
            <p:cNvSpPr txBox="1"/>
            <p:nvPr/>
          </p:nvSpPr>
          <p:spPr>
            <a:xfrm>
              <a:off x="6781250" y="3149701"/>
              <a:ext cx="902515" cy="271869"/>
            </a:xfrm>
            <a:prstGeom prst="rect">
              <a:avLst/>
            </a:prstGeom>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90" b="1" i="0" u="none" strike="noStrike" kern="1200" cap="none" spc="0" normalizeH="0" baseline="0" noProof="0">
                  <a:ln>
                    <a:noFill/>
                  </a:ln>
                  <a:solidFill>
                    <a:prstClr val="black"/>
                  </a:solidFill>
                  <a:effectLst/>
                  <a:uLnTx/>
                  <a:uFillTx/>
                  <a:latin typeface="Calibri" panose="020F0502020204030204" pitchFamily="34" charset="0"/>
                  <a:ea typeface="+mn-ea"/>
                  <a:cs typeface="+mn-cs"/>
                </a:rPr>
                <a:t>12</a:t>
              </a:r>
              <a:r>
                <a:rPr kumimoji="0" lang="en-US" sz="990" b="1" i="0" u="none" strike="noStrike" kern="1200" cap="none" spc="0" normalizeH="0" baseline="0" noProof="0">
                  <a:ln>
                    <a:noFill/>
                  </a:ln>
                  <a:solidFill>
                    <a:prstClr val="black"/>
                  </a:solidFill>
                  <a:effectLst/>
                  <a:uLnTx/>
                  <a:uFillTx/>
                  <a:latin typeface="Aptos" panose="02110004020202020204"/>
                  <a:ea typeface="+mn-ea"/>
                  <a:cs typeface="+mn-cs"/>
                </a:rPr>
                <a:t>m </a:t>
              </a:r>
              <a:r>
                <a:rPr kumimoji="0" lang="en-US" sz="990" b="1" i="0" u="none" strike="noStrike" kern="1200" cap="none" spc="0" normalizeH="0" baseline="0" noProof="0">
                  <a:ln>
                    <a:noFill/>
                  </a:ln>
                  <a:solidFill>
                    <a:prstClr val="black"/>
                  </a:solidFill>
                  <a:effectLst/>
                  <a:uLnTx/>
                  <a:uFillTx/>
                  <a:latin typeface="Calibri" panose="020F0502020204030204" pitchFamily="34" charset="0"/>
                  <a:ea typeface="+mn-ea"/>
                  <a:cs typeface="+mn-cs"/>
                </a:rPr>
                <a:t>PFS</a:t>
              </a:r>
              <a:endParaRPr kumimoji="0" lang="en-US" sz="990" b="1"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24" name="object 25">
            <a:extLst>
              <a:ext uri="{FF2B5EF4-FFF2-40B4-BE49-F238E27FC236}">
                <a16:creationId xmlns:a16="http://schemas.microsoft.com/office/drawing/2014/main" id="{19B52E0B-37B4-B485-D321-12F6A23B3C56}"/>
              </a:ext>
            </a:extLst>
          </p:cNvPr>
          <p:cNvSpPr/>
          <p:nvPr/>
        </p:nvSpPr>
        <p:spPr>
          <a:xfrm>
            <a:off x="8482593" y="3160999"/>
            <a:ext cx="2882455" cy="1077245"/>
          </a:xfrm>
          <a:custGeom>
            <a:avLst/>
            <a:gdLst/>
            <a:ahLst/>
            <a:cxnLst/>
            <a:rect l="l" t="t" r="r" b="b"/>
            <a:pathLst>
              <a:path w="8126094" h="3266440">
                <a:moveTo>
                  <a:pt x="0" y="3266171"/>
                </a:moveTo>
                <a:lnTo>
                  <a:pt x="8125541" y="3266171"/>
                </a:lnTo>
                <a:lnTo>
                  <a:pt x="8125541" y="0"/>
                </a:lnTo>
                <a:lnTo>
                  <a:pt x="0" y="0"/>
                </a:lnTo>
                <a:lnTo>
                  <a:pt x="0" y="3266171"/>
                </a:lnTo>
                <a:close/>
              </a:path>
            </a:pathLst>
          </a:custGeom>
          <a:solidFill>
            <a:srgbClr val="B8CFD1">
              <a:alpha val="18039"/>
            </a:srgbClr>
          </a:solidFill>
          <a:ln w="28575">
            <a:solidFill>
              <a:srgbClr val="156168"/>
            </a:solidFill>
          </a:ln>
        </p:spPr>
        <p:txBody>
          <a:bodyPr wrap="square" lIns="82296" tIns="82296" rIns="82296" bIns="82296" rtlCol="0" anchor="ctr"/>
          <a:lstStyle/>
          <a:p>
            <a:pPr marL="0" marR="0" lvl="0" indent="0" algn="ctr" defTabSz="822960" rtl="0" eaLnBrk="1" fontAlgn="auto" latinLnBrk="0" hangingPunct="1">
              <a:lnSpc>
                <a:spcPct val="100000"/>
              </a:lnSpc>
              <a:spcBef>
                <a:spcPts val="0"/>
              </a:spcBef>
              <a:spcAft>
                <a:spcPts val="0"/>
              </a:spcAft>
              <a:buClr>
                <a:srgbClr val="000000"/>
              </a:buClr>
              <a:buSzTx/>
              <a:buFontTx/>
              <a:buNone/>
              <a:tabLst/>
              <a:defRPr/>
            </a:pPr>
            <a:r>
              <a:rPr kumimoji="0" lang="en-US" sz="1440" b="1" i="0" u="none" strike="noStrike" kern="0" cap="none" spc="0" normalizeH="0" baseline="0" noProof="0">
                <a:ln>
                  <a:noFill/>
                </a:ln>
                <a:solidFill>
                  <a:srgbClr val="156168"/>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Progression-free survival assessed by the investigator was positive and consistent (HR 0.71, P=0.0030)</a:t>
            </a:r>
          </a:p>
        </p:txBody>
      </p:sp>
      <p:sp>
        <p:nvSpPr>
          <p:cNvPr id="27" name="Arrow: Down 26">
            <a:extLst>
              <a:ext uri="{FF2B5EF4-FFF2-40B4-BE49-F238E27FC236}">
                <a16:creationId xmlns:a16="http://schemas.microsoft.com/office/drawing/2014/main" id="{C29F7AE9-E4C8-3D25-9E49-323D5CBA488C}"/>
              </a:ext>
            </a:extLst>
          </p:cNvPr>
          <p:cNvSpPr/>
          <p:nvPr/>
        </p:nvSpPr>
        <p:spPr>
          <a:xfrm rot="10800000">
            <a:off x="3539503" y="2501527"/>
            <a:ext cx="158670" cy="485113"/>
          </a:xfrm>
          <a:prstGeom prst="downArrow">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tIns="82296"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54306" marR="0" lvl="0" indent="-154306" algn="l" defTabSz="914400" rtl="0" eaLnBrk="1" fontAlgn="base" latinLnBrk="0" hangingPunct="1">
              <a:lnSpc>
                <a:spcPct val="100000"/>
              </a:lnSpc>
              <a:spcBef>
                <a:spcPct val="0"/>
              </a:spcBef>
              <a:spcAft>
                <a:spcPct val="0"/>
              </a:spcAft>
              <a:buClr>
                <a:prstClr val="black">
                  <a:lumMod val="75000"/>
                  <a:lumOff val="25000"/>
                </a:prstClr>
              </a:buClr>
              <a:buSzTx/>
              <a:buFont typeface="Lato" panose="020F0502020204030203" pitchFamily="34" charset="0"/>
              <a:buChar char="+"/>
              <a:tabLst/>
              <a:defRPr/>
            </a:pPr>
            <a:endParaRPr kumimoji="0" lang="en-US" sz="1440" b="0" i="0" u="none" strike="noStrike" kern="1200" cap="none" spc="0" normalizeH="0" baseline="0" noProof="0">
              <a:ln>
                <a:noFill/>
              </a:ln>
              <a:solidFill>
                <a:prstClr val="black">
                  <a:lumMod val="85000"/>
                  <a:lumOff val="1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8" name="TextBox 27">
            <a:extLst>
              <a:ext uri="{FF2B5EF4-FFF2-40B4-BE49-F238E27FC236}">
                <a16:creationId xmlns:a16="http://schemas.microsoft.com/office/drawing/2014/main" id="{E0B821E0-6C8C-8CB6-0B1C-CD955B2A0123}"/>
              </a:ext>
            </a:extLst>
          </p:cNvPr>
          <p:cNvSpPr txBox="1"/>
          <p:nvPr/>
        </p:nvSpPr>
        <p:spPr>
          <a:xfrm>
            <a:off x="8298434" y="6412524"/>
            <a:ext cx="1917288" cy="258532"/>
          </a:xfrm>
          <a:prstGeom prst="rect">
            <a:avLst/>
          </a:prstGeom>
          <a:noFill/>
        </p:spPr>
        <p:txBody>
          <a:bodyPr wrap="square">
            <a:spAutoFit/>
          </a:bodyPr>
          <a:lstStyle/>
          <a:p>
            <a:pPr marL="0" marR="0" lvl="0" indent="0" algn="r" defTabSz="822960" rtl="0" eaLnBrk="1" fontAlgn="auto" latinLnBrk="0" hangingPunct="1">
              <a:lnSpc>
                <a:spcPct val="100000"/>
              </a:lnSpc>
              <a:spcBef>
                <a:spcPts val="0"/>
              </a:spcBef>
              <a:spcAft>
                <a:spcPts val="0"/>
              </a:spcAft>
              <a:buClr>
                <a:srgbClr val="000000"/>
              </a:buClr>
              <a:buSzTx/>
              <a:buFontTx/>
              <a:buNone/>
              <a:tabLst/>
              <a:defRPr/>
            </a:pPr>
            <a:r>
              <a:rPr kumimoji="0" lang="en-US" sz="1080" b="0" i="0" u="none" strike="noStrike" kern="0" cap="none" spc="0" normalizeH="0" baseline="0" noProof="0" dirty="0">
                <a:ln>
                  <a:noFill/>
                </a:ln>
                <a:solidFill>
                  <a:srgbClr val="002557"/>
                </a:solidFill>
                <a:effectLst/>
                <a:uLnTx/>
                <a:uFillTx/>
                <a:latin typeface="Aptos Display" panose="02110004020202020204"/>
                <a:ea typeface="+mn-ea"/>
                <a:cs typeface="Arial"/>
                <a:sym typeface="Arial"/>
              </a:rPr>
              <a:t>Data cutoff: Feb 24, 2025</a:t>
            </a:r>
          </a:p>
        </p:txBody>
      </p:sp>
      <p:pic>
        <p:nvPicPr>
          <p:cNvPr id="4" name="Picture 4" descr="logo U pitt 1[1]">
            <a:extLst>
              <a:ext uri="{FF2B5EF4-FFF2-40B4-BE49-F238E27FC236}">
                <a16:creationId xmlns:a16="http://schemas.microsoft.com/office/drawing/2014/main" id="{35D71C64-7F8C-7E9F-163C-2FF4EAC400A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5">
            <a:extLst>
              <a:ext uri="{FF2B5EF4-FFF2-40B4-BE49-F238E27FC236}">
                <a16:creationId xmlns:a16="http://schemas.microsoft.com/office/drawing/2014/main" id="{9A2F4F56-8FEA-AE2A-ABF6-0E6D53051856}"/>
              </a:ext>
            </a:extLst>
          </p:cNvPr>
          <p:cNvSpPr txBox="1">
            <a:spLocks/>
          </p:cNvSpPr>
          <p:nvPr/>
        </p:nvSpPr>
        <p:spPr>
          <a:xfrm>
            <a:off x="692757" y="6368544"/>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Olawaiye</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A et al. ASCO 2025</a:t>
            </a:r>
          </a:p>
        </p:txBody>
      </p:sp>
    </p:spTree>
    <p:extLst>
      <p:ext uri="{BB962C8B-B14F-4D97-AF65-F5344CB8AC3E}">
        <p14:creationId xmlns:p14="http://schemas.microsoft.com/office/powerpoint/2010/main" val="3471877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A5FBD-638D-D97E-60B7-7AC172CEE686}"/>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6776100-A461-70F3-71D3-7B01BA4E817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135847" y="1587002"/>
            <a:ext cx="9546336" cy="4050191"/>
          </a:xfrm>
          <a:prstGeom prst="rect">
            <a:avLst/>
          </a:prstGeom>
        </p:spPr>
      </p:pic>
      <p:sp>
        <p:nvSpPr>
          <p:cNvPr id="2" name="Title 1">
            <a:extLst>
              <a:ext uri="{FF2B5EF4-FFF2-40B4-BE49-F238E27FC236}">
                <a16:creationId xmlns:a16="http://schemas.microsoft.com/office/drawing/2014/main" id="{ADBA3AAB-7C42-D76A-AB81-89B1E0F1319C}"/>
              </a:ext>
            </a:extLst>
          </p:cNvPr>
          <p:cNvSpPr>
            <a:spLocks noGrp="1"/>
          </p:cNvSpPr>
          <p:nvPr>
            <p:ph type="title" idx="4294967295"/>
          </p:nvPr>
        </p:nvSpPr>
        <p:spPr>
          <a:xfrm>
            <a:off x="1763713" y="677863"/>
            <a:ext cx="10428287" cy="427037"/>
          </a:xfrm>
        </p:spPr>
        <p:txBody>
          <a:bodyPr>
            <a:noAutofit/>
          </a:bodyPr>
          <a:lstStyle/>
          <a:p>
            <a:pPr>
              <a:lnSpc>
                <a:spcPct val="100000"/>
              </a:lnSpc>
            </a:pPr>
            <a:r>
              <a:rPr lang="en-US" sz="2400" dirty="0">
                <a:solidFill>
                  <a:schemeClr val="accent4">
                    <a:lumMod val="50000"/>
                  </a:schemeClr>
                </a:solidFill>
              </a:rPr>
              <a:t>ROSELLA | </a:t>
            </a:r>
            <a:r>
              <a:rPr lang="en-US" sz="2400" dirty="0" err="1">
                <a:solidFill>
                  <a:schemeClr val="accent4">
                    <a:lumMod val="50000"/>
                  </a:schemeClr>
                </a:solidFill>
              </a:rPr>
              <a:t>Relacorilant</a:t>
            </a:r>
            <a:r>
              <a:rPr lang="en-US" sz="2400" dirty="0">
                <a:solidFill>
                  <a:schemeClr val="accent4">
                    <a:lumMod val="50000"/>
                  </a:schemeClr>
                </a:solidFill>
              </a:rPr>
              <a:t> Significantly Improved Overall Survival </a:t>
            </a:r>
            <a:br>
              <a:rPr lang="en-US" sz="2400" dirty="0">
                <a:solidFill>
                  <a:schemeClr val="accent4">
                    <a:lumMod val="50000"/>
                  </a:schemeClr>
                </a:solidFill>
              </a:rPr>
            </a:br>
            <a:r>
              <a:rPr lang="en-US" sz="2400" dirty="0">
                <a:solidFill>
                  <a:schemeClr val="accent4">
                    <a:lumMod val="50000"/>
                  </a:schemeClr>
                </a:solidFill>
              </a:rPr>
              <a:t>at the Final Analysis</a:t>
            </a:r>
          </a:p>
        </p:txBody>
      </p:sp>
      <p:sp>
        <p:nvSpPr>
          <p:cNvPr id="9" name="Text Placeholder 4">
            <a:extLst>
              <a:ext uri="{FF2B5EF4-FFF2-40B4-BE49-F238E27FC236}">
                <a16:creationId xmlns:a16="http://schemas.microsoft.com/office/drawing/2014/main" id="{ABC67EAF-BB9B-E12A-9318-14AA35567BA7}"/>
              </a:ext>
            </a:extLst>
          </p:cNvPr>
          <p:cNvSpPr txBox="1">
            <a:spLocks/>
          </p:cNvSpPr>
          <p:nvPr/>
        </p:nvSpPr>
        <p:spPr>
          <a:xfrm>
            <a:off x="1021081" y="5609845"/>
            <a:ext cx="8686800" cy="357470"/>
          </a:xfrm>
          <a:prstGeom prst="rect">
            <a:avLst/>
          </a:prstGeom>
        </p:spPr>
        <p:txBody>
          <a:bodyPr vert="horz" lIns="82296" tIns="41148" rIns="82296" bIns="41148"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base" latinLnBrk="0" hangingPunct="1">
              <a:lnSpc>
                <a:spcPct val="75000"/>
              </a:lnSpc>
              <a:spcBef>
                <a:spcPts val="0"/>
              </a:spcBef>
              <a:spcAft>
                <a:spcPts val="270"/>
              </a:spcAft>
              <a:buClrTx/>
              <a:buSzPct val="120000"/>
              <a:buFont typeface="Arial" panose="020B0604020202020204" pitchFamily="34" charset="0"/>
              <a:buNone/>
              <a:tabLst/>
              <a:defRPr/>
            </a:pPr>
            <a:r>
              <a:rPr kumimoji="0" lang="en-US" sz="720" b="0" i="0" u="none" strike="noStrike" kern="0" cap="none" spc="0" normalizeH="0" baseline="0" noProof="0">
                <a:ln>
                  <a:noFill/>
                </a:ln>
                <a:solidFill>
                  <a:srgbClr val="002557"/>
                </a:solidFill>
                <a:effectLst/>
                <a:uLnTx/>
                <a:uFillTx/>
                <a:latin typeface="Arial"/>
                <a:ea typeface="Lato"/>
                <a:cs typeface="Arial"/>
                <a:sym typeface="Lato"/>
              </a:rPr>
              <a:t>Median follow-up time: 24.8 months; statistical significance threshold at the final analysis: P≤0.0499. The Kaplan–Meier method was used to estimate the curves, median estimates and the 95% CIs for OS in each treatment arm. The HR and the associated 95% CI were estimated using a Cox regression model with treatment group as the main effect and stratification factors at randomization as covariates. </a:t>
            </a:r>
            <a:br>
              <a:rPr kumimoji="0" lang="en-US" sz="720" b="0" i="0" u="none" strike="noStrike" kern="0" cap="none" spc="0" normalizeH="0" baseline="0" noProof="0">
                <a:ln>
                  <a:noFill/>
                </a:ln>
                <a:solidFill>
                  <a:srgbClr val="888888"/>
                </a:solidFill>
                <a:effectLst/>
                <a:uLnTx/>
                <a:uFillTx/>
                <a:latin typeface="Arial" panose="020B0604020202020204" pitchFamily="34" charset="0"/>
                <a:ea typeface="Lato"/>
                <a:cs typeface="Arial" panose="020B0604020202020204" pitchFamily="34" charset="0"/>
                <a:sym typeface="Lato"/>
              </a:rPr>
            </a:br>
            <a:r>
              <a:rPr kumimoji="0" lang="en-US" sz="720" b="0" i="0" u="none" strike="noStrike" kern="0" cap="none" spc="0" normalizeH="0" baseline="0" noProof="0">
                <a:ln>
                  <a:noFill/>
                </a:ln>
                <a:solidFill>
                  <a:srgbClr val="002557"/>
                </a:solidFill>
                <a:effectLst/>
                <a:uLnTx/>
                <a:uFillTx/>
                <a:latin typeface="Arial"/>
                <a:ea typeface="Lato"/>
                <a:cs typeface="Arial"/>
                <a:sym typeface="Lato"/>
              </a:rPr>
              <a:t>CI, confidence interval; HR, hazard ratio; m, months; OS, overall survival.</a:t>
            </a:r>
          </a:p>
        </p:txBody>
      </p:sp>
      <p:graphicFrame>
        <p:nvGraphicFramePr>
          <p:cNvPr id="7" name="Table 6">
            <a:extLst>
              <a:ext uri="{FF2B5EF4-FFF2-40B4-BE49-F238E27FC236}">
                <a16:creationId xmlns:a16="http://schemas.microsoft.com/office/drawing/2014/main" id="{5AE8F001-A11B-8141-685B-939EAD1DA1DA}"/>
              </a:ext>
            </a:extLst>
          </p:cNvPr>
          <p:cNvGraphicFramePr>
            <a:graphicFrameLocks noGrp="1"/>
          </p:cNvGraphicFramePr>
          <p:nvPr/>
        </p:nvGraphicFramePr>
        <p:xfrm>
          <a:off x="7670736" y="1302455"/>
          <a:ext cx="3639593" cy="1686548"/>
        </p:xfrm>
        <a:graphic>
          <a:graphicData uri="http://schemas.openxmlformats.org/drawingml/2006/table">
            <a:tbl>
              <a:tblPr firstRow="1" bandRow="1">
                <a:tableStyleId>{5940675A-B579-460E-94D1-54222C63F5DA}</a:tableStyleId>
              </a:tblPr>
              <a:tblGrid>
                <a:gridCol w="1070903">
                  <a:extLst>
                    <a:ext uri="{9D8B030D-6E8A-4147-A177-3AD203B41FA5}">
                      <a16:colId xmlns:a16="http://schemas.microsoft.com/office/drawing/2014/main" val="2706910499"/>
                    </a:ext>
                  </a:extLst>
                </a:gridCol>
                <a:gridCol w="1343324">
                  <a:extLst>
                    <a:ext uri="{9D8B030D-6E8A-4147-A177-3AD203B41FA5}">
                      <a16:colId xmlns:a16="http://schemas.microsoft.com/office/drawing/2014/main" val="3340891562"/>
                    </a:ext>
                  </a:extLst>
                </a:gridCol>
                <a:gridCol w="1225366">
                  <a:extLst>
                    <a:ext uri="{9D8B030D-6E8A-4147-A177-3AD203B41FA5}">
                      <a16:colId xmlns:a16="http://schemas.microsoft.com/office/drawing/2014/main" val="1986841803"/>
                    </a:ext>
                  </a:extLst>
                </a:gridCol>
              </a:tblGrid>
              <a:tr h="555648">
                <a:tc>
                  <a:txBody>
                    <a:bodyPr/>
                    <a:lstStyle/>
                    <a:p>
                      <a:pPr algn="ctr"/>
                      <a:endParaRPr lang="en-US" sz="1100">
                        <a:latin typeface="Arial" panose="020B0604020202020204" pitchFamily="34" charset="0"/>
                        <a:cs typeface="Arial" panose="020B0604020202020204" pitchFamily="34" charset="0"/>
                      </a:endParaRPr>
                    </a:p>
                  </a:txBody>
                  <a:tcPr marL="41148" marR="41148" marT="24689" marB="24689"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a:solidFill>
                            <a:schemeClr val="bg1"/>
                          </a:solidFill>
                          <a:latin typeface="Arial" panose="020B0604020202020204" pitchFamily="34" charset="0"/>
                          <a:cs typeface="Arial" panose="020B0604020202020204" pitchFamily="34" charset="0"/>
                        </a:rPr>
                        <a:t>Relacorilant +</a:t>
                      </a:r>
                      <a:br>
                        <a:rPr lang="en-US" sz="1100" b="1">
                          <a:solidFill>
                            <a:schemeClr val="bg1"/>
                          </a:solidFill>
                          <a:latin typeface="Arial" panose="020B0604020202020204" pitchFamily="34" charset="0"/>
                          <a:cs typeface="Arial" panose="020B0604020202020204" pitchFamily="34" charset="0"/>
                        </a:rPr>
                      </a:br>
                      <a:r>
                        <a:rPr lang="en-US" sz="1100" b="1">
                          <a:solidFill>
                            <a:schemeClr val="bg1"/>
                          </a:solidFill>
                          <a:latin typeface="Arial" panose="020B0604020202020204" pitchFamily="34" charset="0"/>
                          <a:cs typeface="Arial" panose="020B0604020202020204" pitchFamily="34" charset="0"/>
                        </a:rPr>
                        <a:t>Nab-paclitaxel</a:t>
                      </a:r>
                      <a:br>
                        <a:rPr lang="en-US" sz="1100" b="1">
                          <a:solidFill>
                            <a:schemeClr val="bg1"/>
                          </a:solidFill>
                          <a:latin typeface="Arial" panose="020B0604020202020204" pitchFamily="34" charset="0"/>
                          <a:cs typeface="Arial" panose="020B0604020202020204" pitchFamily="34" charset="0"/>
                        </a:rPr>
                      </a:br>
                      <a:r>
                        <a:rPr lang="en-US" sz="1100" b="0">
                          <a:solidFill>
                            <a:schemeClr val="bg1"/>
                          </a:solidFill>
                          <a:latin typeface="Arial" panose="020B0604020202020204" pitchFamily="34" charset="0"/>
                          <a:cs typeface="Arial" panose="020B0604020202020204" pitchFamily="34" charset="0"/>
                        </a:rPr>
                        <a:t>N=188</a:t>
                      </a:r>
                    </a:p>
                  </a:txBody>
                  <a:tcPr marL="41148" marR="41148" marT="24689" marB="24689"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6168"/>
                    </a:solidFill>
                  </a:tcPr>
                </a:tc>
                <a:tc>
                  <a:txBody>
                    <a:bodyPr/>
                    <a:lstStyle/>
                    <a:p>
                      <a:pPr algn="ctr"/>
                      <a:r>
                        <a:rPr lang="en-US" sz="1100" b="1">
                          <a:solidFill>
                            <a:schemeClr val="bg1"/>
                          </a:solidFill>
                          <a:latin typeface="Arial" panose="020B0604020202020204" pitchFamily="34" charset="0"/>
                          <a:cs typeface="Arial" panose="020B0604020202020204" pitchFamily="34" charset="0"/>
                        </a:rPr>
                        <a:t>Nab-paclitaxel</a:t>
                      </a:r>
                    </a:p>
                    <a:p>
                      <a:pPr algn="ctr"/>
                      <a:r>
                        <a:rPr lang="en-US" sz="1100">
                          <a:solidFill>
                            <a:schemeClr val="bg1"/>
                          </a:solidFill>
                          <a:latin typeface="Arial" panose="020B0604020202020204" pitchFamily="34" charset="0"/>
                          <a:cs typeface="Arial" panose="020B0604020202020204" pitchFamily="34" charset="0"/>
                        </a:rPr>
                        <a:t>N=193</a:t>
                      </a:r>
                    </a:p>
                  </a:txBody>
                  <a:tcPr marL="41148" marR="41148" marT="24689" marB="24689"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3177"/>
                    </a:solidFill>
                  </a:tcPr>
                </a:tc>
                <a:extLst>
                  <a:ext uri="{0D108BD9-81ED-4DB2-BD59-A6C34878D82A}">
                    <a16:rowId xmlns:a16="http://schemas.microsoft.com/office/drawing/2014/main" val="3457531373"/>
                  </a:ext>
                </a:extLst>
              </a:tr>
              <a:tr h="218892">
                <a:tc>
                  <a:txBody>
                    <a:bodyPr/>
                    <a:lstStyle/>
                    <a:p>
                      <a:pPr marL="55563" indent="0" algn="l"/>
                      <a:r>
                        <a:rPr lang="en-US" sz="1100" b="1">
                          <a:solidFill>
                            <a:srgbClr val="002557"/>
                          </a:solidFill>
                          <a:latin typeface="Arial" panose="020B0604020202020204" pitchFamily="34" charset="0"/>
                          <a:cs typeface="Arial" panose="020B0604020202020204" pitchFamily="34" charset="0"/>
                        </a:rPr>
                        <a:t>Events</a:t>
                      </a:r>
                      <a:r>
                        <a:rPr lang="en-US" sz="1100">
                          <a:solidFill>
                            <a:srgbClr val="002557"/>
                          </a:solidFill>
                          <a:latin typeface="Arial" panose="020B0604020202020204" pitchFamily="34" charset="0"/>
                          <a:cs typeface="Arial" panose="020B0604020202020204" pitchFamily="34" charset="0"/>
                        </a:rPr>
                        <a:t>, n (%)</a:t>
                      </a:r>
                    </a:p>
                  </a:txBody>
                  <a:tcPr marL="41148" marR="41148" marT="24689" marB="24689"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solidFill>
                            <a:srgbClr val="156168"/>
                          </a:solidFill>
                          <a:latin typeface="Arial" panose="020B0604020202020204" pitchFamily="34" charset="0"/>
                          <a:cs typeface="Arial" panose="020B0604020202020204" pitchFamily="34" charset="0"/>
                        </a:rPr>
                        <a:t>129 (69%)</a:t>
                      </a:r>
                    </a:p>
                  </a:txBody>
                  <a:tcPr marL="41148" marR="41148" marT="24689" marB="24689"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8C3177"/>
                          </a:solidFill>
                          <a:latin typeface="Arial" panose="020B0604020202020204" pitchFamily="34" charset="0"/>
                          <a:cs typeface="Arial" panose="020B0604020202020204" pitchFamily="34" charset="0"/>
                        </a:rPr>
                        <a:t>159 (82%)</a:t>
                      </a:r>
                    </a:p>
                  </a:txBody>
                  <a:tcPr marL="41148" marR="41148" marT="24689" marB="24689"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7222284"/>
                  </a:ext>
                </a:extLst>
              </a:tr>
              <a:tr h="378562">
                <a:tc>
                  <a:txBody>
                    <a:bodyPr/>
                    <a:lstStyle/>
                    <a:p>
                      <a:pPr marL="55563" indent="0" algn="l"/>
                      <a:r>
                        <a:rPr lang="en-US" sz="1100" b="1">
                          <a:solidFill>
                            <a:srgbClr val="002557"/>
                          </a:solidFill>
                          <a:latin typeface="Arial" panose="020B0604020202020204" pitchFamily="34" charset="0"/>
                          <a:cs typeface="Arial" panose="020B0604020202020204" pitchFamily="34" charset="0"/>
                        </a:rPr>
                        <a:t>Median OS</a:t>
                      </a:r>
                      <a:r>
                        <a:rPr lang="en-US" sz="1100">
                          <a:solidFill>
                            <a:srgbClr val="002557"/>
                          </a:solidFill>
                          <a:latin typeface="Arial" panose="020B0604020202020204" pitchFamily="34" charset="0"/>
                          <a:cs typeface="Arial" panose="020B0604020202020204" pitchFamily="34" charset="0"/>
                        </a:rPr>
                        <a:t>, m (95% CI)</a:t>
                      </a:r>
                    </a:p>
                  </a:txBody>
                  <a:tcPr marL="41148" marR="41148" marT="24689" marB="24689"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b="1">
                          <a:solidFill>
                            <a:srgbClr val="156168"/>
                          </a:solidFill>
                          <a:latin typeface="Arial" panose="020B0604020202020204" pitchFamily="34" charset="0"/>
                          <a:cs typeface="Arial" panose="020B0604020202020204" pitchFamily="34" charset="0"/>
                        </a:rPr>
                        <a:t>16.0</a:t>
                      </a:r>
                      <a:r>
                        <a:rPr lang="en-US" sz="1100">
                          <a:solidFill>
                            <a:srgbClr val="156168"/>
                          </a:solidFill>
                          <a:latin typeface="Arial" panose="020B0604020202020204" pitchFamily="34" charset="0"/>
                          <a:cs typeface="Arial" panose="020B0604020202020204" pitchFamily="34" charset="0"/>
                        </a:rPr>
                        <a:t> (13.0–18.3)</a:t>
                      </a:r>
                    </a:p>
                  </a:txBody>
                  <a:tcPr marL="41148" marR="41148" marT="24689" marB="24689"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100" b="1">
                          <a:solidFill>
                            <a:srgbClr val="8C3177"/>
                          </a:solidFill>
                          <a:latin typeface="Arial" panose="020B0604020202020204" pitchFamily="34" charset="0"/>
                          <a:cs typeface="Arial" panose="020B0604020202020204" pitchFamily="34" charset="0"/>
                        </a:rPr>
                        <a:t>11.9</a:t>
                      </a:r>
                      <a:r>
                        <a:rPr lang="en-US" sz="1100">
                          <a:solidFill>
                            <a:srgbClr val="8C3177"/>
                          </a:solidFill>
                          <a:latin typeface="Arial" panose="020B0604020202020204" pitchFamily="34" charset="0"/>
                          <a:cs typeface="Arial" panose="020B0604020202020204" pitchFamily="34" charset="0"/>
                        </a:rPr>
                        <a:t> (10.0–13.8)</a:t>
                      </a:r>
                    </a:p>
                  </a:txBody>
                  <a:tcPr marL="41148" marR="41148" marT="24689" marB="24689"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5226786"/>
                  </a:ext>
                </a:extLst>
              </a:tr>
              <a:tr h="305410">
                <a:tc>
                  <a:txBody>
                    <a:bodyPr/>
                    <a:lstStyle/>
                    <a:p>
                      <a:pPr marL="55563" indent="0" algn="l"/>
                      <a:r>
                        <a:rPr lang="en-US" sz="1100" b="1">
                          <a:solidFill>
                            <a:srgbClr val="002557"/>
                          </a:solidFill>
                          <a:latin typeface="Arial" panose="020B0604020202020204" pitchFamily="34" charset="0"/>
                          <a:cs typeface="Arial" panose="020B0604020202020204" pitchFamily="34" charset="0"/>
                        </a:rPr>
                        <a:t>HR </a:t>
                      </a:r>
                      <a:r>
                        <a:rPr lang="en-US" sz="1100">
                          <a:solidFill>
                            <a:srgbClr val="002557"/>
                          </a:solidFill>
                          <a:latin typeface="Arial" panose="020B0604020202020204" pitchFamily="34" charset="0"/>
                          <a:cs typeface="Arial" panose="020B0604020202020204" pitchFamily="34" charset="0"/>
                        </a:rPr>
                        <a:t>(95% CI)</a:t>
                      </a:r>
                    </a:p>
                  </a:txBody>
                  <a:tcPr marL="41148" marR="41148" marT="24689" marB="24689"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700" b="1">
                          <a:solidFill>
                            <a:srgbClr val="156168"/>
                          </a:solidFill>
                          <a:latin typeface="Arial" panose="020B0604020202020204" pitchFamily="34" charset="0"/>
                          <a:cs typeface="Arial" panose="020B0604020202020204" pitchFamily="34" charset="0"/>
                        </a:rPr>
                        <a:t>0.65</a:t>
                      </a:r>
                      <a:r>
                        <a:rPr lang="en-US" sz="1400">
                          <a:solidFill>
                            <a:srgbClr val="156168"/>
                          </a:solidFill>
                          <a:latin typeface="Arial" panose="020B0604020202020204" pitchFamily="34" charset="0"/>
                          <a:cs typeface="Arial" panose="020B0604020202020204" pitchFamily="34" charset="0"/>
                        </a:rPr>
                        <a:t> </a:t>
                      </a:r>
                      <a:r>
                        <a:rPr lang="en-US" sz="1100">
                          <a:solidFill>
                            <a:srgbClr val="156168"/>
                          </a:solidFill>
                          <a:latin typeface="Arial" panose="020B0604020202020204" pitchFamily="34" charset="0"/>
                          <a:cs typeface="Arial" panose="020B0604020202020204" pitchFamily="34" charset="0"/>
                        </a:rPr>
                        <a:t>(0.51–0.83)</a:t>
                      </a:r>
                    </a:p>
                  </a:txBody>
                  <a:tcPr marL="41148" marR="41148" marT="24689" marB="24689"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a:solidFill>
                          <a:srgbClr val="8C3177"/>
                        </a:solidFil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1926542"/>
                  </a:ext>
                </a:extLst>
              </a:tr>
              <a:tr h="218892">
                <a:tc>
                  <a:txBody>
                    <a:bodyPr/>
                    <a:lstStyle/>
                    <a:p>
                      <a:pPr marL="55563"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rgbClr val="002557"/>
                          </a:solidFill>
                          <a:latin typeface="Arial" panose="020B0604020202020204" pitchFamily="34" charset="0"/>
                          <a:cs typeface="Arial" panose="020B0604020202020204" pitchFamily="34" charset="0"/>
                        </a:rPr>
                        <a:t>P-value </a:t>
                      </a:r>
                      <a:endParaRPr lang="en-US" sz="1100">
                        <a:solidFill>
                          <a:srgbClr val="002557"/>
                        </a:solidFill>
                        <a:latin typeface="Arial" panose="020B0604020202020204" pitchFamily="34" charset="0"/>
                        <a:cs typeface="Arial" panose="020B0604020202020204" pitchFamily="34" charset="0"/>
                      </a:endParaRPr>
                    </a:p>
                  </a:txBody>
                  <a:tcPr marL="41148" marR="41148" marT="24689" marB="24689"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002557"/>
                          </a:solidFill>
                          <a:latin typeface="Arial" panose="020B0604020202020204" pitchFamily="34" charset="0"/>
                          <a:cs typeface="Arial" panose="020B0604020202020204" pitchFamily="34" charset="0"/>
                        </a:rPr>
                        <a:t>0.0004</a:t>
                      </a:r>
                    </a:p>
                  </a:txBody>
                  <a:tcPr marL="41148" marR="41148" marT="24689" marB="24689"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099330247"/>
                  </a:ext>
                </a:extLst>
              </a:tr>
            </a:tbl>
          </a:graphicData>
        </a:graphic>
      </p:graphicFrame>
      <p:sp>
        <p:nvSpPr>
          <p:cNvPr id="16" name="Text Placeholder 6">
            <a:extLst>
              <a:ext uri="{FF2B5EF4-FFF2-40B4-BE49-F238E27FC236}">
                <a16:creationId xmlns:a16="http://schemas.microsoft.com/office/drawing/2014/main" id="{CDDB7B5E-DACC-7D6C-FA53-F8113AA22524}"/>
              </a:ext>
            </a:extLst>
          </p:cNvPr>
          <p:cNvSpPr txBox="1">
            <a:spLocks/>
          </p:cNvSpPr>
          <p:nvPr/>
        </p:nvSpPr>
        <p:spPr>
          <a:xfrm>
            <a:off x="881321" y="6186488"/>
            <a:ext cx="3511296" cy="1688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84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esented By: Alexander B. </a:t>
            </a:r>
            <a:r>
              <a:rPr kumimoji="0" lang="en-US" sz="84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Olawaiye</a:t>
            </a:r>
            <a:r>
              <a:rPr kumimoji="0" lang="en-US" sz="84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MD</a:t>
            </a:r>
          </a:p>
        </p:txBody>
      </p:sp>
      <p:sp>
        <p:nvSpPr>
          <p:cNvPr id="19" name="TextBox 18">
            <a:extLst>
              <a:ext uri="{FF2B5EF4-FFF2-40B4-BE49-F238E27FC236}">
                <a16:creationId xmlns:a16="http://schemas.microsoft.com/office/drawing/2014/main" id="{234B2FA4-273D-E0DF-A4A3-A1053F924830}"/>
              </a:ext>
            </a:extLst>
          </p:cNvPr>
          <p:cNvSpPr txBox="1"/>
          <p:nvPr/>
        </p:nvSpPr>
        <p:spPr>
          <a:xfrm>
            <a:off x="8531888" y="6443245"/>
            <a:ext cx="1917288" cy="240066"/>
          </a:xfrm>
          <a:prstGeom prst="rect">
            <a:avLst/>
          </a:prstGeom>
          <a:noFill/>
        </p:spPr>
        <p:txBody>
          <a:bodyPr wrap="square">
            <a:spAutoFit/>
          </a:bodyPr>
          <a:lstStyle/>
          <a:p>
            <a:pPr marL="0" marR="0" lvl="0" indent="0" algn="r" defTabSz="822960" rtl="0" eaLnBrk="0" fontAlgn="base" latinLnBrk="0" hangingPunct="0">
              <a:lnSpc>
                <a:spcPct val="100000"/>
              </a:lnSpc>
              <a:spcBef>
                <a:spcPct val="0"/>
              </a:spcBef>
              <a:spcAft>
                <a:spcPct val="0"/>
              </a:spcAft>
              <a:buClr>
                <a:srgbClr val="000000"/>
              </a:buClr>
              <a:buSzTx/>
              <a:buFontTx/>
              <a:buNone/>
              <a:tabLst/>
              <a:defRPr/>
            </a:pPr>
            <a:r>
              <a:rPr kumimoji="0" lang="en-US" sz="960" b="0" i="0" u="none" strike="noStrike" kern="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sym typeface="Arial"/>
              </a:rPr>
              <a:t>Data cutoff: Jan 8, 2026</a:t>
            </a:r>
          </a:p>
        </p:txBody>
      </p:sp>
      <p:sp>
        <p:nvSpPr>
          <p:cNvPr id="3" name="TextBox 2">
            <a:extLst>
              <a:ext uri="{FF2B5EF4-FFF2-40B4-BE49-F238E27FC236}">
                <a16:creationId xmlns:a16="http://schemas.microsoft.com/office/drawing/2014/main" id="{5699ADB1-9432-BA81-AB9A-910B6EBD4C3F}"/>
              </a:ext>
            </a:extLst>
          </p:cNvPr>
          <p:cNvSpPr txBox="1"/>
          <p:nvPr/>
        </p:nvSpPr>
        <p:spPr>
          <a:xfrm>
            <a:off x="10658849" y="3129065"/>
            <a:ext cx="771365" cy="2215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40" b="0" i="0" u="none" strike="noStrike" kern="1200" cap="none" spc="0" normalizeH="0" baseline="0" noProof="0">
                <a:ln>
                  <a:noFill/>
                </a:ln>
                <a:solidFill>
                  <a:srgbClr val="002060"/>
                </a:solidFill>
                <a:effectLst/>
                <a:uLnTx/>
                <a:uFillTx/>
                <a:latin typeface="Calibri" panose="020F0502020204030204" pitchFamily="34" charset="0"/>
                <a:ea typeface="+mn-ea"/>
                <a:cs typeface="+mn-cs"/>
              </a:rPr>
              <a:t>76% maturity</a:t>
            </a:r>
          </a:p>
        </p:txBody>
      </p:sp>
      <p:sp>
        <p:nvSpPr>
          <p:cNvPr id="4" name="Rectangle 3">
            <a:extLst>
              <a:ext uri="{FF2B5EF4-FFF2-40B4-BE49-F238E27FC236}">
                <a16:creationId xmlns:a16="http://schemas.microsoft.com/office/drawing/2014/main" id="{A34C9D3C-519D-3A00-FAE3-9C739D5E7809}"/>
              </a:ext>
            </a:extLst>
          </p:cNvPr>
          <p:cNvSpPr/>
          <p:nvPr/>
        </p:nvSpPr>
        <p:spPr>
          <a:xfrm>
            <a:off x="7590323" y="3057224"/>
            <a:ext cx="3068527" cy="18466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TextBox 17">
            <a:extLst>
              <a:ext uri="{FF2B5EF4-FFF2-40B4-BE49-F238E27FC236}">
                <a16:creationId xmlns:a16="http://schemas.microsoft.com/office/drawing/2014/main" id="{A831B6B6-A690-6289-40F7-0AC8EF2C0605}"/>
              </a:ext>
            </a:extLst>
          </p:cNvPr>
          <p:cNvSpPr txBox="1"/>
          <p:nvPr/>
        </p:nvSpPr>
        <p:spPr>
          <a:xfrm>
            <a:off x="9681935" y="2985681"/>
            <a:ext cx="1767594" cy="350865"/>
          </a:xfrm>
          <a:prstGeom prst="rect">
            <a:avLst/>
          </a:prstGeom>
          <a:noFill/>
        </p:spPr>
        <p:txBody>
          <a:bodyPr wrap="square">
            <a:spAutoFit/>
          </a:bodyPr>
          <a:lstStyle/>
          <a:p>
            <a:pPr marL="0" marR="0" lvl="0" indent="0" algn="l" defTabSz="548640" rtl="0" eaLnBrk="1" fontAlgn="auto" latinLnBrk="0" hangingPunct="1">
              <a:lnSpc>
                <a:spcPct val="100000"/>
              </a:lnSpc>
              <a:spcBef>
                <a:spcPts val="0"/>
              </a:spcBef>
              <a:spcAft>
                <a:spcPts val="0"/>
              </a:spcAft>
              <a:buClrTx/>
              <a:buSzTx/>
              <a:buFontTx/>
              <a:buNone/>
              <a:tabLst/>
              <a:defRPr/>
            </a:pPr>
            <a:r>
              <a:rPr kumimoji="0" lang="en-US" sz="840" b="1"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2-sided stratified log-rank test)</a:t>
            </a:r>
          </a:p>
        </p:txBody>
      </p:sp>
      <p:pic>
        <p:nvPicPr>
          <p:cNvPr id="8" name="Picture 4" descr="logo U pitt 1[1]">
            <a:extLst>
              <a:ext uri="{FF2B5EF4-FFF2-40B4-BE49-F238E27FC236}">
                <a16:creationId xmlns:a16="http://schemas.microsoft.com/office/drawing/2014/main" id="{DAD8E261-DC24-3B81-405F-568A2F6994E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a:extLst>
              <a:ext uri="{FF2B5EF4-FFF2-40B4-BE49-F238E27FC236}">
                <a16:creationId xmlns:a16="http://schemas.microsoft.com/office/drawing/2014/main" id="{C61F67EA-BBE4-E47E-1809-58A15FCF8BAE}"/>
              </a:ext>
            </a:extLst>
          </p:cNvPr>
          <p:cNvSpPr txBox="1">
            <a:spLocks/>
          </p:cNvSpPr>
          <p:nvPr/>
        </p:nvSpPr>
        <p:spPr>
          <a:xfrm>
            <a:off x="692757" y="6368544"/>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Olawaiye</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A et al. SGO 2026</a:t>
            </a:r>
          </a:p>
        </p:txBody>
      </p:sp>
    </p:spTree>
    <p:extLst>
      <p:ext uri="{BB962C8B-B14F-4D97-AF65-F5344CB8AC3E}">
        <p14:creationId xmlns:p14="http://schemas.microsoft.com/office/powerpoint/2010/main" val="10600763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8A394-668E-8DBD-C9F7-662EB93ED88F}"/>
            </a:ext>
          </a:extLst>
        </p:cNvPr>
        <p:cNvGrpSpPr/>
        <p:nvPr/>
      </p:nvGrpSpPr>
      <p:grpSpPr>
        <a:xfrm>
          <a:off x="0" y="0"/>
          <a:ext cx="0" cy="0"/>
          <a:chOff x="0" y="0"/>
          <a:chExt cx="0" cy="0"/>
        </a:xfrm>
      </p:grpSpPr>
      <p:pic>
        <p:nvPicPr>
          <p:cNvPr id="2" name="Picture 4" descr="logo U pitt 1[1]">
            <a:extLst>
              <a:ext uri="{FF2B5EF4-FFF2-40B4-BE49-F238E27FC236}">
                <a16:creationId xmlns:a16="http://schemas.microsoft.com/office/drawing/2014/main" id="{9759B980-79AB-FF62-218D-F39934825B0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F8F44D45-427C-93A2-5F32-72CF701CD1F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l="1127" t="1568" r="1188" b="1562"/>
          <a:stretch>
            <a:fillRect/>
          </a:stretch>
        </p:blipFill>
        <p:spPr>
          <a:xfrm>
            <a:off x="154236" y="209321"/>
            <a:ext cx="10423880" cy="5772838"/>
          </a:xfrm>
          <a:prstGeom prst="rect">
            <a:avLst/>
          </a:prstGeom>
        </p:spPr>
      </p:pic>
      <p:sp>
        <p:nvSpPr>
          <p:cNvPr id="4" name="Text Placeholder 5">
            <a:extLst>
              <a:ext uri="{FF2B5EF4-FFF2-40B4-BE49-F238E27FC236}">
                <a16:creationId xmlns:a16="http://schemas.microsoft.com/office/drawing/2014/main" id="{35265134-8F61-05B3-78ED-813740D166A3}"/>
              </a:ext>
            </a:extLst>
          </p:cNvPr>
          <p:cNvSpPr txBox="1">
            <a:spLocks/>
          </p:cNvSpPr>
          <p:nvPr/>
        </p:nvSpPr>
        <p:spPr>
          <a:xfrm>
            <a:off x="692757" y="6368544"/>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Olawaiye</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A et al. SGO 2026</a:t>
            </a:r>
          </a:p>
        </p:txBody>
      </p:sp>
    </p:spTree>
    <p:extLst>
      <p:ext uri="{BB962C8B-B14F-4D97-AF65-F5344CB8AC3E}">
        <p14:creationId xmlns:p14="http://schemas.microsoft.com/office/powerpoint/2010/main" val="25198834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AF35C-F452-CB57-B3BD-88BD77FD0BB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4F89C88-B303-BBE6-CB4C-8F4EDE52392D}"/>
              </a:ext>
            </a:extLst>
          </p:cNvPr>
          <p:cNvSpPr>
            <a:spLocks noGrp="1"/>
          </p:cNvSpPr>
          <p:nvPr>
            <p:ph type="title" idx="4294967295"/>
          </p:nvPr>
        </p:nvSpPr>
        <p:spPr>
          <a:xfrm>
            <a:off x="1812925" y="247767"/>
            <a:ext cx="10379075" cy="481012"/>
          </a:xfrm>
        </p:spPr>
        <p:txBody>
          <a:bodyPr>
            <a:normAutofit fontScale="90000"/>
          </a:bodyPr>
          <a:lstStyle/>
          <a:p>
            <a:r>
              <a:rPr lang="en-US" b="1" dirty="0">
                <a:solidFill>
                  <a:schemeClr val="accent4">
                    <a:lumMod val="50000"/>
                  </a:schemeClr>
                </a:solidFill>
                <a:ea typeface="Lato" panose="020F0502020204030203" pitchFamily="34" charset="0"/>
              </a:rPr>
              <a:t>ROSELLA </a:t>
            </a:r>
            <a:r>
              <a:rPr lang="en-US" spc="-72" dirty="0">
                <a:solidFill>
                  <a:schemeClr val="accent4">
                    <a:lumMod val="50000"/>
                  </a:schemeClr>
                </a:solidFill>
                <a:ea typeface="Lato" panose="020F0502020204030203" pitchFamily="34" charset="0"/>
              </a:rPr>
              <a:t>| Common (&gt;20%) Adverse Events</a:t>
            </a:r>
          </a:p>
        </p:txBody>
      </p:sp>
      <p:sp>
        <p:nvSpPr>
          <p:cNvPr id="10" name="Text Placeholder 4">
            <a:extLst>
              <a:ext uri="{FF2B5EF4-FFF2-40B4-BE49-F238E27FC236}">
                <a16:creationId xmlns:a16="http://schemas.microsoft.com/office/drawing/2014/main" id="{8ECBA2F0-7DED-9578-CC1F-19F3BDA839C3}"/>
              </a:ext>
            </a:extLst>
          </p:cNvPr>
          <p:cNvSpPr txBox="1">
            <a:spLocks/>
          </p:cNvSpPr>
          <p:nvPr/>
        </p:nvSpPr>
        <p:spPr>
          <a:xfrm>
            <a:off x="931886" y="6323012"/>
            <a:ext cx="8675410" cy="389990"/>
          </a:xfrm>
          <a:prstGeom prst="rect">
            <a:avLst/>
          </a:prstGeom>
        </p:spPr>
        <p:txBody>
          <a:bodyPr vert="horz" lIns="82296" tIns="41148" rIns="82296" bIns="41148"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822960" rtl="0" eaLnBrk="1" fontAlgn="base" latinLnBrk="0" hangingPunct="1">
              <a:lnSpc>
                <a:spcPct val="80000"/>
              </a:lnSpc>
              <a:spcBef>
                <a:spcPts val="0"/>
              </a:spcBef>
              <a:spcAft>
                <a:spcPts val="0"/>
              </a:spcAft>
              <a:buClrTx/>
              <a:buSzPct val="120000"/>
              <a:buFont typeface="Arial" panose="020B0604020202020204" pitchFamily="34" charset="0"/>
              <a:buNone/>
              <a:tabLst/>
              <a:defRPr/>
            </a:pPr>
            <a:r>
              <a:rPr kumimoji="0" lang="en-US" sz="720" b="0" i="0" u="none" strike="noStrike" kern="0" cap="none" spc="0" normalizeH="0" baseline="0" noProof="0">
                <a:ln>
                  <a:noFill/>
                </a:ln>
                <a:solidFill>
                  <a:srgbClr val="002060"/>
                </a:solidFill>
                <a:effectLst/>
                <a:uLnTx/>
                <a:uFillTx/>
                <a:latin typeface="Arial" panose="020B0604020202020204" pitchFamily="34" charset="0"/>
                <a:ea typeface="Lato"/>
                <a:cs typeface="Arial" panose="020B0604020202020204" pitchFamily="34" charset="0"/>
                <a:sym typeface="Lato"/>
              </a:rPr>
              <a:t>Treatment-emergent adverse events that occurred in &gt;20% of patients. Assessed in the safety population of patients who received at least one dose of study drug, N=378. Combined terms are presented for neutropenia (neutropenia, reduced neutrophil count, and febrile neutropenia), anemia (anemia, reduced hemoglobin, and reduced red blood cell count) and fatigue (fatigue and asthenia). SAEs, serious adverse events. *Comparing the relacorilant combination arm to the nab-paclitaxel monotherapy arm, respectively.</a:t>
            </a:r>
          </a:p>
        </p:txBody>
      </p:sp>
      <p:sp>
        <p:nvSpPr>
          <p:cNvPr id="16" name="Rectangle 15">
            <a:extLst>
              <a:ext uri="{FF2B5EF4-FFF2-40B4-BE49-F238E27FC236}">
                <a16:creationId xmlns:a16="http://schemas.microsoft.com/office/drawing/2014/main" id="{5A06FB57-2416-CD06-C37A-8DB38C219DF3}"/>
              </a:ext>
            </a:extLst>
          </p:cNvPr>
          <p:cNvSpPr/>
          <p:nvPr/>
        </p:nvSpPr>
        <p:spPr>
          <a:xfrm>
            <a:off x="931887" y="5045530"/>
            <a:ext cx="10505579" cy="1140957"/>
          </a:xfrm>
          <a:prstGeom prst="rect">
            <a:avLst/>
          </a:prstGeom>
          <a:solidFill>
            <a:srgbClr val="B8CFD1">
              <a:alpha val="18039"/>
            </a:srgbClr>
          </a:solidFill>
          <a:ln w="28575">
            <a:solidFill>
              <a:srgbClr val="156168"/>
            </a:solidFill>
          </a:ln>
        </p:spPr>
        <p:txBody>
          <a:bodyPr wrap="square" lIns="164592" tIns="164592" rIns="164592" bIns="164592" rtlCol="0" anchor="ct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When adjusted for duration of exposure, the incidence rates of neutropenia </a:t>
            </a:r>
            <a:br>
              <a:rPr kumimoji="0" lang="en-US" sz="1800" b="1"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br>
            <a:r>
              <a:rPr kumimoji="0" lang="en-US" sz="1800" b="1"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and anemia were similar between study arms.</a:t>
            </a: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Peripheral neuropathy occurred with similar frequency in both arms (19.1% and 17.4%).</a:t>
            </a: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5 SAEs of febrile neutropenia: 4 (2.1%) vs 1 (0.5%).* 5 SAEs of sepsis: 3 (1.6%) vs 2 (1.1%).*</a:t>
            </a:r>
          </a:p>
        </p:txBody>
      </p:sp>
      <p:sp>
        <p:nvSpPr>
          <p:cNvPr id="74" name="TextBox 73">
            <a:extLst>
              <a:ext uri="{FF2B5EF4-FFF2-40B4-BE49-F238E27FC236}">
                <a16:creationId xmlns:a16="http://schemas.microsoft.com/office/drawing/2014/main" id="{202BD8A8-63E4-EE55-FE01-030067DA401F}"/>
              </a:ext>
            </a:extLst>
          </p:cNvPr>
          <p:cNvSpPr txBox="1"/>
          <p:nvPr/>
        </p:nvSpPr>
        <p:spPr>
          <a:xfrm>
            <a:off x="10052392" y="6592969"/>
            <a:ext cx="1917288" cy="240066"/>
          </a:xfrm>
          <a:prstGeom prst="rect">
            <a:avLst/>
          </a:prstGeom>
          <a:noFill/>
        </p:spPr>
        <p:txBody>
          <a:bodyPr wrap="square">
            <a:spAutoFit/>
          </a:bodyPr>
          <a:lstStyle/>
          <a:p>
            <a:pPr marL="0" marR="0" lvl="0" indent="0" algn="r" defTabSz="822960" rtl="0" eaLnBrk="0" fontAlgn="base" latinLnBrk="0" hangingPunct="0">
              <a:lnSpc>
                <a:spcPct val="100000"/>
              </a:lnSpc>
              <a:spcBef>
                <a:spcPct val="0"/>
              </a:spcBef>
              <a:spcAft>
                <a:spcPct val="0"/>
              </a:spcAft>
              <a:buClr>
                <a:srgbClr val="000000"/>
              </a:buClr>
              <a:buSzTx/>
              <a:buFontTx/>
              <a:buNone/>
              <a:tabLst/>
              <a:defRPr/>
            </a:pPr>
            <a:r>
              <a:rPr kumimoji="0" lang="en-US" sz="960" b="0" i="0" u="none" strike="noStrike" kern="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sym typeface="Arial"/>
              </a:rPr>
              <a:t>Data cutoff: Jan 8, 2026</a:t>
            </a:r>
          </a:p>
        </p:txBody>
      </p:sp>
      <p:sp>
        <p:nvSpPr>
          <p:cNvPr id="71" name="Text Placeholder 6">
            <a:extLst>
              <a:ext uri="{FF2B5EF4-FFF2-40B4-BE49-F238E27FC236}">
                <a16:creationId xmlns:a16="http://schemas.microsoft.com/office/drawing/2014/main" id="{6BF89B21-2EAC-1B5E-6599-BA8AE51C1830}"/>
              </a:ext>
            </a:extLst>
          </p:cNvPr>
          <p:cNvSpPr txBox="1">
            <a:spLocks/>
          </p:cNvSpPr>
          <p:nvPr/>
        </p:nvSpPr>
        <p:spPr>
          <a:xfrm>
            <a:off x="881321" y="6186488"/>
            <a:ext cx="3511296" cy="1688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84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esented By: Alexander B. Olawaiye, MD</a:t>
            </a:r>
          </a:p>
        </p:txBody>
      </p:sp>
      <p:sp>
        <p:nvSpPr>
          <p:cNvPr id="107" name="Rectangle 106">
            <a:extLst>
              <a:ext uri="{FF2B5EF4-FFF2-40B4-BE49-F238E27FC236}">
                <a16:creationId xmlns:a16="http://schemas.microsoft.com/office/drawing/2014/main" id="{AEF014A8-41C8-F7E9-E040-F9FD443E2B3F}"/>
              </a:ext>
            </a:extLst>
          </p:cNvPr>
          <p:cNvSpPr/>
          <p:nvPr/>
        </p:nvSpPr>
        <p:spPr>
          <a:xfrm>
            <a:off x="2116660" y="1086481"/>
            <a:ext cx="290658" cy="33385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3" name="Picture 2">
            <a:extLst>
              <a:ext uri="{FF2B5EF4-FFF2-40B4-BE49-F238E27FC236}">
                <a16:creationId xmlns:a16="http://schemas.microsoft.com/office/drawing/2014/main" id="{ACFD6D08-1EC7-9DC0-ADC9-649B7FEE6A4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405796" y="908921"/>
            <a:ext cx="8803138" cy="3956466"/>
          </a:xfrm>
          <a:prstGeom prst="rect">
            <a:avLst/>
          </a:prstGeom>
        </p:spPr>
      </p:pic>
      <p:sp>
        <p:nvSpPr>
          <p:cNvPr id="2" name="Text Placeholder 5">
            <a:extLst>
              <a:ext uri="{FF2B5EF4-FFF2-40B4-BE49-F238E27FC236}">
                <a16:creationId xmlns:a16="http://schemas.microsoft.com/office/drawing/2014/main" id="{B0779642-5A08-62B0-BC7D-9090F0610974}"/>
              </a:ext>
            </a:extLst>
          </p:cNvPr>
          <p:cNvSpPr txBox="1">
            <a:spLocks/>
          </p:cNvSpPr>
          <p:nvPr/>
        </p:nvSpPr>
        <p:spPr>
          <a:xfrm>
            <a:off x="-44795" y="6610233"/>
            <a:ext cx="5852160"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Olawaiye</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A et al. ASCO 2025</a:t>
            </a:r>
          </a:p>
        </p:txBody>
      </p:sp>
    </p:spTree>
    <p:extLst>
      <p:ext uri="{BB962C8B-B14F-4D97-AF65-F5344CB8AC3E}">
        <p14:creationId xmlns:p14="http://schemas.microsoft.com/office/powerpoint/2010/main" val="2164006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FEEFE-ECB4-6A9B-6A7D-AEF443B54E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9E4464-B005-F4EF-9493-45C2ADECA334}"/>
              </a:ext>
            </a:extLst>
          </p:cNvPr>
          <p:cNvSpPr>
            <a:spLocks noGrp="1"/>
          </p:cNvSpPr>
          <p:nvPr>
            <p:ph type="title"/>
          </p:nvPr>
        </p:nvSpPr>
        <p:spPr/>
        <p:txBody>
          <a:bodyPr>
            <a:normAutofit fontScale="90000"/>
          </a:bodyPr>
          <a:lstStyle/>
          <a:p>
            <a:r>
              <a:rPr lang="en-US" b="1" dirty="0">
                <a:solidFill>
                  <a:schemeClr val="accent6">
                    <a:lumMod val="50000"/>
                  </a:schemeClr>
                </a:solidFill>
                <a:latin typeface="Calibri Light" panose="020F0302020204030204" pitchFamily="34" charset="0"/>
                <a:ea typeface="Calibri Light" panose="020F0302020204030204" pitchFamily="34" charset="0"/>
                <a:cs typeface="Calibri Light" panose="020F0302020204030204" pitchFamily="34" charset="0"/>
              </a:rPr>
              <a:t>FDA approves </a:t>
            </a:r>
            <a:r>
              <a:rPr lang="en-US" b="1" dirty="0" err="1">
                <a:solidFill>
                  <a:schemeClr val="accent6">
                    <a:lumMod val="50000"/>
                  </a:schemeClr>
                </a:solidFill>
                <a:latin typeface="Calibri Light" panose="020F0302020204030204" pitchFamily="34" charset="0"/>
                <a:ea typeface="Calibri Light" panose="020F0302020204030204" pitchFamily="34" charset="0"/>
                <a:cs typeface="Calibri Light" panose="020F0302020204030204" pitchFamily="34" charset="0"/>
              </a:rPr>
              <a:t>relacorilant</a:t>
            </a:r>
            <a:r>
              <a:rPr lang="en-US" b="1" dirty="0">
                <a:solidFill>
                  <a:schemeClr val="accent6">
                    <a:lumMod val="50000"/>
                  </a:schemeClr>
                </a:solidFill>
                <a:latin typeface="Calibri Light" panose="020F0302020204030204" pitchFamily="34" charset="0"/>
                <a:ea typeface="Calibri Light" panose="020F0302020204030204" pitchFamily="34" charset="0"/>
                <a:cs typeface="Calibri Light" panose="020F0302020204030204" pitchFamily="34" charset="0"/>
              </a:rPr>
              <a:t> with nab-paclitaxel for platinum-resistant epithelial ovarian, fallopian tube, or primary peritoneal cancer</a:t>
            </a:r>
          </a:p>
        </p:txBody>
      </p:sp>
      <p:sp>
        <p:nvSpPr>
          <p:cNvPr id="3" name="Content Placeholder 2">
            <a:extLst>
              <a:ext uri="{FF2B5EF4-FFF2-40B4-BE49-F238E27FC236}">
                <a16:creationId xmlns:a16="http://schemas.microsoft.com/office/drawing/2014/main" id="{3074F19C-31E0-EFA4-C549-63F77C653665}"/>
              </a:ext>
            </a:extLst>
          </p:cNvPr>
          <p:cNvSpPr>
            <a:spLocks noGrp="1"/>
          </p:cNvSpPr>
          <p:nvPr>
            <p:ph idx="1"/>
          </p:nvPr>
        </p:nvSpPr>
        <p:spPr>
          <a:xfrm>
            <a:off x="838200" y="1998880"/>
            <a:ext cx="10515600" cy="4351338"/>
          </a:xfrm>
        </p:spPr>
        <p:txBody>
          <a:bodyPr>
            <a:normAutofit/>
          </a:bodyPr>
          <a:lstStyle/>
          <a:p>
            <a:pPr marL="0" indent="0">
              <a:buNone/>
            </a:pPr>
            <a:r>
              <a:rPr lang="en-US" dirty="0"/>
              <a:t>“On March 25, 2026, the Food and Drug Administration approved </a:t>
            </a:r>
            <a:r>
              <a:rPr lang="en-US" dirty="0" err="1"/>
              <a:t>relacorilant</a:t>
            </a:r>
            <a:r>
              <a:rPr lang="en-US" dirty="0"/>
              <a:t>, a glucocorticoid receptor antagonist, in combination with nab-paclitaxel for the treatment of adults with platinum-resistant epithelial ovarian, fallopian tube, or primary peritoneal cancer who have received one to three prior systemic treatment regimens, at least one of which included bevacizumab.</a:t>
            </a:r>
          </a:p>
          <a:p>
            <a:pPr marL="0" indent="0">
              <a:buNone/>
            </a:pPr>
            <a:r>
              <a:rPr lang="en-US" dirty="0"/>
              <a:t>…Efficacy was evaluated in ROSELLA (NCT05257408), a multicenter, open-label, trial in 381 patients with platinum-resistant epithelial ovarian, fallopian tube, or primary peritoneal cancer.”</a:t>
            </a:r>
          </a:p>
        </p:txBody>
      </p:sp>
      <p:sp>
        <p:nvSpPr>
          <p:cNvPr id="4" name="Text Placeholder 5">
            <a:extLst>
              <a:ext uri="{FF2B5EF4-FFF2-40B4-BE49-F238E27FC236}">
                <a16:creationId xmlns:a16="http://schemas.microsoft.com/office/drawing/2014/main" id="{FF9CF22F-4DC2-2F08-CAA4-4CBD0EF8FED0}"/>
              </a:ext>
            </a:extLst>
          </p:cNvPr>
          <p:cNvSpPr txBox="1">
            <a:spLocks/>
          </p:cNvSpPr>
          <p:nvPr/>
        </p:nvSpPr>
        <p:spPr>
          <a:xfrm>
            <a:off x="692756" y="6368544"/>
            <a:ext cx="10953812" cy="281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https://www.fda.gov/drugs/resources-information-approved-drugs/fda-approves-relacorilant-nab-paclitaxel-platinum-resistant-epithelial-ovarian-fallopian-tube-or</a:t>
            </a:r>
          </a:p>
        </p:txBody>
      </p:sp>
    </p:spTree>
    <p:extLst>
      <p:ext uri="{BB962C8B-B14F-4D97-AF65-F5344CB8AC3E}">
        <p14:creationId xmlns:p14="http://schemas.microsoft.com/office/powerpoint/2010/main" val="3383287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E366D-4137-0336-2196-EF550D45260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58D0721-DB00-5993-8696-6D60AF6BA6BF}"/>
              </a:ext>
            </a:extLst>
          </p:cNvPr>
          <p:cNvSpPr>
            <a:spLocks noGrp="1"/>
          </p:cNvSpPr>
          <p:nvPr>
            <p:ph type="title"/>
          </p:nvPr>
        </p:nvSpPr>
        <p:spPr>
          <a:xfrm>
            <a:off x="892085" y="413337"/>
            <a:ext cx="10888434" cy="702946"/>
          </a:xfrm>
        </p:spPr>
        <p:txBody>
          <a:bodyPr>
            <a:normAutofit fontScale="90000"/>
          </a:bodyPr>
          <a:lstStyle/>
          <a:p>
            <a:r>
              <a:rPr lang="en-US" dirty="0">
                <a:solidFill>
                  <a:schemeClr val="accent4">
                    <a:lumMod val="50000"/>
                  </a:schemeClr>
                </a:solidFill>
              </a:rPr>
              <a:t>ROSELLA Results: Support Additional Studies in Combination with Any Cancer Therapy</a:t>
            </a:r>
          </a:p>
        </p:txBody>
      </p:sp>
      <p:pic>
        <p:nvPicPr>
          <p:cNvPr id="16" name="Graphic 15">
            <a:extLst>
              <a:ext uri="{FF2B5EF4-FFF2-40B4-BE49-F238E27FC236}">
                <a16:creationId xmlns:a16="http://schemas.microsoft.com/office/drawing/2014/main" id="{4B25623D-D86B-A351-5615-67083B50EC9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92085" y="4017676"/>
            <a:ext cx="411480" cy="411480"/>
          </a:xfrm>
          <a:prstGeom prst="rect">
            <a:avLst/>
          </a:prstGeom>
        </p:spPr>
      </p:pic>
      <p:pic>
        <p:nvPicPr>
          <p:cNvPr id="18" name="Graphic 17">
            <a:extLst>
              <a:ext uri="{FF2B5EF4-FFF2-40B4-BE49-F238E27FC236}">
                <a16:creationId xmlns:a16="http://schemas.microsoft.com/office/drawing/2014/main" id="{64B9760E-5FE4-DAB7-77C1-1065AC1B9F4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92085" y="2450360"/>
            <a:ext cx="411480" cy="411480"/>
          </a:xfrm>
          <a:prstGeom prst="rect">
            <a:avLst/>
          </a:prstGeom>
        </p:spPr>
      </p:pic>
      <p:sp>
        <p:nvSpPr>
          <p:cNvPr id="9" name="Hexagon 8">
            <a:extLst>
              <a:ext uri="{FF2B5EF4-FFF2-40B4-BE49-F238E27FC236}">
                <a16:creationId xmlns:a16="http://schemas.microsoft.com/office/drawing/2014/main" id="{28F1629D-445C-5689-D928-98B058DF0F6C}"/>
              </a:ext>
            </a:extLst>
          </p:cNvPr>
          <p:cNvSpPr>
            <a:spLocks/>
          </p:cNvSpPr>
          <p:nvPr/>
        </p:nvSpPr>
        <p:spPr>
          <a:xfrm flipH="1">
            <a:off x="3844024" y="2096754"/>
            <a:ext cx="7135682" cy="2991103"/>
          </a:xfrm>
          <a:prstGeom prst="hexagon">
            <a:avLst/>
          </a:prstGeom>
          <a:solidFill>
            <a:srgbClr val="2D93D1"/>
          </a:solidFill>
          <a:ln w="635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4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Hexagon 5">
            <a:extLst>
              <a:ext uri="{FF2B5EF4-FFF2-40B4-BE49-F238E27FC236}">
                <a16:creationId xmlns:a16="http://schemas.microsoft.com/office/drawing/2014/main" id="{BABE1897-4241-E6A8-2554-B01EFA26CC41}"/>
              </a:ext>
            </a:extLst>
          </p:cNvPr>
          <p:cNvSpPr>
            <a:spLocks/>
          </p:cNvSpPr>
          <p:nvPr/>
        </p:nvSpPr>
        <p:spPr>
          <a:xfrm flipH="1">
            <a:off x="3946802" y="2508774"/>
            <a:ext cx="5706323" cy="2582513"/>
          </a:xfrm>
          <a:prstGeom prst="hexagon">
            <a:avLst/>
          </a:prstGeom>
          <a:solidFill>
            <a:srgbClr val="53ABDD"/>
          </a:solidFill>
          <a:ln w="635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4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Hexagon 7">
            <a:extLst>
              <a:ext uri="{FF2B5EF4-FFF2-40B4-BE49-F238E27FC236}">
                <a16:creationId xmlns:a16="http://schemas.microsoft.com/office/drawing/2014/main" id="{248D8FAD-F0BC-2FBF-A278-96E215FFA998}"/>
              </a:ext>
            </a:extLst>
          </p:cNvPr>
          <p:cNvSpPr>
            <a:spLocks/>
          </p:cNvSpPr>
          <p:nvPr/>
        </p:nvSpPr>
        <p:spPr>
          <a:xfrm flipH="1">
            <a:off x="4044755" y="2896419"/>
            <a:ext cx="3890538" cy="2191439"/>
          </a:xfrm>
          <a:prstGeom prst="hexagon">
            <a:avLst/>
          </a:prstGeom>
          <a:solidFill>
            <a:srgbClr val="65CEE7"/>
          </a:solidFill>
          <a:ln w="635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4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1B97A412-83C6-A4CB-7BBA-B12A3BE7B13D}"/>
              </a:ext>
            </a:extLst>
          </p:cNvPr>
          <p:cNvSpPr>
            <a:spLocks/>
          </p:cNvSpPr>
          <p:nvPr/>
        </p:nvSpPr>
        <p:spPr>
          <a:xfrm flipH="1">
            <a:off x="9398508" y="2857187"/>
            <a:ext cx="1616726" cy="465542"/>
          </a:xfrm>
          <a:prstGeom prst="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lIns="64800" tIns="32400" rIns="64800" bIns="32400" rtlCol="0" anchor="ctr" anchorCtr="0">
            <a:spAutoFit/>
          </a:bodyPr>
          <a:lstStyle/>
          <a:p>
            <a:pPr lvl="0" defTabSz="914400" eaLnBrk="0" hangingPunct="0">
              <a:defRPr/>
            </a:pPr>
            <a:r>
              <a:rPr lang="en-US" sz="1300" b="0" dirty="0">
                <a:solidFill>
                  <a:schemeClr val="bg1"/>
                </a:solidFill>
              </a:rPr>
              <a:t>Other tumors </a:t>
            </a:r>
          </a:p>
          <a:p>
            <a:pPr lvl="0" defTabSz="914400" eaLnBrk="0" hangingPunct="0">
              <a:defRPr/>
            </a:pPr>
            <a:r>
              <a:rPr lang="en-US" sz="1300" b="0" dirty="0">
                <a:solidFill>
                  <a:schemeClr val="bg1"/>
                </a:solidFill>
              </a:rPr>
              <a:t>that express GR</a:t>
            </a:r>
          </a:p>
        </p:txBody>
      </p:sp>
      <p:sp>
        <p:nvSpPr>
          <p:cNvPr id="17" name="Hexagon 16">
            <a:extLst>
              <a:ext uri="{FF2B5EF4-FFF2-40B4-BE49-F238E27FC236}">
                <a16:creationId xmlns:a16="http://schemas.microsoft.com/office/drawing/2014/main" id="{886CDA08-DB1B-A095-6C67-C1D67BF4E976}"/>
              </a:ext>
            </a:extLst>
          </p:cNvPr>
          <p:cNvSpPr>
            <a:spLocks/>
          </p:cNvSpPr>
          <p:nvPr/>
        </p:nvSpPr>
        <p:spPr>
          <a:xfrm flipH="1">
            <a:off x="4151850" y="3359026"/>
            <a:ext cx="1997833" cy="1728833"/>
          </a:xfrm>
          <a:prstGeom prst="hexagon">
            <a:avLst/>
          </a:prstGeom>
          <a:solidFill>
            <a:schemeClr val="accent5"/>
          </a:solidFill>
          <a:ln w="635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4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 name="Rectangle 19">
            <a:extLst>
              <a:ext uri="{FF2B5EF4-FFF2-40B4-BE49-F238E27FC236}">
                <a16:creationId xmlns:a16="http://schemas.microsoft.com/office/drawing/2014/main" id="{C3B95645-37D9-C819-5689-EEDC6CB2741E}"/>
              </a:ext>
            </a:extLst>
          </p:cNvPr>
          <p:cNvSpPr>
            <a:spLocks/>
          </p:cNvSpPr>
          <p:nvPr/>
        </p:nvSpPr>
        <p:spPr>
          <a:xfrm flipH="1">
            <a:off x="4420365" y="4011089"/>
            <a:ext cx="1616726" cy="453231"/>
          </a:xfrm>
          <a:prstGeom prst="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lIns="64800" tIns="32400" rIns="64800" bIns="32400" rtlCol="0" anchor="ctr" anchorCtr="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60" b="0" i="0" u="none" strike="noStrike" kern="1200" cap="none" spc="0" normalizeH="0" baseline="0" noProof="0" dirty="0">
                <a:ln>
                  <a:noFill/>
                </a:ln>
                <a:solidFill>
                  <a:schemeClr val="bg1"/>
                </a:solidFill>
                <a:effectLst/>
                <a:uLnTx/>
                <a:uFillTx/>
                <a:latin typeface="Aptos" panose="02110004020202020204"/>
                <a:ea typeface="+mn-ea"/>
                <a:cs typeface="+mn-cs"/>
              </a:rPr>
              <a:t>Platinum-resistan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60" b="0" i="0" u="none" strike="noStrike" kern="1200" cap="none" spc="0" normalizeH="0" baseline="0" noProof="0" dirty="0">
                <a:ln>
                  <a:noFill/>
                </a:ln>
                <a:solidFill>
                  <a:schemeClr val="bg1"/>
                </a:solidFill>
                <a:effectLst/>
                <a:uLnTx/>
                <a:uFillTx/>
                <a:latin typeface="Aptos" panose="02110004020202020204"/>
                <a:ea typeface="+mn-ea"/>
                <a:cs typeface="+mn-cs"/>
              </a:rPr>
              <a:t>ovarian cancer</a:t>
            </a:r>
          </a:p>
        </p:txBody>
      </p:sp>
      <p:sp>
        <p:nvSpPr>
          <p:cNvPr id="21" name="Rectangle 20">
            <a:extLst>
              <a:ext uri="{FF2B5EF4-FFF2-40B4-BE49-F238E27FC236}">
                <a16:creationId xmlns:a16="http://schemas.microsoft.com/office/drawing/2014/main" id="{604AFAA5-5F3A-F309-B0CB-852D061BA6C2}"/>
              </a:ext>
            </a:extLst>
          </p:cNvPr>
          <p:cNvSpPr>
            <a:spLocks/>
          </p:cNvSpPr>
          <p:nvPr/>
        </p:nvSpPr>
        <p:spPr>
          <a:xfrm flipH="1">
            <a:off x="6044495" y="3498021"/>
            <a:ext cx="1616726" cy="453231"/>
          </a:xfrm>
          <a:prstGeom prst="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lIns="64800" tIns="32400" rIns="64800" bIns="32400" rtlCol="0" anchor="ctr" anchorCtr="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60" b="0" i="0" u="none" strike="noStrike" kern="1200" cap="none" spc="0" normalizeH="0" baseline="0" noProof="0" dirty="0">
                <a:ln>
                  <a:noFill/>
                </a:ln>
                <a:solidFill>
                  <a:schemeClr val="bg1"/>
                </a:solidFill>
                <a:effectLst/>
                <a:uLnTx/>
                <a:uFillTx/>
                <a:latin typeface="Aptos" panose="02110004020202020204"/>
                <a:ea typeface="+mn-ea"/>
                <a:cs typeface="+mn-cs"/>
              </a:rPr>
              <a:t>Platinum-sensitive</a:t>
            </a:r>
            <a:br>
              <a:rPr kumimoji="0" lang="en-US" sz="1260" b="0" i="0" u="none" strike="noStrike" kern="1200" cap="none" spc="0" normalizeH="0" baseline="0" noProof="0" dirty="0">
                <a:ln>
                  <a:noFill/>
                </a:ln>
                <a:solidFill>
                  <a:schemeClr val="bg1"/>
                </a:solidFill>
                <a:effectLst/>
                <a:uLnTx/>
                <a:uFillTx/>
                <a:latin typeface="Aptos" panose="02110004020202020204"/>
                <a:ea typeface="+mn-ea"/>
                <a:cs typeface="+mn-cs"/>
              </a:rPr>
            </a:br>
            <a:r>
              <a:rPr kumimoji="0" lang="en-US" sz="1260" b="0" i="0" u="none" strike="noStrike" kern="1200" cap="none" spc="0" normalizeH="0" baseline="0" noProof="0" dirty="0">
                <a:ln>
                  <a:noFill/>
                </a:ln>
                <a:solidFill>
                  <a:schemeClr val="bg1"/>
                </a:solidFill>
                <a:effectLst/>
                <a:uLnTx/>
                <a:uFillTx/>
                <a:latin typeface="Aptos" panose="02110004020202020204"/>
                <a:ea typeface="+mn-ea"/>
                <a:cs typeface="+mn-cs"/>
              </a:rPr>
              <a:t>ovarian cancer</a:t>
            </a:r>
          </a:p>
        </p:txBody>
      </p:sp>
      <p:sp>
        <p:nvSpPr>
          <p:cNvPr id="23" name="Rectangle 22">
            <a:extLst>
              <a:ext uri="{FF2B5EF4-FFF2-40B4-BE49-F238E27FC236}">
                <a16:creationId xmlns:a16="http://schemas.microsoft.com/office/drawing/2014/main" id="{A8FA06D3-74AB-A715-BC95-941A1D5FF6E7}"/>
              </a:ext>
            </a:extLst>
          </p:cNvPr>
          <p:cNvSpPr>
            <a:spLocks/>
          </p:cNvSpPr>
          <p:nvPr/>
        </p:nvSpPr>
        <p:spPr>
          <a:xfrm flipH="1">
            <a:off x="7781782" y="3112335"/>
            <a:ext cx="1616726" cy="453231"/>
          </a:xfrm>
          <a:prstGeom prst="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lIns="64800" tIns="32400" rIns="64800" bIns="32400" rtlCol="0" anchor="ctr" anchorCtr="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60" b="0" i="0" u="none" strike="noStrike" kern="1200" cap="none" spc="0" normalizeH="0" baseline="0" noProof="0" dirty="0">
                <a:ln>
                  <a:noFill/>
                </a:ln>
                <a:solidFill>
                  <a:schemeClr val="bg1"/>
                </a:solidFill>
                <a:effectLst/>
                <a:uLnTx/>
                <a:uFillTx/>
                <a:latin typeface="Aptos" panose="02110004020202020204"/>
                <a:ea typeface="+mn-ea"/>
                <a:cs typeface="+mn-cs"/>
              </a:rPr>
              <a:t>Other gynecologic tumors</a:t>
            </a:r>
          </a:p>
        </p:txBody>
      </p:sp>
      <p:sp>
        <p:nvSpPr>
          <p:cNvPr id="12" name="TextBox 11">
            <a:extLst>
              <a:ext uri="{FF2B5EF4-FFF2-40B4-BE49-F238E27FC236}">
                <a16:creationId xmlns:a16="http://schemas.microsoft.com/office/drawing/2014/main" id="{20C50713-FF53-69F5-39A3-19A6E137AE92}"/>
              </a:ext>
            </a:extLst>
          </p:cNvPr>
          <p:cNvSpPr txBox="1"/>
          <p:nvPr/>
        </p:nvSpPr>
        <p:spPr>
          <a:xfrm>
            <a:off x="1338215" y="2517193"/>
            <a:ext cx="1909078" cy="2560253"/>
          </a:xfrm>
          <a:prstGeom prst="rect">
            <a:avLst/>
          </a:prstGeom>
          <a:noFill/>
        </p:spPr>
        <p:txBody>
          <a:bodyPr wrap="square">
            <a:spAutoFit/>
          </a:bodyPr>
          <a:lstStyle/>
          <a:p>
            <a:pPr marL="0" marR="0" lvl="0" indent="0" algn="l" defTabSz="822960" rtl="0" eaLnBrk="1" fontAlgn="auto" latinLnBrk="0" hangingPunct="1">
              <a:lnSpc>
                <a:spcPct val="90000"/>
              </a:lnSpc>
              <a:spcBef>
                <a:spcPts val="0"/>
              </a:spcBef>
              <a:spcAft>
                <a:spcPts val="0"/>
              </a:spcAft>
              <a:buClr>
                <a:srgbClr val="000000"/>
              </a:buClr>
              <a:buSzTx/>
              <a:buFontTx/>
              <a:buNone/>
              <a:tabLst/>
              <a:defRPr/>
            </a:pPr>
            <a:r>
              <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rPr>
              <a:t>Potential to </a:t>
            </a:r>
            <a:br>
              <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rPr>
            </a:br>
            <a:r>
              <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rPr>
              <a:t>treat all tumors that express </a:t>
            </a:r>
            <a:br>
              <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rPr>
            </a:br>
            <a:r>
              <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rPr>
              <a:t>the glucocorticoid receptor</a:t>
            </a:r>
            <a:br>
              <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rPr>
            </a:br>
            <a:br>
              <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rPr>
            </a:br>
            <a:endPar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endParaRPr>
          </a:p>
          <a:p>
            <a:pPr marL="0" marR="0" lvl="0" indent="0" algn="l" defTabSz="822960" rtl="0" eaLnBrk="1" fontAlgn="auto" latinLnBrk="0" hangingPunct="1">
              <a:lnSpc>
                <a:spcPct val="90000"/>
              </a:lnSpc>
              <a:spcBef>
                <a:spcPts val="0"/>
              </a:spcBef>
              <a:spcAft>
                <a:spcPts val="0"/>
              </a:spcAft>
              <a:buClr>
                <a:srgbClr val="000000"/>
              </a:buClr>
              <a:buSzTx/>
              <a:buFontTx/>
              <a:buNone/>
              <a:tabLst/>
              <a:defRPr/>
            </a:pPr>
            <a:r>
              <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rPr>
              <a:t>Potential to combine with </a:t>
            </a:r>
            <a:br>
              <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rPr>
            </a:br>
            <a:r>
              <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rPr>
              <a:t>any chemotherapy</a:t>
            </a:r>
          </a:p>
          <a:p>
            <a:pPr marL="0" marR="0" lvl="0" indent="0" algn="l" defTabSz="822960" rtl="0" eaLnBrk="1" fontAlgn="auto" latinLnBrk="0" hangingPunct="1">
              <a:lnSpc>
                <a:spcPct val="90000"/>
              </a:lnSpc>
              <a:spcBef>
                <a:spcPts val="0"/>
              </a:spcBef>
              <a:spcAft>
                <a:spcPts val="0"/>
              </a:spcAft>
              <a:buClr>
                <a:srgbClr val="000000"/>
              </a:buClr>
              <a:buSzTx/>
              <a:buFontTx/>
              <a:buNone/>
              <a:tabLst/>
              <a:defRPr/>
            </a:pPr>
            <a:endParaRPr kumimoji="0" lang="en-US" sz="1620" b="1" i="0" u="none" strike="noStrike" kern="0" cap="none" spc="0" normalizeH="0" baseline="0" noProof="0">
              <a:ln>
                <a:noFill/>
              </a:ln>
              <a:solidFill>
                <a:srgbClr val="FFFFFF"/>
              </a:solidFill>
              <a:effectLst/>
              <a:uLnTx/>
              <a:uFillTx/>
              <a:latin typeface="Lato"/>
              <a:ea typeface="+mn-ea"/>
              <a:cs typeface="+mn-cs"/>
              <a:sym typeface="Lato" panose="020F0502020204030203" pitchFamily="34" charset="0"/>
            </a:endParaRPr>
          </a:p>
        </p:txBody>
      </p:sp>
      <p:pic>
        <p:nvPicPr>
          <p:cNvPr id="3" name="Picture 4" descr="logo U pitt 1[1]">
            <a:extLst>
              <a:ext uri="{FF2B5EF4-FFF2-40B4-BE49-F238E27FC236}">
                <a16:creationId xmlns:a16="http://schemas.microsoft.com/office/drawing/2014/main" id="{7AAA5A8C-0E1B-2363-32D7-2BF60EE68B8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87050" y="5457566"/>
            <a:ext cx="1270612" cy="1223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7463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6" grpId="0" animBg="1"/>
      <p:bldP spid="8" grpId="0" animBg="1"/>
      <p:bldP spid="11" grpId="0"/>
      <p:bldP spid="21" grpId="0"/>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8.xml><?xml version="1.0" encoding="utf-8"?>
<p:tagLst xmlns:a="http://schemas.openxmlformats.org/drawingml/2006/main" xmlns:r="http://schemas.openxmlformats.org/officeDocument/2006/relationships" xmlns:p="http://schemas.openxmlformats.org/presentationml/2006/main">
  <p:tag name="KPI_HAS_CHART" val="false"/>
</p:tagLst>
</file>

<file path=ppt/tags/tag39.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KPI_HAS_CHART" val="false"/>
</p:tagLst>
</file>

<file path=ppt/tags/tag41.xml><?xml version="1.0" encoding="utf-8"?>
<p:tagLst xmlns:a="http://schemas.openxmlformats.org/drawingml/2006/main" xmlns:r="http://schemas.openxmlformats.org/officeDocument/2006/relationships" xmlns:p="http://schemas.openxmlformats.org/presentationml/2006/main">
  <p:tag name="KPI_HAS_CHART" val="false"/>
</p:tagLst>
</file>

<file path=ppt/tags/tag42.xml><?xml version="1.0" encoding="utf-8"?>
<p:tagLst xmlns:a="http://schemas.openxmlformats.org/drawingml/2006/main" xmlns:r="http://schemas.openxmlformats.org/officeDocument/2006/relationships" xmlns:p="http://schemas.openxmlformats.org/presentationml/2006/main">
  <p:tag name="KPI_HAS_CHART" val="false"/>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IMING" val="|53.2|17.8"/>
</p:tagLst>
</file>

<file path=ppt/tags/tag52.xml><?xml version="1.0" encoding="utf-8"?>
<p:tagLst xmlns:a="http://schemas.openxmlformats.org/drawingml/2006/main" xmlns:r="http://schemas.openxmlformats.org/officeDocument/2006/relationships" xmlns:p="http://schemas.openxmlformats.org/presentationml/2006/main">
  <p:tag name="TIMING" val="|53.2|17.8"/>
</p:tagLst>
</file>

<file path=ppt/tags/tag53.xml><?xml version="1.0" encoding="utf-8"?>
<p:tagLst xmlns:a="http://schemas.openxmlformats.org/drawingml/2006/main" xmlns:r="http://schemas.openxmlformats.org/officeDocument/2006/relationships" xmlns:p="http://schemas.openxmlformats.org/presentationml/2006/main">
  <p:tag name="TIMING" val="|53.2|17.8"/>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KPI_HAS_CHART" val="false"/>
</p:tagLst>
</file>

<file path=ppt/tags/tag56.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4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1.xml><?xml version="1.0" encoding="utf-8"?>
<a:theme xmlns:a="http://schemas.openxmlformats.org/drawingml/2006/main" name="2_Tema de Offic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3_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1_Office Theme">
  <a:themeElements>
    <a:clrScheme name="Custom 29">
      <a:dk1>
        <a:srgbClr val="000000"/>
      </a:dk1>
      <a:lt1>
        <a:srgbClr val="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a:defPPr>
      </a:lstStyle>
    </a:txDef>
  </a:objectDefaults>
  <a:extraClrSchemeLst/>
</a:theme>
</file>

<file path=ppt/theme/theme14.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MDA generic pres 2 (3)">
  <a:themeElements>
    <a:clrScheme name="MDAbrand NEW">
      <a:dk1>
        <a:srgbClr val="000000"/>
      </a:dk1>
      <a:lt1>
        <a:srgbClr val="FFFFFF"/>
      </a:lt1>
      <a:dk2>
        <a:srgbClr val="000000"/>
      </a:dk2>
      <a:lt2>
        <a:srgbClr val="FFFFFF"/>
      </a:lt2>
      <a:accent1>
        <a:srgbClr val="407EC9"/>
      </a:accent1>
      <a:accent2>
        <a:srgbClr val="ED8B00"/>
      </a:accent2>
      <a:accent3>
        <a:srgbClr val="789D4A"/>
      </a:accent3>
      <a:accent4>
        <a:srgbClr val="614B79"/>
      </a:accent4>
      <a:accent5>
        <a:srgbClr val="F1B434"/>
      </a:accent5>
      <a:accent6>
        <a:srgbClr val="B7BF10"/>
      </a:accent6>
      <a:hlink>
        <a:srgbClr val="323232"/>
      </a:hlink>
      <a:folHlink>
        <a:srgbClr val="5A5A5A"/>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Purple bullets">
  <a:themeElements>
    <a:clrScheme name="Custom 55">
      <a:dk1>
        <a:srgbClr val="000000"/>
      </a:dk1>
      <a:lt1>
        <a:srgbClr val="FFFFFF"/>
      </a:lt1>
      <a:dk2>
        <a:srgbClr val="000000"/>
      </a:dk2>
      <a:lt2>
        <a:srgbClr val="FFFFFF"/>
      </a:lt2>
      <a:accent1>
        <a:srgbClr val="68D2DF"/>
      </a:accent1>
      <a:accent2>
        <a:srgbClr val="F0AB00"/>
      </a:accent2>
      <a:accent3>
        <a:srgbClr val="830051"/>
      </a:accent3>
      <a:accent4>
        <a:srgbClr val="3C0F53"/>
      </a:accent4>
      <a:accent5>
        <a:srgbClr val="C4D708"/>
      </a:accent5>
      <a:accent6>
        <a:srgbClr val="3F4444"/>
      </a:accent6>
      <a:hlink>
        <a:srgbClr val="830051"/>
      </a:hlink>
      <a:folHlink>
        <a:srgbClr val="C7C2B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B1ADB9"/>
        </a:accent5>
        <a:accent6>
          <a:srgbClr val="D99B00"/>
        </a:accent6>
        <a:hlink>
          <a:srgbClr val="7AB800"/>
        </a:hlink>
        <a:folHlink>
          <a:srgbClr val="00ADD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830051"/>
        </a:dk2>
        <a:lt2>
          <a:srgbClr val="7AB800"/>
        </a:lt2>
        <a:accent1>
          <a:srgbClr val="4B306A"/>
        </a:accent1>
        <a:accent2>
          <a:srgbClr val="F0AB00"/>
        </a:accent2>
        <a:accent3>
          <a:srgbClr val="FFFFFF"/>
        </a:accent3>
        <a:accent4>
          <a:srgbClr val="000000"/>
        </a:accent4>
        <a:accent5>
          <a:srgbClr val="B1ADB9"/>
        </a:accent5>
        <a:accent6>
          <a:srgbClr val="D99B00"/>
        </a:accent6>
        <a:hlink>
          <a:srgbClr val="C7C2BA"/>
        </a:hlink>
        <a:folHlink>
          <a:srgbClr val="00ADD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4_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8.xml><?xml version="1.0" encoding="utf-8"?>
<a:theme xmlns:a="http://schemas.openxmlformats.org/drawingml/2006/main" name="5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9.xml><?xml version="1.0" encoding="utf-8"?>
<a:theme xmlns:a="http://schemas.openxmlformats.org/drawingml/2006/main" name="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Default">
  <a:themeElements>
    <a:clrScheme name="UCLA Blue Hyperlink">
      <a:dk1>
        <a:srgbClr val="000000"/>
      </a:dk1>
      <a:lt1>
        <a:srgbClr val="FFFFFF"/>
      </a:lt1>
      <a:dk2>
        <a:srgbClr val="000000"/>
      </a:dk2>
      <a:lt2>
        <a:srgbClr val="8B8D8E"/>
      </a:lt2>
      <a:accent1>
        <a:srgbClr val="536895"/>
      </a:accent1>
      <a:accent2>
        <a:srgbClr val="616365"/>
      </a:accent2>
      <a:accent3>
        <a:srgbClr val="FFFFFF"/>
      </a:accent3>
      <a:accent4>
        <a:srgbClr val="000000"/>
      </a:accent4>
      <a:accent5>
        <a:srgbClr val="B3B9C8"/>
      </a:accent5>
      <a:accent6>
        <a:srgbClr val="57595B"/>
      </a:accent6>
      <a:hlink>
        <a:srgbClr val="2973AD"/>
      </a:hlink>
      <a:folHlink>
        <a:srgbClr val="2973AD"/>
      </a:folHlink>
    </a:clrScheme>
    <a:fontScheme name="Defaul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ＭＳ Ｐゴシック" charset="0"/>
          </a:defRPr>
        </a:defPPr>
      </a:lstStyle>
    </a:lnDef>
  </a:objectDefaults>
  <a:extraClrSchemeLst>
    <a:extraClrScheme>
      <a:clrScheme name="Default 1">
        <a:dk1>
          <a:srgbClr val="000000"/>
        </a:dk1>
        <a:lt1>
          <a:srgbClr val="FFFFFF"/>
        </a:lt1>
        <a:dk2>
          <a:srgbClr val="000000"/>
        </a:dk2>
        <a:lt2>
          <a:srgbClr val="8B8D8E"/>
        </a:lt2>
        <a:accent1>
          <a:srgbClr val="536895"/>
        </a:accent1>
        <a:accent2>
          <a:srgbClr val="616365"/>
        </a:accent2>
        <a:accent3>
          <a:srgbClr val="FFFFFF"/>
        </a:accent3>
        <a:accent4>
          <a:srgbClr val="000000"/>
        </a:accent4>
        <a:accent5>
          <a:srgbClr val="B3B9C8"/>
        </a:accent5>
        <a:accent6>
          <a:srgbClr val="57595B"/>
        </a:accent6>
        <a:hlink>
          <a:srgbClr val="F1E3BB"/>
        </a:hlink>
        <a:folHlink>
          <a:srgbClr val="FFB612"/>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_Purple bullets">
  <a:themeElements>
    <a:clrScheme name="Custom 55">
      <a:dk1>
        <a:srgbClr val="000000"/>
      </a:dk1>
      <a:lt1>
        <a:srgbClr val="FFFFFF"/>
      </a:lt1>
      <a:dk2>
        <a:srgbClr val="000000"/>
      </a:dk2>
      <a:lt2>
        <a:srgbClr val="FFFFFF"/>
      </a:lt2>
      <a:accent1>
        <a:srgbClr val="68D2DF"/>
      </a:accent1>
      <a:accent2>
        <a:srgbClr val="F0AB00"/>
      </a:accent2>
      <a:accent3>
        <a:srgbClr val="830051"/>
      </a:accent3>
      <a:accent4>
        <a:srgbClr val="3C0F53"/>
      </a:accent4>
      <a:accent5>
        <a:srgbClr val="C4D708"/>
      </a:accent5>
      <a:accent6>
        <a:srgbClr val="3F4444"/>
      </a:accent6>
      <a:hlink>
        <a:srgbClr val="830051"/>
      </a:hlink>
      <a:folHlink>
        <a:srgbClr val="C7C2B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B1ADB9"/>
        </a:accent5>
        <a:accent6>
          <a:srgbClr val="D99B00"/>
        </a:accent6>
        <a:hlink>
          <a:srgbClr val="7AB800"/>
        </a:hlink>
        <a:folHlink>
          <a:srgbClr val="00ADD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830051"/>
        </a:dk2>
        <a:lt2>
          <a:srgbClr val="7AB800"/>
        </a:lt2>
        <a:accent1>
          <a:srgbClr val="4B306A"/>
        </a:accent1>
        <a:accent2>
          <a:srgbClr val="F0AB00"/>
        </a:accent2>
        <a:accent3>
          <a:srgbClr val="FFFFFF"/>
        </a:accent3>
        <a:accent4>
          <a:srgbClr val="000000"/>
        </a:accent4>
        <a:accent5>
          <a:srgbClr val="B1ADB9"/>
        </a:accent5>
        <a:accent6>
          <a:srgbClr val="D99B00"/>
        </a:accent6>
        <a:hlink>
          <a:srgbClr val="C7C2BA"/>
        </a:hlink>
        <a:folHlink>
          <a:srgbClr val="00ADD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5.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AstraZeneca Standard Templat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blank" id="{9FA266AB-5005-44F8-ABE1-CBD751927E0B}" vid="{01D0DAFE-49CF-437F-BBAC-5737518177C1}"/>
    </a:ext>
  </a:extLst>
</a:theme>
</file>

<file path=ppt/theme/theme7.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8.xml><?xml version="1.0" encoding="utf-8"?>
<a:theme xmlns:a="http://schemas.openxmlformats.org/drawingml/2006/main" name="1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9.xml><?xml version="1.0" encoding="utf-8"?>
<a:theme xmlns:a="http://schemas.openxmlformats.org/drawingml/2006/main" name="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TemplateConfiguration><![CDATA[{"slideVersion":1,"isValidatorEnabled":false,"isLocked":false,"elementsMetadata":[],"slideId":"861026044834480145","enableDocumentContentUpdater":false,"version":"2.0"}]]></TemplafySlideTemplateConfiguration>
</file>

<file path=customXml/item13.xml><?xml version="1.0" encoding="utf-8"?>
<TemplafySlideTemplateConfiguration><![CDATA[{"slideVersion":1,"isValidatorEnabled":false,"isLocked":false,"elementsMetadata":[],"slideId":"861026044834480145","enableDocumentContentUpdater":false,"version":"2.0"}]]></TemplafySlideTemplateConfiguration>
</file>

<file path=customXml/item14.xml><?xml version="1.0" encoding="utf-8"?>
<TemplafySlideTemplateConfiguration><![CDATA[{"slideVersion":1,"isValidatorEnabled":false,"isLocked":false,"elementsMetadata":[],"slideId":"861026044834480131","enableDocumentContentUpdater":false,"version":"2.0"}]]></TemplafySlideTemplateConfiguration>
</file>

<file path=customXml/item15.xml><?xml version="1.0" encoding="utf-8"?>
<TemplafySlideTemplateConfiguration><![CDATA[{"slideVersion":1,"isValidatorEnabled":false,"isLocked":false,"elementsMetadata":[],"slideId":"861026044834480145","enableDocumentContentUpdater":false,"version":"2.0"}]]></TemplafySlideTemplateConfiguration>
</file>

<file path=customXml/item16.xml><?xml version="1.0" encoding="utf-8"?>
<TemplafySlideFormConfiguration><![CDATA[{"formFields":[],"formDataEntries":[]}]]></TemplafySlideFormConfiguration>
</file>

<file path=customXml/item17.xml><?xml version="1.0" encoding="utf-8"?>
<TemplafySlideFormConfiguration><![CDATA[{"formFields":[],"formDataEntries":[]}]]></TemplafySlideFormConfiguration>
</file>

<file path=customXml/item18.xml><?xml version="1.0" encoding="utf-8"?>
<TemplafySlideTemplateConfiguration><![CDATA[{"slideVersion":1,"isValidatorEnabled":false,"isLocked":false,"elementsMetadata":[],"slideId":"861026044834480145","enableDocumentContentUpdater":false,"version":"2.0"}]]></TemplafySlideTemplateConfiguration>
</file>

<file path=customXml/item19.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20.xml><?xml version="1.0" encoding="utf-8"?>
<BrandIn lastLayout="1"/>
</file>

<file path=customXml/item21.xml><?xml version="1.0" encoding="utf-8"?>
<TemplafySlideTemplateConfiguration><![CDATA[{"slideVersion":1,"isValidatorEnabled":false,"isLocked":false,"elementsMetadata":[],"slideId":"861026044834480145","enableDocumentContentUpdater":false,"version":"2.0"}]]></TemplafySlideTemplateConfiguration>
</file>

<file path=customXml/item22.xml><?xml version="1.0" encoding="utf-8"?>
<BrandIn lastLayout="1"/>
</file>

<file path=customXml/item23.xml><?xml version="1.0" encoding="utf-8"?>
<TemplafySlideFormConfiguration><![CDATA[{"formFields":[],"formDataEntries":[]}]]></TemplafySlideFormConfiguration>
</file>

<file path=customXml/item24.xml><?xml version="1.0" encoding="utf-8"?>
<TemplafySlideTemplateConfiguration><![CDATA[{"slideVersion":1,"isValidatorEnabled":false,"isLocked":false,"elementsMetadata":[],"slideId":"861026044834480145","enableDocumentContentUpdater":false,"version":"2.0"}]]></TemplafySlideTemplateConfiguration>
</file>

<file path=customXml/item25.xml><?xml version="1.0" encoding="utf-8"?>
<TemplafySlideTemplateConfiguration><![CDATA[{"slideVersion":1,"isValidatorEnabled":false,"isLocked":false,"elementsMetadata":[],"slideId":"861026044834480145","enableDocumentContentUpdater":false,"version":"2.0"}]]></TemplafySlideTemplateConfiguration>
</file>

<file path=customXml/item26.xml><?xml version="1.0" encoding="utf-8"?>
<TemplafySlideTemplateConfiguration><![CDATA[{"slideVersion":1,"isValidatorEnabled":false,"isLocked":false,"elementsMetadata":[],"slideId":"861026044834480145","enableDocumentContentUpdater":false,"version":"2.0"}]]></TemplafySlideTemplateConfiguration>
</file>

<file path=customXml/item27.xml><?xml version="1.0" encoding="utf-8"?>
<TemplafySlideFormConfiguration><![CDATA[{"formFields":[],"formDataEntries":[]}]]></TemplafySlideFormConfiguration>
</file>

<file path=customXml/item28.xml><?xml version="1.0" encoding="utf-8"?>
<TemplafySlideTemplateConfiguration><![CDATA[{"slideVersion":1,"isValidatorEnabled":false,"isLocked":false,"elementsMetadata":[],"slideId":"861026044834480145","enableDocumentContentUpdater":false,"version":"2.0"}]]></TemplafySlideTemplateConfiguration>
</file>

<file path=customXml/item29.xml><?xml version="1.0" encoding="utf-8"?>
<TemplafySlideFormConfiguration><![CDATA[{"formFields":[],"formDataEntries":[]}]]></TemplafySlideFormConfiguration>
</file>

<file path=customXml/item3.xml><?xml version="1.0" encoding="utf-8"?>
<TemplafySlideFormConfiguration><![CDATA[{"formFields":[],"formDataEntries":[]}]]></TemplafySlideFormConfiguration>
</file>

<file path=customXml/item30.xml><?xml version="1.0" encoding="utf-8"?>
<TemplafySlideTemplateConfiguration><![CDATA[{"slideVersion":1,"isValidatorEnabled":false,"isLocked":false,"elementsMetadata":[],"slideId":"861026044834480145","enableDocumentContentUpdater":false,"version":"2.0"}]]></TemplafySlideTemplateConfiguration>
</file>

<file path=customXml/item31.xml><?xml version="1.0" encoding="utf-8"?>
<TemplafySlideTemplateConfiguration><![CDATA[{"slideVersion":1,"isValidatorEnabled":false,"isLocked":false,"elementsMetadata":[],"slideId":"861026044834480131","enableDocumentContentUpdater":false,"version":"2.0"}]]></TemplafySlideTemplateConfiguration>
</file>

<file path=customXml/item32.xml><?xml version="1.0" encoding="utf-8"?>
<TemplafySlideTemplateConfiguration><![CDATA[{"slideVersion":1,"isValidatorEnabled":false,"isLocked":false,"elementsMetadata":[],"slideId":"861026044834480145","enableDocumentContentUpdater":false,"version":"2.0"}]]></TemplafySlideTemplateConfiguration>
</file>

<file path=customXml/item33.xml><?xml version="1.0" encoding="utf-8"?>
<TemplafySlideFormConfiguration><![CDATA[{"formFields":[],"formDataEntries":[]}]]></TemplafySlideFormConfiguration>
</file>

<file path=customXml/item34.xml><?xml version="1.0" encoding="utf-8"?>
<TemplafySlideFormConfiguration><![CDATA[{"formFields":[],"formDataEntries":[]}]]></TemplafySlideFormConfiguration>
</file>

<file path=customXml/item35.xml><?xml version="1.0" encoding="utf-8"?>
<TemplafySlideTemplateConfiguration><![CDATA[{"slideVersion":1,"isValidatorEnabled":false,"isLocked":false,"elementsMetadata":[],"slideId":"861026044834480145","enableDocumentContentUpdater":false,"version":"2.0"}]]></TemplafySlideTemplateConfiguration>
</file>

<file path=customXml/item36.xml><?xml version="1.0" encoding="utf-8"?>
<TemplafySlideFormConfiguration><![CDATA[{"formFields":[],"formDataEntries":[]}]]></TemplafySlideFormConfiguration>
</file>

<file path=customXml/item37.xml><?xml version="1.0" encoding="utf-8"?>
<TemplafySlideFormConfiguration><![CDATA[{"formFields":[],"formDataEntries":[]}]]></TemplafySlideFormConfiguration>
</file>

<file path=customXml/item38.xml><?xml version="1.0" encoding="utf-8"?>
<TemplafySlideFormConfiguration><![CDATA[{"formFields":[],"formDataEntries":[]}]]></TemplafySlideFormConfiguration>
</file>

<file path=customXml/item39.xml><?xml version="1.0" encoding="utf-8"?>
<TemplafySlideTemplateConfiguration><![CDATA[{"slideVersion":1,"isValidatorEnabled":false,"isLocked":false,"elementsMetadata":[],"slideId":"861026044834480131","enableDocumentContentUpdater":false,"version":"2.0"}]]></TemplafySlideTemplateConfiguration>
</file>

<file path=customXml/item4.xml><?xml version="1.0" encoding="utf-8"?>
<TemplafySlideFormConfiguration><![CDATA[{"formFields":[],"formDataEntries":[]}]]></TemplafySlideFormConfiguration>
</file>

<file path=customXml/item40.xml><?xml version="1.0" encoding="utf-8"?>
<TemplafySlideFormConfiguration><![CDATA[{"formFields":[],"formDataEntries":[]}]]></TemplafySlideFormConfiguration>
</file>

<file path=customXml/item41.xml><?xml version="1.0" encoding="utf-8"?>
<TemplafySlideTemplateConfiguration><![CDATA[{"slideVersion":1,"isValidatorEnabled":false,"isLocked":false,"elementsMetadata":[],"slideId":"861026044834480145","enableDocumentContentUpdater":false,"version":"2.0"}]]></TemplafySlideTemplateConfiguration>
</file>

<file path=customXml/item42.xml><?xml version="1.0" encoding="utf-8"?>
<TemplafySlideTemplateConfiguration><![CDATA[{"slideVersion":1,"isValidatorEnabled":false,"isLocked":false,"elementsMetadata":[],"slideId":"861026044834480145","enableDocumentContentUpdater":false,"version":"2.0"}]]></TemplafySlideTemplateConfiguration>
</file>

<file path=customXml/item43.xml><?xml version="1.0" encoding="utf-8"?>
<TemplafySlideTemplateConfiguration><![CDATA[{"slideVersion":1,"isValidatorEnabled":false,"isLocked":false,"elementsMetadata":[],"slideId":"861026044834480145","enableDocumentContentUpdater":false,"version":"2.0"}]]></TemplafySlideTemplateConfiguration>
</file>

<file path=customXml/item44.xml><?xml version="1.0" encoding="utf-8"?>
<TemplafySlideTemplateConfiguration><![CDATA[{"slideVersion":1,"isValidatorEnabled":false,"isLocked":false,"elementsMetadata":[],"slideId":"861026044834480145","enableDocumentContentUpdater":false,"version":"2.0"}]]></TemplafySlideTemplateConfiguration>
</file>

<file path=customXml/item45.xml><?xml version="1.0" encoding="utf-8"?>
<TemplafySlideFormConfiguration><![CDATA[{"formFields":[],"formDataEntries":[]}]]></TemplafySlideFormConfiguration>
</file>

<file path=customXml/item46.xml><?xml version="1.0" encoding="utf-8"?>
<TemplafySlideTemplateConfiguration><![CDATA[{"slideVersion":1,"isValidatorEnabled":false,"isLocked":false,"elementsMetadata":[],"slideId":"861026044834480145","enableDocumentContentUpdater":false,"version":"2.0"}]]></TemplafySlideTemplateConfiguration>
</file>

<file path=customXml/item47.xml><?xml version="1.0" encoding="utf-8"?>
<TemplafySlideTemplateConfiguration><![CDATA[{"slideVersion":1,"isValidatorEnabled":false,"isLocked":false,"elementsMetadata":[],"slideId":"861026044834480145","enableDocumentContentUpdater":false,"version":"2.0"}]]></TemplafySlideTemplateConfiguration>
</file>

<file path=customXml/item48.xml><?xml version="1.0" encoding="utf-8"?>
<TemplafySlideTemplateConfiguration><![CDATA[{"slideVersion":1,"isValidatorEnabled":false,"isLocked":false,"elementsMetadata":[],"slideId":"861026044834480145","enableDocumentContentUpdater":false,"version":"2.0"}]]></TemplafySlideTemplateConfiguration>
</file>

<file path=customXml/item49.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50.xml><?xml version="1.0" encoding="utf-8"?>
<TemplafySlideTemplateConfiguration><![CDATA[{"slideVersion":1,"isValidatorEnabled":false,"isLocked":false,"elementsMetadata":[],"slideId":"861026044834480145","enableDocumentContentUpdater":false,"version":"2.0"}]]></TemplafySlideTemplateConfiguration>
</file>

<file path=customXml/item6.xml><?xml version="1.0" encoding="utf-8"?>
<TemplafySlideTemplateConfiguration><![CDATA[{"slideVersion":1,"isValidatorEnabled":false,"isLocked":false,"elementsMetadata":[],"slideId":"861026044834480145","enableDocumentContentUpdater":false,"version":"2.0"}]]></TemplafySlideTemplateConfiguration>
</file>

<file path=customXml/item7.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269D72A9-6768-D94E-8CE8-093D961F31C9}">
  <ds:schemaRefs/>
</ds:datastoreItem>
</file>

<file path=customXml/itemProps10.xml><?xml version="1.0" encoding="utf-8"?>
<ds:datastoreItem xmlns:ds="http://schemas.openxmlformats.org/officeDocument/2006/customXml" ds:itemID="{D3A1427A-1820-5A47-94B8-1D65CB519971}">
  <ds:schemaRefs/>
</ds:datastoreItem>
</file>

<file path=customXml/itemProps11.xml><?xml version="1.0" encoding="utf-8"?>
<ds:datastoreItem xmlns:ds="http://schemas.openxmlformats.org/officeDocument/2006/customXml" ds:itemID="{F3C250B6-9D9F-424E-A428-99556B9A60C8}">
  <ds:schemaRefs/>
</ds:datastoreItem>
</file>

<file path=customXml/itemProps12.xml><?xml version="1.0" encoding="utf-8"?>
<ds:datastoreItem xmlns:ds="http://schemas.openxmlformats.org/officeDocument/2006/customXml" ds:itemID="{77EA953E-6E95-1C4C-AABE-C8E10F91BBC3}">
  <ds:schemaRefs/>
</ds:datastoreItem>
</file>

<file path=customXml/itemProps13.xml><?xml version="1.0" encoding="utf-8"?>
<ds:datastoreItem xmlns:ds="http://schemas.openxmlformats.org/officeDocument/2006/customXml" ds:itemID="{353FDB43-B4CA-994C-A834-5E1B7663B0B0}">
  <ds:schemaRefs/>
</ds:datastoreItem>
</file>

<file path=customXml/itemProps14.xml><?xml version="1.0" encoding="utf-8"?>
<ds:datastoreItem xmlns:ds="http://schemas.openxmlformats.org/officeDocument/2006/customXml" ds:itemID="{45F2D5DA-4278-3C42-B86E-A54AA84C5CF5}">
  <ds:schemaRefs/>
</ds:datastoreItem>
</file>

<file path=customXml/itemProps15.xml><?xml version="1.0" encoding="utf-8"?>
<ds:datastoreItem xmlns:ds="http://schemas.openxmlformats.org/officeDocument/2006/customXml" ds:itemID="{CC00BF0B-C77C-134B-BE32-91F36AE609F9}">
  <ds:schemaRefs/>
</ds:datastoreItem>
</file>

<file path=customXml/itemProps16.xml><?xml version="1.0" encoding="utf-8"?>
<ds:datastoreItem xmlns:ds="http://schemas.openxmlformats.org/officeDocument/2006/customXml" ds:itemID="{CAF4F425-F83F-4742-9475-682B84859685}">
  <ds:schemaRefs/>
</ds:datastoreItem>
</file>

<file path=customXml/itemProps17.xml><?xml version="1.0" encoding="utf-8"?>
<ds:datastoreItem xmlns:ds="http://schemas.openxmlformats.org/officeDocument/2006/customXml" ds:itemID="{5FEE098F-75A0-A14A-9369-0B72EA5EDEE3}">
  <ds:schemaRefs/>
</ds:datastoreItem>
</file>

<file path=customXml/itemProps18.xml><?xml version="1.0" encoding="utf-8"?>
<ds:datastoreItem xmlns:ds="http://schemas.openxmlformats.org/officeDocument/2006/customXml" ds:itemID="{BACC0C63-2015-4E4B-B8F7-4019EF12B8F4}">
  <ds:schemaRefs/>
</ds:datastoreItem>
</file>

<file path=customXml/itemProps19.xml><?xml version="1.0" encoding="utf-8"?>
<ds:datastoreItem xmlns:ds="http://schemas.openxmlformats.org/officeDocument/2006/customXml" ds:itemID="{98CF1A37-0881-4BEF-B932-9FFE67EF2321}">
  <ds:schemaRefs/>
</ds:datastoreItem>
</file>

<file path=customXml/itemProps2.xml><?xml version="1.0" encoding="utf-8"?>
<ds:datastoreItem xmlns:ds="http://schemas.openxmlformats.org/officeDocument/2006/customXml" ds:itemID="{51C0BB3F-CB9D-EA4A-BD04-FB854D09060F}">
  <ds:schemaRefs/>
</ds:datastoreItem>
</file>

<file path=customXml/itemProps20.xml><?xml version="1.0" encoding="utf-8"?>
<ds:datastoreItem xmlns:ds="http://schemas.openxmlformats.org/officeDocument/2006/customXml" ds:itemID="{1E94B245-392E-BB45-B68E-2C0415D2F44E}">
  <ds:schemaRefs/>
</ds:datastoreItem>
</file>

<file path=customXml/itemProps21.xml><?xml version="1.0" encoding="utf-8"?>
<ds:datastoreItem xmlns:ds="http://schemas.openxmlformats.org/officeDocument/2006/customXml" ds:itemID="{8AB05DC5-A2FB-413B-BF81-4A492435DFF6}">
  <ds:schemaRefs/>
</ds:datastoreItem>
</file>

<file path=customXml/itemProps22.xml><?xml version="1.0" encoding="utf-8"?>
<ds:datastoreItem xmlns:ds="http://schemas.openxmlformats.org/officeDocument/2006/customXml" ds:itemID="{AEA57222-7023-438C-B562-74F150C24235}">
  <ds:schemaRefs/>
</ds:datastoreItem>
</file>

<file path=customXml/itemProps23.xml><?xml version="1.0" encoding="utf-8"?>
<ds:datastoreItem xmlns:ds="http://schemas.openxmlformats.org/officeDocument/2006/customXml" ds:itemID="{78C99C86-6993-3349-A50A-B56498BB0D04}">
  <ds:schemaRefs/>
</ds:datastoreItem>
</file>

<file path=customXml/itemProps24.xml><?xml version="1.0" encoding="utf-8"?>
<ds:datastoreItem xmlns:ds="http://schemas.openxmlformats.org/officeDocument/2006/customXml" ds:itemID="{69DD41A1-5C4D-5E44-815A-0E275170300B}">
  <ds:schemaRefs/>
</ds:datastoreItem>
</file>

<file path=customXml/itemProps25.xml><?xml version="1.0" encoding="utf-8"?>
<ds:datastoreItem xmlns:ds="http://schemas.openxmlformats.org/officeDocument/2006/customXml" ds:itemID="{3BE2E47F-223C-1841-A27C-CD8DD2E48872}">
  <ds:schemaRefs/>
</ds:datastoreItem>
</file>

<file path=customXml/itemProps26.xml><?xml version="1.0" encoding="utf-8"?>
<ds:datastoreItem xmlns:ds="http://schemas.openxmlformats.org/officeDocument/2006/customXml" ds:itemID="{EAAB4981-6F6E-4299-8A4B-9168DADC05C9}">
  <ds:schemaRefs/>
</ds:datastoreItem>
</file>

<file path=customXml/itemProps27.xml><?xml version="1.0" encoding="utf-8"?>
<ds:datastoreItem xmlns:ds="http://schemas.openxmlformats.org/officeDocument/2006/customXml" ds:itemID="{4086026B-D8BC-C04B-BD34-4BE688C7E736}">
  <ds:schemaRefs/>
</ds:datastoreItem>
</file>

<file path=customXml/itemProps28.xml><?xml version="1.0" encoding="utf-8"?>
<ds:datastoreItem xmlns:ds="http://schemas.openxmlformats.org/officeDocument/2006/customXml" ds:itemID="{17A2F4F6-B3E9-0348-82BC-F4968A20F718}">
  <ds:schemaRefs/>
</ds:datastoreItem>
</file>

<file path=customXml/itemProps29.xml><?xml version="1.0" encoding="utf-8"?>
<ds:datastoreItem xmlns:ds="http://schemas.openxmlformats.org/officeDocument/2006/customXml" ds:itemID="{7B5AE8EE-72FE-4114-8EDB-67272A8ED33C}">
  <ds:schemaRefs/>
</ds:datastoreItem>
</file>

<file path=customXml/itemProps3.xml><?xml version="1.0" encoding="utf-8"?>
<ds:datastoreItem xmlns:ds="http://schemas.openxmlformats.org/officeDocument/2006/customXml" ds:itemID="{C0E532B1-97EE-44D6-A22D-A6C377FE7062}">
  <ds:schemaRefs/>
</ds:datastoreItem>
</file>

<file path=customXml/itemProps30.xml><?xml version="1.0" encoding="utf-8"?>
<ds:datastoreItem xmlns:ds="http://schemas.openxmlformats.org/officeDocument/2006/customXml" ds:itemID="{B99D7169-1C77-A340-8B49-47ECBEDA10E5}">
  <ds:schemaRefs/>
</ds:datastoreItem>
</file>

<file path=customXml/itemProps31.xml><?xml version="1.0" encoding="utf-8"?>
<ds:datastoreItem xmlns:ds="http://schemas.openxmlformats.org/officeDocument/2006/customXml" ds:itemID="{0B62F6F5-86F5-4C54-8F11-30A091AE1E7D}">
  <ds:schemaRefs/>
</ds:datastoreItem>
</file>

<file path=customXml/itemProps32.xml><?xml version="1.0" encoding="utf-8"?>
<ds:datastoreItem xmlns:ds="http://schemas.openxmlformats.org/officeDocument/2006/customXml" ds:itemID="{44D1F2D1-80F3-49A3-9370-F13D5D4FBA05}">
  <ds:schemaRefs/>
</ds:datastoreItem>
</file>

<file path=customXml/itemProps33.xml><?xml version="1.0" encoding="utf-8"?>
<ds:datastoreItem xmlns:ds="http://schemas.openxmlformats.org/officeDocument/2006/customXml" ds:itemID="{90BA93D9-89D3-6A46-A91C-AAD391575865}">
  <ds:schemaRefs/>
</ds:datastoreItem>
</file>

<file path=customXml/itemProps34.xml><?xml version="1.0" encoding="utf-8"?>
<ds:datastoreItem xmlns:ds="http://schemas.openxmlformats.org/officeDocument/2006/customXml" ds:itemID="{B6821A71-BB34-49F9-9D3C-781E729ED55C}">
  <ds:schemaRefs/>
</ds:datastoreItem>
</file>

<file path=customXml/itemProps35.xml><?xml version="1.0" encoding="utf-8"?>
<ds:datastoreItem xmlns:ds="http://schemas.openxmlformats.org/officeDocument/2006/customXml" ds:itemID="{5B70FD89-483C-4E90-9182-617DB2BF9803}">
  <ds:schemaRefs/>
</ds:datastoreItem>
</file>

<file path=customXml/itemProps36.xml><?xml version="1.0" encoding="utf-8"?>
<ds:datastoreItem xmlns:ds="http://schemas.openxmlformats.org/officeDocument/2006/customXml" ds:itemID="{41B1A156-CEB3-FE49-AC31-498ABBC7C1D5}">
  <ds:schemaRefs/>
</ds:datastoreItem>
</file>

<file path=customXml/itemProps37.xml><?xml version="1.0" encoding="utf-8"?>
<ds:datastoreItem xmlns:ds="http://schemas.openxmlformats.org/officeDocument/2006/customXml" ds:itemID="{4750859D-9F1E-7846-88C7-EE2BE3381C8E}">
  <ds:schemaRefs/>
</ds:datastoreItem>
</file>

<file path=customXml/itemProps38.xml><?xml version="1.0" encoding="utf-8"?>
<ds:datastoreItem xmlns:ds="http://schemas.openxmlformats.org/officeDocument/2006/customXml" ds:itemID="{D004DB6C-D2CA-7341-810A-39F890619D4F}">
  <ds:schemaRefs/>
</ds:datastoreItem>
</file>

<file path=customXml/itemProps39.xml><?xml version="1.0" encoding="utf-8"?>
<ds:datastoreItem xmlns:ds="http://schemas.openxmlformats.org/officeDocument/2006/customXml" ds:itemID="{C2AF2A88-D063-104D-87C1-8CB0DB1FB91D}">
  <ds:schemaRefs/>
</ds:datastoreItem>
</file>

<file path=customXml/itemProps4.xml><?xml version="1.0" encoding="utf-8"?>
<ds:datastoreItem xmlns:ds="http://schemas.openxmlformats.org/officeDocument/2006/customXml" ds:itemID="{478AAE51-A4A8-9C4A-ADDF-22A567E4568E}">
  <ds:schemaRefs/>
</ds:datastoreItem>
</file>

<file path=customXml/itemProps40.xml><?xml version="1.0" encoding="utf-8"?>
<ds:datastoreItem xmlns:ds="http://schemas.openxmlformats.org/officeDocument/2006/customXml" ds:itemID="{BF4A8EDE-9340-0644-A3CB-2EF166E43D75}">
  <ds:schemaRefs/>
</ds:datastoreItem>
</file>

<file path=customXml/itemProps41.xml><?xml version="1.0" encoding="utf-8"?>
<ds:datastoreItem xmlns:ds="http://schemas.openxmlformats.org/officeDocument/2006/customXml" ds:itemID="{424FF6BB-46BD-1449-921F-F727F2FE3034}">
  <ds:schemaRefs/>
</ds:datastoreItem>
</file>

<file path=customXml/itemProps42.xml><?xml version="1.0" encoding="utf-8"?>
<ds:datastoreItem xmlns:ds="http://schemas.openxmlformats.org/officeDocument/2006/customXml" ds:itemID="{2CD4B79E-7FD8-5C41-9CB5-A3CC99E09BD6}">
  <ds:schemaRefs/>
</ds:datastoreItem>
</file>

<file path=customXml/itemProps43.xml><?xml version="1.0" encoding="utf-8"?>
<ds:datastoreItem xmlns:ds="http://schemas.openxmlformats.org/officeDocument/2006/customXml" ds:itemID="{0A1B9901-DBC7-400F-AF8B-8F7C9D4ECA35}">
  <ds:schemaRefs/>
</ds:datastoreItem>
</file>

<file path=customXml/itemProps44.xml><?xml version="1.0" encoding="utf-8"?>
<ds:datastoreItem xmlns:ds="http://schemas.openxmlformats.org/officeDocument/2006/customXml" ds:itemID="{F0AE8F0D-D1F1-1448-A537-9B082C12756D}">
  <ds:schemaRefs/>
</ds:datastoreItem>
</file>

<file path=customXml/itemProps45.xml><?xml version="1.0" encoding="utf-8"?>
<ds:datastoreItem xmlns:ds="http://schemas.openxmlformats.org/officeDocument/2006/customXml" ds:itemID="{E4CB62F3-32FD-844F-B75C-E54935F4F9DC}">
  <ds:schemaRefs/>
</ds:datastoreItem>
</file>

<file path=customXml/itemProps46.xml><?xml version="1.0" encoding="utf-8"?>
<ds:datastoreItem xmlns:ds="http://schemas.openxmlformats.org/officeDocument/2006/customXml" ds:itemID="{54CDAC76-8F08-DE41-AD66-23234A9490AA}">
  <ds:schemaRefs/>
</ds:datastoreItem>
</file>

<file path=customXml/itemProps47.xml><?xml version="1.0" encoding="utf-8"?>
<ds:datastoreItem xmlns:ds="http://schemas.openxmlformats.org/officeDocument/2006/customXml" ds:itemID="{BF640F7A-31D0-054F-AAA0-FC93BE1362E8}">
  <ds:schemaRefs/>
</ds:datastoreItem>
</file>

<file path=customXml/itemProps48.xml><?xml version="1.0" encoding="utf-8"?>
<ds:datastoreItem xmlns:ds="http://schemas.openxmlformats.org/officeDocument/2006/customXml" ds:itemID="{399F6C81-97B2-A54A-ACA6-770F49008620}">
  <ds:schemaRefs/>
</ds:datastoreItem>
</file>

<file path=customXml/itemProps49.xml><?xml version="1.0" encoding="utf-8"?>
<ds:datastoreItem xmlns:ds="http://schemas.openxmlformats.org/officeDocument/2006/customXml" ds:itemID="{24627B57-84FA-4F42-BA53-7762864E0A4F}">
  <ds:schemaRefs/>
</ds:datastoreItem>
</file>

<file path=customXml/itemProps5.xml><?xml version="1.0" encoding="utf-8"?>
<ds:datastoreItem xmlns:ds="http://schemas.openxmlformats.org/officeDocument/2006/customXml" ds:itemID="{77B8231C-D0AE-7141-81A0-2F2DD1BE8506}">
  <ds:schemaRefs/>
</ds:datastoreItem>
</file>

<file path=customXml/itemProps50.xml><?xml version="1.0" encoding="utf-8"?>
<ds:datastoreItem xmlns:ds="http://schemas.openxmlformats.org/officeDocument/2006/customXml" ds:itemID="{03943999-C31A-4969-AA09-605AF997E2D4}">
  <ds:schemaRefs/>
</ds:datastoreItem>
</file>

<file path=customXml/itemProps6.xml><?xml version="1.0" encoding="utf-8"?>
<ds:datastoreItem xmlns:ds="http://schemas.openxmlformats.org/officeDocument/2006/customXml" ds:itemID="{88757649-5ABE-AE4D-A538-493995100D13}">
  <ds:schemaRefs/>
</ds:datastoreItem>
</file>

<file path=customXml/itemProps7.xml><?xml version="1.0" encoding="utf-8"?>
<ds:datastoreItem xmlns:ds="http://schemas.openxmlformats.org/officeDocument/2006/customXml" ds:itemID="{F6590919-D77C-42BE-886C-B3B4AFF04C5A}">
  <ds:schemaRefs/>
</ds:datastoreItem>
</file>

<file path=customXml/itemProps8.xml><?xml version="1.0" encoding="utf-8"?>
<ds:datastoreItem xmlns:ds="http://schemas.openxmlformats.org/officeDocument/2006/customXml" ds:itemID="{70B1A138-9901-2A49-AF39-20AAF6274654}">
  <ds:schemaRefs/>
</ds:datastoreItem>
</file>

<file path=customXml/itemProps9.xml><?xml version="1.0" encoding="utf-8"?>
<ds:datastoreItem xmlns:ds="http://schemas.openxmlformats.org/officeDocument/2006/customXml" ds:itemID="{B99892F9-6E46-4DF0-84CC-CA21034E9BEE}">
  <ds:schemaRefs/>
</ds:datastoreItem>
</file>

<file path=docProps/app.xml><?xml version="1.0" encoding="utf-8"?>
<Properties xmlns="http://schemas.openxmlformats.org/officeDocument/2006/extended-properties" xmlns:vt="http://schemas.openxmlformats.org/officeDocument/2006/docPropsVTypes">
  <Template/>
  <TotalTime>65711</TotalTime>
  <Words>13008</Words>
  <Application>Microsoft Macintosh PowerPoint</Application>
  <PresentationFormat>Widescreen</PresentationFormat>
  <Paragraphs>2160</Paragraphs>
  <Slides>135</Slides>
  <Notes>48</Notes>
  <HiddenSlides>0</HiddenSlides>
  <MMClips>0</MMClips>
  <ScaleCrop>false</ScaleCrop>
  <HeadingPairs>
    <vt:vector size="8" baseType="variant">
      <vt:variant>
        <vt:lpstr>Fonts Used</vt:lpstr>
      </vt:variant>
      <vt:variant>
        <vt:i4>35</vt:i4>
      </vt:variant>
      <vt:variant>
        <vt:lpstr>Theme</vt:lpstr>
      </vt:variant>
      <vt:variant>
        <vt:i4>22</vt:i4>
      </vt:variant>
      <vt:variant>
        <vt:lpstr>Embedded OLE Servers</vt:lpstr>
      </vt:variant>
      <vt:variant>
        <vt:i4>1</vt:i4>
      </vt:variant>
      <vt:variant>
        <vt:lpstr>Slide Titles</vt:lpstr>
      </vt:variant>
      <vt:variant>
        <vt:i4>135</vt:i4>
      </vt:variant>
    </vt:vector>
  </HeadingPairs>
  <TitlesOfParts>
    <vt:vector size="193" baseType="lpstr">
      <vt:lpstr>MS PGothic</vt:lpstr>
      <vt:lpstr>MS PGothic</vt:lpstr>
      <vt:lpstr>.AppleSystemUIFont</vt:lpstr>
      <vt:lpstr>Aptos</vt:lpstr>
      <vt:lpstr>Aptos Display</vt:lpstr>
      <vt:lpstr>Arial</vt:lpstr>
      <vt:lpstr>Arial Narrow</vt:lpstr>
      <vt:lpstr>Arial Nova</vt:lpstr>
      <vt:lpstr>Avenir Black</vt:lpstr>
      <vt:lpstr>Avenir Book</vt:lpstr>
      <vt:lpstr>Calibri</vt:lpstr>
      <vt:lpstr>Calibri Light</vt:lpstr>
      <vt:lpstr>Calisto MT</vt:lpstr>
      <vt:lpstr>Century Gothic</vt:lpstr>
      <vt:lpstr>Georgia</vt:lpstr>
      <vt:lpstr>Helvetica</vt:lpstr>
      <vt:lpstr>Helvetica Neue</vt:lpstr>
      <vt:lpstr>Helvetica Neue Medium</vt:lpstr>
      <vt:lpstr>Lato</vt:lpstr>
      <vt:lpstr>Lucida Grande</vt:lpstr>
      <vt:lpstr>Montserrat SemiBold</vt:lpstr>
      <vt:lpstr>Noto Sans Symbols</vt:lpstr>
      <vt:lpstr>Proxima Nova Rg</vt:lpstr>
      <vt:lpstr>Roboto</vt:lpstr>
      <vt:lpstr>Segoe UI</vt:lpstr>
      <vt:lpstr>Symbol</vt:lpstr>
      <vt:lpstr>System Font Regular</vt:lpstr>
      <vt:lpstr>Times</vt:lpstr>
      <vt:lpstr>Times New Roman</vt:lpstr>
      <vt:lpstr>Trebuchet MS</vt:lpstr>
      <vt:lpstr>Verdana</vt:lpstr>
      <vt:lpstr>Verdana Pro</vt:lpstr>
      <vt:lpstr>Wingdings</vt:lpstr>
      <vt:lpstr>Zapf Dingbats</vt:lpstr>
      <vt:lpstr>ヒラギノ角ゴ Pro W3</vt:lpstr>
      <vt:lpstr>1_Default Design</vt:lpstr>
      <vt:lpstr>7_Default Design</vt:lpstr>
      <vt:lpstr>DUKE OPTION B INSIDE PAGE</vt:lpstr>
      <vt:lpstr>1_AADI-2022</vt:lpstr>
      <vt:lpstr>2_Default Design</vt:lpstr>
      <vt:lpstr>1_AstraZeneca Standard Template</vt:lpstr>
      <vt:lpstr>Office 2013 - 2022 Theme</vt:lpstr>
      <vt:lpstr>1_Office 2013 - 2022 Theme</vt:lpstr>
      <vt:lpstr>Office Theme</vt:lpstr>
      <vt:lpstr>4_Office 2013 - 2022 Theme</vt:lpstr>
      <vt:lpstr>2_Tema de Office</vt:lpstr>
      <vt:lpstr>3_Office Theme</vt:lpstr>
      <vt:lpstr>1_Office Theme</vt:lpstr>
      <vt:lpstr>3_Default Design</vt:lpstr>
      <vt:lpstr>MDA generic pres 2 (3)</vt:lpstr>
      <vt:lpstr>Purple bullets</vt:lpstr>
      <vt:lpstr>4_Office Theme</vt:lpstr>
      <vt:lpstr>5_Office 2013 - 2022 Theme</vt:lpstr>
      <vt:lpstr>MLC2015_PPT_Slides</vt:lpstr>
      <vt:lpstr>Default</vt:lpstr>
      <vt:lpstr>1_Purple bullets</vt:lpstr>
      <vt:lpstr>4_Default Design</vt:lpstr>
      <vt:lpstr>think-cell Slide</vt:lpstr>
      <vt:lpstr>Expert Second Opinion: Investigators Provide Perspectives  on the Best-Practice Management of Ovarian Cancer</vt:lpstr>
      <vt:lpstr>Faculty</vt:lpstr>
      <vt:lpstr>Prof Colombo — Disclosures Faculty</vt:lpstr>
      <vt:lpstr>Dr Konecny — Disclosures Faculty</vt:lpstr>
      <vt:lpstr>Dr Olawaiye — Disclosures Faculty</vt:lpstr>
      <vt:lpstr>Dr Westin — Disclosures Moderator</vt:lpstr>
      <vt:lpstr>Prof Ledermann — Disclosures Consulting Clinical Investigator</vt:lpstr>
      <vt:lpstr>Dr Matulonis — Disclosures Consulting Clinical Investigator</vt:lpstr>
      <vt:lpstr>Dr Secord — Disclosures Consulting Clinical Investigator</vt:lpstr>
      <vt:lpstr>Commercial Support</vt:lpstr>
      <vt:lpstr>PowerPoint Presentation</vt:lpstr>
      <vt:lpstr>PowerPoint Presentation</vt:lpstr>
      <vt:lpstr>Clinicians in the Meeting Room</vt:lpstr>
      <vt:lpstr>Clinicians Attending via Zoom</vt:lpstr>
      <vt:lpstr>About the Enduring Program</vt:lpstr>
      <vt:lpstr>Expert Second Opinion: Investigators Provide Perspectives  on the Best-Practice Management of Ovarian Cancer</vt:lpstr>
      <vt:lpstr>Second Opinion</vt:lpstr>
      <vt:lpstr>Agenda</vt:lpstr>
      <vt:lpstr>Agenda</vt:lpstr>
      <vt:lpstr>Nicoletta Colombo European Institute of Oncology, Milan, Italy </vt:lpstr>
      <vt:lpstr>Evolution of First-Line Chemotherapy &amp; Maintenance for advanced ovarian cancer</vt:lpstr>
      <vt:lpstr>PARP-inhibition induces intolerable levels of  DNA-DSBs in HRR Deficient cells – Synthetic lethality</vt:lpstr>
      <vt:lpstr>HRD is a Phenotype with many causes</vt:lpstr>
      <vt:lpstr> How to detect HRD?</vt:lpstr>
      <vt:lpstr>Types of biomarkers that measure HRD</vt:lpstr>
      <vt:lpstr>Clinically validated methods to detect HRD in newly diagnosed ovarian cancer require BRCA mutations testing and scoring of genomic instability</vt:lpstr>
      <vt:lpstr>Patient identification and testing modalities</vt:lpstr>
      <vt:lpstr>Why testing for BRCAm and HRD?</vt:lpstr>
      <vt:lpstr>Significant extension in PFS in frontline PARP inhibitor maintenance trials in BRCAm ovarian cancer </vt:lpstr>
      <vt:lpstr>PowerPoint Presentation</vt:lpstr>
      <vt:lpstr>Olaparib Maintenance Monotherapy for BRCA Wild-Type Advanced Ovarian Cancer: Phase III MONO-OLA1 Study Design</vt:lpstr>
      <vt:lpstr>One Year of Olaparib or Two? Phase III NRG-GY036 Study Design</vt:lpstr>
      <vt:lpstr>To Be(v) or not to Be(v)?</vt:lpstr>
      <vt:lpstr>PowerPoint Presentation</vt:lpstr>
      <vt:lpstr>Indirect treatment comparison using propensity score weighting showed greater PFS benefit with olaparib + bevacizumab in HRD-positivea  PAOLA-1 (PRIMA-eligible subset)b vs niraparib PRIMA patients</vt:lpstr>
      <vt:lpstr>It is recommended that patients with BRCAm or HRD receive maintenance therapy with PARPi</vt:lpstr>
      <vt:lpstr>OS data: BRCAm</vt:lpstr>
      <vt:lpstr>PAOLA-1:</vt:lpstr>
      <vt:lpstr>PRIMA: No difference in OS was seen between niraparib and placebo arms in the overall, HRd and HRp populations, BRCAm</vt:lpstr>
      <vt:lpstr>PAOLA-1: PFS by clinical risk in HRD-positive patients</vt:lpstr>
      <vt:lpstr>PowerPoint Presentation</vt:lpstr>
      <vt:lpstr>Safety profile across first-line maintenance trials: Summary</vt:lpstr>
      <vt:lpstr>PowerPoint Presentation</vt:lpstr>
      <vt:lpstr>PowerPoint Presentation</vt:lpstr>
      <vt:lpstr>Take home message</vt:lpstr>
      <vt:lpstr>Second Opinion</vt:lpstr>
      <vt:lpstr>PowerPoint Presentation</vt:lpstr>
      <vt:lpstr>PowerPoint Presentation</vt:lpstr>
      <vt:lpstr>PowerPoint Presentation</vt:lpstr>
      <vt:lpstr>PowerPoint Presentation</vt:lpstr>
      <vt:lpstr>Agenda</vt:lpstr>
      <vt:lpstr>PowerPoint Presentation</vt:lpstr>
      <vt:lpstr>Targeting Folate Receptor Alpha</vt:lpstr>
      <vt:lpstr>PowerPoint Presentation</vt:lpstr>
      <vt:lpstr>Mirvetuximab soravtansine, first FRα-targeted ADC approved for PROC</vt:lpstr>
      <vt:lpstr>Mirvetuximab soravtansine: SORAYA trial (NCT04296890)</vt:lpstr>
      <vt:lpstr>PowerPoint Presentation</vt:lpstr>
      <vt:lpstr>MIRASOL (NCT04209855): Randomized, phase 3 study of MIRV vs chemotherapy in FRα-high Platinum–Resistant Ovarian Cancer </vt:lpstr>
      <vt:lpstr>PowerPoint Presentation</vt:lpstr>
      <vt:lpstr>PowerPoint Presentation</vt:lpstr>
      <vt:lpstr>PICCOLO: Mirvetuximab soravtansine in platinum sensitive ovarian cancer</vt:lpstr>
      <vt:lpstr>PowerPoint Presentation</vt:lpstr>
      <vt:lpstr>PowerPoint Presentation</vt:lpstr>
      <vt:lpstr>The Folate Receptor Alpha Landscape</vt:lpstr>
      <vt:lpstr>The Data Are Promising (and Consistent!)</vt:lpstr>
      <vt:lpstr>Torvutatug samrotecan (AZD5335)</vt:lpstr>
      <vt:lpstr>Sofetabart mipitecan</vt:lpstr>
      <vt:lpstr>Rinatabart Sesutecan</vt:lpstr>
      <vt:lpstr>Here Come the Phase III Trials!</vt:lpstr>
      <vt:lpstr>Phase III TREVI OC 01/GOG 3127/ENGOT ov93 trial</vt:lpstr>
      <vt:lpstr>Phase III FRAmework-01</vt:lpstr>
      <vt:lpstr>Phase III RAINFOL-04</vt:lpstr>
      <vt:lpstr>Phase III RAINFOL-02</vt:lpstr>
      <vt:lpstr>Second Opinion</vt:lpstr>
      <vt:lpstr>PowerPoint Presentation</vt:lpstr>
      <vt:lpstr>PowerPoint Presentation</vt:lpstr>
      <vt:lpstr>PowerPoint Presentation</vt:lpstr>
      <vt:lpstr>PowerPoint Presentation</vt:lpstr>
      <vt:lpstr>PowerPoint Presentation</vt:lpstr>
      <vt:lpstr>Agenda</vt:lpstr>
      <vt:lpstr>PowerPoint Presentation</vt:lpstr>
      <vt:lpstr>The Typical Course of Advanced Ovarian Cancer: Almost Ubiquitous Recurrence Following Front Line Chemotherapy</vt:lpstr>
      <vt:lpstr>Second-line Platinum Therapy in Patients with Ovarian Cancer Previously Treated with Cisplatin</vt:lpstr>
      <vt:lpstr>PowerPoint Presentation</vt:lpstr>
      <vt:lpstr>PowerPoint Presentation</vt:lpstr>
      <vt:lpstr>PowerPoint Presentation</vt:lpstr>
      <vt:lpstr>PowerPoint Presentation</vt:lpstr>
      <vt:lpstr>PowerPoint Presentation</vt:lpstr>
      <vt:lpstr>PowerPoint Presentation</vt:lpstr>
      <vt:lpstr>FDA approves pembrolizumab with paclitaxel for platinum-resistant epithelial ovarian, fallopian tube, or primary peritoneal carcinoma</vt:lpstr>
      <vt:lpstr>PowerPoint Presentation</vt:lpstr>
      <vt:lpstr>PowerPoint Presentation</vt:lpstr>
      <vt:lpstr>PowerPoint Presentation</vt:lpstr>
      <vt:lpstr>ROSELLA | Relacorilant Significantly Improved Progression-Free Survival Assessed by Blinded Review </vt:lpstr>
      <vt:lpstr>ROSELLA | Relacorilant Significantly Improved Overall Survival  at the Final Analysis</vt:lpstr>
      <vt:lpstr>PowerPoint Presentation</vt:lpstr>
      <vt:lpstr>ROSELLA | Common (&gt;20%) Adverse Events</vt:lpstr>
      <vt:lpstr>FDA approves relacorilant with nab-paclitaxel for platinum-resistant epithelial ovarian, fallopian tube, or primary peritoneal cancer</vt:lpstr>
      <vt:lpstr>ROSELLA Results: Support Additional Studies in Combination with Any Cancer Therapy</vt:lpstr>
      <vt:lpstr>Relacorilant in Combination With Chemotherapy:  BELLA Arm A  Phase 2 Trial in Platinum-Resistant Ovarian Cancer (PROC)</vt:lpstr>
      <vt:lpstr>Relacorilant in Combination With Chemotherapy:  BELLA Arm B  Phase 2 Trial in Platinum-Sensitive Ovarian Cancer (PSOC)</vt:lpstr>
      <vt:lpstr>PowerPoint Presentation</vt:lpstr>
      <vt:lpstr>Second Opinion</vt:lpstr>
      <vt:lpstr>PowerPoint Presentation</vt:lpstr>
      <vt:lpstr>PowerPoint Presentation</vt:lpstr>
      <vt:lpstr>PowerPoint Presentation</vt:lpstr>
      <vt:lpstr>PowerPoint Presentation</vt:lpstr>
      <vt:lpstr>PowerPoint Presentation</vt:lpstr>
      <vt:lpstr>Second Opinion</vt:lpstr>
      <vt:lpstr>PowerPoint Presentation</vt:lpstr>
      <vt:lpstr>PowerPoint Presentation</vt:lpstr>
      <vt:lpstr>Agenda</vt:lpstr>
      <vt:lpstr>Diagnosis and Management of Adverse Events Associated with Commonly Employed Therapies for Advanced Ovarian Cancer  Gottfried E. Konecny M.D. Professor of Medicine and Ob/Gyn University of California Los Angeles</vt:lpstr>
      <vt:lpstr>PARP Inhibitors in Ovarian Cancer 2021</vt:lpstr>
      <vt:lpstr>PARP Inhibitors in Ovarian Cancer 2023</vt:lpstr>
      <vt:lpstr>PowerPoint Presentation</vt:lpstr>
      <vt:lpstr>PowerPoint Presentation</vt:lpstr>
      <vt:lpstr>PowerPoint Presentation</vt:lpstr>
      <vt:lpstr>PowerPoint Presentation</vt:lpstr>
      <vt:lpstr>MDS/AML in Ovarian Cancer PARPi Maintenance Trials</vt:lpstr>
      <vt:lpstr>Common toxicities observed with select ADCs Differentiated Safety Profiles Require Intentional Mitigation</vt:lpstr>
      <vt:lpstr>Common toxicities observed with select ADCs Differentiated Safety Profiles Require Intentional Mitigation</vt:lpstr>
      <vt:lpstr>Mechanisms of Ocular ADC Toxicity </vt:lpstr>
      <vt:lpstr>PowerPoint Presentation</vt:lpstr>
      <vt:lpstr>PowerPoint Presentation</vt:lpstr>
      <vt:lpstr>PowerPoint Presentation</vt:lpstr>
      <vt:lpstr>PowerPoint Presentation</vt:lpstr>
      <vt:lpstr>PowerPoint Presentation</vt:lpstr>
      <vt:lpstr>What is an Immune Related Side Effect?</vt:lpstr>
      <vt:lpstr>PowerPoint Presentation</vt:lpstr>
      <vt:lpstr>PowerPoint Presentation</vt:lpstr>
      <vt:lpstr>Treatment of IRAEs: Use of Steroids</vt:lpstr>
      <vt:lpstr>Second Opinion</vt:lpstr>
      <vt:lpstr>Expert Second Opinion: Investigators Provide Perspectives  on the Best-Practice Management of Ovarian Cancer</vt:lpstr>
      <vt:lpstr>Thank you for joining us! Your feedback is very important to us.   Please complete the postmeeting survey currently available via the corresponding QR code on the printed handout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Fernando Rendina</cp:lastModifiedBy>
  <cp:revision>7988</cp:revision>
  <cp:lastPrinted>2020-08-04T16:05:31Z</cp:lastPrinted>
  <dcterms:created xsi:type="dcterms:W3CDTF">2013-03-19T19:50:02Z</dcterms:created>
  <dcterms:modified xsi:type="dcterms:W3CDTF">2026-04-12T14:32:43Z</dcterms:modified>
  <cp:category/>
</cp:coreProperties>
</file>